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3"/>
  </p:notesMasterIdLst>
  <p:handoutMasterIdLst>
    <p:handoutMasterId r:id="rId24"/>
  </p:handoutMasterIdLst>
  <p:sldIdLst>
    <p:sldId id="3242" r:id="rId5"/>
    <p:sldId id="3260" r:id="rId6"/>
    <p:sldId id="3266" r:id="rId7"/>
    <p:sldId id="3267" r:id="rId8"/>
    <p:sldId id="3250" r:id="rId9"/>
    <p:sldId id="3264" r:id="rId10"/>
    <p:sldId id="3265" r:id="rId11"/>
    <p:sldId id="3251" r:id="rId12"/>
    <p:sldId id="3262" r:id="rId13"/>
    <p:sldId id="3257" r:id="rId14"/>
    <p:sldId id="3256" r:id="rId15"/>
    <p:sldId id="3261" r:id="rId16"/>
    <p:sldId id="3263" r:id="rId17"/>
    <p:sldId id="3245" r:id="rId18"/>
    <p:sldId id="3248" r:id="rId19"/>
    <p:sldId id="3247" r:id="rId20"/>
    <p:sldId id="3258" r:id="rId21"/>
    <p:sldId id="3259" r:id="rId22"/>
  </p:sldIdLst>
  <p:sldSz cx="9906000" cy="6858000" type="A4"/>
  <p:notesSz cx="6858000" cy="9144000"/>
  <p:custDataLst>
    <p:tags r:id="rId25"/>
  </p:custDataLst>
  <p:defaultTextStyle>
    <a:defPPr>
      <a:defRPr lang="en-US"/>
    </a:defPPr>
    <a:lvl1pPr marL="0" indent="0" algn="l" defTabSz="742950" rtl="0" eaLnBrk="1" latinLnBrk="0" hangingPunct="1">
      <a:lnSpc>
        <a:spcPct val="90000"/>
      </a:lnSpc>
      <a:spcBef>
        <a:spcPts val="0"/>
      </a:spcBef>
      <a:spcAft>
        <a:spcPts val="600"/>
      </a:spcAft>
      <a:buFont typeface="Arial" panose="020B0604020202020204" pitchFamily="34" charset="0"/>
      <a:buChar char="​"/>
      <a:defRPr sz="1000" kern="1200">
        <a:solidFill>
          <a:srgbClr val="1F2023"/>
        </a:solidFill>
        <a:latin typeface="+mn-lt"/>
        <a:ea typeface="+mn-ea"/>
        <a:cs typeface="+mn-cs"/>
      </a:defRPr>
    </a:lvl1pPr>
    <a:lvl2pPr marL="144000" indent="-144000" algn="l" defTabSz="742950" rtl="0" eaLnBrk="1" latinLnBrk="0" hangingPunct="1">
      <a:lnSpc>
        <a:spcPct val="90000"/>
      </a:lnSpc>
      <a:spcBef>
        <a:spcPts val="0"/>
      </a:spcBef>
      <a:spcAft>
        <a:spcPts val="600"/>
      </a:spcAft>
      <a:buFont typeface="Arial" panose="020B0604020202020204" pitchFamily="34" charset="0"/>
      <a:buChar char="•"/>
      <a:defRPr sz="1000" kern="1200">
        <a:solidFill>
          <a:srgbClr val="1F2023"/>
        </a:solidFill>
        <a:latin typeface="+mn-lt"/>
        <a:ea typeface="+mn-ea"/>
        <a:cs typeface="+mn-cs"/>
      </a:defRPr>
    </a:lvl2pPr>
    <a:lvl3pPr marL="288000" indent="-144000" algn="l" defTabSz="742950" rtl="0" eaLnBrk="1" latinLnBrk="0" hangingPunct="1">
      <a:lnSpc>
        <a:spcPct val="90000"/>
      </a:lnSpc>
      <a:spcBef>
        <a:spcPts val="0"/>
      </a:spcBef>
      <a:spcAft>
        <a:spcPts val="600"/>
      </a:spcAft>
      <a:buFont typeface="Arial" panose="020B0604020202020204" pitchFamily="34" charset="0"/>
      <a:buChar char="•"/>
      <a:defRPr sz="1000" kern="1200">
        <a:solidFill>
          <a:srgbClr val="1F2023"/>
        </a:solidFill>
        <a:latin typeface="+mn-lt"/>
        <a:ea typeface="+mn-ea"/>
        <a:cs typeface="+mn-cs"/>
      </a:defRPr>
    </a:lvl3pPr>
    <a:lvl4pPr marL="432000" indent="-144000" algn="l" defTabSz="742950" rtl="0" eaLnBrk="1" latinLnBrk="0" hangingPunct="1">
      <a:lnSpc>
        <a:spcPct val="90000"/>
      </a:lnSpc>
      <a:spcBef>
        <a:spcPts val="0"/>
      </a:spcBef>
      <a:spcAft>
        <a:spcPts val="600"/>
      </a:spcAft>
      <a:buFont typeface="Arial" panose="020B0604020202020204" pitchFamily="34" charset="0"/>
      <a:buChar char="•"/>
      <a:defRPr sz="1000" b="0" kern="1200">
        <a:solidFill>
          <a:srgbClr val="1F2023"/>
        </a:solidFill>
        <a:latin typeface="+mn-lt"/>
        <a:ea typeface="+mn-ea"/>
        <a:cs typeface="+mn-cs"/>
      </a:defRPr>
    </a:lvl4pPr>
    <a:lvl5pPr marL="0" indent="0" algn="l" defTabSz="742950" rtl="0" eaLnBrk="1" latinLnBrk="0" hangingPunct="1">
      <a:lnSpc>
        <a:spcPct val="90000"/>
      </a:lnSpc>
      <a:spcBef>
        <a:spcPts val="0"/>
      </a:spcBef>
      <a:spcAft>
        <a:spcPts val="600"/>
      </a:spcAft>
      <a:buFont typeface="Arial" panose="020B0604020202020204" pitchFamily="34" charset="0"/>
      <a:buChar char="​"/>
      <a:defRPr sz="1000" b="1" kern="1200" cap="none" baseline="0">
        <a:solidFill>
          <a:srgbClr val="1F2023"/>
        </a:solidFill>
        <a:latin typeface="+mn-lt"/>
        <a:ea typeface="+mn-ea"/>
        <a:cs typeface="+mn-cs"/>
      </a:defRPr>
    </a:lvl5pPr>
    <a:lvl6pPr marL="0" indent="0" algn="l" defTabSz="742950" rtl="0" eaLnBrk="1" latinLnBrk="0" hangingPunct="1">
      <a:lnSpc>
        <a:spcPct val="90000"/>
      </a:lnSpc>
      <a:spcBef>
        <a:spcPts val="0"/>
      </a:spcBef>
      <a:spcAft>
        <a:spcPts val="600"/>
      </a:spcAft>
      <a:buFont typeface="Arial" panose="020B0604020202020204" pitchFamily="34" charset="0"/>
      <a:buChar char="​"/>
      <a:defRPr sz="1000" b="1" kern="1200" cap="all" baseline="0">
        <a:solidFill>
          <a:srgbClr val="1F2023"/>
        </a:solidFill>
        <a:latin typeface="+mj-lt"/>
        <a:ea typeface="+mn-ea"/>
        <a:cs typeface="+mn-cs"/>
      </a:defRPr>
    </a:lvl6pPr>
    <a:lvl7pPr marL="144000" indent="-144000" algn="l" defTabSz="742950" rtl="0" eaLnBrk="1" latinLnBrk="0" hangingPunct="1">
      <a:lnSpc>
        <a:spcPct val="90000"/>
      </a:lnSpc>
      <a:spcBef>
        <a:spcPts val="0"/>
      </a:spcBef>
      <a:spcAft>
        <a:spcPts val="600"/>
      </a:spcAft>
      <a:buFont typeface="+mj-lt"/>
      <a:buAutoNum type="arabicPeriod"/>
      <a:defRPr sz="1000" kern="1200" baseline="0">
        <a:solidFill>
          <a:srgbClr val="1F2023"/>
        </a:solidFill>
        <a:latin typeface="+mn-lt"/>
        <a:ea typeface="+mn-ea"/>
        <a:cs typeface="+mn-cs"/>
      </a:defRPr>
    </a:lvl7pPr>
    <a:lvl8pPr marL="144000" indent="-144000" algn="l" defTabSz="742950" rtl="0" eaLnBrk="1" latinLnBrk="0" hangingPunct="1">
      <a:lnSpc>
        <a:spcPct val="90000"/>
      </a:lnSpc>
      <a:spcBef>
        <a:spcPts val="0"/>
      </a:spcBef>
      <a:spcAft>
        <a:spcPts val="600"/>
      </a:spcAft>
      <a:buFont typeface="+mj-lt"/>
      <a:buAutoNum type="alphaUcPeriod"/>
      <a:defRPr sz="1000" kern="1200">
        <a:solidFill>
          <a:srgbClr val="1F2023"/>
        </a:solidFill>
        <a:latin typeface="+mn-lt"/>
        <a:ea typeface="+mn-ea"/>
        <a:cs typeface="+mn-cs"/>
      </a:defRPr>
    </a:lvl8pPr>
    <a:lvl9pPr marL="0" indent="0" algn="l" defTabSz="742950" rtl="0" eaLnBrk="1" latinLnBrk="0" hangingPunct="1">
      <a:lnSpc>
        <a:spcPct val="83000"/>
      </a:lnSpc>
      <a:spcBef>
        <a:spcPts val="0"/>
      </a:spcBef>
      <a:spcAft>
        <a:spcPts val="600"/>
      </a:spcAft>
      <a:buFont typeface="Arial" panose="020B0604020202020204" pitchFamily="34" charset="0"/>
      <a:buChar char="​"/>
      <a:defRPr sz="4800" kern="1200" cap="all" baseline="0">
        <a:solidFill>
          <a:srgbClr val="1F2023"/>
        </a:solidFill>
        <a:latin typeface="Impact" panose="020B080603090205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2F0"/>
    <a:srgbClr val="E8E6D9"/>
    <a:srgbClr val="3037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E651B94-CA1E-4178-ADF6-B752FDCF441D}" v="419" dt="2021-06-23T06:53:08.013"/>
  </p1510:revLst>
</p1510:revInfo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6955" autoAdjust="0"/>
  </p:normalViewPr>
  <p:slideViewPr>
    <p:cSldViewPr snapToGrid="0" showGuides="1">
      <p:cViewPr>
        <p:scale>
          <a:sx n="125" d="100"/>
          <a:sy n="125" d="100"/>
        </p:scale>
        <p:origin x="3192" y="93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493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von Düring Kjeldsen" userId="d61ad69a-09af-4fd5-9092-471501278b56" providerId="ADAL" clId="{4E651B94-CA1E-4178-ADF6-B752FDCF441D}"/>
    <pc:docChg chg="undo custSel addSld delSld modSld sldOrd">
      <pc:chgData name="Daniel von Düring Kjeldsen" userId="d61ad69a-09af-4fd5-9092-471501278b56" providerId="ADAL" clId="{4E651B94-CA1E-4178-ADF6-B752FDCF441D}" dt="2021-06-24T08:28:15.868" v="8077" actId="20577"/>
      <pc:docMkLst>
        <pc:docMk/>
      </pc:docMkLst>
      <pc:sldChg chg="addSp delSp modSp del mod">
        <pc:chgData name="Daniel von Düring Kjeldsen" userId="d61ad69a-09af-4fd5-9092-471501278b56" providerId="ADAL" clId="{4E651B94-CA1E-4178-ADF6-B752FDCF441D}" dt="2021-06-20T14:48:01.691" v="6559" actId="2696"/>
        <pc:sldMkLst>
          <pc:docMk/>
          <pc:sldMk cId="3338833825" sldId="256"/>
        </pc:sldMkLst>
        <pc:spChg chg="mod">
          <ac:chgData name="Daniel von Düring Kjeldsen" userId="d61ad69a-09af-4fd5-9092-471501278b56" providerId="ADAL" clId="{4E651B94-CA1E-4178-ADF6-B752FDCF441D}" dt="2021-06-15T11:15:09.079" v="525" actId="14100"/>
          <ac:spMkLst>
            <pc:docMk/>
            <pc:sldMk cId="3338833825" sldId="256"/>
            <ac:spMk id="3" creationId="{F28FD43C-4295-4CEE-AC00-71CA20D17BD6}"/>
          </ac:spMkLst>
        </pc:spChg>
        <pc:spChg chg="add del mod">
          <ac:chgData name="Daniel von Düring Kjeldsen" userId="d61ad69a-09af-4fd5-9092-471501278b56" providerId="ADAL" clId="{4E651B94-CA1E-4178-ADF6-B752FDCF441D}" dt="2021-06-20T14:29:59.879" v="6300" actId="478"/>
          <ac:spMkLst>
            <pc:docMk/>
            <pc:sldMk cId="3338833825" sldId="256"/>
            <ac:spMk id="4" creationId="{2764571C-E3ED-4388-ABE6-8FB24033B32A}"/>
          </ac:spMkLst>
        </pc:spChg>
        <pc:spChg chg="del">
          <ac:chgData name="Daniel von Düring Kjeldsen" userId="d61ad69a-09af-4fd5-9092-471501278b56" providerId="ADAL" clId="{4E651B94-CA1E-4178-ADF6-B752FDCF441D}" dt="2021-06-15T11:15:18.882" v="526" actId="478"/>
          <ac:spMkLst>
            <pc:docMk/>
            <pc:sldMk cId="3338833825" sldId="256"/>
            <ac:spMk id="4" creationId="{9A2F9418-933D-424E-85B9-578B61FA1848}"/>
          </ac:spMkLst>
        </pc:spChg>
        <pc:spChg chg="del">
          <ac:chgData name="Daniel von Düring Kjeldsen" userId="d61ad69a-09af-4fd5-9092-471501278b56" providerId="ADAL" clId="{4E651B94-CA1E-4178-ADF6-B752FDCF441D}" dt="2021-06-15T11:15:22.188" v="527" actId="478"/>
          <ac:spMkLst>
            <pc:docMk/>
            <pc:sldMk cId="3338833825" sldId="256"/>
            <ac:spMk id="7" creationId="{1A550E83-756B-44CD-A46E-7A48B14F6CFF}"/>
          </ac:spMkLst>
        </pc:spChg>
        <pc:spChg chg="add mod">
          <ac:chgData name="Daniel von Düring Kjeldsen" userId="d61ad69a-09af-4fd5-9092-471501278b56" providerId="ADAL" clId="{4E651B94-CA1E-4178-ADF6-B752FDCF441D}" dt="2021-06-15T11:08:53.186" v="3" actId="207"/>
          <ac:spMkLst>
            <pc:docMk/>
            <pc:sldMk cId="3338833825" sldId="256"/>
            <ac:spMk id="9" creationId="{A258545A-D17C-4782-84C3-353DE1415C4F}"/>
          </ac:spMkLst>
        </pc:spChg>
        <pc:spChg chg="add del">
          <ac:chgData name="Daniel von Düring Kjeldsen" userId="d61ad69a-09af-4fd5-9092-471501278b56" providerId="ADAL" clId="{4E651B94-CA1E-4178-ADF6-B752FDCF441D}" dt="2021-06-15T11:08:38.337" v="1" actId="22"/>
          <ac:spMkLst>
            <pc:docMk/>
            <pc:sldMk cId="3338833825" sldId="256"/>
            <ac:spMk id="10" creationId="{1A781CC9-17F3-4561-B438-605CAB55FCA6}"/>
          </ac:spMkLst>
        </pc:spChg>
        <pc:spChg chg="add mod">
          <ac:chgData name="Daniel von Düring Kjeldsen" userId="d61ad69a-09af-4fd5-9092-471501278b56" providerId="ADAL" clId="{4E651B94-CA1E-4178-ADF6-B752FDCF441D}" dt="2021-06-15T11:09:08.033" v="7" actId="14100"/>
          <ac:spMkLst>
            <pc:docMk/>
            <pc:sldMk cId="3338833825" sldId="256"/>
            <ac:spMk id="12" creationId="{2576BB51-FDF6-4A0B-BEF5-116339DDC56F}"/>
          </ac:spMkLst>
        </pc:spChg>
        <pc:spChg chg="add mod">
          <ac:chgData name="Daniel von Düring Kjeldsen" userId="d61ad69a-09af-4fd5-9092-471501278b56" providerId="ADAL" clId="{4E651B94-CA1E-4178-ADF6-B752FDCF441D}" dt="2021-06-15T18:19:11.354" v="3921" actId="1076"/>
          <ac:spMkLst>
            <pc:docMk/>
            <pc:sldMk cId="3338833825" sldId="256"/>
            <ac:spMk id="17" creationId="{CB5ABD52-5DDA-4458-AFCE-004C7D4A1B1A}"/>
          </ac:spMkLst>
        </pc:spChg>
        <pc:spChg chg="add mod">
          <ac:chgData name="Daniel von Düring Kjeldsen" userId="d61ad69a-09af-4fd5-9092-471501278b56" providerId="ADAL" clId="{4E651B94-CA1E-4178-ADF6-B752FDCF441D}" dt="2021-06-20T12:20:51.075" v="6295" actId="1076"/>
          <ac:spMkLst>
            <pc:docMk/>
            <pc:sldMk cId="3338833825" sldId="256"/>
            <ac:spMk id="18" creationId="{8E08C972-700A-46B2-A40D-B47122DD0F6E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24" creationId="{C6721F00-0818-4D1C-8C63-CE6ECF515BEA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26" creationId="{29ABBE90-1741-44F2-86F4-FD5ECB8C6713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27" creationId="{25DAC1F4-A8F4-4E8E-9B82-7B4D0024D300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28" creationId="{7DECD638-19D4-4492-810B-DA48D8BED5EB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29" creationId="{F15AE1BB-8F58-4C43-AF8A-6C395AEEB336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30" creationId="{81DFC337-3157-42C9-B9A6-C8DA4B226127}"/>
          </ac:spMkLst>
        </pc:spChg>
        <pc:spChg chg="mod modVis">
          <ac:chgData name="Daniel von Düring Kjeldsen" userId="d61ad69a-09af-4fd5-9092-471501278b56" providerId="ADAL" clId="{4E651B94-CA1E-4178-ADF6-B752FDCF441D}" dt="2021-06-15T12:14:28.825" v="1577" actId="13926"/>
          <ac:spMkLst>
            <pc:docMk/>
            <pc:sldMk cId="3338833825" sldId="256"/>
            <ac:spMk id="31" creationId="{28D1EC35-7194-48AA-93DF-41BF5CC38D77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32" creationId="{10EA431F-2D15-41A0-9232-D9094DB88881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33" creationId="{906978B5-83F4-480A-BB48-1CA23A0518D2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34" creationId="{B3814AB3-89CF-489C-95BA-462182CEED7A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35" creationId="{DC0BE9D7-DBA6-4A41-BD4F-3E777F96A355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36" creationId="{2270B5A3-8348-4A15-BA5F-C4A8724CD7EC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37" creationId="{7FF0718B-FE2F-42A6-993F-C1705529D237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38" creationId="{65583D12-DCB8-4216-8BEF-41B49E4AAE92}"/>
          </ac:spMkLst>
        </pc:spChg>
        <pc:spChg chg="mod modVis">
          <ac:chgData name="Daniel von Düring Kjeldsen" userId="d61ad69a-09af-4fd5-9092-471501278b56" providerId="ADAL" clId="{4E651B94-CA1E-4178-ADF6-B752FDCF441D}" dt="2021-06-15T12:15:06.526" v="1584" actId="13926"/>
          <ac:spMkLst>
            <pc:docMk/>
            <pc:sldMk cId="3338833825" sldId="256"/>
            <ac:spMk id="39" creationId="{63CFE713-D4B5-46F8-8FEB-592BF529221D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40" creationId="{CEC32494-2A5C-411F-91F6-A361C11F8FF1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41" creationId="{475FE188-C744-47E3-927B-C038790CA3CE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42" creationId="{6AAE7812-8700-4201-BAE3-88971BA04DE3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43" creationId="{8D751212-0B90-49F3-84BC-5DEBD444E2A3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44" creationId="{8B03E42D-E2C6-49EF-A3D2-566BD6C16D35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45" creationId="{4316051B-CFFB-41FB-9259-0E641A9C828E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46" creationId="{41BADE5A-F1DB-4403-B0D7-1F4C4E1F02B0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47" creationId="{E08134DB-5195-4910-BAB4-E7C22FFAE80C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48" creationId="{7C4086F7-AC11-4D59-8828-0606BCBE78A3}"/>
          </ac:spMkLst>
        </pc:spChg>
        <pc:spChg chg="mod modVis">
          <ac:chgData name="Daniel von Düring Kjeldsen" userId="d61ad69a-09af-4fd5-9092-471501278b56" providerId="ADAL" clId="{4E651B94-CA1E-4178-ADF6-B752FDCF441D}" dt="2021-06-15T12:14:31.939" v="1578" actId="13926"/>
          <ac:spMkLst>
            <pc:docMk/>
            <pc:sldMk cId="3338833825" sldId="256"/>
            <ac:spMk id="49" creationId="{619B94B1-33DA-439F-9A5E-4FFA0942DCA6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50" creationId="{9E3A060A-A89E-4935-AE8B-1BD9BDEF5C98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51" creationId="{0BBD7B4F-31D8-4AF4-84AD-11D321BA2247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52" creationId="{EA1824DD-4079-4270-9A9B-9514BD29FB9E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53" creationId="{D2C82821-275A-4A74-9DA6-B6E8EA370ADC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54" creationId="{5281B4B4-263D-4393-93A7-3FB06AF4C4C0}"/>
          </ac:spMkLst>
        </pc:spChg>
        <pc:spChg chg="mod modVis">
          <ac:chgData name="Daniel von Düring Kjeldsen" userId="d61ad69a-09af-4fd5-9092-471501278b56" providerId="ADAL" clId="{4E651B94-CA1E-4178-ADF6-B752FDCF441D}" dt="2021-06-15T12:14:48.995" v="1580" actId="13926"/>
          <ac:spMkLst>
            <pc:docMk/>
            <pc:sldMk cId="3338833825" sldId="256"/>
            <ac:spMk id="55" creationId="{4B82F6E9-5CF2-4A4E-8CA5-981B917D965D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56" creationId="{AFD2EA54-90CC-42D1-9002-207C63864895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57" creationId="{2CA4A3BB-0F71-4B3A-BAE2-3A3FB14D4068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58" creationId="{2939FBA7-A390-446E-9828-035C3817DC5C}"/>
          </ac:spMkLst>
        </pc:spChg>
        <pc:spChg chg="mod modVis">
          <ac:chgData name="Daniel von Düring Kjeldsen" userId="d61ad69a-09af-4fd5-9092-471501278b56" providerId="ADAL" clId="{4E651B94-CA1E-4178-ADF6-B752FDCF441D}" dt="2021-06-15T12:14:51.823" v="1581" actId="13926"/>
          <ac:spMkLst>
            <pc:docMk/>
            <pc:sldMk cId="3338833825" sldId="256"/>
            <ac:spMk id="59" creationId="{BA0DE8B1-10BB-4022-8530-35D72CCEB6F6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60" creationId="{909DF7FA-3B91-445E-9BEF-F614B42FA2B2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61" creationId="{A5512FC0-0F94-4A28-9EE6-0162A4E50D51}"/>
          </ac:spMkLst>
        </pc:spChg>
        <pc:spChg chg="mod modVis">
          <ac:chgData name="Daniel von Düring Kjeldsen" userId="d61ad69a-09af-4fd5-9092-471501278b56" providerId="ADAL" clId="{4E651B94-CA1E-4178-ADF6-B752FDCF441D}" dt="2021-06-15T12:14:58.851" v="1583" actId="207"/>
          <ac:spMkLst>
            <pc:docMk/>
            <pc:sldMk cId="3338833825" sldId="256"/>
            <ac:spMk id="62" creationId="{603D5EE9-69E6-4DF4-9F19-1B91B8BD5756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63" creationId="{C843D161-7867-4DD6-8E98-B2A673A3477A}"/>
          </ac:spMkLst>
        </pc:spChg>
        <pc:spChg chg="mod modVis">
          <ac:chgData name="Daniel von Düring Kjeldsen" userId="d61ad69a-09af-4fd5-9092-471501278b56" providerId="ADAL" clId="{4E651B94-CA1E-4178-ADF6-B752FDCF441D}" dt="2021-06-15T12:13:33.197" v="1572"/>
          <ac:spMkLst>
            <pc:docMk/>
            <pc:sldMk cId="3338833825" sldId="256"/>
            <ac:spMk id="64" creationId="{7AEC12C5-C061-412D-ADC3-CECEE76E3AE0}"/>
          </ac:spMkLst>
        </pc:spChg>
        <pc:spChg chg="add mod">
          <ac:chgData name="Daniel von Düring Kjeldsen" userId="d61ad69a-09af-4fd5-9092-471501278b56" providerId="ADAL" clId="{4E651B94-CA1E-4178-ADF6-B752FDCF441D}" dt="2021-06-15T12:16:30.180" v="1643" actId="1076"/>
          <ac:spMkLst>
            <pc:docMk/>
            <pc:sldMk cId="3338833825" sldId="256"/>
            <ac:spMk id="65" creationId="{87188302-DCEA-434D-8882-AFADFDD375D8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67" creationId="{4549A77F-B100-424D-878D-E0392FC7389B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69" creationId="{6C054773-6EA7-40CA-AC8E-4A66E00EE857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70" creationId="{962AC6D3-1EC0-4526-94B6-A117FD63B66B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71" creationId="{37EECEDD-8DC1-4E46-8295-F2D4EABD14CE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72" creationId="{870B7807-FFF9-4633-AD81-F499BFA98721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73" creationId="{DBCB14F8-CC1B-453B-A325-643C5494D22F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74" creationId="{D1EBFEBF-DFFB-4668-9C66-F6AE1B43E3F0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75" creationId="{EF32C64A-5FE5-44B5-A761-6F956CDBB1B9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76" creationId="{6FA8C58A-76E9-4E56-AB22-9EED4915E331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77" creationId="{E6AA576B-5188-4BBE-A68E-187E202870CE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78" creationId="{D9250EB0-DEB2-479F-8E82-70485DF603BC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79" creationId="{D750E1F4-2D38-4130-B303-2557DBCA3D82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80" creationId="{2C876CFD-549D-4B8E-8C47-C61A69D1E089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81" creationId="{BCCF6EF9-C947-4929-B652-E3456B6EE602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82" creationId="{6FB7D8E1-E328-4D12-B7DE-2257BD5A42B3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83" creationId="{7848F7D1-3F8C-44CE-AF7C-8A02526B10AF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84" creationId="{DAE1A7DA-4BDF-4BCB-847F-B741232DD3EE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85" creationId="{4C059843-67EE-4181-BFAA-878FD28BA267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86" creationId="{A643484F-0A11-48CF-B2A7-09FACE8E8DC3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87" creationId="{46E1A69D-B267-4934-A04D-2F0F185F93B0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88" creationId="{06340458-6FF1-4C05-904C-3E271951C5A6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89" creationId="{B6C8354E-A9BB-4F39-BC68-D64086A9A3C3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90" creationId="{0E02BB7F-3E84-4452-9DFE-663BF69601A5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91" creationId="{3A6E2A85-CE0F-4F77-BB64-67A3B469EEF1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92" creationId="{CBE04BD8-7512-4D8A-874B-C7151C5FC90C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93" creationId="{A95CB7D3-FCC0-455B-836A-0D044801FC30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94" creationId="{13FBE6EF-C579-421D-A5F3-275587A62C08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95" creationId="{2080C773-4FD3-4D81-BBBA-1EFDF87E9F7E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96" creationId="{D28D9958-24AA-492B-9A17-0276A1793FC4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97" creationId="{28761B6F-2BA7-4197-B0F8-7C26CBE19428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98" creationId="{B00E06ED-688A-4969-84F8-0C155F782F91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99" creationId="{34B8D7FA-D26D-440D-8E0E-FED25A7FD401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100" creationId="{8CB95330-2A1B-49D1-9029-6C00C40829DF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101" creationId="{A18E03D1-F92A-44E7-A291-C0DBECC245DC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102" creationId="{0A6EE489-624A-4987-88EE-120D337C3FFD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103" creationId="{C459B277-FDB8-4804-B460-135409868A2F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104" creationId="{30474B1E-A196-45AB-9E2C-B7C26EB192DD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105" creationId="{0B22F8BC-B59D-49CC-BAEA-B205370033EA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106" creationId="{9B1470BA-18AD-4AFE-8D78-FEC84E350C67}"/>
          </ac:spMkLst>
        </pc:spChg>
        <pc:spChg chg="mod modVis">
          <ac:chgData name="Daniel von Düring Kjeldsen" userId="d61ad69a-09af-4fd5-9092-471501278b56" providerId="ADAL" clId="{4E651B94-CA1E-4178-ADF6-B752FDCF441D}" dt="2021-06-15T12:15:55.810" v="1636"/>
          <ac:spMkLst>
            <pc:docMk/>
            <pc:sldMk cId="3338833825" sldId="256"/>
            <ac:spMk id="107" creationId="{B543546E-F1CB-41A7-9FA4-A854A86F085B}"/>
          </ac:spMkLst>
        </pc:spChg>
        <pc:spChg chg="add mod">
          <ac:chgData name="Daniel von Düring Kjeldsen" userId="d61ad69a-09af-4fd5-9092-471501278b56" providerId="ADAL" clId="{4E651B94-CA1E-4178-ADF6-B752FDCF441D}" dt="2021-06-15T12:22:36.264" v="1708" actId="1076"/>
          <ac:spMkLst>
            <pc:docMk/>
            <pc:sldMk cId="3338833825" sldId="256"/>
            <ac:spMk id="108" creationId="{0D981B2F-4923-418C-9E93-890096774D25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10" creationId="{F8E99902-590F-4215-831D-99FC05E59E74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12" creationId="{AE489BCC-D908-4087-9824-B8A81F802E04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13" creationId="{DD7A1A6B-0B13-42F1-A695-7F4C17F994D2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14" creationId="{1C3A9486-65CF-42BE-9E70-6A628D83F67D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15" creationId="{993D31F7-6A20-48B0-9ECB-65F06598B8E9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16" creationId="{C85CBD72-D06D-40E7-9D90-75F038B1C159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17" creationId="{3966D6B9-1BD1-4C42-A431-0B67C6E3E373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18" creationId="{8DA30AD8-6C51-4608-B72D-CD681A8EE165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19" creationId="{40E37095-A5CE-47F2-8958-0D7BAF2BC16A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20" creationId="{92235518-516D-49E0-87F0-51482294E251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21" creationId="{722EBFA5-5B03-4616-AFA3-8C57CA1C4BF0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22" creationId="{612D2CC1-DCAD-4D73-B189-782CBDCDD618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23" creationId="{51D9045D-3C6D-43CC-9371-AD75DDBCEC8B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24" creationId="{DC44E0D0-0710-4796-BDEA-E10439CFB73B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25" creationId="{AC578BFC-EBE9-4423-AFBC-5CA4568816B6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26" creationId="{2A1E2924-6885-41C6-B663-B2B4A34AC771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27" creationId="{1AFBB8DF-06B9-4133-B938-0FCFBB1CF6D1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28" creationId="{2C9B2E8D-24F8-417F-BB6B-1E1CECE94CC0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29" creationId="{ACC14564-F45E-485C-ABFD-2587678BAFFA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30" creationId="{E1B650EE-FF2A-4860-80AB-7A37BC1C4A7B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31" creationId="{F4057687-1ABA-4034-9004-32BF9D324325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32" creationId="{7CA192E9-4242-4859-90BA-383D49206CF9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33" creationId="{7E452D8C-8140-41B9-99C2-CA3D48A69A44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34" creationId="{3DC36485-298D-4EBB-8C49-AE25F55AFE3F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35" creationId="{19B6A64F-01FC-4243-87F8-D521BBA2904B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36" creationId="{30C04636-432A-436A-BDD3-72B7B071D276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37" creationId="{B7E446C9-CD53-48C6-96A9-1CD90E4E22B8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38" creationId="{37A1A67A-F6C2-4FAC-885E-C39B50CC543E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39" creationId="{C27A0336-6CB9-4603-8771-3F84298CD2EC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40" creationId="{92200342-39C7-4A33-AE71-FD181FADDC36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41" creationId="{6E6E82FA-0A8F-468B-AC2A-DBA0BC002038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42" creationId="{F3EC30FC-7050-49E4-93E6-52FB3384C5B5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43" creationId="{8098949E-0FD1-4E55-B49F-7A5AFC88D913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44" creationId="{0D58546A-5A3A-4DF9-8EDF-FC7072EBDD1F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45" creationId="{F6844A01-321B-4B90-BFB1-6604DFFF2528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46" creationId="{187F91B1-C271-40E6-AEF4-A09A0028AD90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47" creationId="{0CFC14F4-2D4F-4ED8-97E6-91928AE1B19B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48" creationId="{782CEC67-D4B9-474C-B739-E3B084C11DAD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49" creationId="{A0D7CA3B-CE44-479A-9D88-422EFD876F0F}"/>
          </ac:spMkLst>
        </pc:spChg>
        <pc:spChg chg="mod modVis">
          <ac:chgData name="Daniel von Düring Kjeldsen" userId="d61ad69a-09af-4fd5-9092-471501278b56" providerId="ADAL" clId="{4E651B94-CA1E-4178-ADF6-B752FDCF441D}" dt="2021-06-15T12:17:46.159" v="1699"/>
          <ac:spMkLst>
            <pc:docMk/>
            <pc:sldMk cId="3338833825" sldId="256"/>
            <ac:spMk id="150" creationId="{863CF1E8-FD80-4E8E-AE6C-98B18D272B4F}"/>
          </ac:spMkLst>
        </pc:spChg>
        <pc:grpChg chg="add del mod modVis">
          <ac:chgData name="Daniel von Düring Kjeldsen" userId="d61ad69a-09af-4fd5-9092-471501278b56" providerId="ADAL" clId="{4E651B94-CA1E-4178-ADF6-B752FDCF441D}" dt="2021-06-15T12:15:48.665" v="1588" actId="478"/>
          <ac:grpSpMkLst>
            <pc:docMk/>
            <pc:sldMk cId="3338833825" sldId="256"/>
            <ac:grpSpMk id="23" creationId="{5204CE7C-F327-45A4-8186-FC534E72B35A}"/>
          </ac:grpSpMkLst>
        </pc:grpChg>
        <pc:grpChg chg="mod modVis">
          <ac:chgData name="Daniel von Düring Kjeldsen" userId="d61ad69a-09af-4fd5-9092-471501278b56" providerId="ADAL" clId="{4E651B94-CA1E-4178-ADF6-B752FDCF441D}" dt="2021-06-15T12:13:33.197" v="1572"/>
          <ac:grpSpMkLst>
            <pc:docMk/>
            <pc:sldMk cId="3338833825" sldId="256"/>
            <ac:grpSpMk id="25" creationId="{7B18DCBF-0B62-4FB0-A4FD-4517D18AEEFA}"/>
          </ac:grpSpMkLst>
        </pc:grpChg>
        <pc:grpChg chg="add del mod modVis">
          <ac:chgData name="Daniel von Düring Kjeldsen" userId="d61ad69a-09af-4fd5-9092-471501278b56" providerId="ADAL" clId="{4E651B94-CA1E-4178-ADF6-B752FDCF441D}" dt="2021-06-15T12:17:23.113" v="1647" actId="478"/>
          <ac:grpSpMkLst>
            <pc:docMk/>
            <pc:sldMk cId="3338833825" sldId="256"/>
            <ac:grpSpMk id="66" creationId="{95FA999D-8387-4AB6-98F7-3A0759CC1F77}"/>
          </ac:grpSpMkLst>
        </pc:grpChg>
        <pc:grpChg chg="mod modVis">
          <ac:chgData name="Daniel von Düring Kjeldsen" userId="d61ad69a-09af-4fd5-9092-471501278b56" providerId="ADAL" clId="{4E651B94-CA1E-4178-ADF6-B752FDCF441D}" dt="2021-06-15T12:15:55.810" v="1636"/>
          <ac:grpSpMkLst>
            <pc:docMk/>
            <pc:sldMk cId="3338833825" sldId="256"/>
            <ac:grpSpMk id="68" creationId="{DF873B6C-A64C-4F2D-9D58-FFCE10D0EBCA}"/>
          </ac:grpSpMkLst>
        </pc:grpChg>
        <pc:grpChg chg="add mod modVis">
          <ac:chgData name="Daniel von Düring Kjeldsen" userId="d61ad69a-09af-4fd5-9092-471501278b56" providerId="ADAL" clId="{4E651B94-CA1E-4178-ADF6-B752FDCF441D}" dt="2021-06-15T12:22:43.630" v="1709" actId="1076"/>
          <ac:grpSpMkLst>
            <pc:docMk/>
            <pc:sldMk cId="3338833825" sldId="256"/>
            <ac:grpSpMk id="109" creationId="{99E5915E-2561-43C1-8788-71FC854B840C}"/>
          </ac:grpSpMkLst>
        </pc:grpChg>
        <pc:grpChg chg="mod modVis">
          <ac:chgData name="Daniel von Düring Kjeldsen" userId="d61ad69a-09af-4fd5-9092-471501278b56" providerId="ADAL" clId="{4E651B94-CA1E-4178-ADF6-B752FDCF441D}" dt="2021-06-15T12:17:46.159" v="1699"/>
          <ac:grpSpMkLst>
            <pc:docMk/>
            <pc:sldMk cId="3338833825" sldId="256"/>
            <ac:grpSpMk id="111" creationId="{AF70E327-45C2-4C79-89AA-C8174D29B917}"/>
          </ac:grpSpMkLst>
        </pc:grpChg>
        <pc:picChg chg="add del mod">
          <ac:chgData name="Daniel von Düring Kjeldsen" userId="d61ad69a-09af-4fd5-9092-471501278b56" providerId="ADAL" clId="{4E651B94-CA1E-4178-ADF6-B752FDCF441D}" dt="2021-06-15T11:27:14.789" v="780" actId="478"/>
          <ac:picMkLst>
            <pc:docMk/>
            <pc:sldMk cId="3338833825" sldId="256"/>
            <ac:picMk id="14" creationId="{E5479F05-C0EB-469E-AD70-559BD9CE4FBB}"/>
          </ac:picMkLst>
        </pc:picChg>
        <pc:picChg chg="add del mod">
          <ac:chgData name="Daniel von Düring Kjeldsen" userId="d61ad69a-09af-4fd5-9092-471501278b56" providerId="ADAL" clId="{4E651B94-CA1E-4178-ADF6-B752FDCF441D}" dt="2021-06-15T11:27:44.364" v="784" actId="478"/>
          <ac:picMkLst>
            <pc:docMk/>
            <pc:sldMk cId="3338833825" sldId="256"/>
            <ac:picMk id="16" creationId="{425FEB6C-76B5-4391-AC6F-27CA30FF5B3F}"/>
          </ac:picMkLst>
        </pc:picChg>
        <pc:picChg chg="add del mod">
          <ac:chgData name="Daniel von Düring Kjeldsen" userId="d61ad69a-09af-4fd5-9092-471501278b56" providerId="ADAL" clId="{4E651B94-CA1E-4178-ADF6-B752FDCF441D}" dt="2021-06-20T14:30:00.093" v="6301" actId="478"/>
          <ac:picMkLst>
            <pc:docMk/>
            <pc:sldMk cId="3338833825" sldId="256"/>
            <ac:picMk id="20" creationId="{598B4266-0814-48AF-9141-C5410D753EF9}"/>
          </ac:picMkLst>
        </pc:picChg>
        <pc:picChg chg="add del mod">
          <ac:chgData name="Daniel von Düring Kjeldsen" userId="d61ad69a-09af-4fd5-9092-471501278b56" providerId="ADAL" clId="{4E651B94-CA1E-4178-ADF6-B752FDCF441D}" dt="2021-06-20T14:30:00.380" v="6302" actId="478"/>
          <ac:picMkLst>
            <pc:docMk/>
            <pc:sldMk cId="3338833825" sldId="256"/>
            <ac:picMk id="22" creationId="{B1CD09CD-5239-4029-B84A-82510046A86F}"/>
          </ac:picMkLst>
        </pc:picChg>
      </pc:sldChg>
      <pc:sldChg chg="add del">
        <pc:chgData name="Daniel von Düring Kjeldsen" userId="d61ad69a-09af-4fd5-9092-471501278b56" providerId="ADAL" clId="{4E651B94-CA1E-4178-ADF6-B752FDCF441D}" dt="2021-06-15T11:47:22.391" v="1190" actId="47"/>
        <pc:sldMkLst>
          <pc:docMk/>
          <pc:sldMk cId="1132481874" sldId="257"/>
        </pc:sldMkLst>
      </pc:sldChg>
      <pc:sldChg chg="del">
        <pc:chgData name="Daniel von Düring Kjeldsen" userId="d61ad69a-09af-4fd5-9092-471501278b56" providerId="ADAL" clId="{4E651B94-CA1E-4178-ADF6-B752FDCF441D}" dt="2021-06-16T14:09:49.559" v="4247" actId="2696"/>
        <pc:sldMkLst>
          <pc:docMk/>
          <pc:sldMk cId="2327061924" sldId="258"/>
        </pc:sldMkLst>
      </pc:sldChg>
      <pc:sldChg chg="add del">
        <pc:chgData name="Daniel von Düring Kjeldsen" userId="d61ad69a-09af-4fd5-9092-471501278b56" providerId="ADAL" clId="{4E651B94-CA1E-4178-ADF6-B752FDCF441D}" dt="2021-06-15T11:47:19.202" v="1188" actId="47"/>
        <pc:sldMkLst>
          <pc:docMk/>
          <pc:sldMk cId="2963526640" sldId="259"/>
        </pc:sldMkLst>
      </pc:sldChg>
      <pc:sldChg chg="add del">
        <pc:chgData name="Daniel von Düring Kjeldsen" userId="d61ad69a-09af-4fd5-9092-471501278b56" providerId="ADAL" clId="{4E651B94-CA1E-4178-ADF6-B752FDCF441D}" dt="2021-06-15T11:47:17.025" v="1186" actId="47"/>
        <pc:sldMkLst>
          <pc:docMk/>
          <pc:sldMk cId="184350946" sldId="260"/>
        </pc:sldMkLst>
      </pc:sldChg>
      <pc:sldChg chg="add del">
        <pc:chgData name="Daniel von Düring Kjeldsen" userId="d61ad69a-09af-4fd5-9092-471501278b56" providerId="ADAL" clId="{4E651B94-CA1E-4178-ADF6-B752FDCF441D}" dt="2021-06-15T11:47:18.601" v="1187" actId="47"/>
        <pc:sldMkLst>
          <pc:docMk/>
          <pc:sldMk cId="3461721116" sldId="261"/>
        </pc:sldMkLst>
      </pc:sldChg>
      <pc:sldChg chg="add del">
        <pc:chgData name="Daniel von Düring Kjeldsen" userId="d61ad69a-09af-4fd5-9092-471501278b56" providerId="ADAL" clId="{4E651B94-CA1E-4178-ADF6-B752FDCF441D}" dt="2021-06-15T11:47:15.197" v="1185" actId="47"/>
        <pc:sldMkLst>
          <pc:docMk/>
          <pc:sldMk cId="2626341731" sldId="262"/>
        </pc:sldMkLst>
      </pc:sldChg>
      <pc:sldChg chg="add del">
        <pc:chgData name="Daniel von Düring Kjeldsen" userId="d61ad69a-09af-4fd5-9092-471501278b56" providerId="ADAL" clId="{4E651B94-CA1E-4178-ADF6-B752FDCF441D}" dt="2021-06-15T11:47:12.908" v="1183" actId="47"/>
        <pc:sldMkLst>
          <pc:docMk/>
          <pc:sldMk cId="45357024" sldId="264"/>
        </pc:sldMkLst>
      </pc:sldChg>
      <pc:sldChg chg="add del">
        <pc:chgData name="Daniel von Düring Kjeldsen" userId="d61ad69a-09af-4fd5-9092-471501278b56" providerId="ADAL" clId="{4E651B94-CA1E-4178-ADF6-B752FDCF441D}" dt="2021-06-15T11:47:12.011" v="1182" actId="47"/>
        <pc:sldMkLst>
          <pc:docMk/>
          <pc:sldMk cId="853208690" sldId="265"/>
        </pc:sldMkLst>
      </pc:sldChg>
      <pc:sldChg chg="add del">
        <pc:chgData name="Daniel von Düring Kjeldsen" userId="d61ad69a-09af-4fd5-9092-471501278b56" providerId="ADAL" clId="{4E651B94-CA1E-4178-ADF6-B752FDCF441D}" dt="2021-06-15T11:47:10.967" v="1181" actId="47"/>
        <pc:sldMkLst>
          <pc:docMk/>
          <pc:sldMk cId="2542089884" sldId="266"/>
        </pc:sldMkLst>
      </pc:sldChg>
      <pc:sldChg chg="add del">
        <pc:chgData name="Daniel von Düring Kjeldsen" userId="d61ad69a-09af-4fd5-9092-471501278b56" providerId="ADAL" clId="{4E651B94-CA1E-4178-ADF6-B752FDCF441D}" dt="2021-06-15T11:47:06.753" v="1180" actId="47"/>
        <pc:sldMkLst>
          <pc:docMk/>
          <pc:sldMk cId="3910529976" sldId="267"/>
        </pc:sldMkLst>
      </pc:sldChg>
      <pc:sldChg chg="add del">
        <pc:chgData name="Daniel von Düring Kjeldsen" userId="d61ad69a-09af-4fd5-9092-471501278b56" providerId="ADAL" clId="{4E651B94-CA1E-4178-ADF6-B752FDCF441D}" dt="2021-06-15T11:47:13.809" v="1184" actId="47"/>
        <pc:sldMkLst>
          <pc:docMk/>
          <pc:sldMk cId="1208064873" sldId="269"/>
        </pc:sldMkLst>
      </pc:sldChg>
      <pc:sldChg chg="add del ord">
        <pc:chgData name="Daniel von Düring Kjeldsen" userId="d61ad69a-09af-4fd5-9092-471501278b56" providerId="ADAL" clId="{4E651B94-CA1E-4178-ADF6-B752FDCF441D}" dt="2021-06-16T14:09:41.055" v="4246" actId="2696"/>
        <pc:sldMkLst>
          <pc:docMk/>
          <pc:sldMk cId="3135613538" sldId="275"/>
        </pc:sldMkLst>
      </pc:sldChg>
      <pc:sldChg chg="addSp delSp modSp mod">
        <pc:chgData name="Daniel von Düring Kjeldsen" userId="d61ad69a-09af-4fd5-9092-471501278b56" providerId="ADAL" clId="{4E651B94-CA1E-4178-ADF6-B752FDCF441D}" dt="2021-06-24T08:28:15.868" v="8077" actId="20577"/>
        <pc:sldMkLst>
          <pc:docMk/>
          <pc:sldMk cId="2382297769" sldId="3242"/>
        </pc:sldMkLst>
        <pc:spChg chg="add del">
          <ac:chgData name="Daniel von Düring Kjeldsen" userId="d61ad69a-09af-4fd5-9092-471501278b56" providerId="ADAL" clId="{4E651B94-CA1E-4178-ADF6-B752FDCF441D}" dt="2021-06-15T11:09:19.809" v="113"/>
          <ac:spMkLst>
            <pc:docMk/>
            <pc:sldMk cId="2382297769" sldId="3242"/>
            <ac:spMk id="2" creationId="{048C6DCB-9FF8-4F46-90EB-982DFEFFF2D9}"/>
          </ac:spMkLst>
        </pc:spChg>
        <pc:spChg chg="add mod modVis">
          <ac:chgData name="Daniel von Düring Kjeldsen" userId="d61ad69a-09af-4fd5-9092-471501278b56" providerId="ADAL" clId="{4E651B94-CA1E-4178-ADF6-B752FDCF441D}" dt="2021-06-15T11:09:30.544" v="114" actId="207"/>
          <ac:spMkLst>
            <pc:docMk/>
            <pc:sldMk cId="2382297769" sldId="3242"/>
            <ac:spMk id="4" creationId="{CD155F9E-CE00-4515-B831-6E65764D7344}"/>
          </ac:spMkLst>
        </pc:spChg>
        <pc:spChg chg="add del mod">
          <ac:chgData name="Daniel von Düring Kjeldsen" userId="d61ad69a-09af-4fd5-9092-471501278b56" providerId="ADAL" clId="{4E651B94-CA1E-4178-ADF6-B752FDCF441D}" dt="2021-06-21T13:46:11.309" v="8072" actId="478"/>
          <ac:spMkLst>
            <pc:docMk/>
            <pc:sldMk cId="2382297769" sldId="3242"/>
            <ac:spMk id="12" creationId="{AC2E7026-0656-4500-93E7-330B0050BE57}"/>
          </ac:spMkLst>
        </pc:spChg>
        <pc:spChg chg="mod">
          <ac:chgData name="Daniel von Düring Kjeldsen" userId="d61ad69a-09af-4fd5-9092-471501278b56" providerId="ADAL" clId="{4E651B94-CA1E-4178-ADF6-B752FDCF441D}" dt="2021-06-15T11:09:55.815" v="155" actId="1076"/>
          <ac:spMkLst>
            <pc:docMk/>
            <pc:sldMk cId="2382297769" sldId="3242"/>
            <ac:spMk id="14" creationId="{0DF781C0-F681-4E50-9342-ED522A0A3BA0}"/>
          </ac:spMkLst>
        </pc:spChg>
        <pc:spChg chg="mod">
          <ac:chgData name="Daniel von Düring Kjeldsen" userId="d61ad69a-09af-4fd5-9092-471501278b56" providerId="ADAL" clId="{4E651B94-CA1E-4178-ADF6-B752FDCF441D}" dt="2021-06-24T08:28:15.868" v="8077" actId="20577"/>
          <ac:spMkLst>
            <pc:docMk/>
            <pc:sldMk cId="2382297769" sldId="3242"/>
            <ac:spMk id="17" creationId="{5205E8DB-FB68-4554-975D-0B85ED2C2782}"/>
          </ac:spMkLst>
        </pc:spChg>
        <pc:spChg chg="add mod">
          <ac:chgData name="Daniel von Düring Kjeldsen" userId="d61ad69a-09af-4fd5-9092-471501278b56" providerId="ADAL" clId="{4E651B94-CA1E-4178-ADF6-B752FDCF441D}" dt="2021-06-15T12:45:18.562" v="1779" actId="1076"/>
          <ac:spMkLst>
            <pc:docMk/>
            <pc:sldMk cId="2382297769" sldId="3242"/>
            <ac:spMk id="25" creationId="{B2C96622-9ED3-4A7D-837B-09A8C459D0D0}"/>
          </ac:spMkLst>
        </pc:spChg>
      </pc:sldChg>
      <pc:sldChg chg="addSp delSp modSp new del mod">
        <pc:chgData name="Daniel von Düring Kjeldsen" userId="d61ad69a-09af-4fd5-9092-471501278b56" providerId="ADAL" clId="{4E651B94-CA1E-4178-ADF6-B752FDCF441D}" dt="2021-06-20T14:29:49.129" v="6296" actId="2696"/>
        <pc:sldMkLst>
          <pc:docMk/>
          <pc:sldMk cId="3204179972" sldId="3243"/>
        </pc:sldMkLst>
        <pc:spChg chg="del mod">
          <ac:chgData name="Daniel von Düring Kjeldsen" userId="d61ad69a-09af-4fd5-9092-471501278b56" providerId="ADAL" clId="{4E651B94-CA1E-4178-ADF6-B752FDCF441D}" dt="2021-06-15T11:36:36.305" v="933" actId="478"/>
          <ac:spMkLst>
            <pc:docMk/>
            <pc:sldMk cId="3204179972" sldId="3243"/>
            <ac:spMk id="2" creationId="{F2747FEF-FFA9-4F83-AD4C-785D6FC1E4BD}"/>
          </ac:spMkLst>
        </pc:spChg>
        <pc:spChg chg="add del mod">
          <ac:chgData name="Daniel von Düring Kjeldsen" userId="d61ad69a-09af-4fd5-9092-471501278b56" providerId="ADAL" clId="{4E651B94-CA1E-4178-ADF6-B752FDCF441D}" dt="2021-06-15T11:31:26.646" v="902" actId="14100"/>
          <ac:spMkLst>
            <pc:docMk/>
            <pc:sldMk cId="3204179972" sldId="3243"/>
            <ac:spMk id="3" creationId="{9AFB5A64-3804-4C5B-9D0E-02FB6646BA5A}"/>
          </ac:spMkLst>
        </pc:spChg>
        <pc:spChg chg="del mod">
          <ac:chgData name="Daniel von Düring Kjeldsen" userId="d61ad69a-09af-4fd5-9092-471501278b56" providerId="ADAL" clId="{4E651B94-CA1E-4178-ADF6-B752FDCF441D}" dt="2021-06-15T11:36:37.904" v="934" actId="478"/>
          <ac:spMkLst>
            <pc:docMk/>
            <pc:sldMk cId="3204179972" sldId="3243"/>
            <ac:spMk id="4" creationId="{D5B5AB02-3696-42D9-95D5-C16AD54B2B84}"/>
          </ac:spMkLst>
        </pc:spChg>
        <pc:spChg chg="add mod">
          <ac:chgData name="Daniel von Düring Kjeldsen" userId="d61ad69a-09af-4fd5-9092-471501278b56" providerId="ADAL" clId="{4E651B94-CA1E-4178-ADF6-B752FDCF441D}" dt="2021-06-15T11:23:01.472" v="770" actId="207"/>
          <ac:spMkLst>
            <pc:docMk/>
            <pc:sldMk cId="3204179972" sldId="3243"/>
            <ac:spMk id="7" creationId="{850E82AD-3A35-4199-86E0-7477A6FE368D}"/>
          </ac:spMkLst>
        </pc:spChg>
        <pc:spChg chg="add mod">
          <ac:chgData name="Daniel von Düring Kjeldsen" userId="d61ad69a-09af-4fd5-9092-471501278b56" providerId="ADAL" clId="{4E651B94-CA1E-4178-ADF6-B752FDCF441D}" dt="2021-06-15T13:00:39.552" v="1782" actId="404"/>
          <ac:spMkLst>
            <pc:docMk/>
            <pc:sldMk cId="3204179972" sldId="3243"/>
            <ac:spMk id="20" creationId="{0FD98D93-9066-4B64-AB36-A26FD7849EC2}"/>
          </ac:spMkLst>
        </pc:spChg>
        <pc:picChg chg="add del mod">
          <ac:chgData name="Daniel von Düring Kjeldsen" userId="d61ad69a-09af-4fd5-9092-471501278b56" providerId="ADAL" clId="{4E651B94-CA1E-4178-ADF6-B752FDCF441D}" dt="2021-06-15T11:25:29.987" v="777" actId="21"/>
          <ac:picMkLst>
            <pc:docMk/>
            <pc:sldMk cId="3204179972" sldId="3243"/>
            <ac:picMk id="9" creationId="{C98DD962-568F-4AF2-AF40-1D07A5739F33}"/>
          </ac:picMkLst>
        </pc:picChg>
        <pc:picChg chg="add del mod">
          <ac:chgData name="Daniel von Düring Kjeldsen" userId="d61ad69a-09af-4fd5-9092-471501278b56" providerId="ADAL" clId="{4E651B94-CA1E-4178-ADF6-B752FDCF441D}" dt="2021-06-15T11:29:44.276" v="889" actId="478"/>
          <ac:picMkLst>
            <pc:docMk/>
            <pc:sldMk cId="3204179972" sldId="3243"/>
            <ac:picMk id="11" creationId="{5CEFE6B4-730D-4810-8133-A0A144FD1615}"/>
          </ac:picMkLst>
        </pc:picChg>
        <pc:picChg chg="add del mod">
          <ac:chgData name="Daniel von Düring Kjeldsen" userId="d61ad69a-09af-4fd5-9092-471501278b56" providerId="ADAL" clId="{4E651B94-CA1E-4178-ADF6-B752FDCF441D}" dt="2021-06-15T11:31:09.466" v="892" actId="478"/>
          <ac:picMkLst>
            <pc:docMk/>
            <pc:sldMk cId="3204179972" sldId="3243"/>
            <ac:picMk id="13" creationId="{EF27A372-764C-4DAB-BB40-F48E51864D40}"/>
          </ac:picMkLst>
        </pc:picChg>
        <pc:picChg chg="add mod">
          <ac:chgData name="Daniel von Düring Kjeldsen" userId="d61ad69a-09af-4fd5-9092-471501278b56" providerId="ADAL" clId="{4E651B94-CA1E-4178-ADF6-B752FDCF441D}" dt="2021-06-15T11:35:07.153" v="924" actId="14100"/>
          <ac:picMkLst>
            <pc:docMk/>
            <pc:sldMk cId="3204179972" sldId="3243"/>
            <ac:picMk id="15" creationId="{6D46C761-5E59-46B5-BEC8-970694CE13CE}"/>
          </ac:picMkLst>
        </pc:picChg>
        <pc:picChg chg="add del mod">
          <ac:chgData name="Daniel von Düring Kjeldsen" userId="d61ad69a-09af-4fd5-9092-471501278b56" providerId="ADAL" clId="{4E651B94-CA1E-4178-ADF6-B752FDCF441D}" dt="2021-06-15T12:01:28.973" v="1388" actId="478"/>
          <ac:picMkLst>
            <pc:docMk/>
            <pc:sldMk cId="3204179972" sldId="3243"/>
            <ac:picMk id="17" creationId="{C8C49A3E-A5CE-4893-8DEF-D56A5BFFA9F1}"/>
          </ac:picMkLst>
        </pc:picChg>
        <pc:picChg chg="add mod">
          <ac:chgData name="Daniel von Düring Kjeldsen" userId="d61ad69a-09af-4fd5-9092-471501278b56" providerId="ADAL" clId="{4E651B94-CA1E-4178-ADF6-B752FDCF441D}" dt="2021-06-15T12:02:51.766" v="1403" actId="14100"/>
          <ac:picMkLst>
            <pc:docMk/>
            <pc:sldMk cId="3204179972" sldId="3243"/>
            <ac:picMk id="19" creationId="{9839FEF8-C3C9-4B32-970A-D891350CF6D3}"/>
          </ac:picMkLst>
        </pc:picChg>
        <pc:picChg chg="add mod">
          <ac:chgData name="Daniel von Düring Kjeldsen" userId="d61ad69a-09af-4fd5-9092-471501278b56" providerId="ADAL" clId="{4E651B94-CA1E-4178-ADF6-B752FDCF441D}" dt="2021-06-15T12:02:43.698" v="1401" actId="1076"/>
          <ac:picMkLst>
            <pc:docMk/>
            <pc:sldMk cId="3204179972" sldId="3243"/>
            <ac:picMk id="22" creationId="{0065DA88-F884-435A-BBEA-89FB5C59795B}"/>
          </ac:picMkLst>
        </pc:picChg>
        <pc:picChg chg="add del mod">
          <ac:chgData name="Daniel von Düring Kjeldsen" userId="d61ad69a-09af-4fd5-9092-471501278b56" providerId="ADAL" clId="{4E651B94-CA1E-4178-ADF6-B752FDCF441D}" dt="2021-06-15T12:02:25.080" v="1395" actId="478"/>
          <ac:picMkLst>
            <pc:docMk/>
            <pc:sldMk cId="3204179972" sldId="3243"/>
            <ac:picMk id="24" creationId="{EDF3F2B4-E565-4BBD-95EF-B8ED79994AB5}"/>
          </ac:picMkLst>
        </pc:picChg>
        <pc:picChg chg="add mod">
          <ac:chgData name="Daniel von Düring Kjeldsen" userId="d61ad69a-09af-4fd5-9092-471501278b56" providerId="ADAL" clId="{4E651B94-CA1E-4178-ADF6-B752FDCF441D}" dt="2021-06-15T12:03:08.995" v="1406" actId="1076"/>
          <ac:picMkLst>
            <pc:docMk/>
            <pc:sldMk cId="3204179972" sldId="3243"/>
            <ac:picMk id="26" creationId="{1AE781BB-D386-40B6-9095-A970EB92C2E3}"/>
          </ac:picMkLst>
        </pc:picChg>
      </pc:sldChg>
      <pc:sldChg chg="addSp delSp modSp new del mod ord">
        <pc:chgData name="Daniel von Düring Kjeldsen" userId="d61ad69a-09af-4fd5-9092-471501278b56" providerId="ADAL" clId="{4E651B94-CA1E-4178-ADF6-B752FDCF441D}" dt="2021-06-18T20:48:38.945" v="6285" actId="2696"/>
        <pc:sldMkLst>
          <pc:docMk/>
          <pc:sldMk cId="1739826900" sldId="3244"/>
        </pc:sldMkLst>
        <pc:spChg chg="mod">
          <ac:chgData name="Daniel von Düring Kjeldsen" userId="d61ad69a-09af-4fd5-9092-471501278b56" providerId="ADAL" clId="{4E651B94-CA1E-4178-ADF6-B752FDCF441D}" dt="2021-06-15T18:30:45.827" v="3933" actId="1076"/>
          <ac:spMkLst>
            <pc:docMk/>
            <pc:sldMk cId="1739826900" sldId="3244"/>
            <ac:spMk id="2" creationId="{C4D19FC7-D3A8-4511-8DB9-C42994C6927D}"/>
          </ac:spMkLst>
        </pc:spChg>
        <pc:spChg chg="mod">
          <ac:chgData name="Daniel von Düring Kjeldsen" userId="d61ad69a-09af-4fd5-9092-471501278b56" providerId="ADAL" clId="{4E651B94-CA1E-4178-ADF6-B752FDCF441D}" dt="2021-06-15T16:26:30.100" v="3912" actId="5793"/>
          <ac:spMkLst>
            <pc:docMk/>
            <pc:sldMk cId="1739826900" sldId="3244"/>
            <ac:spMk id="3" creationId="{C55377AE-6C29-4348-A8C8-EB9E428B315D}"/>
          </ac:spMkLst>
        </pc:spChg>
        <pc:spChg chg="del">
          <ac:chgData name="Daniel von Düring Kjeldsen" userId="d61ad69a-09af-4fd5-9092-471501278b56" providerId="ADAL" clId="{4E651B94-CA1E-4178-ADF6-B752FDCF441D}" dt="2021-06-15T16:00:03.051" v="3280" actId="478"/>
          <ac:spMkLst>
            <pc:docMk/>
            <pc:sldMk cId="1739826900" sldId="3244"/>
            <ac:spMk id="4" creationId="{0813D028-D82E-43C7-BAF6-06C3851B2ACF}"/>
          </ac:spMkLst>
        </pc:spChg>
        <pc:spChg chg="add mod">
          <ac:chgData name="Daniel von Düring Kjeldsen" userId="d61ad69a-09af-4fd5-9092-471501278b56" providerId="ADAL" clId="{4E651B94-CA1E-4178-ADF6-B752FDCF441D}" dt="2021-06-15T15:58:35.509" v="3184" actId="1076"/>
          <ac:spMkLst>
            <pc:docMk/>
            <pc:sldMk cId="1739826900" sldId="3244"/>
            <ac:spMk id="7" creationId="{947DFB60-47D3-4557-AB5B-97A2C4DA525C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9" creationId="{AA6B6FC4-C438-4DDA-99A8-F3E7F2A5B852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11" creationId="{3209FF86-6B78-4A11-8C5D-F2E96206355B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12" creationId="{23B74E46-2175-4F0E-A0DC-7994382D1672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15" creationId="{7C040223-EFCD-4115-8D1F-02E1D46DC034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16" creationId="{D2C6B641-5BE7-49CF-84A6-54247540C213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17" creationId="{9D8344AC-42B4-4F2C-8629-74AEFDD94F73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19" creationId="{4E36AF3F-450B-4E83-B6B0-F7928D2AADB7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20" creationId="{64F80490-7FAE-4B69-B15B-C0A3372DACCD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21" creationId="{F0BC112F-DB15-4E9A-AFAE-75874022A10B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22" creationId="{714478D8-1ACA-4A38-ABD4-9948A4C15CEA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23" creationId="{755CBD47-2831-4342-964A-6F3837455418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24" creationId="{0A7355AA-E1B9-4B93-A959-F614A236A33E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25" creationId="{74D535DB-7649-458B-BFDB-FE5E50E01A17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26" creationId="{C5D96255-50AB-4AF0-B6A1-D83DB89797A2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28" creationId="{C42C8338-0AFA-462E-AE11-A4C6F64FCE5C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29" creationId="{CE850F30-9352-4F05-A374-814E81D8CA49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30" creationId="{153F332D-16B2-4055-9D5F-C4EA966664E9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31" creationId="{70436B01-8FE7-468C-A030-F5B1BA331A6B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32" creationId="{F4A1DA93-FBB1-4A98-B108-541E3AD666D4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33" creationId="{1342CBD3-C036-4161-A4FB-1D6EB0611939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34" creationId="{0CC5AEAA-8D2C-47DC-A67A-31F262ED2759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35" creationId="{16969AB0-E73C-4182-9849-10EBECF3DFE8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36" creationId="{5EBA725D-80F5-4B2C-B115-48A4518F6BC1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37" creationId="{81CE92DE-C206-44BC-B77E-12C13E269179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38" creationId="{67ABBC95-9599-40CA-9273-9767DCCF91B6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39" creationId="{C2D492A3-1312-484A-84FB-377880CCAB3A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40" creationId="{F1066AD5-8026-42A3-85A9-25D2A2CB3120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41" creationId="{4FFABD5D-917F-4943-B22F-5CC7BB40776C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42" creationId="{FAD64636-AD20-40F0-AAE6-AFA5142FE6A0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43" creationId="{A0CAD1F8-FEF0-4C54-A87B-987460580F96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44" creationId="{3D4866BF-D9ED-4F17-BF2F-B7B5C9C00EB0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45" creationId="{A59C510F-8989-49D5-B83E-026128D9B2AA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46" creationId="{7162D265-EB3B-4EFD-A61F-78D49F26BFFB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47" creationId="{C3228A26-64A8-45D4-B412-5BD2D00E225A}"/>
          </ac:spMkLst>
        </pc:spChg>
        <pc:spChg chg="mod modVis">
          <ac:chgData name="Daniel von Düring Kjeldsen" userId="d61ad69a-09af-4fd5-9092-471501278b56" providerId="ADAL" clId="{4E651B94-CA1E-4178-ADF6-B752FDCF441D}" dt="2021-06-15T15:58:03.370" v="3178"/>
          <ac:spMkLst>
            <pc:docMk/>
            <pc:sldMk cId="1739826900" sldId="3244"/>
            <ac:spMk id="48" creationId="{DEACD735-5B40-45EA-8F11-BAF75962B830}"/>
          </ac:spMkLst>
        </pc:spChg>
        <pc:spChg chg="add mod">
          <ac:chgData name="Daniel von Düring Kjeldsen" userId="d61ad69a-09af-4fd5-9092-471501278b56" providerId="ADAL" clId="{4E651B94-CA1E-4178-ADF6-B752FDCF441D}" dt="2021-06-15T16:05:27.051" v="3378" actId="14100"/>
          <ac:spMkLst>
            <pc:docMk/>
            <pc:sldMk cId="1739826900" sldId="3244"/>
            <ac:spMk id="49" creationId="{218A0CC5-E6C3-4779-8D92-EEAC5F99FBB6}"/>
          </ac:spMkLst>
        </pc:spChg>
        <pc:spChg chg="add mod">
          <ac:chgData name="Daniel von Düring Kjeldsen" userId="d61ad69a-09af-4fd5-9092-471501278b56" providerId="ADAL" clId="{4E651B94-CA1E-4178-ADF6-B752FDCF441D}" dt="2021-06-15T16:05:32.288" v="3379" actId="14100"/>
          <ac:spMkLst>
            <pc:docMk/>
            <pc:sldMk cId="1739826900" sldId="3244"/>
            <ac:spMk id="50" creationId="{E7D14756-4615-48CB-A8CB-DB765F038555}"/>
          </ac:spMkLst>
        </pc:spChg>
        <pc:spChg chg="add mod">
          <ac:chgData name="Daniel von Düring Kjeldsen" userId="d61ad69a-09af-4fd5-9092-471501278b56" providerId="ADAL" clId="{4E651B94-CA1E-4178-ADF6-B752FDCF441D}" dt="2021-06-15T16:06:46.688" v="3398" actId="1076"/>
          <ac:spMkLst>
            <pc:docMk/>
            <pc:sldMk cId="1739826900" sldId="3244"/>
            <ac:spMk id="51" creationId="{FCBD4264-3C20-4912-B13C-506279A94EEC}"/>
          </ac:spMkLst>
        </pc:spChg>
        <pc:spChg chg="add del mod">
          <ac:chgData name="Daniel von Düring Kjeldsen" userId="d61ad69a-09af-4fd5-9092-471501278b56" providerId="ADAL" clId="{4E651B94-CA1E-4178-ADF6-B752FDCF441D}" dt="2021-06-15T16:10:26.342" v="3575" actId="478"/>
          <ac:spMkLst>
            <pc:docMk/>
            <pc:sldMk cId="1739826900" sldId="3244"/>
            <ac:spMk id="52" creationId="{C18E3187-4853-4E57-956E-1FA247CBB324}"/>
          </ac:spMkLst>
        </pc:spChg>
        <pc:spChg chg="add del mod">
          <ac:chgData name="Daniel von Düring Kjeldsen" userId="d61ad69a-09af-4fd5-9092-471501278b56" providerId="ADAL" clId="{4E651B94-CA1E-4178-ADF6-B752FDCF441D}" dt="2021-06-15T16:10:26.342" v="3575" actId="478"/>
          <ac:spMkLst>
            <pc:docMk/>
            <pc:sldMk cId="1739826900" sldId="3244"/>
            <ac:spMk id="53" creationId="{7630E98F-6E34-4B1F-8A0F-4244956FEA96}"/>
          </ac:spMkLst>
        </pc:spChg>
        <pc:spChg chg="add del mod">
          <ac:chgData name="Daniel von Düring Kjeldsen" userId="d61ad69a-09af-4fd5-9092-471501278b56" providerId="ADAL" clId="{4E651B94-CA1E-4178-ADF6-B752FDCF441D}" dt="2021-06-15T16:10:26.342" v="3575" actId="478"/>
          <ac:spMkLst>
            <pc:docMk/>
            <pc:sldMk cId="1739826900" sldId="3244"/>
            <ac:spMk id="54" creationId="{E15E1F2B-3777-4FE8-BB95-CF8D3F81BA78}"/>
          </ac:spMkLst>
        </pc:spChg>
        <pc:spChg chg="add mod">
          <ac:chgData name="Daniel von Düring Kjeldsen" userId="d61ad69a-09af-4fd5-9092-471501278b56" providerId="ADAL" clId="{4E651B94-CA1E-4178-ADF6-B752FDCF441D}" dt="2021-06-15T16:17:20.564" v="3652" actId="404"/>
          <ac:spMkLst>
            <pc:docMk/>
            <pc:sldMk cId="1739826900" sldId="3244"/>
            <ac:spMk id="57" creationId="{C1B9A876-CABC-4264-B91B-05C36B8CC63E}"/>
          </ac:spMkLst>
        </pc:spChg>
        <pc:spChg chg="add del mod">
          <ac:chgData name="Daniel von Düring Kjeldsen" userId="d61ad69a-09af-4fd5-9092-471501278b56" providerId="ADAL" clId="{4E651B94-CA1E-4178-ADF6-B752FDCF441D}" dt="2021-06-15T16:10:18.370" v="3572"/>
          <ac:spMkLst>
            <pc:docMk/>
            <pc:sldMk cId="1739826900" sldId="3244"/>
            <ac:spMk id="58" creationId="{43A9D04B-0F1A-450A-91DD-00ED22E5D090}"/>
          </ac:spMkLst>
        </pc:spChg>
        <pc:spChg chg="add del mod">
          <ac:chgData name="Daniel von Düring Kjeldsen" userId="d61ad69a-09af-4fd5-9092-471501278b56" providerId="ADAL" clId="{4E651B94-CA1E-4178-ADF6-B752FDCF441D}" dt="2021-06-15T16:10:18.370" v="3572"/>
          <ac:spMkLst>
            <pc:docMk/>
            <pc:sldMk cId="1739826900" sldId="3244"/>
            <ac:spMk id="59" creationId="{84193304-4965-4235-A54B-712DEEA02BB4}"/>
          </ac:spMkLst>
        </pc:spChg>
        <pc:spChg chg="add del mod">
          <ac:chgData name="Daniel von Düring Kjeldsen" userId="d61ad69a-09af-4fd5-9092-471501278b56" providerId="ADAL" clId="{4E651B94-CA1E-4178-ADF6-B752FDCF441D}" dt="2021-06-15T16:10:18.370" v="3572"/>
          <ac:spMkLst>
            <pc:docMk/>
            <pc:sldMk cId="1739826900" sldId="3244"/>
            <ac:spMk id="60" creationId="{F771065E-BD31-4A67-B1EC-F28EA94DF61B}"/>
          </ac:spMkLst>
        </pc:spChg>
        <pc:spChg chg="add del mod">
          <ac:chgData name="Daniel von Düring Kjeldsen" userId="d61ad69a-09af-4fd5-9092-471501278b56" providerId="ADAL" clId="{4E651B94-CA1E-4178-ADF6-B752FDCF441D}" dt="2021-06-15T16:10:24.464" v="3574"/>
          <ac:spMkLst>
            <pc:docMk/>
            <pc:sldMk cId="1739826900" sldId="3244"/>
            <ac:spMk id="61" creationId="{C0AF858E-0E1E-40A0-AC4A-68934020A7ED}"/>
          </ac:spMkLst>
        </pc:spChg>
        <pc:spChg chg="add del mod">
          <ac:chgData name="Daniel von Düring Kjeldsen" userId="d61ad69a-09af-4fd5-9092-471501278b56" providerId="ADAL" clId="{4E651B94-CA1E-4178-ADF6-B752FDCF441D}" dt="2021-06-15T16:10:24.464" v="3574"/>
          <ac:spMkLst>
            <pc:docMk/>
            <pc:sldMk cId="1739826900" sldId="3244"/>
            <ac:spMk id="62" creationId="{DE8DDBCC-224A-4A04-8E83-DE464B7EC86B}"/>
          </ac:spMkLst>
        </pc:spChg>
        <pc:spChg chg="add del mod">
          <ac:chgData name="Daniel von Düring Kjeldsen" userId="d61ad69a-09af-4fd5-9092-471501278b56" providerId="ADAL" clId="{4E651B94-CA1E-4178-ADF6-B752FDCF441D}" dt="2021-06-15T16:10:24.464" v="3574"/>
          <ac:spMkLst>
            <pc:docMk/>
            <pc:sldMk cId="1739826900" sldId="3244"/>
            <ac:spMk id="63" creationId="{68520209-400C-4FA0-8DFC-0CFED6DE4F96}"/>
          </ac:spMkLst>
        </pc:spChg>
        <pc:spChg chg="add mod">
          <ac:chgData name="Daniel von Düring Kjeldsen" userId="d61ad69a-09af-4fd5-9092-471501278b56" providerId="ADAL" clId="{4E651B94-CA1E-4178-ADF6-B752FDCF441D}" dt="2021-06-15T16:10:48.737" v="3578" actId="1076"/>
          <ac:spMkLst>
            <pc:docMk/>
            <pc:sldMk cId="1739826900" sldId="3244"/>
            <ac:spMk id="64" creationId="{9E08FF6B-BBD3-41E5-BE04-22D7DEBA628F}"/>
          </ac:spMkLst>
        </pc:spChg>
        <pc:spChg chg="add mod">
          <ac:chgData name="Daniel von Düring Kjeldsen" userId="d61ad69a-09af-4fd5-9092-471501278b56" providerId="ADAL" clId="{4E651B94-CA1E-4178-ADF6-B752FDCF441D}" dt="2021-06-15T16:10:48.737" v="3578" actId="1076"/>
          <ac:spMkLst>
            <pc:docMk/>
            <pc:sldMk cId="1739826900" sldId="3244"/>
            <ac:spMk id="65" creationId="{46B62878-5DBC-46A2-A1A6-B51CAA01B548}"/>
          </ac:spMkLst>
        </pc:spChg>
        <pc:spChg chg="add mod">
          <ac:chgData name="Daniel von Düring Kjeldsen" userId="d61ad69a-09af-4fd5-9092-471501278b56" providerId="ADAL" clId="{4E651B94-CA1E-4178-ADF6-B752FDCF441D}" dt="2021-06-15T16:10:48.737" v="3578" actId="1076"/>
          <ac:spMkLst>
            <pc:docMk/>
            <pc:sldMk cId="1739826900" sldId="3244"/>
            <ac:spMk id="66" creationId="{9F44E4BF-30C1-4E52-A869-B58600A91EDE}"/>
          </ac:spMkLst>
        </pc:spChg>
        <pc:spChg chg="add mod">
          <ac:chgData name="Daniel von Düring Kjeldsen" userId="d61ad69a-09af-4fd5-9092-471501278b56" providerId="ADAL" clId="{4E651B94-CA1E-4178-ADF6-B752FDCF441D}" dt="2021-06-15T16:11:48.503" v="3592" actId="1076"/>
          <ac:spMkLst>
            <pc:docMk/>
            <pc:sldMk cId="1739826900" sldId="3244"/>
            <ac:spMk id="69" creationId="{A4E860D7-9609-4F90-8E85-D400F0ABBF80}"/>
          </ac:spMkLst>
        </pc:spChg>
        <pc:spChg chg="add mod">
          <ac:chgData name="Daniel von Düring Kjeldsen" userId="d61ad69a-09af-4fd5-9092-471501278b56" providerId="ADAL" clId="{4E651B94-CA1E-4178-ADF6-B752FDCF441D}" dt="2021-06-15T18:50:01.578" v="3935" actId="1076"/>
          <ac:spMkLst>
            <pc:docMk/>
            <pc:sldMk cId="1739826900" sldId="3244"/>
            <ac:spMk id="70" creationId="{702CE064-1F26-4C45-8DE5-5656CCDEB422}"/>
          </ac:spMkLst>
        </pc:spChg>
        <pc:spChg chg="add mod">
          <ac:chgData name="Daniel von Düring Kjeldsen" userId="d61ad69a-09af-4fd5-9092-471501278b56" providerId="ADAL" clId="{4E651B94-CA1E-4178-ADF6-B752FDCF441D}" dt="2021-06-15T18:50:01.578" v="3935" actId="1076"/>
          <ac:spMkLst>
            <pc:docMk/>
            <pc:sldMk cId="1739826900" sldId="3244"/>
            <ac:spMk id="71" creationId="{7BFC2475-C366-4A53-B132-6A8A8AAC8645}"/>
          </ac:spMkLst>
        </pc:spChg>
        <pc:spChg chg="add mod">
          <ac:chgData name="Daniel von Düring Kjeldsen" userId="d61ad69a-09af-4fd5-9092-471501278b56" providerId="ADAL" clId="{4E651B94-CA1E-4178-ADF6-B752FDCF441D}" dt="2021-06-15T18:50:01.578" v="3935" actId="1076"/>
          <ac:spMkLst>
            <pc:docMk/>
            <pc:sldMk cId="1739826900" sldId="3244"/>
            <ac:spMk id="72" creationId="{1E91A222-F773-40CB-9936-BA84356F5B34}"/>
          </ac:spMkLst>
        </pc:spChg>
        <pc:spChg chg="add mod">
          <ac:chgData name="Daniel von Düring Kjeldsen" userId="d61ad69a-09af-4fd5-9092-471501278b56" providerId="ADAL" clId="{4E651B94-CA1E-4178-ADF6-B752FDCF441D}" dt="2021-06-15T18:50:01.578" v="3935" actId="1076"/>
          <ac:spMkLst>
            <pc:docMk/>
            <pc:sldMk cId="1739826900" sldId="3244"/>
            <ac:spMk id="74" creationId="{29937E55-5BF6-4129-A8B8-1C23DCA67B7F}"/>
          </ac:spMkLst>
        </pc:spChg>
        <pc:spChg chg="add mod">
          <ac:chgData name="Daniel von Düring Kjeldsen" userId="d61ad69a-09af-4fd5-9092-471501278b56" providerId="ADAL" clId="{4E651B94-CA1E-4178-ADF6-B752FDCF441D}" dt="2021-06-15T16:19:10.260" v="3783" actId="1076"/>
          <ac:spMkLst>
            <pc:docMk/>
            <pc:sldMk cId="1739826900" sldId="3244"/>
            <ac:spMk id="75" creationId="{052B8743-9C72-4D9B-A17F-05AEC2FD1345}"/>
          </ac:spMkLst>
        </pc:spChg>
        <pc:spChg chg="add mod">
          <ac:chgData name="Daniel von Düring Kjeldsen" userId="d61ad69a-09af-4fd5-9092-471501278b56" providerId="ADAL" clId="{4E651B94-CA1E-4178-ADF6-B752FDCF441D}" dt="2021-06-15T16:21:37.695" v="3789" actId="14861"/>
          <ac:spMkLst>
            <pc:docMk/>
            <pc:sldMk cId="1739826900" sldId="3244"/>
            <ac:spMk id="76" creationId="{CA36037E-88BA-4C97-A838-8CCE87907F40}"/>
          </ac:spMkLst>
        </pc:spChg>
        <pc:spChg chg="add mod">
          <ac:chgData name="Daniel von Düring Kjeldsen" userId="d61ad69a-09af-4fd5-9092-471501278b56" providerId="ADAL" clId="{4E651B94-CA1E-4178-ADF6-B752FDCF441D}" dt="2021-06-15T16:22:16.095" v="3829" actId="1076"/>
          <ac:spMkLst>
            <pc:docMk/>
            <pc:sldMk cId="1739826900" sldId="3244"/>
            <ac:spMk id="77" creationId="{CD0F6CE5-C65F-4072-A2F5-B7CF60B198F9}"/>
          </ac:spMkLst>
        </pc:spChg>
        <pc:spChg chg="add del mod">
          <ac:chgData name="Daniel von Düring Kjeldsen" userId="d61ad69a-09af-4fd5-9092-471501278b56" providerId="ADAL" clId="{4E651B94-CA1E-4178-ADF6-B752FDCF441D}" dt="2021-06-15T16:22:49.550" v="3831"/>
          <ac:spMkLst>
            <pc:docMk/>
            <pc:sldMk cId="1739826900" sldId="3244"/>
            <ac:spMk id="78" creationId="{8E00C96C-275E-4319-8DAB-59D26DAC595A}"/>
          </ac:spMkLst>
        </pc:spChg>
        <pc:spChg chg="add mod">
          <ac:chgData name="Daniel von Düring Kjeldsen" userId="d61ad69a-09af-4fd5-9092-471501278b56" providerId="ADAL" clId="{4E651B94-CA1E-4178-ADF6-B752FDCF441D}" dt="2021-06-15T16:25:06.526" v="3895" actId="14100"/>
          <ac:spMkLst>
            <pc:docMk/>
            <pc:sldMk cId="1739826900" sldId="3244"/>
            <ac:spMk id="79" creationId="{9D7F819C-AE06-4F5B-8905-7A9F0A4ED7C5}"/>
          </ac:spMkLst>
        </pc:spChg>
        <pc:spChg chg="add mod">
          <ac:chgData name="Daniel von Düring Kjeldsen" userId="d61ad69a-09af-4fd5-9092-471501278b56" providerId="ADAL" clId="{4E651B94-CA1E-4178-ADF6-B752FDCF441D}" dt="2021-06-15T16:25:20.489" v="3902" actId="113"/>
          <ac:spMkLst>
            <pc:docMk/>
            <pc:sldMk cId="1739826900" sldId="3244"/>
            <ac:spMk id="80" creationId="{9D7A630F-3683-4CFE-8232-4960C47FFE0C}"/>
          </ac:spMkLst>
        </pc:spChg>
        <pc:spChg chg="add del mod">
          <ac:chgData name="Daniel von Düring Kjeldsen" userId="d61ad69a-09af-4fd5-9092-471501278b56" providerId="ADAL" clId="{4E651B94-CA1E-4178-ADF6-B752FDCF441D}" dt="2021-06-15T16:24:57.150" v="3892" actId="478"/>
          <ac:spMkLst>
            <pc:docMk/>
            <pc:sldMk cId="1739826900" sldId="3244"/>
            <ac:spMk id="81" creationId="{53C7F2CE-8055-4408-9589-8E69F91041DD}"/>
          </ac:spMkLst>
        </pc:spChg>
        <pc:spChg chg="add del mod">
          <ac:chgData name="Daniel von Düring Kjeldsen" userId="d61ad69a-09af-4fd5-9092-471501278b56" providerId="ADAL" clId="{4E651B94-CA1E-4178-ADF6-B752FDCF441D}" dt="2021-06-15T16:25:02.922" v="3894" actId="478"/>
          <ac:spMkLst>
            <pc:docMk/>
            <pc:sldMk cId="1739826900" sldId="3244"/>
            <ac:spMk id="83" creationId="{5CCE90EC-E50D-4274-A61C-5DC997377604}"/>
          </ac:spMkLst>
        </pc:spChg>
        <pc:spChg chg="add del mod">
          <ac:chgData name="Daniel von Düring Kjeldsen" userId="d61ad69a-09af-4fd5-9092-471501278b56" providerId="ADAL" clId="{4E651B94-CA1E-4178-ADF6-B752FDCF441D}" dt="2021-06-15T16:23:35.188" v="3841"/>
          <ac:spMkLst>
            <pc:docMk/>
            <pc:sldMk cId="1739826900" sldId="3244"/>
            <ac:spMk id="84" creationId="{57CB7A48-0C82-43A3-83AD-2C88EA3410BF}"/>
          </ac:spMkLst>
        </pc:spChg>
        <pc:spChg chg="add del mod">
          <ac:chgData name="Daniel von Düring Kjeldsen" userId="d61ad69a-09af-4fd5-9092-471501278b56" providerId="ADAL" clId="{4E651B94-CA1E-4178-ADF6-B752FDCF441D}" dt="2021-06-15T16:23:35.188" v="3841"/>
          <ac:spMkLst>
            <pc:docMk/>
            <pc:sldMk cId="1739826900" sldId="3244"/>
            <ac:spMk id="85" creationId="{86AD0B23-F9F2-454F-B4E9-E17942050E1F}"/>
          </ac:spMkLst>
        </pc:spChg>
        <pc:spChg chg="add del mod">
          <ac:chgData name="Daniel von Düring Kjeldsen" userId="d61ad69a-09af-4fd5-9092-471501278b56" providerId="ADAL" clId="{4E651B94-CA1E-4178-ADF6-B752FDCF441D}" dt="2021-06-15T16:23:35.188" v="3841"/>
          <ac:spMkLst>
            <pc:docMk/>
            <pc:sldMk cId="1739826900" sldId="3244"/>
            <ac:spMk id="86" creationId="{6424AED8-DA49-42D5-92DB-E5700A7C49E8}"/>
          </ac:spMkLst>
        </pc:spChg>
        <pc:spChg chg="add del mod">
          <ac:chgData name="Daniel von Düring Kjeldsen" userId="d61ad69a-09af-4fd5-9092-471501278b56" providerId="ADAL" clId="{4E651B94-CA1E-4178-ADF6-B752FDCF441D}" dt="2021-06-15T16:23:35.188" v="3841"/>
          <ac:spMkLst>
            <pc:docMk/>
            <pc:sldMk cId="1739826900" sldId="3244"/>
            <ac:spMk id="88" creationId="{2ADEA847-C9B5-481C-AD3E-A26CA7B0B374}"/>
          </ac:spMkLst>
        </pc:spChg>
        <pc:spChg chg="add mod">
          <ac:chgData name="Daniel von Düring Kjeldsen" userId="d61ad69a-09af-4fd5-9092-471501278b56" providerId="ADAL" clId="{4E651B94-CA1E-4178-ADF6-B752FDCF441D}" dt="2021-06-15T18:50:16.846" v="3939" actId="1076"/>
          <ac:spMkLst>
            <pc:docMk/>
            <pc:sldMk cId="1739826900" sldId="3244"/>
            <ac:spMk id="91" creationId="{71B0237A-20A2-4F6B-98A8-BB06B2B1E741}"/>
          </ac:spMkLst>
        </pc:spChg>
        <pc:spChg chg="add mod">
          <ac:chgData name="Daniel von Düring Kjeldsen" userId="d61ad69a-09af-4fd5-9092-471501278b56" providerId="ADAL" clId="{4E651B94-CA1E-4178-ADF6-B752FDCF441D}" dt="2021-06-15T16:27:41.140" v="3914" actId="1076"/>
          <ac:spMkLst>
            <pc:docMk/>
            <pc:sldMk cId="1739826900" sldId="3244"/>
            <ac:spMk id="93" creationId="{AEF0C3FF-D2F5-4768-81C9-018BDB12C1F6}"/>
          </ac:spMkLst>
        </pc:spChg>
        <pc:grpChg chg="add mod modVis">
          <ac:chgData name="Daniel von Düring Kjeldsen" userId="d61ad69a-09af-4fd5-9092-471501278b56" providerId="ADAL" clId="{4E651B94-CA1E-4178-ADF6-B752FDCF441D}" dt="2021-06-15T15:58:30.709" v="3183" actId="1076"/>
          <ac:grpSpMkLst>
            <pc:docMk/>
            <pc:sldMk cId="1739826900" sldId="3244"/>
            <ac:grpSpMk id="8" creationId="{8637D1FA-44C2-443E-849D-ABD3B842E8AD}"/>
          </ac:grpSpMkLst>
        </pc:grpChg>
        <pc:grpChg chg="mod modVis">
          <ac:chgData name="Daniel von Düring Kjeldsen" userId="d61ad69a-09af-4fd5-9092-471501278b56" providerId="ADAL" clId="{4E651B94-CA1E-4178-ADF6-B752FDCF441D}" dt="2021-06-15T15:58:03.370" v="3178"/>
          <ac:grpSpMkLst>
            <pc:docMk/>
            <pc:sldMk cId="1739826900" sldId="3244"/>
            <ac:grpSpMk id="10" creationId="{AC22CD4D-0F13-4627-BA39-B6A8DD57B6C5}"/>
          </ac:grpSpMkLst>
        </pc:grpChg>
        <pc:grpChg chg="mod modVis">
          <ac:chgData name="Daniel von Düring Kjeldsen" userId="d61ad69a-09af-4fd5-9092-471501278b56" providerId="ADAL" clId="{4E651B94-CA1E-4178-ADF6-B752FDCF441D}" dt="2021-06-15T15:58:03.370" v="3178"/>
          <ac:grpSpMkLst>
            <pc:docMk/>
            <pc:sldMk cId="1739826900" sldId="3244"/>
            <ac:grpSpMk id="13" creationId="{F25E4EF2-7901-4D20-925E-935F691F4846}"/>
          </ac:grpSpMkLst>
        </pc:grpChg>
        <pc:grpChg chg="mod modVis">
          <ac:chgData name="Daniel von Düring Kjeldsen" userId="d61ad69a-09af-4fd5-9092-471501278b56" providerId="ADAL" clId="{4E651B94-CA1E-4178-ADF6-B752FDCF441D}" dt="2021-06-15T15:58:03.370" v="3178"/>
          <ac:grpSpMkLst>
            <pc:docMk/>
            <pc:sldMk cId="1739826900" sldId="3244"/>
            <ac:grpSpMk id="14" creationId="{C7E30DFD-2D98-4F81-B4CD-CE24054148FA}"/>
          </ac:grpSpMkLst>
        </pc:grpChg>
        <pc:grpChg chg="mod modVis">
          <ac:chgData name="Daniel von Düring Kjeldsen" userId="d61ad69a-09af-4fd5-9092-471501278b56" providerId="ADAL" clId="{4E651B94-CA1E-4178-ADF6-B752FDCF441D}" dt="2021-06-15T15:58:03.370" v="3178"/>
          <ac:grpSpMkLst>
            <pc:docMk/>
            <pc:sldMk cId="1739826900" sldId="3244"/>
            <ac:grpSpMk id="18" creationId="{AECD04B2-CFA3-4CBF-B250-5EE79DE6A71D}"/>
          </ac:grpSpMkLst>
        </pc:grpChg>
        <pc:grpChg chg="mod modVis">
          <ac:chgData name="Daniel von Düring Kjeldsen" userId="d61ad69a-09af-4fd5-9092-471501278b56" providerId="ADAL" clId="{4E651B94-CA1E-4178-ADF6-B752FDCF441D}" dt="2021-06-15T15:58:03.370" v="3178"/>
          <ac:grpSpMkLst>
            <pc:docMk/>
            <pc:sldMk cId="1739826900" sldId="3244"/>
            <ac:grpSpMk id="27" creationId="{803ADC00-B406-4F4C-9250-8CF73239D58B}"/>
          </ac:grpSpMkLst>
        </pc:grpChg>
        <pc:cxnChg chg="add mod">
          <ac:chgData name="Daniel von Düring Kjeldsen" userId="d61ad69a-09af-4fd5-9092-471501278b56" providerId="ADAL" clId="{4E651B94-CA1E-4178-ADF6-B752FDCF441D}" dt="2021-06-15T16:07:01.246" v="3400" actId="1076"/>
          <ac:cxnSpMkLst>
            <pc:docMk/>
            <pc:sldMk cId="1739826900" sldId="3244"/>
            <ac:cxnSpMk id="56" creationId="{A08CAB22-CA58-4708-B631-ABB44DF417F4}"/>
          </ac:cxnSpMkLst>
        </pc:cxnChg>
        <pc:cxnChg chg="add mod">
          <ac:chgData name="Daniel von Düring Kjeldsen" userId="d61ad69a-09af-4fd5-9092-471501278b56" providerId="ADAL" clId="{4E651B94-CA1E-4178-ADF6-B752FDCF441D}" dt="2021-06-15T16:11:26.540" v="3580" actId="208"/>
          <ac:cxnSpMkLst>
            <pc:docMk/>
            <pc:sldMk cId="1739826900" sldId="3244"/>
            <ac:cxnSpMk id="68" creationId="{26D15513-E410-4AE5-B8A1-D1E46F88B643}"/>
          </ac:cxnSpMkLst>
        </pc:cxnChg>
        <pc:cxnChg chg="add mod">
          <ac:chgData name="Daniel von Düring Kjeldsen" userId="d61ad69a-09af-4fd5-9092-471501278b56" providerId="ADAL" clId="{4E651B94-CA1E-4178-ADF6-B752FDCF441D}" dt="2021-06-15T18:50:01.578" v="3935" actId="1076"/>
          <ac:cxnSpMkLst>
            <pc:docMk/>
            <pc:sldMk cId="1739826900" sldId="3244"/>
            <ac:cxnSpMk id="73" creationId="{7B4D5C95-AC24-4A3B-BC14-0A24C9A0E7A4}"/>
          </ac:cxnSpMkLst>
        </pc:cxnChg>
        <pc:cxnChg chg="add del mod">
          <ac:chgData name="Daniel von Düring Kjeldsen" userId="d61ad69a-09af-4fd5-9092-471501278b56" providerId="ADAL" clId="{4E651B94-CA1E-4178-ADF6-B752FDCF441D}" dt="2021-06-15T16:24:59.818" v="3893" actId="478"/>
          <ac:cxnSpMkLst>
            <pc:docMk/>
            <pc:sldMk cId="1739826900" sldId="3244"/>
            <ac:cxnSpMk id="82" creationId="{B26F7B6B-E216-46DA-BFAE-8F59F2E0C161}"/>
          </ac:cxnSpMkLst>
        </pc:cxnChg>
        <pc:cxnChg chg="add del mod">
          <ac:chgData name="Daniel von Düring Kjeldsen" userId="d61ad69a-09af-4fd5-9092-471501278b56" providerId="ADAL" clId="{4E651B94-CA1E-4178-ADF6-B752FDCF441D}" dt="2021-06-15T16:23:35.188" v="3841"/>
          <ac:cxnSpMkLst>
            <pc:docMk/>
            <pc:sldMk cId="1739826900" sldId="3244"/>
            <ac:cxnSpMk id="87" creationId="{E84FA516-38CA-4385-8BD8-5CB25A1277BE}"/>
          </ac:cxnSpMkLst>
        </pc:cxnChg>
        <pc:cxnChg chg="add mod">
          <ac:chgData name="Daniel von Düring Kjeldsen" userId="d61ad69a-09af-4fd5-9092-471501278b56" providerId="ADAL" clId="{4E651B94-CA1E-4178-ADF6-B752FDCF441D}" dt="2021-06-15T18:50:23.134" v="3940" actId="14100"/>
          <ac:cxnSpMkLst>
            <pc:docMk/>
            <pc:sldMk cId="1739826900" sldId="3244"/>
            <ac:cxnSpMk id="89" creationId="{24790DED-4F5C-430F-A94C-4CE78AE3A66B}"/>
          </ac:cxnSpMkLst>
        </pc:cxnChg>
      </pc:sldChg>
      <pc:sldChg chg="addSp delSp modSp add mod ord">
        <pc:chgData name="Daniel von Düring Kjeldsen" userId="d61ad69a-09af-4fd5-9092-471501278b56" providerId="ADAL" clId="{4E651B94-CA1E-4178-ADF6-B752FDCF441D}" dt="2021-06-20T16:35:51.989" v="7528"/>
        <pc:sldMkLst>
          <pc:docMk/>
          <pc:sldMk cId="1456767924" sldId="3245"/>
        </pc:sldMkLst>
        <pc:spChg chg="mod">
          <ac:chgData name="Daniel von Düring Kjeldsen" userId="d61ad69a-09af-4fd5-9092-471501278b56" providerId="ADAL" clId="{4E651B94-CA1E-4178-ADF6-B752FDCF441D}" dt="2021-06-15T13:08:37.704" v="1826" actId="1076"/>
          <ac:spMkLst>
            <pc:docMk/>
            <pc:sldMk cId="1456767924" sldId="3245"/>
            <ac:spMk id="3" creationId="{F28FD43C-4295-4CEE-AC00-71CA20D17BD6}"/>
          </ac:spMkLst>
        </pc:spChg>
        <pc:spChg chg="add del mod">
          <ac:chgData name="Daniel von Düring Kjeldsen" userId="d61ad69a-09af-4fd5-9092-471501278b56" providerId="ADAL" clId="{4E651B94-CA1E-4178-ADF6-B752FDCF441D}" dt="2021-06-15T13:35:00.660" v="2222" actId="1076"/>
          <ac:spMkLst>
            <pc:docMk/>
            <pc:sldMk cId="1456767924" sldId="3245"/>
            <ac:spMk id="4" creationId="{C16DF48A-3F85-4373-9319-44BAFFA12CBB}"/>
          </ac:spMkLst>
        </pc:spChg>
        <pc:spChg chg="add del mod">
          <ac:chgData name="Daniel von Düring Kjeldsen" userId="d61ad69a-09af-4fd5-9092-471501278b56" providerId="ADAL" clId="{4E651B94-CA1E-4178-ADF6-B752FDCF441D}" dt="2021-06-15T13:34:44.777" v="2219" actId="478"/>
          <ac:spMkLst>
            <pc:docMk/>
            <pc:sldMk cId="1456767924" sldId="3245"/>
            <ac:spMk id="7" creationId="{2DCD4874-A250-4EE2-BA61-D16513C39A5D}"/>
          </ac:spMkLst>
        </pc:spChg>
        <pc:spChg chg="add del mod">
          <ac:chgData name="Daniel von Düring Kjeldsen" userId="d61ad69a-09af-4fd5-9092-471501278b56" providerId="ADAL" clId="{4E651B94-CA1E-4178-ADF6-B752FDCF441D}" dt="2021-06-15T15:40:49.491" v="3106" actId="478"/>
          <ac:spMkLst>
            <pc:docMk/>
            <pc:sldMk cId="1456767924" sldId="3245"/>
            <ac:spMk id="13" creationId="{EE0E42BD-E08D-4F9F-9698-4E8AEDBEA829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15" creationId="{EC8C8E11-2D3C-459F-9F04-F9862282E9D0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16" creationId="{539356FF-31EA-45A3-8C13-9799484F8825}"/>
          </ac:spMkLst>
        </pc:spChg>
        <pc:spChg chg="del mod">
          <ac:chgData name="Daniel von Düring Kjeldsen" userId="d61ad69a-09af-4fd5-9092-471501278b56" providerId="ADAL" clId="{4E651B94-CA1E-4178-ADF6-B752FDCF441D}" dt="2021-06-15T13:11:03.266" v="1871"/>
          <ac:spMkLst>
            <pc:docMk/>
            <pc:sldMk cId="1456767924" sldId="3245"/>
            <ac:spMk id="17" creationId="{CB5ABD52-5DDA-4458-AFCE-004C7D4A1B1A}"/>
          </ac:spMkLst>
        </pc:spChg>
        <pc:spChg chg="del mod">
          <ac:chgData name="Daniel von Düring Kjeldsen" userId="d61ad69a-09af-4fd5-9092-471501278b56" providerId="ADAL" clId="{4E651B94-CA1E-4178-ADF6-B752FDCF441D}" dt="2021-06-15T13:11:03.266" v="1873"/>
          <ac:spMkLst>
            <pc:docMk/>
            <pc:sldMk cId="1456767924" sldId="3245"/>
            <ac:spMk id="18" creationId="{8E08C972-700A-46B2-A40D-B47122DD0F6E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19" creationId="{039401EB-EAC9-4DCA-8399-C7DA90ACCEF5}"/>
          </ac:spMkLst>
        </pc:spChg>
        <pc:spChg chg="add del mod">
          <ac:chgData name="Daniel von Düring Kjeldsen" userId="d61ad69a-09af-4fd5-9092-471501278b56" providerId="ADAL" clId="{4E651B94-CA1E-4178-ADF6-B752FDCF441D}" dt="2021-06-15T15:40:40.686" v="3101" actId="478"/>
          <ac:spMkLst>
            <pc:docMk/>
            <pc:sldMk cId="1456767924" sldId="3245"/>
            <ac:spMk id="20" creationId="{AFB17BA8-399F-45DB-BD00-06E43724EF74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21" creationId="{EDE63623-B34A-4DC3-BB39-75AD362C2B36}"/>
          </ac:spMkLst>
        </pc:spChg>
        <pc:spChg chg="add del mod">
          <ac:chgData name="Daniel von Düring Kjeldsen" userId="d61ad69a-09af-4fd5-9092-471501278b56" providerId="ADAL" clId="{4E651B94-CA1E-4178-ADF6-B752FDCF441D}" dt="2021-06-15T15:40:51.785" v="3107" actId="478"/>
          <ac:spMkLst>
            <pc:docMk/>
            <pc:sldMk cId="1456767924" sldId="3245"/>
            <ac:spMk id="22" creationId="{CCB843D6-C2FB-4212-B1E6-53104D63DB18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23" creationId="{04C677AE-FB3C-4C18-B5AA-34A163792E31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24" creationId="{AE191100-EAB0-4EE6-A9A1-ABCB2C6DC18A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25" creationId="{0808BAE4-2CFC-4B73-AA9D-2CCBADDA34A9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26" creationId="{4DDD739C-CDEE-4D7F-9515-81AF1BB4D33B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27" creationId="{CB814403-4636-4171-A4AC-86261EF68605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28" creationId="{CC20D7C0-0F2D-4828-B446-5E4ABDE69E4D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29" creationId="{987849CE-23FC-40D2-8FEC-AD5C1EAB3E47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30" creationId="{020B0F2E-6C3B-4D4A-A455-F7D463543C68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31" creationId="{1CBCB3DD-3E08-449A-8DD0-BC56429A4226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32" creationId="{47612F69-F789-4BAC-9D79-F87FB6251760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33" creationId="{B6AEA2B3-CDCB-4A2A-A0A6-03BA0E9CBB1E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34" creationId="{49FF62B8-A830-4749-A232-90A76EC12E7C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35" creationId="{9D81F43B-244C-40DF-87F7-4D17D15B4325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36" creationId="{2A3DEB67-E5A0-48FA-85F4-C7253FE8CAB8}"/>
          </ac:spMkLst>
        </pc:spChg>
        <pc:spChg chg="mod modVis">
          <ac:chgData name="Daniel von Düring Kjeldsen" userId="d61ad69a-09af-4fd5-9092-471501278b56" providerId="ADAL" clId="{4E651B94-CA1E-4178-ADF6-B752FDCF441D}" dt="2021-06-15T13:08:44.663" v="1852"/>
          <ac:spMkLst>
            <pc:docMk/>
            <pc:sldMk cId="1456767924" sldId="3245"/>
            <ac:spMk id="37" creationId="{01B1A0EC-767B-4CE2-BB61-AB8ECF1833F8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39" creationId="{A431C786-5957-44AE-9F28-183B74E9DEBB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41" creationId="{FAD2E603-BC7B-4D59-B421-09BDA19FA21D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42" creationId="{92F137A1-D419-406E-BAEB-C93F5DB151F3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43" creationId="{6758200B-1797-4086-83E5-15D4769EDAD9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44" creationId="{CBAC7AF2-500B-4D22-892D-E02D4364FE40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45" creationId="{54014AAD-C70F-4EE2-A51E-7A08AE010338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46" creationId="{A81554C4-7ACD-46EC-8349-A2B24A2EA3BA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47" creationId="{25859CF2-CB60-4204-8819-13ABE76698F8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48" creationId="{E75683DB-7069-4389-B761-71CD55FDF4C0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49" creationId="{A81AE368-A8BC-475B-AE2C-A3968075EAFB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50" creationId="{6230ABA3-BA7D-4A48-A7FF-4FB8F4A7703A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51" creationId="{FA9C59E3-19B7-402E-95DC-78F30E27FCAE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52" creationId="{600C6C2C-C0E7-44D7-A552-139E34DF51ED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53" creationId="{5AAF6B75-653F-4C18-8B2C-87293683C474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54" creationId="{3D74BB0A-21BA-4D18-92EE-7558E8484278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55" creationId="{0AB093FC-8BE2-41A2-A82F-6C52EFB54262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56" creationId="{D406EAD0-34E5-4ADF-B1DA-E2E51D260D91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57" creationId="{EF46493E-67CA-4EF9-B7D9-F5548F47664F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58" creationId="{7355BE52-54B1-4A74-8536-3B337EE6566F}"/>
          </ac:spMkLst>
        </pc:spChg>
        <pc:spChg chg="mod modVis">
          <ac:chgData name="Daniel von Düring Kjeldsen" userId="d61ad69a-09af-4fd5-9092-471501278b56" providerId="ADAL" clId="{4E651B94-CA1E-4178-ADF6-B752FDCF441D}" dt="2021-06-15T13:33:47.767" v="2205"/>
          <ac:spMkLst>
            <pc:docMk/>
            <pc:sldMk cId="1456767924" sldId="3245"/>
            <ac:spMk id="59" creationId="{1FC84024-BF4F-410E-AA36-19C118515947}"/>
          </ac:spMkLst>
        </pc:spChg>
        <pc:spChg chg="add mod">
          <ac:chgData name="Daniel von Düring Kjeldsen" userId="d61ad69a-09af-4fd5-9092-471501278b56" providerId="ADAL" clId="{4E651B94-CA1E-4178-ADF6-B752FDCF441D}" dt="2021-06-15T13:35:22.398" v="2230" actId="1076"/>
          <ac:spMkLst>
            <pc:docMk/>
            <pc:sldMk cId="1456767924" sldId="3245"/>
            <ac:spMk id="60" creationId="{6F73DC85-A91A-43BE-8BA6-9DB3FFAF4635}"/>
          </ac:spMkLst>
        </pc:spChg>
        <pc:spChg chg="add del mod">
          <ac:chgData name="Daniel von Düring Kjeldsen" userId="d61ad69a-09af-4fd5-9092-471501278b56" providerId="ADAL" clId="{4E651B94-CA1E-4178-ADF6-B752FDCF441D}" dt="2021-06-15T15:40:41.943" v="3102" actId="478"/>
          <ac:spMkLst>
            <pc:docMk/>
            <pc:sldMk cId="1456767924" sldId="3245"/>
            <ac:spMk id="61" creationId="{08276220-2855-4E3A-A8D4-1A89497D903B}"/>
          </ac:spMkLst>
        </pc:spChg>
        <pc:spChg chg="add del mod">
          <ac:chgData name="Daniel von Düring Kjeldsen" userId="d61ad69a-09af-4fd5-9092-471501278b56" providerId="ADAL" clId="{4E651B94-CA1E-4178-ADF6-B752FDCF441D}" dt="2021-06-15T15:40:44.535" v="3104" actId="478"/>
          <ac:spMkLst>
            <pc:docMk/>
            <pc:sldMk cId="1456767924" sldId="3245"/>
            <ac:spMk id="62" creationId="{CCAD23A5-E4C1-4593-B7E4-391EB58C7859}"/>
          </ac:spMkLst>
        </pc:spChg>
        <pc:grpChg chg="add del mod modVis">
          <ac:chgData name="Daniel von Düring Kjeldsen" userId="d61ad69a-09af-4fd5-9092-471501278b56" providerId="ADAL" clId="{4E651B94-CA1E-4178-ADF6-B752FDCF441D}" dt="2021-06-15T13:34:03.738" v="2211" actId="478"/>
          <ac:grpSpMkLst>
            <pc:docMk/>
            <pc:sldMk cId="1456767924" sldId="3245"/>
            <ac:grpSpMk id="14" creationId="{B81CACB3-A2E2-466A-B092-A9CF5764BA12}"/>
          </ac:grpSpMkLst>
        </pc:grpChg>
        <pc:grpChg chg="add mod modVis">
          <ac:chgData name="Daniel von Düring Kjeldsen" userId="d61ad69a-09af-4fd5-9092-471501278b56" providerId="ADAL" clId="{4E651B94-CA1E-4178-ADF6-B752FDCF441D}" dt="2021-06-15T13:35:06.154" v="2223" actId="1076"/>
          <ac:grpSpMkLst>
            <pc:docMk/>
            <pc:sldMk cId="1456767924" sldId="3245"/>
            <ac:grpSpMk id="38" creationId="{8445639D-A0E1-4DA0-A7E0-1532F4BF08CF}"/>
          </ac:grpSpMkLst>
        </pc:grpChg>
        <pc:grpChg chg="mod modVis">
          <ac:chgData name="Daniel von Düring Kjeldsen" userId="d61ad69a-09af-4fd5-9092-471501278b56" providerId="ADAL" clId="{4E651B94-CA1E-4178-ADF6-B752FDCF441D}" dt="2021-06-15T13:33:47.767" v="2205"/>
          <ac:grpSpMkLst>
            <pc:docMk/>
            <pc:sldMk cId="1456767924" sldId="3245"/>
            <ac:grpSpMk id="40" creationId="{3E762655-1F95-44DE-843B-1F328DEE3485}"/>
          </ac:grpSpMkLst>
        </pc:grpChg>
        <pc:picChg chg="add del mod">
          <ac:chgData name="Daniel von Düring Kjeldsen" userId="d61ad69a-09af-4fd5-9092-471501278b56" providerId="ADAL" clId="{4E651B94-CA1E-4178-ADF6-B752FDCF441D}" dt="2021-06-15T15:40:38.565" v="3100" actId="478"/>
          <ac:picMkLst>
            <pc:docMk/>
            <pc:sldMk cId="1456767924" sldId="3245"/>
            <ac:picMk id="10" creationId="{02F42264-6453-49C3-8C1B-218FE709C02A}"/>
          </ac:picMkLst>
        </pc:picChg>
        <pc:picChg chg="del">
          <ac:chgData name="Daniel von Düring Kjeldsen" userId="d61ad69a-09af-4fd5-9092-471501278b56" providerId="ADAL" clId="{4E651B94-CA1E-4178-ADF6-B752FDCF441D}" dt="2021-06-15T13:06:49.637" v="1819" actId="478"/>
          <ac:picMkLst>
            <pc:docMk/>
            <pc:sldMk cId="1456767924" sldId="3245"/>
            <ac:picMk id="20" creationId="{598B4266-0814-48AF-9141-C5410D753EF9}"/>
          </ac:picMkLst>
        </pc:picChg>
        <pc:picChg chg="del">
          <ac:chgData name="Daniel von Düring Kjeldsen" userId="d61ad69a-09af-4fd5-9092-471501278b56" providerId="ADAL" clId="{4E651B94-CA1E-4178-ADF6-B752FDCF441D}" dt="2021-06-15T13:06:51.279" v="1820" actId="478"/>
          <ac:picMkLst>
            <pc:docMk/>
            <pc:sldMk cId="1456767924" sldId="3245"/>
            <ac:picMk id="22" creationId="{B1CD09CD-5239-4029-B84A-82510046A86F}"/>
          </ac:picMkLst>
        </pc:picChg>
        <pc:picChg chg="add mod">
          <ac:chgData name="Daniel von Düring Kjeldsen" userId="d61ad69a-09af-4fd5-9092-471501278b56" providerId="ADAL" clId="{4E651B94-CA1E-4178-ADF6-B752FDCF441D}" dt="2021-06-15T15:41:04.608" v="3109" actId="1076"/>
          <ac:picMkLst>
            <pc:docMk/>
            <pc:sldMk cId="1456767924" sldId="3245"/>
            <ac:picMk id="64" creationId="{24B2DC75-A4BC-4040-A921-BCB80DDDDC11}"/>
          </ac:picMkLst>
        </pc:picChg>
      </pc:sldChg>
      <pc:sldChg chg="new del">
        <pc:chgData name="Daniel von Düring Kjeldsen" userId="d61ad69a-09af-4fd5-9092-471501278b56" providerId="ADAL" clId="{4E651B94-CA1E-4178-ADF6-B752FDCF441D}" dt="2021-06-15T11:45:51.223" v="1173" actId="47"/>
        <pc:sldMkLst>
          <pc:docMk/>
          <pc:sldMk cId="2197606027" sldId="3245"/>
        </pc:sldMkLst>
      </pc:sldChg>
      <pc:sldChg chg="new del">
        <pc:chgData name="Daniel von Düring Kjeldsen" userId="d61ad69a-09af-4fd5-9092-471501278b56" providerId="ADAL" clId="{4E651B94-CA1E-4178-ADF6-B752FDCF441D}" dt="2021-06-15T11:45:37.085" v="1162" actId="47"/>
        <pc:sldMkLst>
          <pc:docMk/>
          <pc:sldMk cId="658526052" sldId="3246"/>
        </pc:sldMkLst>
      </pc:sldChg>
      <pc:sldChg chg="new del">
        <pc:chgData name="Daniel von Düring Kjeldsen" userId="d61ad69a-09af-4fd5-9092-471501278b56" providerId="ADAL" clId="{4E651B94-CA1E-4178-ADF6-B752FDCF441D}" dt="2021-06-15T11:45:41.889" v="1164" actId="47"/>
        <pc:sldMkLst>
          <pc:docMk/>
          <pc:sldMk cId="2059265096" sldId="3246"/>
        </pc:sldMkLst>
      </pc:sldChg>
      <pc:sldChg chg="new del">
        <pc:chgData name="Daniel von Düring Kjeldsen" userId="d61ad69a-09af-4fd5-9092-471501278b56" providerId="ADAL" clId="{4E651B94-CA1E-4178-ADF6-B752FDCF441D}" dt="2021-06-15T11:45:50.327" v="1172" actId="47"/>
        <pc:sldMkLst>
          <pc:docMk/>
          <pc:sldMk cId="2145925968" sldId="3246"/>
        </pc:sldMkLst>
      </pc:sldChg>
      <pc:sldChg chg="add del">
        <pc:chgData name="Daniel von Düring Kjeldsen" userId="d61ad69a-09af-4fd5-9092-471501278b56" providerId="ADAL" clId="{4E651B94-CA1E-4178-ADF6-B752FDCF441D}" dt="2021-06-15T11:47:23.148" v="1191" actId="47"/>
        <pc:sldMkLst>
          <pc:docMk/>
          <pc:sldMk cId="2757944089" sldId="3246"/>
        </pc:sldMkLst>
      </pc:sldChg>
      <pc:sldChg chg="new del">
        <pc:chgData name="Daniel von Düring Kjeldsen" userId="d61ad69a-09af-4fd5-9092-471501278b56" providerId="ADAL" clId="{4E651B94-CA1E-4178-ADF6-B752FDCF441D}" dt="2021-06-15T11:46:07.313" v="1176" actId="47"/>
        <pc:sldMkLst>
          <pc:docMk/>
          <pc:sldMk cId="2990452096" sldId="3246"/>
        </pc:sldMkLst>
      </pc:sldChg>
      <pc:sldChg chg="modSp add del mod">
        <pc:chgData name="Daniel von Düring Kjeldsen" userId="d61ad69a-09af-4fd5-9092-471501278b56" providerId="ADAL" clId="{4E651B94-CA1E-4178-ADF6-B752FDCF441D}" dt="2021-06-15T18:40:42.371" v="3934" actId="2696"/>
        <pc:sldMkLst>
          <pc:docMk/>
          <pc:sldMk cId="3276049639" sldId="3246"/>
        </pc:sldMkLst>
        <pc:grpChg chg="mod">
          <ac:chgData name="Daniel von Düring Kjeldsen" userId="d61ad69a-09af-4fd5-9092-471501278b56" providerId="ADAL" clId="{4E651B94-CA1E-4178-ADF6-B752FDCF441D}" dt="2021-06-15T16:28:27.743" v="3916" actId="1076"/>
          <ac:grpSpMkLst>
            <pc:docMk/>
            <pc:sldMk cId="3276049639" sldId="3246"/>
            <ac:grpSpMk id="109" creationId="{99E5915E-2561-43C1-8788-71FC854B840C}"/>
          </ac:grpSpMkLst>
        </pc:grpChg>
      </pc:sldChg>
      <pc:sldChg chg="addSp delSp modSp add mod ord">
        <pc:chgData name="Daniel von Düring Kjeldsen" userId="d61ad69a-09af-4fd5-9092-471501278b56" providerId="ADAL" clId="{4E651B94-CA1E-4178-ADF6-B752FDCF441D}" dt="2021-06-20T16:35:35.595" v="7524"/>
        <pc:sldMkLst>
          <pc:docMk/>
          <pc:sldMk cId="425321295" sldId="3247"/>
        </pc:sldMkLst>
        <pc:spChg chg="mod">
          <ac:chgData name="Daniel von Düring Kjeldsen" userId="d61ad69a-09af-4fd5-9092-471501278b56" providerId="ADAL" clId="{4E651B94-CA1E-4178-ADF6-B752FDCF441D}" dt="2021-06-18T20:36:07.538" v="6284" actId="207"/>
          <ac:spMkLst>
            <pc:docMk/>
            <pc:sldMk cId="425321295" sldId="3247"/>
            <ac:spMk id="3" creationId="{F28FD43C-4295-4CEE-AC00-71CA20D17BD6}"/>
          </ac:spMkLst>
        </pc:spChg>
        <pc:spChg chg="add del">
          <ac:chgData name="Daniel von Düring Kjeldsen" userId="d61ad69a-09af-4fd5-9092-471501278b56" providerId="ADAL" clId="{4E651B94-CA1E-4178-ADF6-B752FDCF441D}" dt="2021-06-15T13:54:20.683" v="2404" actId="478"/>
          <ac:spMkLst>
            <pc:docMk/>
            <pc:sldMk cId="425321295" sldId="3247"/>
            <ac:spMk id="4" creationId="{C16DF48A-3F85-4373-9319-44BAFFA12CBB}"/>
          </ac:spMkLst>
        </pc:spChg>
        <pc:spChg chg="add del mod">
          <ac:chgData name="Daniel von Düring Kjeldsen" userId="d61ad69a-09af-4fd5-9092-471501278b56" providerId="ADAL" clId="{4E651B94-CA1E-4178-ADF6-B752FDCF441D}" dt="2021-06-15T13:57:57.803" v="2620" actId="478"/>
          <ac:spMkLst>
            <pc:docMk/>
            <pc:sldMk cId="425321295" sldId="3247"/>
            <ac:spMk id="7" creationId="{D03CDAB7-9BF8-4676-A66A-96D405D87DC3}"/>
          </ac:spMkLst>
        </pc:spChg>
        <pc:spChg chg="add del mod">
          <ac:chgData name="Daniel von Düring Kjeldsen" userId="d61ad69a-09af-4fd5-9092-471501278b56" providerId="ADAL" clId="{4E651B94-CA1E-4178-ADF6-B752FDCF441D}" dt="2021-06-15T14:20:03.537" v="2952" actId="20577"/>
          <ac:spMkLst>
            <pc:docMk/>
            <pc:sldMk cId="425321295" sldId="3247"/>
            <ac:spMk id="13" creationId="{EE0E42BD-E08D-4F9F-9698-4E8AEDBEA829}"/>
          </ac:spMkLst>
        </pc:spChg>
        <pc:spChg chg="add mod">
          <ac:chgData name="Daniel von Düring Kjeldsen" userId="d61ad69a-09af-4fd5-9092-471501278b56" providerId="ADAL" clId="{4E651B94-CA1E-4178-ADF6-B752FDCF441D}" dt="2021-06-15T14:19:24.230" v="2949" actId="1076"/>
          <ac:spMkLst>
            <pc:docMk/>
            <pc:sldMk cId="425321295" sldId="3247"/>
            <ac:spMk id="17" creationId="{C2A0F165-211E-4A2F-932D-13FD352C9F52}"/>
          </ac:spMkLst>
        </pc:spChg>
        <pc:spChg chg="add del mod">
          <ac:chgData name="Daniel von Düring Kjeldsen" userId="d61ad69a-09af-4fd5-9092-471501278b56" providerId="ADAL" clId="{4E651B94-CA1E-4178-ADF6-B752FDCF441D}" dt="2021-06-15T14:02:27.232" v="2671"/>
          <ac:spMkLst>
            <pc:docMk/>
            <pc:sldMk cId="425321295" sldId="3247"/>
            <ac:spMk id="18" creationId="{FECA1944-0E56-4743-8F37-4248ED2BBB6F}"/>
          </ac:spMkLst>
        </pc:spChg>
        <pc:spChg chg="del">
          <ac:chgData name="Daniel von Düring Kjeldsen" userId="d61ad69a-09af-4fd5-9092-471501278b56" providerId="ADAL" clId="{4E651B94-CA1E-4178-ADF6-B752FDCF441D}" dt="2021-06-15T13:55:40.746" v="2506" actId="478"/>
          <ac:spMkLst>
            <pc:docMk/>
            <pc:sldMk cId="425321295" sldId="3247"/>
            <ac:spMk id="20" creationId="{AFB17BA8-399F-45DB-BD00-06E43724EF74}"/>
          </ac:spMkLst>
        </pc:spChg>
        <pc:spChg chg="del">
          <ac:chgData name="Daniel von Düring Kjeldsen" userId="d61ad69a-09af-4fd5-9092-471501278b56" providerId="ADAL" clId="{4E651B94-CA1E-4178-ADF6-B752FDCF441D}" dt="2021-06-15T13:55:46.155" v="2508" actId="478"/>
          <ac:spMkLst>
            <pc:docMk/>
            <pc:sldMk cId="425321295" sldId="3247"/>
            <ac:spMk id="22" creationId="{CCB843D6-C2FB-4212-B1E6-53104D63DB18}"/>
          </ac:spMkLst>
        </pc:spChg>
        <pc:spChg chg="del">
          <ac:chgData name="Daniel von Düring Kjeldsen" userId="d61ad69a-09af-4fd5-9092-471501278b56" providerId="ADAL" clId="{4E651B94-CA1E-4178-ADF6-B752FDCF441D}" dt="2021-06-15T13:54:17.397" v="2402" actId="478"/>
          <ac:spMkLst>
            <pc:docMk/>
            <pc:sldMk cId="425321295" sldId="3247"/>
            <ac:spMk id="60" creationId="{6F73DC85-A91A-43BE-8BA6-9DB3FFAF4635}"/>
          </ac:spMkLst>
        </pc:spChg>
        <pc:spChg chg="del">
          <ac:chgData name="Daniel von Düring Kjeldsen" userId="d61ad69a-09af-4fd5-9092-471501278b56" providerId="ADAL" clId="{4E651B94-CA1E-4178-ADF6-B752FDCF441D}" dt="2021-06-15T13:55:42.997" v="2507" actId="478"/>
          <ac:spMkLst>
            <pc:docMk/>
            <pc:sldMk cId="425321295" sldId="3247"/>
            <ac:spMk id="61" creationId="{08276220-2855-4E3A-A8D4-1A89497D903B}"/>
          </ac:spMkLst>
        </pc:spChg>
        <pc:spChg chg="del">
          <ac:chgData name="Daniel von Düring Kjeldsen" userId="d61ad69a-09af-4fd5-9092-471501278b56" providerId="ADAL" clId="{4E651B94-CA1E-4178-ADF6-B752FDCF441D}" dt="2021-06-15T13:55:49.867" v="2509" actId="478"/>
          <ac:spMkLst>
            <pc:docMk/>
            <pc:sldMk cId="425321295" sldId="3247"/>
            <ac:spMk id="62" creationId="{CCAD23A5-E4C1-4593-B7E4-391EB58C7859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66" creationId="{82F05E1E-2D2E-456C-AA8C-27DB5EF4CF20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67" creationId="{5E42FC86-C74F-40FE-8CCB-08D2072D4A04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68" creationId="{20EF97AF-9CBD-460A-89C3-26876FD81A2C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69" creationId="{DFAA32C5-195C-4231-9EFE-C1C2D8A2D426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71" creationId="{95E6DCC6-E3CA-484A-B68F-D54025271AB8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72" creationId="{072A92DA-D0CF-4F92-8EB0-2C1B1ECD06E3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73" creationId="{FA9BB6E6-8986-40DF-B846-9C88416C34E9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74" creationId="{E0E073E2-7970-44FD-825B-F1FA63E5B1EA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75" creationId="{6F7A427E-9B1C-490E-90D3-F5D4B5A799FA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76" creationId="{6D04516D-3786-4CE7-95AA-C250EDA88910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77" creationId="{1C2BCDD8-BF73-4EE8-9239-4A9FC5B0BE17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78" creationId="{05050BDA-81A9-426A-946E-81CB0A26C735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79" creationId="{3B4DA184-B9E5-4070-99BE-790C5409B23C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80" creationId="{BD060002-B66B-4346-982D-CCB9196A6F05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81" creationId="{FBBBBC8B-BAE5-4103-862C-A2E39EAD5226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82" creationId="{38176499-D668-4C60-86BB-9C661C07A8F3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83" creationId="{D97DF465-E4A5-48F4-B19E-3F54FF5A1DC6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84" creationId="{87C62E9B-5E70-4A9F-A374-AB5C6CEACBC4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85" creationId="{3B18A851-8FD7-42AB-80A1-DFB9DCA5C4E0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87" creationId="{CD59DFC9-51EE-4A69-AA92-D21692912D8F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89" creationId="{5AA03382-7092-4D13-8277-72D6CA8E6DBE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90" creationId="{0E3B01A8-D615-4BBD-87BF-62E0401F8A89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93" creationId="{ADEC0203-A890-4514-9D14-FA2627A1A252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94" creationId="{162D983D-FAF0-4B17-B2B9-609523BCE5C2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95" creationId="{953BCEDF-4335-4597-9E1B-F82DDD107F73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96" creationId="{8F70548B-DD4B-48EC-B47A-2E974DDA35ED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97" creationId="{FE8F35C3-5E6D-4FE2-A2A7-C345785826D4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98" creationId="{EB462BBC-3196-4E99-90CF-EBAE63C5C7D3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02" creationId="{8156D774-2840-4D2D-BF35-E976C5B1F1CA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03" creationId="{68D8FF9D-A89B-4B44-8054-6D75187CE160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04" creationId="{82ABE0C0-9EE3-4598-926C-1503FD55CF80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05" creationId="{E8228C5C-D853-4133-A4BD-3053221BA8C1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06" creationId="{B60D5C8B-C45B-41BB-8474-A2F72862E90E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09" creationId="{2E08865F-68F3-4B7E-B5DC-EF9D0B9E3255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10" creationId="{E94E4D05-B191-46CB-955D-EA0844CF598D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11" creationId="{67552FCC-446B-42B5-B3DF-7AF8ED8B7458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12" creationId="{7F2E93F7-57D7-4F69-A525-9B02645073C6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13" creationId="{C41451C4-646B-44F8-9A78-29D981BAE3E8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14" creationId="{8F8C3BC5-2327-40E8-8193-8EEED53B080A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15" creationId="{A55929DF-4D8C-4E71-90A8-9FB04BA74830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17" creationId="{F6EBD251-DF89-46CD-A99C-154B170D1D42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18" creationId="{89E5279C-C1D6-4393-AA2B-EA74DD4EC147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19" creationId="{B2944F63-FC25-4491-BD79-1584EBC3FEEB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20" creationId="{E97C7ADE-39E2-4B5A-ABFA-F2DAAD6A26D1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22" creationId="{2EF54982-5F50-48B4-B4C2-C713275F1460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23" creationId="{AD4F3AC2-8F16-4DF2-9E2B-304F36FDE808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24" creationId="{2AB35073-22B0-45E4-A7D0-F1BF6DC37B52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25" creationId="{2255A692-154C-4B6A-A741-97EC68F1D84A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27" creationId="{5252AC4C-339F-4B7B-8FB2-AD4BA05D7B4A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28" creationId="{DC496431-CCC0-49A6-8683-BD82CD055559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29" creationId="{C5349752-562E-42BD-B98A-5FD539956FE2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30" creationId="{BB0093F1-9B83-4111-809A-4FD4F3F3BAF9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31" creationId="{9B4AB8A5-0FA5-4ED4-BC0C-14B291BE4CFB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32" creationId="{EE470C40-55C7-4AA5-9EB5-CE0EA4160037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33" creationId="{140D53CA-9C8E-4391-BC2F-3AF4DCE6C178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34" creationId="{B89DCE67-D70C-4DE5-B04E-6C833D63B4E8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35" creationId="{883707FB-525B-4A1E-93F3-6F7212721FD6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36" creationId="{462968AF-7295-4117-8F4F-14BA5A6C036A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37" creationId="{FE46C5C2-8800-4A5A-BD84-5F52BD69433A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38" creationId="{C63A129F-11D1-4A1A-90D0-7F972BA3494A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40" creationId="{6C42B2CE-B11F-4185-B359-02C0951C0022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41" creationId="{5032954F-4A71-457E-ADBE-D501F3727F0D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42" creationId="{935C69BF-31E8-4831-8AFE-9BC4DF6525F8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43" creationId="{E0B1D023-50E8-4225-999C-324B65969C07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44" creationId="{C6114B0E-5365-4386-BA47-51ED599F2B0F}"/>
          </ac:spMkLst>
        </pc:spChg>
        <pc:spChg chg="mod modVis">
          <ac:chgData name="Daniel von Düring Kjeldsen" userId="d61ad69a-09af-4fd5-9092-471501278b56" providerId="ADAL" clId="{4E651B94-CA1E-4178-ADF6-B752FDCF441D}" dt="2021-06-15T13:54:25" v="2494"/>
          <ac:spMkLst>
            <pc:docMk/>
            <pc:sldMk cId="425321295" sldId="3247"/>
            <ac:spMk id="145" creationId="{5E78C10B-625F-4557-8747-2908BC105C8F}"/>
          </ac:spMkLst>
        </pc:spChg>
        <pc:spChg chg="add mod">
          <ac:chgData name="Daniel von Düring Kjeldsen" userId="d61ad69a-09af-4fd5-9092-471501278b56" providerId="ADAL" clId="{4E651B94-CA1E-4178-ADF6-B752FDCF441D}" dt="2021-06-15T14:17:10.439" v="2939" actId="1076"/>
          <ac:spMkLst>
            <pc:docMk/>
            <pc:sldMk cId="425321295" sldId="3247"/>
            <ac:spMk id="146" creationId="{B5701522-EB3F-42C8-950E-CE9E5CB756E0}"/>
          </ac:spMkLst>
        </pc:spChg>
        <pc:spChg chg="add del mod">
          <ac:chgData name="Daniel von Düring Kjeldsen" userId="d61ad69a-09af-4fd5-9092-471501278b56" providerId="ADAL" clId="{4E651B94-CA1E-4178-ADF6-B752FDCF441D}" dt="2021-06-15T14:02:45.856" v="2693"/>
          <ac:spMkLst>
            <pc:docMk/>
            <pc:sldMk cId="425321295" sldId="3247"/>
            <ac:spMk id="147" creationId="{F25FA897-DCEB-4665-BA78-5BFB024E8E9D}"/>
          </ac:spMkLst>
        </pc:spChg>
        <pc:spChg chg="add mod">
          <ac:chgData name="Daniel von Düring Kjeldsen" userId="d61ad69a-09af-4fd5-9092-471501278b56" providerId="ADAL" clId="{4E651B94-CA1E-4178-ADF6-B752FDCF441D}" dt="2021-06-15T15:43:55.427" v="3110" actId="20577"/>
          <ac:spMkLst>
            <pc:docMk/>
            <pc:sldMk cId="425321295" sldId="3247"/>
            <ac:spMk id="148" creationId="{D2537782-2B1A-45A8-A705-F8DC29BE91D8}"/>
          </ac:spMkLst>
        </pc:spChg>
        <pc:spChg chg="add mod">
          <ac:chgData name="Daniel von Düring Kjeldsen" userId="d61ad69a-09af-4fd5-9092-471501278b56" providerId="ADAL" clId="{4E651B94-CA1E-4178-ADF6-B752FDCF441D}" dt="2021-06-18T11:50:34.601" v="4469" actId="20577"/>
          <ac:spMkLst>
            <pc:docMk/>
            <pc:sldMk cId="425321295" sldId="3247"/>
            <ac:spMk id="157" creationId="{4267445F-A61F-4411-BC19-E369FAD62AA0}"/>
          </ac:spMkLst>
        </pc:spChg>
        <pc:spChg chg="add mod">
          <ac:chgData name="Daniel von Düring Kjeldsen" userId="d61ad69a-09af-4fd5-9092-471501278b56" providerId="ADAL" clId="{4E651B94-CA1E-4178-ADF6-B752FDCF441D}" dt="2021-06-15T14:26:36.048" v="3093" actId="1076"/>
          <ac:spMkLst>
            <pc:docMk/>
            <pc:sldMk cId="425321295" sldId="3247"/>
            <ac:spMk id="158" creationId="{79FB330A-E18A-4027-AE61-5ADBAD4784BE}"/>
          </ac:spMkLst>
        </pc:spChg>
        <pc:grpChg chg="del">
          <ac:chgData name="Daniel von Düring Kjeldsen" userId="d61ad69a-09af-4fd5-9092-471501278b56" providerId="ADAL" clId="{4E651B94-CA1E-4178-ADF6-B752FDCF441D}" dt="2021-06-15T13:54:22.037" v="2405" actId="478"/>
          <ac:grpSpMkLst>
            <pc:docMk/>
            <pc:sldMk cId="425321295" sldId="3247"/>
            <ac:grpSpMk id="38" creationId="{8445639D-A0E1-4DA0-A7E0-1532F4BF08CF}"/>
          </ac:grpSpMkLst>
        </pc:grpChg>
        <pc:grpChg chg="add mod modVis">
          <ac:chgData name="Daniel von Düring Kjeldsen" userId="d61ad69a-09af-4fd5-9092-471501278b56" providerId="ADAL" clId="{4E651B94-CA1E-4178-ADF6-B752FDCF441D}" dt="2021-06-18T20:10:22.511" v="6233" actId="1076"/>
          <ac:grpSpMkLst>
            <pc:docMk/>
            <pc:sldMk cId="425321295" sldId="3247"/>
            <ac:grpSpMk id="63" creationId="{0A0C70F3-82E4-4B15-92BB-EBF46FFF5C51}"/>
          </ac:grpSpMkLst>
        </pc:grpChg>
        <pc:grpChg chg="mod modVis">
          <ac:chgData name="Daniel von Düring Kjeldsen" userId="d61ad69a-09af-4fd5-9092-471501278b56" providerId="ADAL" clId="{4E651B94-CA1E-4178-ADF6-B752FDCF441D}" dt="2021-06-15T13:54:25" v="2494"/>
          <ac:grpSpMkLst>
            <pc:docMk/>
            <pc:sldMk cId="425321295" sldId="3247"/>
            <ac:grpSpMk id="64" creationId="{34678040-DA56-4B83-941F-7C8B520DF713}"/>
          </ac:grpSpMkLst>
        </pc:grpChg>
        <pc:grpChg chg="mod modVis">
          <ac:chgData name="Daniel von Düring Kjeldsen" userId="d61ad69a-09af-4fd5-9092-471501278b56" providerId="ADAL" clId="{4E651B94-CA1E-4178-ADF6-B752FDCF441D}" dt="2021-06-15T13:54:25" v="2494"/>
          <ac:grpSpMkLst>
            <pc:docMk/>
            <pc:sldMk cId="425321295" sldId="3247"/>
            <ac:grpSpMk id="65" creationId="{B3DF194B-1E4A-470F-A7CB-7B68E0B4AD6E}"/>
          </ac:grpSpMkLst>
        </pc:grpChg>
        <pc:grpChg chg="mod modVis">
          <ac:chgData name="Daniel von Düring Kjeldsen" userId="d61ad69a-09af-4fd5-9092-471501278b56" providerId="ADAL" clId="{4E651B94-CA1E-4178-ADF6-B752FDCF441D}" dt="2021-06-15T13:54:25" v="2494"/>
          <ac:grpSpMkLst>
            <pc:docMk/>
            <pc:sldMk cId="425321295" sldId="3247"/>
            <ac:grpSpMk id="70" creationId="{AC37F76F-ECC9-46CB-AD02-DC026F196C9A}"/>
          </ac:grpSpMkLst>
        </pc:grpChg>
        <pc:grpChg chg="mod modVis">
          <ac:chgData name="Daniel von Düring Kjeldsen" userId="d61ad69a-09af-4fd5-9092-471501278b56" providerId="ADAL" clId="{4E651B94-CA1E-4178-ADF6-B752FDCF441D}" dt="2021-06-15T13:54:25" v="2494"/>
          <ac:grpSpMkLst>
            <pc:docMk/>
            <pc:sldMk cId="425321295" sldId="3247"/>
            <ac:grpSpMk id="86" creationId="{38226130-A44C-4654-9525-99ACCE19F361}"/>
          </ac:grpSpMkLst>
        </pc:grpChg>
        <pc:grpChg chg="mod modVis">
          <ac:chgData name="Daniel von Düring Kjeldsen" userId="d61ad69a-09af-4fd5-9092-471501278b56" providerId="ADAL" clId="{4E651B94-CA1E-4178-ADF6-B752FDCF441D}" dt="2021-06-15T13:54:25" v="2494"/>
          <ac:grpSpMkLst>
            <pc:docMk/>
            <pc:sldMk cId="425321295" sldId="3247"/>
            <ac:grpSpMk id="88" creationId="{663369B7-82BB-482E-A3FD-260E734BB67C}"/>
          </ac:grpSpMkLst>
        </pc:grpChg>
        <pc:grpChg chg="mod modVis">
          <ac:chgData name="Daniel von Düring Kjeldsen" userId="d61ad69a-09af-4fd5-9092-471501278b56" providerId="ADAL" clId="{4E651B94-CA1E-4178-ADF6-B752FDCF441D}" dt="2021-06-15T13:54:25" v="2494"/>
          <ac:grpSpMkLst>
            <pc:docMk/>
            <pc:sldMk cId="425321295" sldId="3247"/>
            <ac:grpSpMk id="91" creationId="{142FA363-A97F-4E21-822B-BA20B0A01917}"/>
          </ac:grpSpMkLst>
        </pc:grpChg>
        <pc:grpChg chg="mod modVis">
          <ac:chgData name="Daniel von Düring Kjeldsen" userId="d61ad69a-09af-4fd5-9092-471501278b56" providerId="ADAL" clId="{4E651B94-CA1E-4178-ADF6-B752FDCF441D}" dt="2021-06-15T13:54:25" v="2494"/>
          <ac:grpSpMkLst>
            <pc:docMk/>
            <pc:sldMk cId="425321295" sldId="3247"/>
            <ac:grpSpMk id="92" creationId="{6746F6E4-F23D-4415-BF4F-2BB9F5F06B5E}"/>
          </ac:grpSpMkLst>
        </pc:grpChg>
        <pc:grpChg chg="mod modVis">
          <ac:chgData name="Daniel von Düring Kjeldsen" userId="d61ad69a-09af-4fd5-9092-471501278b56" providerId="ADAL" clId="{4E651B94-CA1E-4178-ADF6-B752FDCF441D}" dt="2021-06-15T13:54:25" v="2494"/>
          <ac:grpSpMkLst>
            <pc:docMk/>
            <pc:sldMk cId="425321295" sldId="3247"/>
            <ac:grpSpMk id="99" creationId="{6DAC6AFD-EE01-45E3-AADF-3D1A220DF93E}"/>
          </ac:grpSpMkLst>
        </pc:grpChg>
        <pc:grpChg chg="mod modVis">
          <ac:chgData name="Daniel von Düring Kjeldsen" userId="d61ad69a-09af-4fd5-9092-471501278b56" providerId="ADAL" clId="{4E651B94-CA1E-4178-ADF6-B752FDCF441D}" dt="2021-06-15T13:54:25" v="2494"/>
          <ac:grpSpMkLst>
            <pc:docMk/>
            <pc:sldMk cId="425321295" sldId="3247"/>
            <ac:grpSpMk id="100" creationId="{63C7B046-6A89-4E6B-A9AA-AF4FC62F420E}"/>
          </ac:grpSpMkLst>
        </pc:grpChg>
        <pc:grpChg chg="mod modVis">
          <ac:chgData name="Daniel von Düring Kjeldsen" userId="d61ad69a-09af-4fd5-9092-471501278b56" providerId="ADAL" clId="{4E651B94-CA1E-4178-ADF6-B752FDCF441D}" dt="2021-06-15T13:54:25" v="2494"/>
          <ac:grpSpMkLst>
            <pc:docMk/>
            <pc:sldMk cId="425321295" sldId="3247"/>
            <ac:grpSpMk id="101" creationId="{1D593FA8-8386-4710-B8EC-F38B53C54B6F}"/>
          </ac:grpSpMkLst>
        </pc:grpChg>
        <pc:grpChg chg="mod modVis">
          <ac:chgData name="Daniel von Düring Kjeldsen" userId="d61ad69a-09af-4fd5-9092-471501278b56" providerId="ADAL" clId="{4E651B94-CA1E-4178-ADF6-B752FDCF441D}" dt="2021-06-15T13:54:25" v="2494"/>
          <ac:grpSpMkLst>
            <pc:docMk/>
            <pc:sldMk cId="425321295" sldId="3247"/>
            <ac:grpSpMk id="107" creationId="{DD8D38EF-C1DA-44D0-B113-FEFE57A7B9A3}"/>
          </ac:grpSpMkLst>
        </pc:grpChg>
        <pc:grpChg chg="mod modVis">
          <ac:chgData name="Daniel von Düring Kjeldsen" userId="d61ad69a-09af-4fd5-9092-471501278b56" providerId="ADAL" clId="{4E651B94-CA1E-4178-ADF6-B752FDCF441D}" dt="2021-06-15T13:54:25" v="2494"/>
          <ac:grpSpMkLst>
            <pc:docMk/>
            <pc:sldMk cId="425321295" sldId="3247"/>
            <ac:grpSpMk id="108" creationId="{4E5A83B5-EE2A-44B7-9C3E-1189FE1954BD}"/>
          </ac:grpSpMkLst>
        </pc:grpChg>
        <pc:grpChg chg="mod modVis">
          <ac:chgData name="Daniel von Düring Kjeldsen" userId="d61ad69a-09af-4fd5-9092-471501278b56" providerId="ADAL" clId="{4E651B94-CA1E-4178-ADF6-B752FDCF441D}" dt="2021-06-15T13:54:25" v="2494"/>
          <ac:grpSpMkLst>
            <pc:docMk/>
            <pc:sldMk cId="425321295" sldId="3247"/>
            <ac:grpSpMk id="116" creationId="{66AC0EAA-19D5-4333-B47F-B34CA2683109}"/>
          </ac:grpSpMkLst>
        </pc:grpChg>
        <pc:grpChg chg="mod modVis">
          <ac:chgData name="Daniel von Düring Kjeldsen" userId="d61ad69a-09af-4fd5-9092-471501278b56" providerId="ADAL" clId="{4E651B94-CA1E-4178-ADF6-B752FDCF441D}" dt="2021-06-15T13:54:25" v="2494"/>
          <ac:grpSpMkLst>
            <pc:docMk/>
            <pc:sldMk cId="425321295" sldId="3247"/>
            <ac:grpSpMk id="121" creationId="{42E8593A-F9FB-4039-B2B1-93F5FD3EFB11}"/>
          </ac:grpSpMkLst>
        </pc:grpChg>
        <pc:grpChg chg="mod modVis">
          <ac:chgData name="Daniel von Düring Kjeldsen" userId="d61ad69a-09af-4fd5-9092-471501278b56" providerId="ADAL" clId="{4E651B94-CA1E-4178-ADF6-B752FDCF441D}" dt="2021-06-15T13:54:25" v="2494"/>
          <ac:grpSpMkLst>
            <pc:docMk/>
            <pc:sldMk cId="425321295" sldId="3247"/>
            <ac:grpSpMk id="126" creationId="{36781E94-B28E-4FD8-86A7-12219D8DC481}"/>
          </ac:grpSpMkLst>
        </pc:grpChg>
        <pc:grpChg chg="mod modVis">
          <ac:chgData name="Daniel von Düring Kjeldsen" userId="d61ad69a-09af-4fd5-9092-471501278b56" providerId="ADAL" clId="{4E651B94-CA1E-4178-ADF6-B752FDCF441D}" dt="2021-06-15T13:54:25" v="2494"/>
          <ac:grpSpMkLst>
            <pc:docMk/>
            <pc:sldMk cId="425321295" sldId="3247"/>
            <ac:grpSpMk id="139" creationId="{923641B2-4784-42E9-ACBD-B6F800CADE1F}"/>
          </ac:grpSpMkLst>
        </pc:grpChg>
        <pc:picChg chg="del">
          <ac:chgData name="Daniel von Düring Kjeldsen" userId="d61ad69a-09af-4fd5-9092-471501278b56" providerId="ADAL" clId="{4E651B94-CA1E-4178-ADF6-B752FDCF441D}" dt="2021-06-15T13:55:51.274" v="2510" actId="478"/>
          <ac:picMkLst>
            <pc:docMk/>
            <pc:sldMk cId="425321295" sldId="3247"/>
            <ac:picMk id="10" creationId="{02F42264-6453-49C3-8C1B-218FE709C02A}"/>
          </ac:picMkLst>
        </pc:picChg>
        <pc:picChg chg="add del mod">
          <ac:chgData name="Daniel von Düring Kjeldsen" userId="d61ad69a-09af-4fd5-9092-471501278b56" providerId="ADAL" clId="{4E651B94-CA1E-4178-ADF6-B752FDCF441D}" dt="2021-06-15T14:28:06.320" v="3095" actId="478"/>
          <ac:picMkLst>
            <pc:docMk/>
            <pc:sldMk cId="425321295" sldId="3247"/>
            <ac:picMk id="14" creationId="{610FE46D-1832-4CF6-8DC9-61C1786BFF15}"/>
          </ac:picMkLst>
        </pc:picChg>
        <pc:picChg chg="add del mod">
          <ac:chgData name="Daniel von Düring Kjeldsen" userId="d61ad69a-09af-4fd5-9092-471501278b56" providerId="ADAL" clId="{4E651B94-CA1E-4178-ADF6-B752FDCF441D}" dt="2021-06-15T14:26:07.835" v="3084" actId="478"/>
          <ac:picMkLst>
            <pc:docMk/>
            <pc:sldMk cId="425321295" sldId="3247"/>
            <ac:picMk id="16" creationId="{2C64EE2F-6E4A-4FF2-933A-425B88B22864}"/>
          </ac:picMkLst>
        </pc:picChg>
        <pc:picChg chg="add mod">
          <ac:chgData name="Daniel von Düring Kjeldsen" userId="d61ad69a-09af-4fd5-9092-471501278b56" providerId="ADAL" clId="{4E651B94-CA1E-4178-ADF6-B752FDCF441D}" dt="2021-06-15T14:24:25.061" v="3079" actId="1076"/>
          <ac:picMkLst>
            <pc:docMk/>
            <pc:sldMk cId="425321295" sldId="3247"/>
            <ac:picMk id="21" creationId="{361949E0-C1F4-48A4-AC13-8C7FCE6B986C}"/>
          </ac:picMkLst>
        </pc:picChg>
        <pc:picChg chg="add mod">
          <ac:chgData name="Daniel von Düring Kjeldsen" userId="d61ad69a-09af-4fd5-9092-471501278b56" providerId="ADAL" clId="{4E651B94-CA1E-4178-ADF6-B752FDCF441D}" dt="2021-06-15T14:24:27.947" v="3080" actId="1076"/>
          <ac:picMkLst>
            <pc:docMk/>
            <pc:sldMk cId="425321295" sldId="3247"/>
            <ac:picMk id="37" creationId="{66C12866-8C52-43C6-AF88-32EB37497BB8}"/>
          </ac:picMkLst>
        </pc:picChg>
        <pc:picChg chg="add mod">
          <ac:chgData name="Daniel von Düring Kjeldsen" userId="d61ad69a-09af-4fd5-9092-471501278b56" providerId="ADAL" clId="{4E651B94-CA1E-4178-ADF6-B752FDCF441D}" dt="2021-06-15T14:26:30.095" v="3091" actId="1076"/>
          <ac:picMkLst>
            <pc:docMk/>
            <pc:sldMk cId="425321295" sldId="3247"/>
            <ac:picMk id="160" creationId="{96D22A32-5789-45A4-A26F-F1704D537881}"/>
          </ac:picMkLst>
        </pc:picChg>
        <pc:picChg chg="add mod">
          <ac:chgData name="Daniel von Düring Kjeldsen" userId="d61ad69a-09af-4fd5-9092-471501278b56" providerId="ADAL" clId="{4E651B94-CA1E-4178-ADF6-B752FDCF441D}" dt="2021-06-15T14:28:16.090" v="3098" actId="1076"/>
          <ac:picMkLst>
            <pc:docMk/>
            <pc:sldMk cId="425321295" sldId="3247"/>
            <ac:picMk id="162" creationId="{4071CBDE-1CF9-4654-9E94-099FA45582BE}"/>
          </ac:picMkLst>
        </pc:picChg>
        <pc:cxnChg chg="add del mod">
          <ac:chgData name="Daniel von Düring Kjeldsen" userId="d61ad69a-09af-4fd5-9092-471501278b56" providerId="ADAL" clId="{4E651B94-CA1E-4178-ADF6-B752FDCF441D}" dt="2021-06-15T14:15:28.606" v="2913" actId="478"/>
          <ac:cxnSpMkLst>
            <pc:docMk/>
            <pc:sldMk cId="425321295" sldId="3247"/>
            <ac:cxnSpMk id="24" creationId="{73B44A9F-3367-4A38-A88B-A07BFC1D0C6B}"/>
          </ac:cxnSpMkLst>
        </pc:cxnChg>
        <pc:cxnChg chg="add del mod">
          <ac:chgData name="Daniel von Düring Kjeldsen" userId="d61ad69a-09af-4fd5-9092-471501278b56" providerId="ADAL" clId="{4E651B94-CA1E-4178-ADF6-B752FDCF441D}" dt="2021-06-15T14:15:01.560" v="2911" actId="478"/>
          <ac:cxnSpMkLst>
            <pc:docMk/>
            <pc:sldMk cId="425321295" sldId="3247"/>
            <ac:cxnSpMk id="149" creationId="{E59859E6-C976-4B72-BA2B-52BEA43B161A}"/>
          </ac:cxnSpMkLst>
        </pc:cxnChg>
        <pc:cxnChg chg="add mod">
          <ac:chgData name="Daniel von Düring Kjeldsen" userId="d61ad69a-09af-4fd5-9092-471501278b56" providerId="ADAL" clId="{4E651B94-CA1E-4178-ADF6-B752FDCF441D}" dt="2021-06-15T14:17:51.604" v="2945" actId="208"/>
          <ac:cxnSpMkLst>
            <pc:docMk/>
            <pc:sldMk cId="425321295" sldId="3247"/>
            <ac:cxnSpMk id="155" creationId="{81744226-35C9-4B7A-912B-B9B3BE0E919E}"/>
          </ac:cxnSpMkLst>
        </pc:cxnChg>
      </pc:sldChg>
      <pc:sldChg chg="new del">
        <pc:chgData name="Daniel von Düring Kjeldsen" userId="d61ad69a-09af-4fd5-9092-471501278b56" providerId="ADAL" clId="{4E651B94-CA1E-4178-ADF6-B752FDCF441D}" dt="2021-06-15T11:45:49.633" v="1171" actId="47"/>
        <pc:sldMkLst>
          <pc:docMk/>
          <pc:sldMk cId="1200196725" sldId="3247"/>
        </pc:sldMkLst>
      </pc:sldChg>
      <pc:sldChg chg="add del">
        <pc:chgData name="Daniel von Düring Kjeldsen" userId="d61ad69a-09af-4fd5-9092-471501278b56" providerId="ADAL" clId="{4E651B94-CA1E-4178-ADF6-B752FDCF441D}" dt="2021-06-15T11:47:20.273" v="1189" actId="47"/>
        <pc:sldMkLst>
          <pc:docMk/>
          <pc:sldMk cId="3255556249" sldId="3247"/>
        </pc:sldMkLst>
      </pc:sldChg>
      <pc:sldChg chg="add del">
        <pc:chgData name="Daniel von Düring Kjeldsen" userId="d61ad69a-09af-4fd5-9092-471501278b56" providerId="ADAL" clId="{4E651B94-CA1E-4178-ADF6-B752FDCF441D}" dt="2021-06-15T11:46:58.865" v="1179" actId="47"/>
        <pc:sldMkLst>
          <pc:docMk/>
          <pc:sldMk cId="585187507" sldId="3248"/>
        </pc:sldMkLst>
      </pc:sldChg>
      <pc:sldChg chg="modSp add mod ord">
        <pc:chgData name="Daniel von Düring Kjeldsen" userId="d61ad69a-09af-4fd5-9092-471501278b56" providerId="ADAL" clId="{4E651B94-CA1E-4178-ADF6-B752FDCF441D}" dt="2021-06-20T16:35:39.648" v="7526"/>
        <pc:sldMkLst>
          <pc:docMk/>
          <pc:sldMk cId="2933997751" sldId="3248"/>
        </pc:sldMkLst>
        <pc:spChg chg="mod">
          <ac:chgData name="Daniel von Düring Kjeldsen" userId="d61ad69a-09af-4fd5-9092-471501278b56" providerId="ADAL" clId="{4E651B94-CA1E-4178-ADF6-B752FDCF441D}" dt="2021-06-18T21:09:26.929" v="6289" actId="20577"/>
          <ac:spMkLst>
            <pc:docMk/>
            <pc:sldMk cId="2933997751" sldId="3248"/>
            <ac:spMk id="22" creationId="{CCB843D6-C2FB-4212-B1E6-53104D63DB18}"/>
          </ac:spMkLst>
        </pc:spChg>
      </pc:sldChg>
      <pc:sldChg chg="new del">
        <pc:chgData name="Daniel von Düring Kjeldsen" userId="d61ad69a-09af-4fd5-9092-471501278b56" providerId="ADAL" clId="{4E651B94-CA1E-4178-ADF6-B752FDCF441D}" dt="2021-06-15T11:45:49.254" v="1170" actId="47"/>
        <pc:sldMkLst>
          <pc:docMk/>
          <pc:sldMk cId="3220512518" sldId="3248"/>
        </pc:sldMkLst>
      </pc:sldChg>
      <pc:sldChg chg="new del">
        <pc:chgData name="Daniel von Düring Kjeldsen" userId="d61ad69a-09af-4fd5-9092-471501278b56" providerId="ADAL" clId="{4E651B94-CA1E-4178-ADF6-B752FDCF441D}" dt="2021-06-15T11:45:47.649" v="1169" actId="47"/>
        <pc:sldMkLst>
          <pc:docMk/>
          <pc:sldMk cId="1303026602" sldId="3249"/>
        </pc:sldMkLst>
      </pc:sldChg>
      <pc:sldChg chg="new del">
        <pc:chgData name="Daniel von Düring Kjeldsen" userId="d61ad69a-09af-4fd5-9092-471501278b56" providerId="ADAL" clId="{4E651B94-CA1E-4178-ADF6-B752FDCF441D}" dt="2021-06-18T18:42:32.811" v="5492" actId="2696"/>
        <pc:sldMkLst>
          <pc:docMk/>
          <pc:sldMk cId="3596434334" sldId="3249"/>
        </pc:sldMkLst>
      </pc:sldChg>
      <pc:sldChg chg="addSp delSp modSp new mod">
        <pc:chgData name="Daniel von Düring Kjeldsen" userId="d61ad69a-09af-4fd5-9092-471501278b56" providerId="ADAL" clId="{4E651B94-CA1E-4178-ADF6-B752FDCF441D}" dt="2021-06-23T06:57:27.392" v="8073" actId="1035"/>
        <pc:sldMkLst>
          <pc:docMk/>
          <pc:sldMk cId="629161728" sldId="3250"/>
        </pc:sldMkLst>
        <pc:spChg chg="add mod">
          <ac:chgData name="Daniel von Düring Kjeldsen" userId="d61ad69a-09af-4fd5-9092-471501278b56" providerId="ADAL" clId="{4E651B94-CA1E-4178-ADF6-B752FDCF441D}" dt="2021-06-18T19:09:33.557" v="5570" actId="14100"/>
          <ac:spMkLst>
            <pc:docMk/>
            <pc:sldMk cId="629161728" sldId="3250"/>
            <ac:spMk id="2" creationId="{8FFDAFCE-2C69-487A-8641-F706F09CAC25}"/>
          </ac:spMkLst>
        </pc:spChg>
        <pc:spChg chg="del">
          <ac:chgData name="Daniel von Düring Kjeldsen" userId="d61ad69a-09af-4fd5-9092-471501278b56" providerId="ADAL" clId="{4E651B94-CA1E-4178-ADF6-B752FDCF441D}" dt="2021-06-16T13:09:54.155" v="3954" actId="478"/>
          <ac:spMkLst>
            <pc:docMk/>
            <pc:sldMk cId="629161728" sldId="3250"/>
            <ac:spMk id="2" creationId="{CC78FE46-4FE8-4EA2-B197-076C9751FE5F}"/>
          </ac:spMkLst>
        </pc:spChg>
        <pc:spChg chg="del mod">
          <ac:chgData name="Daniel von Düring Kjeldsen" userId="d61ad69a-09af-4fd5-9092-471501278b56" providerId="ADAL" clId="{4E651B94-CA1E-4178-ADF6-B752FDCF441D}" dt="2021-06-16T13:12:26.856" v="4007" actId="478"/>
          <ac:spMkLst>
            <pc:docMk/>
            <pc:sldMk cId="629161728" sldId="3250"/>
            <ac:spMk id="3" creationId="{77DC7F33-B368-431F-BB1D-CDC0FBEF54CE}"/>
          </ac:spMkLst>
        </pc:spChg>
        <pc:spChg chg="del">
          <ac:chgData name="Daniel von Düring Kjeldsen" userId="d61ad69a-09af-4fd5-9092-471501278b56" providerId="ADAL" clId="{4E651B94-CA1E-4178-ADF6-B752FDCF441D}" dt="2021-06-16T13:09:56.199" v="3955" actId="478"/>
          <ac:spMkLst>
            <pc:docMk/>
            <pc:sldMk cId="629161728" sldId="3250"/>
            <ac:spMk id="4" creationId="{F6C6F641-BCC5-437C-BF5E-D26B0B57BDBC}"/>
          </ac:spMkLst>
        </pc:spChg>
        <pc:spChg chg="add mod">
          <ac:chgData name="Daniel von Düring Kjeldsen" userId="d61ad69a-09af-4fd5-9092-471501278b56" providerId="ADAL" clId="{4E651B94-CA1E-4178-ADF6-B752FDCF441D}" dt="2021-06-23T06:57:27.392" v="8073" actId="1035"/>
          <ac:spMkLst>
            <pc:docMk/>
            <pc:sldMk cId="629161728" sldId="3250"/>
            <ac:spMk id="9" creationId="{B67C62E9-A657-41B3-B9B5-7EE60EF8495E}"/>
          </ac:spMkLst>
        </pc:spChg>
        <pc:spChg chg="add mod">
          <ac:chgData name="Daniel von Düring Kjeldsen" userId="d61ad69a-09af-4fd5-9092-471501278b56" providerId="ADAL" clId="{4E651B94-CA1E-4178-ADF6-B752FDCF441D}" dt="2021-06-16T13:10:08.399" v="3958" actId="1076"/>
          <ac:spMkLst>
            <pc:docMk/>
            <pc:sldMk cId="629161728" sldId="3250"/>
            <ac:spMk id="10" creationId="{CF7EE779-2772-4CF9-A22F-764C9CDB252B}"/>
          </ac:spMkLst>
        </pc:spChg>
        <pc:spChg chg="add mod">
          <ac:chgData name="Daniel von Düring Kjeldsen" userId="d61ad69a-09af-4fd5-9092-471501278b56" providerId="ADAL" clId="{4E651B94-CA1E-4178-ADF6-B752FDCF441D}" dt="2021-06-16T14:26:35.890" v="4268" actId="1076"/>
          <ac:spMkLst>
            <pc:docMk/>
            <pc:sldMk cId="629161728" sldId="3250"/>
            <ac:spMk id="11" creationId="{2AAD1EF2-841F-4796-A460-EF16A1B517FE}"/>
          </ac:spMkLst>
        </pc:spChg>
        <pc:spChg chg="mod modVis">
          <ac:chgData name="Daniel von Düring Kjeldsen" userId="d61ad69a-09af-4fd5-9092-471501278b56" providerId="ADAL" clId="{4E651B94-CA1E-4178-ADF6-B752FDCF441D}" dt="2021-06-16T13:12:17.526" v="4004"/>
          <ac:spMkLst>
            <pc:docMk/>
            <pc:sldMk cId="629161728" sldId="3250"/>
            <ac:spMk id="15" creationId="{84B6BB7E-86AF-4EFE-8C6E-335296BA0C12}"/>
          </ac:spMkLst>
        </pc:spChg>
        <pc:spChg chg="mod modVis">
          <ac:chgData name="Daniel von Düring Kjeldsen" userId="d61ad69a-09af-4fd5-9092-471501278b56" providerId="ADAL" clId="{4E651B94-CA1E-4178-ADF6-B752FDCF441D}" dt="2021-06-16T13:12:17.526" v="4004"/>
          <ac:spMkLst>
            <pc:docMk/>
            <pc:sldMk cId="629161728" sldId="3250"/>
            <ac:spMk id="16" creationId="{9CF82A6D-84EA-4A8C-8EC4-1040B134107F}"/>
          </ac:spMkLst>
        </pc:spChg>
        <pc:spChg chg="mod modVis">
          <ac:chgData name="Daniel von Düring Kjeldsen" userId="d61ad69a-09af-4fd5-9092-471501278b56" providerId="ADAL" clId="{4E651B94-CA1E-4178-ADF6-B752FDCF441D}" dt="2021-06-16T13:12:17.526" v="4004"/>
          <ac:spMkLst>
            <pc:docMk/>
            <pc:sldMk cId="629161728" sldId="3250"/>
            <ac:spMk id="17" creationId="{FFEB2203-5306-4DDF-9944-3C1CE81BFC4A}"/>
          </ac:spMkLst>
        </pc:spChg>
        <pc:spChg chg="mod modVis">
          <ac:chgData name="Daniel von Düring Kjeldsen" userId="d61ad69a-09af-4fd5-9092-471501278b56" providerId="ADAL" clId="{4E651B94-CA1E-4178-ADF6-B752FDCF441D}" dt="2021-06-16T13:12:17.526" v="4004"/>
          <ac:spMkLst>
            <pc:docMk/>
            <pc:sldMk cId="629161728" sldId="3250"/>
            <ac:spMk id="18" creationId="{49D1F686-E3D2-481B-9225-F20A33F39E6C}"/>
          </ac:spMkLst>
        </pc:spChg>
        <pc:spChg chg="mod modVis">
          <ac:chgData name="Daniel von Düring Kjeldsen" userId="d61ad69a-09af-4fd5-9092-471501278b56" providerId="ADAL" clId="{4E651B94-CA1E-4178-ADF6-B752FDCF441D}" dt="2021-06-16T13:12:17.526" v="4004"/>
          <ac:spMkLst>
            <pc:docMk/>
            <pc:sldMk cId="629161728" sldId="3250"/>
            <ac:spMk id="19" creationId="{1C58282B-B87B-4AC8-A172-27E099066225}"/>
          </ac:spMkLst>
        </pc:spChg>
        <pc:spChg chg="mod modVis">
          <ac:chgData name="Daniel von Düring Kjeldsen" userId="d61ad69a-09af-4fd5-9092-471501278b56" providerId="ADAL" clId="{4E651B94-CA1E-4178-ADF6-B752FDCF441D}" dt="2021-06-16T13:12:17.526" v="4004"/>
          <ac:spMkLst>
            <pc:docMk/>
            <pc:sldMk cId="629161728" sldId="3250"/>
            <ac:spMk id="20" creationId="{FBEC7255-02BD-413D-AAF2-FD4A16D450F0}"/>
          </ac:spMkLst>
        </pc:spChg>
        <pc:spChg chg="mod modVis">
          <ac:chgData name="Daniel von Düring Kjeldsen" userId="d61ad69a-09af-4fd5-9092-471501278b56" providerId="ADAL" clId="{4E651B94-CA1E-4178-ADF6-B752FDCF441D}" dt="2021-06-16T13:12:17.526" v="4004"/>
          <ac:spMkLst>
            <pc:docMk/>
            <pc:sldMk cId="629161728" sldId="3250"/>
            <ac:spMk id="21" creationId="{62F54C28-2A91-4CB5-9890-4C3A7BC8C30E}"/>
          </ac:spMkLst>
        </pc:spChg>
        <pc:spChg chg="mod modVis">
          <ac:chgData name="Daniel von Düring Kjeldsen" userId="d61ad69a-09af-4fd5-9092-471501278b56" providerId="ADAL" clId="{4E651B94-CA1E-4178-ADF6-B752FDCF441D}" dt="2021-06-16T13:12:17.526" v="4004"/>
          <ac:spMkLst>
            <pc:docMk/>
            <pc:sldMk cId="629161728" sldId="3250"/>
            <ac:spMk id="22" creationId="{EED9325D-5530-4D0F-8907-BD94B70C5139}"/>
          </ac:spMkLst>
        </pc:spChg>
        <pc:spChg chg="add mod">
          <ac:chgData name="Daniel von Düring Kjeldsen" userId="d61ad69a-09af-4fd5-9092-471501278b56" providerId="ADAL" clId="{4E651B94-CA1E-4178-ADF6-B752FDCF441D}" dt="2021-06-21T08:15:23.554" v="7846" actId="20577"/>
          <ac:spMkLst>
            <pc:docMk/>
            <pc:sldMk cId="629161728" sldId="3250"/>
            <ac:spMk id="23" creationId="{5BD20BB0-3041-4C30-A0C4-0D7770BD5116}"/>
          </ac:spMkLst>
        </pc:spChg>
        <pc:spChg chg="add del mod">
          <ac:chgData name="Daniel von Düring Kjeldsen" userId="d61ad69a-09af-4fd5-9092-471501278b56" providerId="ADAL" clId="{4E651B94-CA1E-4178-ADF6-B752FDCF441D}" dt="2021-06-16T13:12:36.807" v="4009" actId="478"/>
          <ac:spMkLst>
            <pc:docMk/>
            <pc:sldMk cId="629161728" sldId="3250"/>
            <ac:spMk id="24" creationId="{30C276A5-1559-485B-981A-EA662AE70555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26" creationId="{4627FE33-A244-4A88-9F41-E62E3014D42B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28" creationId="{E14CFED1-1E85-46BC-B867-43476A07CF69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29" creationId="{46740BFD-E231-49BC-9181-D27AA967B612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30" creationId="{B8C41E59-F393-4A94-A35C-173AA8EF8E06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31" creationId="{E1EAF84A-AB95-402B-9523-4E929A17EDB1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32" creationId="{3A65E805-A6CB-4F33-AFC9-F1F8E6C81BBF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33" creationId="{12CFEF4F-8308-4432-993D-E1EC9B22DC29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34" creationId="{A90D3FEA-0687-41E7-8DCB-88C3F3469B87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35" creationId="{88E18EC6-AED4-43B0-9C23-1B9AE7B72E77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36" creationId="{A9F7B8B9-A53E-4B0F-941A-823CAC313E14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37" creationId="{D52E0A37-5DD6-4D2A-ADD3-3454B1DC399D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38" creationId="{1F88AC3A-B3C2-4BCA-9B81-9106739C4FF3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39" creationId="{2F84B3FC-1872-48C1-9FF9-47F3D92D17E2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40" creationId="{671F567A-519C-4847-B0C1-7E9DB9A94195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41" creationId="{D7F0ABFC-E501-45AE-AFDC-4AEF148CDFF3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42" creationId="{2471C91A-6287-48DE-91CD-77BACAB403BD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43" creationId="{65BE534E-4388-47F7-8DF9-7C235296418D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44" creationId="{8230BDD3-CB13-4AF6-A738-F1011DC15370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45" creationId="{014608BC-CA08-4E49-B2EE-39C461B69342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46" creationId="{9006552D-6647-4BDD-B873-E8695B99B514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47" creationId="{01C6C99C-0B54-438C-9F0B-7A7CBBFFFA80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48" creationId="{7F14233B-421C-4836-B281-B0EA4F4995BA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49" creationId="{44B493C9-2A91-43EB-B722-C21A47DDFA30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50" creationId="{F2C480E1-7D6F-412E-B66F-1333765264AB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51" creationId="{46A6ED74-1A90-4816-86DC-ADDA3D628520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52" creationId="{92B5FF77-4162-4970-A491-705E746A0682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53" creationId="{B92E61BE-5DB6-4BFE-88D5-35670D83F3B0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54" creationId="{BF8B734A-8B7C-47F6-B80F-96649F695C49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55" creationId="{1ADAD0CB-7EAC-4382-938C-323F62B9138E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56" creationId="{FE3A2B8E-6F1A-4A83-AACF-D234BA457371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57" creationId="{3B7ECA0F-35F1-477F-A233-488117ABE791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58" creationId="{AEA50014-D866-4DFF-A493-E87583E7394B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59" creationId="{6907CD7B-5AEB-417B-BA45-582D540ED691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60" creationId="{ADCC233D-DD7B-4E07-BF63-E6D3F73C18A2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61" creationId="{9E9C4533-A371-4AB5-8D70-88963F6E6B67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62" creationId="{FEEDE0F0-39C8-404F-9103-C65257F55536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63" creationId="{ACB73283-8E2A-4A14-BC3E-33BF858A26B6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64" creationId="{C7B128C6-0149-4EF7-8088-41A1A147A166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65" creationId="{C1FD8DF7-D167-4685-9472-EC4AB92BB336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66" creationId="{AD0D9167-ADB9-4C5C-AFE7-3376FB31C082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67" creationId="{26B61E28-AC7A-4B47-AC0D-9F213A7229D3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68" creationId="{B942118A-94D2-484A-941D-F0A07DB74E80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69" creationId="{C1F7B0D6-667B-4503-A045-24A957A3ED0A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70" creationId="{4F481DF3-B6EA-40FE-9E7B-BB6F71E53020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71" creationId="{AC7126BB-24AE-43FC-ABC8-E9A34DDF4634}"/>
          </ac:spMkLst>
        </pc:spChg>
        <pc:spChg chg="mod modVis">
          <ac:chgData name="Daniel von Düring Kjeldsen" userId="d61ad69a-09af-4fd5-9092-471501278b56" providerId="ADAL" clId="{4E651B94-CA1E-4178-ADF6-B752FDCF441D}" dt="2021-06-16T13:13:09.450" v="4063"/>
          <ac:spMkLst>
            <pc:docMk/>
            <pc:sldMk cId="629161728" sldId="3250"/>
            <ac:spMk id="72" creationId="{824D49C8-411D-4F10-874A-C60F9CA85630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74" creationId="{6638FB1B-29FC-47D7-8FB2-D5CFB6A7B523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76" creationId="{2ECD347F-412A-4DC0-99A6-DC4E14E8C891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77" creationId="{53CEFE96-1C66-4F6C-B53F-D272C3B79084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78" creationId="{B71FC0CE-8C3F-4F4F-AF1E-5A5CDCB4995D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79" creationId="{9A172CCD-3A48-438D-B4DD-D82DCC1D9FB3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80" creationId="{12FAFA7A-2EF6-4C14-A12B-B0CD3409EBD5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81" creationId="{75F92502-F584-446A-B582-0877E90A45D6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82" creationId="{86DD6058-4F6B-4B3E-9F37-49857053713D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83" creationId="{03BAB30C-48A5-48D8-8A7F-A518C088EDEC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84" creationId="{4A88F4E5-2D04-4E2F-96CB-CE26DA196C62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85" creationId="{7818C674-8174-40CB-821C-80AA894D7310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86" creationId="{5E0395F1-F779-4D16-92FE-FDA9CEF911BE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87" creationId="{C2A1F206-C852-4965-840A-B58BAFE94B26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88" creationId="{0AF69834-D3B7-44F2-B5E6-29D48D016A39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89" creationId="{722EBCD4-D328-4AE5-BA5C-B6E2B0834D06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90" creationId="{6435CEF8-150A-4770-95F7-407AE5DCA43C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91" creationId="{A84BFC9B-1287-4870-862B-87DF5413853A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92" creationId="{1D62AF29-7454-4BFB-8D01-4EB7748CEE4F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93" creationId="{5C0D53A6-075C-4947-B267-A4F6369DC94B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94" creationId="{0FAC4166-E896-4BA3-8440-13062BFF74B3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95" creationId="{1C805563-B539-45A4-8388-B3B7B564830E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96" creationId="{06F21ACE-5866-4CB1-99C1-6C81FBFE6AB3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97" creationId="{0DE9A6D3-4A38-4549-8D95-4A2AE6B18482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98" creationId="{7EA76E0D-C268-42CF-BC49-2D13F4280B9F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99" creationId="{D71639E3-7B43-4705-B581-04A93347165E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00" creationId="{3B4AD711-7F3F-4A17-BA7A-BE7A72B95158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01" creationId="{4DC8451B-2FCB-4E5A-B4D0-6150DA053E2E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02" creationId="{01B35943-D0BB-4B91-9DF1-BF3F3726EFA0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03" creationId="{29C0BCED-1060-48DD-B1D3-1B159315944A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04" creationId="{7B1E332C-F494-4524-AA80-57D10F5A45B5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05" creationId="{83D42423-E3E2-41DB-A408-6AF14EABAAC4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06" creationId="{93075DE5-C091-4D21-8360-AF35B96A9552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07" creationId="{FE676896-8AD2-4D6C-BDF4-6816586D1562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08" creationId="{1531B97B-E988-4170-ADBF-A0AE378DFD48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09" creationId="{BBA4CEAF-D3D8-42F4-869D-E10A643CE1CD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10" creationId="{36AC9FBF-E5E2-40A0-A365-76C17B02663F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11" creationId="{3CDAD487-7F18-4CB5-ACB7-BC7552352A6A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12" creationId="{CF180938-6B1A-481E-9613-0AFBDA483F84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13" creationId="{BFEA84AF-C424-46B3-8160-4F66D0DAD29D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14" creationId="{1E8A8127-4997-4AA7-8CB2-CBC8C41CC71D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15" creationId="{0BC3453D-494F-4507-A871-14D980796009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16" creationId="{A24AA1D4-8770-4F08-9BCA-5FB2CAC98881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17" creationId="{BE0AE64F-9B00-48E6-9C25-A91657800409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18" creationId="{4AD9B541-D820-4574-B92E-8FA21D28D85F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19" creationId="{577C8A68-26BD-4641-B361-2F5DB3E686C0}"/>
          </ac:spMkLst>
        </pc:spChg>
        <pc:spChg chg="mod modVis">
          <ac:chgData name="Daniel von Düring Kjeldsen" userId="d61ad69a-09af-4fd5-9092-471501278b56" providerId="ADAL" clId="{4E651B94-CA1E-4178-ADF6-B752FDCF441D}" dt="2021-06-16T13:14:47.017" v="4122"/>
          <ac:spMkLst>
            <pc:docMk/>
            <pc:sldMk cId="629161728" sldId="3250"/>
            <ac:spMk id="120" creationId="{B3A990B8-F468-45FB-A4AE-32977C136CB3}"/>
          </ac:spMkLst>
        </pc:spChg>
        <pc:grpChg chg="add mod modVis">
          <ac:chgData name="Daniel von Düring Kjeldsen" userId="d61ad69a-09af-4fd5-9092-471501278b56" providerId="ADAL" clId="{4E651B94-CA1E-4178-ADF6-B752FDCF441D}" dt="2021-06-16T14:36:22.875" v="4279" actId="1076"/>
          <ac:grpSpMkLst>
            <pc:docMk/>
            <pc:sldMk cId="629161728" sldId="3250"/>
            <ac:grpSpMk id="14" creationId="{B6586499-C72E-46B6-BCFA-A164C5CF359D}"/>
          </ac:grpSpMkLst>
        </pc:grpChg>
        <pc:grpChg chg="add del mod modVis">
          <ac:chgData name="Daniel von Düring Kjeldsen" userId="d61ad69a-09af-4fd5-9092-471501278b56" providerId="ADAL" clId="{4E651B94-CA1E-4178-ADF6-B752FDCF441D}" dt="2021-06-16T13:13:21.391" v="4068" actId="478"/>
          <ac:grpSpMkLst>
            <pc:docMk/>
            <pc:sldMk cId="629161728" sldId="3250"/>
            <ac:grpSpMk id="25" creationId="{AC5D2D13-AA21-49C9-945E-0ECA7D692405}"/>
          </ac:grpSpMkLst>
        </pc:grpChg>
        <pc:grpChg chg="mod modVis">
          <ac:chgData name="Daniel von Düring Kjeldsen" userId="d61ad69a-09af-4fd5-9092-471501278b56" providerId="ADAL" clId="{4E651B94-CA1E-4178-ADF6-B752FDCF441D}" dt="2021-06-16T13:13:09.450" v="4063"/>
          <ac:grpSpMkLst>
            <pc:docMk/>
            <pc:sldMk cId="629161728" sldId="3250"/>
            <ac:grpSpMk id="27" creationId="{115467E0-76CA-4FB1-8147-6B7AEBCE5131}"/>
          </ac:grpSpMkLst>
        </pc:grpChg>
        <pc:grpChg chg="add del mod modVis">
          <ac:chgData name="Daniel von Düring Kjeldsen" userId="d61ad69a-09af-4fd5-9092-471501278b56" providerId="ADAL" clId="{4E651B94-CA1E-4178-ADF6-B752FDCF441D}" dt="2021-06-16T13:14:52.411" v="4125" actId="478"/>
          <ac:grpSpMkLst>
            <pc:docMk/>
            <pc:sldMk cId="629161728" sldId="3250"/>
            <ac:grpSpMk id="73" creationId="{E46D2F1C-4947-4559-81D9-330E0A1F3E42}"/>
          </ac:grpSpMkLst>
        </pc:grpChg>
        <pc:grpChg chg="mod modVis">
          <ac:chgData name="Daniel von Düring Kjeldsen" userId="d61ad69a-09af-4fd5-9092-471501278b56" providerId="ADAL" clId="{4E651B94-CA1E-4178-ADF6-B752FDCF441D}" dt="2021-06-16T13:14:47.017" v="4122"/>
          <ac:grpSpMkLst>
            <pc:docMk/>
            <pc:sldMk cId="629161728" sldId="3250"/>
            <ac:grpSpMk id="75" creationId="{6BFC066F-A07B-4A10-9C06-82ACC7D75E46}"/>
          </ac:grpSpMkLst>
        </pc:grpChg>
        <pc:picChg chg="add del mod">
          <ac:chgData name="Daniel von Düring Kjeldsen" userId="d61ad69a-09af-4fd5-9092-471501278b56" providerId="ADAL" clId="{4E651B94-CA1E-4178-ADF6-B752FDCF441D}" dt="2021-06-16T13:09:02.515" v="3947" actId="478"/>
          <ac:picMkLst>
            <pc:docMk/>
            <pc:sldMk cId="629161728" sldId="3250"/>
            <ac:picMk id="8" creationId="{CD853974-BF17-4065-B39B-3E960CD6DD00}"/>
          </ac:picMkLst>
        </pc:picChg>
        <pc:picChg chg="add del mod">
          <ac:chgData name="Daniel von Düring Kjeldsen" userId="d61ad69a-09af-4fd5-9092-471501278b56" providerId="ADAL" clId="{4E651B94-CA1E-4178-ADF6-B752FDCF441D}" dt="2021-06-16T14:25:16.383" v="4248" actId="478"/>
          <ac:picMkLst>
            <pc:docMk/>
            <pc:sldMk cId="629161728" sldId="3250"/>
            <ac:picMk id="13" creationId="{F6623FE9-DD55-4426-8B5C-836391EAF9F6}"/>
          </ac:picMkLst>
        </pc:picChg>
        <pc:picChg chg="add mod">
          <ac:chgData name="Daniel von Düring Kjeldsen" userId="d61ad69a-09af-4fd5-9092-471501278b56" providerId="ADAL" clId="{4E651B94-CA1E-4178-ADF6-B752FDCF441D}" dt="2021-06-20T14:49:18.426" v="6600" actId="1076"/>
          <ac:picMkLst>
            <pc:docMk/>
            <pc:sldMk cId="629161728" sldId="3250"/>
            <ac:picMk id="122" creationId="{DF874244-9693-4380-92B0-7F79C9359E31}"/>
          </ac:picMkLst>
        </pc:picChg>
      </pc:sldChg>
      <pc:sldChg chg="addSp delSp modSp add del mod">
        <pc:chgData name="Daniel von Düring Kjeldsen" userId="d61ad69a-09af-4fd5-9092-471501278b56" providerId="ADAL" clId="{4E651B94-CA1E-4178-ADF6-B752FDCF441D}" dt="2021-06-16T13:24:16.498" v="4167" actId="2696"/>
        <pc:sldMkLst>
          <pc:docMk/>
          <pc:sldMk cId="1598767711" sldId="3251"/>
        </pc:sldMkLst>
        <pc:spChg chg="mod">
          <ac:chgData name="Daniel von Düring Kjeldsen" userId="d61ad69a-09af-4fd5-9092-471501278b56" providerId="ADAL" clId="{4E651B94-CA1E-4178-ADF6-B752FDCF441D}" dt="2021-06-16T13:24:00.771" v="4165" actId="1076"/>
          <ac:spMkLst>
            <pc:docMk/>
            <pc:sldMk cId="1598767711" sldId="3251"/>
            <ac:spMk id="11" creationId="{2AAD1EF2-841F-4796-A460-EF16A1B517FE}"/>
          </ac:spMkLst>
        </pc:spChg>
        <pc:spChg chg="mod modVis">
          <ac:chgData name="Daniel von Düring Kjeldsen" userId="d61ad69a-09af-4fd5-9092-471501278b56" providerId="ADAL" clId="{4E651B94-CA1E-4178-ADF6-B752FDCF441D}" dt="2021-06-16T13:15:54.590" v="4150"/>
          <ac:spMkLst>
            <pc:docMk/>
            <pc:sldMk cId="1598767711" sldId="3251"/>
            <ac:spMk id="24" creationId="{3509A85B-CADE-4140-BCC3-467399FED88F}"/>
          </ac:spMkLst>
        </pc:spChg>
        <pc:spChg chg="mod modVis">
          <ac:chgData name="Daniel von Düring Kjeldsen" userId="d61ad69a-09af-4fd5-9092-471501278b56" providerId="ADAL" clId="{4E651B94-CA1E-4178-ADF6-B752FDCF441D}" dt="2021-06-16T13:15:54.590" v="4150"/>
          <ac:spMkLst>
            <pc:docMk/>
            <pc:sldMk cId="1598767711" sldId="3251"/>
            <ac:spMk id="25" creationId="{08A4712A-7351-4B71-B5AC-901037A7BDF0}"/>
          </ac:spMkLst>
        </pc:spChg>
        <pc:spChg chg="mod modVis">
          <ac:chgData name="Daniel von Düring Kjeldsen" userId="d61ad69a-09af-4fd5-9092-471501278b56" providerId="ADAL" clId="{4E651B94-CA1E-4178-ADF6-B752FDCF441D}" dt="2021-06-16T13:15:54.590" v="4150"/>
          <ac:spMkLst>
            <pc:docMk/>
            <pc:sldMk cId="1598767711" sldId="3251"/>
            <ac:spMk id="26" creationId="{CF91861A-9F05-4C97-BDC9-327743761273}"/>
          </ac:spMkLst>
        </pc:spChg>
        <pc:spChg chg="mod modVis">
          <ac:chgData name="Daniel von Düring Kjeldsen" userId="d61ad69a-09af-4fd5-9092-471501278b56" providerId="ADAL" clId="{4E651B94-CA1E-4178-ADF6-B752FDCF441D}" dt="2021-06-16T13:15:54.590" v="4150"/>
          <ac:spMkLst>
            <pc:docMk/>
            <pc:sldMk cId="1598767711" sldId="3251"/>
            <ac:spMk id="27" creationId="{25EC3BFF-B624-49F8-BF4B-3352E3F9CFA5}"/>
          </ac:spMkLst>
        </pc:spChg>
        <pc:spChg chg="mod modVis">
          <ac:chgData name="Daniel von Düring Kjeldsen" userId="d61ad69a-09af-4fd5-9092-471501278b56" providerId="ADAL" clId="{4E651B94-CA1E-4178-ADF6-B752FDCF441D}" dt="2021-06-16T13:15:54.590" v="4150"/>
          <ac:spMkLst>
            <pc:docMk/>
            <pc:sldMk cId="1598767711" sldId="3251"/>
            <ac:spMk id="28" creationId="{71552E6E-E3FF-4459-8EA4-00127394CCA5}"/>
          </ac:spMkLst>
        </pc:spChg>
        <pc:spChg chg="mod modVis">
          <ac:chgData name="Daniel von Düring Kjeldsen" userId="d61ad69a-09af-4fd5-9092-471501278b56" providerId="ADAL" clId="{4E651B94-CA1E-4178-ADF6-B752FDCF441D}" dt="2021-06-16T13:15:54.590" v="4150"/>
          <ac:spMkLst>
            <pc:docMk/>
            <pc:sldMk cId="1598767711" sldId="3251"/>
            <ac:spMk id="29" creationId="{0FAF2618-97B9-402E-AD59-C2B799DB7C7C}"/>
          </ac:spMkLst>
        </pc:spChg>
        <pc:spChg chg="mod modVis">
          <ac:chgData name="Daniel von Düring Kjeldsen" userId="d61ad69a-09af-4fd5-9092-471501278b56" providerId="ADAL" clId="{4E651B94-CA1E-4178-ADF6-B752FDCF441D}" dt="2021-06-16T13:15:54.590" v="4150"/>
          <ac:spMkLst>
            <pc:docMk/>
            <pc:sldMk cId="1598767711" sldId="3251"/>
            <ac:spMk id="30" creationId="{9616AF90-BDEF-4CEC-97D7-5A10F140BD43}"/>
          </ac:spMkLst>
        </pc:spChg>
        <pc:spChg chg="mod modVis">
          <ac:chgData name="Daniel von Düring Kjeldsen" userId="d61ad69a-09af-4fd5-9092-471501278b56" providerId="ADAL" clId="{4E651B94-CA1E-4178-ADF6-B752FDCF441D}" dt="2021-06-16T13:15:54.590" v="4150"/>
          <ac:spMkLst>
            <pc:docMk/>
            <pc:sldMk cId="1598767711" sldId="3251"/>
            <ac:spMk id="31" creationId="{7E4A2232-ED19-450D-8390-2BEBACDFB2FB}"/>
          </ac:spMkLst>
        </pc:spChg>
        <pc:spChg chg="mod modVis">
          <ac:chgData name="Daniel von Düring Kjeldsen" userId="d61ad69a-09af-4fd5-9092-471501278b56" providerId="ADAL" clId="{4E651B94-CA1E-4178-ADF6-B752FDCF441D}" dt="2021-06-16T13:15:54.590" v="4150"/>
          <ac:spMkLst>
            <pc:docMk/>
            <pc:sldMk cId="1598767711" sldId="3251"/>
            <ac:spMk id="32" creationId="{5DF678D3-BBB9-433B-8E06-67FCDCE2A122}"/>
          </ac:spMkLst>
        </pc:spChg>
        <pc:spChg chg="mod modVis">
          <ac:chgData name="Daniel von Düring Kjeldsen" userId="d61ad69a-09af-4fd5-9092-471501278b56" providerId="ADAL" clId="{4E651B94-CA1E-4178-ADF6-B752FDCF441D}" dt="2021-06-16T13:15:54.590" v="4150"/>
          <ac:spMkLst>
            <pc:docMk/>
            <pc:sldMk cId="1598767711" sldId="3251"/>
            <ac:spMk id="33" creationId="{6963A2B2-FBDE-4439-8853-6A15F3579755}"/>
          </ac:spMkLst>
        </pc:spChg>
        <pc:spChg chg="mod modVis">
          <ac:chgData name="Daniel von Düring Kjeldsen" userId="d61ad69a-09af-4fd5-9092-471501278b56" providerId="ADAL" clId="{4E651B94-CA1E-4178-ADF6-B752FDCF441D}" dt="2021-06-16T13:15:54.590" v="4150"/>
          <ac:spMkLst>
            <pc:docMk/>
            <pc:sldMk cId="1598767711" sldId="3251"/>
            <ac:spMk id="34" creationId="{4BD92773-A302-4BF3-B6DD-81635063A28E}"/>
          </ac:spMkLst>
        </pc:spChg>
        <pc:spChg chg="mod modVis">
          <ac:chgData name="Daniel von Düring Kjeldsen" userId="d61ad69a-09af-4fd5-9092-471501278b56" providerId="ADAL" clId="{4E651B94-CA1E-4178-ADF6-B752FDCF441D}" dt="2021-06-16T13:15:54.590" v="4150"/>
          <ac:spMkLst>
            <pc:docMk/>
            <pc:sldMk cId="1598767711" sldId="3251"/>
            <ac:spMk id="35" creationId="{8248208F-83B6-4EE8-9F7A-58BA93927EBA}"/>
          </ac:spMkLst>
        </pc:spChg>
        <pc:spChg chg="mod modVis">
          <ac:chgData name="Daniel von Düring Kjeldsen" userId="d61ad69a-09af-4fd5-9092-471501278b56" providerId="ADAL" clId="{4E651B94-CA1E-4178-ADF6-B752FDCF441D}" dt="2021-06-16T13:15:54.590" v="4150"/>
          <ac:spMkLst>
            <pc:docMk/>
            <pc:sldMk cId="1598767711" sldId="3251"/>
            <ac:spMk id="36" creationId="{0E87DD5C-C8A8-4C03-9A29-80507B9AC7FC}"/>
          </ac:spMkLst>
        </pc:spChg>
        <pc:spChg chg="mod modVis">
          <ac:chgData name="Daniel von Düring Kjeldsen" userId="d61ad69a-09af-4fd5-9092-471501278b56" providerId="ADAL" clId="{4E651B94-CA1E-4178-ADF6-B752FDCF441D}" dt="2021-06-16T13:15:54.590" v="4150"/>
          <ac:spMkLst>
            <pc:docMk/>
            <pc:sldMk cId="1598767711" sldId="3251"/>
            <ac:spMk id="37" creationId="{EE8E4129-AB7F-47CF-BDB4-92927E9D253A}"/>
          </ac:spMkLst>
        </pc:spChg>
        <pc:spChg chg="mod modVis">
          <ac:chgData name="Daniel von Düring Kjeldsen" userId="d61ad69a-09af-4fd5-9092-471501278b56" providerId="ADAL" clId="{4E651B94-CA1E-4178-ADF6-B752FDCF441D}" dt="2021-06-16T13:15:54.590" v="4150"/>
          <ac:spMkLst>
            <pc:docMk/>
            <pc:sldMk cId="1598767711" sldId="3251"/>
            <ac:spMk id="38" creationId="{7583C7BC-8AD0-4EA0-B847-BCA31EC79F0E}"/>
          </ac:spMkLst>
        </pc:spChg>
        <pc:spChg chg="mod modVis">
          <ac:chgData name="Daniel von Düring Kjeldsen" userId="d61ad69a-09af-4fd5-9092-471501278b56" providerId="ADAL" clId="{4E651B94-CA1E-4178-ADF6-B752FDCF441D}" dt="2021-06-16T13:15:54.590" v="4150"/>
          <ac:spMkLst>
            <pc:docMk/>
            <pc:sldMk cId="1598767711" sldId="3251"/>
            <ac:spMk id="39" creationId="{C6DC02A1-2C09-4476-A587-C6719AC35929}"/>
          </ac:spMkLst>
        </pc:spChg>
        <pc:spChg chg="mod modVis">
          <ac:chgData name="Daniel von Düring Kjeldsen" userId="d61ad69a-09af-4fd5-9092-471501278b56" providerId="ADAL" clId="{4E651B94-CA1E-4178-ADF6-B752FDCF441D}" dt="2021-06-16T13:15:54.590" v="4150"/>
          <ac:spMkLst>
            <pc:docMk/>
            <pc:sldMk cId="1598767711" sldId="3251"/>
            <ac:spMk id="40" creationId="{2328DD05-5AF9-42BC-A0E4-810E95611DBA}"/>
          </ac:spMkLst>
        </pc:spChg>
        <pc:spChg chg="mod">
          <ac:chgData name="Daniel von Düring Kjeldsen" userId="d61ad69a-09af-4fd5-9092-471501278b56" providerId="ADAL" clId="{4E651B94-CA1E-4178-ADF6-B752FDCF441D}" dt="2021-06-16T13:23:57.463" v="4163"/>
          <ac:spMkLst>
            <pc:docMk/>
            <pc:sldMk cId="1598767711" sldId="3251"/>
            <ac:spMk id="42" creationId="{46E09D77-D3AC-4A9F-90A4-D863AFB1331C}"/>
          </ac:spMkLst>
        </pc:spChg>
        <pc:spChg chg="mod">
          <ac:chgData name="Daniel von Düring Kjeldsen" userId="d61ad69a-09af-4fd5-9092-471501278b56" providerId="ADAL" clId="{4E651B94-CA1E-4178-ADF6-B752FDCF441D}" dt="2021-06-16T13:23:57.463" v="4163"/>
          <ac:spMkLst>
            <pc:docMk/>
            <pc:sldMk cId="1598767711" sldId="3251"/>
            <ac:spMk id="43" creationId="{69600686-D905-4424-9473-E801A753A14E}"/>
          </ac:spMkLst>
        </pc:spChg>
        <pc:spChg chg="mod">
          <ac:chgData name="Daniel von Düring Kjeldsen" userId="d61ad69a-09af-4fd5-9092-471501278b56" providerId="ADAL" clId="{4E651B94-CA1E-4178-ADF6-B752FDCF441D}" dt="2021-06-16T13:23:57.463" v="4163"/>
          <ac:spMkLst>
            <pc:docMk/>
            <pc:sldMk cId="1598767711" sldId="3251"/>
            <ac:spMk id="44" creationId="{406E23DA-BE4F-4BCD-9156-2813EDA1497E}"/>
          </ac:spMkLst>
        </pc:spChg>
        <pc:spChg chg="mod">
          <ac:chgData name="Daniel von Düring Kjeldsen" userId="d61ad69a-09af-4fd5-9092-471501278b56" providerId="ADAL" clId="{4E651B94-CA1E-4178-ADF6-B752FDCF441D}" dt="2021-06-16T13:23:57.463" v="4163"/>
          <ac:spMkLst>
            <pc:docMk/>
            <pc:sldMk cId="1598767711" sldId="3251"/>
            <ac:spMk id="45" creationId="{39AF66C8-BE3D-4569-A5F6-85AF32F056F3}"/>
          </ac:spMkLst>
        </pc:spChg>
        <pc:spChg chg="mod">
          <ac:chgData name="Daniel von Düring Kjeldsen" userId="d61ad69a-09af-4fd5-9092-471501278b56" providerId="ADAL" clId="{4E651B94-CA1E-4178-ADF6-B752FDCF441D}" dt="2021-06-16T13:23:57.463" v="4163"/>
          <ac:spMkLst>
            <pc:docMk/>
            <pc:sldMk cId="1598767711" sldId="3251"/>
            <ac:spMk id="46" creationId="{2A865706-F1FC-49D7-A7AF-6473E0EC2608}"/>
          </ac:spMkLst>
        </pc:spChg>
        <pc:spChg chg="mod">
          <ac:chgData name="Daniel von Düring Kjeldsen" userId="d61ad69a-09af-4fd5-9092-471501278b56" providerId="ADAL" clId="{4E651B94-CA1E-4178-ADF6-B752FDCF441D}" dt="2021-06-16T13:23:57.463" v="4163"/>
          <ac:spMkLst>
            <pc:docMk/>
            <pc:sldMk cId="1598767711" sldId="3251"/>
            <ac:spMk id="47" creationId="{88C33842-BE4B-4900-AE18-8DC9EE8461B1}"/>
          </ac:spMkLst>
        </pc:spChg>
        <pc:spChg chg="mod">
          <ac:chgData name="Daniel von Düring Kjeldsen" userId="d61ad69a-09af-4fd5-9092-471501278b56" providerId="ADAL" clId="{4E651B94-CA1E-4178-ADF6-B752FDCF441D}" dt="2021-06-16T13:23:57.463" v="4163"/>
          <ac:spMkLst>
            <pc:docMk/>
            <pc:sldMk cId="1598767711" sldId="3251"/>
            <ac:spMk id="48" creationId="{D7EA7805-7312-4952-9B52-304C6CFCA7A5}"/>
          </ac:spMkLst>
        </pc:spChg>
        <pc:spChg chg="mod">
          <ac:chgData name="Daniel von Düring Kjeldsen" userId="d61ad69a-09af-4fd5-9092-471501278b56" providerId="ADAL" clId="{4E651B94-CA1E-4178-ADF6-B752FDCF441D}" dt="2021-06-16T13:23:57.463" v="4163"/>
          <ac:spMkLst>
            <pc:docMk/>
            <pc:sldMk cId="1598767711" sldId="3251"/>
            <ac:spMk id="49" creationId="{C6E6F799-A5EE-4A82-8BB9-2EFE204CB881}"/>
          </ac:spMkLst>
        </pc:spChg>
        <pc:spChg chg="mod">
          <ac:chgData name="Daniel von Düring Kjeldsen" userId="d61ad69a-09af-4fd5-9092-471501278b56" providerId="ADAL" clId="{4E651B94-CA1E-4178-ADF6-B752FDCF441D}" dt="2021-06-16T13:23:57.463" v="4163"/>
          <ac:spMkLst>
            <pc:docMk/>
            <pc:sldMk cId="1598767711" sldId="3251"/>
            <ac:spMk id="50" creationId="{9171D5B9-D626-4B05-B06F-ABF9303E6621}"/>
          </ac:spMkLst>
        </pc:spChg>
        <pc:spChg chg="mod">
          <ac:chgData name="Daniel von Düring Kjeldsen" userId="d61ad69a-09af-4fd5-9092-471501278b56" providerId="ADAL" clId="{4E651B94-CA1E-4178-ADF6-B752FDCF441D}" dt="2021-06-16T13:23:57.463" v="4163"/>
          <ac:spMkLst>
            <pc:docMk/>
            <pc:sldMk cId="1598767711" sldId="3251"/>
            <ac:spMk id="51" creationId="{3390826A-3D58-46AB-A23C-D00F18FB18E4}"/>
          </ac:spMkLst>
        </pc:spChg>
        <pc:spChg chg="mod">
          <ac:chgData name="Daniel von Düring Kjeldsen" userId="d61ad69a-09af-4fd5-9092-471501278b56" providerId="ADAL" clId="{4E651B94-CA1E-4178-ADF6-B752FDCF441D}" dt="2021-06-16T13:23:57.463" v="4163"/>
          <ac:spMkLst>
            <pc:docMk/>
            <pc:sldMk cId="1598767711" sldId="3251"/>
            <ac:spMk id="52" creationId="{D6EEA33A-D147-41FF-8A50-BAE67FCBCE2C}"/>
          </ac:spMkLst>
        </pc:spChg>
        <pc:spChg chg="mod">
          <ac:chgData name="Daniel von Düring Kjeldsen" userId="d61ad69a-09af-4fd5-9092-471501278b56" providerId="ADAL" clId="{4E651B94-CA1E-4178-ADF6-B752FDCF441D}" dt="2021-06-16T13:23:57.463" v="4163"/>
          <ac:spMkLst>
            <pc:docMk/>
            <pc:sldMk cId="1598767711" sldId="3251"/>
            <ac:spMk id="53" creationId="{A2667755-AC25-4F34-A490-91D62C9960B0}"/>
          </ac:spMkLst>
        </pc:spChg>
        <pc:spChg chg="mod">
          <ac:chgData name="Daniel von Düring Kjeldsen" userId="d61ad69a-09af-4fd5-9092-471501278b56" providerId="ADAL" clId="{4E651B94-CA1E-4178-ADF6-B752FDCF441D}" dt="2021-06-16T13:23:57.463" v="4163"/>
          <ac:spMkLst>
            <pc:docMk/>
            <pc:sldMk cId="1598767711" sldId="3251"/>
            <ac:spMk id="54" creationId="{E2E05490-17CD-45FF-A7F5-1FBCE51EBE00}"/>
          </ac:spMkLst>
        </pc:spChg>
        <pc:spChg chg="mod">
          <ac:chgData name="Daniel von Düring Kjeldsen" userId="d61ad69a-09af-4fd5-9092-471501278b56" providerId="ADAL" clId="{4E651B94-CA1E-4178-ADF6-B752FDCF441D}" dt="2021-06-16T13:23:57.463" v="4163"/>
          <ac:spMkLst>
            <pc:docMk/>
            <pc:sldMk cId="1598767711" sldId="3251"/>
            <ac:spMk id="55" creationId="{27DB8DDD-02B4-4BD8-995E-E58A03D7EEFE}"/>
          </ac:spMkLst>
        </pc:spChg>
        <pc:spChg chg="mod">
          <ac:chgData name="Daniel von Düring Kjeldsen" userId="d61ad69a-09af-4fd5-9092-471501278b56" providerId="ADAL" clId="{4E651B94-CA1E-4178-ADF6-B752FDCF441D}" dt="2021-06-16T13:23:57.463" v="4163"/>
          <ac:spMkLst>
            <pc:docMk/>
            <pc:sldMk cId="1598767711" sldId="3251"/>
            <ac:spMk id="56" creationId="{F6345E61-9A92-4E55-B825-33C39108FD09}"/>
          </ac:spMkLst>
        </pc:spChg>
        <pc:spChg chg="mod">
          <ac:chgData name="Daniel von Düring Kjeldsen" userId="d61ad69a-09af-4fd5-9092-471501278b56" providerId="ADAL" clId="{4E651B94-CA1E-4178-ADF6-B752FDCF441D}" dt="2021-06-16T13:23:57.463" v="4163"/>
          <ac:spMkLst>
            <pc:docMk/>
            <pc:sldMk cId="1598767711" sldId="3251"/>
            <ac:spMk id="57" creationId="{03EBF97E-2FCD-4EC4-BB53-72D37C04C6C1}"/>
          </ac:spMkLst>
        </pc:spChg>
        <pc:spChg chg="mod">
          <ac:chgData name="Daniel von Düring Kjeldsen" userId="d61ad69a-09af-4fd5-9092-471501278b56" providerId="ADAL" clId="{4E651B94-CA1E-4178-ADF6-B752FDCF441D}" dt="2021-06-16T13:23:57.463" v="4163"/>
          <ac:spMkLst>
            <pc:docMk/>
            <pc:sldMk cId="1598767711" sldId="3251"/>
            <ac:spMk id="58" creationId="{3E864642-2083-4EB2-88A5-A9674DC0EDAF}"/>
          </ac:spMkLst>
        </pc:spChg>
        <pc:grpChg chg="add mod modVis">
          <ac:chgData name="Daniel von Düring Kjeldsen" userId="d61ad69a-09af-4fd5-9092-471501278b56" providerId="ADAL" clId="{4E651B94-CA1E-4178-ADF6-B752FDCF441D}" dt="2021-06-16T13:16:13.126" v="4154" actId="1076"/>
          <ac:grpSpMkLst>
            <pc:docMk/>
            <pc:sldMk cId="1598767711" sldId="3251"/>
            <ac:grpSpMk id="23" creationId="{6CDD26AD-81F4-4A96-814A-FDF4FA9F65E8}"/>
          </ac:grpSpMkLst>
        </pc:grpChg>
        <pc:grpChg chg="add del mod">
          <ac:chgData name="Daniel von Düring Kjeldsen" userId="d61ad69a-09af-4fd5-9092-471501278b56" providerId="ADAL" clId="{4E651B94-CA1E-4178-ADF6-B752FDCF441D}" dt="2021-06-16T13:24:07.546" v="4166" actId="478"/>
          <ac:grpSpMkLst>
            <pc:docMk/>
            <pc:sldMk cId="1598767711" sldId="3251"/>
            <ac:grpSpMk id="41" creationId="{3897A291-C0AE-4A54-A7D6-AF8BE87F72FE}"/>
          </ac:grpSpMkLst>
        </pc:grpChg>
        <pc:picChg chg="add mod">
          <ac:chgData name="Daniel von Düring Kjeldsen" userId="d61ad69a-09af-4fd5-9092-471501278b56" providerId="ADAL" clId="{4E651B94-CA1E-4178-ADF6-B752FDCF441D}" dt="2021-06-16T13:23:53.374" v="4162" actId="1076"/>
          <ac:picMkLst>
            <pc:docMk/>
            <pc:sldMk cId="1598767711" sldId="3251"/>
            <ac:picMk id="3" creationId="{E0565AF5-683D-482E-955F-D9D7D46D3AF4}"/>
          </ac:picMkLst>
        </pc:picChg>
        <pc:picChg chg="del mod">
          <ac:chgData name="Daniel von Düring Kjeldsen" userId="d61ad69a-09af-4fd5-9092-471501278b56" providerId="ADAL" clId="{4E651B94-CA1E-4178-ADF6-B752FDCF441D}" dt="2021-06-16T13:23:05.013" v="4155" actId="478"/>
          <ac:picMkLst>
            <pc:docMk/>
            <pc:sldMk cId="1598767711" sldId="3251"/>
            <ac:picMk id="13" creationId="{F6623FE9-DD55-4426-8B5C-836391EAF9F6}"/>
          </ac:picMkLst>
        </pc:picChg>
      </pc:sldChg>
      <pc:sldChg chg="addSp delSp modSp add mod">
        <pc:chgData name="Daniel von Düring Kjeldsen" userId="d61ad69a-09af-4fd5-9092-471501278b56" providerId="ADAL" clId="{4E651B94-CA1E-4178-ADF6-B752FDCF441D}" dt="2021-06-21T08:15:32.077" v="7852" actId="20577"/>
        <pc:sldMkLst>
          <pc:docMk/>
          <pc:sldMk cId="2986238169" sldId="3251"/>
        </pc:sldMkLst>
        <pc:spChg chg="add del mod">
          <ac:chgData name="Daniel von Düring Kjeldsen" userId="d61ad69a-09af-4fd5-9092-471501278b56" providerId="ADAL" clId="{4E651B94-CA1E-4178-ADF6-B752FDCF441D}" dt="2021-06-16T14:25:51.882" v="4255" actId="478"/>
          <ac:spMkLst>
            <pc:docMk/>
            <pc:sldMk cId="2986238169" sldId="3251"/>
            <ac:spMk id="4" creationId="{D22AF8E4-1B8D-46B2-AA1E-0B58062DCD87}"/>
          </ac:spMkLst>
        </pc:spChg>
        <pc:spChg chg="add mod">
          <ac:chgData name="Daniel von Düring Kjeldsen" userId="d61ad69a-09af-4fd5-9092-471501278b56" providerId="ADAL" clId="{4E651B94-CA1E-4178-ADF6-B752FDCF441D}" dt="2021-06-16T14:42:14.195" v="4344" actId="1076"/>
          <ac:spMkLst>
            <pc:docMk/>
            <pc:sldMk cId="2986238169" sldId="3251"/>
            <ac:spMk id="12" creationId="{5E6C9A17-0A92-4275-86CF-AF43A97197C1}"/>
          </ac:spMkLst>
        </pc:spChg>
        <pc:spChg chg="del mod modVis">
          <ac:chgData name="Daniel von Düring Kjeldsen" userId="d61ad69a-09af-4fd5-9092-471501278b56" providerId="ADAL" clId="{4E651B94-CA1E-4178-ADF6-B752FDCF441D}" dt="2021-06-16T14:25:56.121" v="4257" actId="478"/>
          <ac:spMkLst>
            <pc:docMk/>
            <pc:sldMk cId="2986238169" sldId="3251"/>
            <ac:spMk id="24" creationId="{A79A9960-911E-4820-9B3A-903D69E98251}"/>
          </ac:spMkLst>
        </pc:spChg>
        <pc:spChg chg="mod modVis">
          <ac:chgData name="Daniel von Düring Kjeldsen" userId="d61ad69a-09af-4fd5-9092-471501278b56" providerId="ADAL" clId="{4E651B94-CA1E-4178-ADF6-B752FDCF441D}" dt="2021-06-16T13:28:04.705" v="4202"/>
          <ac:spMkLst>
            <pc:docMk/>
            <pc:sldMk cId="2986238169" sldId="3251"/>
            <ac:spMk id="25" creationId="{CB0CE13B-15E6-438E-83EA-AC678724CBF1}"/>
          </ac:spMkLst>
        </pc:spChg>
        <pc:spChg chg="mod modVis">
          <ac:chgData name="Daniel von Düring Kjeldsen" userId="d61ad69a-09af-4fd5-9092-471501278b56" providerId="ADAL" clId="{4E651B94-CA1E-4178-ADF6-B752FDCF441D}" dt="2021-06-16T13:28:04.705" v="4202"/>
          <ac:spMkLst>
            <pc:docMk/>
            <pc:sldMk cId="2986238169" sldId="3251"/>
            <ac:spMk id="26" creationId="{0F06E0DA-82F3-47DA-9B15-8A15A1158542}"/>
          </ac:spMkLst>
        </pc:spChg>
        <pc:spChg chg="mod modVis">
          <ac:chgData name="Daniel von Düring Kjeldsen" userId="d61ad69a-09af-4fd5-9092-471501278b56" providerId="ADAL" clId="{4E651B94-CA1E-4178-ADF6-B752FDCF441D}" dt="2021-06-16T14:25:53.955" v="4256" actId="5793"/>
          <ac:spMkLst>
            <pc:docMk/>
            <pc:sldMk cId="2986238169" sldId="3251"/>
            <ac:spMk id="27" creationId="{7D81663C-989A-4B5F-A283-A7388282187B}"/>
          </ac:spMkLst>
        </pc:spChg>
        <pc:spChg chg="mod modVis">
          <ac:chgData name="Daniel von Düring Kjeldsen" userId="d61ad69a-09af-4fd5-9092-471501278b56" providerId="ADAL" clId="{4E651B94-CA1E-4178-ADF6-B752FDCF441D}" dt="2021-06-16T13:28:04.705" v="4202"/>
          <ac:spMkLst>
            <pc:docMk/>
            <pc:sldMk cId="2986238169" sldId="3251"/>
            <ac:spMk id="28" creationId="{40728BC6-405D-474A-BDDD-9AC17D4E69D2}"/>
          </ac:spMkLst>
        </pc:spChg>
        <pc:spChg chg="mod modVis">
          <ac:chgData name="Daniel von Düring Kjeldsen" userId="d61ad69a-09af-4fd5-9092-471501278b56" providerId="ADAL" clId="{4E651B94-CA1E-4178-ADF6-B752FDCF441D}" dt="2021-06-16T13:28:04.705" v="4202"/>
          <ac:spMkLst>
            <pc:docMk/>
            <pc:sldMk cId="2986238169" sldId="3251"/>
            <ac:spMk id="29" creationId="{5DD02457-5610-4332-9B24-2D0F928247C6}"/>
          </ac:spMkLst>
        </pc:spChg>
        <pc:spChg chg="mod modVis">
          <ac:chgData name="Daniel von Düring Kjeldsen" userId="d61ad69a-09af-4fd5-9092-471501278b56" providerId="ADAL" clId="{4E651B94-CA1E-4178-ADF6-B752FDCF441D}" dt="2021-06-16T13:28:04.705" v="4202"/>
          <ac:spMkLst>
            <pc:docMk/>
            <pc:sldMk cId="2986238169" sldId="3251"/>
            <ac:spMk id="30" creationId="{49054F06-19BB-415A-BE62-0321A9C7C7B6}"/>
          </ac:spMkLst>
        </pc:spChg>
        <pc:spChg chg="mod modVis">
          <ac:chgData name="Daniel von Düring Kjeldsen" userId="d61ad69a-09af-4fd5-9092-471501278b56" providerId="ADAL" clId="{4E651B94-CA1E-4178-ADF6-B752FDCF441D}" dt="2021-06-16T14:25:58.543" v="4258" actId="5793"/>
          <ac:spMkLst>
            <pc:docMk/>
            <pc:sldMk cId="2986238169" sldId="3251"/>
            <ac:spMk id="31" creationId="{20A07DC2-38F6-4C65-9748-4C920BCF92A6}"/>
          </ac:spMkLst>
        </pc:spChg>
        <pc:spChg chg="mod modVis">
          <ac:chgData name="Daniel von Düring Kjeldsen" userId="d61ad69a-09af-4fd5-9092-471501278b56" providerId="ADAL" clId="{4E651B94-CA1E-4178-ADF6-B752FDCF441D}" dt="2021-06-16T13:28:04.705" v="4202"/>
          <ac:spMkLst>
            <pc:docMk/>
            <pc:sldMk cId="2986238169" sldId="3251"/>
            <ac:spMk id="32" creationId="{3E72D018-EA9C-4682-840D-24DA5BCC0CD1}"/>
          </ac:spMkLst>
        </pc:spChg>
        <pc:spChg chg="mod modVis">
          <ac:chgData name="Daniel von Düring Kjeldsen" userId="d61ad69a-09af-4fd5-9092-471501278b56" providerId="ADAL" clId="{4E651B94-CA1E-4178-ADF6-B752FDCF441D}" dt="2021-06-16T13:28:04.705" v="4202"/>
          <ac:spMkLst>
            <pc:docMk/>
            <pc:sldMk cId="2986238169" sldId="3251"/>
            <ac:spMk id="33" creationId="{C1F9EFC9-E691-4700-B577-AE61E848AD91}"/>
          </ac:spMkLst>
        </pc:spChg>
        <pc:spChg chg="mod modVis">
          <ac:chgData name="Daniel von Düring Kjeldsen" userId="d61ad69a-09af-4fd5-9092-471501278b56" providerId="ADAL" clId="{4E651B94-CA1E-4178-ADF6-B752FDCF441D}" dt="2021-06-16T13:28:04.705" v="4202"/>
          <ac:spMkLst>
            <pc:docMk/>
            <pc:sldMk cId="2986238169" sldId="3251"/>
            <ac:spMk id="34" creationId="{7740F063-7DED-4ED1-BC99-62FED3F73DBB}"/>
          </ac:spMkLst>
        </pc:spChg>
        <pc:spChg chg="mod modVis">
          <ac:chgData name="Daniel von Düring Kjeldsen" userId="d61ad69a-09af-4fd5-9092-471501278b56" providerId="ADAL" clId="{4E651B94-CA1E-4178-ADF6-B752FDCF441D}" dt="2021-06-16T13:28:04.705" v="4202"/>
          <ac:spMkLst>
            <pc:docMk/>
            <pc:sldMk cId="2986238169" sldId="3251"/>
            <ac:spMk id="35" creationId="{FDD82BA1-A1BC-4FAD-AD93-AF6A4D2AA82C}"/>
          </ac:spMkLst>
        </pc:spChg>
        <pc:spChg chg="mod modVis">
          <ac:chgData name="Daniel von Düring Kjeldsen" userId="d61ad69a-09af-4fd5-9092-471501278b56" providerId="ADAL" clId="{4E651B94-CA1E-4178-ADF6-B752FDCF441D}" dt="2021-06-16T13:28:04.705" v="4202"/>
          <ac:spMkLst>
            <pc:docMk/>
            <pc:sldMk cId="2986238169" sldId="3251"/>
            <ac:spMk id="36" creationId="{1E39A31A-DD62-4403-894B-EB5BACD6BC4C}"/>
          </ac:spMkLst>
        </pc:spChg>
        <pc:spChg chg="mod modVis">
          <ac:chgData name="Daniel von Düring Kjeldsen" userId="d61ad69a-09af-4fd5-9092-471501278b56" providerId="ADAL" clId="{4E651B94-CA1E-4178-ADF6-B752FDCF441D}" dt="2021-06-16T13:28:04.705" v="4202"/>
          <ac:spMkLst>
            <pc:docMk/>
            <pc:sldMk cId="2986238169" sldId="3251"/>
            <ac:spMk id="37" creationId="{FF72DBC6-D18E-4FD4-8F2A-47683545CF04}"/>
          </ac:spMkLst>
        </pc:spChg>
        <pc:spChg chg="mod modVis">
          <ac:chgData name="Daniel von Düring Kjeldsen" userId="d61ad69a-09af-4fd5-9092-471501278b56" providerId="ADAL" clId="{4E651B94-CA1E-4178-ADF6-B752FDCF441D}" dt="2021-06-16T13:28:04.705" v="4202"/>
          <ac:spMkLst>
            <pc:docMk/>
            <pc:sldMk cId="2986238169" sldId="3251"/>
            <ac:spMk id="38" creationId="{8B32FE68-196F-4863-98FA-FD83D94F38E0}"/>
          </ac:spMkLst>
        </pc:spChg>
        <pc:spChg chg="mod modVis">
          <ac:chgData name="Daniel von Düring Kjeldsen" userId="d61ad69a-09af-4fd5-9092-471501278b56" providerId="ADAL" clId="{4E651B94-CA1E-4178-ADF6-B752FDCF441D}" dt="2021-06-16T13:28:04.705" v="4202"/>
          <ac:spMkLst>
            <pc:docMk/>
            <pc:sldMk cId="2986238169" sldId="3251"/>
            <ac:spMk id="39" creationId="{8A23737F-862B-4390-8F68-3F42C09D0CDD}"/>
          </ac:spMkLst>
        </pc:spChg>
        <pc:spChg chg="mod modVis">
          <ac:chgData name="Daniel von Düring Kjeldsen" userId="d61ad69a-09af-4fd5-9092-471501278b56" providerId="ADAL" clId="{4E651B94-CA1E-4178-ADF6-B752FDCF441D}" dt="2021-06-16T13:28:04.705" v="4202"/>
          <ac:spMkLst>
            <pc:docMk/>
            <pc:sldMk cId="2986238169" sldId="3251"/>
            <ac:spMk id="40" creationId="{19A6C4B8-08F6-45EC-B8C1-614FCABA3157}"/>
          </ac:spMkLst>
        </pc:spChg>
        <pc:spChg chg="mod">
          <ac:chgData name="Daniel von Düring Kjeldsen" userId="d61ad69a-09af-4fd5-9092-471501278b56" providerId="ADAL" clId="{4E651B94-CA1E-4178-ADF6-B752FDCF441D}" dt="2021-06-16T14:36:36.986" v="4282"/>
          <ac:spMkLst>
            <pc:docMk/>
            <pc:sldMk cId="2986238169" sldId="3251"/>
            <ac:spMk id="42" creationId="{EA9F25D7-7A07-40A3-A3AA-39F2D5089C3F}"/>
          </ac:spMkLst>
        </pc:spChg>
        <pc:spChg chg="mod">
          <ac:chgData name="Daniel von Düring Kjeldsen" userId="d61ad69a-09af-4fd5-9092-471501278b56" providerId="ADAL" clId="{4E651B94-CA1E-4178-ADF6-B752FDCF441D}" dt="2021-06-16T14:36:36.986" v="4282"/>
          <ac:spMkLst>
            <pc:docMk/>
            <pc:sldMk cId="2986238169" sldId="3251"/>
            <ac:spMk id="43" creationId="{717023CA-BF36-4E45-92D7-38A357564A27}"/>
          </ac:spMkLst>
        </pc:spChg>
        <pc:spChg chg="mod">
          <ac:chgData name="Daniel von Düring Kjeldsen" userId="d61ad69a-09af-4fd5-9092-471501278b56" providerId="ADAL" clId="{4E651B94-CA1E-4178-ADF6-B752FDCF441D}" dt="2021-06-16T14:36:36.986" v="4282"/>
          <ac:spMkLst>
            <pc:docMk/>
            <pc:sldMk cId="2986238169" sldId="3251"/>
            <ac:spMk id="44" creationId="{E3DD2B38-0277-44D2-86BF-26B54000521D}"/>
          </ac:spMkLst>
        </pc:spChg>
        <pc:spChg chg="mod">
          <ac:chgData name="Daniel von Düring Kjeldsen" userId="d61ad69a-09af-4fd5-9092-471501278b56" providerId="ADAL" clId="{4E651B94-CA1E-4178-ADF6-B752FDCF441D}" dt="2021-06-16T14:36:36.986" v="4282"/>
          <ac:spMkLst>
            <pc:docMk/>
            <pc:sldMk cId="2986238169" sldId="3251"/>
            <ac:spMk id="45" creationId="{6DEF55F5-5A9C-4891-8ACD-79BBC81DE1DD}"/>
          </ac:spMkLst>
        </pc:spChg>
        <pc:spChg chg="mod">
          <ac:chgData name="Daniel von Düring Kjeldsen" userId="d61ad69a-09af-4fd5-9092-471501278b56" providerId="ADAL" clId="{4E651B94-CA1E-4178-ADF6-B752FDCF441D}" dt="2021-06-16T14:36:36.986" v="4282"/>
          <ac:spMkLst>
            <pc:docMk/>
            <pc:sldMk cId="2986238169" sldId="3251"/>
            <ac:spMk id="46" creationId="{A7B405A9-9FDB-41AB-BCF1-D9AADE17F688}"/>
          </ac:spMkLst>
        </pc:spChg>
        <pc:spChg chg="mod">
          <ac:chgData name="Daniel von Düring Kjeldsen" userId="d61ad69a-09af-4fd5-9092-471501278b56" providerId="ADAL" clId="{4E651B94-CA1E-4178-ADF6-B752FDCF441D}" dt="2021-06-16T14:36:36.986" v="4282"/>
          <ac:spMkLst>
            <pc:docMk/>
            <pc:sldMk cId="2986238169" sldId="3251"/>
            <ac:spMk id="47" creationId="{9509DC25-C40A-4505-B6C7-3C4F2BA07EA3}"/>
          </ac:spMkLst>
        </pc:spChg>
        <pc:spChg chg="mod">
          <ac:chgData name="Daniel von Düring Kjeldsen" userId="d61ad69a-09af-4fd5-9092-471501278b56" providerId="ADAL" clId="{4E651B94-CA1E-4178-ADF6-B752FDCF441D}" dt="2021-06-16T14:36:36.986" v="4282"/>
          <ac:spMkLst>
            <pc:docMk/>
            <pc:sldMk cId="2986238169" sldId="3251"/>
            <ac:spMk id="48" creationId="{2B605D58-EC77-4795-A7EF-7ADA57A0F39C}"/>
          </ac:spMkLst>
        </pc:spChg>
        <pc:spChg chg="mod">
          <ac:chgData name="Daniel von Düring Kjeldsen" userId="d61ad69a-09af-4fd5-9092-471501278b56" providerId="ADAL" clId="{4E651B94-CA1E-4178-ADF6-B752FDCF441D}" dt="2021-06-16T14:36:36.986" v="4282"/>
          <ac:spMkLst>
            <pc:docMk/>
            <pc:sldMk cId="2986238169" sldId="3251"/>
            <ac:spMk id="49" creationId="{1D7C38C9-C868-4627-BC12-EF77563DDB43}"/>
          </ac:spMkLst>
        </pc:spChg>
        <pc:spChg chg="mod modVis">
          <ac:chgData name="Daniel von Düring Kjeldsen" userId="d61ad69a-09af-4fd5-9092-471501278b56" providerId="ADAL" clId="{4E651B94-CA1E-4178-ADF6-B752FDCF441D}" dt="2021-06-16T14:41:01.389" v="4315"/>
          <ac:spMkLst>
            <pc:docMk/>
            <pc:sldMk cId="2986238169" sldId="3251"/>
            <ac:spMk id="51" creationId="{17FE6117-1519-4860-8BD4-A56608F92F9B}"/>
          </ac:spMkLst>
        </pc:spChg>
        <pc:spChg chg="mod modVis">
          <ac:chgData name="Daniel von Düring Kjeldsen" userId="d61ad69a-09af-4fd5-9092-471501278b56" providerId="ADAL" clId="{4E651B94-CA1E-4178-ADF6-B752FDCF441D}" dt="2021-06-16T14:41:01.389" v="4315"/>
          <ac:spMkLst>
            <pc:docMk/>
            <pc:sldMk cId="2986238169" sldId="3251"/>
            <ac:spMk id="52" creationId="{CF3479C8-D204-44A7-A94D-93C390CEE113}"/>
          </ac:spMkLst>
        </pc:spChg>
        <pc:spChg chg="mod modVis">
          <ac:chgData name="Daniel von Düring Kjeldsen" userId="d61ad69a-09af-4fd5-9092-471501278b56" providerId="ADAL" clId="{4E651B94-CA1E-4178-ADF6-B752FDCF441D}" dt="2021-06-16T14:41:01.389" v="4315"/>
          <ac:spMkLst>
            <pc:docMk/>
            <pc:sldMk cId="2986238169" sldId="3251"/>
            <ac:spMk id="53" creationId="{A0310B50-DB1F-4327-AB3E-C84DCE98C738}"/>
          </ac:spMkLst>
        </pc:spChg>
        <pc:spChg chg="mod modVis">
          <ac:chgData name="Daniel von Düring Kjeldsen" userId="d61ad69a-09af-4fd5-9092-471501278b56" providerId="ADAL" clId="{4E651B94-CA1E-4178-ADF6-B752FDCF441D}" dt="2021-06-16T14:41:01.389" v="4315"/>
          <ac:spMkLst>
            <pc:docMk/>
            <pc:sldMk cId="2986238169" sldId="3251"/>
            <ac:spMk id="54" creationId="{7DA47F45-3B48-4931-8519-8B3DF57893D1}"/>
          </ac:spMkLst>
        </pc:spChg>
        <pc:spChg chg="mod modVis">
          <ac:chgData name="Daniel von Düring Kjeldsen" userId="d61ad69a-09af-4fd5-9092-471501278b56" providerId="ADAL" clId="{4E651B94-CA1E-4178-ADF6-B752FDCF441D}" dt="2021-06-16T14:41:01.389" v="4315"/>
          <ac:spMkLst>
            <pc:docMk/>
            <pc:sldMk cId="2986238169" sldId="3251"/>
            <ac:spMk id="55" creationId="{1B2CF1F6-3A0A-44BC-BA81-41ED8BCCA692}"/>
          </ac:spMkLst>
        </pc:spChg>
        <pc:spChg chg="mod modVis">
          <ac:chgData name="Daniel von Düring Kjeldsen" userId="d61ad69a-09af-4fd5-9092-471501278b56" providerId="ADAL" clId="{4E651B94-CA1E-4178-ADF6-B752FDCF441D}" dt="2021-06-16T14:41:01.389" v="4315"/>
          <ac:spMkLst>
            <pc:docMk/>
            <pc:sldMk cId="2986238169" sldId="3251"/>
            <ac:spMk id="56" creationId="{5DDB47B3-C47B-4390-8940-31F63544A52D}"/>
          </ac:spMkLst>
        </pc:spChg>
        <pc:spChg chg="mod modVis">
          <ac:chgData name="Daniel von Düring Kjeldsen" userId="d61ad69a-09af-4fd5-9092-471501278b56" providerId="ADAL" clId="{4E651B94-CA1E-4178-ADF6-B752FDCF441D}" dt="2021-06-16T14:41:01.389" v="4315"/>
          <ac:spMkLst>
            <pc:docMk/>
            <pc:sldMk cId="2986238169" sldId="3251"/>
            <ac:spMk id="57" creationId="{1B6C0A26-BC16-490D-9383-C7F350BEC9B8}"/>
          </ac:spMkLst>
        </pc:spChg>
        <pc:spChg chg="mod modVis">
          <ac:chgData name="Daniel von Düring Kjeldsen" userId="d61ad69a-09af-4fd5-9092-471501278b56" providerId="ADAL" clId="{4E651B94-CA1E-4178-ADF6-B752FDCF441D}" dt="2021-06-16T14:41:01.389" v="4315"/>
          <ac:spMkLst>
            <pc:docMk/>
            <pc:sldMk cId="2986238169" sldId="3251"/>
            <ac:spMk id="58" creationId="{8639CD5E-5CE0-404B-A2C2-438EF2AA80D6}"/>
          </ac:spMkLst>
        </pc:spChg>
        <pc:spChg chg="mod modVis">
          <ac:chgData name="Daniel von Düring Kjeldsen" userId="d61ad69a-09af-4fd5-9092-471501278b56" providerId="ADAL" clId="{4E651B94-CA1E-4178-ADF6-B752FDCF441D}" dt="2021-06-16T14:41:01.389" v="4315"/>
          <ac:spMkLst>
            <pc:docMk/>
            <pc:sldMk cId="2986238169" sldId="3251"/>
            <ac:spMk id="59" creationId="{B6D01764-2C0E-4F8F-BDEB-9A8D94287A7C}"/>
          </ac:spMkLst>
        </pc:spChg>
        <pc:spChg chg="mod modVis">
          <ac:chgData name="Daniel von Düring Kjeldsen" userId="d61ad69a-09af-4fd5-9092-471501278b56" providerId="ADAL" clId="{4E651B94-CA1E-4178-ADF6-B752FDCF441D}" dt="2021-06-16T14:41:01.389" v="4315"/>
          <ac:spMkLst>
            <pc:docMk/>
            <pc:sldMk cId="2986238169" sldId="3251"/>
            <ac:spMk id="60" creationId="{59EECCB0-0183-4166-B9F8-684BC83FE7A2}"/>
          </ac:spMkLst>
        </pc:spChg>
        <pc:spChg chg="mod modVis">
          <ac:chgData name="Daniel von Düring Kjeldsen" userId="d61ad69a-09af-4fd5-9092-471501278b56" providerId="ADAL" clId="{4E651B94-CA1E-4178-ADF6-B752FDCF441D}" dt="2021-06-16T14:41:01.389" v="4315"/>
          <ac:spMkLst>
            <pc:docMk/>
            <pc:sldMk cId="2986238169" sldId="3251"/>
            <ac:spMk id="61" creationId="{20384027-F156-4C1B-B8C4-27E5A4460ED5}"/>
          </ac:spMkLst>
        </pc:spChg>
        <pc:spChg chg="mod modVis">
          <ac:chgData name="Daniel von Düring Kjeldsen" userId="d61ad69a-09af-4fd5-9092-471501278b56" providerId="ADAL" clId="{4E651B94-CA1E-4178-ADF6-B752FDCF441D}" dt="2021-06-16T14:41:01.389" v="4315"/>
          <ac:spMkLst>
            <pc:docMk/>
            <pc:sldMk cId="2986238169" sldId="3251"/>
            <ac:spMk id="62" creationId="{8485FA5E-16D2-4E00-ACBD-15D547810090}"/>
          </ac:spMkLst>
        </pc:spChg>
        <pc:spChg chg="mod modVis">
          <ac:chgData name="Daniel von Düring Kjeldsen" userId="d61ad69a-09af-4fd5-9092-471501278b56" providerId="ADAL" clId="{4E651B94-CA1E-4178-ADF6-B752FDCF441D}" dt="2021-06-16T14:41:01.389" v="4315"/>
          <ac:spMkLst>
            <pc:docMk/>
            <pc:sldMk cId="2986238169" sldId="3251"/>
            <ac:spMk id="63" creationId="{5F1BCFE1-DB7A-4474-B6B4-CACE5294B56B}"/>
          </ac:spMkLst>
        </pc:spChg>
        <pc:spChg chg="mod modVis">
          <ac:chgData name="Daniel von Düring Kjeldsen" userId="d61ad69a-09af-4fd5-9092-471501278b56" providerId="ADAL" clId="{4E651B94-CA1E-4178-ADF6-B752FDCF441D}" dt="2021-06-16T14:41:01.389" v="4315"/>
          <ac:spMkLst>
            <pc:docMk/>
            <pc:sldMk cId="2986238169" sldId="3251"/>
            <ac:spMk id="64" creationId="{CFF704DA-0EB1-4AE9-A323-46D1C4990EB9}"/>
          </ac:spMkLst>
        </pc:spChg>
        <pc:spChg chg="mod modVis">
          <ac:chgData name="Daniel von Düring Kjeldsen" userId="d61ad69a-09af-4fd5-9092-471501278b56" providerId="ADAL" clId="{4E651B94-CA1E-4178-ADF6-B752FDCF441D}" dt="2021-06-16T14:41:01.389" v="4315"/>
          <ac:spMkLst>
            <pc:docMk/>
            <pc:sldMk cId="2986238169" sldId="3251"/>
            <ac:spMk id="65" creationId="{B2C014F9-A108-4E8C-AE24-AF1E45271591}"/>
          </ac:spMkLst>
        </pc:spChg>
        <pc:spChg chg="mod modVis">
          <ac:chgData name="Daniel von Düring Kjeldsen" userId="d61ad69a-09af-4fd5-9092-471501278b56" providerId="ADAL" clId="{4E651B94-CA1E-4178-ADF6-B752FDCF441D}" dt="2021-06-16T14:41:01.389" v="4315"/>
          <ac:spMkLst>
            <pc:docMk/>
            <pc:sldMk cId="2986238169" sldId="3251"/>
            <ac:spMk id="66" creationId="{803A4A76-4692-459B-B395-5B39A44829A8}"/>
          </ac:spMkLst>
        </pc:spChg>
        <pc:spChg chg="mod modVis">
          <ac:chgData name="Daniel von Düring Kjeldsen" userId="d61ad69a-09af-4fd5-9092-471501278b56" providerId="ADAL" clId="{4E651B94-CA1E-4178-ADF6-B752FDCF441D}" dt="2021-06-16T14:41:01.389" v="4315"/>
          <ac:spMkLst>
            <pc:docMk/>
            <pc:sldMk cId="2986238169" sldId="3251"/>
            <ac:spMk id="67" creationId="{801C3AAF-35B0-4818-BAFC-5F7AB6492FDD}"/>
          </ac:spMkLst>
        </pc:spChg>
        <pc:spChg chg="add mod">
          <ac:chgData name="Daniel von Düring Kjeldsen" userId="d61ad69a-09af-4fd5-9092-471501278b56" providerId="ADAL" clId="{4E651B94-CA1E-4178-ADF6-B752FDCF441D}" dt="2021-06-21T08:15:32.077" v="7852" actId="20577"/>
          <ac:spMkLst>
            <pc:docMk/>
            <pc:sldMk cId="2986238169" sldId="3251"/>
            <ac:spMk id="68" creationId="{5018166D-71F0-4092-A601-E6316D1E00A1}"/>
          </ac:spMkLst>
        </pc:spChg>
        <pc:spChg chg="mod modVis">
          <ac:chgData name="Daniel von Düring Kjeldsen" userId="d61ad69a-09af-4fd5-9092-471501278b56" providerId="ADAL" clId="{4E651B94-CA1E-4178-ADF6-B752FDCF441D}" dt="2021-06-16T14:43:57.135" v="4391"/>
          <ac:spMkLst>
            <pc:docMk/>
            <pc:sldMk cId="2986238169" sldId="3251"/>
            <ac:spMk id="69" creationId="{C0E67C40-2E7E-40DD-BAA8-F4167E13BFB1}"/>
          </ac:spMkLst>
        </pc:spChg>
        <pc:spChg chg="mod modVis">
          <ac:chgData name="Daniel von Düring Kjeldsen" userId="d61ad69a-09af-4fd5-9092-471501278b56" providerId="ADAL" clId="{4E651B94-CA1E-4178-ADF6-B752FDCF441D}" dt="2021-06-16T14:43:57.135" v="4391"/>
          <ac:spMkLst>
            <pc:docMk/>
            <pc:sldMk cId="2986238169" sldId="3251"/>
            <ac:spMk id="70" creationId="{70F27137-1415-43BD-A3F7-8C3E6D49F252}"/>
          </ac:spMkLst>
        </pc:spChg>
        <pc:spChg chg="mod modVis">
          <ac:chgData name="Daniel von Düring Kjeldsen" userId="d61ad69a-09af-4fd5-9092-471501278b56" providerId="ADAL" clId="{4E651B94-CA1E-4178-ADF6-B752FDCF441D}" dt="2021-06-16T14:43:57.135" v="4391"/>
          <ac:spMkLst>
            <pc:docMk/>
            <pc:sldMk cId="2986238169" sldId="3251"/>
            <ac:spMk id="71" creationId="{68428B15-B573-4D35-86CA-FF5672B49F62}"/>
          </ac:spMkLst>
        </pc:spChg>
        <pc:spChg chg="mod modVis">
          <ac:chgData name="Daniel von Düring Kjeldsen" userId="d61ad69a-09af-4fd5-9092-471501278b56" providerId="ADAL" clId="{4E651B94-CA1E-4178-ADF6-B752FDCF441D}" dt="2021-06-16T14:43:57.135" v="4391"/>
          <ac:spMkLst>
            <pc:docMk/>
            <pc:sldMk cId="2986238169" sldId="3251"/>
            <ac:spMk id="72" creationId="{A88730BA-5EFD-457E-B57A-3E32092020B0}"/>
          </ac:spMkLst>
        </pc:spChg>
        <pc:spChg chg="mod modVis">
          <ac:chgData name="Daniel von Düring Kjeldsen" userId="d61ad69a-09af-4fd5-9092-471501278b56" providerId="ADAL" clId="{4E651B94-CA1E-4178-ADF6-B752FDCF441D}" dt="2021-06-16T14:43:57.135" v="4391"/>
          <ac:spMkLst>
            <pc:docMk/>
            <pc:sldMk cId="2986238169" sldId="3251"/>
            <ac:spMk id="73" creationId="{4BF4A8C1-CBB1-4553-B587-4A1B3D6A4110}"/>
          </ac:spMkLst>
        </pc:spChg>
        <pc:spChg chg="mod modVis">
          <ac:chgData name="Daniel von Düring Kjeldsen" userId="d61ad69a-09af-4fd5-9092-471501278b56" providerId="ADAL" clId="{4E651B94-CA1E-4178-ADF6-B752FDCF441D}" dt="2021-06-16T14:43:57.135" v="4391"/>
          <ac:spMkLst>
            <pc:docMk/>
            <pc:sldMk cId="2986238169" sldId="3251"/>
            <ac:spMk id="74" creationId="{0D64AF1F-8F68-421A-9D5B-C62513E9C082}"/>
          </ac:spMkLst>
        </pc:spChg>
        <pc:spChg chg="mod modVis">
          <ac:chgData name="Daniel von Düring Kjeldsen" userId="d61ad69a-09af-4fd5-9092-471501278b56" providerId="ADAL" clId="{4E651B94-CA1E-4178-ADF6-B752FDCF441D}" dt="2021-06-16T14:43:57.135" v="4391"/>
          <ac:spMkLst>
            <pc:docMk/>
            <pc:sldMk cId="2986238169" sldId="3251"/>
            <ac:spMk id="75" creationId="{B2E2FBA4-75B1-4EE9-AB2F-D9EBD505EF16}"/>
          </ac:spMkLst>
        </pc:spChg>
        <pc:spChg chg="mod modVis">
          <ac:chgData name="Daniel von Düring Kjeldsen" userId="d61ad69a-09af-4fd5-9092-471501278b56" providerId="ADAL" clId="{4E651B94-CA1E-4178-ADF6-B752FDCF441D}" dt="2021-06-16T14:43:57.135" v="4391"/>
          <ac:spMkLst>
            <pc:docMk/>
            <pc:sldMk cId="2986238169" sldId="3251"/>
            <ac:spMk id="76" creationId="{F012A0EE-79AC-49BE-9C8F-406C3A43E351}"/>
          </ac:spMkLst>
        </pc:spChg>
        <pc:spChg chg="mod modVis">
          <ac:chgData name="Daniel von Düring Kjeldsen" userId="d61ad69a-09af-4fd5-9092-471501278b56" providerId="ADAL" clId="{4E651B94-CA1E-4178-ADF6-B752FDCF441D}" dt="2021-06-16T14:43:57.135" v="4391"/>
          <ac:spMkLst>
            <pc:docMk/>
            <pc:sldMk cId="2986238169" sldId="3251"/>
            <ac:spMk id="77" creationId="{C0531AC9-5625-4900-AFB6-453F1B018BA0}"/>
          </ac:spMkLst>
        </pc:spChg>
        <pc:spChg chg="mod modVis">
          <ac:chgData name="Daniel von Düring Kjeldsen" userId="d61ad69a-09af-4fd5-9092-471501278b56" providerId="ADAL" clId="{4E651B94-CA1E-4178-ADF6-B752FDCF441D}" dt="2021-06-16T14:43:57.135" v="4391"/>
          <ac:spMkLst>
            <pc:docMk/>
            <pc:sldMk cId="2986238169" sldId="3251"/>
            <ac:spMk id="78" creationId="{59A48759-3D0A-476F-B79F-1B2B543391AC}"/>
          </ac:spMkLst>
        </pc:spChg>
        <pc:spChg chg="mod modVis">
          <ac:chgData name="Daniel von Düring Kjeldsen" userId="d61ad69a-09af-4fd5-9092-471501278b56" providerId="ADAL" clId="{4E651B94-CA1E-4178-ADF6-B752FDCF441D}" dt="2021-06-16T14:43:57.135" v="4391"/>
          <ac:spMkLst>
            <pc:docMk/>
            <pc:sldMk cId="2986238169" sldId="3251"/>
            <ac:spMk id="79" creationId="{3A2FDEE0-34F7-4E5E-B2F1-57527F677C82}"/>
          </ac:spMkLst>
        </pc:spChg>
        <pc:spChg chg="mod modVis">
          <ac:chgData name="Daniel von Düring Kjeldsen" userId="d61ad69a-09af-4fd5-9092-471501278b56" providerId="ADAL" clId="{4E651B94-CA1E-4178-ADF6-B752FDCF441D}" dt="2021-06-16T14:43:57.135" v="4391"/>
          <ac:spMkLst>
            <pc:docMk/>
            <pc:sldMk cId="2986238169" sldId="3251"/>
            <ac:spMk id="80" creationId="{C2C52155-9057-4845-99DD-6E986DF93100}"/>
          </ac:spMkLst>
        </pc:spChg>
        <pc:spChg chg="mod modVis">
          <ac:chgData name="Daniel von Düring Kjeldsen" userId="d61ad69a-09af-4fd5-9092-471501278b56" providerId="ADAL" clId="{4E651B94-CA1E-4178-ADF6-B752FDCF441D}" dt="2021-06-16T14:43:57.135" v="4391"/>
          <ac:spMkLst>
            <pc:docMk/>
            <pc:sldMk cId="2986238169" sldId="3251"/>
            <ac:spMk id="81" creationId="{7CB4C665-64E8-4E0D-B030-4CDE61460142}"/>
          </ac:spMkLst>
        </pc:spChg>
        <pc:spChg chg="mod modVis">
          <ac:chgData name="Daniel von Düring Kjeldsen" userId="d61ad69a-09af-4fd5-9092-471501278b56" providerId="ADAL" clId="{4E651B94-CA1E-4178-ADF6-B752FDCF441D}" dt="2021-06-16T14:43:57.135" v="4391"/>
          <ac:spMkLst>
            <pc:docMk/>
            <pc:sldMk cId="2986238169" sldId="3251"/>
            <ac:spMk id="82" creationId="{442F835A-B3AE-4589-A0DE-5195F2F07536}"/>
          </ac:spMkLst>
        </pc:spChg>
        <pc:spChg chg="mod modVis">
          <ac:chgData name="Daniel von Düring Kjeldsen" userId="d61ad69a-09af-4fd5-9092-471501278b56" providerId="ADAL" clId="{4E651B94-CA1E-4178-ADF6-B752FDCF441D}" dt="2021-06-16T14:43:57.135" v="4391"/>
          <ac:spMkLst>
            <pc:docMk/>
            <pc:sldMk cId="2986238169" sldId="3251"/>
            <ac:spMk id="83" creationId="{AD5C17C6-7FB8-4509-B353-8BF7A580A71B}"/>
          </ac:spMkLst>
        </pc:spChg>
        <pc:spChg chg="mod modVis">
          <ac:chgData name="Daniel von Düring Kjeldsen" userId="d61ad69a-09af-4fd5-9092-471501278b56" providerId="ADAL" clId="{4E651B94-CA1E-4178-ADF6-B752FDCF441D}" dt="2021-06-16T14:43:57.135" v="4391"/>
          <ac:spMkLst>
            <pc:docMk/>
            <pc:sldMk cId="2986238169" sldId="3251"/>
            <ac:spMk id="84" creationId="{283CF709-4B95-4231-A1AC-C31345AD6C26}"/>
          </ac:spMkLst>
        </pc:spChg>
        <pc:spChg chg="mod modVis">
          <ac:chgData name="Daniel von Düring Kjeldsen" userId="d61ad69a-09af-4fd5-9092-471501278b56" providerId="ADAL" clId="{4E651B94-CA1E-4178-ADF6-B752FDCF441D}" dt="2021-06-16T14:43:57.135" v="4391"/>
          <ac:spMkLst>
            <pc:docMk/>
            <pc:sldMk cId="2986238169" sldId="3251"/>
            <ac:spMk id="85" creationId="{D0DC3141-7395-4093-9C8F-8263D3999CF3}"/>
          </ac:spMkLst>
        </pc:spChg>
        <pc:spChg chg="mod modVis">
          <ac:chgData name="Daniel von Düring Kjeldsen" userId="d61ad69a-09af-4fd5-9092-471501278b56" providerId="ADAL" clId="{4E651B94-CA1E-4178-ADF6-B752FDCF441D}" dt="2021-06-16T14:44:07.507" v="4415"/>
          <ac:spMkLst>
            <pc:docMk/>
            <pc:sldMk cId="2986238169" sldId="3251"/>
            <ac:spMk id="87" creationId="{0AB7E7A6-7CE5-4C6E-8184-AF4C0E5B247B}"/>
          </ac:spMkLst>
        </pc:spChg>
        <pc:spChg chg="mod modVis">
          <ac:chgData name="Daniel von Düring Kjeldsen" userId="d61ad69a-09af-4fd5-9092-471501278b56" providerId="ADAL" clId="{4E651B94-CA1E-4178-ADF6-B752FDCF441D}" dt="2021-06-16T14:44:07.507" v="4415"/>
          <ac:spMkLst>
            <pc:docMk/>
            <pc:sldMk cId="2986238169" sldId="3251"/>
            <ac:spMk id="88" creationId="{685B38D5-8EA8-4A7F-A3C1-B216EE768B46}"/>
          </ac:spMkLst>
        </pc:spChg>
        <pc:spChg chg="mod modVis">
          <ac:chgData name="Daniel von Düring Kjeldsen" userId="d61ad69a-09af-4fd5-9092-471501278b56" providerId="ADAL" clId="{4E651B94-CA1E-4178-ADF6-B752FDCF441D}" dt="2021-06-16T14:44:07.507" v="4415"/>
          <ac:spMkLst>
            <pc:docMk/>
            <pc:sldMk cId="2986238169" sldId="3251"/>
            <ac:spMk id="89" creationId="{E9C1FE0A-6F01-42DA-8458-E3EF12566678}"/>
          </ac:spMkLst>
        </pc:spChg>
        <pc:spChg chg="mod modVis">
          <ac:chgData name="Daniel von Düring Kjeldsen" userId="d61ad69a-09af-4fd5-9092-471501278b56" providerId="ADAL" clId="{4E651B94-CA1E-4178-ADF6-B752FDCF441D}" dt="2021-06-16T14:44:07.507" v="4415"/>
          <ac:spMkLst>
            <pc:docMk/>
            <pc:sldMk cId="2986238169" sldId="3251"/>
            <ac:spMk id="90" creationId="{09A4AC6A-FEA2-4A7D-A1C3-3238BF9BE257}"/>
          </ac:spMkLst>
        </pc:spChg>
        <pc:spChg chg="mod modVis">
          <ac:chgData name="Daniel von Düring Kjeldsen" userId="d61ad69a-09af-4fd5-9092-471501278b56" providerId="ADAL" clId="{4E651B94-CA1E-4178-ADF6-B752FDCF441D}" dt="2021-06-16T14:44:07.507" v="4415"/>
          <ac:spMkLst>
            <pc:docMk/>
            <pc:sldMk cId="2986238169" sldId="3251"/>
            <ac:spMk id="91" creationId="{D172A156-45DD-4A09-BBCB-04F805CC29A5}"/>
          </ac:spMkLst>
        </pc:spChg>
        <pc:spChg chg="mod modVis">
          <ac:chgData name="Daniel von Düring Kjeldsen" userId="d61ad69a-09af-4fd5-9092-471501278b56" providerId="ADAL" clId="{4E651B94-CA1E-4178-ADF6-B752FDCF441D}" dt="2021-06-16T14:44:07.507" v="4415"/>
          <ac:spMkLst>
            <pc:docMk/>
            <pc:sldMk cId="2986238169" sldId="3251"/>
            <ac:spMk id="92" creationId="{89E1EBE0-9B60-4D75-B0C7-D3D4C2E47853}"/>
          </ac:spMkLst>
        </pc:spChg>
        <pc:spChg chg="mod modVis">
          <ac:chgData name="Daniel von Düring Kjeldsen" userId="d61ad69a-09af-4fd5-9092-471501278b56" providerId="ADAL" clId="{4E651B94-CA1E-4178-ADF6-B752FDCF441D}" dt="2021-06-16T14:44:07.507" v="4415"/>
          <ac:spMkLst>
            <pc:docMk/>
            <pc:sldMk cId="2986238169" sldId="3251"/>
            <ac:spMk id="93" creationId="{638B0E7F-8B6D-4170-9B88-6D7854782B16}"/>
          </ac:spMkLst>
        </pc:spChg>
        <pc:spChg chg="mod modVis">
          <ac:chgData name="Daniel von Düring Kjeldsen" userId="d61ad69a-09af-4fd5-9092-471501278b56" providerId="ADAL" clId="{4E651B94-CA1E-4178-ADF6-B752FDCF441D}" dt="2021-06-16T14:44:07.507" v="4415"/>
          <ac:spMkLst>
            <pc:docMk/>
            <pc:sldMk cId="2986238169" sldId="3251"/>
            <ac:spMk id="94" creationId="{760ED331-6EAA-4208-9858-79833F191B7E}"/>
          </ac:spMkLst>
        </pc:spChg>
        <pc:spChg chg="mod modVis">
          <ac:chgData name="Daniel von Düring Kjeldsen" userId="d61ad69a-09af-4fd5-9092-471501278b56" providerId="ADAL" clId="{4E651B94-CA1E-4178-ADF6-B752FDCF441D}" dt="2021-06-16T14:44:07.507" v="4415"/>
          <ac:spMkLst>
            <pc:docMk/>
            <pc:sldMk cId="2986238169" sldId="3251"/>
            <ac:spMk id="95" creationId="{1FB9A993-9953-4327-A416-13D182189075}"/>
          </ac:spMkLst>
        </pc:spChg>
        <pc:spChg chg="mod modVis">
          <ac:chgData name="Daniel von Düring Kjeldsen" userId="d61ad69a-09af-4fd5-9092-471501278b56" providerId="ADAL" clId="{4E651B94-CA1E-4178-ADF6-B752FDCF441D}" dt="2021-06-16T14:44:07.507" v="4415"/>
          <ac:spMkLst>
            <pc:docMk/>
            <pc:sldMk cId="2986238169" sldId="3251"/>
            <ac:spMk id="96" creationId="{B29AF35D-96ED-4EA6-9C3E-76981F15EA34}"/>
          </ac:spMkLst>
        </pc:spChg>
        <pc:spChg chg="mod modVis">
          <ac:chgData name="Daniel von Düring Kjeldsen" userId="d61ad69a-09af-4fd5-9092-471501278b56" providerId="ADAL" clId="{4E651B94-CA1E-4178-ADF6-B752FDCF441D}" dt="2021-06-16T14:44:07.507" v="4415"/>
          <ac:spMkLst>
            <pc:docMk/>
            <pc:sldMk cId="2986238169" sldId="3251"/>
            <ac:spMk id="97" creationId="{0A22BB06-DD07-4ED0-9C5D-1D6179A677D8}"/>
          </ac:spMkLst>
        </pc:spChg>
        <pc:spChg chg="mod modVis">
          <ac:chgData name="Daniel von Düring Kjeldsen" userId="d61ad69a-09af-4fd5-9092-471501278b56" providerId="ADAL" clId="{4E651B94-CA1E-4178-ADF6-B752FDCF441D}" dt="2021-06-16T14:44:07.507" v="4415"/>
          <ac:spMkLst>
            <pc:docMk/>
            <pc:sldMk cId="2986238169" sldId="3251"/>
            <ac:spMk id="98" creationId="{CC0EE851-310B-484A-A8C9-2F445826BCEA}"/>
          </ac:spMkLst>
        </pc:spChg>
        <pc:spChg chg="mod modVis">
          <ac:chgData name="Daniel von Düring Kjeldsen" userId="d61ad69a-09af-4fd5-9092-471501278b56" providerId="ADAL" clId="{4E651B94-CA1E-4178-ADF6-B752FDCF441D}" dt="2021-06-16T14:44:07.507" v="4415"/>
          <ac:spMkLst>
            <pc:docMk/>
            <pc:sldMk cId="2986238169" sldId="3251"/>
            <ac:spMk id="99" creationId="{ED1D82D4-07CD-44CE-8EDD-3C98B03E8745}"/>
          </ac:spMkLst>
        </pc:spChg>
        <pc:spChg chg="mod modVis">
          <ac:chgData name="Daniel von Düring Kjeldsen" userId="d61ad69a-09af-4fd5-9092-471501278b56" providerId="ADAL" clId="{4E651B94-CA1E-4178-ADF6-B752FDCF441D}" dt="2021-06-16T14:44:07.507" v="4415"/>
          <ac:spMkLst>
            <pc:docMk/>
            <pc:sldMk cId="2986238169" sldId="3251"/>
            <ac:spMk id="100" creationId="{0D64CFE4-49AB-421D-A1B3-4628FCBA7E66}"/>
          </ac:spMkLst>
        </pc:spChg>
        <pc:spChg chg="mod modVis">
          <ac:chgData name="Daniel von Düring Kjeldsen" userId="d61ad69a-09af-4fd5-9092-471501278b56" providerId="ADAL" clId="{4E651B94-CA1E-4178-ADF6-B752FDCF441D}" dt="2021-06-16T14:44:07.507" v="4415"/>
          <ac:spMkLst>
            <pc:docMk/>
            <pc:sldMk cId="2986238169" sldId="3251"/>
            <ac:spMk id="101" creationId="{6986DF34-CBF4-4C43-A9CC-E8CD79EFA4FB}"/>
          </ac:spMkLst>
        </pc:spChg>
        <pc:spChg chg="mod modVis">
          <ac:chgData name="Daniel von Düring Kjeldsen" userId="d61ad69a-09af-4fd5-9092-471501278b56" providerId="ADAL" clId="{4E651B94-CA1E-4178-ADF6-B752FDCF441D}" dt="2021-06-16T14:44:07.507" v="4415"/>
          <ac:spMkLst>
            <pc:docMk/>
            <pc:sldMk cId="2986238169" sldId="3251"/>
            <ac:spMk id="102" creationId="{7DEE6CE0-3C29-4759-99F5-F545B662C3A5}"/>
          </ac:spMkLst>
        </pc:spChg>
        <pc:spChg chg="mod modVis">
          <ac:chgData name="Daniel von Düring Kjeldsen" userId="d61ad69a-09af-4fd5-9092-471501278b56" providerId="ADAL" clId="{4E651B94-CA1E-4178-ADF6-B752FDCF441D}" dt="2021-06-16T14:44:07.507" v="4415"/>
          <ac:spMkLst>
            <pc:docMk/>
            <pc:sldMk cId="2986238169" sldId="3251"/>
            <ac:spMk id="103" creationId="{7B5C8D9E-A54E-4E62-A48C-A1A7954ACC03}"/>
          </ac:spMkLst>
        </pc:spChg>
        <pc:spChg chg="add mod">
          <ac:chgData name="Daniel von Düring Kjeldsen" userId="d61ad69a-09af-4fd5-9092-471501278b56" providerId="ADAL" clId="{4E651B94-CA1E-4178-ADF6-B752FDCF441D}" dt="2021-06-16T14:44:56.453" v="4444" actId="1076"/>
          <ac:spMkLst>
            <pc:docMk/>
            <pc:sldMk cId="2986238169" sldId="3251"/>
            <ac:spMk id="104" creationId="{49CEF7C7-AA4C-4048-A6F5-CC33572BCDD9}"/>
          </ac:spMkLst>
        </pc:spChg>
        <pc:spChg chg="add mod">
          <ac:chgData name="Daniel von Düring Kjeldsen" userId="d61ad69a-09af-4fd5-9092-471501278b56" providerId="ADAL" clId="{4E651B94-CA1E-4178-ADF6-B752FDCF441D}" dt="2021-06-16T14:49:05.207" v="4465" actId="1076"/>
          <ac:spMkLst>
            <pc:docMk/>
            <pc:sldMk cId="2986238169" sldId="3251"/>
            <ac:spMk id="105" creationId="{02A2BCFE-9475-4CD0-BB79-02C3FACC76C8}"/>
          </ac:spMkLst>
        </pc:spChg>
        <pc:grpChg chg="del">
          <ac:chgData name="Daniel von Düring Kjeldsen" userId="d61ad69a-09af-4fd5-9092-471501278b56" providerId="ADAL" clId="{4E651B94-CA1E-4178-ADF6-B752FDCF441D}" dt="2021-06-16T14:36:36.559" v="4281" actId="478"/>
          <ac:grpSpMkLst>
            <pc:docMk/>
            <pc:sldMk cId="2986238169" sldId="3251"/>
            <ac:grpSpMk id="14" creationId="{B6586499-C72E-46B6-BCFA-A164C5CF359D}"/>
          </ac:grpSpMkLst>
        </pc:grpChg>
        <pc:grpChg chg="add del mod modVis">
          <ac:chgData name="Daniel von Düring Kjeldsen" userId="d61ad69a-09af-4fd5-9092-471501278b56" providerId="ADAL" clId="{4E651B94-CA1E-4178-ADF6-B752FDCF441D}" dt="2021-06-16T14:26:01.085" v="4259" actId="478"/>
          <ac:grpSpMkLst>
            <pc:docMk/>
            <pc:sldMk cId="2986238169" sldId="3251"/>
            <ac:grpSpMk id="23" creationId="{78AD2380-F7B9-4E54-BCA0-546D92F44743}"/>
          </ac:grpSpMkLst>
        </pc:grpChg>
        <pc:grpChg chg="add mod">
          <ac:chgData name="Daniel von Düring Kjeldsen" userId="d61ad69a-09af-4fd5-9092-471501278b56" providerId="ADAL" clId="{4E651B94-CA1E-4178-ADF6-B752FDCF441D}" dt="2021-06-16T14:36:36.986" v="4282"/>
          <ac:grpSpMkLst>
            <pc:docMk/>
            <pc:sldMk cId="2986238169" sldId="3251"/>
            <ac:grpSpMk id="41" creationId="{9C90E109-383E-49A6-94C3-0C929BBD3F5F}"/>
          </ac:grpSpMkLst>
        </pc:grpChg>
        <pc:grpChg chg="add mod modVis">
          <ac:chgData name="Daniel von Düring Kjeldsen" userId="d61ad69a-09af-4fd5-9092-471501278b56" providerId="ADAL" clId="{4E651B94-CA1E-4178-ADF6-B752FDCF441D}" dt="2021-06-16T14:41:25.331" v="4318" actId="1076"/>
          <ac:grpSpMkLst>
            <pc:docMk/>
            <pc:sldMk cId="2986238169" sldId="3251"/>
            <ac:grpSpMk id="50" creationId="{CAFC7616-4101-40D8-8974-436D114D655A}"/>
          </ac:grpSpMkLst>
        </pc:grpChg>
        <pc:grpChg chg="add del mod modVis">
          <ac:chgData name="Daniel von Düring Kjeldsen" userId="d61ad69a-09af-4fd5-9092-471501278b56" providerId="ADAL" clId="{4E651B94-CA1E-4178-ADF6-B752FDCF441D}" dt="2021-06-16T14:43:57.135" v="4391"/>
          <ac:grpSpMkLst>
            <pc:docMk/>
            <pc:sldMk cId="2986238169" sldId="3251"/>
            <ac:grpSpMk id="68" creationId="{7089E3DA-C9D5-43E6-B68F-BF0C5610CE6E}"/>
          </ac:grpSpMkLst>
        </pc:grpChg>
        <pc:grpChg chg="add mod modVis">
          <ac:chgData name="Daniel von Düring Kjeldsen" userId="d61ad69a-09af-4fd5-9092-471501278b56" providerId="ADAL" clId="{4E651B94-CA1E-4178-ADF6-B752FDCF441D}" dt="2021-06-16T14:44:43.656" v="4441" actId="1076"/>
          <ac:grpSpMkLst>
            <pc:docMk/>
            <pc:sldMk cId="2986238169" sldId="3251"/>
            <ac:grpSpMk id="86" creationId="{FA6CD5E8-79D0-4C4A-8AB4-00BC0BC4DEF7}"/>
          </ac:grpSpMkLst>
        </pc:grpChg>
        <pc:picChg chg="add del mod">
          <ac:chgData name="Daniel von Düring Kjeldsen" userId="d61ad69a-09af-4fd5-9092-471501278b56" providerId="ADAL" clId="{4E651B94-CA1E-4178-ADF6-B752FDCF441D}" dt="2021-06-16T14:36:02.931" v="4274" actId="478"/>
          <ac:picMkLst>
            <pc:docMk/>
            <pc:sldMk cId="2986238169" sldId="3251"/>
            <ac:picMk id="3" creationId="{B4AAB64C-D6E1-4B61-8B64-F7906E80B628}"/>
          </ac:picMkLst>
        </pc:picChg>
        <pc:picChg chg="add mod">
          <ac:chgData name="Daniel von Düring Kjeldsen" userId="d61ad69a-09af-4fd5-9092-471501278b56" providerId="ADAL" clId="{4E651B94-CA1E-4178-ADF6-B752FDCF441D}" dt="2021-06-16T14:43:50.345" v="4370" actId="1076"/>
          <ac:picMkLst>
            <pc:docMk/>
            <pc:sldMk cId="2986238169" sldId="3251"/>
            <ac:picMk id="8" creationId="{4F72E4D6-A785-49EC-B6FD-272062252663}"/>
          </ac:picMkLst>
        </pc:picChg>
        <pc:picChg chg="del">
          <ac:chgData name="Daniel von Düring Kjeldsen" userId="d61ad69a-09af-4fd5-9092-471501278b56" providerId="ADAL" clId="{4E651B94-CA1E-4178-ADF6-B752FDCF441D}" dt="2021-06-16T13:24:54.337" v="4173" actId="478"/>
          <ac:picMkLst>
            <pc:docMk/>
            <pc:sldMk cId="2986238169" sldId="3251"/>
            <ac:picMk id="13" creationId="{F6623FE9-DD55-4426-8B5C-836391EAF9F6}"/>
          </ac:picMkLst>
        </pc:picChg>
      </pc:sldChg>
      <pc:sldChg chg="addSp delSp modSp new del mod">
        <pc:chgData name="Daniel von Düring Kjeldsen" userId="d61ad69a-09af-4fd5-9092-471501278b56" providerId="ADAL" clId="{4E651B94-CA1E-4178-ADF6-B752FDCF441D}" dt="2021-06-18T17:34:54.027" v="4779" actId="2696"/>
        <pc:sldMkLst>
          <pc:docMk/>
          <pc:sldMk cId="1053076208" sldId="3252"/>
        </pc:sldMkLst>
        <pc:spChg chg="del">
          <ac:chgData name="Daniel von Düring Kjeldsen" userId="d61ad69a-09af-4fd5-9092-471501278b56" providerId="ADAL" clId="{4E651B94-CA1E-4178-ADF6-B752FDCF441D}" dt="2021-06-18T17:28:44.150" v="4474" actId="478"/>
          <ac:spMkLst>
            <pc:docMk/>
            <pc:sldMk cId="1053076208" sldId="3252"/>
            <ac:spMk id="2" creationId="{4D6B4853-20C7-4EBA-94BD-C3AA39984476}"/>
          </ac:spMkLst>
        </pc:spChg>
        <pc:spChg chg="mod">
          <ac:chgData name="Daniel von Düring Kjeldsen" userId="d61ad69a-09af-4fd5-9092-471501278b56" providerId="ADAL" clId="{4E651B94-CA1E-4178-ADF6-B752FDCF441D}" dt="2021-06-18T17:30:59.382" v="4652" actId="20577"/>
          <ac:spMkLst>
            <pc:docMk/>
            <pc:sldMk cId="1053076208" sldId="3252"/>
            <ac:spMk id="3" creationId="{4A4C54F5-2BF8-49A4-AE4F-D3864855AEA3}"/>
          </ac:spMkLst>
        </pc:spChg>
        <pc:spChg chg="del">
          <ac:chgData name="Daniel von Düring Kjeldsen" userId="d61ad69a-09af-4fd5-9092-471501278b56" providerId="ADAL" clId="{4E651B94-CA1E-4178-ADF6-B752FDCF441D}" dt="2021-06-18T17:28:41.017" v="4473" actId="478"/>
          <ac:spMkLst>
            <pc:docMk/>
            <pc:sldMk cId="1053076208" sldId="3252"/>
            <ac:spMk id="4" creationId="{96CC9136-CDDE-45D6-BAD3-EB6E171C37E3}"/>
          </ac:spMkLst>
        </pc:spChg>
        <pc:spChg chg="add mod">
          <ac:chgData name="Daniel von Düring Kjeldsen" userId="d61ad69a-09af-4fd5-9092-471501278b56" providerId="ADAL" clId="{4E651B94-CA1E-4178-ADF6-B752FDCF441D}" dt="2021-06-18T17:28:49.227" v="4475"/>
          <ac:spMkLst>
            <pc:docMk/>
            <pc:sldMk cId="1053076208" sldId="3252"/>
            <ac:spMk id="9" creationId="{915D0763-2CB0-40B1-B33E-A8E621674C56}"/>
          </ac:spMkLst>
        </pc:spChg>
        <pc:spChg chg="add mod">
          <ac:chgData name="Daniel von Düring Kjeldsen" userId="d61ad69a-09af-4fd5-9092-471501278b56" providerId="ADAL" clId="{4E651B94-CA1E-4178-ADF6-B752FDCF441D}" dt="2021-06-18T17:28:54.177" v="4477" actId="1076"/>
          <ac:spMkLst>
            <pc:docMk/>
            <pc:sldMk cId="1053076208" sldId="3252"/>
            <ac:spMk id="10" creationId="{CA794141-5826-46AF-9274-B9687B451E33}"/>
          </ac:spMkLst>
        </pc:spChg>
        <pc:picChg chg="add mod">
          <ac:chgData name="Daniel von Düring Kjeldsen" userId="d61ad69a-09af-4fd5-9092-471501278b56" providerId="ADAL" clId="{4E651B94-CA1E-4178-ADF6-B752FDCF441D}" dt="2021-06-18T17:29:00.406" v="4478" actId="1076"/>
          <ac:picMkLst>
            <pc:docMk/>
            <pc:sldMk cId="1053076208" sldId="3252"/>
            <ac:picMk id="8" creationId="{7EB9A90E-3121-4BF9-8D13-57BBF9E49FF7}"/>
          </ac:picMkLst>
        </pc:picChg>
      </pc:sldChg>
      <pc:sldChg chg="addSp delSp modSp add del mod">
        <pc:chgData name="Daniel von Düring Kjeldsen" userId="d61ad69a-09af-4fd5-9092-471501278b56" providerId="ADAL" clId="{4E651B94-CA1E-4178-ADF6-B752FDCF441D}" dt="2021-06-18T17:46:41.437" v="5160" actId="47"/>
        <pc:sldMkLst>
          <pc:docMk/>
          <pc:sldMk cId="435635065" sldId="3253"/>
        </pc:sldMkLst>
        <pc:spChg chg="add mod">
          <ac:chgData name="Daniel von Düring Kjeldsen" userId="d61ad69a-09af-4fd5-9092-471501278b56" providerId="ADAL" clId="{4E651B94-CA1E-4178-ADF6-B752FDCF441D}" dt="2021-06-18T17:41:16.363" v="4952" actId="403"/>
          <ac:spMkLst>
            <pc:docMk/>
            <pc:sldMk cId="435635065" sldId="3253"/>
            <ac:spMk id="2" creationId="{740B43F5-3FE3-48B0-8140-6E3B1EC543DB}"/>
          </ac:spMkLst>
        </pc:spChg>
        <pc:spChg chg="mod">
          <ac:chgData name="Daniel von Düring Kjeldsen" userId="d61ad69a-09af-4fd5-9092-471501278b56" providerId="ADAL" clId="{4E651B94-CA1E-4178-ADF6-B752FDCF441D}" dt="2021-06-18T17:38:50.955" v="4909" actId="207"/>
          <ac:spMkLst>
            <pc:docMk/>
            <pc:sldMk cId="435635065" sldId="3253"/>
            <ac:spMk id="3" creationId="{4A4C54F5-2BF8-49A4-AE4F-D3864855AEA3}"/>
          </ac:spMkLst>
        </pc:spChg>
        <pc:spChg chg="add mod">
          <ac:chgData name="Daniel von Düring Kjeldsen" userId="d61ad69a-09af-4fd5-9092-471501278b56" providerId="ADAL" clId="{4E651B94-CA1E-4178-ADF6-B752FDCF441D}" dt="2021-06-18T17:40:42.635" v="4917" actId="14100"/>
          <ac:spMkLst>
            <pc:docMk/>
            <pc:sldMk cId="435635065" sldId="3253"/>
            <ac:spMk id="11" creationId="{0AE16DA3-EF04-41FD-9019-FC80F17F3C82}"/>
          </ac:spMkLst>
        </pc:spChg>
        <pc:spChg chg="add del mod">
          <ac:chgData name="Daniel von Düring Kjeldsen" userId="d61ad69a-09af-4fd5-9092-471501278b56" providerId="ADAL" clId="{4E651B94-CA1E-4178-ADF6-B752FDCF441D}" dt="2021-06-18T17:41:51.972" v="4954"/>
          <ac:spMkLst>
            <pc:docMk/>
            <pc:sldMk cId="435635065" sldId="3253"/>
            <ac:spMk id="12" creationId="{4570FD03-7385-4ED4-AC82-1F80D77ACE63}"/>
          </ac:spMkLst>
        </pc:spChg>
        <pc:spChg chg="add del mod">
          <ac:chgData name="Daniel von Düring Kjeldsen" userId="d61ad69a-09af-4fd5-9092-471501278b56" providerId="ADAL" clId="{4E651B94-CA1E-4178-ADF6-B752FDCF441D}" dt="2021-06-18T17:42:12.661" v="4957" actId="478"/>
          <ac:spMkLst>
            <pc:docMk/>
            <pc:sldMk cId="435635065" sldId="3253"/>
            <ac:spMk id="13" creationId="{33E20511-0D90-4ABA-84DE-207AC67FABF7}"/>
          </ac:spMkLst>
        </pc:spChg>
        <pc:spChg chg="add mod">
          <ac:chgData name="Daniel von Düring Kjeldsen" userId="d61ad69a-09af-4fd5-9092-471501278b56" providerId="ADAL" clId="{4E651B94-CA1E-4178-ADF6-B752FDCF441D}" dt="2021-06-18T17:43:48.107" v="5136" actId="20577"/>
          <ac:spMkLst>
            <pc:docMk/>
            <pc:sldMk cId="435635065" sldId="3253"/>
            <ac:spMk id="14" creationId="{D8CEFFE9-B9AB-416A-9B69-D5AEE50861B9}"/>
          </ac:spMkLst>
        </pc:spChg>
      </pc:sldChg>
      <pc:sldChg chg="modSp add del mod">
        <pc:chgData name="Daniel von Düring Kjeldsen" userId="d61ad69a-09af-4fd5-9092-471501278b56" providerId="ADAL" clId="{4E651B94-CA1E-4178-ADF6-B752FDCF441D}" dt="2021-06-18T17:40:14.885" v="4911" actId="2696"/>
        <pc:sldMkLst>
          <pc:docMk/>
          <pc:sldMk cId="1477376399" sldId="3254"/>
        </pc:sldMkLst>
        <pc:spChg chg="mod">
          <ac:chgData name="Daniel von Düring Kjeldsen" userId="d61ad69a-09af-4fd5-9092-471501278b56" providerId="ADAL" clId="{4E651B94-CA1E-4178-ADF6-B752FDCF441D}" dt="2021-06-18T17:36:55.861" v="4906" actId="20577"/>
          <ac:spMkLst>
            <pc:docMk/>
            <pc:sldMk cId="1477376399" sldId="3254"/>
            <ac:spMk id="3" creationId="{4A4C54F5-2BF8-49A4-AE4F-D3864855AEA3}"/>
          </ac:spMkLst>
        </pc:spChg>
      </pc:sldChg>
      <pc:sldChg chg="modSp add del mod">
        <pc:chgData name="Daniel von Düring Kjeldsen" userId="d61ad69a-09af-4fd5-9092-471501278b56" providerId="ADAL" clId="{4E651B94-CA1E-4178-ADF6-B752FDCF441D}" dt="2021-06-18T17:44:28.330" v="5138" actId="2696"/>
        <pc:sldMkLst>
          <pc:docMk/>
          <pc:sldMk cId="3120452957" sldId="3255"/>
        </pc:sldMkLst>
        <pc:spChg chg="mod">
          <ac:chgData name="Daniel von Düring Kjeldsen" userId="d61ad69a-09af-4fd5-9092-471501278b56" providerId="ADAL" clId="{4E651B94-CA1E-4178-ADF6-B752FDCF441D}" dt="2021-06-18T17:40:17.920" v="4913"/>
          <ac:spMkLst>
            <pc:docMk/>
            <pc:sldMk cId="3120452957" sldId="3255"/>
            <ac:spMk id="3" creationId="{4A4C54F5-2BF8-49A4-AE4F-D3864855AEA3}"/>
          </ac:spMkLst>
        </pc:spChg>
      </pc:sldChg>
      <pc:sldChg chg="addSp delSp modSp add mod addAnim delAnim modAnim">
        <pc:chgData name="Daniel von Düring Kjeldsen" userId="d61ad69a-09af-4fd5-9092-471501278b56" providerId="ADAL" clId="{4E651B94-CA1E-4178-ADF6-B752FDCF441D}" dt="2021-06-20T20:59:36.707" v="7709" actId="478"/>
        <pc:sldMkLst>
          <pc:docMk/>
          <pc:sldMk cId="4243765478" sldId="3256"/>
        </pc:sldMkLst>
        <pc:spChg chg="mod">
          <ac:chgData name="Daniel von Düring Kjeldsen" userId="d61ad69a-09af-4fd5-9092-471501278b56" providerId="ADAL" clId="{4E651B94-CA1E-4178-ADF6-B752FDCF441D}" dt="2021-06-18T19:02:22.570" v="5555" actId="20577"/>
          <ac:spMkLst>
            <pc:docMk/>
            <pc:sldMk cId="4243765478" sldId="3256"/>
            <ac:spMk id="3" creationId="{4A4C54F5-2BF8-49A4-AE4F-D3864855AEA3}"/>
          </ac:spMkLst>
        </pc:spChg>
        <pc:spChg chg="mod">
          <ac:chgData name="Daniel von Düring Kjeldsen" userId="d61ad69a-09af-4fd5-9092-471501278b56" providerId="ADAL" clId="{4E651B94-CA1E-4178-ADF6-B752FDCF441D}" dt="2021-06-20T15:12:02.010" v="7015" actId="20577"/>
          <ac:spMkLst>
            <pc:docMk/>
            <pc:sldMk cId="4243765478" sldId="3256"/>
            <ac:spMk id="14" creationId="{D8CEFFE9-B9AB-416A-9B69-D5AEE50861B9}"/>
          </ac:spMkLst>
        </pc:spChg>
        <pc:spChg chg="add del mod">
          <ac:chgData name="Daniel von Düring Kjeldsen" userId="d61ad69a-09af-4fd5-9092-471501278b56" providerId="ADAL" clId="{4E651B94-CA1E-4178-ADF6-B752FDCF441D}" dt="2021-06-18T17:58:59.696" v="5204" actId="478"/>
          <ac:spMkLst>
            <pc:docMk/>
            <pc:sldMk cId="4243765478" sldId="3256"/>
            <ac:spMk id="24" creationId="{6682FA3E-2231-4530-9DD5-84AF23F30E01}"/>
          </ac:spMkLst>
        </pc:spChg>
        <pc:spChg chg="add mod">
          <ac:chgData name="Daniel von Düring Kjeldsen" userId="d61ad69a-09af-4fd5-9092-471501278b56" providerId="ADAL" clId="{4E651B94-CA1E-4178-ADF6-B752FDCF441D}" dt="2021-06-20T16:44:56.741" v="7621"/>
          <ac:spMkLst>
            <pc:docMk/>
            <pc:sldMk cId="4243765478" sldId="3256"/>
            <ac:spMk id="24" creationId="{B39F16D0-8CF6-46F4-A544-27FB8A290780}"/>
          </ac:spMkLst>
        </pc:spChg>
        <pc:spChg chg="add del mod">
          <ac:chgData name="Daniel von Düring Kjeldsen" userId="d61ad69a-09af-4fd5-9092-471501278b56" providerId="ADAL" clId="{4E651B94-CA1E-4178-ADF6-B752FDCF441D}" dt="2021-06-20T20:59:36.707" v="7709" actId="478"/>
          <ac:spMkLst>
            <pc:docMk/>
            <pc:sldMk cId="4243765478" sldId="3256"/>
            <ac:spMk id="25" creationId="{FBF7AA6D-4F75-4BD5-B3A7-BD2EBBF78B92}"/>
          </ac:spMkLst>
        </pc:spChg>
        <pc:picChg chg="add del mod">
          <ac:chgData name="Daniel von Düring Kjeldsen" userId="d61ad69a-09af-4fd5-9092-471501278b56" providerId="ADAL" clId="{4E651B94-CA1E-4178-ADF6-B752FDCF441D}" dt="2021-06-18T17:47:09.124" v="5165" actId="478"/>
          <ac:picMkLst>
            <pc:docMk/>
            <pc:sldMk cId="4243765478" sldId="3256"/>
            <ac:picMk id="7" creationId="{A6AF7DAD-CB22-4F8B-8D46-78898BB4AF8C}"/>
          </ac:picMkLst>
        </pc:picChg>
        <pc:picChg chg="add del mod">
          <ac:chgData name="Daniel von Düring Kjeldsen" userId="d61ad69a-09af-4fd5-9092-471501278b56" providerId="ADAL" clId="{4E651B94-CA1E-4178-ADF6-B752FDCF441D}" dt="2021-06-18T17:47:11.128" v="5166" actId="478"/>
          <ac:picMkLst>
            <pc:docMk/>
            <pc:sldMk cId="4243765478" sldId="3256"/>
            <ac:picMk id="13" creationId="{CD903320-A3CA-4027-95E3-08A8D6954CE9}"/>
          </ac:picMkLst>
        </pc:picChg>
        <pc:picChg chg="add del mod">
          <ac:chgData name="Daniel von Düring Kjeldsen" userId="d61ad69a-09af-4fd5-9092-471501278b56" providerId="ADAL" clId="{4E651B94-CA1E-4178-ADF6-B752FDCF441D}" dt="2021-06-18T17:47:12.866" v="5167" actId="478"/>
          <ac:picMkLst>
            <pc:docMk/>
            <pc:sldMk cId="4243765478" sldId="3256"/>
            <ac:picMk id="15" creationId="{B4A40A92-7FC4-4C29-A470-A08CDC92D1B2}"/>
          </ac:picMkLst>
        </pc:picChg>
        <pc:picChg chg="add del mod">
          <ac:chgData name="Daniel von Düring Kjeldsen" userId="d61ad69a-09af-4fd5-9092-471501278b56" providerId="ADAL" clId="{4E651B94-CA1E-4178-ADF6-B752FDCF441D}" dt="2021-06-18T17:47:14.756" v="5168" actId="478"/>
          <ac:picMkLst>
            <pc:docMk/>
            <pc:sldMk cId="4243765478" sldId="3256"/>
            <ac:picMk id="16" creationId="{68D477FC-ACA5-4DF3-9523-888598E6F2D7}"/>
          </ac:picMkLst>
        </pc:picChg>
        <pc:picChg chg="add mod">
          <ac:chgData name="Daniel von Düring Kjeldsen" userId="d61ad69a-09af-4fd5-9092-471501278b56" providerId="ADAL" clId="{4E651B94-CA1E-4178-ADF6-B752FDCF441D}" dt="2021-06-18T17:45:47.306" v="5154" actId="1076"/>
          <ac:picMkLst>
            <pc:docMk/>
            <pc:sldMk cId="4243765478" sldId="3256"/>
            <ac:picMk id="17" creationId="{8B217CB6-E5E5-440B-AD41-E2F11E0CAB9B}"/>
          </ac:picMkLst>
        </pc:picChg>
        <pc:picChg chg="add mod">
          <ac:chgData name="Daniel von Düring Kjeldsen" userId="d61ad69a-09af-4fd5-9092-471501278b56" providerId="ADAL" clId="{4E651B94-CA1E-4178-ADF6-B752FDCF441D}" dt="2021-06-18T17:45:58.346" v="5156" actId="1076"/>
          <ac:picMkLst>
            <pc:docMk/>
            <pc:sldMk cId="4243765478" sldId="3256"/>
            <ac:picMk id="18" creationId="{2ED01D92-0D37-473D-8466-6F2DC0B55D4E}"/>
          </ac:picMkLst>
        </pc:picChg>
        <pc:picChg chg="add mod">
          <ac:chgData name="Daniel von Düring Kjeldsen" userId="d61ad69a-09af-4fd5-9092-471501278b56" providerId="ADAL" clId="{4E651B94-CA1E-4178-ADF6-B752FDCF441D}" dt="2021-06-18T17:46:15.861" v="5158" actId="1076"/>
          <ac:picMkLst>
            <pc:docMk/>
            <pc:sldMk cId="4243765478" sldId="3256"/>
            <ac:picMk id="19" creationId="{F464CBB4-32F5-4710-95DA-4E1E52114DE6}"/>
          </ac:picMkLst>
        </pc:picChg>
        <pc:picChg chg="add mod">
          <ac:chgData name="Daniel von Düring Kjeldsen" userId="d61ad69a-09af-4fd5-9092-471501278b56" providerId="ADAL" clId="{4E651B94-CA1E-4178-ADF6-B752FDCF441D}" dt="2021-06-18T17:48:10.517" v="5179" actId="1076"/>
          <ac:picMkLst>
            <pc:docMk/>
            <pc:sldMk cId="4243765478" sldId="3256"/>
            <ac:picMk id="20" creationId="{BE7E055E-A53F-4751-AE10-453E311F6725}"/>
          </ac:picMkLst>
        </pc:picChg>
        <pc:picChg chg="add mod">
          <ac:chgData name="Daniel von Düring Kjeldsen" userId="d61ad69a-09af-4fd5-9092-471501278b56" providerId="ADAL" clId="{4E651B94-CA1E-4178-ADF6-B752FDCF441D}" dt="2021-06-18T17:48:07.722" v="5178" actId="1076"/>
          <ac:picMkLst>
            <pc:docMk/>
            <pc:sldMk cId="4243765478" sldId="3256"/>
            <ac:picMk id="21" creationId="{CF2E531C-901B-4288-8989-C9CFE89B17D5}"/>
          </ac:picMkLst>
        </pc:picChg>
        <pc:picChg chg="add mod">
          <ac:chgData name="Daniel von Düring Kjeldsen" userId="d61ad69a-09af-4fd5-9092-471501278b56" providerId="ADAL" clId="{4E651B94-CA1E-4178-ADF6-B752FDCF441D}" dt="2021-06-18T17:48:02.485" v="5177" actId="1076"/>
          <ac:picMkLst>
            <pc:docMk/>
            <pc:sldMk cId="4243765478" sldId="3256"/>
            <ac:picMk id="22" creationId="{A3EE42AE-5A10-4653-9E4A-CEA4DCB28DA0}"/>
          </ac:picMkLst>
        </pc:picChg>
        <pc:picChg chg="add mod">
          <ac:chgData name="Daniel von Düring Kjeldsen" userId="d61ad69a-09af-4fd5-9092-471501278b56" providerId="ADAL" clId="{4E651B94-CA1E-4178-ADF6-B752FDCF441D}" dt="2021-06-18T17:47:55.950" v="5176" actId="1076"/>
          <ac:picMkLst>
            <pc:docMk/>
            <pc:sldMk cId="4243765478" sldId="3256"/>
            <ac:picMk id="23" creationId="{6F10410D-CA36-4ED8-A304-652E93433FA1}"/>
          </ac:picMkLst>
        </pc:picChg>
      </pc:sldChg>
      <pc:sldChg chg="addSp modSp add mod ord">
        <pc:chgData name="Daniel von Düring Kjeldsen" userId="d61ad69a-09af-4fd5-9092-471501278b56" providerId="ADAL" clId="{4E651B94-CA1E-4178-ADF6-B752FDCF441D}" dt="2021-06-20T16:44:56.042" v="7620"/>
        <pc:sldMkLst>
          <pc:docMk/>
          <pc:sldMk cId="3820014407" sldId="3257"/>
        </pc:sldMkLst>
        <pc:spChg chg="mod">
          <ac:chgData name="Daniel von Düring Kjeldsen" userId="d61ad69a-09af-4fd5-9092-471501278b56" providerId="ADAL" clId="{4E651B94-CA1E-4178-ADF6-B752FDCF441D}" dt="2021-06-18T19:02:26.666" v="5564" actId="20577"/>
          <ac:spMkLst>
            <pc:docMk/>
            <pc:sldMk cId="3820014407" sldId="3257"/>
            <ac:spMk id="3" creationId="{4A4C54F5-2BF8-49A4-AE4F-D3864855AEA3}"/>
          </ac:spMkLst>
        </pc:spChg>
        <pc:spChg chg="mod">
          <ac:chgData name="Daniel von Düring Kjeldsen" userId="d61ad69a-09af-4fd5-9092-471501278b56" providerId="ADAL" clId="{4E651B94-CA1E-4178-ADF6-B752FDCF441D}" dt="2021-06-20T15:11:58.161" v="7010" actId="20577"/>
          <ac:spMkLst>
            <pc:docMk/>
            <pc:sldMk cId="3820014407" sldId="3257"/>
            <ac:spMk id="14" creationId="{D8CEFFE9-B9AB-416A-9B69-D5AEE50861B9}"/>
          </ac:spMkLst>
        </pc:spChg>
        <pc:spChg chg="add mod">
          <ac:chgData name="Daniel von Düring Kjeldsen" userId="d61ad69a-09af-4fd5-9092-471501278b56" providerId="ADAL" clId="{4E651B94-CA1E-4178-ADF6-B752FDCF441D}" dt="2021-06-20T16:44:56.042" v="7620"/>
          <ac:spMkLst>
            <pc:docMk/>
            <pc:sldMk cId="3820014407" sldId="3257"/>
            <ac:spMk id="20" creationId="{EC2DC5E2-DCB0-4B81-8483-72C38F638F29}"/>
          </ac:spMkLst>
        </pc:spChg>
      </pc:sldChg>
      <pc:sldChg chg="addSp delSp modSp add mod ord">
        <pc:chgData name="Daniel von Düring Kjeldsen" userId="d61ad69a-09af-4fd5-9092-471501278b56" providerId="ADAL" clId="{4E651B94-CA1E-4178-ADF6-B752FDCF441D}" dt="2021-06-20T16:35:28.909" v="7522"/>
        <pc:sldMkLst>
          <pc:docMk/>
          <pc:sldMk cId="1358160786" sldId="3258"/>
        </pc:sldMkLst>
        <pc:spChg chg="del">
          <ac:chgData name="Daniel von Düring Kjeldsen" userId="d61ad69a-09af-4fd5-9092-471501278b56" providerId="ADAL" clId="{4E651B94-CA1E-4178-ADF6-B752FDCF441D}" dt="2021-06-18T19:54:46.293" v="5827" actId="478"/>
          <ac:spMkLst>
            <pc:docMk/>
            <pc:sldMk cId="1358160786" sldId="3258"/>
            <ac:spMk id="3" creationId="{F28FD43C-4295-4CEE-AC00-71CA20D17BD6}"/>
          </ac:spMkLst>
        </pc:spChg>
        <pc:spChg chg="del">
          <ac:chgData name="Daniel von Düring Kjeldsen" userId="d61ad69a-09af-4fd5-9092-471501278b56" providerId="ADAL" clId="{4E651B94-CA1E-4178-ADF6-B752FDCF441D}" dt="2021-06-18T19:39:36.582" v="5607" actId="478"/>
          <ac:spMkLst>
            <pc:docMk/>
            <pc:sldMk cId="1358160786" sldId="3258"/>
            <ac:spMk id="13" creationId="{EE0E42BD-E08D-4F9F-9698-4E8AEDBEA829}"/>
          </ac:spMkLst>
        </pc:spChg>
        <pc:spChg chg="del">
          <ac:chgData name="Daniel von Düring Kjeldsen" userId="d61ad69a-09af-4fd5-9092-471501278b56" providerId="ADAL" clId="{4E651B94-CA1E-4178-ADF6-B752FDCF441D}" dt="2021-06-18T19:39:42.822" v="5610" actId="478"/>
          <ac:spMkLst>
            <pc:docMk/>
            <pc:sldMk cId="1358160786" sldId="3258"/>
            <ac:spMk id="17" creationId="{C2A0F165-211E-4A2F-932D-13FD352C9F52}"/>
          </ac:spMkLst>
        </pc:spChg>
        <pc:spChg chg="add mod">
          <ac:chgData name="Daniel von Düring Kjeldsen" userId="d61ad69a-09af-4fd5-9092-471501278b56" providerId="ADAL" clId="{4E651B94-CA1E-4178-ADF6-B752FDCF441D}" dt="2021-06-18T20:09:23.941" v="6229" actId="1076"/>
          <ac:spMkLst>
            <pc:docMk/>
            <pc:sldMk cId="1358160786" sldId="3258"/>
            <ac:spMk id="20" creationId="{9B3DE4D7-6285-4F36-B53F-E1D8D4A3C9FE}"/>
          </ac:spMkLst>
        </pc:spChg>
        <pc:spChg chg="add mod">
          <ac:chgData name="Daniel von Düring Kjeldsen" userId="d61ad69a-09af-4fd5-9092-471501278b56" providerId="ADAL" clId="{4E651B94-CA1E-4178-ADF6-B752FDCF441D}" dt="2021-06-18T20:08:07.155" v="6221" actId="403"/>
          <ac:spMkLst>
            <pc:docMk/>
            <pc:sldMk cId="1358160786" sldId="3258"/>
            <ac:spMk id="29" creationId="{B1F5EB99-0EAC-49D0-8257-93B56621000F}"/>
          </ac:spMkLst>
        </pc:spChg>
        <pc:spChg chg="add mod">
          <ac:chgData name="Daniel von Düring Kjeldsen" userId="d61ad69a-09af-4fd5-9092-471501278b56" providerId="ADAL" clId="{4E651B94-CA1E-4178-ADF6-B752FDCF441D}" dt="2021-06-18T20:07:34.336" v="6209" actId="1076"/>
          <ac:spMkLst>
            <pc:docMk/>
            <pc:sldMk cId="1358160786" sldId="3258"/>
            <ac:spMk id="32" creationId="{672FD528-727F-4EC1-B086-CFB64EFF8297}"/>
          </ac:spMkLst>
        </pc:spChg>
        <pc:spChg chg="add del mod">
          <ac:chgData name="Daniel von Düring Kjeldsen" userId="d61ad69a-09af-4fd5-9092-471501278b56" providerId="ADAL" clId="{4E651B94-CA1E-4178-ADF6-B752FDCF441D}" dt="2021-06-18T19:56:02.299" v="5849" actId="478"/>
          <ac:spMkLst>
            <pc:docMk/>
            <pc:sldMk cId="1358160786" sldId="3258"/>
            <ac:spMk id="33" creationId="{F11569D3-4735-4A31-A1D1-9A6A77251852}"/>
          </ac:spMkLst>
        </pc:spChg>
        <pc:spChg chg="add del mod">
          <ac:chgData name="Daniel von Düring Kjeldsen" userId="d61ad69a-09af-4fd5-9092-471501278b56" providerId="ADAL" clId="{4E651B94-CA1E-4178-ADF6-B752FDCF441D}" dt="2021-06-18T19:55:59.918" v="5848" actId="478"/>
          <ac:spMkLst>
            <pc:docMk/>
            <pc:sldMk cId="1358160786" sldId="3258"/>
            <ac:spMk id="34" creationId="{52E146CB-F94E-4761-ABE5-3AE72C65C7F1}"/>
          </ac:spMkLst>
        </pc:spChg>
        <pc:spChg chg="add del mod">
          <ac:chgData name="Daniel von Düring Kjeldsen" userId="d61ad69a-09af-4fd5-9092-471501278b56" providerId="ADAL" clId="{4E651B94-CA1E-4178-ADF6-B752FDCF441D}" dt="2021-06-18T19:54:49.381" v="5828" actId="478"/>
          <ac:spMkLst>
            <pc:docMk/>
            <pc:sldMk cId="1358160786" sldId="3258"/>
            <ac:spMk id="36" creationId="{81D41A43-F2B5-44DE-9693-31D8212C451B}"/>
          </ac:spMkLst>
        </pc:spChg>
        <pc:spChg chg="add del mod">
          <ac:chgData name="Daniel von Düring Kjeldsen" userId="d61ad69a-09af-4fd5-9092-471501278b56" providerId="ADAL" clId="{4E651B94-CA1E-4178-ADF6-B752FDCF441D}" dt="2021-06-18T20:04:57.637" v="6095" actId="478"/>
          <ac:spMkLst>
            <pc:docMk/>
            <pc:sldMk cId="1358160786" sldId="3258"/>
            <ac:spMk id="46" creationId="{58ED1BEA-1328-4A70-8463-95549EDEC3DA}"/>
          </ac:spMkLst>
        </pc:spChg>
        <pc:spChg chg="del mod">
          <ac:chgData name="Daniel von Düring Kjeldsen" userId="d61ad69a-09af-4fd5-9092-471501278b56" providerId="ADAL" clId="{4E651B94-CA1E-4178-ADF6-B752FDCF441D}" dt="2021-06-18T19:39:41.039" v="5609" actId="478"/>
          <ac:spMkLst>
            <pc:docMk/>
            <pc:sldMk cId="1358160786" sldId="3258"/>
            <ac:spMk id="146" creationId="{B5701522-EB3F-42C8-950E-CE9E5CB756E0}"/>
          </ac:spMkLst>
        </pc:spChg>
        <pc:spChg chg="add del mod">
          <ac:chgData name="Daniel von Düring Kjeldsen" userId="d61ad69a-09af-4fd5-9092-471501278b56" providerId="ADAL" clId="{4E651B94-CA1E-4178-ADF6-B752FDCF441D}" dt="2021-06-18T19:45:12.155" v="5674" actId="478"/>
          <ac:spMkLst>
            <pc:docMk/>
            <pc:sldMk cId="1358160786" sldId="3258"/>
            <ac:spMk id="147" creationId="{AEDB4DFF-317C-4FDD-9A20-0E88AE41A420}"/>
          </ac:spMkLst>
        </pc:spChg>
        <pc:spChg chg="del mod">
          <ac:chgData name="Daniel von Düring Kjeldsen" userId="d61ad69a-09af-4fd5-9092-471501278b56" providerId="ADAL" clId="{4E651B94-CA1E-4178-ADF6-B752FDCF441D}" dt="2021-06-18T19:39:33.083" v="5606" actId="478"/>
          <ac:spMkLst>
            <pc:docMk/>
            <pc:sldMk cId="1358160786" sldId="3258"/>
            <ac:spMk id="148" creationId="{D2537782-2B1A-45A8-A705-F8DC29BE91D8}"/>
          </ac:spMkLst>
        </pc:spChg>
        <pc:spChg chg="add mod">
          <ac:chgData name="Daniel von Düring Kjeldsen" userId="d61ad69a-09af-4fd5-9092-471501278b56" providerId="ADAL" clId="{4E651B94-CA1E-4178-ADF6-B752FDCF441D}" dt="2021-06-18T20:10:02.522" v="6232" actId="1076"/>
          <ac:spMkLst>
            <pc:docMk/>
            <pc:sldMk cId="1358160786" sldId="3258"/>
            <ac:spMk id="149" creationId="{99F3654F-50AA-4A9E-84F0-AABB67510257}"/>
          </ac:spMkLst>
        </pc:spChg>
        <pc:spChg chg="add mod">
          <ac:chgData name="Daniel von Düring Kjeldsen" userId="d61ad69a-09af-4fd5-9092-471501278b56" providerId="ADAL" clId="{4E651B94-CA1E-4178-ADF6-B752FDCF441D}" dt="2021-06-18T20:06:17.871" v="6195" actId="20577"/>
          <ac:spMkLst>
            <pc:docMk/>
            <pc:sldMk cId="1358160786" sldId="3258"/>
            <ac:spMk id="150" creationId="{0DFA68D7-B88E-48E5-B7F9-B8AF1532688D}"/>
          </ac:spMkLst>
        </pc:spChg>
        <pc:spChg chg="mod modVis">
          <ac:chgData name="Daniel von Düring Kjeldsen" userId="d61ad69a-09af-4fd5-9092-471501278b56" providerId="ADAL" clId="{4E651B94-CA1E-4178-ADF6-B752FDCF441D}" dt="2021-06-18T20:00:04.809" v="5898"/>
          <ac:spMkLst>
            <pc:docMk/>
            <pc:sldMk cId="1358160786" sldId="3258"/>
            <ac:spMk id="152" creationId="{360514F2-EEEE-450C-B505-3E29005CDEAC}"/>
          </ac:spMkLst>
        </pc:spChg>
        <pc:spChg chg="mod modVis">
          <ac:chgData name="Daniel von Düring Kjeldsen" userId="d61ad69a-09af-4fd5-9092-471501278b56" providerId="ADAL" clId="{4E651B94-CA1E-4178-ADF6-B752FDCF441D}" dt="2021-06-18T20:00:04.809" v="5898"/>
          <ac:spMkLst>
            <pc:docMk/>
            <pc:sldMk cId="1358160786" sldId="3258"/>
            <ac:spMk id="153" creationId="{1B9692A8-AD43-4E6C-986E-6B4AA535BB23}"/>
          </ac:spMkLst>
        </pc:spChg>
        <pc:spChg chg="mod modVis">
          <ac:chgData name="Daniel von Düring Kjeldsen" userId="d61ad69a-09af-4fd5-9092-471501278b56" providerId="ADAL" clId="{4E651B94-CA1E-4178-ADF6-B752FDCF441D}" dt="2021-06-18T20:00:04.809" v="5898"/>
          <ac:spMkLst>
            <pc:docMk/>
            <pc:sldMk cId="1358160786" sldId="3258"/>
            <ac:spMk id="154" creationId="{B813593D-436A-4D16-820C-74721AB69EEE}"/>
          </ac:spMkLst>
        </pc:spChg>
        <pc:spChg chg="mod modVis">
          <ac:chgData name="Daniel von Düring Kjeldsen" userId="d61ad69a-09af-4fd5-9092-471501278b56" providerId="ADAL" clId="{4E651B94-CA1E-4178-ADF6-B752FDCF441D}" dt="2021-06-18T20:00:04.809" v="5898"/>
          <ac:spMkLst>
            <pc:docMk/>
            <pc:sldMk cId="1358160786" sldId="3258"/>
            <ac:spMk id="156" creationId="{BC9EE29F-1222-41FA-8FF7-6D59E3F4DB1D}"/>
          </ac:spMkLst>
        </pc:spChg>
        <pc:spChg chg="del">
          <ac:chgData name="Daniel von Düring Kjeldsen" userId="d61ad69a-09af-4fd5-9092-471501278b56" providerId="ADAL" clId="{4E651B94-CA1E-4178-ADF6-B752FDCF441D}" dt="2021-06-18T19:39:50.481" v="5614" actId="478"/>
          <ac:spMkLst>
            <pc:docMk/>
            <pc:sldMk cId="1358160786" sldId="3258"/>
            <ac:spMk id="157" creationId="{4267445F-A61F-4411-BC19-E369FAD62AA0}"/>
          </ac:spMkLst>
        </pc:spChg>
        <pc:spChg chg="del mod">
          <ac:chgData name="Daniel von Düring Kjeldsen" userId="d61ad69a-09af-4fd5-9092-471501278b56" providerId="ADAL" clId="{4E651B94-CA1E-4178-ADF6-B752FDCF441D}" dt="2021-06-18T19:39:47.202" v="5613" actId="478"/>
          <ac:spMkLst>
            <pc:docMk/>
            <pc:sldMk cId="1358160786" sldId="3258"/>
            <ac:spMk id="158" creationId="{79FB330A-E18A-4027-AE61-5ADBAD4784BE}"/>
          </ac:spMkLst>
        </pc:spChg>
        <pc:spChg chg="mod modVis">
          <ac:chgData name="Daniel von Düring Kjeldsen" userId="d61ad69a-09af-4fd5-9092-471501278b56" providerId="ADAL" clId="{4E651B94-CA1E-4178-ADF6-B752FDCF441D}" dt="2021-06-18T20:00:04.809" v="5898"/>
          <ac:spMkLst>
            <pc:docMk/>
            <pc:sldMk cId="1358160786" sldId="3258"/>
            <ac:spMk id="159" creationId="{985F5B39-93C6-4A40-BB2F-AD479CBB82FA}"/>
          </ac:spMkLst>
        </pc:spChg>
        <pc:spChg chg="mod modVis">
          <ac:chgData name="Daniel von Düring Kjeldsen" userId="d61ad69a-09af-4fd5-9092-471501278b56" providerId="ADAL" clId="{4E651B94-CA1E-4178-ADF6-B752FDCF441D}" dt="2021-06-18T20:00:04.809" v="5898"/>
          <ac:spMkLst>
            <pc:docMk/>
            <pc:sldMk cId="1358160786" sldId="3258"/>
            <ac:spMk id="161" creationId="{1E4F5259-7C65-4EDD-9BAB-46CE995F9349}"/>
          </ac:spMkLst>
        </pc:spChg>
        <pc:spChg chg="mod modVis">
          <ac:chgData name="Daniel von Düring Kjeldsen" userId="d61ad69a-09af-4fd5-9092-471501278b56" providerId="ADAL" clId="{4E651B94-CA1E-4178-ADF6-B752FDCF441D}" dt="2021-06-18T20:00:04.809" v="5898"/>
          <ac:spMkLst>
            <pc:docMk/>
            <pc:sldMk cId="1358160786" sldId="3258"/>
            <ac:spMk id="163" creationId="{BADEA204-DA66-4296-A8F5-34C0E4338093}"/>
          </ac:spMkLst>
        </pc:spChg>
        <pc:spChg chg="mod modVis">
          <ac:chgData name="Daniel von Düring Kjeldsen" userId="d61ad69a-09af-4fd5-9092-471501278b56" providerId="ADAL" clId="{4E651B94-CA1E-4178-ADF6-B752FDCF441D}" dt="2021-06-18T20:00:04.809" v="5898"/>
          <ac:spMkLst>
            <pc:docMk/>
            <pc:sldMk cId="1358160786" sldId="3258"/>
            <ac:spMk id="164" creationId="{34F2BFB4-7ACC-473A-8CCE-13AAE2C4236B}"/>
          </ac:spMkLst>
        </pc:spChg>
        <pc:spChg chg="mod modVis">
          <ac:chgData name="Daniel von Düring Kjeldsen" userId="d61ad69a-09af-4fd5-9092-471501278b56" providerId="ADAL" clId="{4E651B94-CA1E-4178-ADF6-B752FDCF441D}" dt="2021-06-18T20:00:04.809" v="5898"/>
          <ac:spMkLst>
            <pc:docMk/>
            <pc:sldMk cId="1358160786" sldId="3258"/>
            <ac:spMk id="165" creationId="{540ABFF3-2629-4609-8ED3-DC23F117C4E9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69" creationId="{9D996DE7-5C92-4406-BC2E-CB04709ABBA1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70" creationId="{F066621F-7B92-4F39-B320-8F1D2D838DE2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71" creationId="{B3294683-E2A0-4A57-A939-AA4A26C4975A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72" creationId="{E18F8276-1A6D-437D-B527-2834252F0181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73" creationId="{1F99E837-E36B-4673-A6C5-F9D4B8BB9818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74" creationId="{F55B7BCD-19B2-4CB3-AB04-F1BB1BB3631A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75" creationId="{B9065C0B-86FA-4369-98BD-D9FBC18D73CA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78" creationId="{A32B216A-0A47-4C01-8480-B9AF453257D8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79" creationId="{5F83EE59-275A-46D3-A4CF-11D66816FA8D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80" creationId="{D974FA06-ADB2-43DE-A170-81FFA6D44596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81" creationId="{DE791237-4178-4910-87A0-23FA7E0E8DA5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82" creationId="{935434EF-E393-4D2F-B1CD-5A4731B7D10C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83" creationId="{2A78EB7A-BBF3-431D-BDAB-35CEF100B223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84" creationId="{5EB30922-8022-449E-831B-B26C5A8C13AF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85" creationId="{AFAC2855-A773-4AB6-82B8-3FB68B109A2D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86" creationId="{7EA97EB7-641E-4AED-8A17-7962789D8FA5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87" creationId="{B6506B84-F7AB-4FB6-9A0E-1762B7F28E8F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88" creationId="{FDD154A2-059B-4E31-97A7-CD879DFA22A6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89" creationId="{E1B7AA0B-9875-4D10-A8E2-CC1E07DC64F2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90" creationId="{2CA2791C-0398-476A-BC96-EC91B949FC06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91" creationId="{9C6C7491-C3E4-4995-946E-999128EA966C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92" creationId="{9713C12B-4F75-4A8B-B173-C304253D5403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93" creationId="{2D694269-0761-43D5-AC41-D11BEB9383E2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94" creationId="{325E3C72-4682-4BAA-960D-B4834C94479B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95" creationId="{0062B441-E397-4842-B636-2FB10992DD2C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96" creationId="{625AAC64-6725-441A-A2F0-6A605B8FF754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97" creationId="{F76D12ED-5503-4028-93E8-02B67FD0F4AE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98" creationId="{19004370-0A66-4D77-B0C3-959FE30C8FD6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199" creationId="{6693E585-98EB-4374-91D7-F193D5EA589C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00" creationId="{FE87C781-4EB9-48BB-8F0A-14CE0889FAD9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01" creationId="{318C8867-C0F8-4CD0-B252-CC7B9BF825E9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03" creationId="{D34734E8-DBC9-4590-B8C4-2FC64AC48A58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04" creationId="{8BF2E1CA-0167-46C0-8B91-D311D1051072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05" creationId="{E2CE8A67-D69D-42BE-92CA-3132CDDC7BA0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06" creationId="{F9C35161-E17E-49A4-9865-6435C1B54D9F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07" creationId="{5D7D5B4A-F1FF-43E9-9564-A5D61033E264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08" creationId="{F7F6D66C-BF4D-4211-BFEF-59BEF597FC9C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09" creationId="{50DFDB07-D569-4CF0-922B-B4B90BE6E0EA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10" creationId="{5837A7A2-8B6B-47FB-A9E2-C6D9B99440C7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11" creationId="{C037AA6D-667B-4D7F-9AA5-92CD8B5ABB70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12" creationId="{B2A33848-3677-440B-A921-6E7C126CC6FB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14" creationId="{3CC2174B-BEE8-4F51-81B7-F2309A92406D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15" creationId="{6ADEF56C-B1C4-4264-909F-D04EA3F62195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16" creationId="{7E534904-20A0-4338-B21E-DB9733D2BCE3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17" creationId="{E53FF926-F9A6-4C11-88E0-BEAA6DF998D4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18" creationId="{43F472A6-C72F-4D99-89D9-17695250FBF1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21" creationId="{F99778AC-EBD7-4B97-8C57-6C3780E0BBD1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22" creationId="{8183E583-0F6C-481F-95C9-A1BFDE78AE81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23" creationId="{B293DC05-9073-4E5A-917C-7220705D7F54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24" creationId="{1244189A-C696-4DFD-8B1A-E8B20C252397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25" creationId="{48F0BF69-CE6B-4619-84F3-E76BCB5C16E0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26" creationId="{DD652268-03AF-4FBA-A3EF-4AAD0508614D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27" creationId="{ABD14EBB-CA02-4E0D-9209-8BF3E44B0A15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28" creationId="{876A4DFE-2D88-4425-B5FC-DE9DF08DBF29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29" creationId="{8B3CB35A-9439-4AEC-97AF-628B37BCF800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30" creationId="{EE17EF9C-6471-4B45-8A77-20EBD372218A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31" creationId="{AD6029B6-E963-4D64-95D4-5C0A2A29AE70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32" creationId="{E38D950F-3CF3-4A59-86E4-2EE62B8CA513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33" creationId="{0282F099-0F1D-441F-AE77-ECF5E72021E1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34" creationId="{F3B01260-F187-4951-A4DB-048397543DD1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35" creationId="{55F33D0F-E50E-4213-A785-08A959D9F417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36" creationId="{BDEE3622-7F02-4F0C-AAEC-68A2053313E1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37" creationId="{776281C5-C5F2-43DA-BBAF-9A08EF6BE5E1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38" creationId="{FABB14B4-0340-4661-9A9F-FD3D7DA48395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39" creationId="{BB9E3431-D847-4E70-AE8F-06B01107498C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40" creationId="{A1932B3C-8B80-4E8F-B240-51A16C3B09C9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41" creationId="{1DBCDBBE-12D9-4A04-8B6E-8FC91A2F58E8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42" creationId="{05AD7020-50DF-4879-A39A-F2A25593015A}"/>
          </ac:spMkLst>
        </pc:spChg>
        <pc:spChg chg="mod modVis">
          <ac:chgData name="Daniel von Düring Kjeldsen" userId="d61ad69a-09af-4fd5-9092-471501278b56" providerId="ADAL" clId="{4E651B94-CA1E-4178-ADF6-B752FDCF441D}" dt="2021-06-18T20:04:27.329" v="6004"/>
          <ac:spMkLst>
            <pc:docMk/>
            <pc:sldMk cId="1358160786" sldId="3258"/>
            <ac:spMk id="243" creationId="{F1F2FF7C-BC03-4A51-87F4-CF9396D1C9C9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47" creationId="{92D2D00E-3B6B-451C-9A9B-54BC5149427D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48" creationId="{A1560655-D733-4BB4-8A91-A476E4731060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49" creationId="{E0977BB6-B7A6-4B69-8BEF-D173DEDCDC4A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50" creationId="{A34CE039-F86D-47A8-AEBA-4E6BE3180895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51" creationId="{7F156650-DF7F-4408-8B65-2AA33DCEDE36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52" creationId="{BA2D5882-5431-4BC5-AAF0-F0E9D03F5A92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53" creationId="{9BBC7EFF-49CD-42C0-B59C-F4D99DBD0360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56" creationId="{E484A841-F53F-4407-A700-CCF974D525C8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57" creationId="{836DA9C6-3E23-4DE1-BD5C-FCB418F51672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58" creationId="{F4D6DEE6-2C51-4E92-8FED-B9F7D7962C6D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59" creationId="{048C2F3A-88DE-4F2B-A286-C039B600295B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60" creationId="{680CB8D9-97B5-4384-A4C5-2A65542C2E23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61" creationId="{95FBDE96-B249-422B-8589-D50B52B46B03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62" creationId="{B6FFD4D4-E011-49CA-99C9-AB0517B809FE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63" creationId="{8C05DE3A-EBB8-4BFD-96CA-6CB510C027B7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64" creationId="{DDE3B14A-C85D-4643-87BE-B1D399696F91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65" creationId="{6C90ABA5-6267-4327-8261-F9B869A82375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66" creationId="{AAF6A913-777F-4740-B2E4-C23D8430A357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67" creationId="{6F25C579-8529-4F4D-9EEE-D627BF87146A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68" creationId="{FB36CDDA-529E-4FB3-A94F-3F8D9D0C33AE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69" creationId="{8F6BA60D-FB11-4EAD-BAC3-922F101A229D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70" creationId="{1E9E2EAB-200F-42FE-9F7D-ED8AB24F1E99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71" creationId="{36B82064-8E94-436E-AEEF-7FF6DCD964DD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72" creationId="{05BE7DAC-DD1F-486E-88FC-44633516CE6A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73" creationId="{298CE69D-3DAE-4760-AC42-16035E4DCB6C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74" creationId="{31FF0D5B-2970-4089-BEC5-23EB9308DDDC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75" creationId="{976B46FC-8F58-4DF4-98EB-607059B2A000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76" creationId="{35C27ED6-F382-45C5-AE70-FFDB9E2EB83D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77" creationId="{700CA7AF-C6D8-4142-82FA-05342486E5F2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78" creationId="{C32DEF8A-DBBA-45D7-BF46-44E1BB3505AC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79" creationId="{97B1C0AE-36C1-40DB-B1E8-EAD325C2AC99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81" creationId="{2956C5AC-BB3C-4084-9C1D-50447139D875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82" creationId="{A6E1CE41-D16D-459B-A635-B1DF4BBF29A8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83" creationId="{E4F43562-6413-43ED-87B8-B3CC1D20EA2D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84" creationId="{62872F10-8DA5-4C31-AB95-347EACB2AFA8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85" creationId="{54727E92-B154-4B01-A430-AA58F643FDFE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86" creationId="{A72D0E21-A6FE-49B2-8D82-FE3B304A05B6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87" creationId="{B3014615-DCE3-4999-89E1-067C659699F6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88" creationId="{A868FA0D-5087-47FC-A113-029A27E0C436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89" creationId="{2ACD5CAF-E3F4-4D28-B7B0-328849B400D9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90" creationId="{9FE0E474-CF99-478A-A731-04E9D3104AB6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92" creationId="{1FA46CC6-822C-45B5-9187-A457A28D9EF8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93" creationId="{AFF2C516-B0BC-41C6-8271-B1C295A222A2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94" creationId="{2FDB2ED6-5F8C-4356-A323-5446537E29A3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95" creationId="{015FD2BB-5A0B-4ADB-B05F-25A26BC8414D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96" creationId="{3121F499-8323-4695-A13A-4AF65160539F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299" creationId="{8D2D816C-4238-4F47-88F5-7121FB339DB5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00" creationId="{8BAF861C-F75A-41E4-9D2C-EA94EC568E12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01" creationId="{8725D74B-39F6-4452-85F7-727E59AAC181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02" creationId="{4B734193-FF94-49C2-8E30-71874E321E0A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03" creationId="{F773F8FE-734D-4B24-A88A-F4CF3C10EA06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04" creationId="{3D8625E4-0ADC-4E2B-9830-6F158380A7AA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05" creationId="{8B7D65BF-424A-4AA1-B93F-2D8668A65E3D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06" creationId="{8A0D437B-FBB2-4BF4-BC60-BEA7908E6431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07" creationId="{EC8C9D97-1002-468C-B13C-FE01E4D17757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08" creationId="{981E867B-BA49-4CE9-A7D1-6CEEC1EB3D7D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09" creationId="{3C74AD44-C395-434B-BEFC-BCC1C488719C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10" creationId="{6A58B537-88C6-47BD-90E1-69B044192DCB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11" creationId="{A7271C52-DFF8-4740-A874-B542C06CE83D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12" creationId="{16ED2F56-A153-4FBE-9315-75893BE2FD5F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13" creationId="{5A28B1D0-DDAA-4598-ACD6-ADF5FB990757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14" creationId="{E56B599E-EF4A-439C-850F-AD5F9EFA5BF4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15" creationId="{BE7211E8-83D3-4EFF-BB0A-A9923B13608E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16" creationId="{57DAE836-6DFA-4A01-954B-B4DAD03E0B61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17" creationId="{A6AFC691-08CD-40F6-996A-651CE7567DD6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18" creationId="{E0BDA16B-1DD5-4983-BF6D-F2AD5953242C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19" creationId="{C95DF420-E3C8-4781-9A07-3FAB1BB7DE26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20" creationId="{7DC64CC3-0609-4AA1-846F-E1ADBB48E763}"/>
          </ac:spMkLst>
        </pc:spChg>
        <pc:spChg chg="mod modVis">
          <ac:chgData name="Daniel von Düring Kjeldsen" userId="d61ad69a-09af-4fd5-9092-471501278b56" providerId="ADAL" clId="{4E651B94-CA1E-4178-ADF6-B752FDCF441D}" dt="2021-06-18T20:04:42.887" v="6090"/>
          <ac:spMkLst>
            <pc:docMk/>
            <pc:sldMk cId="1358160786" sldId="3258"/>
            <ac:spMk id="321" creationId="{246BA28E-00DE-4A26-B05A-F84E3D2AB619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25" creationId="{08DD1B8C-B906-4DDD-8592-7E851843A3D6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26" creationId="{F152E73C-FFA4-482E-88B7-F22B75C96E60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27" creationId="{ACE5BD78-5F09-439E-8216-DB06CE0B0222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28" creationId="{3D676D55-093F-4EF1-8803-624BEF97B378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29" creationId="{3120E812-FBBF-4AC0-A16D-2B05FA8AF887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30" creationId="{62600770-0431-42D4-9E14-93F6C093361D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31" creationId="{046AB1F2-13EB-4D48-B5B8-6D3EBC21CF21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34" creationId="{26222191-DCAD-4D62-8CE9-AD0EEF518AF0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35" creationId="{1E09F091-3515-411E-B969-9478CF4D267B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36" creationId="{CB49A50D-AEDF-4C2B-9B6B-F33D7AB8C679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37" creationId="{06D58382-5DC1-4204-970C-FF057E3828B5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38" creationId="{FF84B2F1-B1AC-46D1-9045-A5854C7CCBFE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39" creationId="{A3440DE0-EDED-4795-B3A7-3E52E48C4294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40" creationId="{1840B02A-2A5A-4289-85D8-A69AEE7FDD36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41" creationId="{CE27BD73-1AA8-4A04-911B-8EE1E233B184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42" creationId="{EF77D3AE-E18B-481B-AE64-70FF1FA1633A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43" creationId="{1FBA378D-75B6-42DD-BE2C-C941F82C71CF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44" creationId="{EC7B4AAA-6835-4E2A-A605-12D6F9B9DB75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45" creationId="{39A80F1E-D9C0-4565-9611-418BDA883A3D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46" creationId="{AE9A2E65-4103-44A6-A568-13E171E118E0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47" creationId="{91F67B8A-ADCE-4162-B1E4-6D37D8F80E86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48" creationId="{F8C89628-3CE6-49A1-82AC-7BC8F97ECD80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49" creationId="{2DDDDD7F-3154-4055-B1D1-305728BD9765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50" creationId="{DC3DEA18-F2C0-419F-B390-CC34254F30CF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51" creationId="{CF4718B4-E6AB-475D-9B9D-F6A304563DBB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52" creationId="{713AA4B6-3AB9-44FE-B716-20E13CED851C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53" creationId="{65483078-481D-4DDD-B6B4-E06AA6BACDFC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54" creationId="{A6CA500D-985F-4199-8F5B-D1DC90056BF6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55" creationId="{BCD416C6-C454-4A0A-98C6-3F9BFC8522CF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56" creationId="{5B797548-C6E5-425A-99CE-E8AFE971B3C9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57" creationId="{DD1A8C93-3529-4376-808A-30A07AB28012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59" creationId="{9960FCBC-2899-4B49-B4E2-5665EA2206B1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60" creationId="{57C3FD44-D67F-4344-B686-624B6F810F94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61" creationId="{D4FD6725-798D-447C-BE26-AD6F7969B96D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62" creationId="{2A63C49B-9CB9-425E-A743-92DD6FA61A3C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63" creationId="{D30AFDE2-911B-4D5C-AC8C-BE73BBFB0E17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64" creationId="{25C317DE-7178-4F47-906F-7274C86FB9BD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65" creationId="{DF4A01B1-7319-4AC8-9043-010CEC392C9E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66" creationId="{D680770E-3159-42A0-8BF3-6C32ED671F7E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67" creationId="{7650A442-26BB-45F3-9C05-A0A004136C81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68" creationId="{734CB068-C8E5-43B9-A84E-3422E3CC91DD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70" creationId="{719BCA92-696B-42D8-8C5B-625EF5DC02BF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71" creationId="{FAB23E21-5203-4BB3-AF40-1F25371B4B9C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72" creationId="{B6311ED5-FB45-47DC-A961-02FB26FE434F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73" creationId="{51A4C849-8DE0-47CD-9EA3-73D2C67FD059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74" creationId="{885277D1-9E89-4558-9F53-D5F58FD95436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77" creationId="{0D526889-499C-4C92-A950-2FD299AC586B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78" creationId="{649D1EC8-84B0-4E80-AFD0-A9771A1A6BBA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79" creationId="{CB5682C0-604A-4834-A853-D7EEC300D1C9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80" creationId="{FEBA7AE2-55BE-43BE-A18D-86391310FD43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81" creationId="{A83C97EC-EEA0-4407-B24F-7253455B3855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82" creationId="{DD3F9003-C4A7-4B51-838B-86053267DE43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83" creationId="{3586E544-B736-43EC-BE3C-DC0041259B89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84" creationId="{D48CEC10-D21B-4FB6-94F4-3BFCF2859365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85" creationId="{194ECCF2-B78B-4F4F-8544-0B304195DA5E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86" creationId="{96B82AFC-B19E-48FF-9376-D141AC411A57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87" creationId="{2557BDD9-4ED7-42CD-96A7-F19BF8062758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88" creationId="{67A8496D-823E-435B-BBCD-E2B8A0579C13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89" creationId="{F6574855-AE51-44BC-9427-230D7976588E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90" creationId="{29729EBC-B8C6-4868-A937-B5948FCEEB74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91" creationId="{2443A4E5-6FCE-4CD0-9EBC-1FE212479B41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92" creationId="{10E9CEED-9BB6-47A9-AE14-BA825B991D68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93" creationId="{E853177E-1508-4147-AAE8-18E94459E19A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94" creationId="{DF3F7B49-55EC-4638-97A4-5125D59959B2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95" creationId="{1BA43F32-0875-4130-9385-649091067577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96" creationId="{9E8C2FF8-304A-4217-8CC8-EE4F591EE3E8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97" creationId="{B919563E-4910-44B2-B9D4-ACCF6BCC38C3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98" creationId="{99C2C257-2568-4B7E-A10D-05F79EF056A7}"/>
          </ac:spMkLst>
        </pc:spChg>
        <pc:spChg chg="mod modVis">
          <ac:chgData name="Daniel von Düring Kjeldsen" userId="d61ad69a-09af-4fd5-9092-471501278b56" providerId="ADAL" clId="{4E651B94-CA1E-4178-ADF6-B752FDCF441D}" dt="2021-06-18T20:05:52.410" v="6186" actId="208"/>
          <ac:spMkLst>
            <pc:docMk/>
            <pc:sldMk cId="1358160786" sldId="3258"/>
            <ac:spMk id="399" creationId="{51C6FFCB-8B7A-4CA0-BBDC-14CC69F5C88D}"/>
          </ac:spMkLst>
        </pc:spChg>
        <pc:grpChg chg="mod">
          <ac:chgData name="Daniel von Düring Kjeldsen" userId="d61ad69a-09af-4fd5-9092-471501278b56" providerId="ADAL" clId="{4E651B94-CA1E-4178-ADF6-B752FDCF441D}" dt="2021-06-18T20:10:28.495" v="6234" actId="1076"/>
          <ac:grpSpMkLst>
            <pc:docMk/>
            <pc:sldMk cId="1358160786" sldId="3258"/>
            <ac:grpSpMk id="63" creationId="{0A0C70F3-82E4-4B15-92BB-EBF46FFF5C51}"/>
          </ac:grpSpMkLst>
        </pc:grpChg>
        <pc:grpChg chg="add mod modVis">
          <ac:chgData name="Daniel von Düring Kjeldsen" userId="d61ad69a-09af-4fd5-9092-471501278b56" providerId="ADAL" clId="{4E651B94-CA1E-4178-ADF6-B752FDCF441D}" dt="2021-06-18T20:07:48.517" v="6214" actId="1076"/>
          <ac:grpSpMkLst>
            <pc:docMk/>
            <pc:sldMk cId="1358160786" sldId="3258"/>
            <ac:grpSpMk id="151" creationId="{83CDD8C7-ADB2-4677-AD57-614DF4B6BAA4}"/>
          </ac:grpSpMkLst>
        </pc:grpChg>
        <pc:grpChg chg="add del mod modVis">
          <ac:chgData name="Daniel von Düring Kjeldsen" userId="d61ad69a-09af-4fd5-9092-471501278b56" providerId="ADAL" clId="{4E651B94-CA1E-4178-ADF6-B752FDCF441D}" dt="2021-06-18T20:04:28.984" v="6005" actId="478"/>
          <ac:grpSpMkLst>
            <pc:docMk/>
            <pc:sldMk cId="1358160786" sldId="3258"/>
            <ac:grpSpMk id="166" creationId="{6191FDFB-89E4-44CD-A232-FCDADE466AF0}"/>
          </ac:grpSpMkLst>
        </pc:grpChg>
        <pc:grpChg chg="mod modVis">
          <ac:chgData name="Daniel von Düring Kjeldsen" userId="d61ad69a-09af-4fd5-9092-471501278b56" providerId="ADAL" clId="{4E651B94-CA1E-4178-ADF6-B752FDCF441D}" dt="2021-06-18T20:04:27.329" v="6004"/>
          <ac:grpSpMkLst>
            <pc:docMk/>
            <pc:sldMk cId="1358160786" sldId="3258"/>
            <ac:grpSpMk id="167" creationId="{8306F150-837E-4CE9-A3B9-317693FBFB2D}"/>
          </ac:grpSpMkLst>
        </pc:grpChg>
        <pc:grpChg chg="mod modVis">
          <ac:chgData name="Daniel von Düring Kjeldsen" userId="d61ad69a-09af-4fd5-9092-471501278b56" providerId="ADAL" clId="{4E651B94-CA1E-4178-ADF6-B752FDCF441D}" dt="2021-06-18T20:04:27.329" v="6004"/>
          <ac:grpSpMkLst>
            <pc:docMk/>
            <pc:sldMk cId="1358160786" sldId="3258"/>
            <ac:grpSpMk id="168" creationId="{B303964E-DE06-4FBA-B969-FA04C9003191}"/>
          </ac:grpSpMkLst>
        </pc:grpChg>
        <pc:grpChg chg="mod modVis">
          <ac:chgData name="Daniel von Düring Kjeldsen" userId="d61ad69a-09af-4fd5-9092-471501278b56" providerId="ADAL" clId="{4E651B94-CA1E-4178-ADF6-B752FDCF441D}" dt="2021-06-18T20:04:27.329" v="6004"/>
          <ac:grpSpMkLst>
            <pc:docMk/>
            <pc:sldMk cId="1358160786" sldId="3258"/>
            <ac:grpSpMk id="176" creationId="{A3D79DB3-2F1B-4858-8B11-C4FB213B6E9A}"/>
          </ac:grpSpMkLst>
        </pc:grpChg>
        <pc:grpChg chg="mod modVis">
          <ac:chgData name="Daniel von Düring Kjeldsen" userId="d61ad69a-09af-4fd5-9092-471501278b56" providerId="ADAL" clId="{4E651B94-CA1E-4178-ADF6-B752FDCF441D}" dt="2021-06-18T20:04:27.329" v="6004"/>
          <ac:grpSpMkLst>
            <pc:docMk/>
            <pc:sldMk cId="1358160786" sldId="3258"/>
            <ac:grpSpMk id="177" creationId="{7A1F1D22-BF60-4F34-A163-497A7DDBBCBC}"/>
          </ac:grpSpMkLst>
        </pc:grpChg>
        <pc:grpChg chg="mod modVis">
          <ac:chgData name="Daniel von Düring Kjeldsen" userId="d61ad69a-09af-4fd5-9092-471501278b56" providerId="ADAL" clId="{4E651B94-CA1E-4178-ADF6-B752FDCF441D}" dt="2021-06-18T20:04:27.329" v="6004"/>
          <ac:grpSpMkLst>
            <pc:docMk/>
            <pc:sldMk cId="1358160786" sldId="3258"/>
            <ac:grpSpMk id="202" creationId="{B6C77DA2-44FF-48C6-8CE3-50CE7EB96912}"/>
          </ac:grpSpMkLst>
        </pc:grpChg>
        <pc:grpChg chg="mod modVis">
          <ac:chgData name="Daniel von Düring Kjeldsen" userId="d61ad69a-09af-4fd5-9092-471501278b56" providerId="ADAL" clId="{4E651B94-CA1E-4178-ADF6-B752FDCF441D}" dt="2021-06-18T20:04:27.329" v="6004"/>
          <ac:grpSpMkLst>
            <pc:docMk/>
            <pc:sldMk cId="1358160786" sldId="3258"/>
            <ac:grpSpMk id="213" creationId="{5D1CC18C-2032-4DF0-89B7-EA84A141999F}"/>
          </ac:grpSpMkLst>
        </pc:grpChg>
        <pc:grpChg chg="mod modVis">
          <ac:chgData name="Daniel von Düring Kjeldsen" userId="d61ad69a-09af-4fd5-9092-471501278b56" providerId="ADAL" clId="{4E651B94-CA1E-4178-ADF6-B752FDCF441D}" dt="2021-06-18T20:04:27.329" v="6004"/>
          <ac:grpSpMkLst>
            <pc:docMk/>
            <pc:sldMk cId="1358160786" sldId="3258"/>
            <ac:grpSpMk id="219" creationId="{C1A1CC26-FCA2-4FDA-BE19-4B373915D4E4}"/>
          </ac:grpSpMkLst>
        </pc:grpChg>
        <pc:grpChg chg="mod modVis">
          <ac:chgData name="Daniel von Düring Kjeldsen" userId="d61ad69a-09af-4fd5-9092-471501278b56" providerId="ADAL" clId="{4E651B94-CA1E-4178-ADF6-B752FDCF441D}" dt="2021-06-18T20:04:27.329" v="6004"/>
          <ac:grpSpMkLst>
            <pc:docMk/>
            <pc:sldMk cId="1358160786" sldId="3258"/>
            <ac:grpSpMk id="220" creationId="{C9EF5628-AE0A-4975-9029-4C4D1AF7E5A7}"/>
          </ac:grpSpMkLst>
        </pc:grpChg>
        <pc:grpChg chg="add del mod modVis">
          <ac:chgData name="Daniel von Düring Kjeldsen" userId="d61ad69a-09af-4fd5-9092-471501278b56" providerId="ADAL" clId="{4E651B94-CA1E-4178-ADF6-B752FDCF441D}" dt="2021-06-18T20:05:04.207" v="6097" actId="478"/>
          <ac:grpSpMkLst>
            <pc:docMk/>
            <pc:sldMk cId="1358160786" sldId="3258"/>
            <ac:grpSpMk id="244" creationId="{CADA6F54-6AEC-4962-AD8F-07204E4BDD29}"/>
          </ac:grpSpMkLst>
        </pc:grpChg>
        <pc:grpChg chg="mod modVis">
          <ac:chgData name="Daniel von Düring Kjeldsen" userId="d61ad69a-09af-4fd5-9092-471501278b56" providerId="ADAL" clId="{4E651B94-CA1E-4178-ADF6-B752FDCF441D}" dt="2021-06-18T20:04:42.887" v="6090"/>
          <ac:grpSpMkLst>
            <pc:docMk/>
            <pc:sldMk cId="1358160786" sldId="3258"/>
            <ac:grpSpMk id="245" creationId="{AAD97E8F-2B0D-44F5-AF13-7DF0AAE1C5B0}"/>
          </ac:grpSpMkLst>
        </pc:grpChg>
        <pc:grpChg chg="mod modVis">
          <ac:chgData name="Daniel von Düring Kjeldsen" userId="d61ad69a-09af-4fd5-9092-471501278b56" providerId="ADAL" clId="{4E651B94-CA1E-4178-ADF6-B752FDCF441D}" dt="2021-06-18T20:04:42.887" v="6090"/>
          <ac:grpSpMkLst>
            <pc:docMk/>
            <pc:sldMk cId="1358160786" sldId="3258"/>
            <ac:grpSpMk id="246" creationId="{4754D6C9-37D4-4E39-B36A-CA964E37D363}"/>
          </ac:grpSpMkLst>
        </pc:grpChg>
        <pc:grpChg chg="mod modVis">
          <ac:chgData name="Daniel von Düring Kjeldsen" userId="d61ad69a-09af-4fd5-9092-471501278b56" providerId="ADAL" clId="{4E651B94-CA1E-4178-ADF6-B752FDCF441D}" dt="2021-06-18T20:04:42.887" v="6090"/>
          <ac:grpSpMkLst>
            <pc:docMk/>
            <pc:sldMk cId="1358160786" sldId="3258"/>
            <ac:grpSpMk id="254" creationId="{C469E388-B011-41C4-8087-823B8BB7112A}"/>
          </ac:grpSpMkLst>
        </pc:grpChg>
        <pc:grpChg chg="mod modVis">
          <ac:chgData name="Daniel von Düring Kjeldsen" userId="d61ad69a-09af-4fd5-9092-471501278b56" providerId="ADAL" clId="{4E651B94-CA1E-4178-ADF6-B752FDCF441D}" dt="2021-06-18T20:04:42.887" v="6090"/>
          <ac:grpSpMkLst>
            <pc:docMk/>
            <pc:sldMk cId="1358160786" sldId="3258"/>
            <ac:grpSpMk id="255" creationId="{36357A47-723A-4437-9CE4-13E4F312D025}"/>
          </ac:grpSpMkLst>
        </pc:grpChg>
        <pc:grpChg chg="mod modVis">
          <ac:chgData name="Daniel von Düring Kjeldsen" userId="d61ad69a-09af-4fd5-9092-471501278b56" providerId="ADAL" clId="{4E651B94-CA1E-4178-ADF6-B752FDCF441D}" dt="2021-06-18T20:04:42.887" v="6090"/>
          <ac:grpSpMkLst>
            <pc:docMk/>
            <pc:sldMk cId="1358160786" sldId="3258"/>
            <ac:grpSpMk id="280" creationId="{F5368304-F7E4-4C6E-B759-143B469029EE}"/>
          </ac:grpSpMkLst>
        </pc:grpChg>
        <pc:grpChg chg="mod modVis">
          <ac:chgData name="Daniel von Düring Kjeldsen" userId="d61ad69a-09af-4fd5-9092-471501278b56" providerId="ADAL" clId="{4E651B94-CA1E-4178-ADF6-B752FDCF441D}" dt="2021-06-18T20:04:42.887" v="6090"/>
          <ac:grpSpMkLst>
            <pc:docMk/>
            <pc:sldMk cId="1358160786" sldId="3258"/>
            <ac:grpSpMk id="291" creationId="{4F56CA1A-7B24-4F02-93C1-941CEC374438}"/>
          </ac:grpSpMkLst>
        </pc:grpChg>
        <pc:grpChg chg="mod modVis">
          <ac:chgData name="Daniel von Düring Kjeldsen" userId="d61ad69a-09af-4fd5-9092-471501278b56" providerId="ADAL" clId="{4E651B94-CA1E-4178-ADF6-B752FDCF441D}" dt="2021-06-18T20:04:42.887" v="6090"/>
          <ac:grpSpMkLst>
            <pc:docMk/>
            <pc:sldMk cId="1358160786" sldId="3258"/>
            <ac:grpSpMk id="297" creationId="{DA7FCE6B-7AE6-44BB-8867-8FC458BCBFB8}"/>
          </ac:grpSpMkLst>
        </pc:grpChg>
        <pc:grpChg chg="mod modVis">
          <ac:chgData name="Daniel von Düring Kjeldsen" userId="d61ad69a-09af-4fd5-9092-471501278b56" providerId="ADAL" clId="{4E651B94-CA1E-4178-ADF6-B752FDCF441D}" dt="2021-06-18T20:04:42.887" v="6090"/>
          <ac:grpSpMkLst>
            <pc:docMk/>
            <pc:sldMk cId="1358160786" sldId="3258"/>
            <ac:grpSpMk id="298" creationId="{2135CB7E-5AF6-4DC4-B9B9-BDA352F1F0AE}"/>
          </ac:grpSpMkLst>
        </pc:grpChg>
        <pc:grpChg chg="add mod modVis">
          <ac:chgData name="Daniel von Düring Kjeldsen" userId="d61ad69a-09af-4fd5-9092-471501278b56" providerId="ADAL" clId="{4E651B94-CA1E-4178-ADF6-B752FDCF441D}" dt="2021-06-18T20:06:02.959" v="6188" actId="1076"/>
          <ac:grpSpMkLst>
            <pc:docMk/>
            <pc:sldMk cId="1358160786" sldId="3258"/>
            <ac:grpSpMk id="322" creationId="{5E4C4515-DFBA-419D-8720-3E574650F066}"/>
          </ac:grpSpMkLst>
        </pc:grpChg>
        <pc:grpChg chg="mod modVis">
          <ac:chgData name="Daniel von Düring Kjeldsen" userId="d61ad69a-09af-4fd5-9092-471501278b56" providerId="ADAL" clId="{4E651B94-CA1E-4178-ADF6-B752FDCF441D}" dt="2021-06-18T20:05:42.095" v="6185" actId="207"/>
          <ac:grpSpMkLst>
            <pc:docMk/>
            <pc:sldMk cId="1358160786" sldId="3258"/>
            <ac:grpSpMk id="323" creationId="{82480806-8CC4-4A04-88B7-CAE57E44DE0F}"/>
          </ac:grpSpMkLst>
        </pc:grpChg>
        <pc:grpChg chg="mod modVis">
          <ac:chgData name="Daniel von Düring Kjeldsen" userId="d61ad69a-09af-4fd5-9092-471501278b56" providerId="ADAL" clId="{4E651B94-CA1E-4178-ADF6-B752FDCF441D}" dt="2021-06-18T20:05:42.095" v="6185" actId="207"/>
          <ac:grpSpMkLst>
            <pc:docMk/>
            <pc:sldMk cId="1358160786" sldId="3258"/>
            <ac:grpSpMk id="324" creationId="{9917FA68-7C8B-4A78-BC3E-C43D3347322E}"/>
          </ac:grpSpMkLst>
        </pc:grpChg>
        <pc:grpChg chg="mod modVis">
          <ac:chgData name="Daniel von Düring Kjeldsen" userId="d61ad69a-09af-4fd5-9092-471501278b56" providerId="ADAL" clId="{4E651B94-CA1E-4178-ADF6-B752FDCF441D}" dt="2021-06-18T20:05:42.095" v="6185" actId="207"/>
          <ac:grpSpMkLst>
            <pc:docMk/>
            <pc:sldMk cId="1358160786" sldId="3258"/>
            <ac:grpSpMk id="332" creationId="{C21F7C85-8A1E-4C9B-8144-6B08E16BBBE2}"/>
          </ac:grpSpMkLst>
        </pc:grpChg>
        <pc:grpChg chg="mod modVis">
          <ac:chgData name="Daniel von Düring Kjeldsen" userId="d61ad69a-09af-4fd5-9092-471501278b56" providerId="ADAL" clId="{4E651B94-CA1E-4178-ADF6-B752FDCF441D}" dt="2021-06-18T20:05:42.095" v="6185" actId="207"/>
          <ac:grpSpMkLst>
            <pc:docMk/>
            <pc:sldMk cId="1358160786" sldId="3258"/>
            <ac:grpSpMk id="333" creationId="{342AE4E7-ACEB-4933-87CB-0E6AE0DD607B}"/>
          </ac:grpSpMkLst>
        </pc:grpChg>
        <pc:grpChg chg="mod modVis">
          <ac:chgData name="Daniel von Düring Kjeldsen" userId="d61ad69a-09af-4fd5-9092-471501278b56" providerId="ADAL" clId="{4E651B94-CA1E-4178-ADF6-B752FDCF441D}" dt="2021-06-18T20:05:42.095" v="6185" actId="207"/>
          <ac:grpSpMkLst>
            <pc:docMk/>
            <pc:sldMk cId="1358160786" sldId="3258"/>
            <ac:grpSpMk id="358" creationId="{AF57AA3F-8E47-432F-B2EC-EF006E893890}"/>
          </ac:grpSpMkLst>
        </pc:grpChg>
        <pc:grpChg chg="mod modVis">
          <ac:chgData name="Daniel von Düring Kjeldsen" userId="d61ad69a-09af-4fd5-9092-471501278b56" providerId="ADAL" clId="{4E651B94-CA1E-4178-ADF6-B752FDCF441D}" dt="2021-06-18T20:05:42.095" v="6185" actId="207"/>
          <ac:grpSpMkLst>
            <pc:docMk/>
            <pc:sldMk cId="1358160786" sldId="3258"/>
            <ac:grpSpMk id="369" creationId="{3A249C55-8201-46A0-8A87-8DFCA227D7F6}"/>
          </ac:grpSpMkLst>
        </pc:grpChg>
        <pc:grpChg chg="mod modVis">
          <ac:chgData name="Daniel von Düring Kjeldsen" userId="d61ad69a-09af-4fd5-9092-471501278b56" providerId="ADAL" clId="{4E651B94-CA1E-4178-ADF6-B752FDCF441D}" dt="2021-06-18T20:05:42.095" v="6185" actId="207"/>
          <ac:grpSpMkLst>
            <pc:docMk/>
            <pc:sldMk cId="1358160786" sldId="3258"/>
            <ac:grpSpMk id="375" creationId="{908A59F8-3F58-453A-AF5F-03E1F9905065}"/>
          </ac:grpSpMkLst>
        </pc:grpChg>
        <pc:grpChg chg="mod modVis">
          <ac:chgData name="Daniel von Düring Kjeldsen" userId="d61ad69a-09af-4fd5-9092-471501278b56" providerId="ADAL" clId="{4E651B94-CA1E-4178-ADF6-B752FDCF441D}" dt="2021-06-18T20:05:42.095" v="6185" actId="207"/>
          <ac:grpSpMkLst>
            <pc:docMk/>
            <pc:sldMk cId="1358160786" sldId="3258"/>
            <ac:grpSpMk id="376" creationId="{83550278-7D16-4998-8CF1-37B4C493A65B}"/>
          </ac:grpSpMkLst>
        </pc:grpChg>
        <pc:picChg chg="add mod">
          <ac:chgData name="Daniel von Düring Kjeldsen" userId="d61ad69a-09af-4fd5-9092-471501278b56" providerId="ADAL" clId="{4E651B94-CA1E-4178-ADF6-B752FDCF441D}" dt="2021-06-18T20:09:30.654" v="6231" actId="1076"/>
          <ac:picMkLst>
            <pc:docMk/>
            <pc:sldMk cId="1358160786" sldId="3258"/>
            <ac:picMk id="8" creationId="{16B0E0C0-B809-4F68-853F-28E4BB1DAA39}"/>
          </ac:picMkLst>
        </pc:picChg>
        <pc:picChg chg="add del mod">
          <ac:chgData name="Daniel von Düring Kjeldsen" userId="d61ad69a-09af-4fd5-9092-471501278b56" providerId="ADAL" clId="{4E651B94-CA1E-4178-ADF6-B752FDCF441D}" dt="2021-06-18T19:43:24.515" v="5666" actId="478"/>
          <ac:picMkLst>
            <pc:docMk/>
            <pc:sldMk cId="1358160786" sldId="3258"/>
            <ac:picMk id="14" creationId="{1141A63E-FA8E-4E82-A593-5E311048DFCF}"/>
          </ac:picMkLst>
        </pc:picChg>
        <pc:picChg chg="add del mod">
          <ac:chgData name="Daniel von Düring Kjeldsen" userId="d61ad69a-09af-4fd5-9092-471501278b56" providerId="ADAL" clId="{4E651B94-CA1E-4178-ADF6-B752FDCF441D}" dt="2021-06-18T19:50:35.530" v="5720" actId="478"/>
          <ac:picMkLst>
            <pc:docMk/>
            <pc:sldMk cId="1358160786" sldId="3258"/>
            <ac:picMk id="16" creationId="{7B9F206F-4B24-4CE5-B958-43878091F0C7}"/>
          </ac:picMkLst>
        </pc:picChg>
        <pc:picChg chg="add mod">
          <ac:chgData name="Daniel von Düring Kjeldsen" userId="d61ad69a-09af-4fd5-9092-471501278b56" providerId="ADAL" clId="{4E651B94-CA1E-4178-ADF6-B752FDCF441D}" dt="2021-06-18T20:09:26.728" v="6230" actId="1076"/>
          <ac:picMkLst>
            <pc:docMk/>
            <pc:sldMk cId="1358160786" sldId="3258"/>
            <ac:picMk id="19" creationId="{11D595CB-1542-4202-A3B0-F89E53F17841}"/>
          </ac:picMkLst>
        </pc:picChg>
        <pc:picChg chg="del">
          <ac:chgData name="Daniel von Düring Kjeldsen" userId="d61ad69a-09af-4fd5-9092-471501278b56" providerId="ADAL" clId="{4E651B94-CA1E-4178-ADF6-B752FDCF441D}" dt="2021-06-18T19:39:52.465" v="5615" actId="478"/>
          <ac:picMkLst>
            <pc:docMk/>
            <pc:sldMk cId="1358160786" sldId="3258"/>
            <ac:picMk id="21" creationId="{361949E0-C1F4-48A4-AC13-8C7FCE6B986C}"/>
          </ac:picMkLst>
        </pc:picChg>
        <pc:picChg chg="add del mod">
          <ac:chgData name="Daniel von Düring Kjeldsen" userId="d61ad69a-09af-4fd5-9092-471501278b56" providerId="ADAL" clId="{4E651B94-CA1E-4178-ADF6-B752FDCF441D}" dt="2021-06-18T19:45:08.102" v="5671" actId="478"/>
          <ac:picMkLst>
            <pc:docMk/>
            <pc:sldMk cId="1358160786" sldId="3258"/>
            <ac:picMk id="23" creationId="{40BDCBDC-E5A9-43B6-8695-6CF2EAA65D33}"/>
          </ac:picMkLst>
        </pc:picChg>
        <pc:picChg chg="add del mod">
          <ac:chgData name="Daniel von Düring Kjeldsen" userId="d61ad69a-09af-4fd5-9092-471501278b56" providerId="ADAL" clId="{4E651B94-CA1E-4178-ADF6-B752FDCF441D}" dt="2021-06-18T20:06:56.377" v="6196" actId="478"/>
          <ac:picMkLst>
            <pc:docMk/>
            <pc:sldMk cId="1358160786" sldId="3258"/>
            <ac:picMk id="26" creationId="{AE494B8C-3610-4B6A-8192-89BEC6A29971}"/>
          </ac:picMkLst>
        </pc:picChg>
        <pc:picChg chg="add del mod">
          <ac:chgData name="Daniel von Düring Kjeldsen" userId="d61ad69a-09af-4fd5-9092-471501278b56" providerId="ADAL" clId="{4E651B94-CA1E-4178-ADF6-B752FDCF441D}" dt="2021-06-18T19:58:53.701" v="5869" actId="478"/>
          <ac:picMkLst>
            <pc:docMk/>
            <pc:sldMk cId="1358160786" sldId="3258"/>
            <ac:picMk id="28" creationId="{B3931ABF-90B3-4D67-B55C-358D6D21EB83}"/>
          </ac:picMkLst>
        </pc:picChg>
        <pc:picChg chg="add del mod">
          <ac:chgData name="Daniel von Düring Kjeldsen" userId="d61ad69a-09af-4fd5-9092-471501278b56" providerId="ADAL" clId="{4E651B94-CA1E-4178-ADF6-B752FDCF441D}" dt="2021-06-18T19:55:38.772" v="5842" actId="478"/>
          <ac:picMkLst>
            <pc:docMk/>
            <pc:sldMk cId="1358160786" sldId="3258"/>
            <ac:picMk id="31" creationId="{D6FD1F6D-B551-4DD6-B316-1BFAE5DD6DF3}"/>
          </ac:picMkLst>
        </pc:picChg>
        <pc:picChg chg="del">
          <ac:chgData name="Daniel von Düring Kjeldsen" userId="d61ad69a-09af-4fd5-9092-471501278b56" providerId="ADAL" clId="{4E651B94-CA1E-4178-ADF6-B752FDCF441D}" dt="2021-06-18T19:39:54.492" v="5616" actId="478"/>
          <ac:picMkLst>
            <pc:docMk/>
            <pc:sldMk cId="1358160786" sldId="3258"/>
            <ac:picMk id="37" creationId="{66C12866-8C52-43C6-AF88-32EB37497BB8}"/>
          </ac:picMkLst>
        </pc:picChg>
        <pc:picChg chg="add mod">
          <ac:chgData name="Daniel von Düring Kjeldsen" userId="d61ad69a-09af-4fd5-9092-471501278b56" providerId="ADAL" clId="{4E651B94-CA1E-4178-ADF6-B752FDCF441D}" dt="2021-06-18T20:07:20.547" v="6204" actId="14100"/>
          <ac:picMkLst>
            <pc:docMk/>
            <pc:sldMk cId="1358160786" sldId="3258"/>
            <ac:picMk id="39" creationId="{30032D90-74FA-4189-982A-C3CD7008B706}"/>
          </ac:picMkLst>
        </pc:picChg>
        <pc:picChg chg="add mod">
          <ac:chgData name="Daniel von Düring Kjeldsen" userId="d61ad69a-09af-4fd5-9092-471501278b56" providerId="ADAL" clId="{4E651B94-CA1E-4178-ADF6-B752FDCF441D}" dt="2021-06-18T20:07:17.152" v="6203" actId="1076"/>
          <ac:picMkLst>
            <pc:docMk/>
            <pc:sldMk cId="1358160786" sldId="3258"/>
            <ac:picMk id="41" creationId="{C9F75D7F-4C65-4EE9-A1AC-D2E03C8F7663}"/>
          </ac:picMkLst>
        </pc:picChg>
        <pc:picChg chg="del">
          <ac:chgData name="Daniel von Düring Kjeldsen" userId="d61ad69a-09af-4fd5-9092-471501278b56" providerId="ADAL" clId="{4E651B94-CA1E-4178-ADF6-B752FDCF441D}" dt="2021-06-18T19:39:25.670" v="5603" actId="478"/>
          <ac:picMkLst>
            <pc:docMk/>
            <pc:sldMk cId="1358160786" sldId="3258"/>
            <ac:picMk id="160" creationId="{96D22A32-5789-45A4-A26F-F1704D537881}"/>
          </ac:picMkLst>
        </pc:picChg>
        <pc:picChg chg="del">
          <ac:chgData name="Daniel von Düring Kjeldsen" userId="d61ad69a-09af-4fd5-9092-471501278b56" providerId="ADAL" clId="{4E651B94-CA1E-4178-ADF6-B752FDCF441D}" dt="2021-06-18T19:39:44.902" v="5611" actId="478"/>
          <ac:picMkLst>
            <pc:docMk/>
            <pc:sldMk cId="1358160786" sldId="3258"/>
            <ac:picMk id="162" creationId="{4071CBDE-1CF9-4654-9E94-099FA45582BE}"/>
          </ac:picMkLst>
        </pc:picChg>
        <pc:cxnChg chg="add mod">
          <ac:chgData name="Daniel von Düring Kjeldsen" userId="d61ad69a-09af-4fd5-9092-471501278b56" providerId="ADAL" clId="{4E651B94-CA1E-4178-ADF6-B752FDCF441D}" dt="2021-06-18T20:08:53.364" v="6227" actId="14100"/>
          <ac:cxnSpMkLst>
            <pc:docMk/>
            <pc:sldMk cId="1358160786" sldId="3258"/>
            <ac:cxnSpMk id="43" creationId="{1543F388-5184-4432-97C2-7CB02800568E}"/>
          </ac:cxnSpMkLst>
        </pc:cxnChg>
        <pc:cxnChg chg="del">
          <ac:chgData name="Daniel von Düring Kjeldsen" userId="d61ad69a-09af-4fd5-9092-471501278b56" providerId="ADAL" clId="{4E651B94-CA1E-4178-ADF6-B752FDCF441D}" dt="2021-06-18T19:39:27.857" v="5604" actId="478"/>
          <ac:cxnSpMkLst>
            <pc:docMk/>
            <pc:sldMk cId="1358160786" sldId="3258"/>
            <ac:cxnSpMk id="155" creationId="{81744226-35C9-4B7A-912B-B9B3BE0E919E}"/>
          </ac:cxnSpMkLst>
        </pc:cxnChg>
      </pc:sldChg>
      <pc:sldChg chg="addSp delSp modSp add mod ord">
        <pc:chgData name="Daniel von Düring Kjeldsen" userId="d61ad69a-09af-4fd5-9092-471501278b56" providerId="ADAL" clId="{4E651B94-CA1E-4178-ADF6-B752FDCF441D}" dt="2021-06-20T16:35:24.763" v="7520"/>
        <pc:sldMkLst>
          <pc:docMk/>
          <pc:sldMk cId="909643384" sldId="3259"/>
        </pc:sldMkLst>
        <pc:spChg chg="del">
          <ac:chgData name="Daniel von Düring Kjeldsen" userId="d61ad69a-09af-4fd5-9092-471501278b56" providerId="ADAL" clId="{4E651B94-CA1E-4178-ADF6-B752FDCF441D}" dt="2021-06-18T20:26:25.841" v="6239" actId="478"/>
          <ac:spMkLst>
            <pc:docMk/>
            <pc:sldMk cId="909643384" sldId="3259"/>
            <ac:spMk id="20" creationId="{9B3DE4D7-6285-4F36-B53F-E1D8D4A3C9FE}"/>
          </ac:spMkLst>
        </pc:spChg>
        <pc:spChg chg="del">
          <ac:chgData name="Daniel von Düring Kjeldsen" userId="d61ad69a-09af-4fd5-9092-471501278b56" providerId="ADAL" clId="{4E651B94-CA1E-4178-ADF6-B752FDCF441D}" dt="2021-06-18T20:26:23.289" v="6237" actId="478"/>
          <ac:spMkLst>
            <pc:docMk/>
            <pc:sldMk cId="909643384" sldId="3259"/>
            <ac:spMk id="29" creationId="{B1F5EB99-0EAC-49D0-8257-93B56621000F}"/>
          </ac:spMkLst>
        </pc:spChg>
        <pc:spChg chg="del">
          <ac:chgData name="Daniel von Düring Kjeldsen" userId="d61ad69a-09af-4fd5-9092-471501278b56" providerId="ADAL" clId="{4E651B94-CA1E-4178-ADF6-B752FDCF441D}" dt="2021-06-18T20:26:21.957" v="6236" actId="478"/>
          <ac:spMkLst>
            <pc:docMk/>
            <pc:sldMk cId="909643384" sldId="3259"/>
            <ac:spMk id="32" creationId="{672FD528-727F-4EC1-B086-CFB64EFF8297}"/>
          </ac:spMkLst>
        </pc:spChg>
        <pc:spChg chg="del">
          <ac:chgData name="Daniel von Düring Kjeldsen" userId="d61ad69a-09af-4fd5-9092-471501278b56" providerId="ADAL" clId="{4E651B94-CA1E-4178-ADF6-B752FDCF441D}" dt="2021-06-18T20:26:21.957" v="6236" actId="478"/>
          <ac:spMkLst>
            <pc:docMk/>
            <pc:sldMk cId="909643384" sldId="3259"/>
            <ac:spMk id="149" creationId="{99F3654F-50AA-4A9E-84F0-AABB67510257}"/>
          </ac:spMkLst>
        </pc:spChg>
        <pc:spChg chg="del">
          <ac:chgData name="Daniel von Düring Kjeldsen" userId="d61ad69a-09af-4fd5-9092-471501278b56" providerId="ADAL" clId="{4E651B94-CA1E-4178-ADF6-B752FDCF441D}" dt="2021-06-18T20:26:21.957" v="6236" actId="478"/>
          <ac:spMkLst>
            <pc:docMk/>
            <pc:sldMk cId="909643384" sldId="3259"/>
            <ac:spMk id="150" creationId="{0DFA68D7-B88E-48E5-B7F9-B8AF1532688D}"/>
          </ac:spMkLst>
        </pc:spChg>
        <pc:spChg chg="add mod">
          <ac:chgData name="Daniel von Düring Kjeldsen" userId="d61ad69a-09af-4fd5-9092-471501278b56" providerId="ADAL" clId="{4E651B94-CA1E-4178-ADF6-B752FDCF441D}" dt="2021-06-18T20:31:21.052" v="6283" actId="207"/>
          <ac:spMkLst>
            <pc:docMk/>
            <pc:sldMk cId="909643384" sldId="3259"/>
            <ac:spMk id="194" creationId="{AFCC9901-2A3A-4F2F-AEE6-5D01A12401DD}"/>
          </ac:spMkLst>
        </pc:spChg>
        <pc:grpChg chg="del">
          <ac:chgData name="Daniel von Düring Kjeldsen" userId="d61ad69a-09af-4fd5-9092-471501278b56" providerId="ADAL" clId="{4E651B94-CA1E-4178-ADF6-B752FDCF441D}" dt="2021-06-18T20:26:21.957" v="6236" actId="478"/>
          <ac:grpSpMkLst>
            <pc:docMk/>
            <pc:sldMk cId="909643384" sldId="3259"/>
            <ac:grpSpMk id="151" creationId="{83CDD8C7-ADB2-4677-AD57-614DF4B6BAA4}"/>
          </ac:grpSpMkLst>
        </pc:grpChg>
        <pc:grpChg chg="del">
          <ac:chgData name="Daniel von Düring Kjeldsen" userId="d61ad69a-09af-4fd5-9092-471501278b56" providerId="ADAL" clId="{4E651B94-CA1E-4178-ADF6-B752FDCF441D}" dt="2021-06-18T20:26:29.327" v="6242" actId="478"/>
          <ac:grpSpMkLst>
            <pc:docMk/>
            <pc:sldMk cId="909643384" sldId="3259"/>
            <ac:grpSpMk id="322" creationId="{5E4C4515-DFBA-419D-8720-3E574650F066}"/>
          </ac:grpSpMkLst>
        </pc:grpChg>
        <pc:picChg chg="add del mod">
          <ac:chgData name="Daniel von Düring Kjeldsen" userId="d61ad69a-09af-4fd5-9092-471501278b56" providerId="ADAL" clId="{4E651B94-CA1E-4178-ADF6-B752FDCF441D}" dt="2021-06-18T20:27:33.929" v="6247" actId="478"/>
          <ac:picMkLst>
            <pc:docMk/>
            <pc:sldMk cId="909643384" sldId="3259"/>
            <ac:picMk id="7" creationId="{B4ABD72B-D6C7-4433-B416-39243ED25124}"/>
          </ac:picMkLst>
        </pc:picChg>
        <pc:picChg chg="del">
          <ac:chgData name="Daniel von Düring Kjeldsen" userId="d61ad69a-09af-4fd5-9092-471501278b56" providerId="ADAL" clId="{4E651B94-CA1E-4178-ADF6-B752FDCF441D}" dt="2021-06-18T20:26:28.026" v="6241" actId="478"/>
          <ac:picMkLst>
            <pc:docMk/>
            <pc:sldMk cId="909643384" sldId="3259"/>
            <ac:picMk id="8" creationId="{16B0E0C0-B809-4F68-853F-28E4BB1DAA39}"/>
          </ac:picMkLst>
        </pc:picChg>
        <pc:picChg chg="add mod">
          <ac:chgData name="Daniel von Düring Kjeldsen" userId="d61ad69a-09af-4fd5-9092-471501278b56" providerId="ADAL" clId="{4E651B94-CA1E-4178-ADF6-B752FDCF441D}" dt="2021-06-18T20:27:39.809" v="6249" actId="1076"/>
          <ac:picMkLst>
            <pc:docMk/>
            <pc:sldMk cId="909643384" sldId="3259"/>
            <ac:picMk id="13" creationId="{6C4DD62C-8F06-4608-9297-1F6C0E541568}"/>
          </ac:picMkLst>
        </pc:picChg>
        <pc:picChg chg="del">
          <ac:chgData name="Daniel von Düring Kjeldsen" userId="d61ad69a-09af-4fd5-9092-471501278b56" providerId="ADAL" clId="{4E651B94-CA1E-4178-ADF6-B752FDCF441D}" dt="2021-06-18T20:26:26.900" v="6240" actId="478"/>
          <ac:picMkLst>
            <pc:docMk/>
            <pc:sldMk cId="909643384" sldId="3259"/>
            <ac:picMk id="19" creationId="{11D595CB-1542-4202-A3B0-F89E53F17841}"/>
          </ac:picMkLst>
        </pc:picChg>
        <pc:picChg chg="del">
          <ac:chgData name="Daniel von Düring Kjeldsen" userId="d61ad69a-09af-4fd5-9092-471501278b56" providerId="ADAL" clId="{4E651B94-CA1E-4178-ADF6-B752FDCF441D}" dt="2021-06-18T20:26:30.448" v="6243" actId="478"/>
          <ac:picMkLst>
            <pc:docMk/>
            <pc:sldMk cId="909643384" sldId="3259"/>
            <ac:picMk id="39" creationId="{30032D90-74FA-4189-982A-C3CD7008B706}"/>
          </ac:picMkLst>
        </pc:picChg>
        <pc:picChg chg="del">
          <ac:chgData name="Daniel von Düring Kjeldsen" userId="d61ad69a-09af-4fd5-9092-471501278b56" providerId="ADAL" clId="{4E651B94-CA1E-4178-ADF6-B752FDCF441D}" dt="2021-06-18T20:26:24.367" v="6238" actId="478"/>
          <ac:picMkLst>
            <pc:docMk/>
            <pc:sldMk cId="909643384" sldId="3259"/>
            <ac:picMk id="41" creationId="{C9F75D7F-4C65-4EE9-A1AC-D2E03C8F7663}"/>
          </ac:picMkLst>
        </pc:picChg>
        <pc:cxnChg chg="del">
          <ac:chgData name="Daniel von Düring Kjeldsen" userId="d61ad69a-09af-4fd5-9092-471501278b56" providerId="ADAL" clId="{4E651B94-CA1E-4178-ADF6-B752FDCF441D}" dt="2021-06-18T20:26:32.725" v="6244" actId="478"/>
          <ac:cxnSpMkLst>
            <pc:docMk/>
            <pc:sldMk cId="909643384" sldId="3259"/>
            <ac:cxnSpMk id="43" creationId="{1543F388-5184-4432-97C2-7CB02800568E}"/>
          </ac:cxnSpMkLst>
        </pc:cxnChg>
      </pc:sldChg>
      <pc:sldChg chg="addSp delSp modSp add mod">
        <pc:chgData name="Daniel von Düring Kjeldsen" userId="d61ad69a-09af-4fd5-9092-471501278b56" providerId="ADAL" clId="{4E651B94-CA1E-4178-ADF6-B752FDCF441D}" dt="2021-06-21T08:15:17.154" v="7844" actId="20577"/>
        <pc:sldMkLst>
          <pc:docMk/>
          <pc:sldMk cId="3958203805" sldId="3260"/>
        </pc:sldMkLst>
        <pc:spChg chg="mod">
          <ac:chgData name="Daniel von Düring Kjeldsen" userId="d61ad69a-09af-4fd5-9092-471501278b56" providerId="ADAL" clId="{4E651B94-CA1E-4178-ADF6-B752FDCF441D}" dt="2021-06-21T08:15:17.154" v="7844" actId="20577"/>
          <ac:spMkLst>
            <pc:docMk/>
            <pc:sldMk cId="3958203805" sldId="3260"/>
            <ac:spMk id="3" creationId="{F28FD43C-4295-4CEE-AC00-71CA20D17BD6}"/>
          </ac:spMkLst>
        </pc:spChg>
        <pc:spChg chg="del">
          <ac:chgData name="Daniel von Düring Kjeldsen" userId="d61ad69a-09af-4fd5-9092-471501278b56" providerId="ADAL" clId="{4E651B94-CA1E-4178-ADF6-B752FDCF441D}" dt="2021-06-20T14:30:12.794" v="6306" actId="478"/>
          <ac:spMkLst>
            <pc:docMk/>
            <pc:sldMk cId="3958203805" sldId="3260"/>
            <ac:spMk id="4" creationId="{2764571C-E3ED-4388-ABE6-8FB24033B32A}"/>
          </ac:spMkLst>
        </pc:spChg>
        <pc:spChg chg="add mod ord">
          <ac:chgData name="Daniel von Düring Kjeldsen" userId="d61ad69a-09af-4fd5-9092-471501278b56" providerId="ADAL" clId="{4E651B94-CA1E-4178-ADF6-B752FDCF441D}" dt="2021-06-20T14:31:19.588" v="6364" actId="167"/>
          <ac:spMkLst>
            <pc:docMk/>
            <pc:sldMk cId="3958203805" sldId="3260"/>
            <ac:spMk id="7" creationId="{54756D49-C0E3-48B2-B872-22685217C0D9}"/>
          </ac:spMkLst>
        </pc:spChg>
        <pc:spChg chg="add mod">
          <ac:chgData name="Daniel von Düring Kjeldsen" userId="d61ad69a-09af-4fd5-9092-471501278b56" providerId="ADAL" clId="{4E651B94-CA1E-4178-ADF6-B752FDCF441D}" dt="2021-06-20T18:48:10.074" v="7685" actId="20577"/>
          <ac:spMkLst>
            <pc:docMk/>
            <pc:sldMk cId="3958203805" sldId="3260"/>
            <ac:spMk id="15" creationId="{89296BFC-C052-49CC-A972-182D820175D8}"/>
          </ac:spMkLst>
        </pc:spChg>
        <pc:spChg chg="add mod">
          <ac:chgData name="Daniel von Düring Kjeldsen" userId="d61ad69a-09af-4fd5-9092-471501278b56" providerId="ADAL" clId="{4E651B94-CA1E-4178-ADF6-B752FDCF441D}" dt="2021-06-20T14:45:07.217" v="6557" actId="20577"/>
          <ac:spMkLst>
            <pc:docMk/>
            <pc:sldMk cId="3958203805" sldId="3260"/>
            <ac:spMk id="16" creationId="{4C517744-47A7-4390-A2F0-FF172283AC39}"/>
          </ac:spMkLst>
        </pc:spChg>
        <pc:spChg chg="del">
          <ac:chgData name="Daniel von Düring Kjeldsen" userId="d61ad69a-09af-4fd5-9092-471501278b56" providerId="ADAL" clId="{4E651B94-CA1E-4178-ADF6-B752FDCF441D}" dt="2021-06-20T14:30:10.293" v="6305" actId="478"/>
          <ac:spMkLst>
            <pc:docMk/>
            <pc:sldMk cId="3958203805" sldId="3260"/>
            <ac:spMk id="17" creationId="{CB5ABD52-5DDA-4458-AFCE-004C7D4A1B1A}"/>
          </ac:spMkLst>
        </pc:spChg>
        <pc:spChg chg="del">
          <ac:chgData name="Daniel von Düring Kjeldsen" userId="d61ad69a-09af-4fd5-9092-471501278b56" providerId="ADAL" clId="{4E651B94-CA1E-4178-ADF6-B752FDCF441D}" dt="2021-06-20T14:30:19.082" v="6307" actId="478"/>
          <ac:spMkLst>
            <pc:docMk/>
            <pc:sldMk cId="3958203805" sldId="3260"/>
            <ac:spMk id="18" creationId="{8E08C972-700A-46B2-A40D-B47122DD0F6E}"/>
          </ac:spMkLst>
        </pc:spChg>
        <pc:spChg chg="mod">
          <ac:chgData name="Daniel von Düring Kjeldsen" userId="d61ad69a-09af-4fd5-9092-471501278b56" providerId="ADAL" clId="{4E651B94-CA1E-4178-ADF6-B752FDCF441D}" dt="2021-06-20T14:32:39.558" v="6372" actId="14100"/>
          <ac:spMkLst>
            <pc:docMk/>
            <pc:sldMk cId="3958203805" sldId="3260"/>
            <ac:spMk id="108" creationId="{0D981B2F-4923-418C-9E93-890096774D25}"/>
          </ac:spMkLst>
        </pc:spChg>
        <pc:picChg chg="add mod">
          <ac:chgData name="Daniel von Düring Kjeldsen" userId="d61ad69a-09af-4fd5-9092-471501278b56" providerId="ADAL" clId="{4E651B94-CA1E-4178-ADF6-B752FDCF441D}" dt="2021-06-20T15:06:40.498" v="6997" actId="1076"/>
          <ac:picMkLst>
            <pc:docMk/>
            <pc:sldMk cId="3958203805" sldId="3260"/>
            <ac:picMk id="8" creationId="{92425E77-82A1-4A8D-A507-024C28CA9627}"/>
          </ac:picMkLst>
        </pc:picChg>
        <pc:picChg chg="add del mod">
          <ac:chgData name="Daniel von Düring Kjeldsen" userId="d61ad69a-09af-4fd5-9092-471501278b56" providerId="ADAL" clId="{4E651B94-CA1E-4178-ADF6-B752FDCF441D}" dt="2021-06-20T14:36:33.233" v="6373" actId="478"/>
          <ac:picMkLst>
            <pc:docMk/>
            <pc:sldMk cId="3958203805" sldId="3260"/>
            <ac:picMk id="10" creationId="{F33D24FC-A16E-435C-8AAA-21CB8A868DAE}"/>
          </ac:picMkLst>
        </pc:picChg>
        <pc:picChg chg="add del mod">
          <ac:chgData name="Daniel von Düring Kjeldsen" userId="d61ad69a-09af-4fd5-9092-471501278b56" providerId="ADAL" clId="{4E651B94-CA1E-4178-ADF6-B752FDCF441D}" dt="2021-06-20T15:04:15.504" v="6983" actId="478"/>
          <ac:picMkLst>
            <pc:docMk/>
            <pc:sldMk cId="3958203805" sldId="3260"/>
            <ac:picMk id="14" creationId="{2A501EAA-20C8-4202-B836-B998C0E034E5}"/>
          </ac:picMkLst>
        </pc:picChg>
        <pc:picChg chg="del mod">
          <ac:chgData name="Daniel von Düring Kjeldsen" userId="d61ad69a-09af-4fd5-9092-471501278b56" providerId="ADAL" clId="{4E651B94-CA1E-4178-ADF6-B752FDCF441D}" dt="2021-06-20T14:30:21.921" v="6309" actId="478"/>
          <ac:picMkLst>
            <pc:docMk/>
            <pc:sldMk cId="3958203805" sldId="3260"/>
            <ac:picMk id="20" creationId="{598B4266-0814-48AF-9141-C5410D753EF9}"/>
          </ac:picMkLst>
        </pc:picChg>
        <pc:picChg chg="add del mod">
          <ac:chgData name="Daniel von Düring Kjeldsen" userId="d61ad69a-09af-4fd5-9092-471501278b56" providerId="ADAL" clId="{4E651B94-CA1E-4178-ADF6-B752FDCF441D}" dt="2021-06-20T15:06:19.233" v="6992" actId="478"/>
          <ac:picMkLst>
            <pc:docMk/>
            <pc:sldMk cId="3958203805" sldId="3260"/>
            <ac:picMk id="21" creationId="{32F343BE-0050-4D95-836C-892F10CD72BC}"/>
          </ac:picMkLst>
        </pc:picChg>
        <pc:picChg chg="del">
          <ac:chgData name="Daniel von Düring Kjeldsen" userId="d61ad69a-09af-4fd5-9092-471501278b56" providerId="ADAL" clId="{4E651B94-CA1E-4178-ADF6-B752FDCF441D}" dt="2021-06-20T14:30:09.025" v="6304" actId="478"/>
          <ac:picMkLst>
            <pc:docMk/>
            <pc:sldMk cId="3958203805" sldId="3260"/>
            <ac:picMk id="22" creationId="{B1CD09CD-5239-4029-B84A-82510046A86F}"/>
          </ac:picMkLst>
        </pc:picChg>
      </pc:sldChg>
      <pc:sldChg chg="addSp delSp modSp new mod">
        <pc:chgData name="Daniel von Düring Kjeldsen" userId="d61ad69a-09af-4fd5-9092-471501278b56" providerId="ADAL" clId="{4E651B94-CA1E-4178-ADF6-B752FDCF441D}" dt="2021-06-21T08:26:00.067" v="8068" actId="1076"/>
        <pc:sldMkLst>
          <pc:docMk/>
          <pc:sldMk cId="2507923500" sldId="3261"/>
        </pc:sldMkLst>
        <pc:spChg chg="del mod">
          <ac:chgData name="Daniel von Düring Kjeldsen" userId="d61ad69a-09af-4fd5-9092-471501278b56" providerId="ADAL" clId="{4E651B94-CA1E-4178-ADF6-B752FDCF441D}" dt="2021-06-20T14:53:33.302" v="6710" actId="478"/>
          <ac:spMkLst>
            <pc:docMk/>
            <pc:sldMk cId="2507923500" sldId="3261"/>
            <ac:spMk id="2" creationId="{080FDDD8-6BC9-4805-A78A-1C9DB88650B1}"/>
          </ac:spMkLst>
        </pc:spChg>
        <pc:spChg chg="add mod">
          <ac:chgData name="Daniel von Düring Kjeldsen" userId="d61ad69a-09af-4fd5-9092-471501278b56" providerId="ADAL" clId="{4E651B94-CA1E-4178-ADF6-B752FDCF441D}" dt="2021-06-21T08:24:05.220" v="7908" actId="1076"/>
          <ac:spMkLst>
            <pc:docMk/>
            <pc:sldMk cId="2507923500" sldId="3261"/>
            <ac:spMk id="2" creationId="{08BBE9BD-C8F6-40D8-9422-F3A9809BCFEF}"/>
          </ac:spMkLst>
        </pc:spChg>
        <pc:spChg chg="mod">
          <ac:chgData name="Daniel von Düring Kjeldsen" userId="d61ad69a-09af-4fd5-9092-471501278b56" providerId="ADAL" clId="{4E651B94-CA1E-4178-ADF6-B752FDCF441D}" dt="2021-06-20T14:52:33.709" v="6705" actId="1076"/>
          <ac:spMkLst>
            <pc:docMk/>
            <pc:sldMk cId="2507923500" sldId="3261"/>
            <ac:spMk id="3" creationId="{31C564D6-62DB-409C-8E92-A467AFBB22D1}"/>
          </ac:spMkLst>
        </pc:spChg>
        <pc:spChg chg="add del mod">
          <ac:chgData name="Daniel von Düring Kjeldsen" userId="d61ad69a-09af-4fd5-9092-471501278b56" providerId="ADAL" clId="{4E651B94-CA1E-4178-ADF6-B752FDCF441D}" dt="2021-06-20T15:21:22.162" v="7095" actId="478"/>
          <ac:spMkLst>
            <pc:docMk/>
            <pc:sldMk cId="2507923500" sldId="3261"/>
            <ac:spMk id="4" creationId="{4889DBEF-07DC-4487-874C-214A2FD84BBB}"/>
          </ac:spMkLst>
        </pc:spChg>
        <pc:spChg chg="del">
          <ac:chgData name="Daniel von Düring Kjeldsen" userId="d61ad69a-09af-4fd5-9092-471501278b56" providerId="ADAL" clId="{4E651B94-CA1E-4178-ADF6-B752FDCF441D}" dt="2021-06-20T14:53:36.838" v="6711" actId="478"/>
          <ac:spMkLst>
            <pc:docMk/>
            <pc:sldMk cId="2507923500" sldId="3261"/>
            <ac:spMk id="4" creationId="{BCE5D6B4-7FCC-46D9-9F8B-4A274630F3BD}"/>
          </ac:spMkLst>
        </pc:spChg>
        <pc:spChg chg="add mod">
          <ac:chgData name="Daniel von Düring Kjeldsen" userId="d61ad69a-09af-4fd5-9092-471501278b56" providerId="ADAL" clId="{4E651B94-CA1E-4178-ADF6-B752FDCF441D}" dt="2021-06-20T14:58:47.755" v="6960" actId="1076"/>
          <ac:spMkLst>
            <pc:docMk/>
            <pc:sldMk cId="2507923500" sldId="3261"/>
            <ac:spMk id="7" creationId="{07483F87-BC62-418C-8119-58509ABC71DD}"/>
          </ac:spMkLst>
        </pc:spChg>
        <pc:spChg chg="add mod">
          <ac:chgData name="Daniel von Düring Kjeldsen" userId="d61ad69a-09af-4fd5-9092-471501278b56" providerId="ADAL" clId="{4E651B94-CA1E-4178-ADF6-B752FDCF441D}" dt="2021-06-20T14:53:08.806" v="6708" actId="1076"/>
          <ac:spMkLst>
            <pc:docMk/>
            <pc:sldMk cId="2507923500" sldId="3261"/>
            <ac:spMk id="8" creationId="{9534B551-647C-4E41-B6A0-0C0F6EA0881B}"/>
          </ac:spMkLst>
        </pc:spChg>
        <pc:spChg chg="add del mod">
          <ac:chgData name="Daniel von Düring Kjeldsen" userId="d61ad69a-09af-4fd5-9092-471501278b56" providerId="ADAL" clId="{4E651B94-CA1E-4178-ADF6-B752FDCF441D}" dt="2021-06-20T14:58:49.812" v="6961" actId="478"/>
          <ac:spMkLst>
            <pc:docMk/>
            <pc:sldMk cId="2507923500" sldId="3261"/>
            <ac:spMk id="9" creationId="{0BED6223-F1D5-498E-8B3D-D27142E4479F}"/>
          </ac:spMkLst>
        </pc:spChg>
        <pc:spChg chg="mod modVis">
          <ac:chgData name="Daniel von Düring Kjeldsen" userId="d61ad69a-09af-4fd5-9092-471501278b56" providerId="ADAL" clId="{4E651B94-CA1E-4178-ADF6-B752FDCF441D}" dt="2021-06-20T15:16:18.601" v="7033"/>
          <ac:spMkLst>
            <pc:docMk/>
            <pc:sldMk cId="2507923500" sldId="3261"/>
            <ac:spMk id="10" creationId="{78EDCAF3-CBB8-45DB-8A08-C9FF33B8F6B6}"/>
          </ac:spMkLst>
        </pc:spChg>
        <pc:spChg chg="mod modVis">
          <ac:chgData name="Daniel von Düring Kjeldsen" userId="d61ad69a-09af-4fd5-9092-471501278b56" providerId="ADAL" clId="{4E651B94-CA1E-4178-ADF6-B752FDCF441D}" dt="2021-06-20T14:57:43.749" v="6924"/>
          <ac:spMkLst>
            <pc:docMk/>
            <pc:sldMk cId="2507923500" sldId="3261"/>
            <ac:spMk id="11" creationId="{6B96D5D9-58F0-4584-8111-E12737EBF488}"/>
          </ac:spMkLst>
        </pc:spChg>
        <pc:spChg chg="mod modVis">
          <ac:chgData name="Daniel von Düring Kjeldsen" userId="d61ad69a-09af-4fd5-9092-471501278b56" providerId="ADAL" clId="{4E651B94-CA1E-4178-ADF6-B752FDCF441D}" dt="2021-06-20T15:16:18.601" v="7033"/>
          <ac:spMkLst>
            <pc:docMk/>
            <pc:sldMk cId="2507923500" sldId="3261"/>
            <ac:spMk id="12" creationId="{36050A46-08C2-4E17-A2DF-13280225AFAA}"/>
          </ac:spMkLst>
        </pc:spChg>
        <pc:spChg chg="mod modVis">
          <ac:chgData name="Daniel von Düring Kjeldsen" userId="d61ad69a-09af-4fd5-9092-471501278b56" providerId="ADAL" clId="{4E651B94-CA1E-4178-ADF6-B752FDCF441D}" dt="2021-06-20T15:16:18.601" v="7033"/>
          <ac:spMkLst>
            <pc:docMk/>
            <pc:sldMk cId="2507923500" sldId="3261"/>
            <ac:spMk id="13" creationId="{21BD530B-1412-4C32-92A4-4B04E1565766}"/>
          </ac:spMkLst>
        </pc:spChg>
        <pc:spChg chg="mod modVis">
          <ac:chgData name="Daniel von Düring Kjeldsen" userId="d61ad69a-09af-4fd5-9092-471501278b56" providerId="ADAL" clId="{4E651B94-CA1E-4178-ADF6-B752FDCF441D}" dt="2021-06-20T14:57:43.749" v="6924"/>
          <ac:spMkLst>
            <pc:docMk/>
            <pc:sldMk cId="2507923500" sldId="3261"/>
            <ac:spMk id="13" creationId="{5A97C577-E01C-4D61-9C7B-A6DBB6F7FE98}"/>
          </ac:spMkLst>
        </pc:spChg>
        <pc:spChg chg="mod modVis">
          <ac:chgData name="Daniel von Düring Kjeldsen" userId="d61ad69a-09af-4fd5-9092-471501278b56" providerId="ADAL" clId="{4E651B94-CA1E-4178-ADF6-B752FDCF441D}" dt="2021-06-20T15:16:18.601" v="7033"/>
          <ac:spMkLst>
            <pc:docMk/>
            <pc:sldMk cId="2507923500" sldId="3261"/>
            <ac:spMk id="14" creationId="{20A4A30E-AA67-4C6A-ACE4-4A9508A34AA2}"/>
          </ac:spMkLst>
        </pc:spChg>
        <pc:spChg chg="mod modVis">
          <ac:chgData name="Daniel von Düring Kjeldsen" userId="d61ad69a-09af-4fd5-9092-471501278b56" providerId="ADAL" clId="{4E651B94-CA1E-4178-ADF6-B752FDCF441D}" dt="2021-06-20T14:57:43.749" v="6924"/>
          <ac:spMkLst>
            <pc:docMk/>
            <pc:sldMk cId="2507923500" sldId="3261"/>
            <ac:spMk id="14" creationId="{A0224D37-4815-4268-BEEA-2018DEE1B648}"/>
          </ac:spMkLst>
        </pc:spChg>
        <pc:spChg chg="mod modVis">
          <ac:chgData name="Daniel von Düring Kjeldsen" userId="d61ad69a-09af-4fd5-9092-471501278b56" providerId="ADAL" clId="{4E651B94-CA1E-4178-ADF6-B752FDCF441D}" dt="2021-06-20T14:57:43.749" v="6924"/>
          <ac:spMkLst>
            <pc:docMk/>
            <pc:sldMk cId="2507923500" sldId="3261"/>
            <ac:spMk id="15" creationId="{676372EF-4E52-4AB2-9918-00E59F62157E}"/>
          </ac:spMkLst>
        </pc:spChg>
        <pc:spChg chg="mod modVis">
          <ac:chgData name="Daniel von Düring Kjeldsen" userId="d61ad69a-09af-4fd5-9092-471501278b56" providerId="ADAL" clId="{4E651B94-CA1E-4178-ADF6-B752FDCF441D}" dt="2021-06-20T14:57:43.749" v="6924"/>
          <ac:spMkLst>
            <pc:docMk/>
            <pc:sldMk cId="2507923500" sldId="3261"/>
            <ac:spMk id="16" creationId="{48000B04-933B-4976-88DF-57CFBFD2148F}"/>
          </ac:spMkLst>
        </pc:spChg>
        <pc:spChg chg="mod modVis">
          <ac:chgData name="Daniel von Düring Kjeldsen" userId="d61ad69a-09af-4fd5-9092-471501278b56" providerId="ADAL" clId="{4E651B94-CA1E-4178-ADF6-B752FDCF441D}" dt="2021-06-20T15:16:44.244" v="7053"/>
          <ac:spMkLst>
            <pc:docMk/>
            <pc:sldMk cId="2507923500" sldId="3261"/>
            <ac:spMk id="16" creationId="{B9AA9385-27FC-4995-A985-6FC0591DCF2E}"/>
          </ac:spMkLst>
        </pc:spChg>
        <pc:spChg chg="mod modVis">
          <ac:chgData name="Daniel von Düring Kjeldsen" userId="d61ad69a-09af-4fd5-9092-471501278b56" providerId="ADAL" clId="{4E651B94-CA1E-4178-ADF6-B752FDCF441D}" dt="2021-06-20T15:16:44.244" v="7053"/>
          <ac:spMkLst>
            <pc:docMk/>
            <pc:sldMk cId="2507923500" sldId="3261"/>
            <ac:spMk id="18" creationId="{7786588F-1CD7-40AC-93B0-2D43A5C9AFB0}"/>
          </ac:spMkLst>
        </pc:spChg>
        <pc:spChg chg="mod modVis">
          <ac:chgData name="Daniel von Düring Kjeldsen" userId="d61ad69a-09af-4fd5-9092-471501278b56" providerId="ADAL" clId="{4E651B94-CA1E-4178-ADF6-B752FDCF441D}" dt="2021-06-20T14:58:05.208" v="6939"/>
          <ac:spMkLst>
            <pc:docMk/>
            <pc:sldMk cId="2507923500" sldId="3261"/>
            <ac:spMk id="18" creationId="{8BB6F72F-D6DF-4ED3-BBF9-946EE622A216}"/>
          </ac:spMkLst>
        </pc:spChg>
        <pc:spChg chg="mod modVis">
          <ac:chgData name="Daniel von Düring Kjeldsen" userId="d61ad69a-09af-4fd5-9092-471501278b56" providerId="ADAL" clId="{4E651B94-CA1E-4178-ADF6-B752FDCF441D}" dt="2021-06-20T15:16:44.244" v="7053"/>
          <ac:spMkLst>
            <pc:docMk/>
            <pc:sldMk cId="2507923500" sldId="3261"/>
            <ac:spMk id="19" creationId="{727DB58C-CEAC-4AEC-B16F-12B79FB42242}"/>
          </ac:spMkLst>
        </pc:spChg>
        <pc:spChg chg="mod modVis">
          <ac:chgData name="Daniel von Düring Kjeldsen" userId="d61ad69a-09af-4fd5-9092-471501278b56" providerId="ADAL" clId="{4E651B94-CA1E-4178-ADF6-B752FDCF441D}" dt="2021-06-20T14:58:05.208" v="6939"/>
          <ac:spMkLst>
            <pc:docMk/>
            <pc:sldMk cId="2507923500" sldId="3261"/>
            <ac:spMk id="20" creationId="{777988D6-87BF-4729-A50F-C29AC07D56F3}"/>
          </ac:spMkLst>
        </pc:spChg>
        <pc:spChg chg="mod modVis">
          <ac:chgData name="Daniel von Düring Kjeldsen" userId="d61ad69a-09af-4fd5-9092-471501278b56" providerId="ADAL" clId="{4E651B94-CA1E-4178-ADF6-B752FDCF441D}" dt="2021-06-20T15:16:44.244" v="7053"/>
          <ac:spMkLst>
            <pc:docMk/>
            <pc:sldMk cId="2507923500" sldId="3261"/>
            <ac:spMk id="20" creationId="{7E8D63B3-DA78-4818-90A0-06CD0A3B162A}"/>
          </ac:spMkLst>
        </pc:spChg>
        <pc:spChg chg="mod modVis">
          <ac:chgData name="Daniel von Düring Kjeldsen" userId="d61ad69a-09af-4fd5-9092-471501278b56" providerId="ADAL" clId="{4E651B94-CA1E-4178-ADF6-B752FDCF441D}" dt="2021-06-20T14:58:05.208" v="6939"/>
          <ac:spMkLst>
            <pc:docMk/>
            <pc:sldMk cId="2507923500" sldId="3261"/>
            <ac:spMk id="21" creationId="{30A8B275-9A0D-432A-9037-7947FCE88E80}"/>
          </ac:spMkLst>
        </pc:spChg>
        <pc:spChg chg="mod modVis">
          <ac:chgData name="Daniel von Düring Kjeldsen" userId="d61ad69a-09af-4fd5-9092-471501278b56" providerId="ADAL" clId="{4E651B94-CA1E-4178-ADF6-B752FDCF441D}" dt="2021-06-20T15:16:44.244" v="7053"/>
          <ac:spMkLst>
            <pc:docMk/>
            <pc:sldMk cId="2507923500" sldId="3261"/>
            <ac:spMk id="21" creationId="{C4479BD8-3D2B-49DE-8F90-80794DAFD46C}"/>
          </ac:spMkLst>
        </pc:spChg>
        <pc:spChg chg="mod modVis">
          <ac:chgData name="Daniel von Düring Kjeldsen" userId="d61ad69a-09af-4fd5-9092-471501278b56" providerId="ADAL" clId="{4E651B94-CA1E-4178-ADF6-B752FDCF441D}" dt="2021-06-20T14:58:05.208" v="6939"/>
          <ac:spMkLst>
            <pc:docMk/>
            <pc:sldMk cId="2507923500" sldId="3261"/>
            <ac:spMk id="22" creationId="{6BD1E369-A7D5-4C38-95FE-7124ADF57F78}"/>
          </ac:spMkLst>
        </pc:spChg>
        <pc:spChg chg="mod">
          <ac:chgData name="Daniel von Düring Kjeldsen" userId="d61ad69a-09af-4fd5-9092-471501278b56" providerId="ADAL" clId="{4E651B94-CA1E-4178-ADF6-B752FDCF441D}" dt="2021-06-20T15:27:45.501" v="7248"/>
          <ac:spMkLst>
            <pc:docMk/>
            <pc:sldMk cId="2507923500" sldId="3261"/>
            <ac:spMk id="23" creationId="{1B960323-303A-47FF-B832-875D2B81A88A}"/>
          </ac:spMkLst>
        </pc:spChg>
        <pc:spChg chg="mod modVis">
          <ac:chgData name="Daniel von Düring Kjeldsen" userId="d61ad69a-09af-4fd5-9092-471501278b56" providerId="ADAL" clId="{4E651B94-CA1E-4178-ADF6-B752FDCF441D}" dt="2021-06-20T14:58:05.208" v="6939"/>
          <ac:spMkLst>
            <pc:docMk/>
            <pc:sldMk cId="2507923500" sldId="3261"/>
            <ac:spMk id="23" creationId="{9283EDDF-D602-4E4D-9D2F-4AD3DC703188}"/>
          </ac:spMkLst>
        </pc:spChg>
        <pc:spChg chg="mod">
          <ac:chgData name="Daniel von Düring Kjeldsen" userId="d61ad69a-09af-4fd5-9092-471501278b56" providerId="ADAL" clId="{4E651B94-CA1E-4178-ADF6-B752FDCF441D}" dt="2021-06-20T15:27:45.501" v="7248"/>
          <ac:spMkLst>
            <pc:docMk/>
            <pc:sldMk cId="2507923500" sldId="3261"/>
            <ac:spMk id="24" creationId="{294F0A52-0E05-42BE-A6A0-5823A9DF905F}"/>
          </ac:spMkLst>
        </pc:spChg>
        <pc:spChg chg="mod">
          <ac:chgData name="Daniel von Düring Kjeldsen" userId="d61ad69a-09af-4fd5-9092-471501278b56" providerId="ADAL" clId="{4E651B94-CA1E-4178-ADF6-B752FDCF441D}" dt="2021-06-20T15:27:45.501" v="7248"/>
          <ac:spMkLst>
            <pc:docMk/>
            <pc:sldMk cId="2507923500" sldId="3261"/>
            <ac:spMk id="25" creationId="{3DDEC667-0BBC-4A3D-A50B-1A7D58E5AB4D}"/>
          </ac:spMkLst>
        </pc:spChg>
        <pc:spChg chg="mod modVis">
          <ac:chgData name="Daniel von Düring Kjeldsen" userId="d61ad69a-09af-4fd5-9092-471501278b56" providerId="ADAL" clId="{4E651B94-CA1E-4178-ADF6-B752FDCF441D}" dt="2021-06-20T14:58:29.085" v="6956"/>
          <ac:spMkLst>
            <pc:docMk/>
            <pc:sldMk cId="2507923500" sldId="3261"/>
            <ac:spMk id="25" creationId="{59C195A8-E215-44EB-9128-668C5031D0B3}"/>
          </ac:spMkLst>
        </pc:spChg>
        <pc:spChg chg="mod">
          <ac:chgData name="Daniel von Düring Kjeldsen" userId="d61ad69a-09af-4fd5-9092-471501278b56" providerId="ADAL" clId="{4E651B94-CA1E-4178-ADF6-B752FDCF441D}" dt="2021-06-20T15:27:45.501" v="7248"/>
          <ac:spMkLst>
            <pc:docMk/>
            <pc:sldMk cId="2507923500" sldId="3261"/>
            <ac:spMk id="26" creationId="{5F729A4B-4C57-40C9-9DF7-6D4B7E4C92CB}"/>
          </ac:spMkLst>
        </pc:spChg>
        <pc:spChg chg="mod modVis">
          <ac:chgData name="Daniel von Düring Kjeldsen" userId="d61ad69a-09af-4fd5-9092-471501278b56" providerId="ADAL" clId="{4E651B94-CA1E-4178-ADF6-B752FDCF441D}" dt="2021-06-20T14:58:29.085" v="6956"/>
          <ac:spMkLst>
            <pc:docMk/>
            <pc:sldMk cId="2507923500" sldId="3261"/>
            <ac:spMk id="27" creationId="{B32F2CE4-57F5-4A8C-92E2-73CBDAB2F98A}"/>
          </ac:spMkLst>
        </pc:spChg>
        <pc:spChg chg="mod">
          <ac:chgData name="Daniel von Düring Kjeldsen" userId="d61ad69a-09af-4fd5-9092-471501278b56" providerId="ADAL" clId="{4E651B94-CA1E-4178-ADF6-B752FDCF441D}" dt="2021-06-20T15:27:45.501" v="7248"/>
          <ac:spMkLst>
            <pc:docMk/>
            <pc:sldMk cId="2507923500" sldId="3261"/>
            <ac:spMk id="27" creationId="{D993E080-369E-4F38-A890-7679ED758A9B}"/>
          </ac:spMkLst>
        </pc:spChg>
        <pc:spChg chg="mod modVis">
          <ac:chgData name="Daniel von Düring Kjeldsen" userId="d61ad69a-09af-4fd5-9092-471501278b56" providerId="ADAL" clId="{4E651B94-CA1E-4178-ADF6-B752FDCF441D}" dt="2021-06-20T14:58:29.085" v="6956"/>
          <ac:spMkLst>
            <pc:docMk/>
            <pc:sldMk cId="2507923500" sldId="3261"/>
            <ac:spMk id="28" creationId="{6682396A-A081-4D4B-B2BB-813A1F2A04EC}"/>
          </ac:spMkLst>
        </pc:spChg>
        <pc:spChg chg="mod modVis">
          <ac:chgData name="Daniel von Düring Kjeldsen" userId="d61ad69a-09af-4fd5-9092-471501278b56" providerId="ADAL" clId="{4E651B94-CA1E-4178-ADF6-B752FDCF441D}" dt="2021-06-20T15:27:57.452" v="7264"/>
          <ac:spMkLst>
            <pc:docMk/>
            <pc:sldMk cId="2507923500" sldId="3261"/>
            <ac:spMk id="29" creationId="{1FD780C7-92BA-490E-88EA-77AD0471E5D8}"/>
          </ac:spMkLst>
        </pc:spChg>
        <pc:spChg chg="mod modVis">
          <ac:chgData name="Daniel von Düring Kjeldsen" userId="d61ad69a-09af-4fd5-9092-471501278b56" providerId="ADAL" clId="{4E651B94-CA1E-4178-ADF6-B752FDCF441D}" dt="2021-06-20T14:58:29.085" v="6956"/>
          <ac:spMkLst>
            <pc:docMk/>
            <pc:sldMk cId="2507923500" sldId="3261"/>
            <ac:spMk id="29" creationId="{9CCA4613-7846-4C2A-97D3-7676C4B7D128}"/>
          </ac:spMkLst>
        </pc:spChg>
        <pc:spChg chg="mod modVis">
          <ac:chgData name="Daniel von Düring Kjeldsen" userId="d61ad69a-09af-4fd5-9092-471501278b56" providerId="ADAL" clId="{4E651B94-CA1E-4178-ADF6-B752FDCF441D}" dt="2021-06-20T15:27:57.452" v="7264"/>
          <ac:spMkLst>
            <pc:docMk/>
            <pc:sldMk cId="2507923500" sldId="3261"/>
            <ac:spMk id="30" creationId="{1827664B-37FA-4E82-A6A8-9BB26056315B}"/>
          </ac:spMkLst>
        </pc:spChg>
        <pc:spChg chg="add del mod">
          <ac:chgData name="Daniel von Düring Kjeldsen" userId="d61ad69a-09af-4fd5-9092-471501278b56" providerId="ADAL" clId="{4E651B94-CA1E-4178-ADF6-B752FDCF441D}" dt="2021-06-20T14:59:12.618" v="6966" actId="478"/>
          <ac:spMkLst>
            <pc:docMk/>
            <pc:sldMk cId="2507923500" sldId="3261"/>
            <ac:spMk id="30" creationId="{EA164532-5BA7-4FE0-82B8-31DC450B0B47}"/>
          </ac:spMkLst>
        </pc:spChg>
        <pc:spChg chg="mod modVis">
          <ac:chgData name="Daniel von Düring Kjeldsen" userId="d61ad69a-09af-4fd5-9092-471501278b56" providerId="ADAL" clId="{4E651B94-CA1E-4178-ADF6-B752FDCF441D}" dt="2021-06-20T15:27:57.452" v="7264"/>
          <ac:spMkLst>
            <pc:docMk/>
            <pc:sldMk cId="2507923500" sldId="3261"/>
            <ac:spMk id="31" creationId="{CAACD70C-779E-465A-92B1-58EAD57A3B0E}"/>
          </ac:spMkLst>
        </pc:spChg>
        <pc:spChg chg="mod modVis">
          <ac:chgData name="Daniel von Düring Kjeldsen" userId="d61ad69a-09af-4fd5-9092-471501278b56" providerId="ADAL" clId="{4E651B94-CA1E-4178-ADF6-B752FDCF441D}" dt="2021-06-20T15:27:57.452" v="7264"/>
          <ac:spMkLst>
            <pc:docMk/>
            <pc:sldMk cId="2507923500" sldId="3261"/>
            <ac:spMk id="32" creationId="{3220ADF6-84B3-4C6D-89CC-AEF8B5DDA83A}"/>
          </ac:spMkLst>
        </pc:spChg>
        <pc:spChg chg="mod modVis">
          <ac:chgData name="Daniel von Düring Kjeldsen" userId="d61ad69a-09af-4fd5-9092-471501278b56" providerId="ADAL" clId="{4E651B94-CA1E-4178-ADF6-B752FDCF441D}" dt="2021-06-20T14:59:21.744" v="6978"/>
          <ac:spMkLst>
            <pc:docMk/>
            <pc:sldMk cId="2507923500" sldId="3261"/>
            <ac:spMk id="32" creationId="{82E10652-1B0F-404A-A6AA-C001F1AF7211}"/>
          </ac:spMkLst>
        </pc:spChg>
        <pc:spChg chg="mod modVis">
          <ac:chgData name="Daniel von Düring Kjeldsen" userId="d61ad69a-09af-4fd5-9092-471501278b56" providerId="ADAL" clId="{4E651B94-CA1E-4178-ADF6-B752FDCF441D}" dt="2021-06-20T15:27:57.452" v="7264"/>
          <ac:spMkLst>
            <pc:docMk/>
            <pc:sldMk cId="2507923500" sldId="3261"/>
            <ac:spMk id="33" creationId="{26F43892-2823-4625-B7B9-D227C552741C}"/>
          </ac:spMkLst>
        </pc:spChg>
        <pc:spChg chg="mod modVis">
          <ac:chgData name="Daniel von Düring Kjeldsen" userId="d61ad69a-09af-4fd5-9092-471501278b56" providerId="ADAL" clId="{4E651B94-CA1E-4178-ADF6-B752FDCF441D}" dt="2021-06-20T15:27:57.452" v="7264"/>
          <ac:spMkLst>
            <pc:docMk/>
            <pc:sldMk cId="2507923500" sldId="3261"/>
            <ac:spMk id="34" creationId="{87E1EB55-FE52-488F-AA30-6B677AC17955}"/>
          </ac:spMkLst>
        </pc:spChg>
        <pc:spChg chg="mod modVis">
          <ac:chgData name="Daniel von Düring Kjeldsen" userId="d61ad69a-09af-4fd5-9092-471501278b56" providerId="ADAL" clId="{4E651B94-CA1E-4178-ADF6-B752FDCF441D}" dt="2021-06-20T14:59:21.744" v="6978"/>
          <ac:spMkLst>
            <pc:docMk/>
            <pc:sldMk cId="2507923500" sldId="3261"/>
            <ac:spMk id="34" creationId="{C9AB5779-250A-4BFA-AEE5-168C7307D8A4}"/>
          </ac:spMkLst>
        </pc:spChg>
        <pc:spChg chg="mod modVis">
          <ac:chgData name="Daniel von Düring Kjeldsen" userId="d61ad69a-09af-4fd5-9092-471501278b56" providerId="ADAL" clId="{4E651B94-CA1E-4178-ADF6-B752FDCF441D}" dt="2021-06-20T15:27:57.452" v="7264"/>
          <ac:spMkLst>
            <pc:docMk/>
            <pc:sldMk cId="2507923500" sldId="3261"/>
            <ac:spMk id="35" creationId="{2ACA939A-243B-442F-A8FA-064F40E83326}"/>
          </ac:spMkLst>
        </pc:spChg>
        <pc:spChg chg="mod modVis">
          <ac:chgData name="Daniel von Düring Kjeldsen" userId="d61ad69a-09af-4fd5-9092-471501278b56" providerId="ADAL" clId="{4E651B94-CA1E-4178-ADF6-B752FDCF441D}" dt="2021-06-20T14:59:21.744" v="6978"/>
          <ac:spMkLst>
            <pc:docMk/>
            <pc:sldMk cId="2507923500" sldId="3261"/>
            <ac:spMk id="35" creationId="{C6D3DD6D-411F-49AF-99B1-B4F8B67CD617}"/>
          </ac:spMkLst>
        </pc:spChg>
        <pc:spChg chg="mod modVis">
          <ac:chgData name="Daniel von Düring Kjeldsen" userId="d61ad69a-09af-4fd5-9092-471501278b56" providerId="ADAL" clId="{4E651B94-CA1E-4178-ADF6-B752FDCF441D}" dt="2021-06-20T15:27:57.452" v="7264"/>
          <ac:spMkLst>
            <pc:docMk/>
            <pc:sldMk cId="2507923500" sldId="3261"/>
            <ac:spMk id="36" creationId="{203CA297-7038-429E-AC50-5B6204B12460}"/>
          </ac:spMkLst>
        </pc:spChg>
        <pc:spChg chg="mod modVis">
          <ac:chgData name="Daniel von Düring Kjeldsen" userId="d61ad69a-09af-4fd5-9092-471501278b56" providerId="ADAL" clId="{4E651B94-CA1E-4178-ADF6-B752FDCF441D}" dt="2021-06-20T14:59:21.744" v="6978"/>
          <ac:spMkLst>
            <pc:docMk/>
            <pc:sldMk cId="2507923500" sldId="3261"/>
            <ac:spMk id="36" creationId="{9786EDED-E849-4599-9381-E3BA5AB2AB5C}"/>
          </ac:spMkLst>
        </pc:spChg>
        <pc:spChg chg="mod modVis">
          <ac:chgData name="Daniel von Düring Kjeldsen" userId="d61ad69a-09af-4fd5-9092-471501278b56" providerId="ADAL" clId="{4E651B94-CA1E-4178-ADF6-B752FDCF441D}" dt="2021-06-20T15:27:57.452" v="7264"/>
          <ac:spMkLst>
            <pc:docMk/>
            <pc:sldMk cId="2507923500" sldId="3261"/>
            <ac:spMk id="37" creationId="{B3A1C659-FDE7-48BE-B5EF-38BF852BBAF7}"/>
          </ac:spMkLst>
        </pc:spChg>
        <pc:spChg chg="add del mod">
          <ac:chgData name="Daniel von Düring Kjeldsen" userId="d61ad69a-09af-4fd5-9092-471501278b56" providerId="ADAL" clId="{4E651B94-CA1E-4178-ADF6-B752FDCF441D}" dt="2021-06-20T14:59:35.661" v="6982" actId="478"/>
          <ac:spMkLst>
            <pc:docMk/>
            <pc:sldMk cId="2507923500" sldId="3261"/>
            <ac:spMk id="37" creationId="{FFC69E31-0C4E-45BF-960D-A2E762460BD0}"/>
          </ac:spMkLst>
        </pc:spChg>
        <pc:spChg chg="add del mod">
          <ac:chgData name="Daniel von Düring Kjeldsen" userId="d61ad69a-09af-4fd5-9092-471501278b56" providerId="ADAL" clId="{4E651B94-CA1E-4178-ADF6-B752FDCF441D}" dt="2021-06-21T08:09:01.257" v="7806"/>
          <ac:spMkLst>
            <pc:docMk/>
            <pc:sldMk cId="2507923500" sldId="3261"/>
            <ac:spMk id="38" creationId="{F044A0B9-CB83-4AF8-A022-421F90E25468}"/>
          </ac:spMkLst>
        </pc:spChg>
        <pc:spChg chg="add mod">
          <ac:chgData name="Daniel von Düring Kjeldsen" userId="d61ad69a-09af-4fd5-9092-471501278b56" providerId="ADAL" clId="{4E651B94-CA1E-4178-ADF6-B752FDCF441D}" dt="2021-06-21T08:26:00.067" v="8068" actId="1076"/>
          <ac:spMkLst>
            <pc:docMk/>
            <pc:sldMk cId="2507923500" sldId="3261"/>
            <ac:spMk id="39" creationId="{C7D16608-F25D-4E6C-A0D7-F099FC7E4CF0}"/>
          </ac:spMkLst>
        </pc:spChg>
        <pc:grpChg chg="add mod modVis">
          <ac:chgData name="Daniel von Düring Kjeldsen" userId="d61ad69a-09af-4fd5-9092-471501278b56" providerId="ADAL" clId="{4E651B94-CA1E-4178-ADF6-B752FDCF441D}" dt="2021-06-20T15:16:22.386" v="7034" actId="14100"/>
          <ac:grpSpMkLst>
            <pc:docMk/>
            <pc:sldMk cId="2507923500" sldId="3261"/>
            <ac:grpSpMk id="9" creationId="{65C67EDB-2786-4AB8-B303-966035B2C1B0}"/>
          </ac:grpSpMkLst>
        </pc:grpChg>
        <pc:grpChg chg="add del mod modVis">
          <ac:chgData name="Daniel von Düring Kjeldsen" userId="d61ad69a-09af-4fd5-9092-471501278b56" providerId="ADAL" clId="{4E651B94-CA1E-4178-ADF6-B752FDCF441D}" dt="2021-06-20T14:58:02.140" v="6926" actId="478"/>
          <ac:grpSpMkLst>
            <pc:docMk/>
            <pc:sldMk cId="2507923500" sldId="3261"/>
            <ac:grpSpMk id="10" creationId="{BAAECEB5-CFCC-474E-B178-77BBBEE62D5A}"/>
          </ac:grpSpMkLst>
        </pc:grpChg>
        <pc:grpChg chg="mod modVis">
          <ac:chgData name="Daniel von Düring Kjeldsen" userId="d61ad69a-09af-4fd5-9092-471501278b56" providerId="ADAL" clId="{4E651B94-CA1E-4178-ADF6-B752FDCF441D}" dt="2021-06-20T15:16:18.601" v="7033"/>
          <ac:grpSpMkLst>
            <pc:docMk/>
            <pc:sldMk cId="2507923500" sldId="3261"/>
            <ac:grpSpMk id="11" creationId="{05585480-C390-449E-A105-D5385C96B8E2}"/>
          </ac:grpSpMkLst>
        </pc:grpChg>
        <pc:grpChg chg="mod modVis">
          <ac:chgData name="Daniel von Düring Kjeldsen" userId="d61ad69a-09af-4fd5-9092-471501278b56" providerId="ADAL" clId="{4E651B94-CA1E-4178-ADF6-B752FDCF441D}" dt="2021-06-20T14:57:43.749" v="6924"/>
          <ac:grpSpMkLst>
            <pc:docMk/>
            <pc:sldMk cId="2507923500" sldId="3261"/>
            <ac:grpSpMk id="12" creationId="{8EE65FD2-EAEF-4B88-B82B-7EFB7213EF26}"/>
          </ac:grpSpMkLst>
        </pc:grpChg>
        <pc:grpChg chg="add mod modVis">
          <ac:chgData name="Daniel von Düring Kjeldsen" userId="d61ad69a-09af-4fd5-9092-471501278b56" providerId="ADAL" clId="{4E651B94-CA1E-4178-ADF6-B752FDCF441D}" dt="2021-06-21T08:24:15.916" v="7911" actId="1076"/>
          <ac:grpSpMkLst>
            <pc:docMk/>
            <pc:sldMk cId="2507923500" sldId="3261"/>
            <ac:grpSpMk id="15" creationId="{57BC0ACF-57AD-40CC-A6E8-25F2C46166F4}"/>
          </ac:grpSpMkLst>
        </pc:grpChg>
        <pc:grpChg chg="add del mod modVis">
          <ac:chgData name="Daniel von Düring Kjeldsen" userId="d61ad69a-09af-4fd5-9092-471501278b56" providerId="ADAL" clId="{4E651B94-CA1E-4178-ADF6-B752FDCF441D}" dt="2021-06-20T14:58:15.867" v="6944" actId="478"/>
          <ac:grpSpMkLst>
            <pc:docMk/>
            <pc:sldMk cId="2507923500" sldId="3261"/>
            <ac:grpSpMk id="17" creationId="{4B5B2C11-824F-464E-9021-3C24DD716777}"/>
          </ac:grpSpMkLst>
        </pc:grpChg>
        <pc:grpChg chg="mod modVis">
          <ac:chgData name="Daniel von Düring Kjeldsen" userId="d61ad69a-09af-4fd5-9092-471501278b56" providerId="ADAL" clId="{4E651B94-CA1E-4178-ADF6-B752FDCF441D}" dt="2021-06-20T15:16:44.244" v="7053"/>
          <ac:grpSpMkLst>
            <pc:docMk/>
            <pc:sldMk cId="2507923500" sldId="3261"/>
            <ac:grpSpMk id="17" creationId="{550599D2-BF59-4271-B08B-8CC09FE20B65}"/>
          </ac:grpSpMkLst>
        </pc:grpChg>
        <pc:grpChg chg="mod modVis">
          <ac:chgData name="Daniel von Düring Kjeldsen" userId="d61ad69a-09af-4fd5-9092-471501278b56" providerId="ADAL" clId="{4E651B94-CA1E-4178-ADF6-B752FDCF441D}" dt="2021-06-20T14:58:05.208" v="6939"/>
          <ac:grpSpMkLst>
            <pc:docMk/>
            <pc:sldMk cId="2507923500" sldId="3261"/>
            <ac:grpSpMk id="19" creationId="{FEB3A942-27E2-4020-B11C-11C9DC5537D4}"/>
          </ac:grpSpMkLst>
        </pc:grpChg>
        <pc:grpChg chg="add mod">
          <ac:chgData name="Daniel von Düring Kjeldsen" userId="d61ad69a-09af-4fd5-9092-471501278b56" providerId="ADAL" clId="{4E651B94-CA1E-4178-ADF6-B752FDCF441D}" dt="2021-06-20T15:27:45.501" v="7248"/>
          <ac:grpSpMkLst>
            <pc:docMk/>
            <pc:sldMk cId="2507923500" sldId="3261"/>
            <ac:grpSpMk id="22" creationId="{4E39BDCC-EE11-4C9A-B191-5D64D9FBC67D}"/>
          </ac:grpSpMkLst>
        </pc:grpChg>
        <pc:grpChg chg="add del mod modVis">
          <ac:chgData name="Daniel von Düring Kjeldsen" userId="d61ad69a-09af-4fd5-9092-471501278b56" providerId="ADAL" clId="{4E651B94-CA1E-4178-ADF6-B752FDCF441D}" dt="2021-06-20T14:58:56.939" v="6962" actId="478"/>
          <ac:grpSpMkLst>
            <pc:docMk/>
            <pc:sldMk cId="2507923500" sldId="3261"/>
            <ac:grpSpMk id="24" creationId="{DE551284-7DFF-4300-A866-FA1BF310B97F}"/>
          </ac:grpSpMkLst>
        </pc:grpChg>
        <pc:grpChg chg="mod modVis">
          <ac:chgData name="Daniel von Düring Kjeldsen" userId="d61ad69a-09af-4fd5-9092-471501278b56" providerId="ADAL" clId="{4E651B94-CA1E-4178-ADF6-B752FDCF441D}" dt="2021-06-20T14:58:29.085" v="6956"/>
          <ac:grpSpMkLst>
            <pc:docMk/>
            <pc:sldMk cId="2507923500" sldId="3261"/>
            <ac:grpSpMk id="26" creationId="{5C04EB2E-3E1B-4FD2-B974-178C7EFA981B}"/>
          </ac:grpSpMkLst>
        </pc:grpChg>
        <pc:grpChg chg="add mod modVis">
          <ac:chgData name="Daniel von Düring Kjeldsen" userId="d61ad69a-09af-4fd5-9092-471501278b56" providerId="ADAL" clId="{4E651B94-CA1E-4178-ADF6-B752FDCF441D}" dt="2021-06-21T08:24:11.604" v="7910" actId="1076"/>
          <ac:grpSpMkLst>
            <pc:docMk/>
            <pc:sldMk cId="2507923500" sldId="3261"/>
            <ac:grpSpMk id="28" creationId="{A8971230-E32F-4DDF-86F5-A06CBF1AD6E9}"/>
          </ac:grpSpMkLst>
        </pc:grpChg>
        <pc:grpChg chg="add del mod modVis">
          <ac:chgData name="Daniel von Düring Kjeldsen" userId="d61ad69a-09af-4fd5-9092-471501278b56" providerId="ADAL" clId="{4E651B94-CA1E-4178-ADF6-B752FDCF441D}" dt="2021-06-20T14:59:22.252" v="6979" actId="478"/>
          <ac:grpSpMkLst>
            <pc:docMk/>
            <pc:sldMk cId="2507923500" sldId="3261"/>
            <ac:grpSpMk id="31" creationId="{434C5356-0A41-4A3F-B760-C8CD7B688DEA}"/>
          </ac:grpSpMkLst>
        </pc:grpChg>
        <pc:grpChg chg="mod modVis">
          <ac:chgData name="Daniel von Düring Kjeldsen" userId="d61ad69a-09af-4fd5-9092-471501278b56" providerId="ADAL" clId="{4E651B94-CA1E-4178-ADF6-B752FDCF441D}" dt="2021-06-20T14:59:21.744" v="6978"/>
          <ac:grpSpMkLst>
            <pc:docMk/>
            <pc:sldMk cId="2507923500" sldId="3261"/>
            <ac:grpSpMk id="33" creationId="{81B5A6A2-6647-4861-8F39-CBCB6B2FBF71}"/>
          </ac:grpSpMkLst>
        </pc:grpChg>
      </pc:sldChg>
      <pc:sldChg chg="addSp delSp modSp add mod ord">
        <pc:chgData name="Daniel von Düring Kjeldsen" userId="d61ad69a-09af-4fd5-9092-471501278b56" providerId="ADAL" clId="{4E651B94-CA1E-4178-ADF6-B752FDCF441D}" dt="2021-06-21T07:23:11.786" v="7771" actId="20577"/>
        <pc:sldMkLst>
          <pc:docMk/>
          <pc:sldMk cId="4288440488" sldId="3262"/>
        </pc:sldMkLst>
        <pc:spChg chg="add mod">
          <ac:chgData name="Daniel von Düring Kjeldsen" userId="d61ad69a-09af-4fd5-9092-471501278b56" providerId="ADAL" clId="{4E651B94-CA1E-4178-ADF6-B752FDCF441D}" dt="2021-06-20T15:25:48.091" v="7229" actId="1076"/>
          <ac:spMkLst>
            <pc:docMk/>
            <pc:sldMk cId="4288440488" sldId="3262"/>
            <ac:spMk id="2" creationId="{3AF6A6C6-8175-4131-B5C9-9C667CB86C82}"/>
          </ac:spMkLst>
        </pc:spChg>
        <pc:spChg chg="del mod">
          <ac:chgData name="Daniel von Düring Kjeldsen" userId="d61ad69a-09af-4fd5-9092-471501278b56" providerId="ADAL" clId="{4E651B94-CA1E-4178-ADF6-B752FDCF441D}" dt="2021-06-20T14:54:25.890" v="6741" actId="478"/>
          <ac:spMkLst>
            <pc:docMk/>
            <pc:sldMk cId="4288440488" sldId="3262"/>
            <ac:spMk id="3" creationId="{31C564D6-62DB-409C-8E92-A467AFBB22D1}"/>
          </ac:spMkLst>
        </pc:spChg>
        <pc:spChg chg="add del mod">
          <ac:chgData name="Daniel von Düring Kjeldsen" userId="d61ad69a-09af-4fd5-9092-471501278b56" providerId="ADAL" clId="{4E651B94-CA1E-4178-ADF6-B752FDCF441D}" dt="2021-06-20T14:54:30.159" v="6742" actId="478"/>
          <ac:spMkLst>
            <pc:docMk/>
            <pc:sldMk cId="4288440488" sldId="3262"/>
            <ac:spMk id="4" creationId="{6F452682-AC81-4668-A414-DCD24AEA547A}"/>
          </ac:spMkLst>
        </pc:spChg>
        <pc:spChg chg="add mod">
          <ac:chgData name="Daniel von Düring Kjeldsen" userId="d61ad69a-09af-4fd5-9092-471501278b56" providerId="ADAL" clId="{4E651B94-CA1E-4178-ADF6-B752FDCF441D}" dt="2021-06-20T14:54:54.716" v="6800" actId="403"/>
          <ac:spMkLst>
            <pc:docMk/>
            <pc:sldMk cId="4288440488" sldId="3262"/>
            <ac:spMk id="9" creationId="{1BDA4A8A-408D-487A-A10C-BBFB129F3C2E}"/>
          </ac:spMkLst>
        </pc:spChg>
        <pc:spChg chg="add mod">
          <ac:chgData name="Daniel von Düring Kjeldsen" userId="d61ad69a-09af-4fd5-9092-471501278b56" providerId="ADAL" clId="{4E651B94-CA1E-4178-ADF6-B752FDCF441D}" dt="2021-06-21T07:23:11.786" v="7771" actId="20577"/>
          <ac:spMkLst>
            <pc:docMk/>
            <pc:sldMk cId="4288440488" sldId="3262"/>
            <ac:spMk id="10" creationId="{0C1951F8-C7A9-4295-B92C-0B71EAAE1165}"/>
          </ac:spMkLst>
        </pc:spChg>
        <pc:spChg chg="add mod">
          <ac:chgData name="Daniel von Düring Kjeldsen" userId="d61ad69a-09af-4fd5-9092-471501278b56" providerId="ADAL" clId="{4E651B94-CA1E-4178-ADF6-B752FDCF441D}" dt="2021-06-21T07:22:00.744" v="7750" actId="1076"/>
          <ac:spMkLst>
            <pc:docMk/>
            <pc:sldMk cId="4288440488" sldId="3262"/>
            <ac:spMk id="11" creationId="{2DE434D2-696C-41E1-B263-7DE6537B0D58}"/>
          </ac:spMkLst>
        </pc:spChg>
        <pc:spChg chg="add mod">
          <ac:chgData name="Daniel von Düring Kjeldsen" userId="d61ad69a-09af-4fd5-9092-471501278b56" providerId="ADAL" clId="{4E651B94-CA1E-4178-ADF6-B752FDCF441D}" dt="2021-06-21T07:22:00.744" v="7750" actId="1076"/>
          <ac:spMkLst>
            <pc:docMk/>
            <pc:sldMk cId="4288440488" sldId="3262"/>
            <ac:spMk id="12" creationId="{FBB2494A-D9E0-4EA8-A41C-55676C9F94B4}"/>
          </ac:spMkLst>
        </pc:spChg>
        <pc:spChg chg="add mod">
          <ac:chgData name="Daniel von Düring Kjeldsen" userId="d61ad69a-09af-4fd5-9092-471501278b56" providerId="ADAL" clId="{4E651B94-CA1E-4178-ADF6-B752FDCF441D}" dt="2021-06-21T07:22:37.366" v="7758" actId="404"/>
          <ac:spMkLst>
            <pc:docMk/>
            <pc:sldMk cId="4288440488" sldId="3262"/>
            <ac:spMk id="13" creationId="{28A2FAB1-6795-4EAF-844F-34E9F47FEC3B}"/>
          </ac:spMkLst>
        </pc:spChg>
        <pc:spChg chg="add mod">
          <ac:chgData name="Daniel von Düring Kjeldsen" userId="d61ad69a-09af-4fd5-9092-471501278b56" providerId="ADAL" clId="{4E651B94-CA1E-4178-ADF6-B752FDCF441D}" dt="2021-06-21T07:22:41.398" v="7759" actId="207"/>
          <ac:spMkLst>
            <pc:docMk/>
            <pc:sldMk cId="4288440488" sldId="3262"/>
            <ac:spMk id="14" creationId="{592C562D-58AD-4E38-BA61-455C31FA098D}"/>
          </ac:spMkLst>
        </pc:spChg>
        <pc:spChg chg="add mod">
          <ac:chgData name="Daniel von Düring Kjeldsen" userId="d61ad69a-09af-4fd5-9092-471501278b56" providerId="ADAL" clId="{4E651B94-CA1E-4178-ADF6-B752FDCF441D}" dt="2021-06-21T07:22:47.520" v="7760" actId="207"/>
          <ac:spMkLst>
            <pc:docMk/>
            <pc:sldMk cId="4288440488" sldId="3262"/>
            <ac:spMk id="15" creationId="{4BF63162-B765-4A29-AC65-C09C3BE04FE2}"/>
          </ac:spMkLst>
        </pc:spChg>
        <pc:spChg chg="add mod">
          <ac:chgData name="Daniel von Düring Kjeldsen" userId="d61ad69a-09af-4fd5-9092-471501278b56" providerId="ADAL" clId="{4E651B94-CA1E-4178-ADF6-B752FDCF441D}" dt="2021-06-21T07:22:50.786" v="7766" actId="20577"/>
          <ac:spMkLst>
            <pc:docMk/>
            <pc:sldMk cId="4288440488" sldId="3262"/>
            <ac:spMk id="16" creationId="{7DCA6714-47E6-4E32-9527-DBB32506705D}"/>
          </ac:spMkLst>
        </pc:spChg>
        <pc:spChg chg="add mod">
          <ac:chgData name="Daniel von Düring Kjeldsen" userId="d61ad69a-09af-4fd5-9092-471501278b56" providerId="ADAL" clId="{4E651B94-CA1E-4178-ADF6-B752FDCF441D}" dt="2021-06-21T07:22:00.744" v="7750" actId="1076"/>
          <ac:spMkLst>
            <pc:docMk/>
            <pc:sldMk cId="4288440488" sldId="3262"/>
            <ac:spMk id="17" creationId="{ABA68846-889D-4AE4-9F82-D19F7B07B503}"/>
          </ac:spMkLst>
        </pc:spChg>
        <pc:spChg chg="add mod">
          <ac:chgData name="Daniel von Düring Kjeldsen" userId="d61ad69a-09af-4fd5-9092-471501278b56" providerId="ADAL" clId="{4E651B94-CA1E-4178-ADF6-B752FDCF441D}" dt="2021-06-21T07:22:00.744" v="7750" actId="1076"/>
          <ac:spMkLst>
            <pc:docMk/>
            <pc:sldMk cId="4288440488" sldId="3262"/>
            <ac:spMk id="18" creationId="{23BB57C7-0592-4EAA-B93E-7DF523457B58}"/>
          </ac:spMkLst>
        </pc:spChg>
      </pc:sldChg>
      <pc:sldChg chg="addSp delSp modSp add mod">
        <pc:chgData name="Daniel von Düring Kjeldsen" userId="d61ad69a-09af-4fd5-9092-471501278b56" providerId="ADAL" clId="{4E651B94-CA1E-4178-ADF6-B752FDCF441D}" dt="2021-06-21T08:26:10.941" v="8071"/>
        <pc:sldMkLst>
          <pc:docMk/>
          <pc:sldMk cId="1042309283" sldId="3263"/>
        </pc:sldMkLst>
        <pc:spChg chg="del mod">
          <ac:chgData name="Daniel von Düring Kjeldsen" userId="d61ad69a-09af-4fd5-9092-471501278b56" providerId="ADAL" clId="{4E651B94-CA1E-4178-ADF6-B752FDCF441D}" dt="2021-06-21T08:09:02.603" v="7807" actId="478"/>
          <ac:spMkLst>
            <pc:docMk/>
            <pc:sldMk cId="1042309283" sldId="3263"/>
            <ac:spMk id="2" creationId="{08BBE9BD-C8F6-40D8-9422-F3A9809BCFEF}"/>
          </ac:spMkLst>
        </pc:spChg>
        <pc:spChg chg="add mod">
          <ac:chgData name="Daniel von Düring Kjeldsen" userId="d61ad69a-09af-4fd5-9092-471501278b56" providerId="ADAL" clId="{4E651B94-CA1E-4178-ADF6-B752FDCF441D}" dt="2021-06-20T15:28:26.479" v="7268" actId="207"/>
          <ac:spMkLst>
            <pc:docMk/>
            <pc:sldMk cId="1042309283" sldId="3263"/>
            <ac:spMk id="4" creationId="{9A47986E-E8DA-4DD8-8DFA-90A94ECD6A81}"/>
          </ac:spMkLst>
        </pc:spChg>
        <pc:spChg chg="mod modVis">
          <ac:chgData name="Daniel von Düring Kjeldsen" userId="d61ad69a-09af-4fd5-9092-471501278b56" providerId="ADAL" clId="{4E651B94-CA1E-4178-ADF6-B752FDCF441D}" dt="2021-06-20T15:27:06.471" v="7241"/>
          <ac:spMkLst>
            <pc:docMk/>
            <pc:sldMk cId="1042309283" sldId="3263"/>
            <ac:spMk id="23" creationId="{BF9B7A38-C67B-45AD-80CE-92CF44134269}"/>
          </ac:spMkLst>
        </pc:spChg>
        <pc:spChg chg="mod modVis">
          <ac:chgData name="Daniel von Düring Kjeldsen" userId="d61ad69a-09af-4fd5-9092-471501278b56" providerId="ADAL" clId="{4E651B94-CA1E-4178-ADF6-B752FDCF441D}" dt="2021-06-20T15:27:06.471" v="7241"/>
          <ac:spMkLst>
            <pc:docMk/>
            <pc:sldMk cId="1042309283" sldId="3263"/>
            <ac:spMk id="24" creationId="{D71A8BB0-74F1-445E-B184-660B60AC5486}"/>
          </ac:spMkLst>
        </pc:spChg>
        <pc:spChg chg="mod modVis">
          <ac:chgData name="Daniel von Düring Kjeldsen" userId="d61ad69a-09af-4fd5-9092-471501278b56" providerId="ADAL" clId="{4E651B94-CA1E-4178-ADF6-B752FDCF441D}" dt="2021-06-20T15:27:06.471" v="7241"/>
          <ac:spMkLst>
            <pc:docMk/>
            <pc:sldMk cId="1042309283" sldId="3263"/>
            <ac:spMk id="25" creationId="{5EC39A5B-E23B-4ED8-8806-7CB86B2B0A14}"/>
          </ac:spMkLst>
        </pc:spChg>
        <pc:spChg chg="mod modVis">
          <ac:chgData name="Daniel von Düring Kjeldsen" userId="d61ad69a-09af-4fd5-9092-471501278b56" providerId="ADAL" clId="{4E651B94-CA1E-4178-ADF6-B752FDCF441D}" dt="2021-06-20T15:27:06.471" v="7241"/>
          <ac:spMkLst>
            <pc:docMk/>
            <pc:sldMk cId="1042309283" sldId="3263"/>
            <ac:spMk id="26" creationId="{61B3F8AA-3429-444A-A80A-C8B9C8EFFBC0}"/>
          </ac:spMkLst>
        </pc:spChg>
        <pc:spChg chg="mod modVis">
          <ac:chgData name="Daniel von Düring Kjeldsen" userId="d61ad69a-09af-4fd5-9092-471501278b56" providerId="ADAL" clId="{4E651B94-CA1E-4178-ADF6-B752FDCF441D}" dt="2021-06-20T15:27:06.471" v="7241"/>
          <ac:spMkLst>
            <pc:docMk/>
            <pc:sldMk cId="1042309283" sldId="3263"/>
            <ac:spMk id="27" creationId="{6AA78DE3-8DBE-4DCF-A177-EDC4136F4CCD}"/>
          </ac:spMkLst>
        </pc:spChg>
        <pc:spChg chg="mod">
          <ac:chgData name="Daniel von Düring Kjeldsen" userId="d61ad69a-09af-4fd5-9092-471501278b56" providerId="ADAL" clId="{4E651B94-CA1E-4178-ADF6-B752FDCF441D}" dt="2021-06-20T15:28:16.255" v="7267"/>
          <ac:spMkLst>
            <pc:docMk/>
            <pc:sldMk cId="1042309283" sldId="3263"/>
            <ac:spMk id="29" creationId="{0D010653-50A8-4222-BC40-81E2EFBCA557}"/>
          </ac:spMkLst>
        </pc:spChg>
        <pc:spChg chg="mod">
          <ac:chgData name="Daniel von Düring Kjeldsen" userId="d61ad69a-09af-4fd5-9092-471501278b56" providerId="ADAL" clId="{4E651B94-CA1E-4178-ADF6-B752FDCF441D}" dt="2021-06-20T15:28:16.255" v="7267"/>
          <ac:spMkLst>
            <pc:docMk/>
            <pc:sldMk cId="1042309283" sldId="3263"/>
            <ac:spMk id="30" creationId="{CA8C566D-55C4-4C6E-BBA6-6C6EC7A0DE3B}"/>
          </ac:spMkLst>
        </pc:spChg>
        <pc:spChg chg="mod">
          <ac:chgData name="Daniel von Düring Kjeldsen" userId="d61ad69a-09af-4fd5-9092-471501278b56" providerId="ADAL" clId="{4E651B94-CA1E-4178-ADF6-B752FDCF441D}" dt="2021-06-20T15:28:16.255" v="7267"/>
          <ac:spMkLst>
            <pc:docMk/>
            <pc:sldMk cId="1042309283" sldId="3263"/>
            <ac:spMk id="31" creationId="{05860551-0D18-40FB-9B69-585B4F647AA0}"/>
          </ac:spMkLst>
        </pc:spChg>
        <pc:spChg chg="mod">
          <ac:chgData name="Daniel von Düring Kjeldsen" userId="d61ad69a-09af-4fd5-9092-471501278b56" providerId="ADAL" clId="{4E651B94-CA1E-4178-ADF6-B752FDCF441D}" dt="2021-06-20T15:28:16.255" v="7267"/>
          <ac:spMkLst>
            <pc:docMk/>
            <pc:sldMk cId="1042309283" sldId="3263"/>
            <ac:spMk id="32" creationId="{EDCDBF92-4C35-4C55-B269-7A1A43DD4240}"/>
          </ac:spMkLst>
        </pc:spChg>
        <pc:spChg chg="mod">
          <ac:chgData name="Daniel von Düring Kjeldsen" userId="d61ad69a-09af-4fd5-9092-471501278b56" providerId="ADAL" clId="{4E651B94-CA1E-4178-ADF6-B752FDCF441D}" dt="2021-06-20T15:28:16.255" v="7267"/>
          <ac:spMkLst>
            <pc:docMk/>
            <pc:sldMk cId="1042309283" sldId="3263"/>
            <ac:spMk id="33" creationId="{6F4628E3-2785-4274-ADCD-45A792A988BF}"/>
          </ac:spMkLst>
        </pc:spChg>
        <pc:spChg chg="mod">
          <ac:chgData name="Daniel von Düring Kjeldsen" userId="d61ad69a-09af-4fd5-9092-471501278b56" providerId="ADAL" clId="{4E651B94-CA1E-4178-ADF6-B752FDCF441D}" dt="2021-06-20T15:28:16.255" v="7267"/>
          <ac:spMkLst>
            <pc:docMk/>
            <pc:sldMk cId="1042309283" sldId="3263"/>
            <ac:spMk id="34" creationId="{0A701091-BE45-4E80-8F14-B1E8620AEFA1}"/>
          </ac:spMkLst>
        </pc:spChg>
        <pc:spChg chg="mod">
          <ac:chgData name="Daniel von Düring Kjeldsen" userId="d61ad69a-09af-4fd5-9092-471501278b56" providerId="ADAL" clId="{4E651B94-CA1E-4178-ADF6-B752FDCF441D}" dt="2021-06-20T15:28:16.255" v="7267"/>
          <ac:spMkLst>
            <pc:docMk/>
            <pc:sldMk cId="1042309283" sldId="3263"/>
            <ac:spMk id="35" creationId="{F24AE904-C0D8-4BCC-8D72-11D49B0ACBC8}"/>
          </ac:spMkLst>
        </pc:spChg>
        <pc:spChg chg="mod">
          <ac:chgData name="Daniel von Düring Kjeldsen" userId="d61ad69a-09af-4fd5-9092-471501278b56" providerId="ADAL" clId="{4E651B94-CA1E-4178-ADF6-B752FDCF441D}" dt="2021-06-20T15:28:16.255" v="7267"/>
          <ac:spMkLst>
            <pc:docMk/>
            <pc:sldMk cId="1042309283" sldId="3263"/>
            <ac:spMk id="36" creationId="{246EEE73-86CE-4675-8795-3F908DCAB833}"/>
          </ac:spMkLst>
        </pc:spChg>
        <pc:spChg chg="mod">
          <ac:chgData name="Daniel von Düring Kjeldsen" userId="d61ad69a-09af-4fd5-9092-471501278b56" providerId="ADAL" clId="{4E651B94-CA1E-4178-ADF6-B752FDCF441D}" dt="2021-06-20T15:28:16.255" v="7267"/>
          <ac:spMkLst>
            <pc:docMk/>
            <pc:sldMk cId="1042309283" sldId="3263"/>
            <ac:spMk id="37" creationId="{5AB89373-36AC-4DED-A8A8-4D1F9F38BFA8}"/>
          </ac:spMkLst>
        </pc:spChg>
        <pc:spChg chg="add mod ord">
          <ac:chgData name="Daniel von Düring Kjeldsen" userId="d61ad69a-09af-4fd5-9092-471501278b56" providerId="ADAL" clId="{4E651B94-CA1E-4178-ADF6-B752FDCF441D}" dt="2021-06-21T08:09:09.014" v="7809" actId="167"/>
          <ac:spMkLst>
            <pc:docMk/>
            <pc:sldMk cId="1042309283" sldId="3263"/>
            <ac:spMk id="38" creationId="{C337DD06-69EB-4E9C-B126-5C1AB7882501}"/>
          </ac:spMkLst>
        </pc:spChg>
        <pc:spChg chg="add del mod">
          <ac:chgData name="Daniel von Düring Kjeldsen" userId="d61ad69a-09af-4fd5-9092-471501278b56" providerId="ADAL" clId="{4E651B94-CA1E-4178-ADF6-B752FDCF441D}" dt="2021-06-21T08:24:35.012" v="7915" actId="478"/>
          <ac:spMkLst>
            <pc:docMk/>
            <pc:sldMk cId="1042309283" sldId="3263"/>
            <ac:spMk id="39" creationId="{26A9A1BE-6461-4E7E-93B6-A1CBEEA1F98B}"/>
          </ac:spMkLst>
        </pc:spChg>
        <pc:spChg chg="mod">
          <ac:chgData name="Daniel von Düring Kjeldsen" userId="d61ad69a-09af-4fd5-9092-471501278b56" providerId="ADAL" clId="{4E651B94-CA1E-4178-ADF6-B752FDCF441D}" dt="2021-06-21T08:24:39.341" v="7916"/>
          <ac:spMkLst>
            <pc:docMk/>
            <pc:sldMk cId="1042309283" sldId="3263"/>
            <ac:spMk id="41" creationId="{35206812-395B-4496-9243-F70B0DBBE015}"/>
          </ac:spMkLst>
        </pc:spChg>
        <pc:spChg chg="mod">
          <ac:chgData name="Daniel von Düring Kjeldsen" userId="d61ad69a-09af-4fd5-9092-471501278b56" providerId="ADAL" clId="{4E651B94-CA1E-4178-ADF6-B752FDCF441D}" dt="2021-06-21T08:24:39.341" v="7916"/>
          <ac:spMkLst>
            <pc:docMk/>
            <pc:sldMk cId="1042309283" sldId="3263"/>
            <ac:spMk id="43" creationId="{46C733D4-8197-4463-8B6E-1C4FA6980D5F}"/>
          </ac:spMkLst>
        </pc:spChg>
        <pc:spChg chg="mod">
          <ac:chgData name="Daniel von Düring Kjeldsen" userId="d61ad69a-09af-4fd5-9092-471501278b56" providerId="ADAL" clId="{4E651B94-CA1E-4178-ADF6-B752FDCF441D}" dt="2021-06-21T08:24:39.341" v="7916"/>
          <ac:spMkLst>
            <pc:docMk/>
            <pc:sldMk cId="1042309283" sldId="3263"/>
            <ac:spMk id="44" creationId="{30B2984D-13D5-48BA-968E-9BA885FD6803}"/>
          </ac:spMkLst>
        </pc:spChg>
        <pc:spChg chg="mod">
          <ac:chgData name="Daniel von Düring Kjeldsen" userId="d61ad69a-09af-4fd5-9092-471501278b56" providerId="ADAL" clId="{4E651B94-CA1E-4178-ADF6-B752FDCF441D}" dt="2021-06-21T08:24:39.341" v="7916"/>
          <ac:spMkLst>
            <pc:docMk/>
            <pc:sldMk cId="1042309283" sldId="3263"/>
            <ac:spMk id="45" creationId="{23795B0A-D98D-4E72-BFB6-793009E9791B}"/>
          </ac:spMkLst>
        </pc:spChg>
        <pc:spChg chg="mod">
          <ac:chgData name="Daniel von Düring Kjeldsen" userId="d61ad69a-09af-4fd5-9092-471501278b56" providerId="ADAL" clId="{4E651B94-CA1E-4178-ADF6-B752FDCF441D}" dt="2021-06-21T08:24:39.341" v="7916"/>
          <ac:spMkLst>
            <pc:docMk/>
            <pc:sldMk cId="1042309283" sldId="3263"/>
            <ac:spMk id="46" creationId="{AA7B65C8-6151-43DA-9147-AEED249BFBFB}"/>
          </ac:spMkLst>
        </pc:spChg>
        <pc:spChg chg="mod">
          <ac:chgData name="Daniel von Düring Kjeldsen" userId="d61ad69a-09af-4fd5-9092-471501278b56" providerId="ADAL" clId="{4E651B94-CA1E-4178-ADF6-B752FDCF441D}" dt="2021-06-21T08:24:48.449" v="7917"/>
          <ac:spMkLst>
            <pc:docMk/>
            <pc:sldMk cId="1042309283" sldId="3263"/>
            <ac:spMk id="48" creationId="{96357F2E-4878-4396-9656-CC6F0DB77935}"/>
          </ac:spMkLst>
        </pc:spChg>
        <pc:spChg chg="mod">
          <ac:chgData name="Daniel von Düring Kjeldsen" userId="d61ad69a-09af-4fd5-9092-471501278b56" providerId="ADAL" clId="{4E651B94-CA1E-4178-ADF6-B752FDCF441D}" dt="2021-06-21T08:24:48.449" v="7917"/>
          <ac:spMkLst>
            <pc:docMk/>
            <pc:sldMk cId="1042309283" sldId="3263"/>
            <ac:spMk id="49" creationId="{3941EB01-7161-4954-86B8-5D4F538638F4}"/>
          </ac:spMkLst>
        </pc:spChg>
        <pc:spChg chg="mod">
          <ac:chgData name="Daniel von Düring Kjeldsen" userId="d61ad69a-09af-4fd5-9092-471501278b56" providerId="ADAL" clId="{4E651B94-CA1E-4178-ADF6-B752FDCF441D}" dt="2021-06-21T08:24:48.449" v="7917"/>
          <ac:spMkLst>
            <pc:docMk/>
            <pc:sldMk cId="1042309283" sldId="3263"/>
            <ac:spMk id="50" creationId="{61ECDACD-85FE-4FA5-8789-DFFD1AE01D53}"/>
          </ac:spMkLst>
        </pc:spChg>
        <pc:spChg chg="mod">
          <ac:chgData name="Daniel von Düring Kjeldsen" userId="d61ad69a-09af-4fd5-9092-471501278b56" providerId="ADAL" clId="{4E651B94-CA1E-4178-ADF6-B752FDCF441D}" dt="2021-06-21T08:24:48.449" v="7917"/>
          <ac:spMkLst>
            <pc:docMk/>
            <pc:sldMk cId="1042309283" sldId="3263"/>
            <ac:spMk id="51" creationId="{A8355902-FEF4-47CA-852C-A1679CDB21DA}"/>
          </ac:spMkLst>
        </pc:spChg>
        <pc:spChg chg="mod">
          <ac:chgData name="Daniel von Düring Kjeldsen" userId="d61ad69a-09af-4fd5-9092-471501278b56" providerId="ADAL" clId="{4E651B94-CA1E-4178-ADF6-B752FDCF441D}" dt="2021-06-21T08:24:48.449" v="7917"/>
          <ac:spMkLst>
            <pc:docMk/>
            <pc:sldMk cId="1042309283" sldId="3263"/>
            <ac:spMk id="52" creationId="{61858D43-53BA-4C6A-AFC1-B9009CECA636}"/>
          </ac:spMkLst>
        </pc:spChg>
        <pc:spChg chg="mod">
          <ac:chgData name="Daniel von Düring Kjeldsen" userId="d61ad69a-09af-4fd5-9092-471501278b56" providerId="ADAL" clId="{4E651B94-CA1E-4178-ADF6-B752FDCF441D}" dt="2021-06-21T08:24:48.449" v="7917"/>
          <ac:spMkLst>
            <pc:docMk/>
            <pc:sldMk cId="1042309283" sldId="3263"/>
            <ac:spMk id="53" creationId="{C9DDF20D-F124-4789-8EF3-5DEADEB4FA14}"/>
          </ac:spMkLst>
        </pc:spChg>
        <pc:spChg chg="mod">
          <ac:chgData name="Daniel von Düring Kjeldsen" userId="d61ad69a-09af-4fd5-9092-471501278b56" providerId="ADAL" clId="{4E651B94-CA1E-4178-ADF6-B752FDCF441D}" dt="2021-06-21T08:24:48.449" v="7917"/>
          <ac:spMkLst>
            <pc:docMk/>
            <pc:sldMk cId="1042309283" sldId="3263"/>
            <ac:spMk id="54" creationId="{5738D0CB-C73F-4DDF-9448-D633E7352471}"/>
          </ac:spMkLst>
        </pc:spChg>
        <pc:spChg chg="mod">
          <ac:chgData name="Daniel von Düring Kjeldsen" userId="d61ad69a-09af-4fd5-9092-471501278b56" providerId="ADAL" clId="{4E651B94-CA1E-4178-ADF6-B752FDCF441D}" dt="2021-06-21T08:24:48.449" v="7917"/>
          <ac:spMkLst>
            <pc:docMk/>
            <pc:sldMk cId="1042309283" sldId="3263"/>
            <ac:spMk id="55" creationId="{E522DD59-E85B-4FCE-8EC3-0FD5D0170986}"/>
          </ac:spMkLst>
        </pc:spChg>
        <pc:spChg chg="mod">
          <ac:chgData name="Daniel von Düring Kjeldsen" userId="d61ad69a-09af-4fd5-9092-471501278b56" providerId="ADAL" clId="{4E651B94-CA1E-4178-ADF6-B752FDCF441D}" dt="2021-06-21T08:24:48.449" v="7917"/>
          <ac:spMkLst>
            <pc:docMk/>
            <pc:sldMk cId="1042309283" sldId="3263"/>
            <ac:spMk id="56" creationId="{4AD3FB6B-C9FF-4B6B-83F5-6CF1D6579F07}"/>
          </ac:spMkLst>
        </pc:spChg>
        <pc:spChg chg="add del mod">
          <ac:chgData name="Daniel von Düring Kjeldsen" userId="d61ad69a-09af-4fd5-9092-471501278b56" providerId="ADAL" clId="{4E651B94-CA1E-4178-ADF6-B752FDCF441D}" dt="2021-06-21T08:26:06.358" v="8070" actId="478"/>
          <ac:spMkLst>
            <pc:docMk/>
            <pc:sldMk cId="1042309283" sldId="3263"/>
            <ac:spMk id="57" creationId="{1AC9727B-B69B-4259-808D-A8F714DDBCDF}"/>
          </ac:spMkLst>
        </pc:spChg>
        <pc:spChg chg="add mod">
          <ac:chgData name="Daniel von Düring Kjeldsen" userId="d61ad69a-09af-4fd5-9092-471501278b56" providerId="ADAL" clId="{4E651B94-CA1E-4178-ADF6-B752FDCF441D}" dt="2021-06-21T08:26:10.941" v="8071"/>
          <ac:spMkLst>
            <pc:docMk/>
            <pc:sldMk cId="1042309283" sldId="3263"/>
            <ac:spMk id="58" creationId="{BF3D3DDA-48CF-4961-88C8-F90AD828358D}"/>
          </ac:spMkLst>
        </pc:spChg>
        <pc:grpChg chg="del">
          <ac:chgData name="Daniel von Düring Kjeldsen" userId="d61ad69a-09af-4fd5-9092-471501278b56" providerId="ADAL" clId="{4E651B94-CA1E-4178-ADF6-B752FDCF441D}" dt="2021-06-21T08:24:28.230" v="7912" actId="478"/>
          <ac:grpSpMkLst>
            <pc:docMk/>
            <pc:sldMk cId="1042309283" sldId="3263"/>
            <ac:grpSpMk id="15" creationId="{57BC0ACF-57AD-40CC-A6E8-25F2C46166F4}"/>
          </ac:grpSpMkLst>
        </pc:grpChg>
        <pc:grpChg chg="add mod modVis">
          <ac:chgData name="Daniel von Düring Kjeldsen" userId="d61ad69a-09af-4fd5-9092-471501278b56" providerId="ADAL" clId="{4E651B94-CA1E-4178-ADF6-B752FDCF441D}" dt="2021-06-20T15:27:24.927" v="7247" actId="14100"/>
          <ac:grpSpMkLst>
            <pc:docMk/>
            <pc:sldMk cId="1042309283" sldId="3263"/>
            <ac:grpSpMk id="22" creationId="{DF214472-B193-426E-AF7F-7DA309CF671D}"/>
          </ac:grpSpMkLst>
        </pc:grpChg>
        <pc:grpChg chg="add del mod">
          <ac:chgData name="Daniel von Düring Kjeldsen" userId="d61ad69a-09af-4fd5-9092-471501278b56" providerId="ADAL" clId="{4E651B94-CA1E-4178-ADF6-B752FDCF441D}" dt="2021-06-21T08:24:29.649" v="7913" actId="478"/>
          <ac:grpSpMkLst>
            <pc:docMk/>
            <pc:sldMk cId="1042309283" sldId="3263"/>
            <ac:grpSpMk id="28" creationId="{83FD8B56-AEE9-482B-8D13-19D9353755BE}"/>
          </ac:grpSpMkLst>
        </pc:grpChg>
        <pc:grpChg chg="add mod">
          <ac:chgData name="Daniel von Düring Kjeldsen" userId="d61ad69a-09af-4fd5-9092-471501278b56" providerId="ADAL" clId="{4E651B94-CA1E-4178-ADF6-B752FDCF441D}" dt="2021-06-21T08:24:39.341" v="7916"/>
          <ac:grpSpMkLst>
            <pc:docMk/>
            <pc:sldMk cId="1042309283" sldId="3263"/>
            <ac:grpSpMk id="40" creationId="{59A7EA42-29B5-4899-B3F9-B60C93990F24}"/>
          </ac:grpSpMkLst>
        </pc:grpChg>
        <pc:grpChg chg="mod">
          <ac:chgData name="Daniel von Düring Kjeldsen" userId="d61ad69a-09af-4fd5-9092-471501278b56" providerId="ADAL" clId="{4E651B94-CA1E-4178-ADF6-B752FDCF441D}" dt="2021-06-21T08:24:39.341" v="7916"/>
          <ac:grpSpMkLst>
            <pc:docMk/>
            <pc:sldMk cId="1042309283" sldId="3263"/>
            <ac:grpSpMk id="42" creationId="{2BAB0881-C537-479B-AC7B-16B23DB469D5}"/>
          </ac:grpSpMkLst>
        </pc:grpChg>
        <pc:grpChg chg="add mod">
          <ac:chgData name="Daniel von Düring Kjeldsen" userId="d61ad69a-09af-4fd5-9092-471501278b56" providerId="ADAL" clId="{4E651B94-CA1E-4178-ADF6-B752FDCF441D}" dt="2021-06-21T08:24:48.449" v="7917"/>
          <ac:grpSpMkLst>
            <pc:docMk/>
            <pc:sldMk cId="1042309283" sldId="3263"/>
            <ac:grpSpMk id="47" creationId="{27234C1C-07B0-4DE1-9530-7B418127A3AA}"/>
          </ac:grpSpMkLst>
        </pc:grpChg>
      </pc:sldChg>
      <pc:sldChg chg="addSp delSp modSp add mod">
        <pc:chgData name="Daniel von Düring Kjeldsen" userId="d61ad69a-09af-4fd5-9092-471501278b56" providerId="ADAL" clId="{4E651B94-CA1E-4178-ADF6-B752FDCF441D}" dt="2021-06-21T08:15:26.343" v="7848" actId="20577"/>
        <pc:sldMkLst>
          <pc:docMk/>
          <pc:sldMk cId="1962706514" sldId="3264"/>
        </pc:sldMkLst>
        <pc:spChg chg="add del mod">
          <ac:chgData name="Daniel von Düring Kjeldsen" userId="d61ad69a-09af-4fd5-9092-471501278b56" providerId="ADAL" clId="{4E651B94-CA1E-4178-ADF6-B752FDCF441D}" dt="2021-06-20T21:11:33.572" v="7711" actId="478"/>
          <ac:spMkLst>
            <pc:docMk/>
            <pc:sldMk cId="1962706514" sldId="3264"/>
            <ac:spMk id="3" creationId="{2C13D108-EA19-483B-B2B4-49EC0750E63A}"/>
          </ac:spMkLst>
        </pc:spChg>
        <pc:spChg chg="add del mod">
          <ac:chgData name="Daniel von Düring Kjeldsen" userId="d61ad69a-09af-4fd5-9092-471501278b56" providerId="ADAL" clId="{4E651B94-CA1E-4178-ADF6-B752FDCF441D}" dt="2021-06-20T15:55:36.550" v="7397" actId="1076"/>
          <ac:spMkLst>
            <pc:docMk/>
            <pc:sldMk cId="1962706514" sldId="3264"/>
            <ac:spMk id="11" creationId="{2AAD1EF2-841F-4796-A460-EF16A1B517FE}"/>
          </ac:spMkLst>
        </pc:spChg>
        <pc:spChg chg="add mod">
          <ac:chgData name="Daniel von Düring Kjeldsen" userId="d61ad69a-09af-4fd5-9092-471501278b56" providerId="ADAL" clId="{4E651B94-CA1E-4178-ADF6-B752FDCF441D}" dt="2021-06-20T21:12:26.159" v="7728" actId="1076"/>
          <ac:spMkLst>
            <pc:docMk/>
            <pc:sldMk cId="1962706514" sldId="3264"/>
            <ac:spMk id="13" creationId="{B5D67F31-3025-48E8-9C62-F554EC3447D8}"/>
          </ac:spMkLst>
        </pc:spChg>
        <pc:spChg chg="mod">
          <ac:chgData name="Daniel von Düring Kjeldsen" userId="d61ad69a-09af-4fd5-9092-471501278b56" providerId="ADAL" clId="{4E651B94-CA1E-4178-ADF6-B752FDCF441D}" dt="2021-06-20T15:30:09.133" v="7273" actId="5793"/>
          <ac:spMkLst>
            <pc:docMk/>
            <pc:sldMk cId="1962706514" sldId="3264"/>
            <ac:spMk id="19" creationId="{1C58282B-B87B-4AC8-A172-27E099066225}"/>
          </ac:spMkLst>
        </pc:spChg>
        <pc:spChg chg="mod">
          <ac:chgData name="Daniel von Düring Kjeldsen" userId="d61ad69a-09af-4fd5-9092-471501278b56" providerId="ADAL" clId="{4E651B94-CA1E-4178-ADF6-B752FDCF441D}" dt="2021-06-21T08:15:26.343" v="7848" actId="20577"/>
          <ac:spMkLst>
            <pc:docMk/>
            <pc:sldMk cId="1962706514" sldId="3264"/>
            <ac:spMk id="23" creationId="{5BD20BB0-3041-4C30-A0C4-0D7770BD5116}"/>
          </ac:spMkLst>
        </pc:spChg>
        <pc:spChg chg="mod modVis">
          <ac:chgData name="Daniel von Düring Kjeldsen" userId="d61ad69a-09af-4fd5-9092-471501278b56" providerId="ADAL" clId="{4E651B94-CA1E-4178-ADF6-B752FDCF441D}" dt="2021-06-20T15:30:30.464" v="7298"/>
          <ac:spMkLst>
            <pc:docMk/>
            <pc:sldMk cId="1962706514" sldId="3264"/>
            <ac:spMk id="25" creationId="{60B6E485-4526-47D3-B321-6C9EEBDE8C05}"/>
          </ac:spMkLst>
        </pc:spChg>
        <pc:spChg chg="mod modVis">
          <ac:chgData name="Daniel von Düring Kjeldsen" userId="d61ad69a-09af-4fd5-9092-471501278b56" providerId="ADAL" clId="{4E651B94-CA1E-4178-ADF6-B752FDCF441D}" dt="2021-06-20T15:30:30.464" v="7298"/>
          <ac:spMkLst>
            <pc:docMk/>
            <pc:sldMk cId="1962706514" sldId="3264"/>
            <ac:spMk id="26" creationId="{527736DE-AE2C-4311-89F1-BE0A42554C69}"/>
          </ac:spMkLst>
        </pc:spChg>
        <pc:spChg chg="mod modVis">
          <ac:chgData name="Daniel von Düring Kjeldsen" userId="d61ad69a-09af-4fd5-9092-471501278b56" providerId="ADAL" clId="{4E651B94-CA1E-4178-ADF6-B752FDCF441D}" dt="2021-06-20T15:30:30.464" v="7298"/>
          <ac:spMkLst>
            <pc:docMk/>
            <pc:sldMk cId="1962706514" sldId="3264"/>
            <ac:spMk id="27" creationId="{FF31F95F-8899-4561-A6CB-7D4C37F8650D}"/>
          </ac:spMkLst>
        </pc:spChg>
        <pc:spChg chg="mod modVis">
          <ac:chgData name="Daniel von Düring Kjeldsen" userId="d61ad69a-09af-4fd5-9092-471501278b56" providerId="ADAL" clId="{4E651B94-CA1E-4178-ADF6-B752FDCF441D}" dt="2021-06-20T15:30:30.464" v="7298"/>
          <ac:spMkLst>
            <pc:docMk/>
            <pc:sldMk cId="1962706514" sldId="3264"/>
            <ac:spMk id="28" creationId="{1B7A03C4-73DD-4B00-BD72-6B26F0F5E1C1}"/>
          </ac:spMkLst>
        </pc:spChg>
        <pc:spChg chg="mod modVis">
          <ac:chgData name="Daniel von Düring Kjeldsen" userId="d61ad69a-09af-4fd5-9092-471501278b56" providerId="ADAL" clId="{4E651B94-CA1E-4178-ADF6-B752FDCF441D}" dt="2021-06-20T15:30:30.464" v="7298"/>
          <ac:spMkLst>
            <pc:docMk/>
            <pc:sldMk cId="1962706514" sldId="3264"/>
            <ac:spMk id="29" creationId="{8582B4FB-3BB1-4C99-B647-7DE39C1BAF4D}"/>
          </ac:spMkLst>
        </pc:spChg>
        <pc:spChg chg="mod modVis">
          <ac:chgData name="Daniel von Düring Kjeldsen" userId="d61ad69a-09af-4fd5-9092-471501278b56" providerId="ADAL" clId="{4E651B94-CA1E-4178-ADF6-B752FDCF441D}" dt="2021-06-20T15:30:30.464" v="7298"/>
          <ac:spMkLst>
            <pc:docMk/>
            <pc:sldMk cId="1962706514" sldId="3264"/>
            <ac:spMk id="30" creationId="{D0F903C3-EE3B-4153-BB16-6FF3831F32AA}"/>
          </ac:spMkLst>
        </pc:spChg>
        <pc:spChg chg="mod modVis">
          <ac:chgData name="Daniel von Düring Kjeldsen" userId="d61ad69a-09af-4fd5-9092-471501278b56" providerId="ADAL" clId="{4E651B94-CA1E-4178-ADF6-B752FDCF441D}" dt="2021-06-20T15:30:30.464" v="7298"/>
          <ac:spMkLst>
            <pc:docMk/>
            <pc:sldMk cId="1962706514" sldId="3264"/>
            <ac:spMk id="31" creationId="{F9F0483D-DA38-4575-85E5-CB80B6F84AAF}"/>
          </ac:spMkLst>
        </pc:spChg>
        <pc:spChg chg="mod modVis">
          <ac:chgData name="Daniel von Düring Kjeldsen" userId="d61ad69a-09af-4fd5-9092-471501278b56" providerId="ADAL" clId="{4E651B94-CA1E-4178-ADF6-B752FDCF441D}" dt="2021-06-20T15:30:30.464" v="7298"/>
          <ac:spMkLst>
            <pc:docMk/>
            <pc:sldMk cId="1962706514" sldId="3264"/>
            <ac:spMk id="32" creationId="{B6BF8288-1308-48BB-91A5-926E96D4615E}"/>
          </ac:spMkLst>
        </pc:spChg>
        <pc:spChg chg="mod modVis">
          <ac:chgData name="Daniel von Düring Kjeldsen" userId="d61ad69a-09af-4fd5-9092-471501278b56" providerId="ADAL" clId="{4E651B94-CA1E-4178-ADF6-B752FDCF441D}" dt="2021-06-20T15:30:30.464" v="7298"/>
          <ac:spMkLst>
            <pc:docMk/>
            <pc:sldMk cId="1962706514" sldId="3264"/>
            <ac:spMk id="33" creationId="{F18C8571-9D45-4F5B-8897-DE62619EB38B}"/>
          </ac:spMkLst>
        </pc:spChg>
        <pc:spChg chg="mod modVis">
          <ac:chgData name="Daniel von Düring Kjeldsen" userId="d61ad69a-09af-4fd5-9092-471501278b56" providerId="ADAL" clId="{4E651B94-CA1E-4178-ADF6-B752FDCF441D}" dt="2021-06-20T15:30:30.464" v="7298"/>
          <ac:spMkLst>
            <pc:docMk/>
            <pc:sldMk cId="1962706514" sldId="3264"/>
            <ac:spMk id="34" creationId="{92A0BD1A-BB2C-43BA-AB1C-ED3F8DD050B7}"/>
          </ac:spMkLst>
        </pc:spChg>
        <pc:spChg chg="mod modVis">
          <ac:chgData name="Daniel von Düring Kjeldsen" userId="d61ad69a-09af-4fd5-9092-471501278b56" providerId="ADAL" clId="{4E651B94-CA1E-4178-ADF6-B752FDCF441D}" dt="2021-06-20T15:30:30.464" v="7298"/>
          <ac:spMkLst>
            <pc:docMk/>
            <pc:sldMk cId="1962706514" sldId="3264"/>
            <ac:spMk id="35" creationId="{12C2CA11-1D82-4276-86FF-253B3155941B}"/>
          </ac:spMkLst>
        </pc:spChg>
        <pc:spChg chg="mod modVis">
          <ac:chgData name="Daniel von Düring Kjeldsen" userId="d61ad69a-09af-4fd5-9092-471501278b56" providerId="ADAL" clId="{4E651B94-CA1E-4178-ADF6-B752FDCF441D}" dt="2021-06-20T15:30:30.464" v="7298"/>
          <ac:spMkLst>
            <pc:docMk/>
            <pc:sldMk cId="1962706514" sldId="3264"/>
            <ac:spMk id="36" creationId="{DC113A08-5D8E-437D-B5BC-1C617B0B243F}"/>
          </ac:spMkLst>
        </pc:spChg>
        <pc:spChg chg="mod modVis">
          <ac:chgData name="Daniel von Düring Kjeldsen" userId="d61ad69a-09af-4fd5-9092-471501278b56" providerId="ADAL" clId="{4E651B94-CA1E-4178-ADF6-B752FDCF441D}" dt="2021-06-20T15:30:30.464" v="7298"/>
          <ac:spMkLst>
            <pc:docMk/>
            <pc:sldMk cId="1962706514" sldId="3264"/>
            <ac:spMk id="37" creationId="{1B127C9C-2D29-441D-9BE8-E68FD8668EB9}"/>
          </ac:spMkLst>
        </pc:spChg>
        <pc:spChg chg="mod modVis">
          <ac:chgData name="Daniel von Düring Kjeldsen" userId="d61ad69a-09af-4fd5-9092-471501278b56" providerId="ADAL" clId="{4E651B94-CA1E-4178-ADF6-B752FDCF441D}" dt="2021-06-20T15:30:30.464" v="7298"/>
          <ac:spMkLst>
            <pc:docMk/>
            <pc:sldMk cId="1962706514" sldId="3264"/>
            <ac:spMk id="38" creationId="{C3EBC8C2-03E0-45D9-979C-F6FCD2F3D711}"/>
          </ac:spMkLst>
        </pc:spChg>
        <pc:spChg chg="mod modVis">
          <ac:chgData name="Daniel von Düring Kjeldsen" userId="d61ad69a-09af-4fd5-9092-471501278b56" providerId="ADAL" clId="{4E651B94-CA1E-4178-ADF6-B752FDCF441D}" dt="2021-06-20T15:30:30.464" v="7298"/>
          <ac:spMkLst>
            <pc:docMk/>
            <pc:sldMk cId="1962706514" sldId="3264"/>
            <ac:spMk id="39" creationId="{FB2BD536-4C10-4FF7-B7C7-E3EF9572F652}"/>
          </ac:spMkLst>
        </pc:spChg>
        <pc:spChg chg="mod modVis">
          <ac:chgData name="Daniel von Düring Kjeldsen" userId="d61ad69a-09af-4fd5-9092-471501278b56" providerId="ADAL" clId="{4E651B94-CA1E-4178-ADF6-B752FDCF441D}" dt="2021-06-20T15:30:30.464" v="7298"/>
          <ac:spMkLst>
            <pc:docMk/>
            <pc:sldMk cId="1962706514" sldId="3264"/>
            <ac:spMk id="40" creationId="{F85CECB2-E540-4C14-829D-34C5D088271A}"/>
          </ac:spMkLst>
        </pc:spChg>
        <pc:spChg chg="add mod">
          <ac:chgData name="Daniel von Düring Kjeldsen" userId="d61ad69a-09af-4fd5-9092-471501278b56" providerId="ADAL" clId="{4E651B94-CA1E-4178-ADF6-B752FDCF441D}" dt="2021-06-20T21:12:51.416" v="7737" actId="1076"/>
          <ac:spMkLst>
            <pc:docMk/>
            <pc:sldMk cId="1962706514" sldId="3264"/>
            <ac:spMk id="48" creationId="{539BFE92-9999-4C77-B31E-C0AE8FA6895F}"/>
          </ac:spMkLst>
        </pc:spChg>
        <pc:grpChg chg="del">
          <ac:chgData name="Daniel von Düring Kjeldsen" userId="d61ad69a-09af-4fd5-9092-471501278b56" providerId="ADAL" clId="{4E651B94-CA1E-4178-ADF6-B752FDCF441D}" dt="2021-06-20T15:30:18.690" v="7274" actId="478"/>
          <ac:grpSpMkLst>
            <pc:docMk/>
            <pc:sldMk cId="1962706514" sldId="3264"/>
            <ac:grpSpMk id="14" creationId="{B6586499-C72E-46B6-BCFA-A164C5CF359D}"/>
          </ac:grpSpMkLst>
        </pc:grpChg>
        <pc:grpChg chg="add del mod modVis">
          <ac:chgData name="Daniel von Düring Kjeldsen" userId="d61ad69a-09af-4fd5-9092-471501278b56" providerId="ADAL" clId="{4E651B94-CA1E-4178-ADF6-B752FDCF441D}" dt="2021-06-20T21:11:35.002" v="7712" actId="478"/>
          <ac:grpSpMkLst>
            <pc:docMk/>
            <pc:sldMk cId="1962706514" sldId="3264"/>
            <ac:grpSpMk id="24" creationId="{13D20339-1E42-4A15-ACDD-8725F0D4FF1D}"/>
          </ac:grpSpMkLst>
        </pc:grpChg>
        <pc:picChg chg="add mod">
          <ac:chgData name="Daniel von Düring Kjeldsen" userId="d61ad69a-09af-4fd5-9092-471501278b56" providerId="ADAL" clId="{4E651B94-CA1E-4178-ADF6-B752FDCF441D}" dt="2021-06-20T21:12:23.543" v="7727" actId="1076"/>
          <ac:picMkLst>
            <pc:docMk/>
            <pc:sldMk cId="1962706514" sldId="3264"/>
            <ac:picMk id="7" creationId="{8ED3C8C1-2807-4A6D-9065-A7DF05B70C0A}"/>
          </ac:picMkLst>
        </pc:picChg>
        <pc:picChg chg="add del mod">
          <ac:chgData name="Daniel von Düring Kjeldsen" userId="d61ad69a-09af-4fd5-9092-471501278b56" providerId="ADAL" clId="{4E651B94-CA1E-4178-ADF6-B752FDCF441D}" dt="2021-06-20T15:46:10.457" v="7371" actId="478"/>
          <ac:picMkLst>
            <pc:docMk/>
            <pc:sldMk cId="1962706514" sldId="3264"/>
            <ac:picMk id="12" creationId="{D1CB2245-BF42-4FDD-86C6-61DA6B14DD4E}"/>
          </ac:picMkLst>
        </pc:picChg>
        <pc:picChg chg="add mod">
          <ac:chgData name="Daniel von Düring Kjeldsen" userId="d61ad69a-09af-4fd5-9092-471501278b56" providerId="ADAL" clId="{4E651B94-CA1E-4178-ADF6-B752FDCF441D}" dt="2021-06-20T21:12:28.876" v="7729" actId="1076"/>
          <ac:picMkLst>
            <pc:docMk/>
            <pc:sldMk cId="1962706514" sldId="3264"/>
            <ac:picMk id="42" creationId="{91F8EE1F-0F12-44D3-BE5F-ADBCDCB89FCA}"/>
          </ac:picMkLst>
        </pc:picChg>
        <pc:picChg chg="add del mod">
          <ac:chgData name="Daniel von Düring Kjeldsen" userId="d61ad69a-09af-4fd5-9092-471501278b56" providerId="ADAL" clId="{4E651B94-CA1E-4178-ADF6-B752FDCF441D}" dt="2021-06-20T15:58:06.383" v="7404" actId="478"/>
          <ac:picMkLst>
            <pc:docMk/>
            <pc:sldMk cId="1962706514" sldId="3264"/>
            <ac:picMk id="44" creationId="{2C537C07-3B2D-4BDC-857F-2424604A6768}"/>
          </ac:picMkLst>
        </pc:picChg>
        <pc:picChg chg="add del mod">
          <ac:chgData name="Daniel von Düring Kjeldsen" userId="d61ad69a-09af-4fd5-9092-471501278b56" providerId="ADAL" clId="{4E651B94-CA1E-4178-ADF6-B752FDCF441D}" dt="2021-06-20T15:56:21.753" v="7400" actId="478"/>
          <ac:picMkLst>
            <pc:docMk/>
            <pc:sldMk cId="1962706514" sldId="3264"/>
            <ac:picMk id="46" creationId="{2FA3DB82-48C3-4FB3-A959-2B5C3381157C}"/>
          </ac:picMkLst>
        </pc:picChg>
        <pc:picChg chg="add mod">
          <ac:chgData name="Daniel von Düring Kjeldsen" userId="d61ad69a-09af-4fd5-9092-471501278b56" providerId="ADAL" clId="{4E651B94-CA1E-4178-ADF6-B752FDCF441D}" dt="2021-06-20T21:12:49.599" v="7736" actId="1076"/>
          <ac:picMkLst>
            <pc:docMk/>
            <pc:sldMk cId="1962706514" sldId="3264"/>
            <ac:picMk id="49" creationId="{15022F5B-B2ED-4446-A84D-6652D8D4DEF5}"/>
          </ac:picMkLst>
        </pc:picChg>
        <pc:picChg chg="add mod">
          <ac:chgData name="Daniel von Düring Kjeldsen" userId="d61ad69a-09af-4fd5-9092-471501278b56" providerId="ADAL" clId="{4E651B94-CA1E-4178-ADF6-B752FDCF441D}" dt="2021-06-20T21:12:37.116" v="7732" actId="14100"/>
          <ac:picMkLst>
            <pc:docMk/>
            <pc:sldMk cId="1962706514" sldId="3264"/>
            <ac:picMk id="51" creationId="{9BEB8205-DB27-4B64-934B-D70955826EF6}"/>
          </ac:picMkLst>
        </pc:picChg>
        <pc:picChg chg="del">
          <ac:chgData name="Daniel von Düring Kjeldsen" userId="d61ad69a-09af-4fd5-9092-471501278b56" providerId="ADAL" clId="{4E651B94-CA1E-4178-ADF6-B752FDCF441D}" dt="2021-06-20T15:30:03.415" v="7270" actId="478"/>
          <ac:picMkLst>
            <pc:docMk/>
            <pc:sldMk cId="1962706514" sldId="3264"/>
            <ac:picMk id="122" creationId="{DF874244-9693-4380-92B0-7F79C9359E31}"/>
          </ac:picMkLst>
        </pc:picChg>
      </pc:sldChg>
      <pc:sldChg chg="addSp delSp modSp add mod">
        <pc:chgData name="Daniel von Düring Kjeldsen" userId="d61ad69a-09af-4fd5-9092-471501278b56" providerId="ADAL" clId="{4E651B94-CA1E-4178-ADF6-B752FDCF441D}" dt="2021-06-21T08:15:28.941" v="7850" actId="20577"/>
        <pc:sldMkLst>
          <pc:docMk/>
          <pc:sldMk cId="1550855797" sldId="3265"/>
        </pc:sldMkLst>
        <pc:spChg chg="del">
          <ac:chgData name="Daniel von Düring Kjeldsen" userId="d61ad69a-09af-4fd5-9092-471501278b56" providerId="ADAL" clId="{4E651B94-CA1E-4178-ADF6-B752FDCF441D}" dt="2021-06-20T21:11:39.387" v="7713" actId="478"/>
          <ac:spMkLst>
            <pc:docMk/>
            <pc:sldMk cId="1550855797" sldId="3265"/>
            <ac:spMk id="3" creationId="{2C13D108-EA19-483B-B2B4-49EC0750E63A}"/>
          </ac:spMkLst>
        </pc:spChg>
        <pc:spChg chg="mod">
          <ac:chgData name="Daniel von Düring Kjeldsen" userId="d61ad69a-09af-4fd5-9092-471501278b56" providerId="ADAL" clId="{4E651B94-CA1E-4178-ADF6-B752FDCF441D}" dt="2021-06-20T21:11:45.720" v="7717" actId="1076"/>
          <ac:spMkLst>
            <pc:docMk/>
            <pc:sldMk cId="1550855797" sldId="3265"/>
            <ac:spMk id="11" creationId="{2AAD1EF2-841F-4796-A460-EF16A1B517FE}"/>
          </ac:spMkLst>
        </pc:spChg>
        <pc:spChg chg="mod">
          <ac:chgData name="Daniel von Düring Kjeldsen" userId="d61ad69a-09af-4fd5-9092-471501278b56" providerId="ADAL" clId="{4E651B94-CA1E-4178-ADF6-B752FDCF441D}" dt="2021-06-20T21:11:49.765" v="7718" actId="1076"/>
          <ac:spMkLst>
            <pc:docMk/>
            <pc:sldMk cId="1550855797" sldId="3265"/>
            <ac:spMk id="13" creationId="{B5D67F31-3025-48E8-9C62-F554EC3447D8}"/>
          </ac:spMkLst>
        </pc:spChg>
        <pc:spChg chg="mod">
          <ac:chgData name="Daniel von Düring Kjeldsen" userId="d61ad69a-09af-4fd5-9092-471501278b56" providerId="ADAL" clId="{4E651B94-CA1E-4178-ADF6-B752FDCF441D}" dt="2021-06-21T08:15:28.941" v="7850" actId="20577"/>
          <ac:spMkLst>
            <pc:docMk/>
            <pc:sldMk cId="1550855797" sldId="3265"/>
            <ac:spMk id="23" creationId="{5BD20BB0-3041-4C30-A0C4-0D7770BD5116}"/>
          </ac:spMkLst>
        </pc:spChg>
        <pc:spChg chg="mod">
          <ac:chgData name="Daniel von Düring Kjeldsen" userId="d61ad69a-09af-4fd5-9092-471501278b56" providerId="ADAL" clId="{4E651B94-CA1E-4178-ADF6-B752FDCF441D}" dt="2021-06-20T21:12:09.275" v="7724" actId="1076"/>
          <ac:spMkLst>
            <pc:docMk/>
            <pc:sldMk cId="1550855797" sldId="3265"/>
            <ac:spMk id="48" creationId="{539BFE92-9999-4C77-B31E-C0AE8FA6895F}"/>
          </ac:spMkLst>
        </pc:spChg>
        <pc:grpChg chg="del">
          <ac:chgData name="Daniel von Düring Kjeldsen" userId="d61ad69a-09af-4fd5-9092-471501278b56" providerId="ADAL" clId="{4E651B94-CA1E-4178-ADF6-B752FDCF441D}" dt="2021-06-20T21:11:40.571" v="7714" actId="478"/>
          <ac:grpSpMkLst>
            <pc:docMk/>
            <pc:sldMk cId="1550855797" sldId="3265"/>
            <ac:grpSpMk id="24" creationId="{13D20339-1E42-4A15-ACDD-8725F0D4FF1D}"/>
          </ac:grpSpMkLst>
        </pc:grpChg>
        <pc:picChg chg="del">
          <ac:chgData name="Daniel von Düring Kjeldsen" userId="d61ad69a-09af-4fd5-9092-471501278b56" providerId="ADAL" clId="{4E651B94-CA1E-4178-ADF6-B752FDCF441D}" dt="2021-06-20T16:05:02.803" v="7416" actId="478"/>
          <ac:picMkLst>
            <pc:docMk/>
            <pc:sldMk cId="1550855797" sldId="3265"/>
            <ac:picMk id="7" creationId="{8ED3C8C1-2807-4A6D-9065-A7DF05B70C0A}"/>
          </ac:picMkLst>
        </pc:picChg>
        <pc:picChg chg="add del mod">
          <ac:chgData name="Daniel von Düring Kjeldsen" userId="d61ad69a-09af-4fd5-9092-471501278b56" providerId="ADAL" clId="{4E651B94-CA1E-4178-ADF6-B752FDCF441D}" dt="2021-06-20T16:05:17.888" v="7422" actId="478"/>
          <ac:picMkLst>
            <pc:docMk/>
            <pc:sldMk cId="1550855797" sldId="3265"/>
            <ac:picMk id="8" creationId="{8D9AE92D-BEFE-4062-B15C-8659B7956D1C}"/>
          </ac:picMkLst>
        </pc:picChg>
        <pc:picChg chg="add mod">
          <ac:chgData name="Daniel von Düring Kjeldsen" userId="d61ad69a-09af-4fd5-9092-471501278b56" providerId="ADAL" clId="{4E651B94-CA1E-4178-ADF6-B752FDCF441D}" dt="2021-06-20T21:11:42.713" v="7715" actId="1076"/>
          <ac:picMkLst>
            <pc:docMk/>
            <pc:sldMk cId="1550855797" sldId="3265"/>
            <ac:picMk id="14" creationId="{FB3FD92D-1F57-4D55-AC04-2D52721CA986}"/>
          </ac:picMkLst>
        </pc:picChg>
        <pc:picChg chg="add mod">
          <ac:chgData name="Daniel von Düring Kjeldsen" userId="d61ad69a-09af-4fd5-9092-471501278b56" providerId="ADAL" clId="{4E651B94-CA1E-4178-ADF6-B752FDCF441D}" dt="2021-06-20T21:11:52.963" v="7719" actId="1076"/>
          <ac:picMkLst>
            <pc:docMk/>
            <pc:sldMk cId="1550855797" sldId="3265"/>
            <ac:picMk id="16" creationId="{87ED8C90-2C0B-433D-B5FF-C630FF11DE32}"/>
          </ac:picMkLst>
        </pc:picChg>
        <pc:picChg chg="add del mod">
          <ac:chgData name="Daniel von Düring Kjeldsen" userId="d61ad69a-09af-4fd5-9092-471501278b56" providerId="ADAL" clId="{4E651B94-CA1E-4178-ADF6-B752FDCF441D}" dt="2021-06-20T16:17:39.474" v="7456" actId="478"/>
          <ac:picMkLst>
            <pc:docMk/>
            <pc:sldMk cId="1550855797" sldId="3265"/>
            <ac:picMk id="18" creationId="{B9344D7B-6E9E-4383-A569-CD6963D3F143}"/>
          </ac:picMkLst>
        </pc:picChg>
        <pc:picChg chg="add del mod">
          <ac:chgData name="Daniel von Düring Kjeldsen" userId="d61ad69a-09af-4fd5-9092-471501278b56" providerId="ADAL" clId="{4E651B94-CA1E-4178-ADF6-B752FDCF441D}" dt="2021-06-20T16:16:49.593" v="7451" actId="478"/>
          <ac:picMkLst>
            <pc:docMk/>
            <pc:sldMk cId="1550855797" sldId="3265"/>
            <ac:picMk id="20" creationId="{AA7B9EB1-535A-4838-B427-B6B2F373A8C9}"/>
          </ac:picMkLst>
        </pc:picChg>
        <pc:picChg chg="add mod">
          <ac:chgData name="Daniel von Düring Kjeldsen" userId="d61ad69a-09af-4fd5-9092-471501278b56" providerId="ADAL" clId="{4E651B94-CA1E-4178-ADF6-B752FDCF441D}" dt="2021-06-20T21:12:04.369" v="7722" actId="14100"/>
          <ac:picMkLst>
            <pc:docMk/>
            <pc:sldMk cId="1550855797" sldId="3265"/>
            <ac:picMk id="22" creationId="{F2E13664-CD9D-48A5-A28C-FD7EF3B3557E}"/>
          </ac:picMkLst>
        </pc:picChg>
        <pc:picChg chg="del">
          <ac:chgData name="Daniel von Düring Kjeldsen" userId="d61ad69a-09af-4fd5-9092-471501278b56" providerId="ADAL" clId="{4E651B94-CA1E-4178-ADF6-B752FDCF441D}" dt="2021-06-20T16:06:55.726" v="7428" actId="478"/>
          <ac:picMkLst>
            <pc:docMk/>
            <pc:sldMk cId="1550855797" sldId="3265"/>
            <ac:picMk id="42" creationId="{91F8EE1F-0F12-44D3-BE5F-ADBCDCB89FCA}"/>
          </ac:picMkLst>
        </pc:picChg>
        <pc:picChg chg="add mod">
          <ac:chgData name="Daniel von Düring Kjeldsen" userId="d61ad69a-09af-4fd5-9092-471501278b56" providerId="ADAL" clId="{4E651B94-CA1E-4178-ADF6-B752FDCF441D}" dt="2021-06-20T21:12:15.531" v="7726" actId="1076"/>
          <ac:picMkLst>
            <pc:docMk/>
            <pc:sldMk cId="1550855797" sldId="3265"/>
            <ac:picMk id="43" creationId="{301D8345-BF71-4CB6-8CAD-F608860FDAA8}"/>
          </ac:picMkLst>
        </pc:picChg>
        <pc:picChg chg="del">
          <ac:chgData name="Daniel von Düring Kjeldsen" userId="d61ad69a-09af-4fd5-9092-471501278b56" providerId="ADAL" clId="{4E651B94-CA1E-4178-ADF6-B752FDCF441D}" dt="2021-06-20T16:09:10.266" v="7435" actId="478"/>
          <ac:picMkLst>
            <pc:docMk/>
            <pc:sldMk cId="1550855797" sldId="3265"/>
            <ac:picMk id="49" creationId="{15022F5B-B2ED-4446-A84D-6652D8D4DEF5}"/>
          </ac:picMkLst>
        </pc:picChg>
        <pc:picChg chg="del">
          <ac:chgData name="Daniel von Düring Kjeldsen" userId="d61ad69a-09af-4fd5-9092-471501278b56" providerId="ADAL" clId="{4E651B94-CA1E-4178-ADF6-B752FDCF441D}" dt="2021-06-20T16:16:06.328" v="7443" actId="478"/>
          <ac:picMkLst>
            <pc:docMk/>
            <pc:sldMk cId="1550855797" sldId="3265"/>
            <ac:picMk id="51" creationId="{9BEB8205-DB27-4B64-934B-D70955826EF6}"/>
          </ac:picMkLst>
        </pc:picChg>
      </pc:sldChg>
      <pc:sldChg chg="addSp delSp modSp add mod">
        <pc:chgData name="Daniel von Düring Kjeldsen" userId="d61ad69a-09af-4fd5-9092-471501278b56" providerId="ADAL" clId="{4E651B94-CA1E-4178-ADF6-B752FDCF441D}" dt="2021-06-20T16:42:16.218" v="7619" actId="27614"/>
        <pc:sldMkLst>
          <pc:docMk/>
          <pc:sldMk cId="222749304" sldId="3266"/>
        </pc:sldMkLst>
        <pc:spChg chg="mod">
          <ac:chgData name="Daniel von Düring Kjeldsen" userId="d61ad69a-09af-4fd5-9092-471501278b56" providerId="ADAL" clId="{4E651B94-CA1E-4178-ADF6-B752FDCF441D}" dt="2021-06-20T16:36:54.312" v="7613" actId="20577"/>
          <ac:spMkLst>
            <pc:docMk/>
            <pc:sldMk cId="222749304" sldId="3266"/>
            <ac:spMk id="3" creationId="{F28FD43C-4295-4CEE-AC00-71CA20D17BD6}"/>
          </ac:spMkLst>
        </pc:spChg>
        <pc:spChg chg="mod">
          <ac:chgData name="Daniel von Düring Kjeldsen" userId="d61ad69a-09af-4fd5-9092-471501278b56" providerId="ADAL" clId="{4E651B94-CA1E-4178-ADF6-B752FDCF441D}" dt="2021-06-20T16:40:58.439" v="7614" actId="14100"/>
          <ac:spMkLst>
            <pc:docMk/>
            <pc:sldMk cId="222749304" sldId="3266"/>
            <ac:spMk id="7" creationId="{54756D49-C0E3-48B2-B872-22685217C0D9}"/>
          </ac:spMkLst>
        </pc:spChg>
        <pc:spChg chg="del mod">
          <ac:chgData name="Daniel von Düring Kjeldsen" userId="d61ad69a-09af-4fd5-9092-471501278b56" providerId="ADAL" clId="{4E651B94-CA1E-4178-ADF6-B752FDCF441D}" dt="2021-06-20T16:36:08.126" v="7532" actId="478"/>
          <ac:spMkLst>
            <pc:docMk/>
            <pc:sldMk cId="222749304" sldId="3266"/>
            <ac:spMk id="15" creationId="{89296BFC-C052-49CC-A972-182D820175D8}"/>
          </ac:spMkLst>
        </pc:spChg>
        <pc:spChg chg="del mod">
          <ac:chgData name="Daniel von Düring Kjeldsen" userId="d61ad69a-09af-4fd5-9092-471501278b56" providerId="ADAL" clId="{4E651B94-CA1E-4178-ADF6-B752FDCF441D}" dt="2021-06-20T16:36:13.723" v="7534" actId="478"/>
          <ac:spMkLst>
            <pc:docMk/>
            <pc:sldMk cId="222749304" sldId="3266"/>
            <ac:spMk id="16" creationId="{4C517744-47A7-4390-A2F0-FF172283AC39}"/>
          </ac:spMkLst>
        </pc:spChg>
        <pc:spChg chg="del">
          <ac:chgData name="Daniel von Düring Kjeldsen" userId="d61ad69a-09af-4fd5-9092-471501278b56" providerId="ADAL" clId="{4E651B94-CA1E-4178-ADF6-B752FDCF441D}" dt="2021-06-20T16:41:24.562" v="7616" actId="478"/>
          <ac:spMkLst>
            <pc:docMk/>
            <pc:sldMk cId="222749304" sldId="3266"/>
            <ac:spMk id="65" creationId="{87188302-DCEA-434D-8882-AFADFDD375D8}"/>
          </ac:spMkLst>
        </pc:spChg>
        <pc:spChg chg="del mod">
          <ac:chgData name="Daniel von Düring Kjeldsen" userId="d61ad69a-09af-4fd5-9092-471501278b56" providerId="ADAL" clId="{4E651B94-CA1E-4178-ADF6-B752FDCF441D}" dt="2021-06-20T16:41:22.492" v="7615" actId="478"/>
          <ac:spMkLst>
            <pc:docMk/>
            <pc:sldMk cId="222749304" sldId="3266"/>
            <ac:spMk id="108" creationId="{0D981B2F-4923-418C-9E93-890096774D25}"/>
          </ac:spMkLst>
        </pc:spChg>
        <pc:grpChg chg="del">
          <ac:chgData name="Daniel von Düring Kjeldsen" userId="d61ad69a-09af-4fd5-9092-471501278b56" providerId="ADAL" clId="{4E651B94-CA1E-4178-ADF6-B752FDCF441D}" dt="2021-06-20T16:36:35.979" v="7567" actId="478"/>
          <ac:grpSpMkLst>
            <pc:docMk/>
            <pc:sldMk cId="222749304" sldId="3266"/>
            <ac:grpSpMk id="109" creationId="{99E5915E-2561-43C1-8788-71FC854B840C}"/>
          </ac:grpSpMkLst>
        </pc:grpChg>
        <pc:picChg chg="del">
          <ac:chgData name="Daniel von Düring Kjeldsen" userId="d61ad69a-09af-4fd5-9092-471501278b56" providerId="ADAL" clId="{4E651B94-CA1E-4178-ADF6-B752FDCF441D}" dt="2021-06-20T16:36:00.172" v="7530" actId="478"/>
          <ac:picMkLst>
            <pc:docMk/>
            <pc:sldMk cId="222749304" sldId="3266"/>
            <ac:picMk id="8" creationId="{92425E77-82A1-4A8D-A507-024C28CA9627}"/>
          </ac:picMkLst>
        </pc:picChg>
        <pc:picChg chg="add mod">
          <ac:chgData name="Daniel von Düring Kjeldsen" userId="d61ad69a-09af-4fd5-9092-471501278b56" providerId="ADAL" clId="{4E651B94-CA1E-4178-ADF6-B752FDCF441D}" dt="2021-06-20T16:42:16.218" v="7619" actId="27614"/>
          <ac:picMkLst>
            <pc:docMk/>
            <pc:sldMk cId="222749304" sldId="3266"/>
            <ac:picMk id="10" creationId="{17A02545-0B02-4EED-B631-2B1B80F9C7FA}"/>
          </ac:picMkLst>
        </pc:picChg>
      </pc:sldChg>
      <pc:sldChg chg="addSp delSp modSp add mod">
        <pc:chgData name="Daniel von Düring Kjeldsen" userId="d61ad69a-09af-4fd5-9092-471501278b56" providerId="ADAL" clId="{4E651B94-CA1E-4178-ADF6-B752FDCF441D}" dt="2021-06-20T17:55:00.830" v="7640" actId="1076"/>
        <pc:sldMkLst>
          <pc:docMk/>
          <pc:sldMk cId="217169912" sldId="3267"/>
        </pc:sldMkLst>
        <pc:picChg chg="add del mod">
          <ac:chgData name="Daniel von Düring Kjeldsen" userId="d61ad69a-09af-4fd5-9092-471501278b56" providerId="ADAL" clId="{4E651B94-CA1E-4178-ADF6-B752FDCF441D}" dt="2021-06-20T17:54:43.421" v="7634" actId="478"/>
          <ac:picMkLst>
            <pc:docMk/>
            <pc:sldMk cId="217169912" sldId="3267"/>
            <ac:picMk id="8" creationId="{7A56BBC0-480B-460E-A8EA-2B248C101B0D}"/>
          </ac:picMkLst>
        </pc:picChg>
        <pc:picChg chg="del">
          <ac:chgData name="Daniel von Düring Kjeldsen" userId="d61ad69a-09af-4fd5-9092-471501278b56" providerId="ADAL" clId="{4E651B94-CA1E-4178-ADF6-B752FDCF441D}" dt="2021-06-20T17:53:08.757" v="7625" actId="478"/>
          <ac:picMkLst>
            <pc:docMk/>
            <pc:sldMk cId="217169912" sldId="3267"/>
            <ac:picMk id="10" creationId="{17A02545-0B02-4EED-B631-2B1B80F9C7FA}"/>
          </ac:picMkLst>
        </pc:picChg>
        <pc:picChg chg="add mod">
          <ac:chgData name="Daniel von Düring Kjeldsen" userId="d61ad69a-09af-4fd5-9092-471501278b56" providerId="ADAL" clId="{4E651B94-CA1E-4178-ADF6-B752FDCF441D}" dt="2021-06-20T17:55:00.830" v="7640" actId="1076"/>
          <ac:picMkLst>
            <pc:docMk/>
            <pc:sldMk cId="217169912" sldId="3267"/>
            <ac:picMk id="14" creationId="{3FEA6443-CC1F-49F3-9E2C-047174FBF22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20/06/2021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20/06/2021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ject 2">
            <a:extLst>
              <a:ext uri="{FF2B5EF4-FFF2-40B4-BE49-F238E27FC236}">
                <a16:creationId xmlns:a16="http://schemas.microsoft.com/office/drawing/2014/main" id="{A81EE220-AC53-4153-A0FE-1F2219FBF428}"/>
              </a:ext>
            </a:extLst>
          </p:cNvPr>
          <p:cNvSpPr/>
          <p:nvPr userDrawn="1"/>
        </p:nvSpPr>
        <p:spPr>
          <a:xfrm>
            <a:off x="-11401" y="0"/>
            <a:ext cx="9917401" cy="6858000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0" y="11308556"/>
                </a:moveTo>
                <a:lnTo>
                  <a:pt x="20104099" y="11308556"/>
                </a:lnTo>
                <a:lnTo>
                  <a:pt x="20104099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8AA299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2F363B"/>
              </a:solidFill>
              <a:effectLst/>
              <a:uLnTx/>
              <a:uFillTx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68EEBBF-213D-4D68-A9CE-7CE68854BF37}"/>
              </a:ext>
            </a:extLst>
          </p:cNvPr>
          <p:cNvSpPr/>
          <p:nvPr userDrawn="1"/>
        </p:nvSpPr>
        <p:spPr>
          <a:xfrm>
            <a:off x="-11401" y="0"/>
            <a:ext cx="7182932" cy="6858000"/>
          </a:xfrm>
          <a:prstGeom prst="rect">
            <a:avLst/>
          </a:prstGeom>
          <a:solidFill>
            <a:srgbClr val="E2DED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object 3">
            <a:extLst>
              <a:ext uri="{FF2B5EF4-FFF2-40B4-BE49-F238E27FC236}">
                <a16:creationId xmlns:a16="http://schemas.microsoft.com/office/drawing/2014/main" id="{2F8E5E3C-C8FF-4ABE-B0BE-21762DA69433}"/>
              </a:ext>
            </a:extLst>
          </p:cNvPr>
          <p:cNvSpPr/>
          <p:nvPr userDrawn="1"/>
        </p:nvSpPr>
        <p:spPr>
          <a:xfrm>
            <a:off x="-11400" y="1192713"/>
            <a:ext cx="8566312" cy="5665287"/>
          </a:xfrm>
          <a:custGeom>
            <a:avLst/>
            <a:gdLst/>
            <a:ahLst/>
            <a:cxnLst/>
            <a:rect l="l" t="t" r="r" b="b"/>
            <a:pathLst>
              <a:path w="16670019" h="10303510">
                <a:moveTo>
                  <a:pt x="0" y="10303351"/>
                </a:moveTo>
                <a:lnTo>
                  <a:pt x="16669649" y="10303351"/>
                </a:lnTo>
                <a:lnTo>
                  <a:pt x="16669649" y="0"/>
                </a:lnTo>
                <a:lnTo>
                  <a:pt x="0" y="0"/>
                </a:lnTo>
                <a:lnTo>
                  <a:pt x="0" y="10303351"/>
                </a:lnTo>
                <a:close/>
              </a:path>
            </a:pathLst>
          </a:custGeom>
          <a:solidFill>
            <a:srgbClr val="30373B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9999" y="5463127"/>
            <a:ext cx="5842800" cy="863537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900">
                <a:solidFill>
                  <a:srgbClr val="F8F5E7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chemeClr val="accent2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2255" y="2138963"/>
            <a:ext cx="5842800" cy="2224886"/>
          </a:xfrm>
        </p:spPr>
        <p:txBody>
          <a:bodyPr anchor="t" anchorCtr="0">
            <a:noAutofit/>
          </a:bodyPr>
          <a:lstStyle>
            <a:lvl1pPr algn="l">
              <a:lnSpc>
                <a:spcPct val="83000"/>
              </a:lnSpc>
              <a:defRPr sz="6500" cap="all" baseline="0">
                <a:solidFill>
                  <a:srgbClr val="F8F5E7"/>
                </a:solidFill>
                <a:latin typeface="Impact" panose="020B080603090205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4B46EDD-CF3B-49AB-826E-68B63D5E11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999" y="6387016"/>
            <a:ext cx="5842800" cy="210634"/>
          </a:xfrm>
        </p:spPr>
        <p:txBody>
          <a:bodyPr rIns="0" anchor="b" anchorCtr="0"/>
          <a:lstStyle>
            <a:lvl1pPr>
              <a:defRPr sz="900">
                <a:solidFill>
                  <a:srgbClr val="F8F5E7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B0748D9-B4B7-46FB-99B6-A4449CF9F50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8861146" y="788544"/>
            <a:ext cx="1258889" cy="287891"/>
          </a:xfrm>
          <a:custGeom>
            <a:avLst/>
            <a:gdLst>
              <a:gd name="connsiteX0" fmla="*/ 6778122 w 9905999"/>
              <a:gd name="connsiteY0" fmla="*/ 2222531 h 2265361"/>
              <a:gd name="connsiteX1" fmla="*/ 7135812 w 9905999"/>
              <a:gd name="connsiteY1" fmla="*/ 2222531 h 2265361"/>
              <a:gd name="connsiteX2" fmla="*/ 7135812 w 9905999"/>
              <a:gd name="connsiteY2" fmla="*/ 2265361 h 2265361"/>
              <a:gd name="connsiteX3" fmla="*/ 6778122 w 9905999"/>
              <a:gd name="connsiteY3" fmla="*/ 2265361 h 2265361"/>
              <a:gd name="connsiteX4" fmla="*/ 6778122 w 9905999"/>
              <a:gd name="connsiteY4" fmla="*/ 2222531 h 2265361"/>
              <a:gd name="connsiteX5" fmla="*/ 6449676 w 9905999"/>
              <a:gd name="connsiteY5" fmla="*/ 1769427 h 2265361"/>
              <a:gd name="connsiteX6" fmla="*/ 6449676 w 9905999"/>
              <a:gd name="connsiteY6" fmla="*/ 1965546 h 2265361"/>
              <a:gd name="connsiteX7" fmla="*/ 6575655 w 9905999"/>
              <a:gd name="connsiteY7" fmla="*/ 1965546 h 2265361"/>
              <a:gd name="connsiteX8" fmla="*/ 6679138 w 9905999"/>
              <a:gd name="connsiteY8" fmla="*/ 1864105 h 2265361"/>
              <a:gd name="connsiteX9" fmla="*/ 6575655 w 9905999"/>
              <a:gd name="connsiteY9" fmla="*/ 1769427 h 2265361"/>
              <a:gd name="connsiteX10" fmla="*/ 6449676 w 9905999"/>
              <a:gd name="connsiteY10" fmla="*/ 1769427 h 2265361"/>
              <a:gd name="connsiteX11" fmla="*/ 5021164 w 9905999"/>
              <a:gd name="connsiteY11" fmla="*/ 1769427 h 2265361"/>
              <a:gd name="connsiteX12" fmla="*/ 5021164 w 9905999"/>
              <a:gd name="connsiteY12" fmla="*/ 1949767 h 2265361"/>
              <a:gd name="connsiteX13" fmla="*/ 5158391 w 9905999"/>
              <a:gd name="connsiteY13" fmla="*/ 1949767 h 2265361"/>
              <a:gd name="connsiteX14" fmla="*/ 5261874 w 9905999"/>
              <a:gd name="connsiteY14" fmla="*/ 1859597 h 2265361"/>
              <a:gd name="connsiteX15" fmla="*/ 5158391 w 9905999"/>
              <a:gd name="connsiteY15" fmla="*/ 1769427 h 2265361"/>
              <a:gd name="connsiteX16" fmla="*/ 5021164 w 9905999"/>
              <a:gd name="connsiteY16" fmla="*/ 1769427 h 2265361"/>
              <a:gd name="connsiteX17" fmla="*/ 5597068 w 9905999"/>
              <a:gd name="connsiteY17" fmla="*/ 1762664 h 2265361"/>
              <a:gd name="connsiteX18" fmla="*/ 5504834 w 9905999"/>
              <a:gd name="connsiteY18" fmla="*/ 1800986 h 2265361"/>
              <a:gd name="connsiteX19" fmla="*/ 5459841 w 9905999"/>
              <a:gd name="connsiteY19" fmla="*/ 1967800 h 2265361"/>
              <a:gd name="connsiteX20" fmla="*/ 5504834 w 9905999"/>
              <a:gd name="connsiteY20" fmla="*/ 2132361 h 2265361"/>
              <a:gd name="connsiteX21" fmla="*/ 5597068 w 9905999"/>
              <a:gd name="connsiteY21" fmla="*/ 2170683 h 2265361"/>
              <a:gd name="connsiteX22" fmla="*/ 5691552 w 9905999"/>
              <a:gd name="connsiteY22" fmla="*/ 2132361 h 2265361"/>
              <a:gd name="connsiteX23" fmla="*/ 5734295 w 9905999"/>
              <a:gd name="connsiteY23" fmla="*/ 1967800 h 2265361"/>
              <a:gd name="connsiteX24" fmla="*/ 5691552 w 9905999"/>
              <a:gd name="connsiteY24" fmla="*/ 1800986 h 2265361"/>
              <a:gd name="connsiteX25" fmla="*/ 5597068 w 9905999"/>
              <a:gd name="connsiteY25" fmla="*/ 1762664 h 2265361"/>
              <a:gd name="connsiteX26" fmla="*/ 654642 w 9905999"/>
              <a:gd name="connsiteY26" fmla="*/ 1762664 h 2265361"/>
              <a:gd name="connsiteX27" fmla="*/ 560157 w 9905999"/>
              <a:gd name="connsiteY27" fmla="*/ 1800986 h 2265361"/>
              <a:gd name="connsiteX28" fmla="*/ 517414 w 9905999"/>
              <a:gd name="connsiteY28" fmla="*/ 1967800 h 2265361"/>
              <a:gd name="connsiteX29" fmla="*/ 560157 w 9905999"/>
              <a:gd name="connsiteY29" fmla="*/ 2132361 h 2265361"/>
              <a:gd name="connsiteX30" fmla="*/ 654642 w 9905999"/>
              <a:gd name="connsiteY30" fmla="*/ 2170683 h 2265361"/>
              <a:gd name="connsiteX31" fmla="*/ 746876 w 9905999"/>
              <a:gd name="connsiteY31" fmla="*/ 2132361 h 2265361"/>
              <a:gd name="connsiteX32" fmla="*/ 791868 w 9905999"/>
              <a:gd name="connsiteY32" fmla="*/ 1967800 h 2265361"/>
              <a:gd name="connsiteX33" fmla="*/ 746876 w 9905999"/>
              <a:gd name="connsiteY33" fmla="*/ 1800986 h 2265361"/>
              <a:gd name="connsiteX34" fmla="*/ 654642 w 9905999"/>
              <a:gd name="connsiteY34" fmla="*/ 1762664 h 2265361"/>
              <a:gd name="connsiteX35" fmla="*/ 6386687 w 9905999"/>
              <a:gd name="connsiteY35" fmla="*/ 1710816 h 2265361"/>
              <a:gd name="connsiteX36" fmla="*/ 6575655 w 9905999"/>
              <a:gd name="connsiteY36" fmla="*/ 1710816 h 2265361"/>
              <a:gd name="connsiteX37" fmla="*/ 6706134 w 9905999"/>
              <a:gd name="connsiteY37" fmla="*/ 1755901 h 2265361"/>
              <a:gd name="connsiteX38" fmla="*/ 6744377 w 9905999"/>
              <a:gd name="connsiteY38" fmla="*/ 1864105 h 2265361"/>
              <a:gd name="connsiteX39" fmla="*/ 6701634 w 9905999"/>
              <a:gd name="connsiteY39" fmla="*/ 1981326 h 2265361"/>
              <a:gd name="connsiteX40" fmla="*/ 6577905 w 9905999"/>
              <a:gd name="connsiteY40" fmla="*/ 2024157 h 2265361"/>
              <a:gd name="connsiteX41" fmla="*/ 6449676 w 9905999"/>
              <a:gd name="connsiteY41" fmla="*/ 2024157 h 2265361"/>
              <a:gd name="connsiteX42" fmla="*/ 6449676 w 9905999"/>
              <a:gd name="connsiteY42" fmla="*/ 2222531 h 2265361"/>
              <a:gd name="connsiteX43" fmla="*/ 6386687 w 9905999"/>
              <a:gd name="connsiteY43" fmla="*/ 2222531 h 2265361"/>
              <a:gd name="connsiteX44" fmla="*/ 6386687 w 9905999"/>
              <a:gd name="connsiteY44" fmla="*/ 1710816 h 2265361"/>
              <a:gd name="connsiteX45" fmla="*/ 5889520 w 9905999"/>
              <a:gd name="connsiteY45" fmla="*/ 1710816 h 2265361"/>
              <a:gd name="connsiteX46" fmla="*/ 5954759 w 9905999"/>
              <a:gd name="connsiteY46" fmla="*/ 1710816 h 2265361"/>
              <a:gd name="connsiteX47" fmla="*/ 5954759 w 9905999"/>
              <a:gd name="connsiteY47" fmla="*/ 2035428 h 2265361"/>
              <a:gd name="connsiteX48" fmla="*/ 6076239 w 9905999"/>
              <a:gd name="connsiteY48" fmla="*/ 2172937 h 2265361"/>
              <a:gd name="connsiteX49" fmla="*/ 6199968 w 9905999"/>
              <a:gd name="connsiteY49" fmla="*/ 2035428 h 2265361"/>
              <a:gd name="connsiteX50" fmla="*/ 6199968 w 9905999"/>
              <a:gd name="connsiteY50" fmla="*/ 1710816 h 2265361"/>
              <a:gd name="connsiteX51" fmla="*/ 6262957 w 9905999"/>
              <a:gd name="connsiteY51" fmla="*/ 1710816 h 2265361"/>
              <a:gd name="connsiteX52" fmla="*/ 6262957 w 9905999"/>
              <a:gd name="connsiteY52" fmla="*/ 2035428 h 2265361"/>
              <a:gd name="connsiteX53" fmla="*/ 6076239 w 9905999"/>
              <a:gd name="connsiteY53" fmla="*/ 2231547 h 2265361"/>
              <a:gd name="connsiteX54" fmla="*/ 5889520 w 9905999"/>
              <a:gd name="connsiteY54" fmla="*/ 2035428 h 2265361"/>
              <a:gd name="connsiteX55" fmla="*/ 5889520 w 9905999"/>
              <a:gd name="connsiteY55" fmla="*/ 1710816 h 2265361"/>
              <a:gd name="connsiteX56" fmla="*/ 4958174 w 9905999"/>
              <a:gd name="connsiteY56" fmla="*/ 1710816 h 2265361"/>
              <a:gd name="connsiteX57" fmla="*/ 5158391 w 9905999"/>
              <a:gd name="connsiteY57" fmla="*/ 1710816 h 2265361"/>
              <a:gd name="connsiteX58" fmla="*/ 5288869 w 9905999"/>
              <a:gd name="connsiteY58" fmla="*/ 1755901 h 2265361"/>
              <a:gd name="connsiteX59" fmla="*/ 5329363 w 9905999"/>
              <a:gd name="connsiteY59" fmla="*/ 1859597 h 2265361"/>
              <a:gd name="connsiteX60" fmla="*/ 5288869 w 9905999"/>
              <a:gd name="connsiteY60" fmla="*/ 1961038 h 2265361"/>
              <a:gd name="connsiteX61" fmla="*/ 5228130 w 9905999"/>
              <a:gd name="connsiteY61" fmla="*/ 1997106 h 2265361"/>
              <a:gd name="connsiteX62" fmla="*/ 5331612 w 9905999"/>
              <a:gd name="connsiteY62" fmla="*/ 2222531 h 2265361"/>
              <a:gd name="connsiteX63" fmla="*/ 5259624 w 9905999"/>
              <a:gd name="connsiteY63" fmla="*/ 2222531 h 2265361"/>
              <a:gd name="connsiteX64" fmla="*/ 5162890 w 9905999"/>
              <a:gd name="connsiteY64" fmla="*/ 2010631 h 2265361"/>
              <a:gd name="connsiteX65" fmla="*/ 5021164 w 9905999"/>
              <a:gd name="connsiteY65" fmla="*/ 2010631 h 2265361"/>
              <a:gd name="connsiteX66" fmla="*/ 5021164 w 9905999"/>
              <a:gd name="connsiteY66" fmla="*/ 2222531 h 2265361"/>
              <a:gd name="connsiteX67" fmla="*/ 4958174 w 9905999"/>
              <a:gd name="connsiteY67" fmla="*/ 2222531 h 2265361"/>
              <a:gd name="connsiteX68" fmla="*/ 4958174 w 9905999"/>
              <a:gd name="connsiteY68" fmla="*/ 1710816 h 2265361"/>
              <a:gd name="connsiteX69" fmla="*/ 3309199 w 9905999"/>
              <a:gd name="connsiteY69" fmla="*/ 1710816 h 2265361"/>
              <a:gd name="connsiteX70" fmla="*/ 3381187 w 9905999"/>
              <a:gd name="connsiteY70" fmla="*/ 1710816 h 2265361"/>
              <a:gd name="connsiteX71" fmla="*/ 3633145 w 9905999"/>
              <a:gd name="connsiteY71" fmla="*/ 2123344 h 2265361"/>
              <a:gd name="connsiteX72" fmla="*/ 3633145 w 9905999"/>
              <a:gd name="connsiteY72" fmla="*/ 1710816 h 2265361"/>
              <a:gd name="connsiteX73" fmla="*/ 3693885 w 9905999"/>
              <a:gd name="connsiteY73" fmla="*/ 1710816 h 2265361"/>
              <a:gd name="connsiteX74" fmla="*/ 3693885 w 9905999"/>
              <a:gd name="connsiteY74" fmla="*/ 2222531 h 2265361"/>
              <a:gd name="connsiteX75" fmla="*/ 3621897 w 9905999"/>
              <a:gd name="connsiteY75" fmla="*/ 2222531 h 2265361"/>
              <a:gd name="connsiteX76" fmla="*/ 3372188 w 9905999"/>
              <a:gd name="connsiteY76" fmla="*/ 1810003 h 2265361"/>
              <a:gd name="connsiteX77" fmla="*/ 3372188 w 9905999"/>
              <a:gd name="connsiteY77" fmla="*/ 2222531 h 2265361"/>
              <a:gd name="connsiteX78" fmla="*/ 3309199 w 9905999"/>
              <a:gd name="connsiteY78" fmla="*/ 2222531 h 2265361"/>
              <a:gd name="connsiteX79" fmla="*/ 3309199 w 9905999"/>
              <a:gd name="connsiteY79" fmla="*/ 1710816 h 2265361"/>
              <a:gd name="connsiteX80" fmla="*/ 3106732 w 9905999"/>
              <a:gd name="connsiteY80" fmla="*/ 1710816 h 2265361"/>
              <a:gd name="connsiteX81" fmla="*/ 3171971 w 9905999"/>
              <a:gd name="connsiteY81" fmla="*/ 1710816 h 2265361"/>
              <a:gd name="connsiteX82" fmla="*/ 3171971 w 9905999"/>
              <a:gd name="connsiteY82" fmla="*/ 2222531 h 2265361"/>
              <a:gd name="connsiteX83" fmla="*/ 3106732 w 9905999"/>
              <a:gd name="connsiteY83" fmla="*/ 2222531 h 2265361"/>
              <a:gd name="connsiteX84" fmla="*/ 3106732 w 9905999"/>
              <a:gd name="connsiteY84" fmla="*/ 1710816 h 2265361"/>
              <a:gd name="connsiteX85" fmla="*/ 2663557 w 9905999"/>
              <a:gd name="connsiteY85" fmla="*/ 1710816 h 2265361"/>
              <a:gd name="connsiteX86" fmla="*/ 3032495 w 9905999"/>
              <a:gd name="connsiteY86" fmla="*/ 1710816 h 2265361"/>
              <a:gd name="connsiteX87" fmla="*/ 3032495 w 9905999"/>
              <a:gd name="connsiteY87" fmla="*/ 1769427 h 2265361"/>
              <a:gd name="connsiteX88" fmla="*/ 2879521 w 9905999"/>
              <a:gd name="connsiteY88" fmla="*/ 1769427 h 2265361"/>
              <a:gd name="connsiteX89" fmla="*/ 2879521 w 9905999"/>
              <a:gd name="connsiteY89" fmla="*/ 2222531 h 2265361"/>
              <a:gd name="connsiteX90" fmla="*/ 2814282 w 9905999"/>
              <a:gd name="connsiteY90" fmla="*/ 2222531 h 2265361"/>
              <a:gd name="connsiteX91" fmla="*/ 2814282 w 9905999"/>
              <a:gd name="connsiteY91" fmla="*/ 1769427 h 2265361"/>
              <a:gd name="connsiteX92" fmla="*/ 2663557 w 9905999"/>
              <a:gd name="connsiteY92" fmla="*/ 1769427 h 2265361"/>
              <a:gd name="connsiteX93" fmla="*/ 2663557 w 9905999"/>
              <a:gd name="connsiteY93" fmla="*/ 1710816 h 2265361"/>
              <a:gd name="connsiteX94" fmla="*/ 2416099 w 9905999"/>
              <a:gd name="connsiteY94" fmla="*/ 1710816 h 2265361"/>
              <a:gd name="connsiteX95" fmla="*/ 2481338 w 9905999"/>
              <a:gd name="connsiteY95" fmla="*/ 1710816 h 2265361"/>
              <a:gd name="connsiteX96" fmla="*/ 2481338 w 9905999"/>
              <a:gd name="connsiteY96" fmla="*/ 2163920 h 2265361"/>
              <a:gd name="connsiteX97" fmla="*/ 2726547 w 9905999"/>
              <a:gd name="connsiteY97" fmla="*/ 2163920 h 2265361"/>
              <a:gd name="connsiteX98" fmla="*/ 2726547 w 9905999"/>
              <a:gd name="connsiteY98" fmla="*/ 2222531 h 2265361"/>
              <a:gd name="connsiteX99" fmla="*/ 2416099 w 9905999"/>
              <a:gd name="connsiteY99" fmla="*/ 2222531 h 2265361"/>
              <a:gd name="connsiteX100" fmla="*/ 2416099 w 9905999"/>
              <a:gd name="connsiteY100" fmla="*/ 1710816 h 2265361"/>
              <a:gd name="connsiteX101" fmla="*/ 1918931 w 9905999"/>
              <a:gd name="connsiteY101" fmla="*/ 1710816 h 2265361"/>
              <a:gd name="connsiteX102" fmla="*/ 1984171 w 9905999"/>
              <a:gd name="connsiteY102" fmla="*/ 1710816 h 2265361"/>
              <a:gd name="connsiteX103" fmla="*/ 1984171 w 9905999"/>
              <a:gd name="connsiteY103" fmla="*/ 2035428 h 2265361"/>
              <a:gd name="connsiteX104" fmla="*/ 2105651 w 9905999"/>
              <a:gd name="connsiteY104" fmla="*/ 2172937 h 2265361"/>
              <a:gd name="connsiteX105" fmla="*/ 2229380 w 9905999"/>
              <a:gd name="connsiteY105" fmla="*/ 2035428 h 2265361"/>
              <a:gd name="connsiteX106" fmla="*/ 2229380 w 9905999"/>
              <a:gd name="connsiteY106" fmla="*/ 1710816 h 2265361"/>
              <a:gd name="connsiteX107" fmla="*/ 2292369 w 9905999"/>
              <a:gd name="connsiteY107" fmla="*/ 1710816 h 2265361"/>
              <a:gd name="connsiteX108" fmla="*/ 2292369 w 9905999"/>
              <a:gd name="connsiteY108" fmla="*/ 2035428 h 2265361"/>
              <a:gd name="connsiteX109" fmla="*/ 2105651 w 9905999"/>
              <a:gd name="connsiteY109" fmla="*/ 2231547 h 2265361"/>
              <a:gd name="connsiteX110" fmla="*/ 1918931 w 9905999"/>
              <a:gd name="connsiteY110" fmla="*/ 2035428 h 2265361"/>
              <a:gd name="connsiteX111" fmla="*/ 1918931 w 9905999"/>
              <a:gd name="connsiteY111" fmla="*/ 1710816 h 2265361"/>
              <a:gd name="connsiteX112" fmla="*/ 960591 w 9905999"/>
              <a:gd name="connsiteY112" fmla="*/ 1710816 h 2265361"/>
              <a:gd name="connsiteX113" fmla="*/ 1032578 w 9905999"/>
              <a:gd name="connsiteY113" fmla="*/ 1710816 h 2265361"/>
              <a:gd name="connsiteX114" fmla="*/ 1284537 w 9905999"/>
              <a:gd name="connsiteY114" fmla="*/ 2123344 h 2265361"/>
              <a:gd name="connsiteX115" fmla="*/ 1284537 w 9905999"/>
              <a:gd name="connsiteY115" fmla="*/ 1710816 h 2265361"/>
              <a:gd name="connsiteX116" fmla="*/ 1345276 w 9905999"/>
              <a:gd name="connsiteY116" fmla="*/ 1710816 h 2265361"/>
              <a:gd name="connsiteX117" fmla="*/ 1345276 w 9905999"/>
              <a:gd name="connsiteY117" fmla="*/ 2222531 h 2265361"/>
              <a:gd name="connsiteX118" fmla="*/ 1273289 w 9905999"/>
              <a:gd name="connsiteY118" fmla="*/ 2222531 h 2265361"/>
              <a:gd name="connsiteX119" fmla="*/ 1023580 w 9905999"/>
              <a:gd name="connsiteY119" fmla="*/ 1810003 h 2265361"/>
              <a:gd name="connsiteX120" fmla="*/ 1023580 w 9905999"/>
              <a:gd name="connsiteY120" fmla="*/ 2222531 h 2265361"/>
              <a:gd name="connsiteX121" fmla="*/ 960591 w 9905999"/>
              <a:gd name="connsiteY121" fmla="*/ 2222531 h 2265361"/>
              <a:gd name="connsiteX122" fmla="*/ 960591 w 9905999"/>
              <a:gd name="connsiteY122" fmla="*/ 1710816 h 2265361"/>
              <a:gd name="connsiteX123" fmla="*/ 5597068 w 9905999"/>
              <a:gd name="connsiteY123" fmla="*/ 1701799 h 2265361"/>
              <a:gd name="connsiteX124" fmla="*/ 5736545 w 9905999"/>
              <a:gd name="connsiteY124" fmla="*/ 1755901 h 2265361"/>
              <a:gd name="connsiteX125" fmla="*/ 5801784 w 9905999"/>
              <a:gd name="connsiteY125" fmla="*/ 1967800 h 2265361"/>
              <a:gd name="connsiteX126" fmla="*/ 5736545 w 9905999"/>
              <a:gd name="connsiteY126" fmla="*/ 2177446 h 2265361"/>
              <a:gd name="connsiteX127" fmla="*/ 5597068 w 9905999"/>
              <a:gd name="connsiteY127" fmla="*/ 2233802 h 2265361"/>
              <a:gd name="connsiteX128" fmla="*/ 5459841 w 9905999"/>
              <a:gd name="connsiteY128" fmla="*/ 2177446 h 2265361"/>
              <a:gd name="connsiteX129" fmla="*/ 5394602 w 9905999"/>
              <a:gd name="connsiteY129" fmla="*/ 1967800 h 2265361"/>
              <a:gd name="connsiteX130" fmla="*/ 5459841 w 9905999"/>
              <a:gd name="connsiteY130" fmla="*/ 1755901 h 2265361"/>
              <a:gd name="connsiteX131" fmla="*/ 5597068 w 9905999"/>
              <a:gd name="connsiteY131" fmla="*/ 1701799 h 2265361"/>
              <a:gd name="connsiteX132" fmla="*/ 4645477 w 9905999"/>
              <a:gd name="connsiteY132" fmla="*/ 1701799 h 2265361"/>
              <a:gd name="connsiteX133" fmla="*/ 4791702 w 9905999"/>
              <a:gd name="connsiteY133" fmla="*/ 1758155 h 2265361"/>
              <a:gd name="connsiteX134" fmla="*/ 4834445 w 9905999"/>
              <a:gd name="connsiteY134" fmla="*/ 1859597 h 2265361"/>
              <a:gd name="connsiteX135" fmla="*/ 4766956 w 9905999"/>
              <a:gd name="connsiteY135" fmla="*/ 1859597 h 2265361"/>
              <a:gd name="connsiteX136" fmla="*/ 4744460 w 9905999"/>
              <a:gd name="connsiteY136" fmla="*/ 1803240 h 2265361"/>
              <a:gd name="connsiteX137" fmla="*/ 4645477 w 9905999"/>
              <a:gd name="connsiteY137" fmla="*/ 1762664 h 2265361"/>
              <a:gd name="connsiteX138" fmla="*/ 4550992 w 9905999"/>
              <a:gd name="connsiteY138" fmla="*/ 1800986 h 2265361"/>
              <a:gd name="connsiteX139" fmla="*/ 4506000 w 9905999"/>
              <a:gd name="connsiteY139" fmla="*/ 1967800 h 2265361"/>
              <a:gd name="connsiteX140" fmla="*/ 4553242 w 9905999"/>
              <a:gd name="connsiteY140" fmla="*/ 2134615 h 2265361"/>
              <a:gd name="connsiteX141" fmla="*/ 4645477 w 9905999"/>
              <a:gd name="connsiteY141" fmla="*/ 2172937 h 2265361"/>
              <a:gd name="connsiteX142" fmla="*/ 4737711 w 9905999"/>
              <a:gd name="connsiteY142" fmla="*/ 2136869 h 2265361"/>
              <a:gd name="connsiteX143" fmla="*/ 4780454 w 9905999"/>
              <a:gd name="connsiteY143" fmla="*/ 2006123 h 2265361"/>
              <a:gd name="connsiteX144" fmla="*/ 4645477 w 9905999"/>
              <a:gd name="connsiteY144" fmla="*/ 2006123 h 2265361"/>
              <a:gd name="connsiteX145" fmla="*/ 4645477 w 9905999"/>
              <a:gd name="connsiteY145" fmla="*/ 1947512 h 2265361"/>
              <a:gd name="connsiteX146" fmla="*/ 4838944 w 9905999"/>
              <a:gd name="connsiteY146" fmla="*/ 1947512 h 2265361"/>
              <a:gd name="connsiteX147" fmla="*/ 4838944 w 9905999"/>
              <a:gd name="connsiteY147" fmla="*/ 2222531 h 2265361"/>
              <a:gd name="connsiteX148" fmla="*/ 4793952 w 9905999"/>
              <a:gd name="connsiteY148" fmla="*/ 2222531 h 2265361"/>
              <a:gd name="connsiteX149" fmla="*/ 4782704 w 9905999"/>
              <a:gd name="connsiteY149" fmla="*/ 2161666 h 2265361"/>
              <a:gd name="connsiteX150" fmla="*/ 4645477 w 9905999"/>
              <a:gd name="connsiteY150" fmla="*/ 2233802 h 2265361"/>
              <a:gd name="connsiteX151" fmla="*/ 4506000 w 9905999"/>
              <a:gd name="connsiteY151" fmla="*/ 2179700 h 2265361"/>
              <a:gd name="connsiteX152" fmla="*/ 4440761 w 9905999"/>
              <a:gd name="connsiteY152" fmla="*/ 1967800 h 2265361"/>
              <a:gd name="connsiteX153" fmla="*/ 4506000 w 9905999"/>
              <a:gd name="connsiteY153" fmla="*/ 1755901 h 2265361"/>
              <a:gd name="connsiteX154" fmla="*/ 4645477 w 9905999"/>
              <a:gd name="connsiteY154" fmla="*/ 1701799 h 2265361"/>
              <a:gd name="connsiteX155" fmla="*/ 4002083 w 9905999"/>
              <a:gd name="connsiteY155" fmla="*/ 1701799 h 2265361"/>
              <a:gd name="connsiteX156" fmla="*/ 4148309 w 9905999"/>
              <a:gd name="connsiteY156" fmla="*/ 1758155 h 2265361"/>
              <a:gd name="connsiteX157" fmla="*/ 4193302 w 9905999"/>
              <a:gd name="connsiteY157" fmla="*/ 1859597 h 2265361"/>
              <a:gd name="connsiteX158" fmla="*/ 4125813 w 9905999"/>
              <a:gd name="connsiteY158" fmla="*/ 1859597 h 2265361"/>
              <a:gd name="connsiteX159" fmla="*/ 4103317 w 9905999"/>
              <a:gd name="connsiteY159" fmla="*/ 1803240 h 2265361"/>
              <a:gd name="connsiteX160" fmla="*/ 4002083 w 9905999"/>
              <a:gd name="connsiteY160" fmla="*/ 1762664 h 2265361"/>
              <a:gd name="connsiteX161" fmla="*/ 3909849 w 9905999"/>
              <a:gd name="connsiteY161" fmla="*/ 1800986 h 2265361"/>
              <a:gd name="connsiteX162" fmla="*/ 3864856 w 9905999"/>
              <a:gd name="connsiteY162" fmla="*/ 1967800 h 2265361"/>
              <a:gd name="connsiteX163" fmla="*/ 3909849 w 9905999"/>
              <a:gd name="connsiteY163" fmla="*/ 2134615 h 2265361"/>
              <a:gd name="connsiteX164" fmla="*/ 4002083 w 9905999"/>
              <a:gd name="connsiteY164" fmla="*/ 2172937 h 2265361"/>
              <a:gd name="connsiteX165" fmla="*/ 4094318 w 9905999"/>
              <a:gd name="connsiteY165" fmla="*/ 2136869 h 2265361"/>
              <a:gd name="connsiteX166" fmla="*/ 4139311 w 9905999"/>
              <a:gd name="connsiteY166" fmla="*/ 2006123 h 2265361"/>
              <a:gd name="connsiteX167" fmla="*/ 4002083 w 9905999"/>
              <a:gd name="connsiteY167" fmla="*/ 2006123 h 2265361"/>
              <a:gd name="connsiteX168" fmla="*/ 4002083 w 9905999"/>
              <a:gd name="connsiteY168" fmla="*/ 1947512 h 2265361"/>
              <a:gd name="connsiteX169" fmla="*/ 4197801 w 9905999"/>
              <a:gd name="connsiteY169" fmla="*/ 1947512 h 2265361"/>
              <a:gd name="connsiteX170" fmla="*/ 4197801 w 9905999"/>
              <a:gd name="connsiteY170" fmla="*/ 2222531 h 2265361"/>
              <a:gd name="connsiteX171" fmla="*/ 4152808 w 9905999"/>
              <a:gd name="connsiteY171" fmla="*/ 2222531 h 2265361"/>
              <a:gd name="connsiteX172" fmla="*/ 4141560 w 9905999"/>
              <a:gd name="connsiteY172" fmla="*/ 2161666 h 2265361"/>
              <a:gd name="connsiteX173" fmla="*/ 4002083 w 9905999"/>
              <a:gd name="connsiteY173" fmla="*/ 2233802 h 2265361"/>
              <a:gd name="connsiteX174" fmla="*/ 3864856 w 9905999"/>
              <a:gd name="connsiteY174" fmla="*/ 2179700 h 2265361"/>
              <a:gd name="connsiteX175" fmla="*/ 3797367 w 9905999"/>
              <a:gd name="connsiteY175" fmla="*/ 1967800 h 2265361"/>
              <a:gd name="connsiteX176" fmla="*/ 3864856 w 9905999"/>
              <a:gd name="connsiteY176" fmla="*/ 1755901 h 2265361"/>
              <a:gd name="connsiteX177" fmla="*/ 4002083 w 9905999"/>
              <a:gd name="connsiteY177" fmla="*/ 1701799 h 2265361"/>
              <a:gd name="connsiteX178" fmla="*/ 1642228 w 9905999"/>
              <a:gd name="connsiteY178" fmla="*/ 1701799 h 2265361"/>
              <a:gd name="connsiteX179" fmla="*/ 1774955 w 9905999"/>
              <a:gd name="connsiteY179" fmla="*/ 1749138 h 2265361"/>
              <a:gd name="connsiteX180" fmla="*/ 1824447 w 9905999"/>
              <a:gd name="connsiteY180" fmla="*/ 1859597 h 2265361"/>
              <a:gd name="connsiteX181" fmla="*/ 1756958 w 9905999"/>
              <a:gd name="connsiteY181" fmla="*/ 1859597 h 2265361"/>
              <a:gd name="connsiteX182" fmla="*/ 1732212 w 9905999"/>
              <a:gd name="connsiteY182" fmla="*/ 1796478 h 2265361"/>
              <a:gd name="connsiteX183" fmla="*/ 1639978 w 9905999"/>
              <a:gd name="connsiteY183" fmla="*/ 1760410 h 2265361"/>
              <a:gd name="connsiteX184" fmla="*/ 1549993 w 9905999"/>
              <a:gd name="connsiteY184" fmla="*/ 1796478 h 2265361"/>
              <a:gd name="connsiteX185" fmla="*/ 1529746 w 9905999"/>
              <a:gd name="connsiteY185" fmla="*/ 1850580 h 2265361"/>
              <a:gd name="connsiteX186" fmla="*/ 1606234 w 9905999"/>
              <a:gd name="connsiteY186" fmla="*/ 1922716 h 2265361"/>
              <a:gd name="connsiteX187" fmla="*/ 1691719 w 9905999"/>
              <a:gd name="connsiteY187" fmla="*/ 1936241 h 2265361"/>
              <a:gd name="connsiteX188" fmla="*/ 1833445 w 9905999"/>
              <a:gd name="connsiteY188" fmla="*/ 2082767 h 2265361"/>
              <a:gd name="connsiteX189" fmla="*/ 1790703 w 9905999"/>
              <a:gd name="connsiteY189" fmla="*/ 2181954 h 2265361"/>
              <a:gd name="connsiteX190" fmla="*/ 1644477 w 9905999"/>
              <a:gd name="connsiteY190" fmla="*/ 2231547 h 2265361"/>
              <a:gd name="connsiteX191" fmla="*/ 1498251 w 9905999"/>
              <a:gd name="connsiteY191" fmla="*/ 2184208 h 2265361"/>
              <a:gd name="connsiteX192" fmla="*/ 1444260 w 9905999"/>
              <a:gd name="connsiteY192" fmla="*/ 2060225 h 2265361"/>
              <a:gd name="connsiteX193" fmla="*/ 1509499 w 9905999"/>
              <a:gd name="connsiteY193" fmla="*/ 2060225 h 2265361"/>
              <a:gd name="connsiteX194" fmla="*/ 1545494 w 9905999"/>
              <a:gd name="connsiteY194" fmla="*/ 2141378 h 2265361"/>
              <a:gd name="connsiteX195" fmla="*/ 1644477 w 9905999"/>
              <a:gd name="connsiteY195" fmla="*/ 2172937 h 2265361"/>
              <a:gd name="connsiteX196" fmla="*/ 1738962 w 9905999"/>
              <a:gd name="connsiteY196" fmla="*/ 2143632 h 2265361"/>
              <a:gd name="connsiteX197" fmla="*/ 1765956 w 9905999"/>
              <a:gd name="connsiteY197" fmla="*/ 2082767 h 2265361"/>
              <a:gd name="connsiteX198" fmla="*/ 1680471 w 9905999"/>
              <a:gd name="connsiteY198" fmla="*/ 2001614 h 2265361"/>
              <a:gd name="connsiteX199" fmla="*/ 1599484 w 9905999"/>
              <a:gd name="connsiteY199" fmla="*/ 1988089 h 2265361"/>
              <a:gd name="connsiteX200" fmla="*/ 1462257 w 9905999"/>
              <a:gd name="connsiteY200" fmla="*/ 1852834 h 2265361"/>
              <a:gd name="connsiteX201" fmla="*/ 1507249 w 9905999"/>
              <a:gd name="connsiteY201" fmla="*/ 1751393 h 2265361"/>
              <a:gd name="connsiteX202" fmla="*/ 1642228 w 9905999"/>
              <a:gd name="connsiteY202" fmla="*/ 1701799 h 2265361"/>
              <a:gd name="connsiteX203" fmla="*/ 654642 w 9905999"/>
              <a:gd name="connsiteY203" fmla="*/ 1701799 h 2265361"/>
              <a:gd name="connsiteX204" fmla="*/ 791868 w 9905999"/>
              <a:gd name="connsiteY204" fmla="*/ 1755901 h 2265361"/>
              <a:gd name="connsiteX205" fmla="*/ 857108 w 9905999"/>
              <a:gd name="connsiteY205" fmla="*/ 1967800 h 2265361"/>
              <a:gd name="connsiteX206" fmla="*/ 791868 w 9905999"/>
              <a:gd name="connsiteY206" fmla="*/ 2177446 h 2265361"/>
              <a:gd name="connsiteX207" fmla="*/ 654642 w 9905999"/>
              <a:gd name="connsiteY207" fmla="*/ 2233802 h 2265361"/>
              <a:gd name="connsiteX208" fmla="*/ 515164 w 9905999"/>
              <a:gd name="connsiteY208" fmla="*/ 2177446 h 2265361"/>
              <a:gd name="connsiteX209" fmla="*/ 449925 w 9905999"/>
              <a:gd name="connsiteY209" fmla="*/ 1967800 h 2265361"/>
              <a:gd name="connsiteX210" fmla="*/ 515164 w 9905999"/>
              <a:gd name="connsiteY210" fmla="*/ 1755901 h 2265361"/>
              <a:gd name="connsiteX211" fmla="*/ 654642 w 9905999"/>
              <a:gd name="connsiteY211" fmla="*/ 1701799 h 2265361"/>
              <a:gd name="connsiteX212" fmla="*/ 202466 w 9905999"/>
              <a:gd name="connsiteY212" fmla="*/ 1701799 h 2265361"/>
              <a:gd name="connsiteX213" fmla="*/ 339693 w 9905999"/>
              <a:gd name="connsiteY213" fmla="*/ 1753647 h 2265361"/>
              <a:gd name="connsiteX214" fmla="*/ 389185 w 9905999"/>
              <a:gd name="connsiteY214" fmla="*/ 1870868 h 2265361"/>
              <a:gd name="connsiteX215" fmla="*/ 323946 w 9905999"/>
              <a:gd name="connsiteY215" fmla="*/ 1870868 h 2265361"/>
              <a:gd name="connsiteX216" fmla="*/ 294701 w 9905999"/>
              <a:gd name="connsiteY216" fmla="*/ 1798732 h 2265361"/>
              <a:gd name="connsiteX217" fmla="*/ 202466 w 9905999"/>
              <a:gd name="connsiteY217" fmla="*/ 1762664 h 2265361"/>
              <a:gd name="connsiteX218" fmla="*/ 110232 w 9905999"/>
              <a:gd name="connsiteY218" fmla="*/ 1800986 h 2265361"/>
              <a:gd name="connsiteX219" fmla="*/ 67489 w 9905999"/>
              <a:gd name="connsiteY219" fmla="*/ 1967800 h 2265361"/>
              <a:gd name="connsiteX220" fmla="*/ 110232 w 9905999"/>
              <a:gd name="connsiteY220" fmla="*/ 2132361 h 2265361"/>
              <a:gd name="connsiteX221" fmla="*/ 202466 w 9905999"/>
              <a:gd name="connsiteY221" fmla="*/ 2172937 h 2265361"/>
              <a:gd name="connsiteX222" fmla="*/ 296951 w 9905999"/>
              <a:gd name="connsiteY222" fmla="*/ 2132361 h 2265361"/>
              <a:gd name="connsiteX223" fmla="*/ 323946 w 9905999"/>
              <a:gd name="connsiteY223" fmla="*/ 2060225 h 2265361"/>
              <a:gd name="connsiteX224" fmla="*/ 391435 w 9905999"/>
              <a:gd name="connsiteY224" fmla="*/ 2060225 h 2265361"/>
              <a:gd name="connsiteX225" fmla="*/ 339693 w 9905999"/>
              <a:gd name="connsiteY225" fmla="*/ 2177446 h 2265361"/>
              <a:gd name="connsiteX226" fmla="*/ 202466 w 9905999"/>
              <a:gd name="connsiteY226" fmla="*/ 2233802 h 2265361"/>
              <a:gd name="connsiteX227" fmla="*/ 65239 w 9905999"/>
              <a:gd name="connsiteY227" fmla="*/ 2177446 h 2265361"/>
              <a:gd name="connsiteX228" fmla="*/ 0 w 9905999"/>
              <a:gd name="connsiteY228" fmla="*/ 1967800 h 2265361"/>
              <a:gd name="connsiteX229" fmla="*/ 65239 w 9905999"/>
              <a:gd name="connsiteY229" fmla="*/ 1755901 h 2265361"/>
              <a:gd name="connsiteX230" fmla="*/ 202466 w 9905999"/>
              <a:gd name="connsiteY230" fmla="*/ 1701799 h 2265361"/>
              <a:gd name="connsiteX231" fmla="*/ 2227389 w 9905999"/>
              <a:gd name="connsiteY231" fmla="*/ 214047 h 2265361"/>
              <a:gd name="connsiteX232" fmla="*/ 2227389 w 9905999"/>
              <a:gd name="connsiteY232" fmla="*/ 574548 h 2265361"/>
              <a:gd name="connsiteX233" fmla="*/ 2456649 w 9905999"/>
              <a:gd name="connsiteY233" fmla="*/ 574548 h 2265361"/>
              <a:gd name="connsiteX234" fmla="*/ 2654442 w 9905999"/>
              <a:gd name="connsiteY234" fmla="*/ 394298 h 2265361"/>
              <a:gd name="connsiteX235" fmla="*/ 2456649 w 9905999"/>
              <a:gd name="connsiteY235" fmla="*/ 214047 h 2265361"/>
              <a:gd name="connsiteX236" fmla="*/ 2227389 w 9905999"/>
              <a:gd name="connsiteY236" fmla="*/ 214047 h 2265361"/>
              <a:gd name="connsiteX237" fmla="*/ 8961436 w 9905999"/>
              <a:gd name="connsiteY237" fmla="*/ 0 h 2265361"/>
              <a:gd name="connsiteX238" fmla="*/ 9905999 w 9905999"/>
              <a:gd name="connsiteY238" fmla="*/ 0 h 2265361"/>
              <a:gd name="connsiteX239" fmla="*/ 9905999 w 9905999"/>
              <a:gd name="connsiteY239" fmla="*/ 225425 h 2265361"/>
              <a:gd name="connsiteX240" fmla="*/ 9555161 w 9905999"/>
              <a:gd name="connsiteY240" fmla="*/ 225425 h 2265361"/>
              <a:gd name="connsiteX241" fmla="*/ 9555161 w 9905999"/>
              <a:gd name="connsiteY241" fmla="*/ 1214437 h 2265361"/>
              <a:gd name="connsiteX242" fmla="*/ 9315449 w 9905999"/>
              <a:gd name="connsiteY242" fmla="*/ 1214437 h 2265361"/>
              <a:gd name="connsiteX243" fmla="*/ 9315449 w 9905999"/>
              <a:gd name="connsiteY243" fmla="*/ 225425 h 2265361"/>
              <a:gd name="connsiteX244" fmla="*/ 8961436 w 9905999"/>
              <a:gd name="connsiteY244" fmla="*/ 225425 h 2265361"/>
              <a:gd name="connsiteX245" fmla="*/ 7785099 w 9905999"/>
              <a:gd name="connsiteY245" fmla="*/ 0 h 2265361"/>
              <a:gd name="connsiteX246" fmla="*/ 8035924 w 9905999"/>
              <a:gd name="connsiteY246" fmla="*/ 0 h 2265361"/>
              <a:gd name="connsiteX247" fmla="*/ 8037512 w 9905999"/>
              <a:gd name="connsiteY247" fmla="*/ 3175 h 2265361"/>
              <a:gd name="connsiteX248" fmla="*/ 8523286 w 9905999"/>
              <a:gd name="connsiteY248" fmla="*/ 774700 h 2265361"/>
              <a:gd name="connsiteX249" fmla="*/ 8523286 w 9905999"/>
              <a:gd name="connsiteY249" fmla="*/ 0 h 2265361"/>
              <a:gd name="connsiteX250" fmla="*/ 8759824 w 9905999"/>
              <a:gd name="connsiteY250" fmla="*/ 0 h 2265361"/>
              <a:gd name="connsiteX251" fmla="*/ 8759824 w 9905999"/>
              <a:gd name="connsiteY251" fmla="*/ 1214437 h 2265361"/>
              <a:gd name="connsiteX252" fmla="*/ 8518524 w 9905999"/>
              <a:gd name="connsiteY252" fmla="*/ 1214437 h 2265361"/>
              <a:gd name="connsiteX253" fmla="*/ 8024812 w 9905999"/>
              <a:gd name="connsiteY253" fmla="*/ 425450 h 2265361"/>
              <a:gd name="connsiteX254" fmla="*/ 8024812 w 9905999"/>
              <a:gd name="connsiteY254" fmla="*/ 1214437 h 2265361"/>
              <a:gd name="connsiteX255" fmla="*/ 7785099 w 9905999"/>
              <a:gd name="connsiteY255" fmla="*/ 1214437 h 2265361"/>
              <a:gd name="connsiteX256" fmla="*/ 6665911 w 9905999"/>
              <a:gd name="connsiteY256" fmla="*/ 0 h 2265361"/>
              <a:gd name="connsiteX257" fmla="*/ 7535861 w 9905999"/>
              <a:gd name="connsiteY257" fmla="*/ 0 h 2265361"/>
              <a:gd name="connsiteX258" fmla="*/ 7535861 w 9905999"/>
              <a:gd name="connsiteY258" fmla="*/ 220663 h 2265361"/>
              <a:gd name="connsiteX259" fmla="*/ 6905624 w 9905999"/>
              <a:gd name="connsiteY259" fmla="*/ 220663 h 2265361"/>
              <a:gd name="connsiteX260" fmla="*/ 6905624 w 9905999"/>
              <a:gd name="connsiteY260" fmla="*/ 473075 h 2265361"/>
              <a:gd name="connsiteX261" fmla="*/ 7459661 w 9905999"/>
              <a:gd name="connsiteY261" fmla="*/ 473075 h 2265361"/>
              <a:gd name="connsiteX262" fmla="*/ 7459661 w 9905999"/>
              <a:gd name="connsiteY262" fmla="*/ 690562 h 2265361"/>
              <a:gd name="connsiteX263" fmla="*/ 6905624 w 9905999"/>
              <a:gd name="connsiteY263" fmla="*/ 690562 h 2265361"/>
              <a:gd name="connsiteX264" fmla="*/ 6905624 w 9905999"/>
              <a:gd name="connsiteY264" fmla="*/ 993775 h 2265361"/>
              <a:gd name="connsiteX265" fmla="*/ 7535861 w 9905999"/>
              <a:gd name="connsiteY265" fmla="*/ 993775 h 2265361"/>
              <a:gd name="connsiteX266" fmla="*/ 7535861 w 9905999"/>
              <a:gd name="connsiteY266" fmla="*/ 1214437 h 2265361"/>
              <a:gd name="connsiteX267" fmla="*/ 6665911 w 9905999"/>
              <a:gd name="connsiteY267" fmla="*/ 1214437 h 2265361"/>
              <a:gd name="connsiteX268" fmla="*/ 5221286 w 9905999"/>
              <a:gd name="connsiteY268" fmla="*/ 0 h 2265361"/>
              <a:gd name="connsiteX269" fmla="*/ 5534024 w 9905999"/>
              <a:gd name="connsiteY269" fmla="*/ 0 h 2265361"/>
              <a:gd name="connsiteX270" fmla="*/ 5835649 w 9905999"/>
              <a:gd name="connsiteY270" fmla="*/ 823912 h 2265361"/>
              <a:gd name="connsiteX271" fmla="*/ 6142037 w 9905999"/>
              <a:gd name="connsiteY271" fmla="*/ 0 h 2265361"/>
              <a:gd name="connsiteX272" fmla="*/ 6438899 w 9905999"/>
              <a:gd name="connsiteY272" fmla="*/ 0 h 2265361"/>
              <a:gd name="connsiteX273" fmla="*/ 6438899 w 9905999"/>
              <a:gd name="connsiteY273" fmla="*/ 1214437 h 2265361"/>
              <a:gd name="connsiteX274" fmla="*/ 6203949 w 9905999"/>
              <a:gd name="connsiteY274" fmla="*/ 1214437 h 2265361"/>
              <a:gd name="connsiteX275" fmla="*/ 6203949 w 9905999"/>
              <a:gd name="connsiteY275" fmla="*/ 419100 h 2265361"/>
              <a:gd name="connsiteX276" fmla="*/ 5916612 w 9905999"/>
              <a:gd name="connsiteY276" fmla="*/ 1196975 h 2265361"/>
              <a:gd name="connsiteX277" fmla="*/ 5740399 w 9905999"/>
              <a:gd name="connsiteY277" fmla="*/ 1196975 h 2265361"/>
              <a:gd name="connsiteX278" fmla="*/ 5454649 w 9905999"/>
              <a:gd name="connsiteY278" fmla="*/ 409575 h 2265361"/>
              <a:gd name="connsiteX279" fmla="*/ 5454649 w 9905999"/>
              <a:gd name="connsiteY279" fmla="*/ 1214437 h 2265361"/>
              <a:gd name="connsiteX280" fmla="*/ 5221286 w 9905999"/>
              <a:gd name="connsiteY280" fmla="*/ 1214437 h 2265361"/>
              <a:gd name="connsiteX281" fmla="*/ 4098924 w 9905999"/>
              <a:gd name="connsiteY281" fmla="*/ 0 h 2265361"/>
              <a:gd name="connsiteX282" fmla="*/ 4968874 w 9905999"/>
              <a:gd name="connsiteY282" fmla="*/ 0 h 2265361"/>
              <a:gd name="connsiteX283" fmla="*/ 4968874 w 9905999"/>
              <a:gd name="connsiteY283" fmla="*/ 220663 h 2265361"/>
              <a:gd name="connsiteX284" fmla="*/ 4340224 w 9905999"/>
              <a:gd name="connsiteY284" fmla="*/ 220663 h 2265361"/>
              <a:gd name="connsiteX285" fmla="*/ 4340224 w 9905999"/>
              <a:gd name="connsiteY285" fmla="*/ 473075 h 2265361"/>
              <a:gd name="connsiteX286" fmla="*/ 4895849 w 9905999"/>
              <a:gd name="connsiteY286" fmla="*/ 473075 h 2265361"/>
              <a:gd name="connsiteX287" fmla="*/ 4895849 w 9905999"/>
              <a:gd name="connsiteY287" fmla="*/ 690562 h 2265361"/>
              <a:gd name="connsiteX288" fmla="*/ 4340224 w 9905999"/>
              <a:gd name="connsiteY288" fmla="*/ 690562 h 2265361"/>
              <a:gd name="connsiteX289" fmla="*/ 4340224 w 9905999"/>
              <a:gd name="connsiteY289" fmla="*/ 993775 h 2265361"/>
              <a:gd name="connsiteX290" fmla="*/ 4968874 w 9905999"/>
              <a:gd name="connsiteY290" fmla="*/ 993775 h 2265361"/>
              <a:gd name="connsiteX291" fmla="*/ 4968874 w 9905999"/>
              <a:gd name="connsiteY291" fmla="*/ 1214437 h 2265361"/>
              <a:gd name="connsiteX292" fmla="*/ 4098924 w 9905999"/>
              <a:gd name="connsiteY292" fmla="*/ 1214437 h 2265361"/>
              <a:gd name="connsiteX293" fmla="*/ 3079749 w 9905999"/>
              <a:gd name="connsiteY293" fmla="*/ 0 h 2265361"/>
              <a:gd name="connsiteX294" fmla="*/ 3321049 w 9905999"/>
              <a:gd name="connsiteY294" fmla="*/ 0 h 2265361"/>
              <a:gd name="connsiteX295" fmla="*/ 3321049 w 9905999"/>
              <a:gd name="connsiteY295" fmla="*/ 984250 h 2265361"/>
              <a:gd name="connsiteX296" fmla="*/ 3871912 w 9905999"/>
              <a:gd name="connsiteY296" fmla="*/ 984250 h 2265361"/>
              <a:gd name="connsiteX297" fmla="*/ 3871912 w 9905999"/>
              <a:gd name="connsiteY297" fmla="*/ 1214437 h 2265361"/>
              <a:gd name="connsiteX298" fmla="*/ 3079749 w 9905999"/>
              <a:gd name="connsiteY298" fmla="*/ 1214437 h 2265361"/>
              <a:gd name="connsiteX299" fmla="*/ 1989138 w 9905999"/>
              <a:gd name="connsiteY299" fmla="*/ 0 h 2265361"/>
              <a:gd name="connsiteX300" fmla="*/ 2465639 w 9905999"/>
              <a:gd name="connsiteY300" fmla="*/ 0 h 2265361"/>
              <a:gd name="connsiteX301" fmla="*/ 2897188 w 9905999"/>
              <a:gd name="connsiteY301" fmla="*/ 392045 h 2265361"/>
              <a:gd name="connsiteX302" fmla="*/ 2465639 w 9905999"/>
              <a:gd name="connsiteY302" fmla="*/ 786342 h 2265361"/>
              <a:gd name="connsiteX303" fmla="*/ 2227389 w 9905999"/>
              <a:gd name="connsiteY303" fmla="*/ 786342 h 2265361"/>
              <a:gd name="connsiteX304" fmla="*/ 2227389 w 9905999"/>
              <a:gd name="connsiteY304" fmla="*/ 1214437 h 2265361"/>
              <a:gd name="connsiteX305" fmla="*/ 1989138 w 9905999"/>
              <a:gd name="connsiteY305" fmla="*/ 1214437 h 2265361"/>
              <a:gd name="connsiteX306" fmla="*/ 1989138 w 9905999"/>
              <a:gd name="connsiteY306" fmla="*/ 0 h 2265361"/>
              <a:gd name="connsiteX307" fmla="*/ 520699 w 9905999"/>
              <a:gd name="connsiteY307" fmla="*/ 0 h 2265361"/>
              <a:gd name="connsiteX308" fmla="*/ 833436 w 9905999"/>
              <a:gd name="connsiteY308" fmla="*/ 0 h 2265361"/>
              <a:gd name="connsiteX309" fmla="*/ 1135061 w 9905999"/>
              <a:gd name="connsiteY309" fmla="*/ 823912 h 2265361"/>
              <a:gd name="connsiteX310" fmla="*/ 1439862 w 9905999"/>
              <a:gd name="connsiteY310" fmla="*/ 0 h 2265361"/>
              <a:gd name="connsiteX311" fmla="*/ 1736724 w 9905999"/>
              <a:gd name="connsiteY311" fmla="*/ 0 h 2265361"/>
              <a:gd name="connsiteX312" fmla="*/ 1736724 w 9905999"/>
              <a:gd name="connsiteY312" fmla="*/ 1214437 h 2265361"/>
              <a:gd name="connsiteX313" fmla="*/ 1503362 w 9905999"/>
              <a:gd name="connsiteY313" fmla="*/ 1214437 h 2265361"/>
              <a:gd name="connsiteX314" fmla="*/ 1503362 w 9905999"/>
              <a:gd name="connsiteY314" fmla="*/ 419100 h 2265361"/>
              <a:gd name="connsiteX315" fmla="*/ 1216024 w 9905999"/>
              <a:gd name="connsiteY315" fmla="*/ 1196975 h 2265361"/>
              <a:gd name="connsiteX316" fmla="*/ 1039812 w 9905999"/>
              <a:gd name="connsiteY316" fmla="*/ 1196975 h 2265361"/>
              <a:gd name="connsiteX317" fmla="*/ 754062 w 9905999"/>
              <a:gd name="connsiteY317" fmla="*/ 409575 h 2265361"/>
              <a:gd name="connsiteX318" fmla="*/ 754062 w 9905999"/>
              <a:gd name="connsiteY318" fmla="*/ 1214437 h 2265361"/>
              <a:gd name="connsiteX319" fmla="*/ 520699 w 9905999"/>
              <a:gd name="connsiteY319" fmla="*/ 1214437 h 2265361"/>
              <a:gd name="connsiteX320" fmla="*/ 25400 w 9905999"/>
              <a:gd name="connsiteY320" fmla="*/ 0 h 2265361"/>
              <a:gd name="connsiteX321" fmla="*/ 268288 w 9905999"/>
              <a:gd name="connsiteY321" fmla="*/ 0 h 2265361"/>
              <a:gd name="connsiteX322" fmla="*/ 268288 w 9905999"/>
              <a:gd name="connsiteY322" fmla="*/ 1214437 h 2265361"/>
              <a:gd name="connsiteX323" fmla="*/ 25400 w 9905999"/>
              <a:gd name="connsiteY323" fmla="*/ 1214437 h 226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</a:cxnLst>
            <a:rect l="l" t="t" r="r" b="b"/>
            <a:pathLst>
              <a:path w="9905999" h="2265361">
                <a:moveTo>
                  <a:pt x="6778122" y="2222531"/>
                </a:moveTo>
                <a:cubicBezTo>
                  <a:pt x="6778122" y="2222531"/>
                  <a:pt x="6778122" y="2222531"/>
                  <a:pt x="7135812" y="2222531"/>
                </a:cubicBezTo>
                <a:lnTo>
                  <a:pt x="7135812" y="2265361"/>
                </a:lnTo>
                <a:cubicBezTo>
                  <a:pt x="7135812" y="2265361"/>
                  <a:pt x="7135812" y="2265361"/>
                  <a:pt x="6778122" y="2265361"/>
                </a:cubicBezTo>
                <a:cubicBezTo>
                  <a:pt x="6778122" y="2265361"/>
                  <a:pt x="6778122" y="2265361"/>
                  <a:pt x="6778122" y="2222531"/>
                </a:cubicBezTo>
                <a:close/>
                <a:moveTo>
                  <a:pt x="6449676" y="1769427"/>
                </a:moveTo>
                <a:cubicBezTo>
                  <a:pt x="6449676" y="1769427"/>
                  <a:pt x="6449676" y="1769427"/>
                  <a:pt x="6449676" y="1965546"/>
                </a:cubicBezTo>
                <a:cubicBezTo>
                  <a:pt x="6449676" y="1965546"/>
                  <a:pt x="6449676" y="1965546"/>
                  <a:pt x="6575655" y="1965546"/>
                </a:cubicBezTo>
                <a:cubicBezTo>
                  <a:pt x="6643144" y="1965546"/>
                  <a:pt x="6679138" y="1933987"/>
                  <a:pt x="6679138" y="1864105"/>
                </a:cubicBezTo>
                <a:cubicBezTo>
                  <a:pt x="6679138" y="1800986"/>
                  <a:pt x="6638645" y="1769427"/>
                  <a:pt x="6575655" y="1769427"/>
                </a:cubicBezTo>
                <a:cubicBezTo>
                  <a:pt x="6575655" y="1769427"/>
                  <a:pt x="6575655" y="1769427"/>
                  <a:pt x="6449676" y="1769427"/>
                </a:cubicBezTo>
                <a:close/>
                <a:moveTo>
                  <a:pt x="5021164" y="1769427"/>
                </a:moveTo>
                <a:cubicBezTo>
                  <a:pt x="5021164" y="1769427"/>
                  <a:pt x="5021164" y="1769427"/>
                  <a:pt x="5021164" y="1949767"/>
                </a:cubicBezTo>
                <a:cubicBezTo>
                  <a:pt x="5021164" y="1949767"/>
                  <a:pt x="5021164" y="1949767"/>
                  <a:pt x="5158391" y="1949767"/>
                </a:cubicBezTo>
                <a:cubicBezTo>
                  <a:pt x="5219131" y="1949767"/>
                  <a:pt x="5261874" y="1924970"/>
                  <a:pt x="5261874" y="1859597"/>
                </a:cubicBezTo>
                <a:cubicBezTo>
                  <a:pt x="5261874" y="1794223"/>
                  <a:pt x="5219131" y="1769427"/>
                  <a:pt x="5158391" y="1769427"/>
                </a:cubicBezTo>
                <a:cubicBezTo>
                  <a:pt x="5158391" y="1769427"/>
                  <a:pt x="5158391" y="1769427"/>
                  <a:pt x="5021164" y="1769427"/>
                </a:cubicBezTo>
                <a:close/>
                <a:moveTo>
                  <a:pt x="5597068" y="1762664"/>
                </a:moveTo>
                <a:cubicBezTo>
                  <a:pt x="5563324" y="1762664"/>
                  <a:pt x="5529579" y="1776189"/>
                  <a:pt x="5504834" y="1800986"/>
                </a:cubicBezTo>
                <a:cubicBezTo>
                  <a:pt x="5462091" y="1843817"/>
                  <a:pt x="5459841" y="1913699"/>
                  <a:pt x="5459841" y="1967800"/>
                </a:cubicBezTo>
                <a:cubicBezTo>
                  <a:pt x="5459841" y="2019648"/>
                  <a:pt x="5462091" y="2089530"/>
                  <a:pt x="5504834" y="2132361"/>
                </a:cubicBezTo>
                <a:cubicBezTo>
                  <a:pt x="5529579" y="2159412"/>
                  <a:pt x="5563324" y="2170683"/>
                  <a:pt x="5597068" y="2170683"/>
                </a:cubicBezTo>
                <a:cubicBezTo>
                  <a:pt x="5633062" y="2170683"/>
                  <a:pt x="5666807" y="2159412"/>
                  <a:pt x="5691552" y="2132361"/>
                </a:cubicBezTo>
                <a:cubicBezTo>
                  <a:pt x="5732046" y="2089530"/>
                  <a:pt x="5734295" y="2019648"/>
                  <a:pt x="5734295" y="1967800"/>
                </a:cubicBezTo>
                <a:cubicBezTo>
                  <a:pt x="5734295" y="1913699"/>
                  <a:pt x="5732046" y="1843817"/>
                  <a:pt x="5691552" y="1800986"/>
                </a:cubicBezTo>
                <a:cubicBezTo>
                  <a:pt x="5666807" y="1776189"/>
                  <a:pt x="5633062" y="1762664"/>
                  <a:pt x="5597068" y="1762664"/>
                </a:cubicBezTo>
                <a:close/>
                <a:moveTo>
                  <a:pt x="654642" y="1762664"/>
                </a:moveTo>
                <a:cubicBezTo>
                  <a:pt x="618647" y="1762664"/>
                  <a:pt x="584903" y="1776189"/>
                  <a:pt x="560157" y="1800986"/>
                </a:cubicBezTo>
                <a:cubicBezTo>
                  <a:pt x="519664" y="1843817"/>
                  <a:pt x="517414" y="1913699"/>
                  <a:pt x="517414" y="1967800"/>
                </a:cubicBezTo>
                <a:cubicBezTo>
                  <a:pt x="517414" y="2019648"/>
                  <a:pt x="519664" y="2089530"/>
                  <a:pt x="560157" y="2132361"/>
                </a:cubicBezTo>
                <a:cubicBezTo>
                  <a:pt x="584903" y="2159412"/>
                  <a:pt x="618647" y="2170683"/>
                  <a:pt x="654642" y="2170683"/>
                </a:cubicBezTo>
                <a:cubicBezTo>
                  <a:pt x="688386" y="2170683"/>
                  <a:pt x="722130" y="2159412"/>
                  <a:pt x="746876" y="2132361"/>
                </a:cubicBezTo>
                <a:cubicBezTo>
                  <a:pt x="789619" y="2089530"/>
                  <a:pt x="791868" y="2019648"/>
                  <a:pt x="791868" y="1967800"/>
                </a:cubicBezTo>
                <a:cubicBezTo>
                  <a:pt x="791868" y="1913699"/>
                  <a:pt x="789619" y="1843817"/>
                  <a:pt x="746876" y="1800986"/>
                </a:cubicBezTo>
                <a:cubicBezTo>
                  <a:pt x="722130" y="1776189"/>
                  <a:pt x="688386" y="1762664"/>
                  <a:pt x="654642" y="1762664"/>
                </a:cubicBezTo>
                <a:close/>
                <a:moveTo>
                  <a:pt x="6386687" y="1710816"/>
                </a:moveTo>
                <a:cubicBezTo>
                  <a:pt x="6386687" y="1710816"/>
                  <a:pt x="6386687" y="1710816"/>
                  <a:pt x="6575655" y="1710816"/>
                </a:cubicBezTo>
                <a:cubicBezTo>
                  <a:pt x="6636395" y="1710816"/>
                  <a:pt x="6679138" y="1726596"/>
                  <a:pt x="6706134" y="1755901"/>
                </a:cubicBezTo>
                <a:cubicBezTo>
                  <a:pt x="6730880" y="1782952"/>
                  <a:pt x="6744377" y="1821274"/>
                  <a:pt x="6744377" y="1864105"/>
                </a:cubicBezTo>
                <a:cubicBezTo>
                  <a:pt x="6744377" y="1915953"/>
                  <a:pt x="6730880" y="1954275"/>
                  <a:pt x="6701634" y="1981326"/>
                </a:cubicBezTo>
                <a:cubicBezTo>
                  <a:pt x="6674639" y="2008377"/>
                  <a:pt x="6634146" y="2024157"/>
                  <a:pt x="6577905" y="2024157"/>
                </a:cubicBezTo>
                <a:cubicBezTo>
                  <a:pt x="6577905" y="2024157"/>
                  <a:pt x="6577905" y="2024157"/>
                  <a:pt x="6449676" y="2024157"/>
                </a:cubicBezTo>
                <a:cubicBezTo>
                  <a:pt x="6449676" y="2024157"/>
                  <a:pt x="6449676" y="2024157"/>
                  <a:pt x="6449676" y="2222531"/>
                </a:cubicBezTo>
                <a:cubicBezTo>
                  <a:pt x="6449676" y="2222531"/>
                  <a:pt x="6449676" y="2222531"/>
                  <a:pt x="6386687" y="2222531"/>
                </a:cubicBezTo>
                <a:cubicBezTo>
                  <a:pt x="6386687" y="2222531"/>
                  <a:pt x="6386687" y="2222531"/>
                  <a:pt x="6386687" y="1710816"/>
                </a:cubicBezTo>
                <a:close/>
                <a:moveTo>
                  <a:pt x="5889520" y="1710816"/>
                </a:moveTo>
                <a:cubicBezTo>
                  <a:pt x="5889520" y="1710816"/>
                  <a:pt x="5889520" y="1710816"/>
                  <a:pt x="5954759" y="1710816"/>
                </a:cubicBezTo>
                <a:cubicBezTo>
                  <a:pt x="5954759" y="1710816"/>
                  <a:pt x="5954759" y="1710816"/>
                  <a:pt x="5954759" y="2035428"/>
                </a:cubicBezTo>
                <a:cubicBezTo>
                  <a:pt x="5954759" y="2118835"/>
                  <a:pt x="5988503" y="2172937"/>
                  <a:pt x="6076239" y="2172937"/>
                </a:cubicBezTo>
                <a:cubicBezTo>
                  <a:pt x="6166224" y="2172937"/>
                  <a:pt x="6199968" y="2118835"/>
                  <a:pt x="6199968" y="2035428"/>
                </a:cubicBezTo>
                <a:cubicBezTo>
                  <a:pt x="6199968" y="2035428"/>
                  <a:pt x="6199968" y="2035428"/>
                  <a:pt x="6199968" y="1710816"/>
                </a:cubicBezTo>
                <a:cubicBezTo>
                  <a:pt x="6199968" y="1710816"/>
                  <a:pt x="6199968" y="1710816"/>
                  <a:pt x="6262957" y="1710816"/>
                </a:cubicBezTo>
                <a:cubicBezTo>
                  <a:pt x="6262957" y="1710816"/>
                  <a:pt x="6262957" y="1710816"/>
                  <a:pt x="6262957" y="2035428"/>
                </a:cubicBezTo>
                <a:cubicBezTo>
                  <a:pt x="6262957" y="2163920"/>
                  <a:pt x="6190969" y="2231547"/>
                  <a:pt x="6076239" y="2231547"/>
                </a:cubicBezTo>
                <a:cubicBezTo>
                  <a:pt x="5961508" y="2231547"/>
                  <a:pt x="5889520" y="2163920"/>
                  <a:pt x="5889520" y="2035428"/>
                </a:cubicBezTo>
                <a:cubicBezTo>
                  <a:pt x="5889520" y="2035428"/>
                  <a:pt x="5889520" y="2035428"/>
                  <a:pt x="5889520" y="1710816"/>
                </a:cubicBezTo>
                <a:close/>
                <a:moveTo>
                  <a:pt x="4958174" y="1710816"/>
                </a:moveTo>
                <a:cubicBezTo>
                  <a:pt x="4958174" y="1710816"/>
                  <a:pt x="4958174" y="1710816"/>
                  <a:pt x="5158391" y="1710816"/>
                </a:cubicBezTo>
                <a:cubicBezTo>
                  <a:pt x="5219131" y="1710816"/>
                  <a:pt x="5259624" y="1726596"/>
                  <a:pt x="5288869" y="1755901"/>
                </a:cubicBezTo>
                <a:cubicBezTo>
                  <a:pt x="5313615" y="1782952"/>
                  <a:pt x="5329363" y="1814512"/>
                  <a:pt x="5329363" y="1859597"/>
                </a:cubicBezTo>
                <a:cubicBezTo>
                  <a:pt x="5329363" y="1904682"/>
                  <a:pt x="5313615" y="1936241"/>
                  <a:pt x="5288869" y="1961038"/>
                </a:cubicBezTo>
                <a:cubicBezTo>
                  <a:pt x="5275372" y="1976817"/>
                  <a:pt x="5252875" y="1990343"/>
                  <a:pt x="5228130" y="1997106"/>
                </a:cubicBezTo>
                <a:cubicBezTo>
                  <a:pt x="5228130" y="1997106"/>
                  <a:pt x="5228130" y="1997106"/>
                  <a:pt x="5331612" y="2222531"/>
                </a:cubicBezTo>
                <a:lnTo>
                  <a:pt x="5259624" y="2222531"/>
                </a:lnTo>
                <a:cubicBezTo>
                  <a:pt x="5259624" y="2222531"/>
                  <a:pt x="5259624" y="2222531"/>
                  <a:pt x="5162890" y="2010631"/>
                </a:cubicBezTo>
                <a:cubicBezTo>
                  <a:pt x="5162890" y="2010631"/>
                  <a:pt x="5162890" y="2010631"/>
                  <a:pt x="5021164" y="2010631"/>
                </a:cubicBezTo>
                <a:cubicBezTo>
                  <a:pt x="5021164" y="2010631"/>
                  <a:pt x="5021164" y="2010631"/>
                  <a:pt x="5021164" y="2222531"/>
                </a:cubicBezTo>
                <a:cubicBezTo>
                  <a:pt x="5021164" y="2222531"/>
                  <a:pt x="5021164" y="2222531"/>
                  <a:pt x="4958174" y="2222531"/>
                </a:cubicBezTo>
                <a:cubicBezTo>
                  <a:pt x="4958174" y="2222531"/>
                  <a:pt x="4958174" y="2222531"/>
                  <a:pt x="4958174" y="1710816"/>
                </a:cubicBezTo>
                <a:close/>
                <a:moveTo>
                  <a:pt x="3309199" y="1710816"/>
                </a:moveTo>
                <a:cubicBezTo>
                  <a:pt x="3309199" y="1710816"/>
                  <a:pt x="3309199" y="1710816"/>
                  <a:pt x="3381187" y="1710816"/>
                </a:cubicBezTo>
                <a:cubicBezTo>
                  <a:pt x="3381187" y="1710816"/>
                  <a:pt x="3381187" y="1710816"/>
                  <a:pt x="3633145" y="2123344"/>
                </a:cubicBezTo>
                <a:cubicBezTo>
                  <a:pt x="3633145" y="2123344"/>
                  <a:pt x="3633145" y="2123344"/>
                  <a:pt x="3633145" y="1710816"/>
                </a:cubicBezTo>
                <a:cubicBezTo>
                  <a:pt x="3633145" y="1710816"/>
                  <a:pt x="3633145" y="1710816"/>
                  <a:pt x="3693885" y="1710816"/>
                </a:cubicBezTo>
                <a:cubicBezTo>
                  <a:pt x="3693885" y="1710816"/>
                  <a:pt x="3693885" y="1710816"/>
                  <a:pt x="3693885" y="2222531"/>
                </a:cubicBezTo>
                <a:lnTo>
                  <a:pt x="3621897" y="2222531"/>
                </a:lnTo>
                <a:cubicBezTo>
                  <a:pt x="3621897" y="2222531"/>
                  <a:pt x="3621897" y="2222531"/>
                  <a:pt x="3372188" y="1810003"/>
                </a:cubicBezTo>
                <a:cubicBezTo>
                  <a:pt x="3372188" y="1810003"/>
                  <a:pt x="3372188" y="1810003"/>
                  <a:pt x="3372188" y="2222531"/>
                </a:cubicBezTo>
                <a:cubicBezTo>
                  <a:pt x="3372188" y="2222531"/>
                  <a:pt x="3372188" y="2222531"/>
                  <a:pt x="3309199" y="2222531"/>
                </a:cubicBezTo>
                <a:cubicBezTo>
                  <a:pt x="3309199" y="2222531"/>
                  <a:pt x="3309199" y="2222531"/>
                  <a:pt x="3309199" y="1710816"/>
                </a:cubicBezTo>
                <a:close/>
                <a:moveTo>
                  <a:pt x="3106732" y="1710816"/>
                </a:moveTo>
                <a:cubicBezTo>
                  <a:pt x="3106732" y="1710816"/>
                  <a:pt x="3106732" y="1710816"/>
                  <a:pt x="3171971" y="1710816"/>
                </a:cubicBezTo>
                <a:lnTo>
                  <a:pt x="3171971" y="2222531"/>
                </a:lnTo>
                <a:cubicBezTo>
                  <a:pt x="3171971" y="2222531"/>
                  <a:pt x="3171971" y="2222531"/>
                  <a:pt x="3106732" y="2222531"/>
                </a:cubicBezTo>
                <a:cubicBezTo>
                  <a:pt x="3106732" y="2222531"/>
                  <a:pt x="3106732" y="2222531"/>
                  <a:pt x="3106732" y="1710816"/>
                </a:cubicBezTo>
                <a:close/>
                <a:moveTo>
                  <a:pt x="2663557" y="1710816"/>
                </a:moveTo>
                <a:cubicBezTo>
                  <a:pt x="2663557" y="1710816"/>
                  <a:pt x="2663557" y="1710816"/>
                  <a:pt x="3032495" y="1710816"/>
                </a:cubicBezTo>
                <a:cubicBezTo>
                  <a:pt x="3032495" y="1710816"/>
                  <a:pt x="3032495" y="1710816"/>
                  <a:pt x="3032495" y="1769427"/>
                </a:cubicBezTo>
                <a:lnTo>
                  <a:pt x="2879521" y="1769427"/>
                </a:lnTo>
                <a:cubicBezTo>
                  <a:pt x="2879521" y="1769427"/>
                  <a:pt x="2879521" y="1769427"/>
                  <a:pt x="2879521" y="2222531"/>
                </a:cubicBezTo>
                <a:cubicBezTo>
                  <a:pt x="2879521" y="2222531"/>
                  <a:pt x="2879521" y="2222531"/>
                  <a:pt x="2814282" y="2222531"/>
                </a:cubicBezTo>
                <a:cubicBezTo>
                  <a:pt x="2814282" y="2222531"/>
                  <a:pt x="2814282" y="2222531"/>
                  <a:pt x="2814282" y="1769427"/>
                </a:cubicBezTo>
                <a:cubicBezTo>
                  <a:pt x="2814282" y="1769427"/>
                  <a:pt x="2814282" y="1769427"/>
                  <a:pt x="2663557" y="1769427"/>
                </a:cubicBezTo>
                <a:cubicBezTo>
                  <a:pt x="2663557" y="1769427"/>
                  <a:pt x="2663557" y="1769427"/>
                  <a:pt x="2663557" y="1710816"/>
                </a:cubicBezTo>
                <a:close/>
                <a:moveTo>
                  <a:pt x="2416099" y="1710816"/>
                </a:moveTo>
                <a:cubicBezTo>
                  <a:pt x="2416099" y="1710816"/>
                  <a:pt x="2416099" y="1710816"/>
                  <a:pt x="2481338" y="1710816"/>
                </a:cubicBezTo>
                <a:cubicBezTo>
                  <a:pt x="2481338" y="1710816"/>
                  <a:pt x="2481338" y="1710816"/>
                  <a:pt x="2481338" y="2163920"/>
                </a:cubicBezTo>
                <a:cubicBezTo>
                  <a:pt x="2481338" y="2163920"/>
                  <a:pt x="2481338" y="2163920"/>
                  <a:pt x="2726547" y="2163920"/>
                </a:cubicBezTo>
                <a:cubicBezTo>
                  <a:pt x="2726547" y="2163920"/>
                  <a:pt x="2726547" y="2163920"/>
                  <a:pt x="2726547" y="2222531"/>
                </a:cubicBezTo>
                <a:lnTo>
                  <a:pt x="2416099" y="2222531"/>
                </a:lnTo>
                <a:cubicBezTo>
                  <a:pt x="2416099" y="2222531"/>
                  <a:pt x="2416099" y="2222531"/>
                  <a:pt x="2416099" y="1710816"/>
                </a:cubicBezTo>
                <a:close/>
                <a:moveTo>
                  <a:pt x="1918931" y="1710816"/>
                </a:moveTo>
                <a:cubicBezTo>
                  <a:pt x="1918931" y="1710816"/>
                  <a:pt x="1918931" y="1710816"/>
                  <a:pt x="1984171" y="1710816"/>
                </a:cubicBezTo>
                <a:cubicBezTo>
                  <a:pt x="1984171" y="1710816"/>
                  <a:pt x="1984171" y="1710816"/>
                  <a:pt x="1984171" y="2035428"/>
                </a:cubicBezTo>
                <a:cubicBezTo>
                  <a:pt x="1984171" y="2118835"/>
                  <a:pt x="2017916" y="2172937"/>
                  <a:pt x="2105651" y="2172937"/>
                </a:cubicBezTo>
                <a:cubicBezTo>
                  <a:pt x="2195636" y="2172937"/>
                  <a:pt x="2229380" y="2118835"/>
                  <a:pt x="2229380" y="2035428"/>
                </a:cubicBezTo>
                <a:cubicBezTo>
                  <a:pt x="2229380" y="2035428"/>
                  <a:pt x="2229380" y="2035428"/>
                  <a:pt x="2229380" y="1710816"/>
                </a:cubicBezTo>
                <a:cubicBezTo>
                  <a:pt x="2229380" y="1710816"/>
                  <a:pt x="2229380" y="1710816"/>
                  <a:pt x="2292369" y="1710816"/>
                </a:cubicBezTo>
                <a:cubicBezTo>
                  <a:pt x="2292369" y="1710816"/>
                  <a:pt x="2292369" y="1710816"/>
                  <a:pt x="2292369" y="2035428"/>
                </a:cubicBezTo>
                <a:cubicBezTo>
                  <a:pt x="2292369" y="2163920"/>
                  <a:pt x="2220382" y="2231547"/>
                  <a:pt x="2105651" y="2231547"/>
                </a:cubicBezTo>
                <a:cubicBezTo>
                  <a:pt x="1990920" y="2231547"/>
                  <a:pt x="1918931" y="2163920"/>
                  <a:pt x="1918931" y="2035428"/>
                </a:cubicBezTo>
                <a:cubicBezTo>
                  <a:pt x="1918931" y="2035428"/>
                  <a:pt x="1918931" y="2035428"/>
                  <a:pt x="1918931" y="1710816"/>
                </a:cubicBezTo>
                <a:close/>
                <a:moveTo>
                  <a:pt x="960591" y="1710816"/>
                </a:moveTo>
                <a:cubicBezTo>
                  <a:pt x="960591" y="1710816"/>
                  <a:pt x="960591" y="1710816"/>
                  <a:pt x="1032578" y="1710816"/>
                </a:cubicBezTo>
                <a:cubicBezTo>
                  <a:pt x="1032578" y="1710816"/>
                  <a:pt x="1032578" y="1710816"/>
                  <a:pt x="1284537" y="2123344"/>
                </a:cubicBezTo>
                <a:cubicBezTo>
                  <a:pt x="1284537" y="2123344"/>
                  <a:pt x="1284537" y="2123344"/>
                  <a:pt x="1284537" y="1710816"/>
                </a:cubicBezTo>
                <a:cubicBezTo>
                  <a:pt x="1284537" y="1710816"/>
                  <a:pt x="1284537" y="1710816"/>
                  <a:pt x="1345276" y="1710816"/>
                </a:cubicBezTo>
                <a:cubicBezTo>
                  <a:pt x="1345276" y="1710816"/>
                  <a:pt x="1345276" y="1710816"/>
                  <a:pt x="1345276" y="2222531"/>
                </a:cubicBezTo>
                <a:lnTo>
                  <a:pt x="1273289" y="2222531"/>
                </a:lnTo>
                <a:cubicBezTo>
                  <a:pt x="1273289" y="2222531"/>
                  <a:pt x="1273289" y="2222531"/>
                  <a:pt x="1023580" y="1810003"/>
                </a:cubicBezTo>
                <a:cubicBezTo>
                  <a:pt x="1023580" y="1810003"/>
                  <a:pt x="1023580" y="1810003"/>
                  <a:pt x="1023580" y="2222531"/>
                </a:cubicBezTo>
                <a:cubicBezTo>
                  <a:pt x="1023580" y="2222531"/>
                  <a:pt x="1023580" y="2222531"/>
                  <a:pt x="960591" y="2222531"/>
                </a:cubicBezTo>
                <a:cubicBezTo>
                  <a:pt x="960591" y="2222531"/>
                  <a:pt x="960591" y="2222531"/>
                  <a:pt x="960591" y="1710816"/>
                </a:cubicBezTo>
                <a:close/>
                <a:moveTo>
                  <a:pt x="5597068" y="1701799"/>
                </a:moveTo>
                <a:cubicBezTo>
                  <a:pt x="5648810" y="1701799"/>
                  <a:pt x="5698301" y="1719833"/>
                  <a:pt x="5736545" y="1755901"/>
                </a:cubicBezTo>
                <a:cubicBezTo>
                  <a:pt x="5790536" y="1810003"/>
                  <a:pt x="5801784" y="1884393"/>
                  <a:pt x="5801784" y="1967800"/>
                </a:cubicBezTo>
                <a:cubicBezTo>
                  <a:pt x="5801784" y="2048953"/>
                  <a:pt x="5790536" y="2123344"/>
                  <a:pt x="5736545" y="2177446"/>
                </a:cubicBezTo>
                <a:cubicBezTo>
                  <a:pt x="5698301" y="2213514"/>
                  <a:pt x="5648810" y="2233802"/>
                  <a:pt x="5597068" y="2233802"/>
                </a:cubicBezTo>
                <a:cubicBezTo>
                  <a:pt x="5547576" y="2233802"/>
                  <a:pt x="5495835" y="2213514"/>
                  <a:pt x="5459841" y="2177446"/>
                </a:cubicBezTo>
                <a:cubicBezTo>
                  <a:pt x="5403600" y="2123344"/>
                  <a:pt x="5394602" y="2048953"/>
                  <a:pt x="5394602" y="1967800"/>
                </a:cubicBezTo>
                <a:cubicBezTo>
                  <a:pt x="5394602" y="1884393"/>
                  <a:pt x="5403600" y="1810003"/>
                  <a:pt x="5459841" y="1755901"/>
                </a:cubicBezTo>
                <a:cubicBezTo>
                  <a:pt x="5495835" y="1719833"/>
                  <a:pt x="5547576" y="1701799"/>
                  <a:pt x="5597068" y="1701799"/>
                </a:cubicBezTo>
                <a:close/>
                <a:moveTo>
                  <a:pt x="4645477" y="1701799"/>
                </a:moveTo>
                <a:cubicBezTo>
                  <a:pt x="4701717" y="1701799"/>
                  <a:pt x="4755708" y="1722087"/>
                  <a:pt x="4791702" y="1758155"/>
                </a:cubicBezTo>
                <a:cubicBezTo>
                  <a:pt x="4816448" y="1785206"/>
                  <a:pt x="4832195" y="1816766"/>
                  <a:pt x="4834445" y="1859597"/>
                </a:cubicBezTo>
                <a:cubicBezTo>
                  <a:pt x="4834445" y="1859597"/>
                  <a:pt x="4834445" y="1859597"/>
                  <a:pt x="4766956" y="1859597"/>
                </a:cubicBezTo>
                <a:cubicBezTo>
                  <a:pt x="4764707" y="1834800"/>
                  <a:pt x="4757958" y="1819020"/>
                  <a:pt x="4744460" y="1803240"/>
                </a:cubicBezTo>
                <a:cubicBezTo>
                  <a:pt x="4721964" y="1773935"/>
                  <a:pt x="4685970" y="1762664"/>
                  <a:pt x="4645477" y="1762664"/>
                </a:cubicBezTo>
                <a:cubicBezTo>
                  <a:pt x="4609482" y="1762664"/>
                  <a:pt x="4575738" y="1776189"/>
                  <a:pt x="4550992" y="1800986"/>
                </a:cubicBezTo>
                <a:cubicBezTo>
                  <a:pt x="4510499" y="1843817"/>
                  <a:pt x="4506000" y="1913699"/>
                  <a:pt x="4506000" y="1967800"/>
                </a:cubicBezTo>
                <a:cubicBezTo>
                  <a:pt x="4506000" y="2017394"/>
                  <a:pt x="4510499" y="2091784"/>
                  <a:pt x="4553242" y="2134615"/>
                </a:cubicBezTo>
                <a:cubicBezTo>
                  <a:pt x="4577988" y="2161666"/>
                  <a:pt x="4609482" y="2172937"/>
                  <a:pt x="4645477" y="2172937"/>
                </a:cubicBezTo>
                <a:cubicBezTo>
                  <a:pt x="4681471" y="2172937"/>
                  <a:pt x="4715215" y="2159412"/>
                  <a:pt x="4737711" y="2136869"/>
                </a:cubicBezTo>
                <a:cubicBezTo>
                  <a:pt x="4771456" y="2103055"/>
                  <a:pt x="4780454" y="2053462"/>
                  <a:pt x="4780454" y="2006123"/>
                </a:cubicBezTo>
                <a:cubicBezTo>
                  <a:pt x="4780454" y="2006123"/>
                  <a:pt x="4780454" y="2006123"/>
                  <a:pt x="4645477" y="2006123"/>
                </a:cubicBezTo>
                <a:cubicBezTo>
                  <a:pt x="4645477" y="2006123"/>
                  <a:pt x="4645477" y="2006123"/>
                  <a:pt x="4645477" y="1947512"/>
                </a:cubicBezTo>
                <a:cubicBezTo>
                  <a:pt x="4645477" y="1947512"/>
                  <a:pt x="4645477" y="1947512"/>
                  <a:pt x="4838944" y="1947512"/>
                </a:cubicBezTo>
                <a:cubicBezTo>
                  <a:pt x="4838944" y="1947512"/>
                  <a:pt x="4838944" y="1947512"/>
                  <a:pt x="4838944" y="2222531"/>
                </a:cubicBezTo>
                <a:lnTo>
                  <a:pt x="4793952" y="2222531"/>
                </a:lnTo>
                <a:cubicBezTo>
                  <a:pt x="4793952" y="2222531"/>
                  <a:pt x="4793952" y="2222531"/>
                  <a:pt x="4782704" y="2161666"/>
                </a:cubicBezTo>
                <a:cubicBezTo>
                  <a:pt x="4757958" y="2204497"/>
                  <a:pt x="4701717" y="2233802"/>
                  <a:pt x="4645477" y="2233802"/>
                </a:cubicBezTo>
                <a:cubicBezTo>
                  <a:pt x="4593735" y="2233802"/>
                  <a:pt x="4544243" y="2215768"/>
                  <a:pt x="4506000" y="2179700"/>
                </a:cubicBezTo>
                <a:cubicBezTo>
                  <a:pt x="4454258" y="2130106"/>
                  <a:pt x="4440761" y="2057970"/>
                  <a:pt x="4440761" y="1967800"/>
                </a:cubicBezTo>
                <a:cubicBezTo>
                  <a:pt x="4440761" y="1884393"/>
                  <a:pt x="4452009" y="1810003"/>
                  <a:pt x="4506000" y="1755901"/>
                </a:cubicBezTo>
                <a:cubicBezTo>
                  <a:pt x="4544243" y="1719833"/>
                  <a:pt x="4593735" y="1701799"/>
                  <a:pt x="4645477" y="1701799"/>
                </a:cubicBezTo>
                <a:close/>
                <a:moveTo>
                  <a:pt x="4002083" y="1701799"/>
                </a:moveTo>
                <a:cubicBezTo>
                  <a:pt x="4060574" y="1701799"/>
                  <a:pt x="4112315" y="1722087"/>
                  <a:pt x="4148309" y="1758155"/>
                </a:cubicBezTo>
                <a:cubicBezTo>
                  <a:pt x="4173055" y="1785206"/>
                  <a:pt x="4191052" y="1816766"/>
                  <a:pt x="4193302" y="1859597"/>
                </a:cubicBezTo>
                <a:cubicBezTo>
                  <a:pt x="4193302" y="1859597"/>
                  <a:pt x="4193302" y="1859597"/>
                  <a:pt x="4125813" y="1859597"/>
                </a:cubicBezTo>
                <a:cubicBezTo>
                  <a:pt x="4123563" y="1834800"/>
                  <a:pt x="4114565" y="1819020"/>
                  <a:pt x="4103317" y="1803240"/>
                </a:cubicBezTo>
                <a:cubicBezTo>
                  <a:pt x="4078571" y="1773935"/>
                  <a:pt x="4044826" y="1762664"/>
                  <a:pt x="4002083" y="1762664"/>
                </a:cubicBezTo>
                <a:cubicBezTo>
                  <a:pt x="3968339" y="1762664"/>
                  <a:pt x="3934595" y="1776189"/>
                  <a:pt x="3909849" y="1800986"/>
                </a:cubicBezTo>
                <a:cubicBezTo>
                  <a:pt x="3867106" y="1843817"/>
                  <a:pt x="3864856" y="1913699"/>
                  <a:pt x="3864856" y="1967800"/>
                </a:cubicBezTo>
                <a:cubicBezTo>
                  <a:pt x="3864856" y="2017394"/>
                  <a:pt x="3867106" y="2091784"/>
                  <a:pt x="3909849" y="2134615"/>
                </a:cubicBezTo>
                <a:cubicBezTo>
                  <a:pt x="3934595" y="2161666"/>
                  <a:pt x="3968339" y="2172937"/>
                  <a:pt x="4002083" y="2172937"/>
                </a:cubicBezTo>
                <a:cubicBezTo>
                  <a:pt x="4038077" y="2172937"/>
                  <a:pt x="4071822" y="2159412"/>
                  <a:pt x="4094318" y="2136869"/>
                </a:cubicBezTo>
                <a:cubicBezTo>
                  <a:pt x="4130312" y="2103055"/>
                  <a:pt x="4139311" y="2053462"/>
                  <a:pt x="4139311" y="2006123"/>
                </a:cubicBezTo>
                <a:cubicBezTo>
                  <a:pt x="4139311" y="2006123"/>
                  <a:pt x="4139311" y="2006123"/>
                  <a:pt x="4002083" y="2006123"/>
                </a:cubicBezTo>
                <a:cubicBezTo>
                  <a:pt x="4002083" y="2006123"/>
                  <a:pt x="4002083" y="2006123"/>
                  <a:pt x="4002083" y="1947512"/>
                </a:cubicBezTo>
                <a:cubicBezTo>
                  <a:pt x="4002083" y="1947512"/>
                  <a:pt x="4002083" y="1947512"/>
                  <a:pt x="4197801" y="1947512"/>
                </a:cubicBezTo>
                <a:cubicBezTo>
                  <a:pt x="4197801" y="1947512"/>
                  <a:pt x="4197801" y="1947512"/>
                  <a:pt x="4197801" y="2222531"/>
                </a:cubicBezTo>
                <a:lnTo>
                  <a:pt x="4152808" y="2222531"/>
                </a:lnTo>
                <a:cubicBezTo>
                  <a:pt x="4152808" y="2222531"/>
                  <a:pt x="4152808" y="2222531"/>
                  <a:pt x="4141560" y="2161666"/>
                </a:cubicBezTo>
                <a:cubicBezTo>
                  <a:pt x="4116814" y="2204497"/>
                  <a:pt x="4060574" y="2233802"/>
                  <a:pt x="4002083" y="2233802"/>
                </a:cubicBezTo>
                <a:cubicBezTo>
                  <a:pt x="3950342" y="2233802"/>
                  <a:pt x="3900850" y="2215768"/>
                  <a:pt x="3864856" y="2179700"/>
                </a:cubicBezTo>
                <a:cubicBezTo>
                  <a:pt x="3813115" y="2130106"/>
                  <a:pt x="3797367" y="2057970"/>
                  <a:pt x="3797367" y="1967800"/>
                </a:cubicBezTo>
                <a:cubicBezTo>
                  <a:pt x="3797367" y="1884393"/>
                  <a:pt x="3808616" y="1810003"/>
                  <a:pt x="3864856" y="1755901"/>
                </a:cubicBezTo>
                <a:cubicBezTo>
                  <a:pt x="3900850" y="1719833"/>
                  <a:pt x="3950342" y="1701799"/>
                  <a:pt x="4002083" y="1701799"/>
                </a:cubicBezTo>
                <a:close/>
                <a:moveTo>
                  <a:pt x="1642228" y="1701799"/>
                </a:moveTo>
                <a:cubicBezTo>
                  <a:pt x="1691719" y="1701799"/>
                  <a:pt x="1741211" y="1717579"/>
                  <a:pt x="1774955" y="1749138"/>
                </a:cubicBezTo>
                <a:cubicBezTo>
                  <a:pt x="1806450" y="1780698"/>
                  <a:pt x="1822198" y="1816766"/>
                  <a:pt x="1824447" y="1859597"/>
                </a:cubicBezTo>
                <a:cubicBezTo>
                  <a:pt x="1824447" y="1859597"/>
                  <a:pt x="1824447" y="1859597"/>
                  <a:pt x="1756958" y="1859597"/>
                </a:cubicBezTo>
                <a:cubicBezTo>
                  <a:pt x="1754708" y="1834800"/>
                  <a:pt x="1745710" y="1812257"/>
                  <a:pt x="1732212" y="1796478"/>
                </a:cubicBezTo>
                <a:cubicBezTo>
                  <a:pt x="1711966" y="1773935"/>
                  <a:pt x="1680471" y="1760410"/>
                  <a:pt x="1639978" y="1760410"/>
                </a:cubicBezTo>
                <a:cubicBezTo>
                  <a:pt x="1603983" y="1760410"/>
                  <a:pt x="1572489" y="1769427"/>
                  <a:pt x="1549993" y="1796478"/>
                </a:cubicBezTo>
                <a:cubicBezTo>
                  <a:pt x="1536494" y="1810003"/>
                  <a:pt x="1529746" y="1828037"/>
                  <a:pt x="1529746" y="1850580"/>
                </a:cubicBezTo>
                <a:cubicBezTo>
                  <a:pt x="1529746" y="1897919"/>
                  <a:pt x="1567989" y="1918207"/>
                  <a:pt x="1606234" y="1922716"/>
                </a:cubicBezTo>
                <a:cubicBezTo>
                  <a:pt x="1635478" y="1927224"/>
                  <a:pt x="1662474" y="1931733"/>
                  <a:pt x="1691719" y="1936241"/>
                </a:cubicBezTo>
                <a:cubicBezTo>
                  <a:pt x="1774955" y="1949767"/>
                  <a:pt x="1833445" y="2001614"/>
                  <a:pt x="1833445" y="2082767"/>
                </a:cubicBezTo>
                <a:cubicBezTo>
                  <a:pt x="1833445" y="2125598"/>
                  <a:pt x="1815448" y="2157157"/>
                  <a:pt x="1790703" y="2181954"/>
                </a:cubicBezTo>
                <a:cubicBezTo>
                  <a:pt x="1754708" y="2215768"/>
                  <a:pt x="1698468" y="2231547"/>
                  <a:pt x="1644477" y="2231547"/>
                </a:cubicBezTo>
                <a:cubicBezTo>
                  <a:pt x="1581488" y="2231547"/>
                  <a:pt x="1531996" y="2215768"/>
                  <a:pt x="1498251" y="2184208"/>
                </a:cubicBezTo>
                <a:cubicBezTo>
                  <a:pt x="1466757" y="2152649"/>
                  <a:pt x="1444260" y="2109818"/>
                  <a:pt x="1444260" y="2060225"/>
                </a:cubicBezTo>
                <a:cubicBezTo>
                  <a:pt x="1444260" y="2060225"/>
                  <a:pt x="1444260" y="2060225"/>
                  <a:pt x="1509499" y="2060225"/>
                </a:cubicBezTo>
                <a:cubicBezTo>
                  <a:pt x="1509499" y="2091784"/>
                  <a:pt x="1525247" y="2121089"/>
                  <a:pt x="1545494" y="2141378"/>
                </a:cubicBezTo>
                <a:cubicBezTo>
                  <a:pt x="1570239" y="2163920"/>
                  <a:pt x="1608483" y="2172937"/>
                  <a:pt x="1644477" y="2172937"/>
                </a:cubicBezTo>
                <a:cubicBezTo>
                  <a:pt x="1682720" y="2172937"/>
                  <a:pt x="1716465" y="2166174"/>
                  <a:pt x="1738962" y="2143632"/>
                </a:cubicBezTo>
                <a:cubicBezTo>
                  <a:pt x="1754708" y="2130106"/>
                  <a:pt x="1765956" y="2109818"/>
                  <a:pt x="1765956" y="2082767"/>
                </a:cubicBezTo>
                <a:cubicBezTo>
                  <a:pt x="1765956" y="2044445"/>
                  <a:pt x="1741211" y="2010631"/>
                  <a:pt x="1680471" y="2001614"/>
                </a:cubicBezTo>
                <a:cubicBezTo>
                  <a:pt x="1680471" y="2001614"/>
                  <a:pt x="1680471" y="2001614"/>
                  <a:pt x="1599484" y="1988089"/>
                </a:cubicBezTo>
                <a:cubicBezTo>
                  <a:pt x="1522997" y="1976817"/>
                  <a:pt x="1462257" y="1933987"/>
                  <a:pt x="1462257" y="1852834"/>
                </a:cubicBezTo>
                <a:cubicBezTo>
                  <a:pt x="1462257" y="1814512"/>
                  <a:pt x="1480254" y="1778444"/>
                  <a:pt x="1507249" y="1751393"/>
                </a:cubicBezTo>
                <a:cubicBezTo>
                  <a:pt x="1543244" y="1717579"/>
                  <a:pt x="1588236" y="1701799"/>
                  <a:pt x="1642228" y="1701799"/>
                </a:cubicBezTo>
                <a:close/>
                <a:moveTo>
                  <a:pt x="654642" y="1701799"/>
                </a:moveTo>
                <a:cubicBezTo>
                  <a:pt x="704133" y="1701799"/>
                  <a:pt x="755874" y="1719833"/>
                  <a:pt x="791868" y="1755901"/>
                </a:cubicBezTo>
                <a:cubicBezTo>
                  <a:pt x="848110" y="1810003"/>
                  <a:pt x="857108" y="1884393"/>
                  <a:pt x="857108" y="1967800"/>
                </a:cubicBezTo>
                <a:cubicBezTo>
                  <a:pt x="857108" y="2048953"/>
                  <a:pt x="848110" y="2123344"/>
                  <a:pt x="791868" y="2177446"/>
                </a:cubicBezTo>
                <a:cubicBezTo>
                  <a:pt x="755874" y="2213514"/>
                  <a:pt x="704133" y="2233802"/>
                  <a:pt x="654642" y="2233802"/>
                </a:cubicBezTo>
                <a:cubicBezTo>
                  <a:pt x="602900" y="2233802"/>
                  <a:pt x="553408" y="2213514"/>
                  <a:pt x="515164" y="2177446"/>
                </a:cubicBezTo>
                <a:cubicBezTo>
                  <a:pt x="461173" y="2123344"/>
                  <a:pt x="449925" y="2048953"/>
                  <a:pt x="449925" y="1967800"/>
                </a:cubicBezTo>
                <a:cubicBezTo>
                  <a:pt x="449925" y="1884393"/>
                  <a:pt x="461173" y="1810003"/>
                  <a:pt x="515164" y="1755901"/>
                </a:cubicBezTo>
                <a:cubicBezTo>
                  <a:pt x="553408" y="1719833"/>
                  <a:pt x="602900" y="1701799"/>
                  <a:pt x="654642" y="1701799"/>
                </a:cubicBezTo>
                <a:close/>
                <a:moveTo>
                  <a:pt x="202466" y="1701799"/>
                </a:moveTo>
                <a:cubicBezTo>
                  <a:pt x="258707" y="1701799"/>
                  <a:pt x="308199" y="1722087"/>
                  <a:pt x="339693" y="1753647"/>
                </a:cubicBezTo>
                <a:cubicBezTo>
                  <a:pt x="368939" y="1782952"/>
                  <a:pt x="386936" y="1823529"/>
                  <a:pt x="389185" y="1870868"/>
                </a:cubicBezTo>
                <a:cubicBezTo>
                  <a:pt x="389185" y="1870868"/>
                  <a:pt x="389185" y="1870868"/>
                  <a:pt x="323946" y="1870868"/>
                </a:cubicBezTo>
                <a:cubicBezTo>
                  <a:pt x="321697" y="1841563"/>
                  <a:pt x="312698" y="1819020"/>
                  <a:pt x="294701" y="1798732"/>
                </a:cubicBezTo>
                <a:cubicBezTo>
                  <a:pt x="274454" y="1776189"/>
                  <a:pt x="240710" y="1762664"/>
                  <a:pt x="202466" y="1762664"/>
                </a:cubicBezTo>
                <a:cubicBezTo>
                  <a:pt x="168722" y="1762664"/>
                  <a:pt x="134978" y="1776189"/>
                  <a:pt x="110232" y="1800986"/>
                </a:cubicBezTo>
                <a:cubicBezTo>
                  <a:pt x="67489" y="1843817"/>
                  <a:pt x="67489" y="1913699"/>
                  <a:pt x="67489" y="1967800"/>
                </a:cubicBezTo>
                <a:cubicBezTo>
                  <a:pt x="67489" y="2019648"/>
                  <a:pt x="67489" y="2089530"/>
                  <a:pt x="110232" y="2132361"/>
                </a:cubicBezTo>
                <a:cubicBezTo>
                  <a:pt x="134978" y="2159412"/>
                  <a:pt x="168722" y="2172937"/>
                  <a:pt x="202466" y="2172937"/>
                </a:cubicBezTo>
                <a:cubicBezTo>
                  <a:pt x="240710" y="2172937"/>
                  <a:pt x="276704" y="2154903"/>
                  <a:pt x="296951" y="2132361"/>
                </a:cubicBezTo>
                <a:cubicBezTo>
                  <a:pt x="312698" y="2114327"/>
                  <a:pt x="323946" y="2087276"/>
                  <a:pt x="323946" y="2060225"/>
                </a:cubicBezTo>
                <a:cubicBezTo>
                  <a:pt x="323946" y="2060225"/>
                  <a:pt x="323946" y="2060225"/>
                  <a:pt x="391435" y="2060225"/>
                </a:cubicBezTo>
                <a:cubicBezTo>
                  <a:pt x="389185" y="2107564"/>
                  <a:pt x="368939" y="2148140"/>
                  <a:pt x="339693" y="2177446"/>
                </a:cubicBezTo>
                <a:cubicBezTo>
                  <a:pt x="308199" y="2209005"/>
                  <a:pt x="258707" y="2233802"/>
                  <a:pt x="202466" y="2233802"/>
                </a:cubicBezTo>
                <a:cubicBezTo>
                  <a:pt x="150725" y="2233802"/>
                  <a:pt x="101233" y="2213514"/>
                  <a:pt x="65239" y="2177446"/>
                </a:cubicBezTo>
                <a:cubicBezTo>
                  <a:pt x="8999" y="2123344"/>
                  <a:pt x="0" y="2048953"/>
                  <a:pt x="0" y="1967800"/>
                </a:cubicBezTo>
                <a:cubicBezTo>
                  <a:pt x="0" y="1884393"/>
                  <a:pt x="8999" y="1810003"/>
                  <a:pt x="65239" y="1755901"/>
                </a:cubicBezTo>
                <a:cubicBezTo>
                  <a:pt x="101233" y="1719833"/>
                  <a:pt x="150725" y="1701799"/>
                  <a:pt x="202466" y="1701799"/>
                </a:cubicBezTo>
                <a:close/>
                <a:moveTo>
                  <a:pt x="2227389" y="214047"/>
                </a:moveTo>
                <a:cubicBezTo>
                  <a:pt x="2227389" y="214047"/>
                  <a:pt x="2227389" y="214047"/>
                  <a:pt x="2227389" y="574548"/>
                </a:cubicBezTo>
                <a:cubicBezTo>
                  <a:pt x="2227389" y="574548"/>
                  <a:pt x="2227389" y="574548"/>
                  <a:pt x="2456649" y="574548"/>
                </a:cubicBezTo>
                <a:cubicBezTo>
                  <a:pt x="2584765" y="574548"/>
                  <a:pt x="2654442" y="509207"/>
                  <a:pt x="2654442" y="394298"/>
                </a:cubicBezTo>
                <a:cubicBezTo>
                  <a:pt x="2654442" y="277135"/>
                  <a:pt x="2584765" y="214047"/>
                  <a:pt x="2456649" y="214047"/>
                </a:cubicBezTo>
                <a:cubicBezTo>
                  <a:pt x="2456649" y="214047"/>
                  <a:pt x="2456649" y="214047"/>
                  <a:pt x="2227389" y="214047"/>
                </a:cubicBezTo>
                <a:close/>
                <a:moveTo>
                  <a:pt x="8961436" y="0"/>
                </a:moveTo>
                <a:lnTo>
                  <a:pt x="9905999" y="0"/>
                </a:lnTo>
                <a:lnTo>
                  <a:pt x="9905999" y="225425"/>
                </a:lnTo>
                <a:lnTo>
                  <a:pt x="9555161" y="225425"/>
                </a:lnTo>
                <a:lnTo>
                  <a:pt x="9555161" y="1214437"/>
                </a:lnTo>
                <a:lnTo>
                  <a:pt x="9315449" y="1214437"/>
                </a:lnTo>
                <a:lnTo>
                  <a:pt x="9315449" y="225425"/>
                </a:lnTo>
                <a:lnTo>
                  <a:pt x="8961436" y="225425"/>
                </a:lnTo>
                <a:close/>
                <a:moveTo>
                  <a:pt x="7785099" y="0"/>
                </a:moveTo>
                <a:lnTo>
                  <a:pt x="8035924" y="0"/>
                </a:lnTo>
                <a:lnTo>
                  <a:pt x="8037512" y="3175"/>
                </a:lnTo>
                <a:lnTo>
                  <a:pt x="8523286" y="774700"/>
                </a:lnTo>
                <a:lnTo>
                  <a:pt x="8523286" y="0"/>
                </a:lnTo>
                <a:lnTo>
                  <a:pt x="8759824" y="0"/>
                </a:lnTo>
                <a:lnTo>
                  <a:pt x="8759824" y="1214437"/>
                </a:lnTo>
                <a:lnTo>
                  <a:pt x="8518524" y="1214437"/>
                </a:lnTo>
                <a:lnTo>
                  <a:pt x="8024812" y="425450"/>
                </a:lnTo>
                <a:lnTo>
                  <a:pt x="8024812" y="1214437"/>
                </a:lnTo>
                <a:lnTo>
                  <a:pt x="7785099" y="1214437"/>
                </a:lnTo>
                <a:close/>
                <a:moveTo>
                  <a:pt x="6665911" y="0"/>
                </a:moveTo>
                <a:lnTo>
                  <a:pt x="7535861" y="0"/>
                </a:lnTo>
                <a:lnTo>
                  <a:pt x="7535861" y="220663"/>
                </a:lnTo>
                <a:lnTo>
                  <a:pt x="6905624" y="220663"/>
                </a:lnTo>
                <a:lnTo>
                  <a:pt x="6905624" y="473075"/>
                </a:lnTo>
                <a:lnTo>
                  <a:pt x="7459661" y="473075"/>
                </a:lnTo>
                <a:lnTo>
                  <a:pt x="7459661" y="690562"/>
                </a:lnTo>
                <a:lnTo>
                  <a:pt x="6905624" y="690562"/>
                </a:lnTo>
                <a:lnTo>
                  <a:pt x="6905624" y="993775"/>
                </a:lnTo>
                <a:lnTo>
                  <a:pt x="7535861" y="993775"/>
                </a:lnTo>
                <a:lnTo>
                  <a:pt x="7535861" y="1214437"/>
                </a:lnTo>
                <a:lnTo>
                  <a:pt x="6665911" y="1214437"/>
                </a:lnTo>
                <a:close/>
                <a:moveTo>
                  <a:pt x="5221286" y="0"/>
                </a:moveTo>
                <a:lnTo>
                  <a:pt x="5534024" y="0"/>
                </a:lnTo>
                <a:lnTo>
                  <a:pt x="5835649" y="823912"/>
                </a:lnTo>
                <a:lnTo>
                  <a:pt x="6142037" y="0"/>
                </a:lnTo>
                <a:lnTo>
                  <a:pt x="6438899" y="0"/>
                </a:lnTo>
                <a:lnTo>
                  <a:pt x="6438899" y="1214437"/>
                </a:lnTo>
                <a:lnTo>
                  <a:pt x="6203949" y="1214437"/>
                </a:lnTo>
                <a:lnTo>
                  <a:pt x="6203949" y="419100"/>
                </a:lnTo>
                <a:lnTo>
                  <a:pt x="5916612" y="1196975"/>
                </a:lnTo>
                <a:lnTo>
                  <a:pt x="5740399" y="1196975"/>
                </a:lnTo>
                <a:lnTo>
                  <a:pt x="5454649" y="409575"/>
                </a:lnTo>
                <a:lnTo>
                  <a:pt x="5454649" y="1214437"/>
                </a:lnTo>
                <a:lnTo>
                  <a:pt x="5221286" y="1214437"/>
                </a:lnTo>
                <a:close/>
                <a:moveTo>
                  <a:pt x="4098924" y="0"/>
                </a:moveTo>
                <a:lnTo>
                  <a:pt x="4968874" y="0"/>
                </a:lnTo>
                <a:lnTo>
                  <a:pt x="4968874" y="220663"/>
                </a:lnTo>
                <a:lnTo>
                  <a:pt x="4340224" y="220663"/>
                </a:lnTo>
                <a:lnTo>
                  <a:pt x="4340224" y="473075"/>
                </a:lnTo>
                <a:lnTo>
                  <a:pt x="4895849" y="473075"/>
                </a:lnTo>
                <a:lnTo>
                  <a:pt x="4895849" y="690562"/>
                </a:lnTo>
                <a:lnTo>
                  <a:pt x="4340224" y="690562"/>
                </a:lnTo>
                <a:lnTo>
                  <a:pt x="4340224" y="993775"/>
                </a:lnTo>
                <a:lnTo>
                  <a:pt x="4968874" y="993775"/>
                </a:lnTo>
                <a:lnTo>
                  <a:pt x="4968874" y="1214437"/>
                </a:lnTo>
                <a:lnTo>
                  <a:pt x="4098924" y="1214437"/>
                </a:lnTo>
                <a:close/>
                <a:moveTo>
                  <a:pt x="3079749" y="0"/>
                </a:moveTo>
                <a:lnTo>
                  <a:pt x="3321049" y="0"/>
                </a:lnTo>
                <a:lnTo>
                  <a:pt x="3321049" y="984250"/>
                </a:lnTo>
                <a:lnTo>
                  <a:pt x="3871912" y="984250"/>
                </a:lnTo>
                <a:lnTo>
                  <a:pt x="3871912" y="1214437"/>
                </a:lnTo>
                <a:lnTo>
                  <a:pt x="3079749" y="1214437"/>
                </a:lnTo>
                <a:close/>
                <a:moveTo>
                  <a:pt x="1989138" y="0"/>
                </a:moveTo>
                <a:cubicBezTo>
                  <a:pt x="1989138" y="0"/>
                  <a:pt x="1989138" y="0"/>
                  <a:pt x="2465639" y="0"/>
                </a:cubicBezTo>
                <a:cubicBezTo>
                  <a:pt x="2735357" y="0"/>
                  <a:pt x="2897188" y="146454"/>
                  <a:pt x="2897188" y="392045"/>
                </a:cubicBezTo>
                <a:cubicBezTo>
                  <a:pt x="2897188" y="639889"/>
                  <a:pt x="2735357" y="786342"/>
                  <a:pt x="2465639" y="786342"/>
                </a:cubicBezTo>
                <a:cubicBezTo>
                  <a:pt x="2465639" y="786342"/>
                  <a:pt x="2465639" y="786342"/>
                  <a:pt x="2227389" y="786342"/>
                </a:cubicBezTo>
                <a:cubicBezTo>
                  <a:pt x="2227389" y="786342"/>
                  <a:pt x="2227389" y="786342"/>
                  <a:pt x="2227389" y="1214437"/>
                </a:cubicBezTo>
                <a:cubicBezTo>
                  <a:pt x="2227389" y="1214437"/>
                  <a:pt x="2227389" y="1214437"/>
                  <a:pt x="1989138" y="1214437"/>
                </a:cubicBezTo>
                <a:cubicBezTo>
                  <a:pt x="1989138" y="1214437"/>
                  <a:pt x="1989138" y="1214437"/>
                  <a:pt x="1989138" y="0"/>
                </a:cubicBezTo>
                <a:close/>
                <a:moveTo>
                  <a:pt x="520699" y="0"/>
                </a:moveTo>
                <a:lnTo>
                  <a:pt x="833436" y="0"/>
                </a:lnTo>
                <a:lnTo>
                  <a:pt x="1135061" y="823912"/>
                </a:lnTo>
                <a:lnTo>
                  <a:pt x="1439862" y="0"/>
                </a:lnTo>
                <a:lnTo>
                  <a:pt x="1736724" y="0"/>
                </a:lnTo>
                <a:lnTo>
                  <a:pt x="1736724" y="1214437"/>
                </a:lnTo>
                <a:lnTo>
                  <a:pt x="1503362" y="1214437"/>
                </a:lnTo>
                <a:lnTo>
                  <a:pt x="1503362" y="419100"/>
                </a:lnTo>
                <a:lnTo>
                  <a:pt x="1216024" y="1196975"/>
                </a:lnTo>
                <a:lnTo>
                  <a:pt x="1039812" y="1196975"/>
                </a:lnTo>
                <a:lnTo>
                  <a:pt x="754062" y="409575"/>
                </a:lnTo>
                <a:lnTo>
                  <a:pt x="754062" y="1214437"/>
                </a:lnTo>
                <a:lnTo>
                  <a:pt x="520699" y="1214437"/>
                </a:lnTo>
                <a:close/>
                <a:moveTo>
                  <a:pt x="25400" y="0"/>
                </a:moveTo>
                <a:lnTo>
                  <a:pt x="268288" y="0"/>
                </a:lnTo>
                <a:lnTo>
                  <a:pt x="268288" y="1214437"/>
                </a:lnTo>
                <a:lnTo>
                  <a:pt x="25400" y="12144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13" name="Date_GeneralDate" hidden="1">
            <a:extLst>
              <a:ext uri="{FF2B5EF4-FFF2-40B4-BE49-F238E27FC236}">
                <a16:creationId xmlns:a16="http://schemas.microsoft.com/office/drawing/2014/main" id="{649F2878-DF75-476E-9321-0911D8D1FC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3F726890-A6E3-4403-8B5F-B63FA3CC0E22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:a16="http://schemas.microsoft.com/office/drawing/2014/main" id="{336355EA-6FA5-4B9D-B232-E77EBE1CA6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 algn="l">
              <a:defRPr sz="100">
                <a:noFill/>
              </a:defRPr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15" name="Slide Number Placeholder 5" hidden="1">
            <a:extLst>
              <a:ext uri="{FF2B5EF4-FFF2-40B4-BE49-F238E27FC236}">
                <a16:creationId xmlns:a16="http://schemas.microsoft.com/office/drawing/2014/main" id="{A280B4D8-6669-4983-ACDA-5286F766E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3D81281-2A14-4E3E-B226-3377EDFCB739}"/>
              </a:ext>
            </a:extLst>
          </p:cNvPr>
          <p:cNvSpPr txBox="1"/>
          <p:nvPr userDrawn="1"/>
        </p:nvSpPr>
        <p:spPr>
          <a:xfrm>
            <a:off x="8944357" y="6492630"/>
            <a:ext cx="609141" cy="124650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900" dirty="0">
                <a:solidFill>
                  <a:schemeClr val="tx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28891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D13ED75-03D3-4C55-BEDE-F1C0F8F4CFEF}"/>
              </a:ext>
            </a:extLst>
          </p:cNvPr>
          <p:cNvSpPr/>
          <p:nvPr userDrawn="1"/>
        </p:nvSpPr>
        <p:spPr>
          <a:xfrm>
            <a:off x="0" y="1"/>
            <a:ext cx="9906000" cy="6857999"/>
          </a:xfrm>
          <a:prstGeom prst="rect">
            <a:avLst/>
          </a:prstGeom>
          <a:solidFill>
            <a:srgbClr val="30373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1F20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71334" y="1628646"/>
            <a:ext cx="9364662" cy="4689475"/>
          </a:xfrm>
        </p:spPr>
        <p:txBody>
          <a:bodyPr rIns="0"/>
          <a:lstStyle>
            <a:lvl1pPr>
              <a:defRPr>
                <a:solidFill>
                  <a:srgbClr val="F8F5E7"/>
                </a:solidFill>
              </a:defRPr>
            </a:lvl1pPr>
            <a:lvl2pPr>
              <a:defRPr>
                <a:solidFill>
                  <a:srgbClr val="F8F5E7"/>
                </a:solidFill>
              </a:defRPr>
            </a:lvl2pPr>
            <a:lvl3pPr>
              <a:defRPr>
                <a:solidFill>
                  <a:srgbClr val="F8F5E7"/>
                </a:solidFill>
              </a:defRPr>
            </a:lvl3pPr>
            <a:lvl4pPr>
              <a:defRPr>
                <a:solidFill>
                  <a:srgbClr val="F8F5E7"/>
                </a:solidFill>
              </a:defRPr>
            </a:lvl4pPr>
            <a:lvl5pPr>
              <a:defRPr>
                <a:solidFill>
                  <a:srgbClr val="F8F5E7"/>
                </a:solidFill>
              </a:defRPr>
            </a:lvl5pPr>
            <a:lvl6pPr>
              <a:defRPr>
                <a:solidFill>
                  <a:srgbClr val="F8F5E7"/>
                </a:solidFill>
              </a:defRPr>
            </a:lvl6pPr>
            <a:lvl7pPr>
              <a:defRPr>
                <a:solidFill>
                  <a:srgbClr val="F8F5E7"/>
                </a:solidFill>
              </a:defRPr>
            </a:lvl7pPr>
            <a:lvl8pPr>
              <a:defRPr>
                <a:solidFill>
                  <a:srgbClr val="F8F5E7"/>
                </a:solidFill>
              </a:defRPr>
            </a:lvl8pPr>
            <a:lvl9pPr>
              <a:defRPr>
                <a:solidFill>
                  <a:srgbClr val="F8F5E7"/>
                </a:solidFill>
              </a:defRPr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DA03DEA2-B734-4E1A-989A-B985B71743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F8F5E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F8F5E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F8F5E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F8F5E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B2F81A-A979-4992-A111-276940B6A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257" y="272257"/>
            <a:ext cx="8240140" cy="692336"/>
          </a:xfrm>
        </p:spPr>
        <p:txBody>
          <a:bodyPr>
            <a:noAutofit/>
          </a:bodyPr>
          <a:lstStyle>
            <a:lvl1pPr>
              <a:defRPr>
                <a:solidFill>
                  <a:srgbClr val="F8F5E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EE1D38-B652-484A-AA0A-9748447612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F8F5E7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BB1C1348-B6E2-4EA8-8EA4-11925D5339C3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5" name="Date_GeneralDate" hidden="1">
            <a:extLst>
              <a:ext uri="{FF2B5EF4-FFF2-40B4-BE49-F238E27FC236}">
                <a16:creationId xmlns:a16="http://schemas.microsoft.com/office/drawing/2014/main" id="{4207D1EA-57BB-4882-8533-FB5A90B4EDD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05554BAC-400C-4C3D-AEE8-677C12D7F252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27397BF-43AE-4FA9-B3AF-B3153466E2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8F5E7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708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71334" y="1628647"/>
            <a:ext cx="4540379" cy="4689474"/>
          </a:xfrm>
        </p:spPr>
        <p:txBody>
          <a:bodyPr rIns="0"/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7A9E787-61B5-4260-BC71-92D5DEB352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257" y="272257"/>
            <a:ext cx="8240140" cy="692336"/>
          </a:xfrm>
        </p:spPr>
        <p:txBody>
          <a:bodyPr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95833392-58BF-48C2-B298-2E1AF269A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B1FBC85-E132-41F0-AED2-E8AFB9F926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ACDC629-F4C4-4E34-8615-03DAA38947D9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094159" y="1633409"/>
            <a:ext cx="4538792" cy="4689474"/>
          </a:xfrm>
        </p:spPr>
        <p:txBody>
          <a:bodyPr rIns="0"/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7" name="Date_GeneralDate" hidden="1">
            <a:extLst>
              <a:ext uri="{FF2B5EF4-FFF2-40B4-BE49-F238E27FC236}">
                <a16:creationId xmlns:a16="http://schemas.microsoft.com/office/drawing/2014/main" id="{D9DF96F7-16E4-4798-B632-8C0B52A9F0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03B5C1DE-E12D-463D-9D3B-7BA565BF43F2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B514C9D-0B69-4E39-95D6-B5BDF3F28EA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227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257" y="1629570"/>
            <a:ext cx="6954837" cy="4689474"/>
          </a:xfrm>
        </p:spPr>
        <p:txBody>
          <a:bodyPr rIns="0"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91C5999-EC85-4330-9F46-B0688F0B19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257" y="272257"/>
            <a:ext cx="8240140" cy="692336"/>
          </a:xfrm>
        </p:spPr>
        <p:txBody>
          <a:bodyPr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E3DCC377-0280-401A-965D-56293C16EC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DDAF85-3BF3-423A-AAA1-867083C13F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DCD6769-8933-4028-9ACD-431F38F7D409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496174" y="1627189"/>
            <a:ext cx="2138363" cy="4689474"/>
          </a:xfrm>
        </p:spPr>
        <p:txBody>
          <a:bodyPr rIns="0"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3" name="Date_GeneralDate" hidden="1">
            <a:extLst>
              <a:ext uri="{FF2B5EF4-FFF2-40B4-BE49-F238E27FC236}">
                <a16:creationId xmlns:a16="http://schemas.microsoft.com/office/drawing/2014/main" id="{E8EC64DB-194A-4D45-A9E9-C2C0A37B01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D5394814-2887-491F-B5BA-16D0B84C5777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F224526-0D14-43D9-9CC9-7B7CBD40B43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9254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EAAE5C6-2755-4F4E-A878-43F56B65E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257" y="272257"/>
            <a:ext cx="8240140" cy="692336"/>
          </a:xfrm>
        </p:spPr>
        <p:txBody>
          <a:bodyPr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34F504F-A2DE-4572-9711-6650D6AA4E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9240DFA-E6CC-48C6-9045-36E6CF1B04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3612FFCC-B791-4D3E-A268-282FC899C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F13090EF-F057-4F77-8F25-93B8E5D1A695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FD44B2-57DA-41D6-B086-CFC394858A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72257" y="1629569"/>
            <a:ext cx="4546599" cy="4689475"/>
          </a:xfrm>
        </p:spPr>
        <p:txBody>
          <a:bodyPr rIns="0"/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96EDC17A-116C-4E16-A3DE-2E5F4B894B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087940" y="269876"/>
            <a:ext cx="4276723" cy="3568047"/>
          </a:xfrm>
          <a:solidFill>
            <a:srgbClr val="F3F2F0"/>
          </a:solidFill>
        </p:spPr>
        <p:txBody>
          <a:bodyPr rIns="0" anchor="ctr" anchorCtr="0"/>
          <a:lstStyle>
            <a:lvl1pPr marL="0" indent="0" algn="ctr">
              <a:buNone/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1B800F5-D353-40A2-B9C9-A29ACB6135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4546598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9B2F0609-B28D-4E90-9A79-7A5ED798D9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AB449F3A-748D-4A5A-BF30-2662AC65CB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C5BF74F-DDC9-4227-9B0E-E848E85850D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5087938" y="4110810"/>
            <a:ext cx="4546599" cy="2205853"/>
          </a:xfrm>
        </p:spPr>
        <p:txBody>
          <a:bodyPr rIns="0"/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4" name="Date_GeneralDate" hidden="1">
            <a:extLst>
              <a:ext uri="{FF2B5EF4-FFF2-40B4-BE49-F238E27FC236}">
                <a16:creationId xmlns:a16="http://schemas.microsoft.com/office/drawing/2014/main" id="{BB51C436-51CA-47BE-8C5C-B668EA83CB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603999DF-9FDB-4690-B054-2EC95D80A65B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2C2E3A-3C6A-4BFF-B08C-5903ED77ED4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3369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6712821-3480-4567-B81B-23EDA2374ED8}"/>
              </a:ext>
            </a:extLst>
          </p:cNvPr>
          <p:cNvSpPr/>
          <p:nvPr userDrawn="1"/>
        </p:nvSpPr>
        <p:spPr>
          <a:xfrm>
            <a:off x="5635691" y="2301551"/>
            <a:ext cx="4270310" cy="4556449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96EDC17A-116C-4E16-A3DE-2E5F4B894B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087940" y="1627188"/>
            <a:ext cx="4546598" cy="4689475"/>
          </a:xfrm>
          <a:solidFill>
            <a:srgbClr val="F3F2F0"/>
          </a:solidFill>
        </p:spPr>
        <p:txBody>
          <a:bodyPr rIns="0" anchor="ctr" anchorCtr="0"/>
          <a:lstStyle>
            <a:lvl1pPr marL="0" indent="0" algn="ctr">
              <a:buNone/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257" y="1629569"/>
            <a:ext cx="4546599" cy="4689475"/>
          </a:xfrm>
        </p:spPr>
        <p:txBody>
          <a:bodyPr rIns="0"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74DEA22-79A0-4DFC-AA38-DAC569B1F7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2FBC88B6-08B7-43F9-8247-DD84EEDEFA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CE0DF6D-B57F-49F8-9638-8524ECED6B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4" name="Date_GeneralDate" hidden="1">
            <a:extLst>
              <a:ext uri="{FF2B5EF4-FFF2-40B4-BE49-F238E27FC236}">
                <a16:creationId xmlns:a16="http://schemas.microsoft.com/office/drawing/2014/main" id="{507B51D4-B972-4CB7-9F33-F08FA8F0F7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4FB488EE-987A-4209-B461-AC9F45465BBA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8019F6-1589-4647-AB04-EB7348B9A6B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6278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ackgroun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410D80-6244-43D7-9BCA-4FF4C69D0B08}"/>
              </a:ext>
            </a:extLst>
          </p:cNvPr>
          <p:cNvSpPr/>
          <p:nvPr userDrawn="1"/>
        </p:nvSpPr>
        <p:spPr>
          <a:xfrm>
            <a:off x="0" y="1627188"/>
            <a:ext cx="8509000" cy="5230812"/>
          </a:xfrm>
          <a:prstGeom prst="rect">
            <a:avLst/>
          </a:prstGeom>
          <a:solidFill>
            <a:srgbClr val="EEEB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257" y="1878015"/>
            <a:ext cx="7959724" cy="4452807"/>
          </a:xfrm>
        </p:spPr>
        <p:txBody>
          <a:bodyPr rIns="0"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2471E64-BD71-4B4B-BFD1-295764AE21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C4B4692-BEB0-4AB7-A6CB-4D48CDD601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7D850F3-3BBF-4220-B296-16FF2A55D6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4" name="Date_GeneralDate" hidden="1">
            <a:extLst>
              <a:ext uri="{FF2B5EF4-FFF2-40B4-BE49-F238E27FC236}">
                <a16:creationId xmlns:a16="http://schemas.microsoft.com/office/drawing/2014/main" id="{AB6B870D-1CE6-4711-AA2F-67484020C6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C284D8B4-9FA8-4763-B2D9-E2B0F10E754E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F69B46-652D-482F-89B4-8310DAB593F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7020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ackgroun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410D80-6244-43D7-9BCA-4FF4C69D0B08}"/>
              </a:ext>
            </a:extLst>
          </p:cNvPr>
          <p:cNvSpPr/>
          <p:nvPr userDrawn="1"/>
        </p:nvSpPr>
        <p:spPr>
          <a:xfrm>
            <a:off x="0" y="1627188"/>
            <a:ext cx="8509000" cy="5230812"/>
          </a:xfrm>
          <a:prstGeom prst="rect">
            <a:avLst/>
          </a:prstGeom>
          <a:solidFill>
            <a:srgbClr val="ECD7C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257" y="1878015"/>
            <a:ext cx="7959724" cy="4452807"/>
          </a:xfrm>
        </p:spPr>
        <p:txBody>
          <a:bodyPr rIns="0"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2B2B732-F934-41CD-B172-1038DE5EC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0AB81D70-4F8C-4F7F-A726-48723613A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3109406-CC86-44FA-B86E-5287120074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2" name="Date_GeneralDate" hidden="1">
            <a:extLst>
              <a:ext uri="{FF2B5EF4-FFF2-40B4-BE49-F238E27FC236}">
                <a16:creationId xmlns:a16="http://schemas.microsoft.com/office/drawing/2014/main" id="{33AAD9F2-E9EA-4CC5-9E0B-C9272E54E05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54528106-CE32-4D76-9AB4-816FA6A19CB6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BD3D8E-3F70-42AB-AC3A-86109EE7EB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5085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ackgroun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410D80-6244-43D7-9BCA-4FF4C69D0B08}"/>
              </a:ext>
            </a:extLst>
          </p:cNvPr>
          <p:cNvSpPr/>
          <p:nvPr userDrawn="1"/>
        </p:nvSpPr>
        <p:spPr>
          <a:xfrm>
            <a:off x="0" y="1627188"/>
            <a:ext cx="8509000" cy="5230812"/>
          </a:xfrm>
          <a:prstGeom prst="rect">
            <a:avLst/>
          </a:prstGeom>
          <a:solidFill>
            <a:srgbClr val="B9C7C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72257" y="1878015"/>
            <a:ext cx="7959724" cy="4452807"/>
          </a:xfrm>
        </p:spPr>
        <p:txBody>
          <a:bodyPr rIns="0"/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BB2E20B-892D-4EA3-8AD4-FC00FED28D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E12DCE5-1D70-40FE-A12D-BC9D827D4F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9217A5-C5F1-43F0-8D37-FD2D145694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2" name="Date_GeneralDate" hidden="1">
            <a:extLst>
              <a:ext uri="{FF2B5EF4-FFF2-40B4-BE49-F238E27FC236}">
                <a16:creationId xmlns:a16="http://schemas.microsoft.com/office/drawing/2014/main" id="{529B4580-A937-4A89-A972-47BC0D3F83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060C12AD-91D1-480B-B392-17BBA9CD1C13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6920C-1808-4426-A4CF-7913DEDE1B7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63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ackground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410D80-6244-43D7-9BCA-4FF4C69D0B08}"/>
              </a:ext>
            </a:extLst>
          </p:cNvPr>
          <p:cNvSpPr/>
          <p:nvPr userDrawn="1"/>
        </p:nvSpPr>
        <p:spPr>
          <a:xfrm>
            <a:off x="0" y="1627188"/>
            <a:ext cx="8510016" cy="5230812"/>
          </a:xfrm>
          <a:prstGeom prst="rect">
            <a:avLst/>
          </a:prstGeom>
          <a:solidFill>
            <a:srgbClr val="FBF9F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72257" y="1878015"/>
            <a:ext cx="7959724" cy="4452807"/>
          </a:xfrm>
        </p:spPr>
        <p:txBody>
          <a:bodyPr rIns="0"/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8CE8CB5-0C5C-4F82-93BB-A3CC2466A3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C651A19-21C7-43A0-87F7-B33CAB065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10B5418-1C83-44F1-AB0B-3628C15B4C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2" name="Date_GeneralDate" hidden="1">
            <a:extLst>
              <a:ext uri="{FF2B5EF4-FFF2-40B4-BE49-F238E27FC236}">
                <a16:creationId xmlns:a16="http://schemas.microsoft.com/office/drawing/2014/main" id="{1DDF63FA-A507-49EB-8773-728F33759C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B5701ABA-B916-4603-85CC-6551C7F972B9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1EB060-B99B-4AD0-B877-816B35C30B1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6512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ject 2">
            <a:extLst>
              <a:ext uri="{FF2B5EF4-FFF2-40B4-BE49-F238E27FC236}">
                <a16:creationId xmlns:a16="http://schemas.microsoft.com/office/drawing/2014/main" id="{A81EE220-AC53-4153-A0FE-1F2219FBF428}"/>
              </a:ext>
            </a:extLst>
          </p:cNvPr>
          <p:cNvSpPr/>
          <p:nvPr userDrawn="1"/>
        </p:nvSpPr>
        <p:spPr>
          <a:xfrm>
            <a:off x="-11401" y="0"/>
            <a:ext cx="9917401" cy="6858000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0" y="11308556"/>
                </a:moveTo>
                <a:lnTo>
                  <a:pt x="20104099" y="11308556"/>
                </a:lnTo>
                <a:lnTo>
                  <a:pt x="20104099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9A6E3A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2F363B"/>
              </a:solidFill>
              <a:effectLst/>
              <a:uLnTx/>
              <a:uFillTx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68EEBBF-213D-4D68-A9CE-7CE68854BF37}"/>
              </a:ext>
            </a:extLst>
          </p:cNvPr>
          <p:cNvSpPr/>
          <p:nvPr userDrawn="1"/>
        </p:nvSpPr>
        <p:spPr>
          <a:xfrm>
            <a:off x="-11401" y="0"/>
            <a:ext cx="7182932" cy="6858000"/>
          </a:xfrm>
          <a:prstGeom prst="rect">
            <a:avLst/>
          </a:prstGeom>
          <a:solidFill>
            <a:srgbClr val="E2DED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object 3">
            <a:extLst>
              <a:ext uri="{FF2B5EF4-FFF2-40B4-BE49-F238E27FC236}">
                <a16:creationId xmlns:a16="http://schemas.microsoft.com/office/drawing/2014/main" id="{2F8E5E3C-C8FF-4ABE-B0BE-21762DA69433}"/>
              </a:ext>
            </a:extLst>
          </p:cNvPr>
          <p:cNvSpPr/>
          <p:nvPr userDrawn="1"/>
        </p:nvSpPr>
        <p:spPr>
          <a:xfrm>
            <a:off x="-11400" y="1192713"/>
            <a:ext cx="8566312" cy="5665287"/>
          </a:xfrm>
          <a:custGeom>
            <a:avLst/>
            <a:gdLst/>
            <a:ahLst/>
            <a:cxnLst/>
            <a:rect l="l" t="t" r="r" b="b"/>
            <a:pathLst>
              <a:path w="16670019" h="10303510">
                <a:moveTo>
                  <a:pt x="0" y="10303351"/>
                </a:moveTo>
                <a:lnTo>
                  <a:pt x="16669649" y="10303351"/>
                </a:lnTo>
                <a:lnTo>
                  <a:pt x="16669649" y="0"/>
                </a:lnTo>
                <a:lnTo>
                  <a:pt x="0" y="0"/>
                </a:lnTo>
                <a:lnTo>
                  <a:pt x="0" y="10303351"/>
                </a:lnTo>
                <a:close/>
              </a:path>
            </a:pathLst>
          </a:custGeom>
          <a:solidFill>
            <a:srgbClr val="30373B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9999" y="5463127"/>
            <a:ext cx="5842800" cy="863537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900">
                <a:solidFill>
                  <a:srgbClr val="F8F5E7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chemeClr val="accent2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2255" y="2138963"/>
            <a:ext cx="5842800" cy="2224886"/>
          </a:xfrm>
        </p:spPr>
        <p:txBody>
          <a:bodyPr anchor="t" anchorCtr="0">
            <a:noAutofit/>
          </a:bodyPr>
          <a:lstStyle>
            <a:lvl1pPr algn="l">
              <a:lnSpc>
                <a:spcPct val="83000"/>
              </a:lnSpc>
              <a:defRPr sz="6500" cap="all" baseline="0">
                <a:solidFill>
                  <a:srgbClr val="F8F5E7"/>
                </a:solidFill>
                <a:latin typeface="Impact" panose="020B080603090205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4B46EDD-CF3B-49AB-826E-68B63D5E11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999" y="6387016"/>
            <a:ext cx="5842800" cy="210634"/>
          </a:xfrm>
        </p:spPr>
        <p:txBody>
          <a:bodyPr rIns="0" anchor="b" anchorCtr="0"/>
          <a:lstStyle>
            <a:lvl1pPr>
              <a:defRPr sz="900">
                <a:solidFill>
                  <a:srgbClr val="F8F5E7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B0748D9-B4B7-46FB-99B6-A4449CF9F50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8861146" y="788544"/>
            <a:ext cx="1258889" cy="287891"/>
          </a:xfrm>
          <a:custGeom>
            <a:avLst/>
            <a:gdLst>
              <a:gd name="connsiteX0" fmla="*/ 6778122 w 9905999"/>
              <a:gd name="connsiteY0" fmla="*/ 2222531 h 2265361"/>
              <a:gd name="connsiteX1" fmla="*/ 7135812 w 9905999"/>
              <a:gd name="connsiteY1" fmla="*/ 2222531 h 2265361"/>
              <a:gd name="connsiteX2" fmla="*/ 7135812 w 9905999"/>
              <a:gd name="connsiteY2" fmla="*/ 2265361 h 2265361"/>
              <a:gd name="connsiteX3" fmla="*/ 6778122 w 9905999"/>
              <a:gd name="connsiteY3" fmla="*/ 2265361 h 2265361"/>
              <a:gd name="connsiteX4" fmla="*/ 6778122 w 9905999"/>
              <a:gd name="connsiteY4" fmla="*/ 2222531 h 2265361"/>
              <a:gd name="connsiteX5" fmla="*/ 6449676 w 9905999"/>
              <a:gd name="connsiteY5" fmla="*/ 1769427 h 2265361"/>
              <a:gd name="connsiteX6" fmla="*/ 6449676 w 9905999"/>
              <a:gd name="connsiteY6" fmla="*/ 1965546 h 2265361"/>
              <a:gd name="connsiteX7" fmla="*/ 6575655 w 9905999"/>
              <a:gd name="connsiteY7" fmla="*/ 1965546 h 2265361"/>
              <a:gd name="connsiteX8" fmla="*/ 6679138 w 9905999"/>
              <a:gd name="connsiteY8" fmla="*/ 1864105 h 2265361"/>
              <a:gd name="connsiteX9" fmla="*/ 6575655 w 9905999"/>
              <a:gd name="connsiteY9" fmla="*/ 1769427 h 2265361"/>
              <a:gd name="connsiteX10" fmla="*/ 6449676 w 9905999"/>
              <a:gd name="connsiteY10" fmla="*/ 1769427 h 2265361"/>
              <a:gd name="connsiteX11" fmla="*/ 5021164 w 9905999"/>
              <a:gd name="connsiteY11" fmla="*/ 1769427 h 2265361"/>
              <a:gd name="connsiteX12" fmla="*/ 5021164 w 9905999"/>
              <a:gd name="connsiteY12" fmla="*/ 1949767 h 2265361"/>
              <a:gd name="connsiteX13" fmla="*/ 5158391 w 9905999"/>
              <a:gd name="connsiteY13" fmla="*/ 1949767 h 2265361"/>
              <a:gd name="connsiteX14" fmla="*/ 5261874 w 9905999"/>
              <a:gd name="connsiteY14" fmla="*/ 1859597 h 2265361"/>
              <a:gd name="connsiteX15" fmla="*/ 5158391 w 9905999"/>
              <a:gd name="connsiteY15" fmla="*/ 1769427 h 2265361"/>
              <a:gd name="connsiteX16" fmla="*/ 5021164 w 9905999"/>
              <a:gd name="connsiteY16" fmla="*/ 1769427 h 2265361"/>
              <a:gd name="connsiteX17" fmla="*/ 5597068 w 9905999"/>
              <a:gd name="connsiteY17" fmla="*/ 1762664 h 2265361"/>
              <a:gd name="connsiteX18" fmla="*/ 5504834 w 9905999"/>
              <a:gd name="connsiteY18" fmla="*/ 1800986 h 2265361"/>
              <a:gd name="connsiteX19" fmla="*/ 5459841 w 9905999"/>
              <a:gd name="connsiteY19" fmla="*/ 1967800 h 2265361"/>
              <a:gd name="connsiteX20" fmla="*/ 5504834 w 9905999"/>
              <a:gd name="connsiteY20" fmla="*/ 2132361 h 2265361"/>
              <a:gd name="connsiteX21" fmla="*/ 5597068 w 9905999"/>
              <a:gd name="connsiteY21" fmla="*/ 2170683 h 2265361"/>
              <a:gd name="connsiteX22" fmla="*/ 5691552 w 9905999"/>
              <a:gd name="connsiteY22" fmla="*/ 2132361 h 2265361"/>
              <a:gd name="connsiteX23" fmla="*/ 5734295 w 9905999"/>
              <a:gd name="connsiteY23" fmla="*/ 1967800 h 2265361"/>
              <a:gd name="connsiteX24" fmla="*/ 5691552 w 9905999"/>
              <a:gd name="connsiteY24" fmla="*/ 1800986 h 2265361"/>
              <a:gd name="connsiteX25" fmla="*/ 5597068 w 9905999"/>
              <a:gd name="connsiteY25" fmla="*/ 1762664 h 2265361"/>
              <a:gd name="connsiteX26" fmla="*/ 654642 w 9905999"/>
              <a:gd name="connsiteY26" fmla="*/ 1762664 h 2265361"/>
              <a:gd name="connsiteX27" fmla="*/ 560157 w 9905999"/>
              <a:gd name="connsiteY27" fmla="*/ 1800986 h 2265361"/>
              <a:gd name="connsiteX28" fmla="*/ 517414 w 9905999"/>
              <a:gd name="connsiteY28" fmla="*/ 1967800 h 2265361"/>
              <a:gd name="connsiteX29" fmla="*/ 560157 w 9905999"/>
              <a:gd name="connsiteY29" fmla="*/ 2132361 h 2265361"/>
              <a:gd name="connsiteX30" fmla="*/ 654642 w 9905999"/>
              <a:gd name="connsiteY30" fmla="*/ 2170683 h 2265361"/>
              <a:gd name="connsiteX31" fmla="*/ 746876 w 9905999"/>
              <a:gd name="connsiteY31" fmla="*/ 2132361 h 2265361"/>
              <a:gd name="connsiteX32" fmla="*/ 791868 w 9905999"/>
              <a:gd name="connsiteY32" fmla="*/ 1967800 h 2265361"/>
              <a:gd name="connsiteX33" fmla="*/ 746876 w 9905999"/>
              <a:gd name="connsiteY33" fmla="*/ 1800986 h 2265361"/>
              <a:gd name="connsiteX34" fmla="*/ 654642 w 9905999"/>
              <a:gd name="connsiteY34" fmla="*/ 1762664 h 2265361"/>
              <a:gd name="connsiteX35" fmla="*/ 6386687 w 9905999"/>
              <a:gd name="connsiteY35" fmla="*/ 1710816 h 2265361"/>
              <a:gd name="connsiteX36" fmla="*/ 6575655 w 9905999"/>
              <a:gd name="connsiteY36" fmla="*/ 1710816 h 2265361"/>
              <a:gd name="connsiteX37" fmla="*/ 6706134 w 9905999"/>
              <a:gd name="connsiteY37" fmla="*/ 1755901 h 2265361"/>
              <a:gd name="connsiteX38" fmla="*/ 6744377 w 9905999"/>
              <a:gd name="connsiteY38" fmla="*/ 1864105 h 2265361"/>
              <a:gd name="connsiteX39" fmla="*/ 6701634 w 9905999"/>
              <a:gd name="connsiteY39" fmla="*/ 1981326 h 2265361"/>
              <a:gd name="connsiteX40" fmla="*/ 6577905 w 9905999"/>
              <a:gd name="connsiteY40" fmla="*/ 2024157 h 2265361"/>
              <a:gd name="connsiteX41" fmla="*/ 6449676 w 9905999"/>
              <a:gd name="connsiteY41" fmla="*/ 2024157 h 2265361"/>
              <a:gd name="connsiteX42" fmla="*/ 6449676 w 9905999"/>
              <a:gd name="connsiteY42" fmla="*/ 2222531 h 2265361"/>
              <a:gd name="connsiteX43" fmla="*/ 6386687 w 9905999"/>
              <a:gd name="connsiteY43" fmla="*/ 2222531 h 2265361"/>
              <a:gd name="connsiteX44" fmla="*/ 6386687 w 9905999"/>
              <a:gd name="connsiteY44" fmla="*/ 1710816 h 2265361"/>
              <a:gd name="connsiteX45" fmla="*/ 5889520 w 9905999"/>
              <a:gd name="connsiteY45" fmla="*/ 1710816 h 2265361"/>
              <a:gd name="connsiteX46" fmla="*/ 5954759 w 9905999"/>
              <a:gd name="connsiteY46" fmla="*/ 1710816 h 2265361"/>
              <a:gd name="connsiteX47" fmla="*/ 5954759 w 9905999"/>
              <a:gd name="connsiteY47" fmla="*/ 2035428 h 2265361"/>
              <a:gd name="connsiteX48" fmla="*/ 6076239 w 9905999"/>
              <a:gd name="connsiteY48" fmla="*/ 2172937 h 2265361"/>
              <a:gd name="connsiteX49" fmla="*/ 6199968 w 9905999"/>
              <a:gd name="connsiteY49" fmla="*/ 2035428 h 2265361"/>
              <a:gd name="connsiteX50" fmla="*/ 6199968 w 9905999"/>
              <a:gd name="connsiteY50" fmla="*/ 1710816 h 2265361"/>
              <a:gd name="connsiteX51" fmla="*/ 6262957 w 9905999"/>
              <a:gd name="connsiteY51" fmla="*/ 1710816 h 2265361"/>
              <a:gd name="connsiteX52" fmla="*/ 6262957 w 9905999"/>
              <a:gd name="connsiteY52" fmla="*/ 2035428 h 2265361"/>
              <a:gd name="connsiteX53" fmla="*/ 6076239 w 9905999"/>
              <a:gd name="connsiteY53" fmla="*/ 2231547 h 2265361"/>
              <a:gd name="connsiteX54" fmla="*/ 5889520 w 9905999"/>
              <a:gd name="connsiteY54" fmla="*/ 2035428 h 2265361"/>
              <a:gd name="connsiteX55" fmla="*/ 5889520 w 9905999"/>
              <a:gd name="connsiteY55" fmla="*/ 1710816 h 2265361"/>
              <a:gd name="connsiteX56" fmla="*/ 4958174 w 9905999"/>
              <a:gd name="connsiteY56" fmla="*/ 1710816 h 2265361"/>
              <a:gd name="connsiteX57" fmla="*/ 5158391 w 9905999"/>
              <a:gd name="connsiteY57" fmla="*/ 1710816 h 2265361"/>
              <a:gd name="connsiteX58" fmla="*/ 5288869 w 9905999"/>
              <a:gd name="connsiteY58" fmla="*/ 1755901 h 2265361"/>
              <a:gd name="connsiteX59" fmla="*/ 5329363 w 9905999"/>
              <a:gd name="connsiteY59" fmla="*/ 1859597 h 2265361"/>
              <a:gd name="connsiteX60" fmla="*/ 5288869 w 9905999"/>
              <a:gd name="connsiteY60" fmla="*/ 1961038 h 2265361"/>
              <a:gd name="connsiteX61" fmla="*/ 5228130 w 9905999"/>
              <a:gd name="connsiteY61" fmla="*/ 1997106 h 2265361"/>
              <a:gd name="connsiteX62" fmla="*/ 5331612 w 9905999"/>
              <a:gd name="connsiteY62" fmla="*/ 2222531 h 2265361"/>
              <a:gd name="connsiteX63" fmla="*/ 5259624 w 9905999"/>
              <a:gd name="connsiteY63" fmla="*/ 2222531 h 2265361"/>
              <a:gd name="connsiteX64" fmla="*/ 5162890 w 9905999"/>
              <a:gd name="connsiteY64" fmla="*/ 2010631 h 2265361"/>
              <a:gd name="connsiteX65" fmla="*/ 5021164 w 9905999"/>
              <a:gd name="connsiteY65" fmla="*/ 2010631 h 2265361"/>
              <a:gd name="connsiteX66" fmla="*/ 5021164 w 9905999"/>
              <a:gd name="connsiteY66" fmla="*/ 2222531 h 2265361"/>
              <a:gd name="connsiteX67" fmla="*/ 4958174 w 9905999"/>
              <a:gd name="connsiteY67" fmla="*/ 2222531 h 2265361"/>
              <a:gd name="connsiteX68" fmla="*/ 4958174 w 9905999"/>
              <a:gd name="connsiteY68" fmla="*/ 1710816 h 2265361"/>
              <a:gd name="connsiteX69" fmla="*/ 3309199 w 9905999"/>
              <a:gd name="connsiteY69" fmla="*/ 1710816 h 2265361"/>
              <a:gd name="connsiteX70" fmla="*/ 3381187 w 9905999"/>
              <a:gd name="connsiteY70" fmla="*/ 1710816 h 2265361"/>
              <a:gd name="connsiteX71" fmla="*/ 3633145 w 9905999"/>
              <a:gd name="connsiteY71" fmla="*/ 2123344 h 2265361"/>
              <a:gd name="connsiteX72" fmla="*/ 3633145 w 9905999"/>
              <a:gd name="connsiteY72" fmla="*/ 1710816 h 2265361"/>
              <a:gd name="connsiteX73" fmla="*/ 3693885 w 9905999"/>
              <a:gd name="connsiteY73" fmla="*/ 1710816 h 2265361"/>
              <a:gd name="connsiteX74" fmla="*/ 3693885 w 9905999"/>
              <a:gd name="connsiteY74" fmla="*/ 2222531 h 2265361"/>
              <a:gd name="connsiteX75" fmla="*/ 3621897 w 9905999"/>
              <a:gd name="connsiteY75" fmla="*/ 2222531 h 2265361"/>
              <a:gd name="connsiteX76" fmla="*/ 3372188 w 9905999"/>
              <a:gd name="connsiteY76" fmla="*/ 1810003 h 2265361"/>
              <a:gd name="connsiteX77" fmla="*/ 3372188 w 9905999"/>
              <a:gd name="connsiteY77" fmla="*/ 2222531 h 2265361"/>
              <a:gd name="connsiteX78" fmla="*/ 3309199 w 9905999"/>
              <a:gd name="connsiteY78" fmla="*/ 2222531 h 2265361"/>
              <a:gd name="connsiteX79" fmla="*/ 3309199 w 9905999"/>
              <a:gd name="connsiteY79" fmla="*/ 1710816 h 2265361"/>
              <a:gd name="connsiteX80" fmla="*/ 3106732 w 9905999"/>
              <a:gd name="connsiteY80" fmla="*/ 1710816 h 2265361"/>
              <a:gd name="connsiteX81" fmla="*/ 3171971 w 9905999"/>
              <a:gd name="connsiteY81" fmla="*/ 1710816 h 2265361"/>
              <a:gd name="connsiteX82" fmla="*/ 3171971 w 9905999"/>
              <a:gd name="connsiteY82" fmla="*/ 2222531 h 2265361"/>
              <a:gd name="connsiteX83" fmla="*/ 3106732 w 9905999"/>
              <a:gd name="connsiteY83" fmla="*/ 2222531 h 2265361"/>
              <a:gd name="connsiteX84" fmla="*/ 3106732 w 9905999"/>
              <a:gd name="connsiteY84" fmla="*/ 1710816 h 2265361"/>
              <a:gd name="connsiteX85" fmla="*/ 2663557 w 9905999"/>
              <a:gd name="connsiteY85" fmla="*/ 1710816 h 2265361"/>
              <a:gd name="connsiteX86" fmla="*/ 3032495 w 9905999"/>
              <a:gd name="connsiteY86" fmla="*/ 1710816 h 2265361"/>
              <a:gd name="connsiteX87" fmla="*/ 3032495 w 9905999"/>
              <a:gd name="connsiteY87" fmla="*/ 1769427 h 2265361"/>
              <a:gd name="connsiteX88" fmla="*/ 2879521 w 9905999"/>
              <a:gd name="connsiteY88" fmla="*/ 1769427 h 2265361"/>
              <a:gd name="connsiteX89" fmla="*/ 2879521 w 9905999"/>
              <a:gd name="connsiteY89" fmla="*/ 2222531 h 2265361"/>
              <a:gd name="connsiteX90" fmla="*/ 2814282 w 9905999"/>
              <a:gd name="connsiteY90" fmla="*/ 2222531 h 2265361"/>
              <a:gd name="connsiteX91" fmla="*/ 2814282 w 9905999"/>
              <a:gd name="connsiteY91" fmla="*/ 1769427 h 2265361"/>
              <a:gd name="connsiteX92" fmla="*/ 2663557 w 9905999"/>
              <a:gd name="connsiteY92" fmla="*/ 1769427 h 2265361"/>
              <a:gd name="connsiteX93" fmla="*/ 2663557 w 9905999"/>
              <a:gd name="connsiteY93" fmla="*/ 1710816 h 2265361"/>
              <a:gd name="connsiteX94" fmla="*/ 2416099 w 9905999"/>
              <a:gd name="connsiteY94" fmla="*/ 1710816 h 2265361"/>
              <a:gd name="connsiteX95" fmla="*/ 2481338 w 9905999"/>
              <a:gd name="connsiteY95" fmla="*/ 1710816 h 2265361"/>
              <a:gd name="connsiteX96" fmla="*/ 2481338 w 9905999"/>
              <a:gd name="connsiteY96" fmla="*/ 2163920 h 2265361"/>
              <a:gd name="connsiteX97" fmla="*/ 2726547 w 9905999"/>
              <a:gd name="connsiteY97" fmla="*/ 2163920 h 2265361"/>
              <a:gd name="connsiteX98" fmla="*/ 2726547 w 9905999"/>
              <a:gd name="connsiteY98" fmla="*/ 2222531 h 2265361"/>
              <a:gd name="connsiteX99" fmla="*/ 2416099 w 9905999"/>
              <a:gd name="connsiteY99" fmla="*/ 2222531 h 2265361"/>
              <a:gd name="connsiteX100" fmla="*/ 2416099 w 9905999"/>
              <a:gd name="connsiteY100" fmla="*/ 1710816 h 2265361"/>
              <a:gd name="connsiteX101" fmla="*/ 1918931 w 9905999"/>
              <a:gd name="connsiteY101" fmla="*/ 1710816 h 2265361"/>
              <a:gd name="connsiteX102" fmla="*/ 1984171 w 9905999"/>
              <a:gd name="connsiteY102" fmla="*/ 1710816 h 2265361"/>
              <a:gd name="connsiteX103" fmla="*/ 1984171 w 9905999"/>
              <a:gd name="connsiteY103" fmla="*/ 2035428 h 2265361"/>
              <a:gd name="connsiteX104" fmla="*/ 2105651 w 9905999"/>
              <a:gd name="connsiteY104" fmla="*/ 2172937 h 2265361"/>
              <a:gd name="connsiteX105" fmla="*/ 2229380 w 9905999"/>
              <a:gd name="connsiteY105" fmla="*/ 2035428 h 2265361"/>
              <a:gd name="connsiteX106" fmla="*/ 2229380 w 9905999"/>
              <a:gd name="connsiteY106" fmla="*/ 1710816 h 2265361"/>
              <a:gd name="connsiteX107" fmla="*/ 2292369 w 9905999"/>
              <a:gd name="connsiteY107" fmla="*/ 1710816 h 2265361"/>
              <a:gd name="connsiteX108" fmla="*/ 2292369 w 9905999"/>
              <a:gd name="connsiteY108" fmla="*/ 2035428 h 2265361"/>
              <a:gd name="connsiteX109" fmla="*/ 2105651 w 9905999"/>
              <a:gd name="connsiteY109" fmla="*/ 2231547 h 2265361"/>
              <a:gd name="connsiteX110" fmla="*/ 1918931 w 9905999"/>
              <a:gd name="connsiteY110" fmla="*/ 2035428 h 2265361"/>
              <a:gd name="connsiteX111" fmla="*/ 1918931 w 9905999"/>
              <a:gd name="connsiteY111" fmla="*/ 1710816 h 2265361"/>
              <a:gd name="connsiteX112" fmla="*/ 960591 w 9905999"/>
              <a:gd name="connsiteY112" fmla="*/ 1710816 h 2265361"/>
              <a:gd name="connsiteX113" fmla="*/ 1032578 w 9905999"/>
              <a:gd name="connsiteY113" fmla="*/ 1710816 h 2265361"/>
              <a:gd name="connsiteX114" fmla="*/ 1284537 w 9905999"/>
              <a:gd name="connsiteY114" fmla="*/ 2123344 h 2265361"/>
              <a:gd name="connsiteX115" fmla="*/ 1284537 w 9905999"/>
              <a:gd name="connsiteY115" fmla="*/ 1710816 h 2265361"/>
              <a:gd name="connsiteX116" fmla="*/ 1345276 w 9905999"/>
              <a:gd name="connsiteY116" fmla="*/ 1710816 h 2265361"/>
              <a:gd name="connsiteX117" fmla="*/ 1345276 w 9905999"/>
              <a:gd name="connsiteY117" fmla="*/ 2222531 h 2265361"/>
              <a:gd name="connsiteX118" fmla="*/ 1273289 w 9905999"/>
              <a:gd name="connsiteY118" fmla="*/ 2222531 h 2265361"/>
              <a:gd name="connsiteX119" fmla="*/ 1023580 w 9905999"/>
              <a:gd name="connsiteY119" fmla="*/ 1810003 h 2265361"/>
              <a:gd name="connsiteX120" fmla="*/ 1023580 w 9905999"/>
              <a:gd name="connsiteY120" fmla="*/ 2222531 h 2265361"/>
              <a:gd name="connsiteX121" fmla="*/ 960591 w 9905999"/>
              <a:gd name="connsiteY121" fmla="*/ 2222531 h 2265361"/>
              <a:gd name="connsiteX122" fmla="*/ 960591 w 9905999"/>
              <a:gd name="connsiteY122" fmla="*/ 1710816 h 2265361"/>
              <a:gd name="connsiteX123" fmla="*/ 5597068 w 9905999"/>
              <a:gd name="connsiteY123" fmla="*/ 1701799 h 2265361"/>
              <a:gd name="connsiteX124" fmla="*/ 5736545 w 9905999"/>
              <a:gd name="connsiteY124" fmla="*/ 1755901 h 2265361"/>
              <a:gd name="connsiteX125" fmla="*/ 5801784 w 9905999"/>
              <a:gd name="connsiteY125" fmla="*/ 1967800 h 2265361"/>
              <a:gd name="connsiteX126" fmla="*/ 5736545 w 9905999"/>
              <a:gd name="connsiteY126" fmla="*/ 2177446 h 2265361"/>
              <a:gd name="connsiteX127" fmla="*/ 5597068 w 9905999"/>
              <a:gd name="connsiteY127" fmla="*/ 2233802 h 2265361"/>
              <a:gd name="connsiteX128" fmla="*/ 5459841 w 9905999"/>
              <a:gd name="connsiteY128" fmla="*/ 2177446 h 2265361"/>
              <a:gd name="connsiteX129" fmla="*/ 5394602 w 9905999"/>
              <a:gd name="connsiteY129" fmla="*/ 1967800 h 2265361"/>
              <a:gd name="connsiteX130" fmla="*/ 5459841 w 9905999"/>
              <a:gd name="connsiteY130" fmla="*/ 1755901 h 2265361"/>
              <a:gd name="connsiteX131" fmla="*/ 5597068 w 9905999"/>
              <a:gd name="connsiteY131" fmla="*/ 1701799 h 2265361"/>
              <a:gd name="connsiteX132" fmla="*/ 4645477 w 9905999"/>
              <a:gd name="connsiteY132" fmla="*/ 1701799 h 2265361"/>
              <a:gd name="connsiteX133" fmla="*/ 4791702 w 9905999"/>
              <a:gd name="connsiteY133" fmla="*/ 1758155 h 2265361"/>
              <a:gd name="connsiteX134" fmla="*/ 4834445 w 9905999"/>
              <a:gd name="connsiteY134" fmla="*/ 1859597 h 2265361"/>
              <a:gd name="connsiteX135" fmla="*/ 4766956 w 9905999"/>
              <a:gd name="connsiteY135" fmla="*/ 1859597 h 2265361"/>
              <a:gd name="connsiteX136" fmla="*/ 4744460 w 9905999"/>
              <a:gd name="connsiteY136" fmla="*/ 1803240 h 2265361"/>
              <a:gd name="connsiteX137" fmla="*/ 4645477 w 9905999"/>
              <a:gd name="connsiteY137" fmla="*/ 1762664 h 2265361"/>
              <a:gd name="connsiteX138" fmla="*/ 4550992 w 9905999"/>
              <a:gd name="connsiteY138" fmla="*/ 1800986 h 2265361"/>
              <a:gd name="connsiteX139" fmla="*/ 4506000 w 9905999"/>
              <a:gd name="connsiteY139" fmla="*/ 1967800 h 2265361"/>
              <a:gd name="connsiteX140" fmla="*/ 4553242 w 9905999"/>
              <a:gd name="connsiteY140" fmla="*/ 2134615 h 2265361"/>
              <a:gd name="connsiteX141" fmla="*/ 4645477 w 9905999"/>
              <a:gd name="connsiteY141" fmla="*/ 2172937 h 2265361"/>
              <a:gd name="connsiteX142" fmla="*/ 4737711 w 9905999"/>
              <a:gd name="connsiteY142" fmla="*/ 2136869 h 2265361"/>
              <a:gd name="connsiteX143" fmla="*/ 4780454 w 9905999"/>
              <a:gd name="connsiteY143" fmla="*/ 2006123 h 2265361"/>
              <a:gd name="connsiteX144" fmla="*/ 4645477 w 9905999"/>
              <a:gd name="connsiteY144" fmla="*/ 2006123 h 2265361"/>
              <a:gd name="connsiteX145" fmla="*/ 4645477 w 9905999"/>
              <a:gd name="connsiteY145" fmla="*/ 1947512 h 2265361"/>
              <a:gd name="connsiteX146" fmla="*/ 4838944 w 9905999"/>
              <a:gd name="connsiteY146" fmla="*/ 1947512 h 2265361"/>
              <a:gd name="connsiteX147" fmla="*/ 4838944 w 9905999"/>
              <a:gd name="connsiteY147" fmla="*/ 2222531 h 2265361"/>
              <a:gd name="connsiteX148" fmla="*/ 4793952 w 9905999"/>
              <a:gd name="connsiteY148" fmla="*/ 2222531 h 2265361"/>
              <a:gd name="connsiteX149" fmla="*/ 4782704 w 9905999"/>
              <a:gd name="connsiteY149" fmla="*/ 2161666 h 2265361"/>
              <a:gd name="connsiteX150" fmla="*/ 4645477 w 9905999"/>
              <a:gd name="connsiteY150" fmla="*/ 2233802 h 2265361"/>
              <a:gd name="connsiteX151" fmla="*/ 4506000 w 9905999"/>
              <a:gd name="connsiteY151" fmla="*/ 2179700 h 2265361"/>
              <a:gd name="connsiteX152" fmla="*/ 4440761 w 9905999"/>
              <a:gd name="connsiteY152" fmla="*/ 1967800 h 2265361"/>
              <a:gd name="connsiteX153" fmla="*/ 4506000 w 9905999"/>
              <a:gd name="connsiteY153" fmla="*/ 1755901 h 2265361"/>
              <a:gd name="connsiteX154" fmla="*/ 4645477 w 9905999"/>
              <a:gd name="connsiteY154" fmla="*/ 1701799 h 2265361"/>
              <a:gd name="connsiteX155" fmla="*/ 4002083 w 9905999"/>
              <a:gd name="connsiteY155" fmla="*/ 1701799 h 2265361"/>
              <a:gd name="connsiteX156" fmla="*/ 4148309 w 9905999"/>
              <a:gd name="connsiteY156" fmla="*/ 1758155 h 2265361"/>
              <a:gd name="connsiteX157" fmla="*/ 4193302 w 9905999"/>
              <a:gd name="connsiteY157" fmla="*/ 1859597 h 2265361"/>
              <a:gd name="connsiteX158" fmla="*/ 4125813 w 9905999"/>
              <a:gd name="connsiteY158" fmla="*/ 1859597 h 2265361"/>
              <a:gd name="connsiteX159" fmla="*/ 4103317 w 9905999"/>
              <a:gd name="connsiteY159" fmla="*/ 1803240 h 2265361"/>
              <a:gd name="connsiteX160" fmla="*/ 4002083 w 9905999"/>
              <a:gd name="connsiteY160" fmla="*/ 1762664 h 2265361"/>
              <a:gd name="connsiteX161" fmla="*/ 3909849 w 9905999"/>
              <a:gd name="connsiteY161" fmla="*/ 1800986 h 2265361"/>
              <a:gd name="connsiteX162" fmla="*/ 3864856 w 9905999"/>
              <a:gd name="connsiteY162" fmla="*/ 1967800 h 2265361"/>
              <a:gd name="connsiteX163" fmla="*/ 3909849 w 9905999"/>
              <a:gd name="connsiteY163" fmla="*/ 2134615 h 2265361"/>
              <a:gd name="connsiteX164" fmla="*/ 4002083 w 9905999"/>
              <a:gd name="connsiteY164" fmla="*/ 2172937 h 2265361"/>
              <a:gd name="connsiteX165" fmla="*/ 4094318 w 9905999"/>
              <a:gd name="connsiteY165" fmla="*/ 2136869 h 2265361"/>
              <a:gd name="connsiteX166" fmla="*/ 4139311 w 9905999"/>
              <a:gd name="connsiteY166" fmla="*/ 2006123 h 2265361"/>
              <a:gd name="connsiteX167" fmla="*/ 4002083 w 9905999"/>
              <a:gd name="connsiteY167" fmla="*/ 2006123 h 2265361"/>
              <a:gd name="connsiteX168" fmla="*/ 4002083 w 9905999"/>
              <a:gd name="connsiteY168" fmla="*/ 1947512 h 2265361"/>
              <a:gd name="connsiteX169" fmla="*/ 4197801 w 9905999"/>
              <a:gd name="connsiteY169" fmla="*/ 1947512 h 2265361"/>
              <a:gd name="connsiteX170" fmla="*/ 4197801 w 9905999"/>
              <a:gd name="connsiteY170" fmla="*/ 2222531 h 2265361"/>
              <a:gd name="connsiteX171" fmla="*/ 4152808 w 9905999"/>
              <a:gd name="connsiteY171" fmla="*/ 2222531 h 2265361"/>
              <a:gd name="connsiteX172" fmla="*/ 4141560 w 9905999"/>
              <a:gd name="connsiteY172" fmla="*/ 2161666 h 2265361"/>
              <a:gd name="connsiteX173" fmla="*/ 4002083 w 9905999"/>
              <a:gd name="connsiteY173" fmla="*/ 2233802 h 2265361"/>
              <a:gd name="connsiteX174" fmla="*/ 3864856 w 9905999"/>
              <a:gd name="connsiteY174" fmla="*/ 2179700 h 2265361"/>
              <a:gd name="connsiteX175" fmla="*/ 3797367 w 9905999"/>
              <a:gd name="connsiteY175" fmla="*/ 1967800 h 2265361"/>
              <a:gd name="connsiteX176" fmla="*/ 3864856 w 9905999"/>
              <a:gd name="connsiteY176" fmla="*/ 1755901 h 2265361"/>
              <a:gd name="connsiteX177" fmla="*/ 4002083 w 9905999"/>
              <a:gd name="connsiteY177" fmla="*/ 1701799 h 2265361"/>
              <a:gd name="connsiteX178" fmla="*/ 1642228 w 9905999"/>
              <a:gd name="connsiteY178" fmla="*/ 1701799 h 2265361"/>
              <a:gd name="connsiteX179" fmla="*/ 1774955 w 9905999"/>
              <a:gd name="connsiteY179" fmla="*/ 1749138 h 2265361"/>
              <a:gd name="connsiteX180" fmla="*/ 1824447 w 9905999"/>
              <a:gd name="connsiteY180" fmla="*/ 1859597 h 2265361"/>
              <a:gd name="connsiteX181" fmla="*/ 1756958 w 9905999"/>
              <a:gd name="connsiteY181" fmla="*/ 1859597 h 2265361"/>
              <a:gd name="connsiteX182" fmla="*/ 1732212 w 9905999"/>
              <a:gd name="connsiteY182" fmla="*/ 1796478 h 2265361"/>
              <a:gd name="connsiteX183" fmla="*/ 1639978 w 9905999"/>
              <a:gd name="connsiteY183" fmla="*/ 1760410 h 2265361"/>
              <a:gd name="connsiteX184" fmla="*/ 1549993 w 9905999"/>
              <a:gd name="connsiteY184" fmla="*/ 1796478 h 2265361"/>
              <a:gd name="connsiteX185" fmla="*/ 1529746 w 9905999"/>
              <a:gd name="connsiteY185" fmla="*/ 1850580 h 2265361"/>
              <a:gd name="connsiteX186" fmla="*/ 1606234 w 9905999"/>
              <a:gd name="connsiteY186" fmla="*/ 1922716 h 2265361"/>
              <a:gd name="connsiteX187" fmla="*/ 1691719 w 9905999"/>
              <a:gd name="connsiteY187" fmla="*/ 1936241 h 2265361"/>
              <a:gd name="connsiteX188" fmla="*/ 1833445 w 9905999"/>
              <a:gd name="connsiteY188" fmla="*/ 2082767 h 2265361"/>
              <a:gd name="connsiteX189" fmla="*/ 1790703 w 9905999"/>
              <a:gd name="connsiteY189" fmla="*/ 2181954 h 2265361"/>
              <a:gd name="connsiteX190" fmla="*/ 1644477 w 9905999"/>
              <a:gd name="connsiteY190" fmla="*/ 2231547 h 2265361"/>
              <a:gd name="connsiteX191" fmla="*/ 1498251 w 9905999"/>
              <a:gd name="connsiteY191" fmla="*/ 2184208 h 2265361"/>
              <a:gd name="connsiteX192" fmla="*/ 1444260 w 9905999"/>
              <a:gd name="connsiteY192" fmla="*/ 2060225 h 2265361"/>
              <a:gd name="connsiteX193" fmla="*/ 1509499 w 9905999"/>
              <a:gd name="connsiteY193" fmla="*/ 2060225 h 2265361"/>
              <a:gd name="connsiteX194" fmla="*/ 1545494 w 9905999"/>
              <a:gd name="connsiteY194" fmla="*/ 2141378 h 2265361"/>
              <a:gd name="connsiteX195" fmla="*/ 1644477 w 9905999"/>
              <a:gd name="connsiteY195" fmla="*/ 2172937 h 2265361"/>
              <a:gd name="connsiteX196" fmla="*/ 1738962 w 9905999"/>
              <a:gd name="connsiteY196" fmla="*/ 2143632 h 2265361"/>
              <a:gd name="connsiteX197" fmla="*/ 1765956 w 9905999"/>
              <a:gd name="connsiteY197" fmla="*/ 2082767 h 2265361"/>
              <a:gd name="connsiteX198" fmla="*/ 1680471 w 9905999"/>
              <a:gd name="connsiteY198" fmla="*/ 2001614 h 2265361"/>
              <a:gd name="connsiteX199" fmla="*/ 1599484 w 9905999"/>
              <a:gd name="connsiteY199" fmla="*/ 1988089 h 2265361"/>
              <a:gd name="connsiteX200" fmla="*/ 1462257 w 9905999"/>
              <a:gd name="connsiteY200" fmla="*/ 1852834 h 2265361"/>
              <a:gd name="connsiteX201" fmla="*/ 1507249 w 9905999"/>
              <a:gd name="connsiteY201" fmla="*/ 1751393 h 2265361"/>
              <a:gd name="connsiteX202" fmla="*/ 1642228 w 9905999"/>
              <a:gd name="connsiteY202" fmla="*/ 1701799 h 2265361"/>
              <a:gd name="connsiteX203" fmla="*/ 654642 w 9905999"/>
              <a:gd name="connsiteY203" fmla="*/ 1701799 h 2265361"/>
              <a:gd name="connsiteX204" fmla="*/ 791868 w 9905999"/>
              <a:gd name="connsiteY204" fmla="*/ 1755901 h 2265361"/>
              <a:gd name="connsiteX205" fmla="*/ 857108 w 9905999"/>
              <a:gd name="connsiteY205" fmla="*/ 1967800 h 2265361"/>
              <a:gd name="connsiteX206" fmla="*/ 791868 w 9905999"/>
              <a:gd name="connsiteY206" fmla="*/ 2177446 h 2265361"/>
              <a:gd name="connsiteX207" fmla="*/ 654642 w 9905999"/>
              <a:gd name="connsiteY207" fmla="*/ 2233802 h 2265361"/>
              <a:gd name="connsiteX208" fmla="*/ 515164 w 9905999"/>
              <a:gd name="connsiteY208" fmla="*/ 2177446 h 2265361"/>
              <a:gd name="connsiteX209" fmla="*/ 449925 w 9905999"/>
              <a:gd name="connsiteY209" fmla="*/ 1967800 h 2265361"/>
              <a:gd name="connsiteX210" fmla="*/ 515164 w 9905999"/>
              <a:gd name="connsiteY210" fmla="*/ 1755901 h 2265361"/>
              <a:gd name="connsiteX211" fmla="*/ 654642 w 9905999"/>
              <a:gd name="connsiteY211" fmla="*/ 1701799 h 2265361"/>
              <a:gd name="connsiteX212" fmla="*/ 202466 w 9905999"/>
              <a:gd name="connsiteY212" fmla="*/ 1701799 h 2265361"/>
              <a:gd name="connsiteX213" fmla="*/ 339693 w 9905999"/>
              <a:gd name="connsiteY213" fmla="*/ 1753647 h 2265361"/>
              <a:gd name="connsiteX214" fmla="*/ 389185 w 9905999"/>
              <a:gd name="connsiteY214" fmla="*/ 1870868 h 2265361"/>
              <a:gd name="connsiteX215" fmla="*/ 323946 w 9905999"/>
              <a:gd name="connsiteY215" fmla="*/ 1870868 h 2265361"/>
              <a:gd name="connsiteX216" fmla="*/ 294701 w 9905999"/>
              <a:gd name="connsiteY216" fmla="*/ 1798732 h 2265361"/>
              <a:gd name="connsiteX217" fmla="*/ 202466 w 9905999"/>
              <a:gd name="connsiteY217" fmla="*/ 1762664 h 2265361"/>
              <a:gd name="connsiteX218" fmla="*/ 110232 w 9905999"/>
              <a:gd name="connsiteY218" fmla="*/ 1800986 h 2265361"/>
              <a:gd name="connsiteX219" fmla="*/ 67489 w 9905999"/>
              <a:gd name="connsiteY219" fmla="*/ 1967800 h 2265361"/>
              <a:gd name="connsiteX220" fmla="*/ 110232 w 9905999"/>
              <a:gd name="connsiteY220" fmla="*/ 2132361 h 2265361"/>
              <a:gd name="connsiteX221" fmla="*/ 202466 w 9905999"/>
              <a:gd name="connsiteY221" fmla="*/ 2172937 h 2265361"/>
              <a:gd name="connsiteX222" fmla="*/ 296951 w 9905999"/>
              <a:gd name="connsiteY222" fmla="*/ 2132361 h 2265361"/>
              <a:gd name="connsiteX223" fmla="*/ 323946 w 9905999"/>
              <a:gd name="connsiteY223" fmla="*/ 2060225 h 2265361"/>
              <a:gd name="connsiteX224" fmla="*/ 391435 w 9905999"/>
              <a:gd name="connsiteY224" fmla="*/ 2060225 h 2265361"/>
              <a:gd name="connsiteX225" fmla="*/ 339693 w 9905999"/>
              <a:gd name="connsiteY225" fmla="*/ 2177446 h 2265361"/>
              <a:gd name="connsiteX226" fmla="*/ 202466 w 9905999"/>
              <a:gd name="connsiteY226" fmla="*/ 2233802 h 2265361"/>
              <a:gd name="connsiteX227" fmla="*/ 65239 w 9905999"/>
              <a:gd name="connsiteY227" fmla="*/ 2177446 h 2265361"/>
              <a:gd name="connsiteX228" fmla="*/ 0 w 9905999"/>
              <a:gd name="connsiteY228" fmla="*/ 1967800 h 2265361"/>
              <a:gd name="connsiteX229" fmla="*/ 65239 w 9905999"/>
              <a:gd name="connsiteY229" fmla="*/ 1755901 h 2265361"/>
              <a:gd name="connsiteX230" fmla="*/ 202466 w 9905999"/>
              <a:gd name="connsiteY230" fmla="*/ 1701799 h 2265361"/>
              <a:gd name="connsiteX231" fmla="*/ 2227389 w 9905999"/>
              <a:gd name="connsiteY231" fmla="*/ 214047 h 2265361"/>
              <a:gd name="connsiteX232" fmla="*/ 2227389 w 9905999"/>
              <a:gd name="connsiteY232" fmla="*/ 574548 h 2265361"/>
              <a:gd name="connsiteX233" fmla="*/ 2456649 w 9905999"/>
              <a:gd name="connsiteY233" fmla="*/ 574548 h 2265361"/>
              <a:gd name="connsiteX234" fmla="*/ 2654442 w 9905999"/>
              <a:gd name="connsiteY234" fmla="*/ 394298 h 2265361"/>
              <a:gd name="connsiteX235" fmla="*/ 2456649 w 9905999"/>
              <a:gd name="connsiteY235" fmla="*/ 214047 h 2265361"/>
              <a:gd name="connsiteX236" fmla="*/ 2227389 w 9905999"/>
              <a:gd name="connsiteY236" fmla="*/ 214047 h 2265361"/>
              <a:gd name="connsiteX237" fmla="*/ 8961436 w 9905999"/>
              <a:gd name="connsiteY237" fmla="*/ 0 h 2265361"/>
              <a:gd name="connsiteX238" fmla="*/ 9905999 w 9905999"/>
              <a:gd name="connsiteY238" fmla="*/ 0 h 2265361"/>
              <a:gd name="connsiteX239" fmla="*/ 9905999 w 9905999"/>
              <a:gd name="connsiteY239" fmla="*/ 225425 h 2265361"/>
              <a:gd name="connsiteX240" fmla="*/ 9555161 w 9905999"/>
              <a:gd name="connsiteY240" fmla="*/ 225425 h 2265361"/>
              <a:gd name="connsiteX241" fmla="*/ 9555161 w 9905999"/>
              <a:gd name="connsiteY241" fmla="*/ 1214437 h 2265361"/>
              <a:gd name="connsiteX242" fmla="*/ 9315449 w 9905999"/>
              <a:gd name="connsiteY242" fmla="*/ 1214437 h 2265361"/>
              <a:gd name="connsiteX243" fmla="*/ 9315449 w 9905999"/>
              <a:gd name="connsiteY243" fmla="*/ 225425 h 2265361"/>
              <a:gd name="connsiteX244" fmla="*/ 8961436 w 9905999"/>
              <a:gd name="connsiteY244" fmla="*/ 225425 h 2265361"/>
              <a:gd name="connsiteX245" fmla="*/ 7785099 w 9905999"/>
              <a:gd name="connsiteY245" fmla="*/ 0 h 2265361"/>
              <a:gd name="connsiteX246" fmla="*/ 8035924 w 9905999"/>
              <a:gd name="connsiteY246" fmla="*/ 0 h 2265361"/>
              <a:gd name="connsiteX247" fmla="*/ 8037512 w 9905999"/>
              <a:gd name="connsiteY247" fmla="*/ 3175 h 2265361"/>
              <a:gd name="connsiteX248" fmla="*/ 8523286 w 9905999"/>
              <a:gd name="connsiteY248" fmla="*/ 774700 h 2265361"/>
              <a:gd name="connsiteX249" fmla="*/ 8523286 w 9905999"/>
              <a:gd name="connsiteY249" fmla="*/ 0 h 2265361"/>
              <a:gd name="connsiteX250" fmla="*/ 8759824 w 9905999"/>
              <a:gd name="connsiteY250" fmla="*/ 0 h 2265361"/>
              <a:gd name="connsiteX251" fmla="*/ 8759824 w 9905999"/>
              <a:gd name="connsiteY251" fmla="*/ 1214437 h 2265361"/>
              <a:gd name="connsiteX252" fmla="*/ 8518524 w 9905999"/>
              <a:gd name="connsiteY252" fmla="*/ 1214437 h 2265361"/>
              <a:gd name="connsiteX253" fmla="*/ 8024812 w 9905999"/>
              <a:gd name="connsiteY253" fmla="*/ 425450 h 2265361"/>
              <a:gd name="connsiteX254" fmla="*/ 8024812 w 9905999"/>
              <a:gd name="connsiteY254" fmla="*/ 1214437 h 2265361"/>
              <a:gd name="connsiteX255" fmla="*/ 7785099 w 9905999"/>
              <a:gd name="connsiteY255" fmla="*/ 1214437 h 2265361"/>
              <a:gd name="connsiteX256" fmla="*/ 6665911 w 9905999"/>
              <a:gd name="connsiteY256" fmla="*/ 0 h 2265361"/>
              <a:gd name="connsiteX257" fmla="*/ 7535861 w 9905999"/>
              <a:gd name="connsiteY257" fmla="*/ 0 h 2265361"/>
              <a:gd name="connsiteX258" fmla="*/ 7535861 w 9905999"/>
              <a:gd name="connsiteY258" fmla="*/ 220663 h 2265361"/>
              <a:gd name="connsiteX259" fmla="*/ 6905624 w 9905999"/>
              <a:gd name="connsiteY259" fmla="*/ 220663 h 2265361"/>
              <a:gd name="connsiteX260" fmla="*/ 6905624 w 9905999"/>
              <a:gd name="connsiteY260" fmla="*/ 473075 h 2265361"/>
              <a:gd name="connsiteX261" fmla="*/ 7459661 w 9905999"/>
              <a:gd name="connsiteY261" fmla="*/ 473075 h 2265361"/>
              <a:gd name="connsiteX262" fmla="*/ 7459661 w 9905999"/>
              <a:gd name="connsiteY262" fmla="*/ 690562 h 2265361"/>
              <a:gd name="connsiteX263" fmla="*/ 6905624 w 9905999"/>
              <a:gd name="connsiteY263" fmla="*/ 690562 h 2265361"/>
              <a:gd name="connsiteX264" fmla="*/ 6905624 w 9905999"/>
              <a:gd name="connsiteY264" fmla="*/ 993775 h 2265361"/>
              <a:gd name="connsiteX265" fmla="*/ 7535861 w 9905999"/>
              <a:gd name="connsiteY265" fmla="*/ 993775 h 2265361"/>
              <a:gd name="connsiteX266" fmla="*/ 7535861 w 9905999"/>
              <a:gd name="connsiteY266" fmla="*/ 1214437 h 2265361"/>
              <a:gd name="connsiteX267" fmla="*/ 6665911 w 9905999"/>
              <a:gd name="connsiteY267" fmla="*/ 1214437 h 2265361"/>
              <a:gd name="connsiteX268" fmla="*/ 5221286 w 9905999"/>
              <a:gd name="connsiteY268" fmla="*/ 0 h 2265361"/>
              <a:gd name="connsiteX269" fmla="*/ 5534024 w 9905999"/>
              <a:gd name="connsiteY269" fmla="*/ 0 h 2265361"/>
              <a:gd name="connsiteX270" fmla="*/ 5835649 w 9905999"/>
              <a:gd name="connsiteY270" fmla="*/ 823912 h 2265361"/>
              <a:gd name="connsiteX271" fmla="*/ 6142037 w 9905999"/>
              <a:gd name="connsiteY271" fmla="*/ 0 h 2265361"/>
              <a:gd name="connsiteX272" fmla="*/ 6438899 w 9905999"/>
              <a:gd name="connsiteY272" fmla="*/ 0 h 2265361"/>
              <a:gd name="connsiteX273" fmla="*/ 6438899 w 9905999"/>
              <a:gd name="connsiteY273" fmla="*/ 1214437 h 2265361"/>
              <a:gd name="connsiteX274" fmla="*/ 6203949 w 9905999"/>
              <a:gd name="connsiteY274" fmla="*/ 1214437 h 2265361"/>
              <a:gd name="connsiteX275" fmla="*/ 6203949 w 9905999"/>
              <a:gd name="connsiteY275" fmla="*/ 419100 h 2265361"/>
              <a:gd name="connsiteX276" fmla="*/ 5916612 w 9905999"/>
              <a:gd name="connsiteY276" fmla="*/ 1196975 h 2265361"/>
              <a:gd name="connsiteX277" fmla="*/ 5740399 w 9905999"/>
              <a:gd name="connsiteY277" fmla="*/ 1196975 h 2265361"/>
              <a:gd name="connsiteX278" fmla="*/ 5454649 w 9905999"/>
              <a:gd name="connsiteY278" fmla="*/ 409575 h 2265361"/>
              <a:gd name="connsiteX279" fmla="*/ 5454649 w 9905999"/>
              <a:gd name="connsiteY279" fmla="*/ 1214437 h 2265361"/>
              <a:gd name="connsiteX280" fmla="*/ 5221286 w 9905999"/>
              <a:gd name="connsiteY280" fmla="*/ 1214437 h 2265361"/>
              <a:gd name="connsiteX281" fmla="*/ 4098924 w 9905999"/>
              <a:gd name="connsiteY281" fmla="*/ 0 h 2265361"/>
              <a:gd name="connsiteX282" fmla="*/ 4968874 w 9905999"/>
              <a:gd name="connsiteY282" fmla="*/ 0 h 2265361"/>
              <a:gd name="connsiteX283" fmla="*/ 4968874 w 9905999"/>
              <a:gd name="connsiteY283" fmla="*/ 220663 h 2265361"/>
              <a:gd name="connsiteX284" fmla="*/ 4340224 w 9905999"/>
              <a:gd name="connsiteY284" fmla="*/ 220663 h 2265361"/>
              <a:gd name="connsiteX285" fmla="*/ 4340224 w 9905999"/>
              <a:gd name="connsiteY285" fmla="*/ 473075 h 2265361"/>
              <a:gd name="connsiteX286" fmla="*/ 4895849 w 9905999"/>
              <a:gd name="connsiteY286" fmla="*/ 473075 h 2265361"/>
              <a:gd name="connsiteX287" fmla="*/ 4895849 w 9905999"/>
              <a:gd name="connsiteY287" fmla="*/ 690562 h 2265361"/>
              <a:gd name="connsiteX288" fmla="*/ 4340224 w 9905999"/>
              <a:gd name="connsiteY288" fmla="*/ 690562 h 2265361"/>
              <a:gd name="connsiteX289" fmla="*/ 4340224 w 9905999"/>
              <a:gd name="connsiteY289" fmla="*/ 993775 h 2265361"/>
              <a:gd name="connsiteX290" fmla="*/ 4968874 w 9905999"/>
              <a:gd name="connsiteY290" fmla="*/ 993775 h 2265361"/>
              <a:gd name="connsiteX291" fmla="*/ 4968874 w 9905999"/>
              <a:gd name="connsiteY291" fmla="*/ 1214437 h 2265361"/>
              <a:gd name="connsiteX292" fmla="*/ 4098924 w 9905999"/>
              <a:gd name="connsiteY292" fmla="*/ 1214437 h 2265361"/>
              <a:gd name="connsiteX293" fmla="*/ 3079749 w 9905999"/>
              <a:gd name="connsiteY293" fmla="*/ 0 h 2265361"/>
              <a:gd name="connsiteX294" fmla="*/ 3321049 w 9905999"/>
              <a:gd name="connsiteY294" fmla="*/ 0 h 2265361"/>
              <a:gd name="connsiteX295" fmla="*/ 3321049 w 9905999"/>
              <a:gd name="connsiteY295" fmla="*/ 984250 h 2265361"/>
              <a:gd name="connsiteX296" fmla="*/ 3871912 w 9905999"/>
              <a:gd name="connsiteY296" fmla="*/ 984250 h 2265361"/>
              <a:gd name="connsiteX297" fmla="*/ 3871912 w 9905999"/>
              <a:gd name="connsiteY297" fmla="*/ 1214437 h 2265361"/>
              <a:gd name="connsiteX298" fmla="*/ 3079749 w 9905999"/>
              <a:gd name="connsiteY298" fmla="*/ 1214437 h 2265361"/>
              <a:gd name="connsiteX299" fmla="*/ 1989138 w 9905999"/>
              <a:gd name="connsiteY299" fmla="*/ 0 h 2265361"/>
              <a:gd name="connsiteX300" fmla="*/ 2465639 w 9905999"/>
              <a:gd name="connsiteY300" fmla="*/ 0 h 2265361"/>
              <a:gd name="connsiteX301" fmla="*/ 2897188 w 9905999"/>
              <a:gd name="connsiteY301" fmla="*/ 392045 h 2265361"/>
              <a:gd name="connsiteX302" fmla="*/ 2465639 w 9905999"/>
              <a:gd name="connsiteY302" fmla="*/ 786342 h 2265361"/>
              <a:gd name="connsiteX303" fmla="*/ 2227389 w 9905999"/>
              <a:gd name="connsiteY303" fmla="*/ 786342 h 2265361"/>
              <a:gd name="connsiteX304" fmla="*/ 2227389 w 9905999"/>
              <a:gd name="connsiteY304" fmla="*/ 1214437 h 2265361"/>
              <a:gd name="connsiteX305" fmla="*/ 1989138 w 9905999"/>
              <a:gd name="connsiteY305" fmla="*/ 1214437 h 2265361"/>
              <a:gd name="connsiteX306" fmla="*/ 1989138 w 9905999"/>
              <a:gd name="connsiteY306" fmla="*/ 0 h 2265361"/>
              <a:gd name="connsiteX307" fmla="*/ 520699 w 9905999"/>
              <a:gd name="connsiteY307" fmla="*/ 0 h 2265361"/>
              <a:gd name="connsiteX308" fmla="*/ 833436 w 9905999"/>
              <a:gd name="connsiteY308" fmla="*/ 0 h 2265361"/>
              <a:gd name="connsiteX309" fmla="*/ 1135061 w 9905999"/>
              <a:gd name="connsiteY309" fmla="*/ 823912 h 2265361"/>
              <a:gd name="connsiteX310" fmla="*/ 1439862 w 9905999"/>
              <a:gd name="connsiteY310" fmla="*/ 0 h 2265361"/>
              <a:gd name="connsiteX311" fmla="*/ 1736724 w 9905999"/>
              <a:gd name="connsiteY311" fmla="*/ 0 h 2265361"/>
              <a:gd name="connsiteX312" fmla="*/ 1736724 w 9905999"/>
              <a:gd name="connsiteY312" fmla="*/ 1214437 h 2265361"/>
              <a:gd name="connsiteX313" fmla="*/ 1503362 w 9905999"/>
              <a:gd name="connsiteY313" fmla="*/ 1214437 h 2265361"/>
              <a:gd name="connsiteX314" fmla="*/ 1503362 w 9905999"/>
              <a:gd name="connsiteY314" fmla="*/ 419100 h 2265361"/>
              <a:gd name="connsiteX315" fmla="*/ 1216024 w 9905999"/>
              <a:gd name="connsiteY315" fmla="*/ 1196975 h 2265361"/>
              <a:gd name="connsiteX316" fmla="*/ 1039812 w 9905999"/>
              <a:gd name="connsiteY316" fmla="*/ 1196975 h 2265361"/>
              <a:gd name="connsiteX317" fmla="*/ 754062 w 9905999"/>
              <a:gd name="connsiteY317" fmla="*/ 409575 h 2265361"/>
              <a:gd name="connsiteX318" fmla="*/ 754062 w 9905999"/>
              <a:gd name="connsiteY318" fmla="*/ 1214437 h 2265361"/>
              <a:gd name="connsiteX319" fmla="*/ 520699 w 9905999"/>
              <a:gd name="connsiteY319" fmla="*/ 1214437 h 2265361"/>
              <a:gd name="connsiteX320" fmla="*/ 25400 w 9905999"/>
              <a:gd name="connsiteY320" fmla="*/ 0 h 2265361"/>
              <a:gd name="connsiteX321" fmla="*/ 268288 w 9905999"/>
              <a:gd name="connsiteY321" fmla="*/ 0 h 2265361"/>
              <a:gd name="connsiteX322" fmla="*/ 268288 w 9905999"/>
              <a:gd name="connsiteY322" fmla="*/ 1214437 h 2265361"/>
              <a:gd name="connsiteX323" fmla="*/ 25400 w 9905999"/>
              <a:gd name="connsiteY323" fmla="*/ 1214437 h 226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</a:cxnLst>
            <a:rect l="l" t="t" r="r" b="b"/>
            <a:pathLst>
              <a:path w="9905999" h="2265361">
                <a:moveTo>
                  <a:pt x="6778122" y="2222531"/>
                </a:moveTo>
                <a:cubicBezTo>
                  <a:pt x="6778122" y="2222531"/>
                  <a:pt x="6778122" y="2222531"/>
                  <a:pt x="7135812" y="2222531"/>
                </a:cubicBezTo>
                <a:lnTo>
                  <a:pt x="7135812" y="2265361"/>
                </a:lnTo>
                <a:cubicBezTo>
                  <a:pt x="7135812" y="2265361"/>
                  <a:pt x="7135812" y="2265361"/>
                  <a:pt x="6778122" y="2265361"/>
                </a:cubicBezTo>
                <a:cubicBezTo>
                  <a:pt x="6778122" y="2265361"/>
                  <a:pt x="6778122" y="2265361"/>
                  <a:pt x="6778122" y="2222531"/>
                </a:cubicBezTo>
                <a:close/>
                <a:moveTo>
                  <a:pt x="6449676" y="1769427"/>
                </a:moveTo>
                <a:cubicBezTo>
                  <a:pt x="6449676" y="1769427"/>
                  <a:pt x="6449676" y="1769427"/>
                  <a:pt x="6449676" y="1965546"/>
                </a:cubicBezTo>
                <a:cubicBezTo>
                  <a:pt x="6449676" y="1965546"/>
                  <a:pt x="6449676" y="1965546"/>
                  <a:pt x="6575655" y="1965546"/>
                </a:cubicBezTo>
                <a:cubicBezTo>
                  <a:pt x="6643144" y="1965546"/>
                  <a:pt x="6679138" y="1933987"/>
                  <a:pt x="6679138" y="1864105"/>
                </a:cubicBezTo>
                <a:cubicBezTo>
                  <a:pt x="6679138" y="1800986"/>
                  <a:pt x="6638645" y="1769427"/>
                  <a:pt x="6575655" y="1769427"/>
                </a:cubicBezTo>
                <a:cubicBezTo>
                  <a:pt x="6575655" y="1769427"/>
                  <a:pt x="6575655" y="1769427"/>
                  <a:pt x="6449676" y="1769427"/>
                </a:cubicBezTo>
                <a:close/>
                <a:moveTo>
                  <a:pt x="5021164" y="1769427"/>
                </a:moveTo>
                <a:cubicBezTo>
                  <a:pt x="5021164" y="1769427"/>
                  <a:pt x="5021164" y="1769427"/>
                  <a:pt x="5021164" y="1949767"/>
                </a:cubicBezTo>
                <a:cubicBezTo>
                  <a:pt x="5021164" y="1949767"/>
                  <a:pt x="5021164" y="1949767"/>
                  <a:pt x="5158391" y="1949767"/>
                </a:cubicBezTo>
                <a:cubicBezTo>
                  <a:pt x="5219131" y="1949767"/>
                  <a:pt x="5261874" y="1924970"/>
                  <a:pt x="5261874" y="1859597"/>
                </a:cubicBezTo>
                <a:cubicBezTo>
                  <a:pt x="5261874" y="1794223"/>
                  <a:pt x="5219131" y="1769427"/>
                  <a:pt x="5158391" y="1769427"/>
                </a:cubicBezTo>
                <a:cubicBezTo>
                  <a:pt x="5158391" y="1769427"/>
                  <a:pt x="5158391" y="1769427"/>
                  <a:pt x="5021164" y="1769427"/>
                </a:cubicBezTo>
                <a:close/>
                <a:moveTo>
                  <a:pt x="5597068" y="1762664"/>
                </a:moveTo>
                <a:cubicBezTo>
                  <a:pt x="5563324" y="1762664"/>
                  <a:pt x="5529579" y="1776189"/>
                  <a:pt x="5504834" y="1800986"/>
                </a:cubicBezTo>
                <a:cubicBezTo>
                  <a:pt x="5462091" y="1843817"/>
                  <a:pt x="5459841" y="1913699"/>
                  <a:pt x="5459841" y="1967800"/>
                </a:cubicBezTo>
                <a:cubicBezTo>
                  <a:pt x="5459841" y="2019648"/>
                  <a:pt x="5462091" y="2089530"/>
                  <a:pt x="5504834" y="2132361"/>
                </a:cubicBezTo>
                <a:cubicBezTo>
                  <a:pt x="5529579" y="2159412"/>
                  <a:pt x="5563324" y="2170683"/>
                  <a:pt x="5597068" y="2170683"/>
                </a:cubicBezTo>
                <a:cubicBezTo>
                  <a:pt x="5633062" y="2170683"/>
                  <a:pt x="5666807" y="2159412"/>
                  <a:pt x="5691552" y="2132361"/>
                </a:cubicBezTo>
                <a:cubicBezTo>
                  <a:pt x="5732046" y="2089530"/>
                  <a:pt x="5734295" y="2019648"/>
                  <a:pt x="5734295" y="1967800"/>
                </a:cubicBezTo>
                <a:cubicBezTo>
                  <a:pt x="5734295" y="1913699"/>
                  <a:pt x="5732046" y="1843817"/>
                  <a:pt x="5691552" y="1800986"/>
                </a:cubicBezTo>
                <a:cubicBezTo>
                  <a:pt x="5666807" y="1776189"/>
                  <a:pt x="5633062" y="1762664"/>
                  <a:pt x="5597068" y="1762664"/>
                </a:cubicBezTo>
                <a:close/>
                <a:moveTo>
                  <a:pt x="654642" y="1762664"/>
                </a:moveTo>
                <a:cubicBezTo>
                  <a:pt x="618647" y="1762664"/>
                  <a:pt x="584903" y="1776189"/>
                  <a:pt x="560157" y="1800986"/>
                </a:cubicBezTo>
                <a:cubicBezTo>
                  <a:pt x="519664" y="1843817"/>
                  <a:pt x="517414" y="1913699"/>
                  <a:pt x="517414" y="1967800"/>
                </a:cubicBezTo>
                <a:cubicBezTo>
                  <a:pt x="517414" y="2019648"/>
                  <a:pt x="519664" y="2089530"/>
                  <a:pt x="560157" y="2132361"/>
                </a:cubicBezTo>
                <a:cubicBezTo>
                  <a:pt x="584903" y="2159412"/>
                  <a:pt x="618647" y="2170683"/>
                  <a:pt x="654642" y="2170683"/>
                </a:cubicBezTo>
                <a:cubicBezTo>
                  <a:pt x="688386" y="2170683"/>
                  <a:pt x="722130" y="2159412"/>
                  <a:pt x="746876" y="2132361"/>
                </a:cubicBezTo>
                <a:cubicBezTo>
                  <a:pt x="789619" y="2089530"/>
                  <a:pt x="791868" y="2019648"/>
                  <a:pt x="791868" y="1967800"/>
                </a:cubicBezTo>
                <a:cubicBezTo>
                  <a:pt x="791868" y="1913699"/>
                  <a:pt x="789619" y="1843817"/>
                  <a:pt x="746876" y="1800986"/>
                </a:cubicBezTo>
                <a:cubicBezTo>
                  <a:pt x="722130" y="1776189"/>
                  <a:pt x="688386" y="1762664"/>
                  <a:pt x="654642" y="1762664"/>
                </a:cubicBezTo>
                <a:close/>
                <a:moveTo>
                  <a:pt x="6386687" y="1710816"/>
                </a:moveTo>
                <a:cubicBezTo>
                  <a:pt x="6386687" y="1710816"/>
                  <a:pt x="6386687" y="1710816"/>
                  <a:pt x="6575655" y="1710816"/>
                </a:cubicBezTo>
                <a:cubicBezTo>
                  <a:pt x="6636395" y="1710816"/>
                  <a:pt x="6679138" y="1726596"/>
                  <a:pt x="6706134" y="1755901"/>
                </a:cubicBezTo>
                <a:cubicBezTo>
                  <a:pt x="6730880" y="1782952"/>
                  <a:pt x="6744377" y="1821274"/>
                  <a:pt x="6744377" y="1864105"/>
                </a:cubicBezTo>
                <a:cubicBezTo>
                  <a:pt x="6744377" y="1915953"/>
                  <a:pt x="6730880" y="1954275"/>
                  <a:pt x="6701634" y="1981326"/>
                </a:cubicBezTo>
                <a:cubicBezTo>
                  <a:pt x="6674639" y="2008377"/>
                  <a:pt x="6634146" y="2024157"/>
                  <a:pt x="6577905" y="2024157"/>
                </a:cubicBezTo>
                <a:cubicBezTo>
                  <a:pt x="6577905" y="2024157"/>
                  <a:pt x="6577905" y="2024157"/>
                  <a:pt x="6449676" y="2024157"/>
                </a:cubicBezTo>
                <a:cubicBezTo>
                  <a:pt x="6449676" y="2024157"/>
                  <a:pt x="6449676" y="2024157"/>
                  <a:pt x="6449676" y="2222531"/>
                </a:cubicBezTo>
                <a:cubicBezTo>
                  <a:pt x="6449676" y="2222531"/>
                  <a:pt x="6449676" y="2222531"/>
                  <a:pt x="6386687" y="2222531"/>
                </a:cubicBezTo>
                <a:cubicBezTo>
                  <a:pt x="6386687" y="2222531"/>
                  <a:pt x="6386687" y="2222531"/>
                  <a:pt x="6386687" y="1710816"/>
                </a:cubicBezTo>
                <a:close/>
                <a:moveTo>
                  <a:pt x="5889520" y="1710816"/>
                </a:moveTo>
                <a:cubicBezTo>
                  <a:pt x="5889520" y="1710816"/>
                  <a:pt x="5889520" y="1710816"/>
                  <a:pt x="5954759" y="1710816"/>
                </a:cubicBezTo>
                <a:cubicBezTo>
                  <a:pt x="5954759" y="1710816"/>
                  <a:pt x="5954759" y="1710816"/>
                  <a:pt x="5954759" y="2035428"/>
                </a:cubicBezTo>
                <a:cubicBezTo>
                  <a:pt x="5954759" y="2118835"/>
                  <a:pt x="5988503" y="2172937"/>
                  <a:pt x="6076239" y="2172937"/>
                </a:cubicBezTo>
                <a:cubicBezTo>
                  <a:pt x="6166224" y="2172937"/>
                  <a:pt x="6199968" y="2118835"/>
                  <a:pt x="6199968" y="2035428"/>
                </a:cubicBezTo>
                <a:cubicBezTo>
                  <a:pt x="6199968" y="2035428"/>
                  <a:pt x="6199968" y="2035428"/>
                  <a:pt x="6199968" y="1710816"/>
                </a:cubicBezTo>
                <a:cubicBezTo>
                  <a:pt x="6199968" y="1710816"/>
                  <a:pt x="6199968" y="1710816"/>
                  <a:pt x="6262957" y="1710816"/>
                </a:cubicBezTo>
                <a:cubicBezTo>
                  <a:pt x="6262957" y="1710816"/>
                  <a:pt x="6262957" y="1710816"/>
                  <a:pt x="6262957" y="2035428"/>
                </a:cubicBezTo>
                <a:cubicBezTo>
                  <a:pt x="6262957" y="2163920"/>
                  <a:pt x="6190969" y="2231547"/>
                  <a:pt x="6076239" y="2231547"/>
                </a:cubicBezTo>
                <a:cubicBezTo>
                  <a:pt x="5961508" y="2231547"/>
                  <a:pt x="5889520" y="2163920"/>
                  <a:pt x="5889520" y="2035428"/>
                </a:cubicBezTo>
                <a:cubicBezTo>
                  <a:pt x="5889520" y="2035428"/>
                  <a:pt x="5889520" y="2035428"/>
                  <a:pt x="5889520" y="1710816"/>
                </a:cubicBezTo>
                <a:close/>
                <a:moveTo>
                  <a:pt x="4958174" y="1710816"/>
                </a:moveTo>
                <a:cubicBezTo>
                  <a:pt x="4958174" y="1710816"/>
                  <a:pt x="4958174" y="1710816"/>
                  <a:pt x="5158391" y="1710816"/>
                </a:cubicBezTo>
                <a:cubicBezTo>
                  <a:pt x="5219131" y="1710816"/>
                  <a:pt x="5259624" y="1726596"/>
                  <a:pt x="5288869" y="1755901"/>
                </a:cubicBezTo>
                <a:cubicBezTo>
                  <a:pt x="5313615" y="1782952"/>
                  <a:pt x="5329363" y="1814512"/>
                  <a:pt x="5329363" y="1859597"/>
                </a:cubicBezTo>
                <a:cubicBezTo>
                  <a:pt x="5329363" y="1904682"/>
                  <a:pt x="5313615" y="1936241"/>
                  <a:pt x="5288869" y="1961038"/>
                </a:cubicBezTo>
                <a:cubicBezTo>
                  <a:pt x="5275372" y="1976817"/>
                  <a:pt x="5252875" y="1990343"/>
                  <a:pt x="5228130" y="1997106"/>
                </a:cubicBezTo>
                <a:cubicBezTo>
                  <a:pt x="5228130" y="1997106"/>
                  <a:pt x="5228130" y="1997106"/>
                  <a:pt x="5331612" y="2222531"/>
                </a:cubicBezTo>
                <a:lnTo>
                  <a:pt x="5259624" y="2222531"/>
                </a:lnTo>
                <a:cubicBezTo>
                  <a:pt x="5259624" y="2222531"/>
                  <a:pt x="5259624" y="2222531"/>
                  <a:pt x="5162890" y="2010631"/>
                </a:cubicBezTo>
                <a:cubicBezTo>
                  <a:pt x="5162890" y="2010631"/>
                  <a:pt x="5162890" y="2010631"/>
                  <a:pt x="5021164" y="2010631"/>
                </a:cubicBezTo>
                <a:cubicBezTo>
                  <a:pt x="5021164" y="2010631"/>
                  <a:pt x="5021164" y="2010631"/>
                  <a:pt x="5021164" y="2222531"/>
                </a:cubicBezTo>
                <a:cubicBezTo>
                  <a:pt x="5021164" y="2222531"/>
                  <a:pt x="5021164" y="2222531"/>
                  <a:pt x="4958174" y="2222531"/>
                </a:cubicBezTo>
                <a:cubicBezTo>
                  <a:pt x="4958174" y="2222531"/>
                  <a:pt x="4958174" y="2222531"/>
                  <a:pt x="4958174" y="1710816"/>
                </a:cubicBezTo>
                <a:close/>
                <a:moveTo>
                  <a:pt x="3309199" y="1710816"/>
                </a:moveTo>
                <a:cubicBezTo>
                  <a:pt x="3309199" y="1710816"/>
                  <a:pt x="3309199" y="1710816"/>
                  <a:pt x="3381187" y="1710816"/>
                </a:cubicBezTo>
                <a:cubicBezTo>
                  <a:pt x="3381187" y="1710816"/>
                  <a:pt x="3381187" y="1710816"/>
                  <a:pt x="3633145" y="2123344"/>
                </a:cubicBezTo>
                <a:cubicBezTo>
                  <a:pt x="3633145" y="2123344"/>
                  <a:pt x="3633145" y="2123344"/>
                  <a:pt x="3633145" y="1710816"/>
                </a:cubicBezTo>
                <a:cubicBezTo>
                  <a:pt x="3633145" y="1710816"/>
                  <a:pt x="3633145" y="1710816"/>
                  <a:pt x="3693885" y="1710816"/>
                </a:cubicBezTo>
                <a:cubicBezTo>
                  <a:pt x="3693885" y="1710816"/>
                  <a:pt x="3693885" y="1710816"/>
                  <a:pt x="3693885" y="2222531"/>
                </a:cubicBezTo>
                <a:lnTo>
                  <a:pt x="3621897" y="2222531"/>
                </a:lnTo>
                <a:cubicBezTo>
                  <a:pt x="3621897" y="2222531"/>
                  <a:pt x="3621897" y="2222531"/>
                  <a:pt x="3372188" y="1810003"/>
                </a:cubicBezTo>
                <a:cubicBezTo>
                  <a:pt x="3372188" y="1810003"/>
                  <a:pt x="3372188" y="1810003"/>
                  <a:pt x="3372188" y="2222531"/>
                </a:cubicBezTo>
                <a:cubicBezTo>
                  <a:pt x="3372188" y="2222531"/>
                  <a:pt x="3372188" y="2222531"/>
                  <a:pt x="3309199" y="2222531"/>
                </a:cubicBezTo>
                <a:cubicBezTo>
                  <a:pt x="3309199" y="2222531"/>
                  <a:pt x="3309199" y="2222531"/>
                  <a:pt x="3309199" y="1710816"/>
                </a:cubicBezTo>
                <a:close/>
                <a:moveTo>
                  <a:pt x="3106732" y="1710816"/>
                </a:moveTo>
                <a:cubicBezTo>
                  <a:pt x="3106732" y="1710816"/>
                  <a:pt x="3106732" y="1710816"/>
                  <a:pt x="3171971" y="1710816"/>
                </a:cubicBezTo>
                <a:lnTo>
                  <a:pt x="3171971" y="2222531"/>
                </a:lnTo>
                <a:cubicBezTo>
                  <a:pt x="3171971" y="2222531"/>
                  <a:pt x="3171971" y="2222531"/>
                  <a:pt x="3106732" y="2222531"/>
                </a:cubicBezTo>
                <a:cubicBezTo>
                  <a:pt x="3106732" y="2222531"/>
                  <a:pt x="3106732" y="2222531"/>
                  <a:pt x="3106732" y="1710816"/>
                </a:cubicBezTo>
                <a:close/>
                <a:moveTo>
                  <a:pt x="2663557" y="1710816"/>
                </a:moveTo>
                <a:cubicBezTo>
                  <a:pt x="2663557" y="1710816"/>
                  <a:pt x="2663557" y="1710816"/>
                  <a:pt x="3032495" y="1710816"/>
                </a:cubicBezTo>
                <a:cubicBezTo>
                  <a:pt x="3032495" y="1710816"/>
                  <a:pt x="3032495" y="1710816"/>
                  <a:pt x="3032495" y="1769427"/>
                </a:cubicBezTo>
                <a:lnTo>
                  <a:pt x="2879521" y="1769427"/>
                </a:lnTo>
                <a:cubicBezTo>
                  <a:pt x="2879521" y="1769427"/>
                  <a:pt x="2879521" y="1769427"/>
                  <a:pt x="2879521" y="2222531"/>
                </a:cubicBezTo>
                <a:cubicBezTo>
                  <a:pt x="2879521" y="2222531"/>
                  <a:pt x="2879521" y="2222531"/>
                  <a:pt x="2814282" y="2222531"/>
                </a:cubicBezTo>
                <a:cubicBezTo>
                  <a:pt x="2814282" y="2222531"/>
                  <a:pt x="2814282" y="2222531"/>
                  <a:pt x="2814282" y="1769427"/>
                </a:cubicBezTo>
                <a:cubicBezTo>
                  <a:pt x="2814282" y="1769427"/>
                  <a:pt x="2814282" y="1769427"/>
                  <a:pt x="2663557" y="1769427"/>
                </a:cubicBezTo>
                <a:cubicBezTo>
                  <a:pt x="2663557" y="1769427"/>
                  <a:pt x="2663557" y="1769427"/>
                  <a:pt x="2663557" y="1710816"/>
                </a:cubicBezTo>
                <a:close/>
                <a:moveTo>
                  <a:pt x="2416099" y="1710816"/>
                </a:moveTo>
                <a:cubicBezTo>
                  <a:pt x="2416099" y="1710816"/>
                  <a:pt x="2416099" y="1710816"/>
                  <a:pt x="2481338" y="1710816"/>
                </a:cubicBezTo>
                <a:cubicBezTo>
                  <a:pt x="2481338" y="1710816"/>
                  <a:pt x="2481338" y="1710816"/>
                  <a:pt x="2481338" y="2163920"/>
                </a:cubicBezTo>
                <a:cubicBezTo>
                  <a:pt x="2481338" y="2163920"/>
                  <a:pt x="2481338" y="2163920"/>
                  <a:pt x="2726547" y="2163920"/>
                </a:cubicBezTo>
                <a:cubicBezTo>
                  <a:pt x="2726547" y="2163920"/>
                  <a:pt x="2726547" y="2163920"/>
                  <a:pt x="2726547" y="2222531"/>
                </a:cubicBezTo>
                <a:lnTo>
                  <a:pt x="2416099" y="2222531"/>
                </a:lnTo>
                <a:cubicBezTo>
                  <a:pt x="2416099" y="2222531"/>
                  <a:pt x="2416099" y="2222531"/>
                  <a:pt x="2416099" y="1710816"/>
                </a:cubicBezTo>
                <a:close/>
                <a:moveTo>
                  <a:pt x="1918931" y="1710816"/>
                </a:moveTo>
                <a:cubicBezTo>
                  <a:pt x="1918931" y="1710816"/>
                  <a:pt x="1918931" y="1710816"/>
                  <a:pt x="1984171" y="1710816"/>
                </a:cubicBezTo>
                <a:cubicBezTo>
                  <a:pt x="1984171" y="1710816"/>
                  <a:pt x="1984171" y="1710816"/>
                  <a:pt x="1984171" y="2035428"/>
                </a:cubicBezTo>
                <a:cubicBezTo>
                  <a:pt x="1984171" y="2118835"/>
                  <a:pt x="2017916" y="2172937"/>
                  <a:pt x="2105651" y="2172937"/>
                </a:cubicBezTo>
                <a:cubicBezTo>
                  <a:pt x="2195636" y="2172937"/>
                  <a:pt x="2229380" y="2118835"/>
                  <a:pt x="2229380" y="2035428"/>
                </a:cubicBezTo>
                <a:cubicBezTo>
                  <a:pt x="2229380" y="2035428"/>
                  <a:pt x="2229380" y="2035428"/>
                  <a:pt x="2229380" y="1710816"/>
                </a:cubicBezTo>
                <a:cubicBezTo>
                  <a:pt x="2229380" y="1710816"/>
                  <a:pt x="2229380" y="1710816"/>
                  <a:pt x="2292369" y="1710816"/>
                </a:cubicBezTo>
                <a:cubicBezTo>
                  <a:pt x="2292369" y="1710816"/>
                  <a:pt x="2292369" y="1710816"/>
                  <a:pt x="2292369" y="2035428"/>
                </a:cubicBezTo>
                <a:cubicBezTo>
                  <a:pt x="2292369" y="2163920"/>
                  <a:pt x="2220382" y="2231547"/>
                  <a:pt x="2105651" y="2231547"/>
                </a:cubicBezTo>
                <a:cubicBezTo>
                  <a:pt x="1990920" y="2231547"/>
                  <a:pt x="1918931" y="2163920"/>
                  <a:pt x="1918931" y="2035428"/>
                </a:cubicBezTo>
                <a:cubicBezTo>
                  <a:pt x="1918931" y="2035428"/>
                  <a:pt x="1918931" y="2035428"/>
                  <a:pt x="1918931" y="1710816"/>
                </a:cubicBezTo>
                <a:close/>
                <a:moveTo>
                  <a:pt x="960591" y="1710816"/>
                </a:moveTo>
                <a:cubicBezTo>
                  <a:pt x="960591" y="1710816"/>
                  <a:pt x="960591" y="1710816"/>
                  <a:pt x="1032578" y="1710816"/>
                </a:cubicBezTo>
                <a:cubicBezTo>
                  <a:pt x="1032578" y="1710816"/>
                  <a:pt x="1032578" y="1710816"/>
                  <a:pt x="1284537" y="2123344"/>
                </a:cubicBezTo>
                <a:cubicBezTo>
                  <a:pt x="1284537" y="2123344"/>
                  <a:pt x="1284537" y="2123344"/>
                  <a:pt x="1284537" y="1710816"/>
                </a:cubicBezTo>
                <a:cubicBezTo>
                  <a:pt x="1284537" y="1710816"/>
                  <a:pt x="1284537" y="1710816"/>
                  <a:pt x="1345276" y="1710816"/>
                </a:cubicBezTo>
                <a:cubicBezTo>
                  <a:pt x="1345276" y="1710816"/>
                  <a:pt x="1345276" y="1710816"/>
                  <a:pt x="1345276" y="2222531"/>
                </a:cubicBezTo>
                <a:lnTo>
                  <a:pt x="1273289" y="2222531"/>
                </a:lnTo>
                <a:cubicBezTo>
                  <a:pt x="1273289" y="2222531"/>
                  <a:pt x="1273289" y="2222531"/>
                  <a:pt x="1023580" y="1810003"/>
                </a:cubicBezTo>
                <a:cubicBezTo>
                  <a:pt x="1023580" y="1810003"/>
                  <a:pt x="1023580" y="1810003"/>
                  <a:pt x="1023580" y="2222531"/>
                </a:cubicBezTo>
                <a:cubicBezTo>
                  <a:pt x="1023580" y="2222531"/>
                  <a:pt x="1023580" y="2222531"/>
                  <a:pt x="960591" y="2222531"/>
                </a:cubicBezTo>
                <a:cubicBezTo>
                  <a:pt x="960591" y="2222531"/>
                  <a:pt x="960591" y="2222531"/>
                  <a:pt x="960591" y="1710816"/>
                </a:cubicBezTo>
                <a:close/>
                <a:moveTo>
                  <a:pt x="5597068" y="1701799"/>
                </a:moveTo>
                <a:cubicBezTo>
                  <a:pt x="5648810" y="1701799"/>
                  <a:pt x="5698301" y="1719833"/>
                  <a:pt x="5736545" y="1755901"/>
                </a:cubicBezTo>
                <a:cubicBezTo>
                  <a:pt x="5790536" y="1810003"/>
                  <a:pt x="5801784" y="1884393"/>
                  <a:pt x="5801784" y="1967800"/>
                </a:cubicBezTo>
                <a:cubicBezTo>
                  <a:pt x="5801784" y="2048953"/>
                  <a:pt x="5790536" y="2123344"/>
                  <a:pt x="5736545" y="2177446"/>
                </a:cubicBezTo>
                <a:cubicBezTo>
                  <a:pt x="5698301" y="2213514"/>
                  <a:pt x="5648810" y="2233802"/>
                  <a:pt x="5597068" y="2233802"/>
                </a:cubicBezTo>
                <a:cubicBezTo>
                  <a:pt x="5547576" y="2233802"/>
                  <a:pt x="5495835" y="2213514"/>
                  <a:pt x="5459841" y="2177446"/>
                </a:cubicBezTo>
                <a:cubicBezTo>
                  <a:pt x="5403600" y="2123344"/>
                  <a:pt x="5394602" y="2048953"/>
                  <a:pt x="5394602" y="1967800"/>
                </a:cubicBezTo>
                <a:cubicBezTo>
                  <a:pt x="5394602" y="1884393"/>
                  <a:pt x="5403600" y="1810003"/>
                  <a:pt x="5459841" y="1755901"/>
                </a:cubicBezTo>
                <a:cubicBezTo>
                  <a:pt x="5495835" y="1719833"/>
                  <a:pt x="5547576" y="1701799"/>
                  <a:pt x="5597068" y="1701799"/>
                </a:cubicBezTo>
                <a:close/>
                <a:moveTo>
                  <a:pt x="4645477" y="1701799"/>
                </a:moveTo>
                <a:cubicBezTo>
                  <a:pt x="4701717" y="1701799"/>
                  <a:pt x="4755708" y="1722087"/>
                  <a:pt x="4791702" y="1758155"/>
                </a:cubicBezTo>
                <a:cubicBezTo>
                  <a:pt x="4816448" y="1785206"/>
                  <a:pt x="4832195" y="1816766"/>
                  <a:pt x="4834445" y="1859597"/>
                </a:cubicBezTo>
                <a:cubicBezTo>
                  <a:pt x="4834445" y="1859597"/>
                  <a:pt x="4834445" y="1859597"/>
                  <a:pt x="4766956" y="1859597"/>
                </a:cubicBezTo>
                <a:cubicBezTo>
                  <a:pt x="4764707" y="1834800"/>
                  <a:pt x="4757958" y="1819020"/>
                  <a:pt x="4744460" y="1803240"/>
                </a:cubicBezTo>
                <a:cubicBezTo>
                  <a:pt x="4721964" y="1773935"/>
                  <a:pt x="4685970" y="1762664"/>
                  <a:pt x="4645477" y="1762664"/>
                </a:cubicBezTo>
                <a:cubicBezTo>
                  <a:pt x="4609482" y="1762664"/>
                  <a:pt x="4575738" y="1776189"/>
                  <a:pt x="4550992" y="1800986"/>
                </a:cubicBezTo>
                <a:cubicBezTo>
                  <a:pt x="4510499" y="1843817"/>
                  <a:pt x="4506000" y="1913699"/>
                  <a:pt x="4506000" y="1967800"/>
                </a:cubicBezTo>
                <a:cubicBezTo>
                  <a:pt x="4506000" y="2017394"/>
                  <a:pt x="4510499" y="2091784"/>
                  <a:pt x="4553242" y="2134615"/>
                </a:cubicBezTo>
                <a:cubicBezTo>
                  <a:pt x="4577988" y="2161666"/>
                  <a:pt x="4609482" y="2172937"/>
                  <a:pt x="4645477" y="2172937"/>
                </a:cubicBezTo>
                <a:cubicBezTo>
                  <a:pt x="4681471" y="2172937"/>
                  <a:pt x="4715215" y="2159412"/>
                  <a:pt x="4737711" y="2136869"/>
                </a:cubicBezTo>
                <a:cubicBezTo>
                  <a:pt x="4771456" y="2103055"/>
                  <a:pt x="4780454" y="2053462"/>
                  <a:pt x="4780454" y="2006123"/>
                </a:cubicBezTo>
                <a:cubicBezTo>
                  <a:pt x="4780454" y="2006123"/>
                  <a:pt x="4780454" y="2006123"/>
                  <a:pt x="4645477" y="2006123"/>
                </a:cubicBezTo>
                <a:cubicBezTo>
                  <a:pt x="4645477" y="2006123"/>
                  <a:pt x="4645477" y="2006123"/>
                  <a:pt x="4645477" y="1947512"/>
                </a:cubicBezTo>
                <a:cubicBezTo>
                  <a:pt x="4645477" y="1947512"/>
                  <a:pt x="4645477" y="1947512"/>
                  <a:pt x="4838944" y="1947512"/>
                </a:cubicBezTo>
                <a:cubicBezTo>
                  <a:pt x="4838944" y="1947512"/>
                  <a:pt x="4838944" y="1947512"/>
                  <a:pt x="4838944" y="2222531"/>
                </a:cubicBezTo>
                <a:lnTo>
                  <a:pt x="4793952" y="2222531"/>
                </a:lnTo>
                <a:cubicBezTo>
                  <a:pt x="4793952" y="2222531"/>
                  <a:pt x="4793952" y="2222531"/>
                  <a:pt x="4782704" y="2161666"/>
                </a:cubicBezTo>
                <a:cubicBezTo>
                  <a:pt x="4757958" y="2204497"/>
                  <a:pt x="4701717" y="2233802"/>
                  <a:pt x="4645477" y="2233802"/>
                </a:cubicBezTo>
                <a:cubicBezTo>
                  <a:pt x="4593735" y="2233802"/>
                  <a:pt x="4544243" y="2215768"/>
                  <a:pt x="4506000" y="2179700"/>
                </a:cubicBezTo>
                <a:cubicBezTo>
                  <a:pt x="4454258" y="2130106"/>
                  <a:pt x="4440761" y="2057970"/>
                  <a:pt x="4440761" y="1967800"/>
                </a:cubicBezTo>
                <a:cubicBezTo>
                  <a:pt x="4440761" y="1884393"/>
                  <a:pt x="4452009" y="1810003"/>
                  <a:pt x="4506000" y="1755901"/>
                </a:cubicBezTo>
                <a:cubicBezTo>
                  <a:pt x="4544243" y="1719833"/>
                  <a:pt x="4593735" y="1701799"/>
                  <a:pt x="4645477" y="1701799"/>
                </a:cubicBezTo>
                <a:close/>
                <a:moveTo>
                  <a:pt x="4002083" y="1701799"/>
                </a:moveTo>
                <a:cubicBezTo>
                  <a:pt x="4060574" y="1701799"/>
                  <a:pt x="4112315" y="1722087"/>
                  <a:pt x="4148309" y="1758155"/>
                </a:cubicBezTo>
                <a:cubicBezTo>
                  <a:pt x="4173055" y="1785206"/>
                  <a:pt x="4191052" y="1816766"/>
                  <a:pt x="4193302" y="1859597"/>
                </a:cubicBezTo>
                <a:cubicBezTo>
                  <a:pt x="4193302" y="1859597"/>
                  <a:pt x="4193302" y="1859597"/>
                  <a:pt x="4125813" y="1859597"/>
                </a:cubicBezTo>
                <a:cubicBezTo>
                  <a:pt x="4123563" y="1834800"/>
                  <a:pt x="4114565" y="1819020"/>
                  <a:pt x="4103317" y="1803240"/>
                </a:cubicBezTo>
                <a:cubicBezTo>
                  <a:pt x="4078571" y="1773935"/>
                  <a:pt x="4044826" y="1762664"/>
                  <a:pt x="4002083" y="1762664"/>
                </a:cubicBezTo>
                <a:cubicBezTo>
                  <a:pt x="3968339" y="1762664"/>
                  <a:pt x="3934595" y="1776189"/>
                  <a:pt x="3909849" y="1800986"/>
                </a:cubicBezTo>
                <a:cubicBezTo>
                  <a:pt x="3867106" y="1843817"/>
                  <a:pt x="3864856" y="1913699"/>
                  <a:pt x="3864856" y="1967800"/>
                </a:cubicBezTo>
                <a:cubicBezTo>
                  <a:pt x="3864856" y="2017394"/>
                  <a:pt x="3867106" y="2091784"/>
                  <a:pt x="3909849" y="2134615"/>
                </a:cubicBezTo>
                <a:cubicBezTo>
                  <a:pt x="3934595" y="2161666"/>
                  <a:pt x="3968339" y="2172937"/>
                  <a:pt x="4002083" y="2172937"/>
                </a:cubicBezTo>
                <a:cubicBezTo>
                  <a:pt x="4038077" y="2172937"/>
                  <a:pt x="4071822" y="2159412"/>
                  <a:pt x="4094318" y="2136869"/>
                </a:cubicBezTo>
                <a:cubicBezTo>
                  <a:pt x="4130312" y="2103055"/>
                  <a:pt x="4139311" y="2053462"/>
                  <a:pt x="4139311" y="2006123"/>
                </a:cubicBezTo>
                <a:cubicBezTo>
                  <a:pt x="4139311" y="2006123"/>
                  <a:pt x="4139311" y="2006123"/>
                  <a:pt x="4002083" y="2006123"/>
                </a:cubicBezTo>
                <a:cubicBezTo>
                  <a:pt x="4002083" y="2006123"/>
                  <a:pt x="4002083" y="2006123"/>
                  <a:pt x="4002083" y="1947512"/>
                </a:cubicBezTo>
                <a:cubicBezTo>
                  <a:pt x="4002083" y="1947512"/>
                  <a:pt x="4002083" y="1947512"/>
                  <a:pt x="4197801" y="1947512"/>
                </a:cubicBezTo>
                <a:cubicBezTo>
                  <a:pt x="4197801" y="1947512"/>
                  <a:pt x="4197801" y="1947512"/>
                  <a:pt x="4197801" y="2222531"/>
                </a:cubicBezTo>
                <a:lnTo>
                  <a:pt x="4152808" y="2222531"/>
                </a:lnTo>
                <a:cubicBezTo>
                  <a:pt x="4152808" y="2222531"/>
                  <a:pt x="4152808" y="2222531"/>
                  <a:pt x="4141560" y="2161666"/>
                </a:cubicBezTo>
                <a:cubicBezTo>
                  <a:pt x="4116814" y="2204497"/>
                  <a:pt x="4060574" y="2233802"/>
                  <a:pt x="4002083" y="2233802"/>
                </a:cubicBezTo>
                <a:cubicBezTo>
                  <a:pt x="3950342" y="2233802"/>
                  <a:pt x="3900850" y="2215768"/>
                  <a:pt x="3864856" y="2179700"/>
                </a:cubicBezTo>
                <a:cubicBezTo>
                  <a:pt x="3813115" y="2130106"/>
                  <a:pt x="3797367" y="2057970"/>
                  <a:pt x="3797367" y="1967800"/>
                </a:cubicBezTo>
                <a:cubicBezTo>
                  <a:pt x="3797367" y="1884393"/>
                  <a:pt x="3808616" y="1810003"/>
                  <a:pt x="3864856" y="1755901"/>
                </a:cubicBezTo>
                <a:cubicBezTo>
                  <a:pt x="3900850" y="1719833"/>
                  <a:pt x="3950342" y="1701799"/>
                  <a:pt x="4002083" y="1701799"/>
                </a:cubicBezTo>
                <a:close/>
                <a:moveTo>
                  <a:pt x="1642228" y="1701799"/>
                </a:moveTo>
                <a:cubicBezTo>
                  <a:pt x="1691719" y="1701799"/>
                  <a:pt x="1741211" y="1717579"/>
                  <a:pt x="1774955" y="1749138"/>
                </a:cubicBezTo>
                <a:cubicBezTo>
                  <a:pt x="1806450" y="1780698"/>
                  <a:pt x="1822198" y="1816766"/>
                  <a:pt x="1824447" y="1859597"/>
                </a:cubicBezTo>
                <a:cubicBezTo>
                  <a:pt x="1824447" y="1859597"/>
                  <a:pt x="1824447" y="1859597"/>
                  <a:pt x="1756958" y="1859597"/>
                </a:cubicBezTo>
                <a:cubicBezTo>
                  <a:pt x="1754708" y="1834800"/>
                  <a:pt x="1745710" y="1812257"/>
                  <a:pt x="1732212" y="1796478"/>
                </a:cubicBezTo>
                <a:cubicBezTo>
                  <a:pt x="1711966" y="1773935"/>
                  <a:pt x="1680471" y="1760410"/>
                  <a:pt x="1639978" y="1760410"/>
                </a:cubicBezTo>
                <a:cubicBezTo>
                  <a:pt x="1603983" y="1760410"/>
                  <a:pt x="1572489" y="1769427"/>
                  <a:pt x="1549993" y="1796478"/>
                </a:cubicBezTo>
                <a:cubicBezTo>
                  <a:pt x="1536494" y="1810003"/>
                  <a:pt x="1529746" y="1828037"/>
                  <a:pt x="1529746" y="1850580"/>
                </a:cubicBezTo>
                <a:cubicBezTo>
                  <a:pt x="1529746" y="1897919"/>
                  <a:pt x="1567989" y="1918207"/>
                  <a:pt x="1606234" y="1922716"/>
                </a:cubicBezTo>
                <a:cubicBezTo>
                  <a:pt x="1635478" y="1927224"/>
                  <a:pt x="1662474" y="1931733"/>
                  <a:pt x="1691719" y="1936241"/>
                </a:cubicBezTo>
                <a:cubicBezTo>
                  <a:pt x="1774955" y="1949767"/>
                  <a:pt x="1833445" y="2001614"/>
                  <a:pt x="1833445" y="2082767"/>
                </a:cubicBezTo>
                <a:cubicBezTo>
                  <a:pt x="1833445" y="2125598"/>
                  <a:pt x="1815448" y="2157157"/>
                  <a:pt x="1790703" y="2181954"/>
                </a:cubicBezTo>
                <a:cubicBezTo>
                  <a:pt x="1754708" y="2215768"/>
                  <a:pt x="1698468" y="2231547"/>
                  <a:pt x="1644477" y="2231547"/>
                </a:cubicBezTo>
                <a:cubicBezTo>
                  <a:pt x="1581488" y="2231547"/>
                  <a:pt x="1531996" y="2215768"/>
                  <a:pt x="1498251" y="2184208"/>
                </a:cubicBezTo>
                <a:cubicBezTo>
                  <a:pt x="1466757" y="2152649"/>
                  <a:pt x="1444260" y="2109818"/>
                  <a:pt x="1444260" y="2060225"/>
                </a:cubicBezTo>
                <a:cubicBezTo>
                  <a:pt x="1444260" y="2060225"/>
                  <a:pt x="1444260" y="2060225"/>
                  <a:pt x="1509499" y="2060225"/>
                </a:cubicBezTo>
                <a:cubicBezTo>
                  <a:pt x="1509499" y="2091784"/>
                  <a:pt x="1525247" y="2121089"/>
                  <a:pt x="1545494" y="2141378"/>
                </a:cubicBezTo>
                <a:cubicBezTo>
                  <a:pt x="1570239" y="2163920"/>
                  <a:pt x="1608483" y="2172937"/>
                  <a:pt x="1644477" y="2172937"/>
                </a:cubicBezTo>
                <a:cubicBezTo>
                  <a:pt x="1682720" y="2172937"/>
                  <a:pt x="1716465" y="2166174"/>
                  <a:pt x="1738962" y="2143632"/>
                </a:cubicBezTo>
                <a:cubicBezTo>
                  <a:pt x="1754708" y="2130106"/>
                  <a:pt x="1765956" y="2109818"/>
                  <a:pt x="1765956" y="2082767"/>
                </a:cubicBezTo>
                <a:cubicBezTo>
                  <a:pt x="1765956" y="2044445"/>
                  <a:pt x="1741211" y="2010631"/>
                  <a:pt x="1680471" y="2001614"/>
                </a:cubicBezTo>
                <a:cubicBezTo>
                  <a:pt x="1680471" y="2001614"/>
                  <a:pt x="1680471" y="2001614"/>
                  <a:pt x="1599484" y="1988089"/>
                </a:cubicBezTo>
                <a:cubicBezTo>
                  <a:pt x="1522997" y="1976817"/>
                  <a:pt x="1462257" y="1933987"/>
                  <a:pt x="1462257" y="1852834"/>
                </a:cubicBezTo>
                <a:cubicBezTo>
                  <a:pt x="1462257" y="1814512"/>
                  <a:pt x="1480254" y="1778444"/>
                  <a:pt x="1507249" y="1751393"/>
                </a:cubicBezTo>
                <a:cubicBezTo>
                  <a:pt x="1543244" y="1717579"/>
                  <a:pt x="1588236" y="1701799"/>
                  <a:pt x="1642228" y="1701799"/>
                </a:cubicBezTo>
                <a:close/>
                <a:moveTo>
                  <a:pt x="654642" y="1701799"/>
                </a:moveTo>
                <a:cubicBezTo>
                  <a:pt x="704133" y="1701799"/>
                  <a:pt x="755874" y="1719833"/>
                  <a:pt x="791868" y="1755901"/>
                </a:cubicBezTo>
                <a:cubicBezTo>
                  <a:pt x="848110" y="1810003"/>
                  <a:pt x="857108" y="1884393"/>
                  <a:pt x="857108" y="1967800"/>
                </a:cubicBezTo>
                <a:cubicBezTo>
                  <a:pt x="857108" y="2048953"/>
                  <a:pt x="848110" y="2123344"/>
                  <a:pt x="791868" y="2177446"/>
                </a:cubicBezTo>
                <a:cubicBezTo>
                  <a:pt x="755874" y="2213514"/>
                  <a:pt x="704133" y="2233802"/>
                  <a:pt x="654642" y="2233802"/>
                </a:cubicBezTo>
                <a:cubicBezTo>
                  <a:pt x="602900" y="2233802"/>
                  <a:pt x="553408" y="2213514"/>
                  <a:pt x="515164" y="2177446"/>
                </a:cubicBezTo>
                <a:cubicBezTo>
                  <a:pt x="461173" y="2123344"/>
                  <a:pt x="449925" y="2048953"/>
                  <a:pt x="449925" y="1967800"/>
                </a:cubicBezTo>
                <a:cubicBezTo>
                  <a:pt x="449925" y="1884393"/>
                  <a:pt x="461173" y="1810003"/>
                  <a:pt x="515164" y="1755901"/>
                </a:cubicBezTo>
                <a:cubicBezTo>
                  <a:pt x="553408" y="1719833"/>
                  <a:pt x="602900" y="1701799"/>
                  <a:pt x="654642" y="1701799"/>
                </a:cubicBezTo>
                <a:close/>
                <a:moveTo>
                  <a:pt x="202466" y="1701799"/>
                </a:moveTo>
                <a:cubicBezTo>
                  <a:pt x="258707" y="1701799"/>
                  <a:pt x="308199" y="1722087"/>
                  <a:pt x="339693" y="1753647"/>
                </a:cubicBezTo>
                <a:cubicBezTo>
                  <a:pt x="368939" y="1782952"/>
                  <a:pt x="386936" y="1823529"/>
                  <a:pt x="389185" y="1870868"/>
                </a:cubicBezTo>
                <a:cubicBezTo>
                  <a:pt x="389185" y="1870868"/>
                  <a:pt x="389185" y="1870868"/>
                  <a:pt x="323946" y="1870868"/>
                </a:cubicBezTo>
                <a:cubicBezTo>
                  <a:pt x="321697" y="1841563"/>
                  <a:pt x="312698" y="1819020"/>
                  <a:pt x="294701" y="1798732"/>
                </a:cubicBezTo>
                <a:cubicBezTo>
                  <a:pt x="274454" y="1776189"/>
                  <a:pt x="240710" y="1762664"/>
                  <a:pt x="202466" y="1762664"/>
                </a:cubicBezTo>
                <a:cubicBezTo>
                  <a:pt x="168722" y="1762664"/>
                  <a:pt x="134978" y="1776189"/>
                  <a:pt x="110232" y="1800986"/>
                </a:cubicBezTo>
                <a:cubicBezTo>
                  <a:pt x="67489" y="1843817"/>
                  <a:pt x="67489" y="1913699"/>
                  <a:pt x="67489" y="1967800"/>
                </a:cubicBezTo>
                <a:cubicBezTo>
                  <a:pt x="67489" y="2019648"/>
                  <a:pt x="67489" y="2089530"/>
                  <a:pt x="110232" y="2132361"/>
                </a:cubicBezTo>
                <a:cubicBezTo>
                  <a:pt x="134978" y="2159412"/>
                  <a:pt x="168722" y="2172937"/>
                  <a:pt x="202466" y="2172937"/>
                </a:cubicBezTo>
                <a:cubicBezTo>
                  <a:pt x="240710" y="2172937"/>
                  <a:pt x="276704" y="2154903"/>
                  <a:pt x="296951" y="2132361"/>
                </a:cubicBezTo>
                <a:cubicBezTo>
                  <a:pt x="312698" y="2114327"/>
                  <a:pt x="323946" y="2087276"/>
                  <a:pt x="323946" y="2060225"/>
                </a:cubicBezTo>
                <a:cubicBezTo>
                  <a:pt x="323946" y="2060225"/>
                  <a:pt x="323946" y="2060225"/>
                  <a:pt x="391435" y="2060225"/>
                </a:cubicBezTo>
                <a:cubicBezTo>
                  <a:pt x="389185" y="2107564"/>
                  <a:pt x="368939" y="2148140"/>
                  <a:pt x="339693" y="2177446"/>
                </a:cubicBezTo>
                <a:cubicBezTo>
                  <a:pt x="308199" y="2209005"/>
                  <a:pt x="258707" y="2233802"/>
                  <a:pt x="202466" y="2233802"/>
                </a:cubicBezTo>
                <a:cubicBezTo>
                  <a:pt x="150725" y="2233802"/>
                  <a:pt x="101233" y="2213514"/>
                  <a:pt x="65239" y="2177446"/>
                </a:cubicBezTo>
                <a:cubicBezTo>
                  <a:pt x="8999" y="2123344"/>
                  <a:pt x="0" y="2048953"/>
                  <a:pt x="0" y="1967800"/>
                </a:cubicBezTo>
                <a:cubicBezTo>
                  <a:pt x="0" y="1884393"/>
                  <a:pt x="8999" y="1810003"/>
                  <a:pt x="65239" y="1755901"/>
                </a:cubicBezTo>
                <a:cubicBezTo>
                  <a:pt x="101233" y="1719833"/>
                  <a:pt x="150725" y="1701799"/>
                  <a:pt x="202466" y="1701799"/>
                </a:cubicBezTo>
                <a:close/>
                <a:moveTo>
                  <a:pt x="2227389" y="214047"/>
                </a:moveTo>
                <a:cubicBezTo>
                  <a:pt x="2227389" y="214047"/>
                  <a:pt x="2227389" y="214047"/>
                  <a:pt x="2227389" y="574548"/>
                </a:cubicBezTo>
                <a:cubicBezTo>
                  <a:pt x="2227389" y="574548"/>
                  <a:pt x="2227389" y="574548"/>
                  <a:pt x="2456649" y="574548"/>
                </a:cubicBezTo>
                <a:cubicBezTo>
                  <a:pt x="2584765" y="574548"/>
                  <a:pt x="2654442" y="509207"/>
                  <a:pt x="2654442" y="394298"/>
                </a:cubicBezTo>
                <a:cubicBezTo>
                  <a:pt x="2654442" y="277135"/>
                  <a:pt x="2584765" y="214047"/>
                  <a:pt x="2456649" y="214047"/>
                </a:cubicBezTo>
                <a:cubicBezTo>
                  <a:pt x="2456649" y="214047"/>
                  <a:pt x="2456649" y="214047"/>
                  <a:pt x="2227389" y="214047"/>
                </a:cubicBezTo>
                <a:close/>
                <a:moveTo>
                  <a:pt x="8961436" y="0"/>
                </a:moveTo>
                <a:lnTo>
                  <a:pt x="9905999" y="0"/>
                </a:lnTo>
                <a:lnTo>
                  <a:pt x="9905999" y="225425"/>
                </a:lnTo>
                <a:lnTo>
                  <a:pt x="9555161" y="225425"/>
                </a:lnTo>
                <a:lnTo>
                  <a:pt x="9555161" y="1214437"/>
                </a:lnTo>
                <a:lnTo>
                  <a:pt x="9315449" y="1214437"/>
                </a:lnTo>
                <a:lnTo>
                  <a:pt x="9315449" y="225425"/>
                </a:lnTo>
                <a:lnTo>
                  <a:pt x="8961436" y="225425"/>
                </a:lnTo>
                <a:close/>
                <a:moveTo>
                  <a:pt x="7785099" y="0"/>
                </a:moveTo>
                <a:lnTo>
                  <a:pt x="8035924" y="0"/>
                </a:lnTo>
                <a:lnTo>
                  <a:pt x="8037512" y="3175"/>
                </a:lnTo>
                <a:lnTo>
                  <a:pt x="8523286" y="774700"/>
                </a:lnTo>
                <a:lnTo>
                  <a:pt x="8523286" y="0"/>
                </a:lnTo>
                <a:lnTo>
                  <a:pt x="8759824" y="0"/>
                </a:lnTo>
                <a:lnTo>
                  <a:pt x="8759824" y="1214437"/>
                </a:lnTo>
                <a:lnTo>
                  <a:pt x="8518524" y="1214437"/>
                </a:lnTo>
                <a:lnTo>
                  <a:pt x="8024812" y="425450"/>
                </a:lnTo>
                <a:lnTo>
                  <a:pt x="8024812" y="1214437"/>
                </a:lnTo>
                <a:lnTo>
                  <a:pt x="7785099" y="1214437"/>
                </a:lnTo>
                <a:close/>
                <a:moveTo>
                  <a:pt x="6665911" y="0"/>
                </a:moveTo>
                <a:lnTo>
                  <a:pt x="7535861" y="0"/>
                </a:lnTo>
                <a:lnTo>
                  <a:pt x="7535861" y="220663"/>
                </a:lnTo>
                <a:lnTo>
                  <a:pt x="6905624" y="220663"/>
                </a:lnTo>
                <a:lnTo>
                  <a:pt x="6905624" y="473075"/>
                </a:lnTo>
                <a:lnTo>
                  <a:pt x="7459661" y="473075"/>
                </a:lnTo>
                <a:lnTo>
                  <a:pt x="7459661" y="690562"/>
                </a:lnTo>
                <a:lnTo>
                  <a:pt x="6905624" y="690562"/>
                </a:lnTo>
                <a:lnTo>
                  <a:pt x="6905624" y="993775"/>
                </a:lnTo>
                <a:lnTo>
                  <a:pt x="7535861" y="993775"/>
                </a:lnTo>
                <a:lnTo>
                  <a:pt x="7535861" y="1214437"/>
                </a:lnTo>
                <a:lnTo>
                  <a:pt x="6665911" y="1214437"/>
                </a:lnTo>
                <a:close/>
                <a:moveTo>
                  <a:pt x="5221286" y="0"/>
                </a:moveTo>
                <a:lnTo>
                  <a:pt x="5534024" y="0"/>
                </a:lnTo>
                <a:lnTo>
                  <a:pt x="5835649" y="823912"/>
                </a:lnTo>
                <a:lnTo>
                  <a:pt x="6142037" y="0"/>
                </a:lnTo>
                <a:lnTo>
                  <a:pt x="6438899" y="0"/>
                </a:lnTo>
                <a:lnTo>
                  <a:pt x="6438899" y="1214437"/>
                </a:lnTo>
                <a:lnTo>
                  <a:pt x="6203949" y="1214437"/>
                </a:lnTo>
                <a:lnTo>
                  <a:pt x="6203949" y="419100"/>
                </a:lnTo>
                <a:lnTo>
                  <a:pt x="5916612" y="1196975"/>
                </a:lnTo>
                <a:lnTo>
                  <a:pt x="5740399" y="1196975"/>
                </a:lnTo>
                <a:lnTo>
                  <a:pt x="5454649" y="409575"/>
                </a:lnTo>
                <a:lnTo>
                  <a:pt x="5454649" y="1214437"/>
                </a:lnTo>
                <a:lnTo>
                  <a:pt x="5221286" y="1214437"/>
                </a:lnTo>
                <a:close/>
                <a:moveTo>
                  <a:pt x="4098924" y="0"/>
                </a:moveTo>
                <a:lnTo>
                  <a:pt x="4968874" y="0"/>
                </a:lnTo>
                <a:lnTo>
                  <a:pt x="4968874" y="220663"/>
                </a:lnTo>
                <a:lnTo>
                  <a:pt x="4340224" y="220663"/>
                </a:lnTo>
                <a:lnTo>
                  <a:pt x="4340224" y="473075"/>
                </a:lnTo>
                <a:lnTo>
                  <a:pt x="4895849" y="473075"/>
                </a:lnTo>
                <a:lnTo>
                  <a:pt x="4895849" y="690562"/>
                </a:lnTo>
                <a:lnTo>
                  <a:pt x="4340224" y="690562"/>
                </a:lnTo>
                <a:lnTo>
                  <a:pt x="4340224" y="993775"/>
                </a:lnTo>
                <a:lnTo>
                  <a:pt x="4968874" y="993775"/>
                </a:lnTo>
                <a:lnTo>
                  <a:pt x="4968874" y="1214437"/>
                </a:lnTo>
                <a:lnTo>
                  <a:pt x="4098924" y="1214437"/>
                </a:lnTo>
                <a:close/>
                <a:moveTo>
                  <a:pt x="3079749" y="0"/>
                </a:moveTo>
                <a:lnTo>
                  <a:pt x="3321049" y="0"/>
                </a:lnTo>
                <a:lnTo>
                  <a:pt x="3321049" y="984250"/>
                </a:lnTo>
                <a:lnTo>
                  <a:pt x="3871912" y="984250"/>
                </a:lnTo>
                <a:lnTo>
                  <a:pt x="3871912" y="1214437"/>
                </a:lnTo>
                <a:lnTo>
                  <a:pt x="3079749" y="1214437"/>
                </a:lnTo>
                <a:close/>
                <a:moveTo>
                  <a:pt x="1989138" y="0"/>
                </a:moveTo>
                <a:cubicBezTo>
                  <a:pt x="1989138" y="0"/>
                  <a:pt x="1989138" y="0"/>
                  <a:pt x="2465639" y="0"/>
                </a:cubicBezTo>
                <a:cubicBezTo>
                  <a:pt x="2735357" y="0"/>
                  <a:pt x="2897188" y="146454"/>
                  <a:pt x="2897188" y="392045"/>
                </a:cubicBezTo>
                <a:cubicBezTo>
                  <a:pt x="2897188" y="639889"/>
                  <a:pt x="2735357" y="786342"/>
                  <a:pt x="2465639" y="786342"/>
                </a:cubicBezTo>
                <a:cubicBezTo>
                  <a:pt x="2465639" y="786342"/>
                  <a:pt x="2465639" y="786342"/>
                  <a:pt x="2227389" y="786342"/>
                </a:cubicBezTo>
                <a:cubicBezTo>
                  <a:pt x="2227389" y="786342"/>
                  <a:pt x="2227389" y="786342"/>
                  <a:pt x="2227389" y="1214437"/>
                </a:cubicBezTo>
                <a:cubicBezTo>
                  <a:pt x="2227389" y="1214437"/>
                  <a:pt x="2227389" y="1214437"/>
                  <a:pt x="1989138" y="1214437"/>
                </a:cubicBezTo>
                <a:cubicBezTo>
                  <a:pt x="1989138" y="1214437"/>
                  <a:pt x="1989138" y="1214437"/>
                  <a:pt x="1989138" y="0"/>
                </a:cubicBezTo>
                <a:close/>
                <a:moveTo>
                  <a:pt x="520699" y="0"/>
                </a:moveTo>
                <a:lnTo>
                  <a:pt x="833436" y="0"/>
                </a:lnTo>
                <a:lnTo>
                  <a:pt x="1135061" y="823912"/>
                </a:lnTo>
                <a:lnTo>
                  <a:pt x="1439862" y="0"/>
                </a:lnTo>
                <a:lnTo>
                  <a:pt x="1736724" y="0"/>
                </a:lnTo>
                <a:lnTo>
                  <a:pt x="1736724" y="1214437"/>
                </a:lnTo>
                <a:lnTo>
                  <a:pt x="1503362" y="1214437"/>
                </a:lnTo>
                <a:lnTo>
                  <a:pt x="1503362" y="419100"/>
                </a:lnTo>
                <a:lnTo>
                  <a:pt x="1216024" y="1196975"/>
                </a:lnTo>
                <a:lnTo>
                  <a:pt x="1039812" y="1196975"/>
                </a:lnTo>
                <a:lnTo>
                  <a:pt x="754062" y="409575"/>
                </a:lnTo>
                <a:lnTo>
                  <a:pt x="754062" y="1214437"/>
                </a:lnTo>
                <a:lnTo>
                  <a:pt x="520699" y="1214437"/>
                </a:lnTo>
                <a:close/>
                <a:moveTo>
                  <a:pt x="25400" y="0"/>
                </a:moveTo>
                <a:lnTo>
                  <a:pt x="268288" y="0"/>
                </a:lnTo>
                <a:lnTo>
                  <a:pt x="268288" y="1214437"/>
                </a:lnTo>
                <a:lnTo>
                  <a:pt x="25400" y="12144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13" name="Date_GeneralDate" hidden="1">
            <a:extLst>
              <a:ext uri="{FF2B5EF4-FFF2-40B4-BE49-F238E27FC236}">
                <a16:creationId xmlns:a16="http://schemas.microsoft.com/office/drawing/2014/main" id="{649F2878-DF75-476E-9321-0911D8D1FC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3F726890-A6E3-4403-8B5F-B63FA3CC0E22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:a16="http://schemas.microsoft.com/office/drawing/2014/main" id="{336355EA-6FA5-4B9D-B232-E77EBE1CA6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 algn="l">
              <a:defRPr sz="100">
                <a:noFill/>
              </a:defRPr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15" name="Slide Number Placeholder 5" hidden="1">
            <a:extLst>
              <a:ext uri="{FF2B5EF4-FFF2-40B4-BE49-F238E27FC236}">
                <a16:creationId xmlns:a16="http://schemas.microsoft.com/office/drawing/2014/main" id="{A280B4D8-6669-4983-ACDA-5286F766E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3D81281-2A14-4E3E-B226-3377EDFCB739}"/>
              </a:ext>
            </a:extLst>
          </p:cNvPr>
          <p:cNvSpPr txBox="1"/>
          <p:nvPr userDrawn="1"/>
        </p:nvSpPr>
        <p:spPr>
          <a:xfrm>
            <a:off x="8944357" y="6492630"/>
            <a:ext cx="609141" cy="124650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900" dirty="0">
                <a:solidFill>
                  <a:schemeClr val="tx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tion box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30A3B4BE-E8CF-4315-A7DB-E771E6EF198E}"/>
              </a:ext>
            </a:extLst>
          </p:cNvPr>
          <p:cNvSpPr/>
          <p:nvPr userDrawn="1"/>
        </p:nvSpPr>
        <p:spPr>
          <a:xfrm>
            <a:off x="7148400" y="1627190"/>
            <a:ext cx="2757600" cy="5230800"/>
          </a:xfrm>
          <a:prstGeom prst="rect">
            <a:avLst/>
          </a:prstGeom>
          <a:solidFill>
            <a:srgbClr val="F3F2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en-GB" sz="1100" noProof="0" dirty="0" err="1">
              <a:solidFill>
                <a:srgbClr val="2F363B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EAAE5C6-2755-4F4E-A878-43F56B65E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Pladsholder til tekst 2">
            <a:extLst>
              <a:ext uri="{FF2B5EF4-FFF2-40B4-BE49-F238E27FC236}">
                <a16:creationId xmlns:a16="http://schemas.microsoft.com/office/drawing/2014/main" id="{0191184A-EA12-4A43-A548-EF516D82EC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0452" y="1778173"/>
            <a:ext cx="2332497" cy="45384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34F504F-A2DE-4572-9711-6650D6AA4E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9240DFA-E6CC-48C6-9045-36E6CF1B04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9" name="Date_GeneralDate" hidden="1">
            <a:extLst>
              <a:ext uri="{FF2B5EF4-FFF2-40B4-BE49-F238E27FC236}">
                <a16:creationId xmlns:a16="http://schemas.microsoft.com/office/drawing/2014/main" id="{6908E312-5010-42EE-8694-8788FA4ED6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9875" y="6978509"/>
            <a:ext cx="0" cy="0"/>
          </a:xfrm>
        </p:spPr>
        <p:txBody>
          <a:bodyPr/>
          <a:lstStyle>
            <a:lvl1pPr algn="l">
              <a:defRPr sz="100" cap="all" spc="163" baseline="0">
                <a:solidFill>
                  <a:schemeClr val="bg2"/>
                </a:solidFill>
              </a:defRPr>
            </a:lvl1pPr>
          </a:lstStyle>
          <a:p>
            <a:fld id="{95F1BEB8-0833-4CFF-AD26-1AD6BE263AB9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45BF24-A340-4EFE-A60A-07551737EEC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3426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tion box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C0BC593-88F5-4BB6-A4DB-DF070A7F512A}"/>
              </a:ext>
            </a:extLst>
          </p:cNvPr>
          <p:cNvSpPr/>
          <p:nvPr userDrawn="1"/>
        </p:nvSpPr>
        <p:spPr>
          <a:xfrm>
            <a:off x="0" y="5063872"/>
            <a:ext cx="9907200" cy="1792800"/>
          </a:xfrm>
          <a:prstGeom prst="rect">
            <a:avLst/>
          </a:prstGeom>
          <a:solidFill>
            <a:srgbClr val="F3F2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en-GB" sz="1100" noProof="0" dirty="0" err="1">
              <a:solidFill>
                <a:srgbClr val="2F363B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EAAE5C6-2755-4F4E-A878-43F56B65E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5" name="Pladsholder til tekst 2">
            <a:extLst>
              <a:ext uri="{FF2B5EF4-FFF2-40B4-BE49-F238E27FC236}">
                <a16:creationId xmlns:a16="http://schemas.microsoft.com/office/drawing/2014/main" id="{70307FA8-343A-49F8-8A05-FF81EEFEA3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69874" y="5214856"/>
            <a:ext cx="4546601" cy="11018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Pladsholder til tekst 3">
            <a:extLst>
              <a:ext uri="{FF2B5EF4-FFF2-40B4-BE49-F238E27FC236}">
                <a16:creationId xmlns:a16="http://schemas.microsoft.com/office/drawing/2014/main" id="{FCCEAA0A-BD2E-414E-B8BD-A9A06D2A59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7938" y="5214856"/>
            <a:ext cx="4546601" cy="11018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34F504F-A2DE-4572-9711-6650D6AA4E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9240DFA-E6CC-48C6-9045-36E6CF1B04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9" name="Date_GeneralDate" hidden="1">
            <a:extLst>
              <a:ext uri="{FF2B5EF4-FFF2-40B4-BE49-F238E27FC236}">
                <a16:creationId xmlns:a16="http://schemas.microsoft.com/office/drawing/2014/main" id="{6908E312-5010-42EE-8694-8788FA4ED6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9875" y="6978509"/>
            <a:ext cx="0" cy="0"/>
          </a:xfrm>
        </p:spPr>
        <p:txBody>
          <a:bodyPr/>
          <a:lstStyle>
            <a:lvl1pPr algn="l">
              <a:defRPr sz="100" cap="all" spc="163" baseline="0">
                <a:solidFill>
                  <a:schemeClr val="bg2"/>
                </a:solidFill>
              </a:defRPr>
            </a:lvl1pPr>
          </a:lstStyle>
          <a:p>
            <a:fld id="{0E34B196-09BB-4F43-9F79-BDEFD8E35395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FF99D5-022F-468E-9756-5F144EB2F95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1640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mal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CBA12CA-ADA2-4F73-9B88-D50DC1FCE512}"/>
              </a:ext>
            </a:extLst>
          </p:cNvPr>
          <p:cNvSpPr/>
          <p:nvPr userDrawn="1"/>
        </p:nvSpPr>
        <p:spPr>
          <a:xfrm>
            <a:off x="545529" y="3313866"/>
            <a:ext cx="6978315" cy="3544135"/>
          </a:xfrm>
          <a:prstGeom prst="rect">
            <a:avLst/>
          </a:prstGeom>
          <a:solidFill>
            <a:srgbClr val="E0BCA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 noProof="0" dirty="0" err="1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CA92447-F633-484C-865A-7E00514C7F7C}"/>
              </a:ext>
            </a:extLst>
          </p:cNvPr>
          <p:cNvSpPr/>
          <p:nvPr userDrawn="1"/>
        </p:nvSpPr>
        <p:spPr>
          <a:xfrm>
            <a:off x="0" y="2136618"/>
            <a:ext cx="6581869" cy="4721382"/>
          </a:xfrm>
          <a:prstGeom prst="rect">
            <a:avLst/>
          </a:prstGeom>
          <a:solidFill>
            <a:srgbClr val="303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GB" sz="1000" noProof="0" dirty="0">
              <a:solidFill>
                <a:srgbClr val="2F363B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AB66FF-3B85-4BEC-B050-88BADAE9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875" y="3313864"/>
            <a:ext cx="4546600" cy="3002799"/>
          </a:xfrm>
          <a:solidFill>
            <a:srgbClr val="30373B"/>
          </a:solidFill>
        </p:spPr>
        <p:txBody>
          <a:bodyPr lIns="0" tIns="0" rIns="0"/>
          <a:lstStyle>
            <a:lvl1pPr>
              <a:lnSpc>
                <a:spcPct val="83000"/>
              </a:lnSpc>
              <a:defRPr sz="4800" cap="all" baseline="0">
                <a:solidFill>
                  <a:srgbClr val="F8F5E7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4A347B2-2B04-4976-8493-17E06C8319C5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6" name="Date_GeneralDate" hidden="1">
            <a:extLst>
              <a:ext uri="{FF2B5EF4-FFF2-40B4-BE49-F238E27FC236}">
                <a16:creationId xmlns:a16="http://schemas.microsoft.com/office/drawing/2014/main" id="{EBCC8B2D-A669-40E9-8FE9-23DB9EFDC1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A6B992C7-6634-439D-B315-9D42978D1A9F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84A24983-3FE3-44E0-B262-30F59419DD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FBB7034-9D4A-4ED7-8413-EED87722C6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D7F13B33-C34D-4F21-8983-11FD855011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0000" y="2635200"/>
            <a:ext cx="4546800" cy="446400"/>
          </a:xfrm>
        </p:spPr>
        <p:txBody>
          <a:bodyPr rIns="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F8F5E7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chemeClr val="accent2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2984A7-EECD-405F-BAB4-53C13531963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7330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E59AFDB-E223-470E-8D22-64189D0DE859}"/>
              </a:ext>
            </a:extLst>
          </p:cNvPr>
          <p:cNvSpPr/>
          <p:nvPr userDrawn="1"/>
        </p:nvSpPr>
        <p:spPr>
          <a:xfrm>
            <a:off x="545529" y="3313866"/>
            <a:ext cx="6978315" cy="3544135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 noProof="0" dirty="0" err="1">
              <a:solidFill>
                <a:srgbClr val="1F2023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3AEB493-9A07-4D62-BC33-B44675629FCD}"/>
              </a:ext>
            </a:extLst>
          </p:cNvPr>
          <p:cNvSpPr/>
          <p:nvPr userDrawn="1"/>
        </p:nvSpPr>
        <p:spPr>
          <a:xfrm>
            <a:off x="0" y="2136618"/>
            <a:ext cx="6581869" cy="4721382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GB" sz="1000" noProof="0" dirty="0">
              <a:solidFill>
                <a:srgbClr val="2F363B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A400803-DD4C-4741-BA21-295DF4FBBD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874" y="3313864"/>
            <a:ext cx="4546601" cy="3002800"/>
          </a:xfrm>
          <a:noFill/>
        </p:spPr>
        <p:txBody>
          <a:bodyPr lIns="0" tIns="0" rIns="0"/>
          <a:lstStyle>
            <a:lvl1pPr>
              <a:lnSpc>
                <a:spcPct val="83000"/>
              </a:lnSpc>
              <a:defRPr sz="4800" cap="all" baseline="0">
                <a:solidFill>
                  <a:srgbClr val="30373B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4026F2F-C254-4600-867F-F877C37EA6D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>
              <a:solidFill>
                <a:srgbClr val="30373B"/>
              </a:solidFill>
            </a:endParaRPr>
          </a:p>
        </p:txBody>
      </p:sp>
      <p:sp>
        <p:nvSpPr>
          <p:cNvPr id="15" name="Date_GeneralDate" hidden="1">
            <a:extLst>
              <a:ext uri="{FF2B5EF4-FFF2-40B4-BE49-F238E27FC236}">
                <a16:creationId xmlns:a16="http://schemas.microsoft.com/office/drawing/2014/main" id="{468647FE-6C52-44F1-BA7A-3E3EAE4AEF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24DE7E4B-D8DB-4808-A54B-D0DC3EA24473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6543865-3BC1-4935-95C1-E497FFC754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A4369CD-5E24-463F-81D4-A841AD7848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82CA8D50-15A3-40DF-841C-92CF977F081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0000" y="2635200"/>
            <a:ext cx="4546800" cy="446400"/>
          </a:xfrm>
        </p:spPr>
        <p:txBody>
          <a:bodyPr rIns="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30373B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chemeClr val="accent2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01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C0E862-40D8-4D47-A174-74D53B5BA04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047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40B7F21-6889-46F7-BB5C-8FDE3B947050}"/>
              </a:ext>
            </a:extLst>
          </p:cNvPr>
          <p:cNvSpPr/>
          <p:nvPr userDrawn="1"/>
        </p:nvSpPr>
        <p:spPr>
          <a:xfrm>
            <a:off x="0" y="0"/>
            <a:ext cx="7139587" cy="5498510"/>
          </a:xfrm>
          <a:prstGeom prst="rect">
            <a:avLst/>
          </a:prstGeom>
          <a:solidFill>
            <a:srgbClr val="303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GB" sz="1000" noProof="0" dirty="0">
              <a:solidFill>
                <a:srgbClr val="2F363B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6" y="1558807"/>
            <a:ext cx="4818062" cy="3942085"/>
          </a:xfrm>
          <a:noFill/>
        </p:spPr>
        <p:txBody>
          <a:bodyPr lIns="0" tIns="0" rIns="0"/>
          <a:lstStyle>
            <a:lvl1pPr>
              <a:defRPr sz="7200" cap="all" baseline="0">
                <a:solidFill>
                  <a:srgbClr val="F8F5E7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D28A0F75-809B-475F-9625-96536868000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087937" y="3313867"/>
            <a:ext cx="4818064" cy="3544134"/>
          </a:xfrm>
          <a:custGeom>
            <a:avLst/>
            <a:gdLst>
              <a:gd name="connsiteX0" fmla="*/ 2051650 w 4818064"/>
              <a:gd name="connsiteY0" fmla="*/ 0 h 3544134"/>
              <a:gd name="connsiteX1" fmla="*/ 4818064 w 4818064"/>
              <a:gd name="connsiteY1" fmla="*/ 0 h 3544134"/>
              <a:gd name="connsiteX2" fmla="*/ 4818064 w 4818064"/>
              <a:gd name="connsiteY2" fmla="*/ 3544134 h 3544134"/>
              <a:gd name="connsiteX3" fmla="*/ 0 w 4818064"/>
              <a:gd name="connsiteY3" fmla="*/ 3544134 h 3544134"/>
              <a:gd name="connsiteX4" fmla="*/ 0 w 4818064"/>
              <a:gd name="connsiteY4" fmla="*/ 2184643 h 3544134"/>
              <a:gd name="connsiteX5" fmla="*/ 2051650 w 4818064"/>
              <a:gd name="connsiteY5" fmla="*/ 2184643 h 3544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18064" h="3544134">
                <a:moveTo>
                  <a:pt x="2051650" y="0"/>
                </a:moveTo>
                <a:lnTo>
                  <a:pt x="4818064" y="0"/>
                </a:lnTo>
                <a:lnTo>
                  <a:pt x="4818064" y="3544134"/>
                </a:lnTo>
                <a:lnTo>
                  <a:pt x="0" y="3544134"/>
                </a:lnTo>
                <a:lnTo>
                  <a:pt x="0" y="2184643"/>
                </a:lnTo>
                <a:lnTo>
                  <a:pt x="2051650" y="2184643"/>
                </a:lnTo>
                <a:close/>
              </a:path>
            </a:pathLst>
          </a:custGeom>
          <a:solidFill>
            <a:srgbClr val="F3F2F0"/>
          </a:solidFill>
        </p:spPr>
        <p:txBody>
          <a:bodyPr wrap="square" tIns="0" rIns="792000" anchor="ctr" anchorCtr="0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2" name="Date_GeneralDate" hidden="1">
            <a:extLst>
              <a:ext uri="{FF2B5EF4-FFF2-40B4-BE49-F238E27FC236}">
                <a16:creationId xmlns:a16="http://schemas.microsoft.com/office/drawing/2014/main" id="{72F84A8E-04B6-4AFB-8124-0C737CA3AA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598A7ED6-3E23-485A-9D80-D7A916B70A56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A57E2F6-7A9F-41E2-8D7F-40B6A93364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869A39D-F552-456B-98AA-EA2E96DAAF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FF4527F-65EB-4F46-A2FA-0DBCB954E0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2381" y="986400"/>
            <a:ext cx="4546800" cy="446400"/>
          </a:xfrm>
        </p:spPr>
        <p:txBody>
          <a:bodyPr rIns="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F8F5E7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chemeClr val="accent2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1D3056-0F2E-493A-8B51-789863A38B5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570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40B7F21-6889-46F7-BB5C-8FDE3B947050}"/>
              </a:ext>
            </a:extLst>
          </p:cNvPr>
          <p:cNvSpPr/>
          <p:nvPr userDrawn="1"/>
        </p:nvSpPr>
        <p:spPr>
          <a:xfrm>
            <a:off x="0" y="0"/>
            <a:ext cx="7139587" cy="5498510"/>
          </a:xfrm>
          <a:prstGeom prst="rect">
            <a:avLst/>
          </a:prstGeom>
          <a:solidFill>
            <a:srgbClr val="F8F5E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GB" sz="1000" noProof="0" dirty="0">
              <a:solidFill>
                <a:srgbClr val="2F363B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6" y="1556426"/>
            <a:ext cx="4818062" cy="3942085"/>
          </a:xfrm>
          <a:noFill/>
        </p:spPr>
        <p:txBody>
          <a:bodyPr lIns="0" tIns="0" rIns="0"/>
          <a:lstStyle>
            <a:lvl1pPr>
              <a:defRPr sz="7200" cap="all" baseline="0">
                <a:solidFill>
                  <a:srgbClr val="30373B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A59E3657-65EB-4AC9-A889-2F2DCA5DEF1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087937" y="3313867"/>
            <a:ext cx="4818064" cy="3544134"/>
          </a:xfrm>
          <a:custGeom>
            <a:avLst/>
            <a:gdLst>
              <a:gd name="connsiteX0" fmla="*/ 2051650 w 4818064"/>
              <a:gd name="connsiteY0" fmla="*/ 0 h 3544134"/>
              <a:gd name="connsiteX1" fmla="*/ 4818064 w 4818064"/>
              <a:gd name="connsiteY1" fmla="*/ 0 h 3544134"/>
              <a:gd name="connsiteX2" fmla="*/ 4818064 w 4818064"/>
              <a:gd name="connsiteY2" fmla="*/ 3544134 h 3544134"/>
              <a:gd name="connsiteX3" fmla="*/ 0 w 4818064"/>
              <a:gd name="connsiteY3" fmla="*/ 3544134 h 3544134"/>
              <a:gd name="connsiteX4" fmla="*/ 0 w 4818064"/>
              <a:gd name="connsiteY4" fmla="*/ 2184643 h 3544134"/>
              <a:gd name="connsiteX5" fmla="*/ 2051650 w 4818064"/>
              <a:gd name="connsiteY5" fmla="*/ 2184643 h 3544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18064" h="3544134">
                <a:moveTo>
                  <a:pt x="2051650" y="0"/>
                </a:moveTo>
                <a:lnTo>
                  <a:pt x="4818064" y="0"/>
                </a:lnTo>
                <a:lnTo>
                  <a:pt x="4818064" y="3544134"/>
                </a:lnTo>
                <a:lnTo>
                  <a:pt x="0" y="3544134"/>
                </a:lnTo>
                <a:lnTo>
                  <a:pt x="0" y="2184643"/>
                </a:lnTo>
                <a:lnTo>
                  <a:pt x="2051650" y="2184643"/>
                </a:lnTo>
                <a:close/>
              </a:path>
            </a:pathLst>
          </a:custGeom>
          <a:solidFill>
            <a:srgbClr val="F3F2F0"/>
          </a:solidFill>
        </p:spPr>
        <p:txBody>
          <a:bodyPr wrap="square" tIns="0" rIns="792000" anchor="ctr" anchorCtr="0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2" name="Date_GeneralDate" hidden="1">
            <a:extLst>
              <a:ext uri="{FF2B5EF4-FFF2-40B4-BE49-F238E27FC236}">
                <a16:creationId xmlns:a16="http://schemas.microsoft.com/office/drawing/2014/main" id="{3B47F6AE-B5F8-41F1-A04D-A62B205BB8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955829E1-31C4-4316-8A73-723D94D230B7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AAD0613F-D90D-4B42-8B85-F0BFD67C75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39019BB-4948-420F-B138-15E662A37A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D2429F2-5800-4003-9624-72D1351D36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2381" y="986400"/>
            <a:ext cx="4546800" cy="446400"/>
          </a:xfrm>
        </p:spPr>
        <p:txBody>
          <a:bodyPr rIns="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30373B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chemeClr val="accent2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E64759-2434-4F35-9832-FAFEE9F6988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3756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40B7F21-6889-46F7-BB5C-8FDE3B947050}"/>
              </a:ext>
            </a:extLst>
          </p:cNvPr>
          <p:cNvSpPr/>
          <p:nvPr userDrawn="1"/>
        </p:nvSpPr>
        <p:spPr>
          <a:xfrm>
            <a:off x="2" y="0"/>
            <a:ext cx="9905998" cy="6858000"/>
          </a:xfrm>
          <a:prstGeom prst="rect">
            <a:avLst/>
          </a:prstGeom>
          <a:solidFill>
            <a:srgbClr val="303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t" anchorCtr="0"/>
          <a:lstStyle/>
          <a:p>
            <a:pPr algn="l"/>
            <a:endParaRPr lang="en-GB" sz="813" noProof="0" dirty="0">
              <a:solidFill>
                <a:srgbClr val="2F363B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850" y="2228850"/>
            <a:ext cx="7710300" cy="2823894"/>
          </a:xfrm>
          <a:noFill/>
        </p:spPr>
        <p:txBody>
          <a:bodyPr lIns="0" tIns="0" rIns="0"/>
          <a:lstStyle>
            <a:lvl1pPr>
              <a:lnSpc>
                <a:spcPct val="80000"/>
              </a:lnSpc>
              <a:defRPr sz="5850" cap="all" baseline="0">
                <a:solidFill>
                  <a:srgbClr val="F8F5E7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3" name="Freeform: Shape 13">
            <a:extLst>
              <a:ext uri="{FF2B5EF4-FFF2-40B4-BE49-F238E27FC236}">
                <a16:creationId xmlns:a16="http://schemas.microsoft.com/office/drawing/2014/main" id="{F1E411B7-9176-498E-B9E2-2DE05B18027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2FE83F57-F57F-4919-AE4C-5C6E98678D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5FC0D15E-2B73-42FD-9F1F-6074BF7A5DDE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63D9665C-B7E6-4B35-A0AB-230AA73AD9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FCFBF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E8482A2-DDB8-496F-B351-4888137FB9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FCFBF5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48511A-16FF-45B6-B942-4E672461EC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8F5E7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855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40B7F21-6889-46F7-BB5C-8FDE3B947050}"/>
              </a:ext>
            </a:extLst>
          </p:cNvPr>
          <p:cNvSpPr/>
          <p:nvPr userDrawn="1"/>
        </p:nvSpPr>
        <p:spPr>
          <a:xfrm>
            <a:off x="2" y="0"/>
            <a:ext cx="9905998" cy="6858000"/>
          </a:xfrm>
          <a:prstGeom prst="rect">
            <a:avLst/>
          </a:prstGeom>
          <a:solidFill>
            <a:srgbClr val="40615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t" anchorCtr="0"/>
          <a:lstStyle/>
          <a:p>
            <a:pPr algn="l"/>
            <a:endParaRPr lang="en-GB" sz="813" noProof="0" dirty="0">
              <a:solidFill>
                <a:srgbClr val="2F363B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850" y="2228850"/>
            <a:ext cx="7710300" cy="2823894"/>
          </a:xfrm>
          <a:noFill/>
        </p:spPr>
        <p:txBody>
          <a:bodyPr lIns="0" tIns="0" rIns="0"/>
          <a:lstStyle>
            <a:lvl1pPr>
              <a:lnSpc>
                <a:spcPct val="80000"/>
              </a:lnSpc>
              <a:defRPr sz="5850" cap="all" baseline="0">
                <a:solidFill>
                  <a:srgbClr val="F8F5E7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3" name="Freeform: Shape 13">
            <a:extLst>
              <a:ext uri="{FF2B5EF4-FFF2-40B4-BE49-F238E27FC236}">
                <a16:creationId xmlns:a16="http://schemas.microsoft.com/office/drawing/2014/main" id="{F1E411B7-9176-498E-B9E2-2DE05B18027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2FE83F57-F57F-4919-AE4C-5C6E98678D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5FC0D15E-2B73-42FD-9F1F-6074BF7A5DDE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63D9665C-B7E6-4B35-A0AB-230AA73AD9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FCFBF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E8482A2-DDB8-496F-B351-4888137FB9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FCFBF5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48511A-16FF-45B6-B942-4E672461EC4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8F5E7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4253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850" y="2228850"/>
            <a:ext cx="7710300" cy="2823894"/>
          </a:xfrm>
          <a:noFill/>
        </p:spPr>
        <p:txBody>
          <a:bodyPr lIns="0" tIns="0" rIns="0"/>
          <a:lstStyle>
            <a:lvl1pPr>
              <a:lnSpc>
                <a:spcPct val="80000"/>
              </a:lnSpc>
              <a:defRPr sz="5850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Date_GeneralDate" hidden="1">
            <a:extLst>
              <a:ext uri="{FF2B5EF4-FFF2-40B4-BE49-F238E27FC236}">
                <a16:creationId xmlns:a16="http://schemas.microsoft.com/office/drawing/2014/main" id="{BF234924-99E7-45C1-8DE2-61303ACA7E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9715A1B3-3630-4BAD-9C89-643EA989022F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009E80D-2147-4BBB-8420-968C489EF2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9322F81-C609-45A5-8EA6-B775EFE364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A3FD5E-C07C-4F93-A097-1EBC807641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8647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C2F9E70-01DA-4282-B3CD-6B56BBE02E87}"/>
              </a:ext>
            </a:extLst>
          </p:cNvPr>
          <p:cNvSpPr/>
          <p:nvPr userDrawn="1"/>
        </p:nvSpPr>
        <p:spPr>
          <a:xfrm>
            <a:off x="2" y="0"/>
            <a:ext cx="9905998" cy="6858000"/>
          </a:xfrm>
          <a:prstGeom prst="rect">
            <a:avLst/>
          </a:prstGeom>
          <a:solidFill>
            <a:srgbClr val="E4B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t" anchorCtr="0"/>
          <a:lstStyle/>
          <a:p>
            <a:pPr algn="l"/>
            <a:endParaRPr lang="en-GB" sz="813" noProof="0" dirty="0">
              <a:solidFill>
                <a:srgbClr val="2F363B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850" y="2228850"/>
            <a:ext cx="7710300" cy="2823894"/>
          </a:xfrm>
          <a:noFill/>
        </p:spPr>
        <p:txBody>
          <a:bodyPr lIns="0" tIns="0" rIns="0"/>
          <a:lstStyle>
            <a:lvl1pPr>
              <a:lnSpc>
                <a:spcPct val="80000"/>
              </a:lnSpc>
              <a:defRPr sz="5850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Date_GeneralDate" hidden="1">
            <a:extLst>
              <a:ext uri="{FF2B5EF4-FFF2-40B4-BE49-F238E27FC236}">
                <a16:creationId xmlns:a16="http://schemas.microsoft.com/office/drawing/2014/main" id="{BF234924-99E7-45C1-8DE2-61303ACA7E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9715A1B3-3630-4BAD-9C89-643EA989022F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009E80D-2147-4BBB-8420-968C489EF2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9322F81-C609-45A5-8EA6-B775EFE364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A3FD5E-C07C-4F93-A097-1EBC807641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8A1B70B9-3F42-4914-BEE7-21D102BBB2C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86392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ogo Image Dark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ject 2">
            <a:extLst>
              <a:ext uri="{FF2B5EF4-FFF2-40B4-BE49-F238E27FC236}">
                <a16:creationId xmlns:a16="http://schemas.microsoft.com/office/drawing/2014/main" id="{A81EE220-AC53-4153-A0FE-1F2219FBF428}"/>
              </a:ext>
            </a:extLst>
          </p:cNvPr>
          <p:cNvSpPr/>
          <p:nvPr userDrawn="1"/>
        </p:nvSpPr>
        <p:spPr>
          <a:xfrm>
            <a:off x="3452116" y="0"/>
            <a:ext cx="6453884" cy="6858000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0" y="11308556"/>
                </a:moveTo>
                <a:lnTo>
                  <a:pt x="20104099" y="11308556"/>
                </a:lnTo>
                <a:lnTo>
                  <a:pt x="20104099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E0BCA6"/>
          </a:solidFill>
        </p:spPr>
        <p:txBody>
          <a:bodyPr wrap="square" lIns="0" tIns="0" rIns="0" bIns="0" rtlCol="0"/>
          <a:lstStyle/>
          <a:p>
            <a:pPr marL="0" marR="0" lvl="0" indent="0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2F363B"/>
              </a:solidFill>
              <a:effectLst/>
              <a:uLnTx/>
              <a:uFillTx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8FF8D86-B4F2-440A-9986-8206DC5C5D54}"/>
              </a:ext>
            </a:extLst>
          </p:cNvPr>
          <p:cNvSpPr/>
          <p:nvPr userDrawn="1"/>
        </p:nvSpPr>
        <p:spPr>
          <a:xfrm>
            <a:off x="0" y="0"/>
            <a:ext cx="8554911" cy="5502275"/>
          </a:xfrm>
          <a:prstGeom prst="rect">
            <a:avLst/>
          </a:prstGeom>
          <a:solidFill>
            <a:srgbClr val="303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/>
            <a:endParaRPr lang="en-GB" sz="1000" noProof="0" dirty="0">
              <a:solidFill>
                <a:srgbClr val="2F363B"/>
              </a:solidFill>
            </a:endParaRP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32CBD7CE-0C91-4290-9606-0942684C465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52117" y="4011117"/>
            <a:ext cx="6453884" cy="2846883"/>
          </a:xfrm>
          <a:solidFill>
            <a:srgbClr val="F3F2F0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a-DK" dirty="0"/>
            </a:lvl1pPr>
          </a:lstStyle>
          <a:p>
            <a:pPr lvl="0" algn="ctr">
              <a:buNone/>
            </a:pPr>
            <a:r>
              <a:rPr lang="en-GB" dirty="0"/>
              <a:t>Click icon to add pictur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28390A0B-0148-4E4A-997F-3FF133263F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9875" y="4011117"/>
            <a:ext cx="2816225" cy="1003221"/>
          </a:xfrm>
        </p:spPr>
        <p:txBody>
          <a:bodyPr rIns="360000" anchor="t" anchorCtr="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975">
                <a:solidFill>
                  <a:srgbClr val="F8F5E7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rgbClr val="2F363B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49585976-AA21-42CB-B82F-826F945242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5" y="5014338"/>
            <a:ext cx="2816226" cy="210634"/>
          </a:xfrm>
        </p:spPr>
        <p:txBody>
          <a:bodyPr rIns="0" anchor="b" anchorCtr="0"/>
          <a:lstStyle>
            <a:lvl1pPr>
              <a:defRPr sz="900">
                <a:solidFill>
                  <a:srgbClr val="F8F5E7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F6935FD-E8E7-4B35-B4B1-C7059310FD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2256" y="539750"/>
            <a:ext cx="5841813" cy="3194064"/>
          </a:xfrm>
        </p:spPr>
        <p:txBody>
          <a:bodyPr anchor="t" anchorCtr="0">
            <a:noAutofit/>
          </a:bodyPr>
          <a:lstStyle>
            <a:lvl1pPr algn="l">
              <a:lnSpc>
                <a:spcPct val="83000"/>
              </a:lnSpc>
              <a:defRPr sz="6500" cap="all" baseline="0">
                <a:solidFill>
                  <a:srgbClr val="F8F5E7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A8E36132-A534-4EFF-8A7F-F188BAB49D88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8861146" y="788544"/>
            <a:ext cx="1258889" cy="287891"/>
          </a:xfrm>
          <a:custGeom>
            <a:avLst/>
            <a:gdLst>
              <a:gd name="connsiteX0" fmla="*/ 6778122 w 9905999"/>
              <a:gd name="connsiteY0" fmla="*/ 2222531 h 2265361"/>
              <a:gd name="connsiteX1" fmla="*/ 7135812 w 9905999"/>
              <a:gd name="connsiteY1" fmla="*/ 2222531 h 2265361"/>
              <a:gd name="connsiteX2" fmla="*/ 7135812 w 9905999"/>
              <a:gd name="connsiteY2" fmla="*/ 2265361 h 2265361"/>
              <a:gd name="connsiteX3" fmla="*/ 6778122 w 9905999"/>
              <a:gd name="connsiteY3" fmla="*/ 2265361 h 2265361"/>
              <a:gd name="connsiteX4" fmla="*/ 6778122 w 9905999"/>
              <a:gd name="connsiteY4" fmla="*/ 2222531 h 2265361"/>
              <a:gd name="connsiteX5" fmla="*/ 6449676 w 9905999"/>
              <a:gd name="connsiteY5" fmla="*/ 1769427 h 2265361"/>
              <a:gd name="connsiteX6" fmla="*/ 6449676 w 9905999"/>
              <a:gd name="connsiteY6" fmla="*/ 1965546 h 2265361"/>
              <a:gd name="connsiteX7" fmla="*/ 6575655 w 9905999"/>
              <a:gd name="connsiteY7" fmla="*/ 1965546 h 2265361"/>
              <a:gd name="connsiteX8" fmla="*/ 6679138 w 9905999"/>
              <a:gd name="connsiteY8" fmla="*/ 1864105 h 2265361"/>
              <a:gd name="connsiteX9" fmla="*/ 6575655 w 9905999"/>
              <a:gd name="connsiteY9" fmla="*/ 1769427 h 2265361"/>
              <a:gd name="connsiteX10" fmla="*/ 6449676 w 9905999"/>
              <a:gd name="connsiteY10" fmla="*/ 1769427 h 2265361"/>
              <a:gd name="connsiteX11" fmla="*/ 5021164 w 9905999"/>
              <a:gd name="connsiteY11" fmla="*/ 1769427 h 2265361"/>
              <a:gd name="connsiteX12" fmla="*/ 5021164 w 9905999"/>
              <a:gd name="connsiteY12" fmla="*/ 1949767 h 2265361"/>
              <a:gd name="connsiteX13" fmla="*/ 5158391 w 9905999"/>
              <a:gd name="connsiteY13" fmla="*/ 1949767 h 2265361"/>
              <a:gd name="connsiteX14" fmla="*/ 5261874 w 9905999"/>
              <a:gd name="connsiteY14" fmla="*/ 1859597 h 2265361"/>
              <a:gd name="connsiteX15" fmla="*/ 5158391 w 9905999"/>
              <a:gd name="connsiteY15" fmla="*/ 1769427 h 2265361"/>
              <a:gd name="connsiteX16" fmla="*/ 5021164 w 9905999"/>
              <a:gd name="connsiteY16" fmla="*/ 1769427 h 2265361"/>
              <a:gd name="connsiteX17" fmla="*/ 5597068 w 9905999"/>
              <a:gd name="connsiteY17" fmla="*/ 1762664 h 2265361"/>
              <a:gd name="connsiteX18" fmla="*/ 5504834 w 9905999"/>
              <a:gd name="connsiteY18" fmla="*/ 1800986 h 2265361"/>
              <a:gd name="connsiteX19" fmla="*/ 5459841 w 9905999"/>
              <a:gd name="connsiteY19" fmla="*/ 1967800 h 2265361"/>
              <a:gd name="connsiteX20" fmla="*/ 5504834 w 9905999"/>
              <a:gd name="connsiteY20" fmla="*/ 2132361 h 2265361"/>
              <a:gd name="connsiteX21" fmla="*/ 5597068 w 9905999"/>
              <a:gd name="connsiteY21" fmla="*/ 2170683 h 2265361"/>
              <a:gd name="connsiteX22" fmla="*/ 5691552 w 9905999"/>
              <a:gd name="connsiteY22" fmla="*/ 2132361 h 2265361"/>
              <a:gd name="connsiteX23" fmla="*/ 5734295 w 9905999"/>
              <a:gd name="connsiteY23" fmla="*/ 1967800 h 2265361"/>
              <a:gd name="connsiteX24" fmla="*/ 5691552 w 9905999"/>
              <a:gd name="connsiteY24" fmla="*/ 1800986 h 2265361"/>
              <a:gd name="connsiteX25" fmla="*/ 5597068 w 9905999"/>
              <a:gd name="connsiteY25" fmla="*/ 1762664 h 2265361"/>
              <a:gd name="connsiteX26" fmla="*/ 654642 w 9905999"/>
              <a:gd name="connsiteY26" fmla="*/ 1762664 h 2265361"/>
              <a:gd name="connsiteX27" fmla="*/ 560157 w 9905999"/>
              <a:gd name="connsiteY27" fmla="*/ 1800986 h 2265361"/>
              <a:gd name="connsiteX28" fmla="*/ 517414 w 9905999"/>
              <a:gd name="connsiteY28" fmla="*/ 1967800 h 2265361"/>
              <a:gd name="connsiteX29" fmla="*/ 560157 w 9905999"/>
              <a:gd name="connsiteY29" fmla="*/ 2132361 h 2265361"/>
              <a:gd name="connsiteX30" fmla="*/ 654642 w 9905999"/>
              <a:gd name="connsiteY30" fmla="*/ 2170683 h 2265361"/>
              <a:gd name="connsiteX31" fmla="*/ 746876 w 9905999"/>
              <a:gd name="connsiteY31" fmla="*/ 2132361 h 2265361"/>
              <a:gd name="connsiteX32" fmla="*/ 791868 w 9905999"/>
              <a:gd name="connsiteY32" fmla="*/ 1967800 h 2265361"/>
              <a:gd name="connsiteX33" fmla="*/ 746876 w 9905999"/>
              <a:gd name="connsiteY33" fmla="*/ 1800986 h 2265361"/>
              <a:gd name="connsiteX34" fmla="*/ 654642 w 9905999"/>
              <a:gd name="connsiteY34" fmla="*/ 1762664 h 2265361"/>
              <a:gd name="connsiteX35" fmla="*/ 6386687 w 9905999"/>
              <a:gd name="connsiteY35" fmla="*/ 1710816 h 2265361"/>
              <a:gd name="connsiteX36" fmla="*/ 6575655 w 9905999"/>
              <a:gd name="connsiteY36" fmla="*/ 1710816 h 2265361"/>
              <a:gd name="connsiteX37" fmla="*/ 6706134 w 9905999"/>
              <a:gd name="connsiteY37" fmla="*/ 1755901 h 2265361"/>
              <a:gd name="connsiteX38" fmla="*/ 6744377 w 9905999"/>
              <a:gd name="connsiteY38" fmla="*/ 1864105 h 2265361"/>
              <a:gd name="connsiteX39" fmla="*/ 6701634 w 9905999"/>
              <a:gd name="connsiteY39" fmla="*/ 1981326 h 2265361"/>
              <a:gd name="connsiteX40" fmla="*/ 6577905 w 9905999"/>
              <a:gd name="connsiteY40" fmla="*/ 2024157 h 2265361"/>
              <a:gd name="connsiteX41" fmla="*/ 6449676 w 9905999"/>
              <a:gd name="connsiteY41" fmla="*/ 2024157 h 2265361"/>
              <a:gd name="connsiteX42" fmla="*/ 6449676 w 9905999"/>
              <a:gd name="connsiteY42" fmla="*/ 2222531 h 2265361"/>
              <a:gd name="connsiteX43" fmla="*/ 6386687 w 9905999"/>
              <a:gd name="connsiteY43" fmla="*/ 2222531 h 2265361"/>
              <a:gd name="connsiteX44" fmla="*/ 6386687 w 9905999"/>
              <a:gd name="connsiteY44" fmla="*/ 1710816 h 2265361"/>
              <a:gd name="connsiteX45" fmla="*/ 5889520 w 9905999"/>
              <a:gd name="connsiteY45" fmla="*/ 1710816 h 2265361"/>
              <a:gd name="connsiteX46" fmla="*/ 5954759 w 9905999"/>
              <a:gd name="connsiteY46" fmla="*/ 1710816 h 2265361"/>
              <a:gd name="connsiteX47" fmla="*/ 5954759 w 9905999"/>
              <a:gd name="connsiteY47" fmla="*/ 2035428 h 2265361"/>
              <a:gd name="connsiteX48" fmla="*/ 6076239 w 9905999"/>
              <a:gd name="connsiteY48" fmla="*/ 2172937 h 2265361"/>
              <a:gd name="connsiteX49" fmla="*/ 6199968 w 9905999"/>
              <a:gd name="connsiteY49" fmla="*/ 2035428 h 2265361"/>
              <a:gd name="connsiteX50" fmla="*/ 6199968 w 9905999"/>
              <a:gd name="connsiteY50" fmla="*/ 1710816 h 2265361"/>
              <a:gd name="connsiteX51" fmla="*/ 6262957 w 9905999"/>
              <a:gd name="connsiteY51" fmla="*/ 1710816 h 2265361"/>
              <a:gd name="connsiteX52" fmla="*/ 6262957 w 9905999"/>
              <a:gd name="connsiteY52" fmla="*/ 2035428 h 2265361"/>
              <a:gd name="connsiteX53" fmla="*/ 6076239 w 9905999"/>
              <a:gd name="connsiteY53" fmla="*/ 2231547 h 2265361"/>
              <a:gd name="connsiteX54" fmla="*/ 5889520 w 9905999"/>
              <a:gd name="connsiteY54" fmla="*/ 2035428 h 2265361"/>
              <a:gd name="connsiteX55" fmla="*/ 5889520 w 9905999"/>
              <a:gd name="connsiteY55" fmla="*/ 1710816 h 2265361"/>
              <a:gd name="connsiteX56" fmla="*/ 4958174 w 9905999"/>
              <a:gd name="connsiteY56" fmla="*/ 1710816 h 2265361"/>
              <a:gd name="connsiteX57" fmla="*/ 5158391 w 9905999"/>
              <a:gd name="connsiteY57" fmla="*/ 1710816 h 2265361"/>
              <a:gd name="connsiteX58" fmla="*/ 5288869 w 9905999"/>
              <a:gd name="connsiteY58" fmla="*/ 1755901 h 2265361"/>
              <a:gd name="connsiteX59" fmla="*/ 5329363 w 9905999"/>
              <a:gd name="connsiteY59" fmla="*/ 1859597 h 2265361"/>
              <a:gd name="connsiteX60" fmla="*/ 5288869 w 9905999"/>
              <a:gd name="connsiteY60" fmla="*/ 1961038 h 2265361"/>
              <a:gd name="connsiteX61" fmla="*/ 5228130 w 9905999"/>
              <a:gd name="connsiteY61" fmla="*/ 1997106 h 2265361"/>
              <a:gd name="connsiteX62" fmla="*/ 5331612 w 9905999"/>
              <a:gd name="connsiteY62" fmla="*/ 2222531 h 2265361"/>
              <a:gd name="connsiteX63" fmla="*/ 5259624 w 9905999"/>
              <a:gd name="connsiteY63" fmla="*/ 2222531 h 2265361"/>
              <a:gd name="connsiteX64" fmla="*/ 5162890 w 9905999"/>
              <a:gd name="connsiteY64" fmla="*/ 2010631 h 2265361"/>
              <a:gd name="connsiteX65" fmla="*/ 5021164 w 9905999"/>
              <a:gd name="connsiteY65" fmla="*/ 2010631 h 2265361"/>
              <a:gd name="connsiteX66" fmla="*/ 5021164 w 9905999"/>
              <a:gd name="connsiteY66" fmla="*/ 2222531 h 2265361"/>
              <a:gd name="connsiteX67" fmla="*/ 4958174 w 9905999"/>
              <a:gd name="connsiteY67" fmla="*/ 2222531 h 2265361"/>
              <a:gd name="connsiteX68" fmla="*/ 4958174 w 9905999"/>
              <a:gd name="connsiteY68" fmla="*/ 1710816 h 2265361"/>
              <a:gd name="connsiteX69" fmla="*/ 3309199 w 9905999"/>
              <a:gd name="connsiteY69" fmla="*/ 1710816 h 2265361"/>
              <a:gd name="connsiteX70" fmla="*/ 3381187 w 9905999"/>
              <a:gd name="connsiteY70" fmla="*/ 1710816 h 2265361"/>
              <a:gd name="connsiteX71" fmla="*/ 3633145 w 9905999"/>
              <a:gd name="connsiteY71" fmla="*/ 2123344 h 2265361"/>
              <a:gd name="connsiteX72" fmla="*/ 3633145 w 9905999"/>
              <a:gd name="connsiteY72" fmla="*/ 1710816 h 2265361"/>
              <a:gd name="connsiteX73" fmla="*/ 3693885 w 9905999"/>
              <a:gd name="connsiteY73" fmla="*/ 1710816 h 2265361"/>
              <a:gd name="connsiteX74" fmla="*/ 3693885 w 9905999"/>
              <a:gd name="connsiteY74" fmla="*/ 2222531 h 2265361"/>
              <a:gd name="connsiteX75" fmla="*/ 3621897 w 9905999"/>
              <a:gd name="connsiteY75" fmla="*/ 2222531 h 2265361"/>
              <a:gd name="connsiteX76" fmla="*/ 3372188 w 9905999"/>
              <a:gd name="connsiteY76" fmla="*/ 1810003 h 2265361"/>
              <a:gd name="connsiteX77" fmla="*/ 3372188 w 9905999"/>
              <a:gd name="connsiteY77" fmla="*/ 2222531 h 2265361"/>
              <a:gd name="connsiteX78" fmla="*/ 3309199 w 9905999"/>
              <a:gd name="connsiteY78" fmla="*/ 2222531 h 2265361"/>
              <a:gd name="connsiteX79" fmla="*/ 3309199 w 9905999"/>
              <a:gd name="connsiteY79" fmla="*/ 1710816 h 2265361"/>
              <a:gd name="connsiteX80" fmla="*/ 3106732 w 9905999"/>
              <a:gd name="connsiteY80" fmla="*/ 1710816 h 2265361"/>
              <a:gd name="connsiteX81" fmla="*/ 3171971 w 9905999"/>
              <a:gd name="connsiteY81" fmla="*/ 1710816 h 2265361"/>
              <a:gd name="connsiteX82" fmla="*/ 3171971 w 9905999"/>
              <a:gd name="connsiteY82" fmla="*/ 2222531 h 2265361"/>
              <a:gd name="connsiteX83" fmla="*/ 3106732 w 9905999"/>
              <a:gd name="connsiteY83" fmla="*/ 2222531 h 2265361"/>
              <a:gd name="connsiteX84" fmla="*/ 3106732 w 9905999"/>
              <a:gd name="connsiteY84" fmla="*/ 1710816 h 2265361"/>
              <a:gd name="connsiteX85" fmla="*/ 2663557 w 9905999"/>
              <a:gd name="connsiteY85" fmla="*/ 1710816 h 2265361"/>
              <a:gd name="connsiteX86" fmla="*/ 3032495 w 9905999"/>
              <a:gd name="connsiteY86" fmla="*/ 1710816 h 2265361"/>
              <a:gd name="connsiteX87" fmla="*/ 3032495 w 9905999"/>
              <a:gd name="connsiteY87" fmla="*/ 1769427 h 2265361"/>
              <a:gd name="connsiteX88" fmla="*/ 2879521 w 9905999"/>
              <a:gd name="connsiteY88" fmla="*/ 1769427 h 2265361"/>
              <a:gd name="connsiteX89" fmla="*/ 2879521 w 9905999"/>
              <a:gd name="connsiteY89" fmla="*/ 2222531 h 2265361"/>
              <a:gd name="connsiteX90" fmla="*/ 2814282 w 9905999"/>
              <a:gd name="connsiteY90" fmla="*/ 2222531 h 2265361"/>
              <a:gd name="connsiteX91" fmla="*/ 2814282 w 9905999"/>
              <a:gd name="connsiteY91" fmla="*/ 1769427 h 2265361"/>
              <a:gd name="connsiteX92" fmla="*/ 2663557 w 9905999"/>
              <a:gd name="connsiteY92" fmla="*/ 1769427 h 2265361"/>
              <a:gd name="connsiteX93" fmla="*/ 2663557 w 9905999"/>
              <a:gd name="connsiteY93" fmla="*/ 1710816 h 2265361"/>
              <a:gd name="connsiteX94" fmla="*/ 2416099 w 9905999"/>
              <a:gd name="connsiteY94" fmla="*/ 1710816 h 2265361"/>
              <a:gd name="connsiteX95" fmla="*/ 2481338 w 9905999"/>
              <a:gd name="connsiteY95" fmla="*/ 1710816 h 2265361"/>
              <a:gd name="connsiteX96" fmla="*/ 2481338 w 9905999"/>
              <a:gd name="connsiteY96" fmla="*/ 2163920 h 2265361"/>
              <a:gd name="connsiteX97" fmla="*/ 2726547 w 9905999"/>
              <a:gd name="connsiteY97" fmla="*/ 2163920 h 2265361"/>
              <a:gd name="connsiteX98" fmla="*/ 2726547 w 9905999"/>
              <a:gd name="connsiteY98" fmla="*/ 2222531 h 2265361"/>
              <a:gd name="connsiteX99" fmla="*/ 2416099 w 9905999"/>
              <a:gd name="connsiteY99" fmla="*/ 2222531 h 2265361"/>
              <a:gd name="connsiteX100" fmla="*/ 2416099 w 9905999"/>
              <a:gd name="connsiteY100" fmla="*/ 1710816 h 2265361"/>
              <a:gd name="connsiteX101" fmla="*/ 1918931 w 9905999"/>
              <a:gd name="connsiteY101" fmla="*/ 1710816 h 2265361"/>
              <a:gd name="connsiteX102" fmla="*/ 1984171 w 9905999"/>
              <a:gd name="connsiteY102" fmla="*/ 1710816 h 2265361"/>
              <a:gd name="connsiteX103" fmla="*/ 1984171 w 9905999"/>
              <a:gd name="connsiteY103" fmla="*/ 2035428 h 2265361"/>
              <a:gd name="connsiteX104" fmla="*/ 2105651 w 9905999"/>
              <a:gd name="connsiteY104" fmla="*/ 2172937 h 2265361"/>
              <a:gd name="connsiteX105" fmla="*/ 2229380 w 9905999"/>
              <a:gd name="connsiteY105" fmla="*/ 2035428 h 2265361"/>
              <a:gd name="connsiteX106" fmla="*/ 2229380 w 9905999"/>
              <a:gd name="connsiteY106" fmla="*/ 1710816 h 2265361"/>
              <a:gd name="connsiteX107" fmla="*/ 2292369 w 9905999"/>
              <a:gd name="connsiteY107" fmla="*/ 1710816 h 2265361"/>
              <a:gd name="connsiteX108" fmla="*/ 2292369 w 9905999"/>
              <a:gd name="connsiteY108" fmla="*/ 2035428 h 2265361"/>
              <a:gd name="connsiteX109" fmla="*/ 2105651 w 9905999"/>
              <a:gd name="connsiteY109" fmla="*/ 2231547 h 2265361"/>
              <a:gd name="connsiteX110" fmla="*/ 1918931 w 9905999"/>
              <a:gd name="connsiteY110" fmla="*/ 2035428 h 2265361"/>
              <a:gd name="connsiteX111" fmla="*/ 1918931 w 9905999"/>
              <a:gd name="connsiteY111" fmla="*/ 1710816 h 2265361"/>
              <a:gd name="connsiteX112" fmla="*/ 960591 w 9905999"/>
              <a:gd name="connsiteY112" fmla="*/ 1710816 h 2265361"/>
              <a:gd name="connsiteX113" fmla="*/ 1032578 w 9905999"/>
              <a:gd name="connsiteY113" fmla="*/ 1710816 h 2265361"/>
              <a:gd name="connsiteX114" fmla="*/ 1284537 w 9905999"/>
              <a:gd name="connsiteY114" fmla="*/ 2123344 h 2265361"/>
              <a:gd name="connsiteX115" fmla="*/ 1284537 w 9905999"/>
              <a:gd name="connsiteY115" fmla="*/ 1710816 h 2265361"/>
              <a:gd name="connsiteX116" fmla="*/ 1345276 w 9905999"/>
              <a:gd name="connsiteY116" fmla="*/ 1710816 h 2265361"/>
              <a:gd name="connsiteX117" fmla="*/ 1345276 w 9905999"/>
              <a:gd name="connsiteY117" fmla="*/ 2222531 h 2265361"/>
              <a:gd name="connsiteX118" fmla="*/ 1273289 w 9905999"/>
              <a:gd name="connsiteY118" fmla="*/ 2222531 h 2265361"/>
              <a:gd name="connsiteX119" fmla="*/ 1023580 w 9905999"/>
              <a:gd name="connsiteY119" fmla="*/ 1810003 h 2265361"/>
              <a:gd name="connsiteX120" fmla="*/ 1023580 w 9905999"/>
              <a:gd name="connsiteY120" fmla="*/ 2222531 h 2265361"/>
              <a:gd name="connsiteX121" fmla="*/ 960591 w 9905999"/>
              <a:gd name="connsiteY121" fmla="*/ 2222531 h 2265361"/>
              <a:gd name="connsiteX122" fmla="*/ 960591 w 9905999"/>
              <a:gd name="connsiteY122" fmla="*/ 1710816 h 2265361"/>
              <a:gd name="connsiteX123" fmla="*/ 5597068 w 9905999"/>
              <a:gd name="connsiteY123" fmla="*/ 1701799 h 2265361"/>
              <a:gd name="connsiteX124" fmla="*/ 5736545 w 9905999"/>
              <a:gd name="connsiteY124" fmla="*/ 1755901 h 2265361"/>
              <a:gd name="connsiteX125" fmla="*/ 5801784 w 9905999"/>
              <a:gd name="connsiteY125" fmla="*/ 1967800 h 2265361"/>
              <a:gd name="connsiteX126" fmla="*/ 5736545 w 9905999"/>
              <a:gd name="connsiteY126" fmla="*/ 2177446 h 2265361"/>
              <a:gd name="connsiteX127" fmla="*/ 5597068 w 9905999"/>
              <a:gd name="connsiteY127" fmla="*/ 2233802 h 2265361"/>
              <a:gd name="connsiteX128" fmla="*/ 5459841 w 9905999"/>
              <a:gd name="connsiteY128" fmla="*/ 2177446 h 2265361"/>
              <a:gd name="connsiteX129" fmla="*/ 5394602 w 9905999"/>
              <a:gd name="connsiteY129" fmla="*/ 1967800 h 2265361"/>
              <a:gd name="connsiteX130" fmla="*/ 5459841 w 9905999"/>
              <a:gd name="connsiteY130" fmla="*/ 1755901 h 2265361"/>
              <a:gd name="connsiteX131" fmla="*/ 5597068 w 9905999"/>
              <a:gd name="connsiteY131" fmla="*/ 1701799 h 2265361"/>
              <a:gd name="connsiteX132" fmla="*/ 4645477 w 9905999"/>
              <a:gd name="connsiteY132" fmla="*/ 1701799 h 2265361"/>
              <a:gd name="connsiteX133" fmla="*/ 4791702 w 9905999"/>
              <a:gd name="connsiteY133" fmla="*/ 1758155 h 2265361"/>
              <a:gd name="connsiteX134" fmla="*/ 4834445 w 9905999"/>
              <a:gd name="connsiteY134" fmla="*/ 1859597 h 2265361"/>
              <a:gd name="connsiteX135" fmla="*/ 4766956 w 9905999"/>
              <a:gd name="connsiteY135" fmla="*/ 1859597 h 2265361"/>
              <a:gd name="connsiteX136" fmla="*/ 4744460 w 9905999"/>
              <a:gd name="connsiteY136" fmla="*/ 1803240 h 2265361"/>
              <a:gd name="connsiteX137" fmla="*/ 4645477 w 9905999"/>
              <a:gd name="connsiteY137" fmla="*/ 1762664 h 2265361"/>
              <a:gd name="connsiteX138" fmla="*/ 4550992 w 9905999"/>
              <a:gd name="connsiteY138" fmla="*/ 1800986 h 2265361"/>
              <a:gd name="connsiteX139" fmla="*/ 4506000 w 9905999"/>
              <a:gd name="connsiteY139" fmla="*/ 1967800 h 2265361"/>
              <a:gd name="connsiteX140" fmla="*/ 4553242 w 9905999"/>
              <a:gd name="connsiteY140" fmla="*/ 2134615 h 2265361"/>
              <a:gd name="connsiteX141" fmla="*/ 4645477 w 9905999"/>
              <a:gd name="connsiteY141" fmla="*/ 2172937 h 2265361"/>
              <a:gd name="connsiteX142" fmla="*/ 4737711 w 9905999"/>
              <a:gd name="connsiteY142" fmla="*/ 2136869 h 2265361"/>
              <a:gd name="connsiteX143" fmla="*/ 4780454 w 9905999"/>
              <a:gd name="connsiteY143" fmla="*/ 2006123 h 2265361"/>
              <a:gd name="connsiteX144" fmla="*/ 4645477 w 9905999"/>
              <a:gd name="connsiteY144" fmla="*/ 2006123 h 2265361"/>
              <a:gd name="connsiteX145" fmla="*/ 4645477 w 9905999"/>
              <a:gd name="connsiteY145" fmla="*/ 1947512 h 2265361"/>
              <a:gd name="connsiteX146" fmla="*/ 4838944 w 9905999"/>
              <a:gd name="connsiteY146" fmla="*/ 1947512 h 2265361"/>
              <a:gd name="connsiteX147" fmla="*/ 4838944 w 9905999"/>
              <a:gd name="connsiteY147" fmla="*/ 2222531 h 2265361"/>
              <a:gd name="connsiteX148" fmla="*/ 4793952 w 9905999"/>
              <a:gd name="connsiteY148" fmla="*/ 2222531 h 2265361"/>
              <a:gd name="connsiteX149" fmla="*/ 4782704 w 9905999"/>
              <a:gd name="connsiteY149" fmla="*/ 2161666 h 2265361"/>
              <a:gd name="connsiteX150" fmla="*/ 4645477 w 9905999"/>
              <a:gd name="connsiteY150" fmla="*/ 2233802 h 2265361"/>
              <a:gd name="connsiteX151" fmla="*/ 4506000 w 9905999"/>
              <a:gd name="connsiteY151" fmla="*/ 2179700 h 2265361"/>
              <a:gd name="connsiteX152" fmla="*/ 4440761 w 9905999"/>
              <a:gd name="connsiteY152" fmla="*/ 1967800 h 2265361"/>
              <a:gd name="connsiteX153" fmla="*/ 4506000 w 9905999"/>
              <a:gd name="connsiteY153" fmla="*/ 1755901 h 2265361"/>
              <a:gd name="connsiteX154" fmla="*/ 4645477 w 9905999"/>
              <a:gd name="connsiteY154" fmla="*/ 1701799 h 2265361"/>
              <a:gd name="connsiteX155" fmla="*/ 4002083 w 9905999"/>
              <a:gd name="connsiteY155" fmla="*/ 1701799 h 2265361"/>
              <a:gd name="connsiteX156" fmla="*/ 4148309 w 9905999"/>
              <a:gd name="connsiteY156" fmla="*/ 1758155 h 2265361"/>
              <a:gd name="connsiteX157" fmla="*/ 4193302 w 9905999"/>
              <a:gd name="connsiteY157" fmla="*/ 1859597 h 2265361"/>
              <a:gd name="connsiteX158" fmla="*/ 4125813 w 9905999"/>
              <a:gd name="connsiteY158" fmla="*/ 1859597 h 2265361"/>
              <a:gd name="connsiteX159" fmla="*/ 4103317 w 9905999"/>
              <a:gd name="connsiteY159" fmla="*/ 1803240 h 2265361"/>
              <a:gd name="connsiteX160" fmla="*/ 4002083 w 9905999"/>
              <a:gd name="connsiteY160" fmla="*/ 1762664 h 2265361"/>
              <a:gd name="connsiteX161" fmla="*/ 3909849 w 9905999"/>
              <a:gd name="connsiteY161" fmla="*/ 1800986 h 2265361"/>
              <a:gd name="connsiteX162" fmla="*/ 3864856 w 9905999"/>
              <a:gd name="connsiteY162" fmla="*/ 1967800 h 2265361"/>
              <a:gd name="connsiteX163" fmla="*/ 3909849 w 9905999"/>
              <a:gd name="connsiteY163" fmla="*/ 2134615 h 2265361"/>
              <a:gd name="connsiteX164" fmla="*/ 4002083 w 9905999"/>
              <a:gd name="connsiteY164" fmla="*/ 2172937 h 2265361"/>
              <a:gd name="connsiteX165" fmla="*/ 4094318 w 9905999"/>
              <a:gd name="connsiteY165" fmla="*/ 2136869 h 2265361"/>
              <a:gd name="connsiteX166" fmla="*/ 4139311 w 9905999"/>
              <a:gd name="connsiteY166" fmla="*/ 2006123 h 2265361"/>
              <a:gd name="connsiteX167" fmla="*/ 4002083 w 9905999"/>
              <a:gd name="connsiteY167" fmla="*/ 2006123 h 2265361"/>
              <a:gd name="connsiteX168" fmla="*/ 4002083 w 9905999"/>
              <a:gd name="connsiteY168" fmla="*/ 1947512 h 2265361"/>
              <a:gd name="connsiteX169" fmla="*/ 4197801 w 9905999"/>
              <a:gd name="connsiteY169" fmla="*/ 1947512 h 2265361"/>
              <a:gd name="connsiteX170" fmla="*/ 4197801 w 9905999"/>
              <a:gd name="connsiteY170" fmla="*/ 2222531 h 2265361"/>
              <a:gd name="connsiteX171" fmla="*/ 4152808 w 9905999"/>
              <a:gd name="connsiteY171" fmla="*/ 2222531 h 2265361"/>
              <a:gd name="connsiteX172" fmla="*/ 4141560 w 9905999"/>
              <a:gd name="connsiteY172" fmla="*/ 2161666 h 2265361"/>
              <a:gd name="connsiteX173" fmla="*/ 4002083 w 9905999"/>
              <a:gd name="connsiteY173" fmla="*/ 2233802 h 2265361"/>
              <a:gd name="connsiteX174" fmla="*/ 3864856 w 9905999"/>
              <a:gd name="connsiteY174" fmla="*/ 2179700 h 2265361"/>
              <a:gd name="connsiteX175" fmla="*/ 3797367 w 9905999"/>
              <a:gd name="connsiteY175" fmla="*/ 1967800 h 2265361"/>
              <a:gd name="connsiteX176" fmla="*/ 3864856 w 9905999"/>
              <a:gd name="connsiteY176" fmla="*/ 1755901 h 2265361"/>
              <a:gd name="connsiteX177" fmla="*/ 4002083 w 9905999"/>
              <a:gd name="connsiteY177" fmla="*/ 1701799 h 2265361"/>
              <a:gd name="connsiteX178" fmla="*/ 1642228 w 9905999"/>
              <a:gd name="connsiteY178" fmla="*/ 1701799 h 2265361"/>
              <a:gd name="connsiteX179" fmla="*/ 1774955 w 9905999"/>
              <a:gd name="connsiteY179" fmla="*/ 1749138 h 2265361"/>
              <a:gd name="connsiteX180" fmla="*/ 1824447 w 9905999"/>
              <a:gd name="connsiteY180" fmla="*/ 1859597 h 2265361"/>
              <a:gd name="connsiteX181" fmla="*/ 1756958 w 9905999"/>
              <a:gd name="connsiteY181" fmla="*/ 1859597 h 2265361"/>
              <a:gd name="connsiteX182" fmla="*/ 1732212 w 9905999"/>
              <a:gd name="connsiteY182" fmla="*/ 1796478 h 2265361"/>
              <a:gd name="connsiteX183" fmla="*/ 1639978 w 9905999"/>
              <a:gd name="connsiteY183" fmla="*/ 1760410 h 2265361"/>
              <a:gd name="connsiteX184" fmla="*/ 1549993 w 9905999"/>
              <a:gd name="connsiteY184" fmla="*/ 1796478 h 2265361"/>
              <a:gd name="connsiteX185" fmla="*/ 1529746 w 9905999"/>
              <a:gd name="connsiteY185" fmla="*/ 1850580 h 2265361"/>
              <a:gd name="connsiteX186" fmla="*/ 1606234 w 9905999"/>
              <a:gd name="connsiteY186" fmla="*/ 1922716 h 2265361"/>
              <a:gd name="connsiteX187" fmla="*/ 1691719 w 9905999"/>
              <a:gd name="connsiteY187" fmla="*/ 1936241 h 2265361"/>
              <a:gd name="connsiteX188" fmla="*/ 1833445 w 9905999"/>
              <a:gd name="connsiteY188" fmla="*/ 2082767 h 2265361"/>
              <a:gd name="connsiteX189" fmla="*/ 1790703 w 9905999"/>
              <a:gd name="connsiteY189" fmla="*/ 2181954 h 2265361"/>
              <a:gd name="connsiteX190" fmla="*/ 1644477 w 9905999"/>
              <a:gd name="connsiteY190" fmla="*/ 2231547 h 2265361"/>
              <a:gd name="connsiteX191" fmla="*/ 1498251 w 9905999"/>
              <a:gd name="connsiteY191" fmla="*/ 2184208 h 2265361"/>
              <a:gd name="connsiteX192" fmla="*/ 1444260 w 9905999"/>
              <a:gd name="connsiteY192" fmla="*/ 2060225 h 2265361"/>
              <a:gd name="connsiteX193" fmla="*/ 1509499 w 9905999"/>
              <a:gd name="connsiteY193" fmla="*/ 2060225 h 2265361"/>
              <a:gd name="connsiteX194" fmla="*/ 1545494 w 9905999"/>
              <a:gd name="connsiteY194" fmla="*/ 2141378 h 2265361"/>
              <a:gd name="connsiteX195" fmla="*/ 1644477 w 9905999"/>
              <a:gd name="connsiteY195" fmla="*/ 2172937 h 2265361"/>
              <a:gd name="connsiteX196" fmla="*/ 1738962 w 9905999"/>
              <a:gd name="connsiteY196" fmla="*/ 2143632 h 2265361"/>
              <a:gd name="connsiteX197" fmla="*/ 1765956 w 9905999"/>
              <a:gd name="connsiteY197" fmla="*/ 2082767 h 2265361"/>
              <a:gd name="connsiteX198" fmla="*/ 1680471 w 9905999"/>
              <a:gd name="connsiteY198" fmla="*/ 2001614 h 2265361"/>
              <a:gd name="connsiteX199" fmla="*/ 1599484 w 9905999"/>
              <a:gd name="connsiteY199" fmla="*/ 1988089 h 2265361"/>
              <a:gd name="connsiteX200" fmla="*/ 1462257 w 9905999"/>
              <a:gd name="connsiteY200" fmla="*/ 1852834 h 2265361"/>
              <a:gd name="connsiteX201" fmla="*/ 1507249 w 9905999"/>
              <a:gd name="connsiteY201" fmla="*/ 1751393 h 2265361"/>
              <a:gd name="connsiteX202" fmla="*/ 1642228 w 9905999"/>
              <a:gd name="connsiteY202" fmla="*/ 1701799 h 2265361"/>
              <a:gd name="connsiteX203" fmla="*/ 654642 w 9905999"/>
              <a:gd name="connsiteY203" fmla="*/ 1701799 h 2265361"/>
              <a:gd name="connsiteX204" fmla="*/ 791868 w 9905999"/>
              <a:gd name="connsiteY204" fmla="*/ 1755901 h 2265361"/>
              <a:gd name="connsiteX205" fmla="*/ 857108 w 9905999"/>
              <a:gd name="connsiteY205" fmla="*/ 1967800 h 2265361"/>
              <a:gd name="connsiteX206" fmla="*/ 791868 w 9905999"/>
              <a:gd name="connsiteY206" fmla="*/ 2177446 h 2265361"/>
              <a:gd name="connsiteX207" fmla="*/ 654642 w 9905999"/>
              <a:gd name="connsiteY207" fmla="*/ 2233802 h 2265361"/>
              <a:gd name="connsiteX208" fmla="*/ 515164 w 9905999"/>
              <a:gd name="connsiteY208" fmla="*/ 2177446 h 2265361"/>
              <a:gd name="connsiteX209" fmla="*/ 449925 w 9905999"/>
              <a:gd name="connsiteY209" fmla="*/ 1967800 h 2265361"/>
              <a:gd name="connsiteX210" fmla="*/ 515164 w 9905999"/>
              <a:gd name="connsiteY210" fmla="*/ 1755901 h 2265361"/>
              <a:gd name="connsiteX211" fmla="*/ 654642 w 9905999"/>
              <a:gd name="connsiteY211" fmla="*/ 1701799 h 2265361"/>
              <a:gd name="connsiteX212" fmla="*/ 202466 w 9905999"/>
              <a:gd name="connsiteY212" fmla="*/ 1701799 h 2265361"/>
              <a:gd name="connsiteX213" fmla="*/ 339693 w 9905999"/>
              <a:gd name="connsiteY213" fmla="*/ 1753647 h 2265361"/>
              <a:gd name="connsiteX214" fmla="*/ 389185 w 9905999"/>
              <a:gd name="connsiteY214" fmla="*/ 1870868 h 2265361"/>
              <a:gd name="connsiteX215" fmla="*/ 323946 w 9905999"/>
              <a:gd name="connsiteY215" fmla="*/ 1870868 h 2265361"/>
              <a:gd name="connsiteX216" fmla="*/ 294701 w 9905999"/>
              <a:gd name="connsiteY216" fmla="*/ 1798732 h 2265361"/>
              <a:gd name="connsiteX217" fmla="*/ 202466 w 9905999"/>
              <a:gd name="connsiteY217" fmla="*/ 1762664 h 2265361"/>
              <a:gd name="connsiteX218" fmla="*/ 110232 w 9905999"/>
              <a:gd name="connsiteY218" fmla="*/ 1800986 h 2265361"/>
              <a:gd name="connsiteX219" fmla="*/ 67489 w 9905999"/>
              <a:gd name="connsiteY219" fmla="*/ 1967800 h 2265361"/>
              <a:gd name="connsiteX220" fmla="*/ 110232 w 9905999"/>
              <a:gd name="connsiteY220" fmla="*/ 2132361 h 2265361"/>
              <a:gd name="connsiteX221" fmla="*/ 202466 w 9905999"/>
              <a:gd name="connsiteY221" fmla="*/ 2172937 h 2265361"/>
              <a:gd name="connsiteX222" fmla="*/ 296951 w 9905999"/>
              <a:gd name="connsiteY222" fmla="*/ 2132361 h 2265361"/>
              <a:gd name="connsiteX223" fmla="*/ 323946 w 9905999"/>
              <a:gd name="connsiteY223" fmla="*/ 2060225 h 2265361"/>
              <a:gd name="connsiteX224" fmla="*/ 391435 w 9905999"/>
              <a:gd name="connsiteY224" fmla="*/ 2060225 h 2265361"/>
              <a:gd name="connsiteX225" fmla="*/ 339693 w 9905999"/>
              <a:gd name="connsiteY225" fmla="*/ 2177446 h 2265361"/>
              <a:gd name="connsiteX226" fmla="*/ 202466 w 9905999"/>
              <a:gd name="connsiteY226" fmla="*/ 2233802 h 2265361"/>
              <a:gd name="connsiteX227" fmla="*/ 65239 w 9905999"/>
              <a:gd name="connsiteY227" fmla="*/ 2177446 h 2265361"/>
              <a:gd name="connsiteX228" fmla="*/ 0 w 9905999"/>
              <a:gd name="connsiteY228" fmla="*/ 1967800 h 2265361"/>
              <a:gd name="connsiteX229" fmla="*/ 65239 w 9905999"/>
              <a:gd name="connsiteY229" fmla="*/ 1755901 h 2265361"/>
              <a:gd name="connsiteX230" fmla="*/ 202466 w 9905999"/>
              <a:gd name="connsiteY230" fmla="*/ 1701799 h 2265361"/>
              <a:gd name="connsiteX231" fmla="*/ 2227389 w 9905999"/>
              <a:gd name="connsiteY231" fmla="*/ 214047 h 2265361"/>
              <a:gd name="connsiteX232" fmla="*/ 2227389 w 9905999"/>
              <a:gd name="connsiteY232" fmla="*/ 574548 h 2265361"/>
              <a:gd name="connsiteX233" fmla="*/ 2456649 w 9905999"/>
              <a:gd name="connsiteY233" fmla="*/ 574548 h 2265361"/>
              <a:gd name="connsiteX234" fmla="*/ 2654442 w 9905999"/>
              <a:gd name="connsiteY234" fmla="*/ 394298 h 2265361"/>
              <a:gd name="connsiteX235" fmla="*/ 2456649 w 9905999"/>
              <a:gd name="connsiteY235" fmla="*/ 214047 h 2265361"/>
              <a:gd name="connsiteX236" fmla="*/ 2227389 w 9905999"/>
              <a:gd name="connsiteY236" fmla="*/ 214047 h 2265361"/>
              <a:gd name="connsiteX237" fmla="*/ 8961436 w 9905999"/>
              <a:gd name="connsiteY237" fmla="*/ 0 h 2265361"/>
              <a:gd name="connsiteX238" fmla="*/ 9905999 w 9905999"/>
              <a:gd name="connsiteY238" fmla="*/ 0 h 2265361"/>
              <a:gd name="connsiteX239" fmla="*/ 9905999 w 9905999"/>
              <a:gd name="connsiteY239" fmla="*/ 225425 h 2265361"/>
              <a:gd name="connsiteX240" fmla="*/ 9555161 w 9905999"/>
              <a:gd name="connsiteY240" fmla="*/ 225425 h 2265361"/>
              <a:gd name="connsiteX241" fmla="*/ 9555161 w 9905999"/>
              <a:gd name="connsiteY241" fmla="*/ 1214437 h 2265361"/>
              <a:gd name="connsiteX242" fmla="*/ 9315449 w 9905999"/>
              <a:gd name="connsiteY242" fmla="*/ 1214437 h 2265361"/>
              <a:gd name="connsiteX243" fmla="*/ 9315449 w 9905999"/>
              <a:gd name="connsiteY243" fmla="*/ 225425 h 2265361"/>
              <a:gd name="connsiteX244" fmla="*/ 8961436 w 9905999"/>
              <a:gd name="connsiteY244" fmla="*/ 225425 h 2265361"/>
              <a:gd name="connsiteX245" fmla="*/ 7785099 w 9905999"/>
              <a:gd name="connsiteY245" fmla="*/ 0 h 2265361"/>
              <a:gd name="connsiteX246" fmla="*/ 8035924 w 9905999"/>
              <a:gd name="connsiteY246" fmla="*/ 0 h 2265361"/>
              <a:gd name="connsiteX247" fmla="*/ 8037512 w 9905999"/>
              <a:gd name="connsiteY247" fmla="*/ 3175 h 2265361"/>
              <a:gd name="connsiteX248" fmla="*/ 8523286 w 9905999"/>
              <a:gd name="connsiteY248" fmla="*/ 774700 h 2265361"/>
              <a:gd name="connsiteX249" fmla="*/ 8523286 w 9905999"/>
              <a:gd name="connsiteY249" fmla="*/ 0 h 2265361"/>
              <a:gd name="connsiteX250" fmla="*/ 8759824 w 9905999"/>
              <a:gd name="connsiteY250" fmla="*/ 0 h 2265361"/>
              <a:gd name="connsiteX251" fmla="*/ 8759824 w 9905999"/>
              <a:gd name="connsiteY251" fmla="*/ 1214437 h 2265361"/>
              <a:gd name="connsiteX252" fmla="*/ 8518524 w 9905999"/>
              <a:gd name="connsiteY252" fmla="*/ 1214437 h 2265361"/>
              <a:gd name="connsiteX253" fmla="*/ 8024812 w 9905999"/>
              <a:gd name="connsiteY253" fmla="*/ 425450 h 2265361"/>
              <a:gd name="connsiteX254" fmla="*/ 8024812 w 9905999"/>
              <a:gd name="connsiteY254" fmla="*/ 1214437 h 2265361"/>
              <a:gd name="connsiteX255" fmla="*/ 7785099 w 9905999"/>
              <a:gd name="connsiteY255" fmla="*/ 1214437 h 2265361"/>
              <a:gd name="connsiteX256" fmla="*/ 6665911 w 9905999"/>
              <a:gd name="connsiteY256" fmla="*/ 0 h 2265361"/>
              <a:gd name="connsiteX257" fmla="*/ 7535861 w 9905999"/>
              <a:gd name="connsiteY257" fmla="*/ 0 h 2265361"/>
              <a:gd name="connsiteX258" fmla="*/ 7535861 w 9905999"/>
              <a:gd name="connsiteY258" fmla="*/ 220663 h 2265361"/>
              <a:gd name="connsiteX259" fmla="*/ 6905624 w 9905999"/>
              <a:gd name="connsiteY259" fmla="*/ 220663 h 2265361"/>
              <a:gd name="connsiteX260" fmla="*/ 6905624 w 9905999"/>
              <a:gd name="connsiteY260" fmla="*/ 473075 h 2265361"/>
              <a:gd name="connsiteX261" fmla="*/ 7459661 w 9905999"/>
              <a:gd name="connsiteY261" fmla="*/ 473075 h 2265361"/>
              <a:gd name="connsiteX262" fmla="*/ 7459661 w 9905999"/>
              <a:gd name="connsiteY262" fmla="*/ 690562 h 2265361"/>
              <a:gd name="connsiteX263" fmla="*/ 6905624 w 9905999"/>
              <a:gd name="connsiteY263" fmla="*/ 690562 h 2265361"/>
              <a:gd name="connsiteX264" fmla="*/ 6905624 w 9905999"/>
              <a:gd name="connsiteY264" fmla="*/ 993775 h 2265361"/>
              <a:gd name="connsiteX265" fmla="*/ 7535861 w 9905999"/>
              <a:gd name="connsiteY265" fmla="*/ 993775 h 2265361"/>
              <a:gd name="connsiteX266" fmla="*/ 7535861 w 9905999"/>
              <a:gd name="connsiteY266" fmla="*/ 1214437 h 2265361"/>
              <a:gd name="connsiteX267" fmla="*/ 6665911 w 9905999"/>
              <a:gd name="connsiteY267" fmla="*/ 1214437 h 2265361"/>
              <a:gd name="connsiteX268" fmla="*/ 5221286 w 9905999"/>
              <a:gd name="connsiteY268" fmla="*/ 0 h 2265361"/>
              <a:gd name="connsiteX269" fmla="*/ 5534024 w 9905999"/>
              <a:gd name="connsiteY269" fmla="*/ 0 h 2265361"/>
              <a:gd name="connsiteX270" fmla="*/ 5835649 w 9905999"/>
              <a:gd name="connsiteY270" fmla="*/ 823912 h 2265361"/>
              <a:gd name="connsiteX271" fmla="*/ 6142037 w 9905999"/>
              <a:gd name="connsiteY271" fmla="*/ 0 h 2265361"/>
              <a:gd name="connsiteX272" fmla="*/ 6438899 w 9905999"/>
              <a:gd name="connsiteY272" fmla="*/ 0 h 2265361"/>
              <a:gd name="connsiteX273" fmla="*/ 6438899 w 9905999"/>
              <a:gd name="connsiteY273" fmla="*/ 1214437 h 2265361"/>
              <a:gd name="connsiteX274" fmla="*/ 6203949 w 9905999"/>
              <a:gd name="connsiteY274" fmla="*/ 1214437 h 2265361"/>
              <a:gd name="connsiteX275" fmla="*/ 6203949 w 9905999"/>
              <a:gd name="connsiteY275" fmla="*/ 419100 h 2265361"/>
              <a:gd name="connsiteX276" fmla="*/ 5916612 w 9905999"/>
              <a:gd name="connsiteY276" fmla="*/ 1196975 h 2265361"/>
              <a:gd name="connsiteX277" fmla="*/ 5740399 w 9905999"/>
              <a:gd name="connsiteY277" fmla="*/ 1196975 h 2265361"/>
              <a:gd name="connsiteX278" fmla="*/ 5454649 w 9905999"/>
              <a:gd name="connsiteY278" fmla="*/ 409575 h 2265361"/>
              <a:gd name="connsiteX279" fmla="*/ 5454649 w 9905999"/>
              <a:gd name="connsiteY279" fmla="*/ 1214437 h 2265361"/>
              <a:gd name="connsiteX280" fmla="*/ 5221286 w 9905999"/>
              <a:gd name="connsiteY280" fmla="*/ 1214437 h 2265361"/>
              <a:gd name="connsiteX281" fmla="*/ 4098924 w 9905999"/>
              <a:gd name="connsiteY281" fmla="*/ 0 h 2265361"/>
              <a:gd name="connsiteX282" fmla="*/ 4968874 w 9905999"/>
              <a:gd name="connsiteY282" fmla="*/ 0 h 2265361"/>
              <a:gd name="connsiteX283" fmla="*/ 4968874 w 9905999"/>
              <a:gd name="connsiteY283" fmla="*/ 220663 h 2265361"/>
              <a:gd name="connsiteX284" fmla="*/ 4340224 w 9905999"/>
              <a:gd name="connsiteY284" fmla="*/ 220663 h 2265361"/>
              <a:gd name="connsiteX285" fmla="*/ 4340224 w 9905999"/>
              <a:gd name="connsiteY285" fmla="*/ 473075 h 2265361"/>
              <a:gd name="connsiteX286" fmla="*/ 4895849 w 9905999"/>
              <a:gd name="connsiteY286" fmla="*/ 473075 h 2265361"/>
              <a:gd name="connsiteX287" fmla="*/ 4895849 w 9905999"/>
              <a:gd name="connsiteY287" fmla="*/ 690562 h 2265361"/>
              <a:gd name="connsiteX288" fmla="*/ 4340224 w 9905999"/>
              <a:gd name="connsiteY288" fmla="*/ 690562 h 2265361"/>
              <a:gd name="connsiteX289" fmla="*/ 4340224 w 9905999"/>
              <a:gd name="connsiteY289" fmla="*/ 993775 h 2265361"/>
              <a:gd name="connsiteX290" fmla="*/ 4968874 w 9905999"/>
              <a:gd name="connsiteY290" fmla="*/ 993775 h 2265361"/>
              <a:gd name="connsiteX291" fmla="*/ 4968874 w 9905999"/>
              <a:gd name="connsiteY291" fmla="*/ 1214437 h 2265361"/>
              <a:gd name="connsiteX292" fmla="*/ 4098924 w 9905999"/>
              <a:gd name="connsiteY292" fmla="*/ 1214437 h 2265361"/>
              <a:gd name="connsiteX293" fmla="*/ 3079749 w 9905999"/>
              <a:gd name="connsiteY293" fmla="*/ 0 h 2265361"/>
              <a:gd name="connsiteX294" fmla="*/ 3321049 w 9905999"/>
              <a:gd name="connsiteY294" fmla="*/ 0 h 2265361"/>
              <a:gd name="connsiteX295" fmla="*/ 3321049 w 9905999"/>
              <a:gd name="connsiteY295" fmla="*/ 984250 h 2265361"/>
              <a:gd name="connsiteX296" fmla="*/ 3871912 w 9905999"/>
              <a:gd name="connsiteY296" fmla="*/ 984250 h 2265361"/>
              <a:gd name="connsiteX297" fmla="*/ 3871912 w 9905999"/>
              <a:gd name="connsiteY297" fmla="*/ 1214437 h 2265361"/>
              <a:gd name="connsiteX298" fmla="*/ 3079749 w 9905999"/>
              <a:gd name="connsiteY298" fmla="*/ 1214437 h 2265361"/>
              <a:gd name="connsiteX299" fmla="*/ 1989138 w 9905999"/>
              <a:gd name="connsiteY299" fmla="*/ 0 h 2265361"/>
              <a:gd name="connsiteX300" fmla="*/ 2465639 w 9905999"/>
              <a:gd name="connsiteY300" fmla="*/ 0 h 2265361"/>
              <a:gd name="connsiteX301" fmla="*/ 2897188 w 9905999"/>
              <a:gd name="connsiteY301" fmla="*/ 392045 h 2265361"/>
              <a:gd name="connsiteX302" fmla="*/ 2465639 w 9905999"/>
              <a:gd name="connsiteY302" fmla="*/ 786342 h 2265361"/>
              <a:gd name="connsiteX303" fmla="*/ 2227389 w 9905999"/>
              <a:gd name="connsiteY303" fmla="*/ 786342 h 2265361"/>
              <a:gd name="connsiteX304" fmla="*/ 2227389 w 9905999"/>
              <a:gd name="connsiteY304" fmla="*/ 1214437 h 2265361"/>
              <a:gd name="connsiteX305" fmla="*/ 1989138 w 9905999"/>
              <a:gd name="connsiteY305" fmla="*/ 1214437 h 2265361"/>
              <a:gd name="connsiteX306" fmla="*/ 1989138 w 9905999"/>
              <a:gd name="connsiteY306" fmla="*/ 0 h 2265361"/>
              <a:gd name="connsiteX307" fmla="*/ 520699 w 9905999"/>
              <a:gd name="connsiteY307" fmla="*/ 0 h 2265361"/>
              <a:gd name="connsiteX308" fmla="*/ 833436 w 9905999"/>
              <a:gd name="connsiteY308" fmla="*/ 0 h 2265361"/>
              <a:gd name="connsiteX309" fmla="*/ 1135061 w 9905999"/>
              <a:gd name="connsiteY309" fmla="*/ 823912 h 2265361"/>
              <a:gd name="connsiteX310" fmla="*/ 1439862 w 9905999"/>
              <a:gd name="connsiteY310" fmla="*/ 0 h 2265361"/>
              <a:gd name="connsiteX311" fmla="*/ 1736724 w 9905999"/>
              <a:gd name="connsiteY311" fmla="*/ 0 h 2265361"/>
              <a:gd name="connsiteX312" fmla="*/ 1736724 w 9905999"/>
              <a:gd name="connsiteY312" fmla="*/ 1214437 h 2265361"/>
              <a:gd name="connsiteX313" fmla="*/ 1503362 w 9905999"/>
              <a:gd name="connsiteY313" fmla="*/ 1214437 h 2265361"/>
              <a:gd name="connsiteX314" fmla="*/ 1503362 w 9905999"/>
              <a:gd name="connsiteY314" fmla="*/ 419100 h 2265361"/>
              <a:gd name="connsiteX315" fmla="*/ 1216024 w 9905999"/>
              <a:gd name="connsiteY315" fmla="*/ 1196975 h 2265361"/>
              <a:gd name="connsiteX316" fmla="*/ 1039812 w 9905999"/>
              <a:gd name="connsiteY316" fmla="*/ 1196975 h 2265361"/>
              <a:gd name="connsiteX317" fmla="*/ 754062 w 9905999"/>
              <a:gd name="connsiteY317" fmla="*/ 409575 h 2265361"/>
              <a:gd name="connsiteX318" fmla="*/ 754062 w 9905999"/>
              <a:gd name="connsiteY318" fmla="*/ 1214437 h 2265361"/>
              <a:gd name="connsiteX319" fmla="*/ 520699 w 9905999"/>
              <a:gd name="connsiteY319" fmla="*/ 1214437 h 2265361"/>
              <a:gd name="connsiteX320" fmla="*/ 25400 w 9905999"/>
              <a:gd name="connsiteY320" fmla="*/ 0 h 2265361"/>
              <a:gd name="connsiteX321" fmla="*/ 268288 w 9905999"/>
              <a:gd name="connsiteY321" fmla="*/ 0 h 2265361"/>
              <a:gd name="connsiteX322" fmla="*/ 268288 w 9905999"/>
              <a:gd name="connsiteY322" fmla="*/ 1214437 h 2265361"/>
              <a:gd name="connsiteX323" fmla="*/ 25400 w 9905999"/>
              <a:gd name="connsiteY323" fmla="*/ 1214437 h 226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</a:cxnLst>
            <a:rect l="l" t="t" r="r" b="b"/>
            <a:pathLst>
              <a:path w="9905999" h="2265361">
                <a:moveTo>
                  <a:pt x="6778122" y="2222531"/>
                </a:moveTo>
                <a:cubicBezTo>
                  <a:pt x="6778122" y="2222531"/>
                  <a:pt x="6778122" y="2222531"/>
                  <a:pt x="7135812" y="2222531"/>
                </a:cubicBezTo>
                <a:lnTo>
                  <a:pt x="7135812" y="2265361"/>
                </a:lnTo>
                <a:cubicBezTo>
                  <a:pt x="7135812" y="2265361"/>
                  <a:pt x="7135812" y="2265361"/>
                  <a:pt x="6778122" y="2265361"/>
                </a:cubicBezTo>
                <a:cubicBezTo>
                  <a:pt x="6778122" y="2265361"/>
                  <a:pt x="6778122" y="2265361"/>
                  <a:pt x="6778122" y="2222531"/>
                </a:cubicBezTo>
                <a:close/>
                <a:moveTo>
                  <a:pt x="6449676" y="1769427"/>
                </a:moveTo>
                <a:cubicBezTo>
                  <a:pt x="6449676" y="1769427"/>
                  <a:pt x="6449676" y="1769427"/>
                  <a:pt x="6449676" y="1965546"/>
                </a:cubicBezTo>
                <a:cubicBezTo>
                  <a:pt x="6449676" y="1965546"/>
                  <a:pt x="6449676" y="1965546"/>
                  <a:pt x="6575655" y="1965546"/>
                </a:cubicBezTo>
                <a:cubicBezTo>
                  <a:pt x="6643144" y="1965546"/>
                  <a:pt x="6679138" y="1933987"/>
                  <a:pt x="6679138" y="1864105"/>
                </a:cubicBezTo>
                <a:cubicBezTo>
                  <a:pt x="6679138" y="1800986"/>
                  <a:pt x="6638645" y="1769427"/>
                  <a:pt x="6575655" y="1769427"/>
                </a:cubicBezTo>
                <a:cubicBezTo>
                  <a:pt x="6575655" y="1769427"/>
                  <a:pt x="6575655" y="1769427"/>
                  <a:pt x="6449676" y="1769427"/>
                </a:cubicBezTo>
                <a:close/>
                <a:moveTo>
                  <a:pt x="5021164" y="1769427"/>
                </a:moveTo>
                <a:cubicBezTo>
                  <a:pt x="5021164" y="1769427"/>
                  <a:pt x="5021164" y="1769427"/>
                  <a:pt x="5021164" y="1949767"/>
                </a:cubicBezTo>
                <a:cubicBezTo>
                  <a:pt x="5021164" y="1949767"/>
                  <a:pt x="5021164" y="1949767"/>
                  <a:pt x="5158391" y="1949767"/>
                </a:cubicBezTo>
                <a:cubicBezTo>
                  <a:pt x="5219131" y="1949767"/>
                  <a:pt x="5261874" y="1924970"/>
                  <a:pt x="5261874" y="1859597"/>
                </a:cubicBezTo>
                <a:cubicBezTo>
                  <a:pt x="5261874" y="1794223"/>
                  <a:pt x="5219131" y="1769427"/>
                  <a:pt x="5158391" y="1769427"/>
                </a:cubicBezTo>
                <a:cubicBezTo>
                  <a:pt x="5158391" y="1769427"/>
                  <a:pt x="5158391" y="1769427"/>
                  <a:pt x="5021164" y="1769427"/>
                </a:cubicBezTo>
                <a:close/>
                <a:moveTo>
                  <a:pt x="5597068" y="1762664"/>
                </a:moveTo>
                <a:cubicBezTo>
                  <a:pt x="5563324" y="1762664"/>
                  <a:pt x="5529579" y="1776189"/>
                  <a:pt x="5504834" y="1800986"/>
                </a:cubicBezTo>
                <a:cubicBezTo>
                  <a:pt x="5462091" y="1843817"/>
                  <a:pt x="5459841" y="1913699"/>
                  <a:pt x="5459841" y="1967800"/>
                </a:cubicBezTo>
                <a:cubicBezTo>
                  <a:pt x="5459841" y="2019648"/>
                  <a:pt x="5462091" y="2089530"/>
                  <a:pt x="5504834" y="2132361"/>
                </a:cubicBezTo>
                <a:cubicBezTo>
                  <a:pt x="5529579" y="2159412"/>
                  <a:pt x="5563324" y="2170683"/>
                  <a:pt x="5597068" y="2170683"/>
                </a:cubicBezTo>
                <a:cubicBezTo>
                  <a:pt x="5633062" y="2170683"/>
                  <a:pt x="5666807" y="2159412"/>
                  <a:pt x="5691552" y="2132361"/>
                </a:cubicBezTo>
                <a:cubicBezTo>
                  <a:pt x="5732046" y="2089530"/>
                  <a:pt x="5734295" y="2019648"/>
                  <a:pt x="5734295" y="1967800"/>
                </a:cubicBezTo>
                <a:cubicBezTo>
                  <a:pt x="5734295" y="1913699"/>
                  <a:pt x="5732046" y="1843817"/>
                  <a:pt x="5691552" y="1800986"/>
                </a:cubicBezTo>
                <a:cubicBezTo>
                  <a:pt x="5666807" y="1776189"/>
                  <a:pt x="5633062" y="1762664"/>
                  <a:pt x="5597068" y="1762664"/>
                </a:cubicBezTo>
                <a:close/>
                <a:moveTo>
                  <a:pt x="654642" y="1762664"/>
                </a:moveTo>
                <a:cubicBezTo>
                  <a:pt x="618647" y="1762664"/>
                  <a:pt x="584903" y="1776189"/>
                  <a:pt x="560157" y="1800986"/>
                </a:cubicBezTo>
                <a:cubicBezTo>
                  <a:pt x="519664" y="1843817"/>
                  <a:pt x="517414" y="1913699"/>
                  <a:pt x="517414" y="1967800"/>
                </a:cubicBezTo>
                <a:cubicBezTo>
                  <a:pt x="517414" y="2019648"/>
                  <a:pt x="519664" y="2089530"/>
                  <a:pt x="560157" y="2132361"/>
                </a:cubicBezTo>
                <a:cubicBezTo>
                  <a:pt x="584903" y="2159412"/>
                  <a:pt x="618647" y="2170683"/>
                  <a:pt x="654642" y="2170683"/>
                </a:cubicBezTo>
                <a:cubicBezTo>
                  <a:pt x="688386" y="2170683"/>
                  <a:pt x="722130" y="2159412"/>
                  <a:pt x="746876" y="2132361"/>
                </a:cubicBezTo>
                <a:cubicBezTo>
                  <a:pt x="789619" y="2089530"/>
                  <a:pt x="791868" y="2019648"/>
                  <a:pt x="791868" y="1967800"/>
                </a:cubicBezTo>
                <a:cubicBezTo>
                  <a:pt x="791868" y="1913699"/>
                  <a:pt x="789619" y="1843817"/>
                  <a:pt x="746876" y="1800986"/>
                </a:cubicBezTo>
                <a:cubicBezTo>
                  <a:pt x="722130" y="1776189"/>
                  <a:pt x="688386" y="1762664"/>
                  <a:pt x="654642" y="1762664"/>
                </a:cubicBezTo>
                <a:close/>
                <a:moveTo>
                  <a:pt x="6386687" y="1710816"/>
                </a:moveTo>
                <a:cubicBezTo>
                  <a:pt x="6386687" y="1710816"/>
                  <a:pt x="6386687" y="1710816"/>
                  <a:pt x="6575655" y="1710816"/>
                </a:cubicBezTo>
                <a:cubicBezTo>
                  <a:pt x="6636395" y="1710816"/>
                  <a:pt x="6679138" y="1726596"/>
                  <a:pt x="6706134" y="1755901"/>
                </a:cubicBezTo>
                <a:cubicBezTo>
                  <a:pt x="6730880" y="1782952"/>
                  <a:pt x="6744377" y="1821274"/>
                  <a:pt x="6744377" y="1864105"/>
                </a:cubicBezTo>
                <a:cubicBezTo>
                  <a:pt x="6744377" y="1915953"/>
                  <a:pt x="6730880" y="1954275"/>
                  <a:pt x="6701634" y="1981326"/>
                </a:cubicBezTo>
                <a:cubicBezTo>
                  <a:pt x="6674639" y="2008377"/>
                  <a:pt x="6634146" y="2024157"/>
                  <a:pt x="6577905" y="2024157"/>
                </a:cubicBezTo>
                <a:cubicBezTo>
                  <a:pt x="6577905" y="2024157"/>
                  <a:pt x="6577905" y="2024157"/>
                  <a:pt x="6449676" y="2024157"/>
                </a:cubicBezTo>
                <a:cubicBezTo>
                  <a:pt x="6449676" y="2024157"/>
                  <a:pt x="6449676" y="2024157"/>
                  <a:pt x="6449676" y="2222531"/>
                </a:cubicBezTo>
                <a:cubicBezTo>
                  <a:pt x="6449676" y="2222531"/>
                  <a:pt x="6449676" y="2222531"/>
                  <a:pt x="6386687" y="2222531"/>
                </a:cubicBezTo>
                <a:cubicBezTo>
                  <a:pt x="6386687" y="2222531"/>
                  <a:pt x="6386687" y="2222531"/>
                  <a:pt x="6386687" y="1710816"/>
                </a:cubicBezTo>
                <a:close/>
                <a:moveTo>
                  <a:pt x="5889520" y="1710816"/>
                </a:moveTo>
                <a:cubicBezTo>
                  <a:pt x="5889520" y="1710816"/>
                  <a:pt x="5889520" y="1710816"/>
                  <a:pt x="5954759" y="1710816"/>
                </a:cubicBezTo>
                <a:cubicBezTo>
                  <a:pt x="5954759" y="1710816"/>
                  <a:pt x="5954759" y="1710816"/>
                  <a:pt x="5954759" y="2035428"/>
                </a:cubicBezTo>
                <a:cubicBezTo>
                  <a:pt x="5954759" y="2118835"/>
                  <a:pt x="5988503" y="2172937"/>
                  <a:pt x="6076239" y="2172937"/>
                </a:cubicBezTo>
                <a:cubicBezTo>
                  <a:pt x="6166224" y="2172937"/>
                  <a:pt x="6199968" y="2118835"/>
                  <a:pt x="6199968" y="2035428"/>
                </a:cubicBezTo>
                <a:cubicBezTo>
                  <a:pt x="6199968" y="2035428"/>
                  <a:pt x="6199968" y="2035428"/>
                  <a:pt x="6199968" y="1710816"/>
                </a:cubicBezTo>
                <a:cubicBezTo>
                  <a:pt x="6199968" y="1710816"/>
                  <a:pt x="6199968" y="1710816"/>
                  <a:pt x="6262957" y="1710816"/>
                </a:cubicBezTo>
                <a:cubicBezTo>
                  <a:pt x="6262957" y="1710816"/>
                  <a:pt x="6262957" y="1710816"/>
                  <a:pt x="6262957" y="2035428"/>
                </a:cubicBezTo>
                <a:cubicBezTo>
                  <a:pt x="6262957" y="2163920"/>
                  <a:pt x="6190969" y="2231547"/>
                  <a:pt x="6076239" y="2231547"/>
                </a:cubicBezTo>
                <a:cubicBezTo>
                  <a:pt x="5961508" y="2231547"/>
                  <a:pt x="5889520" y="2163920"/>
                  <a:pt x="5889520" y="2035428"/>
                </a:cubicBezTo>
                <a:cubicBezTo>
                  <a:pt x="5889520" y="2035428"/>
                  <a:pt x="5889520" y="2035428"/>
                  <a:pt x="5889520" y="1710816"/>
                </a:cubicBezTo>
                <a:close/>
                <a:moveTo>
                  <a:pt x="4958174" y="1710816"/>
                </a:moveTo>
                <a:cubicBezTo>
                  <a:pt x="4958174" y="1710816"/>
                  <a:pt x="4958174" y="1710816"/>
                  <a:pt x="5158391" y="1710816"/>
                </a:cubicBezTo>
                <a:cubicBezTo>
                  <a:pt x="5219131" y="1710816"/>
                  <a:pt x="5259624" y="1726596"/>
                  <a:pt x="5288869" y="1755901"/>
                </a:cubicBezTo>
                <a:cubicBezTo>
                  <a:pt x="5313615" y="1782952"/>
                  <a:pt x="5329363" y="1814512"/>
                  <a:pt x="5329363" y="1859597"/>
                </a:cubicBezTo>
                <a:cubicBezTo>
                  <a:pt x="5329363" y="1904682"/>
                  <a:pt x="5313615" y="1936241"/>
                  <a:pt x="5288869" y="1961038"/>
                </a:cubicBezTo>
                <a:cubicBezTo>
                  <a:pt x="5275372" y="1976817"/>
                  <a:pt x="5252875" y="1990343"/>
                  <a:pt x="5228130" y="1997106"/>
                </a:cubicBezTo>
                <a:cubicBezTo>
                  <a:pt x="5228130" y="1997106"/>
                  <a:pt x="5228130" y="1997106"/>
                  <a:pt x="5331612" y="2222531"/>
                </a:cubicBezTo>
                <a:lnTo>
                  <a:pt x="5259624" y="2222531"/>
                </a:lnTo>
                <a:cubicBezTo>
                  <a:pt x="5259624" y="2222531"/>
                  <a:pt x="5259624" y="2222531"/>
                  <a:pt x="5162890" y="2010631"/>
                </a:cubicBezTo>
                <a:cubicBezTo>
                  <a:pt x="5162890" y="2010631"/>
                  <a:pt x="5162890" y="2010631"/>
                  <a:pt x="5021164" y="2010631"/>
                </a:cubicBezTo>
                <a:cubicBezTo>
                  <a:pt x="5021164" y="2010631"/>
                  <a:pt x="5021164" y="2010631"/>
                  <a:pt x="5021164" y="2222531"/>
                </a:cubicBezTo>
                <a:cubicBezTo>
                  <a:pt x="5021164" y="2222531"/>
                  <a:pt x="5021164" y="2222531"/>
                  <a:pt x="4958174" y="2222531"/>
                </a:cubicBezTo>
                <a:cubicBezTo>
                  <a:pt x="4958174" y="2222531"/>
                  <a:pt x="4958174" y="2222531"/>
                  <a:pt x="4958174" y="1710816"/>
                </a:cubicBezTo>
                <a:close/>
                <a:moveTo>
                  <a:pt x="3309199" y="1710816"/>
                </a:moveTo>
                <a:cubicBezTo>
                  <a:pt x="3309199" y="1710816"/>
                  <a:pt x="3309199" y="1710816"/>
                  <a:pt x="3381187" y="1710816"/>
                </a:cubicBezTo>
                <a:cubicBezTo>
                  <a:pt x="3381187" y="1710816"/>
                  <a:pt x="3381187" y="1710816"/>
                  <a:pt x="3633145" y="2123344"/>
                </a:cubicBezTo>
                <a:cubicBezTo>
                  <a:pt x="3633145" y="2123344"/>
                  <a:pt x="3633145" y="2123344"/>
                  <a:pt x="3633145" y="1710816"/>
                </a:cubicBezTo>
                <a:cubicBezTo>
                  <a:pt x="3633145" y="1710816"/>
                  <a:pt x="3633145" y="1710816"/>
                  <a:pt x="3693885" y="1710816"/>
                </a:cubicBezTo>
                <a:cubicBezTo>
                  <a:pt x="3693885" y="1710816"/>
                  <a:pt x="3693885" y="1710816"/>
                  <a:pt x="3693885" y="2222531"/>
                </a:cubicBezTo>
                <a:lnTo>
                  <a:pt x="3621897" y="2222531"/>
                </a:lnTo>
                <a:cubicBezTo>
                  <a:pt x="3621897" y="2222531"/>
                  <a:pt x="3621897" y="2222531"/>
                  <a:pt x="3372188" y="1810003"/>
                </a:cubicBezTo>
                <a:cubicBezTo>
                  <a:pt x="3372188" y="1810003"/>
                  <a:pt x="3372188" y="1810003"/>
                  <a:pt x="3372188" y="2222531"/>
                </a:cubicBezTo>
                <a:cubicBezTo>
                  <a:pt x="3372188" y="2222531"/>
                  <a:pt x="3372188" y="2222531"/>
                  <a:pt x="3309199" y="2222531"/>
                </a:cubicBezTo>
                <a:cubicBezTo>
                  <a:pt x="3309199" y="2222531"/>
                  <a:pt x="3309199" y="2222531"/>
                  <a:pt x="3309199" y="1710816"/>
                </a:cubicBezTo>
                <a:close/>
                <a:moveTo>
                  <a:pt x="3106732" y="1710816"/>
                </a:moveTo>
                <a:cubicBezTo>
                  <a:pt x="3106732" y="1710816"/>
                  <a:pt x="3106732" y="1710816"/>
                  <a:pt x="3171971" y="1710816"/>
                </a:cubicBezTo>
                <a:lnTo>
                  <a:pt x="3171971" y="2222531"/>
                </a:lnTo>
                <a:cubicBezTo>
                  <a:pt x="3171971" y="2222531"/>
                  <a:pt x="3171971" y="2222531"/>
                  <a:pt x="3106732" y="2222531"/>
                </a:cubicBezTo>
                <a:cubicBezTo>
                  <a:pt x="3106732" y="2222531"/>
                  <a:pt x="3106732" y="2222531"/>
                  <a:pt x="3106732" y="1710816"/>
                </a:cubicBezTo>
                <a:close/>
                <a:moveTo>
                  <a:pt x="2663557" y="1710816"/>
                </a:moveTo>
                <a:cubicBezTo>
                  <a:pt x="2663557" y="1710816"/>
                  <a:pt x="2663557" y="1710816"/>
                  <a:pt x="3032495" y="1710816"/>
                </a:cubicBezTo>
                <a:cubicBezTo>
                  <a:pt x="3032495" y="1710816"/>
                  <a:pt x="3032495" y="1710816"/>
                  <a:pt x="3032495" y="1769427"/>
                </a:cubicBezTo>
                <a:lnTo>
                  <a:pt x="2879521" y="1769427"/>
                </a:lnTo>
                <a:cubicBezTo>
                  <a:pt x="2879521" y="1769427"/>
                  <a:pt x="2879521" y="1769427"/>
                  <a:pt x="2879521" y="2222531"/>
                </a:cubicBezTo>
                <a:cubicBezTo>
                  <a:pt x="2879521" y="2222531"/>
                  <a:pt x="2879521" y="2222531"/>
                  <a:pt x="2814282" y="2222531"/>
                </a:cubicBezTo>
                <a:cubicBezTo>
                  <a:pt x="2814282" y="2222531"/>
                  <a:pt x="2814282" y="2222531"/>
                  <a:pt x="2814282" y="1769427"/>
                </a:cubicBezTo>
                <a:cubicBezTo>
                  <a:pt x="2814282" y="1769427"/>
                  <a:pt x="2814282" y="1769427"/>
                  <a:pt x="2663557" y="1769427"/>
                </a:cubicBezTo>
                <a:cubicBezTo>
                  <a:pt x="2663557" y="1769427"/>
                  <a:pt x="2663557" y="1769427"/>
                  <a:pt x="2663557" y="1710816"/>
                </a:cubicBezTo>
                <a:close/>
                <a:moveTo>
                  <a:pt x="2416099" y="1710816"/>
                </a:moveTo>
                <a:cubicBezTo>
                  <a:pt x="2416099" y="1710816"/>
                  <a:pt x="2416099" y="1710816"/>
                  <a:pt x="2481338" y="1710816"/>
                </a:cubicBezTo>
                <a:cubicBezTo>
                  <a:pt x="2481338" y="1710816"/>
                  <a:pt x="2481338" y="1710816"/>
                  <a:pt x="2481338" y="2163920"/>
                </a:cubicBezTo>
                <a:cubicBezTo>
                  <a:pt x="2481338" y="2163920"/>
                  <a:pt x="2481338" y="2163920"/>
                  <a:pt x="2726547" y="2163920"/>
                </a:cubicBezTo>
                <a:cubicBezTo>
                  <a:pt x="2726547" y="2163920"/>
                  <a:pt x="2726547" y="2163920"/>
                  <a:pt x="2726547" y="2222531"/>
                </a:cubicBezTo>
                <a:lnTo>
                  <a:pt x="2416099" y="2222531"/>
                </a:lnTo>
                <a:cubicBezTo>
                  <a:pt x="2416099" y="2222531"/>
                  <a:pt x="2416099" y="2222531"/>
                  <a:pt x="2416099" y="1710816"/>
                </a:cubicBezTo>
                <a:close/>
                <a:moveTo>
                  <a:pt x="1918931" y="1710816"/>
                </a:moveTo>
                <a:cubicBezTo>
                  <a:pt x="1918931" y="1710816"/>
                  <a:pt x="1918931" y="1710816"/>
                  <a:pt x="1984171" y="1710816"/>
                </a:cubicBezTo>
                <a:cubicBezTo>
                  <a:pt x="1984171" y="1710816"/>
                  <a:pt x="1984171" y="1710816"/>
                  <a:pt x="1984171" y="2035428"/>
                </a:cubicBezTo>
                <a:cubicBezTo>
                  <a:pt x="1984171" y="2118835"/>
                  <a:pt x="2017916" y="2172937"/>
                  <a:pt x="2105651" y="2172937"/>
                </a:cubicBezTo>
                <a:cubicBezTo>
                  <a:pt x="2195636" y="2172937"/>
                  <a:pt x="2229380" y="2118835"/>
                  <a:pt x="2229380" y="2035428"/>
                </a:cubicBezTo>
                <a:cubicBezTo>
                  <a:pt x="2229380" y="2035428"/>
                  <a:pt x="2229380" y="2035428"/>
                  <a:pt x="2229380" y="1710816"/>
                </a:cubicBezTo>
                <a:cubicBezTo>
                  <a:pt x="2229380" y="1710816"/>
                  <a:pt x="2229380" y="1710816"/>
                  <a:pt x="2292369" y="1710816"/>
                </a:cubicBezTo>
                <a:cubicBezTo>
                  <a:pt x="2292369" y="1710816"/>
                  <a:pt x="2292369" y="1710816"/>
                  <a:pt x="2292369" y="2035428"/>
                </a:cubicBezTo>
                <a:cubicBezTo>
                  <a:pt x="2292369" y="2163920"/>
                  <a:pt x="2220382" y="2231547"/>
                  <a:pt x="2105651" y="2231547"/>
                </a:cubicBezTo>
                <a:cubicBezTo>
                  <a:pt x="1990920" y="2231547"/>
                  <a:pt x="1918931" y="2163920"/>
                  <a:pt x="1918931" y="2035428"/>
                </a:cubicBezTo>
                <a:cubicBezTo>
                  <a:pt x="1918931" y="2035428"/>
                  <a:pt x="1918931" y="2035428"/>
                  <a:pt x="1918931" y="1710816"/>
                </a:cubicBezTo>
                <a:close/>
                <a:moveTo>
                  <a:pt x="960591" y="1710816"/>
                </a:moveTo>
                <a:cubicBezTo>
                  <a:pt x="960591" y="1710816"/>
                  <a:pt x="960591" y="1710816"/>
                  <a:pt x="1032578" y="1710816"/>
                </a:cubicBezTo>
                <a:cubicBezTo>
                  <a:pt x="1032578" y="1710816"/>
                  <a:pt x="1032578" y="1710816"/>
                  <a:pt x="1284537" y="2123344"/>
                </a:cubicBezTo>
                <a:cubicBezTo>
                  <a:pt x="1284537" y="2123344"/>
                  <a:pt x="1284537" y="2123344"/>
                  <a:pt x="1284537" y="1710816"/>
                </a:cubicBezTo>
                <a:cubicBezTo>
                  <a:pt x="1284537" y="1710816"/>
                  <a:pt x="1284537" y="1710816"/>
                  <a:pt x="1345276" y="1710816"/>
                </a:cubicBezTo>
                <a:cubicBezTo>
                  <a:pt x="1345276" y="1710816"/>
                  <a:pt x="1345276" y="1710816"/>
                  <a:pt x="1345276" y="2222531"/>
                </a:cubicBezTo>
                <a:lnTo>
                  <a:pt x="1273289" y="2222531"/>
                </a:lnTo>
                <a:cubicBezTo>
                  <a:pt x="1273289" y="2222531"/>
                  <a:pt x="1273289" y="2222531"/>
                  <a:pt x="1023580" y="1810003"/>
                </a:cubicBezTo>
                <a:cubicBezTo>
                  <a:pt x="1023580" y="1810003"/>
                  <a:pt x="1023580" y="1810003"/>
                  <a:pt x="1023580" y="2222531"/>
                </a:cubicBezTo>
                <a:cubicBezTo>
                  <a:pt x="1023580" y="2222531"/>
                  <a:pt x="1023580" y="2222531"/>
                  <a:pt x="960591" y="2222531"/>
                </a:cubicBezTo>
                <a:cubicBezTo>
                  <a:pt x="960591" y="2222531"/>
                  <a:pt x="960591" y="2222531"/>
                  <a:pt x="960591" y="1710816"/>
                </a:cubicBezTo>
                <a:close/>
                <a:moveTo>
                  <a:pt x="5597068" y="1701799"/>
                </a:moveTo>
                <a:cubicBezTo>
                  <a:pt x="5648810" y="1701799"/>
                  <a:pt x="5698301" y="1719833"/>
                  <a:pt x="5736545" y="1755901"/>
                </a:cubicBezTo>
                <a:cubicBezTo>
                  <a:pt x="5790536" y="1810003"/>
                  <a:pt x="5801784" y="1884393"/>
                  <a:pt x="5801784" y="1967800"/>
                </a:cubicBezTo>
                <a:cubicBezTo>
                  <a:pt x="5801784" y="2048953"/>
                  <a:pt x="5790536" y="2123344"/>
                  <a:pt x="5736545" y="2177446"/>
                </a:cubicBezTo>
                <a:cubicBezTo>
                  <a:pt x="5698301" y="2213514"/>
                  <a:pt x="5648810" y="2233802"/>
                  <a:pt x="5597068" y="2233802"/>
                </a:cubicBezTo>
                <a:cubicBezTo>
                  <a:pt x="5547576" y="2233802"/>
                  <a:pt x="5495835" y="2213514"/>
                  <a:pt x="5459841" y="2177446"/>
                </a:cubicBezTo>
                <a:cubicBezTo>
                  <a:pt x="5403600" y="2123344"/>
                  <a:pt x="5394602" y="2048953"/>
                  <a:pt x="5394602" y="1967800"/>
                </a:cubicBezTo>
                <a:cubicBezTo>
                  <a:pt x="5394602" y="1884393"/>
                  <a:pt x="5403600" y="1810003"/>
                  <a:pt x="5459841" y="1755901"/>
                </a:cubicBezTo>
                <a:cubicBezTo>
                  <a:pt x="5495835" y="1719833"/>
                  <a:pt x="5547576" y="1701799"/>
                  <a:pt x="5597068" y="1701799"/>
                </a:cubicBezTo>
                <a:close/>
                <a:moveTo>
                  <a:pt x="4645477" y="1701799"/>
                </a:moveTo>
                <a:cubicBezTo>
                  <a:pt x="4701717" y="1701799"/>
                  <a:pt x="4755708" y="1722087"/>
                  <a:pt x="4791702" y="1758155"/>
                </a:cubicBezTo>
                <a:cubicBezTo>
                  <a:pt x="4816448" y="1785206"/>
                  <a:pt x="4832195" y="1816766"/>
                  <a:pt x="4834445" y="1859597"/>
                </a:cubicBezTo>
                <a:cubicBezTo>
                  <a:pt x="4834445" y="1859597"/>
                  <a:pt x="4834445" y="1859597"/>
                  <a:pt x="4766956" y="1859597"/>
                </a:cubicBezTo>
                <a:cubicBezTo>
                  <a:pt x="4764707" y="1834800"/>
                  <a:pt x="4757958" y="1819020"/>
                  <a:pt x="4744460" y="1803240"/>
                </a:cubicBezTo>
                <a:cubicBezTo>
                  <a:pt x="4721964" y="1773935"/>
                  <a:pt x="4685970" y="1762664"/>
                  <a:pt x="4645477" y="1762664"/>
                </a:cubicBezTo>
                <a:cubicBezTo>
                  <a:pt x="4609482" y="1762664"/>
                  <a:pt x="4575738" y="1776189"/>
                  <a:pt x="4550992" y="1800986"/>
                </a:cubicBezTo>
                <a:cubicBezTo>
                  <a:pt x="4510499" y="1843817"/>
                  <a:pt x="4506000" y="1913699"/>
                  <a:pt x="4506000" y="1967800"/>
                </a:cubicBezTo>
                <a:cubicBezTo>
                  <a:pt x="4506000" y="2017394"/>
                  <a:pt x="4510499" y="2091784"/>
                  <a:pt x="4553242" y="2134615"/>
                </a:cubicBezTo>
                <a:cubicBezTo>
                  <a:pt x="4577988" y="2161666"/>
                  <a:pt x="4609482" y="2172937"/>
                  <a:pt x="4645477" y="2172937"/>
                </a:cubicBezTo>
                <a:cubicBezTo>
                  <a:pt x="4681471" y="2172937"/>
                  <a:pt x="4715215" y="2159412"/>
                  <a:pt x="4737711" y="2136869"/>
                </a:cubicBezTo>
                <a:cubicBezTo>
                  <a:pt x="4771456" y="2103055"/>
                  <a:pt x="4780454" y="2053462"/>
                  <a:pt x="4780454" y="2006123"/>
                </a:cubicBezTo>
                <a:cubicBezTo>
                  <a:pt x="4780454" y="2006123"/>
                  <a:pt x="4780454" y="2006123"/>
                  <a:pt x="4645477" y="2006123"/>
                </a:cubicBezTo>
                <a:cubicBezTo>
                  <a:pt x="4645477" y="2006123"/>
                  <a:pt x="4645477" y="2006123"/>
                  <a:pt x="4645477" y="1947512"/>
                </a:cubicBezTo>
                <a:cubicBezTo>
                  <a:pt x="4645477" y="1947512"/>
                  <a:pt x="4645477" y="1947512"/>
                  <a:pt x="4838944" y="1947512"/>
                </a:cubicBezTo>
                <a:cubicBezTo>
                  <a:pt x="4838944" y="1947512"/>
                  <a:pt x="4838944" y="1947512"/>
                  <a:pt x="4838944" y="2222531"/>
                </a:cubicBezTo>
                <a:lnTo>
                  <a:pt x="4793952" y="2222531"/>
                </a:lnTo>
                <a:cubicBezTo>
                  <a:pt x="4793952" y="2222531"/>
                  <a:pt x="4793952" y="2222531"/>
                  <a:pt x="4782704" y="2161666"/>
                </a:cubicBezTo>
                <a:cubicBezTo>
                  <a:pt x="4757958" y="2204497"/>
                  <a:pt x="4701717" y="2233802"/>
                  <a:pt x="4645477" y="2233802"/>
                </a:cubicBezTo>
                <a:cubicBezTo>
                  <a:pt x="4593735" y="2233802"/>
                  <a:pt x="4544243" y="2215768"/>
                  <a:pt x="4506000" y="2179700"/>
                </a:cubicBezTo>
                <a:cubicBezTo>
                  <a:pt x="4454258" y="2130106"/>
                  <a:pt x="4440761" y="2057970"/>
                  <a:pt x="4440761" y="1967800"/>
                </a:cubicBezTo>
                <a:cubicBezTo>
                  <a:pt x="4440761" y="1884393"/>
                  <a:pt x="4452009" y="1810003"/>
                  <a:pt x="4506000" y="1755901"/>
                </a:cubicBezTo>
                <a:cubicBezTo>
                  <a:pt x="4544243" y="1719833"/>
                  <a:pt x="4593735" y="1701799"/>
                  <a:pt x="4645477" y="1701799"/>
                </a:cubicBezTo>
                <a:close/>
                <a:moveTo>
                  <a:pt x="4002083" y="1701799"/>
                </a:moveTo>
                <a:cubicBezTo>
                  <a:pt x="4060574" y="1701799"/>
                  <a:pt x="4112315" y="1722087"/>
                  <a:pt x="4148309" y="1758155"/>
                </a:cubicBezTo>
                <a:cubicBezTo>
                  <a:pt x="4173055" y="1785206"/>
                  <a:pt x="4191052" y="1816766"/>
                  <a:pt x="4193302" y="1859597"/>
                </a:cubicBezTo>
                <a:cubicBezTo>
                  <a:pt x="4193302" y="1859597"/>
                  <a:pt x="4193302" y="1859597"/>
                  <a:pt x="4125813" y="1859597"/>
                </a:cubicBezTo>
                <a:cubicBezTo>
                  <a:pt x="4123563" y="1834800"/>
                  <a:pt x="4114565" y="1819020"/>
                  <a:pt x="4103317" y="1803240"/>
                </a:cubicBezTo>
                <a:cubicBezTo>
                  <a:pt x="4078571" y="1773935"/>
                  <a:pt x="4044826" y="1762664"/>
                  <a:pt x="4002083" y="1762664"/>
                </a:cubicBezTo>
                <a:cubicBezTo>
                  <a:pt x="3968339" y="1762664"/>
                  <a:pt x="3934595" y="1776189"/>
                  <a:pt x="3909849" y="1800986"/>
                </a:cubicBezTo>
                <a:cubicBezTo>
                  <a:pt x="3867106" y="1843817"/>
                  <a:pt x="3864856" y="1913699"/>
                  <a:pt x="3864856" y="1967800"/>
                </a:cubicBezTo>
                <a:cubicBezTo>
                  <a:pt x="3864856" y="2017394"/>
                  <a:pt x="3867106" y="2091784"/>
                  <a:pt x="3909849" y="2134615"/>
                </a:cubicBezTo>
                <a:cubicBezTo>
                  <a:pt x="3934595" y="2161666"/>
                  <a:pt x="3968339" y="2172937"/>
                  <a:pt x="4002083" y="2172937"/>
                </a:cubicBezTo>
                <a:cubicBezTo>
                  <a:pt x="4038077" y="2172937"/>
                  <a:pt x="4071822" y="2159412"/>
                  <a:pt x="4094318" y="2136869"/>
                </a:cubicBezTo>
                <a:cubicBezTo>
                  <a:pt x="4130312" y="2103055"/>
                  <a:pt x="4139311" y="2053462"/>
                  <a:pt x="4139311" y="2006123"/>
                </a:cubicBezTo>
                <a:cubicBezTo>
                  <a:pt x="4139311" y="2006123"/>
                  <a:pt x="4139311" y="2006123"/>
                  <a:pt x="4002083" y="2006123"/>
                </a:cubicBezTo>
                <a:cubicBezTo>
                  <a:pt x="4002083" y="2006123"/>
                  <a:pt x="4002083" y="2006123"/>
                  <a:pt x="4002083" y="1947512"/>
                </a:cubicBezTo>
                <a:cubicBezTo>
                  <a:pt x="4002083" y="1947512"/>
                  <a:pt x="4002083" y="1947512"/>
                  <a:pt x="4197801" y="1947512"/>
                </a:cubicBezTo>
                <a:cubicBezTo>
                  <a:pt x="4197801" y="1947512"/>
                  <a:pt x="4197801" y="1947512"/>
                  <a:pt x="4197801" y="2222531"/>
                </a:cubicBezTo>
                <a:lnTo>
                  <a:pt x="4152808" y="2222531"/>
                </a:lnTo>
                <a:cubicBezTo>
                  <a:pt x="4152808" y="2222531"/>
                  <a:pt x="4152808" y="2222531"/>
                  <a:pt x="4141560" y="2161666"/>
                </a:cubicBezTo>
                <a:cubicBezTo>
                  <a:pt x="4116814" y="2204497"/>
                  <a:pt x="4060574" y="2233802"/>
                  <a:pt x="4002083" y="2233802"/>
                </a:cubicBezTo>
                <a:cubicBezTo>
                  <a:pt x="3950342" y="2233802"/>
                  <a:pt x="3900850" y="2215768"/>
                  <a:pt x="3864856" y="2179700"/>
                </a:cubicBezTo>
                <a:cubicBezTo>
                  <a:pt x="3813115" y="2130106"/>
                  <a:pt x="3797367" y="2057970"/>
                  <a:pt x="3797367" y="1967800"/>
                </a:cubicBezTo>
                <a:cubicBezTo>
                  <a:pt x="3797367" y="1884393"/>
                  <a:pt x="3808616" y="1810003"/>
                  <a:pt x="3864856" y="1755901"/>
                </a:cubicBezTo>
                <a:cubicBezTo>
                  <a:pt x="3900850" y="1719833"/>
                  <a:pt x="3950342" y="1701799"/>
                  <a:pt x="4002083" y="1701799"/>
                </a:cubicBezTo>
                <a:close/>
                <a:moveTo>
                  <a:pt x="1642228" y="1701799"/>
                </a:moveTo>
                <a:cubicBezTo>
                  <a:pt x="1691719" y="1701799"/>
                  <a:pt x="1741211" y="1717579"/>
                  <a:pt x="1774955" y="1749138"/>
                </a:cubicBezTo>
                <a:cubicBezTo>
                  <a:pt x="1806450" y="1780698"/>
                  <a:pt x="1822198" y="1816766"/>
                  <a:pt x="1824447" y="1859597"/>
                </a:cubicBezTo>
                <a:cubicBezTo>
                  <a:pt x="1824447" y="1859597"/>
                  <a:pt x="1824447" y="1859597"/>
                  <a:pt x="1756958" y="1859597"/>
                </a:cubicBezTo>
                <a:cubicBezTo>
                  <a:pt x="1754708" y="1834800"/>
                  <a:pt x="1745710" y="1812257"/>
                  <a:pt x="1732212" y="1796478"/>
                </a:cubicBezTo>
                <a:cubicBezTo>
                  <a:pt x="1711966" y="1773935"/>
                  <a:pt x="1680471" y="1760410"/>
                  <a:pt x="1639978" y="1760410"/>
                </a:cubicBezTo>
                <a:cubicBezTo>
                  <a:pt x="1603983" y="1760410"/>
                  <a:pt x="1572489" y="1769427"/>
                  <a:pt x="1549993" y="1796478"/>
                </a:cubicBezTo>
                <a:cubicBezTo>
                  <a:pt x="1536494" y="1810003"/>
                  <a:pt x="1529746" y="1828037"/>
                  <a:pt x="1529746" y="1850580"/>
                </a:cubicBezTo>
                <a:cubicBezTo>
                  <a:pt x="1529746" y="1897919"/>
                  <a:pt x="1567989" y="1918207"/>
                  <a:pt x="1606234" y="1922716"/>
                </a:cubicBezTo>
                <a:cubicBezTo>
                  <a:pt x="1635478" y="1927224"/>
                  <a:pt x="1662474" y="1931733"/>
                  <a:pt x="1691719" y="1936241"/>
                </a:cubicBezTo>
                <a:cubicBezTo>
                  <a:pt x="1774955" y="1949767"/>
                  <a:pt x="1833445" y="2001614"/>
                  <a:pt x="1833445" y="2082767"/>
                </a:cubicBezTo>
                <a:cubicBezTo>
                  <a:pt x="1833445" y="2125598"/>
                  <a:pt x="1815448" y="2157157"/>
                  <a:pt x="1790703" y="2181954"/>
                </a:cubicBezTo>
                <a:cubicBezTo>
                  <a:pt x="1754708" y="2215768"/>
                  <a:pt x="1698468" y="2231547"/>
                  <a:pt x="1644477" y="2231547"/>
                </a:cubicBezTo>
                <a:cubicBezTo>
                  <a:pt x="1581488" y="2231547"/>
                  <a:pt x="1531996" y="2215768"/>
                  <a:pt x="1498251" y="2184208"/>
                </a:cubicBezTo>
                <a:cubicBezTo>
                  <a:pt x="1466757" y="2152649"/>
                  <a:pt x="1444260" y="2109818"/>
                  <a:pt x="1444260" y="2060225"/>
                </a:cubicBezTo>
                <a:cubicBezTo>
                  <a:pt x="1444260" y="2060225"/>
                  <a:pt x="1444260" y="2060225"/>
                  <a:pt x="1509499" y="2060225"/>
                </a:cubicBezTo>
                <a:cubicBezTo>
                  <a:pt x="1509499" y="2091784"/>
                  <a:pt x="1525247" y="2121089"/>
                  <a:pt x="1545494" y="2141378"/>
                </a:cubicBezTo>
                <a:cubicBezTo>
                  <a:pt x="1570239" y="2163920"/>
                  <a:pt x="1608483" y="2172937"/>
                  <a:pt x="1644477" y="2172937"/>
                </a:cubicBezTo>
                <a:cubicBezTo>
                  <a:pt x="1682720" y="2172937"/>
                  <a:pt x="1716465" y="2166174"/>
                  <a:pt x="1738962" y="2143632"/>
                </a:cubicBezTo>
                <a:cubicBezTo>
                  <a:pt x="1754708" y="2130106"/>
                  <a:pt x="1765956" y="2109818"/>
                  <a:pt x="1765956" y="2082767"/>
                </a:cubicBezTo>
                <a:cubicBezTo>
                  <a:pt x="1765956" y="2044445"/>
                  <a:pt x="1741211" y="2010631"/>
                  <a:pt x="1680471" y="2001614"/>
                </a:cubicBezTo>
                <a:cubicBezTo>
                  <a:pt x="1680471" y="2001614"/>
                  <a:pt x="1680471" y="2001614"/>
                  <a:pt x="1599484" y="1988089"/>
                </a:cubicBezTo>
                <a:cubicBezTo>
                  <a:pt x="1522997" y="1976817"/>
                  <a:pt x="1462257" y="1933987"/>
                  <a:pt x="1462257" y="1852834"/>
                </a:cubicBezTo>
                <a:cubicBezTo>
                  <a:pt x="1462257" y="1814512"/>
                  <a:pt x="1480254" y="1778444"/>
                  <a:pt x="1507249" y="1751393"/>
                </a:cubicBezTo>
                <a:cubicBezTo>
                  <a:pt x="1543244" y="1717579"/>
                  <a:pt x="1588236" y="1701799"/>
                  <a:pt x="1642228" y="1701799"/>
                </a:cubicBezTo>
                <a:close/>
                <a:moveTo>
                  <a:pt x="654642" y="1701799"/>
                </a:moveTo>
                <a:cubicBezTo>
                  <a:pt x="704133" y="1701799"/>
                  <a:pt x="755874" y="1719833"/>
                  <a:pt x="791868" y="1755901"/>
                </a:cubicBezTo>
                <a:cubicBezTo>
                  <a:pt x="848110" y="1810003"/>
                  <a:pt x="857108" y="1884393"/>
                  <a:pt x="857108" y="1967800"/>
                </a:cubicBezTo>
                <a:cubicBezTo>
                  <a:pt x="857108" y="2048953"/>
                  <a:pt x="848110" y="2123344"/>
                  <a:pt x="791868" y="2177446"/>
                </a:cubicBezTo>
                <a:cubicBezTo>
                  <a:pt x="755874" y="2213514"/>
                  <a:pt x="704133" y="2233802"/>
                  <a:pt x="654642" y="2233802"/>
                </a:cubicBezTo>
                <a:cubicBezTo>
                  <a:pt x="602900" y="2233802"/>
                  <a:pt x="553408" y="2213514"/>
                  <a:pt x="515164" y="2177446"/>
                </a:cubicBezTo>
                <a:cubicBezTo>
                  <a:pt x="461173" y="2123344"/>
                  <a:pt x="449925" y="2048953"/>
                  <a:pt x="449925" y="1967800"/>
                </a:cubicBezTo>
                <a:cubicBezTo>
                  <a:pt x="449925" y="1884393"/>
                  <a:pt x="461173" y="1810003"/>
                  <a:pt x="515164" y="1755901"/>
                </a:cubicBezTo>
                <a:cubicBezTo>
                  <a:pt x="553408" y="1719833"/>
                  <a:pt x="602900" y="1701799"/>
                  <a:pt x="654642" y="1701799"/>
                </a:cubicBezTo>
                <a:close/>
                <a:moveTo>
                  <a:pt x="202466" y="1701799"/>
                </a:moveTo>
                <a:cubicBezTo>
                  <a:pt x="258707" y="1701799"/>
                  <a:pt x="308199" y="1722087"/>
                  <a:pt x="339693" y="1753647"/>
                </a:cubicBezTo>
                <a:cubicBezTo>
                  <a:pt x="368939" y="1782952"/>
                  <a:pt x="386936" y="1823529"/>
                  <a:pt x="389185" y="1870868"/>
                </a:cubicBezTo>
                <a:cubicBezTo>
                  <a:pt x="389185" y="1870868"/>
                  <a:pt x="389185" y="1870868"/>
                  <a:pt x="323946" y="1870868"/>
                </a:cubicBezTo>
                <a:cubicBezTo>
                  <a:pt x="321697" y="1841563"/>
                  <a:pt x="312698" y="1819020"/>
                  <a:pt x="294701" y="1798732"/>
                </a:cubicBezTo>
                <a:cubicBezTo>
                  <a:pt x="274454" y="1776189"/>
                  <a:pt x="240710" y="1762664"/>
                  <a:pt x="202466" y="1762664"/>
                </a:cubicBezTo>
                <a:cubicBezTo>
                  <a:pt x="168722" y="1762664"/>
                  <a:pt x="134978" y="1776189"/>
                  <a:pt x="110232" y="1800986"/>
                </a:cubicBezTo>
                <a:cubicBezTo>
                  <a:pt x="67489" y="1843817"/>
                  <a:pt x="67489" y="1913699"/>
                  <a:pt x="67489" y="1967800"/>
                </a:cubicBezTo>
                <a:cubicBezTo>
                  <a:pt x="67489" y="2019648"/>
                  <a:pt x="67489" y="2089530"/>
                  <a:pt x="110232" y="2132361"/>
                </a:cubicBezTo>
                <a:cubicBezTo>
                  <a:pt x="134978" y="2159412"/>
                  <a:pt x="168722" y="2172937"/>
                  <a:pt x="202466" y="2172937"/>
                </a:cubicBezTo>
                <a:cubicBezTo>
                  <a:pt x="240710" y="2172937"/>
                  <a:pt x="276704" y="2154903"/>
                  <a:pt x="296951" y="2132361"/>
                </a:cubicBezTo>
                <a:cubicBezTo>
                  <a:pt x="312698" y="2114327"/>
                  <a:pt x="323946" y="2087276"/>
                  <a:pt x="323946" y="2060225"/>
                </a:cubicBezTo>
                <a:cubicBezTo>
                  <a:pt x="323946" y="2060225"/>
                  <a:pt x="323946" y="2060225"/>
                  <a:pt x="391435" y="2060225"/>
                </a:cubicBezTo>
                <a:cubicBezTo>
                  <a:pt x="389185" y="2107564"/>
                  <a:pt x="368939" y="2148140"/>
                  <a:pt x="339693" y="2177446"/>
                </a:cubicBezTo>
                <a:cubicBezTo>
                  <a:pt x="308199" y="2209005"/>
                  <a:pt x="258707" y="2233802"/>
                  <a:pt x="202466" y="2233802"/>
                </a:cubicBezTo>
                <a:cubicBezTo>
                  <a:pt x="150725" y="2233802"/>
                  <a:pt x="101233" y="2213514"/>
                  <a:pt x="65239" y="2177446"/>
                </a:cubicBezTo>
                <a:cubicBezTo>
                  <a:pt x="8999" y="2123344"/>
                  <a:pt x="0" y="2048953"/>
                  <a:pt x="0" y="1967800"/>
                </a:cubicBezTo>
                <a:cubicBezTo>
                  <a:pt x="0" y="1884393"/>
                  <a:pt x="8999" y="1810003"/>
                  <a:pt x="65239" y="1755901"/>
                </a:cubicBezTo>
                <a:cubicBezTo>
                  <a:pt x="101233" y="1719833"/>
                  <a:pt x="150725" y="1701799"/>
                  <a:pt x="202466" y="1701799"/>
                </a:cubicBezTo>
                <a:close/>
                <a:moveTo>
                  <a:pt x="2227389" y="214047"/>
                </a:moveTo>
                <a:cubicBezTo>
                  <a:pt x="2227389" y="214047"/>
                  <a:pt x="2227389" y="214047"/>
                  <a:pt x="2227389" y="574548"/>
                </a:cubicBezTo>
                <a:cubicBezTo>
                  <a:pt x="2227389" y="574548"/>
                  <a:pt x="2227389" y="574548"/>
                  <a:pt x="2456649" y="574548"/>
                </a:cubicBezTo>
                <a:cubicBezTo>
                  <a:pt x="2584765" y="574548"/>
                  <a:pt x="2654442" y="509207"/>
                  <a:pt x="2654442" y="394298"/>
                </a:cubicBezTo>
                <a:cubicBezTo>
                  <a:pt x="2654442" y="277135"/>
                  <a:pt x="2584765" y="214047"/>
                  <a:pt x="2456649" y="214047"/>
                </a:cubicBezTo>
                <a:cubicBezTo>
                  <a:pt x="2456649" y="214047"/>
                  <a:pt x="2456649" y="214047"/>
                  <a:pt x="2227389" y="214047"/>
                </a:cubicBezTo>
                <a:close/>
                <a:moveTo>
                  <a:pt x="8961436" y="0"/>
                </a:moveTo>
                <a:lnTo>
                  <a:pt x="9905999" y="0"/>
                </a:lnTo>
                <a:lnTo>
                  <a:pt x="9905999" y="225425"/>
                </a:lnTo>
                <a:lnTo>
                  <a:pt x="9555161" y="225425"/>
                </a:lnTo>
                <a:lnTo>
                  <a:pt x="9555161" y="1214437"/>
                </a:lnTo>
                <a:lnTo>
                  <a:pt x="9315449" y="1214437"/>
                </a:lnTo>
                <a:lnTo>
                  <a:pt x="9315449" y="225425"/>
                </a:lnTo>
                <a:lnTo>
                  <a:pt x="8961436" y="225425"/>
                </a:lnTo>
                <a:close/>
                <a:moveTo>
                  <a:pt x="7785099" y="0"/>
                </a:moveTo>
                <a:lnTo>
                  <a:pt x="8035924" y="0"/>
                </a:lnTo>
                <a:lnTo>
                  <a:pt x="8037512" y="3175"/>
                </a:lnTo>
                <a:lnTo>
                  <a:pt x="8523286" y="774700"/>
                </a:lnTo>
                <a:lnTo>
                  <a:pt x="8523286" y="0"/>
                </a:lnTo>
                <a:lnTo>
                  <a:pt x="8759824" y="0"/>
                </a:lnTo>
                <a:lnTo>
                  <a:pt x="8759824" y="1214437"/>
                </a:lnTo>
                <a:lnTo>
                  <a:pt x="8518524" y="1214437"/>
                </a:lnTo>
                <a:lnTo>
                  <a:pt x="8024812" y="425450"/>
                </a:lnTo>
                <a:lnTo>
                  <a:pt x="8024812" y="1214437"/>
                </a:lnTo>
                <a:lnTo>
                  <a:pt x="7785099" y="1214437"/>
                </a:lnTo>
                <a:close/>
                <a:moveTo>
                  <a:pt x="6665911" y="0"/>
                </a:moveTo>
                <a:lnTo>
                  <a:pt x="7535861" y="0"/>
                </a:lnTo>
                <a:lnTo>
                  <a:pt x="7535861" y="220663"/>
                </a:lnTo>
                <a:lnTo>
                  <a:pt x="6905624" y="220663"/>
                </a:lnTo>
                <a:lnTo>
                  <a:pt x="6905624" y="473075"/>
                </a:lnTo>
                <a:lnTo>
                  <a:pt x="7459661" y="473075"/>
                </a:lnTo>
                <a:lnTo>
                  <a:pt x="7459661" y="690562"/>
                </a:lnTo>
                <a:lnTo>
                  <a:pt x="6905624" y="690562"/>
                </a:lnTo>
                <a:lnTo>
                  <a:pt x="6905624" y="993775"/>
                </a:lnTo>
                <a:lnTo>
                  <a:pt x="7535861" y="993775"/>
                </a:lnTo>
                <a:lnTo>
                  <a:pt x="7535861" y="1214437"/>
                </a:lnTo>
                <a:lnTo>
                  <a:pt x="6665911" y="1214437"/>
                </a:lnTo>
                <a:close/>
                <a:moveTo>
                  <a:pt x="5221286" y="0"/>
                </a:moveTo>
                <a:lnTo>
                  <a:pt x="5534024" y="0"/>
                </a:lnTo>
                <a:lnTo>
                  <a:pt x="5835649" y="823912"/>
                </a:lnTo>
                <a:lnTo>
                  <a:pt x="6142037" y="0"/>
                </a:lnTo>
                <a:lnTo>
                  <a:pt x="6438899" y="0"/>
                </a:lnTo>
                <a:lnTo>
                  <a:pt x="6438899" y="1214437"/>
                </a:lnTo>
                <a:lnTo>
                  <a:pt x="6203949" y="1214437"/>
                </a:lnTo>
                <a:lnTo>
                  <a:pt x="6203949" y="419100"/>
                </a:lnTo>
                <a:lnTo>
                  <a:pt x="5916612" y="1196975"/>
                </a:lnTo>
                <a:lnTo>
                  <a:pt x="5740399" y="1196975"/>
                </a:lnTo>
                <a:lnTo>
                  <a:pt x="5454649" y="409575"/>
                </a:lnTo>
                <a:lnTo>
                  <a:pt x="5454649" y="1214437"/>
                </a:lnTo>
                <a:lnTo>
                  <a:pt x="5221286" y="1214437"/>
                </a:lnTo>
                <a:close/>
                <a:moveTo>
                  <a:pt x="4098924" y="0"/>
                </a:moveTo>
                <a:lnTo>
                  <a:pt x="4968874" y="0"/>
                </a:lnTo>
                <a:lnTo>
                  <a:pt x="4968874" y="220663"/>
                </a:lnTo>
                <a:lnTo>
                  <a:pt x="4340224" y="220663"/>
                </a:lnTo>
                <a:lnTo>
                  <a:pt x="4340224" y="473075"/>
                </a:lnTo>
                <a:lnTo>
                  <a:pt x="4895849" y="473075"/>
                </a:lnTo>
                <a:lnTo>
                  <a:pt x="4895849" y="690562"/>
                </a:lnTo>
                <a:lnTo>
                  <a:pt x="4340224" y="690562"/>
                </a:lnTo>
                <a:lnTo>
                  <a:pt x="4340224" y="993775"/>
                </a:lnTo>
                <a:lnTo>
                  <a:pt x="4968874" y="993775"/>
                </a:lnTo>
                <a:lnTo>
                  <a:pt x="4968874" y="1214437"/>
                </a:lnTo>
                <a:lnTo>
                  <a:pt x="4098924" y="1214437"/>
                </a:lnTo>
                <a:close/>
                <a:moveTo>
                  <a:pt x="3079749" y="0"/>
                </a:moveTo>
                <a:lnTo>
                  <a:pt x="3321049" y="0"/>
                </a:lnTo>
                <a:lnTo>
                  <a:pt x="3321049" y="984250"/>
                </a:lnTo>
                <a:lnTo>
                  <a:pt x="3871912" y="984250"/>
                </a:lnTo>
                <a:lnTo>
                  <a:pt x="3871912" y="1214437"/>
                </a:lnTo>
                <a:lnTo>
                  <a:pt x="3079749" y="1214437"/>
                </a:lnTo>
                <a:close/>
                <a:moveTo>
                  <a:pt x="1989138" y="0"/>
                </a:moveTo>
                <a:cubicBezTo>
                  <a:pt x="1989138" y="0"/>
                  <a:pt x="1989138" y="0"/>
                  <a:pt x="2465639" y="0"/>
                </a:cubicBezTo>
                <a:cubicBezTo>
                  <a:pt x="2735357" y="0"/>
                  <a:pt x="2897188" y="146454"/>
                  <a:pt x="2897188" y="392045"/>
                </a:cubicBezTo>
                <a:cubicBezTo>
                  <a:pt x="2897188" y="639889"/>
                  <a:pt x="2735357" y="786342"/>
                  <a:pt x="2465639" y="786342"/>
                </a:cubicBezTo>
                <a:cubicBezTo>
                  <a:pt x="2465639" y="786342"/>
                  <a:pt x="2465639" y="786342"/>
                  <a:pt x="2227389" y="786342"/>
                </a:cubicBezTo>
                <a:cubicBezTo>
                  <a:pt x="2227389" y="786342"/>
                  <a:pt x="2227389" y="786342"/>
                  <a:pt x="2227389" y="1214437"/>
                </a:cubicBezTo>
                <a:cubicBezTo>
                  <a:pt x="2227389" y="1214437"/>
                  <a:pt x="2227389" y="1214437"/>
                  <a:pt x="1989138" y="1214437"/>
                </a:cubicBezTo>
                <a:cubicBezTo>
                  <a:pt x="1989138" y="1214437"/>
                  <a:pt x="1989138" y="1214437"/>
                  <a:pt x="1989138" y="0"/>
                </a:cubicBezTo>
                <a:close/>
                <a:moveTo>
                  <a:pt x="520699" y="0"/>
                </a:moveTo>
                <a:lnTo>
                  <a:pt x="833436" y="0"/>
                </a:lnTo>
                <a:lnTo>
                  <a:pt x="1135061" y="823912"/>
                </a:lnTo>
                <a:lnTo>
                  <a:pt x="1439862" y="0"/>
                </a:lnTo>
                <a:lnTo>
                  <a:pt x="1736724" y="0"/>
                </a:lnTo>
                <a:lnTo>
                  <a:pt x="1736724" y="1214437"/>
                </a:lnTo>
                <a:lnTo>
                  <a:pt x="1503362" y="1214437"/>
                </a:lnTo>
                <a:lnTo>
                  <a:pt x="1503362" y="419100"/>
                </a:lnTo>
                <a:lnTo>
                  <a:pt x="1216024" y="1196975"/>
                </a:lnTo>
                <a:lnTo>
                  <a:pt x="1039812" y="1196975"/>
                </a:lnTo>
                <a:lnTo>
                  <a:pt x="754062" y="409575"/>
                </a:lnTo>
                <a:lnTo>
                  <a:pt x="754062" y="1214437"/>
                </a:lnTo>
                <a:lnTo>
                  <a:pt x="520699" y="1214437"/>
                </a:lnTo>
                <a:close/>
                <a:moveTo>
                  <a:pt x="25400" y="0"/>
                </a:moveTo>
                <a:lnTo>
                  <a:pt x="268288" y="0"/>
                </a:lnTo>
                <a:lnTo>
                  <a:pt x="268288" y="1214437"/>
                </a:lnTo>
                <a:lnTo>
                  <a:pt x="25400" y="12144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14" name="Date_GeneralDate" hidden="1">
            <a:extLst>
              <a:ext uri="{FF2B5EF4-FFF2-40B4-BE49-F238E27FC236}">
                <a16:creationId xmlns:a16="http://schemas.microsoft.com/office/drawing/2014/main" id="{9406085A-C43F-4E5C-98B7-50CF54CDE2E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8BD39C50-7102-48AE-B44A-7A5D58E05617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5" name="FLD_PresentationTitle" hidden="1">
            <a:extLst>
              <a:ext uri="{FF2B5EF4-FFF2-40B4-BE49-F238E27FC236}">
                <a16:creationId xmlns:a16="http://schemas.microsoft.com/office/drawing/2014/main" id="{980D4307-1E30-40BF-9A20-A045D172A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 algn="l">
              <a:defRPr sz="100">
                <a:noFill/>
              </a:defRPr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:a16="http://schemas.microsoft.com/office/drawing/2014/main" id="{8A49A16C-AA42-42D1-A77B-CEC2D6C356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8003F94-3A20-45FE-9AD7-1F0518FF10DF}"/>
              </a:ext>
            </a:extLst>
          </p:cNvPr>
          <p:cNvSpPr txBox="1"/>
          <p:nvPr userDrawn="1"/>
        </p:nvSpPr>
        <p:spPr>
          <a:xfrm>
            <a:off x="278928" y="6505496"/>
            <a:ext cx="609141" cy="124650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900" dirty="0">
                <a:solidFill>
                  <a:schemeClr val="tx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2843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ackground Dar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C4CFC32D-2211-4E39-9B91-7B77BE0D101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9906001" cy="6858000"/>
          </a:xfrm>
          <a:solidFill>
            <a:srgbClr val="F3F2F0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a-DK" dirty="0"/>
            </a:lvl1pPr>
          </a:lstStyle>
          <a:p>
            <a:pPr lvl="0" algn="ctr">
              <a:buNone/>
            </a:pPr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6" y="272256"/>
            <a:ext cx="8855590" cy="1912010"/>
          </a:xfrm>
          <a:noFill/>
        </p:spPr>
        <p:txBody>
          <a:bodyPr lIns="0" tIns="0" rIns="0"/>
          <a:lstStyle>
            <a:lvl1pPr>
              <a:defRPr sz="7200" cap="all" baseline="0">
                <a:solidFill>
                  <a:srgbClr val="30373B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C412D601-3FD7-4BFF-9C9F-D4F2C92A6EB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6B3186EF-2212-4466-A686-FDA592E3A8A2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2E889C3-04FC-42E7-9F88-55398FDB06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5D1C3CB-C715-45E0-AC5A-42E060646A3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B45C3F2C-0AAF-4C1C-82CA-594BFBB854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79736" y="303045"/>
            <a:ext cx="154800" cy="349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989B45-362C-495F-8268-6B2F030FE9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4405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C4CFC32D-2211-4E39-9B91-7B77BE0D101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9906001" cy="6858000"/>
          </a:xfrm>
          <a:solidFill>
            <a:srgbClr val="F3F2F0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a-DK" dirty="0"/>
            </a:lvl1pPr>
          </a:lstStyle>
          <a:p>
            <a:pPr lvl="0" algn="ctr">
              <a:buNone/>
            </a:pPr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6" y="272256"/>
            <a:ext cx="8855590" cy="1912010"/>
          </a:xfrm>
          <a:noFill/>
        </p:spPr>
        <p:txBody>
          <a:bodyPr lIns="0" tIns="0" rIns="0"/>
          <a:lstStyle>
            <a:lvl1pPr>
              <a:defRPr sz="7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0FAE2377-E2B0-4140-9CCB-1BC962EBB0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3B622D86-972D-43A8-8E81-B3E0ACF379F0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B0E5CE65-C7F7-444F-9BE6-F6063981EE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4EBC252-42D9-4131-8D13-05AF660AEB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5A77E448-2BE3-48C5-ABC0-77F3894ECC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79736" y="303045"/>
            <a:ext cx="154800" cy="349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  <a:endParaRPr lang="en-GB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69F993DF-A131-47DA-A899-6B31FEA20EA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Footer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49B62B-4750-405D-8758-4F7AF1C686A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1961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E631477-0A36-48AD-8A86-6B33026F533B}"/>
              </a:ext>
            </a:extLst>
          </p:cNvPr>
          <p:cNvSpPr/>
          <p:nvPr userDrawn="1"/>
        </p:nvSpPr>
        <p:spPr>
          <a:xfrm>
            <a:off x="0" y="269875"/>
            <a:ext cx="6581868" cy="5148792"/>
          </a:xfrm>
          <a:prstGeom prst="rect">
            <a:avLst/>
          </a:prstGeom>
          <a:solidFill>
            <a:srgbClr val="3037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38767680-C6C8-4860-8F6A-B5FF8B3542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1247" y="2092693"/>
            <a:ext cx="4551577" cy="2249014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F8F5E7"/>
                </a:solidFill>
              </a:defRPr>
            </a:lvl1pPr>
          </a:lstStyle>
          <a:p>
            <a:pPr lvl="0"/>
            <a:r>
              <a:rPr lang="en-GB" dirty="0"/>
              <a:t>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B2C56D2-784D-4432-A938-43418D6C4B85}"/>
              </a:ext>
            </a:extLst>
          </p:cNvPr>
          <p:cNvSpPr/>
          <p:nvPr userDrawn="1"/>
        </p:nvSpPr>
        <p:spPr>
          <a:xfrm>
            <a:off x="0" y="0"/>
            <a:ext cx="4816475" cy="1296785"/>
          </a:xfrm>
          <a:prstGeom prst="rect">
            <a:avLst/>
          </a:prstGeom>
          <a:solidFill>
            <a:srgbClr val="E0BCA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buNone/>
            </a:pPr>
            <a:endParaRPr lang="en-GB" sz="1000" noProof="0" dirty="0">
              <a:solidFill>
                <a:srgbClr val="2F363B"/>
              </a:solidFill>
            </a:endParaRP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E95E46A2-7940-4BAC-9759-942AABFED4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9875" y="4611581"/>
            <a:ext cx="4551577" cy="555412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>
                <a:solidFill>
                  <a:srgbClr val="F8F5E7"/>
                </a:solidFill>
              </a:defRPr>
            </a:lvl1pPr>
          </a:lstStyle>
          <a:p>
            <a:pPr lvl="0"/>
            <a:r>
              <a:rPr lang="en-GB" dirty="0"/>
              <a:t>Nam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E78B38-E2FC-4D90-ABDF-B7665592C118}"/>
              </a:ext>
            </a:extLst>
          </p:cNvPr>
          <p:cNvSpPr txBox="1"/>
          <p:nvPr userDrawn="1"/>
        </p:nvSpPr>
        <p:spPr>
          <a:xfrm>
            <a:off x="246008" y="490564"/>
            <a:ext cx="2026391" cy="1329595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>
              <a:buFontTx/>
              <a:buNone/>
            </a:pPr>
            <a:r>
              <a:rPr lang="en-GB" sz="9600" dirty="0">
                <a:solidFill>
                  <a:srgbClr val="F8F5E7"/>
                </a:solidFill>
                <a:latin typeface="Impact" panose="020B0806030902050204" pitchFamily="34" charset="0"/>
              </a:rPr>
              <a:t>«</a:t>
            </a:r>
          </a:p>
        </p:txBody>
      </p:sp>
      <p:sp>
        <p:nvSpPr>
          <p:cNvPr id="14" name="Date_GeneralDate" hidden="1">
            <a:extLst>
              <a:ext uri="{FF2B5EF4-FFF2-40B4-BE49-F238E27FC236}">
                <a16:creationId xmlns:a16="http://schemas.microsoft.com/office/drawing/2014/main" id="{7DC1B9B1-594B-4FB6-921D-AD66151CE6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6793E9EF-9C0F-4780-8649-59486E9E852E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824DB0EB-3C91-4347-ADB0-7074827664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6ECB54CD-9A70-47F7-9C35-1CCC594856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4DBE1D-B808-4F9C-95DF-F47CE31FB0C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7443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38767680-C6C8-4860-8F6A-B5FF8B3542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1247" y="2092693"/>
            <a:ext cx="4551577" cy="2249014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30373B"/>
                </a:solidFill>
              </a:defRPr>
            </a:lvl1pPr>
          </a:lstStyle>
          <a:p>
            <a:pPr lvl="0"/>
            <a:r>
              <a:rPr lang="en-GB" dirty="0"/>
              <a:t>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B2C56D2-784D-4432-A938-43418D6C4B85}"/>
              </a:ext>
            </a:extLst>
          </p:cNvPr>
          <p:cNvSpPr/>
          <p:nvPr userDrawn="1"/>
        </p:nvSpPr>
        <p:spPr>
          <a:xfrm>
            <a:off x="0" y="0"/>
            <a:ext cx="4816475" cy="1296785"/>
          </a:xfrm>
          <a:prstGeom prst="rect">
            <a:avLst/>
          </a:prstGeom>
          <a:solidFill>
            <a:srgbClr val="F8F5E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buNone/>
            </a:pPr>
            <a:endParaRPr lang="en-GB" sz="1000" noProof="0" dirty="0">
              <a:solidFill>
                <a:srgbClr val="2F363B"/>
              </a:solidFill>
            </a:endParaRP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E95E46A2-7940-4BAC-9759-942AABFED4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9875" y="4611581"/>
            <a:ext cx="4551577" cy="555412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>
                <a:solidFill>
                  <a:srgbClr val="30373B"/>
                </a:solidFill>
              </a:defRPr>
            </a:lvl1pPr>
          </a:lstStyle>
          <a:p>
            <a:pPr lvl="0"/>
            <a:r>
              <a:rPr lang="en-GB" dirty="0"/>
              <a:t>Nam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E78B38-E2FC-4D90-ABDF-B7665592C118}"/>
              </a:ext>
            </a:extLst>
          </p:cNvPr>
          <p:cNvSpPr txBox="1"/>
          <p:nvPr userDrawn="1"/>
        </p:nvSpPr>
        <p:spPr>
          <a:xfrm>
            <a:off x="246008" y="490564"/>
            <a:ext cx="2026391" cy="1329595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>
              <a:buFontTx/>
              <a:buNone/>
            </a:pPr>
            <a:r>
              <a:rPr lang="en-GB" sz="9600" dirty="0">
                <a:solidFill>
                  <a:srgbClr val="30373B"/>
                </a:solidFill>
                <a:latin typeface="Impact" panose="020B0806030902050204" pitchFamily="34" charset="0"/>
              </a:rPr>
              <a:t>«</a:t>
            </a:r>
          </a:p>
        </p:txBody>
      </p:sp>
      <p:sp>
        <p:nvSpPr>
          <p:cNvPr id="14" name="Date_GeneralDate" hidden="1">
            <a:extLst>
              <a:ext uri="{FF2B5EF4-FFF2-40B4-BE49-F238E27FC236}">
                <a16:creationId xmlns:a16="http://schemas.microsoft.com/office/drawing/2014/main" id="{C23B4461-AF34-409D-AC22-EE0AAD2CC06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BE16438D-DB83-4A56-915A-4E9C53BA8E4F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1844B6E8-8E61-4F73-8ECC-3DB3BF126A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F55D92C-F4F7-4894-8533-8FB7232203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FD7064-E991-459F-9E03-93947AAF70A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72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_GeneralDate" hidden="1">
            <a:extLst>
              <a:ext uri="{FF2B5EF4-FFF2-40B4-BE49-F238E27FC236}">
                <a16:creationId xmlns:a16="http://schemas.microsoft.com/office/drawing/2014/main" id="{BE0C3A60-B315-4CCC-948B-3A28762D2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1B1B9951-BCC7-4308-90FA-6E8959875D04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8D6D355F-17E4-46C1-8D5B-B53A3E5021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613617F-0213-43C0-8BC6-F7C548D77C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8AFCF3-5C90-4343-BEA2-DFD9EF9DB6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4">
            <a:extLst>
              <a:ext uri="{FF2B5EF4-FFF2-40B4-BE49-F238E27FC236}">
                <a16:creationId xmlns:a16="http://schemas.microsoft.com/office/drawing/2014/main" id="{14CC84DE-7E96-42BC-842C-0FB1DFA971FA}"/>
              </a:ext>
            </a:extLst>
          </p:cNvPr>
          <p:cNvSpPr/>
          <p:nvPr userDrawn="1"/>
        </p:nvSpPr>
        <p:spPr>
          <a:xfrm>
            <a:off x="269874" y="280735"/>
            <a:ext cx="9364663" cy="6327775"/>
          </a:xfrm>
          <a:custGeom>
            <a:avLst/>
            <a:gdLst>
              <a:gd name="connsiteX0" fmla="*/ 2157895 w 9586368"/>
              <a:gd name="connsiteY0" fmla="*/ 6461491 h 6479439"/>
              <a:gd name="connsiteX1" fmla="*/ 2167802 w 9586368"/>
              <a:gd name="connsiteY1" fmla="*/ 6461491 h 6479439"/>
              <a:gd name="connsiteX2" fmla="*/ 2171820 w 9586368"/>
              <a:gd name="connsiteY2" fmla="*/ 6465529 h 6479439"/>
              <a:gd name="connsiteX3" fmla="*/ 2171820 w 9586368"/>
              <a:gd name="connsiteY3" fmla="*/ 6475400 h 6479439"/>
              <a:gd name="connsiteX4" fmla="*/ 2167802 w 9586368"/>
              <a:gd name="connsiteY4" fmla="*/ 6479439 h 6479439"/>
              <a:gd name="connsiteX5" fmla="*/ 2157895 w 9586368"/>
              <a:gd name="connsiteY5" fmla="*/ 6479439 h 6479439"/>
              <a:gd name="connsiteX6" fmla="*/ 2153871 w 9586368"/>
              <a:gd name="connsiteY6" fmla="*/ 6475400 h 6479439"/>
              <a:gd name="connsiteX7" fmla="*/ 2153871 w 9586368"/>
              <a:gd name="connsiteY7" fmla="*/ 6465529 h 6479439"/>
              <a:gd name="connsiteX8" fmla="*/ 1918509 w 9586368"/>
              <a:gd name="connsiteY8" fmla="*/ 6461491 h 6479439"/>
              <a:gd name="connsiteX9" fmla="*/ 1928419 w 9586368"/>
              <a:gd name="connsiteY9" fmla="*/ 6461491 h 6479439"/>
              <a:gd name="connsiteX10" fmla="*/ 1932437 w 9586368"/>
              <a:gd name="connsiteY10" fmla="*/ 6465529 h 6479439"/>
              <a:gd name="connsiteX11" fmla="*/ 1932437 w 9586368"/>
              <a:gd name="connsiteY11" fmla="*/ 6475400 h 6479439"/>
              <a:gd name="connsiteX12" fmla="*/ 1928419 w 9586368"/>
              <a:gd name="connsiteY12" fmla="*/ 6479439 h 6479439"/>
              <a:gd name="connsiteX13" fmla="*/ 1918509 w 9586368"/>
              <a:gd name="connsiteY13" fmla="*/ 6479439 h 6479439"/>
              <a:gd name="connsiteX14" fmla="*/ 1914490 w 9586368"/>
              <a:gd name="connsiteY14" fmla="*/ 6475400 h 6479439"/>
              <a:gd name="connsiteX15" fmla="*/ 1914490 w 9586368"/>
              <a:gd name="connsiteY15" fmla="*/ 6465529 h 6479439"/>
              <a:gd name="connsiteX16" fmla="*/ 1679200 w 9586368"/>
              <a:gd name="connsiteY16" fmla="*/ 6461491 h 6479439"/>
              <a:gd name="connsiteX17" fmla="*/ 1689110 w 9586368"/>
              <a:gd name="connsiteY17" fmla="*/ 6461491 h 6479439"/>
              <a:gd name="connsiteX18" fmla="*/ 1693128 w 9586368"/>
              <a:gd name="connsiteY18" fmla="*/ 6465529 h 6479439"/>
              <a:gd name="connsiteX19" fmla="*/ 1693128 w 9586368"/>
              <a:gd name="connsiteY19" fmla="*/ 6475400 h 6479439"/>
              <a:gd name="connsiteX20" fmla="*/ 1689110 w 9586368"/>
              <a:gd name="connsiteY20" fmla="*/ 6479439 h 6479439"/>
              <a:gd name="connsiteX21" fmla="*/ 1679200 w 9586368"/>
              <a:gd name="connsiteY21" fmla="*/ 6479439 h 6479439"/>
              <a:gd name="connsiteX22" fmla="*/ 1675180 w 9586368"/>
              <a:gd name="connsiteY22" fmla="*/ 6475400 h 6479439"/>
              <a:gd name="connsiteX23" fmla="*/ 1675180 w 9586368"/>
              <a:gd name="connsiteY23" fmla="*/ 6465529 h 6479439"/>
              <a:gd name="connsiteX24" fmla="*/ 1439885 w 9586368"/>
              <a:gd name="connsiteY24" fmla="*/ 6461491 h 6479439"/>
              <a:gd name="connsiteX25" fmla="*/ 1449795 w 9586368"/>
              <a:gd name="connsiteY25" fmla="*/ 6461491 h 6479439"/>
              <a:gd name="connsiteX26" fmla="*/ 1453813 w 9586368"/>
              <a:gd name="connsiteY26" fmla="*/ 6465529 h 6479439"/>
              <a:gd name="connsiteX27" fmla="*/ 1453813 w 9586368"/>
              <a:gd name="connsiteY27" fmla="*/ 6475400 h 6479439"/>
              <a:gd name="connsiteX28" fmla="*/ 1449795 w 9586368"/>
              <a:gd name="connsiteY28" fmla="*/ 6479439 h 6479439"/>
              <a:gd name="connsiteX29" fmla="*/ 1439885 w 9586368"/>
              <a:gd name="connsiteY29" fmla="*/ 6479439 h 6479439"/>
              <a:gd name="connsiteX30" fmla="*/ 1435865 w 9586368"/>
              <a:gd name="connsiteY30" fmla="*/ 6475400 h 6479439"/>
              <a:gd name="connsiteX31" fmla="*/ 1435865 w 9586368"/>
              <a:gd name="connsiteY31" fmla="*/ 6465529 h 6479439"/>
              <a:gd name="connsiteX32" fmla="*/ 1200570 w 9586368"/>
              <a:gd name="connsiteY32" fmla="*/ 6461491 h 6479439"/>
              <a:gd name="connsiteX33" fmla="*/ 1210480 w 9586368"/>
              <a:gd name="connsiteY33" fmla="*/ 6461491 h 6479439"/>
              <a:gd name="connsiteX34" fmla="*/ 1214498 w 9586368"/>
              <a:gd name="connsiteY34" fmla="*/ 6465529 h 6479439"/>
              <a:gd name="connsiteX35" fmla="*/ 1214498 w 9586368"/>
              <a:gd name="connsiteY35" fmla="*/ 6475400 h 6479439"/>
              <a:gd name="connsiteX36" fmla="*/ 1210480 w 9586368"/>
              <a:gd name="connsiteY36" fmla="*/ 6479439 h 6479439"/>
              <a:gd name="connsiteX37" fmla="*/ 1200570 w 9586368"/>
              <a:gd name="connsiteY37" fmla="*/ 6479439 h 6479439"/>
              <a:gd name="connsiteX38" fmla="*/ 1196551 w 9586368"/>
              <a:gd name="connsiteY38" fmla="*/ 6475400 h 6479439"/>
              <a:gd name="connsiteX39" fmla="*/ 1196551 w 9586368"/>
              <a:gd name="connsiteY39" fmla="*/ 6465529 h 6479439"/>
              <a:gd name="connsiteX40" fmla="*/ 961257 w 9586368"/>
              <a:gd name="connsiteY40" fmla="*/ 6461491 h 6479439"/>
              <a:gd name="connsiteX41" fmla="*/ 971167 w 9586368"/>
              <a:gd name="connsiteY41" fmla="*/ 6461491 h 6479439"/>
              <a:gd name="connsiteX42" fmla="*/ 975186 w 9586368"/>
              <a:gd name="connsiteY42" fmla="*/ 6465529 h 6479439"/>
              <a:gd name="connsiteX43" fmla="*/ 975186 w 9586368"/>
              <a:gd name="connsiteY43" fmla="*/ 6475400 h 6479439"/>
              <a:gd name="connsiteX44" fmla="*/ 971167 w 9586368"/>
              <a:gd name="connsiteY44" fmla="*/ 6479439 h 6479439"/>
              <a:gd name="connsiteX45" fmla="*/ 961257 w 9586368"/>
              <a:gd name="connsiteY45" fmla="*/ 6479439 h 6479439"/>
              <a:gd name="connsiteX46" fmla="*/ 957238 w 9586368"/>
              <a:gd name="connsiteY46" fmla="*/ 6475400 h 6479439"/>
              <a:gd name="connsiteX47" fmla="*/ 957238 w 9586368"/>
              <a:gd name="connsiteY47" fmla="*/ 6465529 h 6479439"/>
              <a:gd name="connsiteX48" fmla="*/ 9572438 w 9586368"/>
              <a:gd name="connsiteY48" fmla="*/ 6461440 h 6479439"/>
              <a:gd name="connsiteX49" fmla="*/ 9582349 w 9586368"/>
              <a:gd name="connsiteY49" fmla="*/ 6461440 h 6479439"/>
              <a:gd name="connsiteX50" fmla="*/ 9586368 w 9586368"/>
              <a:gd name="connsiteY50" fmla="*/ 6465478 h 6479439"/>
              <a:gd name="connsiteX51" fmla="*/ 9586368 w 9586368"/>
              <a:gd name="connsiteY51" fmla="*/ 6475349 h 6479439"/>
              <a:gd name="connsiteX52" fmla="*/ 9582349 w 9586368"/>
              <a:gd name="connsiteY52" fmla="*/ 6479388 h 6479439"/>
              <a:gd name="connsiteX53" fmla="*/ 9572438 w 9586368"/>
              <a:gd name="connsiteY53" fmla="*/ 6479388 h 6479439"/>
              <a:gd name="connsiteX54" fmla="*/ 9568419 w 9586368"/>
              <a:gd name="connsiteY54" fmla="*/ 6475349 h 6479439"/>
              <a:gd name="connsiteX55" fmla="*/ 9568419 w 9586368"/>
              <a:gd name="connsiteY55" fmla="*/ 6465478 h 6479439"/>
              <a:gd name="connsiteX56" fmla="*/ 9333125 w 9586368"/>
              <a:gd name="connsiteY56" fmla="*/ 6461440 h 6479439"/>
              <a:gd name="connsiteX57" fmla="*/ 9343036 w 9586368"/>
              <a:gd name="connsiteY57" fmla="*/ 6461440 h 6479439"/>
              <a:gd name="connsiteX58" fmla="*/ 9347055 w 9586368"/>
              <a:gd name="connsiteY58" fmla="*/ 6465478 h 6479439"/>
              <a:gd name="connsiteX59" fmla="*/ 9347055 w 9586368"/>
              <a:gd name="connsiteY59" fmla="*/ 6475349 h 6479439"/>
              <a:gd name="connsiteX60" fmla="*/ 9343036 w 9586368"/>
              <a:gd name="connsiteY60" fmla="*/ 6479388 h 6479439"/>
              <a:gd name="connsiteX61" fmla="*/ 9333125 w 9586368"/>
              <a:gd name="connsiteY61" fmla="*/ 6479388 h 6479439"/>
              <a:gd name="connsiteX62" fmla="*/ 9329106 w 9586368"/>
              <a:gd name="connsiteY62" fmla="*/ 6475349 h 6479439"/>
              <a:gd name="connsiteX63" fmla="*/ 9329106 w 9586368"/>
              <a:gd name="connsiteY63" fmla="*/ 6465478 h 6479439"/>
              <a:gd name="connsiteX64" fmla="*/ 9093811 w 9586368"/>
              <a:gd name="connsiteY64" fmla="*/ 6461440 h 6479439"/>
              <a:gd name="connsiteX65" fmla="*/ 9103722 w 9586368"/>
              <a:gd name="connsiteY65" fmla="*/ 6461440 h 6479439"/>
              <a:gd name="connsiteX66" fmla="*/ 9107741 w 9586368"/>
              <a:gd name="connsiteY66" fmla="*/ 6465478 h 6479439"/>
              <a:gd name="connsiteX67" fmla="*/ 9107741 w 9586368"/>
              <a:gd name="connsiteY67" fmla="*/ 6475349 h 6479439"/>
              <a:gd name="connsiteX68" fmla="*/ 9103722 w 9586368"/>
              <a:gd name="connsiteY68" fmla="*/ 6479388 h 6479439"/>
              <a:gd name="connsiteX69" fmla="*/ 9093811 w 9586368"/>
              <a:gd name="connsiteY69" fmla="*/ 6479388 h 6479439"/>
              <a:gd name="connsiteX70" fmla="*/ 9089792 w 9586368"/>
              <a:gd name="connsiteY70" fmla="*/ 6475349 h 6479439"/>
              <a:gd name="connsiteX71" fmla="*/ 9089792 w 9586368"/>
              <a:gd name="connsiteY71" fmla="*/ 6465478 h 6479439"/>
              <a:gd name="connsiteX72" fmla="*/ 8854496 w 9586368"/>
              <a:gd name="connsiteY72" fmla="*/ 6461440 h 6479439"/>
              <a:gd name="connsiteX73" fmla="*/ 8864407 w 9586368"/>
              <a:gd name="connsiteY73" fmla="*/ 6461440 h 6479439"/>
              <a:gd name="connsiteX74" fmla="*/ 8868426 w 9586368"/>
              <a:gd name="connsiteY74" fmla="*/ 6465478 h 6479439"/>
              <a:gd name="connsiteX75" fmla="*/ 8868426 w 9586368"/>
              <a:gd name="connsiteY75" fmla="*/ 6475349 h 6479439"/>
              <a:gd name="connsiteX76" fmla="*/ 8864407 w 9586368"/>
              <a:gd name="connsiteY76" fmla="*/ 6479388 h 6479439"/>
              <a:gd name="connsiteX77" fmla="*/ 8854496 w 9586368"/>
              <a:gd name="connsiteY77" fmla="*/ 6479388 h 6479439"/>
              <a:gd name="connsiteX78" fmla="*/ 8850477 w 9586368"/>
              <a:gd name="connsiteY78" fmla="*/ 6475349 h 6479439"/>
              <a:gd name="connsiteX79" fmla="*/ 8850477 w 9586368"/>
              <a:gd name="connsiteY79" fmla="*/ 6465478 h 6479439"/>
              <a:gd name="connsiteX80" fmla="*/ 8615184 w 9586368"/>
              <a:gd name="connsiteY80" fmla="*/ 6461440 h 6479439"/>
              <a:gd name="connsiteX81" fmla="*/ 8625095 w 9586368"/>
              <a:gd name="connsiteY81" fmla="*/ 6461440 h 6479439"/>
              <a:gd name="connsiteX82" fmla="*/ 8629114 w 9586368"/>
              <a:gd name="connsiteY82" fmla="*/ 6465478 h 6479439"/>
              <a:gd name="connsiteX83" fmla="*/ 8629114 w 9586368"/>
              <a:gd name="connsiteY83" fmla="*/ 6475349 h 6479439"/>
              <a:gd name="connsiteX84" fmla="*/ 8625095 w 9586368"/>
              <a:gd name="connsiteY84" fmla="*/ 6479388 h 6479439"/>
              <a:gd name="connsiteX85" fmla="*/ 8615184 w 9586368"/>
              <a:gd name="connsiteY85" fmla="*/ 6479388 h 6479439"/>
              <a:gd name="connsiteX86" fmla="*/ 8611165 w 9586368"/>
              <a:gd name="connsiteY86" fmla="*/ 6475349 h 6479439"/>
              <a:gd name="connsiteX87" fmla="*/ 8611165 w 9586368"/>
              <a:gd name="connsiteY87" fmla="*/ 6465478 h 6479439"/>
              <a:gd name="connsiteX88" fmla="*/ 8375869 w 9586368"/>
              <a:gd name="connsiteY88" fmla="*/ 6461440 h 6479439"/>
              <a:gd name="connsiteX89" fmla="*/ 8385779 w 9586368"/>
              <a:gd name="connsiteY89" fmla="*/ 6461440 h 6479439"/>
              <a:gd name="connsiteX90" fmla="*/ 8389799 w 9586368"/>
              <a:gd name="connsiteY90" fmla="*/ 6465478 h 6479439"/>
              <a:gd name="connsiteX91" fmla="*/ 8389799 w 9586368"/>
              <a:gd name="connsiteY91" fmla="*/ 6475349 h 6479439"/>
              <a:gd name="connsiteX92" fmla="*/ 8385779 w 9586368"/>
              <a:gd name="connsiteY92" fmla="*/ 6479388 h 6479439"/>
              <a:gd name="connsiteX93" fmla="*/ 8375869 w 9586368"/>
              <a:gd name="connsiteY93" fmla="*/ 6479388 h 6479439"/>
              <a:gd name="connsiteX94" fmla="*/ 8371850 w 9586368"/>
              <a:gd name="connsiteY94" fmla="*/ 6475349 h 6479439"/>
              <a:gd name="connsiteX95" fmla="*/ 8371850 w 9586368"/>
              <a:gd name="connsiteY95" fmla="*/ 6465478 h 6479439"/>
              <a:gd name="connsiteX96" fmla="*/ 8136553 w 9586368"/>
              <a:gd name="connsiteY96" fmla="*/ 6461440 h 6479439"/>
              <a:gd name="connsiteX97" fmla="*/ 8146464 w 9586368"/>
              <a:gd name="connsiteY97" fmla="*/ 6461440 h 6479439"/>
              <a:gd name="connsiteX98" fmla="*/ 8150483 w 9586368"/>
              <a:gd name="connsiteY98" fmla="*/ 6465478 h 6479439"/>
              <a:gd name="connsiteX99" fmla="*/ 8150483 w 9586368"/>
              <a:gd name="connsiteY99" fmla="*/ 6475349 h 6479439"/>
              <a:gd name="connsiteX100" fmla="*/ 8146464 w 9586368"/>
              <a:gd name="connsiteY100" fmla="*/ 6479388 h 6479439"/>
              <a:gd name="connsiteX101" fmla="*/ 8136553 w 9586368"/>
              <a:gd name="connsiteY101" fmla="*/ 6479388 h 6479439"/>
              <a:gd name="connsiteX102" fmla="*/ 8132534 w 9586368"/>
              <a:gd name="connsiteY102" fmla="*/ 6475349 h 6479439"/>
              <a:gd name="connsiteX103" fmla="*/ 8132534 w 9586368"/>
              <a:gd name="connsiteY103" fmla="*/ 6465478 h 6479439"/>
              <a:gd name="connsiteX104" fmla="*/ 7897241 w 9586368"/>
              <a:gd name="connsiteY104" fmla="*/ 6461440 h 6479439"/>
              <a:gd name="connsiteX105" fmla="*/ 7907151 w 9586368"/>
              <a:gd name="connsiteY105" fmla="*/ 6461440 h 6479439"/>
              <a:gd name="connsiteX106" fmla="*/ 7911170 w 9586368"/>
              <a:gd name="connsiteY106" fmla="*/ 6465478 h 6479439"/>
              <a:gd name="connsiteX107" fmla="*/ 7911170 w 9586368"/>
              <a:gd name="connsiteY107" fmla="*/ 6475349 h 6479439"/>
              <a:gd name="connsiteX108" fmla="*/ 7907151 w 9586368"/>
              <a:gd name="connsiteY108" fmla="*/ 6479388 h 6479439"/>
              <a:gd name="connsiteX109" fmla="*/ 7897241 w 9586368"/>
              <a:gd name="connsiteY109" fmla="*/ 6479388 h 6479439"/>
              <a:gd name="connsiteX110" fmla="*/ 7893222 w 9586368"/>
              <a:gd name="connsiteY110" fmla="*/ 6475349 h 6479439"/>
              <a:gd name="connsiteX111" fmla="*/ 7893222 w 9586368"/>
              <a:gd name="connsiteY111" fmla="*/ 6465478 h 6479439"/>
              <a:gd name="connsiteX112" fmla="*/ 7657926 w 9586368"/>
              <a:gd name="connsiteY112" fmla="*/ 6461440 h 6479439"/>
              <a:gd name="connsiteX113" fmla="*/ 7667836 w 9586368"/>
              <a:gd name="connsiteY113" fmla="*/ 6461440 h 6479439"/>
              <a:gd name="connsiteX114" fmla="*/ 7671855 w 9586368"/>
              <a:gd name="connsiteY114" fmla="*/ 6465478 h 6479439"/>
              <a:gd name="connsiteX115" fmla="*/ 7671855 w 9586368"/>
              <a:gd name="connsiteY115" fmla="*/ 6475349 h 6479439"/>
              <a:gd name="connsiteX116" fmla="*/ 7667836 w 9586368"/>
              <a:gd name="connsiteY116" fmla="*/ 6479388 h 6479439"/>
              <a:gd name="connsiteX117" fmla="*/ 7657926 w 9586368"/>
              <a:gd name="connsiteY117" fmla="*/ 6479388 h 6479439"/>
              <a:gd name="connsiteX118" fmla="*/ 7653906 w 9586368"/>
              <a:gd name="connsiteY118" fmla="*/ 6475349 h 6479439"/>
              <a:gd name="connsiteX119" fmla="*/ 7653906 w 9586368"/>
              <a:gd name="connsiteY119" fmla="*/ 6465478 h 6479439"/>
              <a:gd name="connsiteX120" fmla="*/ 7418611 w 9586368"/>
              <a:gd name="connsiteY120" fmla="*/ 6461440 h 6479439"/>
              <a:gd name="connsiteX121" fmla="*/ 7428521 w 9586368"/>
              <a:gd name="connsiteY121" fmla="*/ 6461440 h 6479439"/>
              <a:gd name="connsiteX122" fmla="*/ 7432540 w 9586368"/>
              <a:gd name="connsiteY122" fmla="*/ 6465478 h 6479439"/>
              <a:gd name="connsiteX123" fmla="*/ 7432540 w 9586368"/>
              <a:gd name="connsiteY123" fmla="*/ 6475349 h 6479439"/>
              <a:gd name="connsiteX124" fmla="*/ 7428521 w 9586368"/>
              <a:gd name="connsiteY124" fmla="*/ 6479388 h 6479439"/>
              <a:gd name="connsiteX125" fmla="*/ 7418611 w 9586368"/>
              <a:gd name="connsiteY125" fmla="*/ 6479388 h 6479439"/>
              <a:gd name="connsiteX126" fmla="*/ 7414592 w 9586368"/>
              <a:gd name="connsiteY126" fmla="*/ 6475349 h 6479439"/>
              <a:gd name="connsiteX127" fmla="*/ 7414592 w 9586368"/>
              <a:gd name="connsiteY127" fmla="*/ 6465478 h 6479439"/>
              <a:gd name="connsiteX128" fmla="*/ 7179298 w 9586368"/>
              <a:gd name="connsiteY128" fmla="*/ 6461440 h 6479439"/>
              <a:gd name="connsiteX129" fmla="*/ 7189209 w 9586368"/>
              <a:gd name="connsiteY129" fmla="*/ 6461440 h 6479439"/>
              <a:gd name="connsiteX130" fmla="*/ 7193228 w 9586368"/>
              <a:gd name="connsiteY130" fmla="*/ 6465478 h 6479439"/>
              <a:gd name="connsiteX131" fmla="*/ 7193228 w 9586368"/>
              <a:gd name="connsiteY131" fmla="*/ 6475349 h 6479439"/>
              <a:gd name="connsiteX132" fmla="*/ 7189209 w 9586368"/>
              <a:gd name="connsiteY132" fmla="*/ 6479388 h 6479439"/>
              <a:gd name="connsiteX133" fmla="*/ 7179298 w 9586368"/>
              <a:gd name="connsiteY133" fmla="*/ 6479388 h 6479439"/>
              <a:gd name="connsiteX134" fmla="*/ 7175279 w 9586368"/>
              <a:gd name="connsiteY134" fmla="*/ 6475349 h 6479439"/>
              <a:gd name="connsiteX135" fmla="*/ 7175279 w 9586368"/>
              <a:gd name="connsiteY135" fmla="*/ 6465478 h 6479439"/>
              <a:gd name="connsiteX136" fmla="*/ 6939983 w 9586368"/>
              <a:gd name="connsiteY136" fmla="*/ 6461440 h 6479439"/>
              <a:gd name="connsiteX137" fmla="*/ 6949894 w 9586368"/>
              <a:gd name="connsiteY137" fmla="*/ 6461440 h 6479439"/>
              <a:gd name="connsiteX138" fmla="*/ 6953913 w 9586368"/>
              <a:gd name="connsiteY138" fmla="*/ 6465478 h 6479439"/>
              <a:gd name="connsiteX139" fmla="*/ 6953913 w 9586368"/>
              <a:gd name="connsiteY139" fmla="*/ 6475349 h 6479439"/>
              <a:gd name="connsiteX140" fmla="*/ 6949894 w 9586368"/>
              <a:gd name="connsiteY140" fmla="*/ 6479388 h 6479439"/>
              <a:gd name="connsiteX141" fmla="*/ 6939983 w 9586368"/>
              <a:gd name="connsiteY141" fmla="*/ 6479388 h 6479439"/>
              <a:gd name="connsiteX142" fmla="*/ 6935964 w 9586368"/>
              <a:gd name="connsiteY142" fmla="*/ 6475349 h 6479439"/>
              <a:gd name="connsiteX143" fmla="*/ 6935964 w 9586368"/>
              <a:gd name="connsiteY143" fmla="*/ 6465478 h 6479439"/>
              <a:gd name="connsiteX144" fmla="*/ 6700670 w 9586368"/>
              <a:gd name="connsiteY144" fmla="*/ 6461440 h 6479439"/>
              <a:gd name="connsiteX145" fmla="*/ 6710581 w 9586368"/>
              <a:gd name="connsiteY145" fmla="*/ 6461440 h 6479439"/>
              <a:gd name="connsiteX146" fmla="*/ 6714600 w 9586368"/>
              <a:gd name="connsiteY146" fmla="*/ 6465478 h 6479439"/>
              <a:gd name="connsiteX147" fmla="*/ 6714600 w 9586368"/>
              <a:gd name="connsiteY147" fmla="*/ 6475349 h 6479439"/>
              <a:gd name="connsiteX148" fmla="*/ 6710581 w 9586368"/>
              <a:gd name="connsiteY148" fmla="*/ 6479388 h 6479439"/>
              <a:gd name="connsiteX149" fmla="*/ 6700670 w 9586368"/>
              <a:gd name="connsiteY149" fmla="*/ 6479388 h 6479439"/>
              <a:gd name="connsiteX150" fmla="*/ 6696651 w 9586368"/>
              <a:gd name="connsiteY150" fmla="*/ 6475349 h 6479439"/>
              <a:gd name="connsiteX151" fmla="*/ 6696651 w 9586368"/>
              <a:gd name="connsiteY151" fmla="*/ 6465478 h 6479439"/>
              <a:gd name="connsiteX152" fmla="*/ 6461356 w 9586368"/>
              <a:gd name="connsiteY152" fmla="*/ 6461440 h 6479439"/>
              <a:gd name="connsiteX153" fmla="*/ 6471266 w 9586368"/>
              <a:gd name="connsiteY153" fmla="*/ 6461440 h 6479439"/>
              <a:gd name="connsiteX154" fmla="*/ 6475285 w 9586368"/>
              <a:gd name="connsiteY154" fmla="*/ 6465478 h 6479439"/>
              <a:gd name="connsiteX155" fmla="*/ 6475285 w 9586368"/>
              <a:gd name="connsiteY155" fmla="*/ 6475349 h 6479439"/>
              <a:gd name="connsiteX156" fmla="*/ 6471266 w 9586368"/>
              <a:gd name="connsiteY156" fmla="*/ 6479388 h 6479439"/>
              <a:gd name="connsiteX157" fmla="*/ 6461356 w 9586368"/>
              <a:gd name="connsiteY157" fmla="*/ 6479388 h 6479439"/>
              <a:gd name="connsiteX158" fmla="*/ 6457337 w 9586368"/>
              <a:gd name="connsiteY158" fmla="*/ 6475349 h 6479439"/>
              <a:gd name="connsiteX159" fmla="*/ 6457337 w 9586368"/>
              <a:gd name="connsiteY159" fmla="*/ 6465478 h 6479439"/>
              <a:gd name="connsiteX160" fmla="*/ 6222042 w 9586368"/>
              <a:gd name="connsiteY160" fmla="*/ 6461440 h 6479439"/>
              <a:gd name="connsiteX161" fmla="*/ 6231952 w 9586368"/>
              <a:gd name="connsiteY161" fmla="*/ 6461440 h 6479439"/>
              <a:gd name="connsiteX162" fmla="*/ 6235971 w 9586368"/>
              <a:gd name="connsiteY162" fmla="*/ 6465478 h 6479439"/>
              <a:gd name="connsiteX163" fmla="*/ 6235971 w 9586368"/>
              <a:gd name="connsiteY163" fmla="*/ 6475349 h 6479439"/>
              <a:gd name="connsiteX164" fmla="*/ 6231952 w 9586368"/>
              <a:gd name="connsiteY164" fmla="*/ 6479388 h 6479439"/>
              <a:gd name="connsiteX165" fmla="*/ 6222042 w 9586368"/>
              <a:gd name="connsiteY165" fmla="*/ 6479388 h 6479439"/>
              <a:gd name="connsiteX166" fmla="*/ 6218023 w 9586368"/>
              <a:gd name="connsiteY166" fmla="*/ 6475349 h 6479439"/>
              <a:gd name="connsiteX167" fmla="*/ 6218023 w 9586368"/>
              <a:gd name="connsiteY167" fmla="*/ 6465478 h 6479439"/>
              <a:gd name="connsiteX168" fmla="*/ 5982729 w 9586368"/>
              <a:gd name="connsiteY168" fmla="*/ 6461440 h 6479439"/>
              <a:gd name="connsiteX169" fmla="*/ 5992639 w 9586368"/>
              <a:gd name="connsiteY169" fmla="*/ 6461440 h 6479439"/>
              <a:gd name="connsiteX170" fmla="*/ 5996658 w 9586368"/>
              <a:gd name="connsiteY170" fmla="*/ 6465478 h 6479439"/>
              <a:gd name="connsiteX171" fmla="*/ 5996658 w 9586368"/>
              <a:gd name="connsiteY171" fmla="*/ 6475349 h 6479439"/>
              <a:gd name="connsiteX172" fmla="*/ 5992639 w 9586368"/>
              <a:gd name="connsiteY172" fmla="*/ 6479388 h 6479439"/>
              <a:gd name="connsiteX173" fmla="*/ 5982729 w 9586368"/>
              <a:gd name="connsiteY173" fmla="*/ 6479388 h 6479439"/>
              <a:gd name="connsiteX174" fmla="*/ 5978710 w 9586368"/>
              <a:gd name="connsiteY174" fmla="*/ 6475349 h 6479439"/>
              <a:gd name="connsiteX175" fmla="*/ 5978710 w 9586368"/>
              <a:gd name="connsiteY175" fmla="*/ 6465478 h 6479439"/>
              <a:gd name="connsiteX176" fmla="*/ 5743412 w 9586368"/>
              <a:gd name="connsiteY176" fmla="*/ 6461440 h 6479439"/>
              <a:gd name="connsiteX177" fmla="*/ 5753323 w 9586368"/>
              <a:gd name="connsiteY177" fmla="*/ 6461440 h 6479439"/>
              <a:gd name="connsiteX178" fmla="*/ 5757342 w 9586368"/>
              <a:gd name="connsiteY178" fmla="*/ 6465478 h 6479439"/>
              <a:gd name="connsiteX179" fmla="*/ 5757342 w 9586368"/>
              <a:gd name="connsiteY179" fmla="*/ 6475349 h 6479439"/>
              <a:gd name="connsiteX180" fmla="*/ 5753323 w 9586368"/>
              <a:gd name="connsiteY180" fmla="*/ 6479388 h 6479439"/>
              <a:gd name="connsiteX181" fmla="*/ 5743412 w 9586368"/>
              <a:gd name="connsiteY181" fmla="*/ 6479388 h 6479439"/>
              <a:gd name="connsiteX182" fmla="*/ 5739393 w 9586368"/>
              <a:gd name="connsiteY182" fmla="*/ 6475349 h 6479439"/>
              <a:gd name="connsiteX183" fmla="*/ 5739393 w 9586368"/>
              <a:gd name="connsiteY183" fmla="*/ 6465478 h 6479439"/>
              <a:gd name="connsiteX184" fmla="*/ 5504099 w 9586368"/>
              <a:gd name="connsiteY184" fmla="*/ 6461440 h 6479439"/>
              <a:gd name="connsiteX185" fmla="*/ 5514010 w 9586368"/>
              <a:gd name="connsiteY185" fmla="*/ 6461440 h 6479439"/>
              <a:gd name="connsiteX186" fmla="*/ 5518029 w 9586368"/>
              <a:gd name="connsiteY186" fmla="*/ 6465478 h 6479439"/>
              <a:gd name="connsiteX187" fmla="*/ 5518029 w 9586368"/>
              <a:gd name="connsiteY187" fmla="*/ 6475349 h 6479439"/>
              <a:gd name="connsiteX188" fmla="*/ 5514010 w 9586368"/>
              <a:gd name="connsiteY188" fmla="*/ 6479388 h 6479439"/>
              <a:gd name="connsiteX189" fmla="*/ 5504099 w 9586368"/>
              <a:gd name="connsiteY189" fmla="*/ 6479388 h 6479439"/>
              <a:gd name="connsiteX190" fmla="*/ 5500080 w 9586368"/>
              <a:gd name="connsiteY190" fmla="*/ 6475349 h 6479439"/>
              <a:gd name="connsiteX191" fmla="*/ 5500080 w 9586368"/>
              <a:gd name="connsiteY191" fmla="*/ 6465478 h 6479439"/>
              <a:gd name="connsiteX192" fmla="*/ 5264784 w 9586368"/>
              <a:gd name="connsiteY192" fmla="*/ 6461440 h 6479439"/>
              <a:gd name="connsiteX193" fmla="*/ 5274694 w 9586368"/>
              <a:gd name="connsiteY193" fmla="*/ 6461440 h 6479439"/>
              <a:gd name="connsiteX194" fmla="*/ 5278713 w 9586368"/>
              <a:gd name="connsiteY194" fmla="*/ 6465478 h 6479439"/>
              <a:gd name="connsiteX195" fmla="*/ 5278713 w 9586368"/>
              <a:gd name="connsiteY195" fmla="*/ 6475349 h 6479439"/>
              <a:gd name="connsiteX196" fmla="*/ 5274694 w 9586368"/>
              <a:gd name="connsiteY196" fmla="*/ 6479388 h 6479439"/>
              <a:gd name="connsiteX197" fmla="*/ 5264784 w 9586368"/>
              <a:gd name="connsiteY197" fmla="*/ 6479388 h 6479439"/>
              <a:gd name="connsiteX198" fmla="*/ 5260765 w 9586368"/>
              <a:gd name="connsiteY198" fmla="*/ 6475349 h 6479439"/>
              <a:gd name="connsiteX199" fmla="*/ 5260765 w 9586368"/>
              <a:gd name="connsiteY199" fmla="*/ 6465478 h 6479439"/>
              <a:gd name="connsiteX200" fmla="*/ 5025470 w 9586368"/>
              <a:gd name="connsiteY200" fmla="*/ 6461440 h 6479439"/>
              <a:gd name="connsiteX201" fmla="*/ 5035381 w 9586368"/>
              <a:gd name="connsiteY201" fmla="*/ 6461440 h 6479439"/>
              <a:gd name="connsiteX202" fmla="*/ 5039400 w 9586368"/>
              <a:gd name="connsiteY202" fmla="*/ 6465478 h 6479439"/>
              <a:gd name="connsiteX203" fmla="*/ 5039400 w 9586368"/>
              <a:gd name="connsiteY203" fmla="*/ 6475349 h 6479439"/>
              <a:gd name="connsiteX204" fmla="*/ 5035381 w 9586368"/>
              <a:gd name="connsiteY204" fmla="*/ 6479388 h 6479439"/>
              <a:gd name="connsiteX205" fmla="*/ 5025470 w 9586368"/>
              <a:gd name="connsiteY205" fmla="*/ 6479388 h 6479439"/>
              <a:gd name="connsiteX206" fmla="*/ 5021451 w 9586368"/>
              <a:gd name="connsiteY206" fmla="*/ 6475349 h 6479439"/>
              <a:gd name="connsiteX207" fmla="*/ 5021451 w 9586368"/>
              <a:gd name="connsiteY207" fmla="*/ 6465478 h 6479439"/>
              <a:gd name="connsiteX208" fmla="*/ 4786241 w 9586368"/>
              <a:gd name="connsiteY208" fmla="*/ 6461440 h 6479439"/>
              <a:gd name="connsiteX209" fmla="*/ 4796152 w 9586368"/>
              <a:gd name="connsiteY209" fmla="*/ 6461440 h 6479439"/>
              <a:gd name="connsiteX210" fmla="*/ 4800171 w 9586368"/>
              <a:gd name="connsiteY210" fmla="*/ 6465478 h 6479439"/>
              <a:gd name="connsiteX211" fmla="*/ 4800171 w 9586368"/>
              <a:gd name="connsiteY211" fmla="*/ 6475349 h 6479439"/>
              <a:gd name="connsiteX212" fmla="*/ 4796152 w 9586368"/>
              <a:gd name="connsiteY212" fmla="*/ 6479388 h 6479439"/>
              <a:gd name="connsiteX213" fmla="*/ 4786241 w 9586368"/>
              <a:gd name="connsiteY213" fmla="*/ 6479388 h 6479439"/>
              <a:gd name="connsiteX214" fmla="*/ 4782224 w 9586368"/>
              <a:gd name="connsiteY214" fmla="*/ 6475349 h 6479439"/>
              <a:gd name="connsiteX215" fmla="*/ 4782224 w 9586368"/>
              <a:gd name="connsiteY215" fmla="*/ 6465478 h 6479439"/>
              <a:gd name="connsiteX216" fmla="*/ 4546929 w 9586368"/>
              <a:gd name="connsiteY216" fmla="*/ 6461440 h 6479439"/>
              <a:gd name="connsiteX217" fmla="*/ 4556840 w 9586368"/>
              <a:gd name="connsiteY217" fmla="*/ 6461440 h 6479439"/>
              <a:gd name="connsiteX218" fmla="*/ 4560859 w 9586368"/>
              <a:gd name="connsiteY218" fmla="*/ 6465478 h 6479439"/>
              <a:gd name="connsiteX219" fmla="*/ 4560859 w 9586368"/>
              <a:gd name="connsiteY219" fmla="*/ 6475349 h 6479439"/>
              <a:gd name="connsiteX220" fmla="*/ 4556840 w 9586368"/>
              <a:gd name="connsiteY220" fmla="*/ 6479388 h 6479439"/>
              <a:gd name="connsiteX221" fmla="*/ 4546929 w 9586368"/>
              <a:gd name="connsiteY221" fmla="*/ 6479388 h 6479439"/>
              <a:gd name="connsiteX222" fmla="*/ 4542910 w 9586368"/>
              <a:gd name="connsiteY222" fmla="*/ 6475349 h 6479439"/>
              <a:gd name="connsiteX223" fmla="*/ 4542910 w 9586368"/>
              <a:gd name="connsiteY223" fmla="*/ 6465478 h 6479439"/>
              <a:gd name="connsiteX224" fmla="*/ 4307612 w 9586368"/>
              <a:gd name="connsiteY224" fmla="*/ 6461440 h 6479439"/>
              <a:gd name="connsiteX225" fmla="*/ 4317523 w 9586368"/>
              <a:gd name="connsiteY225" fmla="*/ 6461440 h 6479439"/>
              <a:gd name="connsiteX226" fmla="*/ 4321543 w 9586368"/>
              <a:gd name="connsiteY226" fmla="*/ 6465478 h 6479439"/>
              <a:gd name="connsiteX227" fmla="*/ 4321543 w 9586368"/>
              <a:gd name="connsiteY227" fmla="*/ 6475349 h 6479439"/>
              <a:gd name="connsiteX228" fmla="*/ 4317523 w 9586368"/>
              <a:gd name="connsiteY228" fmla="*/ 6479388 h 6479439"/>
              <a:gd name="connsiteX229" fmla="*/ 4307612 w 9586368"/>
              <a:gd name="connsiteY229" fmla="*/ 6479388 h 6479439"/>
              <a:gd name="connsiteX230" fmla="*/ 4303595 w 9586368"/>
              <a:gd name="connsiteY230" fmla="*/ 6475349 h 6479439"/>
              <a:gd name="connsiteX231" fmla="*/ 4303595 w 9586368"/>
              <a:gd name="connsiteY231" fmla="*/ 6465478 h 6479439"/>
              <a:gd name="connsiteX232" fmla="*/ 4068297 w 9586368"/>
              <a:gd name="connsiteY232" fmla="*/ 6461440 h 6479439"/>
              <a:gd name="connsiteX233" fmla="*/ 4078210 w 9586368"/>
              <a:gd name="connsiteY233" fmla="*/ 6461440 h 6479439"/>
              <a:gd name="connsiteX234" fmla="*/ 4082229 w 9586368"/>
              <a:gd name="connsiteY234" fmla="*/ 6465478 h 6479439"/>
              <a:gd name="connsiteX235" fmla="*/ 4082229 w 9586368"/>
              <a:gd name="connsiteY235" fmla="*/ 6475349 h 6479439"/>
              <a:gd name="connsiteX236" fmla="*/ 4078210 w 9586368"/>
              <a:gd name="connsiteY236" fmla="*/ 6479388 h 6479439"/>
              <a:gd name="connsiteX237" fmla="*/ 4068297 w 9586368"/>
              <a:gd name="connsiteY237" fmla="*/ 6479388 h 6479439"/>
              <a:gd name="connsiteX238" fmla="*/ 4064278 w 9586368"/>
              <a:gd name="connsiteY238" fmla="*/ 6475349 h 6479439"/>
              <a:gd name="connsiteX239" fmla="*/ 4064278 w 9586368"/>
              <a:gd name="connsiteY239" fmla="*/ 6465478 h 6479439"/>
              <a:gd name="connsiteX240" fmla="*/ 3828990 w 9586368"/>
              <a:gd name="connsiteY240" fmla="*/ 6461440 h 6479439"/>
              <a:gd name="connsiteX241" fmla="*/ 3838899 w 9586368"/>
              <a:gd name="connsiteY241" fmla="*/ 6461440 h 6479439"/>
              <a:gd name="connsiteX242" fmla="*/ 3842917 w 9586368"/>
              <a:gd name="connsiteY242" fmla="*/ 6465478 h 6479439"/>
              <a:gd name="connsiteX243" fmla="*/ 3842917 w 9586368"/>
              <a:gd name="connsiteY243" fmla="*/ 6475349 h 6479439"/>
              <a:gd name="connsiteX244" fmla="*/ 3838899 w 9586368"/>
              <a:gd name="connsiteY244" fmla="*/ 6479388 h 6479439"/>
              <a:gd name="connsiteX245" fmla="*/ 3828990 w 9586368"/>
              <a:gd name="connsiteY245" fmla="*/ 6479388 h 6479439"/>
              <a:gd name="connsiteX246" fmla="*/ 3824971 w 9586368"/>
              <a:gd name="connsiteY246" fmla="*/ 6475349 h 6479439"/>
              <a:gd name="connsiteX247" fmla="*/ 3824971 w 9586368"/>
              <a:gd name="connsiteY247" fmla="*/ 6465478 h 6479439"/>
              <a:gd name="connsiteX248" fmla="*/ 3589676 w 9586368"/>
              <a:gd name="connsiteY248" fmla="*/ 6461440 h 6479439"/>
              <a:gd name="connsiteX249" fmla="*/ 3599585 w 9586368"/>
              <a:gd name="connsiteY249" fmla="*/ 6461440 h 6479439"/>
              <a:gd name="connsiteX250" fmla="*/ 3603604 w 9586368"/>
              <a:gd name="connsiteY250" fmla="*/ 6465478 h 6479439"/>
              <a:gd name="connsiteX251" fmla="*/ 3603604 w 9586368"/>
              <a:gd name="connsiteY251" fmla="*/ 6475349 h 6479439"/>
              <a:gd name="connsiteX252" fmla="*/ 3599585 w 9586368"/>
              <a:gd name="connsiteY252" fmla="*/ 6479388 h 6479439"/>
              <a:gd name="connsiteX253" fmla="*/ 3589676 w 9586368"/>
              <a:gd name="connsiteY253" fmla="*/ 6479388 h 6479439"/>
              <a:gd name="connsiteX254" fmla="*/ 3585657 w 9586368"/>
              <a:gd name="connsiteY254" fmla="*/ 6475349 h 6479439"/>
              <a:gd name="connsiteX255" fmla="*/ 3585657 w 9586368"/>
              <a:gd name="connsiteY255" fmla="*/ 6465478 h 6479439"/>
              <a:gd name="connsiteX256" fmla="*/ 3350359 w 9586368"/>
              <a:gd name="connsiteY256" fmla="*/ 6461440 h 6479439"/>
              <a:gd name="connsiteX257" fmla="*/ 3360268 w 9586368"/>
              <a:gd name="connsiteY257" fmla="*/ 6461440 h 6479439"/>
              <a:gd name="connsiteX258" fmla="*/ 3364287 w 9586368"/>
              <a:gd name="connsiteY258" fmla="*/ 6465478 h 6479439"/>
              <a:gd name="connsiteX259" fmla="*/ 3364287 w 9586368"/>
              <a:gd name="connsiteY259" fmla="*/ 6475349 h 6479439"/>
              <a:gd name="connsiteX260" fmla="*/ 3360268 w 9586368"/>
              <a:gd name="connsiteY260" fmla="*/ 6479388 h 6479439"/>
              <a:gd name="connsiteX261" fmla="*/ 3350359 w 9586368"/>
              <a:gd name="connsiteY261" fmla="*/ 6479388 h 6479439"/>
              <a:gd name="connsiteX262" fmla="*/ 3346340 w 9586368"/>
              <a:gd name="connsiteY262" fmla="*/ 6475349 h 6479439"/>
              <a:gd name="connsiteX263" fmla="*/ 3346340 w 9586368"/>
              <a:gd name="connsiteY263" fmla="*/ 6465478 h 6479439"/>
              <a:gd name="connsiteX264" fmla="*/ 3111048 w 9586368"/>
              <a:gd name="connsiteY264" fmla="*/ 6461440 h 6479439"/>
              <a:gd name="connsiteX265" fmla="*/ 3120959 w 9586368"/>
              <a:gd name="connsiteY265" fmla="*/ 6461440 h 6479439"/>
              <a:gd name="connsiteX266" fmla="*/ 3124977 w 9586368"/>
              <a:gd name="connsiteY266" fmla="*/ 6465478 h 6479439"/>
              <a:gd name="connsiteX267" fmla="*/ 3124977 w 9586368"/>
              <a:gd name="connsiteY267" fmla="*/ 6475349 h 6479439"/>
              <a:gd name="connsiteX268" fmla="*/ 3120959 w 9586368"/>
              <a:gd name="connsiteY268" fmla="*/ 6479388 h 6479439"/>
              <a:gd name="connsiteX269" fmla="*/ 3111048 w 9586368"/>
              <a:gd name="connsiteY269" fmla="*/ 6479388 h 6479439"/>
              <a:gd name="connsiteX270" fmla="*/ 3107029 w 9586368"/>
              <a:gd name="connsiteY270" fmla="*/ 6475349 h 6479439"/>
              <a:gd name="connsiteX271" fmla="*/ 3107029 w 9586368"/>
              <a:gd name="connsiteY271" fmla="*/ 6465478 h 6479439"/>
              <a:gd name="connsiteX272" fmla="*/ 2871737 w 9586368"/>
              <a:gd name="connsiteY272" fmla="*/ 6461440 h 6479439"/>
              <a:gd name="connsiteX273" fmla="*/ 2881646 w 9586368"/>
              <a:gd name="connsiteY273" fmla="*/ 6461440 h 6479439"/>
              <a:gd name="connsiteX274" fmla="*/ 2885666 w 9586368"/>
              <a:gd name="connsiteY274" fmla="*/ 6465478 h 6479439"/>
              <a:gd name="connsiteX275" fmla="*/ 2885666 w 9586368"/>
              <a:gd name="connsiteY275" fmla="*/ 6475349 h 6479439"/>
              <a:gd name="connsiteX276" fmla="*/ 2881646 w 9586368"/>
              <a:gd name="connsiteY276" fmla="*/ 6479388 h 6479439"/>
              <a:gd name="connsiteX277" fmla="*/ 2871737 w 9586368"/>
              <a:gd name="connsiteY277" fmla="*/ 6479388 h 6479439"/>
              <a:gd name="connsiteX278" fmla="*/ 2867717 w 9586368"/>
              <a:gd name="connsiteY278" fmla="*/ 6475349 h 6479439"/>
              <a:gd name="connsiteX279" fmla="*/ 2867717 w 9586368"/>
              <a:gd name="connsiteY279" fmla="*/ 6465478 h 6479439"/>
              <a:gd name="connsiteX280" fmla="*/ 2632423 w 9586368"/>
              <a:gd name="connsiteY280" fmla="*/ 6461440 h 6479439"/>
              <a:gd name="connsiteX281" fmla="*/ 2642334 w 9586368"/>
              <a:gd name="connsiteY281" fmla="*/ 6461440 h 6479439"/>
              <a:gd name="connsiteX282" fmla="*/ 2646352 w 9586368"/>
              <a:gd name="connsiteY282" fmla="*/ 6465478 h 6479439"/>
              <a:gd name="connsiteX283" fmla="*/ 2646352 w 9586368"/>
              <a:gd name="connsiteY283" fmla="*/ 6475349 h 6479439"/>
              <a:gd name="connsiteX284" fmla="*/ 2642334 w 9586368"/>
              <a:gd name="connsiteY284" fmla="*/ 6479388 h 6479439"/>
              <a:gd name="connsiteX285" fmla="*/ 2632423 w 9586368"/>
              <a:gd name="connsiteY285" fmla="*/ 6479388 h 6479439"/>
              <a:gd name="connsiteX286" fmla="*/ 2628404 w 9586368"/>
              <a:gd name="connsiteY286" fmla="*/ 6475349 h 6479439"/>
              <a:gd name="connsiteX287" fmla="*/ 2628404 w 9586368"/>
              <a:gd name="connsiteY287" fmla="*/ 6465478 h 6479439"/>
              <a:gd name="connsiteX288" fmla="*/ 2393104 w 9586368"/>
              <a:gd name="connsiteY288" fmla="*/ 6461440 h 6479439"/>
              <a:gd name="connsiteX289" fmla="*/ 2403015 w 9586368"/>
              <a:gd name="connsiteY289" fmla="*/ 6461440 h 6479439"/>
              <a:gd name="connsiteX290" fmla="*/ 2407034 w 9586368"/>
              <a:gd name="connsiteY290" fmla="*/ 6465478 h 6479439"/>
              <a:gd name="connsiteX291" fmla="*/ 2407034 w 9586368"/>
              <a:gd name="connsiteY291" fmla="*/ 6475349 h 6479439"/>
              <a:gd name="connsiteX292" fmla="*/ 2403015 w 9586368"/>
              <a:gd name="connsiteY292" fmla="*/ 6479388 h 6479439"/>
              <a:gd name="connsiteX293" fmla="*/ 2393104 w 9586368"/>
              <a:gd name="connsiteY293" fmla="*/ 6479388 h 6479439"/>
              <a:gd name="connsiteX294" fmla="*/ 2389087 w 9586368"/>
              <a:gd name="connsiteY294" fmla="*/ 6475349 h 6479439"/>
              <a:gd name="connsiteX295" fmla="*/ 2389087 w 9586368"/>
              <a:gd name="connsiteY295" fmla="*/ 6465478 h 6479439"/>
              <a:gd name="connsiteX296" fmla="*/ 721958 w 9586368"/>
              <a:gd name="connsiteY296" fmla="*/ 6461440 h 6479439"/>
              <a:gd name="connsiteX297" fmla="*/ 731868 w 9586368"/>
              <a:gd name="connsiteY297" fmla="*/ 6461440 h 6479439"/>
              <a:gd name="connsiteX298" fmla="*/ 735887 w 9586368"/>
              <a:gd name="connsiteY298" fmla="*/ 6465478 h 6479439"/>
              <a:gd name="connsiteX299" fmla="*/ 735887 w 9586368"/>
              <a:gd name="connsiteY299" fmla="*/ 6475349 h 6479439"/>
              <a:gd name="connsiteX300" fmla="*/ 731868 w 9586368"/>
              <a:gd name="connsiteY300" fmla="*/ 6479388 h 6479439"/>
              <a:gd name="connsiteX301" fmla="*/ 721958 w 9586368"/>
              <a:gd name="connsiteY301" fmla="*/ 6479388 h 6479439"/>
              <a:gd name="connsiteX302" fmla="*/ 717939 w 9586368"/>
              <a:gd name="connsiteY302" fmla="*/ 6475349 h 6479439"/>
              <a:gd name="connsiteX303" fmla="*/ 717939 w 9586368"/>
              <a:gd name="connsiteY303" fmla="*/ 6465478 h 6479439"/>
              <a:gd name="connsiteX304" fmla="*/ 482646 w 9586368"/>
              <a:gd name="connsiteY304" fmla="*/ 6461440 h 6479439"/>
              <a:gd name="connsiteX305" fmla="*/ 492556 w 9586368"/>
              <a:gd name="connsiteY305" fmla="*/ 6461440 h 6479439"/>
              <a:gd name="connsiteX306" fmla="*/ 496575 w 9586368"/>
              <a:gd name="connsiteY306" fmla="*/ 6465478 h 6479439"/>
              <a:gd name="connsiteX307" fmla="*/ 496575 w 9586368"/>
              <a:gd name="connsiteY307" fmla="*/ 6475349 h 6479439"/>
              <a:gd name="connsiteX308" fmla="*/ 492556 w 9586368"/>
              <a:gd name="connsiteY308" fmla="*/ 6479388 h 6479439"/>
              <a:gd name="connsiteX309" fmla="*/ 482646 w 9586368"/>
              <a:gd name="connsiteY309" fmla="*/ 6479388 h 6479439"/>
              <a:gd name="connsiteX310" fmla="*/ 478627 w 9586368"/>
              <a:gd name="connsiteY310" fmla="*/ 6475349 h 6479439"/>
              <a:gd name="connsiteX311" fmla="*/ 478627 w 9586368"/>
              <a:gd name="connsiteY311" fmla="*/ 6465478 h 6479439"/>
              <a:gd name="connsiteX312" fmla="*/ 243332 w 9586368"/>
              <a:gd name="connsiteY312" fmla="*/ 6461440 h 6479439"/>
              <a:gd name="connsiteX313" fmla="*/ 253242 w 9586368"/>
              <a:gd name="connsiteY313" fmla="*/ 6461440 h 6479439"/>
              <a:gd name="connsiteX314" fmla="*/ 257261 w 9586368"/>
              <a:gd name="connsiteY314" fmla="*/ 6465478 h 6479439"/>
              <a:gd name="connsiteX315" fmla="*/ 257261 w 9586368"/>
              <a:gd name="connsiteY315" fmla="*/ 6475349 h 6479439"/>
              <a:gd name="connsiteX316" fmla="*/ 253242 w 9586368"/>
              <a:gd name="connsiteY316" fmla="*/ 6479388 h 6479439"/>
              <a:gd name="connsiteX317" fmla="*/ 243332 w 9586368"/>
              <a:gd name="connsiteY317" fmla="*/ 6479388 h 6479439"/>
              <a:gd name="connsiteX318" fmla="*/ 239313 w 9586368"/>
              <a:gd name="connsiteY318" fmla="*/ 6475349 h 6479439"/>
              <a:gd name="connsiteX319" fmla="*/ 239313 w 9586368"/>
              <a:gd name="connsiteY319" fmla="*/ 6465478 h 6479439"/>
              <a:gd name="connsiteX320" fmla="*/ 4019 w 9586368"/>
              <a:gd name="connsiteY320" fmla="*/ 6461440 h 6479439"/>
              <a:gd name="connsiteX321" fmla="*/ 13929 w 9586368"/>
              <a:gd name="connsiteY321" fmla="*/ 6461440 h 6479439"/>
              <a:gd name="connsiteX322" fmla="*/ 17949 w 9586368"/>
              <a:gd name="connsiteY322" fmla="*/ 6465478 h 6479439"/>
              <a:gd name="connsiteX323" fmla="*/ 17949 w 9586368"/>
              <a:gd name="connsiteY323" fmla="*/ 6475349 h 6479439"/>
              <a:gd name="connsiteX324" fmla="*/ 13929 w 9586368"/>
              <a:gd name="connsiteY324" fmla="*/ 6479388 h 6479439"/>
              <a:gd name="connsiteX325" fmla="*/ 4019 w 9586368"/>
              <a:gd name="connsiteY325" fmla="*/ 6479388 h 6479439"/>
              <a:gd name="connsiteX326" fmla="*/ 0 w 9586368"/>
              <a:gd name="connsiteY326" fmla="*/ 6475349 h 6479439"/>
              <a:gd name="connsiteX327" fmla="*/ 0 w 9586368"/>
              <a:gd name="connsiteY327" fmla="*/ 6465478 h 6479439"/>
              <a:gd name="connsiteX328" fmla="*/ 9572438 w 9586368"/>
              <a:gd name="connsiteY328" fmla="*/ 6222160 h 6479439"/>
              <a:gd name="connsiteX329" fmla="*/ 9582349 w 9586368"/>
              <a:gd name="connsiteY329" fmla="*/ 6222160 h 6479439"/>
              <a:gd name="connsiteX330" fmla="*/ 9586368 w 9586368"/>
              <a:gd name="connsiteY330" fmla="*/ 6226198 h 6479439"/>
              <a:gd name="connsiteX331" fmla="*/ 9586368 w 9586368"/>
              <a:gd name="connsiteY331" fmla="*/ 6236069 h 6479439"/>
              <a:gd name="connsiteX332" fmla="*/ 9582349 w 9586368"/>
              <a:gd name="connsiteY332" fmla="*/ 6240109 h 6479439"/>
              <a:gd name="connsiteX333" fmla="*/ 9572438 w 9586368"/>
              <a:gd name="connsiteY333" fmla="*/ 6240109 h 6479439"/>
              <a:gd name="connsiteX334" fmla="*/ 9568419 w 9586368"/>
              <a:gd name="connsiteY334" fmla="*/ 6236069 h 6479439"/>
              <a:gd name="connsiteX335" fmla="*/ 9568419 w 9586368"/>
              <a:gd name="connsiteY335" fmla="*/ 6226198 h 6479439"/>
              <a:gd name="connsiteX336" fmla="*/ 9333125 w 9586368"/>
              <a:gd name="connsiteY336" fmla="*/ 6222160 h 6479439"/>
              <a:gd name="connsiteX337" fmla="*/ 9343036 w 9586368"/>
              <a:gd name="connsiteY337" fmla="*/ 6222160 h 6479439"/>
              <a:gd name="connsiteX338" fmla="*/ 9347055 w 9586368"/>
              <a:gd name="connsiteY338" fmla="*/ 6226198 h 6479439"/>
              <a:gd name="connsiteX339" fmla="*/ 9347055 w 9586368"/>
              <a:gd name="connsiteY339" fmla="*/ 6236069 h 6479439"/>
              <a:gd name="connsiteX340" fmla="*/ 9343036 w 9586368"/>
              <a:gd name="connsiteY340" fmla="*/ 6240109 h 6479439"/>
              <a:gd name="connsiteX341" fmla="*/ 9333125 w 9586368"/>
              <a:gd name="connsiteY341" fmla="*/ 6240109 h 6479439"/>
              <a:gd name="connsiteX342" fmla="*/ 9329106 w 9586368"/>
              <a:gd name="connsiteY342" fmla="*/ 6236069 h 6479439"/>
              <a:gd name="connsiteX343" fmla="*/ 9329106 w 9586368"/>
              <a:gd name="connsiteY343" fmla="*/ 6226198 h 6479439"/>
              <a:gd name="connsiteX344" fmla="*/ 9093811 w 9586368"/>
              <a:gd name="connsiteY344" fmla="*/ 6222160 h 6479439"/>
              <a:gd name="connsiteX345" fmla="*/ 9103722 w 9586368"/>
              <a:gd name="connsiteY345" fmla="*/ 6222160 h 6479439"/>
              <a:gd name="connsiteX346" fmla="*/ 9107741 w 9586368"/>
              <a:gd name="connsiteY346" fmla="*/ 6226198 h 6479439"/>
              <a:gd name="connsiteX347" fmla="*/ 9107741 w 9586368"/>
              <a:gd name="connsiteY347" fmla="*/ 6236069 h 6479439"/>
              <a:gd name="connsiteX348" fmla="*/ 9103722 w 9586368"/>
              <a:gd name="connsiteY348" fmla="*/ 6240109 h 6479439"/>
              <a:gd name="connsiteX349" fmla="*/ 9093811 w 9586368"/>
              <a:gd name="connsiteY349" fmla="*/ 6240109 h 6479439"/>
              <a:gd name="connsiteX350" fmla="*/ 9089792 w 9586368"/>
              <a:gd name="connsiteY350" fmla="*/ 6236069 h 6479439"/>
              <a:gd name="connsiteX351" fmla="*/ 9089792 w 9586368"/>
              <a:gd name="connsiteY351" fmla="*/ 6226198 h 6479439"/>
              <a:gd name="connsiteX352" fmla="*/ 8854496 w 9586368"/>
              <a:gd name="connsiteY352" fmla="*/ 6222160 h 6479439"/>
              <a:gd name="connsiteX353" fmla="*/ 8864407 w 9586368"/>
              <a:gd name="connsiteY353" fmla="*/ 6222160 h 6479439"/>
              <a:gd name="connsiteX354" fmla="*/ 8868426 w 9586368"/>
              <a:gd name="connsiteY354" fmla="*/ 6226198 h 6479439"/>
              <a:gd name="connsiteX355" fmla="*/ 8868426 w 9586368"/>
              <a:gd name="connsiteY355" fmla="*/ 6236069 h 6479439"/>
              <a:gd name="connsiteX356" fmla="*/ 8864407 w 9586368"/>
              <a:gd name="connsiteY356" fmla="*/ 6240109 h 6479439"/>
              <a:gd name="connsiteX357" fmla="*/ 8854496 w 9586368"/>
              <a:gd name="connsiteY357" fmla="*/ 6240109 h 6479439"/>
              <a:gd name="connsiteX358" fmla="*/ 8850477 w 9586368"/>
              <a:gd name="connsiteY358" fmla="*/ 6236069 h 6479439"/>
              <a:gd name="connsiteX359" fmla="*/ 8850477 w 9586368"/>
              <a:gd name="connsiteY359" fmla="*/ 6226198 h 6479439"/>
              <a:gd name="connsiteX360" fmla="*/ 8615184 w 9586368"/>
              <a:gd name="connsiteY360" fmla="*/ 6222160 h 6479439"/>
              <a:gd name="connsiteX361" fmla="*/ 8625095 w 9586368"/>
              <a:gd name="connsiteY361" fmla="*/ 6222160 h 6479439"/>
              <a:gd name="connsiteX362" fmla="*/ 8629114 w 9586368"/>
              <a:gd name="connsiteY362" fmla="*/ 6226198 h 6479439"/>
              <a:gd name="connsiteX363" fmla="*/ 8629114 w 9586368"/>
              <a:gd name="connsiteY363" fmla="*/ 6236069 h 6479439"/>
              <a:gd name="connsiteX364" fmla="*/ 8625095 w 9586368"/>
              <a:gd name="connsiteY364" fmla="*/ 6240109 h 6479439"/>
              <a:gd name="connsiteX365" fmla="*/ 8615184 w 9586368"/>
              <a:gd name="connsiteY365" fmla="*/ 6240109 h 6479439"/>
              <a:gd name="connsiteX366" fmla="*/ 8611165 w 9586368"/>
              <a:gd name="connsiteY366" fmla="*/ 6236069 h 6479439"/>
              <a:gd name="connsiteX367" fmla="*/ 8611165 w 9586368"/>
              <a:gd name="connsiteY367" fmla="*/ 6226198 h 6479439"/>
              <a:gd name="connsiteX368" fmla="*/ 8375869 w 9586368"/>
              <a:gd name="connsiteY368" fmla="*/ 6222160 h 6479439"/>
              <a:gd name="connsiteX369" fmla="*/ 8385779 w 9586368"/>
              <a:gd name="connsiteY369" fmla="*/ 6222160 h 6479439"/>
              <a:gd name="connsiteX370" fmla="*/ 8389799 w 9586368"/>
              <a:gd name="connsiteY370" fmla="*/ 6226198 h 6479439"/>
              <a:gd name="connsiteX371" fmla="*/ 8389799 w 9586368"/>
              <a:gd name="connsiteY371" fmla="*/ 6236069 h 6479439"/>
              <a:gd name="connsiteX372" fmla="*/ 8385779 w 9586368"/>
              <a:gd name="connsiteY372" fmla="*/ 6240109 h 6479439"/>
              <a:gd name="connsiteX373" fmla="*/ 8375869 w 9586368"/>
              <a:gd name="connsiteY373" fmla="*/ 6240109 h 6479439"/>
              <a:gd name="connsiteX374" fmla="*/ 8371850 w 9586368"/>
              <a:gd name="connsiteY374" fmla="*/ 6236069 h 6479439"/>
              <a:gd name="connsiteX375" fmla="*/ 8371850 w 9586368"/>
              <a:gd name="connsiteY375" fmla="*/ 6226198 h 6479439"/>
              <a:gd name="connsiteX376" fmla="*/ 8136553 w 9586368"/>
              <a:gd name="connsiteY376" fmla="*/ 6222160 h 6479439"/>
              <a:gd name="connsiteX377" fmla="*/ 8146464 w 9586368"/>
              <a:gd name="connsiteY377" fmla="*/ 6222160 h 6479439"/>
              <a:gd name="connsiteX378" fmla="*/ 8150483 w 9586368"/>
              <a:gd name="connsiteY378" fmla="*/ 6226198 h 6479439"/>
              <a:gd name="connsiteX379" fmla="*/ 8150483 w 9586368"/>
              <a:gd name="connsiteY379" fmla="*/ 6236069 h 6479439"/>
              <a:gd name="connsiteX380" fmla="*/ 8146464 w 9586368"/>
              <a:gd name="connsiteY380" fmla="*/ 6240109 h 6479439"/>
              <a:gd name="connsiteX381" fmla="*/ 8136553 w 9586368"/>
              <a:gd name="connsiteY381" fmla="*/ 6240109 h 6479439"/>
              <a:gd name="connsiteX382" fmla="*/ 8132534 w 9586368"/>
              <a:gd name="connsiteY382" fmla="*/ 6236069 h 6479439"/>
              <a:gd name="connsiteX383" fmla="*/ 8132534 w 9586368"/>
              <a:gd name="connsiteY383" fmla="*/ 6226198 h 6479439"/>
              <a:gd name="connsiteX384" fmla="*/ 7897241 w 9586368"/>
              <a:gd name="connsiteY384" fmla="*/ 6222160 h 6479439"/>
              <a:gd name="connsiteX385" fmla="*/ 7907151 w 9586368"/>
              <a:gd name="connsiteY385" fmla="*/ 6222160 h 6479439"/>
              <a:gd name="connsiteX386" fmla="*/ 7911170 w 9586368"/>
              <a:gd name="connsiteY386" fmla="*/ 6226198 h 6479439"/>
              <a:gd name="connsiteX387" fmla="*/ 7911170 w 9586368"/>
              <a:gd name="connsiteY387" fmla="*/ 6236069 h 6479439"/>
              <a:gd name="connsiteX388" fmla="*/ 7907151 w 9586368"/>
              <a:gd name="connsiteY388" fmla="*/ 6240109 h 6479439"/>
              <a:gd name="connsiteX389" fmla="*/ 7897241 w 9586368"/>
              <a:gd name="connsiteY389" fmla="*/ 6240109 h 6479439"/>
              <a:gd name="connsiteX390" fmla="*/ 7893222 w 9586368"/>
              <a:gd name="connsiteY390" fmla="*/ 6236069 h 6479439"/>
              <a:gd name="connsiteX391" fmla="*/ 7893222 w 9586368"/>
              <a:gd name="connsiteY391" fmla="*/ 6226198 h 6479439"/>
              <a:gd name="connsiteX392" fmla="*/ 7657926 w 9586368"/>
              <a:gd name="connsiteY392" fmla="*/ 6222160 h 6479439"/>
              <a:gd name="connsiteX393" fmla="*/ 7667836 w 9586368"/>
              <a:gd name="connsiteY393" fmla="*/ 6222160 h 6479439"/>
              <a:gd name="connsiteX394" fmla="*/ 7671855 w 9586368"/>
              <a:gd name="connsiteY394" fmla="*/ 6226198 h 6479439"/>
              <a:gd name="connsiteX395" fmla="*/ 7671855 w 9586368"/>
              <a:gd name="connsiteY395" fmla="*/ 6236069 h 6479439"/>
              <a:gd name="connsiteX396" fmla="*/ 7667836 w 9586368"/>
              <a:gd name="connsiteY396" fmla="*/ 6240109 h 6479439"/>
              <a:gd name="connsiteX397" fmla="*/ 7657926 w 9586368"/>
              <a:gd name="connsiteY397" fmla="*/ 6240109 h 6479439"/>
              <a:gd name="connsiteX398" fmla="*/ 7653906 w 9586368"/>
              <a:gd name="connsiteY398" fmla="*/ 6236069 h 6479439"/>
              <a:gd name="connsiteX399" fmla="*/ 7653906 w 9586368"/>
              <a:gd name="connsiteY399" fmla="*/ 6226198 h 6479439"/>
              <a:gd name="connsiteX400" fmla="*/ 7418611 w 9586368"/>
              <a:gd name="connsiteY400" fmla="*/ 6222160 h 6479439"/>
              <a:gd name="connsiteX401" fmla="*/ 7428521 w 9586368"/>
              <a:gd name="connsiteY401" fmla="*/ 6222160 h 6479439"/>
              <a:gd name="connsiteX402" fmla="*/ 7432540 w 9586368"/>
              <a:gd name="connsiteY402" fmla="*/ 6226198 h 6479439"/>
              <a:gd name="connsiteX403" fmla="*/ 7432540 w 9586368"/>
              <a:gd name="connsiteY403" fmla="*/ 6236069 h 6479439"/>
              <a:gd name="connsiteX404" fmla="*/ 7428521 w 9586368"/>
              <a:gd name="connsiteY404" fmla="*/ 6240109 h 6479439"/>
              <a:gd name="connsiteX405" fmla="*/ 7418611 w 9586368"/>
              <a:gd name="connsiteY405" fmla="*/ 6240109 h 6479439"/>
              <a:gd name="connsiteX406" fmla="*/ 7414592 w 9586368"/>
              <a:gd name="connsiteY406" fmla="*/ 6236069 h 6479439"/>
              <a:gd name="connsiteX407" fmla="*/ 7414592 w 9586368"/>
              <a:gd name="connsiteY407" fmla="*/ 6226198 h 6479439"/>
              <a:gd name="connsiteX408" fmla="*/ 7179298 w 9586368"/>
              <a:gd name="connsiteY408" fmla="*/ 6222160 h 6479439"/>
              <a:gd name="connsiteX409" fmla="*/ 7189209 w 9586368"/>
              <a:gd name="connsiteY409" fmla="*/ 6222160 h 6479439"/>
              <a:gd name="connsiteX410" fmla="*/ 7193228 w 9586368"/>
              <a:gd name="connsiteY410" fmla="*/ 6226198 h 6479439"/>
              <a:gd name="connsiteX411" fmla="*/ 7193228 w 9586368"/>
              <a:gd name="connsiteY411" fmla="*/ 6236069 h 6479439"/>
              <a:gd name="connsiteX412" fmla="*/ 7189209 w 9586368"/>
              <a:gd name="connsiteY412" fmla="*/ 6240109 h 6479439"/>
              <a:gd name="connsiteX413" fmla="*/ 7179298 w 9586368"/>
              <a:gd name="connsiteY413" fmla="*/ 6240109 h 6479439"/>
              <a:gd name="connsiteX414" fmla="*/ 7175279 w 9586368"/>
              <a:gd name="connsiteY414" fmla="*/ 6236069 h 6479439"/>
              <a:gd name="connsiteX415" fmla="*/ 7175279 w 9586368"/>
              <a:gd name="connsiteY415" fmla="*/ 6226198 h 6479439"/>
              <a:gd name="connsiteX416" fmla="*/ 6939983 w 9586368"/>
              <a:gd name="connsiteY416" fmla="*/ 6222160 h 6479439"/>
              <a:gd name="connsiteX417" fmla="*/ 6949894 w 9586368"/>
              <a:gd name="connsiteY417" fmla="*/ 6222160 h 6479439"/>
              <a:gd name="connsiteX418" fmla="*/ 6953913 w 9586368"/>
              <a:gd name="connsiteY418" fmla="*/ 6226198 h 6479439"/>
              <a:gd name="connsiteX419" fmla="*/ 6953913 w 9586368"/>
              <a:gd name="connsiteY419" fmla="*/ 6236069 h 6479439"/>
              <a:gd name="connsiteX420" fmla="*/ 6949894 w 9586368"/>
              <a:gd name="connsiteY420" fmla="*/ 6240109 h 6479439"/>
              <a:gd name="connsiteX421" fmla="*/ 6939983 w 9586368"/>
              <a:gd name="connsiteY421" fmla="*/ 6240109 h 6479439"/>
              <a:gd name="connsiteX422" fmla="*/ 6935964 w 9586368"/>
              <a:gd name="connsiteY422" fmla="*/ 6236069 h 6479439"/>
              <a:gd name="connsiteX423" fmla="*/ 6935964 w 9586368"/>
              <a:gd name="connsiteY423" fmla="*/ 6226198 h 6479439"/>
              <a:gd name="connsiteX424" fmla="*/ 6700670 w 9586368"/>
              <a:gd name="connsiteY424" fmla="*/ 6222160 h 6479439"/>
              <a:gd name="connsiteX425" fmla="*/ 6710581 w 9586368"/>
              <a:gd name="connsiteY425" fmla="*/ 6222160 h 6479439"/>
              <a:gd name="connsiteX426" fmla="*/ 6714600 w 9586368"/>
              <a:gd name="connsiteY426" fmla="*/ 6226198 h 6479439"/>
              <a:gd name="connsiteX427" fmla="*/ 6714600 w 9586368"/>
              <a:gd name="connsiteY427" fmla="*/ 6236069 h 6479439"/>
              <a:gd name="connsiteX428" fmla="*/ 6710581 w 9586368"/>
              <a:gd name="connsiteY428" fmla="*/ 6240109 h 6479439"/>
              <a:gd name="connsiteX429" fmla="*/ 6700670 w 9586368"/>
              <a:gd name="connsiteY429" fmla="*/ 6240109 h 6479439"/>
              <a:gd name="connsiteX430" fmla="*/ 6696651 w 9586368"/>
              <a:gd name="connsiteY430" fmla="*/ 6236069 h 6479439"/>
              <a:gd name="connsiteX431" fmla="*/ 6696651 w 9586368"/>
              <a:gd name="connsiteY431" fmla="*/ 6226198 h 6479439"/>
              <a:gd name="connsiteX432" fmla="*/ 6461356 w 9586368"/>
              <a:gd name="connsiteY432" fmla="*/ 6222160 h 6479439"/>
              <a:gd name="connsiteX433" fmla="*/ 6471266 w 9586368"/>
              <a:gd name="connsiteY433" fmla="*/ 6222160 h 6479439"/>
              <a:gd name="connsiteX434" fmla="*/ 6475285 w 9586368"/>
              <a:gd name="connsiteY434" fmla="*/ 6226198 h 6479439"/>
              <a:gd name="connsiteX435" fmla="*/ 6475285 w 9586368"/>
              <a:gd name="connsiteY435" fmla="*/ 6236069 h 6479439"/>
              <a:gd name="connsiteX436" fmla="*/ 6471266 w 9586368"/>
              <a:gd name="connsiteY436" fmla="*/ 6240109 h 6479439"/>
              <a:gd name="connsiteX437" fmla="*/ 6461356 w 9586368"/>
              <a:gd name="connsiteY437" fmla="*/ 6240109 h 6479439"/>
              <a:gd name="connsiteX438" fmla="*/ 6457337 w 9586368"/>
              <a:gd name="connsiteY438" fmla="*/ 6236069 h 6479439"/>
              <a:gd name="connsiteX439" fmla="*/ 6457337 w 9586368"/>
              <a:gd name="connsiteY439" fmla="*/ 6226198 h 6479439"/>
              <a:gd name="connsiteX440" fmla="*/ 6222042 w 9586368"/>
              <a:gd name="connsiteY440" fmla="*/ 6222160 h 6479439"/>
              <a:gd name="connsiteX441" fmla="*/ 6231952 w 9586368"/>
              <a:gd name="connsiteY441" fmla="*/ 6222160 h 6479439"/>
              <a:gd name="connsiteX442" fmla="*/ 6235971 w 9586368"/>
              <a:gd name="connsiteY442" fmla="*/ 6226198 h 6479439"/>
              <a:gd name="connsiteX443" fmla="*/ 6235971 w 9586368"/>
              <a:gd name="connsiteY443" fmla="*/ 6236069 h 6479439"/>
              <a:gd name="connsiteX444" fmla="*/ 6231952 w 9586368"/>
              <a:gd name="connsiteY444" fmla="*/ 6240109 h 6479439"/>
              <a:gd name="connsiteX445" fmla="*/ 6222042 w 9586368"/>
              <a:gd name="connsiteY445" fmla="*/ 6240109 h 6479439"/>
              <a:gd name="connsiteX446" fmla="*/ 6218023 w 9586368"/>
              <a:gd name="connsiteY446" fmla="*/ 6236069 h 6479439"/>
              <a:gd name="connsiteX447" fmla="*/ 6218023 w 9586368"/>
              <a:gd name="connsiteY447" fmla="*/ 6226198 h 6479439"/>
              <a:gd name="connsiteX448" fmla="*/ 5982729 w 9586368"/>
              <a:gd name="connsiteY448" fmla="*/ 6222160 h 6479439"/>
              <a:gd name="connsiteX449" fmla="*/ 5992639 w 9586368"/>
              <a:gd name="connsiteY449" fmla="*/ 6222160 h 6479439"/>
              <a:gd name="connsiteX450" fmla="*/ 5996658 w 9586368"/>
              <a:gd name="connsiteY450" fmla="*/ 6226198 h 6479439"/>
              <a:gd name="connsiteX451" fmla="*/ 5996658 w 9586368"/>
              <a:gd name="connsiteY451" fmla="*/ 6236069 h 6479439"/>
              <a:gd name="connsiteX452" fmla="*/ 5992639 w 9586368"/>
              <a:gd name="connsiteY452" fmla="*/ 6240109 h 6479439"/>
              <a:gd name="connsiteX453" fmla="*/ 5982729 w 9586368"/>
              <a:gd name="connsiteY453" fmla="*/ 6240109 h 6479439"/>
              <a:gd name="connsiteX454" fmla="*/ 5978710 w 9586368"/>
              <a:gd name="connsiteY454" fmla="*/ 6236069 h 6479439"/>
              <a:gd name="connsiteX455" fmla="*/ 5978710 w 9586368"/>
              <a:gd name="connsiteY455" fmla="*/ 6226198 h 6479439"/>
              <a:gd name="connsiteX456" fmla="*/ 5743412 w 9586368"/>
              <a:gd name="connsiteY456" fmla="*/ 6222160 h 6479439"/>
              <a:gd name="connsiteX457" fmla="*/ 5753323 w 9586368"/>
              <a:gd name="connsiteY457" fmla="*/ 6222160 h 6479439"/>
              <a:gd name="connsiteX458" fmla="*/ 5757342 w 9586368"/>
              <a:gd name="connsiteY458" fmla="*/ 6226198 h 6479439"/>
              <a:gd name="connsiteX459" fmla="*/ 5757342 w 9586368"/>
              <a:gd name="connsiteY459" fmla="*/ 6236069 h 6479439"/>
              <a:gd name="connsiteX460" fmla="*/ 5753323 w 9586368"/>
              <a:gd name="connsiteY460" fmla="*/ 6240109 h 6479439"/>
              <a:gd name="connsiteX461" fmla="*/ 5743412 w 9586368"/>
              <a:gd name="connsiteY461" fmla="*/ 6240109 h 6479439"/>
              <a:gd name="connsiteX462" fmla="*/ 5739393 w 9586368"/>
              <a:gd name="connsiteY462" fmla="*/ 6236069 h 6479439"/>
              <a:gd name="connsiteX463" fmla="*/ 5739393 w 9586368"/>
              <a:gd name="connsiteY463" fmla="*/ 6226198 h 6479439"/>
              <a:gd name="connsiteX464" fmla="*/ 5504099 w 9586368"/>
              <a:gd name="connsiteY464" fmla="*/ 6222160 h 6479439"/>
              <a:gd name="connsiteX465" fmla="*/ 5514010 w 9586368"/>
              <a:gd name="connsiteY465" fmla="*/ 6222160 h 6479439"/>
              <a:gd name="connsiteX466" fmla="*/ 5518029 w 9586368"/>
              <a:gd name="connsiteY466" fmla="*/ 6226198 h 6479439"/>
              <a:gd name="connsiteX467" fmla="*/ 5518029 w 9586368"/>
              <a:gd name="connsiteY467" fmla="*/ 6236069 h 6479439"/>
              <a:gd name="connsiteX468" fmla="*/ 5514010 w 9586368"/>
              <a:gd name="connsiteY468" fmla="*/ 6240109 h 6479439"/>
              <a:gd name="connsiteX469" fmla="*/ 5504099 w 9586368"/>
              <a:gd name="connsiteY469" fmla="*/ 6240109 h 6479439"/>
              <a:gd name="connsiteX470" fmla="*/ 5500080 w 9586368"/>
              <a:gd name="connsiteY470" fmla="*/ 6236069 h 6479439"/>
              <a:gd name="connsiteX471" fmla="*/ 5500080 w 9586368"/>
              <a:gd name="connsiteY471" fmla="*/ 6226198 h 6479439"/>
              <a:gd name="connsiteX472" fmla="*/ 5264784 w 9586368"/>
              <a:gd name="connsiteY472" fmla="*/ 6222160 h 6479439"/>
              <a:gd name="connsiteX473" fmla="*/ 5274694 w 9586368"/>
              <a:gd name="connsiteY473" fmla="*/ 6222160 h 6479439"/>
              <a:gd name="connsiteX474" fmla="*/ 5278713 w 9586368"/>
              <a:gd name="connsiteY474" fmla="*/ 6226198 h 6479439"/>
              <a:gd name="connsiteX475" fmla="*/ 5278713 w 9586368"/>
              <a:gd name="connsiteY475" fmla="*/ 6236069 h 6479439"/>
              <a:gd name="connsiteX476" fmla="*/ 5274694 w 9586368"/>
              <a:gd name="connsiteY476" fmla="*/ 6240109 h 6479439"/>
              <a:gd name="connsiteX477" fmla="*/ 5264784 w 9586368"/>
              <a:gd name="connsiteY477" fmla="*/ 6240109 h 6479439"/>
              <a:gd name="connsiteX478" fmla="*/ 5260765 w 9586368"/>
              <a:gd name="connsiteY478" fmla="*/ 6236069 h 6479439"/>
              <a:gd name="connsiteX479" fmla="*/ 5260765 w 9586368"/>
              <a:gd name="connsiteY479" fmla="*/ 6226198 h 6479439"/>
              <a:gd name="connsiteX480" fmla="*/ 5025470 w 9586368"/>
              <a:gd name="connsiteY480" fmla="*/ 6222160 h 6479439"/>
              <a:gd name="connsiteX481" fmla="*/ 5035381 w 9586368"/>
              <a:gd name="connsiteY481" fmla="*/ 6222160 h 6479439"/>
              <a:gd name="connsiteX482" fmla="*/ 5039400 w 9586368"/>
              <a:gd name="connsiteY482" fmla="*/ 6226198 h 6479439"/>
              <a:gd name="connsiteX483" fmla="*/ 5039400 w 9586368"/>
              <a:gd name="connsiteY483" fmla="*/ 6236069 h 6479439"/>
              <a:gd name="connsiteX484" fmla="*/ 5035381 w 9586368"/>
              <a:gd name="connsiteY484" fmla="*/ 6240109 h 6479439"/>
              <a:gd name="connsiteX485" fmla="*/ 5025470 w 9586368"/>
              <a:gd name="connsiteY485" fmla="*/ 6240109 h 6479439"/>
              <a:gd name="connsiteX486" fmla="*/ 5021451 w 9586368"/>
              <a:gd name="connsiteY486" fmla="*/ 6236069 h 6479439"/>
              <a:gd name="connsiteX487" fmla="*/ 5021451 w 9586368"/>
              <a:gd name="connsiteY487" fmla="*/ 6226198 h 6479439"/>
              <a:gd name="connsiteX488" fmla="*/ 4786241 w 9586368"/>
              <a:gd name="connsiteY488" fmla="*/ 6222160 h 6479439"/>
              <a:gd name="connsiteX489" fmla="*/ 4796152 w 9586368"/>
              <a:gd name="connsiteY489" fmla="*/ 6222160 h 6479439"/>
              <a:gd name="connsiteX490" fmla="*/ 4800171 w 9586368"/>
              <a:gd name="connsiteY490" fmla="*/ 6226198 h 6479439"/>
              <a:gd name="connsiteX491" fmla="*/ 4800171 w 9586368"/>
              <a:gd name="connsiteY491" fmla="*/ 6236069 h 6479439"/>
              <a:gd name="connsiteX492" fmla="*/ 4796152 w 9586368"/>
              <a:gd name="connsiteY492" fmla="*/ 6240109 h 6479439"/>
              <a:gd name="connsiteX493" fmla="*/ 4786241 w 9586368"/>
              <a:gd name="connsiteY493" fmla="*/ 6240109 h 6479439"/>
              <a:gd name="connsiteX494" fmla="*/ 4782224 w 9586368"/>
              <a:gd name="connsiteY494" fmla="*/ 6236069 h 6479439"/>
              <a:gd name="connsiteX495" fmla="*/ 4782224 w 9586368"/>
              <a:gd name="connsiteY495" fmla="*/ 6226198 h 6479439"/>
              <a:gd name="connsiteX496" fmla="*/ 4546929 w 9586368"/>
              <a:gd name="connsiteY496" fmla="*/ 6222160 h 6479439"/>
              <a:gd name="connsiteX497" fmla="*/ 4556840 w 9586368"/>
              <a:gd name="connsiteY497" fmla="*/ 6222160 h 6479439"/>
              <a:gd name="connsiteX498" fmla="*/ 4560859 w 9586368"/>
              <a:gd name="connsiteY498" fmla="*/ 6226198 h 6479439"/>
              <a:gd name="connsiteX499" fmla="*/ 4560859 w 9586368"/>
              <a:gd name="connsiteY499" fmla="*/ 6236069 h 6479439"/>
              <a:gd name="connsiteX500" fmla="*/ 4556840 w 9586368"/>
              <a:gd name="connsiteY500" fmla="*/ 6240109 h 6479439"/>
              <a:gd name="connsiteX501" fmla="*/ 4546929 w 9586368"/>
              <a:gd name="connsiteY501" fmla="*/ 6240109 h 6479439"/>
              <a:gd name="connsiteX502" fmla="*/ 4542910 w 9586368"/>
              <a:gd name="connsiteY502" fmla="*/ 6236069 h 6479439"/>
              <a:gd name="connsiteX503" fmla="*/ 4542910 w 9586368"/>
              <a:gd name="connsiteY503" fmla="*/ 6226198 h 6479439"/>
              <a:gd name="connsiteX504" fmla="*/ 4307612 w 9586368"/>
              <a:gd name="connsiteY504" fmla="*/ 6222160 h 6479439"/>
              <a:gd name="connsiteX505" fmla="*/ 4317523 w 9586368"/>
              <a:gd name="connsiteY505" fmla="*/ 6222160 h 6479439"/>
              <a:gd name="connsiteX506" fmla="*/ 4321543 w 9586368"/>
              <a:gd name="connsiteY506" fmla="*/ 6226198 h 6479439"/>
              <a:gd name="connsiteX507" fmla="*/ 4321543 w 9586368"/>
              <a:gd name="connsiteY507" fmla="*/ 6236069 h 6479439"/>
              <a:gd name="connsiteX508" fmla="*/ 4317523 w 9586368"/>
              <a:gd name="connsiteY508" fmla="*/ 6240109 h 6479439"/>
              <a:gd name="connsiteX509" fmla="*/ 4307612 w 9586368"/>
              <a:gd name="connsiteY509" fmla="*/ 6240109 h 6479439"/>
              <a:gd name="connsiteX510" fmla="*/ 4303595 w 9586368"/>
              <a:gd name="connsiteY510" fmla="*/ 6236069 h 6479439"/>
              <a:gd name="connsiteX511" fmla="*/ 4303595 w 9586368"/>
              <a:gd name="connsiteY511" fmla="*/ 6226198 h 6479439"/>
              <a:gd name="connsiteX512" fmla="*/ 4068297 w 9586368"/>
              <a:gd name="connsiteY512" fmla="*/ 6222160 h 6479439"/>
              <a:gd name="connsiteX513" fmla="*/ 4078210 w 9586368"/>
              <a:gd name="connsiteY513" fmla="*/ 6222160 h 6479439"/>
              <a:gd name="connsiteX514" fmla="*/ 4082229 w 9586368"/>
              <a:gd name="connsiteY514" fmla="*/ 6226198 h 6479439"/>
              <a:gd name="connsiteX515" fmla="*/ 4082229 w 9586368"/>
              <a:gd name="connsiteY515" fmla="*/ 6236069 h 6479439"/>
              <a:gd name="connsiteX516" fmla="*/ 4078210 w 9586368"/>
              <a:gd name="connsiteY516" fmla="*/ 6240109 h 6479439"/>
              <a:gd name="connsiteX517" fmla="*/ 4068297 w 9586368"/>
              <a:gd name="connsiteY517" fmla="*/ 6240109 h 6479439"/>
              <a:gd name="connsiteX518" fmla="*/ 4064278 w 9586368"/>
              <a:gd name="connsiteY518" fmla="*/ 6236069 h 6479439"/>
              <a:gd name="connsiteX519" fmla="*/ 4064278 w 9586368"/>
              <a:gd name="connsiteY519" fmla="*/ 6226198 h 6479439"/>
              <a:gd name="connsiteX520" fmla="*/ 3828990 w 9586368"/>
              <a:gd name="connsiteY520" fmla="*/ 6222160 h 6479439"/>
              <a:gd name="connsiteX521" fmla="*/ 3838899 w 9586368"/>
              <a:gd name="connsiteY521" fmla="*/ 6222160 h 6479439"/>
              <a:gd name="connsiteX522" fmla="*/ 3842917 w 9586368"/>
              <a:gd name="connsiteY522" fmla="*/ 6226198 h 6479439"/>
              <a:gd name="connsiteX523" fmla="*/ 3842917 w 9586368"/>
              <a:gd name="connsiteY523" fmla="*/ 6236069 h 6479439"/>
              <a:gd name="connsiteX524" fmla="*/ 3838899 w 9586368"/>
              <a:gd name="connsiteY524" fmla="*/ 6240109 h 6479439"/>
              <a:gd name="connsiteX525" fmla="*/ 3828990 w 9586368"/>
              <a:gd name="connsiteY525" fmla="*/ 6240109 h 6479439"/>
              <a:gd name="connsiteX526" fmla="*/ 3824971 w 9586368"/>
              <a:gd name="connsiteY526" fmla="*/ 6236069 h 6479439"/>
              <a:gd name="connsiteX527" fmla="*/ 3824971 w 9586368"/>
              <a:gd name="connsiteY527" fmla="*/ 6226198 h 6479439"/>
              <a:gd name="connsiteX528" fmla="*/ 3589676 w 9586368"/>
              <a:gd name="connsiteY528" fmla="*/ 6222160 h 6479439"/>
              <a:gd name="connsiteX529" fmla="*/ 3599585 w 9586368"/>
              <a:gd name="connsiteY529" fmla="*/ 6222160 h 6479439"/>
              <a:gd name="connsiteX530" fmla="*/ 3603604 w 9586368"/>
              <a:gd name="connsiteY530" fmla="*/ 6226198 h 6479439"/>
              <a:gd name="connsiteX531" fmla="*/ 3603604 w 9586368"/>
              <a:gd name="connsiteY531" fmla="*/ 6236069 h 6479439"/>
              <a:gd name="connsiteX532" fmla="*/ 3599585 w 9586368"/>
              <a:gd name="connsiteY532" fmla="*/ 6240109 h 6479439"/>
              <a:gd name="connsiteX533" fmla="*/ 3589676 w 9586368"/>
              <a:gd name="connsiteY533" fmla="*/ 6240109 h 6479439"/>
              <a:gd name="connsiteX534" fmla="*/ 3585657 w 9586368"/>
              <a:gd name="connsiteY534" fmla="*/ 6236069 h 6479439"/>
              <a:gd name="connsiteX535" fmla="*/ 3585657 w 9586368"/>
              <a:gd name="connsiteY535" fmla="*/ 6226198 h 6479439"/>
              <a:gd name="connsiteX536" fmla="*/ 3350359 w 9586368"/>
              <a:gd name="connsiteY536" fmla="*/ 6222160 h 6479439"/>
              <a:gd name="connsiteX537" fmla="*/ 3360268 w 9586368"/>
              <a:gd name="connsiteY537" fmla="*/ 6222160 h 6479439"/>
              <a:gd name="connsiteX538" fmla="*/ 3364287 w 9586368"/>
              <a:gd name="connsiteY538" fmla="*/ 6226198 h 6479439"/>
              <a:gd name="connsiteX539" fmla="*/ 3364287 w 9586368"/>
              <a:gd name="connsiteY539" fmla="*/ 6236069 h 6479439"/>
              <a:gd name="connsiteX540" fmla="*/ 3360268 w 9586368"/>
              <a:gd name="connsiteY540" fmla="*/ 6240109 h 6479439"/>
              <a:gd name="connsiteX541" fmla="*/ 3350359 w 9586368"/>
              <a:gd name="connsiteY541" fmla="*/ 6240109 h 6479439"/>
              <a:gd name="connsiteX542" fmla="*/ 3346340 w 9586368"/>
              <a:gd name="connsiteY542" fmla="*/ 6236069 h 6479439"/>
              <a:gd name="connsiteX543" fmla="*/ 3346340 w 9586368"/>
              <a:gd name="connsiteY543" fmla="*/ 6226198 h 6479439"/>
              <a:gd name="connsiteX544" fmla="*/ 3111048 w 9586368"/>
              <a:gd name="connsiteY544" fmla="*/ 6222160 h 6479439"/>
              <a:gd name="connsiteX545" fmla="*/ 3120959 w 9586368"/>
              <a:gd name="connsiteY545" fmla="*/ 6222160 h 6479439"/>
              <a:gd name="connsiteX546" fmla="*/ 3124977 w 9586368"/>
              <a:gd name="connsiteY546" fmla="*/ 6226198 h 6479439"/>
              <a:gd name="connsiteX547" fmla="*/ 3124977 w 9586368"/>
              <a:gd name="connsiteY547" fmla="*/ 6236069 h 6479439"/>
              <a:gd name="connsiteX548" fmla="*/ 3120959 w 9586368"/>
              <a:gd name="connsiteY548" fmla="*/ 6240109 h 6479439"/>
              <a:gd name="connsiteX549" fmla="*/ 3111048 w 9586368"/>
              <a:gd name="connsiteY549" fmla="*/ 6240109 h 6479439"/>
              <a:gd name="connsiteX550" fmla="*/ 3107029 w 9586368"/>
              <a:gd name="connsiteY550" fmla="*/ 6236069 h 6479439"/>
              <a:gd name="connsiteX551" fmla="*/ 3107029 w 9586368"/>
              <a:gd name="connsiteY551" fmla="*/ 6226198 h 6479439"/>
              <a:gd name="connsiteX552" fmla="*/ 2871737 w 9586368"/>
              <a:gd name="connsiteY552" fmla="*/ 6222160 h 6479439"/>
              <a:gd name="connsiteX553" fmla="*/ 2881646 w 9586368"/>
              <a:gd name="connsiteY553" fmla="*/ 6222160 h 6479439"/>
              <a:gd name="connsiteX554" fmla="*/ 2885666 w 9586368"/>
              <a:gd name="connsiteY554" fmla="*/ 6226198 h 6479439"/>
              <a:gd name="connsiteX555" fmla="*/ 2885666 w 9586368"/>
              <a:gd name="connsiteY555" fmla="*/ 6236069 h 6479439"/>
              <a:gd name="connsiteX556" fmla="*/ 2881646 w 9586368"/>
              <a:gd name="connsiteY556" fmla="*/ 6240109 h 6479439"/>
              <a:gd name="connsiteX557" fmla="*/ 2871737 w 9586368"/>
              <a:gd name="connsiteY557" fmla="*/ 6240109 h 6479439"/>
              <a:gd name="connsiteX558" fmla="*/ 2867717 w 9586368"/>
              <a:gd name="connsiteY558" fmla="*/ 6236069 h 6479439"/>
              <a:gd name="connsiteX559" fmla="*/ 2867717 w 9586368"/>
              <a:gd name="connsiteY559" fmla="*/ 6226198 h 6479439"/>
              <a:gd name="connsiteX560" fmla="*/ 2632423 w 9586368"/>
              <a:gd name="connsiteY560" fmla="*/ 6222160 h 6479439"/>
              <a:gd name="connsiteX561" fmla="*/ 2642334 w 9586368"/>
              <a:gd name="connsiteY561" fmla="*/ 6222160 h 6479439"/>
              <a:gd name="connsiteX562" fmla="*/ 2646352 w 9586368"/>
              <a:gd name="connsiteY562" fmla="*/ 6226198 h 6479439"/>
              <a:gd name="connsiteX563" fmla="*/ 2646352 w 9586368"/>
              <a:gd name="connsiteY563" fmla="*/ 6236069 h 6479439"/>
              <a:gd name="connsiteX564" fmla="*/ 2642334 w 9586368"/>
              <a:gd name="connsiteY564" fmla="*/ 6240109 h 6479439"/>
              <a:gd name="connsiteX565" fmla="*/ 2632423 w 9586368"/>
              <a:gd name="connsiteY565" fmla="*/ 6240109 h 6479439"/>
              <a:gd name="connsiteX566" fmla="*/ 2628404 w 9586368"/>
              <a:gd name="connsiteY566" fmla="*/ 6236069 h 6479439"/>
              <a:gd name="connsiteX567" fmla="*/ 2628404 w 9586368"/>
              <a:gd name="connsiteY567" fmla="*/ 6226198 h 6479439"/>
              <a:gd name="connsiteX568" fmla="*/ 2393104 w 9586368"/>
              <a:gd name="connsiteY568" fmla="*/ 6222160 h 6479439"/>
              <a:gd name="connsiteX569" fmla="*/ 2403015 w 9586368"/>
              <a:gd name="connsiteY569" fmla="*/ 6222160 h 6479439"/>
              <a:gd name="connsiteX570" fmla="*/ 2407034 w 9586368"/>
              <a:gd name="connsiteY570" fmla="*/ 6226198 h 6479439"/>
              <a:gd name="connsiteX571" fmla="*/ 2407034 w 9586368"/>
              <a:gd name="connsiteY571" fmla="*/ 6236069 h 6479439"/>
              <a:gd name="connsiteX572" fmla="*/ 2403015 w 9586368"/>
              <a:gd name="connsiteY572" fmla="*/ 6240109 h 6479439"/>
              <a:gd name="connsiteX573" fmla="*/ 2393104 w 9586368"/>
              <a:gd name="connsiteY573" fmla="*/ 6240109 h 6479439"/>
              <a:gd name="connsiteX574" fmla="*/ 2389087 w 9586368"/>
              <a:gd name="connsiteY574" fmla="*/ 6236069 h 6479439"/>
              <a:gd name="connsiteX575" fmla="*/ 2389087 w 9586368"/>
              <a:gd name="connsiteY575" fmla="*/ 6226198 h 6479439"/>
              <a:gd name="connsiteX576" fmla="*/ 2157818 w 9586368"/>
              <a:gd name="connsiteY576" fmla="*/ 6222160 h 6479439"/>
              <a:gd name="connsiteX577" fmla="*/ 2167728 w 9586368"/>
              <a:gd name="connsiteY577" fmla="*/ 6222160 h 6479439"/>
              <a:gd name="connsiteX578" fmla="*/ 2171746 w 9586368"/>
              <a:gd name="connsiteY578" fmla="*/ 6226198 h 6479439"/>
              <a:gd name="connsiteX579" fmla="*/ 2171746 w 9586368"/>
              <a:gd name="connsiteY579" fmla="*/ 6236069 h 6479439"/>
              <a:gd name="connsiteX580" fmla="*/ 2167728 w 9586368"/>
              <a:gd name="connsiteY580" fmla="*/ 6240109 h 6479439"/>
              <a:gd name="connsiteX581" fmla="*/ 2157818 w 9586368"/>
              <a:gd name="connsiteY581" fmla="*/ 6240109 h 6479439"/>
              <a:gd name="connsiteX582" fmla="*/ 2153799 w 9586368"/>
              <a:gd name="connsiteY582" fmla="*/ 6236069 h 6479439"/>
              <a:gd name="connsiteX583" fmla="*/ 2153799 w 9586368"/>
              <a:gd name="connsiteY583" fmla="*/ 6226198 h 6479439"/>
              <a:gd name="connsiteX584" fmla="*/ 1918509 w 9586368"/>
              <a:gd name="connsiteY584" fmla="*/ 6222160 h 6479439"/>
              <a:gd name="connsiteX585" fmla="*/ 1928419 w 9586368"/>
              <a:gd name="connsiteY585" fmla="*/ 6222160 h 6479439"/>
              <a:gd name="connsiteX586" fmla="*/ 1932438 w 9586368"/>
              <a:gd name="connsiteY586" fmla="*/ 6226198 h 6479439"/>
              <a:gd name="connsiteX587" fmla="*/ 1932438 w 9586368"/>
              <a:gd name="connsiteY587" fmla="*/ 6236069 h 6479439"/>
              <a:gd name="connsiteX588" fmla="*/ 1928419 w 9586368"/>
              <a:gd name="connsiteY588" fmla="*/ 6240109 h 6479439"/>
              <a:gd name="connsiteX589" fmla="*/ 1918509 w 9586368"/>
              <a:gd name="connsiteY589" fmla="*/ 6240109 h 6479439"/>
              <a:gd name="connsiteX590" fmla="*/ 1914490 w 9586368"/>
              <a:gd name="connsiteY590" fmla="*/ 6236069 h 6479439"/>
              <a:gd name="connsiteX591" fmla="*/ 1914490 w 9586368"/>
              <a:gd name="connsiteY591" fmla="*/ 6226198 h 6479439"/>
              <a:gd name="connsiteX592" fmla="*/ 1679200 w 9586368"/>
              <a:gd name="connsiteY592" fmla="*/ 6222160 h 6479439"/>
              <a:gd name="connsiteX593" fmla="*/ 1689110 w 9586368"/>
              <a:gd name="connsiteY593" fmla="*/ 6222160 h 6479439"/>
              <a:gd name="connsiteX594" fmla="*/ 1693129 w 9586368"/>
              <a:gd name="connsiteY594" fmla="*/ 6226198 h 6479439"/>
              <a:gd name="connsiteX595" fmla="*/ 1693129 w 9586368"/>
              <a:gd name="connsiteY595" fmla="*/ 6236069 h 6479439"/>
              <a:gd name="connsiteX596" fmla="*/ 1689110 w 9586368"/>
              <a:gd name="connsiteY596" fmla="*/ 6240109 h 6479439"/>
              <a:gd name="connsiteX597" fmla="*/ 1679200 w 9586368"/>
              <a:gd name="connsiteY597" fmla="*/ 6240109 h 6479439"/>
              <a:gd name="connsiteX598" fmla="*/ 1675182 w 9586368"/>
              <a:gd name="connsiteY598" fmla="*/ 6236069 h 6479439"/>
              <a:gd name="connsiteX599" fmla="*/ 1675182 w 9586368"/>
              <a:gd name="connsiteY599" fmla="*/ 6226198 h 6479439"/>
              <a:gd name="connsiteX600" fmla="*/ 1439885 w 9586368"/>
              <a:gd name="connsiteY600" fmla="*/ 6222160 h 6479439"/>
              <a:gd name="connsiteX601" fmla="*/ 1449795 w 9586368"/>
              <a:gd name="connsiteY601" fmla="*/ 6222160 h 6479439"/>
              <a:gd name="connsiteX602" fmla="*/ 1453814 w 9586368"/>
              <a:gd name="connsiteY602" fmla="*/ 6226198 h 6479439"/>
              <a:gd name="connsiteX603" fmla="*/ 1453814 w 9586368"/>
              <a:gd name="connsiteY603" fmla="*/ 6236069 h 6479439"/>
              <a:gd name="connsiteX604" fmla="*/ 1449795 w 9586368"/>
              <a:gd name="connsiteY604" fmla="*/ 6240109 h 6479439"/>
              <a:gd name="connsiteX605" fmla="*/ 1439885 w 9586368"/>
              <a:gd name="connsiteY605" fmla="*/ 6240109 h 6479439"/>
              <a:gd name="connsiteX606" fmla="*/ 1435866 w 9586368"/>
              <a:gd name="connsiteY606" fmla="*/ 6236069 h 6479439"/>
              <a:gd name="connsiteX607" fmla="*/ 1435866 w 9586368"/>
              <a:gd name="connsiteY607" fmla="*/ 6226198 h 6479439"/>
              <a:gd name="connsiteX608" fmla="*/ 1200570 w 9586368"/>
              <a:gd name="connsiteY608" fmla="*/ 6222160 h 6479439"/>
              <a:gd name="connsiteX609" fmla="*/ 1210481 w 9586368"/>
              <a:gd name="connsiteY609" fmla="*/ 6222160 h 6479439"/>
              <a:gd name="connsiteX610" fmla="*/ 1214499 w 9586368"/>
              <a:gd name="connsiteY610" fmla="*/ 6226198 h 6479439"/>
              <a:gd name="connsiteX611" fmla="*/ 1214499 w 9586368"/>
              <a:gd name="connsiteY611" fmla="*/ 6236069 h 6479439"/>
              <a:gd name="connsiteX612" fmla="*/ 1210481 w 9586368"/>
              <a:gd name="connsiteY612" fmla="*/ 6240109 h 6479439"/>
              <a:gd name="connsiteX613" fmla="*/ 1200570 w 9586368"/>
              <a:gd name="connsiteY613" fmla="*/ 6240109 h 6479439"/>
              <a:gd name="connsiteX614" fmla="*/ 1196551 w 9586368"/>
              <a:gd name="connsiteY614" fmla="*/ 6236069 h 6479439"/>
              <a:gd name="connsiteX615" fmla="*/ 1196551 w 9586368"/>
              <a:gd name="connsiteY615" fmla="*/ 6226198 h 6479439"/>
              <a:gd name="connsiteX616" fmla="*/ 961258 w 9586368"/>
              <a:gd name="connsiteY616" fmla="*/ 6222160 h 6479439"/>
              <a:gd name="connsiteX617" fmla="*/ 971167 w 9586368"/>
              <a:gd name="connsiteY617" fmla="*/ 6222160 h 6479439"/>
              <a:gd name="connsiteX618" fmla="*/ 975186 w 9586368"/>
              <a:gd name="connsiteY618" fmla="*/ 6226198 h 6479439"/>
              <a:gd name="connsiteX619" fmla="*/ 975186 w 9586368"/>
              <a:gd name="connsiteY619" fmla="*/ 6236069 h 6479439"/>
              <a:gd name="connsiteX620" fmla="*/ 971167 w 9586368"/>
              <a:gd name="connsiteY620" fmla="*/ 6240109 h 6479439"/>
              <a:gd name="connsiteX621" fmla="*/ 961258 w 9586368"/>
              <a:gd name="connsiteY621" fmla="*/ 6240109 h 6479439"/>
              <a:gd name="connsiteX622" fmla="*/ 957239 w 9586368"/>
              <a:gd name="connsiteY622" fmla="*/ 6236069 h 6479439"/>
              <a:gd name="connsiteX623" fmla="*/ 957239 w 9586368"/>
              <a:gd name="connsiteY623" fmla="*/ 6226198 h 6479439"/>
              <a:gd name="connsiteX624" fmla="*/ 721959 w 9586368"/>
              <a:gd name="connsiteY624" fmla="*/ 6222160 h 6479439"/>
              <a:gd name="connsiteX625" fmla="*/ 731869 w 9586368"/>
              <a:gd name="connsiteY625" fmla="*/ 6222160 h 6479439"/>
              <a:gd name="connsiteX626" fmla="*/ 735888 w 9586368"/>
              <a:gd name="connsiteY626" fmla="*/ 6226198 h 6479439"/>
              <a:gd name="connsiteX627" fmla="*/ 735888 w 9586368"/>
              <a:gd name="connsiteY627" fmla="*/ 6236069 h 6479439"/>
              <a:gd name="connsiteX628" fmla="*/ 731869 w 9586368"/>
              <a:gd name="connsiteY628" fmla="*/ 6240109 h 6479439"/>
              <a:gd name="connsiteX629" fmla="*/ 721959 w 9586368"/>
              <a:gd name="connsiteY629" fmla="*/ 6240109 h 6479439"/>
              <a:gd name="connsiteX630" fmla="*/ 717940 w 9586368"/>
              <a:gd name="connsiteY630" fmla="*/ 6236069 h 6479439"/>
              <a:gd name="connsiteX631" fmla="*/ 717940 w 9586368"/>
              <a:gd name="connsiteY631" fmla="*/ 6226198 h 6479439"/>
              <a:gd name="connsiteX632" fmla="*/ 482646 w 9586368"/>
              <a:gd name="connsiteY632" fmla="*/ 6222160 h 6479439"/>
              <a:gd name="connsiteX633" fmla="*/ 492557 w 9586368"/>
              <a:gd name="connsiteY633" fmla="*/ 6222160 h 6479439"/>
              <a:gd name="connsiteX634" fmla="*/ 496576 w 9586368"/>
              <a:gd name="connsiteY634" fmla="*/ 6226198 h 6479439"/>
              <a:gd name="connsiteX635" fmla="*/ 496576 w 9586368"/>
              <a:gd name="connsiteY635" fmla="*/ 6236069 h 6479439"/>
              <a:gd name="connsiteX636" fmla="*/ 492557 w 9586368"/>
              <a:gd name="connsiteY636" fmla="*/ 6240109 h 6479439"/>
              <a:gd name="connsiteX637" fmla="*/ 482646 w 9586368"/>
              <a:gd name="connsiteY637" fmla="*/ 6240109 h 6479439"/>
              <a:gd name="connsiteX638" fmla="*/ 478627 w 9586368"/>
              <a:gd name="connsiteY638" fmla="*/ 6236069 h 6479439"/>
              <a:gd name="connsiteX639" fmla="*/ 478627 w 9586368"/>
              <a:gd name="connsiteY639" fmla="*/ 6226198 h 6479439"/>
              <a:gd name="connsiteX640" fmla="*/ 243333 w 9586368"/>
              <a:gd name="connsiteY640" fmla="*/ 6222160 h 6479439"/>
              <a:gd name="connsiteX641" fmla="*/ 253243 w 9586368"/>
              <a:gd name="connsiteY641" fmla="*/ 6222160 h 6479439"/>
              <a:gd name="connsiteX642" fmla="*/ 257263 w 9586368"/>
              <a:gd name="connsiteY642" fmla="*/ 6226198 h 6479439"/>
              <a:gd name="connsiteX643" fmla="*/ 257263 w 9586368"/>
              <a:gd name="connsiteY643" fmla="*/ 6236069 h 6479439"/>
              <a:gd name="connsiteX644" fmla="*/ 253243 w 9586368"/>
              <a:gd name="connsiteY644" fmla="*/ 6240109 h 6479439"/>
              <a:gd name="connsiteX645" fmla="*/ 243333 w 9586368"/>
              <a:gd name="connsiteY645" fmla="*/ 6240109 h 6479439"/>
              <a:gd name="connsiteX646" fmla="*/ 239314 w 9586368"/>
              <a:gd name="connsiteY646" fmla="*/ 6236069 h 6479439"/>
              <a:gd name="connsiteX647" fmla="*/ 239314 w 9586368"/>
              <a:gd name="connsiteY647" fmla="*/ 6226198 h 6479439"/>
              <a:gd name="connsiteX648" fmla="*/ 4020 w 9586368"/>
              <a:gd name="connsiteY648" fmla="*/ 6222160 h 6479439"/>
              <a:gd name="connsiteX649" fmla="*/ 13930 w 9586368"/>
              <a:gd name="connsiteY649" fmla="*/ 6222160 h 6479439"/>
              <a:gd name="connsiteX650" fmla="*/ 17949 w 9586368"/>
              <a:gd name="connsiteY650" fmla="*/ 6226198 h 6479439"/>
              <a:gd name="connsiteX651" fmla="*/ 17949 w 9586368"/>
              <a:gd name="connsiteY651" fmla="*/ 6236069 h 6479439"/>
              <a:gd name="connsiteX652" fmla="*/ 13930 w 9586368"/>
              <a:gd name="connsiteY652" fmla="*/ 6240109 h 6479439"/>
              <a:gd name="connsiteX653" fmla="*/ 4020 w 9586368"/>
              <a:gd name="connsiteY653" fmla="*/ 6240109 h 6479439"/>
              <a:gd name="connsiteX654" fmla="*/ 1 w 9586368"/>
              <a:gd name="connsiteY654" fmla="*/ 6236069 h 6479439"/>
              <a:gd name="connsiteX655" fmla="*/ 1 w 9586368"/>
              <a:gd name="connsiteY655" fmla="*/ 6226198 h 6479439"/>
              <a:gd name="connsiteX656" fmla="*/ 2157818 w 9586368"/>
              <a:gd name="connsiteY656" fmla="*/ 5982881 h 6479439"/>
              <a:gd name="connsiteX657" fmla="*/ 2167728 w 9586368"/>
              <a:gd name="connsiteY657" fmla="*/ 5982881 h 6479439"/>
              <a:gd name="connsiteX658" fmla="*/ 2171747 w 9586368"/>
              <a:gd name="connsiteY658" fmla="*/ 5986919 h 6479439"/>
              <a:gd name="connsiteX659" fmla="*/ 2171747 w 9586368"/>
              <a:gd name="connsiteY659" fmla="*/ 5996790 h 6479439"/>
              <a:gd name="connsiteX660" fmla="*/ 2167728 w 9586368"/>
              <a:gd name="connsiteY660" fmla="*/ 6000829 h 6479439"/>
              <a:gd name="connsiteX661" fmla="*/ 2157818 w 9586368"/>
              <a:gd name="connsiteY661" fmla="*/ 6000829 h 6479439"/>
              <a:gd name="connsiteX662" fmla="*/ 2153799 w 9586368"/>
              <a:gd name="connsiteY662" fmla="*/ 5996790 h 6479439"/>
              <a:gd name="connsiteX663" fmla="*/ 2153799 w 9586368"/>
              <a:gd name="connsiteY663" fmla="*/ 5986919 h 6479439"/>
              <a:gd name="connsiteX664" fmla="*/ 1918509 w 9586368"/>
              <a:gd name="connsiteY664" fmla="*/ 5982881 h 6479439"/>
              <a:gd name="connsiteX665" fmla="*/ 1928420 w 9586368"/>
              <a:gd name="connsiteY665" fmla="*/ 5982881 h 6479439"/>
              <a:gd name="connsiteX666" fmla="*/ 1932438 w 9586368"/>
              <a:gd name="connsiteY666" fmla="*/ 5986919 h 6479439"/>
              <a:gd name="connsiteX667" fmla="*/ 1932438 w 9586368"/>
              <a:gd name="connsiteY667" fmla="*/ 5996790 h 6479439"/>
              <a:gd name="connsiteX668" fmla="*/ 1928420 w 9586368"/>
              <a:gd name="connsiteY668" fmla="*/ 6000829 h 6479439"/>
              <a:gd name="connsiteX669" fmla="*/ 1918509 w 9586368"/>
              <a:gd name="connsiteY669" fmla="*/ 6000829 h 6479439"/>
              <a:gd name="connsiteX670" fmla="*/ 1914490 w 9586368"/>
              <a:gd name="connsiteY670" fmla="*/ 5996790 h 6479439"/>
              <a:gd name="connsiteX671" fmla="*/ 1914490 w 9586368"/>
              <a:gd name="connsiteY671" fmla="*/ 5986919 h 6479439"/>
              <a:gd name="connsiteX672" fmla="*/ 1679201 w 9586368"/>
              <a:gd name="connsiteY672" fmla="*/ 5982881 h 6479439"/>
              <a:gd name="connsiteX673" fmla="*/ 1689111 w 9586368"/>
              <a:gd name="connsiteY673" fmla="*/ 5982881 h 6479439"/>
              <a:gd name="connsiteX674" fmla="*/ 1693129 w 9586368"/>
              <a:gd name="connsiteY674" fmla="*/ 5986919 h 6479439"/>
              <a:gd name="connsiteX675" fmla="*/ 1693129 w 9586368"/>
              <a:gd name="connsiteY675" fmla="*/ 5996790 h 6479439"/>
              <a:gd name="connsiteX676" fmla="*/ 1689111 w 9586368"/>
              <a:gd name="connsiteY676" fmla="*/ 6000829 h 6479439"/>
              <a:gd name="connsiteX677" fmla="*/ 1679201 w 9586368"/>
              <a:gd name="connsiteY677" fmla="*/ 6000829 h 6479439"/>
              <a:gd name="connsiteX678" fmla="*/ 1675182 w 9586368"/>
              <a:gd name="connsiteY678" fmla="*/ 5996790 h 6479439"/>
              <a:gd name="connsiteX679" fmla="*/ 1675182 w 9586368"/>
              <a:gd name="connsiteY679" fmla="*/ 5986919 h 6479439"/>
              <a:gd name="connsiteX680" fmla="*/ 1439886 w 9586368"/>
              <a:gd name="connsiteY680" fmla="*/ 5982881 h 6479439"/>
              <a:gd name="connsiteX681" fmla="*/ 1449796 w 9586368"/>
              <a:gd name="connsiteY681" fmla="*/ 5982881 h 6479439"/>
              <a:gd name="connsiteX682" fmla="*/ 1453814 w 9586368"/>
              <a:gd name="connsiteY682" fmla="*/ 5986919 h 6479439"/>
              <a:gd name="connsiteX683" fmla="*/ 1453814 w 9586368"/>
              <a:gd name="connsiteY683" fmla="*/ 5996790 h 6479439"/>
              <a:gd name="connsiteX684" fmla="*/ 1449796 w 9586368"/>
              <a:gd name="connsiteY684" fmla="*/ 6000829 h 6479439"/>
              <a:gd name="connsiteX685" fmla="*/ 1439886 w 9586368"/>
              <a:gd name="connsiteY685" fmla="*/ 6000829 h 6479439"/>
              <a:gd name="connsiteX686" fmla="*/ 1435866 w 9586368"/>
              <a:gd name="connsiteY686" fmla="*/ 5996790 h 6479439"/>
              <a:gd name="connsiteX687" fmla="*/ 1435866 w 9586368"/>
              <a:gd name="connsiteY687" fmla="*/ 5986919 h 6479439"/>
              <a:gd name="connsiteX688" fmla="*/ 1200571 w 9586368"/>
              <a:gd name="connsiteY688" fmla="*/ 5982881 h 6479439"/>
              <a:gd name="connsiteX689" fmla="*/ 1210481 w 9586368"/>
              <a:gd name="connsiteY689" fmla="*/ 5982881 h 6479439"/>
              <a:gd name="connsiteX690" fmla="*/ 1214500 w 9586368"/>
              <a:gd name="connsiteY690" fmla="*/ 5986919 h 6479439"/>
              <a:gd name="connsiteX691" fmla="*/ 1214500 w 9586368"/>
              <a:gd name="connsiteY691" fmla="*/ 5996790 h 6479439"/>
              <a:gd name="connsiteX692" fmla="*/ 1210481 w 9586368"/>
              <a:gd name="connsiteY692" fmla="*/ 6000829 h 6479439"/>
              <a:gd name="connsiteX693" fmla="*/ 1200571 w 9586368"/>
              <a:gd name="connsiteY693" fmla="*/ 6000829 h 6479439"/>
              <a:gd name="connsiteX694" fmla="*/ 1196553 w 9586368"/>
              <a:gd name="connsiteY694" fmla="*/ 5996790 h 6479439"/>
              <a:gd name="connsiteX695" fmla="*/ 1196553 w 9586368"/>
              <a:gd name="connsiteY695" fmla="*/ 5986919 h 6479439"/>
              <a:gd name="connsiteX696" fmla="*/ 961258 w 9586368"/>
              <a:gd name="connsiteY696" fmla="*/ 5982881 h 6479439"/>
              <a:gd name="connsiteX697" fmla="*/ 971168 w 9586368"/>
              <a:gd name="connsiteY697" fmla="*/ 5982881 h 6479439"/>
              <a:gd name="connsiteX698" fmla="*/ 975187 w 9586368"/>
              <a:gd name="connsiteY698" fmla="*/ 5986919 h 6479439"/>
              <a:gd name="connsiteX699" fmla="*/ 975187 w 9586368"/>
              <a:gd name="connsiteY699" fmla="*/ 5996790 h 6479439"/>
              <a:gd name="connsiteX700" fmla="*/ 971168 w 9586368"/>
              <a:gd name="connsiteY700" fmla="*/ 6000829 h 6479439"/>
              <a:gd name="connsiteX701" fmla="*/ 961258 w 9586368"/>
              <a:gd name="connsiteY701" fmla="*/ 6000829 h 6479439"/>
              <a:gd name="connsiteX702" fmla="*/ 957239 w 9586368"/>
              <a:gd name="connsiteY702" fmla="*/ 5996790 h 6479439"/>
              <a:gd name="connsiteX703" fmla="*/ 957239 w 9586368"/>
              <a:gd name="connsiteY703" fmla="*/ 5986919 h 6479439"/>
              <a:gd name="connsiteX704" fmla="*/ 9572438 w 9586368"/>
              <a:gd name="connsiteY704" fmla="*/ 5982829 h 6479439"/>
              <a:gd name="connsiteX705" fmla="*/ 9582349 w 9586368"/>
              <a:gd name="connsiteY705" fmla="*/ 5982829 h 6479439"/>
              <a:gd name="connsiteX706" fmla="*/ 9586368 w 9586368"/>
              <a:gd name="connsiteY706" fmla="*/ 5986868 h 6479439"/>
              <a:gd name="connsiteX707" fmla="*/ 9586368 w 9586368"/>
              <a:gd name="connsiteY707" fmla="*/ 5996739 h 6479439"/>
              <a:gd name="connsiteX708" fmla="*/ 9582349 w 9586368"/>
              <a:gd name="connsiteY708" fmla="*/ 6000778 h 6479439"/>
              <a:gd name="connsiteX709" fmla="*/ 9572438 w 9586368"/>
              <a:gd name="connsiteY709" fmla="*/ 6000778 h 6479439"/>
              <a:gd name="connsiteX710" fmla="*/ 9568419 w 9586368"/>
              <a:gd name="connsiteY710" fmla="*/ 5996739 h 6479439"/>
              <a:gd name="connsiteX711" fmla="*/ 9568419 w 9586368"/>
              <a:gd name="connsiteY711" fmla="*/ 5986868 h 6479439"/>
              <a:gd name="connsiteX712" fmla="*/ 9333125 w 9586368"/>
              <a:gd name="connsiteY712" fmla="*/ 5982829 h 6479439"/>
              <a:gd name="connsiteX713" fmla="*/ 9343036 w 9586368"/>
              <a:gd name="connsiteY713" fmla="*/ 5982829 h 6479439"/>
              <a:gd name="connsiteX714" fmla="*/ 9347055 w 9586368"/>
              <a:gd name="connsiteY714" fmla="*/ 5986868 h 6479439"/>
              <a:gd name="connsiteX715" fmla="*/ 9347055 w 9586368"/>
              <a:gd name="connsiteY715" fmla="*/ 5996739 h 6479439"/>
              <a:gd name="connsiteX716" fmla="*/ 9343036 w 9586368"/>
              <a:gd name="connsiteY716" fmla="*/ 6000778 h 6479439"/>
              <a:gd name="connsiteX717" fmla="*/ 9333125 w 9586368"/>
              <a:gd name="connsiteY717" fmla="*/ 6000778 h 6479439"/>
              <a:gd name="connsiteX718" fmla="*/ 9329106 w 9586368"/>
              <a:gd name="connsiteY718" fmla="*/ 5996739 h 6479439"/>
              <a:gd name="connsiteX719" fmla="*/ 9329106 w 9586368"/>
              <a:gd name="connsiteY719" fmla="*/ 5986868 h 6479439"/>
              <a:gd name="connsiteX720" fmla="*/ 9093811 w 9586368"/>
              <a:gd name="connsiteY720" fmla="*/ 5982829 h 6479439"/>
              <a:gd name="connsiteX721" fmla="*/ 9103722 w 9586368"/>
              <a:gd name="connsiteY721" fmla="*/ 5982829 h 6479439"/>
              <a:gd name="connsiteX722" fmla="*/ 9107741 w 9586368"/>
              <a:gd name="connsiteY722" fmla="*/ 5986868 h 6479439"/>
              <a:gd name="connsiteX723" fmla="*/ 9107741 w 9586368"/>
              <a:gd name="connsiteY723" fmla="*/ 5996739 h 6479439"/>
              <a:gd name="connsiteX724" fmla="*/ 9103722 w 9586368"/>
              <a:gd name="connsiteY724" fmla="*/ 6000778 h 6479439"/>
              <a:gd name="connsiteX725" fmla="*/ 9093811 w 9586368"/>
              <a:gd name="connsiteY725" fmla="*/ 6000778 h 6479439"/>
              <a:gd name="connsiteX726" fmla="*/ 9089792 w 9586368"/>
              <a:gd name="connsiteY726" fmla="*/ 5996739 h 6479439"/>
              <a:gd name="connsiteX727" fmla="*/ 9089792 w 9586368"/>
              <a:gd name="connsiteY727" fmla="*/ 5986868 h 6479439"/>
              <a:gd name="connsiteX728" fmla="*/ 8854496 w 9586368"/>
              <a:gd name="connsiteY728" fmla="*/ 5982829 h 6479439"/>
              <a:gd name="connsiteX729" fmla="*/ 8864407 w 9586368"/>
              <a:gd name="connsiteY729" fmla="*/ 5982829 h 6479439"/>
              <a:gd name="connsiteX730" fmla="*/ 8868426 w 9586368"/>
              <a:gd name="connsiteY730" fmla="*/ 5986868 h 6479439"/>
              <a:gd name="connsiteX731" fmla="*/ 8868426 w 9586368"/>
              <a:gd name="connsiteY731" fmla="*/ 5996739 h 6479439"/>
              <a:gd name="connsiteX732" fmla="*/ 8864407 w 9586368"/>
              <a:gd name="connsiteY732" fmla="*/ 6000778 h 6479439"/>
              <a:gd name="connsiteX733" fmla="*/ 8854496 w 9586368"/>
              <a:gd name="connsiteY733" fmla="*/ 6000778 h 6479439"/>
              <a:gd name="connsiteX734" fmla="*/ 8850477 w 9586368"/>
              <a:gd name="connsiteY734" fmla="*/ 5996739 h 6479439"/>
              <a:gd name="connsiteX735" fmla="*/ 8850477 w 9586368"/>
              <a:gd name="connsiteY735" fmla="*/ 5986868 h 6479439"/>
              <a:gd name="connsiteX736" fmla="*/ 8615184 w 9586368"/>
              <a:gd name="connsiteY736" fmla="*/ 5982829 h 6479439"/>
              <a:gd name="connsiteX737" fmla="*/ 8625095 w 9586368"/>
              <a:gd name="connsiteY737" fmla="*/ 5982829 h 6479439"/>
              <a:gd name="connsiteX738" fmla="*/ 8629114 w 9586368"/>
              <a:gd name="connsiteY738" fmla="*/ 5986868 h 6479439"/>
              <a:gd name="connsiteX739" fmla="*/ 8629114 w 9586368"/>
              <a:gd name="connsiteY739" fmla="*/ 5996739 h 6479439"/>
              <a:gd name="connsiteX740" fmla="*/ 8625095 w 9586368"/>
              <a:gd name="connsiteY740" fmla="*/ 6000778 h 6479439"/>
              <a:gd name="connsiteX741" fmla="*/ 8615184 w 9586368"/>
              <a:gd name="connsiteY741" fmla="*/ 6000778 h 6479439"/>
              <a:gd name="connsiteX742" fmla="*/ 8611165 w 9586368"/>
              <a:gd name="connsiteY742" fmla="*/ 5996739 h 6479439"/>
              <a:gd name="connsiteX743" fmla="*/ 8611165 w 9586368"/>
              <a:gd name="connsiteY743" fmla="*/ 5986868 h 6479439"/>
              <a:gd name="connsiteX744" fmla="*/ 8375869 w 9586368"/>
              <a:gd name="connsiteY744" fmla="*/ 5982829 h 6479439"/>
              <a:gd name="connsiteX745" fmla="*/ 8385779 w 9586368"/>
              <a:gd name="connsiteY745" fmla="*/ 5982829 h 6479439"/>
              <a:gd name="connsiteX746" fmla="*/ 8389799 w 9586368"/>
              <a:gd name="connsiteY746" fmla="*/ 5986868 h 6479439"/>
              <a:gd name="connsiteX747" fmla="*/ 8389799 w 9586368"/>
              <a:gd name="connsiteY747" fmla="*/ 5996739 h 6479439"/>
              <a:gd name="connsiteX748" fmla="*/ 8385779 w 9586368"/>
              <a:gd name="connsiteY748" fmla="*/ 6000778 h 6479439"/>
              <a:gd name="connsiteX749" fmla="*/ 8375869 w 9586368"/>
              <a:gd name="connsiteY749" fmla="*/ 6000778 h 6479439"/>
              <a:gd name="connsiteX750" fmla="*/ 8371850 w 9586368"/>
              <a:gd name="connsiteY750" fmla="*/ 5996739 h 6479439"/>
              <a:gd name="connsiteX751" fmla="*/ 8371850 w 9586368"/>
              <a:gd name="connsiteY751" fmla="*/ 5986868 h 6479439"/>
              <a:gd name="connsiteX752" fmla="*/ 8136553 w 9586368"/>
              <a:gd name="connsiteY752" fmla="*/ 5982829 h 6479439"/>
              <a:gd name="connsiteX753" fmla="*/ 8146464 w 9586368"/>
              <a:gd name="connsiteY753" fmla="*/ 5982829 h 6479439"/>
              <a:gd name="connsiteX754" fmla="*/ 8150483 w 9586368"/>
              <a:gd name="connsiteY754" fmla="*/ 5986868 h 6479439"/>
              <a:gd name="connsiteX755" fmla="*/ 8150483 w 9586368"/>
              <a:gd name="connsiteY755" fmla="*/ 5996739 h 6479439"/>
              <a:gd name="connsiteX756" fmla="*/ 8146464 w 9586368"/>
              <a:gd name="connsiteY756" fmla="*/ 6000778 h 6479439"/>
              <a:gd name="connsiteX757" fmla="*/ 8136553 w 9586368"/>
              <a:gd name="connsiteY757" fmla="*/ 6000778 h 6479439"/>
              <a:gd name="connsiteX758" fmla="*/ 8132534 w 9586368"/>
              <a:gd name="connsiteY758" fmla="*/ 5996739 h 6479439"/>
              <a:gd name="connsiteX759" fmla="*/ 8132534 w 9586368"/>
              <a:gd name="connsiteY759" fmla="*/ 5986868 h 6479439"/>
              <a:gd name="connsiteX760" fmla="*/ 7897241 w 9586368"/>
              <a:gd name="connsiteY760" fmla="*/ 5982829 h 6479439"/>
              <a:gd name="connsiteX761" fmla="*/ 7907151 w 9586368"/>
              <a:gd name="connsiteY761" fmla="*/ 5982829 h 6479439"/>
              <a:gd name="connsiteX762" fmla="*/ 7911170 w 9586368"/>
              <a:gd name="connsiteY762" fmla="*/ 5986868 h 6479439"/>
              <a:gd name="connsiteX763" fmla="*/ 7911170 w 9586368"/>
              <a:gd name="connsiteY763" fmla="*/ 5996739 h 6479439"/>
              <a:gd name="connsiteX764" fmla="*/ 7907151 w 9586368"/>
              <a:gd name="connsiteY764" fmla="*/ 6000778 h 6479439"/>
              <a:gd name="connsiteX765" fmla="*/ 7897241 w 9586368"/>
              <a:gd name="connsiteY765" fmla="*/ 6000778 h 6479439"/>
              <a:gd name="connsiteX766" fmla="*/ 7893222 w 9586368"/>
              <a:gd name="connsiteY766" fmla="*/ 5996739 h 6479439"/>
              <a:gd name="connsiteX767" fmla="*/ 7893222 w 9586368"/>
              <a:gd name="connsiteY767" fmla="*/ 5986868 h 6479439"/>
              <a:gd name="connsiteX768" fmla="*/ 7657926 w 9586368"/>
              <a:gd name="connsiteY768" fmla="*/ 5982829 h 6479439"/>
              <a:gd name="connsiteX769" fmla="*/ 7667836 w 9586368"/>
              <a:gd name="connsiteY769" fmla="*/ 5982829 h 6479439"/>
              <a:gd name="connsiteX770" fmla="*/ 7671855 w 9586368"/>
              <a:gd name="connsiteY770" fmla="*/ 5986868 h 6479439"/>
              <a:gd name="connsiteX771" fmla="*/ 7671855 w 9586368"/>
              <a:gd name="connsiteY771" fmla="*/ 5996739 h 6479439"/>
              <a:gd name="connsiteX772" fmla="*/ 7667836 w 9586368"/>
              <a:gd name="connsiteY772" fmla="*/ 6000778 h 6479439"/>
              <a:gd name="connsiteX773" fmla="*/ 7657926 w 9586368"/>
              <a:gd name="connsiteY773" fmla="*/ 6000778 h 6479439"/>
              <a:gd name="connsiteX774" fmla="*/ 7653906 w 9586368"/>
              <a:gd name="connsiteY774" fmla="*/ 5996739 h 6479439"/>
              <a:gd name="connsiteX775" fmla="*/ 7653906 w 9586368"/>
              <a:gd name="connsiteY775" fmla="*/ 5986868 h 6479439"/>
              <a:gd name="connsiteX776" fmla="*/ 7418611 w 9586368"/>
              <a:gd name="connsiteY776" fmla="*/ 5982829 h 6479439"/>
              <a:gd name="connsiteX777" fmla="*/ 7428521 w 9586368"/>
              <a:gd name="connsiteY777" fmla="*/ 5982829 h 6479439"/>
              <a:gd name="connsiteX778" fmla="*/ 7432540 w 9586368"/>
              <a:gd name="connsiteY778" fmla="*/ 5986868 h 6479439"/>
              <a:gd name="connsiteX779" fmla="*/ 7432540 w 9586368"/>
              <a:gd name="connsiteY779" fmla="*/ 5996739 h 6479439"/>
              <a:gd name="connsiteX780" fmla="*/ 7428521 w 9586368"/>
              <a:gd name="connsiteY780" fmla="*/ 6000778 h 6479439"/>
              <a:gd name="connsiteX781" fmla="*/ 7418611 w 9586368"/>
              <a:gd name="connsiteY781" fmla="*/ 6000778 h 6479439"/>
              <a:gd name="connsiteX782" fmla="*/ 7414592 w 9586368"/>
              <a:gd name="connsiteY782" fmla="*/ 5996739 h 6479439"/>
              <a:gd name="connsiteX783" fmla="*/ 7414592 w 9586368"/>
              <a:gd name="connsiteY783" fmla="*/ 5986868 h 6479439"/>
              <a:gd name="connsiteX784" fmla="*/ 7179298 w 9586368"/>
              <a:gd name="connsiteY784" fmla="*/ 5982829 h 6479439"/>
              <a:gd name="connsiteX785" fmla="*/ 7189209 w 9586368"/>
              <a:gd name="connsiteY785" fmla="*/ 5982829 h 6479439"/>
              <a:gd name="connsiteX786" fmla="*/ 7193228 w 9586368"/>
              <a:gd name="connsiteY786" fmla="*/ 5986868 h 6479439"/>
              <a:gd name="connsiteX787" fmla="*/ 7193228 w 9586368"/>
              <a:gd name="connsiteY787" fmla="*/ 5996739 h 6479439"/>
              <a:gd name="connsiteX788" fmla="*/ 7189209 w 9586368"/>
              <a:gd name="connsiteY788" fmla="*/ 6000778 h 6479439"/>
              <a:gd name="connsiteX789" fmla="*/ 7179298 w 9586368"/>
              <a:gd name="connsiteY789" fmla="*/ 6000778 h 6479439"/>
              <a:gd name="connsiteX790" fmla="*/ 7175279 w 9586368"/>
              <a:gd name="connsiteY790" fmla="*/ 5996739 h 6479439"/>
              <a:gd name="connsiteX791" fmla="*/ 7175279 w 9586368"/>
              <a:gd name="connsiteY791" fmla="*/ 5986868 h 6479439"/>
              <a:gd name="connsiteX792" fmla="*/ 6939983 w 9586368"/>
              <a:gd name="connsiteY792" fmla="*/ 5982829 h 6479439"/>
              <a:gd name="connsiteX793" fmla="*/ 6949894 w 9586368"/>
              <a:gd name="connsiteY793" fmla="*/ 5982829 h 6479439"/>
              <a:gd name="connsiteX794" fmla="*/ 6953913 w 9586368"/>
              <a:gd name="connsiteY794" fmla="*/ 5986868 h 6479439"/>
              <a:gd name="connsiteX795" fmla="*/ 6953913 w 9586368"/>
              <a:gd name="connsiteY795" fmla="*/ 5996739 h 6479439"/>
              <a:gd name="connsiteX796" fmla="*/ 6949894 w 9586368"/>
              <a:gd name="connsiteY796" fmla="*/ 6000778 h 6479439"/>
              <a:gd name="connsiteX797" fmla="*/ 6939983 w 9586368"/>
              <a:gd name="connsiteY797" fmla="*/ 6000778 h 6479439"/>
              <a:gd name="connsiteX798" fmla="*/ 6935964 w 9586368"/>
              <a:gd name="connsiteY798" fmla="*/ 5996739 h 6479439"/>
              <a:gd name="connsiteX799" fmla="*/ 6935964 w 9586368"/>
              <a:gd name="connsiteY799" fmla="*/ 5986868 h 6479439"/>
              <a:gd name="connsiteX800" fmla="*/ 6700670 w 9586368"/>
              <a:gd name="connsiteY800" fmla="*/ 5982829 h 6479439"/>
              <a:gd name="connsiteX801" fmla="*/ 6710581 w 9586368"/>
              <a:gd name="connsiteY801" fmla="*/ 5982829 h 6479439"/>
              <a:gd name="connsiteX802" fmla="*/ 6714600 w 9586368"/>
              <a:gd name="connsiteY802" fmla="*/ 5986868 h 6479439"/>
              <a:gd name="connsiteX803" fmla="*/ 6714600 w 9586368"/>
              <a:gd name="connsiteY803" fmla="*/ 5996739 h 6479439"/>
              <a:gd name="connsiteX804" fmla="*/ 6710581 w 9586368"/>
              <a:gd name="connsiteY804" fmla="*/ 6000778 h 6479439"/>
              <a:gd name="connsiteX805" fmla="*/ 6700670 w 9586368"/>
              <a:gd name="connsiteY805" fmla="*/ 6000778 h 6479439"/>
              <a:gd name="connsiteX806" fmla="*/ 6696651 w 9586368"/>
              <a:gd name="connsiteY806" fmla="*/ 5996739 h 6479439"/>
              <a:gd name="connsiteX807" fmla="*/ 6696651 w 9586368"/>
              <a:gd name="connsiteY807" fmla="*/ 5986868 h 6479439"/>
              <a:gd name="connsiteX808" fmla="*/ 6461356 w 9586368"/>
              <a:gd name="connsiteY808" fmla="*/ 5982829 h 6479439"/>
              <a:gd name="connsiteX809" fmla="*/ 6471266 w 9586368"/>
              <a:gd name="connsiteY809" fmla="*/ 5982829 h 6479439"/>
              <a:gd name="connsiteX810" fmla="*/ 6475285 w 9586368"/>
              <a:gd name="connsiteY810" fmla="*/ 5986868 h 6479439"/>
              <a:gd name="connsiteX811" fmla="*/ 6475285 w 9586368"/>
              <a:gd name="connsiteY811" fmla="*/ 5996739 h 6479439"/>
              <a:gd name="connsiteX812" fmla="*/ 6471266 w 9586368"/>
              <a:gd name="connsiteY812" fmla="*/ 6000778 h 6479439"/>
              <a:gd name="connsiteX813" fmla="*/ 6461356 w 9586368"/>
              <a:gd name="connsiteY813" fmla="*/ 6000778 h 6479439"/>
              <a:gd name="connsiteX814" fmla="*/ 6457337 w 9586368"/>
              <a:gd name="connsiteY814" fmla="*/ 5996739 h 6479439"/>
              <a:gd name="connsiteX815" fmla="*/ 6457337 w 9586368"/>
              <a:gd name="connsiteY815" fmla="*/ 5986868 h 6479439"/>
              <a:gd name="connsiteX816" fmla="*/ 6222042 w 9586368"/>
              <a:gd name="connsiteY816" fmla="*/ 5982829 h 6479439"/>
              <a:gd name="connsiteX817" fmla="*/ 6231952 w 9586368"/>
              <a:gd name="connsiteY817" fmla="*/ 5982829 h 6479439"/>
              <a:gd name="connsiteX818" fmla="*/ 6235971 w 9586368"/>
              <a:gd name="connsiteY818" fmla="*/ 5986868 h 6479439"/>
              <a:gd name="connsiteX819" fmla="*/ 6235971 w 9586368"/>
              <a:gd name="connsiteY819" fmla="*/ 5996739 h 6479439"/>
              <a:gd name="connsiteX820" fmla="*/ 6231952 w 9586368"/>
              <a:gd name="connsiteY820" fmla="*/ 6000778 h 6479439"/>
              <a:gd name="connsiteX821" fmla="*/ 6222042 w 9586368"/>
              <a:gd name="connsiteY821" fmla="*/ 6000778 h 6479439"/>
              <a:gd name="connsiteX822" fmla="*/ 6218023 w 9586368"/>
              <a:gd name="connsiteY822" fmla="*/ 5996739 h 6479439"/>
              <a:gd name="connsiteX823" fmla="*/ 6218023 w 9586368"/>
              <a:gd name="connsiteY823" fmla="*/ 5986868 h 6479439"/>
              <a:gd name="connsiteX824" fmla="*/ 5982729 w 9586368"/>
              <a:gd name="connsiteY824" fmla="*/ 5982829 h 6479439"/>
              <a:gd name="connsiteX825" fmla="*/ 5992639 w 9586368"/>
              <a:gd name="connsiteY825" fmla="*/ 5982829 h 6479439"/>
              <a:gd name="connsiteX826" fmla="*/ 5996658 w 9586368"/>
              <a:gd name="connsiteY826" fmla="*/ 5986868 h 6479439"/>
              <a:gd name="connsiteX827" fmla="*/ 5996658 w 9586368"/>
              <a:gd name="connsiteY827" fmla="*/ 5996739 h 6479439"/>
              <a:gd name="connsiteX828" fmla="*/ 5992639 w 9586368"/>
              <a:gd name="connsiteY828" fmla="*/ 6000778 h 6479439"/>
              <a:gd name="connsiteX829" fmla="*/ 5982729 w 9586368"/>
              <a:gd name="connsiteY829" fmla="*/ 6000778 h 6479439"/>
              <a:gd name="connsiteX830" fmla="*/ 5978710 w 9586368"/>
              <a:gd name="connsiteY830" fmla="*/ 5996739 h 6479439"/>
              <a:gd name="connsiteX831" fmla="*/ 5978710 w 9586368"/>
              <a:gd name="connsiteY831" fmla="*/ 5986868 h 6479439"/>
              <a:gd name="connsiteX832" fmla="*/ 5743412 w 9586368"/>
              <a:gd name="connsiteY832" fmla="*/ 5982829 h 6479439"/>
              <a:gd name="connsiteX833" fmla="*/ 5753323 w 9586368"/>
              <a:gd name="connsiteY833" fmla="*/ 5982829 h 6479439"/>
              <a:gd name="connsiteX834" fmla="*/ 5757342 w 9586368"/>
              <a:gd name="connsiteY834" fmla="*/ 5986868 h 6479439"/>
              <a:gd name="connsiteX835" fmla="*/ 5757342 w 9586368"/>
              <a:gd name="connsiteY835" fmla="*/ 5996739 h 6479439"/>
              <a:gd name="connsiteX836" fmla="*/ 5753323 w 9586368"/>
              <a:gd name="connsiteY836" fmla="*/ 6000778 h 6479439"/>
              <a:gd name="connsiteX837" fmla="*/ 5743412 w 9586368"/>
              <a:gd name="connsiteY837" fmla="*/ 6000778 h 6479439"/>
              <a:gd name="connsiteX838" fmla="*/ 5739393 w 9586368"/>
              <a:gd name="connsiteY838" fmla="*/ 5996739 h 6479439"/>
              <a:gd name="connsiteX839" fmla="*/ 5739393 w 9586368"/>
              <a:gd name="connsiteY839" fmla="*/ 5986868 h 6479439"/>
              <a:gd name="connsiteX840" fmla="*/ 5504099 w 9586368"/>
              <a:gd name="connsiteY840" fmla="*/ 5982829 h 6479439"/>
              <a:gd name="connsiteX841" fmla="*/ 5514010 w 9586368"/>
              <a:gd name="connsiteY841" fmla="*/ 5982829 h 6479439"/>
              <a:gd name="connsiteX842" fmla="*/ 5518029 w 9586368"/>
              <a:gd name="connsiteY842" fmla="*/ 5986868 h 6479439"/>
              <a:gd name="connsiteX843" fmla="*/ 5518029 w 9586368"/>
              <a:gd name="connsiteY843" fmla="*/ 5996739 h 6479439"/>
              <a:gd name="connsiteX844" fmla="*/ 5514010 w 9586368"/>
              <a:gd name="connsiteY844" fmla="*/ 6000778 h 6479439"/>
              <a:gd name="connsiteX845" fmla="*/ 5504099 w 9586368"/>
              <a:gd name="connsiteY845" fmla="*/ 6000778 h 6479439"/>
              <a:gd name="connsiteX846" fmla="*/ 5500080 w 9586368"/>
              <a:gd name="connsiteY846" fmla="*/ 5996739 h 6479439"/>
              <a:gd name="connsiteX847" fmla="*/ 5500080 w 9586368"/>
              <a:gd name="connsiteY847" fmla="*/ 5986868 h 6479439"/>
              <a:gd name="connsiteX848" fmla="*/ 5264784 w 9586368"/>
              <a:gd name="connsiteY848" fmla="*/ 5982829 h 6479439"/>
              <a:gd name="connsiteX849" fmla="*/ 5274694 w 9586368"/>
              <a:gd name="connsiteY849" fmla="*/ 5982829 h 6479439"/>
              <a:gd name="connsiteX850" fmla="*/ 5278713 w 9586368"/>
              <a:gd name="connsiteY850" fmla="*/ 5986868 h 6479439"/>
              <a:gd name="connsiteX851" fmla="*/ 5278713 w 9586368"/>
              <a:gd name="connsiteY851" fmla="*/ 5996739 h 6479439"/>
              <a:gd name="connsiteX852" fmla="*/ 5274694 w 9586368"/>
              <a:gd name="connsiteY852" fmla="*/ 6000778 h 6479439"/>
              <a:gd name="connsiteX853" fmla="*/ 5264784 w 9586368"/>
              <a:gd name="connsiteY853" fmla="*/ 6000778 h 6479439"/>
              <a:gd name="connsiteX854" fmla="*/ 5260765 w 9586368"/>
              <a:gd name="connsiteY854" fmla="*/ 5996739 h 6479439"/>
              <a:gd name="connsiteX855" fmla="*/ 5260765 w 9586368"/>
              <a:gd name="connsiteY855" fmla="*/ 5986868 h 6479439"/>
              <a:gd name="connsiteX856" fmla="*/ 5025470 w 9586368"/>
              <a:gd name="connsiteY856" fmla="*/ 5982829 h 6479439"/>
              <a:gd name="connsiteX857" fmla="*/ 5035381 w 9586368"/>
              <a:gd name="connsiteY857" fmla="*/ 5982829 h 6479439"/>
              <a:gd name="connsiteX858" fmla="*/ 5039400 w 9586368"/>
              <a:gd name="connsiteY858" fmla="*/ 5986868 h 6479439"/>
              <a:gd name="connsiteX859" fmla="*/ 5039400 w 9586368"/>
              <a:gd name="connsiteY859" fmla="*/ 5996739 h 6479439"/>
              <a:gd name="connsiteX860" fmla="*/ 5035381 w 9586368"/>
              <a:gd name="connsiteY860" fmla="*/ 6000778 h 6479439"/>
              <a:gd name="connsiteX861" fmla="*/ 5025470 w 9586368"/>
              <a:gd name="connsiteY861" fmla="*/ 6000778 h 6479439"/>
              <a:gd name="connsiteX862" fmla="*/ 5021451 w 9586368"/>
              <a:gd name="connsiteY862" fmla="*/ 5996739 h 6479439"/>
              <a:gd name="connsiteX863" fmla="*/ 5021451 w 9586368"/>
              <a:gd name="connsiteY863" fmla="*/ 5986868 h 6479439"/>
              <a:gd name="connsiteX864" fmla="*/ 4786241 w 9586368"/>
              <a:gd name="connsiteY864" fmla="*/ 5982829 h 6479439"/>
              <a:gd name="connsiteX865" fmla="*/ 4796152 w 9586368"/>
              <a:gd name="connsiteY865" fmla="*/ 5982829 h 6479439"/>
              <a:gd name="connsiteX866" fmla="*/ 4800171 w 9586368"/>
              <a:gd name="connsiteY866" fmla="*/ 5986868 h 6479439"/>
              <a:gd name="connsiteX867" fmla="*/ 4800171 w 9586368"/>
              <a:gd name="connsiteY867" fmla="*/ 5996739 h 6479439"/>
              <a:gd name="connsiteX868" fmla="*/ 4796152 w 9586368"/>
              <a:gd name="connsiteY868" fmla="*/ 6000778 h 6479439"/>
              <a:gd name="connsiteX869" fmla="*/ 4786241 w 9586368"/>
              <a:gd name="connsiteY869" fmla="*/ 6000778 h 6479439"/>
              <a:gd name="connsiteX870" fmla="*/ 4782224 w 9586368"/>
              <a:gd name="connsiteY870" fmla="*/ 5996739 h 6479439"/>
              <a:gd name="connsiteX871" fmla="*/ 4782224 w 9586368"/>
              <a:gd name="connsiteY871" fmla="*/ 5986868 h 6479439"/>
              <a:gd name="connsiteX872" fmla="*/ 4546929 w 9586368"/>
              <a:gd name="connsiteY872" fmla="*/ 5982829 h 6479439"/>
              <a:gd name="connsiteX873" fmla="*/ 4556840 w 9586368"/>
              <a:gd name="connsiteY873" fmla="*/ 5982829 h 6479439"/>
              <a:gd name="connsiteX874" fmla="*/ 4560859 w 9586368"/>
              <a:gd name="connsiteY874" fmla="*/ 5986868 h 6479439"/>
              <a:gd name="connsiteX875" fmla="*/ 4560859 w 9586368"/>
              <a:gd name="connsiteY875" fmla="*/ 5996739 h 6479439"/>
              <a:gd name="connsiteX876" fmla="*/ 4556840 w 9586368"/>
              <a:gd name="connsiteY876" fmla="*/ 6000778 h 6479439"/>
              <a:gd name="connsiteX877" fmla="*/ 4546929 w 9586368"/>
              <a:gd name="connsiteY877" fmla="*/ 6000778 h 6479439"/>
              <a:gd name="connsiteX878" fmla="*/ 4542910 w 9586368"/>
              <a:gd name="connsiteY878" fmla="*/ 5996739 h 6479439"/>
              <a:gd name="connsiteX879" fmla="*/ 4542910 w 9586368"/>
              <a:gd name="connsiteY879" fmla="*/ 5986868 h 6479439"/>
              <a:gd name="connsiteX880" fmla="*/ 4307612 w 9586368"/>
              <a:gd name="connsiteY880" fmla="*/ 5982829 h 6479439"/>
              <a:gd name="connsiteX881" fmla="*/ 4317523 w 9586368"/>
              <a:gd name="connsiteY881" fmla="*/ 5982829 h 6479439"/>
              <a:gd name="connsiteX882" fmla="*/ 4321543 w 9586368"/>
              <a:gd name="connsiteY882" fmla="*/ 5986868 h 6479439"/>
              <a:gd name="connsiteX883" fmla="*/ 4321543 w 9586368"/>
              <a:gd name="connsiteY883" fmla="*/ 5996739 h 6479439"/>
              <a:gd name="connsiteX884" fmla="*/ 4317523 w 9586368"/>
              <a:gd name="connsiteY884" fmla="*/ 6000778 h 6479439"/>
              <a:gd name="connsiteX885" fmla="*/ 4307612 w 9586368"/>
              <a:gd name="connsiteY885" fmla="*/ 6000778 h 6479439"/>
              <a:gd name="connsiteX886" fmla="*/ 4303595 w 9586368"/>
              <a:gd name="connsiteY886" fmla="*/ 5996739 h 6479439"/>
              <a:gd name="connsiteX887" fmla="*/ 4303595 w 9586368"/>
              <a:gd name="connsiteY887" fmla="*/ 5986868 h 6479439"/>
              <a:gd name="connsiteX888" fmla="*/ 4068297 w 9586368"/>
              <a:gd name="connsiteY888" fmla="*/ 5982829 h 6479439"/>
              <a:gd name="connsiteX889" fmla="*/ 4078210 w 9586368"/>
              <a:gd name="connsiteY889" fmla="*/ 5982829 h 6479439"/>
              <a:gd name="connsiteX890" fmla="*/ 4082229 w 9586368"/>
              <a:gd name="connsiteY890" fmla="*/ 5986868 h 6479439"/>
              <a:gd name="connsiteX891" fmla="*/ 4082229 w 9586368"/>
              <a:gd name="connsiteY891" fmla="*/ 5996739 h 6479439"/>
              <a:gd name="connsiteX892" fmla="*/ 4078210 w 9586368"/>
              <a:gd name="connsiteY892" fmla="*/ 6000778 h 6479439"/>
              <a:gd name="connsiteX893" fmla="*/ 4068297 w 9586368"/>
              <a:gd name="connsiteY893" fmla="*/ 6000778 h 6479439"/>
              <a:gd name="connsiteX894" fmla="*/ 4064278 w 9586368"/>
              <a:gd name="connsiteY894" fmla="*/ 5996739 h 6479439"/>
              <a:gd name="connsiteX895" fmla="*/ 4064278 w 9586368"/>
              <a:gd name="connsiteY895" fmla="*/ 5986868 h 6479439"/>
              <a:gd name="connsiteX896" fmla="*/ 3828990 w 9586368"/>
              <a:gd name="connsiteY896" fmla="*/ 5982829 h 6479439"/>
              <a:gd name="connsiteX897" fmla="*/ 3838899 w 9586368"/>
              <a:gd name="connsiteY897" fmla="*/ 5982829 h 6479439"/>
              <a:gd name="connsiteX898" fmla="*/ 3842917 w 9586368"/>
              <a:gd name="connsiteY898" fmla="*/ 5986868 h 6479439"/>
              <a:gd name="connsiteX899" fmla="*/ 3842917 w 9586368"/>
              <a:gd name="connsiteY899" fmla="*/ 5996739 h 6479439"/>
              <a:gd name="connsiteX900" fmla="*/ 3838899 w 9586368"/>
              <a:gd name="connsiteY900" fmla="*/ 6000778 h 6479439"/>
              <a:gd name="connsiteX901" fmla="*/ 3828990 w 9586368"/>
              <a:gd name="connsiteY901" fmla="*/ 6000778 h 6479439"/>
              <a:gd name="connsiteX902" fmla="*/ 3824971 w 9586368"/>
              <a:gd name="connsiteY902" fmla="*/ 5996739 h 6479439"/>
              <a:gd name="connsiteX903" fmla="*/ 3824971 w 9586368"/>
              <a:gd name="connsiteY903" fmla="*/ 5986868 h 6479439"/>
              <a:gd name="connsiteX904" fmla="*/ 3589676 w 9586368"/>
              <a:gd name="connsiteY904" fmla="*/ 5982829 h 6479439"/>
              <a:gd name="connsiteX905" fmla="*/ 3599585 w 9586368"/>
              <a:gd name="connsiteY905" fmla="*/ 5982829 h 6479439"/>
              <a:gd name="connsiteX906" fmla="*/ 3603604 w 9586368"/>
              <a:gd name="connsiteY906" fmla="*/ 5986868 h 6479439"/>
              <a:gd name="connsiteX907" fmla="*/ 3603604 w 9586368"/>
              <a:gd name="connsiteY907" fmla="*/ 5996739 h 6479439"/>
              <a:gd name="connsiteX908" fmla="*/ 3599585 w 9586368"/>
              <a:gd name="connsiteY908" fmla="*/ 6000778 h 6479439"/>
              <a:gd name="connsiteX909" fmla="*/ 3589676 w 9586368"/>
              <a:gd name="connsiteY909" fmla="*/ 6000778 h 6479439"/>
              <a:gd name="connsiteX910" fmla="*/ 3585657 w 9586368"/>
              <a:gd name="connsiteY910" fmla="*/ 5996739 h 6479439"/>
              <a:gd name="connsiteX911" fmla="*/ 3585657 w 9586368"/>
              <a:gd name="connsiteY911" fmla="*/ 5986868 h 6479439"/>
              <a:gd name="connsiteX912" fmla="*/ 3350359 w 9586368"/>
              <a:gd name="connsiteY912" fmla="*/ 5982829 h 6479439"/>
              <a:gd name="connsiteX913" fmla="*/ 3360268 w 9586368"/>
              <a:gd name="connsiteY913" fmla="*/ 5982829 h 6479439"/>
              <a:gd name="connsiteX914" fmla="*/ 3364287 w 9586368"/>
              <a:gd name="connsiteY914" fmla="*/ 5986868 h 6479439"/>
              <a:gd name="connsiteX915" fmla="*/ 3364287 w 9586368"/>
              <a:gd name="connsiteY915" fmla="*/ 5996739 h 6479439"/>
              <a:gd name="connsiteX916" fmla="*/ 3360268 w 9586368"/>
              <a:gd name="connsiteY916" fmla="*/ 6000778 h 6479439"/>
              <a:gd name="connsiteX917" fmla="*/ 3350359 w 9586368"/>
              <a:gd name="connsiteY917" fmla="*/ 6000778 h 6479439"/>
              <a:gd name="connsiteX918" fmla="*/ 3346340 w 9586368"/>
              <a:gd name="connsiteY918" fmla="*/ 5996739 h 6479439"/>
              <a:gd name="connsiteX919" fmla="*/ 3346340 w 9586368"/>
              <a:gd name="connsiteY919" fmla="*/ 5986868 h 6479439"/>
              <a:gd name="connsiteX920" fmla="*/ 3111048 w 9586368"/>
              <a:gd name="connsiteY920" fmla="*/ 5982829 h 6479439"/>
              <a:gd name="connsiteX921" fmla="*/ 3120959 w 9586368"/>
              <a:gd name="connsiteY921" fmla="*/ 5982829 h 6479439"/>
              <a:gd name="connsiteX922" fmla="*/ 3124977 w 9586368"/>
              <a:gd name="connsiteY922" fmla="*/ 5986868 h 6479439"/>
              <a:gd name="connsiteX923" fmla="*/ 3124977 w 9586368"/>
              <a:gd name="connsiteY923" fmla="*/ 5996739 h 6479439"/>
              <a:gd name="connsiteX924" fmla="*/ 3120959 w 9586368"/>
              <a:gd name="connsiteY924" fmla="*/ 6000778 h 6479439"/>
              <a:gd name="connsiteX925" fmla="*/ 3111048 w 9586368"/>
              <a:gd name="connsiteY925" fmla="*/ 6000778 h 6479439"/>
              <a:gd name="connsiteX926" fmla="*/ 3107029 w 9586368"/>
              <a:gd name="connsiteY926" fmla="*/ 5996739 h 6479439"/>
              <a:gd name="connsiteX927" fmla="*/ 3107029 w 9586368"/>
              <a:gd name="connsiteY927" fmla="*/ 5986868 h 6479439"/>
              <a:gd name="connsiteX928" fmla="*/ 2871737 w 9586368"/>
              <a:gd name="connsiteY928" fmla="*/ 5982829 h 6479439"/>
              <a:gd name="connsiteX929" fmla="*/ 2881646 w 9586368"/>
              <a:gd name="connsiteY929" fmla="*/ 5982829 h 6479439"/>
              <a:gd name="connsiteX930" fmla="*/ 2885666 w 9586368"/>
              <a:gd name="connsiteY930" fmla="*/ 5986868 h 6479439"/>
              <a:gd name="connsiteX931" fmla="*/ 2885666 w 9586368"/>
              <a:gd name="connsiteY931" fmla="*/ 5996739 h 6479439"/>
              <a:gd name="connsiteX932" fmla="*/ 2881646 w 9586368"/>
              <a:gd name="connsiteY932" fmla="*/ 6000778 h 6479439"/>
              <a:gd name="connsiteX933" fmla="*/ 2871737 w 9586368"/>
              <a:gd name="connsiteY933" fmla="*/ 6000778 h 6479439"/>
              <a:gd name="connsiteX934" fmla="*/ 2867717 w 9586368"/>
              <a:gd name="connsiteY934" fmla="*/ 5996739 h 6479439"/>
              <a:gd name="connsiteX935" fmla="*/ 2867717 w 9586368"/>
              <a:gd name="connsiteY935" fmla="*/ 5986868 h 6479439"/>
              <a:gd name="connsiteX936" fmla="*/ 2632423 w 9586368"/>
              <a:gd name="connsiteY936" fmla="*/ 5982829 h 6479439"/>
              <a:gd name="connsiteX937" fmla="*/ 2642334 w 9586368"/>
              <a:gd name="connsiteY937" fmla="*/ 5982829 h 6479439"/>
              <a:gd name="connsiteX938" fmla="*/ 2646352 w 9586368"/>
              <a:gd name="connsiteY938" fmla="*/ 5986868 h 6479439"/>
              <a:gd name="connsiteX939" fmla="*/ 2646352 w 9586368"/>
              <a:gd name="connsiteY939" fmla="*/ 5996739 h 6479439"/>
              <a:gd name="connsiteX940" fmla="*/ 2642334 w 9586368"/>
              <a:gd name="connsiteY940" fmla="*/ 6000778 h 6479439"/>
              <a:gd name="connsiteX941" fmla="*/ 2632423 w 9586368"/>
              <a:gd name="connsiteY941" fmla="*/ 6000778 h 6479439"/>
              <a:gd name="connsiteX942" fmla="*/ 2628404 w 9586368"/>
              <a:gd name="connsiteY942" fmla="*/ 5996739 h 6479439"/>
              <a:gd name="connsiteX943" fmla="*/ 2628404 w 9586368"/>
              <a:gd name="connsiteY943" fmla="*/ 5986868 h 6479439"/>
              <a:gd name="connsiteX944" fmla="*/ 2393104 w 9586368"/>
              <a:gd name="connsiteY944" fmla="*/ 5982829 h 6479439"/>
              <a:gd name="connsiteX945" fmla="*/ 2403015 w 9586368"/>
              <a:gd name="connsiteY945" fmla="*/ 5982829 h 6479439"/>
              <a:gd name="connsiteX946" fmla="*/ 2407034 w 9586368"/>
              <a:gd name="connsiteY946" fmla="*/ 5986868 h 6479439"/>
              <a:gd name="connsiteX947" fmla="*/ 2407034 w 9586368"/>
              <a:gd name="connsiteY947" fmla="*/ 5996739 h 6479439"/>
              <a:gd name="connsiteX948" fmla="*/ 2403015 w 9586368"/>
              <a:gd name="connsiteY948" fmla="*/ 6000778 h 6479439"/>
              <a:gd name="connsiteX949" fmla="*/ 2393104 w 9586368"/>
              <a:gd name="connsiteY949" fmla="*/ 6000778 h 6479439"/>
              <a:gd name="connsiteX950" fmla="*/ 2389087 w 9586368"/>
              <a:gd name="connsiteY950" fmla="*/ 5996739 h 6479439"/>
              <a:gd name="connsiteX951" fmla="*/ 2389087 w 9586368"/>
              <a:gd name="connsiteY951" fmla="*/ 5986868 h 6479439"/>
              <a:gd name="connsiteX952" fmla="*/ 721960 w 9586368"/>
              <a:gd name="connsiteY952" fmla="*/ 5982829 h 6479439"/>
              <a:gd name="connsiteX953" fmla="*/ 731869 w 9586368"/>
              <a:gd name="connsiteY953" fmla="*/ 5982829 h 6479439"/>
              <a:gd name="connsiteX954" fmla="*/ 735888 w 9586368"/>
              <a:gd name="connsiteY954" fmla="*/ 5986868 h 6479439"/>
              <a:gd name="connsiteX955" fmla="*/ 735888 w 9586368"/>
              <a:gd name="connsiteY955" fmla="*/ 5996739 h 6479439"/>
              <a:gd name="connsiteX956" fmla="*/ 731869 w 9586368"/>
              <a:gd name="connsiteY956" fmla="*/ 6000778 h 6479439"/>
              <a:gd name="connsiteX957" fmla="*/ 721960 w 9586368"/>
              <a:gd name="connsiteY957" fmla="*/ 6000778 h 6479439"/>
              <a:gd name="connsiteX958" fmla="*/ 717940 w 9586368"/>
              <a:gd name="connsiteY958" fmla="*/ 5996739 h 6479439"/>
              <a:gd name="connsiteX959" fmla="*/ 717940 w 9586368"/>
              <a:gd name="connsiteY959" fmla="*/ 5986868 h 6479439"/>
              <a:gd name="connsiteX960" fmla="*/ 482647 w 9586368"/>
              <a:gd name="connsiteY960" fmla="*/ 5982829 h 6479439"/>
              <a:gd name="connsiteX961" fmla="*/ 492557 w 9586368"/>
              <a:gd name="connsiteY961" fmla="*/ 5982829 h 6479439"/>
              <a:gd name="connsiteX962" fmla="*/ 496576 w 9586368"/>
              <a:gd name="connsiteY962" fmla="*/ 5986868 h 6479439"/>
              <a:gd name="connsiteX963" fmla="*/ 496576 w 9586368"/>
              <a:gd name="connsiteY963" fmla="*/ 5996739 h 6479439"/>
              <a:gd name="connsiteX964" fmla="*/ 492557 w 9586368"/>
              <a:gd name="connsiteY964" fmla="*/ 6000778 h 6479439"/>
              <a:gd name="connsiteX965" fmla="*/ 482647 w 9586368"/>
              <a:gd name="connsiteY965" fmla="*/ 6000778 h 6479439"/>
              <a:gd name="connsiteX966" fmla="*/ 478628 w 9586368"/>
              <a:gd name="connsiteY966" fmla="*/ 5996739 h 6479439"/>
              <a:gd name="connsiteX967" fmla="*/ 478628 w 9586368"/>
              <a:gd name="connsiteY967" fmla="*/ 5986868 h 6479439"/>
              <a:gd name="connsiteX968" fmla="*/ 243334 w 9586368"/>
              <a:gd name="connsiteY968" fmla="*/ 5982829 h 6479439"/>
              <a:gd name="connsiteX969" fmla="*/ 253244 w 9586368"/>
              <a:gd name="connsiteY969" fmla="*/ 5982829 h 6479439"/>
              <a:gd name="connsiteX970" fmla="*/ 257263 w 9586368"/>
              <a:gd name="connsiteY970" fmla="*/ 5986868 h 6479439"/>
              <a:gd name="connsiteX971" fmla="*/ 257263 w 9586368"/>
              <a:gd name="connsiteY971" fmla="*/ 5996739 h 6479439"/>
              <a:gd name="connsiteX972" fmla="*/ 253244 w 9586368"/>
              <a:gd name="connsiteY972" fmla="*/ 6000778 h 6479439"/>
              <a:gd name="connsiteX973" fmla="*/ 243334 w 9586368"/>
              <a:gd name="connsiteY973" fmla="*/ 6000778 h 6479439"/>
              <a:gd name="connsiteX974" fmla="*/ 239315 w 9586368"/>
              <a:gd name="connsiteY974" fmla="*/ 5996739 h 6479439"/>
              <a:gd name="connsiteX975" fmla="*/ 239315 w 9586368"/>
              <a:gd name="connsiteY975" fmla="*/ 5986868 h 6479439"/>
              <a:gd name="connsiteX976" fmla="*/ 4021 w 9586368"/>
              <a:gd name="connsiteY976" fmla="*/ 5982829 h 6479439"/>
              <a:gd name="connsiteX977" fmla="*/ 13931 w 9586368"/>
              <a:gd name="connsiteY977" fmla="*/ 5982829 h 6479439"/>
              <a:gd name="connsiteX978" fmla="*/ 17950 w 9586368"/>
              <a:gd name="connsiteY978" fmla="*/ 5986868 h 6479439"/>
              <a:gd name="connsiteX979" fmla="*/ 17950 w 9586368"/>
              <a:gd name="connsiteY979" fmla="*/ 5996739 h 6479439"/>
              <a:gd name="connsiteX980" fmla="*/ 13931 w 9586368"/>
              <a:gd name="connsiteY980" fmla="*/ 6000778 h 6479439"/>
              <a:gd name="connsiteX981" fmla="*/ 4021 w 9586368"/>
              <a:gd name="connsiteY981" fmla="*/ 6000778 h 6479439"/>
              <a:gd name="connsiteX982" fmla="*/ 1 w 9586368"/>
              <a:gd name="connsiteY982" fmla="*/ 5996739 h 6479439"/>
              <a:gd name="connsiteX983" fmla="*/ 1 w 9586368"/>
              <a:gd name="connsiteY983" fmla="*/ 5986868 h 6479439"/>
              <a:gd name="connsiteX984" fmla="*/ 2157818 w 9586368"/>
              <a:gd name="connsiteY984" fmla="*/ 5743551 h 6479439"/>
              <a:gd name="connsiteX985" fmla="*/ 2167728 w 9586368"/>
              <a:gd name="connsiteY985" fmla="*/ 5743551 h 6479439"/>
              <a:gd name="connsiteX986" fmla="*/ 2171747 w 9586368"/>
              <a:gd name="connsiteY986" fmla="*/ 5747589 h 6479439"/>
              <a:gd name="connsiteX987" fmla="*/ 2171747 w 9586368"/>
              <a:gd name="connsiteY987" fmla="*/ 5757460 h 6479439"/>
              <a:gd name="connsiteX988" fmla="*/ 2167728 w 9586368"/>
              <a:gd name="connsiteY988" fmla="*/ 5761499 h 6479439"/>
              <a:gd name="connsiteX989" fmla="*/ 2157818 w 9586368"/>
              <a:gd name="connsiteY989" fmla="*/ 5761499 h 6479439"/>
              <a:gd name="connsiteX990" fmla="*/ 2153799 w 9586368"/>
              <a:gd name="connsiteY990" fmla="*/ 5757460 h 6479439"/>
              <a:gd name="connsiteX991" fmla="*/ 2153799 w 9586368"/>
              <a:gd name="connsiteY991" fmla="*/ 5747589 h 6479439"/>
              <a:gd name="connsiteX992" fmla="*/ 1918510 w 9586368"/>
              <a:gd name="connsiteY992" fmla="*/ 5743551 h 6479439"/>
              <a:gd name="connsiteX993" fmla="*/ 1928420 w 9586368"/>
              <a:gd name="connsiteY993" fmla="*/ 5743551 h 6479439"/>
              <a:gd name="connsiteX994" fmla="*/ 1932438 w 9586368"/>
              <a:gd name="connsiteY994" fmla="*/ 5747589 h 6479439"/>
              <a:gd name="connsiteX995" fmla="*/ 1932438 w 9586368"/>
              <a:gd name="connsiteY995" fmla="*/ 5757460 h 6479439"/>
              <a:gd name="connsiteX996" fmla="*/ 1928420 w 9586368"/>
              <a:gd name="connsiteY996" fmla="*/ 5761499 h 6479439"/>
              <a:gd name="connsiteX997" fmla="*/ 1918510 w 9586368"/>
              <a:gd name="connsiteY997" fmla="*/ 5761499 h 6479439"/>
              <a:gd name="connsiteX998" fmla="*/ 1914490 w 9586368"/>
              <a:gd name="connsiteY998" fmla="*/ 5757460 h 6479439"/>
              <a:gd name="connsiteX999" fmla="*/ 1914490 w 9586368"/>
              <a:gd name="connsiteY999" fmla="*/ 5747589 h 6479439"/>
              <a:gd name="connsiteX1000" fmla="*/ 1679201 w 9586368"/>
              <a:gd name="connsiteY1000" fmla="*/ 5743551 h 6479439"/>
              <a:gd name="connsiteX1001" fmla="*/ 1689112 w 9586368"/>
              <a:gd name="connsiteY1001" fmla="*/ 5743551 h 6479439"/>
              <a:gd name="connsiteX1002" fmla="*/ 1693131 w 9586368"/>
              <a:gd name="connsiteY1002" fmla="*/ 5747589 h 6479439"/>
              <a:gd name="connsiteX1003" fmla="*/ 1693131 w 9586368"/>
              <a:gd name="connsiteY1003" fmla="*/ 5757460 h 6479439"/>
              <a:gd name="connsiteX1004" fmla="*/ 1689112 w 9586368"/>
              <a:gd name="connsiteY1004" fmla="*/ 5761499 h 6479439"/>
              <a:gd name="connsiteX1005" fmla="*/ 1679201 w 9586368"/>
              <a:gd name="connsiteY1005" fmla="*/ 5761499 h 6479439"/>
              <a:gd name="connsiteX1006" fmla="*/ 1675183 w 9586368"/>
              <a:gd name="connsiteY1006" fmla="*/ 5757460 h 6479439"/>
              <a:gd name="connsiteX1007" fmla="*/ 1675183 w 9586368"/>
              <a:gd name="connsiteY1007" fmla="*/ 5747589 h 6479439"/>
              <a:gd name="connsiteX1008" fmla="*/ 1439886 w 9586368"/>
              <a:gd name="connsiteY1008" fmla="*/ 5743551 h 6479439"/>
              <a:gd name="connsiteX1009" fmla="*/ 1449797 w 9586368"/>
              <a:gd name="connsiteY1009" fmla="*/ 5743551 h 6479439"/>
              <a:gd name="connsiteX1010" fmla="*/ 1453815 w 9586368"/>
              <a:gd name="connsiteY1010" fmla="*/ 5747589 h 6479439"/>
              <a:gd name="connsiteX1011" fmla="*/ 1453815 w 9586368"/>
              <a:gd name="connsiteY1011" fmla="*/ 5757460 h 6479439"/>
              <a:gd name="connsiteX1012" fmla="*/ 1449797 w 9586368"/>
              <a:gd name="connsiteY1012" fmla="*/ 5761499 h 6479439"/>
              <a:gd name="connsiteX1013" fmla="*/ 1439886 w 9586368"/>
              <a:gd name="connsiteY1013" fmla="*/ 5761499 h 6479439"/>
              <a:gd name="connsiteX1014" fmla="*/ 1435868 w 9586368"/>
              <a:gd name="connsiteY1014" fmla="*/ 5757460 h 6479439"/>
              <a:gd name="connsiteX1015" fmla="*/ 1435868 w 9586368"/>
              <a:gd name="connsiteY1015" fmla="*/ 5747589 h 6479439"/>
              <a:gd name="connsiteX1016" fmla="*/ 1200572 w 9586368"/>
              <a:gd name="connsiteY1016" fmla="*/ 5743551 h 6479439"/>
              <a:gd name="connsiteX1017" fmla="*/ 1210482 w 9586368"/>
              <a:gd name="connsiteY1017" fmla="*/ 5743551 h 6479439"/>
              <a:gd name="connsiteX1018" fmla="*/ 1214500 w 9586368"/>
              <a:gd name="connsiteY1018" fmla="*/ 5747589 h 6479439"/>
              <a:gd name="connsiteX1019" fmla="*/ 1214500 w 9586368"/>
              <a:gd name="connsiteY1019" fmla="*/ 5757460 h 6479439"/>
              <a:gd name="connsiteX1020" fmla="*/ 1210482 w 9586368"/>
              <a:gd name="connsiteY1020" fmla="*/ 5761499 h 6479439"/>
              <a:gd name="connsiteX1021" fmla="*/ 1200572 w 9586368"/>
              <a:gd name="connsiteY1021" fmla="*/ 5761499 h 6479439"/>
              <a:gd name="connsiteX1022" fmla="*/ 1196553 w 9586368"/>
              <a:gd name="connsiteY1022" fmla="*/ 5757460 h 6479439"/>
              <a:gd name="connsiteX1023" fmla="*/ 1196553 w 9586368"/>
              <a:gd name="connsiteY1023" fmla="*/ 5747589 h 6479439"/>
              <a:gd name="connsiteX1024" fmla="*/ 961259 w 9586368"/>
              <a:gd name="connsiteY1024" fmla="*/ 5743551 h 6479439"/>
              <a:gd name="connsiteX1025" fmla="*/ 971169 w 9586368"/>
              <a:gd name="connsiteY1025" fmla="*/ 5743551 h 6479439"/>
              <a:gd name="connsiteX1026" fmla="*/ 975188 w 9586368"/>
              <a:gd name="connsiteY1026" fmla="*/ 5747589 h 6479439"/>
              <a:gd name="connsiteX1027" fmla="*/ 975188 w 9586368"/>
              <a:gd name="connsiteY1027" fmla="*/ 5757460 h 6479439"/>
              <a:gd name="connsiteX1028" fmla="*/ 971169 w 9586368"/>
              <a:gd name="connsiteY1028" fmla="*/ 5761499 h 6479439"/>
              <a:gd name="connsiteX1029" fmla="*/ 961259 w 9586368"/>
              <a:gd name="connsiteY1029" fmla="*/ 5761499 h 6479439"/>
              <a:gd name="connsiteX1030" fmla="*/ 957240 w 9586368"/>
              <a:gd name="connsiteY1030" fmla="*/ 5757460 h 6479439"/>
              <a:gd name="connsiteX1031" fmla="*/ 957240 w 9586368"/>
              <a:gd name="connsiteY1031" fmla="*/ 5747589 h 6479439"/>
              <a:gd name="connsiteX1032" fmla="*/ 9572438 w 9586368"/>
              <a:gd name="connsiteY1032" fmla="*/ 5743499 h 6479439"/>
              <a:gd name="connsiteX1033" fmla="*/ 9582349 w 9586368"/>
              <a:gd name="connsiteY1033" fmla="*/ 5743499 h 6479439"/>
              <a:gd name="connsiteX1034" fmla="*/ 9586368 w 9586368"/>
              <a:gd name="connsiteY1034" fmla="*/ 5747537 h 6479439"/>
              <a:gd name="connsiteX1035" fmla="*/ 9586368 w 9586368"/>
              <a:gd name="connsiteY1035" fmla="*/ 5757408 h 6479439"/>
              <a:gd name="connsiteX1036" fmla="*/ 9582349 w 9586368"/>
              <a:gd name="connsiteY1036" fmla="*/ 5761447 h 6479439"/>
              <a:gd name="connsiteX1037" fmla="*/ 9572438 w 9586368"/>
              <a:gd name="connsiteY1037" fmla="*/ 5761447 h 6479439"/>
              <a:gd name="connsiteX1038" fmla="*/ 9568419 w 9586368"/>
              <a:gd name="connsiteY1038" fmla="*/ 5757408 h 6479439"/>
              <a:gd name="connsiteX1039" fmla="*/ 9568419 w 9586368"/>
              <a:gd name="connsiteY1039" fmla="*/ 5747537 h 6479439"/>
              <a:gd name="connsiteX1040" fmla="*/ 9333125 w 9586368"/>
              <a:gd name="connsiteY1040" fmla="*/ 5743499 h 6479439"/>
              <a:gd name="connsiteX1041" fmla="*/ 9343036 w 9586368"/>
              <a:gd name="connsiteY1041" fmla="*/ 5743499 h 6479439"/>
              <a:gd name="connsiteX1042" fmla="*/ 9347055 w 9586368"/>
              <a:gd name="connsiteY1042" fmla="*/ 5747537 h 6479439"/>
              <a:gd name="connsiteX1043" fmla="*/ 9347055 w 9586368"/>
              <a:gd name="connsiteY1043" fmla="*/ 5757408 h 6479439"/>
              <a:gd name="connsiteX1044" fmla="*/ 9343036 w 9586368"/>
              <a:gd name="connsiteY1044" fmla="*/ 5761447 h 6479439"/>
              <a:gd name="connsiteX1045" fmla="*/ 9333125 w 9586368"/>
              <a:gd name="connsiteY1045" fmla="*/ 5761447 h 6479439"/>
              <a:gd name="connsiteX1046" fmla="*/ 9329106 w 9586368"/>
              <a:gd name="connsiteY1046" fmla="*/ 5757408 h 6479439"/>
              <a:gd name="connsiteX1047" fmla="*/ 9329106 w 9586368"/>
              <a:gd name="connsiteY1047" fmla="*/ 5747537 h 6479439"/>
              <a:gd name="connsiteX1048" fmla="*/ 9093811 w 9586368"/>
              <a:gd name="connsiteY1048" fmla="*/ 5743499 h 6479439"/>
              <a:gd name="connsiteX1049" fmla="*/ 9103722 w 9586368"/>
              <a:gd name="connsiteY1049" fmla="*/ 5743499 h 6479439"/>
              <a:gd name="connsiteX1050" fmla="*/ 9107741 w 9586368"/>
              <a:gd name="connsiteY1050" fmla="*/ 5747537 h 6479439"/>
              <a:gd name="connsiteX1051" fmla="*/ 9107741 w 9586368"/>
              <a:gd name="connsiteY1051" fmla="*/ 5757408 h 6479439"/>
              <a:gd name="connsiteX1052" fmla="*/ 9103722 w 9586368"/>
              <a:gd name="connsiteY1052" fmla="*/ 5761447 h 6479439"/>
              <a:gd name="connsiteX1053" fmla="*/ 9093811 w 9586368"/>
              <a:gd name="connsiteY1053" fmla="*/ 5761447 h 6479439"/>
              <a:gd name="connsiteX1054" fmla="*/ 9089792 w 9586368"/>
              <a:gd name="connsiteY1054" fmla="*/ 5757408 h 6479439"/>
              <a:gd name="connsiteX1055" fmla="*/ 9089792 w 9586368"/>
              <a:gd name="connsiteY1055" fmla="*/ 5747537 h 6479439"/>
              <a:gd name="connsiteX1056" fmla="*/ 8854496 w 9586368"/>
              <a:gd name="connsiteY1056" fmla="*/ 5743499 h 6479439"/>
              <a:gd name="connsiteX1057" fmla="*/ 8864407 w 9586368"/>
              <a:gd name="connsiteY1057" fmla="*/ 5743499 h 6479439"/>
              <a:gd name="connsiteX1058" fmla="*/ 8868426 w 9586368"/>
              <a:gd name="connsiteY1058" fmla="*/ 5747537 h 6479439"/>
              <a:gd name="connsiteX1059" fmla="*/ 8868426 w 9586368"/>
              <a:gd name="connsiteY1059" fmla="*/ 5757408 h 6479439"/>
              <a:gd name="connsiteX1060" fmla="*/ 8864407 w 9586368"/>
              <a:gd name="connsiteY1060" fmla="*/ 5761447 h 6479439"/>
              <a:gd name="connsiteX1061" fmla="*/ 8854496 w 9586368"/>
              <a:gd name="connsiteY1061" fmla="*/ 5761447 h 6479439"/>
              <a:gd name="connsiteX1062" fmla="*/ 8850477 w 9586368"/>
              <a:gd name="connsiteY1062" fmla="*/ 5757408 h 6479439"/>
              <a:gd name="connsiteX1063" fmla="*/ 8850477 w 9586368"/>
              <a:gd name="connsiteY1063" fmla="*/ 5747537 h 6479439"/>
              <a:gd name="connsiteX1064" fmla="*/ 8615184 w 9586368"/>
              <a:gd name="connsiteY1064" fmla="*/ 5743499 h 6479439"/>
              <a:gd name="connsiteX1065" fmla="*/ 8625095 w 9586368"/>
              <a:gd name="connsiteY1065" fmla="*/ 5743499 h 6479439"/>
              <a:gd name="connsiteX1066" fmla="*/ 8629114 w 9586368"/>
              <a:gd name="connsiteY1066" fmla="*/ 5747537 h 6479439"/>
              <a:gd name="connsiteX1067" fmla="*/ 8629114 w 9586368"/>
              <a:gd name="connsiteY1067" fmla="*/ 5757408 h 6479439"/>
              <a:gd name="connsiteX1068" fmla="*/ 8625095 w 9586368"/>
              <a:gd name="connsiteY1068" fmla="*/ 5761447 h 6479439"/>
              <a:gd name="connsiteX1069" fmla="*/ 8615184 w 9586368"/>
              <a:gd name="connsiteY1069" fmla="*/ 5761447 h 6479439"/>
              <a:gd name="connsiteX1070" fmla="*/ 8611165 w 9586368"/>
              <a:gd name="connsiteY1070" fmla="*/ 5757408 h 6479439"/>
              <a:gd name="connsiteX1071" fmla="*/ 8611165 w 9586368"/>
              <a:gd name="connsiteY1071" fmla="*/ 5747537 h 6479439"/>
              <a:gd name="connsiteX1072" fmla="*/ 8375869 w 9586368"/>
              <a:gd name="connsiteY1072" fmla="*/ 5743499 h 6479439"/>
              <a:gd name="connsiteX1073" fmla="*/ 8385779 w 9586368"/>
              <a:gd name="connsiteY1073" fmla="*/ 5743499 h 6479439"/>
              <a:gd name="connsiteX1074" fmla="*/ 8389799 w 9586368"/>
              <a:gd name="connsiteY1074" fmla="*/ 5747537 h 6479439"/>
              <a:gd name="connsiteX1075" fmla="*/ 8389799 w 9586368"/>
              <a:gd name="connsiteY1075" fmla="*/ 5757408 h 6479439"/>
              <a:gd name="connsiteX1076" fmla="*/ 8385779 w 9586368"/>
              <a:gd name="connsiteY1076" fmla="*/ 5761447 h 6479439"/>
              <a:gd name="connsiteX1077" fmla="*/ 8375869 w 9586368"/>
              <a:gd name="connsiteY1077" fmla="*/ 5761447 h 6479439"/>
              <a:gd name="connsiteX1078" fmla="*/ 8371850 w 9586368"/>
              <a:gd name="connsiteY1078" fmla="*/ 5757408 h 6479439"/>
              <a:gd name="connsiteX1079" fmla="*/ 8371850 w 9586368"/>
              <a:gd name="connsiteY1079" fmla="*/ 5747537 h 6479439"/>
              <a:gd name="connsiteX1080" fmla="*/ 8136553 w 9586368"/>
              <a:gd name="connsiteY1080" fmla="*/ 5743499 h 6479439"/>
              <a:gd name="connsiteX1081" fmla="*/ 8146464 w 9586368"/>
              <a:gd name="connsiteY1081" fmla="*/ 5743499 h 6479439"/>
              <a:gd name="connsiteX1082" fmla="*/ 8150483 w 9586368"/>
              <a:gd name="connsiteY1082" fmla="*/ 5747537 h 6479439"/>
              <a:gd name="connsiteX1083" fmla="*/ 8150483 w 9586368"/>
              <a:gd name="connsiteY1083" fmla="*/ 5757408 h 6479439"/>
              <a:gd name="connsiteX1084" fmla="*/ 8146464 w 9586368"/>
              <a:gd name="connsiteY1084" fmla="*/ 5761447 h 6479439"/>
              <a:gd name="connsiteX1085" fmla="*/ 8136553 w 9586368"/>
              <a:gd name="connsiteY1085" fmla="*/ 5761447 h 6479439"/>
              <a:gd name="connsiteX1086" fmla="*/ 8132534 w 9586368"/>
              <a:gd name="connsiteY1086" fmla="*/ 5757408 h 6479439"/>
              <a:gd name="connsiteX1087" fmla="*/ 8132534 w 9586368"/>
              <a:gd name="connsiteY1087" fmla="*/ 5747537 h 6479439"/>
              <a:gd name="connsiteX1088" fmla="*/ 7897241 w 9586368"/>
              <a:gd name="connsiteY1088" fmla="*/ 5743499 h 6479439"/>
              <a:gd name="connsiteX1089" fmla="*/ 7907151 w 9586368"/>
              <a:gd name="connsiteY1089" fmla="*/ 5743499 h 6479439"/>
              <a:gd name="connsiteX1090" fmla="*/ 7911170 w 9586368"/>
              <a:gd name="connsiteY1090" fmla="*/ 5747537 h 6479439"/>
              <a:gd name="connsiteX1091" fmla="*/ 7911170 w 9586368"/>
              <a:gd name="connsiteY1091" fmla="*/ 5757408 h 6479439"/>
              <a:gd name="connsiteX1092" fmla="*/ 7907151 w 9586368"/>
              <a:gd name="connsiteY1092" fmla="*/ 5761447 h 6479439"/>
              <a:gd name="connsiteX1093" fmla="*/ 7897241 w 9586368"/>
              <a:gd name="connsiteY1093" fmla="*/ 5761447 h 6479439"/>
              <a:gd name="connsiteX1094" fmla="*/ 7893222 w 9586368"/>
              <a:gd name="connsiteY1094" fmla="*/ 5757408 h 6479439"/>
              <a:gd name="connsiteX1095" fmla="*/ 7893222 w 9586368"/>
              <a:gd name="connsiteY1095" fmla="*/ 5747537 h 6479439"/>
              <a:gd name="connsiteX1096" fmla="*/ 7657926 w 9586368"/>
              <a:gd name="connsiteY1096" fmla="*/ 5743499 h 6479439"/>
              <a:gd name="connsiteX1097" fmla="*/ 7667836 w 9586368"/>
              <a:gd name="connsiteY1097" fmla="*/ 5743499 h 6479439"/>
              <a:gd name="connsiteX1098" fmla="*/ 7671855 w 9586368"/>
              <a:gd name="connsiteY1098" fmla="*/ 5747537 h 6479439"/>
              <a:gd name="connsiteX1099" fmla="*/ 7671855 w 9586368"/>
              <a:gd name="connsiteY1099" fmla="*/ 5757408 h 6479439"/>
              <a:gd name="connsiteX1100" fmla="*/ 7667836 w 9586368"/>
              <a:gd name="connsiteY1100" fmla="*/ 5761447 h 6479439"/>
              <a:gd name="connsiteX1101" fmla="*/ 7657926 w 9586368"/>
              <a:gd name="connsiteY1101" fmla="*/ 5761447 h 6479439"/>
              <a:gd name="connsiteX1102" fmla="*/ 7653906 w 9586368"/>
              <a:gd name="connsiteY1102" fmla="*/ 5757408 h 6479439"/>
              <a:gd name="connsiteX1103" fmla="*/ 7653906 w 9586368"/>
              <a:gd name="connsiteY1103" fmla="*/ 5747537 h 6479439"/>
              <a:gd name="connsiteX1104" fmla="*/ 7418611 w 9586368"/>
              <a:gd name="connsiteY1104" fmla="*/ 5743499 h 6479439"/>
              <a:gd name="connsiteX1105" fmla="*/ 7428521 w 9586368"/>
              <a:gd name="connsiteY1105" fmla="*/ 5743499 h 6479439"/>
              <a:gd name="connsiteX1106" fmla="*/ 7432540 w 9586368"/>
              <a:gd name="connsiteY1106" fmla="*/ 5747537 h 6479439"/>
              <a:gd name="connsiteX1107" fmla="*/ 7432540 w 9586368"/>
              <a:gd name="connsiteY1107" fmla="*/ 5757408 h 6479439"/>
              <a:gd name="connsiteX1108" fmla="*/ 7428521 w 9586368"/>
              <a:gd name="connsiteY1108" fmla="*/ 5761447 h 6479439"/>
              <a:gd name="connsiteX1109" fmla="*/ 7418611 w 9586368"/>
              <a:gd name="connsiteY1109" fmla="*/ 5761447 h 6479439"/>
              <a:gd name="connsiteX1110" fmla="*/ 7414592 w 9586368"/>
              <a:gd name="connsiteY1110" fmla="*/ 5757408 h 6479439"/>
              <a:gd name="connsiteX1111" fmla="*/ 7414592 w 9586368"/>
              <a:gd name="connsiteY1111" fmla="*/ 5747537 h 6479439"/>
              <a:gd name="connsiteX1112" fmla="*/ 7179298 w 9586368"/>
              <a:gd name="connsiteY1112" fmla="*/ 5743499 h 6479439"/>
              <a:gd name="connsiteX1113" fmla="*/ 7189209 w 9586368"/>
              <a:gd name="connsiteY1113" fmla="*/ 5743499 h 6479439"/>
              <a:gd name="connsiteX1114" fmla="*/ 7193228 w 9586368"/>
              <a:gd name="connsiteY1114" fmla="*/ 5747537 h 6479439"/>
              <a:gd name="connsiteX1115" fmla="*/ 7193228 w 9586368"/>
              <a:gd name="connsiteY1115" fmla="*/ 5757408 h 6479439"/>
              <a:gd name="connsiteX1116" fmla="*/ 7189209 w 9586368"/>
              <a:gd name="connsiteY1116" fmla="*/ 5761447 h 6479439"/>
              <a:gd name="connsiteX1117" fmla="*/ 7179298 w 9586368"/>
              <a:gd name="connsiteY1117" fmla="*/ 5761447 h 6479439"/>
              <a:gd name="connsiteX1118" fmla="*/ 7175279 w 9586368"/>
              <a:gd name="connsiteY1118" fmla="*/ 5757408 h 6479439"/>
              <a:gd name="connsiteX1119" fmla="*/ 7175279 w 9586368"/>
              <a:gd name="connsiteY1119" fmla="*/ 5747537 h 6479439"/>
              <a:gd name="connsiteX1120" fmla="*/ 6939983 w 9586368"/>
              <a:gd name="connsiteY1120" fmla="*/ 5743499 h 6479439"/>
              <a:gd name="connsiteX1121" fmla="*/ 6949894 w 9586368"/>
              <a:gd name="connsiteY1121" fmla="*/ 5743499 h 6479439"/>
              <a:gd name="connsiteX1122" fmla="*/ 6953913 w 9586368"/>
              <a:gd name="connsiteY1122" fmla="*/ 5747537 h 6479439"/>
              <a:gd name="connsiteX1123" fmla="*/ 6953913 w 9586368"/>
              <a:gd name="connsiteY1123" fmla="*/ 5757408 h 6479439"/>
              <a:gd name="connsiteX1124" fmla="*/ 6949894 w 9586368"/>
              <a:gd name="connsiteY1124" fmla="*/ 5761447 h 6479439"/>
              <a:gd name="connsiteX1125" fmla="*/ 6939983 w 9586368"/>
              <a:gd name="connsiteY1125" fmla="*/ 5761447 h 6479439"/>
              <a:gd name="connsiteX1126" fmla="*/ 6935964 w 9586368"/>
              <a:gd name="connsiteY1126" fmla="*/ 5757408 h 6479439"/>
              <a:gd name="connsiteX1127" fmla="*/ 6935964 w 9586368"/>
              <a:gd name="connsiteY1127" fmla="*/ 5747537 h 6479439"/>
              <a:gd name="connsiteX1128" fmla="*/ 6700670 w 9586368"/>
              <a:gd name="connsiteY1128" fmla="*/ 5743499 h 6479439"/>
              <a:gd name="connsiteX1129" fmla="*/ 6710581 w 9586368"/>
              <a:gd name="connsiteY1129" fmla="*/ 5743499 h 6479439"/>
              <a:gd name="connsiteX1130" fmla="*/ 6714600 w 9586368"/>
              <a:gd name="connsiteY1130" fmla="*/ 5747537 h 6479439"/>
              <a:gd name="connsiteX1131" fmla="*/ 6714600 w 9586368"/>
              <a:gd name="connsiteY1131" fmla="*/ 5757408 h 6479439"/>
              <a:gd name="connsiteX1132" fmla="*/ 6710581 w 9586368"/>
              <a:gd name="connsiteY1132" fmla="*/ 5761447 h 6479439"/>
              <a:gd name="connsiteX1133" fmla="*/ 6700670 w 9586368"/>
              <a:gd name="connsiteY1133" fmla="*/ 5761447 h 6479439"/>
              <a:gd name="connsiteX1134" fmla="*/ 6696651 w 9586368"/>
              <a:gd name="connsiteY1134" fmla="*/ 5757408 h 6479439"/>
              <a:gd name="connsiteX1135" fmla="*/ 6696651 w 9586368"/>
              <a:gd name="connsiteY1135" fmla="*/ 5747537 h 6479439"/>
              <a:gd name="connsiteX1136" fmla="*/ 6461356 w 9586368"/>
              <a:gd name="connsiteY1136" fmla="*/ 5743499 h 6479439"/>
              <a:gd name="connsiteX1137" fmla="*/ 6471266 w 9586368"/>
              <a:gd name="connsiteY1137" fmla="*/ 5743499 h 6479439"/>
              <a:gd name="connsiteX1138" fmla="*/ 6475285 w 9586368"/>
              <a:gd name="connsiteY1138" fmla="*/ 5747537 h 6479439"/>
              <a:gd name="connsiteX1139" fmla="*/ 6475285 w 9586368"/>
              <a:gd name="connsiteY1139" fmla="*/ 5757408 h 6479439"/>
              <a:gd name="connsiteX1140" fmla="*/ 6471266 w 9586368"/>
              <a:gd name="connsiteY1140" fmla="*/ 5761447 h 6479439"/>
              <a:gd name="connsiteX1141" fmla="*/ 6461356 w 9586368"/>
              <a:gd name="connsiteY1141" fmla="*/ 5761447 h 6479439"/>
              <a:gd name="connsiteX1142" fmla="*/ 6457337 w 9586368"/>
              <a:gd name="connsiteY1142" fmla="*/ 5757408 h 6479439"/>
              <a:gd name="connsiteX1143" fmla="*/ 6457337 w 9586368"/>
              <a:gd name="connsiteY1143" fmla="*/ 5747537 h 6479439"/>
              <a:gd name="connsiteX1144" fmla="*/ 6222042 w 9586368"/>
              <a:gd name="connsiteY1144" fmla="*/ 5743499 h 6479439"/>
              <a:gd name="connsiteX1145" fmla="*/ 6231952 w 9586368"/>
              <a:gd name="connsiteY1145" fmla="*/ 5743499 h 6479439"/>
              <a:gd name="connsiteX1146" fmla="*/ 6235971 w 9586368"/>
              <a:gd name="connsiteY1146" fmla="*/ 5747537 h 6479439"/>
              <a:gd name="connsiteX1147" fmla="*/ 6235971 w 9586368"/>
              <a:gd name="connsiteY1147" fmla="*/ 5757408 h 6479439"/>
              <a:gd name="connsiteX1148" fmla="*/ 6231952 w 9586368"/>
              <a:gd name="connsiteY1148" fmla="*/ 5761447 h 6479439"/>
              <a:gd name="connsiteX1149" fmla="*/ 6222042 w 9586368"/>
              <a:gd name="connsiteY1149" fmla="*/ 5761447 h 6479439"/>
              <a:gd name="connsiteX1150" fmla="*/ 6218023 w 9586368"/>
              <a:gd name="connsiteY1150" fmla="*/ 5757408 h 6479439"/>
              <a:gd name="connsiteX1151" fmla="*/ 6218023 w 9586368"/>
              <a:gd name="connsiteY1151" fmla="*/ 5747537 h 6479439"/>
              <a:gd name="connsiteX1152" fmla="*/ 5982729 w 9586368"/>
              <a:gd name="connsiteY1152" fmla="*/ 5743499 h 6479439"/>
              <a:gd name="connsiteX1153" fmla="*/ 5992639 w 9586368"/>
              <a:gd name="connsiteY1153" fmla="*/ 5743499 h 6479439"/>
              <a:gd name="connsiteX1154" fmla="*/ 5996658 w 9586368"/>
              <a:gd name="connsiteY1154" fmla="*/ 5747537 h 6479439"/>
              <a:gd name="connsiteX1155" fmla="*/ 5996658 w 9586368"/>
              <a:gd name="connsiteY1155" fmla="*/ 5757408 h 6479439"/>
              <a:gd name="connsiteX1156" fmla="*/ 5992639 w 9586368"/>
              <a:gd name="connsiteY1156" fmla="*/ 5761447 h 6479439"/>
              <a:gd name="connsiteX1157" fmla="*/ 5982729 w 9586368"/>
              <a:gd name="connsiteY1157" fmla="*/ 5761447 h 6479439"/>
              <a:gd name="connsiteX1158" fmla="*/ 5978710 w 9586368"/>
              <a:gd name="connsiteY1158" fmla="*/ 5757408 h 6479439"/>
              <a:gd name="connsiteX1159" fmla="*/ 5978710 w 9586368"/>
              <a:gd name="connsiteY1159" fmla="*/ 5747537 h 6479439"/>
              <a:gd name="connsiteX1160" fmla="*/ 5743412 w 9586368"/>
              <a:gd name="connsiteY1160" fmla="*/ 5743499 h 6479439"/>
              <a:gd name="connsiteX1161" fmla="*/ 5753323 w 9586368"/>
              <a:gd name="connsiteY1161" fmla="*/ 5743499 h 6479439"/>
              <a:gd name="connsiteX1162" fmla="*/ 5757342 w 9586368"/>
              <a:gd name="connsiteY1162" fmla="*/ 5747537 h 6479439"/>
              <a:gd name="connsiteX1163" fmla="*/ 5757342 w 9586368"/>
              <a:gd name="connsiteY1163" fmla="*/ 5757408 h 6479439"/>
              <a:gd name="connsiteX1164" fmla="*/ 5753323 w 9586368"/>
              <a:gd name="connsiteY1164" fmla="*/ 5761447 h 6479439"/>
              <a:gd name="connsiteX1165" fmla="*/ 5743412 w 9586368"/>
              <a:gd name="connsiteY1165" fmla="*/ 5761447 h 6479439"/>
              <a:gd name="connsiteX1166" fmla="*/ 5739393 w 9586368"/>
              <a:gd name="connsiteY1166" fmla="*/ 5757408 h 6479439"/>
              <a:gd name="connsiteX1167" fmla="*/ 5739393 w 9586368"/>
              <a:gd name="connsiteY1167" fmla="*/ 5747537 h 6479439"/>
              <a:gd name="connsiteX1168" fmla="*/ 5504099 w 9586368"/>
              <a:gd name="connsiteY1168" fmla="*/ 5743499 h 6479439"/>
              <a:gd name="connsiteX1169" fmla="*/ 5514010 w 9586368"/>
              <a:gd name="connsiteY1169" fmla="*/ 5743499 h 6479439"/>
              <a:gd name="connsiteX1170" fmla="*/ 5518029 w 9586368"/>
              <a:gd name="connsiteY1170" fmla="*/ 5747537 h 6479439"/>
              <a:gd name="connsiteX1171" fmla="*/ 5518029 w 9586368"/>
              <a:gd name="connsiteY1171" fmla="*/ 5757408 h 6479439"/>
              <a:gd name="connsiteX1172" fmla="*/ 5514010 w 9586368"/>
              <a:gd name="connsiteY1172" fmla="*/ 5761447 h 6479439"/>
              <a:gd name="connsiteX1173" fmla="*/ 5504099 w 9586368"/>
              <a:gd name="connsiteY1173" fmla="*/ 5761447 h 6479439"/>
              <a:gd name="connsiteX1174" fmla="*/ 5500080 w 9586368"/>
              <a:gd name="connsiteY1174" fmla="*/ 5757408 h 6479439"/>
              <a:gd name="connsiteX1175" fmla="*/ 5500080 w 9586368"/>
              <a:gd name="connsiteY1175" fmla="*/ 5747537 h 6479439"/>
              <a:gd name="connsiteX1176" fmla="*/ 5264784 w 9586368"/>
              <a:gd name="connsiteY1176" fmla="*/ 5743499 h 6479439"/>
              <a:gd name="connsiteX1177" fmla="*/ 5274694 w 9586368"/>
              <a:gd name="connsiteY1177" fmla="*/ 5743499 h 6479439"/>
              <a:gd name="connsiteX1178" fmla="*/ 5278713 w 9586368"/>
              <a:gd name="connsiteY1178" fmla="*/ 5747537 h 6479439"/>
              <a:gd name="connsiteX1179" fmla="*/ 5278713 w 9586368"/>
              <a:gd name="connsiteY1179" fmla="*/ 5757408 h 6479439"/>
              <a:gd name="connsiteX1180" fmla="*/ 5274694 w 9586368"/>
              <a:gd name="connsiteY1180" fmla="*/ 5761447 h 6479439"/>
              <a:gd name="connsiteX1181" fmla="*/ 5264784 w 9586368"/>
              <a:gd name="connsiteY1181" fmla="*/ 5761447 h 6479439"/>
              <a:gd name="connsiteX1182" fmla="*/ 5260765 w 9586368"/>
              <a:gd name="connsiteY1182" fmla="*/ 5757408 h 6479439"/>
              <a:gd name="connsiteX1183" fmla="*/ 5260765 w 9586368"/>
              <a:gd name="connsiteY1183" fmla="*/ 5747537 h 6479439"/>
              <a:gd name="connsiteX1184" fmla="*/ 5025470 w 9586368"/>
              <a:gd name="connsiteY1184" fmla="*/ 5743499 h 6479439"/>
              <a:gd name="connsiteX1185" fmla="*/ 5035381 w 9586368"/>
              <a:gd name="connsiteY1185" fmla="*/ 5743499 h 6479439"/>
              <a:gd name="connsiteX1186" fmla="*/ 5039400 w 9586368"/>
              <a:gd name="connsiteY1186" fmla="*/ 5747537 h 6479439"/>
              <a:gd name="connsiteX1187" fmla="*/ 5039400 w 9586368"/>
              <a:gd name="connsiteY1187" fmla="*/ 5757408 h 6479439"/>
              <a:gd name="connsiteX1188" fmla="*/ 5035381 w 9586368"/>
              <a:gd name="connsiteY1188" fmla="*/ 5761447 h 6479439"/>
              <a:gd name="connsiteX1189" fmla="*/ 5025470 w 9586368"/>
              <a:gd name="connsiteY1189" fmla="*/ 5761447 h 6479439"/>
              <a:gd name="connsiteX1190" fmla="*/ 5021451 w 9586368"/>
              <a:gd name="connsiteY1190" fmla="*/ 5757408 h 6479439"/>
              <a:gd name="connsiteX1191" fmla="*/ 5021451 w 9586368"/>
              <a:gd name="connsiteY1191" fmla="*/ 5747537 h 6479439"/>
              <a:gd name="connsiteX1192" fmla="*/ 4786241 w 9586368"/>
              <a:gd name="connsiteY1192" fmla="*/ 5743499 h 6479439"/>
              <a:gd name="connsiteX1193" fmla="*/ 4796152 w 9586368"/>
              <a:gd name="connsiteY1193" fmla="*/ 5743499 h 6479439"/>
              <a:gd name="connsiteX1194" fmla="*/ 4800171 w 9586368"/>
              <a:gd name="connsiteY1194" fmla="*/ 5747537 h 6479439"/>
              <a:gd name="connsiteX1195" fmla="*/ 4800171 w 9586368"/>
              <a:gd name="connsiteY1195" fmla="*/ 5757408 h 6479439"/>
              <a:gd name="connsiteX1196" fmla="*/ 4796152 w 9586368"/>
              <a:gd name="connsiteY1196" fmla="*/ 5761447 h 6479439"/>
              <a:gd name="connsiteX1197" fmla="*/ 4786241 w 9586368"/>
              <a:gd name="connsiteY1197" fmla="*/ 5761447 h 6479439"/>
              <a:gd name="connsiteX1198" fmla="*/ 4782224 w 9586368"/>
              <a:gd name="connsiteY1198" fmla="*/ 5757408 h 6479439"/>
              <a:gd name="connsiteX1199" fmla="*/ 4782224 w 9586368"/>
              <a:gd name="connsiteY1199" fmla="*/ 5747537 h 6479439"/>
              <a:gd name="connsiteX1200" fmla="*/ 4546929 w 9586368"/>
              <a:gd name="connsiteY1200" fmla="*/ 5743499 h 6479439"/>
              <a:gd name="connsiteX1201" fmla="*/ 4556840 w 9586368"/>
              <a:gd name="connsiteY1201" fmla="*/ 5743499 h 6479439"/>
              <a:gd name="connsiteX1202" fmla="*/ 4560859 w 9586368"/>
              <a:gd name="connsiteY1202" fmla="*/ 5747537 h 6479439"/>
              <a:gd name="connsiteX1203" fmla="*/ 4560859 w 9586368"/>
              <a:gd name="connsiteY1203" fmla="*/ 5757408 h 6479439"/>
              <a:gd name="connsiteX1204" fmla="*/ 4556840 w 9586368"/>
              <a:gd name="connsiteY1204" fmla="*/ 5761447 h 6479439"/>
              <a:gd name="connsiteX1205" fmla="*/ 4546929 w 9586368"/>
              <a:gd name="connsiteY1205" fmla="*/ 5761447 h 6479439"/>
              <a:gd name="connsiteX1206" fmla="*/ 4542910 w 9586368"/>
              <a:gd name="connsiteY1206" fmla="*/ 5757408 h 6479439"/>
              <a:gd name="connsiteX1207" fmla="*/ 4542910 w 9586368"/>
              <a:gd name="connsiteY1207" fmla="*/ 5747537 h 6479439"/>
              <a:gd name="connsiteX1208" fmla="*/ 4307612 w 9586368"/>
              <a:gd name="connsiteY1208" fmla="*/ 5743499 h 6479439"/>
              <a:gd name="connsiteX1209" fmla="*/ 4317523 w 9586368"/>
              <a:gd name="connsiteY1209" fmla="*/ 5743499 h 6479439"/>
              <a:gd name="connsiteX1210" fmla="*/ 4321543 w 9586368"/>
              <a:gd name="connsiteY1210" fmla="*/ 5747537 h 6479439"/>
              <a:gd name="connsiteX1211" fmla="*/ 4321543 w 9586368"/>
              <a:gd name="connsiteY1211" fmla="*/ 5757408 h 6479439"/>
              <a:gd name="connsiteX1212" fmla="*/ 4317523 w 9586368"/>
              <a:gd name="connsiteY1212" fmla="*/ 5761447 h 6479439"/>
              <a:gd name="connsiteX1213" fmla="*/ 4307612 w 9586368"/>
              <a:gd name="connsiteY1213" fmla="*/ 5761447 h 6479439"/>
              <a:gd name="connsiteX1214" fmla="*/ 4303595 w 9586368"/>
              <a:gd name="connsiteY1214" fmla="*/ 5757408 h 6479439"/>
              <a:gd name="connsiteX1215" fmla="*/ 4303595 w 9586368"/>
              <a:gd name="connsiteY1215" fmla="*/ 5747537 h 6479439"/>
              <a:gd name="connsiteX1216" fmla="*/ 4068297 w 9586368"/>
              <a:gd name="connsiteY1216" fmla="*/ 5743499 h 6479439"/>
              <a:gd name="connsiteX1217" fmla="*/ 4078210 w 9586368"/>
              <a:gd name="connsiteY1217" fmla="*/ 5743499 h 6479439"/>
              <a:gd name="connsiteX1218" fmla="*/ 4082229 w 9586368"/>
              <a:gd name="connsiteY1218" fmla="*/ 5747537 h 6479439"/>
              <a:gd name="connsiteX1219" fmla="*/ 4082229 w 9586368"/>
              <a:gd name="connsiteY1219" fmla="*/ 5757408 h 6479439"/>
              <a:gd name="connsiteX1220" fmla="*/ 4078210 w 9586368"/>
              <a:gd name="connsiteY1220" fmla="*/ 5761447 h 6479439"/>
              <a:gd name="connsiteX1221" fmla="*/ 4068297 w 9586368"/>
              <a:gd name="connsiteY1221" fmla="*/ 5761447 h 6479439"/>
              <a:gd name="connsiteX1222" fmla="*/ 4064278 w 9586368"/>
              <a:gd name="connsiteY1222" fmla="*/ 5757408 h 6479439"/>
              <a:gd name="connsiteX1223" fmla="*/ 4064278 w 9586368"/>
              <a:gd name="connsiteY1223" fmla="*/ 5747537 h 6479439"/>
              <a:gd name="connsiteX1224" fmla="*/ 3828990 w 9586368"/>
              <a:gd name="connsiteY1224" fmla="*/ 5743499 h 6479439"/>
              <a:gd name="connsiteX1225" fmla="*/ 3838899 w 9586368"/>
              <a:gd name="connsiteY1225" fmla="*/ 5743499 h 6479439"/>
              <a:gd name="connsiteX1226" fmla="*/ 3842917 w 9586368"/>
              <a:gd name="connsiteY1226" fmla="*/ 5747537 h 6479439"/>
              <a:gd name="connsiteX1227" fmla="*/ 3842917 w 9586368"/>
              <a:gd name="connsiteY1227" fmla="*/ 5757408 h 6479439"/>
              <a:gd name="connsiteX1228" fmla="*/ 3838899 w 9586368"/>
              <a:gd name="connsiteY1228" fmla="*/ 5761447 h 6479439"/>
              <a:gd name="connsiteX1229" fmla="*/ 3828990 w 9586368"/>
              <a:gd name="connsiteY1229" fmla="*/ 5761447 h 6479439"/>
              <a:gd name="connsiteX1230" fmla="*/ 3824971 w 9586368"/>
              <a:gd name="connsiteY1230" fmla="*/ 5757408 h 6479439"/>
              <a:gd name="connsiteX1231" fmla="*/ 3824971 w 9586368"/>
              <a:gd name="connsiteY1231" fmla="*/ 5747537 h 6479439"/>
              <a:gd name="connsiteX1232" fmla="*/ 3589676 w 9586368"/>
              <a:gd name="connsiteY1232" fmla="*/ 5743499 h 6479439"/>
              <a:gd name="connsiteX1233" fmla="*/ 3599585 w 9586368"/>
              <a:gd name="connsiteY1233" fmla="*/ 5743499 h 6479439"/>
              <a:gd name="connsiteX1234" fmla="*/ 3603604 w 9586368"/>
              <a:gd name="connsiteY1234" fmla="*/ 5747537 h 6479439"/>
              <a:gd name="connsiteX1235" fmla="*/ 3603604 w 9586368"/>
              <a:gd name="connsiteY1235" fmla="*/ 5757408 h 6479439"/>
              <a:gd name="connsiteX1236" fmla="*/ 3599585 w 9586368"/>
              <a:gd name="connsiteY1236" fmla="*/ 5761447 h 6479439"/>
              <a:gd name="connsiteX1237" fmla="*/ 3589676 w 9586368"/>
              <a:gd name="connsiteY1237" fmla="*/ 5761447 h 6479439"/>
              <a:gd name="connsiteX1238" fmla="*/ 3585657 w 9586368"/>
              <a:gd name="connsiteY1238" fmla="*/ 5757408 h 6479439"/>
              <a:gd name="connsiteX1239" fmla="*/ 3585657 w 9586368"/>
              <a:gd name="connsiteY1239" fmla="*/ 5747537 h 6479439"/>
              <a:gd name="connsiteX1240" fmla="*/ 3350359 w 9586368"/>
              <a:gd name="connsiteY1240" fmla="*/ 5743499 h 6479439"/>
              <a:gd name="connsiteX1241" fmla="*/ 3360268 w 9586368"/>
              <a:gd name="connsiteY1241" fmla="*/ 5743499 h 6479439"/>
              <a:gd name="connsiteX1242" fmla="*/ 3364287 w 9586368"/>
              <a:gd name="connsiteY1242" fmla="*/ 5747537 h 6479439"/>
              <a:gd name="connsiteX1243" fmla="*/ 3364287 w 9586368"/>
              <a:gd name="connsiteY1243" fmla="*/ 5757408 h 6479439"/>
              <a:gd name="connsiteX1244" fmla="*/ 3360268 w 9586368"/>
              <a:gd name="connsiteY1244" fmla="*/ 5761447 h 6479439"/>
              <a:gd name="connsiteX1245" fmla="*/ 3350359 w 9586368"/>
              <a:gd name="connsiteY1245" fmla="*/ 5761447 h 6479439"/>
              <a:gd name="connsiteX1246" fmla="*/ 3346340 w 9586368"/>
              <a:gd name="connsiteY1246" fmla="*/ 5757408 h 6479439"/>
              <a:gd name="connsiteX1247" fmla="*/ 3346340 w 9586368"/>
              <a:gd name="connsiteY1247" fmla="*/ 5747537 h 6479439"/>
              <a:gd name="connsiteX1248" fmla="*/ 3111048 w 9586368"/>
              <a:gd name="connsiteY1248" fmla="*/ 5743499 h 6479439"/>
              <a:gd name="connsiteX1249" fmla="*/ 3120959 w 9586368"/>
              <a:gd name="connsiteY1249" fmla="*/ 5743499 h 6479439"/>
              <a:gd name="connsiteX1250" fmla="*/ 3124977 w 9586368"/>
              <a:gd name="connsiteY1250" fmla="*/ 5747537 h 6479439"/>
              <a:gd name="connsiteX1251" fmla="*/ 3124977 w 9586368"/>
              <a:gd name="connsiteY1251" fmla="*/ 5757408 h 6479439"/>
              <a:gd name="connsiteX1252" fmla="*/ 3120959 w 9586368"/>
              <a:gd name="connsiteY1252" fmla="*/ 5761447 h 6479439"/>
              <a:gd name="connsiteX1253" fmla="*/ 3111048 w 9586368"/>
              <a:gd name="connsiteY1253" fmla="*/ 5761447 h 6479439"/>
              <a:gd name="connsiteX1254" fmla="*/ 3107029 w 9586368"/>
              <a:gd name="connsiteY1254" fmla="*/ 5757408 h 6479439"/>
              <a:gd name="connsiteX1255" fmla="*/ 3107029 w 9586368"/>
              <a:gd name="connsiteY1255" fmla="*/ 5747537 h 6479439"/>
              <a:gd name="connsiteX1256" fmla="*/ 2871737 w 9586368"/>
              <a:gd name="connsiteY1256" fmla="*/ 5743499 h 6479439"/>
              <a:gd name="connsiteX1257" fmla="*/ 2881646 w 9586368"/>
              <a:gd name="connsiteY1257" fmla="*/ 5743499 h 6479439"/>
              <a:gd name="connsiteX1258" fmla="*/ 2885666 w 9586368"/>
              <a:gd name="connsiteY1258" fmla="*/ 5747537 h 6479439"/>
              <a:gd name="connsiteX1259" fmla="*/ 2885666 w 9586368"/>
              <a:gd name="connsiteY1259" fmla="*/ 5757408 h 6479439"/>
              <a:gd name="connsiteX1260" fmla="*/ 2881646 w 9586368"/>
              <a:gd name="connsiteY1260" fmla="*/ 5761447 h 6479439"/>
              <a:gd name="connsiteX1261" fmla="*/ 2871737 w 9586368"/>
              <a:gd name="connsiteY1261" fmla="*/ 5761447 h 6479439"/>
              <a:gd name="connsiteX1262" fmla="*/ 2867717 w 9586368"/>
              <a:gd name="connsiteY1262" fmla="*/ 5757408 h 6479439"/>
              <a:gd name="connsiteX1263" fmla="*/ 2867717 w 9586368"/>
              <a:gd name="connsiteY1263" fmla="*/ 5747537 h 6479439"/>
              <a:gd name="connsiteX1264" fmla="*/ 2632423 w 9586368"/>
              <a:gd name="connsiteY1264" fmla="*/ 5743499 h 6479439"/>
              <a:gd name="connsiteX1265" fmla="*/ 2642334 w 9586368"/>
              <a:gd name="connsiteY1265" fmla="*/ 5743499 h 6479439"/>
              <a:gd name="connsiteX1266" fmla="*/ 2646352 w 9586368"/>
              <a:gd name="connsiteY1266" fmla="*/ 5747537 h 6479439"/>
              <a:gd name="connsiteX1267" fmla="*/ 2646352 w 9586368"/>
              <a:gd name="connsiteY1267" fmla="*/ 5757408 h 6479439"/>
              <a:gd name="connsiteX1268" fmla="*/ 2642334 w 9586368"/>
              <a:gd name="connsiteY1268" fmla="*/ 5761447 h 6479439"/>
              <a:gd name="connsiteX1269" fmla="*/ 2632423 w 9586368"/>
              <a:gd name="connsiteY1269" fmla="*/ 5761447 h 6479439"/>
              <a:gd name="connsiteX1270" fmla="*/ 2628404 w 9586368"/>
              <a:gd name="connsiteY1270" fmla="*/ 5757408 h 6479439"/>
              <a:gd name="connsiteX1271" fmla="*/ 2628404 w 9586368"/>
              <a:gd name="connsiteY1271" fmla="*/ 5747537 h 6479439"/>
              <a:gd name="connsiteX1272" fmla="*/ 2393104 w 9586368"/>
              <a:gd name="connsiteY1272" fmla="*/ 5743499 h 6479439"/>
              <a:gd name="connsiteX1273" fmla="*/ 2403015 w 9586368"/>
              <a:gd name="connsiteY1273" fmla="*/ 5743499 h 6479439"/>
              <a:gd name="connsiteX1274" fmla="*/ 2407034 w 9586368"/>
              <a:gd name="connsiteY1274" fmla="*/ 5747537 h 6479439"/>
              <a:gd name="connsiteX1275" fmla="*/ 2407034 w 9586368"/>
              <a:gd name="connsiteY1275" fmla="*/ 5757408 h 6479439"/>
              <a:gd name="connsiteX1276" fmla="*/ 2403015 w 9586368"/>
              <a:gd name="connsiteY1276" fmla="*/ 5761447 h 6479439"/>
              <a:gd name="connsiteX1277" fmla="*/ 2393104 w 9586368"/>
              <a:gd name="connsiteY1277" fmla="*/ 5761447 h 6479439"/>
              <a:gd name="connsiteX1278" fmla="*/ 2389087 w 9586368"/>
              <a:gd name="connsiteY1278" fmla="*/ 5757408 h 6479439"/>
              <a:gd name="connsiteX1279" fmla="*/ 2389087 w 9586368"/>
              <a:gd name="connsiteY1279" fmla="*/ 5747537 h 6479439"/>
              <a:gd name="connsiteX1280" fmla="*/ 721960 w 9586368"/>
              <a:gd name="connsiteY1280" fmla="*/ 5743499 h 6479439"/>
              <a:gd name="connsiteX1281" fmla="*/ 731871 w 9586368"/>
              <a:gd name="connsiteY1281" fmla="*/ 5743499 h 6479439"/>
              <a:gd name="connsiteX1282" fmla="*/ 735889 w 9586368"/>
              <a:gd name="connsiteY1282" fmla="*/ 5747537 h 6479439"/>
              <a:gd name="connsiteX1283" fmla="*/ 735889 w 9586368"/>
              <a:gd name="connsiteY1283" fmla="*/ 5757408 h 6479439"/>
              <a:gd name="connsiteX1284" fmla="*/ 731871 w 9586368"/>
              <a:gd name="connsiteY1284" fmla="*/ 5761447 h 6479439"/>
              <a:gd name="connsiteX1285" fmla="*/ 721960 w 9586368"/>
              <a:gd name="connsiteY1285" fmla="*/ 5761447 h 6479439"/>
              <a:gd name="connsiteX1286" fmla="*/ 717941 w 9586368"/>
              <a:gd name="connsiteY1286" fmla="*/ 5757408 h 6479439"/>
              <a:gd name="connsiteX1287" fmla="*/ 717941 w 9586368"/>
              <a:gd name="connsiteY1287" fmla="*/ 5747537 h 6479439"/>
              <a:gd name="connsiteX1288" fmla="*/ 482648 w 9586368"/>
              <a:gd name="connsiteY1288" fmla="*/ 5743499 h 6479439"/>
              <a:gd name="connsiteX1289" fmla="*/ 492558 w 9586368"/>
              <a:gd name="connsiteY1289" fmla="*/ 5743499 h 6479439"/>
              <a:gd name="connsiteX1290" fmla="*/ 496578 w 9586368"/>
              <a:gd name="connsiteY1290" fmla="*/ 5747537 h 6479439"/>
              <a:gd name="connsiteX1291" fmla="*/ 496578 w 9586368"/>
              <a:gd name="connsiteY1291" fmla="*/ 5757408 h 6479439"/>
              <a:gd name="connsiteX1292" fmla="*/ 492558 w 9586368"/>
              <a:gd name="connsiteY1292" fmla="*/ 5761447 h 6479439"/>
              <a:gd name="connsiteX1293" fmla="*/ 482648 w 9586368"/>
              <a:gd name="connsiteY1293" fmla="*/ 5761447 h 6479439"/>
              <a:gd name="connsiteX1294" fmla="*/ 478629 w 9586368"/>
              <a:gd name="connsiteY1294" fmla="*/ 5757408 h 6479439"/>
              <a:gd name="connsiteX1295" fmla="*/ 478629 w 9586368"/>
              <a:gd name="connsiteY1295" fmla="*/ 5747537 h 6479439"/>
              <a:gd name="connsiteX1296" fmla="*/ 243334 w 9586368"/>
              <a:gd name="connsiteY1296" fmla="*/ 5743499 h 6479439"/>
              <a:gd name="connsiteX1297" fmla="*/ 253245 w 9586368"/>
              <a:gd name="connsiteY1297" fmla="*/ 5743499 h 6479439"/>
              <a:gd name="connsiteX1298" fmla="*/ 257264 w 9586368"/>
              <a:gd name="connsiteY1298" fmla="*/ 5747537 h 6479439"/>
              <a:gd name="connsiteX1299" fmla="*/ 257264 w 9586368"/>
              <a:gd name="connsiteY1299" fmla="*/ 5757408 h 6479439"/>
              <a:gd name="connsiteX1300" fmla="*/ 253245 w 9586368"/>
              <a:gd name="connsiteY1300" fmla="*/ 5761447 h 6479439"/>
              <a:gd name="connsiteX1301" fmla="*/ 243334 w 9586368"/>
              <a:gd name="connsiteY1301" fmla="*/ 5761447 h 6479439"/>
              <a:gd name="connsiteX1302" fmla="*/ 239315 w 9586368"/>
              <a:gd name="connsiteY1302" fmla="*/ 5757408 h 6479439"/>
              <a:gd name="connsiteX1303" fmla="*/ 239315 w 9586368"/>
              <a:gd name="connsiteY1303" fmla="*/ 5747537 h 6479439"/>
              <a:gd name="connsiteX1304" fmla="*/ 4021 w 9586368"/>
              <a:gd name="connsiteY1304" fmla="*/ 5743499 h 6479439"/>
              <a:gd name="connsiteX1305" fmla="*/ 13932 w 9586368"/>
              <a:gd name="connsiteY1305" fmla="*/ 5743499 h 6479439"/>
              <a:gd name="connsiteX1306" fmla="*/ 17950 w 9586368"/>
              <a:gd name="connsiteY1306" fmla="*/ 5747537 h 6479439"/>
              <a:gd name="connsiteX1307" fmla="*/ 17950 w 9586368"/>
              <a:gd name="connsiteY1307" fmla="*/ 5757408 h 6479439"/>
              <a:gd name="connsiteX1308" fmla="*/ 13932 w 9586368"/>
              <a:gd name="connsiteY1308" fmla="*/ 5761447 h 6479439"/>
              <a:gd name="connsiteX1309" fmla="*/ 4021 w 9586368"/>
              <a:gd name="connsiteY1309" fmla="*/ 5761447 h 6479439"/>
              <a:gd name="connsiteX1310" fmla="*/ 2 w 9586368"/>
              <a:gd name="connsiteY1310" fmla="*/ 5757408 h 6479439"/>
              <a:gd name="connsiteX1311" fmla="*/ 2 w 9586368"/>
              <a:gd name="connsiteY1311" fmla="*/ 5747537 h 6479439"/>
              <a:gd name="connsiteX1312" fmla="*/ 9572438 w 9586368"/>
              <a:gd name="connsiteY1312" fmla="*/ 5504220 h 6479439"/>
              <a:gd name="connsiteX1313" fmla="*/ 9582349 w 9586368"/>
              <a:gd name="connsiteY1313" fmla="*/ 5504220 h 6479439"/>
              <a:gd name="connsiteX1314" fmla="*/ 9586368 w 9586368"/>
              <a:gd name="connsiteY1314" fmla="*/ 5508258 h 6479439"/>
              <a:gd name="connsiteX1315" fmla="*/ 9586368 w 9586368"/>
              <a:gd name="connsiteY1315" fmla="*/ 5518129 h 6479439"/>
              <a:gd name="connsiteX1316" fmla="*/ 9582349 w 9586368"/>
              <a:gd name="connsiteY1316" fmla="*/ 5522168 h 6479439"/>
              <a:gd name="connsiteX1317" fmla="*/ 9572438 w 9586368"/>
              <a:gd name="connsiteY1317" fmla="*/ 5522168 h 6479439"/>
              <a:gd name="connsiteX1318" fmla="*/ 9568419 w 9586368"/>
              <a:gd name="connsiteY1318" fmla="*/ 5518129 h 6479439"/>
              <a:gd name="connsiteX1319" fmla="*/ 9568419 w 9586368"/>
              <a:gd name="connsiteY1319" fmla="*/ 5508258 h 6479439"/>
              <a:gd name="connsiteX1320" fmla="*/ 9333125 w 9586368"/>
              <a:gd name="connsiteY1320" fmla="*/ 5504220 h 6479439"/>
              <a:gd name="connsiteX1321" fmla="*/ 9343036 w 9586368"/>
              <a:gd name="connsiteY1321" fmla="*/ 5504220 h 6479439"/>
              <a:gd name="connsiteX1322" fmla="*/ 9347055 w 9586368"/>
              <a:gd name="connsiteY1322" fmla="*/ 5508258 h 6479439"/>
              <a:gd name="connsiteX1323" fmla="*/ 9347055 w 9586368"/>
              <a:gd name="connsiteY1323" fmla="*/ 5518129 h 6479439"/>
              <a:gd name="connsiteX1324" fmla="*/ 9343036 w 9586368"/>
              <a:gd name="connsiteY1324" fmla="*/ 5522168 h 6479439"/>
              <a:gd name="connsiteX1325" fmla="*/ 9333125 w 9586368"/>
              <a:gd name="connsiteY1325" fmla="*/ 5522168 h 6479439"/>
              <a:gd name="connsiteX1326" fmla="*/ 9329106 w 9586368"/>
              <a:gd name="connsiteY1326" fmla="*/ 5518129 h 6479439"/>
              <a:gd name="connsiteX1327" fmla="*/ 9329106 w 9586368"/>
              <a:gd name="connsiteY1327" fmla="*/ 5508258 h 6479439"/>
              <a:gd name="connsiteX1328" fmla="*/ 9093811 w 9586368"/>
              <a:gd name="connsiteY1328" fmla="*/ 5504220 h 6479439"/>
              <a:gd name="connsiteX1329" fmla="*/ 9103722 w 9586368"/>
              <a:gd name="connsiteY1329" fmla="*/ 5504220 h 6479439"/>
              <a:gd name="connsiteX1330" fmla="*/ 9107741 w 9586368"/>
              <a:gd name="connsiteY1330" fmla="*/ 5508258 h 6479439"/>
              <a:gd name="connsiteX1331" fmla="*/ 9107741 w 9586368"/>
              <a:gd name="connsiteY1331" fmla="*/ 5518129 h 6479439"/>
              <a:gd name="connsiteX1332" fmla="*/ 9103722 w 9586368"/>
              <a:gd name="connsiteY1332" fmla="*/ 5522168 h 6479439"/>
              <a:gd name="connsiteX1333" fmla="*/ 9093811 w 9586368"/>
              <a:gd name="connsiteY1333" fmla="*/ 5522168 h 6479439"/>
              <a:gd name="connsiteX1334" fmla="*/ 9089792 w 9586368"/>
              <a:gd name="connsiteY1334" fmla="*/ 5518129 h 6479439"/>
              <a:gd name="connsiteX1335" fmla="*/ 9089792 w 9586368"/>
              <a:gd name="connsiteY1335" fmla="*/ 5508258 h 6479439"/>
              <a:gd name="connsiteX1336" fmla="*/ 8854496 w 9586368"/>
              <a:gd name="connsiteY1336" fmla="*/ 5504220 h 6479439"/>
              <a:gd name="connsiteX1337" fmla="*/ 8864407 w 9586368"/>
              <a:gd name="connsiteY1337" fmla="*/ 5504220 h 6479439"/>
              <a:gd name="connsiteX1338" fmla="*/ 8868426 w 9586368"/>
              <a:gd name="connsiteY1338" fmla="*/ 5508258 h 6479439"/>
              <a:gd name="connsiteX1339" fmla="*/ 8868426 w 9586368"/>
              <a:gd name="connsiteY1339" fmla="*/ 5518129 h 6479439"/>
              <a:gd name="connsiteX1340" fmla="*/ 8864407 w 9586368"/>
              <a:gd name="connsiteY1340" fmla="*/ 5522168 h 6479439"/>
              <a:gd name="connsiteX1341" fmla="*/ 8854496 w 9586368"/>
              <a:gd name="connsiteY1341" fmla="*/ 5522168 h 6479439"/>
              <a:gd name="connsiteX1342" fmla="*/ 8850477 w 9586368"/>
              <a:gd name="connsiteY1342" fmla="*/ 5518129 h 6479439"/>
              <a:gd name="connsiteX1343" fmla="*/ 8850477 w 9586368"/>
              <a:gd name="connsiteY1343" fmla="*/ 5508258 h 6479439"/>
              <a:gd name="connsiteX1344" fmla="*/ 8615184 w 9586368"/>
              <a:gd name="connsiteY1344" fmla="*/ 5504220 h 6479439"/>
              <a:gd name="connsiteX1345" fmla="*/ 8625095 w 9586368"/>
              <a:gd name="connsiteY1345" fmla="*/ 5504220 h 6479439"/>
              <a:gd name="connsiteX1346" fmla="*/ 8629114 w 9586368"/>
              <a:gd name="connsiteY1346" fmla="*/ 5508258 h 6479439"/>
              <a:gd name="connsiteX1347" fmla="*/ 8629114 w 9586368"/>
              <a:gd name="connsiteY1347" fmla="*/ 5518129 h 6479439"/>
              <a:gd name="connsiteX1348" fmla="*/ 8625095 w 9586368"/>
              <a:gd name="connsiteY1348" fmla="*/ 5522168 h 6479439"/>
              <a:gd name="connsiteX1349" fmla="*/ 8615184 w 9586368"/>
              <a:gd name="connsiteY1349" fmla="*/ 5522168 h 6479439"/>
              <a:gd name="connsiteX1350" fmla="*/ 8611165 w 9586368"/>
              <a:gd name="connsiteY1350" fmla="*/ 5518129 h 6479439"/>
              <a:gd name="connsiteX1351" fmla="*/ 8611165 w 9586368"/>
              <a:gd name="connsiteY1351" fmla="*/ 5508258 h 6479439"/>
              <a:gd name="connsiteX1352" fmla="*/ 8375869 w 9586368"/>
              <a:gd name="connsiteY1352" fmla="*/ 5504220 h 6479439"/>
              <a:gd name="connsiteX1353" fmla="*/ 8385779 w 9586368"/>
              <a:gd name="connsiteY1353" fmla="*/ 5504220 h 6479439"/>
              <a:gd name="connsiteX1354" fmla="*/ 8389799 w 9586368"/>
              <a:gd name="connsiteY1354" fmla="*/ 5508258 h 6479439"/>
              <a:gd name="connsiteX1355" fmla="*/ 8389799 w 9586368"/>
              <a:gd name="connsiteY1355" fmla="*/ 5518129 h 6479439"/>
              <a:gd name="connsiteX1356" fmla="*/ 8385779 w 9586368"/>
              <a:gd name="connsiteY1356" fmla="*/ 5522168 h 6479439"/>
              <a:gd name="connsiteX1357" fmla="*/ 8375869 w 9586368"/>
              <a:gd name="connsiteY1357" fmla="*/ 5522168 h 6479439"/>
              <a:gd name="connsiteX1358" fmla="*/ 8371850 w 9586368"/>
              <a:gd name="connsiteY1358" fmla="*/ 5518129 h 6479439"/>
              <a:gd name="connsiteX1359" fmla="*/ 8371850 w 9586368"/>
              <a:gd name="connsiteY1359" fmla="*/ 5508258 h 6479439"/>
              <a:gd name="connsiteX1360" fmla="*/ 8136553 w 9586368"/>
              <a:gd name="connsiteY1360" fmla="*/ 5504220 h 6479439"/>
              <a:gd name="connsiteX1361" fmla="*/ 8146464 w 9586368"/>
              <a:gd name="connsiteY1361" fmla="*/ 5504220 h 6479439"/>
              <a:gd name="connsiteX1362" fmla="*/ 8150483 w 9586368"/>
              <a:gd name="connsiteY1362" fmla="*/ 5508258 h 6479439"/>
              <a:gd name="connsiteX1363" fmla="*/ 8150483 w 9586368"/>
              <a:gd name="connsiteY1363" fmla="*/ 5518129 h 6479439"/>
              <a:gd name="connsiteX1364" fmla="*/ 8146464 w 9586368"/>
              <a:gd name="connsiteY1364" fmla="*/ 5522168 h 6479439"/>
              <a:gd name="connsiteX1365" fmla="*/ 8136553 w 9586368"/>
              <a:gd name="connsiteY1365" fmla="*/ 5522168 h 6479439"/>
              <a:gd name="connsiteX1366" fmla="*/ 8132534 w 9586368"/>
              <a:gd name="connsiteY1366" fmla="*/ 5518129 h 6479439"/>
              <a:gd name="connsiteX1367" fmla="*/ 8132534 w 9586368"/>
              <a:gd name="connsiteY1367" fmla="*/ 5508258 h 6479439"/>
              <a:gd name="connsiteX1368" fmla="*/ 7897241 w 9586368"/>
              <a:gd name="connsiteY1368" fmla="*/ 5504220 h 6479439"/>
              <a:gd name="connsiteX1369" fmla="*/ 7907151 w 9586368"/>
              <a:gd name="connsiteY1369" fmla="*/ 5504220 h 6479439"/>
              <a:gd name="connsiteX1370" fmla="*/ 7911170 w 9586368"/>
              <a:gd name="connsiteY1370" fmla="*/ 5508258 h 6479439"/>
              <a:gd name="connsiteX1371" fmla="*/ 7911170 w 9586368"/>
              <a:gd name="connsiteY1371" fmla="*/ 5518129 h 6479439"/>
              <a:gd name="connsiteX1372" fmla="*/ 7907151 w 9586368"/>
              <a:gd name="connsiteY1372" fmla="*/ 5522168 h 6479439"/>
              <a:gd name="connsiteX1373" fmla="*/ 7897241 w 9586368"/>
              <a:gd name="connsiteY1373" fmla="*/ 5522168 h 6479439"/>
              <a:gd name="connsiteX1374" fmla="*/ 7893222 w 9586368"/>
              <a:gd name="connsiteY1374" fmla="*/ 5518129 h 6479439"/>
              <a:gd name="connsiteX1375" fmla="*/ 7893222 w 9586368"/>
              <a:gd name="connsiteY1375" fmla="*/ 5508258 h 6479439"/>
              <a:gd name="connsiteX1376" fmla="*/ 7657926 w 9586368"/>
              <a:gd name="connsiteY1376" fmla="*/ 5504220 h 6479439"/>
              <a:gd name="connsiteX1377" fmla="*/ 7667836 w 9586368"/>
              <a:gd name="connsiteY1377" fmla="*/ 5504220 h 6479439"/>
              <a:gd name="connsiteX1378" fmla="*/ 7671855 w 9586368"/>
              <a:gd name="connsiteY1378" fmla="*/ 5508258 h 6479439"/>
              <a:gd name="connsiteX1379" fmla="*/ 7671855 w 9586368"/>
              <a:gd name="connsiteY1379" fmla="*/ 5518129 h 6479439"/>
              <a:gd name="connsiteX1380" fmla="*/ 7667836 w 9586368"/>
              <a:gd name="connsiteY1380" fmla="*/ 5522168 h 6479439"/>
              <a:gd name="connsiteX1381" fmla="*/ 7657926 w 9586368"/>
              <a:gd name="connsiteY1381" fmla="*/ 5522168 h 6479439"/>
              <a:gd name="connsiteX1382" fmla="*/ 7653906 w 9586368"/>
              <a:gd name="connsiteY1382" fmla="*/ 5518129 h 6479439"/>
              <a:gd name="connsiteX1383" fmla="*/ 7653906 w 9586368"/>
              <a:gd name="connsiteY1383" fmla="*/ 5508258 h 6479439"/>
              <a:gd name="connsiteX1384" fmla="*/ 7418611 w 9586368"/>
              <a:gd name="connsiteY1384" fmla="*/ 5504220 h 6479439"/>
              <a:gd name="connsiteX1385" fmla="*/ 7428521 w 9586368"/>
              <a:gd name="connsiteY1385" fmla="*/ 5504220 h 6479439"/>
              <a:gd name="connsiteX1386" fmla="*/ 7432540 w 9586368"/>
              <a:gd name="connsiteY1386" fmla="*/ 5508258 h 6479439"/>
              <a:gd name="connsiteX1387" fmla="*/ 7432540 w 9586368"/>
              <a:gd name="connsiteY1387" fmla="*/ 5518129 h 6479439"/>
              <a:gd name="connsiteX1388" fmla="*/ 7428521 w 9586368"/>
              <a:gd name="connsiteY1388" fmla="*/ 5522168 h 6479439"/>
              <a:gd name="connsiteX1389" fmla="*/ 7418611 w 9586368"/>
              <a:gd name="connsiteY1389" fmla="*/ 5522168 h 6479439"/>
              <a:gd name="connsiteX1390" fmla="*/ 7414592 w 9586368"/>
              <a:gd name="connsiteY1390" fmla="*/ 5518129 h 6479439"/>
              <a:gd name="connsiteX1391" fmla="*/ 7414592 w 9586368"/>
              <a:gd name="connsiteY1391" fmla="*/ 5508258 h 6479439"/>
              <a:gd name="connsiteX1392" fmla="*/ 7179298 w 9586368"/>
              <a:gd name="connsiteY1392" fmla="*/ 5504220 h 6479439"/>
              <a:gd name="connsiteX1393" fmla="*/ 7189209 w 9586368"/>
              <a:gd name="connsiteY1393" fmla="*/ 5504220 h 6479439"/>
              <a:gd name="connsiteX1394" fmla="*/ 7193228 w 9586368"/>
              <a:gd name="connsiteY1394" fmla="*/ 5508258 h 6479439"/>
              <a:gd name="connsiteX1395" fmla="*/ 7193228 w 9586368"/>
              <a:gd name="connsiteY1395" fmla="*/ 5518129 h 6479439"/>
              <a:gd name="connsiteX1396" fmla="*/ 7189209 w 9586368"/>
              <a:gd name="connsiteY1396" fmla="*/ 5522168 h 6479439"/>
              <a:gd name="connsiteX1397" fmla="*/ 7179298 w 9586368"/>
              <a:gd name="connsiteY1397" fmla="*/ 5522168 h 6479439"/>
              <a:gd name="connsiteX1398" fmla="*/ 7175279 w 9586368"/>
              <a:gd name="connsiteY1398" fmla="*/ 5518129 h 6479439"/>
              <a:gd name="connsiteX1399" fmla="*/ 7175279 w 9586368"/>
              <a:gd name="connsiteY1399" fmla="*/ 5508258 h 6479439"/>
              <a:gd name="connsiteX1400" fmla="*/ 6939983 w 9586368"/>
              <a:gd name="connsiteY1400" fmla="*/ 5504220 h 6479439"/>
              <a:gd name="connsiteX1401" fmla="*/ 6949894 w 9586368"/>
              <a:gd name="connsiteY1401" fmla="*/ 5504220 h 6479439"/>
              <a:gd name="connsiteX1402" fmla="*/ 6953913 w 9586368"/>
              <a:gd name="connsiteY1402" fmla="*/ 5508258 h 6479439"/>
              <a:gd name="connsiteX1403" fmla="*/ 6953913 w 9586368"/>
              <a:gd name="connsiteY1403" fmla="*/ 5518129 h 6479439"/>
              <a:gd name="connsiteX1404" fmla="*/ 6949894 w 9586368"/>
              <a:gd name="connsiteY1404" fmla="*/ 5522168 h 6479439"/>
              <a:gd name="connsiteX1405" fmla="*/ 6939983 w 9586368"/>
              <a:gd name="connsiteY1405" fmla="*/ 5522168 h 6479439"/>
              <a:gd name="connsiteX1406" fmla="*/ 6935964 w 9586368"/>
              <a:gd name="connsiteY1406" fmla="*/ 5518129 h 6479439"/>
              <a:gd name="connsiteX1407" fmla="*/ 6935964 w 9586368"/>
              <a:gd name="connsiteY1407" fmla="*/ 5508258 h 6479439"/>
              <a:gd name="connsiteX1408" fmla="*/ 6700670 w 9586368"/>
              <a:gd name="connsiteY1408" fmla="*/ 5504220 h 6479439"/>
              <a:gd name="connsiteX1409" fmla="*/ 6710581 w 9586368"/>
              <a:gd name="connsiteY1409" fmla="*/ 5504220 h 6479439"/>
              <a:gd name="connsiteX1410" fmla="*/ 6714600 w 9586368"/>
              <a:gd name="connsiteY1410" fmla="*/ 5508258 h 6479439"/>
              <a:gd name="connsiteX1411" fmla="*/ 6714600 w 9586368"/>
              <a:gd name="connsiteY1411" fmla="*/ 5518129 h 6479439"/>
              <a:gd name="connsiteX1412" fmla="*/ 6710581 w 9586368"/>
              <a:gd name="connsiteY1412" fmla="*/ 5522168 h 6479439"/>
              <a:gd name="connsiteX1413" fmla="*/ 6700670 w 9586368"/>
              <a:gd name="connsiteY1413" fmla="*/ 5522168 h 6479439"/>
              <a:gd name="connsiteX1414" fmla="*/ 6696651 w 9586368"/>
              <a:gd name="connsiteY1414" fmla="*/ 5518129 h 6479439"/>
              <a:gd name="connsiteX1415" fmla="*/ 6696651 w 9586368"/>
              <a:gd name="connsiteY1415" fmla="*/ 5508258 h 6479439"/>
              <a:gd name="connsiteX1416" fmla="*/ 6461356 w 9586368"/>
              <a:gd name="connsiteY1416" fmla="*/ 5504220 h 6479439"/>
              <a:gd name="connsiteX1417" fmla="*/ 6471266 w 9586368"/>
              <a:gd name="connsiteY1417" fmla="*/ 5504220 h 6479439"/>
              <a:gd name="connsiteX1418" fmla="*/ 6475285 w 9586368"/>
              <a:gd name="connsiteY1418" fmla="*/ 5508258 h 6479439"/>
              <a:gd name="connsiteX1419" fmla="*/ 6475285 w 9586368"/>
              <a:gd name="connsiteY1419" fmla="*/ 5518129 h 6479439"/>
              <a:gd name="connsiteX1420" fmla="*/ 6471266 w 9586368"/>
              <a:gd name="connsiteY1420" fmla="*/ 5522168 h 6479439"/>
              <a:gd name="connsiteX1421" fmla="*/ 6461356 w 9586368"/>
              <a:gd name="connsiteY1421" fmla="*/ 5522168 h 6479439"/>
              <a:gd name="connsiteX1422" fmla="*/ 6457337 w 9586368"/>
              <a:gd name="connsiteY1422" fmla="*/ 5518129 h 6479439"/>
              <a:gd name="connsiteX1423" fmla="*/ 6457337 w 9586368"/>
              <a:gd name="connsiteY1423" fmla="*/ 5508258 h 6479439"/>
              <a:gd name="connsiteX1424" fmla="*/ 6222042 w 9586368"/>
              <a:gd name="connsiteY1424" fmla="*/ 5504220 h 6479439"/>
              <a:gd name="connsiteX1425" fmla="*/ 6231952 w 9586368"/>
              <a:gd name="connsiteY1425" fmla="*/ 5504220 h 6479439"/>
              <a:gd name="connsiteX1426" fmla="*/ 6235971 w 9586368"/>
              <a:gd name="connsiteY1426" fmla="*/ 5508258 h 6479439"/>
              <a:gd name="connsiteX1427" fmla="*/ 6235971 w 9586368"/>
              <a:gd name="connsiteY1427" fmla="*/ 5518129 h 6479439"/>
              <a:gd name="connsiteX1428" fmla="*/ 6231952 w 9586368"/>
              <a:gd name="connsiteY1428" fmla="*/ 5522168 h 6479439"/>
              <a:gd name="connsiteX1429" fmla="*/ 6222042 w 9586368"/>
              <a:gd name="connsiteY1429" fmla="*/ 5522168 h 6479439"/>
              <a:gd name="connsiteX1430" fmla="*/ 6218023 w 9586368"/>
              <a:gd name="connsiteY1430" fmla="*/ 5518129 h 6479439"/>
              <a:gd name="connsiteX1431" fmla="*/ 6218023 w 9586368"/>
              <a:gd name="connsiteY1431" fmla="*/ 5508258 h 6479439"/>
              <a:gd name="connsiteX1432" fmla="*/ 5982729 w 9586368"/>
              <a:gd name="connsiteY1432" fmla="*/ 5504220 h 6479439"/>
              <a:gd name="connsiteX1433" fmla="*/ 5992639 w 9586368"/>
              <a:gd name="connsiteY1433" fmla="*/ 5504220 h 6479439"/>
              <a:gd name="connsiteX1434" fmla="*/ 5996658 w 9586368"/>
              <a:gd name="connsiteY1434" fmla="*/ 5508258 h 6479439"/>
              <a:gd name="connsiteX1435" fmla="*/ 5996658 w 9586368"/>
              <a:gd name="connsiteY1435" fmla="*/ 5518129 h 6479439"/>
              <a:gd name="connsiteX1436" fmla="*/ 5992639 w 9586368"/>
              <a:gd name="connsiteY1436" fmla="*/ 5522168 h 6479439"/>
              <a:gd name="connsiteX1437" fmla="*/ 5982729 w 9586368"/>
              <a:gd name="connsiteY1437" fmla="*/ 5522168 h 6479439"/>
              <a:gd name="connsiteX1438" fmla="*/ 5978710 w 9586368"/>
              <a:gd name="connsiteY1438" fmla="*/ 5518129 h 6479439"/>
              <a:gd name="connsiteX1439" fmla="*/ 5978710 w 9586368"/>
              <a:gd name="connsiteY1439" fmla="*/ 5508258 h 6479439"/>
              <a:gd name="connsiteX1440" fmla="*/ 5743412 w 9586368"/>
              <a:gd name="connsiteY1440" fmla="*/ 5504220 h 6479439"/>
              <a:gd name="connsiteX1441" fmla="*/ 5753323 w 9586368"/>
              <a:gd name="connsiteY1441" fmla="*/ 5504220 h 6479439"/>
              <a:gd name="connsiteX1442" fmla="*/ 5757342 w 9586368"/>
              <a:gd name="connsiteY1442" fmla="*/ 5508258 h 6479439"/>
              <a:gd name="connsiteX1443" fmla="*/ 5757342 w 9586368"/>
              <a:gd name="connsiteY1443" fmla="*/ 5518129 h 6479439"/>
              <a:gd name="connsiteX1444" fmla="*/ 5753323 w 9586368"/>
              <a:gd name="connsiteY1444" fmla="*/ 5522168 h 6479439"/>
              <a:gd name="connsiteX1445" fmla="*/ 5743412 w 9586368"/>
              <a:gd name="connsiteY1445" fmla="*/ 5522168 h 6479439"/>
              <a:gd name="connsiteX1446" fmla="*/ 5739393 w 9586368"/>
              <a:gd name="connsiteY1446" fmla="*/ 5518129 h 6479439"/>
              <a:gd name="connsiteX1447" fmla="*/ 5739393 w 9586368"/>
              <a:gd name="connsiteY1447" fmla="*/ 5508258 h 6479439"/>
              <a:gd name="connsiteX1448" fmla="*/ 5504099 w 9586368"/>
              <a:gd name="connsiteY1448" fmla="*/ 5504220 h 6479439"/>
              <a:gd name="connsiteX1449" fmla="*/ 5514010 w 9586368"/>
              <a:gd name="connsiteY1449" fmla="*/ 5504220 h 6479439"/>
              <a:gd name="connsiteX1450" fmla="*/ 5518029 w 9586368"/>
              <a:gd name="connsiteY1450" fmla="*/ 5508258 h 6479439"/>
              <a:gd name="connsiteX1451" fmla="*/ 5518029 w 9586368"/>
              <a:gd name="connsiteY1451" fmla="*/ 5518129 h 6479439"/>
              <a:gd name="connsiteX1452" fmla="*/ 5514010 w 9586368"/>
              <a:gd name="connsiteY1452" fmla="*/ 5522168 h 6479439"/>
              <a:gd name="connsiteX1453" fmla="*/ 5504099 w 9586368"/>
              <a:gd name="connsiteY1453" fmla="*/ 5522168 h 6479439"/>
              <a:gd name="connsiteX1454" fmla="*/ 5500080 w 9586368"/>
              <a:gd name="connsiteY1454" fmla="*/ 5518129 h 6479439"/>
              <a:gd name="connsiteX1455" fmla="*/ 5500080 w 9586368"/>
              <a:gd name="connsiteY1455" fmla="*/ 5508258 h 6479439"/>
              <a:gd name="connsiteX1456" fmla="*/ 5264784 w 9586368"/>
              <a:gd name="connsiteY1456" fmla="*/ 5504220 h 6479439"/>
              <a:gd name="connsiteX1457" fmla="*/ 5274694 w 9586368"/>
              <a:gd name="connsiteY1457" fmla="*/ 5504220 h 6479439"/>
              <a:gd name="connsiteX1458" fmla="*/ 5278713 w 9586368"/>
              <a:gd name="connsiteY1458" fmla="*/ 5508258 h 6479439"/>
              <a:gd name="connsiteX1459" fmla="*/ 5278713 w 9586368"/>
              <a:gd name="connsiteY1459" fmla="*/ 5518129 h 6479439"/>
              <a:gd name="connsiteX1460" fmla="*/ 5274694 w 9586368"/>
              <a:gd name="connsiteY1460" fmla="*/ 5522168 h 6479439"/>
              <a:gd name="connsiteX1461" fmla="*/ 5264784 w 9586368"/>
              <a:gd name="connsiteY1461" fmla="*/ 5522168 h 6479439"/>
              <a:gd name="connsiteX1462" fmla="*/ 5260765 w 9586368"/>
              <a:gd name="connsiteY1462" fmla="*/ 5518129 h 6479439"/>
              <a:gd name="connsiteX1463" fmla="*/ 5260765 w 9586368"/>
              <a:gd name="connsiteY1463" fmla="*/ 5508258 h 6479439"/>
              <a:gd name="connsiteX1464" fmla="*/ 5025470 w 9586368"/>
              <a:gd name="connsiteY1464" fmla="*/ 5504220 h 6479439"/>
              <a:gd name="connsiteX1465" fmla="*/ 5035381 w 9586368"/>
              <a:gd name="connsiteY1465" fmla="*/ 5504220 h 6479439"/>
              <a:gd name="connsiteX1466" fmla="*/ 5039400 w 9586368"/>
              <a:gd name="connsiteY1466" fmla="*/ 5508258 h 6479439"/>
              <a:gd name="connsiteX1467" fmla="*/ 5039400 w 9586368"/>
              <a:gd name="connsiteY1467" fmla="*/ 5518129 h 6479439"/>
              <a:gd name="connsiteX1468" fmla="*/ 5035381 w 9586368"/>
              <a:gd name="connsiteY1468" fmla="*/ 5522168 h 6479439"/>
              <a:gd name="connsiteX1469" fmla="*/ 5025470 w 9586368"/>
              <a:gd name="connsiteY1469" fmla="*/ 5522168 h 6479439"/>
              <a:gd name="connsiteX1470" fmla="*/ 5021451 w 9586368"/>
              <a:gd name="connsiteY1470" fmla="*/ 5518129 h 6479439"/>
              <a:gd name="connsiteX1471" fmla="*/ 5021451 w 9586368"/>
              <a:gd name="connsiteY1471" fmla="*/ 5508258 h 6479439"/>
              <a:gd name="connsiteX1472" fmla="*/ 4786241 w 9586368"/>
              <a:gd name="connsiteY1472" fmla="*/ 5504220 h 6479439"/>
              <a:gd name="connsiteX1473" fmla="*/ 4796152 w 9586368"/>
              <a:gd name="connsiteY1473" fmla="*/ 5504220 h 6479439"/>
              <a:gd name="connsiteX1474" fmla="*/ 4800171 w 9586368"/>
              <a:gd name="connsiteY1474" fmla="*/ 5508258 h 6479439"/>
              <a:gd name="connsiteX1475" fmla="*/ 4800171 w 9586368"/>
              <a:gd name="connsiteY1475" fmla="*/ 5518129 h 6479439"/>
              <a:gd name="connsiteX1476" fmla="*/ 4796152 w 9586368"/>
              <a:gd name="connsiteY1476" fmla="*/ 5522168 h 6479439"/>
              <a:gd name="connsiteX1477" fmla="*/ 4786241 w 9586368"/>
              <a:gd name="connsiteY1477" fmla="*/ 5522168 h 6479439"/>
              <a:gd name="connsiteX1478" fmla="*/ 4782224 w 9586368"/>
              <a:gd name="connsiteY1478" fmla="*/ 5518129 h 6479439"/>
              <a:gd name="connsiteX1479" fmla="*/ 4782224 w 9586368"/>
              <a:gd name="connsiteY1479" fmla="*/ 5508258 h 6479439"/>
              <a:gd name="connsiteX1480" fmla="*/ 4546929 w 9586368"/>
              <a:gd name="connsiteY1480" fmla="*/ 5504220 h 6479439"/>
              <a:gd name="connsiteX1481" fmla="*/ 4556840 w 9586368"/>
              <a:gd name="connsiteY1481" fmla="*/ 5504220 h 6479439"/>
              <a:gd name="connsiteX1482" fmla="*/ 4560859 w 9586368"/>
              <a:gd name="connsiteY1482" fmla="*/ 5508258 h 6479439"/>
              <a:gd name="connsiteX1483" fmla="*/ 4560859 w 9586368"/>
              <a:gd name="connsiteY1483" fmla="*/ 5518129 h 6479439"/>
              <a:gd name="connsiteX1484" fmla="*/ 4556840 w 9586368"/>
              <a:gd name="connsiteY1484" fmla="*/ 5522168 h 6479439"/>
              <a:gd name="connsiteX1485" fmla="*/ 4546929 w 9586368"/>
              <a:gd name="connsiteY1485" fmla="*/ 5522168 h 6479439"/>
              <a:gd name="connsiteX1486" fmla="*/ 4542910 w 9586368"/>
              <a:gd name="connsiteY1486" fmla="*/ 5518129 h 6479439"/>
              <a:gd name="connsiteX1487" fmla="*/ 4542910 w 9586368"/>
              <a:gd name="connsiteY1487" fmla="*/ 5508258 h 6479439"/>
              <a:gd name="connsiteX1488" fmla="*/ 4307612 w 9586368"/>
              <a:gd name="connsiteY1488" fmla="*/ 5504220 h 6479439"/>
              <a:gd name="connsiteX1489" fmla="*/ 4317523 w 9586368"/>
              <a:gd name="connsiteY1489" fmla="*/ 5504220 h 6479439"/>
              <a:gd name="connsiteX1490" fmla="*/ 4321543 w 9586368"/>
              <a:gd name="connsiteY1490" fmla="*/ 5508258 h 6479439"/>
              <a:gd name="connsiteX1491" fmla="*/ 4321543 w 9586368"/>
              <a:gd name="connsiteY1491" fmla="*/ 5518129 h 6479439"/>
              <a:gd name="connsiteX1492" fmla="*/ 4317523 w 9586368"/>
              <a:gd name="connsiteY1492" fmla="*/ 5522168 h 6479439"/>
              <a:gd name="connsiteX1493" fmla="*/ 4307612 w 9586368"/>
              <a:gd name="connsiteY1493" fmla="*/ 5522168 h 6479439"/>
              <a:gd name="connsiteX1494" fmla="*/ 4303595 w 9586368"/>
              <a:gd name="connsiteY1494" fmla="*/ 5518129 h 6479439"/>
              <a:gd name="connsiteX1495" fmla="*/ 4303595 w 9586368"/>
              <a:gd name="connsiteY1495" fmla="*/ 5508258 h 6479439"/>
              <a:gd name="connsiteX1496" fmla="*/ 4068297 w 9586368"/>
              <a:gd name="connsiteY1496" fmla="*/ 5504220 h 6479439"/>
              <a:gd name="connsiteX1497" fmla="*/ 4078210 w 9586368"/>
              <a:gd name="connsiteY1497" fmla="*/ 5504220 h 6479439"/>
              <a:gd name="connsiteX1498" fmla="*/ 4082229 w 9586368"/>
              <a:gd name="connsiteY1498" fmla="*/ 5508258 h 6479439"/>
              <a:gd name="connsiteX1499" fmla="*/ 4082229 w 9586368"/>
              <a:gd name="connsiteY1499" fmla="*/ 5518129 h 6479439"/>
              <a:gd name="connsiteX1500" fmla="*/ 4078210 w 9586368"/>
              <a:gd name="connsiteY1500" fmla="*/ 5522168 h 6479439"/>
              <a:gd name="connsiteX1501" fmla="*/ 4068297 w 9586368"/>
              <a:gd name="connsiteY1501" fmla="*/ 5522168 h 6479439"/>
              <a:gd name="connsiteX1502" fmla="*/ 4064278 w 9586368"/>
              <a:gd name="connsiteY1502" fmla="*/ 5518129 h 6479439"/>
              <a:gd name="connsiteX1503" fmla="*/ 4064278 w 9586368"/>
              <a:gd name="connsiteY1503" fmla="*/ 5508258 h 6479439"/>
              <a:gd name="connsiteX1504" fmla="*/ 3828990 w 9586368"/>
              <a:gd name="connsiteY1504" fmla="*/ 5504220 h 6479439"/>
              <a:gd name="connsiteX1505" fmla="*/ 3838899 w 9586368"/>
              <a:gd name="connsiteY1505" fmla="*/ 5504220 h 6479439"/>
              <a:gd name="connsiteX1506" fmla="*/ 3842917 w 9586368"/>
              <a:gd name="connsiteY1506" fmla="*/ 5508258 h 6479439"/>
              <a:gd name="connsiteX1507" fmla="*/ 3842917 w 9586368"/>
              <a:gd name="connsiteY1507" fmla="*/ 5518129 h 6479439"/>
              <a:gd name="connsiteX1508" fmla="*/ 3838899 w 9586368"/>
              <a:gd name="connsiteY1508" fmla="*/ 5522168 h 6479439"/>
              <a:gd name="connsiteX1509" fmla="*/ 3828990 w 9586368"/>
              <a:gd name="connsiteY1509" fmla="*/ 5522168 h 6479439"/>
              <a:gd name="connsiteX1510" fmla="*/ 3824971 w 9586368"/>
              <a:gd name="connsiteY1510" fmla="*/ 5518129 h 6479439"/>
              <a:gd name="connsiteX1511" fmla="*/ 3824971 w 9586368"/>
              <a:gd name="connsiteY1511" fmla="*/ 5508258 h 6479439"/>
              <a:gd name="connsiteX1512" fmla="*/ 3589676 w 9586368"/>
              <a:gd name="connsiteY1512" fmla="*/ 5504220 h 6479439"/>
              <a:gd name="connsiteX1513" fmla="*/ 3599585 w 9586368"/>
              <a:gd name="connsiteY1513" fmla="*/ 5504220 h 6479439"/>
              <a:gd name="connsiteX1514" fmla="*/ 3603604 w 9586368"/>
              <a:gd name="connsiteY1514" fmla="*/ 5508258 h 6479439"/>
              <a:gd name="connsiteX1515" fmla="*/ 3603604 w 9586368"/>
              <a:gd name="connsiteY1515" fmla="*/ 5518129 h 6479439"/>
              <a:gd name="connsiteX1516" fmla="*/ 3599585 w 9586368"/>
              <a:gd name="connsiteY1516" fmla="*/ 5522168 h 6479439"/>
              <a:gd name="connsiteX1517" fmla="*/ 3589676 w 9586368"/>
              <a:gd name="connsiteY1517" fmla="*/ 5522168 h 6479439"/>
              <a:gd name="connsiteX1518" fmla="*/ 3585657 w 9586368"/>
              <a:gd name="connsiteY1518" fmla="*/ 5518129 h 6479439"/>
              <a:gd name="connsiteX1519" fmla="*/ 3585657 w 9586368"/>
              <a:gd name="connsiteY1519" fmla="*/ 5508258 h 6479439"/>
              <a:gd name="connsiteX1520" fmla="*/ 3350359 w 9586368"/>
              <a:gd name="connsiteY1520" fmla="*/ 5504220 h 6479439"/>
              <a:gd name="connsiteX1521" fmla="*/ 3360268 w 9586368"/>
              <a:gd name="connsiteY1521" fmla="*/ 5504220 h 6479439"/>
              <a:gd name="connsiteX1522" fmla="*/ 3364287 w 9586368"/>
              <a:gd name="connsiteY1522" fmla="*/ 5508258 h 6479439"/>
              <a:gd name="connsiteX1523" fmla="*/ 3364287 w 9586368"/>
              <a:gd name="connsiteY1523" fmla="*/ 5518129 h 6479439"/>
              <a:gd name="connsiteX1524" fmla="*/ 3360268 w 9586368"/>
              <a:gd name="connsiteY1524" fmla="*/ 5522168 h 6479439"/>
              <a:gd name="connsiteX1525" fmla="*/ 3350359 w 9586368"/>
              <a:gd name="connsiteY1525" fmla="*/ 5522168 h 6479439"/>
              <a:gd name="connsiteX1526" fmla="*/ 3346340 w 9586368"/>
              <a:gd name="connsiteY1526" fmla="*/ 5518129 h 6479439"/>
              <a:gd name="connsiteX1527" fmla="*/ 3346340 w 9586368"/>
              <a:gd name="connsiteY1527" fmla="*/ 5508258 h 6479439"/>
              <a:gd name="connsiteX1528" fmla="*/ 3111048 w 9586368"/>
              <a:gd name="connsiteY1528" fmla="*/ 5504220 h 6479439"/>
              <a:gd name="connsiteX1529" fmla="*/ 3120959 w 9586368"/>
              <a:gd name="connsiteY1529" fmla="*/ 5504220 h 6479439"/>
              <a:gd name="connsiteX1530" fmla="*/ 3124977 w 9586368"/>
              <a:gd name="connsiteY1530" fmla="*/ 5508258 h 6479439"/>
              <a:gd name="connsiteX1531" fmla="*/ 3124977 w 9586368"/>
              <a:gd name="connsiteY1531" fmla="*/ 5518129 h 6479439"/>
              <a:gd name="connsiteX1532" fmla="*/ 3120959 w 9586368"/>
              <a:gd name="connsiteY1532" fmla="*/ 5522168 h 6479439"/>
              <a:gd name="connsiteX1533" fmla="*/ 3111048 w 9586368"/>
              <a:gd name="connsiteY1533" fmla="*/ 5522168 h 6479439"/>
              <a:gd name="connsiteX1534" fmla="*/ 3107029 w 9586368"/>
              <a:gd name="connsiteY1534" fmla="*/ 5518129 h 6479439"/>
              <a:gd name="connsiteX1535" fmla="*/ 3107029 w 9586368"/>
              <a:gd name="connsiteY1535" fmla="*/ 5508258 h 6479439"/>
              <a:gd name="connsiteX1536" fmla="*/ 2871737 w 9586368"/>
              <a:gd name="connsiteY1536" fmla="*/ 5504220 h 6479439"/>
              <a:gd name="connsiteX1537" fmla="*/ 2881646 w 9586368"/>
              <a:gd name="connsiteY1537" fmla="*/ 5504220 h 6479439"/>
              <a:gd name="connsiteX1538" fmla="*/ 2885666 w 9586368"/>
              <a:gd name="connsiteY1538" fmla="*/ 5508258 h 6479439"/>
              <a:gd name="connsiteX1539" fmla="*/ 2885666 w 9586368"/>
              <a:gd name="connsiteY1539" fmla="*/ 5518129 h 6479439"/>
              <a:gd name="connsiteX1540" fmla="*/ 2881646 w 9586368"/>
              <a:gd name="connsiteY1540" fmla="*/ 5522168 h 6479439"/>
              <a:gd name="connsiteX1541" fmla="*/ 2871737 w 9586368"/>
              <a:gd name="connsiteY1541" fmla="*/ 5522168 h 6479439"/>
              <a:gd name="connsiteX1542" fmla="*/ 2867717 w 9586368"/>
              <a:gd name="connsiteY1542" fmla="*/ 5518129 h 6479439"/>
              <a:gd name="connsiteX1543" fmla="*/ 2867717 w 9586368"/>
              <a:gd name="connsiteY1543" fmla="*/ 5508258 h 6479439"/>
              <a:gd name="connsiteX1544" fmla="*/ 2632423 w 9586368"/>
              <a:gd name="connsiteY1544" fmla="*/ 5504220 h 6479439"/>
              <a:gd name="connsiteX1545" fmla="*/ 2642334 w 9586368"/>
              <a:gd name="connsiteY1545" fmla="*/ 5504220 h 6479439"/>
              <a:gd name="connsiteX1546" fmla="*/ 2646352 w 9586368"/>
              <a:gd name="connsiteY1546" fmla="*/ 5508258 h 6479439"/>
              <a:gd name="connsiteX1547" fmla="*/ 2646352 w 9586368"/>
              <a:gd name="connsiteY1547" fmla="*/ 5518129 h 6479439"/>
              <a:gd name="connsiteX1548" fmla="*/ 2642334 w 9586368"/>
              <a:gd name="connsiteY1548" fmla="*/ 5522168 h 6479439"/>
              <a:gd name="connsiteX1549" fmla="*/ 2632423 w 9586368"/>
              <a:gd name="connsiteY1549" fmla="*/ 5522168 h 6479439"/>
              <a:gd name="connsiteX1550" fmla="*/ 2628404 w 9586368"/>
              <a:gd name="connsiteY1550" fmla="*/ 5518129 h 6479439"/>
              <a:gd name="connsiteX1551" fmla="*/ 2628404 w 9586368"/>
              <a:gd name="connsiteY1551" fmla="*/ 5508258 h 6479439"/>
              <a:gd name="connsiteX1552" fmla="*/ 2393104 w 9586368"/>
              <a:gd name="connsiteY1552" fmla="*/ 5504220 h 6479439"/>
              <a:gd name="connsiteX1553" fmla="*/ 2403015 w 9586368"/>
              <a:gd name="connsiteY1553" fmla="*/ 5504220 h 6479439"/>
              <a:gd name="connsiteX1554" fmla="*/ 2407034 w 9586368"/>
              <a:gd name="connsiteY1554" fmla="*/ 5508258 h 6479439"/>
              <a:gd name="connsiteX1555" fmla="*/ 2407034 w 9586368"/>
              <a:gd name="connsiteY1555" fmla="*/ 5518129 h 6479439"/>
              <a:gd name="connsiteX1556" fmla="*/ 2403015 w 9586368"/>
              <a:gd name="connsiteY1556" fmla="*/ 5522168 h 6479439"/>
              <a:gd name="connsiteX1557" fmla="*/ 2393104 w 9586368"/>
              <a:gd name="connsiteY1557" fmla="*/ 5522168 h 6479439"/>
              <a:gd name="connsiteX1558" fmla="*/ 2389087 w 9586368"/>
              <a:gd name="connsiteY1558" fmla="*/ 5518129 h 6479439"/>
              <a:gd name="connsiteX1559" fmla="*/ 2389087 w 9586368"/>
              <a:gd name="connsiteY1559" fmla="*/ 5508258 h 6479439"/>
              <a:gd name="connsiteX1560" fmla="*/ 2157818 w 9586368"/>
              <a:gd name="connsiteY1560" fmla="*/ 5504220 h 6479439"/>
              <a:gd name="connsiteX1561" fmla="*/ 2167728 w 9586368"/>
              <a:gd name="connsiteY1561" fmla="*/ 5504220 h 6479439"/>
              <a:gd name="connsiteX1562" fmla="*/ 2171748 w 9586368"/>
              <a:gd name="connsiteY1562" fmla="*/ 5508258 h 6479439"/>
              <a:gd name="connsiteX1563" fmla="*/ 2171748 w 9586368"/>
              <a:gd name="connsiteY1563" fmla="*/ 5518129 h 6479439"/>
              <a:gd name="connsiteX1564" fmla="*/ 2167728 w 9586368"/>
              <a:gd name="connsiteY1564" fmla="*/ 5522168 h 6479439"/>
              <a:gd name="connsiteX1565" fmla="*/ 2157818 w 9586368"/>
              <a:gd name="connsiteY1565" fmla="*/ 5522168 h 6479439"/>
              <a:gd name="connsiteX1566" fmla="*/ 2153799 w 9586368"/>
              <a:gd name="connsiteY1566" fmla="*/ 5518129 h 6479439"/>
              <a:gd name="connsiteX1567" fmla="*/ 2153799 w 9586368"/>
              <a:gd name="connsiteY1567" fmla="*/ 5508258 h 6479439"/>
              <a:gd name="connsiteX1568" fmla="*/ 1918510 w 9586368"/>
              <a:gd name="connsiteY1568" fmla="*/ 5504220 h 6479439"/>
              <a:gd name="connsiteX1569" fmla="*/ 1928420 w 9586368"/>
              <a:gd name="connsiteY1569" fmla="*/ 5504220 h 6479439"/>
              <a:gd name="connsiteX1570" fmla="*/ 1932438 w 9586368"/>
              <a:gd name="connsiteY1570" fmla="*/ 5508258 h 6479439"/>
              <a:gd name="connsiteX1571" fmla="*/ 1932438 w 9586368"/>
              <a:gd name="connsiteY1571" fmla="*/ 5518129 h 6479439"/>
              <a:gd name="connsiteX1572" fmla="*/ 1928420 w 9586368"/>
              <a:gd name="connsiteY1572" fmla="*/ 5522168 h 6479439"/>
              <a:gd name="connsiteX1573" fmla="*/ 1918510 w 9586368"/>
              <a:gd name="connsiteY1573" fmla="*/ 5522168 h 6479439"/>
              <a:gd name="connsiteX1574" fmla="*/ 1914490 w 9586368"/>
              <a:gd name="connsiteY1574" fmla="*/ 5518129 h 6479439"/>
              <a:gd name="connsiteX1575" fmla="*/ 1914490 w 9586368"/>
              <a:gd name="connsiteY1575" fmla="*/ 5508258 h 6479439"/>
              <a:gd name="connsiteX1576" fmla="*/ 1679202 w 9586368"/>
              <a:gd name="connsiteY1576" fmla="*/ 5504220 h 6479439"/>
              <a:gd name="connsiteX1577" fmla="*/ 1689112 w 9586368"/>
              <a:gd name="connsiteY1577" fmla="*/ 5504220 h 6479439"/>
              <a:gd name="connsiteX1578" fmla="*/ 1693132 w 9586368"/>
              <a:gd name="connsiteY1578" fmla="*/ 5508258 h 6479439"/>
              <a:gd name="connsiteX1579" fmla="*/ 1693132 w 9586368"/>
              <a:gd name="connsiteY1579" fmla="*/ 5518129 h 6479439"/>
              <a:gd name="connsiteX1580" fmla="*/ 1689112 w 9586368"/>
              <a:gd name="connsiteY1580" fmla="*/ 5522168 h 6479439"/>
              <a:gd name="connsiteX1581" fmla="*/ 1679202 w 9586368"/>
              <a:gd name="connsiteY1581" fmla="*/ 5522168 h 6479439"/>
              <a:gd name="connsiteX1582" fmla="*/ 1675184 w 9586368"/>
              <a:gd name="connsiteY1582" fmla="*/ 5518129 h 6479439"/>
              <a:gd name="connsiteX1583" fmla="*/ 1675184 w 9586368"/>
              <a:gd name="connsiteY1583" fmla="*/ 5508258 h 6479439"/>
              <a:gd name="connsiteX1584" fmla="*/ 1439887 w 9586368"/>
              <a:gd name="connsiteY1584" fmla="*/ 5504220 h 6479439"/>
              <a:gd name="connsiteX1585" fmla="*/ 1449797 w 9586368"/>
              <a:gd name="connsiteY1585" fmla="*/ 5504220 h 6479439"/>
              <a:gd name="connsiteX1586" fmla="*/ 1453815 w 9586368"/>
              <a:gd name="connsiteY1586" fmla="*/ 5508258 h 6479439"/>
              <a:gd name="connsiteX1587" fmla="*/ 1453815 w 9586368"/>
              <a:gd name="connsiteY1587" fmla="*/ 5518129 h 6479439"/>
              <a:gd name="connsiteX1588" fmla="*/ 1449797 w 9586368"/>
              <a:gd name="connsiteY1588" fmla="*/ 5522168 h 6479439"/>
              <a:gd name="connsiteX1589" fmla="*/ 1439887 w 9586368"/>
              <a:gd name="connsiteY1589" fmla="*/ 5522168 h 6479439"/>
              <a:gd name="connsiteX1590" fmla="*/ 1435869 w 9586368"/>
              <a:gd name="connsiteY1590" fmla="*/ 5518129 h 6479439"/>
              <a:gd name="connsiteX1591" fmla="*/ 1435869 w 9586368"/>
              <a:gd name="connsiteY1591" fmla="*/ 5508258 h 6479439"/>
              <a:gd name="connsiteX1592" fmla="*/ 1200572 w 9586368"/>
              <a:gd name="connsiteY1592" fmla="*/ 5504220 h 6479439"/>
              <a:gd name="connsiteX1593" fmla="*/ 1210483 w 9586368"/>
              <a:gd name="connsiteY1593" fmla="*/ 5504220 h 6479439"/>
              <a:gd name="connsiteX1594" fmla="*/ 1214501 w 9586368"/>
              <a:gd name="connsiteY1594" fmla="*/ 5508258 h 6479439"/>
              <a:gd name="connsiteX1595" fmla="*/ 1214501 w 9586368"/>
              <a:gd name="connsiteY1595" fmla="*/ 5518129 h 6479439"/>
              <a:gd name="connsiteX1596" fmla="*/ 1210483 w 9586368"/>
              <a:gd name="connsiteY1596" fmla="*/ 5522168 h 6479439"/>
              <a:gd name="connsiteX1597" fmla="*/ 1200572 w 9586368"/>
              <a:gd name="connsiteY1597" fmla="*/ 5522168 h 6479439"/>
              <a:gd name="connsiteX1598" fmla="*/ 1196554 w 9586368"/>
              <a:gd name="connsiteY1598" fmla="*/ 5518129 h 6479439"/>
              <a:gd name="connsiteX1599" fmla="*/ 1196554 w 9586368"/>
              <a:gd name="connsiteY1599" fmla="*/ 5508258 h 6479439"/>
              <a:gd name="connsiteX1600" fmla="*/ 961260 w 9586368"/>
              <a:gd name="connsiteY1600" fmla="*/ 5504220 h 6479439"/>
              <a:gd name="connsiteX1601" fmla="*/ 971169 w 9586368"/>
              <a:gd name="connsiteY1601" fmla="*/ 5504220 h 6479439"/>
              <a:gd name="connsiteX1602" fmla="*/ 975189 w 9586368"/>
              <a:gd name="connsiteY1602" fmla="*/ 5508258 h 6479439"/>
              <a:gd name="connsiteX1603" fmla="*/ 975189 w 9586368"/>
              <a:gd name="connsiteY1603" fmla="*/ 5518129 h 6479439"/>
              <a:gd name="connsiteX1604" fmla="*/ 971169 w 9586368"/>
              <a:gd name="connsiteY1604" fmla="*/ 5522168 h 6479439"/>
              <a:gd name="connsiteX1605" fmla="*/ 961260 w 9586368"/>
              <a:gd name="connsiteY1605" fmla="*/ 5522168 h 6479439"/>
              <a:gd name="connsiteX1606" fmla="*/ 957241 w 9586368"/>
              <a:gd name="connsiteY1606" fmla="*/ 5518129 h 6479439"/>
              <a:gd name="connsiteX1607" fmla="*/ 957241 w 9586368"/>
              <a:gd name="connsiteY1607" fmla="*/ 5508258 h 6479439"/>
              <a:gd name="connsiteX1608" fmla="*/ 721961 w 9586368"/>
              <a:gd name="connsiteY1608" fmla="*/ 5504220 h 6479439"/>
              <a:gd name="connsiteX1609" fmla="*/ 731871 w 9586368"/>
              <a:gd name="connsiteY1609" fmla="*/ 5504220 h 6479439"/>
              <a:gd name="connsiteX1610" fmla="*/ 735890 w 9586368"/>
              <a:gd name="connsiteY1610" fmla="*/ 5508258 h 6479439"/>
              <a:gd name="connsiteX1611" fmla="*/ 735890 w 9586368"/>
              <a:gd name="connsiteY1611" fmla="*/ 5518129 h 6479439"/>
              <a:gd name="connsiteX1612" fmla="*/ 731871 w 9586368"/>
              <a:gd name="connsiteY1612" fmla="*/ 5522168 h 6479439"/>
              <a:gd name="connsiteX1613" fmla="*/ 721961 w 9586368"/>
              <a:gd name="connsiteY1613" fmla="*/ 5522168 h 6479439"/>
              <a:gd name="connsiteX1614" fmla="*/ 717942 w 9586368"/>
              <a:gd name="connsiteY1614" fmla="*/ 5518129 h 6479439"/>
              <a:gd name="connsiteX1615" fmla="*/ 717942 w 9586368"/>
              <a:gd name="connsiteY1615" fmla="*/ 5508258 h 6479439"/>
              <a:gd name="connsiteX1616" fmla="*/ 482649 w 9586368"/>
              <a:gd name="connsiteY1616" fmla="*/ 5504220 h 6479439"/>
              <a:gd name="connsiteX1617" fmla="*/ 492559 w 9586368"/>
              <a:gd name="connsiteY1617" fmla="*/ 5504220 h 6479439"/>
              <a:gd name="connsiteX1618" fmla="*/ 496578 w 9586368"/>
              <a:gd name="connsiteY1618" fmla="*/ 5508258 h 6479439"/>
              <a:gd name="connsiteX1619" fmla="*/ 496578 w 9586368"/>
              <a:gd name="connsiteY1619" fmla="*/ 5518129 h 6479439"/>
              <a:gd name="connsiteX1620" fmla="*/ 492559 w 9586368"/>
              <a:gd name="connsiteY1620" fmla="*/ 5522168 h 6479439"/>
              <a:gd name="connsiteX1621" fmla="*/ 482649 w 9586368"/>
              <a:gd name="connsiteY1621" fmla="*/ 5522168 h 6479439"/>
              <a:gd name="connsiteX1622" fmla="*/ 478630 w 9586368"/>
              <a:gd name="connsiteY1622" fmla="*/ 5518129 h 6479439"/>
              <a:gd name="connsiteX1623" fmla="*/ 478630 w 9586368"/>
              <a:gd name="connsiteY1623" fmla="*/ 5508258 h 6479439"/>
              <a:gd name="connsiteX1624" fmla="*/ 243335 w 9586368"/>
              <a:gd name="connsiteY1624" fmla="*/ 5504220 h 6479439"/>
              <a:gd name="connsiteX1625" fmla="*/ 253245 w 9586368"/>
              <a:gd name="connsiteY1625" fmla="*/ 5504220 h 6479439"/>
              <a:gd name="connsiteX1626" fmla="*/ 257264 w 9586368"/>
              <a:gd name="connsiteY1626" fmla="*/ 5508258 h 6479439"/>
              <a:gd name="connsiteX1627" fmla="*/ 257264 w 9586368"/>
              <a:gd name="connsiteY1627" fmla="*/ 5518129 h 6479439"/>
              <a:gd name="connsiteX1628" fmla="*/ 253245 w 9586368"/>
              <a:gd name="connsiteY1628" fmla="*/ 5522168 h 6479439"/>
              <a:gd name="connsiteX1629" fmla="*/ 243335 w 9586368"/>
              <a:gd name="connsiteY1629" fmla="*/ 5522168 h 6479439"/>
              <a:gd name="connsiteX1630" fmla="*/ 239316 w 9586368"/>
              <a:gd name="connsiteY1630" fmla="*/ 5518129 h 6479439"/>
              <a:gd name="connsiteX1631" fmla="*/ 239316 w 9586368"/>
              <a:gd name="connsiteY1631" fmla="*/ 5508258 h 6479439"/>
              <a:gd name="connsiteX1632" fmla="*/ 4022 w 9586368"/>
              <a:gd name="connsiteY1632" fmla="*/ 5504220 h 6479439"/>
              <a:gd name="connsiteX1633" fmla="*/ 13932 w 9586368"/>
              <a:gd name="connsiteY1633" fmla="*/ 5504220 h 6479439"/>
              <a:gd name="connsiteX1634" fmla="*/ 17951 w 9586368"/>
              <a:gd name="connsiteY1634" fmla="*/ 5508258 h 6479439"/>
              <a:gd name="connsiteX1635" fmla="*/ 17951 w 9586368"/>
              <a:gd name="connsiteY1635" fmla="*/ 5518129 h 6479439"/>
              <a:gd name="connsiteX1636" fmla="*/ 13932 w 9586368"/>
              <a:gd name="connsiteY1636" fmla="*/ 5522168 h 6479439"/>
              <a:gd name="connsiteX1637" fmla="*/ 4022 w 9586368"/>
              <a:gd name="connsiteY1637" fmla="*/ 5522168 h 6479439"/>
              <a:gd name="connsiteX1638" fmla="*/ 3 w 9586368"/>
              <a:gd name="connsiteY1638" fmla="*/ 5518129 h 6479439"/>
              <a:gd name="connsiteX1639" fmla="*/ 3 w 9586368"/>
              <a:gd name="connsiteY1639" fmla="*/ 5508258 h 6479439"/>
              <a:gd name="connsiteX1640" fmla="*/ 2157818 w 9586368"/>
              <a:gd name="connsiteY1640" fmla="*/ 5264940 h 6479439"/>
              <a:gd name="connsiteX1641" fmla="*/ 2167729 w 9586368"/>
              <a:gd name="connsiteY1641" fmla="*/ 5264940 h 6479439"/>
              <a:gd name="connsiteX1642" fmla="*/ 2171748 w 9586368"/>
              <a:gd name="connsiteY1642" fmla="*/ 5268978 h 6479439"/>
              <a:gd name="connsiteX1643" fmla="*/ 2171748 w 9586368"/>
              <a:gd name="connsiteY1643" fmla="*/ 5278849 h 6479439"/>
              <a:gd name="connsiteX1644" fmla="*/ 2167729 w 9586368"/>
              <a:gd name="connsiteY1644" fmla="*/ 5282888 h 6479439"/>
              <a:gd name="connsiteX1645" fmla="*/ 2157818 w 9586368"/>
              <a:gd name="connsiteY1645" fmla="*/ 5282888 h 6479439"/>
              <a:gd name="connsiteX1646" fmla="*/ 2153799 w 9586368"/>
              <a:gd name="connsiteY1646" fmla="*/ 5278849 h 6479439"/>
              <a:gd name="connsiteX1647" fmla="*/ 2153799 w 9586368"/>
              <a:gd name="connsiteY1647" fmla="*/ 5268978 h 6479439"/>
              <a:gd name="connsiteX1648" fmla="*/ 1918510 w 9586368"/>
              <a:gd name="connsiteY1648" fmla="*/ 5264940 h 6479439"/>
              <a:gd name="connsiteX1649" fmla="*/ 1928420 w 9586368"/>
              <a:gd name="connsiteY1649" fmla="*/ 5264940 h 6479439"/>
              <a:gd name="connsiteX1650" fmla="*/ 1932438 w 9586368"/>
              <a:gd name="connsiteY1650" fmla="*/ 5268978 h 6479439"/>
              <a:gd name="connsiteX1651" fmla="*/ 1932438 w 9586368"/>
              <a:gd name="connsiteY1651" fmla="*/ 5278849 h 6479439"/>
              <a:gd name="connsiteX1652" fmla="*/ 1928420 w 9586368"/>
              <a:gd name="connsiteY1652" fmla="*/ 5282888 h 6479439"/>
              <a:gd name="connsiteX1653" fmla="*/ 1918510 w 9586368"/>
              <a:gd name="connsiteY1653" fmla="*/ 5282888 h 6479439"/>
              <a:gd name="connsiteX1654" fmla="*/ 1914492 w 9586368"/>
              <a:gd name="connsiteY1654" fmla="*/ 5278849 h 6479439"/>
              <a:gd name="connsiteX1655" fmla="*/ 1914492 w 9586368"/>
              <a:gd name="connsiteY1655" fmla="*/ 5268978 h 6479439"/>
              <a:gd name="connsiteX1656" fmla="*/ 1679204 w 9586368"/>
              <a:gd name="connsiteY1656" fmla="*/ 5264940 h 6479439"/>
              <a:gd name="connsiteX1657" fmla="*/ 1689113 w 9586368"/>
              <a:gd name="connsiteY1657" fmla="*/ 5264940 h 6479439"/>
              <a:gd name="connsiteX1658" fmla="*/ 1693132 w 9586368"/>
              <a:gd name="connsiteY1658" fmla="*/ 5268978 h 6479439"/>
              <a:gd name="connsiteX1659" fmla="*/ 1693132 w 9586368"/>
              <a:gd name="connsiteY1659" fmla="*/ 5278849 h 6479439"/>
              <a:gd name="connsiteX1660" fmla="*/ 1689113 w 9586368"/>
              <a:gd name="connsiteY1660" fmla="*/ 5282888 h 6479439"/>
              <a:gd name="connsiteX1661" fmla="*/ 1679204 w 9586368"/>
              <a:gd name="connsiteY1661" fmla="*/ 5282888 h 6479439"/>
              <a:gd name="connsiteX1662" fmla="*/ 1675184 w 9586368"/>
              <a:gd name="connsiteY1662" fmla="*/ 5278849 h 6479439"/>
              <a:gd name="connsiteX1663" fmla="*/ 1675184 w 9586368"/>
              <a:gd name="connsiteY1663" fmla="*/ 5268978 h 6479439"/>
              <a:gd name="connsiteX1664" fmla="*/ 1439889 w 9586368"/>
              <a:gd name="connsiteY1664" fmla="*/ 5264940 h 6479439"/>
              <a:gd name="connsiteX1665" fmla="*/ 1449798 w 9586368"/>
              <a:gd name="connsiteY1665" fmla="*/ 5264940 h 6479439"/>
              <a:gd name="connsiteX1666" fmla="*/ 1453817 w 9586368"/>
              <a:gd name="connsiteY1666" fmla="*/ 5268978 h 6479439"/>
              <a:gd name="connsiteX1667" fmla="*/ 1453817 w 9586368"/>
              <a:gd name="connsiteY1667" fmla="*/ 5278849 h 6479439"/>
              <a:gd name="connsiteX1668" fmla="*/ 1449798 w 9586368"/>
              <a:gd name="connsiteY1668" fmla="*/ 5282888 h 6479439"/>
              <a:gd name="connsiteX1669" fmla="*/ 1439889 w 9586368"/>
              <a:gd name="connsiteY1669" fmla="*/ 5282888 h 6479439"/>
              <a:gd name="connsiteX1670" fmla="*/ 1435869 w 9586368"/>
              <a:gd name="connsiteY1670" fmla="*/ 5278849 h 6479439"/>
              <a:gd name="connsiteX1671" fmla="*/ 1435869 w 9586368"/>
              <a:gd name="connsiteY1671" fmla="*/ 5268978 h 6479439"/>
              <a:gd name="connsiteX1672" fmla="*/ 1200573 w 9586368"/>
              <a:gd name="connsiteY1672" fmla="*/ 5264940 h 6479439"/>
              <a:gd name="connsiteX1673" fmla="*/ 1210483 w 9586368"/>
              <a:gd name="connsiteY1673" fmla="*/ 5264940 h 6479439"/>
              <a:gd name="connsiteX1674" fmla="*/ 1214502 w 9586368"/>
              <a:gd name="connsiteY1674" fmla="*/ 5268978 h 6479439"/>
              <a:gd name="connsiteX1675" fmla="*/ 1214502 w 9586368"/>
              <a:gd name="connsiteY1675" fmla="*/ 5278849 h 6479439"/>
              <a:gd name="connsiteX1676" fmla="*/ 1210483 w 9586368"/>
              <a:gd name="connsiteY1676" fmla="*/ 5282888 h 6479439"/>
              <a:gd name="connsiteX1677" fmla="*/ 1200573 w 9586368"/>
              <a:gd name="connsiteY1677" fmla="*/ 5282888 h 6479439"/>
              <a:gd name="connsiteX1678" fmla="*/ 1196554 w 9586368"/>
              <a:gd name="connsiteY1678" fmla="*/ 5278849 h 6479439"/>
              <a:gd name="connsiteX1679" fmla="*/ 1196554 w 9586368"/>
              <a:gd name="connsiteY1679" fmla="*/ 5268978 h 6479439"/>
              <a:gd name="connsiteX1680" fmla="*/ 961260 w 9586368"/>
              <a:gd name="connsiteY1680" fmla="*/ 5264940 h 6479439"/>
              <a:gd name="connsiteX1681" fmla="*/ 971171 w 9586368"/>
              <a:gd name="connsiteY1681" fmla="*/ 5264940 h 6479439"/>
              <a:gd name="connsiteX1682" fmla="*/ 975189 w 9586368"/>
              <a:gd name="connsiteY1682" fmla="*/ 5268978 h 6479439"/>
              <a:gd name="connsiteX1683" fmla="*/ 975189 w 9586368"/>
              <a:gd name="connsiteY1683" fmla="*/ 5278849 h 6479439"/>
              <a:gd name="connsiteX1684" fmla="*/ 971171 w 9586368"/>
              <a:gd name="connsiteY1684" fmla="*/ 5282888 h 6479439"/>
              <a:gd name="connsiteX1685" fmla="*/ 961260 w 9586368"/>
              <a:gd name="connsiteY1685" fmla="*/ 5282888 h 6479439"/>
              <a:gd name="connsiteX1686" fmla="*/ 957241 w 9586368"/>
              <a:gd name="connsiteY1686" fmla="*/ 5278849 h 6479439"/>
              <a:gd name="connsiteX1687" fmla="*/ 957241 w 9586368"/>
              <a:gd name="connsiteY1687" fmla="*/ 5268978 h 6479439"/>
              <a:gd name="connsiteX1688" fmla="*/ 9572438 w 9586368"/>
              <a:gd name="connsiteY1688" fmla="*/ 5264889 h 6479439"/>
              <a:gd name="connsiteX1689" fmla="*/ 9582349 w 9586368"/>
              <a:gd name="connsiteY1689" fmla="*/ 5264889 h 6479439"/>
              <a:gd name="connsiteX1690" fmla="*/ 9586368 w 9586368"/>
              <a:gd name="connsiteY1690" fmla="*/ 5268928 h 6479439"/>
              <a:gd name="connsiteX1691" fmla="*/ 9586368 w 9586368"/>
              <a:gd name="connsiteY1691" fmla="*/ 5278799 h 6479439"/>
              <a:gd name="connsiteX1692" fmla="*/ 9582349 w 9586368"/>
              <a:gd name="connsiteY1692" fmla="*/ 5282838 h 6479439"/>
              <a:gd name="connsiteX1693" fmla="*/ 9572438 w 9586368"/>
              <a:gd name="connsiteY1693" fmla="*/ 5282838 h 6479439"/>
              <a:gd name="connsiteX1694" fmla="*/ 9568419 w 9586368"/>
              <a:gd name="connsiteY1694" fmla="*/ 5278799 h 6479439"/>
              <a:gd name="connsiteX1695" fmla="*/ 9568419 w 9586368"/>
              <a:gd name="connsiteY1695" fmla="*/ 5268928 h 6479439"/>
              <a:gd name="connsiteX1696" fmla="*/ 9333125 w 9586368"/>
              <a:gd name="connsiteY1696" fmla="*/ 5264889 h 6479439"/>
              <a:gd name="connsiteX1697" fmla="*/ 9343036 w 9586368"/>
              <a:gd name="connsiteY1697" fmla="*/ 5264889 h 6479439"/>
              <a:gd name="connsiteX1698" fmla="*/ 9347055 w 9586368"/>
              <a:gd name="connsiteY1698" fmla="*/ 5268928 h 6479439"/>
              <a:gd name="connsiteX1699" fmla="*/ 9347055 w 9586368"/>
              <a:gd name="connsiteY1699" fmla="*/ 5278799 h 6479439"/>
              <a:gd name="connsiteX1700" fmla="*/ 9343036 w 9586368"/>
              <a:gd name="connsiteY1700" fmla="*/ 5282838 h 6479439"/>
              <a:gd name="connsiteX1701" fmla="*/ 9333125 w 9586368"/>
              <a:gd name="connsiteY1701" fmla="*/ 5282838 h 6479439"/>
              <a:gd name="connsiteX1702" fmla="*/ 9329106 w 9586368"/>
              <a:gd name="connsiteY1702" fmla="*/ 5278799 h 6479439"/>
              <a:gd name="connsiteX1703" fmla="*/ 9329106 w 9586368"/>
              <a:gd name="connsiteY1703" fmla="*/ 5268928 h 6479439"/>
              <a:gd name="connsiteX1704" fmla="*/ 9093811 w 9586368"/>
              <a:gd name="connsiteY1704" fmla="*/ 5264889 h 6479439"/>
              <a:gd name="connsiteX1705" fmla="*/ 9103722 w 9586368"/>
              <a:gd name="connsiteY1705" fmla="*/ 5264889 h 6479439"/>
              <a:gd name="connsiteX1706" fmla="*/ 9107741 w 9586368"/>
              <a:gd name="connsiteY1706" fmla="*/ 5268928 h 6479439"/>
              <a:gd name="connsiteX1707" fmla="*/ 9107741 w 9586368"/>
              <a:gd name="connsiteY1707" fmla="*/ 5278799 h 6479439"/>
              <a:gd name="connsiteX1708" fmla="*/ 9103722 w 9586368"/>
              <a:gd name="connsiteY1708" fmla="*/ 5282838 h 6479439"/>
              <a:gd name="connsiteX1709" fmla="*/ 9093811 w 9586368"/>
              <a:gd name="connsiteY1709" fmla="*/ 5282838 h 6479439"/>
              <a:gd name="connsiteX1710" fmla="*/ 9089792 w 9586368"/>
              <a:gd name="connsiteY1710" fmla="*/ 5278799 h 6479439"/>
              <a:gd name="connsiteX1711" fmla="*/ 9089792 w 9586368"/>
              <a:gd name="connsiteY1711" fmla="*/ 5268928 h 6479439"/>
              <a:gd name="connsiteX1712" fmla="*/ 8854496 w 9586368"/>
              <a:gd name="connsiteY1712" fmla="*/ 5264889 h 6479439"/>
              <a:gd name="connsiteX1713" fmla="*/ 8864407 w 9586368"/>
              <a:gd name="connsiteY1713" fmla="*/ 5264889 h 6479439"/>
              <a:gd name="connsiteX1714" fmla="*/ 8868426 w 9586368"/>
              <a:gd name="connsiteY1714" fmla="*/ 5268928 h 6479439"/>
              <a:gd name="connsiteX1715" fmla="*/ 8868426 w 9586368"/>
              <a:gd name="connsiteY1715" fmla="*/ 5278799 h 6479439"/>
              <a:gd name="connsiteX1716" fmla="*/ 8864407 w 9586368"/>
              <a:gd name="connsiteY1716" fmla="*/ 5282838 h 6479439"/>
              <a:gd name="connsiteX1717" fmla="*/ 8854496 w 9586368"/>
              <a:gd name="connsiteY1717" fmla="*/ 5282838 h 6479439"/>
              <a:gd name="connsiteX1718" fmla="*/ 8850477 w 9586368"/>
              <a:gd name="connsiteY1718" fmla="*/ 5278799 h 6479439"/>
              <a:gd name="connsiteX1719" fmla="*/ 8850477 w 9586368"/>
              <a:gd name="connsiteY1719" fmla="*/ 5268928 h 6479439"/>
              <a:gd name="connsiteX1720" fmla="*/ 8615184 w 9586368"/>
              <a:gd name="connsiteY1720" fmla="*/ 5264889 h 6479439"/>
              <a:gd name="connsiteX1721" fmla="*/ 8625095 w 9586368"/>
              <a:gd name="connsiteY1721" fmla="*/ 5264889 h 6479439"/>
              <a:gd name="connsiteX1722" fmla="*/ 8629114 w 9586368"/>
              <a:gd name="connsiteY1722" fmla="*/ 5268928 h 6479439"/>
              <a:gd name="connsiteX1723" fmla="*/ 8629114 w 9586368"/>
              <a:gd name="connsiteY1723" fmla="*/ 5278799 h 6479439"/>
              <a:gd name="connsiteX1724" fmla="*/ 8625095 w 9586368"/>
              <a:gd name="connsiteY1724" fmla="*/ 5282838 h 6479439"/>
              <a:gd name="connsiteX1725" fmla="*/ 8615184 w 9586368"/>
              <a:gd name="connsiteY1725" fmla="*/ 5282838 h 6479439"/>
              <a:gd name="connsiteX1726" fmla="*/ 8611165 w 9586368"/>
              <a:gd name="connsiteY1726" fmla="*/ 5278799 h 6479439"/>
              <a:gd name="connsiteX1727" fmla="*/ 8611165 w 9586368"/>
              <a:gd name="connsiteY1727" fmla="*/ 5268928 h 6479439"/>
              <a:gd name="connsiteX1728" fmla="*/ 8375869 w 9586368"/>
              <a:gd name="connsiteY1728" fmla="*/ 5264889 h 6479439"/>
              <a:gd name="connsiteX1729" fmla="*/ 8385779 w 9586368"/>
              <a:gd name="connsiteY1729" fmla="*/ 5264889 h 6479439"/>
              <a:gd name="connsiteX1730" fmla="*/ 8389799 w 9586368"/>
              <a:gd name="connsiteY1730" fmla="*/ 5268928 h 6479439"/>
              <a:gd name="connsiteX1731" fmla="*/ 8389799 w 9586368"/>
              <a:gd name="connsiteY1731" fmla="*/ 5278799 h 6479439"/>
              <a:gd name="connsiteX1732" fmla="*/ 8385779 w 9586368"/>
              <a:gd name="connsiteY1732" fmla="*/ 5282838 h 6479439"/>
              <a:gd name="connsiteX1733" fmla="*/ 8375869 w 9586368"/>
              <a:gd name="connsiteY1733" fmla="*/ 5282838 h 6479439"/>
              <a:gd name="connsiteX1734" fmla="*/ 8371850 w 9586368"/>
              <a:gd name="connsiteY1734" fmla="*/ 5278799 h 6479439"/>
              <a:gd name="connsiteX1735" fmla="*/ 8371850 w 9586368"/>
              <a:gd name="connsiteY1735" fmla="*/ 5268928 h 6479439"/>
              <a:gd name="connsiteX1736" fmla="*/ 8136553 w 9586368"/>
              <a:gd name="connsiteY1736" fmla="*/ 5264889 h 6479439"/>
              <a:gd name="connsiteX1737" fmla="*/ 8146464 w 9586368"/>
              <a:gd name="connsiteY1737" fmla="*/ 5264889 h 6479439"/>
              <a:gd name="connsiteX1738" fmla="*/ 8150483 w 9586368"/>
              <a:gd name="connsiteY1738" fmla="*/ 5268928 h 6479439"/>
              <a:gd name="connsiteX1739" fmla="*/ 8150483 w 9586368"/>
              <a:gd name="connsiteY1739" fmla="*/ 5278799 h 6479439"/>
              <a:gd name="connsiteX1740" fmla="*/ 8146464 w 9586368"/>
              <a:gd name="connsiteY1740" fmla="*/ 5282838 h 6479439"/>
              <a:gd name="connsiteX1741" fmla="*/ 8136553 w 9586368"/>
              <a:gd name="connsiteY1741" fmla="*/ 5282838 h 6479439"/>
              <a:gd name="connsiteX1742" fmla="*/ 8132534 w 9586368"/>
              <a:gd name="connsiteY1742" fmla="*/ 5278799 h 6479439"/>
              <a:gd name="connsiteX1743" fmla="*/ 8132534 w 9586368"/>
              <a:gd name="connsiteY1743" fmla="*/ 5268928 h 6479439"/>
              <a:gd name="connsiteX1744" fmla="*/ 7897241 w 9586368"/>
              <a:gd name="connsiteY1744" fmla="*/ 5264889 h 6479439"/>
              <a:gd name="connsiteX1745" fmla="*/ 7907151 w 9586368"/>
              <a:gd name="connsiteY1745" fmla="*/ 5264889 h 6479439"/>
              <a:gd name="connsiteX1746" fmla="*/ 7911170 w 9586368"/>
              <a:gd name="connsiteY1746" fmla="*/ 5268928 h 6479439"/>
              <a:gd name="connsiteX1747" fmla="*/ 7911170 w 9586368"/>
              <a:gd name="connsiteY1747" fmla="*/ 5278799 h 6479439"/>
              <a:gd name="connsiteX1748" fmla="*/ 7907151 w 9586368"/>
              <a:gd name="connsiteY1748" fmla="*/ 5282838 h 6479439"/>
              <a:gd name="connsiteX1749" fmla="*/ 7897241 w 9586368"/>
              <a:gd name="connsiteY1749" fmla="*/ 5282838 h 6479439"/>
              <a:gd name="connsiteX1750" fmla="*/ 7893222 w 9586368"/>
              <a:gd name="connsiteY1750" fmla="*/ 5278799 h 6479439"/>
              <a:gd name="connsiteX1751" fmla="*/ 7893222 w 9586368"/>
              <a:gd name="connsiteY1751" fmla="*/ 5268928 h 6479439"/>
              <a:gd name="connsiteX1752" fmla="*/ 7657926 w 9586368"/>
              <a:gd name="connsiteY1752" fmla="*/ 5264889 h 6479439"/>
              <a:gd name="connsiteX1753" fmla="*/ 7667836 w 9586368"/>
              <a:gd name="connsiteY1753" fmla="*/ 5264889 h 6479439"/>
              <a:gd name="connsiteX1754" fmla="*/ 7671855 w 9586368"/>
              <a:gd name="connsiteY1754" fmla="*/ 5268928 h 6479439"/>
              <a:gd name="connsiteX1755" fmla="*/ 7671855 w 9586368"/>
              <a:gd name="connsiteY1755" fmla="*/ 5278799 h 6479439"/>
              <a:gd name="connsiteX1756" fmla="*/ 7667836 w 9586368"/>
              <a:gd name="connsiteY1756" fmla="*/ 5282838 h 6479439"/>
              <a:gd name="connsiteX1757" fmla="*/ 7657926 w 9586368"/>
              <a:gd name="connsiteY1757" fmla="*/ 5282838 h 6479439"/>
              <a:gd name="connsiteX1758" fmla="*/ 7653906 w 9586368"/>
              <a:gd name="connsiteY1758" fmla="*/ 5278799 h 6479439"/>
              <a:gd name="connsiteX1759" fmla="*/ 7653906 w 9586368"/>
              <a:gd name="connsiteY1759" fmla="*/ 5268928 h 6479439"/>
              <a:gd name="connsiteX1760" fmla="*/ 7418611 w 9586368"/>
              <a:gd name="connsiteY1760" fmla="*/ 5264889 h 6479439"/>
              <a:gd name="connsiteX1761" fmla="*/ 7428521 w 9586368"/>
              <a:gd name="connsiteY1761" fmla="*/ 5264889 h 6479439"/>
              <a:gd name="connsiteX1762" fmla="*/ 7432540 w 9586368"/>
              <a:gd name="connsiteY1762" fmla="*/ 5268928 h 6479439"/>
              <a:gd name="connsiteX1763" fmla="*/ 7432540 w 9586368"/>
              <a:gd name="connsiteY1763" fmla="*/ 5278799 h 6479439"/>
              <a:gd name="connsiteX1764" fmla="*/ 7428521 w 9586368"/>
              <a:gd name="connsiteY1764" fmla="*/ 5282838 h 6479439"/>
              <a:gd name="connsiteX1765" fmla="*/ 7418611 w 9586368"/>
              <a:gd name="connsiteY1765" fmla="*/ 5282838 h 6479439"/>
              <a:gd name="connsiteX1766" fmla="*/ 7414592 w 9586368"/>
              <a:gd name="connsiteY1766" fmla="*/ 5278799 h 6479439"/>
              <a:gd name="connsiteX1767" fmla="*/ 7414592 w 9586368"/>
              <a:gd name="connsiteY1767" fmla="*/ 5268928 h 6479439"/>
              <a:gd name="connsiteX1768" fmla="*/ 7179298 w 9586368"/>
              <a:gd name="connsiteY1768" fmla="*/ 5264889 h 6479439"/>
              <a:gd name="connsiteX1769" fmla="*/ 7189209 w 9586368"/>
              <a:gd name="connsiteY1769" fmla="*/ 5264889 h 6479439"/>
              <a:gd name="connsiteX1770" fmla="*/ 7193228 w 9586368"/>
              <a:gd name="connsiteY1770" fmla="*/ 5268928 h 6479439"/>
              <a:gd name="connsiteX1771" fmla="*/ 7193228 w 9586368"/>
              <a:gd name="connsiteY1771" fmla="*/ 5278799 h 6479439"/>
              <a:gd name="connsiteX1772" fmla="*/ 7189209 w 9586368"/>
              <a:gd name="connsiteY1772" fmla="*/ 5282838 h 6479439"/>
              <a:gd name="connsiteX1773" fmla="*/ 7179298 w 9586368"/>
              <a:gd name="connsiteY1773" fmla="*/ 5282838 h 6479439"/>
              <a:gd name="connsiteX1774" fmla="*/ 7175279 w 9586368"/>
              <a:gd name="connsiteY1774" fmla="*/ 5278799 h 6479439"/>
              <a:gd name="connsiteX1775" fmla="*/ 7175279 w 9586368"/>
              <a:gd name="connsiteY1775" fmla="*/ 5268928 h 6479439"/>
              <a:gd name="connsiteX1776" fmla="*/ 6939983 w 9586368"/>
              <a:gd name="connsiteY1776" fmla="*/ 5264889 h 6479439"/>
              <a:gd name="connsiteX1777" fmla="*/ 6949894 w 9586368"/>
              <a:gd name="connsiteY1777" fmla="*/ 5264889 h 6479439"/>
              <a:gd name="connsiteX1778" fmla="*/ 6953913 w 9586368"/>
              <a:gd name="connsiteY1778" fmla="*/ 5268928 h 6479439"/>
              <a:gd name="connsiteX1779" fmla="*/ 6953913 w 9586368"/>
              <a:gd name="connsiteY1779" fmla="*/ 5278799 h 6479439"/>
              <a:gd name="connsiteX1780" fmla="*/ 6949894 w 9586368"/>
              <a:gd name="connsiteY1780" fmla="*/ 5282838 h 6479439"/>
              <a:gd name="connsiteX1781" fmla="*/ 6939983 w 9586368"/>
              <a:gd name="connsiteY1781" fmla="*/ 5282838 h 6479439"/>
              <a:gd name="connsiteX1782" fmla="*/ 6935964 w 9586368"/>
              <a:gd name="connsiteY1782" fmla="*/ 5278799 h 6479439"/>
              <a:gd name="connsiteX1783" fmla="*/ 6935964 w 9586368"/>
              <a:gd name="connsiteY1783" fmla="*/ 5268928 h 6479439"/>
              <a:gd name="connsiteX1784" fmla="*/ 6700670 w 9586368"/>
              <a:gd name="connsiteY1784" fmla="*/ 5264889 h 6479439"/>
              <a:gd name="connsiteX1785" fmla="*/ 6710581 w 9586368"/>
              <a:gd name="connsiteY1785" fmla="*/ 5264889 h 6479439"/>
              <a:gd name="connsiteX1786" fmla="*/ 6714600 w 9586368"/>
              <a:gd name="connsiteY1786" fmla="*/ 5268928 h 6479439"/>
              <a:gd name="connsiteX1787" fmla="*/ 6714600 w 9586368"/>
              <a:gd name="connsiteY1787" fmla="*/ 5278799 h 6479439"/>
              <a:gd name="connsiteX1788" fmla="*/ 6710581 w 9586368"/>
              <a:gd name="connsiteY1788" fmla="*/ 5282838 h 6479439"/>
              <a:gd name="connsiteX1789" fmla="*/ 6700670 w 9586368"/>
              <a:gd name="connsiteY1789" fmla="*/ 5282838 h 6479439"/>
              <a:gd name="connsiteX1790" fmla="*/ 6696651 w 9586368"/>
              <a:gd name="connsiteY1790" fmla="*/ 5278799 h 6479439"/>
              <a:gd name="connsiteX1791" fmla="*/ 6696651 w 9586368"/>
              <a:gd name="connsiteY1791" fmla="*/ 5268928 h 6479439"/>
              <a:gd name="connsiteX1792" fmla="*/ 6461356 w 9586368"/>
              <a:gd name="connsiteY1792" fmla="*/ 5264889 h 6479439"/>
              <a:gd name="connsiteX1793" fmla="*/ 6471266 w 9586368"/>
              <a:gd name="connsiteY1793" fmla="*/ 5264889 h 6479439"/>
              <a:gd name="connsiteX1794" fmla="*/ 6475285 w 9586368"/>
              <a:gd name="connsiteY1794" fmla="*/ 5268928 h 6479439"/>
              <a:gd name="connsiteX1795" fmla="*/ 6475285 w 9586368"/>
              <a:gd name="connsiteY1795" fmla="*/ 5278799 h 6479439"/>
              <a:gd name="connsiteX1796" fmla="*/ 6471266 w 9586368"/>
              <a:gd name="connsiteY1796" fmla="*/ 5282838 h 6479439"/>
              <a:gd name="connsiteX1797" fmla="*/ 6461356 w 9586368"/>
              <a:gd name="connsiteY1797" fmla="*/ 5282838 h 6479439"/>
              <a:gd name="connsiteX1798" fmla="*/ 6457337 w 9586368"/>
              <a:gd name="connsiteY1798" fmla="*/ 5278799 h 6479439"/>
              <a:gd name="connsiteX1799" fmla="*/ 6457337 w 9586368"/>
              <a:gd name="connsiteY1799" fmla="*/ 5268928 h 6479439"/>
              <a:gd name="connsiteX1800" fmla="*/ 6222042 w 9586368"/>
              <a:gd name="connsiteY1800" fmla="*/ 5264889 h 6479439"/>
              <a:gd name="connsiteX1801" fmla="*/ 6231952 w 9586368"/>
              <a:gd name="connsiteY1801" fmla="*/ 5264889 h 6479439"/>
              <a:gd name="connsiteX1802" fmla="*/ 6235971 w 9586368"/>
              <a:gd name="connsiteY1802" fmla="*/ 5268928 h 6479439"/>
              <a:gd name="connsiteX1803" fmla="*/ 6235971 w 9586368"/>
              <a:gd name="connsiteY1803" fmla="*/ 5278799 h 6479439"/>
              <a:gd name="connsiteX1804" fmla="*/ 6231952 w 9586368"/>
              <a:gd name="connsiteY1804" fmla="*/ 5282838 h 6479439"/>
              <a:gd name="connsiteX1805" fmla="*/ 6222042 w 9586368"/>
              <a:gd name="connsiteY1805" fmla="*/ 5282838 h 6479439"/>
              <a:gd name="connsiteX1806" fmla="*/ 6218023 w 9586368"/>
              <a:gd name="connsiteY1806" fmla="*/ 5278799 h 6479439"/>
              <a:gd name="connsiteX1807" fmla="*/ 6218023 w 9586368"/>
              <a:gd name="connsiteY1807" fmla="*/ 5268928 h 6479439"/>
              <a:gd name="connsiteX1808" fmla="*/ 5982729 w 9586368"/>
              <a:gd name="connsiteY1808" fmla="*/ 5264889 h 6479439"/>
              <a:gd name="connsiteX1809" fmla="*/ 5992639 w 9586368"/>
              <a:gd name="connsiteY1809" fmla="*/ 5264889 h 6479439"/>
              <a:gd name="connsiteX1810" fmla="*/ 5996658 w 9586368"/>
              <a:gd name="connsiteY1810" fmla="*/ 5268928 h 6479439"/>
              <a:gd name="connsiteX1811" fmla="*/ 5996658 w 9586368"/>
              <a:gd name="connsiteY1811" fmla="*/ 5278799 h 6479439"/>
              <a:gd name="connsiteX1812" fmla="*/ 5992639 w 9586368"/>
              <a:gd name="connsiteY1812" fmla="*/ 5282838 h 6479439"/>
              <a:gd name="connsiteX1813" fmla="*/ 5982729 w 9586368"/>
              <a:gd name="connsiteY1813" fmla="*/ 5282838 h 6479439"/>
              <a:gd name="connsiteX1814" fmla="*/ 5978710 w 9586368"/>
              <a:gd name="connsiteY1814" fmla="*/ 5278799 h 6479439"/>
              <a:gd name="connsiteX1815" fmla="*/ 5978710 w 9586368"/>
              <a:gd name="connsiteY1815" fmla="*/ 5268928 h 6479439"/>
              <a:gd name="connsiteX1816" fmla="*/ 5743412 w 9586368"/>
              <a:gd name="connsiteY1816" fmla="*/ 5264889 h 6479439"/>
              <a:gd name="connsiteX1817" fmla="*/ 5753323 w 9586368"/>
              <a:gd name="connsiteY1817" fmla="*/ 5264889 h 6479439"/>
              <a:gd name="connsiteX1818" fmla="*/ 5757342 w 9586368"/>
              <a:gd name="connsiteY1818" fmla="*/ 5268928 h 6479439"/>
              <a:gd name="connsiteX1819" fmla="*/ 5757342 w 9586368"/>
              <a:gd name="connsiteY1819" fmla="*/ 5278799 h 6479439"/>
              <a:gd name="connsiteX1820" fmla="*/ 5753323 w 9586368"/>
              <a:gd name="connsiteY1820" fmla="*/ 5282838 h 6479439"/>
              <a:gd name="connsiteX1821" fmla="*/ 5743412 w 9586368"/>
              <a:gd name="connsiteY1821" fmla="*/ 5282838 h 6479439"/>
              <a:gd name="connsiteX1822" fmla="*/ 5739393 w 9586368"/>
              <a:gd name="connsiteY1822" fmla="*/ 5278799 h 6479439"/>
              <a:gd name="connsiteX1823" fmla="*/ 5739393 w 9586368"/>
              <a:gd name="connsiteY1823" fmla="*/ 5268928 h 6479439"/>
              <a:gd name="connsiteX1824" fmla="*/ 5504099 w 9586368"/>
              <a:gd name="connsiteY1824" fmla="*/ 5264889 h 6479439"/>
              <a:gd name="connsiteX1825" fmla="*/ 5514010 w 9586368"/>
              <a:gd name="connsiteY1825" fmla="*/ 5264889 h 6479439"/>
              <a:gd name="connsiteX1826" fmla="*/ 5518029 w 9586368"/>
              <a:gd name="connsiteY1826" fmla="*/ 5268928 h 6479439"/>
              <a:gd name="connsiteX1827" fmla="*/ 5518029 w 9586368"/>
              <a:gd name="connsiteY1827" fmla="*/ 5278799 h 6479439"/>
              <a:gd name="connsiteX1828" fmla="*/ 5514010 w 9586368"/>
              <a:gd name="connsiteY1828" fmla="*/ 5282838 h 6479439"/>
              <a:gd name="connsiteX1829" fmla="*/ 5504099 w 9586368"/>
              <a:gd name="connsiteY1829" fmla="*/ 5282838 h 6479439"/>
              <a:gd name="connsiteX1830" fmla="*/ 5500080 w 9586368"/>
              <a:gd name="connsiteY1830" fmla="*/ 5278799 h 6479439"/>
              <a:gd name="connsiteX1831" fmla="*/ 5500080 w 9586368"/>
              <a:gd name="connsiteY1831" fmla="*/ 5268928 h 6479439"/>
              <a:gd name="connsiteX1832" fmla="*/ 5264784 w 9586368"/>
              <a:gd name="connsiteY1832" fmla="*/ 5264889 h 6479439"/>
              <a:gd name="connsiteX1833" fmla="*/ 5274694 w 9586368"/>
              <a:gd name="connsiteY1833" fmla="*/ 5264889 h 6479439"/>
              <a:gd name="connsiteX1834" fmla="*/ 5278713 w 9586368"/>
              <a:gd name="connsiteY1834" fmla="*/ 5268928 h 6479439"/>
              <a:gd name="connsiteX1835" fmla="*/ 5278713 w 9586368"/>
              <a:gd name="connsiteY1835" fmla="*/ 5278799 h 6479439"/>
              <a:gd name="connsiteX1836" fmla="*/ 5274694 w 9586368"/>
              <a:gd name="connsiteY1836" fmla="*/ 5282838 h 6479439"/>
              <a:gd name="connsiteX1837" fmla="*/ 5264784 w 9586368"/>
              <a:gd name="connsiteY1837" fmla="*/ 5282838 h 6479439"/>
              <a:gd name="connsiteX1838" fmla="*/ 5260765 w 9586368"/>
              <a:gd name="connsiteY1838" fmla="*/ 5278799 h 6479439"/>
              <a:gd name="connsiteX1839" fmla="*/ 5260765 w 9586368"/>
              <a:gd name="connsiteY1839" fmla="*/ 5268928 h 6479439"/>
              <a:gd name="connsiteX1840" fmla="*/ 5025470 w 9586368"/>
              <a:gd name="connsiteY1840" fmla="*/ 5264889 h 6479439"/>
              <a:gd name="connsiteX1841" fmla="*/ 5035381 w 9586368"/>
              <a:gd name="connsiteY1841" fmla="*/ 5264889 h 6479439"/>
              <a:gd name="connsiteX1842" fmla="*/ 5039400 w 9586368"/>
              <a:gd name="connsiteY1842" fmla="*/ 5268928 h 6479439"/>
              <a:gd name="connsiteX1843" fmla="*/ 5039400 w 9586368"/>
              <a:gd name="connsiteY1843" fmla="*/ 5278799 h 6479439"/>
              <a:gd name="connsiteX1844" fmla="*/ 5035381 w 9586368"/>
              <a:gd name="connsiteY1844" fmla="*/ 5282838 h 6479439"/>
              <a:gd name="connsiteX1845" fmla="*/ 5025470 w 9586368"/>
              <a:gd name="connsiteY1845" fmla="*/ 5282838 h 6479439"/>
              <a:gd name="connsiteX1846" fmla="*/ 5021451 w 9586368"/>
              <a:gd name="connsiteY1846" fmla="*/ 5278799 h 6479439"/>
              <a:gd name="connsiteX1847" fmla="*/ 5021451 w 9586368"/>
              <a:gd name="connsiteY1847" fmla="*/ 5268928 h 6479439"/>
              <a:gd name="connsiteX1848" fmla="*/ 4786241 w 9586368"/>
              <a:gd name="connsiteY1848" fmla="*/ 5264889 h 6479439"/>
              <a:gd name="connsiteX1849" fmla="*/ 4796152 w 9586368"/>
              <a:gd name="connsiteY1849" fmla="*/ 5264889 h 6479439"/>
              <a:gd name="connsiteX1850" fmla="*/ 4800171 w 9586368"/>
              <a:gd name="connsiteY1850" fmla="*/ 5268928 h 6479439"/>
              <a:gd name="connsiteX1851" fmla="*/ 4800171 w 9586368"/>
              <a:gd name="connsiteY1851" fmla="*/ 5278799 h 6479439"/>
              <a:gd name="connsiteX1852" fmla="*/ 4796152 w 9586368"/>
              <a:gd name="connsiteY1852" fmla="*/ 5282838 h 6479439"/>
              <a:gd name="connsiteX1853" fmla="*/ 4786241 w 9586368"/>
              <a:gd name="connsiteY1853" fmla="*/ 5282838 h 6479439"/>
              <a:gd name="connsiteX1854" fmla="*/ 4782224 w 9586368"/>
              <a:gd name="connsiteY1854" fmla="*/ 5278799 h 6479439"/>
              <a:gd name="connsiteX1855" fmla="*/ 4782224 w 9586368"/>
              <a:gd name="connsiteY1855" fmla="*/ 5268928 h 6479439"/>
              <a:gd name="connsiteX1856" fmla="*/ 4546929 w 9586368"/>
              <a:gd name="connsiteY1856" fmla="*/ 5264889 h 6479439"/>
              <a:gd name="connsiteX1857" fmla="*/ 4556840 w 9586368"/>
              <a:gd name="connsiteY1857" fmla="*/ 5264889 h 6479439"/>
              <a:gd name="connsiteX1858" fmla="*/ 4560859 w 9586368"/>
              <a:gd name="connsiteY1858" fmla="*/ 5268928 h 6479439"/>
              <a:gd name="connsiteX1859" fmla="*/ 4560859 w 9586368"/>
              <a:gd name="connsiteY1859" fmla="*/ 5278799 h 6479439"/>
              <a:gd name="connsiteX1860" fmla="*/ 4556840 w 9586368"/>
              <a:gd name="connsiteY1860" fmla="*/ 5282838 h 6479439"/>
              <a:gd name="connsiteX1861" fmla="*/ 4546929 w 9586368"/>
              <a:gd name="connsiteY1861" fmla="*/ 5282838 h 6479439"/>
              <a:gd name="connsiteX1862" fmla="*/ 4542910 w 9586368"/>
              <a:gd name="connsiteY1862" fmla="*/ 5278799 h 6479439"/>
              <a:gd name="connsiteX1863" fmla="*/ 4542910 w 9586368"/>
              <a:gd name="connsiteY1863" fmla="*/ 5268928 h 6479439"/>
              <a:gd name="connsiteX1864" fmla="*/ 4307612 w 9586368"/>
              <a:gd name="connsiteY1864" fmla="*/ 5264889 h 6479439"/>
              <a:gd name="connsiteX1865" fmla="*/ 4317523 w 9586368"/>
              <a:gd name="connsiteY1865" fmla="*/ 5264889 h 6479439"/>
              <a:gd name="connsiteX1866" fmla="*/ 4321543 w 9586368"/>
              <a:gd name="connsiteY1866" fmla="*/ 5268928 h 6479439"/>
              <a:gd name="connsiteX1867" fmla="*/ 4321543 w 9586368"/>
              <a:gd name="connsiteY1867" fmla="*/ 5278799 h 6479439"/>
              <a:gd name="connsiteX1868" fmla="*/ 4317523 w 9586368"/>
              <a:gd name="connsiteY1868" fmla="*/ 5282838 h 6479439"/>
              <a:gd name="connsiteX1869" fmla="*/ 4307612 w 9586368"/>
              <a:gd name="connsiteY1869" fmla="*/ 5282838 h 6479439"/>
              <a:gd name="connsiteX1870" fmla="*/ 4303595 w 9586368"/>
              <a:gd name="connsiteY1870" fmla="*/ 5278799 h 6479439"/>
              <a:gd name="connsiteX1871" fmla="*/ 4303595 w 9586368"/>
              <a:gd name="connsiteY1871" fmla="*/ 5268928 h 6479439"/>
              <a:gd name="connsiteX1872" fmla="*/ 4068297 w 9586368"/>
              <a:gd name="connsiteY1872" fmla="*/ 5264889 h 6479439"/>
              <a:gd name="connsiteX1873" fmla="*/ 4078210 w 9586368"/>
              <a:gd name="connsiteY1873" fmla="*/ 5264889 h 6479439"/>
              <a:gd name="connsiteX1874" fmla="*/ 4082229 w 9586368"/>
              <a:gd name="connsiteY1874" fmla="*/ 5268928 h 6479439"/>
              <a:gd name="connsiteX1875" fmla="*/ 4082229 w 9586368"/>
              <a:gd name="connsiteY1875" fmla="*/ 5278799 h 6479439"/>
              <a:gd name="connsiteX1876" fmla="*/ 4078210 w 9586368"/>
              <a:gd name="connsiteY1876" fmla="*/ 5282838 h 6479439"/>
              <a:gd name="connsiteX1877" fmla="*/ 4068297 w 9586368"/>
              <a:gd name="connsiteY1877" fmla="*/ 5282838 h 6479439"/>
              <a:gd name="connsiteX1878" fmla="*/ 4064278 w 9586368"/>
              <a:gd name="connsiteY1878" fmla="*/ 5278799 h 6479439"/>
              <a:gd name="connsiteX1879" fmla="*/ 4064278 w 9586368"/>
              <a:gd name="connsiteY1879" fmla="*/ 5268928 h 6479439"/>
              <a:gd name="connsiteX1880" fmla="*/ 3828990 w 9586368"/>
              <a:gd name="connsiteY1880" fmla="*/ 5264889 h 6479439"/>
              <a:gd name="connsiteX1881" fmla="*/ 3838899 w 9586368"/>
              <a:gd name="connsiteY1881" fmla="*/ 5264889 h 6479439"/>
              <a:gd name="connsiteX1882" fmla="*/ 3842917 w 9586368"/>
              <a:gd name="connsiteY1882" fmla="*/ 5268928 h 6479439"/>
              <a:gd name="connsiteX1883" fmla="*/ 3842917 w 9586368"/>
              <a:gd name="connsiteY1883" fmla="*/ 5278799 h 6479439"/>
              <a:gd name="connsiteX1884" fmla="*/ 3838899 w 9586368"/>
              <a:gd name="connsiteY1884" fmla="*/ 5282838 h 6479439"/>
              <a:gd name="connsiteX1885" fmla="*/ 3828990 w 9586368"/>
              <a:gd name="connsiteY1885" fmla="*/ 5282838 h 6479439"/>
              <a:gd name="connsiteX1886" fmla="*/ 3824971 w 9586368"/>
              <a:gd name="connsiteY1886" fmla="*/ 5278799 h 6479439"/>
              <a:gd name="connsiteX1887" fmla="*/ 3824971 w 9586368"/>
              <a:gd name="connsiteY1887" fmla="*/ 5268928 h 6479439"/>
              <a:gd name="connsiteX1888" fmla="*/ 3589676 w 9586368"/>
              <a:gd name="connsiteY1888" fmla="*/ 5264889 h 6479439"/>
              <a:gd name="connsiteX1889" fmla="*/ 3599585 w 9586368"/>
              <a:gd name="connsiteY1889" fmla="*/ 5264889 h 6479439"/>
              <a:gd name="connsiteX1890" fmla="*/ 3603604 w 9586368"/>
              <a:gd name="connsiteY1890" fmla="*/ 5268928 h 6479439"/>
              <a:gd name="connsiteX1891" fmla="*/ 3603604 w 9586368"/>
              <a:gd name="connsiteY1891" fmla="*/ 5278799 h 6479439"/>
              <a:gd name="connsiteX1892" fmla="*/ 3599585 w 9586368"/>
              <a:gd name="connsiteY1892" fmla="*/ 5282838 h 6479439"/>
              <a:gd name="connsiteX1893" fmla="*/ 3589676 w 9586368"/>
              <a:gd name="connsiteY1893" fmla="*/ 5282838 h 6479439"/>
              <a:gd name="connsiteX1894" fmla="*/ 3585657 w 9586368"/>
              <a:gd name="connsiteY1894" fmla="*/ 5278799 h 6479439"/>
              <a:gd name="connsiteX1895" fmla="*/ 3585657 w 9586368"/>
              <a:gd name="connsiteY1895" fmla="*/ 5268928 h 6479439"/>
              <a:gd name="connsiteX1896" fmla="*/ 3350359 w 9586368"/>
              <a:gd name="connsiteY1896" fmla="*/ 5264889 h 6479439"/>
              <a:gd name="connsiteX1897" fmla="*/ 3360268 w 9586368"/>
              <a:gd name="connsiteY1897" fmla="*/ 5264889 h 6479439"/>
              <a:gd name="connsiteX1898" fmla="*/ 3364287 w 9586368"/>
              <a:gd name="connsiteY1898" fmla="*/ 5268928 h 6479439"/>
              <a:gd name="connsiteX1899" fmla="*/ 3364287 w 9586368"/>
              <a:gd name="connsiteY1899" fmla="*/ 5278799 h 6479439"/>
              <a:gd name="connsiteX1900" fmla="*/ 3360268 w 9586368"/>
              <a:gd name="connsiteY1900" fmla="*/ 5282838 h 6479439"/>
              <a:gd name="connsiteX1901" fmla="*/ 3350359 w 9586368"/>
              <a:gd name="connsiteY1901" fmla="*/ 5282838 h 6479439"/>
              <a:gd name="connsiteX1902" fmla="*/ 3346340 w 9586368"/>
              <a:gd name="connsiteY1902" fmla="*/ 5278799 h 6479439"/>
              <a:gd name="connsiteX1903" fmla="*/ 3346340 w 9586368"/>
              <a:gd name="connsiteY1903" fmla="*/ 5268928 h 6479439"/>
              <a:gd name="connsiteX1904" fmla="*/ 3111048 w 9586368"/>
              <a:gd name="connsiteY1904" fmla="*/ 5264889 h 6479439"/>
              <a:gd name="connsiteX1905" fmla="*/ 3120959 w 9586368"/>
              <a:gd name="connsiteY1905" fmla="*/ 5264889 h 6479439"/>
              <a:gd name="connsiteX1906" fmla="*/ 3124977 w 9586368"/>
              <a:gd name="connsiteY1906" fmla="*/ 5268928 h 6479439"/>
              <a:gd name="connsiteX1907" fmla="*/ 3124977 w 9586368"/>
              <a:gd name="connsiteY1907" fmla="*/ 5278799 h 6479439"/>
              <a:gd name="connsiteX1908" fmla="*/ 3120959 w 9586368"/>
              <a:gd name="connsiteY1908" fmla="*/ 5282838 h 6479439"/>
              <a:gd name="connsiteX1909" fmla="*/ 3111048 w 9586368"/>
              <a:gd name="connsiteY1909" fmla="*/ 5282838 h 6479439"/>
              <a:gd name="connsiteX1910" fmla="*/ 3107029 w 9586368"/>
              <a:gd name="connsiteY1910" fmla="*/ 5278799 h 6479439"/>
              <a:gd name="connsiteX1911" fmla="*/ 3107029 w 9586368"/>
              <a:gd name="connsiteY1911" fmla="*/ 5268928 h 6479439"/>
              <a:gd name="connsiteX1912" fmla="*/ 2871737 w 9586368"/>
              <a:gd name="connsiteY1912" fmla="*/ 5264889 h 6479439"/>
              <a:gd name="connsiteX1913" fmla="*/ 2881646 w 9586368"/>
              <a:gd name="connsiteY1913" fmla="*/ 5264889 h 6479439"/>
              <a:gd name="connsiteX1914" fmla="*/ 2885666 w 9586368"/>
              <a:gd name="connsiteY1914" fmla="*/ 5268928 h 6479439"/>
              <a:gd name="connsiteX1915" fmla="*/ 2885666 w 9586368"/>
              <a:gd name="connsiteY1915" fmla="*/ 5278799 h 6479439"/>
              <a:gd name="connsiteX1916" fmla="*/ 2881646 w 9586368"/>
              <a:gd name="connsiteY1916" fmla="*/ 5282838 h 6479439"/>
              <a:gd name="connsiteX1917" fmla="*/ 2871737 w 9586368"/>
              <a:gd name="connsiteY1917" fmla="*/ 5282838 h 6479439"/>
              <a:gd name="connsiteX1918" fmla="*/ 2867717 w 9586368"/>
              <a:gd name="connsiteY1918" fmla="*/ 5278799 h 6479439"/>
              <a:gd name="connsiteX1919" fmla="*/ 2867717 w 9586368"/>
              <a:gd name="connsiteY1919" fmla="*/ 5268928 h 6479439"/>
              <a:gd name="connsiteX1920" fmla="*/ 2632423 w 9586368"/>
              <a:gd name="connsiteY1920" fmla="*/ 5264889 h 6479439"/>
              <a:gd name="connsiteX1921" fmla="*/ 2642334 w 9586368"/>
              <a:gd name="connsiteY1921" fmla="*/ 5264889 h 6479439"/>
              <a:gd name="connsiteX1922" fmla="*/ 2646352 w 9586368"/>
              <a:gd name="connsiteY1922" fmla="*/ 5268928 h 6479439"/>
              <a:gd name="connsiteX1923" fmla="*/ 2646352 w 9586368"/>
              <a:gd name="connsiteY1923" fmla="*/ 5278799 h 6479439"/>
              <a:gd name="connsiteX1924" fmla="*/ 2642334 w 9586368"/>
              <a:gd name="connsiteY1924" fmla="*/ 5282838 h 6479439"/>
              <a:gd name="connsiteX1925" fmla="*/ 2632423 w 9586368"/>
              <a:gd name="connsiteY1925" fmla="*/ 5282838 h 6479439"/>
              <a:gd name="connsiteX1926" fmla="*/ 2628404 w 9586368"/>
              <a:gd name="connsiteY1926" fmla="*/ 5278799 h 6479439"/>
              <a:gd name="connsiteX1927" fmla="*/ 2628404 w 9586368"/>
              <a:gd name="connsiteY1927" fmla="*/ 5268928 h 6479439"/>
              <a:gd name="connsiteX1928" fmla="*/ 2393104 w 9586368"/>
              <a:gd name="connsiteY1928" fmla="*/ 5264889 h 6479439"/>
              <a:gd name="connsiteX1929" fmla="*/ 2403015 w 9586368"/>
              <a:gd name="connsiteY1929" fmla="*/ 5264889 h 6479439"/>
              <a:gd name="connsiteX1930" fmla="*/ 2407034 w 9586368"/>
              <a:gd name="connsiteY1930" fmla="*/ 5268928 h 6479439"/>
              <a:gd name="connsiteX1931" fmla="*/ 2407034 w 9586368"/>
              <a:gd name="connsiteY1931" fmla="*/ 5278799 h 6479439"/>
              <a:gd name="connsiteX1932" fmla="*/ 2403015 w 9586368"/>
              <a:gd name="connsiteY1932" fmla="*/ 5282838 h 6479439"/>
              <a:gd name="connsiteX1933" fmla="*/ 2393104 w 9586368"/>
              <a:gd name="connsiteY1933" fmla="*/ 5282838 h 6479439"/>
              <a:gd name="connsiteX1934" fmla="*/ 2389087 w 9586368"/>
              <a:gd name="connsiteY1934" fmla="*/ 5278799 h 6479439"/>
              <a:gd name="connsiteX1935" fmla="*/ 2389087 w 9586368"/>
              <a:gd name="connsiteY1935" fmla="*/ 5268928 h 6479439"/>
              <a:gd name="connsiteX1936" fmla="*/ 721961 w 9586368"/>
              <a:gd name="connsiteY1936" fmla="*/ 5264889 h 6479439"/>
              <a:gd name="connsiteX1937" fmla="*/ 731872 w 9586368"/>
              <a:gd name="connsiteY1937" fmla="*/ 5264889 h 6479439"/>
              <a:gd name="connsiteX1938" fmla="*/ 735891 w 9586368"/>
              <a:gd name="connsiteY1938" fmla="*/ 5268928 h 6479439"/>
              <a:gd name="connsiteX1939" fmla="*/ 735891 w 9586368"/>
              <a:gd name="connsiteY1939" fmla="*/ 5278799 h 6479439"/>
              <a:gd name="connsiteX1940" fmla="*/ 731872 w 9586368"/>
              <a:gd name="connsiteY1940" fmla="*/ 5282838 h 6479439"/>
              <a:gd name="connsiteX1941" fmla="*/ 721961 w 9586368"/>
              <a:gd name="connsiteY1941" fmla="*/ 5282838 h 6479439"/>
              <a:gd name="connsiteX1942" fmla="*/ 717943 w 9586368"/>
              <a:gd name="connsiteY1942" fmla="*/ 5278799 h 6479439"/>
              <a:gd name="connsiteX1943" fmla="*/ 717943 w 9586368"/>
              <a:gd name="connsiteY1943" fmla="*/ 5268928 h 6479439"/>
              <a:gd name="connsiteX1944" fmla="*/ 482649 w 9586368"/>
              <a:gd name="connsiteY1944" fmla="*/ 5264889 h 6479439"/>
              <a:gd name="connsiteX1945" fmla="*/ 492560 w 9586368"/>
              <a:gd name="connsiteY1945" fmla="*/ 5264889 h 6479439"/>
              <a:gd name="connsiteX1946" fmla="*/ 496579 w 9586368"/>
              <a:gd name="connsiteY1946" fmla="*/ 5268928 h 6479439"/>
              <a:gd name="connsiteX1947" fmla="*/ 496579 w 9586368"/>
              <a:gd name="connsiteY1947" fmla="*/ 5278799 h 6479439"/>
              <a:gd name="connsiteX1948" fmla="*/ 492560 w 9586368"/>
              <a:gd name="connsiteY1948" fmla="*/ 5282838 h 6479439"/>
              <a:gd name="connsiteX1949" fmla="*/ 482649 w 9586368"/>
              <a:gd name="connsiteY1949" fmla="*/ 5282838 h 6479439"/>
              <a:gd name="connsiteX1950" fmla="*/ 478630 w 9586368"/>
              <a:gd name="connsiteY1950" fmla="*/ 5278799 h 6479439"/>
              <a:gd name="connsiteX1951" fmla="*/ 478630 w 9586368"/>
              <a:gd name="connsiteY1951" fmla="*/ 5268928 h 6479439"/>
              <a:gd name="connsiteX1952" fmla="*/ 243336 w 9586368"/>
              <a:gd name="connsiteY1952" fmla="*/ 5264889 h 6479439"/>
              <a:gd name="connsiteX1953" fmla="*/ 253246 w 9586368"/>
              <a:gd name="connsiteY1953" fmla="*/ 5264889 h 6479439"/>
              <a:gd name="connsiteX1954" fmla="*/ 257265 w 9586368"/>
              <a:gd name="connsiteY1954" fmla="*/ 5268928 h 6479439"/>
              <a:gd name="connsiteX1955" fmla="*/ 257265 w 9586368"/>
              <a:gd name="connsiteY1955" fmla="*/ 5278799 h 6479439"/>
              <a:gd name="connsiteX1956" fmla="*/ 253246 w 9586368"/>
              <a:gd name="connsiteY1956" fmla="*/ 5282838 h 6479439"/>
              <a:gd name="connsiteX1957" fmla="*/ 243336 w 9586368"/>
              <a:gd name="connsiteY1957" fmla="*/ 5282838 h 6479439"/>
              <a:gd name="connsiteX1958" fmla="*/ 239317 w 9586368"/>
              <a:gd name="connsiteY1958" fmla="*/ 5278799 h 6479439"/>
              <a:gd name="connsiteX1959" fmla="*/ 239317 w 9586368"/>
              <a:gd name="connsiteY1959" fmla="*/ 5268928 h 6479439"/>
              <a:gd name="connsiteX1960" fmla="*/ 4022 w 9586368"/>
              <a:gd name="connsiteY1960" fmla="*/ 5264889 h 6479439"/>
              <a:gd name="connsiteX1961" fmla="*/ 13933 w 9586368"/>
              <a:gd name="connsiteY1961" fmla="*/ 5264889 h 6479439"/>
              <a:gd name="connsiteX1962" fmla="*/ 17952 w 9586368"/>
              <a:gd name="connsiteY1962" fmla="*/ 5268928 h 6479439"/>
              <a:gd name="connsiteX1963" fmla="*/ 17952 w 9586368"/>
              <a:gd name="connsiteY1963" fmla="*/ 5278799 h 6479439"/>
              <a:gd name="connsiteX1964" fmla="*/ 13933 w 9586368"/>
              <a:gd name="connsiteY1964" fmla="*/ 5282838 h 6479439"/>
              <a:gd name="connsiteX1965" fmla="*/ 4022 w 9586368"/>
              <a:gd name="connsiteY1965" fmla="*/ 5282838 h 6479439"/>
              <a:gd name="connsiteX1966" fmla="*/ 3 w 9586368"/>
              <a:gd name="connsiteY1966" fmla="*/ 5278799 h 6479439"/>
              <a:gd name="connsiteX1967" fmla="*/ 3 w 9586368"/>
              <a:gd name="connsiteY1967" fmla="*/ 5268928 h 6479439"/>
              <a:gd name="connsiteX1968" fmla="*/ 2157819 w 9586368"/>
              <a:gd name="connsiteY1968" fmla="*/ 5025610 h 6479439"/>
              <a:gd name="connsiteX1969" fmla="*/ 2167729 w 9586368"/>
              <a:gd name="connsiteY1969" fmla="*/ 5025610 h 6479439"/>
              <a:gd name="connsiteX1970" fmla="*/ 2171748 w 9586368"/>
              <a:gd name="connsiteY1970" fmla="*/ 5029648 h 6479439"/>
              <a:gd name="connsiteX1971" fmla="*/ 2171748 w 9586368"/>
              <a:gd name="connsiteY1971" fmla="*/ 5039519 h 6479439"/>
              <a:gd name="connsiteX1972" fmla="*/ 2167729 w 9586368"/>
              <a:gd name="connsiteY1972" fmla="*/ 5043558 h 6479439"/>
              <a:gd name="connsiteX1973" fmla="*/ 2157819 w 9586368"/>
              <a:gd name="connsiteY1973" fmla="*/ 5043558 h 6479439"/>
              <a:gd name="connsiteX1974" fmla="*/ 2153800 w 9586368"/>
              <a:gd name="connsiteY1974" fmla="*/ 5039519 h 6479439"/>
              <a:gd name="connsiteX1975" fmla="*/ 2153800 w 9586368"/>
              <a:gd name="connsiteY1975" fmla="*/ 5029648 h 6479439"/>
              <a:gd name="connsiteX1976" fmla="*/ 1918510 w 9586368"/>
              <a:gd name="connsiteY1976" fmla="*/ 5025610 h 6479439"/>
              <a:gd name="connsiteX1977" fmla="*/ 1928420 w 9586368"/>
              <a:gd name="connsiteY1977" fmla="*/ 5025610 h 6479439"/>
              <a:gd name="connsiteX1978" fmla="*/ 1932440 w 9586368"/>
              <a:gd name="connsiteY1978" fmla="*/ 5029648 h 6479439"/>
              <a:gd name="connsiteX1979" fmla="*/ 1932440 w 9586368"/>
              <a:gd name="connsiteY1979" fmla="*/ 5039519 h 6479439"/>
              <a:gd name="connsiteX1980" fmla="*/ 1928420 w 9586368"/>
              <a:gd name="connsiteY1980" fmla="*/ 5043558 h 6479439"/>
              <a:gd name="connsiteX1981" fmla="*/ 1918510 w 9586368"/>
              <a:gd name="connsiteY1981" fmla="*/ 5043558 h 6479439"/>
              <a:gd name="connsiteX1982" fmla="*/ 1914492 w 9586368"/>
              <a:gd name="connsiteY1982" fmla="*/ 5039519 h 6479439"/>
              <a:gd name="connsiteX1983" fmla="*/ 1914492 w 9586368"/>
              <a:gd name="connsiteY1983" fmla="*/ 5029648 h 6479439"/>
              <a:gd name="connsiteX1984" fmla="*/ 1679204 w 9586368"/>
              <a:gd name="connsiteY1984" fmla="*/ 5025610 h 6479439"/>
              <a:gd name="connsiteX1985" fmla="*/ 1689115 w 9586368"/>
              <a:gd name="connsiteY1985" fmla="*/ 5025610 h 6479439"/>
              <a:gd name="connsiteX1986" fmla="*/ 1693133 w 9586368"/>
              <a:gd name="connsiteY1986" fmla="*/ 5029648 h 6479439"/>
              <a:gd name="connsiteX1987" fmla="*/ 1693133 w 9586368"/>
              <a:gd name="connsiteY1987" fmla="*/ 5039519 h 6479439"/>
              <a:gd name="connsiteX1988" fmla="*/ 1689115 w 9586368"/>
              <a:gd name="connsiteY1988" fmla="*/ 5043558 h 6479439"/>
              <a:gd name="connsiteX1989" fmla="*/ 1679204 w 9586368"/>
              <a:gd name="connsiteY1989" fmla="*/ 5043558 h 6479439"/>
              <a:gd name="connsiteX1990" fmla="*/ 1675185 w 9586368"/>
              <a:gd name="connsiteY1990" fmla="*/ 5039519 h 6479439"/>
              <a:gd name="connsiteX1991" fmla="*/ 1675185 w 9586368"/>
              <a:gd name="connsiteY1991" fmla="*/ 5029648 h 6479439"/>
              <a:gd name="connsiteX1992" fmla="*/ 1439889 w 9586368"/>
              <a:gd name="connsiteY1992" fmla="*/ 5025610 h 6479439"/>
              <a:gd name="connsiteX1993" fmla="*/ 1449798 w 9586368"/>
              <a:gd name="connsiteY1993" fmla="*/ 5025610 h 6479439"/>
              <a:gd name="connsiteX1994" fmla="*/ 1453818 w 9586368"/>
              <a:gd name="connsiteY1994" fmla="*/ 5029648 h 6479439"/>
              <a:gd name="connsiteX1995" fmla="*/ 1453818 w 9586368"/>
              <a:gd name="connsiteY1995" fmla="*/ 5039519 h 6479439"/>
              <a:gd name="connsiteX1996" fmla="*/ 1449798 w 9586368"/>
              <a:gd name="connsiteY1996" fmla="*/ 5043558 h 6479439"/>
              <a:gd name="connsiteX1997" fmla="*/ 1439889 w 9586368"/>
              <a:gd name="connsiteY1997" fmla="*/ 5043558 h 6479439"/>
              <a:gd name="connsiteX1998" fmla="*/ 1435870 w 9586368"/>
              <a:gd name="connsiteY1998" fmla="*/ 5039519 h 6479439"/>
              <a:gd name="connsiteX1999" fmla="*/ 1435870 w 9586368"/>
              <a:gd name="connsiteY1999" fmla="*/ 5029648 h 6479439"/>
              <a:gd name="connsiteX2000" fmla="*/ 1200573 w 9586368"/>
              <a:gd name="connsiteY2000" fmla="*/ 5025610 h 6479439"/>
              <a:gd name="connsiteX2001" fmla="*/ 1210484 w 9586368"/>
              <a:gd name="connsiteY2001" fmla="*/ 5025610 h 6479439"/>
              <a:gd name="connsiteX2002" fmla="*/ 1214502 w 9586368"/>
              <a:gd name="connsiteY2002" fmla="*/ 5029648 h 6479439"/>
              <a:gd name="connsiteX2003" fmla="*/ 1214502 w 9586368"/>
              <a:gd name="connsiteY2003" fmla="*/ 5039519 h 6479439"/>
              <a:gd name="connsiteX2004" fmla="*/ 1210484 w 9586368"/>
              <a:gd name="connsiteY2004" fmla="*/ 5043558 h 6479439"/>
              <a:gd name="connsiteX2005" fmla="*/ 1200573 w 9586368"/>
              <a:gd name="connsiteY2005" fmla="*/ 5043558 h 6479439"/>
              <a:gd name="connsiteX2006" fmla="*/ 1196555 w 9586368"/>
              <a:gd name="connsiteY2006" fmla="*/ 5039519 h 6479439"/>
              <a:gd name="connsiteX2007" fmla="*/ 1196555 w 9586368"/>
              <a:gd name="connsiteY2007" fmla="*/ 5029648 h 6479439"/>
              <a:gd name="connsiteX2008" fmla="*/ 961261 w 9586368"/>
              <a:gd name="connsiteY2008" fmla="*/ 5025610 h 6479439"/>
              <a:gd name="connsiteX2009" fmla="*/ 971171 w 9586368"/>
              <a:gd name="connsiteY2009" fmla="*/ 5025610 h 6479439"/>
              <a:gd name="connsiteX2010" fmla="*/ 975190 w 9586368"/>
              <a:gd name="connsiteY2010" fmla="*/ 5029648 h 6479439"/>
              <a:gd name="connsiteX2011" fmla="*/ 975190 w 9586368"/>
              <a:gd name="connsiteY2011" fmla="*/ 5039519 h 6479439"/>
              <a:gd name="connsiteX2012" fmla="*/ 971171 w 9586368"/>
              <a:gd name="connsiteY2012" fmla="*/ 5043558 h 6479439"/>
              <a:gd name="connsiteX2013" fmla="*/ 961261 w 9586368"/>
              <a:gd name="connsiteY2013" fmla="*/ 5043558 h 6479439"/>
              <a:gd name="connsiteX2014" fmla="*/ 957242 w 9586368"/>
              <a:gd name="connsiteY2014" fmla="*/ 5039519 h 6479439"/>
              <a:gd name="connsiteX2015" fmla="*/ 957242 w 9586368"/>
              <a:gd name="connsiteY2015" fmla="*/ 5029648 h 6479439"/>
              <a:gd name="connsiteX2016" fmla="*/ 9572438 w 9586368"/>
              <a:gd name="connsiteY2016" fmla="*/ 5025558 h 6479439"/>
              <a:gd name="connsiteX2017" fmla="*/ 9582349 w 9586368"/>
              <a:gd name="connsiteY2017" fmla="*/ 5025558 h 6479439"/>
              <a:gd name="connsiteX2018" fmla="*/ 9586368 w 9586368"/>
              <a:gd name="connsiteY2018" fmla="*/ 5029597 h 6479439"/>
              <a:gd name="connsiteX2019" fmla="*/ 9586368 w 9586368"/>
              <a:gd name="connsiteY2019" fmla="*/ 5039468 h 6479439"/>
              <a:gd name="connsiteX2020" fmla="*/ 9582349 w 9586368"/>
              <a:gd name="connsiteY2020" fmla="*/ 5043507 h 6479439"/>
              <a:gd name="connsiteX2021" fmla="*/ 9572438 w 9586368"/>
              <a:gd name="connsiteY2021" fmla="*/ 5043507 h 6479439"/>
              <a:gd name="connsiteX2022" fmla="*/ 9568419 w 9586368"/>
              <a:gd name="connsiteY2022" fmla="*/ 5039468 h 6479439"/>
              <a:gd name="connsiteX2023" fmla="*/ 9568419 w 9586368"/>
              <a:gd name="connsiteY2023" fmla="*/ 5029597 h 6479439"/>
              <a:gd name="connsiteX2024" fmla="*/ 9333125 w 9586368"/>
              <a:gd name="connsiteY2024" fmla="*/ 5025558 h 6479439"/>
              <a:gd name="connsiteX2025" fmla="*/ 9343036 w 9586368"/>
              <a:gd name="connsiteY2025" fmla="*/ 5025558 h 6479439"/>
              <a:gd name="connsiteX2026" fmla="*/ 9347055 w 9586368"/>
              <a:gd name="connsiteY2026" fmla="*/ 5029597 h 6479439"/>
              <a:gd name="connsiteX2027" fmla="*/ 9347055 w 9586368"/>
              <a:gd name="connsiteY2027" fmla="*/ 5039468 h 6479439"/>
              <a:gd name="connsiteX2028" fmla="*/ 9343036 w 9586368"/>
              <a:gd name="connsiteY2028" fmla="*/ 5043507 h 6479439"/>
              <a:gd name="connsiteX2029" fmla="*/ 9333125 w 9586368"/>
              <a:gd name="connsiteY2029" fmla="*/ 5043507 h 6479439"/>
              <a:gd name="connsiteX2030" fmla="*/ 9329106 w 9586368"/>
              <a:gd name="connsiteY2030" fmla="*/ 5039468 h 6479439"/>
              <a:gd name="connsiteX2031" fmla="*/ 9329106 w 9586368"/>
              <a:gd name="connsiteY2031" fmla="*/ 5029597 h 6479439"/>
              <a:gd name="connsiteX2032" fmla="*/ 9093811 w 9586368"/>
              <a:gd name="connsiteY2032" fmla="*/ 5025558 h 6479439"/>
              <a:gd name="connsiteX2033" fmla="*/ 9103722 w 9586368"/>
              <a:gd name="connsiteY2033" fmla="*/ 5025558 h 6479439"/>
              <a:gd name="connsiteX2034" fmla="*/ 9107741 w 9586368"/>
              <a:gd name="connsiteY2034" fmla="*/ 5029597 h 6479439"/>
              <a:gd name="connsiteX2035" fmla="*/ 9107741 w 9586368"/>
              <a:gd name="connsiteY2035" fmla="*/ 5039468 h 6479439"/>
              <a:gd name="connsiteX2036" fmla="*/ 9103722 w 9586368"/>
              <a:gd name="connsiteY2036" fmla="*/ 5043507 h 6479439"/>
              <a:gd name="connsiteX2037" fmla="*/ 9093811 w 9586368"/>
              <a:gd name="connsiteY2037" fmla="*/ 5043507 h 6479439"/>
              <a:gd name="connsiteX2038" fmla="*/ 9089792 w 9586368"/>
              <a:gd name="connsiteY2038" fmla="*/ 5039468 h 6479439"/>
              <a:gd name="connsiteX2039" fmla="*/ 9089792 w 9586368"/>
              <a:gd name="connsiteY2039" fmla="*/ 5029597 h 6479439"/>
              <a:gd name="connsiteX2040" fmla="*/ 8854496 w 9586368"/>
              <a:gd name="connsiteY2040" fmla="*/ 5025558 h 6479439"/>
              <a:gd name="connsiteX2041" fmla="*/ 8864407 w 9586368"/>
              <a:gd name="connsiteY2041" fmla="*/ 5025558 h 6479439"/>
              <a:gd name="connsiteX2042" fmla="*/ 8868426 w 9586368"/>
              <a:gd name="connsiteY2042" fmla="*/ 5029597 h 6479439"/>
              <a:gd name="connsiteX2043" fmla="*/ 8868426 w 9586368"/>
              <a:gd name="connsiteY2043" fmla="*/ 5039468 h 6479439"/>
              <a:gd name="connsiteX2044" fmla="*/ 8864407 w 9586368"/>
              <a:gd name="connsiteY2044" fmla="*/ 5043507 h 6479439"/>
              <a:gd name="connsiteX2045" fmla="*/ 8854496 w 9586368"/>
              <a:gd name="connsiteY2045" fmla="*/ 5043507 h 6479439"/>
              <a:gd name="connsiteX2046" fmla="*/ 8850477 w 9586368"/>
              <a:gd name="connsiteY2046" fmla="*/ 5039468 h 6479439"/>
              <a:gd name="connsiteX2047" fmla="*/ 8850477 w 9586368"/>
              <a:gd name="connsiteY2047" fmla="*/ 5029597 h 6479439"/>
              <a:gd name="connsiteX2048" fmla="*/ 8615184 w 9586368"/>
              <a:gd name="connsiteY2048" fmla="*/ 5025558 h 6479439"/>
              <a:gd name="connsiteX2049" fmla="*/ 8625095 w 9586368"/>
              <a:gd name="connsiteY2049" fmla="*/ 5025558 h 6479439"/>
              <a:gd name="connsiteX2050" fmla="*/ 8629114 w 9586368"/>
              <a:gd name="connsiteY2050" fmla="*/ 5029597 h 6479439"/>
              <a:gd name="connsiteX2051" fmla="*/ 8629114 w 9586368"/>
              <a:gd name="connsiteY2051" fmla="*/ 5039468 h 6479439"/>
              <a:gd name="connsiteX2052" fmla="*/ 8625095 w 9586368"/>
              <a:gd name="connsiteY2052" fmla="*/ 5043507 h 6479439"/>
              <a:gd name="connsiteX2053" fmla="*/ 8615184 w 9586368"/>
              <a:gd name="connsiteY2053" fmla="*/ 5043507 h 6479439"/>
              <a:gd name="connsiteX2054" fmla="*/ 8611165 w 9586368"/>
              <a:gd name="connsiteY2054" fmla="*/ 5039468 h 6479439"/>
              <a:gd name="connsiteX2055" fmla="*/ 8611165 w 9586368"/>
              <a:gd name="connsiteY2055" fmla="*/ 5029597 h 6479439"/>
              <a:gd name="connsiteX2056" fmla="*/ 8375869 w 9586368"/>
              <a:gd name="connsiteY2056" fmla="*/ 5025558 h 6479439"/>
              <a:gd name="connsiteX2057" fmla="*/ 8385779 w 9586368"/>
              <a:gd name="connsiteY2057" fmla="*/ 5025558 h 6479439"/>
              <a:gd name="connsiteX2058" fmla="*/ 8389799 w 9586368"/>
              <a:gd name="connsiteY2058" fmla="*/ 5029597 h 6479439"/>
              <a:gd name="connsiteX2059" fmla="*/ 8389799 w 9586368"/>
              <a:gd name="connsiteY2059" fmla="*/ 5039468 h 6479439"/>
              <a:gd name="connsiteX2060" fmla="*/ 8385779 w 9586368"/>
              <a:gd name="connsiteY2060" fmla="*/ 5043507 h 6479439"/>
              <a:gd name="connsiteX2061" fmla="*/ 8375869 w 9586368"/>
              <a:gd name="connsiteY2061" fmla="*/ 5043507 h 6479439"/>
              <a:gd name="connsiteX2062" fmla="*/ 8371850 w 9586368"/>
              <a:gd name="connsiteY2062" fmla="*/ 5039468 h 6479439"/>
              <a:gd name="connsiteX2063" fmla="*/ 8371850 w 9586368"/>
              <a:gd name="connsiteY2063" fmla="*/ 5029597 h 6479439"/>
              <a:gd name="connsiteX2064" fmla="*/ 8136553 w 9586368"/>
              <a:gd name="connsiteY2064" fmla="*/ 5025558 h 6479439"/>
              <a:gd name="connsiteX2065" fmla="*/ 8146464 w 9586368"/>
              <a:gd name="connsiteY2065" fmla="*/ 5025558 h 6479439"/>
              <a:gd name="connsiteX2066" fmla="*/ 8150483 w 9586368"/>
              <a:gd name="connsiteY2066" fmla="*/ 5029597 h 6479439"/>
              <a:gd name="connsiteX2067" fmla="*/ 8150483 w 9586368"/>
              <a:gd name="connsiteY2067" fmla="*/ 5039468 h 6479439"/>
              <a:gd name="connsiteX2068" fmla="*/ 8146464 w 9586368"/>
              <a:gd name="connsiteY2068" fmla="*/ 5043507 h 6479439"/>
              <a:gd name="connsiteX2069" fmla="*/ 8136553 w 9586368"/>
              <a:gd name="connsiteY2069" fmla="*/ 5043507 h 6479439"/>
              <a:gd name="connsiteX2070" fmla="*/ 8132534 w 9586368"/>
              <a:gd name="connsiteY2070" fmla="*/ 5039468 h 6479439"/>
              <a:gd name="connsiteX2071" fmla="*/ 8132534 w 9586368"/>
              <a:gd name="connsiteY2071" fmla="*/ 5029597 h 6479439"/>
              <a:gd name="connsiteX2072" fmla="*/ 7897241 w 9586368"/>
              <a:gd name="connsiteY2072" fmla="*/ 5025558 h 6479439"/>
              <a:gd name="connsiteX2073" fmla="*/ 7907151 w 9586368"/>
              <a:gd name="connsiteY2073" fmla="*/ 5025558 h 6479439"/>
              <a:gd name="connsiteX2074" fmla="*/ 7911170 w 9586368"/>
              <a:gd name="connsiteY2074" fmla="*/ 5029597 h 6479439"/>
              <a:gd name="connsiteX2075" fmla="*/ 7911170 w 9586368"/>
              <a:gd name="connsiteY2075" fmla="*/ 5039468 h 6479439"/>
              <a:gd name="connsiteX2076" fmla="*/ 7907151 w 9586368"/>
              <a:gd name="connsiteY2076" fmla="*/ 5043507 h 6479439"/>
              <a:gd name="connsiteX2077" fmla="*/ 7897241 w 9586368"/>
              <a:gd name="connsiteY2077" fmla="*/ 5043507 h 6479439"/>
              <a:gd name="connsiteX2078" fmla="*/ 7893222 w 9586368"/>
              <a:gd name="connsiteY2078" fmla="*/ 5039468 h 6479439"/>
              <a:gd name="connsiteX2079" fmla="*/ 7893222 w 9586368"/>
              <a:gd name="connsiteY2079" fmla="*/ 5029597 h 6479439"/>
              <a:gd name="connsiteX2080" fmla="*/ 7657926 w 9586368"/>
              <a:gd name="connsiteY2080" fmla="*/ 5025558 h 6479439"/>
              <a:gd name="connsiteX2081" fmla="*/ 7667836 w 9586368"/>
              <a:gd name="connsiteY2081" fmla="*/ 5025558 h 6479439"/>
              <a:gd name="connsiteX2082" fmla="*/ 7671855 w 9586368"/>
              <a:gd name="connsiteY2082" fmla="*/ 5029597 h 6479439"/>
              <a:gd name="connsiteX2083" fmla="*/ 7671855 w 9586368"/>
              <a:gd name="connsiteY2083" fmla="*/ 5039468 h 6479439"/>
              <a:gd name="connsiteX2084" fmla="*/ 7667836 w 9586368"/>
              <a:gd name="connsiteY2084" fmla="*/ 5043507 h 6479439"/>
              <a:gd name="connsiteX2085" fmla="*/ 7657926 w 9586368"/>
              <a:gd name="connsiteY2085" fmla="*/ 5043507 h 6479439"/>
              <a:gd name="connsiteX2086" fmla="*/ 7653906 w 9586368"/>
              <a:gd name="connsiteY2086" fmla="*/ 5039468 h 6479439"/>
              <a:gd name="connsiteX2087" fmla="*/ 7653906 w 9586368"/>
              <a:gd name="connsiteY2087" fmla="*/ 5029597 h 6479439"/>
              <a:gd name="connsiteX2088" fmla="*/ 7418611 w 9586368"/>
              <a:gd name="connsiteY2088" fmla="*/ 5025558 h 6479439"/>
              <a:gd name="connsiteX2089" fmla="*/ 7428521 w 9586368"/>
              <a:gd name="connsiteY2089" fmla="*/ 5025558 h 6479439"/>
              <a:gd name="connsiteX2090" fmla="*/ 7432540 w 9586368"/>
              <a:gd name="connsiteY2090" fmla="*/ 5029597 h 6479439"/>
              <a:gd name="connsiteX2091" fmla="*/ 7432540 w 9586368"/>
              <a:gd name="connsiteY2091" fmla="*/ 5039468 h 6479439"/>
              <a:gd name="connsiteX2092" fmla="*/ 7428521 w 9586368"/>
              <a:gd name="connsiteY2092" fmla="*/ 5043507 h 6479439"/>
              <a:gd name="connsiteX2093" fmla="*/ 7418611 w 9586368"/>
              <a:gd name="connsiteY2093" fmla="*/ 5043507 h 6479439"/>
              <a:gd name="connsiteX2094" fmla="*/ 7414592 w 9586368"/>
              <a:gd name="connsiteY2094" fmla="*/ 5039468 h 6479439"/>
              <a:gd name="connsiteX2095" fmla="*/ 7414592 w 9586368"/>
              <a:gd name="connsiteY2095" fmla="*/ 5029597 h 6479439"/>
              <a:gd name="connsiteX2096" fmla="*/ 7179298 w 9586368"/>
              <a:gd name="connsiteY2096" fmla="*/ 5025558 h 6479439"/>
              <a:gd name="connsiteX2097" fmla="*/ 7189209 w 9586368"/>
              <a:gd name="connsiteY2097" fmla="*/ 5025558 h 6479439"/>
              <a:gd name="connsiteX2098" fmla="*/ 7193228 w 9586368"/>
              <a:gd name="connsiteY2098" fmla="*/ 5029597 h 6479439"/>
              <a:gd name="connsiteX2099" fmla="*/ 7193228 w 9586368"/>
              <a:gd name="connsiteY2099" fmla="*/ 5039468 h 6479439"/>
              <a:gd name="connsiteX2100" fmla="*/ 7189209 w 9586368"/>
              <a:gd name="connsiteY2100" fmla="*/ 5043507 h 6479439"/>
              <a:gd name="connsiteX2101" fmla="*/ 7179298 w 9586368"/>
              <a:gd name="connsiteY2101" fmla="*/ 5043507 h 6479439"/>
              <a:gd name="connsiteX2102" fmla="*/ 7175279 w 9586368"/>
              <a:gd name="connsiteY2102" fmla="*/ 5039468 h 6479439"/>
              <a:gd name="connsiteX2103" fmla="*/ 7175279 w 9586368"/>
              <a:gd name="connsiteY2103" fmla="*/ 5029597 h 6479439"/>
              <a:gd name="connsiteX2104" fmla="*/ 6939983 w 9586368"/>
              <a:gd name="connsiteY2104" fmla="*/ 5025558 h 6479439"/>
              <a:gd name="connsiteX2105" fmla="*/ 6949894 w 9586368"/>
              <a:gd name="connsiteY2105" fmla="*/ 5025558 h 6479439"/>
              <a:gd name="connsiteX2106" fmla="*/ 6953913 w 9586368"/>
              <a:gd name="connsiteY2106" fmla="*/ 5029597 h 6479439"/>
              <a:gd name="connsiteX2107" fmla="*/ 6953913 w 9586368"/>
              <a:gd name="connsiteY2107" fmla="*/ 5039468 h 6479439"/>
              <a:gd name="connsiteX2108" fmla="*/ 6949894 w 9586368"/>
              <a:gd name="connsiteY2108" fmla="*/ 5043507 h 6479439"/>
              <a:gd name="connsiteX2109" fmla="*/ 6939983 w 9586368"/>
              <a:gd name="connsiteY2109" fmla="*/ 5043507 h 6479439"/>
              <a:gd name="connsiteX2110" fmla="*/ 6935964 w 9586368"/>
              <a:gd name="connsiteY2110" fmla="*/ 5039468 h 6479439"/>
              <a:gd name="connsiteX2111" fmla="*/ 6935964 w 9586368"/>
              <a:gd name="connsiteY2111" fmla="*/ 5029597 h 6479439"/>
              <a:gd name="connsiteX2112" fmla="*/ 6700670 w 9586368"/>
              <a:gd name="connsiteY2112" fmla="*/ 5025558 h 6479439"/>
              <a:gd name="connsiteX2113" fmla="*/ 6710581 w 9586368"/>
              <a:gd name="connsiteY2113" fmla="*/ 5025558 h 6479439"/>
              <a:gd name="connsiteX2114" fmla="*/ 6714600 w 9586368"/>
              <a:gd name="connsiteY2114" fmla="*/ 5029597 h 6479439"/>
              <a:gd name="connsiteX2115" fmla="*/ 6714600 w 9586368"/>
              <a:gd name="connsiteY2115" fmla="*/ 5039468 h 6479439"/>
              <a:gd name="connsiteX2116" fmla="*/ 6710581 w 9586368"/>
              <a:gd name="connsiteY2116" fmla="*/ 5043507 h 6479439"/>
              <a:gd name="connsiteX2117" fmla="*/ 6700670 w 9586368"/>
              <a:gd name="connsiteY2117" fmla="*/ 5043507 h 6479439"/>
              <a:gd name="connsiteX2118" fmla="*/ 6696651 w 9586368"/>
              <a:gd name="connsiteY2118" fmla="*/ 5039468 h 6479439"/>
              <a:gd name="connsiteX2119" fmla="*/ 6696651 w 9586368"/>
              <a:gd name="connsiteY2119" fmla="*/ 5029597 h 6479439"/>
              <a:gd name="connsiteX2120" fmla="*/ 6461356 w 9586368"/>
              <a:gd name="connsiteY2120" fmla="*/ 5025558 h 6479439"/>
              <a:gd name="connsiteX2121" fmla="*/ 6471266 w 9586368"/>
              <a:gd name="connsiteY2121" fmla="*/ 5025558 h 6479439"/>
              <a:gd name="connsiteX2122" fmla="*/ 6475285 w 9586368"/>
              <a:gd name="connsiteY2122" fmla="*/ 5029597 h 6479439"/>
              <a:gd name="connsiteX2123" fmla="*/ 6475285 w 9586368"/>
              <a:gd name="connsiteY2123" fmla="*/ 5039468 h 6479439"/>
              <a:gd name="connsiteX2124" fmla="*/ 6471266 w 9586368"/>
              <a:gd name="connsiteY2124" fmla="*/ 5043507 h 6479439"/>
              <a:gd name="connsiteX2125" fmla="*/ 6461356 w 9586368"/>
              <a:gd name="connsiteY2125" fmla="*/ 5043507 h 6479439"/>
              <a:gd name="connsiteX2126" fmla="*/ 6457337 w 9586368"/>
              <a:gd name="connsiteY2126" fmla="*/ 5039468 h 6479439"/>
              <a:gd name="connsiteX2127" fmla="*/ 6457337 w 9586368"/>
              <a:gd name="connsiteY2127" fmla="*/ 5029597 h 6479439"/>
              <a:gd name="connsiteX2128" fmla="*/ 6222042 w 9586368"/>
              <a:gd name="connsiteY2128" fmla="*/ 5025558 h 6479439"/>
              <a:gd name="connsiteX2129" fmla="*/ 6231952 w 9586368"/>
              <a:gd name="connsiteY2129" fmla="*/ 5025558 h 6479439"/>
              <a:gd name="connsiteX2130" fmla="*/ 6235971 w 9586368"/>
              <a:gd name="connsiteY2130" fmla="*/ 5029597 h 6479439"/>
              <a:gd name="connsiteX2131" fmla="*/ 6235971 w 9586368"/>
              <a:gd name="connsiteY2131" fmla="*/ 5039468 h 6479439"/>
              <a:gd name="connsiteX2132" fmla="*/ 6231952 w 9586368"/>
              <a:gd name="connsiteY2132" fmla="*/ 5043507 h 6479439"/>
              <a:gd name="connsiteX2133" fmla="*/ 6222042 w 9586368"/>
              <a:gd name="connsiteY2133" fmla="*/ 5043507 h 6479439"/>
              <a:gd name="connsiteX2134" fmla="*/ 6218023 w 9586368"/>
              <a:gd name="connsiteY2134" fmla="*/ 5039468 h 6479439"/>
              <a:gd name="connsiteX2135" fmla="*/ 6218023 w 9586368"/>
              <a:gd name="connsiteY2135" fmla="*/ 5029597 h 6479439"/>
              <a:gd name="connsiteX2136" fmla="*/ 5982729 w 9586368"/>
              <a:gd name="connsiteY2136" fmla="*/ 5025558 h 6479439"/>
              <a:gd name="connsiteX2137" fmla="*/ 5992639 w 9586368"/>
              <a:gd name="connsiteY2137" fmla="*/ 5025558 h 6479439"/>
              <a:gd name="connsiteX2138" fmla="*/ 5996658 w 9586368"/>
              <a:gd name="connsiteY2138" fmla="*/ 5029597 h 6479439"/>
              <a:gd name="connsiteX2139" fmla="*/ 5996658 w 9586368"/>
              <a:gd name="connsiteY2139" fmla="*/ 5039468 h 6479439"/>
              <a:gd name="connsiteX2140" fmla="*/ 5992639 w 9586368"/>
              <a:gd name="connsiteY2140" fmla="*/ 5043507 h 6479439"/>
              <a:gd name="connsiteX2141" fmla="*/ 5982729 w 9586368"/>
              <a:gd name="connsiteY2141" fmla="*/ 5043507 h 6479439"/>
              <a:gd name="connsiteX2142" fmla="*/ 5978710 w 9586368"/>
              <a:gd name="connsiteY2142" fmla="*/ 5039468 h 6479439"/>
              <a:gd name="connsiteX2143" fmla="*/ 5978710 w 9586368"/>
              <a:gd name="connsiteY2143" fmla="*/ 5029597 h 6479439"/>
              <a:gd name="connsiteX2144" fmla="*/ 5743412 w 9586368"/>
              <a:gd name="connsiteY2144" fmla="*/ 5025558 h 6479439"/>
              <a:gd name="connsiteX2145" fmla="*/ 5753323 w 9586368"/>
              <a:gd name="connsiteY2145" fmla="*/ 5025558 h 6479439"/>
              <a:gd name="connsiteX2146" fmla="*/ 5757342 w 9586368"/>
              <a:gd name="connsiteY2146" fmla="*/ 5029597 h 6479439"/>
              <a:gd name="connsiteX2147" fmla="*/ 5757342 w 9586368"/>
              <a:gd name="connsiteY2147" fmla="*/ 5039468 h 6479439"/>
              <a:gd name="connsiteX2148" fmla="*/ 5753323 w 9586368"/>
              <a:gd name="connsiteY2148" fmla="*/ 5043507 h 6479439"/>
              <a:gd name="connsiteX2149" fmla="*/ 5743412 w 9586368"/>
              <a:gd name="connsiteY2149" fmla="*/ 5043507 h 6479439"/>
              <a:gd name="connsiteX2150" fmla="*/ 5739393 w 9586368"/>
              <a:gd name="connsiteY2150" fmla="*/ 5039468 h 6479439"/>
              <a:gd name="connsiteX2151" fmla="*/ 5739393 w 9586368"/>
              <a:gd name="connsiteY2151" fmla="*/ 5029597 h 6479439"/>
              <a:gd name="connsiteX2152" fmla="*/ 5504099 w 9586368"/>
              <a:gd name="connsiteY2152" fmla="*/ 5025558 h 6479439"/>
              <a:gd name="connsiteX2153" fmla="*/ 5514010 w 9586368"/>
              <a:gd name="connsiteY2153" fmla="*/ 5025558 h 6479439"/>
              <a:gd name="connsiteX2154" fmla="*/ 5518029 w 9586368"/>
              <a:gd name="connsiteY2154" fmla="*/ 5029597 h 6479439"/>
              <a:gd name="connsiteX2155" fmla="*/ 5518029 w 9586368"/>
              <a:gd name="connsiteY2155" fmla="*/ 5039468 h 6479439"/>
              <a:gd name="connsiteX2156" fmla="*/ 5514010 w 9586368"/>
              <a:gd name="connsiteY2156" fmla="*/ 5043507 h 6479439"/>
              <a:gd name="connsiteX2157" fmla="*/ 5504099 w 9586368"/>
              <a:gd name="connsiteY2157" fmla="*/ 5043507 h 6479439"/>
              <a:gd name="connsiteX2158" fmla="*/ 5500080 w 9586368"/>
              <a:gd name="connsiteY2158" fmla="*/ 5039468 h 6479439"/>
              <a:gd name="connsiteX2159" fmla="*/ 5500080 w 9586368"/>
              <a:gd name="connsiteY2159" fmla="*/ 5029597 h 6479439"/>
              <a:gd name="connsiteX2160" fmla="*/ 5264784 w 9586368"/>
              <a:gd name="connsiteY2160" fmla="*/ 5025558 h 6479439"/>
              <a:gd name="connsiteX2161" fmla="*/ 5274694 w 9586368"/>
              <a:gd name="connsiteY2161" fmla="*/ 5025558 h 6479439"/>
              <a:gd name="connsiteX2162" fmla="*/ 5278713 w 9586368"/>
              <a:gd name="connsiteY2162" fmla="*/ 5029597 h 6479439"/>
              <a:gd name="connsiteX2163" fmla="*/ 5278713 w 9586368"/>
              <a:gd name="connsiteY2163" fmla="*/ 5039468 h 6479439"/>
              <a:gd name="connsiteX2164" fmla="*/ 5274694 w 9586368"/>
              <a:gd name="connsiteY2164" fmla="*/ 5043507 h 6479439"/>
              <a:gd name="connsiteX2165" fmla="*/ 5264784 w 9586368"/>
              <a:gd name="connsiteY2165" fmla="*/ 5043507 h 6479439"/>
              <a:gd name="connsiteX2166" fmla="*/ 5260765 w 9586368"/>
              <a:gd name="connsiteY2166" fmla="*/ 5039468 h 6479439"/>
              <a:gd name="connsiteX2167" fmla="*/ 5260765 w 9586368"/>
              <a:gd name="connsiteY2167" fmla="*/ 5029597 h 6479439"/>
              <a:gd name="connsiteX2168" fmla="*/ 5025470 w 9586368"/>
              <a:gd name="connsiteY2168" fmla="*/ 5025558 h 6479439"/>
              <a:gd name="connsiteX2169" fmla="*/ 5035381 w 9586368"/>
              <a:gd name="connsiteY2169" fmla="*/ 5025558 h 6479439"/>
              <a:gd name="connsiteX2170" fmla="*/ 5039400 w 9586368"/>
              <a:gd name="connsiteY2170" fmla="*/ 5029597 h 6479439"/>
              <a:gd name="connsiteX2171" fmla="*/ 5039400 w 9586368"/>
              <a:gd name="connsiteY2171" fmla="*/ 5039468 h 6479439"/>
              <a:gd name="connsiteX2172" fmla="*/ 5035381 w 9586368"/>
              <a:gd name="connsiteY2172" fmla="*/ 5043507 h 6479439"/>
              <a:gd name="connsiteX2173" fmla="*/ 5025470 w 9586368"/>
              <a:gd name="connsiteY2173" fmla="*/ 5043507 h 6479439"/>
              <a:gd name="connsiteX2174" fmla="*/ 5021451 w 9586368"/>
              <a:gd name="connsiteY2174" fmla="*/ 5039468 h 6479439"/>
              <a:gd name="connsiteX2175" fmla="*/ 5021451 w 9586368"/>
              <a:gd name="connsiteY2175" fmla="*/ 5029597 h 6479439"/>
              <a:gd name="connsiteX2176" fmla="*/ 4786241 w 9586368"/>
              <a:gd name="connsiteY2176" fmla="*/ 5025558 h 6479439"/>
              <a:gd name="connsiteX2177" fmla="*/ 4796152 w 9586368"/>
              <a:gd name="connsiteY2177" fmla="*/ 5025558 h 6479439"/>
              <a:gd name="connsiteX2178" fmla="*/ 4800171 w 9586368"/>
              <a:gd name="connsiteY2178" fmla="*/ 5029597 h 6479439"/>
              <a:gd name="connsiteX2179" fmla="*/ 4800171 w 9586368"/>
              <a:gd name="connsiteY2179" fmla="*/ 5039468 h 6479439"/>
              <a:gd name="connsiteX2180" fmla="*/ 4796152 w 9586368"/>
              <a:gd name="connsiteY2180" fmla="*/ 5043507 h 6479439"/>
              <a:gd name="connsiteX2181" fmla="*/ 4786241 w 9586368"/>
              <a:gd name="connsiteY2181" fmla="*/ 5043507 h 6479439"/>
              <a:gd name="connsiteX2182" fmla="*/ 4782224 w 9586368"/>
              <a:gd name="connsiteY2182" fmla="*/ 5039468 h 6479439"/>
              <a:gd name="connsiteX2183" fmla="*/ 4782224 w 9586368"/>
              <a:gd name="connsiteY2183" fmla="*/ 5029597 h 6479439"/>
              <a:gd name="connsiteX2184" fmla="*/ 4546929 w 9586368"/>
              <a:gd name="connsiteY2184" fmla="*/ 5025558 h 6479439"/>
              <a:gd name="connsiteX2185" fmla="*/ 4556840 w 9586368"/>
              <a:gd name="connsiteY2185" fmla="*/ 5025558 h 6479439"/>
              <a:gd name="connsiteX2186" fmla="*/ 4560859 w 9586368"/>
              <a:gd name="connsiteY2186" fmla="*/ 5029597 h 6479439"/>
              <a:gd name="connsiteX2187" fmla="*/ 4560859 w 9586368"/>
              <a:gd name="connsiteY2187" fmla="*/ 5039468 h 6479439"/>
              <a:gd name="connsiteX2188" fmla="*/ 4556840 w 9586368"/>
              <a:gd name="connsiteY2188" fmla="*/ 5043507 h 6479439"/>
              <a:gd name="connsiteX2189" fmla="*/ 4546929 w 9586368"/>
              <a:gd name="connsiteY2189" fmla="*/ 5043507 h 6479439"/>
              <a:gd name="connsiteX2190" fmla="*/ 4542910 w 9586368"/>
              <a:gd name="connsiteY2190" fmla="*/ 5039468 h 6479439"/>
              <a:gd name="connsiteX2191" fmla="*/ 4542910 w 9586368"/>
              <a:gd name="connsiteY2191" fmla="*/ 5029597 h 6479439"/>
              <a:gd name="connsiteX2192" fmla="*/ 4307612 w 9586368"/>
              <a:gd name="connsiteY2192" fmla="*/ 5025558 h 6479439"/>
              <a:gd name="connsiteX2193" fmla="*/ 4317523 w 9586368"/>
              <a:gd name="connsiteY2193" fmla="*/ 5025558 h 6479439"/>
              <a:gd name="connsiteX2194" fmla="*/ 4321543 w 9586368"/>
              <a:gd name="connsiteY2194" fmla="*/ 5029597 h 6479439"/>
              <a:gd name="connsiteX2195" fmla="*/ 4321543 w 9586368"/>
              <a:gd name="connsiteY2195" fmla="*/ 5039468 h 6479439"/>
              <a:gd name="connsiteX2196" fmla="*/ 4317523 w 9586368"/>
              <a:gd name="connsiteY2196" fmla="*/ 5043507 h 6479439"/>
              <a:gd name="connsiteX2197" fmla="*/ 4307612 w 9586368"/>
              <a:gd name="connsiteY2197" fmla="*/ 5043507 h 6479439"/>
              <a:gd name="connsiteX2198" fmla="*/ 4303595 w 9586368"/>
              <a:gd name="connsiteY2198" fmla="*/ 5039468 h 6479439"/>
              <a:gd name="connsiteX2199" fmla="*/ 4303595 w 9586368"/>
              <a:gd name="connsiteY2199" fmla="*/ 5029597 h 6479439"/>
              <a:gd name="connsiteX2200" fmla="*/ 4068297 w 9586368"/>
              <a:gd name="connsiteY2200" fmla="*/ 5025558 h 6479439"/>
              <a:gd name="connsiteX2201" fmla="*/ 4078210 w 9586368"/>
              <a:gd name="connsiteY2201" fmla="*/ 5025558 h 6479439"/>
              <a:gd name="connsiteX2202" fmla="*/ 4082229 w 9586368"/>
              <a:gd name="connsiteY2202" fmla="*/ 5029597 h 6479439"/>
              <a:gd name="connsiteX2203" fmla="*/ 4082229 w 9586368"/>
              <a:gd name="connsiteY2203" fmla="*/ 5039468 h 6479439"/>
              <a:gd name="connsiteX2204" fmla="*/ 4078210 w 9586368"/>
              <a:gd name="connsiteY2204" fmla="*/ 5043507 h 6479439"/>
              <a:gd name="connsiteX2205" fmla="*/ 4068297 w 9586368"/>
              <a:gd name="connsiteY2205" fmla="*/ 5043507 h 6479439"/>
              <a:gd name="connsiteX2206" fmla="*/ 4064278 w 9586368"/>
              <a:gd name="connsiteY2206" fmla="*/ 5039468 h 6479439"/>
              <a:gd name="connsiteX2207" fmla="*/ 4064278 w 9586368"/>
              <a:gd name="connsiteY2207" fmla="*/ 5029597 h 6479439"/>
              <a:gd name="connsiteX2208" fmla="*/ 3828990 w 9586368"/>
              <a:gd name="connsiteY2208" fmla="*/ 5025558 h 6479439"/>
              <a:gd name="connsiteX2209" fmla="*/ 3838899 w 9586368"/>
              <a:gd name="connsiteY2209" fmla="*/ 5025558 h 6479439"/>
              <a:gd name="connsiteX2210" fmla="*/ 3842917 w 9586368"/>
              <a:gd name="connsiteY2210" fmla="*/ 5029597 h 6479439"/>
              <a:gd name="connsiteX2211" fmla="*/ 3842917 w 9586368"/>
              <a:gd name="connsiteY2211" fmla="*/ 5039468 h 6479439"/>
              <a:gd name="connsiteX2212" fmla="*/ 3838899 w 9586368"/>
              <a:gd name="connsiteY2212" fmla="*/ 5043507 h 6479439"/>
              <a:gd name="connsiteX2213" fmla="*/ 3828990 w 9586368"/>
              <a:gd name="connsiteY2213" fmla="*/ 5043507 h 6479439"/>
              <a:gd name="connsiteX2214" fmla="*/ 3824971 w 9586368"/>
              <a:gd name="connsiteY2214" fmla="*/ 5039468 h 6479439"/>
              <a:gd name="connsiteX2215" fmla="*/ 3824971 w 9586368"/>
              <a:gd name="connsiteY2215" fmla="*/ 5029597 h 6479439"/>
              <a:gd name="connsiteX2216" fmla="*/ 3589676 w 9586368"/>
              <a:gd name="connsiteY2216" fmla="*/ 5025558 h 6479439"/>
              <a:gd name="connsiteX2217" fmla="*/ 3599585 w 9586368"/>
              <a:gd name="connsiteY2217" fmla="*/ 5025558 h 6479439"/>
              <a:gd name="connsiteX2218" fmla="*/ 3603604 w 9586368"/>
              <a:gd name="connsiteY2218" fmla="*/ 5029597 h 6479439"/>
              <a:gd name="connsiteX2219" fmla="*/ 3603604 w 9586368"/>
              <a:gd name="connsiteY2219" fmla="*/ 5039468 h 6479439"/>
              <a:gd name="connsiteX2220" fmla="*/ 3599585 w 9586368"/>
              <a:gd name="connsiteY2220" fmla="*/ 5043507 h 6479439"/>
              <a:gd name="connsiteX2221" fmla="*/ 3589676 w 9586368"/>
              <a:gd name="connsiteY2221" fmla="*/ 5043507 h 6479439"/>
              <a:gd name="connsiteX2222" fmla="*/ 3585657 w 9586368"/>
              <a:gd name="connsiteY2222" fmla="*/ 5039468 h 6479439"/>
              <a:gd name="connsiteX2223" fmla="*/ 3585657 w 9586368"/>
              <a:gd name="connsiteY2223" fmla="*/ 5029597 h 6479439"/>
              <a:gd name="connsiteX2224" fmla="*/ 3350359 w 9586368"/>
              <a:gd name="connsiteY2224" fmla="*/ 5025558 h 6479439"/>
              <a:gd name="connsiteX2225" fmla="*/ 3360268 w 9586368"/>
              <a:gd name="connsiteY2225" fmla="*/ 5025558 h 6479439"/>
              <a:gd name="connsiteX2226" fmla="*/ 3364287 w 9586368"/>
              <a:gd name="connsiteY2226" fmla="*/ 5029597 h 6479439"/>
              <a:gd name="connsiteX2227" fmla="*/ 3364287 w 9586368"/>
              <a:gd name="connsiteY2227" fmla="*/ 5039468 h 6479439"/>
              <a:gd name="connsiteX2228" fmla="*/ 3360268 w 9586368"/>
              <a:gd name="connsiteY2228" fmla="*/ 5043507 h 6479439"/>
              <a:gd name="connsiteX2229" fmla="*/ 3350359 w 9586368"/>
              <a:gd name="connsiteY2229" fmla="*/ 5043507 h 6479439"/>
              <a:gd name="connsiteX2230" fmla="*/ 3346340 w 9586368"/>
              <a:gd name="connsiteY2230" fmla="*/ 5039468 h 6479439"/>
              <a:gd name="connsiteX2231" fmla="*/ 3346340 w 9586368"/>
              <a:gd name="connsiteY2231" fmla="*/ 5029597 h 6479439"/>
              <a:gd name="connsiteX2232" fmla="*/ 3111048 w 9586368"/>
              <a:gd name="connsiteY2232" fmla="*/ 5025558 h 6479439"/>
              <a:gd name="connsiteX2233" fmla="*/ 3120959 w 9586368"/>
              <a:gd name="connsiteY2233" fmla="*/ 5025558 h 6479439"/>
              <a:gd name="connsiteX2234" fmla="*/ 3124977 w 9586368"/>
              <a:gd name="connsiteY2234" fmla="*/ 5029597 h 6479439"/>
              <a:gd name="connsiteX2235" fmla="*/ 3124977 w 9586368"/>
              <a:gd name="connsiteY2235" fmla="*/ 5039468 h 6479439"/>
              <a:gd name="connsiteX2236" fmla="*/ 3120959 w 9586368"/>
              <a:gd name="connsiteY2236" fmla="*/ 5043507 h 6479439"/>
              <a:gd name="connsiteX2237" fmla="*/ 3111048 w 9586368"/>
              <a:gd name="connsiteY2237" fmla="*/ 5043507 h 6479439"/>
              <a:gd name="connsiteX2238" fmla="*/ 3107029 w 9586368"/>
              <a:gd name="connsiteY2238" fmla="*/ 5039468 h 6479439"/>
              <a:gd name="connsiteX2239" fmla="*/ 3107029 w 9586368"/>
              <a:gd name="connsiteY2239" fmla="*/ 5029597 h 6479439"/>
              <a:gd name="connsiteX2240" fmla="*/ 2871737 w 9586368"/>
              <a:gd name="connsiteY2240" fmla="*/ 5025558 h 6479439"/>
              <a:gd name="connsiteX2241" fmla="*/ 2881646 w 9586368"/>
              <a:gd name="connsiteY2241" fmla="*/ 5025558 h 6479439"/>
              <a:gd name="connsiteX2242" fmla="*/ 2885666 w 9586368"/>
              <a:gd name="connsiteY2242" fmla="*/ 5029597 h 6479439"/>
              <a:gd name="connsiteX2243" fmla="*/ 2885666 w 9586368"/>
              <a:gd name="connsiteY2243" fmla="*/ 5039468 h 6479439"/>
              <a:gd name="connsiteX2244" fmla="*/ 2881646 w 9586368"/>
              <a:gd name="connsiteY2244" fmla="*/ 5043507 h 6479439"/>
              <a:gd name="connsiteX2245" fmla="*/ 2871737 w 9586368"/>
              <a:gd name="connsiteY2245" fmla="*/ 5043507 h 6479439"/>
              <a:gd name="connsiteX2246" fmla="*/ 2867717 w 9586368"/>
              <a:gd name="connsiteY2246" fmla="*/ 5039468 h 6479439"/>
              <a:gd name="connsiteX2247" fmla="*/ 2867717 w 9586368"/>
              <a:gd name="connsiteY2247" fmla="*/ 5029597 h 6479439"/>
              <a:gd name="connsiteX2248" fmla="*/ 2632423 w 9586368"/>
              <a:gd name="connsiteY2248" fmla="*/ 5025558 h 6479439"/>
              <a:gd name="connsiteX2249" fmla="*/ 2642334 w 9586368"/>
              <a:gd name="connsiteY2249" fmla="*/ 5025558 h 6479439"/>
              <a:gd name="connsiteX2250" fmla="*/ 2646352 w 9586368"/>
              <a:gd name="connsiteY2250" fmla="*/ 5029597 h 6479439"/>
              <a:gd name="connsiteX2251" fmla="*/ 2646352 w 9586368"/>
              <a:gd name="connsiteY2251" fmla="*/ 5039468 h 6479439"/>
              <a:gd name="connsiteX2252" fmla="*/ 2642334 w 9586368"/>
              <a:gd name="connsiteY2252" fmla="*/ 5043507 h 6479439"/>
              <a:gd name="connsiteX2253" fmla="*/ 2632423 w 9586368"/>
              <a:gd name="connsiteY2253" fmla="*/ 5043507 h 6479439"/>
              <a:gd name="connsiteX2254" fmla="*/ 2628404 w 9586368"/>
              <a:gd name="connsiteY2254" fmla="*/ 5039468 h 6479439"/>
              <a:gd name="connsiteX2255" fmla="*/ 2628404 w 9586368"/>
              <a:gd name="connsiteY2255" fmla="*/ 5029597 h 6479439"/>
              <a:gd name="connsiteX2256" fmla="*/ 2393104 w 9586368"/>
              <a:gd name="connsiteY2256" fmla="*/ 5025558 h 6479439"/>
              <a:gd name="connsiteX2257" fmla="*/ 2403015 w 9586368"/>
              <a:gd name="connsiteY2257" fmla="*/ 5025558 h 6479439"/>
              <a:gd name="connsiteX2258" fmla="*/ 2407034 w 9586368"/>
              <a:gd name="connsiteY2258" fmla="*/ 5029597 h 6479439"/>
              <a:gd name="connsiteX2259" fmla="*/ 2407034 w 9586368"/>
              <a:gd name="connsiteY2259" fmla="*/ 5039468 h 6479439"/>
              <a:gd name="connsiteX2260" fmla="*/ 2403015 w 9586368"/>
              <a:gd name="connsiteY2260" fmla="*/ 5043507 h 6479439"/>
              <a:gd name="connsiteX2261" fmla="*/ 2393104 w 9586368"/>
              <a:gd name="connsiteY2261" fmla="*/ 5043507 h 6479439"/>
              <a:gd name="connsiteX2262" fmla="*/ 2389087 w 9586368"/>
              <a:gd name="connsiteY2262" fmla="*/ 5039468 h 6479439"/>
              <a:gd name="connsiteX2263" fmla="*/ 2389087 w 9586368"/>
              <a:gd name="connsiteY2263" fmla="*/ 5029597 h 6479439"/>
              <a:gd name="connsiteX2264" fmla="*/ 721962 w 9586368"/>
              <a:gd name="connsiteY2264" fmla="*/ 5025558 h 6479439"/>
              <a:gd name="connsiteX2265" fmla="*/ 731872 w 9586368"/>
              <a:gd name="connsiteY2265" fmla="*/ 5025558 h 6479439"/>
              <a:gd name="connsiteX2266" fmla="*/ 735891 w 9586368"/>
              <a:gd name="connsiteY2266" fmla="*/ 5029597 h 6479439"/>
              <a:gd name="connsiteX2267" fmla="*/ 735891 w 9586368"/>
              <a:gd name="connsiteY2267" fmla="*/ 5039468 h 6479439"/>
              <a:gd name="connsiteX2268" fmla="*/ 731872 w 9586368"/>
              <a:gd name="connsiteY2268" fmla="*/ 5043507 h 6479439"/>
              <a:gd name="connsiteX2269" fmla="*/ 721962 w 9586368"/>
              <a:gd name="connsiteY2269" fmla="*/ 5043507 h 6479439"/>
              <a:gd name="connsiteX2270" fmla="*/ 717944 w 9586368"/>
              <a:gd name="connsiteY2270" fmla="*/ 5039468 h 6479439"/>
              <a:gd name="connsiteX2271" fmla="*/ 717944 w 9586368"/>
              <a:gd name="connsiteY2271" fmla="*/ 5029597 h 6479439"/>
              <a:gd name="connsiteX2272" fmla="*/ 482650 w 9586368"/>
              <a:gd name="connsiteY2272" fmla="*/ 5025558 h 6479439"/>
              <a:gd name="connsiteX2273" fmla="*/ 492560 w 9586368"/>
              <a:gd name="connsiteY2273" fmla="*/ 5025558 h 6479439"/>
              <a:gd name="connsiteX2274" fmla="*/ 496580 w 9586368"/>
              <a:gd name="connsiteY2274" fmla="*/ 5029597 h 6479439"/>
              <a:gd name="connsiteX2275" fmla="*/ 496580 w 9586368"/>
              <a:gd name="connsiteY2275" fmla="*/ 5039468 h 6479439"/>
              <a:gd name="connsiteX2276" fmla="*/ 492560 w 9586368"/>
              <a:gd name="connsiteY2276" fmla="*/ 5043507 h 6479439"/>
              <a:gd name="connsiteX2277" fmla="*/ 482650 w 9586368"/>
              <a:gd name="connsiteY2277" fmla="*/ 5043507 h 6479439"/>
              <a:gd name="connsiteX2278" fmla="*/ 478631 w 9586368"/>
              <a:gd name="connsiteY2278" fmla="*/ 5039468 h 6479439"/>
              <a:gd name="connsiteX2279" fmla="*/ 478631 w 9586368"/>
              <a:gd name="connsiteY2279" fmla="*/ 5029597 h 6479439"/>
              <a:gd name="connsiteX2280" fmla="*/ 243336 w 9586368"/>
              <a:gd name="connsiteY2280" fmla="*/ 5025558 h 6479439"/>
              <a:gd name="connsiteX2281" fmla="*/ 253247 w 9586368"/>
              <a:gd name="connsiteY2281" fmla="*/ 5025558 h 6479439"/>
              <a:gd name="connsiteX2282" fmla="*/ 257266 w 9586368"/>
              <a:gd name="connsiteY2282" fmla="*/ 5029597 h 6479439"/>
              <a:gd name="connsiteX2283" fmla="*/ 257266 w 9586368"/>
              <a:gd name="connsiteY2283" fmla="*/ 5039468 h 6479439"/>
              <a:gd name="connsiteX2284" fmla="*/ 253247 w 9586368"/>
              <a:gd name="connsiteY2284" fmla="*/ 5043507 h 6479439"/>
              <a:gd name="connsiteX2285" fmla="*/ 243336 w 9586368"/>
              <a:gd name="connsiteY2285" fmla="*/ 5043507 h 6479439"/>
              <a:gd name="connsiteX2286" fmla="*/ 239317 w 9586368"/>
              <a:gd name="connsiteY2286" fmla="*/ 5039468 h 6479439"/>
              <a:gd name="connsiteX2287" fmla="*/ 239317 w 9586368"/>
              <a:gd name="connsiteY2287" fmla="*/ 5029597 h 6479439"/>
              <a:gd name="connsiteX2288" fmla="*/ 4024 w 9586368"/>
              <a:gd name="connsiteY2288" fmla="*/ 5025558 h 6479439"/>
              <a:gd name="connsiteX2289" fmla="*/ 13933 w 9586368"/>
              <a:gd name="connsiteY2289" fmla="*/ 5025558 h 6479439"/>
              <a:gd name="connsiteX2290" fmla="*/ 17952 w 9586368"/>
              <a:gd name="connsiteY2290" fmla="*/ 5029597 h 6479439"/>
              <a:gd name="connsiteX2291" fmla="*/ 17952 w 9586368"/>
              <a:gd name="connsiteY2291" fmla="*/ 5039468 h 6479439"/>
              <a:gd name="connsiteX2292" fmla="*/ 13933 w 9586368"/>
              <a:gd name="connsiteY2292" fmla="*/ 5043507 h 6479439"/>
              <a:gd name="connsiteX2293" fmla="*/ 4024 w 9586368"/>
              <a:gd name="connsiteY2293" fmla="*/ 5043507 h 6479439"/>
              <a:gd name="connsiteX2294" fmla="*/ 4 w 9586368"/>
              <a:gd name="connsiteY2294" fmla="*/ 5039468 h 6479439"/>
              <a:gd name="connsiteX2295" fmla="*/ 4 w 9586368"/>
              <a:gd name="connsiteY2295" fmla="*/ 5029597 h 6479439"/>
              <a:gd name="connsiteX2296" fmla="*/ 9572438 w 9586368"/>
              <a:gd name="connsiteY2296" fmla="*/ 4786279 h 6479439"/>
              <a:gd name="connsiteX2297" fmla="*/ 9582349 w 9586368"/>
              <a:gd name="connsiteY2297" fmla="*/ 4786279 h 6479439"/>
              <a:gd name="connsiteX2298" fmla="*/ 9586368 w 9586368"/>
              <a:gd name="connsiteY2298" fmla="*/ 4790317 h 6479439"/>
              <a:gd name="connsiteX2299" fmla="*/ 9586368 w 9586368"/>
              <a:gd name="connsiteY2299" fmla="*/ 4800188 h 6479439"/>
              <a:gd name="connsiteX2300" fmla="*/ 9582349 w 9586368"/>
              <a:gd name="connsiteY2300" fmla="*/ 4804227 h 6479439"/>
              <a:gd name="connsiteX2301" fmla="*/ 9572438 w 9586368"/>
              <a:gd name="connsiteY2301" fmla="*/ 4804227 h 6479439"/>
              <a:gd name="connsiteX2302" fmla="*/ 9568419 w 9586368"/>
              <a:gd name="connsiteY2302" fmla="*/ 4800188 h 6479439"/>
              <a:gd name="connsiteX2303" fmla="*/ 9568419 w 9586368"/>
              <a:gd name="connsiteY2303" fmla="*/ 4790317 h 6479439"/>
              <a:gd name="connsiteX2304" fmla="*/ 9333125 w 9586368"/>
              <a:gd name="connsiteY2304" fmla="*/ 4786279 h 6479439"/>
              <a:gd name="connsiteX2305" fmla="*/ 9343036 w 9586368"/>
              <a:gd name="connsiteY2305" fmla="*/ 4786279 h 6479439"/>
              <a:gd name="connsiteX2306" fmla="*/ 9347055 w 9586368"/>
              <a:gd name="connsiteY2306" fmla="*/ 4790317 h 6479439"/>
              <a:gd name="connsiteX2307" fmla="*/ 9347055 w 9586368"/>
              <a:gd name="connsiteY2307" fmla="*/ 4800188 h 6479439"/>
              <a:gd name="connsiteX2308" fmla="*/ 9343036 w 9586368"/>
              <a:gd name="connsiteY2308" fmla="*/ 4804227 h 6479439"/>
              <a:gd name="connsiteX2309" fmla="*/ 9333125 w 9586368"/>
              <a:gd name="connsiteY2309" fmla="*/ 4804227 h 6479439"/>
              <a:gd name="connsiteX2310" fmla="*/ 9329106 w 9586368"/>
              <a:gd name="connsiteY2310" fmla="*/ 4800188 h 6479439"/>
              <a:gd name="connsiteX2311" fmla="*/ 9329106 w 9586368"/>
              <a:gd name="connsiteY2311" fmla="*/ 4790317 h 6479439"/>
              <a:gd name="connsiteX2312" fmla="*/ 9093811 w 9586368"/>
              <a:gd name="connsiteY2312" fmla="*/ 4786279 h 6479439"/>
              <a:gd name="connsiteX2313" fmla="*/ 9103722 w 9586368"/>
              <a:gd name="connsiteY2313" fmla="*/ 4786279 h 6479439"/>
              <a:gd name="connsiteX2314" fmla="*/ 9107741 w 9586368"/>
              <a:gd name="connsiteY2314" fmla="*/ 4790317 h 6479439"/>
              <a:gd name="connsiteX2315" fmla="*/ 9107741 w 9586368"/>
              <a:gd name="connsiteY2315" fmla="*/ 4800188 h 6479439"/>
              <a:gd name="connsiteX2316" fmla="*/ 9103722 w 9586368"/>
              <a:gd name="connsiteY2316" fmla="*/ 4804227 h 6479439"/>
              <a:gd name="connsiteX2317" fmla="*/ 9093811 w 9586368"/>
              <a:gd name="connsiteY2317" fmla="*/ 4804227 h 6479439"/>
              <a:gd name="connsiteX2318" fmla="*/ 9089792 w 9586368"/>
              <a:gd name="connsiteY2318" fmla="*/ 4800188 h 6479439"/>
              <a:gd name="connsiteX2319" fmla="*/ 9089792 w 9586368"/>
              <a:gd name="connsiteY2319" fmla="*/ 4790317 h 6479439"/>
              <a:gd name="connsiteX2320" fmla="*/ 8854496 w 9586368"/>
              <a:gd name="connsiteY2320" fmla="*/ 4786279 h 6479439"/>
              <a:gd name="connsiteX2321" fmla="*/ 8864407 w 9586368"/>
              <a:gd name="connsiteY2321" fmla="*/ 4786279 h 6479439"/>
              <a:gd name="connsiteX2322" fmla="*/ 8868426 w 9586368"/>
              <a:gd name="connsiteY2322" fmla="*/ 4790317 h 6479439"/>
              <a:gd name="connsiteX2323" fmla="*/ 8868426 w 9586368"/>
              <a:gd name="connsiteY2323" fmla="*/ 4800188 h 6479439"/>
              <a:gd name="connsiteX2324" fmla="*/ 8864407 w 9586368"/>
              <a:gd name="connsiteY2324" fmla="*/ 4804227 h 6479439"/>
              <a:gd name="connsiteX2325" fmla="*/ 8854496 w 9586368"/>
              <a:gd name="connsiteY2325" fmla="*/ 4804227 h 6479439"/>
              <a:gd name="connsiteX2326" fmla="*/ 8850477 w 9586368"/>
              <a:gd name="connsiteY2326" fmla="*/ 4800188 h 6479439"/>
              <a:gd name="connsiteX2327" fmla="*/ 8850477 w 9586368"/>
              <a:gd name="connsiteY2327" fmla="*/ 4790317 h 6479439"/>
              <a:gd name="connsiteX2328" fmla="*/ 8615184 w 9586368"/>
              <a:gd name="connsiteY2328" fmla="*/ 4786279 h 6479439"/>
              <a:gd name="connsiteX2329" fmla="*/ 8625095 w 9586368"/>
              <a:gd name="connsiteY2329" fmla="*/ 4786279 h 6479439"/>
              <a:gd name="connsiteX2330" fmla="*/ 8629114 w 9586368"/>
              <a:gd name="connsiteY2330" fmla="*/ 4790317 h 6479439"/>
              <a:gd name="connsiteX2331" fmla="*/ 8629114 w 9586368"/>
              <a:gd name="connsiteY2331" fmla="*/ 4800188 h 6479439"/>
              <a:gd name="connsiteX2332" fmla="*/ 8625095 w 9586368"/>
              <a:gd name="connsiteY2332" fmla="*/ 4804227 h 6479439"/>
              <a:gd name="connsiteX2333" fmla="*/ 8615184 w 9586368"/>
              <a:gd name="connsiteY2333" fmla="*/ 4804227 h 6479439"/>
              <a:gd name="connsiteX2334" fmla="*/ 8611165 w 9586368"/>
              <a:gd name="connsiteY2334" fmla="*/ 4800188 h 6479439"/>
              <a:gd name="connsiteX2335" fmla="*/ 8611165 w 9586368"/>
              <a:gd name="connsiteY2335" fmla="*/ 4790317 h 6479439"/>
              <a:gd name="connsiteX2336" fmla="*/ 8375869 w 9586368"/>
              <a:gd name="connsiteY2336" fmla="*/ 4786279 h 6479439"/>
              <a:gd name="connsiteX2337" fmla="*/ 8385779 w 9586368"/>
              <a:gd name="connsiteY2337" fmla="*/ 4786279 h 6479439"/>
              <a:gd name="connsiteX2338" fmla="*/ 8389799 w 9586368"/>
              <a:gd name="connsiteY2338" fmla="*/ 4790317 h 6479439"/>
              <a:gd name="connsiteX2339" fmla="*/ 8389799 w 9586368"/>
              <a:gd name="connsiteY2339" fmla="*/ 4800188 h 6479439"/>
              <a:gd name="connsiteX2340" fmla="*/ 8385779 w 9586368"/>
              <a:gd name="connsiteY2340" fmla="*/ 4804227 h 6479439"/>
              <a:gd name="connsiteX2341" fmla="*/ 8375869 w 9586368"/>
              <a:gd name="connsiteY2341" fmla="*/ 4804227 h 6479439"/>
              <a:gd name="connsiteX2342" fmla="*/ 8371850 w 9586368"/>
              <a:gd name="connsiteY2342" fmla="*/ 4800188 h 6479439"/>
              <a:gd name="connsiteX2343" fmla="*/ 8371850 w 9586368"/>
              <a:gd name="connsiteY2343" fmla="*/ 4790317 h 6479439"/>
              <a:gd name="connsiteX2344" fmla="*/ 8136553 w 9586368"/>
              <a:gd name="connsiteY2344" fmla="*/ 4786279 h 6479439"/>
              <a:gd name="connsiteX2345" fmla="*/ 8146464 w 9586368"/>
              <a:gd name="connsiteY2345" fmla="*/ 4786279 h 6479439"/>
              <a:gd name="connsiteX2346" fmla="*/ 8150483 w 9586368"/>
              <a:gd name="connsiteY2346" fmla="*/ 4790317 h 6479439"/>
              <a:gd name="connsiteX2347" fmla="*/ 8150483 w 9586368"/>
              <a:gd name="connsiteY2347" fmla="*/ 4800188 h 6479439"/>
              <a:gd name="connsiteX2348" fmla="*/ 8146464 w 9586368"/>
              <a:gd name="connsiteY2348" fmla="*/ 4804227 h 6479439"/>
              <a:gd name="connsiteX2349" fmla="*/ 8136553 w 9586368"/>
              <a:gd name="connsiteY2349" fmla="*/ 4804227 h 6479439"/>
              <a:gd name="connsiteX2350" fmla="*/ 8132534 w 9586368"/>
              <a:gd name="connsiteY2350" fmla="*/ 4800188 h 6479439"/>
              <a:gd name="connsiteX2351" fmla="*/ 8132534 w 9586368"/>
              <a:gd name="connsiteY2351" fmla="*/ 4790317 h 6479439"/>
              <a:gd name="connsiteX2352" fmla="*/ 7897241 w 9586368"/>
              <a:gd name="connsiteY2352" fmla="*/ 4786279 h 6479439"/>
              <a:gd name="connsiteX2353" fmla="*/ 7907151 w 9586368"/>
              <a:gd name="connsiteY2353" fmla="*/ 4786279 h 6479439"/>
              <a:gd name="connsiteX2354" fmla="*/ 7911170 w 9586368"/>
              <a:gd name="connsiteY2354" fmla="*/ 4790317 h 6479439"/>
              <a:gd name="connsiteX2355" fmla="*/ 7911170 w 9586368"/>
              <a:gd name="connsiteY2355" fmla="*/ 4800188 h 6479439"/>
              <a:gd name="connsiteX2356" fmla="*/ 7907151 w 9586368"/>
              <a:gd name="connsiteY2356" fmla="*/ 4804227 h 6479439"/>
              <a:gd name="connsiteX2357" fmla="*/ 7897241 w 9586368"/>
              <a:gd name="connsiteY2357" fmla="*/ 4804227 h 6479439"/>
              <a:gd name="connsiteX2358" fmla="*/ 7893222 w 9586368"/>
              <a:gd name="connsiteY2358" fmla="*/ 4800188 h 6479439"/>
              <a:gd name="connsiteX2359" fmla="*/ 7893222 w 9586368"/>
              <a:gd name="connsiteY2359" fmla="*/ 4790317 h 6479439"/>
              <a:gd name="connsiteX2360" fmla="*/ 7657926 w 9586368"/>
              <a:gd name="connsiteY2360" fmla="*/ 4786279 h 6479439"/>
              <a:gd name="connsiteX2361" fmla="*/ 7667836 w 9586368"/>
              <a:gd name="connsiteY2361" fmla="*/ 4786279 h 6479439"/>
              <a:gd name="connsiteX2362" fmla="*/ 7671855 w 9586368"/>
              <a:gd name="connsiteY2362" fmla="*/ 4790317 h 6479439"/>
              <a:gd name="connsiteX2363" fmla="*/ 7671855 w 9586368"/>
              <a:gd name="connsiteY2363" fmla="*/ 4800188 h 6479439"/>
              <a:gd name="connsiteX2364" fmla="*/ 7667836 w 9586368"/>
              <a:gd name="connsiteY2364" fmla="*/ 4804227 h 6479439"/>
              <a:gd name="connsiteX2365" fmla="*/ 7657926 w 9586368"/>
              <a:gd name="connsiteY2365" fmla="*/ 4804227 h 6479439"/>
              <a:gd name="connsiteX2366" fmla="*/ 7653906 w 9586368"/>
              <a:gd name="connsiteY2366" fmla="*/ 4800188 h 6479439"/>
              <a:gd name="connsiteX2367" fmla="*/ 7653906 w 9586368"/>
              <a:gd name="connsiteY2367" fmla="*/ 4790317 h 6479439"/>
              <a:gd name="connsiteX2368" fmla="*/ 7418611 w 9586368"/>
              <a:gd name="connsiteY2368" fmla="*/ 4786279 h 6479439"/>
              <a:gd name="connsiteX2369" fmla="*/ 7428521 w 9586368"/>
              <a:gd name="connsiteY2369" fmla="*/ 4786279 h 6479439"/>
              <a:gd name="connsiteX2370" fmla="*/ 7432540 w 9586368"/>
              <a:gd name="connsiteY2370" fmla="*/ 4790317 h 6479439"/>
              <a:gd name="connsiteX2371" fmla="*/ 7432540 w 9586368"/>
              <a:gd name="connsiteY2371" fmla="*/ 4800188 h 6479439"/>
              <a:gd name="connsiteX2372" fmla="*/ 7428521 w 9586368"/>
              <a:gd name="connsiteY2372" fmla="*/ 4804227 h 6479439"/>
              <a:gd name="connsiteX2373" fmla="*/ 7418611 w 9586368"/>
              <a:gd name="connsiteY2373" fmla="*/ 4804227 h 6479439"/>
              <a:gd name="connsiteX2374" fmla="*/ 7414592 w 9586368"/>
              <a:gd name="connsiteY2374" fmla="*/ 4800188 h 6479439"/>
              <a:gd name="connsiteX2375" fmla="*/ 7414592 w 9586368"/>
              <a:gd name="connsiteY2375" fmla="*/ 4790317 h 6479439"/>
              <a:gd name="connsiteX2376" fmla="*/ 7179298 w 9586368"/>
              <a:gd name="connsiteY2376" fmla="*/ 4786279 h 6479439"/>
              <a:gd name="connsiteX2377" fmla="*/ 7189209 w 9586368"/>
              <a:gd name="connsiteY2377" fmla="*/ 4786279 h 6479439"/>
              <a:gd name="connsiteX2378" fmla="*/ 7193228 w 9586368"/>
              <a:gd name="connsiteY2378" fmla="*/ 4790317 h 6479439"/>
              <a:gd name="connsiteX2379" fmla="*/ 7193228 w 9586368"/>
              <a:gd name="connsiteY2379" fmla="*/ 4800188 h 6479439"/>
              <a:gd name="connsiteX2380" fmla="*/ 7189209 w 9586368"/>
              <a:gd name="connsiteY2380" fmla="*/ 4804227 h 6479439"/>
              <a:gd name="connsiteX2381" fmla="*/ 7179298 w 9586368"/>
              <a:gd name="connsiteY2381" fmla="*/ 4804227 h 6479439"/>
              <a:gd name="connsiteX2382" fmla="*/ 7175279 w 9586368"/>
              <a:gd name="connsiteY2382" fmla="*/ 4800188 h 6479439"/>
              <a:gd name="connsiteX2383" fmla="*/ 7175279 w 9586368"/>
              <a:gd name="connsiteY2383" fmla="*/ 4790317 h 6479439"/>
              <a:gd name="connsiteX2384" fmla="*/ 6939983 w 9586368"/>
              <a:gd name="connsiteY2384" fmla="*/ 4786279 h 6479439"/>
              <a:gd name="connsiteX2385" fmla="*/ 6949894 w 9586368"/>
              <a:gd name="connsiteY2385" fmla="*/ 4786279 h 6479439"/>
              <a:gd name="connsiteX2386" fmla="*/ 6953913 w 9586368"/>
              <a:gd name="connsiteY2386" fmla="*/ 4790317 h 6479439"/>
              <a:gd name="connsiteX2387" fmla="*/ 6953913 w 9586368"/>
              <a:gd name="connsiteY2387" fmla="*/ 4800188 h 6479439"/>
              <a:gd name="connsiteX2388" fmla="*/ 6949894 w 9586368"/>
              <a:gd name="connsiteY2388" fmla="*/ 4804227 h 6479439"/>
              <a:gd name="connsiteX2389" fmla="*/ 6939983 w 9586368"/>
              <a:gd name="connsiteY2389" fmla="*/ 4804227 h 6479439"/>
              <a:gd name="connsiteX2390" fmla="*/ 6935964 w 9586368"/>
              <a:gd name="connsiteY2390" fmla="*/ 4800188 h 6479439"/>
              <a:gd name="connsiteX2391" fmla="*/ 6935964 w 9586368"/>
              <a:gd name="connsiteY2391" fmla="*/ 4790317 h 6479439"/>
              <a:gd name="connsiteX2392" fmla="*/ 6700670 w 9586368"/>
              <a:gd name="connsiteY2392" fmla="*/ 4786279 h 6479439"/>
              <a:gd name="connsiteX2393" fmla="*/ 6710581 w 9586368"/>
              <a:gd name="connsiteY2393" fmla="*/ 4786279 h 6479439"/>
              <a:gd name="connsiteX2394" fmla="*/ 6714600 w 9586368"/>
              <a:gd name="connsiteY2394" fmla="*/ 4790317 h 6479439"/>
              <a:gd name="connsiteX2395" fmla="*/ 6714600 w 9586368"/>
              <a:gd name="connsiteY2395" fmla="*/ 4800188 h 6479439"/>
              <a:gd name="connsiteX2396" fmla="*/ 6710581 w 9586368"/>
              <a:gd name="connsiteY2396" fmla="*/ 4804227 h 6479439"/>
              <a:gd name="connsiteX2397" fmla="*/ 6700670 w 9586368"/>
              <a:gd name="connsiteY2397" fmla="*/ 4804227 h 6479439"/>
              <a:gd name="connsiteX2398" fmla="*/ 6696651 w 9586368"/>
              <a:gd name="connsiteY2398" fmla="*/ 4800188 h 6479439"/>
              <a:gd name="connsiteX2399" fmla="*/ 6696651 w 9586368"/>
              <a:gd name="connsiteY2399" fmla="*/ 4790317 h 6479439"/>
              <a:gd name="connsiteX2400" fmla="*/ 6461356 w 9586368"/>
              <a:gd name="connsiteY2400" fmla="*/ 4786279 h 6479439"/>
              <a:gd name="connsiteX2401" fmla="*/ 6471266 w 9586368"/>
              <a:gd name="connsiteY2401" fmla="*/ 4786279 h 6479439"/>
              <a:gd name="connsiteX2402" fmla="*/ 6475285 w 9586368"/>
              <a:gd name="connsiteY2402" fmla="*/ 4790317 h 6479439"/>
              <a:gd name="connsiteX2403" fmla="*/ 6475285 w 9586368"/>
              <a:gd name="connsiteY2403" fmla="*/ 4800188 h 6479439"/>
              <a:gd name="connsiteX2404" fmla="*/ 6471266 w 9586368"/>
              <a:gd name="connsiteY2404" fmla="*/ 4804227 h 6479439"/>
              <a:gd name="connsiteX2405" fmla="*/ 6461356 w 9586368"/>
              <a:gd name="connsiteY2405" fmla="*/ 4804227 h 6479439"/>
              <a:gd name="connsiteX2406" fmla="*/ 6457337 w 9586368"/>
              <a:gd name="connsiteY2406" fmla="*/ 4800188 h 6479439"/>
              <a:gd name="connsiteX2407" fmla="*/ 6457337 w 9586368"/>
              <a:gd name="connsiteY2407" fmla="*/ 4790317 h 6479439"/>
              <a:gd name="connsiteX2408" fmla="*/ 6222042 w 9586368"/>
              <a:gd name="connsiteY2408" fmla="*/ 4786279 h 6479439"/>
              <a:gd name="connsiteX2409" fmla="*/ 6231952 w 9586368"/>
              <a:gd name="connsiteY2409" fmla="*/ 4786279 h 6479439"/>
              <a:gd name="connsiteX2410" fmla="*/ 6235971 w 9586368"/>
              <a:gd name="connsiteY2410" fmla="*/ 4790317 h 6479439"/>
              <a:gd name="connsiteX2411" fmla="*/ 6235971 w 9586368"/>
              <a:gd name="connsiteY2411" fmla="*/ 4800188 h 6479439"/>
              <a:gd name="connsiteX2412" fmla="*/ 6231952 w 9586368"/>
              <a:gd name="connsiteY2412" fmla="*/ 4804227 h 6479439"/>
              <a:gd name="connsiteX2413" fmla="*/ 6222042 w 9586368"/>
              <a:gd name="connsiteY2413" fmla="*/ 4804227 h 6479439"/>
              <a:gd name="connsiteX2414" fmla="*/ 6218023 w 9586368"/>
              <a:gd name="connsiteY2414" fmla="*/ 4800188 h 6479439"/>
              <a:gd name="connsiteX2415" fmla="*/ 6218023 w 9586368"/>
              <a:gd name="connsiteY2415" fmla="*/ 4790317 h 6479439"/>
              <a:gd name="connsiteX2416" fmla="*/ 5982729 w 9586368"/>
              <a:gd name="connsiteY2416" fmla="*/ 4786279 h 6479439"/>
              <a:gd name="connsiteX2417" fmla="*/ 5992639 w 9586368"/>
              <a:gd name="connsiteY2417" fmla="*/ 4786279 h 6479439"/>
              <a:gd name="connsiteX2418" fmla="*/ 5996658 w 9586368"/>
              <a:gd name="connsiteY2418" fmla="*/ 4790317 h 6479439"/>
              <a:gd name="connsiteX2419" fmla="*/ 5996658 w 9586368"/>
              <a:gd name="connsiteY2419" fmla="*/ 4800188 h 6479439"/>
              <a:gd name="connsiteX2420" fmla="*/ 5992639 w 9586368"/>
              <a:gd name="connsiteY2420" fmla="*/ 4804227 h 6479439"/>
              <a:gd name="connsiteX2421" fmla="*/ 5982729 w 9586368"/>
              <a:gd name="connsiteY2421" fmla="*/ 4804227 h 6479439"/>
              <a:gd name="connsiteX2422" fmla="*/ 5978710 w 9586368"/>
              <a:gd name="connsiteY2422" fmla="*/ 4800188 h 6479439"/>
              <a:gd name="connsiteX2423" fmla="*/ 5978710 w 9586368"/>
              <a:gd name="connsiteY2423" fmla="*/ 4790317 h 6479439"/>
              <a:gd name="connsiteX2424" fmla="*/ 5743412 w 9586368"/>
              <a:gd name="connsiteY2424" fmla="*/ 4786279 h 6479439"/>
              <a:gd name="connsiteX2425" fmla="*/ 5753323 w 9586368"/>
              <a:gd name="connsiteY2425" fmla="*/ 4786279 h 6479439"/>
              <a:gd name="connsiteX2426" fmla="*/ 5757342 w 9586368"/>
              <a:gd name="connsiteY2426" fmla="*/ 4790317 h 6479439"/>
              <a:gd name="connsiteX2427" fmla="*/ 5757342 w 9586368"/>
              <a:gd name="connsiteY2427" fmla="*/ 4800188 h 6479439"/>
              <a:gd name="connsiteX2428" fmla="*/ 5753323 w 9586368"/>
              <a:gd name="connsiteY2428" fmla="*/ 4804227 h 6479439"/>
              <a:gd name="connsiteX2429" fmla="*/ 5743412 w 9586368"/>
              <a:gd name="connsiteY2429" fmla="*/ 4804227 h 6479439"/>
              <a:gd name="connsiteX2430" fmla="*/ 5739393 w 9586368"/>
              <a:gd name="connsiteY2430" fmla="*/ 4800188 h 6479439"/>
              <a:gd name="connsiteX2431" fmla="*/ 5739393 w 9586368"/>
              <a:gd name="connsiteY2431" fmla="*/ 4790317 h 6479439"/>
              <a:gd name="connsiteX2432" fmla="*/ 5504099 w 9586368"/>
              <a:gd name="connsiteY2432" fmla="*/ 4786279 h 6479439"/>
              <a:gd name="connsiteX2433" fmla="*/ 5514010 w 9586368"/>
              <a:gd name="connsiteY2433" fmla="*/ 4786279 h 6479439"/>
              <a:gd name="connsiteX2434" fmla="*/ 5518029 w 9586368"/>
              <a:gd name="connsiteY2434" fmla="*/ 4790317 h 6479439"/>
              <a:gd name="connsiteX2435" fmla="*/ 5518029 w 9586368"/>
              <a:gd name="connsiteY2435" fmla="*/ 4800188 h 6479439"/>
              <a:gd name="connsiteX2436" fmla="*/ 5514010 w 9586368"/>
              <a:gd name="connsiteY2436" fmla="*/ 4804227 h 6479439"/>
              <a:gd name="connsiteX2437" fmla="*/ 5504099 w 9586368"/>
              <a:gd name="connsiteY2437" fmla="*/ 4804227 h 6479439"/>
              <a:gd name="connsiteX2438" fmla="*/ 5500080 w 9586368"/>
              <a:gd name="connsiteY2438" fmla="*/ 4800188 h 6479439"/>
              <a:gd name="connsiteX2439" fmla="*/ 5500080 w 9586368"/>
              <a:gd name="connsiteY2439" fmla="*/ 4790317 h 6479439"/>
              <a:gd name="connsiteX2440" fmla="*/ 5264784 w 9586368"/>
              <a:gd name="connsiteY2440" fmla="*/ 4786279 h 6479439"/>
              <a:gd name="connsiteX2441" fmla="*/ 5274694 w 9586368"/>
              <a:gd name="connsiteY2441" fmla="*/ 4786279 h 6479439"/>
              <a:gd name="connsiteX2442" fmla="*/ 5278713 w 9586368"/>
              <a:gd name="connsiteY2442" fmla="*/ 4790317 h 6479439"/>
              <a:gd name="connsiteX2443" fmla="*/ 5278713 w 9586368"/>
              <a:gd name="connsiteY2443" fmla="*/ 4800188 h 6479439"/>
              <a:gd name="connsiteX2444" fmla="*/ 5274694 w 9586368"/>
              <a:gd name="connsiteY2444" fmla="*/ 4804227 h 6479439"/>
              <a:gd name="connsiteX2445" fmla="*/ 5264784 w 9586368"/>
              <a:gd name="connsiteY2445" fmla="*/ 4804227 h 6479439"/>
              <a:gd name="connsiteX2446" fmla="*/ 5260765 w 9586368"/>
              <a:gd name="connsiteY2446" fmla="*/ 4800188 h 6479439"/>
              <a:gd name="connsiteX2447" fmla="*/ 5260765 w 9586368"/>
              <a:gd name="connsiteY2447" fmla="*/ 4790317 h 6479439"/>
              <a:gd name="connsiteX2448" fmla="*/ 5025470 w 9586368"/>
              <a:gd name="connsiteY2448" fmla="*/ 4786279 h 6479439"/>
              <a:gd name="connsiteX2449" fmla="*/ 5035381 w 9586368"/>
              <a:gd name="connsiteY2449" fmla="*/ 4786279 h 6479439"/>
              <a:gd name="connsiteX2450" fmla="*/ 5039400 w 9586368"/>
              <a:gd name="connsiteY2450" fmla="*/ 4790317 h 6479439"/>
              <a:gd name="connsiteX2451" fmla="*/ 5039400 w 9586368"/>
              <a:gd name="connsiteY2451" fmla="*/ 4800188 h 6479439"/>
              <a:gd name="connsiteX2452" fmla="*/ 5035381 w 9586368"/>
              <a:gd name="connsiteY2452" fmla="*/ 4804227 h 6479439"/>
              <a:gd name="connsiteX2453" fmla="*/ 5025470 w 9586368"/>
              <a:gd name="connsiteY2453" fmla="*/ 4804227 h 6479439"/>
              <a:gd name="connsiteX2454" fmla="*/ 5021451 w 9586368"/>
              <a:gd name="connsiteY2454" fmla="*/ 4800188 h 6479439"/>
              <a:gd name="connsiteX2455" fmla="*/ 5021451 w 9586368"/>
              <a:gd name="connsiteY2455" fmla="*/ 4790317 h 6479439"/>
              <a:gd name="connsiteX2456" fmla="*/ 4786241 w 9586368"/>
              <a:gd name="connsiteY2456" fmla="*/ 4786279 h 6479439"/>
              <a:gd name="connsiteX2457" fmla="*/ 4796152 w 9586368"/>
              <a:gd name="connsiteY2457" fmla="*/ 4786279 h 6479439"/>
              <a:gd name="connsiteX2458" fmla="*/ 4800171 w 9586368"/>
              <a:gd name="connsiteY2458" fmla="*/ 4790317 h 6479439"/>
              <a:gd name="connsiteX2459" fmla="*/ 4800171 w 9586368"/>
              <a:gd name="connsiteY2459" fmla="*/ 4800188 h 6479439"/>
              <a:gd name="connsiteX2460" fmla="*/ 4796152 w 9586368"/>
              <a:gd name="connsiteY2460" fmla="*/ 4804227 h 6479439"/>
              <a:gd name="connsiteX2461" fmla="*/ 4786241 w 9586368"/>
              <a:gd name="connsiteY2461" fmla="*/ 4804227 h 6479439"/>
              <a:gd name="connsiteX2462" fmla="*/ 4782224 w 9586368"/>
              <a:gd name="connsiteY2462" fmla="*/ 4800188 h 6479439"/>
              <a:gd name="connsiteX2463" fmla="*/ 4782224 w 9586368"/>
              <a:gd name="connsiteY2463" fmla="*/ 4790317 h 6479439"/>
              <a:gd name="connsiteX2464" fmla="*/ 4546929 w 9586368"/>
              <a:gd name="connsiteY2464" fmla="*/ 4786279 h 6479439"/>
              <a:gd name="connsiteX2465" fmla="*/ 4556840 w 9586368"/>
              <a:gd name="connsiteY2465" fmla="*/ 4786279 h 6479439"/>
              <a:gd name="connsiteX2466" fmla="*/ 4560859 w 9586368"/>
              <a:gd name="connsiteY2466" fmla="*/ 4790317 h 6479439"/>
              <a:gd name="connsiteX2467" fmla="*/ 4560859 w 9586368"/>
              <a:gd name="connsiteY2467" fmla="*/ 4800188 h 6479439"/>
              <a:gd name="connsiteX2468" fmla="*/ 4556840 w 9586368"/>
              <a:gd name="connsiteY2468" fmla="*/ 4804227 h 6479439"/>
              <a:gd name="connsiteX2469" fmla="*/ 4546929 w 9586368"/>
              <a:gd name="connsiteY2469" fmla="*/ 4804227 h 6479439"/>
              <a:gd name="connsiteX2470" fmla="*/ 4542910 w 9586368"/>
              <a:gd name="connsiteY2470" fmla="*/ 4800188 h 6479439"/>
              <a:gd name="connsiteX2471" fmla="*/ 4542910 w 9586368"/>
              <a:gd name="connsiteY2471" fmla="*/ 4790317 h 6479439"/>
              <a:gd name="connsiteX2472" fmla="*/ 4307612 w 9586368"/>
              <a:gd name="connsiteY2472" fmla="*/ 4786279 h 6479439"/>
              <a:gd name="connsiteX2473" fmla="*/ 4317523 w 9586368"/>
              <a:gd name="connsiteY2473" fmla="*/ 4786279 h 6479439"/>
              <a:gd name="connsiteX2474" fmla="*/ 4321543 w 9586368"/>
              <a:gd name="connsiteY2474" fmla="*/ 4790317 h 6479439"/>
              <a:gd name="connsiteX2475" fmla="*/ 4321543 w 9586368"/>
              <a:gd name="connsiteY2475" fmla="*/ 4800188 h 6479439"/>
              <a:gd name="connsiteX2476" fmla="*/ 4317523 w 9586368"/>
              <a:gd name="connsiteY2476" fmla="*/ 4804227 h 6479439"/>
              <a:gd name="connsiteX2477" fmla="*/ 4307612 w 9586368"/>
              <a:gd name="connsiteY2477" fmla="*/ 4804227 h 6479439"/>
              <a:gd name="connsiteX2478" fmla="*/ 4303595 w 9586368"/>
              <a:gd name="connsiteY2478" fmla="*/ 4800188 h 6479439"/>
              <a:gd name="connsiteX2479" fmla="*/ 4303595 w 9586368"/>
              <a:gd name="connsiteY2479" fmla="*/ 4790317 h 6479439"/>
              <a:gd name="connsiteX2480" fmla="*/ 4068297 w 9586368"/>
              <a:gd name="connsiteY2480" fmla="*/ 4786279 h 6479439"/>
              <a:gd name="connsiteX2481" fmla="*/ 4078210 w 9586368"/>
              <a:gd name="connsiteY2481" fmla="*/ 4786279 h 6479439"/>
              <a:gd name="connsiteX2482" fmla="*/ 4082229 w 9586368"/>
              <a:gd name="connsiteY2482" fmla="*/ 4790317 h 6479439"/>
              <a:gd name="connsiteX2483" fmla="*/ 4082229 w 9586368"/>
              <a:gd name="connsiteY2483" fmla="*/ 4800188 h 6479439"/>
              <a:gd name="connsiteX2484" fmla="*/ 4078210 w 9586368"/>
              <a:gd name="connsiteY2484" fmla="*/ 4804227 h 6479439"/>
              <a:gd name="connsiteX2485" fmla="*/ 4068297 w 9586368"/>
              <a:gd name="connsiteY2485" fmla="*/ 4804227 h 6479439"/>
              <a:gd name="connsiteX2486" fmla="*/ 4064278 w 9586368"/>
              <a:gd name="connsiteY2486" fmla="*/ 4800188 h 6479439"/>
              <a:gd name="connsiteX2487" fmla="*/ 4064278 w 9586368"/>
              <a:gd name="connsiteY2487" fmla="*/ 4790317 h 6479439"/>
              <a:gd name="connsiteX2488" fmla="*/ 3828990 w 9586368"/>
              <a:gd name="connsiteY2488" fmla="*/ 4786279 h 6479439"/>
              <a:gd name="connsiteX2489" fmla="*/ 3838899 w 9586368"/>
              <a:gd name="connsiteY2489" fmla="*/ 4786279 h 6479439"/>
              <a:gd name="connsiteX2490" fmla="*/ 3842917 w 9586368"/>
              <a:gd name="connsiteY2490" fmla="*/ 4790317 h 6479439"/>
              <a:gd name="connsiteX2491" fmla="*/ 3842917 w 9586368"/>
              <a:gd name="connsiteY2491" fmla="*/ 4800188 h 6479439"/>
              <a:gd name="connsiteX2492" fmla="*/ 3838899 w 9586368"/>
              <a:gd name="connsiteY2492" fmla="*/ 4804227 h 6479439"/>
              <a:gd name="connsiteX2493" fmla="*/ 3828990 w 9586368"/>
              <a:gd name="connsiteY2493" fmla="*/ 4804227 h 6479439"/>
              <a:gd name="connsiteX2494" fmla="*/ 3824971 w 9586368"/>
              <a:gd name="connsiteY2494" fmla="*/ 4800188 h 6479439"/>
              <a:gd name="connsiteX2495" fmla="*/ 3824971 w 9586368"/>
              <a:gd name="connsiteY2495" fmla="*/ 4790317 h 6479439"/>
              <a:gd name="connsiteX2496" fmla="*/ 3589676 w 9586368"/>
              <a:gd name="connsiteY2496" fmla="*/ 4786279 h 6479439"/>
              <a:gd name="connsiteX2497" fmla="*/ 3599585 w 9586368"/>
              <a:gd name="connsiteY2497" fmla="*/ 4786279 h 6479439"/>
              <a:gd name="connsiteX2498" fmla="*/ 3603604 w 9586368"/>
              <a:gd name="connsiteY2498" fmla="*/ 4790317 h 6479439"/>
              <a:gd name="connsiteX2499" fmla="*/ 3603604 w 9586368"/>
              <a:gd name="connsiteY2499" fmla="*/ 4800188 h 6479439"/>
              <a:gd name="connsiteX2500" fmla="*/ 3599585 w 9586368"/>
              <a:gd name="connsiteY2500" fmla="*/ 4804227 h 6479439"/>
              <a:gd name="connsiteX2501" fmla="*/ 3589676 w 9586368"/>
              <a:gd name="connsiteY2501" fmla="*/ 4804227 h 6479439"/>
              <a:gd name="connsiteX2502" fmla="*/ 3585657 w 9586368"/>
              <a:gd name="connsiteY2502" fmla="*/ 4800188 h 6479439"/>
              <a:gd name="connsiteX2503" fmla="*/ 3585657 w 9586368"/>
              <a:gd name="connsiteY2503" fmla="*/ 4790317 h 6479439"/>
              <a:gd name="connsiteX2504" fmla="*/ 3350359 w 9586368"/>
              <a:gd name="connsiteY2504" fmla="*/ 4786279 h 6479439"/>
              <a:gd name="connsiteX2505" fmla="*/ 3360268 w 9586368"/>
              <a:gd name="connsiteY2505" fmla="*/ 4786279 h 6479439"/>
              <a:gd name="connsiteX2506" fmla="*/ 3364287 w 9586368"/>
              <a:gd name="connsiteY2506" fmla="*/ 4790317 h 6479439"/>
              <a:gd name="connsiteX2507" fmla="*/ 3364287 w 9586368"/>
              <a:gd name="connsiteY2507" fmla="*/ 4800188 h 6479439"/>
              <a:gd name="connsiteX2508" fmla="*/ 3360268 w 9586368"/>
              <a:gd name="connsiteY2508" fmla="*/ 4804227 h 6479439"/>
              <a:gd name="connsiteX2509" fmla="*/ 3350359 w 9586368"/>
              <a:gd name="connsiteY2509" fmla="*/ 4804227 h 6479439"/>
              <a:gd name="connsiteX2510" fmla="*/ 3346340 w 9586368"/>
              <a:gd name="connsiteY2510" fmla="*/ 4800188 h 6479439"/>
              <a:gd name="connsiteX2511" fmla="*/ 3346340 w 9586368"/>
              <a:gd name="connsiteY2511" fmla="*/ 4790317 h 6479439"/>
              <a:gd name="connsiteX2512" fmla="*/ 3111048 w 9586368"/>
              <a:gd name="connsiteY2512" fmla="*/ 4786279 h 6479439"/>
              <a:gd name="connsiteX2513" fmla="*/ 3120959 w 9586368"/>
              <a:gd name="connsiteY2513" fmla="*/ 4786279 h 6479439"/>
              <a:gd name="connsiteX2514" fmla="*/ 3124977 w 9586368"/>
              <a:gd name="connsiteY2514" fmla="*/ 4790317 h 6479439"/>
              <a:gd name="connsiteX2515" fmla="*/ 3124977 w 9586368"/>
              <a:gd name="connsiteY2515" fmla="*/ 4800188 h 6479439"/>
              <a:gd name="connsiteX2516" fmla="*/ 3120959 w 9586368"/>
              <a:gd name="connsiteY2516" fmla="*/ 4804227 h 6479439"/>
              <a:gd name="connsiteX2517" fmla="*/ 3111048 w 9586368"/>
              <a:gd name="connsiteY2517" fmla="*/ 4804227 h 6479439"/>
              <a:gd name="connsiteX2518" fmla="*/ 3107029 w 9586368"/>
              <a:gd name="connsiteY2518" fmla="*/ 4800188 h 6479439"/>
              <a:gd name="connsiteX2519" fmla="*/ 3107029 w 9586368"/>
              <a:gd name="connsiteY2519" fmla="*/ 4790317 h 6479439"/>
              <a:gd name="connsiteX2520" fmla="*/ 2871737 w 9586368"/>
              <a:gd name="connsiteY2520" fmla="*/ 4786279 h 6479439"/>
              <a:gd name="connsiteX2521" fmla="*/ 2881646 w 9586368"/>
              <a:gd name="connsiteY2521" fmla="*/ 4786279 h 6479439"/>
              <a:gd name="connsiteX2522" fmla="*/ 2885666 w 9586368"/>
              <a:gd name="connsiteY2522" fmla="*/ 4790317 h 6479439"/>
              <a:gd name="connsiteX2523" fmla="*/ 2885666 w 9586368"/>
              <a:gd name="connsiteY2523" fmla="*/ 4800188 h 6479439"/>
              <a:gd name="connsiteX2524" fmla="*/ 2881646 w 9586368"/>
              <a:gd name="connsiteY2524" fmla="*/ 4804227 h 6479439"/>
              <a:gd name="connsiteX2525" fmla="*/ 2871737 w 9586368"/>
              <a:gd name="connsiteY2525" fmla="*/ 4804227 h 6479439"/>
              <a:gd name="connsiteX2526" fmla="*/ 2867717 w 9586368"/>
              <a:gd name="connsiteY2526" fmla="*/ 4800188 h 6479439"/>
              <a:gd name="connsiteX2527" fmla="*/ 2867717 w 9586368"/>
              <a:gd name="connsiteY2527" fmla="*/ 4790317 h 6479439"/>
              <a:gd name="connsiteX2528" fmla="*/ 2632423 w 9586368"/>
              <a:gd name="connsiteY2528" fmla="*/ 4786279 h 6479439"/>
              <a:gd name="connsiteX2529" fmla="*/ 2642334 w 9586368"/>
              <a:gd name="connsiteY2529" fmla="*/ 4786279 h 6479439"/>
              <a:gd name="connsiteX2530" fmla="*/ 2646352 w 9586368"/>
              <a:gd name="connsiteY2530" fmla="*/ 4790317 h 6479439"/>
              <a:gd name="connsiteX2531" fmla="*/ 2646352 w 9586368"/>
              <a:gd name="connsiteY2531" fmla="*/ 4800188 h 6479439"/>
              <a:gd name="connsiteX2532" fmla="*/ 2642334 w 9586368"/>
              <a:gd name="connsiteY2532" fmla="*/ 4804227 h 6479439"/>
              <a:gd name="connsiteX2533" fmla="*/ 2632423 w 9586368"/>
              <a:gd name="connsiteY2533" fmla="*/ 4804227 h 6479439"/>
              <a:gd name="connsiteX2534" fmla="*/ 2628404 w 9586368"/>
              <a:gd name="connsiteY2534" fmla="*/ 4800188 h 6479439"/>
              <a:gd name="connsiteX2535" fmla="*/ 2628404 w 9586368"/>
              <a:gd name="connsiteY2535" fmla="*/ 4790317 h 6479439"/>
              <a:gd name="connsiteX2536" fmla="*/ 2393104 w 9586368"/>
              <a:gd name="connsiteY2536" fmla="*/ 4786279 h 6479439"/>
              <a:gd name="connsiteX2537" fmla="*/ 2403015 w 9586368"/>
              <a:gd name="connsiteY2537" fmla="*/ 4786279 h 6479439"/>
              <a:gd name="connsiteX2538" fmla="*/ 2407034 w 9586368"/>
              <a:gd name="connsiteY2538" fmla="*/ 4790317 h 6479439"/>
              <a:gd name="connsiteX2539" fmla="*/ 2407034 w 9586368"/>
              <a:gd name="connsiteY2539" fmla="*/ 4800188 h 6479439"/>
              <a:gd name="connsiteX2540" fmla="*/ 2403015 w 9586368"/>
              <a:gd name="connsiteY2540" fmla="*/ 4804227 h 6479439"/>
              <a:gd name="connsiteX2541" fmla="*/ 2393104 w 9586368"/>
              <a:gd name="connsiteY2541" fmla="*/ 4804227 h 6479439"/>
              <a:gd name="connsiteX2542" fmla="*/ 2389087 w 9586368"/>
              <a:gd name="connsiteY2542" fmla="*/ 4800188 h 6479439"/>
              <a:gd name="connsiteX2543" fmla="*/ 2389087 w 9586368"/>
              <a:gd name="connsiteY2543" fmla="*/ 4790317 h 6479439"/>
              <a:gd name="connsiteX2544" fmla="*/ 2157819 w 9586368"/>
              <a:gd name="connsiteY2544" fmla="*/ 4786279 h 6479439"/>
              <a:gd name="connsiteX2545" fmla="*/ 2167729 w 9586368"/>
              <a:gd name="connsiteY2545" fmla="*/ 4786279 h 6479439"/>
              <a:gd name="connsiteX2546" fmla="*/ 2171748 w 9586368"/>
              <a:gd name="connsiteY2546" fmla="*/ 4790317 h 6479439"/>
              <a:gd name="connsiteX2547" fmla="*/ 2171748 w 9586368"/>
              <a:gd name="connsiteY2547" fmla="*/ 4800188 h 6479439"/>
              <a:gd name="connsiteX2548" fmla="*/ 2167729 w 9586368"/>
              <a:gd name="connsiteY2548" fmla="*/ 4804227 h 6479439"/>
              <a:gd name="connsiteX2549" fmla="*/ 2157819 w 9586368"/>
              <a:gd name="connsiteY2549" fmla="*/ 4804227 h 6479439"/>
              <a:gd name="connsiteX2550" fmla="*/ 2153800 w 9586368"/>
              <a:gd name="connsiteY2550" fmla="*/ 4800188 h 6479439"/>
              <a:gd name="connsiteX2551" fmla="*/ 2153800 w 9586368"/>
              <a:gd name="connsiteY2551" fmla="*/ 4790317 h 6479439"/>
              <a:gd name="connsiteX2552" fmla="*/ 1918510 w 9586368"/>
              <a:gd name="connsiteY2552" fmla="*/ 4786279 h 6479439"/>
              <a:gd name="connsiteX2553" fmla="*/ 1928420 w 9586368"/>
              <a:gd name="connsiteY2553" fmla="*/ 4786279 h 6479439"/>
              <a:gd name="connsiteX2554" fmla="*/ 1932440 w 9586368"/>
              <a:gd name="connsiteY2554" fmla="*/ 4790317 h 6479439"/>
              <a:gd name="connsiteX2555" fmla="*/ 1932440 w 9586368"/>
              <a:gd name="connsiteY2555" fmla="*/ 4800188 h 6479439"/>
              <a:gd name="connsiteX2556" fmla="*/ 1928420 w 9586368"/>
              <a:gd name="connsiteY2556" fmla="*/ 4804227 h 6479439"/>
              <a:gd name="connsiteX2557" fmla="*/ 1918510 w 9586368"/>
              <a:gd name="connsiteY2557" fmla="*/ 4804227 h 6479439"/>
              <a:gd name="connsiteX2558" fmla="*/ 1914492 w 9586368"/>
              <a:gd name="connsiteY2558" fmla="*/ 4800188 h 6479439"/>
              <a:gd name="connsiteX2559" fmla="*/ 1914492 w 9586368"/>
              <a:gd name="connsiteY2559" fmla="*/ 4790317 h 6479439"/>
              <a:gd name="connsiteX2560" fmla="*/ 1679205 w 9586368"/>
              <a:gd name="connsiteY2560" fmla="*/ 4786279 h 6479439"/>
              <a:gd name="connsiteX2561" fmla="*/ 1689115 w 9586368"/>
              <a:gd name="connsiteY2561" fmla="*/ 4786279 h 6479439"/>
              <a:gd name="connsiteX2562" fmla="*/ 1693134 w 9586368"/>
              <a:gd name="connsiteY2562" fmla="*/ 4790317 h 6479439"/>
              <a:gd name="connsiteX2563" fmla="*/ 1693134 w 9586368"/>
              <a:gd name="connsiteY2563" fmla="*/ 4800188 h 6479439"/>
              <a:gd name="connsiteX2564" fmla="*/ 1689115 w 9586368"/>
              <a:gd name="connsiteY2564" fmla="*/ 4804227 h 6479439"/>
              <a:gd name="connsiteX2565" fmla="*/ 1679205 w 9586368"/>
              <a:gd name="connsiteY2565" fmla="*/ 4804227 h 6479439"/>
              <a:gd name="connsiteX2566" fmla="*/ 1675187 w 9586368"/>
              <a:gd name="connsiteY2566" fmla="*/ 4800188 h 6479439"/>
              <a:gd name="connsiteX2567" fmla="*/ 1675187 w 9586368"/>
              <a:gd name="connsiteY2567" fmla="*/ 4790317 h 6479439"/>
              <a:gd name="connsiteX2568" fmla="*/ 1439890 w 9586368"/>
              <a:gd name="connsiteY2568" fmla="*/ 4786279 h 6479439"/>
              <a:gd name="connsiteX2569" fmla="*/ 1449800 w 9586368"/>
              <a:gd name="connsiteY2569" fmla="*/ 4786279 h 6479439"/>
              <a:gd name="connsiteX2570" fmla="*/ 1453818 w 9586368"/>
              <a:gd name="connsiteY2570" fmla="*/ 4790317 h 6479439"/>
              <a:gd name="connsiteX2571" fmla="*/ 1453818 w 9586368"/>
              <a:gd name="connsiteY2571" fmla="*/ 4800188 h 6479439"/>
              <a:gd name="connsiteX2572" fmla="*/ 1449800 w 9586368"/>
              <a:gd name="connsiteY2572" fmla="*/ 4804227 h 6479439"/>
              <a:gd name="connsiteX2573" fmla="*/ 1439890 w 9586368"/>
              <a:gd name="connsiteY2573" fmla="*/ 4804227 h 6479439"/>
              <a:gd name="connsiteX2574" fmla="*/ 1435870 w 9586368"/>
              <a:gd name="connsiteY2574" fmla="*/ 4800188 h 6479439"/>
              <a:gd name="connsiteX2575" fmla="*/ 1435870 w 9586368"/>
              <a:gd name="connsiteY2575" fmla="*/ 4790317 h 6479439"/>
              <a:gd name="connsiteX2576" fmla="*/ 1200574 w 9586368"/>
              <a:gd name="connsiteY2576" fmla="*/ 4786279 h 6479439"/>
              <a:gd name="connsiteX2577" fmla="*/ 1210484 w 9586368"/>
              <a:gd name="connsiteY2577" fmla="*/ 4786279 h 6479439"/>
              <a:gd name="connsiteX2578" fmla="*/ 1214503 w 9586368"/>
              <a:gd name="connsiteY2578" fmla="*/ 4790317 h 6479439"/>
              <a:gd name="connsiteX2579" fmla="*/ 1214503 w 9586368"/>
              <a:gd name="connsiteY2579" fmla="*/ 4800188 h 6479439"/>
              <a:gd name="connsiteX2580" fmla="*/ 1210484 w 9586368"/>
              <a:gd name="connsiteY2580" fmla="*/ 4804227 h 6479439"/>
              <a:gd name="connsiteX2581" fmla="*/ 1200574 w 9586368"/>
              <a:gd name="connsiteY2581" fmla="*/ 4804227 h 6479439"/>
              <a:gd name="connsiteX2582" fmla="*/ 1196555 w 9586368"/>
              <a:gd name="connsiteY2582" fmla="*/ 4800188 h 6479439"/>
              <a:gd name="connsiteX2583" fmla="*/ 1196555 w 9586368"/>
              <a:gd name="connsiteY2583" fmla="*/ 4790317 h 6479439"/>
              <a:gd name="connsiteX2584" fmla="*/ 961262 w 9586368"/>
              <a:gd name="connsiteY2584" fmla="*/ 4786279 h 6479439"/>
              <a:gd name="connsiteX2585" fmla="*/ 971172 w 9586368"/>
              <a:gd name="connsiteY2585" fmla="*/ 4786279 h 6479439"/>
              <a:gd name="connsiteX2586" fmla="*/ 975190 w 9586368"/>
              <a:gd name="connsiteY2586" fmla="*/ 4790317 h 6479439"/>
              <a:gd name="connsiteX2587" fmla="*/ 975190 w 9586368"/>
              <a:gd name="connsiteY2587" fmla="*/ 4800188 h 6479439"/>
              <a:gd name="connsiteX2588" fmla="*/ 971172 w 9586368"/>
              <a:gd name="connsiteY2588" fmla="*/ 4804227 h 6479439"/>
              <a:gd name="connsiteX2589" fmla="*/ 961262 w 9586368"/>
              <a:gd name="connsiteY2589" fmla="*/ 4804227 h 6479439"/>
              <a:gd name="connsiteX2590" fmla="*/ 957242 w 9586368"/>
              <a:gd name="connsiteY2590" fmla="*/ 4800188 h 6479439"/>
              <a:gd name="connsiteX2591" fmla="*/ 957242 w 9586368"/>
              <a:gd name="connsiteY2591" fmla="*/ 4790317 h 6479439"/>
              <a:gd name="connsiteX2592" fmla="*/ 721963 w 9586368"/>
              <a:gd name="connsiteY2592" fmla="*/ 4786279 h 6479439"/>
              <a:gd name="connsiteX2593" fmla="*/ 731873 w 9586368"/>
              <a:gd name="connsiteY2593" fmla="*/ 4786279 h 6479439"/>
              <a:gd name="connsiteX2594" fmla="*/ 735892 w 9586368"/>
              <a:gd name="connsiteY2594" fmla="*/ 4790317 h 6479439"/>
              <a:gd name="connsiteX2595" fmla="*/ 735892 w 9586368"/>
              <a:gd name="connsiteY2595" fmla="*/ 4800188 h 6479439"/>
              <a:gd name="connsiteX2596" fmla="*/ 731873 w 9586368"/>
              <a:gd name="connsiteY2596" fmla="*/ 4804227 h 6479439"/>
              <a:gd name="connsiteX2597" fmla="*/ 721963 w 9586368"/>
              <a:gd name="connsiteY2597" fmla="*/ 4804227 h 6479439"/>
              <a:gd name="connsiteX2598" fmla="*/ 717944 w 9586368"/>
              <a:gd name="connsiteY2598" fmla="*/ 4800188 h 6479439"/>
              <a:gd name="connsiteX2599" fmla="*/ 717944 w 9586368"/>
              <a:gd name="connsiteY2599" fmla="*/ 4790317 h 6479439"/>
              <a:gd name="connsiteX2600" fmla="*/ 482651 w 9586368"/>
              <a:gd name="connsiteY2600" fmla="*/ 4786279 h 6479439"/>
              <a:gd name="connsiteX2601" fmla="*/ 492561 w 9586368"/>
              <a:gd name="connsiteY2601" fmla="*/ 4786279 h 6479439"/>
              <a:gd name="connsiteX2602" fmla="*/ 496580 w 9586368"/>
              <a:gd name="connsiteY2602" fmla="*/ 4790317 h 6479439"/>
              <a:gd name="connsiteX2603" fmla="*/ 496580 w 9586368"/>
              <a:gd name="connsiteY2603" fmla="*/ 4800188 h 6479439"/>
              <a:gd name="connsiteX2604" fmla="*/ 492561 w 9586368"/>
              <a:gd name="connsiteY2604" fmla="*/ 4804227 h 6479439"/>
              <a:gd name="connsiteX2605" fmla="*/ 482651 w 9586368"/>
              <a:gd name="connsiteY2605" fmla="*/ 4804227 h 6479439"/>
              <a:gd name="connsiteX2606" fmla="*/ 478632 w 9586368"/>
              <a:gd name="connsiteY2606" fmla="*/ 4800188 h 6479439"/>
              <a:gd name="connsiteX2607" fmla="*/ 478632 w 9586368"/>
              <a:gd name="connsiteY2607" fmla="*/ 4790317 h 6479439"/>
              <a:gd name="connsiteX2608" fmla="*/ 243338 w 9586368"/>
              <a:gd name="connsiteY2608" fmla="*/ 4786279 h 6479439"/>
              <a:gd name="connsiteX2609" fmla="*/ 253247 w 9586368"/>
              <a:gd name="connsiteY2609" fmla="*/ 4786279 h 6479439"/>
              <a:gd name="connsiteX2610" fmla="*/ 257266 w 9586368"/>
              <a:gd name="connsiteY2610" fmla="*/ 4790317 h 6479439"/>
              <a:gd name="connsiteX2611" fmla="*/ 257266 w 9586368"/>
              <a:gd name="connsiteY2611" fmla="*/ 4800188 h 6479439"/>
              <a:gd name="connsiteX2612" fmla="*/ 253247 w 9586368"/>
              <a:gd name="connsiteY2612" fmla="*/ 4804227 h 6479439"/>
              <a:gd name="connsiteX2613" fmla="*/ 243338 w 9586368"/>
              <a:gd name="connsiteY2613" fmla="*/ 4804227 h 6479439"/>
              <a:gd name="connsiteX2614" fmla="*/ 239318 w 9586368"/>
              <a:gd name="connsiteY2614" fmla="*/ 4800188 h 6479439"/>
              <a:gd name="connsiteX2615" fmla="*/ 239318 w 9586368"/>
              <a:gd name="connsiteY2615" fmla="*/ 4790317 h 6479439"/>
              <a:gd name="connsiteX2616" fmla="*/ 4024 w 9586368"/>
              <a:gd name="connsiteY2616" fmla="*/ 4786279 h 6479439"/>
              <a:gd name="connsiteX2617" fmla="*/ 13934 w 9586368"/>
              <a:gd name="connsiteY2617" fmla="*/ 4786279 h 6479439"/>
              <a:gd name="connsiteX2618" fmla="*/ 17954 w 9586368"/>
              <a:gd name="connsiteY2618" fmla="*/ 4790317 h 6479439"/>
              <a:gd name="connsiteX2619" fmla="*/ 17954 w 9586368"/>
              <a:gd name="connsiteY2619" fmla="*/ 4800188 h 6479439"/>
              <a:gd name="connsiteX2620" fmla="*/ 13934 w 9586368"/>
              <a:gd name="connsiteY2620" fmla="*/ 4804227 h 6479439"/>
              <a:gd name="connsiteX2621" fmla="*/ 4024 w 9586368"/>
              <a:gd name="connsiteY2621" fmla="*/ 4804227 h 6479439"/>
              <a:gd name="connsiteX2622" fmla="*/ 5 w 9586368"/>
              <a:gd name="connsiteY2622" fmla="*/ 4800188 h 6479439"/>
              <a:gd name="connsiteX2623" fmla="*/ 5 w 9586368"/>
              <a:gd name="connsiteY2623" fmla="*/ 4790317 h 6479439"/>
              <a:gd name="connsiteX2624" fmla="*/ 2157819 w 9586368"/>
              <a:gd name="connsiteY2624" fmla="*/ 4546999 h 6479439"/>
              <a:gd name="connsiteX2625" fmla="*/ 2167729 w 9586368"/>
              <a:gd name="connsiteY2625" fmla="*/ 4546999 h 6479439"/>
              <a:gd name="connsiteX2626" fmla="*/ 2171748 w 9586368"/>
              <a:gd name="connsiteY2626" fmla="*/ 4551038 h 6479439"/>
              <a:gd name="connsiteX2627" fmla="*/ 2171748 w 9586368"/>
              <a:gd name="connsiteY2627" fmla="*/ 4560909 h 6479439"/>
              <a:gd name="connsiteX2628" fmla="*/ 2167729 w 9586368"/>
              <a:gd name="connsiteY2628" fmla="*/ 4564948 h 6479439"/>
              <a:gd name="connsiteX2629" fmla="*/ 2157819 w 9586368"/>
              <a:gd name="connsiteY2629" fmla="*/ 4564948 h 6479439"/>
              <a:gd name="connsiteX2630" fmla="*/ 2153801 w 9586368"/>
              <a:gd name="connsiteY2630" fmla="*/ 4560909 h 6479439"/>
              <a:gd name="connsiteX2631" fmla="*/ 2153801 w 9586368"/>
              <a:gd name="connsiteY2631" fmla="*/ 4551038 h 6479439"/>
              <a:gd name="connsiteX2632" fmla="*/ 1918510 w 9586368"/>
              <a:gd name="connsiteY2632" fmla="*/ 4546999 h 6479439"/>
              <a:gd name="connsiteX2633" fmla="*/ 1928421 w 9586368"/>
              <a:gd name="connsiteY2633" fmla="*/ 4546999 h 6479439"/>
              <a:gd name="connsiteX2634" fmla="*/ 1932440 w 9586368"/>
              <a:gd name="connsiteY2634" fmla="*/ 4551038 h 6479439"/>
              <a:gd name="connsiteX2635" fmla="*/ 1932440 w 9586368"/>
              <a:gd name="connsiteY2635" fmla="*/ 4560909 h 6479439"/>
              <a:gd name="connsiteX2636" fmla="*/ 1928421 w 9586368"/>
              <a:gd name="connsiteY2636" fmla="*/ 4564948 h 6479439"/>
              <a:gd name="connsiteX2637" fmla="*/ 1918510 w 9586368"/>
              <a:gd name="connsiteY2637" fmla="*/ 4564948 h 6479439"/>
              <a:gd name="connsiteX2638" fmla="*/ 1914492 w 9586368"/>
              <a:gd name="connsiteY2638" fmla="*/ 4560909 h 6479439"/>
              <a:gd name="connsiteX2639" fmla="*/ 1914492 w 9586368"/>
              <a:gd name="connsiteY2639" fmla="*/ 4551038 h 6479439"/>
              <a:gd name="connsiteX2640" fmla="*/ 1679206 w 9586368"/>
              <a:gd name="connsiteY2640" fmla="*/ 4546999 h 6479439"/>
              <a:gd name="connsiteX2641" fmla="*/ 1689116 w 9586368"/>
              <a:gd name="connsiteY2641" fmla="*/ 4546999 h 6479439"/>
              <a:gd name="connsiteX2642" fmla="*/ 1693134 w 9586368"/>
              <a:gd name="connsiteY2642" fmla="*/ 4551038 h 6479439"/>
              <a:gd name="connsiteX2643" fmla="*/ 1693134 w 9586368"/>
              <a:gd name="connsiteY2643" fmla="*/ 4560909 h 6479439"/>
              <a:gd name="connsiteX2644" fmla="*/ 1689116 w 9586368"/>
              <a:gd name="connsiteY2644" fmla="*/ 4564948 h 6479439"/>
              <a:gd name="connsiteX2645" fmla="*/ 1679206 w 9586368"/>
              <a:gd name="connsiteY2645" fmla="*/ 4564948 h 6479439"/>
              <a:gd name="connsiteX2646" fmla="*/ 1675187 w 9586368"/>
              <a:gd name="connsiteY2646" fmla="*/ 4560909 h 6479439"/>
              <a:gd name="connsiteX2647" fmla="*/ 1675187 w 9586368"/>
              <a:gd name="connsiteY2647" fmla="*/ 4551038 h 6479439"/>
              <a:gd name="connsiteX2648" fmla="*/ 1439890 w 9586368"/>
              <a:gd name="connsiteY2648" fmla="*/ 4546999 h 6479439"/>
              <a:gd name="connsiteX2649" fmla="*/ 1449800 w 9586368"/>
              <a:gd name="connsiteY2649" fmla="*/ 4546999 h 6479439"/>
              <a:gd name="connsiteX2650" fmla="*/ 1453819 w 9586368"/>
              <a:gd name="connsiteY2650" fmla="*/ 4551038 h 6479439"/>
              <a:gd name="connsiteX2651" fmla="*/ 1453819 w 9586368"/>
              <a:gd name="connsiteY2651" fmla="*/ 4560909 h 6479439"/>
              <a:gd name="connsiteX2652" fmla="*/ 1449800 w 9586368"/>
              <a:gd name="connsiteY2652" fmla="*/ 4564948 h 6479439"/>
              <a:gd name="connsiteX2653" fmla="*/ 1439890 w 9586368"/>
              <a:gd name="connsiteY2653" fmla="*/ 4564948 h 6479439"/>
              <a:gd name="connsiteX2654" fmla="*/ 1435871 w 9586368"/>
              <a:gd name="connsiteY2654" fmla="*/ 4560909 h 6479439"/>
              <a:gd name="connsiteX2655" fmla="*/ 1435871 w 9586368"/>
              <a:gd name="connsiteY2655" fmla="*/ 4551038 h 6479439"/>
              <a:gd name="connsiteX2656" fmla="*/ 1200575 w 9586368"/>
              <a:gd name="connsiteY2656" fmla="*/ 4546999 h 6479439"/>
              <a:gd name="connsiteX2657" fmla="*/ 1210485 w 9586368"/>
              <a:gd name="connsiteY2657" fmla="*/ 4546999 h 6479439"/>
              <a:gd name="connsiteX2658" fmla="*/ 1214504 w 9586368"/>
              <a:gd name="connsiteY2658" fmla="*/ 4551038 h 6479439"/>
              <a:gd name="connsiteX2659" fmla="*/ 1214504 w 9586368"/>
              <a:gd name="connsiteY2659" fmla="*/ 4560909 h 6479439"/>
              <a:gd name="connsiteX2660" fmla="*/ 1210485 w 9586368"/>
              <a:gd name="connsiteY2660" fmla="*/ 4564948 h 6479439"/>
              <a:gd name="connsiteX2661" fmla="*/ 1200575 w 9586368"/>
              <a:gd name="connsiteY2661" fmla="*/ 4564948 h 6479439"/>
              <a:gd name="connsiteX2662" fmla="*/ 1196556 w 9586368"/>
              <a:gd name="connsiteY2662" fmla="*/ 4560909 h 6479439"/>
              <a:gd name="connsiteX2663" fmla="*/ 1196556 w 9586368"/>
              <a:gd name="connsiteY2663" fmla="*/ 4551038 h 6479439"/>
              <a:gd name="connsiteX2664" fmla="*/ 961262 w 9586368"/>
              <a:gd name="connsiteY2664" fmla="*/ 4546999 h 6479439"/>
              <a:gd name="connsiteX2665" fmla="*/ 971172 w 9586368"/>
              <a:gd name="connsiteY2665" fmla="*/ 4546999 h 6479439"/>
              <a:gd name="connsiteX2666" fmla="*/ 975191 w 9586368"/>
              <a:gd name="connsiteY2666" fmla="*/ 4551038 h 6479439"/>
              <a:gd name="connsiteX2667" fmla="*/ 975191 w 9586368"/>
              <a:gd name="connsiteY2667" fmla="*/ 4560909 h 6479439"/>
              <a:gd name="connsiteX2668" fmla="*/ 971172 w 9586368"/>
              <a:gd name="connsiteY2668" fmla="*/ 4564948 h 6479439"/>
              <a:gd name="connsiteX2669" fmla="*/ 961262 w 9586368"/>
              <a:gd name="connsiteY2669" fmla="*/ 4564948 h 6479439"/>
              <a:gd name="connsiteX2670" fmla="*/ 957243 w 9586368"/>
              <a:gd name="connsiteY2670" fmla="*/ 4560909 h 6479439"/>
              <a:gd name="connsiteX2671" fmla="*/ 957243 w 9586368"/>
              <a:gd name="connsiteY2671" fmla="*/ 4551038 h 6479439"/>
              <a:gd name="connsiteX2672" fmla="*/ 9572438 w 9586368"/>
              <a:gd name="connsiteY2672" fmla="*/ 4546948 h 6479439"/>
              <a:gd name="connsiteX2673" fmla="*/ 9582349 w 9586368"/>
              <a:gd name="connsiteY2673" fmla="*/ 4546948 h 6479439"/>
              <a:gd name="connsiteX2674" fmla="*/ 9586368 w 9586368"/>
              <a:gd name="connsiteY2674" fmla="*/ 4550987 h 6479439"/>
              <a:gd name="connsiteX2675" fmla="*/ 9586368 w 9586368"/>
              <a:gd name="connsiteY2675" fmla="*/ 4560858 h 6479439"/>
              <a:gd name="connsiteX2676" fmla="*/ 9582349 w 9586368"/>
              <a:gd name="connsiteY2676" fmla="*/ 4564897 h 6479439"/>
              <a:gd name="connsiteX2677" fmla="*/ 9572438 w 9586368"/>
              <a:gd name="connsiteY2677" fmla="*/ 4564897 h 6479439"/>
              <a:gd name="connsiteX2678" fmla="*/ 9568419 w 9586368"/>
              <a:gd name="connsiteY2678" fmla="*/ 4560858 h 6479439"/>
              <a:gd name="connsiteX2679" fmla="*/ 9568419 w 9586368"/>
              <a:gd name="connsiteY2679" fmla="*/ 4550987 h 6479439"/>
              <a:gd name="connsiteX2680" fmla="*/ 9333125 w 9586368"/>
              <a:gd name="connsiteY2680" fmla="*/ 4546948 h 6479439"/>
              <a:gd name="connsiteX2681" fmla="*/ 9343036 w 9586368"/>
              <a:gd name="connsiteY2681" fmla="*/ 4546948 h 6479439"/>
              <a:gd name="connsiteX2682" fmla="*/ 9347055 w 9586368"/>
              <a:gd name="connsiteY2682" fmla="*/ 4550987 h 6479439"/>
              <a:gd name="connsiteX2683" fmla="*/ 9347055 w 9586368"/>
              <a:gd name="connsiteY2683" fmla="*/ 4560858 h 6479439"/>
              <a:gd name="connsiteX2684" fmla="*/ 9343036 w 9586368"/>
              <a:gd name="connsiteY2684" fmla="*/ 4564897 h 6479439"/>
              <a:gd name="connsiteX2685" fmla="*/ 9333125 w 9586368"/>
              <a:gd name="connsiteY2685" fmla="*/ 4564897 h 6479439"/>
              <a:gd name="connsiteX2686" fmla="*/ 9329106 w 9586368"/>
              <a:gd name="connsiteY2686" fmla="*/ 4560858 h 6479439"/>
              <a:gd name="connsiteX2687" fmla="*/ 9329106 w 9586368"/>
              <a:gd name="connsiteY2687" fmla="*/ 4550987 h 6479439"/>
              <a:gd name="connsiteX2688" fmla="*/ 9093811 w 9586368"/>
              <a:gd name="connsiteY2688" fmla="*/ 4546948 h 6479439"/>
              <a:gd name="connsiteX2689" fmla="*/ 9103722 w 9586368"/>
              <a:gd name="connsiteY2689" fmla="*/ 4546948 h 6479439"/>
              <a:gd name="connsiteX2690" fmla="*/ 9107741 w 9586368"/>
              <a:gd name="connsiteY2690" fmla="*/ 4550987 h 6479439"/>
              <a:gd name="connsiteX2691" fmla="*/ 9107741 w 9586368"/>
              <a:gd name="connsiteY2691" fmla="*/ 4560858 h 6479439"/>
              <a:gd name="connsiteX2692" fmla="*/ 9103722 w 9586368"/>
              <a:gd name="connsiteY2692" fmla="*/ 4564897 h 6479439"/>
              <a:gd name="connsiteX2693" fmla="*/ 9093811 w 9586368"/>
              <a:gd name="connsiteY2693" fmla="*/ 4564897 h 6479439"/>
              <a:gd name="connsiteX2694" fmla="*/ 9089792 w 9586368"/>
              <a:gd name="connsiteY2694" fmla="*/ 4560858 h 6479439"/>
              <a:gd name="connsiteX2695" fmla="*/ 9089792 w 9586368"/>
              <a:gd name="connsiteY2695" fmla="*/ 4550987 h 6479439"/>
              <a:gd name="connsiteX2696" fmla="*/ 8854496 w 9586368"/>
              <a:gd name="connsiteY2696" fmla="*/ 4546948 h 6479439"/>
              <a:gd name="connsiteX2697" fmla="*/ 8864407 w 9586368"/>
              <a:gd name="connsiteY2697" fmla="*/ 4546948 h 6479439"/>
              <a:gd name="connsiteX2698" fmla="*/ 8868426 w 9586368"/>
              <a:gd name="connsiteY2698" fmla="*/ 4550987 h 6479439"/>
              <a:gd name="connsiteX2699" fmla="*/ 8868426 w 9586368"/>
              <a:gd name="connsiteY2699" fmla="*/ 4560858 h 6479439"/>
              <a:gd name="connsiteX2700" fmla="*/ 8864407 w 9586368"/>
              <a:gd name="connsiteY2700" fmla="*/ 4564897 h 6479439"/>
              <a:gd name="connsiteX2701" fmla="*/ 8854496 w 9586368"/>
              <a:gd name="connsiteY2701" fmla="*/ 4564897 h 6479439"/>
              <a:gd name="connsiteX2702" fmla="*/ 8850477 w 9586368"/>
              <a:gd name="connsiteY2702" fmla="*/ 4560858 h 6479439"/>
              <a:gd name="connsiteX2703" fmla="*/ 8850477 w 9586368"/>
              <a:gd name="connsiteY2703" fmla="*/ 4550987 h 6479439"/>
              <a:gd name="connsiteX2704" fmla="*/ 8615184 w 9586368"/>
              <a:gd name="connsiteY2704" fmla="*/ 4546948 h 6479439"/>
              <a:gd name="connsiteX2705" fmla="*/ 8625095 w 9586368"/>
              <a:gd name="connsiteY2705" fmla="*/ 4546948 h 6479439"/>
              <a:gd name="connsiteX2706" fmla="*/ 8629114 w 9586368"/>
              <a:gd name="connsiteY2706" fmla="*/ 4550987 h 6479439"/>
              <a:gd name="connsiteX2707" fmla="*/ 8629114 w 9586368"/>
              <a:gd name="connsiteY2707" fmla="*/ 4560858 h 6479439"/>
              <a:gd name="connsiteX2708" fmla="*/ 8625095 w 9586368"/>
              <a:gd name="connsiteY2708" fmla="*/ 4564897 h 6479439"/>
              <a:gd name="connsiteX2709" fmla="*/ 8615184 w 9586368"/>
              <a:gd name="connsiteY2709" fmla="*/ 4564897 h 6479439"/>
              <a:gd name="connsiteX2710" fmla="*/ 8611165 w 9586368"/>
              <a:gd name="connsiteY2710" fmla="*/ 4560858 h 6479439"/>
              <a:gd name="connsiteX2711" fmla="*/ 8611165 w 9586368"/>
              <a:gd name="connsiteY2711" fmla="*/ 4550987 h 6479439"/>
              <a:gd name="connsiteX2712" fmla="*/ 8375869 w 9586368"/>
              <a:gd name="connsiteY2712" fmla="*/ 4546948 h 6479439"/>
              <a:gd name="connsiteX2713" fmla="*/ 8385779 w 9586368"/>
              <a:gd name="connsiteY2713" fmla="*/ 4546948 h 6479439"/>
              <a:gd name="connsiteX2714" fmla="*/ 8389799 w 9586368"/>
              <a:gd name="connsiteY2714" fmla="*/ 4550987 h 6479439"/>
              <a:gd name="connsiteX2715" fmla="*/ 8389799 w 9586368"/>
              <a:gd name="connsiteY2715" fmla="*/ 4560858 h 6479439"/>
              <a:gd name="connsiteX2716" fmla="*/ 8385779 w 9586368"/>
              <a:gd name="connsiteY2716" fmla="*/ 4564897 h 6479439"/>
              <a:gd name="connsiteX2717" fmla="*/ 8375869 w 9586368"/>
              <a:gd name="connsiteY2717" fmla="*/ 4564897 h 6479439"/>
              <a:gd name="connsiteX2718" fmla="*/ 8371850 w 9586368"/>
              <a:gd name="connsiteY2718" fmla="*/ 4560858 h 6479439"/>
              <a:gd name="connsiteX2719" fmla="*/ 8371850 w 9586368"/>
              <a:gd name="connsiteY2719" fmla="*/ 4550987 h 6479439"/>
              <a:gd name="connsiteX2720" fmla="*/ 8136553 w 9586368"/>
              <a:gd name="connsiteY2720" fmla="*/ 4546948 h 6479439"/>
              <a:gd name="connsiteX2721" fmla="*/ 8146464 w 9586368"/>
              <a:gd name="connsiteY2721" fmla="*/ 4546948 h 6479439"/>
              <a:gd name="connsiteX2722" fmla="*/ 8150483 w 9586368"/>
              <a:gd name="connsiteY2722" fmla="*/ 4550987 h 6479439"/>
              <a:gd name="connsiteX2723" fmla="*/ 8150483 w 9586368"/>
              <a:gd name="connsiteY2723" fmla="*/ 4560858 h 6479439"/>
              <a:gd name="connsiteX2724" fmla="*/ 8146464 w 9586368"/>
              <a:gd name="connsiteY2724" fmla="*/ 4564897 h 6479439"/>
              <a:gd name="connsiteX2725" fmla="*/ 8136553 w 9586368"/>
              <a:gd name="connsiteY2725" fmla="*/ 4564897 h 6479439"/>
              <a:gd name="connsiteX2726" fmla="*/ 8132534 w 9586368"/>
              <a:gd name="connsiteY2726" fmla="*/ 4560858 h 6479439"/>
              <a:gd name="connsiteX2727" fmla="*/ 8132534 w 9586368"/>
              <a:gd name="connsiteY2727" fmla="*/ 4550987 h 6479439"/>
              <a:gd name="connsiteX2728" fmla="*/ 7897241 w 9586368"/>
              <a:gd name="connsiteY2728" fmla="*/ 4546948 h 6479439"/>
              <a:gd name="connsiteX2729" fmla="*/ 7907151 w 9586368"/>
              <a:gd name="connsiteY2729" fmla="*/ 4546948 h 6479439"/>
              <a:gd name="connsiteX2730" fmla="*/ 7911170 w 9586368"/>
              <a:gd name="connsiteY2730" fmla="*/ 4550987 h 6479439"/>
              <a:gd name="connsiteX2731" fmla="*/ 7911170 w 9586368"/>
              <a:gd name="connsiteY2731" fmla="*/ 4560858 h 6479439"/>
              <a:gd name="connsiteX2732" fmla="*/ 7907151 w 9586368"/>
              <a:gd name="connsiteY2732" fmla="*/ 4564897 h 6479439"/>
              <a:gd name="connsiteX2733" fmla="*/ 7897241 w 9586368"/>
              <a:gd name="connsiteY2733" fmla="*/ 4564897 h 6479439"/>
              <a:gd name="connsiteX2734" fmla="*/ 7893222 w 9586368"/>
              <a:gd name="connsiteY2734" fmla="*/ 4560858 h 6479439"/>
              <a:gd name="connsiteX2735" fmla="*/ 7893222 w 9586368"/>
              <a:gd name="connsiteY2735" fmla="*/ 4550987 h 6479439"/>
              <a:gd name="connsiteX2736" fmla="*/ 7657926 w 9586368"/>
              <a:gd name="connsiteY2736" fmla="*/ 4546948 h 6479439"/>
              <a:gd name="connsiteX2737" fmla="*/ 7667836 w 9586368"/>
              <a:gd name="connsiteY2737" fmla="*/ 4546948 h 6479439"/>
              <a:gd name="connsiteX2738" fmla="*/ 7671855 w 9586368"/>
              <a:gd name="connsiteY2738" fmla="*/ 4550987 h 6479439"/>
              <a:gd name="connsiteX2739" fmla="*/ 7671855 w 9586368"/>
              <a:gd name="connsiteY2739" fmla="*/ 4560858 h 6479439"/>
              <a:gd name="connsiteX2740" fmla="*/ 7667836 w 9586368"/>
              <a:gd name="connsiteY2740" fmla="*/ 4564897 h 6479439"/>
              <a:gd name="connsiteX2741" fmla="*/ 7657926 w 9586368"/>
              <a:gd name="connsiteY2741" fmla="*/ 4564897 h 6479439"/>
              <a:gd name="connsiteX2742" fmla="*/ 7653906 w 9586368"/>
              <a:gd name="connsiteY2742" fmla="*/ 4560858 h 6479439"/>
              <a:gd name="connsiteX2743" fmla="*/ 7653906 w 9586368"/>
              <a:gd name="connsiteY2743" fmla="*/ 4550987 h 6479439"/>
              <a:gd name="connsiteX2744" fmla="*/ 7418611 w 9586368"/>
              <a:gd name="connsiteY2744" fmla="*/ 4546948 h 6479439"/>
              <a:gd name="connsiteX2745" fmla="*/ 7428521 w 9586368"/>
              <a:gd name="connsiteY2745" fmla="*/ 4546948 h 6479439"/>
              <a:gd name="connsiteX2746" fmla="*/ 7432540 w 9586368"/>
              <a:gd name="connsiteY2746" fmla="*/ 4550987 h 6479439"/>
              <a:gd name="connsiteX2747" fmla="*/ 7432540 w 9586368"/>
              <a:gd name="connsiteY2747" fmla="*/ 4560858 h 6479439"/>
              <a:gd name="connsiteX2748" fmla="*/ 7428521 w 9586368"/>
              <a:gd name="connsiteY2748" fmla="*/ 4564897 h 6479439"/>
              <a:gd name="connsiteX2749" fmla="*/ 7418611 w 9586368"/>
              <a:gd name="connsiteY2749" fmla="*/ 4564897 h 6479439"/>
              <a:gd name="connsiteX2750" fmla="*/ 7414592 w 9586368"/>
              <a:gd name="connsiteY2750" fmla="*/ 4560858 h 6479439"/>
              <a:gd name="connsiteX2751" fmla="*/ 7414592 w 9586368"/>
              <a:gd name="connsiteY2751" fmla="*/ 4550987 h 6479439"/>
              <a:gd name="connsiteX2752" fmla="*/ 7179298 w 9586368"/>
              <a:gd name="connsiteY2752" fmla="*/ 4546948 h 6479439"/>
              <a:gd name="connsiteX2753" fmla="*/ 7189209 w 9586368"/>
              <a:gd name="connsiteY2753" fmla="*/ 4546948 h 6479439"/>
              <a:gd name="connsiteX2754" fmla="*/ 7193228 w 9586368"/>
              <a:gd name="connsiteY2754" fmla="*/ 4550987 h 6479439"/>
              <a:gd name="connsiteX2755" fmla="*/ 7193228 w 9586368"/>
              <a:gd name="connsiteY2755" fmla="*/ 4560858 h 6479439"/>
              <a:gd name="connsiteX2756" fmla="*/ 7189209 w 9586368"/>
              <a:gd name="connsiteY2756" fmla="*/ 4564897 h 6479439"/>
              <a:gd name="connsiteX2757" fmla="*/ 7179298 w 9586368"/>
              <a:gd name="connsiteY2757" fmla="*/ 4564897 h 6479439"/>
              <a:gd name="connsiteX2758" fmla="*/ 7175279 w 9586368"/>
              <a:gd name="connsiteY2758" fmla="*/ 4560858 h 6479439"/>
              <a:gd name="connsiteX2759" fmla="*/ 7175279 w 9586368"/>
              <a:gd name="connsiteY2759" fmla="*/ 4550987 h 6479439"/>
              <a:gd name="connsiteX2760" fmla="*/ 6939983 w 9586368"/>
              <a:gd name="connsiteY2760" fmla="*/ 4546948 h 6479439"/>
              <a:gd name="connsiteX2761" fmla="*/ 6949894 w 9586368"/>
              <a:gd name="connsiteY2761" fmla="*/ 4546948 h 6479439"/>
              <a:gd name="connsiteX2762" fmla="*/ 6953913 w 9586368"/>
              <a:gd name="connsiteY2762" fmla="*/ 4550987 h 6479439"/>
              <a:gd name="connsiteX2763" fmla="*/ 6953913 w 9586368"/>
              <a:gd name="connsiteY2763" fmla="*/ 4560858 h 6479439"/>
              <a:gd name="connsiteX2764" fmla="*/ 6949894 w 9586368"/>
              <a:gd name="connsiteY2764" fmla="*/ 4564897 h 6479439"/>
              <a:gd name="connsiteX2765" fmla="*/ 6939983 w 9586368"/>
              <a:gd name="connsiteY2765" fmla="*/ 4564897 h 6479439"/>
              <a:gd name="connsiteX2766" fmla="*/ 6935964 w 9586368"/>
              <a:gd name="connsiteY2766" fmla="*/ 4560858 h 6479439"/>
              <a:gd name="connsiteX2767" fmla="*/ 6935964 w 9586368"/>
              <a:gd name="connsiteY2767" fmla="*/ 4550987 h 6479439"/>
              <a:gd name="connsiteX2768" fmla="*/ 6700670 w 9586368"/>
              <a:gd name="connsiteY2768" fmla="*/ 4546948 h 6479439"/>
              <a:gd name="connsiteX2769" fmla="*/ 6710581 w 9586368"/>
              <a:gd name="connsiteY2769" fmla="*/ 4546948 h 6479439"/>
              <a:gd name="connsiteX2770" fmla="*/ 6714600 w 9586368"/>
              <a:gd name="connsiteY2770" fmla="*/ 4550987 h 6479439"/>
              <a:gd name="connsiteX2771" fmla="*/ 6714600 w 9586368"/>
              <a:gd name="connsiteY2771" fmla="*/ 4560858 h 6479439"/>
              <a:gd name="connsiteX2772" fmla="*/ 6710581 w 9586368"/>
              <a:gd name="connsiteY2772" fmla="*/ 4564897 h 6479439"/>
              <a:gd name="connsiteX2773" fmla="*/ 6700670 w 9586368"/>
              <a:gd name="connsiteY2773" fmla="*/ 4564897 h 6479439"/>
              <a:gd name="connsiteX2774" fmla="*/ 6696651 w 9586368"/>
              <a:gd name="connsiteY2774" fmla="*/ 4560858 h 6479439"/>
              <a:gd name="connsiteX2775" fmla="*/ 6696651 w 9586368"/>
              <a:gd name="connsiteY2775" fmla="*/ 4550987 h 6479439"/>
              <a:gd name="connsiteX2776" fmla="*/ 6461356 w 9586368"/>
              <a:gd name="connsiteY2776" fmla="*/ 4546948 h 6479439"/>
              <a:gd name="connsiteX2777" fmla="*/ 6471266 w 9586368"/>
              <a:gd name="connsiteY2777" fmla="*/ 4546948 h 6479439"/>
              <a:gd name="connsiteX2778" fmla="*/ 6475285 w 9586368"/>
              <a:gd name="connsiteY2778" fmla="*/ 4550987 h 6479439"/>
              <a:gd name="connsiteX2779" fmla="*/ 6475285 w 9586368"/>
              <a:gd name="connsiteY2779" fmla="*/ 4560858 h 6479439"/>
              <a:gd name="connsiteX2780" fmla="*/ 6471266 w 9586368"/>
              <a:gd name="connsiteY2780" fmla="*/ 4564897 h 6479439"/>
              <a:gd name="connsiteX2781" fmla="*/ 6461356 w 9586368"/>
              <a:gd name="connsiteY2781" fmla="*/ 4564897 h 6479439"/>
              <a:gd name="connsiteX2782" fmla="*/ 6457337 w 9586368"/>
              <a:gd name="connsiteY2782" fmla="*/ 4560858 h 6479439"/>
              <a:gd name="connsiteX2783" fmla="*/ 6457337 w 9586368"/>
              <a:gd name="connsiteY2783" fmla="*/ 4550987 h 6479439"/>
              <a:gd name="connsiteX2784" fmla="*/ 6222042 w 9586368"/>
              <a:gd name="connsiteY2784" fmla="*/ 4546948 h 6479439"/>
              <a:gd name="connsiteX2785" fmla="*/ 6231952 w 9586368"/>
              <a:gd name="connsiteY2785" fmla="*/ 4546948 h 6479439"/>
              <a:gd name="connsiteX2786" fmla="*/ 6235971 w 9586368"/>
              <a:gd name="connsiteY2786" fmla="*/ 4550987 h 6479439"/>
              <a:gd name="connsiteX2787" fmla="*/ 6235971 w 9586368"/>
              <a:gd name="connsiteY2787" fmla="*/ 4560858 h 6479439"/>
              <a:gd name="connsiteX2788" fmla="*/ 6231952 w 9586368"/>
              <a:gd name="connsiteY2788" fmla="*/ 4564897 h 6479439"/>
              <a:gd name="connsiteX2789" fmla="*/ 6222042 w 9586368"/>
              <a:gd name="connsiteY2789" fmla="*/ 4564897 h 6479439"/>
              <a:gd name="connsiteX2790" fmla="*/ 6218023 w 9586368"/>
              <a:gd name="connsiteY2790" fmla="*/ 4560858 h 6479439"/>
              <a:gd name="connsiteX2791" fmla="*/ 6218023 w 9586368"/>
              <a:gd name="connsiteY2791" fmla="*/ 4550987 h 6479439"/>
              <a:gd name="connsiteX2792" fmla="*/ 5982729 w 9586368"/>
              <a:gd name="connsiteY2792" fmla="*/ 4546948 h 6479439"/>
              <a:gd name="connsiteX2793" fmla="*/ 5992639 w 9586368"/>
              <a:gd name="connsiteY2793" fmla="*/ 4546948 h 6479439"/>
              <a:gd name="connsiteX2794" fmla="*/ 5996658 w 9586368"/>
              <a:gd name="connsiteY2794" fmla="*/ 4550987 h 6479439"/>
              <a:gd name="connsiteX2795" fmla="*/ 5996658 w 9586368"/>
              <a:gd name="connsiteY2795" fmla="*/ 4560858 h 6479439"/>
              <a:gd name="connsiteX2796" fmla="*/ 5992639 w 9586368"/>
              <a:gd name="connsiteY2796" fmla="*/ 4564897 h 6479439"/>
              <a:gd name="connsiteX2797" fmla="*/ 5982729 w 9586368"/>
              <a:gd name="connsiteY2797" fmla="*/ 4564897 h 6479439"/>
              <a:gd name="connsiteX2798" fmla="*/ 5978710 w 9586368"/>
              <a:gd name="connsiteY2798" fmla="*/ 4560858 h 6479439"/>
              <a:gd name="connsiteX2799" fmla="*/ 5978710 w 9586368"/>
              <a:gd name="connsiteY2799" fmla="*/ 4550987 h 6479439"/>
              <a:gd name="connsiteX2800" fmla="*/ 5743412 w 9586368"/>
              <a:gd name="connsiteY2800" fmla="*/ 4546948 h 6479439"/>
              <a:gd name="connsiteX2801" fmla="*/ 5753323 w 9586368"/>
              <a:gd name="connsiteY2801" fmla="*/ 4546948 h 6479439"/>
              <a:gd name="connsiteX2802" fmla="*/ 5757342 w 9586368"/>
              <a:gd name="connsiteY2802" fmla="*/ 4550987 h 6479439"/>
              <a:gd name="connsiteX2803" fmla="*/ 5757342 w 9586368"/>
              <a:gd name="connsiteY2803" fmla="*/ 4560858 h 6479439"/>
              <a:gd name="connsiteX2804" fmla="*/ 5753323 w 9586368"/>
              <a:gd name="connsiteY2804" fmla="*/ 4564897 h 6479439"/>
              <a:gd name="connsiteX2805" fmla="*/ 5743412 w 9586368"/>
              <a:gd name="connsiteY2805" fmla="*/ 4564897 h 6479439"/>
              <a:gd name="connsiteX2806" fmla="*/ 5739393 w 9586368"/>
              <a:gd name="connsiteY2806" fmla="*/ 4560858 h 6479439"/>
              <a:gd name="connsiteX2807" fmla="*/ 5739393 w 9586368"/>
              <a:gd name="connsiteY2807" fmla="*/ 4550987 h 6479439"/>
              <a:gd name="connsiteX2808" fmla="*/ 5504099 w 9586368"/>
              <a:gd name="connsiteY2808" fmla="*/ 4546948 h 6479439"/>
              <a:gd name="connsiteX2809" fmla="*/ 5514010 w 9586368"/>
              <a:gd name="connsiteY2809" fmla="*/ 4546948 h 6479439"/>
              <a:gd name="connsiteX2810" fmla="*/ 5518029 w 9586368"/>
              <a:gd name="connsiteY2810" fmla="*/ 4550987 h 6479439"/>
              <a:gd name="connsiteX2811" fmla="*/ 5518029 w 9586368"/>
              <a:gd name="connsiteY2811" fmla="*/ 4560858 h 6479439"/>
              <a:gd name="connsiteX2812" fmla="*/ 5514010 w 9586368"/>
              <a:gd name="connsiteY2812" fmla="*/ 4564897 h 6479439"/>
              <a:gd name="connsiteX2813" fmla="*/ 5504099 w 9586368"/>
              <a:gd name="connsiteY2813" fmla="*/ 4564897 h 6479439"/>
              <a:gd name="connsiteX2814" fmla="*/ 5500080 w 9586368"/>
              <a:gd name="connsiteY2814" fmla="*/ 4560858 h 6479439"/>
              <a:gd name="connsiteX2815" fmla="*/ 5500080 w 9586368"/>
              <a:gd name="connsiteY2815" fmla="*/ 4550987 h 6479439"/>
              <a:gd name="connsiteX2816" fmla="*/ 5264784 w 9586368"/>
              <a:gd name="connsiteY2816" fmla="*/ 4546948 h 6479439"/>
              <a:gd name="connsiteX2817" fmla="*/ 5274694 w 9586368"/>
              <a:gd name="connsiteY2817" fmla="*/ 4546948 h 6479439"/>
              <a:gd name="connsiteX2818" fmla="*/ 5278713 w 9586368"/>
              <a:gd name="connsiteY2818" fmla="*/ 4550987 h 6479439"/>
              <a:gd name="connsiteX2819" fmla="*/ 5278713 w 9586368"/>
              <a:gd name="connsiteY2819" fmla="*/ 4560858 h 6479439"/>
              <a:gd name="connsiteX2820" fmla="*/ 5274694 w 9586368"/>
              <a:gd name="connsiteY2820" fmla="*/ 4564897 h 6479439"/>
              <a:gd name="connsiteX2821" fmla="*/ 5264784 w 9586368"/>
              <a:gd name="connsiteY2821" fmla="*/ 4564897 h 6479439"/>
              <a:gd name="connsiteX2822" fmla="*/ 5260765 w 9586368"/>
              <a:gd name="connsiteY2822" fmla="*/ 4560858 h 6479439"/>
              <a:gd name="connsiteX2823" fmla="*/ 5260765 w 9586368"/>
              <a:gd name="connsiteY2823" fmla="*/ 4550987 h 6479439"/>
              <a:gd name="connsiteX2824" fmla="*/ 5025470 w 9586368"/>
              <a:gd name="connsiteY2824" fmla="*/ 4546948 h 6479439"/>
              <a:gd name="connsiteX2825" fmla="*/ 5035381 w 9586368"/>
              <a:gd name="connsiteY2825" fmla="*/ 4546948 h 6479439"/>
              <a:gd name="connsiteX2826" fmla="*/ 5039400 w 9586368"/>
              <a:gd name="connsiteY2826" fmla="*/ 4550987 h 6479439"/>
              <a:gd name="connsiteX2827" fmla="*/ 5039400 w 9586368"/>
              <a:gd name="connsiteY2827" fmla="*/ 4560858 h 6479439"/>
              <a:gd name="connsiteX2828" fmla="*/ 5035381 w 9586368"/>
              <a:gd name="connsiteY2828" fmla="*/ 4564897 h 6479439"/>
              <a:gd name="connsiteX2829" fmla="*/ 5025470 w 9586368"/>
              <a:gd name="connsiteY2829" fmla="*/ 4564897 h 6479439"/>
              <a:gd name="connsiteX2830" fmla="*/ 5021451 w 9586368"/>
              <a:gd name="connsiteY2830" fmla="*/ 4560858 h 6479439"/>
              <a:gd name="connsiteX2831" fmla="*/ 5021451 w 9586368"/>
              <a:gd name="connsiteY2831" fmla="*/ 4550987 h 6479439"/>
              <a:gd name="connsiteX2832" fmla="*/ 4786241 w 9586368"/>
              <a:gd name="connsiteY2832" fmla="*/ 4546948 h 6479439"/>
              <a:gd name="connsiteX2833" fmla="*/ 4796152 w 9586368"/>
              <a:gd name="connsiteY2833" fmla="*/ 4546948 h 6479439"/>
              <a:gd name="connsiteX2834" fmla="*/ 4800171 w 9586368"/>
              <a:gd name="connsiteY2834" fmla="*/ 4550987 h 6479439"/>
              <a:gd name="connsiteX2835" fmla="*/ 4800171 w 9586368"/>
              <a:gd name="connsiteY2835" fmla="*/ 4560858 h 6479439"/>
              <a:gd name="connsiteX2836" fmla="*/ 4796152 w 9586368"/>
              <a:gd name="connsiteY2836" fmla="*/ 4564897 h 6479439"/>
              <a:gd name="connsiteX2837" fmla="*/ 4786241 w 9586368"/>
              <a:gd name="connsiteY2837" fmla="*/ 4564897 h 6479439"/>
              <a:gd name="connsiteX2838" fmla="*/ 4782224 w 9586368"/>
              <a:gd name="connsiteY2838" fmla="*/ 4560858 h 6479439"/>
              <a:gd name="connsiteX2839" fmla="*/ 4782224 w 9586368"/>
              <a:gd name="connsiteY2839" fmla="*/ 4550987 h 6479439"/>
              <a:gd name="connsiteX2840" fmla="*/ 4546929 w 9586368"/>
              <a:gd name="connsiteY2840" fmla="*/ 4546948 h 6479439"/>
              <a:gd name="connsiteX2841" fmla="*/ 4556840 w 9586368"/>
              <a:gd name="connsiteY2841" fmla="*/ 4546948 h 6479439"/>
              <a:gd name="connsiteX2842" fmla="*/ 4560859 w 9586368"/>
              <a:gd name="connsiteY2842" fmla="*/ 4550987 h 6479439"/>
              <a:gd name="connsiteX2843" fmla="*/ 4560859 w 9586368"/>
              <a:gd name="connsiteY2843" fmla="*/ 4560858 h 6479439"/>
              <a:gd name="connsiteX2844" fmla="*/ 4556840 w 9586368"/>
              <a:gd name="connsiteY2844" fmla="*/ 4564897 h 6479439"/>
              <a:gd name="connsiteX2845" fmla="*/ 4546929 w 9586368"/>
              <a:gd name="connsiteY2845" fmla="*/ 4564897 h 6479439"/>
              <a:gd name="connsiteX2846" fmla="*/ 4542910 w 9586368"/>
              <a:gd name="connsiteY2846" fmla="*/ 4560858 h 6479439"/>
              <a:gd name="connsiteX2847" fmla="*/ 4542910 w 9586368"/>
              <a:gd name="connsiteY2847" fmla="*/ 4550987 h 6479439"/>
              <a:gd name="connsiteX2848" fmla="*/ 4307612 w 9586368"/>
              <a:gd name="connsiteY2848" fmla="*/ 4546948 h 6479439"/>
              <a:gd name="connsiteX2849" fmla="*/ 4317523 w 9586368"/>
              <a:gd name="connsiteY2849" fmla="*/ 4546948 h 6479439"/>
              <a:gd name="connsiteX2850" fmla="*/ 4321543 w 9586368"/>
              <a:gd name="connsiteY2850" fmla="*/ 4550987 h 6479439"/>
              <a:gd name="connsiteX2851" fmla="*/ 4321543 w 9586368"/>
              <a:gd name="connsiteY2851" fmla="*/ 4560858 h 6479439"/>
              <a:gd name="connsiteX2852" fmla="*/ 4317523 w 9586368"/>
              <a:gd name="connsiteY2852" fmla="*/ 4564897 h 6479439"/>
              <a:gd name="connsiteX2853" fmla="*/ 4307612 w 9586368"/>
              <a:gd name="connsiteY2853" fmla="*/ 4564897 h 6479439"/>
              <a:gd name="connsiteX2854" fmla="*/ 4303595 w 9586368"/>
              <a:gd name="connsiteY2854" fmla="*/ 4560858 h 6479439"/>
              <a:gd name="connsiteX2855" fmla="*/ 4303595 w 9586368"/>
              <a:gd name="connsiteY2855" fmla="*/ 4550987 h 6479439"/>
              <a:gd name="connsiteX2856" fmla="*/ 4068297 w 9586368"/>
              <a:gd name="connsiteY2856" fmla="*/ 4546948 h 6479439"/>
              <a:gd name="connsiteX2857" fmla="*/ 4078210 w 9586368"/>
              <a:gd name="connsiteY2857" fmla="*/ 4546948 h 6479439"/>
              <a:gd name="connsiteX2858" fmla="*/ 4082229 w 9586368"/>
              <a:gd name="connsiteY2858" fmla="*/ 4550987 h 6479439"/>
              <a:gd name="connsiteX2859" fmla="*/ 4082229 w 9586368"/>
              <a:gd name="connsiteY2859" fmla="*/ 4560858 h 6479439"/>
              <a:gd name="connsiteX2860" fmla="*/ 4078210 w 9586368"/>
              <a:gd name="connsiteY2860" fmla="*/ 4564897 h 6479439"/>
              <a:gd name="connsiteX2861" fmla="*/ 4068297 w 9586368"/>
              <a:gd name="connsiteY2861" fmla="*/ 4564897 h 6479439"/>
              <a:gd name="connsiteX2862" fmla="*/ 4064278 w 9586368"/>
              <a:gd name="connsiteY2862" fmla="*/ 4560858 h 6479439"/>
              <a:gd name="connsiteX2863" fmla="*/ 4064278 w 9586368"/>
              <a:gd name="connsiteY2863" fmla="*/ 4550987 h 6479439"/>
              <a:gd name="connsiteX2864" fmla="*/ 3828990 w 9586368"/>
              <a:gd name="connsiteY2864" fmla="*/ 4546948 h 6479439"/>
              <a:gd name="connsiteX2865" fmla="*/ 3838899 w 9586368"/>
              <a:gd name="connsiteY2865" fmla="*/ 4546948 h 6479439"/>
              <a:gd name="connsiteX2866" fmla="*/ 3842917 w 9586368"/>
              <a:gd name="connsiteY2866" fmla="*/ 4550987 h 6479439"/>
              <a:gd name="connsiteX2867" fmla="*/ 3842917 w 9586368"/>
              <a:gd name="connsiteY2867" fmla="*/ 4560858 h 6479439"/>
              <a:gd name="connsiteX2868" fmla="*/ 3838899 w 9586368"/>
              <a:gd name="connsiteY2868" fmla="*/ 4564897 h 6479439"/>
              <a:gd name="connsiteX2869" fmla="*/ 3828990 w 9586368"/>
              <a:gd name="connsiteY2869" fmla="*/ 4564897 h 6479439"/>
              <a:gd name="connsiteX2870" fmla="*/ 3824971 w 9586368"/>
              <a:gd name="connsiteY2870" fmla="*/ 4560858 h 6479439"/>
              <a:gd name="connsiteX2871" fmla="*/ 3824971 w 9586368"/>
              <a:gd name="connsiteY2871" fmla="*/ 4550987 h 6479439"/>
              <a:gd name="connsiteX2872" fmla="*/ 3589676 w 9586368"/>
              <a:gd name="connsiteY2872" fmla="*/ 4546948 h 6479439"/>
              <a:gd name="connsiteX2873" fmla="*/ 3599585 w 9586368"/>
              <a:gd name="connsiteY2873" fmla="*/ 4546948 h 6479439"/>
              <a:gd name="connsiteX2874" fmla="*/ 3603604 w 9586368"/>
              <a:gd name="connsiteY2874" fmla="*/ 4550987 h 6479439"/>
              <a:gd name="connsiteX2875" fmla="*/ 3603604 w 9586368"/>
              <a:gd name="connsiteY2875" fmla="*/ 4560858 h 6479439"/>
              <a:gd name="connsiteX2876" fmla="*/ 3599585 w 9586368"/>
              <a:gd name="connsiteY2876" fmla="*/ 4564897 h 6479439"/>
              <a:gd name="connsiteX2877" fmla="*/ 3589676 w 9586368"/>
              <a:gd name="connsiteY2877" fmla="*/ 4564897 h 6479439"/>
              <a:gd name="connsiteX2878" fmla="*/ 3585657 w 9586368"/>
              <a:gd name="connsiteY2878" fmla="*/ 4560858 h 6479439"/>
              <a:gd name="connsiteX2879" fmla="*/ 3585657 w 9586368"/>
              <a:gd name="connsiteY2879" fmla="*/ 4550987 h 6479439"/>
              <a:gd name="connsiteX2880" fmla="*/ 3350359 w 9586368"/>
              <a:gd name="connsiteY2880" fmla="*/ 4546948 h 6479439"/>
              <a:gd name="connsiteX2881" fmla="*/ 3360268 w 9586368"/>
              <a:gd name="connsiteY2881" fmla="*/ 4546948 h 6479439"/>
              <a:gd name="connsiteX2882" fmla="*/ 3364287 w 9586368"/>
              <a:gd name="connsiteY2882" fmla="*/ 4550987 h 6479439"/>
              <a:gd name="connsiteX2883" fmla="*/ 3364287 w 9586368"/>
              <a:gd name="connsiteY2883" fmla="*/ 4560858 h 6479439"/>
              <a:gd name="connsiteX2884" fmla="*/ 3360268 w 9586368"/>
              <a:gd name="connsiteY2884" fmla="*/ 4564897 h 6479439"/>
              <a:gd name="connsiteX2885" fmla="*/ 3350359 w 9586368"/>
              <a:gd name="connsiteY2885" fmla="*/ 4564897 h 6479439"/>
              <a:gd name="connsiteX2886" fmla="*/ 3346340 w 9586368"/>
              <a:gd name="connsiteY2886" fmla="*/ 4560858 h 6479439"/>
              <a:gd name="connsiteX2887" fmla="*/ 3346340 w 9586368"/>
              <a:gd name="connsiteY2887" fmla="*/ 4550987 h 6479439"/>
              <a:gd name="connsiteX2888" fmla="*/ 3111048 w 9586368"/>
              <a:gd name="connsiteY2888" fmla="*/ 4546948 h 6479439"/>
              <a:gd name="connsiteX2889" fmla="*/ 3120959 w 9586368"/>
              <a:gd name="connsiteY2889" fmla="*/ 4546948 h 6479439"/>
              <a:gd name="connsiteX2890" fmla="*/ 3124977 w 9586368"/>
              <a:gd name="connsiteY2890" fmla="*/ 4550987 h 6479439"/>
              <a:gd name="connsiteX2891" fmla="*/ 3124977 w 9586368"/>
              <a:gd name="connsiteY2891" fmla="*/ 4560858 h 6479439"/>
              <a:gd name="connsiteX2892" fmla="*/ 3120959 w 9586368"/>
              <a:gd name="connsiteY2892" fmla="*/ 4564897 h 6479439"/>
              <a:gd name="connsiteX2893" fmla="*/ 3111048 w 9586368"/>
              <a:gd name="connsiteY2893" fmla="*/ 4564897 h 6479439"/>
              <a:gd name="connsiteX2894" fmla="*/ 3107029 w 9586368"/>
              <a:gd name="connsiteY2894" fmla="*/ 4560858 h 6479439"/>
              <a:gd name="connsiteX2895" fmla="*/ 3107029 w 9586368"/>
              <a:gd name="connsiteY2895" fmla="*/ 4550987 h 6479439"/>
              <a:gd name="connsiteX2896" fmla="*/ 2871737 w 9586368"/>
              <a:gd name="connsiteY2896" fmla="*/ 4546948 h 6479439"/>
              <a:gd name="connsiteX2897" fmla="*/ 2881646 w 9586368"/>
              <a:gd name="connsiteY2897" fmla="*/ 4546948 h 6479439"/>
              <a:gd name="connsiteX2898" fmla="*/ 2885666 w 9586368"/>
              <a:gd name="connsiteY2898" fmla="*/ 4550987 h 6479439"/>
              <a:gd name="connsiteX2899" fmla="*/ 2885666 w 9586368"/>
              <a:gd name="connsiteY2899" fmla="*/ 4560858 h 6479439"/>
              <a:gd name="connsiteX2900" fmla="*/ 2881646 w 9586368"/>
              <a:gd name="connsiteY2900" fmla="*/ 4564897 h 6479439"/>
              <a:gd name="connsiteX2901" fmla="*/ 2871737 w 9586368"/>
              <a:gd name="connsiteY2901" fmla="*/ 4564897 h 6479439"/>
              <a:gd name="connsiteX2902" fmla="*/ 2867717 w 9586368"/>
              <a:gd name="connsiteY2902" fmla="*/ 4560858 h 6479439"/>
              <a:gd name="connsiteX2903" fmla="*/ 2867717 w 9586368"/>
              <a:gd name="connsiteY2903" fmla="*/ 4550987 h 6479439"/>
              <a:gd name="connsiteX2904" fmla="*/ 2632423 w 9586368"/>
              <a:gd name="connsiteY2904" fmla="*/ 4546948 h 6479439"/>
              <a:gd name="connsiteX2905" fmla="*/ 2642334 w 9586368"/>
              <a:gd name="connsiteY2905" fmla="*/ 4546948 h 6479439"/>
              <a:gd name="connsiteX2906" fmla="*/ 2646352 w 9586368"/>
              <a:gd name="connsiteY2906" fmla="*/ 4550987 h 6479439"/>
              <a:gd name="connsiteX2907" fmla="*/ 2646352 w 9586368"/>
              <a:gd name="connsiteY2907" fmla="*/ 4560858 h 6479439"/>
              <a:gd name="connsiteX2908" fmla="*/ 2642334 w 9586368"/>
              <a:gd name="connsiteY2908" fmla="*/ 4564897 h 6479439"/>
              <a:gd name="connsiteX2909" fmla="*/ 2632423 w 9586368"/>
              <a:gd name="connsiteY2909" fmla="*/ 4564897 h 6479439"/>
              <a:gd name="connsiteX2910" fmla="*/ 2628404 w 9586368"/>
              <a:gd name="connsiteY2910" fmla="*/ 4560858 h 6479439"/>
              <a:gd name="connsiteX2911" fmla="*/ 2628404 w 9586368"/>
              <a:gd name="connsiteY2911" fmla="*/ 4550987 h 6479439"/>
              <a:gd name="connsiteX2912" fmla="*/ 2393104 w 9586368"/>
              <a:gd name="connsiteY2912" fmla="*/ 4546948 h 6479439"/>
              <a:gd name="connsiteX2913" fmla="*/ 2403015 w 9586368"/>
              <a:gd name="connsiteY2913" fmla="*/ 4546948 h 6479439"/>
              <a:gd name="connsiteX2914" fmla="*/ 2407034 w 9586368"/>
              <a:gd name="connsiteY2914" fmla="*/ 4550987 h 6479439"/>
              <a:gd name="connsiteX2915" fmla="*/ 2407034 w 9586368"/>
              <a:gd name="connsiteY2915" fmla="*/ 4560858 h 6479439"/>
              <a:gd name="connsiteX2916" fmla="*/ 2403015 w 9586368"/>
              <a:gd name="connsiteY2916" fmla="*/ 4564897 h 6479439"/>
              <a:gd name="connsiteX2917" fmla="*/ 2393104 w 9586368"/>
              <a:gd name="connsiteY2917" fmla="*/ 4564897 h 6479439"/>
              <a:gd name="connsiteX2918" fmla="*/ 2389087 w 9586368"/>
              <a:gd name="connsiteY2918" fmla="*/ 4560858 h 6479439"/>
              <a:gd name="connsiteX2919" fmla="*/ 2389087 w 9586368"/>
              <a:gd name="connsiteY2919" fmla="*/ 4550987 h 6479439"/>
              <a:gd name="connsiteX2920" fmla="*/ 721964 w 9586368"/>
              <a:gd name="connsiteY2920" fmla="*/ 4546948 h 6479439"/>
              <a:gd name="connsiteX2921" fmla="*/ 731874 w 9586368"/>
              <a:gd name="connsiteY2921" fmla="*/ 4546948 h 6479439"/>
              <a:gd name="connsiteX2922" fmla="*/ 735893 w 9586368"/>
              <a:gd name="connsiteY2922" fmla="*/ 4550987 h 6479439"/>
              <a:gd name="connsiteX2923" fmla="*/ 735893 w 9586368"/>
              <a:gd name="connsiteY2923" fmla="*/ 4560858 h 6479439"/>
              <a:gd name="connsiteX2924" fmla="*/ 731874 w 9586368"/>
              <a:gd name="connsiteY2924" fmla="*/ 4564897 h 6479439"/>
              <a:gd name="connsiteX2925" fmla="*/ 721964 w 9586368"/>
              <a:gd name="connsiteY2925" fmla="*/ 4564897 h 6479439"/>
              <a:gd name="connsiteX2926" fmla="*/ 717945 w 9586368"/>
              <a:gd name="connsiteY2926" fmla="*/ 4560858 h 6479439"/>
              <a:gd name="connsiteX2927" fmla="*/ 717945 w 9586368"/>
              <a:gd name="connsiteY2927" fmla="*/ 4550987 h 6479439"/>
              <a:gd name="connsiteX2928" fmla="*/ 482651 w 9586368"/>
              <a:gd name="connsiteY2928" fmla="*/ 4546948 h 6479439"/>
              <a:gd name="connsiteX2929" fmla="*/ 492562 w 9586368"/>
              <a:gd name="connsiteY2929" fmla="*/ 4546948 h 6479439"/>
              <a:gd name="connsiteX2930" fmla="*/ 496581 w 9586368"/>
              <a:gd name="connsiteY2930" fmla="*/ 4550987 h 6479439"/>
              <a:gd name="connsiteX2931" fmla="*/ 496581 w 9586368"/>
              <a:gd name="connsiteY2931" fmla="*/ 4560858 h 6479439"/>
              <a:gd name="connsiteX2932" fmla="*/ 492562 w 9586368"/>
              <a:gd name="connsiteY2932" fmla="*/ 4564897 h 6479439"/>
              <a:gd name="connsiteX2933" fmla="*/ 482651 w 9586368"/>
              <a:gd name="connsiteY2933" fmla="*/ 4564897 h 6479439"/>
              <a:gd name="connsiteX2934" fmla="*/ 478632 w 9586368"/>
              <a:gd name="connsiteY2934" fmla="*/ 4560858 h 6479439"/>
              <a:gd name="connsiteX2935" fmla="*/ 478632 w 9586368"/>
              <a:gd name="connsiteY2935" fmla="*/ 4550987 h 6479439"/>
              <a:gd name="connsiteX2936" fmla="*/ 243338 w 9586368"/>
              <a:gd name="connsiteY2936" fmla="*/ 4546948 h 6479439"/>
              <a:gd name="connsiteX2937" fmla="*/ 253248 w 9586368"/>
              <a:gd name="connsiteY2937" fmla="*/ 4546948 h 6479439"/>
              <a:gd name="connsiteX2938" fmla="*/ 257267 w 9586368"/>
              <a:gd name="connsiteY2938" fmla="*/ 4550987 h 6479439"/>
              <a:gd name="connsiteX2939" fmla="*/ 257267 w 9586368"/>
              <a:gd name="connsiteY2939" fmla="*/ 4560858 h 6479439"/>
              <a:gd name="connsiteX2940" fmla="*/ 253248 w 9586368"/>
              <a:gd name="connsiteY2940" fmla="*/ 4564897 h 6479439"/>
              <a:gd name="connsiteX2941" fmla="*/ 243338 w 9586368"/>
              <a:gd name="connsiteY2941" fmla="*/ 4564897 h 6479439"/>
              <a:gd name="connsiteX2942" fmla="*/ 239319 w 9586368"/>
              <a:gd name="connsiteY2942" fmla="*/ 4560858 h 6479439"/>
              <a:gd name="connsiteX2943" fmla="*/ 239319 w 9586368"/>
              <a:gd name="connsiteY2943" fmla="*/ 4550987 h 6479439"/>
              <a:gd name="connsiteX2944" fmla="*/ 4025 w 9586368"/>
              <a:gd name="connsiteY2944" fmla="*/ 4546948 h 6479439"/>
              <a:gd name="connsiteX2945" fmla="*/ 13935 w 9586368"/>
              <a:gd name="connsiteY2945" fmla="*/ 4546948 h 6479439"/>
              <a:gd name="connsiteX2946" fmla="*/ 17954 w 9586368"/>
              <a:gd name="connsiteY2946" fmla="*/ 4550987 h 6479439"/>
              <a:gd name="connsiteX2947" fmla="*/ 17954 w 9586368"/>
              <a:gd name="connsiteY2947" fmla="*/ 4560858 h 6479439"/>
              <a:gd name="connsiteX2948" fmla="*/ 13935 w 9586368"/>
              <a:gd name="connsiteY2948" fmla="*/ 4564897 h 6479439"/>
              <a:gd name="connsiteX2949" fmla="*/ 4025 w 9586368"/>
              <a:gd name="connsiteY2949" fmla="*/ 4564897 h 6479439"/>
              <a:gd name="connsiteX2950" fmla="*/ 6 w 9586368"/>
              <a:gd name="connsiteY2950" fmla="*/ 4560858 h 6479439"/>
              <a:gd name="connsiteX2951" fmla="*/ 6 w 9586368"/>
              <a:gd name="connsiteY2951" fmla="*/ 4550987 h 6479439"/>
              <a:gd name="connsiteX2952" fmla="*/ 2157819 w 9586368"/>
              <a:gd name="connsiteY2952" fmla="*/ 4307669 h 6479439"/>
              <a:gd name="connsiteX2953" fmla="*/ 2167729 w 9586368"/>
              <a:gd name="connsiteY2953" fmla="*/ 4307669 h 6479439"/>
              <a:gd name="connsiteX2954" fmla="*/ 2171749 w 9586368"/>
              <a:gd name="connsiteY2954" fmla="*/ 4311708 h 6479439"/>
              <a:gd name="connsiteX2955" fmla="*/ 2171749 w 9586368"/>
              <a:gd name="connsiteY2955" fmla="*/ 4321579 h 6479439"/>
              <a:gd name="connsiteX2956" fmla="*/ 2167729 w 9586368"/>
              <a:gd name="connsiteY2956" fmla="*/ 4325618 h 6479439"/>
              <a:gd name="connsiteX2957" fmla="*/ 2157819 w 9586368"/>
              <a:gd name="connsiteY2957" fmla="*/ 4325618 h 6479439"/>
              <a:gd name="connsiteX2958" fmla="*/ 2153801 w 9586368"/>
              <a:gd name="connsiteY2958" fmla="*/ 4321579 h 6479439"/>
              <a:gd name="connsiteX2959" fmla="*/ 2153801 w 9586368"/>
              <a:gd name="connsiteY2959" fmla="*/ 4311708 h 6479439"/>
              <a:gd name="connsiteX2960" fmla="*/ 1918511 w 9586368"/>
              <a:gd name="connsiteY2960" fmla="*/ 4307669 h 6479439"/>
              <a:gd name="connsiteX2961" fmla="*/ 1928421 w 9586368"/>
              <a:gd name="connsiteY2961" fmla="*/ 4307669 h 6479439"/>
              <a:gd name="connsiteX2962" fmla="*/ 1932440 w 9586368"/>
              <a:gd name="connsiteY2962" fmla="*/ 4311708 h 6479439"/>
              <a:gd name="connsiteX2963" fmla="*/ 1932440 w 9586368"/>
              <a:gd name="connsiteY2963" fmla="*/ 4321579 h 6479439"/>
              <a:gd name="connsiteX2964" fmla="*/ 1928421 w 9586368"/>
              <a:gd name="connsiteY2964" fmla="*/ 4325618 h 6479439"/>
              <a:gd name="connsiteX2965" fmla="*/ 1918511 w 9586368"/>
              <a:gd name="connsiteY2965" fmla="*/ 4325618 h 6479439"/>
              <a:gd name="connsiteX2966" fmla="*/ 1914492 w 9586368"/>
              <a:gd name="connsiteY2966" fmla="*/ 4321579 h 6479439"/>
              <a:gd name="connsiteX2967" fmla="*/ 1914492 w 9586368"/>
              <a:gd name="connsiteY2967" fmla="*/ 4311708 h 6479439"/>
              <a:gd name="connsiteX2968" fmla="*/ 1679206 w 9586368"/>
              <a:gd name="connsiteY2968" fmla="*/ 4307669 h 6479439"/>
              <a:gd name="connsiteX2969" fmla="*/ 1689117 w 9586368"/>
              <a:gd name="connsiteY2969" fmla="*/ 4307669 h 6479439"/>
              <a:gd name="connsiteX2970" fmla="*/ 1693136 w 9586368"/>
              <a:gd name="connsiteY2970" fmla="*/ 4311708 h 6479439"/>
              <a:gd name="connsiteX2971" fmla="*/ 1693136 w 9586368"/>
              <a:gd name="connsiteY2971" fmla="*/ 4321579 h 6479439"/>
              <a:gd name="connsiteX2972" fmla="*/ 1689117 w 9586368"/>
              <a:gd name="connsiteY2972" fmla="*/ 4325618 h 6479439"/>
              <a:gd name="connsiteX2973" fmla="*/ 1679206 w 9586368"/>
              <a:gd name="connsiteY2973" fmla="*/ 4325618 h 6479439"/>
              <a:gd name="connsiteX2974" fmla="*/ 1675188 w 9586368"/>
              <a:gd name="connsiteY2974" fmla="*/ 4321579 h 6479439"/>
              <a:gd name="connsiteX2975" fmla="*/ 1675188 w 9586368"/>
              <a:gd name="connsiteY2975" fmla="*/ 4311708 h 6479439"/>
              <a:gd name="connsiteX2976" fmla="*/ 1439891 w 9586368"/>
              <a:gd name="connsiteY2976" fmla="*/ 4307669 h 6479439"/>
              <a:gd name="connsiteX2977" fmla="*/ 1449801 w 9586368"/>
              <a:gd name="connsiteY2977" fmla="*/ 4307669 h 6479439"/>
              <a:gd name="connsiteX2978" fmla="*/ 1453819 w 9586368"/>
              <a:gd name="connsiteY2978" fmla="*/ 4311708 h 6479439"/>
              <a:gd name="connsiteX2979" fmla="*/ 1453819 w 9586368"/>
              <a:gd name="connsiteY2979" fmla="*/ 4321579 h 6479439"/>
              <a:gd name="connsiteX2980" fmla="*/ 1449801 w 9586368"/>
              <a:gd name="connsiteY2980" fmla="*/ 4325618 h 6479439"/>
              <a:gd name="connsiteX2981" fmla="*/ 1439891 w 9586368"/>
              <a:gd name="connsiteY2981" fmla="*/ 4325618 h 6479439"/>
              <a:gd name="connsiteX2982" fmla="*/ 1435871 w 9586368"/>
              <a:gd name="connsiteY2982" fmla="*/ 4321579 h 6479439"/>
              <a:gd name="connsiteX2983" fmla="*/ 1435871 w 9586368"/>
              <a:gd name="connsiteY2983" fmla="*/ 4311708 h 6479439"/>
              <a:gd name="connsiteX2984" fmla="*/ 1200575 w 9586368"/>
              <a:gd name="connsiteY2984" fmla="*/ 4307669 h 6479439"/>
              <a:gd name="connsiteX2985" fmla="*/ 1210486 w 9586368"/>
              <a:gd name="connsiteY2985" fmla="*/ 4307669 h 6479439"/>
              <a:gd name="connsiteX2986" fmla="*/ 1214505 w 9586368"/>
              <a:gd name="connsiteY2986" fmla="*/ 4311708 h 6479439"/>
              <a:gd name="connsiteX2987" fmla="*/ 1214505 w 9586368"/>
              <a:gd name="connsiteY2987" fmla="*/ 4321579 h 6479439"/>
              <a:gd name="connsiteX2988" fmla="*/ 1210486 w 9586368"/>
              <a:gd name="connsiteY2988" fmla="*/ 4325618 h 6479439"/>
              <a:gd name="connsiteX2989" fmla="*/ 1200575 w 9586368"/>
              <a:gd name="connsiteY2989" fmla="*/ 4325618 h 6479439"/>
              <a:gd name="connsiteX2990" fmla="*/ 1196556 w 9586368"/>
              <a:gd name="connsiteY2990" fmla="*/ 4321579 h 6479439"/>
              <a:gd name="connsiteX2991" fmla="*/ 1196556 w 9586368"/>
              <a:gd name="connsiteY2991" fmla="*/ 4311708 h 6479439"/>
              <a:gd name="connsiteX2992" fmla="*/ 961263 w 9586368"/>
              <a:gd name="connsiteY2992" fmla="*/ 4307669 h 6479439"/>
              <a:gd name="connsiteX2993" fmla="*/ 971173 w 9586368"/>
              <a:gd name="connsiteY2993" fmla="*/ 4307669 h 6479439"/>
              <a:gd name="connsiteX2994" fmla="*/ 975191 w 9586368"/>
              <a:gd name="connsiteY2994" fmla="*/ 4311708 h 6479439"/>
              <a:gd name="connsiteX2995" fmla="*/ 975191 w 9586368"/>
              <a:gd name="connsiteY2995" fmla="*/ 4321579 h 6479439"/>
              <a:gd name="connsiteX2996" fmla="*/ 971173 w 9586368"/>
              <a:gd name="connsiteY2996" fmla="*/ 4325618 h 6479439"/>
              <a:gd name="connsiteX2997" fmla="*/ 961263 w 9586368"/>
              <a:gd name="connsiteY2997" fmla="*/ 4325618 h 6479439"/>
              <a:gd name="connsiteX2998" fmla="*/ 957244 w 9586368"/>
              <a:gd name="connsiteY2998" fmla="*/ 4321579 h 6479439"/>
              <a:gd name="connsiteX2999" fmla="*/ 957244 w 9586368"/>
              <a:gd name="connsiteY2999" fmla="*/ 4311708 h 6479439"/>
              <a:gd name="connsiteX3000" fmla="*/ 9572438 w 9586368"/>
              <a:gd name="connsiteY3000" fmla="*/ 4307617 h 6479439"/>
              <a:gd name="connsiteX3001" fmla="*/ 9582349 w 9586368"/>
              <a:gd name="connsiteY3001" fmla="*/ 4307617 h 6479439"/>
              <a:gd name="connsiteX3002" fmla="*/ 9586368 w 9586368"/>
              <a:gd name="connsiteY3002" fmla="*/ 4311656 h 6479439"/>
              <a:gd name="connsiteX3003" fmla="*/ 9586368 w 9586368"/>
              <a:gd name="connsiteY3003" fmla="*/ 4321527 h 6479439"/>
              <a:gd name="connsiteX3004" fmla="*/ 9582349 w 9586368"/>
              <a:gd name="connsiteY3004" fmla="*/ 4325566 h 6479439"/>
              <a:gd name="connsiteX3005" fmla="*/ 9572438 w 9586368"/>
              <a:gd name="connsiteY3005" fmla="*/ 4325566 h 6479439"/>
              <a:gd name="connsiteX3006" fmla="*/ 9568419 w 9586368"/>
              <a:gd name="connsiteY3006" fmla="*/ 4321527 h 6479439"/>
              <a:gd name="connsiteX3007" fmla="*/ 9568419 w 9586368"/>
              <a:gd name="connsiteY3007" fmla="*/ 4311656 h 6479439"/>
              <a:gd name="connsiteX3008" fmla="*/ 9333125 w 9586368"/>
              <a:gd name="connsiteY3008" fmla="*/ 4307617 h 6479439"/>
              <a:gd name="connsiteX3009" fmla="*/ 9343036 w 9586368"/>
              <a:gd name="connsiteY3009" fmla="*/ 4307617 h 6479439"/>
              <a:gd name="connsiteX3010" fmla="*/ 9347055 w 9586368"/>
              <a:gd name="connsiteY3010" fmla="*/ 4311656 h 6479439"/>
              <a:gd name="connsiteX3011" fmla="*/ 9347055 w 9586368"/>
              <a:gd name="connsiteY3011" fmla="*/ 4321527 h 6479439"/>
              <a:gd name="connsiteX3012" fmla="*/ 9343036 w 9586368"/>
              <a:gd name="connsiteY3012" fmla="*/ 4325566 h 6479439"/>
              <a:gd name="connsiteX3013" fmla="*/ 9333125 w 9586368"/>
              <a:gd name="connsiteY3013" fmla="*/ 4325566 h 6479439"/>
              <a:gd name="connsiteX3014" fmla="*/ 9329106 w 9586368"/>
              <a:gd name="connsiteY3014" fmla="*/ 4321527 h 6479439"/>
              <a:gd name="connsiteX3015" fmla="*/ 9329106 w 9586368"/>
              <a:gd name="connsiteY3015" fmla="*/ 4311656 h 6479439"/>
              <a:gd name="connsiteX3016" fmla="*/ 9093811 w 9586368"/>
              <a:gd name="connsiteY3016" fmla="*/ 4307617 h 6479439"/>
              <a:gd name="connsiteX3017" fmla="*/ 9103722 w 9586368"/>
              <a:gd name="connsiteY3017" fmla="*/ 4307617 h 6479439"/>
              <a:gd name="connsiteX3018" fmla="*/ 9107741 w 9586368"/>
              <a:gd name="connsiteY3018" fmla="*/ 4311656 h 6479439"/>
              <a:gd name="connsiteX3019" fmla="*/ 9107741 w 9586368"/>
              <a:gd name="connsiteY3019" fmla="*/ 4321527 h 6479439"/>
              <a:gd name="connsiteX3020" fmla="*/ 9103722 w 9586368"/>
              <a:gd name="connsiteY3020" fmla="*/ 4325566 h 6479439"/>
              <a:gd name="connsiteX3021" fmla="*/ 9093811 w 9586368"/>
              <a:gd name="connsiteY3021" fmla="*/ 4325566 h 6479439"/>
              <a:gd name="connsiteX3022" fmla="*/ 9089792 w 9586368"/>
              <a:gd name="connsiteY3022" fmla="*/ 4321527 h 6479439"/>
              <a:gd name="connsiteX3023" fmla="*/ 9089792 w 9586368"/>
              <a:gd name="connsiteY3023" fmla="*/ 4311656 h 6479439"/>
              <a:gd name="connsiteX3024" fmla="*/ 8854496 w 9586368"/>
              <a:gd name="connsiteY3024" fmla="*/ 4307617 h 6479439"/>
              <a:gd name="connsiteX3025" fmla="*/ 8864407 w 9586368"/>
              <a:gd name="connsiteY3025" fmla="*/ 4307617 h 6479439"/>
              <a:gd name="connsiteX3026" fmla="*/ 8868426 w 9586368"/>
              <a:gd name="connsiteY3026" fmla="*/ 4311656 h 6479439"/>
              <a:gd name="connsiteX3027" fmla="*/ 8868426 w 9586368"/>
              <a:gd name="connsiteY3027" fmla="*/ 4321527 h 6479439"/>
              <a:gd name="connsiteX3028" fmla="*/ 8864407 w 9586368"/>
              <a:gd name="connsiteY3028" fmla="*/ 4325566 h 6479439"/>
              <a:gd name="connsiteX3029" fmla="*/ 8854496 w 9586368"/>
              <a:gd name="connsiteY3029" fmla="*/ 4325566 h 6479439"/>
              <a:gd name="connsiteX3030" fmla="*/ 8850477 w 9586368"/>
              <a:gd name="connsiteY3030" fmla="*/ 4321527 h 6479439"/>
              <a:gd name="connsiteX3031" fmla="*/ 8850477 w 9586368"/>
              <a:gd name="connsiteY3031" fmla="*/ 4311656 h 6479439"/>
              <a:gd name="connsiteX3032" fmla="*/ 8615184 w 9586368"/>
              <a:gd name="connsiteY3032" fmla="*/ 4307617 h 6479439"/>
              <a:gd name="connsiteX3033" fmla="*/ 8625095 w 9586368"/>
              <a:gd name="connsiteY3033" fmla="*/ 4307617 h 6479439"/>
              <a:gd name="connsiteX3034" fmla="*/ 8629114 w 9586368"/>
              <a:gd name="connsiteY3034" fmla="*/ 4311656 h 6479439"/>
              <a:gd name="connsiteX3035" fmla="*/ 8629114 w 9586368"/>
              <a:gd name="connsiteY3035" fmla="*/ 4321527 h 6479439"/>
              <a:gd name="connsiteX3036" fmla="*/ 8625095 w 9586368"/>
              <a:gd name="connsiteY3036" fmla="*/ 4325566 h 6479439"/>
              <a:gd name="connsiteX3037" fmla="*/ 8615184 w 9586368"/>
              <a:gd name="connsiteY3037" fmla="*/ 4325566 h 6479439"/>
              <a:gd name="connsiteX3038" fmla="*/ 8611165 w 9586368"/>
              <a:gd name="connsiteY3038" fmla="*/ 4321527 h 6479439"/>
              <a:gd name="connsiteX3039" fmla="*/ 8611165 w 9586368"/>
              <a:gd name="connsiteY3039" fmla="*/ 4311656 h 6479439"/>
              <a:gd name="connsiteX3040" fmla="*/ 8375869 w 9586368"/>
              <a:gd name="connsiteY3040" fmla="*/ 4307617 h 6479439"/>
              <a:gd name="connsiteX3041" fmla="*/ 8385779 w 9586368"/>
              <a:gd name="connsiteY3041" fmla="*/ 4307617 h 6479439"/>
              <a:gd name="connsiteX3042" fmla="*/ 8389799 w 9586368"/>
              <a:gd name="connsiteY3042" fmla="*/ 4311656 h 6479439"/>
              <a:gd name="connsiteX3043" fmla="*/ 8389799 w 9586368"/>
              <a:gd name="connsiteY3043" fmla="*/ 4321527 h 6479439"/>
              <a:gd name="connsiteX3044" fmla="*/ 8385779 w 9586368"/>
              <a:gd name="connsiteY3044" fmla="*/ 4325566 h 6479439"/>
              <a:gd name="connsiteX3045" fmla="*/ 8375869 w 9586368"/>
              <a:gd name="connsiteY3045" fmla="*/ 4325566 h 6479439"/>
              <a:gd name="connsiteX3046" fmla="*/ 8371850 w 9586368"/>
              <a:gd name="connsiteY3046" fmla="*/ 4321527 h 6479439"/>
              <a:gd name="connsiteX3047" fmla="*/ 8371850 w 9586368"/>
              <a:gd name="connsiteY3047" fmla="*/ 4311656 h 6479439"/>
              <a:gd name="connsiteX3048" fmla="*/ 8136553 w 9586368"/>
              <a:gd name="connsiteY3048" fmla="*/ 4307617 h 6479439"/>
              <a:gd name="connsiteX3049" fmla="*/ 8146464 w 9586368"/>
              <a:gd name="connsiteY3049" fmla="*/ 4307617 h 6479439"/>
              <a:gd name="connsiteX3050" fmla="*/ 8150483 w 9586368"/>
              <a:gd name="connsiteY3050" fmla="*/ 4311656 h 6479439"/>
              <a:gd name="connsiteX3051" fmla="*/ 8150483 w 9586368"/>
              <a:gd name="connsiteY3051" fmla="*/ 4321527 h 6479439"/>
              <a:gd name="connsiteX3052" fmla="*/ 8146464 w 9586368"/>
              <a:gd name="connsiteY3052" fmla="*/ 4325566 h 6479439"/>
              <a:gd name="connsiteX3053" fmla="*/ 8136553 w 9586368"/>
              <a:gd name="connsiteY3053" fmla="*/ 4325566 h 6479439"/>
              <a:gd name="connsiteX3054" fmla="*/ 8132534 w 9586368"/>
              <a:gd name="connsiteY3054" fmla="*/ 4321527 h 6479439"/>
              <a:gd name="connsiteX3055" fmla="*/ 8132534 w 9586368"/>
              <a:gd name="connsiteY3055" fmla="*/ 4311656 h 6479439"/>
              <a:gd name="connsiteX3056" fmla="*/ 7897241 w 9586368"/>
              <a:gd name="connsiteY3056" fmla="*/ 4307617 h 6479439"/>
              <a:gd name="connsiteX3057" fmla="*/ 7907151 w 9586368"/>
              <a:gd name="connsiteY3057" fmla="*/ 4307617 h 6479439"/>
              <a:gd name="connsiteX3058" fmla="*/ 7911170 w 9586368"/>
              <a:gd name="connsiteY3058" fmla="*/ 4311656 h 6479439"/>
              <a:gd name="connsiteX3059" fmla="*/ 7911170 w 9586368"/>
              <a:gd name="connsiteY3059" fmla="*/ 4321527 h 6479439"/>
              <a:gd name="connsiteX3060" fmla="*/ 7907151 w 9586368"/>
              <a:gd name="connsiteY3060" fmla="*/ 4325566 h 6479439"/>
              <a:gd name="connsiteX3061" fmla="*/ 7897241 w 9586368"/>
              <a:gd name="connsiteY3061" fmla="*/ 4325566 h 6479439"/>
              <a:gd name="connsiteX3062" fmla="*/ 7893222 w 9586368"/>
              <a:gd name="connsiteY3062" fmla="*/ 4321527 h 6479439"/>
              <a:gd name="connsiteX3063" fmla="*/ 7893222 w 9586368"/>
              <a:gd name="connsiteY3063" fmla="*/ 4311656 h 6479439"/>
              <a:gd name="connsiteX3064" fmla="*/ 7657926 w 9586368"/>
              <a:gd name="connsiteY3064" fmla="*/ 4307617 h 6479439"/>
              <a:gd name="connsiteX3065" fmla="*/ 7667836 w 9586368"/>
              <a:gd name="connsiteY3065" fmla="*/ 4307617 h 6479439"/>
              <a:gd name="connsiteX3066" fmla="*/ 7671855 w 9586368"/>
              <a:gd name="connsiteY3066" fmla="*/ 4311656 h 6479439"/>
              <a:gd name="connsiteX3067" fmla="*/ 7671855 w 9586368"/>
              <a:gd name="connsiteY3067" fmla="*/ 4321527 h 6479439"/>
              <a:gd name="connsiteX3068" fmla="*/ 7667836 w 9586368"/>
              <a:gd name="connsiteY3068" fmla="*/ 4325566 h 6479439"/>
              <a:gd name="connsiteX3069" fmla="*/ 7657926 w 9586368"/>
              <a:gd name="connsiteY3069" fmla="*/ 4325566 h 6479439"/>
              <a:gd name="connsiteX3070" fmla="*/ 7653906 w 9586368"/>
              <a:gd name="connsiteY3070" fmla="*/ 4321527 h 6479439"/>
              <a:gd name="connsiteX3071" fmla="*/ 7653906 w 9586368"/>
              <a:gd name="connsiteY3071" fmla="*/ 4311656 h 6479439"/>
              <a:gd name="connsiteX3072" fmla="*/ 7418611 w 9586368"/>
              <a:gd name="connsiteY3072" fmla="*/ 4307617 h 6479439"/>
              <a:gd name="connsiteX3073" fmla="*/ 7428521 w 9586368"/>
              <a:gd name="connsiteY3073" fmla="*/ 4307617 h 6479439"/>
              <a:gd name="connsiteX3074" fmla="*/ 7432540 w 9586368"/>
              <a:gd name="connsiteY3074" fmla="*/ 4311656 h 6479439"/>
              <a:gd name="connsiteX3075" fmla="*/ 7432540 w 9586368"/>
              <a:gd name="connsiteY3075" fmla="*/ 4321527 h 6479439"/>
              <a:gd name="connsiteX3076" fmla="*/ 7428521 w 9586368"/>
              <a:gd name="connsiteY3076" fmla="*/ 4325566 h 6479439"/>
              <a:gd name="connsiteX3077" fmla="*/ 7418611 w 9586368"/>
              <a:gd name="connsiteY3077" fmla="*/ 4325566 h 6479439"/>
              <a:gd name="connsiteX3078" fmla="*/ 7414592 w 9586368"/>
              <a:gd name="connsiteY3078" fmla="*/ 4321527 h 6479439"/>
              <a:gd name="connsiteX3079" fmla="*/ 7414592 w 9586368"/>
              <a:gd name="connsiteY3079" fmla="*/ 4311656 h 6479439"/>
              <a:gd name="connsiteX3080" fmla="*/ 7179298 w 9586368"/>
              <a:gd name="connsiteY3080" fmla="*/ 4307617 h 6479439"/>
              <a:gd name="connsiteX3081" fmla="*/ 7189209 w 9586368"/>
              <a:gd name="connsiteY3081" fmla="*/ 4307617 h 6479439"/>
              <a:gd name="connsiteX3082" fmla="*/ 7193228 w 9586368"/>
              <a:gd name="connsiteY3082" fmla="*/ 4311656 h 6479439"/>
              <a:gd name="connsiteX3083" fmla="*/ 7193228 w 9586368"/>
              <a:gd name="connsiteY3083" fmla="*/ 4321527 h 6479439"/>
              <a:gd name="connsiteX3084" fmla="*/ 7189209 w 9586368"/>
              <a:gd name="connsiteY3084" fmla="*/ 4325566 h 6479439"/>
              <a:gd name="connsiteX3085" fmla="*/ 7179298 w 9586368"/>
              <a:gd name="connsiteY3085" fmla="*/ 4325566 h 6479439"/>
              <a:gd name="connsiteX3086" fmla="*/ 7175279 w 9586368"/>
              <a:gd name="connsiteY3086" fmla="*/ 4321527 h 6479439"/>
              <a:gd name="connsiteX3087" fmla="*/ 7175279 w 9586368"/>
              <a:gd name="connsiteY3087" fmla="*/ 4311656 h 6479439"/>
              <a:gd name="connsiteX3088" fmla="*/ 6939983 w 9586368"/>
              <a:gd name="connsiteY3088" fmla="*/ 4307617 h 6479439"/>
              <a:gd name="connsiteX3089" fmla="*/ 6949894 w 9586368"/>
              <a:gd name="connsiteY3089" fmla="*/ 4307617 h 6479439"/>
              <a:gd name="connsiteX3090" fmla="*/ 6953913 w 9586368"/>
              <a:gd name="connsiteY3090" fmla="*/ 4311656 h 6479439"/>
              <a:gd name="connsiteX3091" fmla="*/ 6953913 w 9586368"/>
              <a:gd name="connsiteY3091" fmla="*/ 4321527 h 6479439"/>
              <a:gd name="connsiteX3092" fmla="*/ 6949894 w 9586368"/>
              <a:gd name="connsiteY3092" fmla="*/ 4325566 h 6479439"/>
              <a:gd name="connsiteX3093" fmla="*/ 6939983 w 9586368"/>
              <a:gd name="connsiteY3093" fmla="*/ 4325566 h 6479439"/>
              <a:gd name="connsiteX3094" fmla="*/ 6935964 w 9586368"/>
              <a:gd name="connsiteY3094" fmla="*/ 4321527 h 6479439"/>
              <a:gd name="connsiteX3095" fmla="*/ 6935964 w 9586368"/>
              <a:gd name="connsiteY3095" fmla="*/ 4311656 h 6479439"/>
              <a:gd name="connsiteX3096" fmla="*/ 6700670 w 9586368"/>
              <a:gd name="connsiteY3096" fmla="*/ 4307617 h 6479439"/>
              <a:gd name="connsiteX3097" fmla="*/ 6710581 w 9586368"/>
              <a:gd name="connsiteY3097" fmla="*/ 4307617 h 6479439"/>
              <a:gd name="connsiteX3098" fmla="*/ 6714600 w 9586368"/>
              <a:gd name="connsiteY3098" fmla="*/ 4311656 h 6479439"/>
              <a:gd name="connsiteX3099" fmla="*/ 6714600 w 9586368"/>
              <a:gd name="connsiteY3099" fmla="*/ 4321527 h 6479439"/>
              <a:gd name="connsiteX3100" fmla="*/ 6710581 w 9586368"/>
              <a:gd name="connsiteY3100" fmla="*/ 4325566 h 6479439"/>
              <a:gd name="connsiteX3101" fmla="*/ 6700670 w 9586368"/>
              <a:gd name="connsiteY3101" fmla="*/ 4325566 h 6479439"/>
              <a:gd name="connsiteX3102" fmla="*/ 6696651 w 9586368"/>
              <a:gd name="connsiteY3102" fmla="*/ 4321527 h 6479439"/>
              <a:gd name="connsiteX3103" fmla="*/ 6696651 w 9586368"/>
              <a:gd name="connsiteY3103" fmla="*/ 4311656 h 6479439"/>
              <a:gd name="connsiteX3104" fmla="*/ 6461356 w 9586368"/>
              <a:gd name="connsiteY3104" fmla="*/ 4307617 h 6479439"/>
              <a:gd name="connsiteX3105" fmla="*/ 6471266 w 9586368"/>
              <a:gd name="connsiteY3105" fmla="*/ 4307617 h 6479439"/>
              <a:gd name="connsiteX3106" fmla="*/ 6475285 w 9586368"/>
              <a:gd name="connsiteY3106" fmla="*/ 4311656 h 6479439"/>
              <a:gd name="connsiteX3107" fmla="*/ 6475285 w 9586368"/>
              <a:gd name="connsiteY3107" fmla="*/ 4321527 h 6479439"/>
              <a:gd name="connsiteX3108" fmla="*/ 6471266 w 9586368"/>
              <a:gd name="connsiteY3108" fmla="*/ 4325566 h 6479439"/>
              <a:gd name="connsiteX3109" fmla="*/ 6461356 w 9586368"/>
              <a:gd name="connsiteY3109" fmla="*/ 4325566 h 6479439"/>
              <a:gd name="connsiteX3110" fmla="*/ 6457337 w 9586368"/>
              <a:gd name="connsiteY3110" fmla="*/ 4321527 h 6479439"/>
              <a:gd name="connsiteX3111" fmla="*/ 6457337 w 9586368"/>
              <a:gd name="connsiteY3111" fmla="*/ 4311656 h 6479439"/>
              <a:gd name="connsiteX3112" fmla="*/ 6222042 w 9586368"/>
              <a:gd name="connsiteY3112" fmla="*/ 4307617 h 6479439"/>
              <a:gd name="connsiteX3113" fmla="*/ 6231952 w 9586368"/>
              <a:gd name="connsiteY3113" fmla="*/ 4307617 h 6479439"/>
              <a:gd name="connsiteX3114" fmla="*/ 6235971 w 9586368"/>
              <a:gd name="connsiteY3114" fmla="*/ 4311656 h 6479439"/>
              <a:gd name="connsiteX3115" fmla="*/ 6235971 w 9586368"/>
              <a:gd name="connsiteY3115" fmla="*/ 4321527 h 6479439"/>
              <a:gd name="connsiteX3116" fmla="*/ 6231952 w 9586368"/>
              <a:gd name="connsiteY3116" fmla="*/ 4325566 h 6479439"/>
              <a:gd name="connsiteX3117" fmla="*/ 6222042 w 9586368"/>
              <a:gd name="connsiteY3117" fmla="*/ 4325566 h 6479439"/>
              <a:gd name="connsiteX3118" fmla="*/ 6218023 w 9586368"/>
              <a:gd name="connsiteY3118" fmla="*/ 4321527 h 6479439"/>
              <a:gd name="connsiteX3119" fmla="*/ 6218023 w 9586368"/>
              <a:gd name="connsiteY3119" fmla="*/ 4311656 h 6479439"/>
              <a:gd name="connsiteX3120" fmla="*/ 5982729 w 9586368"/>
              <a:gd name="connsiteY3120" fmla="*/ 4307617 h 6479439"/>
              <a:gd name="connsiteX3121" fmla="*/ 5992639 w 9586368"/>
              <a:gd name="connsiteY3121" fmla="*/ 4307617 h 6479439"/>
              <a:gd name="connsiteX3122" fmla="*/ 5996658 w 9586368"/>
              <a:gd name="connsiteY3122" fmla="*/ 4311656 h 6479439"/>
              <a:gd name="connsiteX3123" fmla="*/ 5996658 w 9586368"/>
              <a:gd name="connsiteY3123" fmla="*/ 4321527 h 6479439"/>
              <a:gd name="connsiteX3124" fmla="*/ 5992639 w 9586368"/>
              <a:gd name="connsiteY3124" fmla="*/ 4325566 h 6479439"/>
              <a:gd name="connsiteX3125" fmla="*/ 5982729 w 9586368"/>
              <a:gd name="connsiteY3125" fmla="*/ 4325566 h 6479439"/>
              <a:gd name="connsiteX3126" fmla="*/ 5978710 w 9586368"/>
              <a:gd name="connsiteY3126" fmla="*/ 4321527 h 6479439"/>
              <a:gd name="connsiteX3127" fmla="*/ 5978710 w 9586368"/>
              <a:gd name="connsiteY3127" fmla="*/ 4311656 h 6479439"/>
              <a:gd name="connsiteX3128" fmla="*/ 5743412 w 9586368"/>
              <a:gd name="connsiteY3128" fmla="*/ 4307617 h 6479439"/>
              <a:gd name="connsiteX3129" fmla="*/ 5753323 w 9586368"/>
              <a:gd name="connsiteY3129" fmla="*/ 4307617 h 6479439"/>
              <a:gd name="connsiteX3130" fmla="*/ 5757342 w 9586368"/>
              <a:gd name="connsiteY3130" fmla="*/ 4311656 h 6479439"/>
              <a:gd name="connsiteX3131" fmla="*/ 5757342 w 9586368"/>
              <a:gd name="connsiteY3131" fmla="*/ 4321527 h 6479439"/>
              <a:gd name="connsiteX3132" fmla="*/ 5753323 w 9586368"/>
              <a:gd name="connsiteY3132" fmla="*/ 4325566 h 6479439"/>
              <a:gd name="connsiteX3133" fmla="*/ 5743412 w 9586368"/>
              <a:gd name="connsiteY3133" fmla="*/ 4325566 h 6479439"/>
              <a:gd name="connsiteX3134" fmla="*/ 5739393 w 9586368"/>
              <a:gd name="connsiteY3134" fmla="*/ 4321527 h 6479439"/>
              <a:gd name="connsiteX3135" fmla="*/ 5739393 w 9586368"/>
              <a:gd name="connsiteY3135" fmla="*/ 4311656 h 6479439"/>
              <a:gd name="connsiteX3136" fmla="*/ 5504099 w 9586368"/>
              <a:gd name="connsiteY3136" fmla="*/ 4307617 h 6479439"/>
              <a:gd name="connsiteX3137" fmla="*/ 5514010 w 9586368"/>
              <a:gd name="connsiteY3137" fmla="*/ 4307617 h 6479439"/>
              <a:gd name="connsiteX3138" fmla="*/ 5518029 w 9586368"/>
              <a:gd name="connsiteY3138" fmla="*/ 4311656 h 6479439"/>
              <a:gd name="connsiteX3139" fmla="*/ 5518029 w 9586368"/>
              <a:gd name="connsiteY3139" fmla="*/ 4321527 h 6479439"/>
              <a:gd name="connsiteX3140" fmla="*/ 5514010 w 9586368"/>
              <a:gd name="connsiteY3140" fmla="*/ 4325566 h 6479439"/>
              <a:gd name="connsiteX3141" fmla="*/ 5504099 w 9586368"/>
              <a:gd name="connsiteY3141" fmla="*/ 4325566 h 6479439"/>
              <a:gd name="connsiteX3142" fmla="*/ 5500080 w 9586368"/>
              <a:gd name="connsiteY3142" fmla="*/ 4321527 h 6479439"/>
              <a:gd name="connsiteX3143" fmla="*/ 5500080 w 9586368"/>
              <a:gd name="connsiteY3143" fmla="*/ 4311656 h 6479439"/>
              <a:gd name="connsiteX3144" fmla="*/ 5264784 w 9586368"/>
              <a:gd name="connsiteY3144" fmla="*/ 4307617 h 6479439"/>
              <a:gd name="connsiteX3145" fmla="*/ 5274694 w 9586368"/>
              <a:gd name="connsiteY3145" fmla="*/ 4307617 h 6479439"/>
              <a:gd name="connsiteX3146" fmla="*/ 5278713 w 9586368"/>
              <a:gd name="connsiteY3146" fmla="*/ 4311656 h 6479439"/>
              <a:gd name="connsiteX3147" fmla="*/ 5278713 w 9586368"/>
              <a:gd name="connsiteY3147" fmla="*/ 4321527 h 6479439"/>
              <a:gd name="connsiteX3148" fmla="*/ 5274694 w 9586368"/>
              <a:gd name="connsiteY3148" fmla="*/ 4325566 h 6479439"/>
              <a:gd name="connsiteX3149" fmla="*/ 5264784 w 9586368"/>
              <a:gd name="connsiteY3149" fmla="*/ 4325566 h 6479439"/>
              <a:gd name="connsiteX3150" fmla="*/ 5260765 w 9586368"/>
              <a:gd name="connsiteY3150" fmla="*/ 4321527 h 6479439"/>
              <a:gd name="connsiteX3151" fmla="*/ 5260765 w 9586368"/>
              <a:gd name="connsiteY3151" fmla="*/ 4311656 h 6479439"/>
              <a:gd name="connsiteX3152" fmla="*/ 5025470 w 9586368"/>
              <a:gd name="connsiteY3152" fmla="*/ 4307617 h 6479439"/>
              <a:gd name="connsiteX3153" fmla="*/ 5035381 w 9586368"/>
              <a:gd name="connsiteY3153" fmla="*/ 4307617 h 6479439"/>
              <a:gd name="connsiteX3154" fmla="*/ 5039400 w 9586368"/>
              <a:gd name="connsiteY3154" fmla="*/ 4311656 h 6479439"/>
              <a:gd name="connsiteX3155" fmla="*/ 5039400 w 9586368"/>
              <a:gd name="connsiteY3155" fmla="*/ 4321527 h 6479439"/>
              <a:gd name="connsiteX3156" fmla="*/ 5035381 w 9586368"/>
              <a:gd name="connsiteY3156" fmla="*/ 4325566 h 6479439"/>
              <a:gd name="connsiteX3157" fmla="*/ 5025470 w 9586368"/>
              <a:gd name="connsiteY3157" fmla="*/ 4325566 h 6479439"/>
              <a:gd name="connsiteX3158" fmla="*/ 5021451 w 9586368"/>
              <a:gd name="connsiteY3158" fmla="*/ 4321527 h 6479439"/>
              <a:gd name="connsiteX3159" fmla="*/ 5021451 w 9586368"/>
              <a:gd name="connsiteY3159" fmla="*/ 4311656 h 6479439"/>
              <a:gd name="connsiteX3160" fmla="*/ 4786241 w 9586368"/>
              <a:gd name="connsiteY3160" fmla="*/ 4307617 h 6479439"/>
              <a:gd name="connsiteX3161" fmla="*/ 4796152 w 9586368"/>
              <a:gd name="connsiteY3161" fmla="*/ 4307617 h 6479439"/>
              <a:gd name="connsiteX3162" fmla="*/ 4800171 w 9586368"/>
              <a:gd name="connsiteY3162" fmla="*/ 4311656 h 6479439"/>
              <a:gd name="connsiteX3163" fmla="*/ 4800171 w 9586368"/>
              <a:gd name="connsiteY3163" fmla="*/ 4321527 h 6479439"/>
              <a:gd name="connsiteX3164" fmla="*/ 4796152 w 9586368"/>
              <a:gd name="connsiteY3164" fmla="*/ 4325566 h 6479439"/>
              <a:gd name="connsiteX3165" fmla="*/ 4786241 w 9586368"/>
              <a:gd name="connsiteY3165" fmla="*/ 4325566 h 6479439"/>
              <a:gd name="connsiteX3166" fmla="*/ 4782224 w 9586368"/>
              <a:gd name="connsiteY3166" fmla="*/ 4321527 h 6479439"/>
              <a:gd name="connsiteX3167" fmla="*/ 4782224 w 9586368"/>
              <a:gd name="connsiteY3167" fmla="*/ 4311656 h 6479439"/>
              <a:gd name="connsiteX3168" fmla="*/ 4546929 w 9586368"/>
              <a:gd name="connsiteY3168" fmla="*/ 4307617 h 6479439"/>
              <a:gd name="connsiteX3169" fmla="*/ 4556840 w 9586368"/>
              <a:gd name="connsiteY3169" fmla="*/ 4307617 h 6479439"/>
              <a:gd name="connsiteX3170" fmla="*/ 4560859 w 9586368"/>
              <a:gd name="connsiteY3170" fmla="*/ 4311656 h 6479439"/>
              <a:gd name="connsiteX3171" fmla="*/ 4560859 w 9586368"/>
              <a:gd name="connsiteY3171" fmla="*/ 4321527 h 6479439"/>
              <a:gd name="connsiteX3172" fmla="*/ 4556840 w 9586368"/>
              <a:gd name="connsiteY3172" fmla="*/ 4325566 h 6479439"/>
              <a:gd name="connsiteX3173" fmla="*/ 4546929 w 9586368"/>
              <a:gd name="connsiteY3173" fmla="*/ 4325566 h 6479439"/>
              <a:gd name="connsiteX3174" fmla="*/ 4542910 w 9586368"/>
              <a:gd name="connsiteY3174" fmla="*/ 4321527 h 6479439"/>
              <a:gd name="connsiteX3175" fmla="*/ 4542910 w 9586368"/>
              <a:gd name="connsiteY3175" fmla="*/ 4311656 h 6479439"/>
              <a:gd name="connsiteX3176" fmla="*/ 4307612 w 9586368"/>
              <a:gd name="connsiteY3176" fmla="*/ 4307617 h 6479439"/>
              <a:gd name="connsiteX3177" fmla="*/ 4317523 w 9586368"/>
              <a:gd name="connsiteY3177" fmla="*/ 4307617 h 6479439"/>
              <a:gd name="connsiteX3178" fmla="*/ 4321543 w 9586368"/>
              <a:gd name="connsiteY3178" fmla="*/ 4311656 h 6479439"/>
              <a:gd name="connsiteX3179" fmla="*/ 4321543 w 9586368"/>
              <a:gd name="connsiteY3179" fmla="*/ 4321527 h 6479439"/>
              <a:gd name="connsiteX3180" fmla="*/ 4317523 w 9586368"/>
              <a:gd name="connsiteY3180" fmla="*/ 4325566 h 6479439"/>
              <a:gd name="connsiteX3181" fmla="*/ 4307612 w 9586368"/>
              <a:gd name="connsiteY3181" fmla="*/ 4325566 h 6479439"/>
              <a:gd name="connsiteX3182" fmla="*/ 4303595 w 9586368"/>
              <a:gd name="connsiteY3182" fmla="*/ 4321527 h 6479439"/>
              <a:gd name="connsiteX3183" fmla="*/ 4303595 w 9586368"/>
              <a:gd name="connsiteY3183" fmla="*/ 4311656 h 6479439"/>
              <a:gd name="connsiteX3184" fmla="*/ 4068297 w 9586368"/>
              <a:gd name="connsiteY3184" fmla="*/ 4307617 h 6479439"/>
              <a:gd name="connsiteX3185" fmla="*/ 4078210 w 9586368"/>
              <a:gd name="connsiteY3185" fmla="*/ 4307617 h 6479439"/>
              <a:gd name="connsiteX3186" fmla="*/ 4082229 w 9586368"/>
              <a:gd name="connsiteY3186" fmla="*/ 4311656 h 6479439"/>
              <a:gd name="connsiteX3187" fmla="*/ 4082229 w 9586368"/>
              <a:gd name="connsiteY3187" fmla="*/ 4321527 h 6479439"/>
              <a:gd name="connsiteX3188" fmla="*/ 4078210 w 9586368"/>
              <a:gd name="connsiteY3188" fmla="*/ 4325566 h 6479439"/>
              <a:gd name="connsiteX3189" fmla="*/ 4068297 w 9586368"/>
              <a:gd name="connsiteY3189" fmla="*/ 4325566 h 6479439"/>
              <a:gd name="connsiteX3190" fmla="*/ 4064278 w 9586368"/>
              <a:gd name="connsiteY3190" fmla="*/ 4321527 h 6479439"/>
              <a:gd name="connsiteX3191" fmla="*/ 4064278 w 9586368"/>
              <a:gd name="connsiteY3191" fmla="*/ 4311656 h 6479439"/>
              <a:gd name="connsiteX3192" fmla="*/ 3828990 w 9586368"/>
              <a:gd name="connsiteY3192" fmla="*/ 4307617 h 6479439"/>
              <a:gd name="connsiteX3193" fmla="*/ 3838899 w 9586368"/>
              <a:gd name="connsiteY3193" fmla="*/ 4307617 h 6479439"/>
              <a:gd name="connsiteX3194" fmla="*/ 3842917 w 9586368"/>
              <a:gd name="connsiteY3194" fmla="*/ 4311656 h 6479439"/>
              <a:gd name="connsiteX3195" fmla="*/ 3842917 w 9586368"/>
              <a:gd name="connsiteY3195" fmla="*/ 4321527 h 6479439"/>
              <a:gd name="connsiteX3196" fmla="*/ 3838899 w 9586368"/>
              <a:gd name="connsiteY3196" fmla="*/ 4325566 h 6479439"/>
              <a:gd name="connsiteX3197" fmla="*/ 3828990 w 9586368"/>
              <a:gd name="connsiteY3197" fmla="*/ 4325566 h 6479439"/>
              <a:gd name="connsiteX3198" fmla="*/ 3824971 w 9586368"/>
              <a:gd name="connsiteY3198" fmla="*/ 4321527 h 6479439"/>
              <a:gd name="connsiteX3199" fmla="*/ 3824971 w 9586368"/>
              <a:gd name="connsiteY3199" fmla="*/ 4311656 h 6479439"/>
              <a:gd name="connsiteX3200" fmla="*/ 3589676 w 9586368"/>
              <a:gd name="connsiteY3200" fmla="*/ 4307617 h 6479439"/>
              <a:gd name="connsiteX3201" fmla="*/ 3599585 w 9586368"/>
              <a:gd name="connsiteY3201" fmla="*/ 4307617 h 6479439"/>
              <a:gd name="connsiteX3202" fmla="*/ 3603604 w 9586368"/>
              <a:gd name="connsiteY3202" fmla="*/ 4311656 h 6479439"/>
              <a:gd name="connsiteX3203" fmla="*/ 3603604 w 9586368"/>
              <a:gd name="connsiteY3203" fmla="*/ 4321527 h 6479439"/>
              <a:gd name="connsiteX3204" fmla="*/ 3599585 w 9586368"/>
              <a:gd name="connsiteY3204" fmla="*/ 4325566 h 6479439"/>
              <a:gd name="connsiteX3205" fmla="*/ 3589676 w 9586368"/>
              <a:gd name="connsiteY3205" fmla="*/ 4325566 h 6479439"/>
              <a:gd name="connsiteX3206" fmla="*/ 3585657 w 9586368"/>
              <a:gd name="connsiteY3206" fmla="*/ 4321527 h 6479439"/>
              <a:gd name="connsiteX3207" fmla="*/ 3585657 w 9586368"/>
              <a:gd name="connsiteY3207" fmla="*/ 4311656 h 6479439"/>
              <a:gd name="connsiteX3208" fmla="*/ 3350359 w 9586368"/>
              <a:gd name="connsiteY3208" fmla="*/ 4307617 h 6479439"/>
              <a:gd name="connsiteX3209" fmla="*/ 3360268 w 9586368"/>
              <a:gd name="connsiteY3209" fmla="*/ 4307617 h 6479439"/>
              <a:gd name="connsiteX3210" fmla="*/ 3364287 w 9586368"/>
              <a:gd name="connsiteY3210" fmla="*/ 4311656 h 6479439"/>
              <a:gd name="connsiteX3211" fmla="*/ 3364287 w 9586368"/>
              <a:gd name="connsiteY3211" fmla="*/ 4321527 h 6479439"/>
              <a:gd name="connsiteX3212" fmla="*/ 3360268 w 9586368"/>
              <a:gd name="connsiteY3212" fmla="*/ 4325566 h 6479439"/>
              <a:gd name="connsiteX3213" fmla="*/ 3350359 w 9586368"/>
              <a:gd name="connsiteY3213" fmla="*/ 4325566 h 6479439"/>
              <a:gd name="connsiteX3214" fmla="*/ 3346340 w 9586368"/>
              <a:gd name="connsiteY3214" fmla="*/ 4321527 h 6479439"/>
              <a:gd name="connsiteX3215" fmla="*/ 3346340 w 9586368"/>
              <a:gd name="connsiteY3215" fmla="*/ 4311656 h 6479439"/>
              <a:gd name="connsiteX3216" fmla="*/ 3111048 w 9586368"/>
              <a:gd name="connsiteY3216" fmla="*/ 4307617 h 6479439"/>
              <a:gd name="connsiteX3217" fmla="*/ 3120959 w 9586368"/>
              <a:gd name="connsiteY3217" fmla="*/ 4307617 h 6479439"/>
              <a:gd name="connsiteX3218" fmla="*/ 3124977 w 9586368"/>
              <a:gd name="connsiteY3218" fmla="*/ 4311656 h 6479439"/>
              <a:gd name="connsiteX3219" fmla="*/ 3124977 w 9586368"/>
              <a:gd name="connsiteY3219" fmla="*/ 4321527 h 6479439"/>
              <a:gd name="connsiteX3220" fmla="*/ 3120959 w 9586368"/>
              <a:gd name="connsiteY3220" fmla="*/ 4325566 h 6479439"/>
              <a:gd name="connsiteX3221" fmla="*/ 3111048 w 9586368"/>
              <a:gd name="connsiteY3221" fmla="*/ 4325566 h 6479439"/>
              <a:gd name="connsiteX3222" fmla="*/ 3107029 w 9586368"/>
              <a:gd name="connsiteY3222" fmla="*/ 4321527 h 6479439"/>
              <a:gd name="connsiteX3223" fmla="*/ 3107029 w 9586368"/>
              <a:gd name="connsiteY3223" fmla="*/ 4311656 h 6479439"/>
              <a:gd name="connsiteX3224" fmla="*/ 2871737 w 9586368"/>
              <a:gd name="connsiteY3224" fmla="*/ 4307617 h 6479439"/>
              <a:gd name="connsiteX3225" fmla="*/ 2881646 w 9586368"/>
              <a:gd name="connsiteY3225" fmla="*/ 4307617 h 6479439"/>
              <a:gd name="connsiteX3226" fmla="*/ 2885666 w 9586368"/>
              <a:gd name="connsiteY3226" fmla="*/ 4311656 h 6479439"/>
              <a:gd name="connsiteX3227" fmla="*/ 2885666 w 9586368"/>
              <a:gd name="connsiteY3227" fmla="*/ 4321527 h 6479439"/>
              <a:gd name="connsiteX3228" fmla="*/ 2881646 w 9586368"/>
              <a:gd name="connsiteY3228" fmla="*/ 4325566 h 6479439"/>
              <a:gd name="connsiteX3229" fmla="*/ 2871737 w 9586368"/>
              <a:gd name="connsiteY3229" fmla="*/ 4325566 h 6479439"/>
              <a:gd name="connsiteX3230" fmla="*/ 2867717 w 9586368"/>
              <a:gd name="connsiteY3230" fmla="*/ 4321527 h 6479439"/>
              <a:gd name="connsiteX3231" fmla="*/ 2867717 w 9586368"/>
              <a:gd name="connsiteY3231" fmla="*/ 4311656 h 6479439"/>
              <a:gd name="connsiteX3232" fmla="*/ 2632423 w 9586368"/>
              <a:gd name="connsiteY3232" fmla="*/ 4307617 h 6479439"/>
              <a:gd name="connsiteX3233" fmla="*/ 2642334 w 9586368"/>
              <a:gd name="connsiteY3233" fmla="*/ 4307617 h 6479439"/>
              <a:gd name="connsiteX3234" fmla="*/ 2646352 w 9586368"/>
              <a:gd name="connsiteY3234" fmla="*/ 4311656 h 6479439"/>
              <a:gd name="connsiteX3235" fmla="*/ 2646352 w 9586368"/>
              <a:gd name="connsiteY3235" fmla="*/ 4321527 h 6479439"/>
              <a:gd name="connsiteX3236" fmla="*/ 2642334 w 9586368"/>
              <a:gd name="connsiteY3236" fmla="*/ 4325566 h 6479439"/>
              <a:gd name="connsiteX3237" fmla="*/ 2632423 w 9586368"/>
              <a:gd name="connsiteY3237" fmla="*/ 4325566 h 6479439"/>
              <a:gd name="connsiteX3238" fmla="*/ 2628404 w 9586368"/>
              <a:gd name="connsiteY3238" fmla="*/ 4321527 h 6479439"/>
              <a:gd name="connsiteX3239" fmla="*/ 2628404 w 9586368"/>
              <a:gd name="connsiteY3239" fmla="*/ 4311656 h 6479439"/>
              <a:gd name="connsiteX3240" fmla="*/ 2393104 w 9586368"/>
              <a:gd name="connsiteY3240" fmla="*/ 4307617 h 6479439"/>
              <a:gd name="connsiteX3241" fmla="*/ 2403015 w 9586368"/>
              <a:gd name="connsiteY3241" fmla="*/ 4307617 h 6479439"/>
              <a:gd name="connsiteX3242" fmla="*/ 2407034 w 9586368"/>
              <a:gd name="connsiteY3242" fmla="*/ 4311656 h 6479439"/>
              <a:gd name="connsiteX3243" fmla="*/ 2407034 w 9586368"/>
              <a:gd name="connsiteY3243" fmla="*/ 4321527 h 6479439"/>
              <a:gd name="connsiteX3244" fmla="*/ 2403015 w 9586368"/>
              <a:gd name="connsiteY3244" fmla="*/ 4325566 h 6479439"/>
              <a:gd name="connsiteX3245" fmla="*/ 2393104 w 9586368"/>
              <a:gd name="connsiteY3245" fmla="*/ 4325566 h 6479439"/>
              <a:gd name="connsiteX3246" fmla="*/ 2389087 w 9586368"/>
              <a:gd name="connsiteY3246" fmla="*/ 4321527 h 6479439"/>
              <a:gd name="connsiteX3247" fmla="*/ 2389087 w 9586368"/>
              <a:gd name="connsiteY3247" fmla="*/ 4311656 h 6479439"/>
              <a:gd name="connsiteX3248" fmla="*/ 721965 w 9586368"/>
              <a:gd name="connsiteY3248" fmla="*/ 4307617 h 6479439"/>
              <a:gd name="connsiteX3249" fmla="*/ 731874 w 9586368"/>
              <a:gd name="connsiteY3249" fmla="*/ 4307617 h 6479439"/>
              <a:gd name="connsiteX3250" fmla="*/ 735893 w 9586368"/>
              <a:gd name="connsiteY3250" fmla="*/ 4311656 h 6479439"/>
              <a:gd name="connsiteX3251" fmla="*/ 735893 w 9586368"/>
              <a:gd name="connsiteY3251" fmla="*/ 4321527 h 6479439"/>
              <a:gd name="connsiteX3252" fmla="*/ 731874 w 9586368"/>
              <a:gd name="connsiteY3252" fmla="*/ 4325566 h 6479439"/>
              <a:gd name="connsiteX3253" fmla="*/ 721965 w 9586368"/>
              <a:gd name="connsiteY3253" fmla="*/ 4325566 h 6479439"/>
              <a:gd name="connsiteX3254" fmla="*/ 717945 w 9586368"/>
              <a:gd name="connsiteY3254" fmla="*/ 4321527 h 6479439"/>
              <a:gd name="connsiteX3255" fmla="*/ 717945 w 9586368"/>
              <a:gd name="connsiteY3255" fmla="*/ 4311656 h 6479439"/>
              <a:gd name="connsiteX3256" fmla="*/ 482652 w 9586368"/>
              <a:gd name="connsiteY3256" fmla="*/ 4307617 h 6479439"/>
              <a:gd name="connsiteX3257" fmla="*/ 492562 w 9586368"/>
              <a:gd name="connsiteY3257" fmla="*/ 4307617 h 6479439"/>
              <a:gd name="connsiteX3258" fmla="*/ 496581 w 9586368"/>
              <a:gd name="connsiteY3258" fmla="*/ 4311656 h 6479439"/>
              <a:gd name="connsiteX3259" fmla="*/ 496581 w 9586368"/>
              <a:gd name="connsiteY3259" fmla="*/ 4321527 h 6479439"/>
              <a:gd name="connsiteX3260" fmla="*/ 492562 w 9586368"/>
              <a:gd name="connsiteY3260" fmla="*/ 4325566 h 6479439"/>
              <a:gd name="connsiteX3261" fmla="*/ 482652 w 9586368"/>
              <a:gd name="connsiteY3261" fmla="*/ 4325566 h 6479439"/>
              <a:gd name="connsiteX3262" fmla="*/ 478633 w 9586368"/>
              <a:gd name="connsiteY3262" fmla="*/ 4321527 h 6479439"/>
              <a:gd name="connsiteX3263" fmla="*/ 478633 w 9586368"/>
              <a:gd name="connsiteY3263" fmla="*/ 4311656 h 6479439"/>
              <a:gd name="connsiteX3264" fmla="*/ 243339 w 9586368"/>
              <a:gd name="connsiteY3264" fmla="*/ 4307617 h 6479439"/>
              <a:gd name="connsiteX3265" fmla="*/ 253249 w 9586368"/>
              <a:gd name="connsiteY3265" fmla="*/ 4307617 h 6479439"/>
              <a:gd name="connsiteX3266" fmla="*/ 257268 w 9586368"/>
              <a:gd name="connsiteY3266" fmla="*/ 4311656 h 6479439"/>
              <a:gd name="connsiteX3267" fmla="*/ 257268 w 9586368"/>
              <a:gd name="connsiteY3267" fmla="*/ 4321527 h 6479439"/>
              <a:gd name="connsiteX3268" fmla="*/ 253249 w 9586368"/>
              <a:gd name="connsiteY3268" fmla="*/ 4325566 h 6479439"/>
              <a:gd name="connsiteX3269" fmla="*/ 243339 w 9586368"/>
              <a:gd name="connsiteY3269" fmla="*/ 4325566 h 6479439"/>
              <a:gd name="connsiteX3270" fmla="*/ 239320 w 9586368"/>
              <a:gd name="connsiteY3270" fmla="*/ 4321527 h 6479439"/>
              <a:gd name="connsiteX3271" fmla="*/ 239320 w 9586368"/>
              <a:gd name="connsiteY3271" fmla="*/ 4311656 h 6479439"/>
              <a:gd name="connsiteX3272" fmla="*/ 4025 w 9586368"/>
              <a:gd name="connsiteY3272" fmla="*/ 4307617 h 6479439"/>
              <a:gd name="connsiteX3273" fmla="*/ 13936 w 9586368"/>
              <a:gd name="connsiteY3273" fmla="*/ 4307617 h 6479439"/>
              <a:gd name="connsiteX3274" fmla="*/ 17955 w 9586368"/>
              <a:gd name="connsiteY3274" fmla="*/ 4311656 h 6479439"/>
              <a:gd name="connsiteX3275" fmla="*/ 17955 w 9586368"/>
              <a:gd name="connsiteY3275" fmla="*/ 4321527 h 6479439"/>
              <a:gd name="connsiteX3276" fmla="*/ 13936 w 9586368"/>
              <a:gd name="connsiteY3276" fmla="*/ 4325566 h 6479439"/>
              <a:gd name="connsiteX3277" fmla="*/ 4025 w 9586368"/>
              <a:gd name="connsiteY3277" fmla="*/ 4325566 h 6479439"/>
              <a:gd name="connsiteX3278" fmla="*/ 7 w 9586368"/>
              <a:gd name="connsiteY3278" fmla="*/ 4321527 h 6479439"/>
              <a:gd name="connsiteX3279" fmla="*/ 7 w 9586368"/>
              <a:gd name="connsiteY3279" fmla="*/ 4311656 h 6479439"/>
              <a:gd name="connsiteX3280" fmla="*/ 9572438 w 9586368"/>
              <a:gd name="connsiteY3280" fmla="*/ 4068339 h 6479439"/>
              <a:gd name="connsiteX3281" fmla="*/ 9582349 w 9586368"/>
              <a:gd name="connsiteY3281" fmla="*/ 4068339 h 6479439"/>
              <a:gd name="connsiteX3282" fmla="*/ 9586368 w 9586368"/>
              <a:gd name="connsiteY3282" fmla="*/ 4072377 h 6479439"/>
              <a:gd name="connsiteX3283" fmla="*/ 9586368 w 9586368"/>
              <a:gd name="connsiteY3283" fmla="*/ 4082248 h 6479439"/>
              <a:gd name="connsiteX3284" fmla="*/ 9582349 w 9586368"/>
              <a:gd name="connsiteY3284" fmla="*/ 4086287 h 6479439"/>
              <a:gd name="connsiteX3285" fmla="*/ 9572438 w 9586368"/>
              <a:gd name="connsiteY3285" fmla="*/ 4086287 h 6479439"/>
              <a:gd name="connsiteX3286" fmla="*/ 9568419 w 9586368"/>
              <a:gd name="connsiteY3286" fmla="*/ 4082248 h 6479439"/>
              <a:gd name="connsiteX3287" fmla="*/ 9568419 w 9586368"/>
              <a:gd name="connsiteY3287" fmla="*/ 4072377 h 6479439"/>
              <a:gd name="connsiteX3288" fmla="*/ 9333125 w 9586368"/>
              <a:gd name="connsiteY3288" fmla="*/ 4068339 h 6479439"/>
              <a:gd name="connsiteX3289" fmla="*/ 9343036 w 9586368"/>
              <a:gd name="connsiteY3289" fmla="*/ 4068339 h 6479439"/>
              <a:gd name="connsiteX3290" fmla="*/ 9347055 w 9586368"/>
              <a:gd name="connsiteY3290" fmla="*/ 4072377 h 6479439"/>
              <a:gd name="connsiteX3291" fmla="*/ 9347055 w 9586368"/>
              <a:gd name="connsiteY3291" fmla="*/ 4082248 h 6479439"/>
              <a:gd name="connsiteX3292" fmla="*/ 9343036 w 9586368"/>
              <a:gd name="connsiteY3292" fmla="*/ 4086287 h 6479439"/>
              <a:gd name="connsiteX3293" fmla="*/ 9333125 w 9586368"/>
              <a:gd name="connsiteY3293" fmla="*/ 4086287 h 6479439"/>
              <a:gd name="connsiteX3294" fmla="*/ 9329106 w 9586368"/>
              <a:gd name="connsiteY3294" fmla="*/ 4082248 h 6479439"/>
              <a:gd name="connsiteX3295" fmla="*/ 9329106 w 9586368"/>
              <a:gd name="connsiteY3295" fmla="*/ 4072377 h 6479439"/>
              <a:gd name="connsiteX3296" fmla="*/ 9093811 w 9586368"/>
              <a:gd name="connsiteY3296" fmla="*/ 4068339 h 6479439"/>
              <a:gd name="connsiteX3297" fmla="*/ 9103722 w 9586368"/>
              <a:gd name="connsiteY3297" fmla="*/ 4068339 h 6479439"/>
              <a:gd name="connsiteX3298" fmla="*/ 9107741 w 9586368"/>
              <a:gd name="connsiteY3298" fmla="*/ 4072377 h 6479439"/>
              <a:gd name="connsiteX3299" fmla="*/ 9107741 w 9586368"/>
              <a:gd name="connsiteY3299" fmla="*/ 4082248 h 6479439"/>
              <a:gd name="connsiteX3300" fmla="*/ 9103722 w 9586368"/>
              <a:gd name="connsiteY3300" fmla="*/ 4086287 h 6479439"/>
              <a:gd name="connsiteX3301" fmla="*/ 9093811 w 9586368"/>
              <a:gd name="connsiteY3301" fmla="*/ 4086287 h 6479439"/>
              <a:gd name="connsiteX3302" fmla="*/ 9089792 w 9586368"/>
              <a:gd name="connsiteY3302" fmla="*/ 4082248 h 6479439"/>
              <a:gd name="connsiteX3303" fmla="*/ 9089792 w 9586368"/>
              <a:gd name="connsiteY3303" fmla="*/ 4072377 h 6479439"/>
              <a:gd name="connsiteX3304" fmla="*/ 8854496 w 9586368"/>
              <a:gd name="connsiteY3304" fmla="*/ 4068339 h 6479439"/>
              <a:gd name="connsiteX3305" fmla="*/ 8864407 w 9586368"/>
              <a:gd name="connsiteY3305" fmla="*/ 4068339 h 6479439"/>
              <a:gd name="connsiteX3306" fmla="*/ 8868426 w 9586368"/>
              <a:gd name="connsiteY3306" fmla="*/ 4072377 h 6479439"/>
              <a:gd name="connsiteX3307" fmla="*/ 8868426 w 9586368"/>
              <a:gd name="connsiteY3307" fmla="*/ 4082248 h 6479439"/>
              <a:gd name="connsiteX3308" fmla="*/ 8864407 w 9586368"/>
              <a:gd name="connsiteY3308" fmla="*/ 4086287 h 6479439"/>
              <a:gd name="connsiteX3309" fmla="*/ 8854496 w 9586368"/>
              <a:gd name="connsiteY3309" fmla="*/ 4086287 h 6479439"/>
              <a:gd name="connsiteX3310" fmla="*/ 8850477 w 9586368"/>
              <a:gd name="connsiteY3310" fmla="*/ 4082248 h 6479439"/>
              <a:gd name="connsiteX3311" fmla="*/ 8850477 w 9586368"/>
              <a:gd name="connsiteY3311" fmla="*/ 4072377 h 6479439"/>
              <a:gd name="connsiteX3312" fmla="*/ 8615184 w 9586368"/>
              <a:gd name="connsiteY3312" fmla="*/ 4068339 h 6479439"/>
              <a:gd name="connsiteX3313" fmla="*/ 8625095 w 9586368"/>
              <a:gd name="connsiteY3313" fmla="*/ 4068339 h 6479439"/>
              <a:gd name="connsiteX3314" fmla="*/ 8629114 w 9586368"/>
              <a:gd name="connsiteY3314" fmla="*/ 4072377 h 6479439"/>
              <a:gd name="connsiteX3315" fmla="*/ 8629114 w 9586368"/>
              <a:gd name="connsiteY3315" fmla="*/ 4082248 h 6479439"/>
              <a:gd name="connsiteX3316" fmla="*/ 8625095 w 9586368"/>
              <a:gd name="connsiteY3316" fmla="*/ 4086287 h 6479439"/>
              <a:gd name="connsiteX3317" fmla="*/ 8615184 w 9586368"/>
              <a:gd name="connsiteY3317" fmla="*/ 4086287 h 6479439"/>
              <a:gd name="connsiteX3318" fmla="*/ 8611165 w 9586368"/>
              <a:gd name="connsiteY3318" fmla="*/ 4082248 h 6479439"/>
              <a:gd name="connsiteX3319" fmla="*/ 8611165 w 9586368"/>
              <a:gd name="connsiteY3319" fmla="*/ 4072377 h 6479439"/>
              <a:gd name="connsiteX3320" fmla="*/ 8375869 w 9586368"/>
              <a:gd name="connsiteY3320" fmla="*/ 4068339 h 6479439"/>
              <a:gd name="connsiteX3321" fmla="*/ 8385779 w 9586368"/>
              <a:gd name="connsiteY3321" fmla="*/ 4068339 h 6479439"/>
              <a:gd name="connsiteX3322" fmla="*/ 8389799 w 9586368"/>
              <a:gd name="connsiteY3322" fmla="*/ 4072377 h 6479439"/>
              <a:gd name="connsiteX3323" fmla="*/ 8389799 w 9586368"/>
              <a:gd name="connsiteY3323" fmla="*/ 4082248 h 6479439"/>
              <a:gd name="connsiteX3324" fmla="*/ 8385779 w 9586368"/>
              <a:gd name="connsiteY3324" fmla="*/ 4086287 h 6479439"/>
              <a:gd name="connsiteX3325" fmla="*/ 8375869 w 9586368"/>
              <a:gd name="connsiteY3325" fmla="*/ 4086287 h 6479439"/>
              <a:gd name="connsiteX3326" fmla="*/ 8371850 w 9586368"/>
              <a:gd name="connsiteY3326" fmla="*/ 4082248 h 6479439"/>
              <a:gd name="connsiteX3327" fmla="*/ 8371850 w 9586368"/>
              <a:gd name="connsiteY3327" fmla="*/ 4072377 h 6479439"/>
              <a:gd name="connsiteX3328" fmla="*/ 8136553 w 9586368"/>
              <a:gd name="connsiteY3328" fmla="*/ 4068339 h 6479439"/>
              <a:gd name="connsiteX3329" fmla="*/ 8146464 w 9586368"/>
              <a:gd name="connsiteY3329" fmla="*/ 4068339 h 6479439"/>
              <a:gd name="connsiteX3330" fmla="*/ 8150483 w 9586368"/>
              <a:gd name="connsiteY3330" fmla="*/ 4072377 h 6479439"/>
              <a:gd name="connsiteX3331" fmla="*/ 8150483 w 9586368"/>
              <a:gd name="connsiteY3331" fmla="*/ 4082248 h 6479439"/>
              <a:gd name="connsiteX3332" fmla="*/ 8146464 w 9586368"/>
              <a:gd name="connsiteY3332" fmla="*/ 4086287 h 6479439"/>
              <a:gd name="connsiteX3333" fmla="*/ 8136553 w 9586368"/>
              <a:gd name="connsiteY3333" fmla="*/ 4086287 h 6479439"/>
              <a:gd name="connsiteX3334" fmla="*/ 8132534 w 9586368"/>
              <a:gd name="connsiteY3334" fmla="*/ 4082248 h 6479439"/>
              <a:gd name="connsiteX3335" fmla="*/ 8132534 w 9586368"/>
              <a:gd name="connsiteY3335" fmla="*/ 4072377 h 6479439"/>
              <a:gd name="connsiteX3336" fmla="*/ 7897241 w 9586368"/>
              <a:gd name="connsiteY3336" fmla="*/ 4068339 h 6479439"/>
              <a:gd name="connsiteX3337" fmla="*/ 7907151 w 9586368"/>
              <a:gd name="connsiteY3337" fmla="*/ 4068339 h 6479439"/>
              <a:gd name="connsiteX3338" fmla="*/ 7911170 w 9586368"/>
              <a:gd name="connsiteY3338" fmla="*/ 4072377 h 6479439"/>
              <a:gd name="connsiteX3339" fmla="*/ 7911170 w 9586368"/>
              <a:gd name="connsiteY3339" fmla="*/ 4082248 h 6479439"/>
              <a:gd name="connsiteX3340" fmla="*/ 7907151 w 9586368"/>
              <a:gd name="connsiteY3340" fmla="*/ 4086287 h 6479439"/>
              <a:gd name="connsiteX3341" fmla="*/ 7897241 w 9586368"/>
              <a:gd name="connsiteY3341" fmla="*/ 4086287 h 6479439"/>
              <a:gd name="connsiteX3342" fmla="*/ 7893222 w 9586368"/>
              <a:gd name="connsiteY3342" fmla="*/ 4082248 h 6479439"/>
              <a:gd name="connsiteX3343" fmla="*/ 7893222 w 9586368"/>
              <a:gd name="connsiteY3343" fmla="*/ 4072377 h 6479439"/>
              <a:gd name="connsiteX3344" fmla="*/ 7657926 w 9586368"/>
              <a:gd name="connsiteY3344" fmla="*/ 4068339 h 6479439"/>
              <a:gd name="connsiteX3345" fmla="*/ 7667836 w 9586368"/>
              <a:gd name="connsiteY3345" fmla="*/ 4068339 h 6479439"/>
              <a:gd name="connsiteX3346" fmla="*/ 7671855 w 9586368"/>
              <a:gd name="connsiteY3346" fmla="*/ 4072377 h 6479439"/>
              <a:gd name="connsiteX3347" fmla="*/ 7671855 w 9586368"/>
              <a:gd name="connsiteY3347" fmla="*/ 4082248 h 6479439"/>
              <a:gd name="connsiteX3348" fmla="*/ 7667836 w 9586368"/>
              <a:gd name="connsiteY3348" fmla="*/ 4086287 h 6479439"/>
              <a:gd name="connsiteX3349" fmla="*/ 7657926 w 9586368"/>
              <a:gd name="connsiteY3349" fmla="*/ 4086287 h 6479439"/>
              <a:gd name="connsiteX3350" fmla="*/ 7653906 w 9586368"/>
              <a:gd name="connsiteY3350" fmla="*/ 4082248 h 6479439"/>
              <a:gd name="connsiteX3351" fmla="*/ 7653906 w 9586368"/>
              <a:gd name="connsiteY3351" fmla="*/ 4072377 h 6479439"/>
              <a:gd name="connsiteX3352" fmla="*/ 7418611 w 9586368"/>
              <a:gd name="connsiteY3352" fmla="*/ 4068339 h 6479439"/>
              <a:gd name="connsiteX3353" fmla="*/ 7428521 w 9586368"/>
              <a:gd name="connsiteY3353" fmla="*/ 4068339 h 6479439"/>
              <a:gd name="connsiteX3354" fmla="*/ 7432540 w 9586368"/>
              <a:gd name="connsiteY3354" fmla="*/ 4072377 h 6479439"/>
              <a:gd name="connsiteX3355" fmla="*/ 7432540 w 9586368"/>
              <a:gd name="connsiteY3355" fmla="*/ 4082248 h 6479439"/>
              <a:gd name="connsiteX3356" fmla="*/ 7428521 w 9586368"/>
              <a:gd name="connsiteY3356" fmla="*/ 4086287 h 6479439"/>
              <a:gd name="connsiteX3357" fmla="*/ 7418611 w 9586368"/>
              <a:gd name="connsiteY3357" fmla="*/ 4086287 h 6479439"/>
              <a:gd name="connsiteX3358" fmla="*/ 7414592 w 9586368"/>
              <a:gd name="connsiteY3358" fmla="*/ 4082248 h 6479439"/>
              <a:gd name="connsiteX3359" fmla="*/ 7414592 w 9586368"/>
              <a:gd name="connsiteY3359" fmla="*/ 4072377 h 6479439"/>
              <a:gd name="connsiteX3360" fmla="*/ 7179298 w 9586368"/>
              <a:gd name="connsiteY3360" fmla="*/ 4068339 h 6479439"/>
              <a:gd name="connsiteX3361" fmla="*/ 7189209 w 9586368"/>
              <a:gd name="connsiteY3361" fmla="*/ 4068339 h 6479439"/>
              <a:gd name="connsiteX3362" fmla="*/ 7193228 w 9586368"/>
              <a:gd name="connsiteY3362" fmla="*/ 4072377 h 6479439"/>
              <a:gd name="connsiteX3363" fmla="*/ 7193228 w 9586368"/>
              <a:gd name="connsiteY3363" fmla="*/ 4082248 h 6479439"/>
              <a:gd name="connsiteX3364" fmla="*/ 7189209 w 9586368"/>
              <a:gd name="connsiteY3364" fmla="*/ 4086287 h 6479439"/>
              <a:gd name="connsiteX3365" fmla="*/ 7179298 w 9586368"/>
              <a:gd name="connsiteY3365" fmla="*/ 4086287 h 6479439"/>
              <a:gd name="connsiteX3366" fmla="*/ 7175279 w 9586368"/>
              <a:gd name="connsiteY3366" fmla="*/ 4082248 h 6479439"/>
              <a:gd name="connsiteX3367" fmla="*/ 7175279 w 9586368"/>
              <a:gd name="connsiteY3367" fmla="*/ 4072377 h 6479439"/>
              <a:gd name="connsiteX3368" fmla="*/ 6939983 w 9586368"/>
              <a:gd name="connsiteY3368" fmla="*/ 4068339 h 6479439"/>
              <a:gd name="connsiteX3369" fmla="*/ 6949894 w 9586368"/>
              <a:gd name="connsiteY3369" fmla="*/ 4068339 h 6479439"/>
              <a:gd name="connsiteX3370" fmla="*/ 6953913 w 9586368"/>
              <a:gd name="connsiteY3370" fmla="*/ 4072377 h 6479439"/>
              <a:gd name="connsiteX3371" fmla="*/ 6953913 w 9586368"/>
              <a:gd name="connsiteY3371" fmla="*/ 4082248 h 6479439"/>
              <a:gd name="connsiteX3372" fmla="*/ 6949894 w 9586368"/>
              <a:gd name="connsiteY3372" fmla="*/ 4086287 h 6479439"/>
              <a:gd name="connsiteX3373" fmla="*/ 6939983 w 9586368"/>
              <a:gd name="connsiteY3373" fmla="*/ 4086287 h 6479439"/>
              <a:gd name="connsiteX3374" fmla="*/ 6935964 w 9586368"/>
              <a:gd name="connsiteY3374" fmla="*/ 4082248 h 6479439"/>
              <a:gd name="connsiteX3375" fmla="*/ 6935964 w 9586368"/>
              <a:gd name="connsiteY3375" fmla="*/ 4072377 h 6479439"/>
              <a:gd name="connsiteX3376" fmla="*/ 6700670 w 9586368"/>
              <a:gd name="connsiteY3376" fmla="*/ 4068339 h 6479439"/>
              <a:gd name="connsiteX3377" fmla="*/ 6710581 w 9586368"/>
              <a:gd name="connsiteY3377" fmla="*/ 4068339 h 6479439"/>
              <a:gd name="connsiteX3378" fmla="*/ 6714600 w 9586368"/>
              <a:gd name="connsiteY3378" fmla="*/ 4072377 h 6479439"/>
              <a:gd name="connsiteX3379" fmla="*/ 6714600 w 9586368"/>
              <a:gd name="connsiteY3379" fmla="*/ 4082248 h 6479439"/>
              <a:gd name="connsiteX3380" fmla="*/ 6710581 w 9586368"/>
              <a:gd name="connsiteY3380" fmla="*/ 4086287 h 6479439"/>
              <a:gd name="connsiteX3381" fmla="*/ 6700670 w 9586368"/>
              <a:gd name="connsiteY3381" fmla="*/ 4086287 h 6479439"/>
              <a:gd name="connsiteX3382" fmla="*/ 6696651 w 9586368"/>
              <a:gd name="connsiteY3382" fmla="*/ 4082248 h 6479439"/>
              <a:gd name="connsiteX3383" fmla="*/ 6696651 w 9586368"/>
              <a:gd name="connsiteY3383" fmla="*/ 4072377 h 6479439"/>
              <a:gd name="connsiteX3384" fmla="*/ 6461356 w 9586368"/>
              <a:gd name="connsiteY3384" fmla="*/ 4068339 h 6479439"/>
              <a:gd name="connsiteX3385" fmla="*/ 6471266 w 9586368"/>
              <a:gd name="connsiteY3385" fmla="*/ 4068339 h 6479439"/>
              <a:gd name="connsiteX3386" fmla="*/ 6475285 w 9586368"/>
              <a:gd name="connsiteY3386" fmla="*/ 4072377 h 6479439"/>
              <a:gd name="connsiteX3387" fmla="*/ 6475285 w 9586368"/>
              <a:gd name="connsiteY3387" fmla="*/ 4082248 h 6479439"/>
              <a:gd name="connsiteX3388" fmla="*/ 6471266 w 9586368"/>
              <a:gd name="connsiteY3388" fmla="*/ 4086287 h 6479439"/>
              <a:gd name="connsiteX3389" fmla="*/ 6461356 w 9586368"/>
              <a:gd name="connsiteY3389" fmla="*/ 4086287 h 6479439"/>
              <a:gd name="connsiteX3390" fmla="*/ 6457337 w 9586368"/>
              <a:gd name="connsiteY3390" fmla="*/ 4082248 h 6479439"/>
              <a:gd name="connsiteX3391" fmla="*/ 6457337 w 9586368"/>
              <a:gd name="connsiteY3391" fmla="*/ 4072377 h 6479439"/>
              <a:gd name="connsiteX3392" fmla="*/ 6222042 w 9586368"/>
              <a:gd name="connsiteY3392" fmla="*/ 4068339 h 6479439"/>
              <a:gd name="connsiteX3393" fmla="*/ 6231952 w 9586368"/>
              <a:gd name="connsiteY3393" fmla="*/ 4068339 h 6479439"/>
              <a:gd name="connsiteX3394" fmla="*/ 6235971 w 9586368"/>
              <a:gd name="connsiteY3394" fmla="*/ 4072377 h 6479439"/>
              <a:gd name="connsiteX3395" fmla="*/ 6235971 w 9586368"/>
              <a:gd name="connsiteY3395" fmla="*/ 4082248 h 6479439"/>
              <a:gd name="connsiteX3396" fmla="*/ 6231952 w 9586368"/>
              <a:gd name="connsiteY3396" fmla="*/ 4086287 h 6479439"/>
              <a:gd name="connsiteX3397" fmla="*/ 6222042 w 9586368"/>
              <a:gd name="connsiteY3397" fmla="*/ 4086287 h 6479439"/>
              <a:gd name="connsiteX3398" fmla="*/ 6218023 w 9586368"/>
              <a:gd name="connsiteY3398" fmla="*/ 4082248 h 6479439"/>
              <a:gd name="connsiteX3399" fmla="*/ 6218023 w 9586368"/>
              <a:gd name="connsiteY3399" fmla="*/ 4072377 h 6479439"/>
              <a:gd name="connsiteX3400" fmla="*/ 5982729 w 9586368"/>
              <a:gd name="connsiteY3400" fmla="*/ 4068339 h 6479439"/>
              <a:gd name="connsiteX3401" fmla="*/ 5992639 w 9586368"/>
              <a:gd name="connsiteY3401" fmla="*/ 4068339 h 6479439"/>
              <a:gd name="connsiteX3402" fmla="*/ 5996658 w 9586368"/>
              <a:gd name="connsiteY3402" fmla="*/ 4072377 h 6479439"/>
              <a:gd name="connsiteX3403" fmla="*/ 5996658 w 9586368"/>
              <a:gd name="connsiteY3403" fmla="*/ 4082248 h 6479439"/>
              <a:gd name="connsiteX3404" fmla="*/ 5992639 w 9586368"/>
              <a:gd name="connsiteY3404" fmla="*/ 4086287 h 6479439"/>
              <a:gd name="connsiteX3405" fmla="*/ 5982729 w 9586368"/>
              <a:gd name="connsiteY3405" fmla="*/ 4086287 h 6479439"/>
              <a:gd name="connsiteX3406" fmla="*/ 5978710 w 9586368"/>
              <a:gd name="connsiteY3406" fmla="*/ 4082248 h 6479439"/>
              <a:gd name="connsiteX3407" fmla="*/ 5978710 w 9586368"/>
              <a:gd name="connsiteY3407" fmla="*/ 4072377 h 6479439"/>
              <a:gd name="connsiteX3408" fmla="*/ 5743412 w 9586368"/>
              <a:gd name="connsiteY3408" fmla="*/ 4068339 h 6479439"/>
              <a:gd name="connsiteX3409" fmla="*/ 5753323 w 9586368"/>
              <a:gd name="connsiteY3409" fmla="*/ 4068339 h 6479439"/>
              <a:gd name="connsiteX3410" fmla="*/ 5757342 w 9586368"/>
              <a:gd name="connsiteY3410" fmla="*/ 4072377 h 6479439"/>
              <a:gd name="connsiteX3411" fmla="*/ 5757342 w 9586368"/>
              <a:gd name="connsiteY3411" fmla="*/ 4082248 h 6479439"/>
              <a:gd name="connsiteX3412" fmla="*/ 5753323 w 9586368"/>
              <a:gd name="connsiteY3412" fmla="*/ 4086287 h 6479439"/>
              <a:gd name="connsiteX3413" fmla="*/ 5743412 w 9586368"/>
              <a:gd name="connsiteY3413" fmla="*/ 4086287 h 6479439"/>
              <a:gd name="connsiteX3414" fmla="*/ 5739393 w 9586368"/>
              <a:gd name="connsiteY3414" fmla="*/ 4082248 h 6479439"/>
              <a:gd name="connsiteX3415" fmla="*/ 5739393 w 9586368"/>
              <a:gd name="connsiteY3415" fmla="*/ 4072377 h 6479439"/>
              <a:gd name="connsiteX3416" fmla="*/ 5504099 w 9586368"/>
              <a:gd name="connsiteY3416" fmla="*/ 4068339 h 6479439"/>
              <a:gd name="connsiteX3417" fmla="*/ 5514010 w 9586368"/>
              <a:gd name="connsiteY3417" fmla="*/ 4068339 h 6479439"/>
              <a:gd name="connsiteX3418" fmla="*/ 5518029 w 9586368"/>
              <a:gd name="connsiteY3418" fmla="*/ 4072377 h 6479439"/>
              <a:gd name="connsiteX3419" fmla="*/ 5518029 w 9586368"/>
              <a:gd name="connsiteY3419" fmla="*/ 4082248 h 6479439"/>
              <a:gd name="connsiteX3420" fmla="*/ 5514010 w 9586368"/>
              <a:gd name="connsiteY3420" fmla="*/ 4086287 h 6479439"/>
              <a:gd name="connsiteX3421" fmla="*/ 5504099 w 9586368"/>
              <a:gd name="connsiteY3421" fmla="*/ 4086287 h 6479439"/>
              <a:gd name="connsiteX3422" fmla="*/ 5500080 w 9586368"/>
              <a:gd name="connsiteY3422" fmla="*/ 4082248 h 6479439"/>
              <a:gd name="connsiteX3423" fmla="*/ 5500080 w 9586368"/>
              <a:gd name="connsiteY3423" fmla="*/ 4072377 h 6479439"/>
              <a:gd name="connsiteX3424" fmla="*/ 5264784 w 9586368"/>
              <a:gd name="connsiteY3424" fmla="*/ 4068339 h 6479439"/>
              <a:gd name="connsiteX3425" fmla="*/ 5274694 w 9586368"/>
              <a:gd name="connsiteY3425" fmla="*/ 4068339 h 6479439"/>
              <a:gd name="connsiteX3426" fmla="*/ 5278713 w 9586368"/>
              <a:gd name="connsiteY3426" fmla="*/ 4072377 h 6479439"/>
              <a:gd name="connsiteX3427" fmla="*/ 5278713 w 9586368"/>
              <a:gd name="connsiteY3427" fmla="*/ 4082248 h 6479439"/>
              <a:gd name="connsiteX3428" fmla="*/ 5274694 w 9586368"/>
              <a:gd name="connsiteY3428" fmla="*/ 4086287 h 6479439"/>
              <a:gd name="connsiteX3429" fmla="*/ 5264784 w 9586368"/>
              <a:gd name="connsiteY3429" fmla="*/ 4086287 h 6479439"/>
              <a:gd name="connsiteX3430" fmla="*/ 5260765 w 9586368"/>
              <a:gd name="connsiteY3430" fmla="*/ 4082248 h 6479439"/>
              <a:gd name="connsiteX3431" fmla="*/ 5260765 w 9586368"/>
              <a:gd name="connsiteY3431" fmla="*/ 4072377 h 6479439"/>
              <a:gd name="connsiteX3432" fmla="*/ 5025470 w 9586368"/>
              <a:gd name="connsiteY3432" fmla="*/ 4068339 h 6479439"/>
              <a:gd name="connsiteX3433" fmla="*/ 5035381 w 9586368"/>
              <a:gd name="connsiteY3433" fmla="*/ 4068339 h 6479439"/>
              <a:gd name="connsiteX3434" fmla="*/ 5039400 w 9586368"/>
              <a:gd name="connsiteY3434" fmla="*/ 4072377 h 6479439"/>
              <a:gd name="connsiteX3435" fmla="*/ 5039400 w 9586368"/>
              <a:gd name="connsiteY3435" fmla="*/ 4082248 h 6479439"/>
              <a:gd name="connsiteX3436" fmla="*/ 5035381 w 9586368"/>
              <a:gd name="connsiteY3436" fmla="*/ 4086287 h 6479439"/>
              <a:gd name="connsiteX3437" fmla="*/ 5025470 w 9586368"/>
              <a:gd name="connsiteY3437" fmla="*/ 4086287 h 6479439"/>
              <a:gd name="connsiteX3438" fmla="*/ 5021451 w 9586368"/>
              <a:gd name="connsiteY3438" fmla="*/ 4082248 h 6479439"/>
              <a:gd name="connsiteX3439" fmla="*/ 5021451 w 9586368"/>
              <a:gd name="connsiteY3439" fmla="*/ 4072377 h 6479439"/>
              <a:gd name="connsiteX3440" fmla="*/ 4786241 w 9586368"/>
              <a:gd name="connsiteY3440" fmla="*/ 4068339 h 6479439"/>
              <a:gd name="connsiteX3441" fmla="*/ 4796152 w 9586368"/>
              <a:gd name="connsiteY3441" fmla="*/ 4068339 h 6479439"/>
              <a:gd name="connsiteX3442" fmla="*/ 4800171 w 9586368"/>
              <a:gd name="connsiteY3442" fmla="*/ 4072377 h 6479439"/>
              <a:gd name="connsiteX3443" fmla="*/ 4800171 w 9586368"/>
              <a:gd name="connsiteY3443" fmla="*/ 4082248 h 6479439"/>
              <a:gd name="connsiteX3444" fmla="*/ 4796152 w 9586368"/>
              <a:gd name="connsiteY3444" fmla="*/ 4086287 h 6479439"/>
              <a:gd name="connsiteX3445" fmla="*/ 4786241 w 9586368"/>
              <a:gd name="connsiteY3445" fmla="*/ 4086287 h 6479439"/>
              <a:gd name="connsiteX3446" fmla="*/ 4782224 w 9586368"/>
              <a:gd name="connsiteY3446" fmla="*/ 4082248 h 6479439"/>
              <a:gd name="connsiteX3447" fmla="*/ 4782224 w 9586368"/>
              <a:gd name="connsiteY3447" fmla="*/ 4072377 h 6479439"/>
              <a:gd name="connsiteX3448" fmla="*/ 4546929 w 9586368"/>
              <a:gd name="connsiteY3448" fmla="*/ 4068339 h 6479439"/>
              <a:gd name="connsiteX3449" fmla="*/ 4556840 w 9586368"/>
              <a:gd name="connsiteY3449" fmla="*/ 4068339 h 6479439"/>
              <a:gd name="connsiteX3450" fmla="*/ 4560859 w 9586368"/>
              <a:gd name="connsiteY3450" fmla="*/ 4072377 h 6479439"/>
              <a:gd name="connsiteX3451" fmla="*/ 4560859 w 9586368"/>
              <a:gd name="connsiteY3451" fmla="*/ 4082248 h 6479439"/>
              <a:gd name="connsiteX3452" fmla="*/ 4556840 w 9586368"/>
              <a:gd name="connsiteY3452" fmla="*/ 4086287 h 6479439"/>
              <a:gd name="connsiteX3453" fmla="*/ 4546929 w 9586368"/>
              <a:gd name="connsiteY3453" fmla="*/ 4086287 h 6479439"/>
              <a:gd name="connsiteX3454" fmla="*/ 4542910 w 9586368"/>
              <a:gd name="connsiteY3454" fmla="*/ 4082248 h 6479439"/>
              <a:gd name="connsiteX3455" fmla="*/ 4542910 w 9586368"/>
              <a:gd name="connsiteY3455" fmla="*/ 4072377 h 6479439"/>
              <a:gd name="connsiteX3456" fmla="*/ 4307612 w 9586368"/>
              <a:gd name="connsiteY3456" fmla="*/ 4068339 h 6479439"/>
              <a:gd name="connsiteX3457" fmla="*/ 4317523 w 9586368"/>
              <a:gd name="connsiteY3457" fmla="*/ 4068339 h 6479439"/>
              <a:gd name="connsiteX3458" fmla="*/ 4321543 w 9586368"/>
              <a:gd name="connsiteY3458" fmla="*/ 4072377 h 6479439"/>
              <a:gd name="connsiteX3459" fmla="*/ 4321543 w 9586368"/>
              <a:gd name="connsiteY3459" fmla="*/ 4082248 h 6479439"/>
              <a:gd name="connsiteX3460" fmla="*/ 4317523 w 9586368"/>
              <a:gd name="connsiteY3460" fmla="*/ 4086287 h 6479439"/>
              <a:gd name="connsiteX3461" fmla="*/ 4307612 w 9586368"/>
              <a:gd name="connsiteY3461" fmla="*/ 4086287 h 6479439"/>
              <a:gd name="connsiteX3462" fmla="*/ 4303595 w 9586368"/>
              <a:gd name="connsiteY3462" fmla="*/ 4082248 h 6479439"/>
              <a:gd name="connsiteX3463" fmla="*/ 4303595 w 9586368"/>
              <a:gd name="connsiteY3463" fmla="*/ 4072377 h 6479439"/>
              <a:gd name="connsiteX3464" fmla="*/ 4068297 w 9586368"/>
              <a:gd name="connsiteY3464" fmla="*/ 4068339 h 6479439"/>
              <a:gd name="connsiteX3465" fmla="*/ 4078210 w 9586368"/>
              <a:gd name="connsiteY3465" fmla="*/ 4068339 h 6479439"/>
              <a:gd name="connsiteX3466" fmla="*/ 4082229 w 9586368"/>
              <a:gd name="connsiteY3466" fmla="*/ 4072377 h 6479439"/>
              <a:gd name="connsiteX3467" fmla="*/ 4082229 w 9586368"/>
              <a:gd name="connsiteY3467" fmla="*/ 4082248 h 6479439"/>
              <a:gd name="connsiteX3468" fmla="*/ 4078210 w 9586368"/>
              <a:gd name="connsiteY3468" fmla="*/ 4086287 h 6479439"/>
              <a:gd name="connsiteX3469" fmla="*/ 4068297 w 9586368"/>
              <a:gd name="connsiteY3469" fmla="*/ 4086287 h 6479439"/>
              <a:gd name="connsiteX3470" fmla="*/ 4064278 w 9586368"/>
              <a:gd name="connsiteY3470" fmla="*/ 4082248 h 6479439"/>
              <a:gd name="connsiteX3471" fmla="*/ 4064278 w 9586368"/>
              <a:gd name="connsiteY3471" fmla="*/ 4072377 h 6479439"/>
              <a:gd name="connsiteX3472" fmla="*/ 3828990 w 9586368"/>
              <a:gd name="connsiteY3472" fmla="*/ 4068339 h 6479439"/>
              <a:gd name="connsiteX3473" fmla="*/ 3838899 w 9586368"/>
              <a:gd name="connsiteY3473" fmla="*/ 4068339 h 6479439"/>
              <a:gd name="connsiteX3474" fmla="*/ 3842917 w 9586368"/>
              <a:gd name="connsiteY3474" fmla="*/ 4072377 h 6479439"/>
              <a:gd name="connsiteX3475" fmla="*/ 3842917 w 9586368"/>
              <a:gd name="connsiteY3475" fmla="*/ 4082248 h 6479439"/>
              <a:gd name="connsiteX3476" fmla="*/ 3838899 w 9586368"/>
              <a:gd name="connsiteY3476" fmla="*/ 4086287 h 6479439"/>
              <a:gd name="connsiteX3477" fmla="*/ 3828990 w 9586368"/>
              <a:gd name="connsiteY3477" fmla="*/ 4086287 h 6479439"/>
              <a:gd name="connsiteX3478" fmla="*/ 3824971 w 9586368"/>
              <a:gd name="connsiteY3478" fmla="*/ 4082248 h 6479439"/>
              <a:gd name="connsiteX3479" fmla="*/ 3824971 w 9586368"/>
              <a:gd name="connsiteY3479" fmla="*/ 4072377 h 6479439"/>
              <a:gd name="connsiteX3480" fmla="*/ 3589676 w 9586368"/>
              <a:gd name="connsiteY3480" fmla="*/ 4068339 h 6479439"/>
              <a:gd name="connsiteX3481" fmla="*/ 3599585 w 9586368"/>
              <a:gd name="connsiteY3481" fmla="*/ 4068339 h 6479439"/>
              <a:gd name="connsiteX3482" fmla="*/ 3603604 w 9586368"/>
              <a:gd name="connsiteY3482" fmla="*/ 4072377 h 6479439"/>
              <a:gd name="connsiteX3483" fmla="*/ 3603604 w 9586368"/>
              <a:gd name="connsiteY3483" fmla="*/ 4082248 h 6479439"/>
              <a:gd name="connsiteX3484" fmla="*/ 3599585 w 9586368"/>
              <a:gd name="connsiteY3484" fmla="*/ 4086287 h 6479439"/>
              <a:gd name="connsiteX3485" fmla="*/ 3589676 w 9586368"/>
              <a:gd name="connsiteY3485" fmla="*/ 4086287 h 6479439"/>
              <a:gd name="connsiteX3486" fmla="*/ 3585657 w 9586368"/>
              <a:gd name="connsiteY3486" fmla="*/ 4082248 h 6479439"/>
              <a:gd name="connsiteX3487" fmla="*/ 3585657 w 9586368"/>
              <a:gd name="connsiteY3487" fmla="*/ 4072377 h 6479439"/>
              <a:gd name="connsiteX3488" fmla="*/ 3350359 w 9586368"/>
              <a:gd name="connsiteY3488" fmla="*/ 4068339 h 6479439"/>
              <a:gd name="connsiteX3489" fmla="*/ 3360268 w 9586368"/>
              <a:gd name="connsiteY3489" fmla="*/ 4068339 h 6479439"/>
              <a:gd name="connsiteX3490" fmla="*/ 3364287 w 9586368"/>
              <a:gd name="connsiteY3490" fmla="*/ 4072377 h 6479439"/>
              <a:gd name="connsiteX3491" fmla="*/ 3364287 w 9586368"/>
              <a:gd name="connsiteY3491" fmla="*/ 4082248 h 6479439"/>
              <a:gd name="connsiteX3492" fmla="*/ 3360268 w 9586368"/>
              <a:gd name="connsiteY3492" fmla="*/ 4086287 h 6479439"/>
              <a:gd name="connsiteX3493" fmla="*/ 3350359 w 9586368"/>
              <a:gd name="connsiteY3493" fmla="*/ 4086287 h 6479439"/>
              <a:gd name="connsiteX3494" fmla="*/ 3346340 w 9586368"/>
              <a:gd name="connsiteY3494" fmla="*/ 4082248 h 6479439"/>
              <a:gd name="connsiteX3495" fmla="*/ 3346340 w 9586368"/>
              <a:gd name="connsiteY3495" fmla="*/ 4072377 h 6479439"/>
              <a:gd name="connsiteX3496" fmla="*/ 3111048 w 9586368"/>
              <a:gd name="connsiteY3496" fmla="*/ 4068339 h 6479439"/>
              <a:gd name="connsiteX3497" fmla="*/ 3120959 w 9586368"/>
              <a:gd name="connsiteY3497" fmla="*/ 4068339 h 6479439"/>
              <a:gd name="connsiteX3498" fmla="*/ 3124977 w 9586368"/>
              <a:gd name="connsiteY3498" fmla="*/ 4072377 h 6479439"/>
              <a:gd name="connsiteX3499" fmla="*/ 3124977 w 9586368"/>
              <a:gd name="connsiteY3499" fmla="*/ 4082248 h 6479439"/>
              <a:gd name="connsiteX3500" fmla="*/ 3120959 w 9586368"/>
              <a:gd name="connsiteY3500" fmla="*/ 4086287 h 6479439"/>
              <a:gd name="connsiteX3501" fmla="*/ 3111048 w 9586368"/>
              <a:gd name="connsiteY3501" fmla="*/ 4086287 h 6479439"/>
              <a:gd name="connsiteX3502" fmla="*/ 3107029 w 9586368"/>
              <a:gd name="connsiteY3502" fmla="*/ 4082248 h 6479439"/>
              <a:gd name="connsiteX3503" fmla="*/ 3107029 w 9586368"/>
              <a:gd name="connsiteY3503" fmla="*/ 4072377 h 6479439"/>
              <a:gd name="connsiteX3504" fmla="*/ 2871737 w 9586368"/>
              <a:gd name="connsiteY3504" fmla="*/ 4068339 h 6479439"/>
              <a:gd name="connsiteX3505" fmla="*/ 2881646 w 9586368"/>
              <a:gd name="connsiteY3505" fmla="*/ 4068339 h 6479439"/>
              <a:gd name="connsiteX3506" fmla="*/ 2885666 w 9586368"/>
              <a:gd name="connsiteY3506" fmla="*/ 4072377 h 6479439"/>
              <a:gd name="connsiteX3507" fmla="*/ 2885666 w 9586368"/>
              <a:gd name="connsiteY3507" fmla="*/ 4082248 h 6479439"/>
              <a:gd name="connsiteX3508" fmla="*/ 2881646 w 9586368"/>
              <a:gd name="connsiteY3508" fmla="*/ 4086287 h 6479439"/>
              <a:gd name="connsiteX3509" fmla="*/ 2871737 w 9586368"/>
              <a:gd name="connsiteY3509" fmla="*/ 4086287 h 6479439"/>
              <a:gd name="connsiteX3510" fmla="*/ 2867717 w 9586368"/>
              <a:gd name="connsiteY3510" fmla="*/ 4082248 h 6479439"/>
              <a:gd name="connsiteX3511" fmla="*/ 2867717 w 9586368"/>
              <a:gd name="connsiteY3511" fmla="*/ 4072377 h 6479439"/>
              <a:gd name="connsiteX3512" fmla="*/ 2632423 w 9586368"/>
              <a:gd name="connsiteY3512" fmla="*/ 4068339 h 6479439"/>
              <a:gd name="connsiteX3513" fmla="*/ 2642334 w 9586368"/>
              <a:gd name="connsiteY3513" fmla="*/ 4068339 h 6479439"/>
              <a:gd name="connsiteX3514" fmla="*/ 2646352 w 9586368"/>
              <a:gd name="connsiteY3514" fmla="*/ 4072377 h 6479439"/>
              <a:gd name="connsiteX3515" fmla="*/ 2646352 w 9586368"/>
              <a:gd name="connsiteY3515" fmla="*/ 4082248 h 6479439"/>
              <a:gd name="connsiteX3516" fmla="*/ 2642334 w 9586368"/>
              <a:gd name="connsiteY3516" fmla="*/ 4086287 h 6479439"/>
              <a:gd name="connsiteX3517" fmla="*/ 2632423 w 9586368"/>
              <a:gd name="connsiteY3517" fmla="*/ 4086287 h 6479439"/>
              <a:gd name="connsiteX3518" fmla="*/ 2628404 w 9586368"/>
              <a:gd name="connsiteY3518" fmla="*/ 4082248 h 6479439"/>
              <a:gd name="connsiteX3519" fmla="*/ 2628404 w 9586368"/>
              <a:gd name="connsiteY3519" fmla="*/ 4072377 h 6479439"/>
              <a:gd name="connsiteX3520" fmla="*/ 2393104 w 9586368"/>
              <a:gd name="connsiteY3520" fmla="*/ 4068339 h 6479439"/>
              <a:gd name="connsiteX3521" fmla="*/ 2403015 w 9586368"/>
              <a:gd name="connsiteY3521" fmla="*/ 4068339 h 6479439"/>
              <a:gd name="connsiteX3522" fmla="*/ 2407034 w 9586368"/>
              <a:gd name="connsiteY3522" fmla="*/ 4072377 h 6479439"/>
              <a:gd name="connsiteX3523" fmla="*/ 2407034 w 9586368"/>
              <a:gd name="connsiteY3523" fmla="*/ 4082248 h 6479439"/>
              <a:gd name="connsiteX3524" fmla="*/ 2403015 w 9586368"/>
              <a:gd name="connsiteY3524" fmla="*/ 4086287 h 6479439"/>
              <a:gd name="connsiteX3525" fmla="*/ 2393104 w 9586368"/>
              <a:gd name="connsiteY3525" fmla="*/ 4086287 h 6479439"/>
              <a:gd name="connsiteX3526" fmla="*/ 2389087 w 9586368"/>
              <a:gd name="connsiteY3526" fmla="*/ 4082248 h 6479439"/>
              <a:gd name="connsiteX3527" fmla="*/ 2389087 w 9586368"/>
              <a:gd name="connsiteY3527" fmla="*/ 4072377 h 6479439"/>
              <a:gd name="connsiteX3528" fmla="*/ 2157819 w 9586368"/>
              <a:gd name="connsiteY3528" fmla="*/ 4068339 h 6479439"/>
              <a:gd name="connsiteX3529" fmla="*/ 2167729 w 9586368"/>
              <a:gd name="connsiteY3529" fmla="*/ 4068339 h 6479439"/>
              <a:gd name="connsiteX3530" fmla="*/ 2171749 w 9586368"/>
              <a:gd name="connsiteY3530" fmla="*/ 4072377 h 6479439"/>
              <a:gd name="connsiteX3531" fmla="*/ 2171749 w 9586368"/>
              <a:gd name="connsiteY3531" fmla="*/ 4082248 h 6479439"/>
              <a:gd name="connsiteX3532" fmla="*/ 2167729 w 9586368"/>
              <a:gd name="connsiteY3532" fmla="*/ 4086287 h 6479439"/>
              <a:gd name="connsiteX3533" fmla="*/ 2157819 w 9586368"/>
              <a:gd name="connsiteY3533" fmla="*/ 4086287 h 6479439"/>
              <a:gd name="connsiteX3534" fmla="*/ 2153801 w 9586368"/>
              <a:gd name="connsiteY3534" fmla="*/ 4082248 h 6479439"/>
              <a:gd name="connsiteX3535" fmla="*/ 2153801 w 9586368"/>
              <a:gd name="connsiteY3535" fmla="*/ 4072377 h 6479439"/>
              <a:gd name="connsiteX3536" fmla="*/ 1918511 w 9586368"/>
              <a:gd name="connsiteY3536" fmla="*/ 4068339 h 6479439"/>
              <a:gd name="connsiteX3537" fmla="*/ 1928421 w 9586368"/>
              <a:gd name="connsiteY3537" fmla="*/ 4068339 h 6479439"/>
              <a:gd name="connsiteX3538" fmla="*/ 1932440 w 9586368"/>
              <a:gd name="connsiteY3538" fmla="*/ 4072377 h 6479439"/>
              <a:gd name="connsiteX3539" fmla="*/ 1932440 w 9586368"/>
              <a:gd name="connsiteY3539" fmla="*/ 4082248 h 6479439"/>
              <a:gd name="connsiteX3540" fmla="*/ 1928421 w 9586368"/>
              <a:gd name="connsiteY3540" fmla="*/ 4086287 h 6479439"/>
              <a:gd name="connsiteX3541" fmla="*/ 1918511 w 9586368"/>
              <a:gd name="connsiteY3541" fmla="*/ 4086287 h 6479439"/>
              <a:gd name="connsiteX3542" fmla="*/ 1914492 w 9586368"/>
              <a:gd name="connsiteY3542" fmla="*/ 4082248 h 6479439"/>
              <a:gd name="connsiteX3543" fmla="*/ 1914492 w 9586368"/>
              <a:gd name="connsiteY3543" fmla="*/ 4072377 h 6479439"/>
              <a:gd name="connsiteX3544" fmla="*/ 1679207 w 9586368"/>
              <a:gd name="connsiteY3544" fmla="*/ 4068339 h 6479439"/>
              <a:gd name="connsiteX3545" fmla="*/ 1689117 w 9586368"/>
              <a:gd name="connsiteY3545" fmla="*/ 4068339 h 6479439"/>
              <a:gd name="connsiteX3546" fmla="*/ 1693137 w 9586368"/>
              <a:gd name="connsiteY3546" fmla="*/ 4072377 h 6479439"/>
              <a:gd name="connsiteX3547" fmla="*/ 1693137 w 9586368"/>
              <a:gd name="connsiteY3547" fmla="*/ 4082248 h 6479439"/>
              <a:gd name="connsiteX3548" fmla="*/ 1689117 w 9586368"/>
              <a:gd name="connsiteY3548" fmla="*/ 4086287 h 6479439"/>
              <a:gd name="connsiteX3549" fmla="*/ 1679207 w 9586368"/>
              <a:gd name="connsiteY3549" fmla="*/ 4086287 h 6479439"/>
              <a:gd name="connsiteX3550" fmla="*/ 1675189 w 9586368"/>
              <a:gd name="connsiteY3550" fmla="*/ 4082248 h 6479439"/>
              <a:gd name="connsiteX3551" fmla="*/ 1675189 w 9586368"/>
              <a:gd name="connsiteY3551" fmla="*/ 4072377 h 6479439"/>
              <a:gd name="connsiteX3552" fmla="*/ 1439891 w 9586368"/>
              <a:gd name="connsiteY3552" fmla="*/ 4068339 h 6479439"/>
              <a:gd name="connsiteX3553" fmla="*/ 1449802 w 9586368"/>
              <a:gd name="connsiteY3553" fmla="*/ 4068339 h 6479439"/>
              <a:gd name="connsiteX3554" fmla="*/ 1453820 w 9586368"/>
              <a:gd name="connsiteY3554" fmla="*/ 4072377 h 6479439"/>
              <a:gd name="connsiteX3555" fmla="*/ 1453820 w 9586368"/>
              <a:gd name="connsiteY3555" fmla="*/ 4082248 h 6479439"/>
              <a:gd name="connsiteX3556" fmla="*/ 1449802 w 9586368"/>
              <a:gd name="connsiteY3556" fmla="*/ 4086287 h 6479439"/>
              <a:gd name="connsiteX3557" fmla="*/ 1439891 w 9586368"/>
              <a:gd name="connsiteY3557" fmla="*/ 4086287 h 6479439"/>
              <a:gd name="connsiteX3558" fmla="*/ 1435873 w 9586368"/>
              <a:gd name="connsiteY3558" fmla="*/ 4082248 h 6479439"/>
              <a:gd name="connsiteX3559" fmla="*/ 1435873 w 9586368"/>
              <a:gd name="connsiteY3559" fmla="*/ 4072377 h 6479439"/>
              <a:gd name="connsiteX3560" fmla="*/ 1200576 w 9586368"/>
              <a:gd name="connsiteY3560" fmla="*/ 4068339 h 6479439"/>
              <a:gd name="connsiteX3561" fmla="*/ 1210486 w 9586368"/>
              <a:gd name="connsiteY3561" fmla="*/ 4068339 h 6479439"/>
              <a:gd name="connsiteX3562" fmla="*/ 1214505 w 9586368"/>
              <a:gd name="connsiteY3562" fmla="*/ 4072377 h 6479439"/>
              <a:gd name="connsiteX3563" fmla="*/ 1214505 w 9586368"/>
              <a:gd name="connsiteY3563" fmla="*/ 4082248 h 6479439"/>
              <a:gd name="connsiteX3564" fmla="*/ 1210486 w 9586368"/>
              <a:gd name="connsiteY3564" fmla="*/ 4086287 h 6479439"/>
              <a:gd name="connsiteX3565" fmla="*/ 1200576 w 9586368"/>
              <a:gd name="connsiteY3565" fmla="*/ 4086287 h 6479439"/>
              <a:gd name="connsiteX3566" fmla="*/ 1196558 w 9586368"/>
              <a:gd name="connsiteY3566" fmla="*/ 4082248 h 6479439"/>
              <a:gd name="connsiteX3567" fmla="*/ 1196558 w 9586368"/>
              <a:gd name="connsiteY3567" fmla="*/ 4072377 h 6479439"/>
              <a:gd name="connsiteX3568" fmla="*/ 961263 w 9586368"/>
              <a:gd name="connsiteY3568" fmla="*/ 4068339 h 6479439"/>
              <a:gd name="connsiteX3569" fmla="*/ 971174 w 9586368"/>
              <a:gd name="connsiteY3569" fmla="*/ 4068339 h 6479439"/>
              <a:gd name="connsiteX3570" fmla="*/ 975192 w 9586368"/>
              <a:gd name="connsiteY3570" fmla="*/ 4072377 h 6479439"/>
              <a:gd name="connsiteX3571" fmla="*/ 975192 w 9586368"/>
              <a:gd name="connsiteY3571" fmla="*/ 4082248 h 6479439"/>
              <a:gd name="connsiteX3572" fmla="*/ 971174 w 9586368"/>
              <a:gd name="connsiteY3572" fmla="*/ 4086287 h 6479439"/>
              <a:gd name="connsiteX3573" fmla="*/ 961263 w 9586368"/>
              <a:gd name="connsiteY3573" fmla="*/ 4086287 h 6479439"/>
              <a:gd name="connsiteX3574" fmla="*/ 957244 w 9586368"/>
              <a:gd name="connsiteY3574" fmla="*/ 4082248 h 6479439"/>
              <a:gd name="connsiteX3575" fmla="*/ 957244 w 9586368"/>
              <a:gd name="connsiteY3575" fmla="*/ 4072377 h 6479439"/>
              <a:gd name="connsiteX3576" fmla="*/ 721965 w 9586368"/>
              <a:gd name="connsiteY3576" fmla="*/ 4068339 h 6479439"/>
              <a:gd name="connsiteX3577" fmla="*/ 731876 w 9586368"/>
              <a:gd name="connsiteY3577" fmla="*/ 4068339 h 6479439"/>
              <a:gd name="connsiteX3578" fmla="*/ 735894 w 9586368"/>
              <a:gd name="connsiteY3578" fmla="*/ 4072377 h 6479439"/>
              <a:gd name="connsiteX3579" fmla="*/ 735894 w 9586368"/>
              <a:gd name="connsiteY3579" fmla="*/ 4082248 h 6479439"/>
              <a:gd name="connsiteX3580" fmla="*/ 731876 w 9586368"/>
              <a:gd name="connsiteY3580" fmla="*/ 4086287 h 6479439"/>
              <a:gd name="connsiteX3581" fmla="*/ 721965 w 9586368"/>
              <a:gd name="connsiteY3581" fmla="*/ 4086287 h 6479439"/>
              <a:gd name="connsiteX3582" fmla="*/ 717946 w 9586368"/>
              <a:gd name="connsiteY3582" fmla="*/ 4082248 h 6479439"/>
              <a:gd name="connsiteX3583" fmla="*/ 717946 w 9586368"/>
              <a:gd name="connsiteY3583" fmla="*/ 4072377 h 6479439"/>
              <a:gd name="connsiteX3584" fmla="*/ 482653 w 9586368"/>
              <a:gd name="connsiteY3584" fmla="*/ 4068339 h 6479439"/>
              <a:gd name="connsiteX3585" fmla="*/ 492563 w 9586368"/>
              <a:gd name="connsiteY3585" fmla="*/ 4068339 h 6479439"/>
              <a:gd name="connsiteX3586" fmla="*/ 496583 w 9586368"/>
              <a:gd name="connsiteY3586" fmla="*/ 4072377 h 6479439"/>
              <a:gd name="connsiteX3587" fmla="*/ 496583 w 9586368"/>
              <a:gd name="connsiteY3587" fmla="*/ 4082248 h 6479439"/>
              <a:gd name="connsiteX3588" fmla="*/ 492563 w 9586368"/>
              <a:gd name="connsiteY3588" fmla="*/ 4086287 h 6479439"/>
              <a:gd name="connsiteX3589" fmla="*/ 482653 w 9586368"/>
              <a:gd name="connsiteY3589" fmla="*/ 4086287 h 6479439"/>
              <a:gd name="connsiteX3590" fmla="*/ 478634 w 9586368"/>
              <a:gd name="connsiteY3590" fmla="*/ 4082248 h 6479439"/>
              <a:gd name="connsiteX3591" fmla="*/ 478634 w 9586368"/>
              <a:gd name="connsiteY3591" fmla="*/ 4072377 h 6479439"/>
              <a:gd name="connsiteX3592" fmla="*/ 243339 w 9586368"/>
              <a:gd name="connsiteY3592" fmla="*/ 4068339 h 6479439"/>
              <a:gd name="connsiteX3593" fmla="*/ 253250 w 9586368"/>
              <a:gd name="connsiteY3593" fmla="*/ 4068339 h 6479439"/>
              <a:gd name="connsiteX3594" fmla="*/ 257269 w 9586368"/>
              <a:gd name="connsiteY3594" fmla="*/ 4072377 h 6479439"/>
              <a:gd name="connsiteX3595" fmla="*/ 257269 w 9586368"/>
              <a:gd name="connsiteY3595" fmla="*/ 4082248 h 6479439"/>
              <a:gd name="connsiteX3596" fmla="*/ 253250 w 9586368"/>
              <a:gd name="connsiteY3596" fmla="*/ 4086287 h 6479439"/>
              <a:gd name="connsiteX3597" fmla="*/ 243339 w 9586368"/>
              <a:gd name="connsiteY3597" fmla="*/ 4086287 h 6479439"/>
              <a:gd name="connsiteX3598" fmla="*/ 239320 w 9586368"/>
              <a:gd name="connsiteY3598" fmla="*/ 4082248 h 6479439"/>
              <a:gd name="connsiteX3599" fmla="*/ 239320 w 9586368"/>
              <a:gd name="connsiteY3599" fmla="*/ 4072377 h 6479439"/>
              <a:gd name="connsiteX3600" fmla="*/ 4026 w 9586368"/>
              <a:gd name="connsiteY3600" fmla="*/ 4068339 h 6479439"/>
              <a:gd name="connsiteX3601" fmla="*/ 13936 w 9586368"/>
              <a:gd name="connsiteY3601" fmla="*/ 4068339 h 6479439"/>
              <a:gd name="connsiteX3602" fmla="*/ 17956 w 9586368"/>
              <a:gd name="connsiteY3602" fmla="*/ 4072377 h 6479439"/>
              <a:gd name="connsiteX3603" fmla="*/ 17956 w 9586368"/>
              <a:gd name="connsiteY3603" fmla="*/ 4082248 h 6479439"/>
              <a:gd name="connsiteX3604" fmla="*/ 13936 w 9586368"/>
              <a:gd name="connsiteY3604" fmla="*/ 4086287 h 6479439"/>
              <a:gd name="connsiteX3605" fmla="*/ 4026 w 9586368"/>
              <a:gd name="connsiteY3605" fmla="*/ 4086287 h 6479439"/>
              <a:gd name="connsiteX3606" fmla="*/ 7 w 9586368"/>
              <a:gd name="connsiteY3606" fmla="*/ 4082248 h 6479439"/>
              <a:gd name="connsiteX3607" fmla="*/ 7 w 9586368"/>
              <a:gd name="connsiteY3607" fmla="*/ 4072377 h 6479439"/>
              <a:gd name="connsiteX3608" fmla="*/ 2157820 w 9586368"/>
              <a:gd name="connsiteY3608" fmla="*/ 3829058 h 6479439"/>
              <a:gd name="connsiteX3609" fmla="*/ 2167731 w 9586368"/>
              <a:gd name="connsiteY3609" fmla="*/ 3829058 h 6479439"/>
              <a:gd name="connsiteX3610" fmla="*/ 2171749 w 9586368"/>
              <a:gd name="connsiteY3610" fmla="*/ 3833097 h 6479439"/>
              <a:gd name="connsiteX3611" fmla="*/ 2171749 w 9586368"/>
              <a:gd name="connsiteY3611" fmla="*/ 3842968 h 6479439"/>
              <a:gd name="connsiteX3612" fmla="*/ 2167731 w 9586368"/>
              <a:gd name="connsiteY3612" fmla="*/ 3847007 h 6479439"/>
              <a:gd name="connsiteX3613" fmla="*/ 2157820 w 9586368"/>
              <a:gd name="connsiteY3613" fmla="*/ 3847007 h 6479439"/>
              <a:gd name="connsiteX3614" fmla="*/ 2153801 w 9586368"/>
              <a:gd name="connsiteY3614" fmla="*/ 3842968 h 6479439"/>
              <a:gd name="connsiteX3615" fmla="*/ 2153801 w 9586368"/>
              <a:gd name="connsiteY3615" fmla="*/ 3833097 h 6479439"/>
              <a:gd name="connsiteX3616" fmla="*/ 1918511 w 9586368"/>
              <a:gd name="connsiteY3616" fmla="*/ 3829058 h 6479439"/>
              <a:gd name="connsiteX3617" fmla="*/ 1928421 w 9586368"/>
              <a:gd name="connsiteY3617" fmla="*/ 3829058 h 6479439"/>
              <a:gd name="connsiteX3618" fmla="*/ 1932440 w 9586368"/>
              <a:gd name="connsiteY3618" fmla="*/ 3833097 h 6479439"/>
              <a:gd name="connsiteX3619" fmla="*/ 1932440 w 9586368"/>
              <a:gd name="connsiteY3619" fmla="*/ 3842968 h 6479439"/>
              <a:gd name="connsiteX3620" fmla="*/ 1928421 w 9586368"/>
              <a:gd name="connsiteY3620" fmla="*/ 3847007 h 6479439"/>
              <a:gd name="connsiteX3621" fmla="*/ 1918511 w 9586368"/>
              <a:gd name="connsiteY3621" fmla="*/ 3847007 h 6479439"/>
              <a:gd name="connsiteX3622" fmla="*/ 1914493 w 9586368"/>
              <a:gd name="connsiteY3622" fmla="*/ 3842968 h 6479439"/>
              <a:gd name="connsiteX3623" fmla="*/ 1914493 w 9586368"/>
              <a:gd name="connsiteY3623" fmla="*/ 3833097 h 6479439"/>
              <a:gd name="connsiteX3624" fmla="*/ 1679209 w 9586368"/>
              <a:gd name="connsiteY3624" fmla="*/ 3829058 h 6479439"/>
              <a:gd name="connsiteX3625" fmla="*/ 1689118 w 9586368"/>
              <a:gd name="connsiteY3625" fmla="*/ 3829058 h 6479439"/>
              <a:gd name="connsiteX3626" fmla="*/ 1693137 w 9586368"/>
              <a:gd name="connsiteY3626" fmla="*/ 3833097 h 6479439"/>
              <a:gd name="connsiteX3627" fmla="*/ 1693137 w 9586368"/>
              <a:gd name="connsiteY3627" fmla="*/ 3842968 h 6479439"/>
              <a:gd name="connsiteX3628" fmla="*/ 1689118 w 9586368"/>
              <a:gd name="connsiteY3628" fmla="*/ 3847007 h 6479439"/>
              <a:gd name="connsiteX3629" fmla="*/ 1679209 w 9586368"/>
              <a:gd name="connsiteY3629" fmla="*/ 3847007 h 6479439"/>
              <a:gd name="connsiteX3630" fmla="*/ 1675189 w 9586368"/>
              <a:gd name="connsiteY3630" fmla="*/ 3842968 h 6479439"/>
              <a:gd name="connsiteX3631" fmla="*/ 1675189 w 9586368"/>
              <a:gd name="connsiteY3631" fmla="*/ 3833097 h 6479439"/>
              <a:gd name="connsiteX3632" fmla="*/ 1439892 w 9586368"/>
              <a:gd name="connsiteY3632" fmla="*/ 3829058 h 6479439"/>
              <a:gd name="connsiteX3633" fmla="*/ 1449802 w 9586368"/>
              <a:gd name="connsiteY3633" fmla="*/ 3829058 h 6479439"/>
              <a:gd name="connsiteX3634" fmla="*/ 1453820 w 9586368"/>
              <a:gd name="connsiteY3634" fmla="*/ 3833097 h 6479439"/>
              <a:gd name="connsiteX3635" fmla="*/ 1453820 w 9586368"/>
              <a:gd name="connsiteY3635" fmla="*/ 3842968 h 6479439"/>
              <a:gd name="connsiteX3636" fmla="*/ 1449802 w 9586368"/>
              <a:gd name="connsiteY3636" fmla="*/ 3847007 h 6479439"/>
              <a:gd name="connsiteX3637" fmla="*/ 1439892 w 9586368"/>
              <a:gd name="connsiteY3637" fmla="*/ 3847007 h 6479439"/>
              <a:gd name="connsiteX3638" fmla="*/ 1435874 w 9586368"/>
              <a:gd name="connsiteY3638" fmla="*/ 3842968 h 6479439"/>
              <a:gd name="connsiteX3639" fmla="*/ 1435874 w 9586368"/>
              <a:gd name="connsiteY3639" fmla="*/ 3833097 h 6479439"/>
              <a:gd name="connsiteX3640" fmla="*/ 1200577 w 9586368"/>
              <a:gd name="connsiteY3640" fmla="*/ 3829058 h 6479439"/>
              <a:gd name="connsiteX3641" fmla="*/ 1210487 w 9586368"/>
              <a:gd name="connsiteY3641" fmla="*/ 3829058 h 6479439"/>
              <a:gd name="connsiteX3642" fmla="*/ 1214506 w 9586368"/>
              <a:gd name="connsiteY3642" fmla="*/ 3833097 h 6479439"/>
              <a:gd name="connsiteX3643" fmla="*/ 1214506 w 9586368"/>
              <a:gd name="connsiteY3643" fmla="*/ 3842968 h 6479439"/>
              <a:gd name="connsiteX3644" fmla="*/ 1210487 w 9586368"/>
              <a:gd name="connsiteY3644" fmla="*/ 3847007 h 6479439"/>
              <a:gd name="connsiteX3645" fmla="*/ 1200577 w 9586368"/>
              <a:gd name="connsiteY3645" fmla="*/ 3847007 h 6479439"/>
              <a:gd name="connsiteX3646" fmla="*/ 1196558 w 9586368"/>
              <a:gd name="connsiteY3646" fmla="*/ 3842968 h 6479439"/>
              <a:gd name="connsiteX3647" fmla="*/ 1196558 w 9586368"/>
              <a:gd name="connsiteY3647" fmla="*/ 3833097 h 6479439"/>
              <a:gd name="connsiteX3648" fmla="*/ 961264 w 9586368"/>
              <a:gd name="connsiteY3648" fmla="*/ 3829058 h 6479439"/>
              <a:gd name="connsiteX3649" fmla="*/ 971174 w 9586368"/>
              <a:gd name="connsiteY3649" fmla="*/ 3829058 h 6479439"/>
              <a:gd name="connsiteX3650" fmla="*/ 975193 w 9586368"/>
              <a:gd name="connsiteY3650" fmla="*/ 3833097 h 6479439"/>
              <a:gd name="connsiteX3651" fmla="*/ 975193 w 9586368"/>
              <a:gd name="connsiteY3651" fmla="*/ 3842968 h 6479439"/>
              <a:gd name="connsiteX3652" fmla="*/ 971174 w 9586368"/>
              <a:gd name="connsiteY3652" fmla="*/ 3847007 h 6479439"/>
              <a:gd name="connsiteX3653" fmla="*/ 961264 w 9586368"/>
              <a:gd name="connsiteY3653" fmla="*/ 3847007 h 6479439"/>
              <a:gd name="connsiteX3654" fmla="*/ 957245 w 9586368"/>
              <a:gd name="connsiteY3654" fmla="*/ 3842968 h 6479439"/>
              <a:gd name="connsiteX3655" fmla="*/ 957245 w 9586368"/>
              <a:gd name="connsiteY3655" fmla="*/ 3833097 h 6479439"/>
              <a:gd name="connsiteX3656" fmla="*/ 9572438 w 9586368"/>
              <a:gd name="connsiteY3656" fmla="*/ 3829008 h 6479439"/>
              <a:gd name="connsiteX3657" fmla="*/ 9582349 w 9586368"/>
              <a:gd name="connsiteY3657" fmla="*/ 3829008 h 6479439"/>
              <a:gd name="connsiteX3658" fmla="*/ 9586368 w 9586368"/>
              <a:gd name="connsiteY3658" fmla="*/ 3833046 h 6479439"/>
              <a:gd name="connsiteX3659" fmla="*/ 9586368 w 9586368"/>
              <a:gd name="connsiteY3659" fmla="*/ 3842917 h 6479439"/>
              <a:gd name="connsiteX3660" fmla="*/ 9582349 w 9586368"/>
              <a:gd name="connsiteY3660" fmla="*/ 3846956 h 6479439"/>
              <a:gd name="connsiteX3661" fmla="*/ 9572438 w 9586368"/>
              <a:gd name="connsiteY3661" fmla="*/ 3846956 h 6479439"/>
              <a:gd name="connsiteX3662" fmla="*/ 9568419 w 9586368"/>
              <a:gd name="connsiteY3662" fmla="*/ 3842917 h 6479439"/>
              <a:gd name="connsiteX3663" fmla="*/ 9568419 w 9586368"/>
              <a:gd name="connsiteY3663" fmla="*/ 3833046 h 6479439"/>
              <a:gd name="connsiteX3664" fmla="*/ 9333125 w 9586368"/>
              <a:gd name="connsiteY3664" fmla="*/ 3829008 h 6479439"/>
              <a:gd name="connsiteX3665" fmla="*/ 9343036 w 9586368"/>
              <a:gd name="connsiteY3665" fmla="*/ 3829008 h 6479439"/>
              <a:gd name="connsiteX3666" fmla="*/ 9347055 w 9586368"/>
              <a:gd name="connsiteY3666" fmla="*/ 3833046 h 6479439"/>
              <a:gd name="connsiteX3667" fmla="*/ 9347055 w 9586368"/>
              <a:gd name="connsiteY3667" fmla="*/ 3842917 h 6479439"/>
              <a:gd name="connsiteX3668" fmla="*/ 9343036 w 9586368"/>
              <a:gd name="connsiteY3668" fmla="*/ 3846956 h 6479439"/>
              <a:gd name="connsiteX3669" fmla="*/ 9333125 w 9586368"/>
              <a:gd name="connsiteY3669" fmla="*/ 3846956 h 6479439"/>
              <a:gd name="connsiteX3670" fmla="*/ 9329106 w 9586368"/>
              <a:gd name="connsiteY3670" fmla="*/ 3842917 h 6479439"/>
              <a:gd name="connsiteX3671" fmla="*/ 9329106 w 9586368"/>
              <a:gd name="connsiteY3671" fmla="*/ 3833046 h 6479439"/>
              <a:gd name="connsiteX3672" fmla="*/ 9093811 w 9586368"/>
              <a:gd name="connsiteY3672" fmla="*/ 3829008 h 6479439"/>
              <a:gd name="connsiteX3673" fmla="*/ 9103722 w 9586368"/>
              <a:gd name="connsiteY3673" fmla="*/ 3829008 h 6479439"/>
              <a:gd name="connsiteX3674" fmla="*/ 9107741 w 9586368"/>
              <a:gd name="connsiteY3674" fmla="*/ 3833046 h 6479439"/>
              <a:gd name="connsiteX3675" fmla="*/ 9107741 w 9586368"/>
              <a:gd name="connsiteY3675" fmla="*/ 3842917 h 6479439"/>
              <a:gd name="connsiteX3676" fmla="*/ 9103722 w 9586368"/>
              <a:gd name="connsiteY3676" fmla="*/ 3846956 h 6479439"/>
              <a:gd name="connsiteX3677" fmla="*/ 9093811 w 9586368"/>
              <a:gd name="connsiteY3677" fmla="*/ 3846956 h 6479439"/>
              <a:gd name="connsiteX3678" fmla="*/ 9089792 w 9586368"/>
              <a:gd name="connsiteY3678" fmla="*/ 3842917 h 6479439"/>
              <a:gd name="connsiteX3679" fmla="*/ 9089792 w 9586368"/>
              <a:gd name="connsiteY3679" fmla="*/ 3833046 h 6479439"/>
              <a:gd name="connsiteX3680" fmla="*/ 8854496 w 9586368"/>
              <a:gd name="connsiteY3680" fmla="*/ 3829008 h 6479439"/>
              <a:gd name="connsiteX3681" fmla="*/ 8864407 w 9586368"/>
              <a:gd name="connsiteY3681" fmla="*/ 3829008 h 6479439"/>
              <a:gd name="connsiteX3682" fmla="*/ 8868426 w 9586368"/>
              <a:gd name="connsiteY3682" fmla="*/ 3833046 h 6479439"/>
              <a:gd name="connsiteX3683" fmla="*/ 8868426 w 9586368"/>
              <a:gd name="connsiteY3683" fmla="*/ 3842917 h 6479439"/>
              <a:gd name="connsiteX3684" fmla="*/ 8864407 w 9586368"/>
              <a:gd name="connsiteY3684" fmla="*/ 3846956 h 6479439"/>
              <a:gd name="connsiteX3685" fmla="*/ 8854496 w 9586368"/>
              <a:gd name="connsiteY3685" fmla="*/ 3846956 h 6479439"/>
              <a:gd name="connsiteX3686" fmla="*/ 8850477 w 9586368"/>
              <a:gd name="connsiteY3686" fmla="*/ 3842917 h 6479439"/>
              <a:gd name="connsiteX3687" fmla="*/ 8850477 w 9586368"/>
              <a:gd name="connsiteY3687" fmla="*/ 3833046 h 6479439"/>
              <a:gd name="connsiteX3688" fmla="*/ 8615184 w 9586368"/>
              <a:gd name="connsiteY3688" fmla="*/ 3829008 h 6479439"/>
              <a:gd name="connsiteX3689" fmla="*/ 8625095 w 9586368"/>
              <a:gd name="connsiteY3689" fmla="*/ 3829008 h 6479439"/>
              <a:gd name="connsiteX3690" fmla="*/ 8629114 w 9586368"/>
              <a:gd name="connsiteY3690" fmla="*/ 3833046 h 6479439"/>
              <a:gd name="connsiteX3691" fmla="*/ 8629114 w 9586368"/>
              <a:gd name="connsiteY3691" fmla="*/ 3842917 h 6479439"/>
              <a:gd name="connsiteX3692" fmla="*/ 8625095 w 9586368"/>
              <a:gd name="connsiteY3692" fmla="*/ 3846956 h 6479439"/>
              <a:gd name="connsiteX3693" fmla="*/ 8615184 w 9586368"/>
              <a:gd name="connsiteY3693" fmla="*/ 3846956 h 6479439"/>
              <a:gd name="connsiteX3694" fmla="*/ 8611165 w 9586368"/>
              <a:gd name="connsiteY3694" fmla="*/ 3842917 h 6479439"/>
              <a:gd name="connsiteX3695" fmla="*/ 8611165 w 9586368"/>
              <a:gd name="connsiteY3695" fmla="*/ 3833046 h 6479439"/>
              <a:gd name="connsiteX3696" fmla="*/ 8375869 w 9586368"/>
              <a:gd name="connsiteY3696" fmla="*/ 3829008 h 6479439"/>
              <a:gd name="connsiteX3697" fmla="*/ 8385779 w 9586368"/>
              <a:gd name="connsiteY3697" fmla="*/ 3829008 h 6479439"/>
              <a:gd name="connsiteX3698" fmla="*/ 8389799 w 9586368"/>
              <a:gd name="connsiteY3698" fmla="*/ 3833046 h 6479439"/>
              <a:gd name="connsiteX3699" fmla="*/ 8389799 w 9586368"/>
              <a:gd name="connsiteY3699" fmla="*/ 3842917 h 6479439"/>
              <a:gd name="connsiteX3700" fmla="*/ 8385779 w 9586368"/>
              <a:gd name="connsiteY3700" fmla="*/ 3846956 h 6479439"/>
              <a:gd name="connsiteX3701" fmla="*/ 8375869 w 9586368"/>
              <a:gd name="connsiteY3701" fmla="*/ 3846956 h 6479439"/>
              <a:gd name="connsiteX3702" fmla="*/ 8371850 w 9586368"/>
              <a:gd name="connsiteY3702" fmla="*/ 3842917 h 6479439"/>
              <a:gd name="connsiteX3703" fmla="*/ 8371850 w 9586368"/>
              <a:gd name="connsiteY3703" fmla="*/ 3833046 h 6479439"/>
              <a:gd name="connsiteX3704" fmla="*/ 8136553 w 9586368"/>
              <a:gd name="connsiteY3704" fmla="*/ 3829008 h 6479439"/>
              <a:gd name="connsiteX3705" fmla="*/ 8146464 w 9586368"/>
              <a:gd name="connsiteY3705" fmla="*/ 3829008 h 6479439"/>
              <a:gd name="connsiteX3706" fmla="*/ 8150483 w 9586368"/>
              <a:gd name="connsiteY3706" fmla="*/ 3833046 h 6479439"/>
              <a:gd name="connsiteX3707" fmla="*/ 8150483 w 9586368"/>
              <a:gd name="connsiteY3707" fmla="*/ 3842917 h 6479439"/>
              <a:gd name="connsiteX3708" fmla="*/ 8146464 w 9586368"/>
              <a:gd name="connsiteY3708" fmla="*/ 3846956 h 6479439"/>
              <a:gd name="connsiteX3709" fmla="*/ 8136553 w 9586368"/>
              <a:gd name="connsiteY3709" fmla="*/ 3846956 h 6479439"/>
              <a:gd name="connsiteX3710" fmla="*/ 8132534 w 9586368"/>
              <a:gd name="connsiteY3710" fmla="*/ 3842917 h 6479439"/>
              <a:gd name="connsiteX3711" fmla="*/ 8132534 w 9586368"/>
              <a:gd name="connsiteY3711" fmla="*/ 3833046 h 6479439"/>
              <a:gd name="connsiteX3712" fmla="*/ 7897241 w 9586368"/>
              <a:gd name="connsiteY3712" fmla="*/ 3829008 h 6479439"/>
              <a:gd name="connsiteX3713" fmla="*/ 7907151 w 9586368"/>
              <a:gd name="connsiteY3713" fmla="*/ 3829008 h 6479439"/>
              <a:gd name="connsiteX3714" fmla="*/ 7911170 w 9586368"/>
              <a:gd name="connsiteY3714" fmla="*/ 3833046 h 6479439"/>
              <a:gd name="connsiteX3715" fmla="*/ 7911170 w 9586368"/>
              <a:gd name="connsiteY3715" fmla="*/ 3842917 h 6479439"/>
              <a:gd name="connsiteX3716" fmla="*/ 7907151 w 9586368"/>
              <a:gd name="connsiteY3716" fmla="*/ 3846956 h 6479439"/>
              <a:gd name="connsiteX3717" fmla="*/ 7897241 w 9586368"/>
              <a:gd name="connsiteY3717" fmla="*/ 3846956 h 6479439"/>
              <a:gd name="connsiteX3718" fmla="*/ 7893222 w 9586368"/>
              <a:gd name="connsiteY3718" fmla="*/ 3842917 h 6479439"/>
              <a:gd name="connsiteX3719" fmla="*/ 7893222 w 9586368"/>
              <a:gd name="connsiteY3719" fmla="*/ 3833046 h 6479439"/>
              <a:gd name="connsiteX3720" fmla="*/ 7657926 w 9586368"/>
              <a:gd name="connsiteY3720" fmla="*/ 3829008 h 6479439"/>
              <a:gd name="connsiteX3721" fmla="*/ 7667836 w 9586368"/>
              <a:gd name="connsiteY3721" fmla="*/ 3829008 h 6479439"/>
              <a:gd name="connsiteX3722" fmla="*/ 7671855 w 9586368"/>
              <a:gd name="connsiteY3722" fmla="*/ 3833046 h 6479439"/>
              <a:gd name="connsiteX3723" fmla="*/ 7671855 w 9586368"/>
              <a:gd name="connsiteY3723" fmla="*/ 3842917 h 6479439"/>
              <a:gd name="connsiteX3724" fmla="*/ 7667836 w 9586368"/>
              <a:gd name="connsiteY3724" fmla="*/ 3846956 h 6479439"/>
              <a:gd name="connsiteX3725" fmla="*/ 7657926 w 9586368"/>
              <a:gd name="connsiteY3725" fmla="*/ 3846956 h 6479439"/>
              <a:gd name="connsiteX3726" fmla="*/ 7653906 w 9586368"/>
              <a:gd name="connsiteY3726" fmla="*/ 3842917 h 6479439"/>
              <a:gd name="connsiteX3727" fmla="*/ 7653906 w 9586368"/>
              <a:gd name="connsiteY3727" fmla="*/ 3833046 h 6479439"/>
              <a:gd name="connsiteX3728" fmla="*/ 7418611 w 9586368"/>
              <a:gd name="connsiteY3728" fmla="*/ 3829008 h 6479439"/>
              <a:gd name="connsiteX3729" fmla="*/ 7428521 w 9586368"/>
              <a:gd name="connsiteY3729" fmla="*/ 3829008 h 6479439"/>
              <a:gd name="connsiteX3730" fmla="*/ 7432540 w 9586368"/>
              <a:gd name="connsiteY3730" fmla="*/ 3833046 h 6479439"/>
              <a:gd name="connsiteX3731" fmla="*/ 7432540 w 9586368"/>
              <a:gd name="connsiteY3731" fmla="*/ 3842917 h 6479439"/>
              <a:gd name="connsiteX3732" fmla="*/ 7428521 w 9586368"/>
              <a:gd name="connsiteY3732" fmla="*/ 3846956 h 6479439"/>
              <a:gd name="connsiteX3733" fmla="*/ 7418611 w 9586368"/>
              <a:gd name="connsiteY3733" fmla="*/ 3846956 h 6479439"/>
              <a:gd name="connsiteX3734" fmla="*/ 7414592 w 9586368"/>
              <a:gd name="connsiteY3734" fmla="*/ 3842917 h 6479439"/>
              <a:gd name="connsiteX3735" fmla="*/ 7414592 w 9586368"/>
              <a:gd name="connsiteY3735" fmla="*/ 3833046 h 6479439"/>
              <a:gd name="connsiteX3736" fmla="*/ 7179298 w 9586368"/>
              <a:gd name="connsiteY3736" fmla="*/ 3829008 h 6479439"/>
              <a:gd name="connsiteX3737" fmla="*/ 7189209 w 9586368"/>
              <a:gd name="connsiteY3737" fmla="*/ 3829008 h 6479439"/>
              <a:gd name="connsiteX3738" fmla="*/ 7193228 w 9586368"/>
              <a:gd name="connsiteY3738" fmla="*/ 3833046 h 6479439"/>
              <a:gd name="connsiteX3739" fmla="*/ 7193228 w 9586368"/>
              <a:gd name="connsiteY3739" fmla="*/ 3842917 h 6479439"/>
              <a:gd name="connsiteX3740" fmla="*/ 7189209 w 9586368"/>
              <a:gd name="connsiteY3740" fmla="*/ 3846956 h 6479439"/>
              <a:gd name="connsiteX3741" fmla="*/ 7179298 w 9586368"/>
              <a:gd name="connsiteY3741" fmla="*/ 3846956 h 6479439"/>
              <a:gd name="connsiteX3742" fmla="*/ 7175279 w 9586368"/>
              <a:gd name="connsiteY3742" fmla="*/ 3842917 h 6479439"/>
              <a:gd name="connsiteX3743" fmla="*/ 7175279 w 9586368"/>
              <a:gd name="connsiteY3743" fmla="*/ 3833046 h 6479439"/>
              <a:gd name="connsiteX3744" fmla="*/ 6939983 w 9586368"/>
              <a:gd name="connsiteY3744" fmla="*/ 3829008 h 6479439"/>
              <a:gd name="connsiteX3745" fmla="*/ 6949894 w 9586368"/>
              <a:gd name="connsiteY3745" fmla="*/ 3829008 h 6479439"/>
              <a:gd name="connsiteX3746" fmla="*/ 6953913 w 9586368"/>
              <a:gd name="connsiteY3746" fmla="*/ 3833046 h 6479439"/>
              <a:gd name="connsiteX3747" fmla="*/ 6953913 w 9586368"/>
              <a:gd name="connsiteY3747" fmla="*/ 3842917 h 6479439"/>
              <a:gd name="connsiteX3748" fmla="*/ 6949894 w 9586368"/>
              <a:gd name="connsiteY3748" fmla="*/ 3846956 h 6479439"/>
              <a:gd name="connsiteX3749" fmla="*/ 6939983 w 9586368"/>
              <a:gd name="connsiteY3749" fmla="*/ 3846956 h 6479439"/>
              <a:gd name="connsiteX3750" fmla="*/ 6935964 w 9586368"/>
              <a:gd name="connsiteY3750" fmla="*/ 3842917 h 6479439"/>
              <a:gd name="connsiteX3751" fmla="*/ 6935964 w 9586368"/>
              <a:gd name="connsiteY3751" fmla="*/ 3833046 h 6479439"/>
              <a:gd name="connsiteX3752" fmla="*/ 6700670 w 9586368"/>
              <a:gd name="connsiteY3752" fmla="*/ 3829008 h 6479439"/>
              <a:gd name="connsiteX3753" fmla="*/ 6710581 w 9586368"/>
              <a:gd name="connsiteY3753" fmla="*/ 3829008 h 6479439"/>
              <a:gd name="connsiteX3754" fmla="*/ 6714600 w 9586368"/>
              <a:gd name="connsiteY3754" fmla="*/ 3833046 h 6479439"/>
              <a:gd name="connsiteX3755" fmla="*/ 6714600 w 9586368"/>
              <a:gd name="connsiteY3755" fmla="*/ 3842917 h 6479439"/>
              <a:gd name="connsiteX3756" fmla="*/ 6710581 w 9586368"/>
              <a:gd name="connsiteY3756" fmla="*/ 3846956 h 6479439"/>
              <a:gd name="connsiteX3757" fmla="*/ 6700670 w 9586368"/>
              <a:gd name="connsiteY3757" fmla="*/ 3846956 h 6479439"/>
              <a:gd name="connsiteX3758" fmla="*/ 6696651 w 9586368"/>
              <a:gd name="connsiteY3758" fmla="*/ 3842917 h 6479439"/>
              <a:gd name="connsiteX3759" fmla="*/ 6696651 w 9586368"/>
              <a:gd name="connsiteY3759" fmla="*/ 3833046 h 6479439"/>
              <a:gd name="connsiteX3760" fmla="*/ 6461356 w 9586368"/>
              <a:gd name="connsiteY3760" fmla="*/ 3829008 h 6479439"/>
              <a:gd name="connsiteX3761" fmla="*/ 6471266 w 9586368"/>
              <a:gd name="connsiteY3761" fmla="*/ 3829008 h 6479439"/>
              <a:gd name="connsiteX3762" fmla="*/ 6475285 w 9586368"/>
              <a:gd name="connsiteY3762" fmla="*/ 3833046 h 6479439"/>
              <a:gd name="connsiteX3763" fmla="*/ 6475285 w 9586368"/>
              <a:gd name="connsiteY3763" fmla="*/ 3842917 h 6479439"/>
              <a:gd name="connsiteX3764" fmla="*/ 6471266 w 9586368"/>
              <a:gd name="connsiteY3764" fmla="*/ 3846956 h 6479439"/>
              <a:gd name="connsiteX3765" fmla="*/ 6461356 w 9586368"/>
              <a:gd name="connsiteY3765" fmla="*/ 3846956 h 6479439"/>
              <a:gd name="connsiteX3766" fmla="*/ 6457337 w 9586368"/>
              <a:gd name="connsiteY3766" fmla="*/ 3842917 h 6479439"/>
              <a:gd name="connsiteX3767" fmla="*/ 6457337 w 9586368"/>
              <a:gd name="connsiteY3767" fmla="*/ 3833046 h 6479439"/>
              <a:gd name="connsiteX3768" fmla="*/ 6222042 w 9586368"/>
              <a:gd name="connsiteY3768" fmla="*/ 3829008 h 6479439"/>
              <a:gd name="connsiteX3769" fmla="*/ 6231952 w 9586368"/>
              <a:gd name="connsiteY3769" fmla="*/ 3829008 h 6479439"/>
              <a:gd name="connsiteX3770" fmla="*/ 6235971 w 9586368"/>
              <a:gd name="connsiteY3770" fmla="*/ 3833046 h 6479439"/>
              <a:gd name="connsiteX3771" fmla="*/ 6235971 w 9586368"/>
              <a:gd name="connsiteY3771" fmla="*/ 3842917 h 6479439"/>
              <a:gd name="connsiteX3772" fmla="*/ 6231952 w 9586368"/>
              <a:gd name="connsiteY3772" fmla="*/ 3846956 h 6479439"/>
              <a:gd name="connsiteX3773" fmla="*/ 6222042 w 9586368"/>
              <a:gd name="connsiteY3773" fmla="*/ 3846956 h 6479439"/>
              <a:gd name="connsiteX3774" fmla="*/ 6218023 w 9586368"/>
              <a:gd name="connsiteY3774" fmla="*/ 3842917 h 6479439"/>
              <a:gd name="connsiteX3775" fmla="*/ 6218023 w 9586368"/>
              <a:gd name="connsiteY3775" fmla="*/ 3833046 h 6479439"/>
              <a:gd name="connsiteX3776" fmla="*/ 5982729 w 9586368"/>
              <a:gd name="connsiteY3776" fmla="*/ 3829008 h 6479439"/>
              <a:gd name="connsiteX3777" fmla="*/ 5992639 w 9586368"/>
              <a:gd name="connsiteY3777" fmla="*/ 3829008 h 6479439"/>
              <a:gd name="connsiteX3778" fmla="*/ 5996658 w 9586368"/>
              <a:gd name="connsiteY3778" fmla="*/ 3833046 h 6479439"/>
              <a:gd name="connsiteX3779" fmla="*/ 5996658 w 9586368"/>
              <a:gd name="connsiteY3779" fmla="*/ 3842917 h 6479439"/>
              <a:gd name="connsiteX3780" fmla="*/ 5992639 w 9586368"/>
              <a:gd name="connsiteY3780" fmla="*/ 3846956 h 6479439"/>
              <a:gd name="connsiteX3781" fmla="*/ 5982729 w 9586368"/>
              <a:gd name="connsiteY3781" fmla="*/ 3846956 h 6479439"/>
              <a:gd name="connsiteX3782" fmla="*/ 5978710 w 9586368"/>
              <a:gd name="connsiteY3782" fmla="*/ 3842917 h 6479439"/>
              <a:gd name="connsiteX3783" fmla="*/ 5978710 w 9586368"/>
              <a:gd name="connsiteY3783" fmla="*/ 3833046 h 6479439"/>
              <a:gd name="connsiteX3784" fmla="*/ 5743412 w 9586368"/>
              <a:gd name="connsiteY3784" fmla="*/ 3829008 h 6479439"/>
              <a:gd name="connsiteX3785" fmla="*/ 5753323 w 9586368"/>
              <a:gd name="connsiteY3785" fmla="*/ 3829008 h 6479439"/>
              <a:gd name="connsiteX3786" fmla="*/ 5757342 w 9586368"/>
              <a:gd name="connsiteY3786" fmla="*/ 3833046 h 6479439"/>
              <a:gd name="connsiteX3787" fmla="*/ 5757342 w 9586368"/>
              <a:gd name="connsiteY3787" fmla="*/ 3842917 h 6479439"/>
              <a:gd name="connsiteX3788" fmla="*/ 5753323 w 9586368"/>
              <a:gd name="connsiteY3788" fmla="*/ 3846956 h 6479439"/>
              <a:gd name="connsiteX3789" fmla="*/ 5743412 w 9586368"/>
              <a:gd name="connsiteY3789" fmla="*/ 3846956 h 6479439"/>
              <a:gd name="connsiteX3790" fmla="*/ 5739393 w 9586368"/>
              <a:gd name="connsiteY3790" fmla="*/ 3842917 h 6479439"/>
              <a:gd name="connsiteX3791" fmla="*/ 5739393 w 9586368"/>
              <a:gd name="connsiteY3791" fmla="*/ 3833046 h 6479439"/>
              <a:gd name="connsiteX3792" fmla="*/ 5504099 w 9586368"/>
              <a:gd name="connsiteY3792" fmla="*/ 3829008 h 6479439"/>
              <a:gd name="connsiteX3793" fmla="*/ 5514010 w 9586368"/>
              <a:gd name="connsiteY3793" fmla="*/ 3829008 h 6479439"/>
              <a:gd name="connsiteX3794" fmla="*/ 5518029 w 9586368"/>
              <a:gd name="connsiteY3794" fmla="*/ 3833046 h 6479439"/>
              <a:gd name="connsiteX3795" fmla="*/ 5518029 w 9586368"/>
              <a:gd name="connsiteY3795" fmla="*/ 3842917 h 6479439"/>
              <a:gd name="connsiteX3796" fmla="*/ 5514010 w 9586368"/>
              <a:gd name="connsiteY3796" fmla="*/ 3846956 h 6479439"/>
              <a:gd name="connsiteX3797" fmla="*/ 5504099 w 9586368"/>
              <a:gd name="connsiteY3797" fmla="*/ 3846956 h 6479439"/>
              <a:gd name="connsiteX3798" fmla="*/ 5500080 w 9586368"/>
              <a:gd name="connsiteY3798" fmla="*/ 3842917 h 6479439"/>
              <a:gd name="connsiteX3799" fmla="*/ 5500080 w 9586368"/>
              <a:gd name="connsiteY3799" fmla="*/ 3833046 h 6479439"/>
              <a:gd name="connsiteX3800" fmla="*/ 5264784 w 9586368"/>
              <a:gd name="connsiteY3800" fmla="*/ 3829008 h 6479439"/>
              <a:gd name="connsiteX3801" fmla="*/ 5274694 w 9586368"/>
              <a:gd name="connsiteY3801" fmla="*/ 3829008 h 6479439"/>
              <a:gd name="connsiteX3802" fmla="*/ 5278713 w 9586368"/>
              <a:gd name="connsiteY3802" fmla="*/ 3833046 h 6479439"/>
              <a:gd name="connsiteX3803" fmla="*/ 5278713 w 9586368"/>
              <a:gd name="connsiteY3803" fmla="*/ 3842917 h 6479439"/>
              <a:gd name="connsiteX3804" fmla="*/ 5274694 w 9586368"/>
              <a:gd name="connsiteY3804" fmla="*/ 3846956 h 6479439"/>
              <a:gd name="connsiteX3805" fmla="*/ 5264784 w 9586368"/>
              <a:gd name="connsiteY3805" fmla="*/ 3846956 h 6479439"/>
              <a:gd name="connsiteX3806" fmla="*/ 5260765 w 9586368"/>
              <a:gd name="connsiteY3806" fmla="*/ 3842917 h 6479439"/>
              <a:gd name="connsiteX3807" fmla="*/ 5260765 w 9586368"/>
              <a:gd name="connsiteY3807" fmla="*/ 3833046 h 6479439"/>
              <a:gd name="connsiteX3808" fmla="*/ 5025470 w 9586368"/>
              <a:gd name="connsiteY3808" fmla="*/ 3829008 h 6479439"/>
              <a:gd name="connsiteX3809" fmla="*/ 5035381 w 9586368"/>
              <a:gd name="connsiteY3809" fmla="*/ 3829008 h 6479439"/>
              <a:gd name="connsiteX3810" fmla="*/ 5039400 w 9586368"/>
              <a:gd name="connsiteY3810" fmla="*/ 3833046 h 6479439"/>
              <a:gd name="connsiteX3811" fmla="*/ 5039400 w 9586368"/>
              <a:gd name="connsiteY3811" fmla="*/ 3842917 h 6479439"/>
              <a:gd name="connsiteX3812" fmla="*/ 5035381 w 9586368"/>
              <a:gd name="connsiteY3812" fmla="*/ 3846956 h 6479439"/>
              <a:gd name="connsiteX3813" fmla="*/ 5025470 w 9586368"/>
              <a:gd name="connsiteY3813" fmla="*/ 3846956 h 6479439"/>
              <a:gd name="connsiteX3814" fmla="*/ 5021451 w 9586368"/>
              <a:gd name="connsiteY3814" fmla="*/ 3842917 h 6479439"/>
              <a:gd name="connsiteX3815" fmla="*/ 5021451 w 9586368"/>
              <a:gd name="connsiteY3815" fmla="*/ 3833046 h 6479439"/>
              <a:gd name="connsiteX3816" fmla="*/ 4786241 w 9586368"/>
              <a:gd name="connsiteY3816" fmla="*/ 3829008 h 6479439"/>
              <a:gd name="connsiteX3817" fmla="*/ 4796152 w 9586368"/>
              <a:gd name="connsiteY3817" fmla="*/ 3829008 h 6479439"/>
              <a:gd name="connsiteX3818" fmla="*/ 4800171 w 9586368"/>
              <a:gd name="connsiteY3818" fmla="*/ 3833046 h 6479439"/>
              <a:gd name="connsiteX3819" fmla="*/ 4800171 w 9586368"/>
              <a:gd name="connsiteY3819" fmla="*/ 3842917 h 6479439"/>
              <a:gd name="connsiteX3820" fmla="*/ 4796152 w 9586368"/>
              <a:gd name="connsiteY3820" fmla="*/ 3846956 h 6479439"/>
              <a:gd name="connsiteX3821" fmla="*/ 4786241 w 9586368"/>
              <a:gd name="connsiteY3821" fmla="*/ 3846956 h 6479439"/>
              <a:gd name="connsiteX3822" fmla="*/ 4782224 w 9586368"/>
              <a:gd name="connsiteY3822" fmla="*/ 3842917 h 6479439"/>
              <a:gd name="connsiteX3823" fmla="*/ 4782224 w 9586368"/>
              <a:gd name="connsiteY3823" fmla="*/ 3833046 h 6479439"/>
              <a:gd name="connsiteX3824" fmla="*/ 4546929 w 9586368"/>
              <a:gd name="connsiteY3824" fmla="*/ 3829008 h 6479439"/>
              <a:gd name="connsiteX3825" fmla="*/ 4556840 w 9586368"/>
              <a:gd name="connsiteY3825" fmla="*/ 3829008 h 6479439"/>
              <a:gd name="connsiteX3826" fmla="*/ 4560859 w 9586368"/>
              <a:gd name="connsiteY3826" fmla="*/ 3833046 h 6479439"/>
              <a:gd name="connsiteX3827" fmla="*/ 4560859 w 9586368"/>
              <a:gd name="connsiteY3827" fmla="*/ 3842917 h 6479439"/>
              <a:gd name="connsiteX3828" fmla="*/ 4556840 w 9586368"/>
              <a:gd name="connsiteY3828" fmla="*/ 3846956 h 6479439"/>
              <a:gd name="connsiteX3829" fmla="*/ 4546929 w 9586368"/>
              <a:gd name="connsiteY3829" fmla="*/ 3846956 h 6479439"/>
              <a:gd name="connsiteX3830" fmla="*/ 4542910 w 9586368"/>
              <a:gd name="connsiteY3830" fmla="*/ 3842917 h 6479439"/>
              <a:gd name="connsiteX3831" fmla="*/ 4542910 w 9586368"/>
              <a:gd name="connsiteY3831" fmla="*/ 3833046 h 6479439"/>
              <a:gd name="connsiteX3832" fmla="*/ 4307612 w 9586368"/>
              <a:gd name="connsiteY3832" fmla="*/ 3829008 h 6479439"/>
              <a:gd name="connsiteX3833" fmla="*/ 4317523 w 9586368"/>
              <a:gd name="connsiteY3833" fmla="*/ 3829008 h 6479439"/>
              <a:gd name="connsiteX3834" fmla="*/ 4321543 w 9586368"/>
              <a:gd name="connsiteY3834" fmla="*/ 3833046 h 6479439"/>
              <a:gd name="connsiteX3835" fmla="*/ 4321543 w 9586368"/>
              <a:gd name="connsiteY3835" fmla="*/ 3842917 h 6479439"/>
              <a:gd name="connsiteX3836" fmla="*/ 4317523 w 9586368"/>
              <a:gd name="connsiteY3836" fmla="*/ 3846956 h 6479439"/>
              <a:gd name="connsiteX3837" fmla="*/ 4307612 w 9586368"/>
              <a:gd name="connsiteY3837" fmla="*/ 3846956 h 6479439"/>
              <a:gd name="connsiteX3838" fmla="*/ 4303595 w 9586368"/>
              <a:gd name="connsiteY3838" fmla="*/ 3842917 h 6479439"/>
              <a:gd name="connsiteX3839" fmla="*/ 4303595 w 9586368"/>
              <a:gd name="connsiteY3839" fmla="*/ 3833046 h 6479439"/>
              <a:gd name="connsiteX3840" fmla="*/ 4068297 w 9586368"/>
              <a:gd name="connsiteY3840" fmla="*/ 3829008 h 6479439"/>
              <a:gd name="connsiteX3841" fmla="*/ 4078210 w 9586368"/>
              <a:gd name="connsiteY3841" fmla="*/ 3829008 h 6479439"/>
              <a:gd name="connsiteX3842" fmla="*/ 4082229 w 9586368"/>
              <a:gd name="connsiteY3842" fmla="*/ 3833046 h 6479439"/>
              <a:gd name="connsiteX3843" fmla="*/ 4082229 w 9586368"/>
              <a:gd name="connsiteY3843" fmla="*/ 3842917 h 6479439"/>
              <a:gd name="connsiteX3844" fmla="*/ 4078210 w 9586368"/>
              <a:gd name="connsiteY3844" fmla="*/ 3846956 h 6479439"/>
              <a:gd name="connsiteX3845" fmla="*/ 4068297 w 9586368"/>
              <a:gd name="connsiteY3845" fmla="*/ 3846956 h 6479439"/>
              <a:gd name="connsiteX3846" fmla="*/ 4064278 w 9586368"/>
              <a:gd name="connsiteY3846" fmla="*/ 3842917 h 6479439"/>
              <a:gd name="connsiteX3847" fmla="*/ 4064278 w 9586368"/>
              <a:gd name="connsiteY3847" fmla="*/ 3833046 h 6479439"/>
              <a:gd name="connsiteX3848" fmla="*/ 3828990 w 9586368"/>
              <a:gd name="connsiteY3848" fmla="*/ 3829008 h 6479439"/>
              <a:gd name="connsiteX3849" fmla="*/ 3838899 w 9586368"/>
              <a:gd name="connsiteY3849" fmla="*/ 3829008 h 6479439"/>
              <a:gd name="connsiteX3850" fmla="*/ 3842917 w 9586368"/>
              <a:gd name="connsiteY3850" fmla="*/ 3833046 h 6479439"/>
              <a:gd name="connsiteX3851" fmla="*/ 3842917 w 9586368"/>
              <a:gd name="connsiteY3851" fmla="*/ 3842917 h 6479439"/>
              <a:gd name="connsiteX3852" fmla="*/ 3838899 w 9586368"/>
              <a:gd name="connsiteY3852" fmla="*/ 3846956 h 6479439"/>
              <a:gd name="connsiteX3853" fmla="*/ 3828990 w 9586368"/>
              <a:gd name="connsiteY3853" fmla="*/ 3846956 h 6479439"/>
              <a:gd name="connsiteX3854" fmla="*/ 3824971 w 9586368"/>
              <a:gd name="connsiteY3854" fmla="*/ 3842917 h 6479439"/>
              <a:gd name="connsiteX3855" fmla="*/ 3824971 w 9586368"/>
              <a:gd name="connsiteY3855" fmla="*/ 3833046 h 6479439"/>
              <a:gd name="connsiteX3856" fmla="*/ 3589676 w 9586368"/>
              <a:gd name="connsiteY3856" fmla="*/ 3829008 h 6479439"/>
              <a:gd name="connsiteX3857" fmla="*/ 3599585 w 9586368"/>
              <a:gd name="connsiteY3857" fmla="*/ 3829008 h 6479439"/>
              <a:gd name="connsiteX3858" fmla="*/ 3603604 w 9586368"/>
              <a:gd name="connsiteY3858" fmla="*/ 3833046 h 6479439"/>
              <a:gd name="connsiteX3859" fmla="*/ 3603604 w 9586368"/>
              <a:gd name="connsiteY3859" fmla="*/ 3842917 h 6479439"/>
              <a:gd name="connsiteX3860" fmla="*/ 3599585 w 9586368"/>
              <a:gd name="connsiteY3860" fmla="*/ 3846956 h 6479439"/>
              <a:gd name="connsiteX3861" fmla="*/ 3589676 w 9586368"/>
              <a:gd name="connsiteY3861" fmla="*/ 3846956 h 6479439"/>
              <a:gd name="connsiteX3862" fmla="*/ 3585657 w 9586368"/>
              <a:gd name="connsiteY3862" fmla="*/ 3842917 h 6479439"/>
              <a:gd name="connsiteX3863" fmla="*/ 3585657 w 9586368"/>
              <a:gd name="connsiteY3863" fmla="*/ 3833046 h 6479439"/>
              <a:gd name="connsiteX3864" fmla="*/ 3350359 w 9586368"/>
              <a:gd name="connsiteY3864" fmla="*/ 3829008 h 6479439"/>
              <a:gd name="connsiteX3865" fmla="*/ 3360268 w 9586368"/>
              <a:gd name="connsiteY3865" fmla="*/ 3829008 h 6479439"/>
              <a:gd name="connsiteX3866" fmla="*/ 3364287 w 9586368"/>
              <a:gd name="connsiteY3866" fmla="*/ 3833046 h 6479439"/>
              <a:gd name="connsiteX3867" fmla="*/ 3364287 w 9586368"/>
              <a:gd name="connsiteY3867" fmla="*/ 3842917 h 6479439"/>
              <a:gd name="connsiteX3868" fmla="*/ 3360268 w 9586368"/>
              <a:gd name="connsiteY3868" fmla="*/ 3846956 h 6479439"/>
              <a:gd name="connsiteX3869" fmla="*/ 3350359 w 9586368"/>
              <a:gd name="connsiteY3869" fmla="*/ 3846956 h 6479439"/>
              <a:gd name="connsiteX3870" fmla="*/ 3346340 w 9586368"/>
              <a:gd name="connsiteY3870" fmla="*/ 3842917 h 6479439"/>
              <a:gd name="connsiteX3871" fmla="*/ 3346340 w 9586368"/>
              <a:gd name="connsiteY3871" fmla="*/ 3833046 h 6479439"/>
              <a:gd name="connsiteX3872" fmla="*/ 3111048 w 9586368"/>
              <a:gd name="connsiteY3872" fmla="*/ 3829008 h 6479439"/>
              <a:gd name="connsiteX3873" fmla="*/ 3120959 w 9586368"/>
              <a:gd name="connsiteY3873" fmla="*/ 3829008 h 6479439"/>
              <a:gd name="connsiteX3874" fmla="*/ 3124977 w 9586368"/>
              <a:gd name="connsiteY3874" fmla="*/ 3833046 h 6479439"/>
              <a:gd name="connsiteX3875" fmla="*/ 3124977 w 9586368"/>
              <a:gd name="connsiteY3875" fmla="*/ 3842917 h 6479439"/>
              <a:gd name="connsiteX3876" fmla="*/ 3120959 w 9586368"/>
              <a:gd name="connsiteY3876" fmla="*/ 3846956 h 6479439"/>
              <a:gd name="connsiteX3877" fmla="*/ 3111048 w 9586368"/>
              <a:gd name="connsiteY3877" fmla="*/ 3846956 h 6479439"/>
              <a:gd name="connsiteX3878" fmla="*/ 3107029 w 9586368"/>
              <a:gd name="connsiteY3878" fmla="*/ 3842917 h 6479439"/>
              <a:gd name="connsiteX3879" fmla="*/ 3107029 w 9586368"/>
              <a:gd name="connsiteY3879" fmla="*/ 3833046 h 6479439"/>
              <a:gd name="connsiteX3880" fmla="*/ 2871737 w 9586368"/>
              <a:gd name="connsiteY3880" fmla="*/ 3829008 h 6479439"/>
              <a:gd name="connsiteX3881" fmla="*/ 2881646 w 9586368"/>
              <a:gd name="connsiteY3881" fmla="*/ 3829008 h 6479439"/>
              <a:gd name="connsiteX3882" fmla="*/ 2885666 w 9586368"/>
              <a:gd name="connsiteY3882" fmla="*/ 3833046 h 6479439"/>
              <a:gd name="connsiteX3883" fmla="*/ 2885666 w 9586368"/>
              <a:gd name="connsiteY3883" fmla="*/ 3842917 h 6479439"/>
              <a:gd name="connsiteX3884" fmla="*/ 2881646 w 9586368"/>
              <a:gd name="connsiteY3884" fmla="*/ 3846956 h 6479439"/>
              <a:gd name="connsiteX3885" fmla="*/ 2871737 w 9586368"/>
              <a:gd name="connsiteY3885" fmla="*/ 3846956 h 6479439"/>
              <a:gd name="connsiteX3886" fmla="*/ 2867717 w 9586368"/>
              <a:gd name="connsiteY3886" fmla="*/ 3842917 h 6479439"/>
              <a:gd name="connsiteX3887" fmla="*/ 2867717 w 9586368"/>
              <a:gd name="connsiteY3887" fmla="*/ 3833046 h 6479439"/>
              <a:gd name="connsiteX3888" fmla="*/ 2632423 w 9586368"/>
              <a:gd name="connsiteY3888" fmla="*/ 3829008 h 6479439"/>
              <a:gd name="connsiteX3889" fmla="*/ 2642334 w 9586368"/>
              <a:gd name="connsiteY3889" fmla="*/ 3829008 h 6479439"/>
              <a:gd name="connsiteX3890" fmla="*/ 2646352 w 9586368"/>
              <a:gd name="connsiteY3890" fmla="*/ 3833046 h 6479439"/>
              <a:gd name="connsiteX3891" fmla="*/ 2646352 w 9586368"/>
              <a:gd name="connsiteY3891" fmla="*/ 3842917 h 6479439"/>
              <a:gd name="connsiteX3892" fmla="*/ 2642334 w 9586368"/>
              <a:gd name="connsiteY3892" fmla="*/ 3846956 h 6479439"/>
              <a:gd name="connsiteX3893" fmla="*/ 2632423 w 9586368"/>
              <a:gd name="connsiteY3893" fmla="*/ 3846956 h 6479439"/>
              <a:gd name="connsiteX3894" fmla="*/ 2628404 w 9586368"/>
              <a:gd name="connsiteY3894" fmla="*/ 3842917 h 6479439"/>
              <a:gd name="connsiteX3895" fmla="*/ 2628404 w 9586368"/>
              <a:gd name="connsiteY3895" fmla="*/ 3833046 h 6479439"/>
              <a:gd name="connsiteX3896" fmla="*/ 2393104 w 9586368"/>
              <a:gd name="connsiteY3896" fmla="*/ 3829008 h 6479439"/>
              <a:gd name="connsiteX3897" fmla="*/ 2403015 w 9586368"/>
              <a:gd name="connsiteY3897" fmla="*/ 3829008 h 6479439"/>
              <a:gd name="connsiteX3898" fmla="*/ 2407034 w 9586368"/>
              <a:gd name="connsiteY3898" fmla="*/ 3833046 h 6479439"/>
              <a:gd name="connsiteX3899" fmla="*/ 2407034 w 9586368"/>
              <a:gd name="connsiteY3899" fmla="*/ 3842917 h 6479439"/>
              <a:gd name="connsiteX3900" fmla="*/ 2403015 w 9586368"/>
              <a:gd name="connsiteY3900" fmla="*/ 3846956 h 6479439"/>
              <a:gd name="connsiteX3901" fmla="*/ 2393104 w 9586368"/>
              <a:gd name="connsiteY3901" fmla="*/ 3846956 h 6479439"/>
              <a:gd name="connsiteX3902" fmla="*/ 2389087 w 9586368"/>
              <a:gd name="connsiteY3902" fmla="*/ 3842917 h 6479439"/>
              <a:gd name="connsiteX3903" fmla="*/ 2389087 w 9586368"/>
              <a:gd name="connsiteY3903" fmla="*/ 3833046 h 6479439"/>
              <a:gd name="connsiteX3904" fmla="*/ 721966 w 9586368"/>
              <a:gd name="connsiteY3904" fmla="*/ 3829008 h 6479439"/>
              <a:gd name="connsiteX3905" fmla="*/ 731876 w 9586368"/>
              <a:gd name="connsiteY3905" fmla="*/ 3829008 h 6479439"/>
              <a:gd name="connsiteX3906" fmla="*/ 735895 w 9586368"/>
              <a:gd name="connsiteY3906" fmla="*/ 3833046 h 6479439"/>
              <a:gd name="connsiteX3907" fmla="*/ 735895 w 9586368"/>
              <a:gd name="connsiteY3907" fmla="*/ 3842917 h 6479439"/>
              <a:gd name="connsiteX3908" fmla="*/ 731876 w 9586368"/>
              <a:gd name="connsiteY3908" fmla="*/ 3846956 h 6479439"/>
              <a:gd name="connsiteX3909" fmla="*/ 721966 w 9586368"/>
              <a:gd name="connsiteY3909" fmla="*/ 3846956 h 6479439"/>
              <a:gd name="connsiteX3910" fmla="*/ 717947 w 9586368"/>
              <a:gd name="connsiteY3910" fmla="*/ 3842917 h 6479439"/>
              <a:gd name="connsiteX3911" fmla="*/ 717947 w 9586368"/>
              <a:gd name="connsiteY3911" fmla="*/ 3833046 h 6479439"/>
              <a:gd name="connsiteX3912" fmla="*/ 482654 w 9586368"/>
              <a:gd name="connsiteY3912" fmla="*/ 3829008 h 6479439"/>
              <a:gd name="connsiteX3913" fmla="*/ 492564 w 9586368"/>
              <a:gd name="connsiteY3913" fmla="*/ 3829008 h 6479439"/>
              <a:gd name="connsiteX3914" fmla="*/ 496583 w 9586368"/>
              <a:gd name="connsiteY3914" fmla="*/ 3833046 h 6479439"/>
              <a:gd name="connsiteX3915" fmla="*/ 496583 w 9586368"/>
              <a:gd name="connsiteY3915" fmla="*/ 3842917 h 6479439"/>
              <a:gd name="connsiteX3916" fmla="*/ 492564 w 9586368"/>
              <a:gd name="connsiteY3916" fmla="*/ 3846956 h 6479439"/>
              <a:gd name="connsiteX3917" fmla="*/ 482654 w 9586368"/>
              <a:gd name="connsiteY3917" fmla="*/ 3846956 h 6479439"/>
              <a:gd name="connsiteX3918" fmla="*/ 478635 w 9586368"/>
              <a:gd name="connsiteY3918" fmla="*/ 3842917 h 6479439"/>
              <a:gd name="connsiteX3919" fmla="*/ 478635 w 9586368"/>
              <a:gd name="connsiteY3919" fmla="*/ 3833046 h 6479439"/>
              <a:gd name="connsiteX3920" fmla="*/ 243340 w 9586368"/>
              <a:gd name="connsiteY3920" fmla="*/ 3829008 h 6479439"/>
              <a:gd name="connsiteX3921" fmla="*/ 253250 w 9586368"/>
              <a:gd name="connsiteY3921" fmla="*/ 3829008 h 6479439"/>
              <a:gd name="connsiteX3922" fmla="*/ 257269 w 9586368"/>
              <a:gd name="connsiteY3922" fmla="*/ 3833046 h 6479439"/>
              <a:gd name="connsiteX3923" fmla="*/ 257269 w 9586368"/>
              <a:gd name="connsiteY3923" fmla="*/ 3842917 h 6479439"/>
              <a:gd name="connsiteX3924" fmla="*/ 253250 w 9586368"/>
              <a:gd name="connsiteY3924" fmla="*/ 3846956 h 6479439"/>
              <a:gd name="connsiteX3925" fmla="*/ 243340 w 9586368"/>
              <a:gd name="connsiteY3925" fmla="*/ 3846956 h 6479439"/>
              <a:gd name="connsiteX3926" fmla="*/ 239321 w 9586368"/>
              <a:gd name="connsiteY3926" fmla="*/ 3842917 h 6479439"/>
              <a:gd name="connsiteX3927" fmla="*/ 239321 w 9586368"/>
              <a:gd name="connsiteY3927" fmla="*/ 3833046 h 6479439"/>
              <a:gd name="connsiteX3928" fmla="*/ 4027 w 9586368"/>
              <a:gd name="connsiteY3928" fmla="*/ 3829008 h 6479439"/>
              <a:gd name="connsiteX3929" fmla="*/ 13937 w 9586368"/>
              <a:gd name="connsiteY3929" fmla="*/ 3829008 h 6479439"/>
              <a:gd name="connsiteX3930" fmla="*/ 17956 w 9586368"/>
              <a:gd name="connsiteY3930" fmla="*/ 3833046 h 6479439"/>
              <a:gd name="connsiteX3931" fmla="*/ 17956 w 9586368"/>
              <a:gd name="connsiteY3931" fmla="*/ 3842917 h 6479439"/>
              <a:gd name="connsiteX3932" fmla="*/ 13937 w 9586368"/>
              <a:gd name="connsiteY3932" fmla="*/ 3846956 h 6479439"/>
              <a:gd name="connsiteX3933" fmla="*/ 4027 w 9586368"/>
              <a:gd name="connsiteY3933" fmla="*/ 3846956 h 6479439"/>
              <a:gd name="connsiteX3934" fmla="*/ 8 w 9586368"/>
              <a:gd name="connsiteY3934" fmla="*/ 3842917 h 6479439"/>
              <a:gd name="connsiteX3935" fmla="*/ 8 w 9586368"/>
              <a:gd name="connsiteY3935" fmla="*/ 3833046 h 6479439"/>
              <a:gd name="connsiteX3936" fmla="*/ 2157820 w 9586368"/>
              <a:gd name="connsiteY3936" fmla="*/ 3589728 h 6479439"/>
              <a:gd name="connsiteX3937" fmla="*/ 2167731 w 9586368"/>
              <a:gd name="connsiteY3937" fmla="*/ 3589728 h 6479439"/>
              <a:gd name="connsiteX3938" fmla="*/ 2171749 w 9586368"/>
              <a:gd name="connsiteY3938" fmla="*/ 3593767 h 6479439"/>
              <a:gd name="connsiteX3939" fmla="*/ 2171749 w 9586368"/>
              <a:gd name="connsiteY3939" fmla="*/ 3603637 h 6479439"/>
              <a:gd name="connsiteX3940" fmla="*/ 2167731 w 9586368"/>
              <a:gd name="connsiteY3940" fmla="*/ 3607676 h 6479439"/>
              <a:gd name="connsiteX3941" fmla="*/ 2157820 w 9586368"/>
              <a:gd name="connsiteY3941" fmla="*/ 3607676 h 6479439"/>
              <a:gd name="connsiteX3942" fmla="*/ 2153801 w 9586368"/>
              <a:gd name="connsiteY3942" fmla="*/ 3603637 h 6479439"/>
              <a:gd name="connsiteX3943" fmla="*/ 2153801 w 9586368"/>
              <a:gd name="connsiteY3943" fmla="*/ 3593767 h 6479439"/>
              <a:gd name="connsiteX3944" fmla="*/ 1918511 w 9586368"/>
              <a:gd name="connsiteY3944" fmla="*/ 3589728 h 6479439"/>
              <a:gd name="connsiteX3945" fmla="*/ 1928421 w 9586368"/>
              <a:gd name="connsiteY3945" fmla="*/ 3589728 h 6479439"/>
              <a:gd name="connsiteX3946" fmla="*/ 1932441 w 9586368"/>
              <a:gd name="connsiteY3946" fmla="*/ 3593767 h 6479439"/>
              <a:gd name="connsiteX3947" fmla="*/ 1932441 w 9586368"/>
              <a:gd name="connsiteY3947" fmla="*/ 3603637 h 6479439"/>
              <a:gd name="connsiteX3948" fmla="*/ 1928421 w 9586368"/>
              <a:gd name="connsiteY3948" fmla="*/ 3607676 h 6479439"/>
              <a:gd name="connsiteX3949" fmla="*/ 1918511 w 9586368"/>
              <a:gd name="connsiteY3949" fmla="*/ 3607676 h 6479439"/>
              <a:gd name="connsiteX3950" fmla="*/ 1914493 w 9586368"/>
              <a:gd name="connsiteY3950" fmla="*/ 3603637 h 6479439"/>
              <a:gd name="connsiteX3951" fmla="*/ 1914493 w 9586368"/>
              <a:gd name="connsiteY3951" fmla="*/ 3593767 h 6479439"/>
              <a:gd name="connsiteX3952" fmla="*/ 1679209 w 9586368"/>
              <a:gd name="connsiteY3952" fmla="*/ 3589728 h 6479439"/>
              <a:gd name="connsiteX3953" fmla="*/ 1689118 w 9586368"/>
              <a:gd name="connsiteY3953" fmla="*/ 3589728 h 6479439"/>
              <a:gd name="connsiteX3954" fmla="*/ 1693138 w 9586368"/>
              <a:gd name="connsiteY3954" fmla="*/ 3593767 h 6479439"/>
              <a:gd name="connsiteX3955" fmla="*/ 1693138 w 9586368"/>
              <a:gd name="connsiteY3955" fmla="*/ 3603637 h 6479439"/>
              <a:gd name="connsiteX3956" fmla="*/ 1689118 w 9586368"/>
              <a:gd name="connsiteY3956" fmla="*/ 3607676 h 6479439"/>
              <a:gd name="connsiteX3957" fmla="*/ 1679209 w 9586368"/>
              <a:gd name="connsiteY3957" fmla="*/ 3607676 h 6479439"/>
              <a:gd name="connsiteX3958" fmla="*/ 1675190 w 9586368"/>
              <a:gd name="connsiteY3958" fmla="*/ 3603637 h 6479439"/>
              <a:gd name="connsiteX3959" fmla="*/ 1675190 w 9586368"/>
              <a:gd name="connsiteY3959" fmla="*/ 3593767 h 6479439"/>
              <a:gd name="connsiteX3960" fmla="*/ 1439892 w 9586368"/>
              <a:gd name="connsiteY3960" fmla="*/ 3589728 h 6479439"/>
              <a:gd name="connsiteX3961" fmla="*/ 1449803 w 9586368"/>
              <a:gd name="connsiteY3961" fmla="*/ 3589728 h 6479439"/>
              <a:gd name="connsiteX3962" fmla="*/ 1453822 w 9586368"/>
              <a:gd name="connsiteY3962" fmla="*/ 3593767 h 6479439"/>
              <a:gd name="connsiteX3963" fmla="*/ 1453822 w 9586368"/>
              <a:gd name="connsiteY3963" fmla="*/ 3603637 h 6479439"/>
              <a:gd name="connsiteX3964" fmla="*/ 1449803 w 9586368"/>
              <a:gd name="connsiteY3964" fmla="*/ 3607676 h 6479439"/>
              <a:gd name="connsiteX3965" fmla="*/ 1439892 w 9586368"/>
              <a:gd name="connsiteY3965" fmla="*/ 3607676 h 6479439"/>
              <a:gd name="connsiteX3966" fmla="*/ 1435874 w 9586368"/>
              <a:gd name="connsiteY3966" fmla="*/ 3603637 h 6479439"/>
              <a:gd name="connsiteX3967" fmla="*/ 1435874 w 9586368"/>
              <a:gd name="connsiteY3967" fmla="*/ 3593767 h 6479439"/>
              <a:gd name="connsiteX3968" fmla="*/ 1200577 w 9586368"/>
              <a:gd name="connsiteY3968" fmla="*/ 3589728 h 6479439"/>
              <a:gd name="connsiteX3969" fmla="*/ 1210488 w 9586368"/>
              <a:gd name="connsiteY3969" fmla="*/ 3589728 h 6479439"/>
              <a:gd name="connsiteX3970" fmla="*/ 1214506 w 9586368"/>
              <a:gd name="connsiteY3970" fmla="*/ 3593767 h 6479439"/>
              <a:gd name="connsiteX3971" fmla="*/ 1214506 w 9586368"/>
              <a:gd name="connsiteY3971" fmla="*/ 3603637 h 6479439"/>
              <a:gd name="connsiteX3972" fmla="*/ 1210488 w 9586368"/>
              <a:gd name="connsiteY3972" fmla="*/ 3607676 h 6479439"/>
              <a:gd name="connsiteX3973" fmla="*/ 1200577 w 9586368"/>
              <a:gd name="connsiteY3973" fmla="*/ 3607676 h 6479439"/>
              <a:gd name="connsiteX3974" fmla="*/ 1196559 w 9586368"/>
              <a:gd name="connsiteY3974" fmla="*/ 3603637 h 6479439"/>
              <a:gd name="connsiteX3975" fmla="*/ 1196559 w 9586368"/>
              <a:gd name="connsiteY3975" fmla="*/ 3593767 h 6479439"/>
              <a:gd name="connsiteX3976" fmla="*/ 961265 w 9586368"/>
              <a:gd name="connsiteY3976" fmla="*/ 3589728 h 6479439"/>
              <a:gd name="connsiteX3977" fmla="*/ 971175 w 9586368"/>
              <a:gd name="connsiteY3977" fmla="*/ 3589728 h 6479439"/>
              <a:gd name="connsiteX3978" fmla="*/ 975193 w 9586368"/>
              <a:gd name="connsiteY3978" fmla="*/ 3593767 h 6479439"/>
              <a:gd name="connsiteX3979" fmla="*/ 975193 w 9586368"/>
              <a:gd name="connsiteY3979" fmla="*/ 3603637 h 6479439"/>
              <a:gd name="connsiteX3980" fmla="*/ 971175 w 9586368"/>
              <a:gd name="connsiteY3980" fmla="*/ 3607676 h 6479439"/>
              <a:gd name="connsiteX3981" fmla="*/ 961265 w 9586368"/>
              <a:gd name="connsiteY3981" fmla="*/ 3607676 h 6479439"/>
              <a:gd name="connsiteX3982" fmla="*/ 957246 w 9586368"/>
              <a:gd name="connsiteY3982" fmla="*/ 3603637 h 6479439"/>
              <a:gd name="connsiteX3983" fmla="*/ 957246 w 9586368"/>
              <a:gd name="connsiteY3983" fmla="*/ 3593767 h 6479439"/>
              <a:gd name="connsiteX3984" fmla="*/ 9572438 w 9586368"/>
              <a:gd name="connsiteY3984" fmla="*/ 3589677 h 6479439"/>
              <a:gd name="connsiteX3985" fmla="*/ 9582349 w 9586368"/>
              <a:gd name="connsiteY3985" fmla="*/ 3589677 h 6479439"/>
              <a:gd name="connsiteX3986" fmla="*/ 9586368 w 9586368"/>
              <a:gd name="connsiteY3986" fmla="*/ 3593716 h 6479439"/>
              <a:gd name="connsiteX3987" fmla="*/ 9586368 w 9586368"/>
              <a:gd name="connsiteY3987" fmla="*/ 3603586 h 6479439"/>
              <a:gd name="connsiteX3988" fmla="*/ 9582349 w 9586368"/>
              <a:gd name="connsiteY3988" fmla="*/ 3607625 h 6479439"/>
              <a:gd name="connsiteX3989" fmla="*/ 9572438 w 9586368"/>
              <a:gd name="connsiteY3989" fmla="*/ 3607625 h 6479439"/>
              <a:gd name="connsiteX3990" fmla="*/ 9568419 w 9586368"/>
              <a:gd name="connsiteY3990" fmla="*/ 3603586 h 6479439"/>
              <a:gd name="connsiteX3991" fmla="*/ 9568419 w 9586368"/>
              <a:gd name="connsiteY3991" fmla="*/ 3593716 h 6479439"/>
              <a:gd name="connsiteX3992" fmla="*/ 9333125 w 9586368"/>
              <a:gd name="connsiteY3992" fmla="*/ 3589677 h 6479439"/>
              <a:gd name="connsiteX3993" fmla="*/ 9343036 w 9586368"/>
              <a:gd name="connsiteY3993" fmla="*/ 3589677 h 6479439"/>
              <a:gd name="connsiteX3994" fmla="*/ 9347055 w 9586368"/>
              <a:gd name="connsiteY3994" fmla="*/ 3593716 h 6479439"/>
              <a:gd name="connsiteX3995" fmla="*/ 9347055 w 9586368"/>
              <a:gd name="connsiteY3995" fmla="*/ 3603586 h 6479439"/>
              <a:gd name="connsiteX3996" fmla="*/ 9343036 w 9586368"/>
              <a:gd name="connsiteY3996" fmla="*/ 3607625 h 6479439"/>
              <a:gd name="connsiteX3997" fmla="*/ 9333125 w 9586368"/>
              <a:gd name="connsiteY3997" fmla="*/ 3607625 h 6479439"/>
              <a:gd name="connsiteX3998" fmla="*/ 9329106 w 9586368"/>
              <a:gd name="connsiteY3998" fmla="*/ 3603586 h 6479439"/>
              <a:gd name="connsiteX3999" fmla="*/ 9329106 w 9586368"/>
              <a:gd name="connsiteY3999" fmla="*/ 3593716 h 6479439"/>
              <a:gd name="connsiteX4000" fmla="*/ 9093811 w 9586368"/>
              <a:gd name="connsiteY4000" fmla="*/ 3589677 h 6479439"/>
              <a:gd name="connsiteX4001" fmla="*/ 9103722 w 9586368"/>
              <a:gd name="connsiteY4001" fmla="*/ 3589677 h 6479439"/>
              <a:gd name="connsiteX4002" fmla="*/ 9107741 w 9586368"/>
              <a:gd name="connsiteY4002" fmla="*/ 3593716 h 6479439"/>
              <a:gd name="connsiteX4003" fmla="*/ 9107741 w 9586368"/>
              <a:gd name="connsiteY4003" fmla="*/ 3603586 h 6479439"/>
              <a:gd name="connsiteX4004" fmla="*/ 9103722 w 9586368"/>
              <a:gd name="connsiteY4004" fmla="*/ 3607625 h 6479439"/>
              <a:gd name="connsiteX4005" fmla="*/ 9093811 w 9586368"/>
              <a:gd name="connsiteY4005" fmla="*/ 3607625 h 6479439"/>
              <a:gd name="connsiteX4006" fmla="*/ 9089792 w 9586368"/>
              <a:gd name="connsiteY4006" fmla="*/ 3603586 h 6479439"/>
              <a:gd name="connsiteX4007" fmla="*/ 9089792 w 9586368"/>
              <a:gd name="connsiteY4007" fmla="*/ 3593716 h 6479439"/>
              <a:gd name="connsiteX4008" fmla="*/ 8854496 w 9586368"/>
              <a:gd name="connsiteY4008" fmla="*/ 3589677 h 6479439"/>
              <a:gd name="connsiteX4009" fmla="*/ 8864407 w 9586368"/>
              <a:gd name="connsiteY4009" fmla="*/ 3589677 h 6479439"/>
              <a:gd name="connsiteX4010" fmla="*/ 8868426 w 9586368"/>
              <a:gd name="connsiteY4010" fmla="*/ 3593716 h 6479439"/>
              <a:gd name="connsiteX4011" fmla="*/ 8868426 w 9586368"/>
              <a:gd name="connsiteY4011" fmla="*/ 3603586 h 6479439"/>
              <a:gd name="connsiteX4012" fmla="*/ 8864407 w 9586368"/>
              <a:gd name="connsiteY4012" fmla="*/ 3607625 h 6479439"/>
              <a:gd name="connsiteX4013" fmla="*/ 8854496 w 9586368"/>
              <a:gd name="connsiteY4013" fmla="*/ 3607625 h 6479439"/>
              <a:gd name="connsiteX4014" fmla="*/ 8850477 w 9586368"/>
              <a:gd name="connsiteY4014" fmla="*/ 3603586 h 6479439"/>
              <a:gd name="connsiteX4015" fmla="*/ 8850477 w 9586368"/>
              <a:gd name="connsiteY4015" fmla="*/ 3593716 h 6479439"/>
              <a:gd name="connsiteX4016" fmla="*/ 8615184 w 9586368"/>
              <a:gd name="connsiteY4016" fmla="*/ 3589677 h 6479439"/>
              <a:gd name="connsiteX4017" fmla="*/ 8625095 w 9586368"/>
              <a:gd name="connsiteY4017" fmla="*/ 3589677 h 6479439"/>
              <a:gd name="connsiteX4018" fmla="*/ 8629114 w 9586368"/>
              <a:gd name="connsiteY4018" fmla="*/ 3593716 h 6479439"/>
              <a:gd name="connsiteX4019" fmla="*/ 8629114 w 9586368"/>
              <a:gd name="connsiteY4019" fmla="*/ 3603586 h 6479439"/>
              <a:gd name="connsiteX4020" fmla="*/ 8625095 w 9586368"/>
              <a:gd name="connsiteY4020" fmla="*/ 3607625 h 6479439"/>
              <a:gd name="connsiteX4021" fmla="*/ 8615184 w 9586368"/>
              <a:gd name="connsiteY4021" fmla="*/ 3607625 h 6479439"/>
              <a:gd name="connsiteX4022" fmla="*/ 8611165 w 9586368"/>
              <a:gd name="connsiteY4022" fmla="*/ 3603586 h 6479439"/>
              <a:gd name="connsiteX4023" fmla="*/ 8611165 w 9586368"/>
              <a:gd name="connsiteY4023" fmla="*/ 3593716 h 6479439"/>
              <a:gd name="connsiteX4024" fmla="*/ 8375869 w 9586368"/>
              <a:gd name="connsiteY4024" fmla="*/ 3589677 h 6479439"/>
              <a:gd name="connsiteX4025" fmla="*/ 8385779 w 9586368"/>
              <a:gd name="connsiteY4025" fmla="*/ 3589677 h 6479439"/>
              <a:gd name="connsiteX4026" fmla="*/ 8389799 w 9586368"/>
              <a:gd name="connsiteY4026" fmla="*/ 3593716 h 6479439"/>
              <a:gd name="connsiteX4027" fmla="*/ 8389799 w 9586368"/>
              <a:gd name="connsiteY4027" fmla="*/ 3603586 h 6479439"/>
              <a:gd name="connsiteX4028" fmla="*/ 8385779 w 9586368"/>
              <a:gd name="connsiteY4028" fmla="*/ 3607625 h 6479439"/>
              <a:gd name="connsiteX4029" fmla="*/ 8375869 w 9586368"/>
              <a:gd name="connsiteY4029" fmla="*/ 3607625 h 6479439"/>
              <a:gd name="connsiteX4030" fmla="*/ 8371850 w 9586368"/>
              <a:gd name="connsiteY4030" fmla="*/ 3603586 h 6479439"/>
              <a:gd name="connsiteX4031" fmla="*/ 8371850 w 9586368"/>
              <a:gd name="connsiteY4031" fmla="*/ 3593716 h 6479439"/>
              <a:gd name="connsiteX4032" fmla="*/ 8136553 w 9586368"/>
              <a:gd name="connsiteY4032" fmla="*/ 3589677 h 6479439"/>
              <a:gd name="connsiteX4033" fmla="*/ 8146464 w 9586368"/>
              <a:gd name="connsiteY4033" fmla="*/ 3589677 h 6479439"/>
              <a:gd name="connsiteX4034" fmla="*/ 8150483 w 9586368"/>
              <a:gd name="connsiteY4034" fmla="*/ 3593716 h 6479439"/>
              <a:gd name="connsiteX4035" fmla="*/ 8150483 w 9586368"/>
              <a:gd name="connsiteY4035" fmla="*/ 3603586 h 6479439"/>
              <a:gd name="connsiteX4036" fmla="*/ 8146464 w 9586368"/>
              <a:gd name="connsiteY4036" fmla="*/ 3607625 h 6479439"/>
              <a:gd name="connsiteX4037" fmla="*/ 8136553 w 9586368"/>
              <a:gd name="connsiteY4037" fmla="*/ 3607625 h 6479439"/>
              <a:gd name="connsiteX4038" fmla="*/ 8132534 w 9586368"/>
              <a:gd name="connsiteY4038" fmla="*/ 3603586 h 6479439"/>
              <a:gd name="connsiteX4039" fmla="*/ 8132534 w 9586368"/>
              <a:gd name="connsiteY4039" fmla="*/ 3593716 h 6479439"/>
              <a:gd name="connsiteX4040" fmla="*/ 7897241 w 9586368"/>
              <a:gd name="connsiteY4040" fmla="*/ 3589677 h 6479439"/>
              <a:gd name="connsiteX4041" fmla="*/ 7907151 w 9586368"/>
              <a:gd name="connsiteY4041" fmla="*/ 3589677 h 6479439"/>
              <a:gd name="connsiteX4042" fmla="*/ 7911170 w 9586368"/>
              <a:gd name="connsiteY4042" fmla="*/ 3593716 h 6479439"/>
              <a:gd name="connsiteX4043" fmla="*/ 7911170 w 9586368"/>
              <a:gd name="connsiteY4043" fmla="*/ 3603586 h 6479439"/>
              <a:gd name="connsiteX4044" fmla="*/ 7907151 w 9586368"/>
              <a:gd name="connsiteY4044" fmla="*/ 3607625 h 6479439"/>
              <a:gd name="connsiteX4045" fmla="*/ 7897241 w 9586368"/>
              <a:gd name="connsiteY4045" fmla="*/ 3607625 h 6479439"/>
              <a:gd name="connsiteX4046" fmla="*/ 7893222 w 9586368"/>
              <a:gd name="connsiteY4046" fmla="*/ 3603586 h 6479439"/>
              <a:gd name="connsiteX4047" fmla="*/ 7893222 w 9586368"/>
              <a:gd name="connsiteY4047" fmla="*/ 3593716 h 6479439"/>
              <a:gd name="connsiteX4048" fmla="*/ 7657926 w 9586368"/>
              <a:gd name="connsiteY4048" fmla="*/ 3589677 h 6479439"/>
              <a:gd name="connsiteX4049" fmla="*/ 7667836 w 9586368"/>
              <a:gd name="connsiteY4049" fmla="*/ 3589677 h 6479439"/>
              <a:gd name="connsiteX4050" fmla="*/ 7671855 w 9586368"/>
              <a:gd name="connsiteY4050" fmla="*/ 3593716 h 6479439"/>
              <a:gd name="connsiteX4051" fmla="*/ 7671855 w 9586368"/>
              <a:gd name="connsiteY4051" fmla="*/ 3603586 h 6479439"/>
              <a:gd name="connsiteX4052" fmla="*/ 7667836 w 9586368"/>
              <a:gd name="connsiteY4052" fmla="*/ 3607625 h 6479439"/>
              <a:gd name="connsiteX4053" fmla="*/ 7657926 w 9586368"/>
              <a:gd name="connsiteY4053" fmla="*/ 3607625 h 6479439"/>
              <a:gd name="connsiteX4054" fmla="*/ 7653906 w 9586368"/>
              <a:gd name="connsiteY4054" fmla="*/ 3603586 h 6479439"/>
              <a:gd name="connsiteX4055" fmla="*/ 7653906 w 9586368"/>
              <a:gd name="connsiteY4055" fmla="*/ 3593716 h 6479439"/>
              <a:gd name="connsiteX4056" fmla="*/ 7418611 w 9586368"/>
              <a:gd name="connsiteY4056" fmla="*/ 3589677 h 6479439"/>
              <a:gd name="connsiteX4057" fmla="*/ 7428521 w 9586368"/>
              <a:gd name="connsiteY4057" fmla="*/ 3589677 h 6479439"/>
              <a:gd name="connsiteX4058" fmla="*/ 7432540 w 9586368"/>
              <a:gd name="connsiteY4058" fmla="*/ 3593716 h 6479439"/>
              <a:gd name="connsiteX4059" fmla="*/ 7432540 w 9586368"/>
              <a:gd name="connsiteY4059" fmla="*/ 3603586 h 6479439"/>
              <a:gd name="connsiteX4060" fmla="*/ 7428521 w 9586368"/>
              <a:gd name="connsiteY4060" fmla="*/ 3607625 h 6479439"/>
              <a:gd name="connsiteX4061" fmla="*/ 7418611 w 9586368"/>
              <a:gd name="connsiteY4061" fmla="*/ 3607625 h 6479439"/>
              <a:gd name="connsiteX4062" fmla="*/ 7414592 w 9586368"/>
              <a:gd name="connsiteY4062" fmla="*/ 3603586 h 6479439"/>
              <a:gd name="connsiteX4063" fmla="*/ 7414592 w 9586368"/>
              <a:gd name="connsiteY4063" fmla="*/ 3593716 h 6479439"/>
              <a:gd name="connsiteX4064" fmla="*/ 7179298 w 9586368"/>
              <a:gd name="connsiteY4064" fmla="*/ 3589677 h 6479439"/>
              <a:gd name="connsiteX4065" fmla="*/ 7189209 w 9586368"/>
              <a:gd name="connsiteY4065" fmla="*/ 3589677 h 6479439"/>
              <a:gd name="connsiteX4066" fmla="*/ 7193228 w 9586368"/>
              <a:gd name="connsiteY4066" fmla="*/ 3593716 h 6479439"/>
              <a:gd name="connsiteX4067" fmla="*/ 7193228 w 9586368"/>
              <a:gd name="connsiteY4067" fmla="*/ 3603586 h 6479439"/>
              <a:gd name="connsiteX4068" fmla="*/ 7189209 w 9586368"/>
              <a:gd name="connsiteY4068" fmla="*/ 3607625 h 6479439"/>
              <a:gd name="connsiteX4069" fmla="*/ 7179298 w 9586368"/>
              <a:gd name="connsiteY4069" fmla="*/ 3607625 h 6479439"/>
              <a:gd name="connsiteX4070" fmla="*/ 7175279 w 9586368"/>
              <a:gd name="connsiteY4070" fmla="*/ 3603586 h 6479439"/>
              <a:gd name="connsiteX4071" fmla="*/ 7175279 w 9586368"/>
              <a:gd name="connsiteY4071" fmla="*/ 3593716 h 6479439"/>
              <a:gd name="connsiteX4072" fmla="*/ 6939983 w 9586368"/>
              <a:gd name="connsiteY4072" fmla="*/ 3589677 h 6479439"/>
              <a:gd name="connsiteX4073" fmla="*/ 6949894 w 9586368"/>
              <a:gd name="connsiteY4073" fmla="*/ 3589677 h 6479439"/>
              <a:gd name="connsiteX4074" fmla="*/ 6953913 w 9586368"/>
              <a:gd name="connsiteY4074" fmla="*/ 3593716 h 6479439"/>
              <a:gd name="connsiteX4075" fmla="*/ 6953913 w 9586368"/>
              <a:gd name="connsiteY4075" fmla="*/ 3603586 h 6479439"/>
              <a:gd name="connsiteX4076" fmla="*/ 6949894 w 9586368"/>
              <a:gd name="connsiteY4076" fmla="*/ 3607625 h 6479439"/>
              <a:gd name="connsiteX4077" fmla="*/ 6939983 w 9586368"/>
              <a:gd name="connsiteY4077" fmla="*/ 3607625 h 6479439"/>
              <a:gd name="connsiteX4078" fmla="*/ 6935964 w 9586368"/>
              <a:gd name="connsiteY4078" fmla="*/ 3603586 h 6479439"/>
              <a:gd name="connsiteX4079" fmla="*/ 6935964 w 9586368"/>
              <a:gd name="connsiteY4079" fmla="*/ 3593716 h 6479439"/>
              <a:gd name="connsiteX4080" fmla="*/ 6700670 w 9586368"/>
              <a:gd name="connsiteY4080" fmla="*/ 3589677 h 6479439"/>
              <a:gd name="connsiteX4081" fmla="*/ 6710581 w 9586368"/>
              <a:gd name="connsiteY4081" fmla="*/ 3589677 h 6479439"/>
              <a:gd name="connsiteX4082" fmla="*/ 6714600 w 9586368"/>
              <a:gd name="connsiteY4082" fmla="*/ 3593716 h 6479439"/>
              <a:gd name="connsiteX4083" fmla="*/ 6714600 w 9586368"/>
              <a:gd name="connsiteY4083" fmla="*/ 3603586 h 6479439"/>
              <a:gd name="connsiteX4084" fmla="*/ 6710581 w 9586368"/>
              <a:gd name="connsiteY4084" fmla="*/ 3607625 h 6479439"/>
              <a:gd name="connsiteX4085" fmla="*/ 6700670 w 9586368"/>
              <a:gd name="connsiteY4085" fmla="*/ 3607625 h 6479439"/>
              <a:gd name="connsiteX4086" fmla="*/ 6696651 w 9586368"/>
              <a:gd name="connsiteY4086" fmla="*/ 3603586 h 6479439"/>
              <a:gd name="connsiteX4087" fmla="*/ 6696651 w 9586368"/>
              <a:gd name="connsiteY4087" fmla="*/ 3593716 h 6479439"/>
              <a:gd name="connsiteX4088" fmla="*/ 6461356 w 9586368"/>
              <a:gd name="connsiteY4088" fmla="*/ 3589677 h 6479439"/>
              <a:gd name="connsiteX4089" fmla="*/ 6471266 w 9586368"/>
              <a:gd name="connsiteY4089" fmla="*/ 3589677 h 6479439"/>
              <a:gd name="connsiteX4090" fmla="*/ 6475285 w 9586368"/>
              <a:gd name="connsiteY4090" fmla="*/ 3593716 h 6479439"/>
              <a:gd name="connsiteX4091" fmla="*/ 6475285 w 9586368"/>
              <a:gd name="connsiteY4091" fmla="*/ 3603586 h 6479439"/>
              <a:gd name="connsiteX4092" fmla="*/ 6471266 w 9586368"/>
              <a:gd name="connsiteY4092" fmla="*/ 3607625 h 6479439"/>
              <a:gd name="connsiteX4093" fmla="*/ 6461356 w 9586368"/>
              <a:gd name="connsiteY4093" fmla="*/ 3607625 h 6479439"/>
              <a:gd name="connsiteX4094" fmla="*/ 6457337 w 9586368"/>
              <a:gd name="connsiteY4094" fmla="*/ 3603586 h 6479439"/>
              <a:gd name="connsiteX4095" fmla="*/ 6457337 w 9586368"/>
              <a:gd name="connsiteY4095" fmla="*/ 3593716 h 6479439"/>
              <a:gd name="connsiteX4096" fmla="*/ 6222042 w 9586368"/>
              <a:gd name="connsiteY4096" fmla="*/ 3589677 h 6479439"/>
              <a:gd name="connsiteX4097" fmla="*/ 6231952 w 9586368"/>
              <a:gd name="connsiteY4097" fmla="*/ 3589677 h 6479439"/>
              <a:gd name="connsiteX4098" fmla="*/ 6235971 w 9586368"/>
              <a:gd name="connsiteY4098" fmla="*/ 3593716 h 6479439"/>
              <a:gd name="connsiteX4099" fmla="*/ 6235971 w 9586368"/>
              <a:gd name="connsiteY4099" fmla="*/ 3603586 h 6479439"/>
              <a:gd name="connsiteX4100" fmla="*/ 6231952 w 9586368"/>
              <a:gd name="connsiteY4100" fmla="*/ 3607625 h 6479439"/>
              <a:gd name="connsiteX4101" fmla="*/ 6222042 w 9586368"/>
              <a:gd name="connsiteY4101" fmla="*/ 3607625 h 6479439"/>
              <a:gd name="connsiteX4102" fmla="*/ 6218023 w 9586368"/>
              <a:gd name="connsiteY4102" fmla="*/ 3603586 h 6479439"/>
              <a:gd name="connsiteX4103" fmla="*/ 6218023 w 9586368"/>
              <a:gd name="connsiteY4103" fmla="*/ 3593716 h 6479439"/>
              <a:gd name="connsiteX4104" fmla="*/ 5982729 w 9586368"/>
              <a:gd name="connsiteY4104" fmla="*/ 3589677 h 6479439"/>
              <a:gd name="connsiteX4105" fmla="*/ 5992639 w 9586368"/>
              <a:gd name="connsiteY4105" fmla="*/ 3589677 h 6479439"/>
              <a:gd name="connsiteX4106" fmla="*/ 5996658 w 9586368"/>
              <a:gd name="connsiteY4106" fmla="*/ 3593716 h 6479439"/>
              <a:gd name="connsiteX4107" fmla="*/ 5996658 w 9586368"/>
              <a:gd name="connsiteY4107" fmla="*/ 3603586 h 6479439"/>
              <a:gd name="connsiteX4108" fmla="*/ 5992639 w 9586368"/>
              <a:gd name="connsiteY4108" fmla="*/ 3607625 h 6479439"/>
              <a:gd name="connsiteX4109" fmla="*/ 5982729 w 9586368"/>
              <a:gd name="connsiteY4109" fmla="*/ 3607625 h 6479439"/>
              <a:gd name="connsiteX4110" fmla="*/ 5978710 w 9586368"/>
              <a:gd name="connsiteY4110" fmla="*/ 3603586 h 6479439"/>
              <a:gd name="connsiteX4111" fmla="*/ 5978710 w 9586368"/>
              <a:gd name="connsiteY4111" fmla="*/ 3593716 h 6479439"/>
              <a:gd name="connsiteX4112" fmla="*/ 5743412 w 9586368"/>
              <a:gd name="connsiteY4112" fmla="*/ 3589677 h 6479439"/>
              <a:gd name="connsiteX4113" fmla="*/ 5753323 w 9586368"/>
              <a:gd name="connsiteY4113" fmla="*/ 3589677 h 6479439"/>
              <a:gd name="connsiteX4114" fmla="*/ 5757342 w 9586368"/>
              <a:gd name="connsiteY4114" fmla="*/ 3593716 h 6479439"/>
              <a:gd name="connsiteX4115" fmla="*/ 5757342 w 9586368"/>
              <a:gd name="connsiteY4115" fmla="*/ 3603586 h 6479439"/>
              <a:gd name="connsiteX4116" fmla="*/ 5753323 w 9586368"/>
              <a:gd name="connsiteY4116" fmla="*/ 3607625 h 6479439"/>
              <a:gd name="connsiteX4117" fmla="*/ 5743412 w 9586368"/>
              <a:gd name="connsiteY4117" fmla="*/ 3607625 h 6479439"/>
              <a:gd name="connsiteX4118" fmla="*/ 5739393 w 9586368"/>
              <a:gd name="connsiteY4118" fmla="*/ 3603586 h 6479439"/>
              <a:gd name="connsiteX4119" fmla="*/ 5739393 w 9586368"/>
              <a:gd name="connsiteY4119" fmla="*/ 3593716 h 6479439"/>
              <a:gd name="connsiteX4120" fmla="*/ 5504099 w 9586368"/>
              <a:gd name="connsiteY4120" fmla="*/ 3589677 h 6479439"/>
              <a:gd name="connsiteX4121" fmla="*/ 5514010 w 9586368"/>
              <a:gd name="connsiteY4121" fmla="*/ 3589677 h 6479439"/>
              <a:gd name="connsiteX4122" fmla="*/ 5518029 w 9586368"/>
              <a:gd name="connsiteY4122" fmla="*/ 3593716 h 6479439"/>
              <a:gd name="connsiteX4123" fmla="*/ 5518029 w 9586368"/>
              <a:gd name="connsiteY4123" fmla="*/ 3603586 h 6479439"/>
              <a:gd name="connsiteX4124" fmla="*/ 5514010 w 9586368"/>
              <a:gd name="connsiteY4124" fmla="*/ 3607625 h 6479439"/>
              <a:gd name="connsiteX4125" fmla="*/ 5504099 w 9586368"/>
              <a:gd name="connsiteY4125" fmla="*/ 3607625 h 6479439"/>
              <a:gd name="connsiteX4126" fmla="*/ 5500080 w 9586368"/>
              <a:gd name="connsiteY4126" fmla="*/ 3603586 h 6479439"/>
              <a:gd name="connsiteX4127" fmla="*/ 5500080 w 9586368"/>
              <a:gd name="connsiteY4127" fmla="*/ 3593716 h 6479439"/>
              <a:gd name="connsiteX4128" fmla="*/ 5264784 w 9586368"/>
              <a:gd name="connsiteY4128" fmla="*/ 3589677 h 6479439"/>
              <a:gd name="connsiteX4129" fmla="*/ 5274694 w 9586368"/>
              <a:gd name="connsiteY4129" fmla="*/ 3589677 h 6479439"/>
              <a:gd name="connsiteX4130" fmla="*/ 5278713 w 9586368"/>
              <a:gd name="connsiteY4130" fmla="*/ 3593716 h 6479439"/>
              <a:gd name="connsiteX4131" fmla="*/ 5278713 w 9586368"/>
              <a:gd name="connsiteY4131" fmla="*/ 3603586 h 6479439"/>
              <a:gd name="connsiteX4132" fmla="*/ 5274694 w 9586368"/>
              <a:gd name="connsiteY4132" fmla="*/ 3607625 h 6479439"/>
              <a:gd name="connsiteX4133" fmla="*/ 5264784 w 9586368"/>
              <a:gd name="connsiteY4133" fmla="*/ 3607625 h 6479439"/>
              <a:gd name="connsiteX4134" fmla="*/ 5260765 w 9586368"/>
              <a:gd name="connsiteY4134" fmla="*/ 3603586 h 6479439"/>
              <a:gd name="connsiteX4135" fmla="*/ 5260765 w 9586368"/>
              <a:gd name="connsiteY4135" fmla="*/ 3593716 h 6479439"/>
              <a:gd name="connsiteX4136" fmla="*/ 5025470 w 9586368"/>
              <a:gd name="connsiteY4136" fmla="*/ 3589677 h 6479439"/>
              <a:gd name="connsiteX4137" fmla="*/ 5035381 w 9586368"/>
              <a:gd name="connsiteY4137" fmla="*/ 3589677 h 6479439"/>
              <a:gd name="connsiteX4138" fmla="*/ 5039400 w 9586368"/>
              <a:gd name="connsiteY4138" fmla="*/ 3593716 h 6479439"/>
              <a:gd name="connsiteX4139" fmla="*/ 5039400 w 9586368"/>
              <a:gd name="connsiteY4139" fmla="*/ 3603586 h 6479439"/>
              <a:gd name="connsiteX4140" fmla="*/ 5035381 w 9586368"/>
              <a:gd name="connsiteY4140" fmla="*/ 3607625 h 6479439"/>
              <a:gd name="connsiteX4141" fmla="*/ 5025470 w 9586368"/>
              <a:gd name="connsiteY4141" fmla="*/ 3607625 h 6479439"/>
              <a:gd name="connsiteX4142" fmla="*/ 5021451 w 9586368"/>
              <a:gd name="connsiteY4142" fmla="*/ 3603586 h 6479439"/>
              <a:gd name="connsiteX4143" fmla="*/ 5021451 w 9586368"/>
              <a:gd name="connsiteY4143" fmla="*/ 3593716 h 6479439"/>
              <a:gd name="connsiteX4144" fmla="*/ 4786241 w 9586368"/>
              <a:gd name="connsiteY4144" fmla="*/ 3589677 h 6479439"/>
              <a:gd name="connsiteX4145" fmla="*/ 4796152 w 9586368"/>
              <a:gd name="connsiteY4145" fmla="*/ 3589677 h 6479439"/>
              <a:gd name="connsiteX4146" fmla="*/ 4800171 w 9586368"/>
              <a:gd name="connsiteY4146" fmla="*/ 3593716 h 6479439"/>
              <a:gd name="connsiteX4147" fmla="*/ 4800171 w 9586368"/>
              <a:gd name="connsiteY4147" fmla="*/ 3603586 h 6479439"/>
              <a:gd name="connsiteX4148" fmla="*/ 4796152 w 9586368"/>
              <a:gd name="connsiteY4148" fmla="*/ 3607625 h 6479439"/>
              <a:gd name="connsiteX4149" fmla="*/ 4786241 w 9586368"/>
              <a:gd name="connsiteY4149" fmla="*/ 3607625 h 6479439"/>
              <a:gd name="connsiteX4150" fmla="*/ 4782224 w 9586368"/>
              <a:gd name="connsiteY4150" fmla="*/ 3603586 h 6479439"/>
              <a:gd name="connsiteX4151" fmla="*/ 4782224 w 9586368"/>
              <a:gd name="connsiteY4151" fmla="*/ 3593716 h 6479439"/>
              <a:gd name="connsiteX4152" fmla="*/ 4546929 w 9586368"/>
              <a:gd name="connsiteY4152" fmla="*/ 3589677 h 6479439"/>
              <a:gd name="connsiteX4153" fmla="*/ 4556840 w 9586368"/>
              <a:gd name="connsiteY4153" fmla="*/ 3589677 h 6479439"/>
              <a:gd name="connsiteX4154" fmla="*/ 4560859 w 9586368"/>
              <a:gd name="connsiteY4154" fmla="*/ 3593716 h 6479439"/>
              <a:gd name="connsiteX4155" fmla="*/ 4560859 w 9586368"/>
              <a:gd name="connsiteY4155" fmla="*/ 3603586 h 6479439"/>
              <a:gd name="connsiteX4156" fmla="*/ 4556840 w 9586368"/>
              <a:gd name="connsiteY4156" fmla="*/ 3607625 h 6479439"/>
              <a:gd name="connsiteX4157" fmla="*/ 4546929 w 9586368"/>
              <a:gd name="connsiteY4157" fmla="*/ 3607625 h 6479439"/>
              <a:gd name="connsiteX4158" fmla="*/ 4542910 w 9586368"/>
              <a:gd name="connsiteY4158" fmla="*/ 3603586 h 6479439"/>
              <a:gd name="connsiteX4159" fmla="*/ 4542910 w 9586368"/>
              <a:gd name="connsiteY4159" fmla="*/ 3593716 h 6479439"/>
              <a:gd name="connsiteX4160" fmla="*/ 4307612 w 9586368"/>
              <a:gd name="connsiteY4160" fmla="*/ 3589677 h 6479439"/>
              <a:gd name="connsiteX4161" fmla="*/ 4317523 w 9586368"/>
              <a:gd name="connsiteY4161" fmla="*/ 3589677 h 6479439"/>
              <a:gd name="connsiteX4162" fmla="*/ 4321543 w 9586368"/>
              <a:gd name="connsiteY4162" fmla="*/ 3593716 h 6479439"/>
              <a:gd name="connsiteX4163" fmla="*/ 4321543 w 9586368"/>
              <a:gd name="connsiteY4163" fmla="*/ 3603586 h 6479439"/>
              <a:gd name="connsiteX4164" fmla="*/ 4317523 w 9586368"/>
              <a:gd name="connsiteY4164" fmla="*/ 3607625 h 6479439"/>
              <a:gd name="connsiteX4165" fmla="*/ 4307612 w 9586368"/>
              <a:gd name="connsiteY4165" fmla="*/ 3607625 h 6479439"/>
              <a:gd name="connsiteX4166" fmla="*/ 4303595 w 9586368"/>
              <a:gd name="connsiteY4166" fmla="*/ 3603586 h 6479439"/>
              <a:gd name="connsiteX4167" fmla="*/ 4303595 w 9586368"/>
              <a:gd name="connsiteY4167" fmla="*/ 3593716 h 6479439"/>
              <a:gd name="connsiteX4168" fmla="*/ 4068297 w 9586368"/>
              <a:gd name="connsiteY4168" fmla="*/ 3589677 h 6479439"/>
              <a:gd name="connsiteX4169" fmla="*/ 4078210 w 9586368"/>
              <a:gd name="connsiteY4169" fmla="*/ 3589677 h 6479439"/>
              <a:gd name="connsiteX4170" fmla="*/ 4082229 w 9586368"/>
              <a:gd name="connsiteY4170" fmla="*/ 3593716 h 6479439"/>
              <a:gd name="connsiteX4171" fmla="*/ 4082229 w 9586368"/>
              <a:gd name="connsiteY4171" fmla="*/ 3603586 h 6479439"/>
              <a:gd name="connsiteX4172" fmla="*/ 4078210 w 9586368"/>
              <a:gd name="connsiteY4172" fmla="*/ 3607625 h 6479439"/>
              <a:gd name="connsiteX4173" fmla="*/ 4068297 w 9586368"/>
              <a:gd name="connsiteY4173" fmla="*/ 3607625 h 6479439"/>
              <a:gd name="connsiteX4174" fmla="*/ 4064278 w 9586368"/>
              <a:gd name="connsiteY4174" fmla="*/ 3603586 h 6479439"/>
              <a:gd name="connsiteX4175" fmla="*/ 4064278 w 9586368"/>
              <a:gd name="connsiteY4175" fmla="*/ 3593716 h 6479439"/>
              <a:gd name="connsiteX4176" fmla="*/ 3828990 w 9586368"/>
              <a:gd name="connsiteY4176" fmla="*/ 3589677 h 6479439"/>
              <a:gd name="connsiteX4177" fmla="*/ 3838899 w 9586368"/>
              <a:gd name="connsiteY4177" fmla="*/ 3589677 h 6479439"/>
              <a:gd name="connsiteX4178" fmla="*/ 3842917 w 9586368"/>
              <a:gd name="connsiteY4178" fmla="*/ 3593716 h 6479439"/>
              <a:gd name="connsiteX4179" fmla="*/ 3842917 w 9586368"/>
              <a:gd name="connsiteY4179" fmla="*/ 3603586 h 6479439"/>
              <a:gd name="connsiteX4180" fmla="*/ 3838899 w 9586368"/>
              <a:gd name="connsiteY4180" fmla="*/ 3607625 h 6479439"/>
              <a:gd name="connsiteX4181" fmla="*/ 3828990 w 9586368"/>
              <a:gd name="connsiteY4181" fmla="*/ 3607625 h 6479439"/>
              <a:gd name="connsiteX4182" fmla="*/ 3824971 w 9586368"/>
              <a:gd name="connsiteY4182" fmla="*/ 3603586 h 6479439"/>
              <a:gd name="connsiteX4183" fmla="*/ 3824971 w 9586368"/>
              <a:gd name="connsiteY4183" fmla="*/ 3593716 h 6479439"/>
              <a:gd name="connsiteX4184" fmla="*/ 3589676 w 9586368"/>
              <a:gd name="connsiteY4184" fmla="*/ 3589677 h 6479439"/>
              <a:gd name="connsiteX4185" fmla="*/ 3599585 w 9586368"/>
              <a:gd name="connsiteY4185" fmla="*/ 3589677 h 6479439"/>
              <a:gd name="connsiteX4186" fmla="*/ 3603604 w 9586368"/>
              <a:gd name="connsiteY4186" fmla="*/ 3593716 h 6479439"/>
              <a:gd name="connsiteX4187" fmla="*/ 3603604 w 9586368"/>
              <a:gd name="connsiteY4187" fmla="*/ 3603586 h 6479439"/>
              <a:gd name="connsiteX4188" fmla="*/ 3599585 w 9586368"/>
              <a:gd name="connsiteY4188" fmla="*/ 3607625 h 6479439"/>
              <a:gd name="connsiteX4189" fmla="*/ 3589676 w 9586368"/>
              <a:gd name="connsiteY4189" fmla="*/ 3607625 h 6479439"/>
              <a:gd name="connsiteX4190" fmla="*/ 3585657 w 9586368"/>
              <a:gd name="connsiteY4190" fmla="*/ 3603586 h 6479439"/>
              <a:gd name="connsiteX4191" fmla="*/ 3585657 w 9586368"/>
              <a:gd name="connsiteY4191" fmla="*/ 3593716 h 6479439"/>
              <a:gd name="connsiteX4192" fmla="*/ 3350359 w 9586368"/>
              <a:gd name="connsiteY4192" fmla="*/ 3589677 h 6479439"/>
              <a:gd name="connsiteX4193" fmla="*/ 3360268 w 9586368"/>
              <a:gd name="connsiteY4193" fmla="*/ 3589677 h 6479439"/>
              <a:gd name="connsiteX4194" fmla="*/ 3364287 w 9586368"/>
              <a:gd name="connsiteY4194" fmla="*/ 3593716 h 6479439"/>
              <a:gd name="connsiteX4195" fmla="*/ 3364287 w 9586368"/>
              <a:gd name="connsiteY4195" fmla="*/ 3603586 h 6479439"/>
              <a:gd name="connsiteX4196" fmla="*/ 3360268 w 9586368"/>
              <a:gd name="connsiteY4196" fmla="*/ 3607625 h 6479439"/>
              <a:gd name="connsiteX4197" fmla="*/ 3350359 w 9586368"/>
              <a:gd name="connsiteY4197" fmla="*/ 3607625 h 6479439"/>
              <a:gd name="connsiteX4198" fmla="*/ 3346340 w 9586368"/>
              <a:gd name="connsiteY4198" fmla="*/ 3603586 h 6479439"/>
              <a:gd name="connsiteX4199" fmla="*/ 3346340 w 9586368"/>
              <a:gd name="connsiteY4199" fmla="*/ 3593716 h 6479439"/>
              <a:gd name="connsiteX4200" fmla="*/ 3111048 w 9586368"/>
              <a:gd name="connsiteY4200" fmla="*/ 3589677 h 6479439"/>
              <a:gd name="connsiteX4201" fmla="*/ 3120959 w 9586368"/>
              <a:gd name="connsiteY4201" fmla="*/ 3589677 h 6479439"/>
              <a:gd name="connsiteX4202" fmla="*/ 3124977 w 9586368"/>
              <a:gd name="connsiteY4202" fmla="*/ 3593716 h 6479439"/>
              <a:gd name="connsiteX4203" fmla="*/ 3124977 w 9586368"/>
              <a:gd name="connsiteY4203" fmla="*/ 3603586 h 6479439"/>
              <a:gd name="connsiteX4204" fmla="*/ 3120959 w 9586368"/>
              <a:gd name="connsiteY4204" fmla="*/ 3607625 h 6479439"/>
              <a:gd name="connsiteX4205" fmla="*/ 3111048 w 9586368"/>
              <a:gd name="connsiteY4205" fmla="*/ 3607625 h 6479439"/>
              <a:gd name="connsiteX4206" fmla="*/ 3107029 w 9586368"/>
              <a:gd name="connsiteY4206" fmla="*/ 3603586 h 6479439"/>
              <a:gd name="connsiteX4207" fmla="*/ 3107029 w 9586368"/>
              <a:gd name="connsiteY4207" fmla="*/ 3593716 h 6479439"/>
              <a:gd name="connsiteX4208" fmla="*/ 2871737 w 9586368"/>
              <a:gd name="connsiteY4208" fmla="*/ 3589677 h 6479439"/>
              <a:gd name="connsiteX4209" fmla="*/ 2881646 w 9586368"/>
              <a:gd name="connsiteY4209" fmla="*/ 3589677 h 6479439"/>
              <a:gd name="connsiteX4210" fmla="*/ 2885666 w 9586368"/>
              <a:gd name="connsiteY4210" fmla="*/ 3593716 h 6479439"/>
              <a:gd name="connsiteX4211" fmla="*/ 2885666 w 9586368"/>
              <a:gd name="connsiteY4211" fmla="*/ 3603586 h 6479439"/>
              <a:gd name="connsiteX4212" fmla="*/ 2881646 w 9586368"/>
              <a:gd name="connsiteY4212" fmla="*/ 3607625 h 6479439"/>
              <a:gd name="connsiteX4213" fmla="*/ 2871737 w 9586368"/>
              <a:gd name="connsiteY4213" fmla="*/ 3607625 h 6479439"/>
              <a:gd name="connsiteX4214" fmla="*/ 2867717 w 9586368"/>
              <a:gd name="connsiteY4214" fmla="*/ 3603586 h 6479439"/>
              <a:gd name="connsiteX4215" fmla="*/ 2867717 w 9586368"/>
              <a:gd name="connsiteY4215" fmla="*/ 3593716 h 6479439"/>
              <a:gd name="connsiteX4216" fmla="*/ 2632423 w 9586368"/>
              <a:gd name="connsiteY4216" fmla="*/ 3589677 h 6479439"/>
              <a:gd name="connsiteX4217" fmla="*/ 2642334 w 9586368"/>
              <a:gd name="connsiteY4217" fmla="*/ 3589677 h 6479439"/>
              <a:gd name="connsiteX4218" fmla="*/ 2646352 w 9586368"/>
              <a:gd name="connsiteY4218" fmla="*/ 3593716 h 6479439"/>
              <a:gd name="connsiteX4219" fmla="*/ 2646352 w 9586368"/>
              <a:gd name="connsiteY4219" fmla="*/ 3603586 h 6479439"/>
              <a:gd name="connsiteX4220" fmla="*/ 2642334 w 9586368"/>
              <a:gd name="connsiteY4220" fmla="*/ 3607625 h 6479439"/>
              <a:gd name="connsiteX4221" fmla="*/ 2632423 w 9586368"/>
              <a:gd name="connsiteY4221" fmla="*/ 3607625 h 6479439"/>
              <a:gd name="connsiteX4222" fmla="*/ 2628404 w 9586368"/>
              <a:gd name="connsiteY4222" fmla="*/ 3603586 h 6479439"/>
              <a:gd name="connsiteX4223" fmla="*/ 2628404 w 9586368"/>
              <a:gd name="connsiteY4223" fmla="*/ 3593716 h 6479439"/>
              <a:gd name="connsiteX4224" fmla="*/ 2393104 w 9586368"/>
              <a:gd name="connsiteY4224" fmla="*/ 3589677 h 6479439"/>
              <a:gd name="connsiteX4225" fmla="*/ 2403015 w 9586368"/>
              <a:gd name="connsiteY4225" fmla="*/ 3589677 h 6479439"/>
              <a:gd name="connsiteX4226" fmla="*/ 2407034 w 9586368"/>
              <a:gd name="connsiteY4226" fmla="*/ 3593716 h 6479439"/>
              <a:gd name="connsiteX4227" fmla="*/ 2407034 w 9586368"/>
              <a:gd name="connsiteY4227" fmla="*/ 3603586 h 6479439"/>
              <a:gd name="connsiteX4228" fmla="*/ 2403015 w 9586368"/>
              <a:gd name="connsiteY4228" fmla="*/ 3607625 h 6479439"/>
              <a:gd name="connsiteX4229" fmla="*/ 2393104 w 9586368"/>
              <a:gd name="connsiteY4229" fmla="*/ 3607625 h 6479439"/>
              <a:gd name="connsiteX4230" fmla="*/ 2389087 w 9586368"/>
              <a:gd name="connsiteY4230" fmla="*/ 3603586 h 6479439"/>
              <a:gd name="connsiteX4231" fmla="*/ 2389087 w 9586368"/>
              <a:gd name="connsiteY4231" fmla="*/ 3593716 h 6479439"/>
              <a:gd name="connsiteX4232" fmla="*/ 721966 w 9586368"/>
              <a:gd name="connsiteY4232" fmla="*/ 3589677 h 6479439"/>
              <a:gd name="connsiteX4233" fmla="*/ 731877 w 9586368"/>
              <a:gd name="connsiteY4233" fmla="*/ 3589677 h 6479439"/>
              <a:gd name="connsiteX4234" fmla="*/ 735896 w 9586368"/>
              <a:gd name="connsiteY4234" fmla="*/ 3593716 h 6479439"/>
              <a:gd name="connsiteX4235" fmla="*/ 735896 w 9586368"/>
              <a:gd name="connsiteY4235" fmla="*/ 3603586 h 6479439"/>
              <a:gd name="connsiteX4236" fmla="*/ 731877 w 9586368"/>
              <a:gd name="connsiteY4236" fmla="*/ 3607625 h 6479439"/>
              <a:gd name="connsiteX4237" fmla="*/ 721966 w 9586368"/>
              <a:gd name="connsiteY4237" fmla="*/ 3607625 h 6479439"/>
              <a:gd name="connsiteX4238" fmla="*/ 717948 w 9586368"/>
              <a:gd name="connsiteY4238" fmla="*/ 3603586 h 6479439"/>
              <a:gd name="connsiteX4239" fmla="*/ 717948 w 9586368"/>
              <a:gd name="connsiteY4239" fmla="*/ 3593716 h 6479439"/>
              <a:gd name="connsiteX4240" fmla="*/ 482654 w 9586368"/>
              <a:gd name="connsiteY4240" fmla="*/ 3589677 h 6479439"/>
              <a:gd name="connsiteX4241" fmla="*/ 492565 w 9586368"/>
              <a:gd name="connsiteY4241" fmla="*/ 3589677 h 6479439"/>
              <a:gd name="connsiteX4242" fmla="*/ 496584 w 9586368"/>
              <a:gd name="connsiteY4242" fmla="*/ 3593716 h 6479439"/>
              <a:gd name="connsiteX4243" fmla="*/ 496584 w 9586368"/>
              <a:gd name="connsiteY4243" fmla="*/ 3603586 h 6479439"/>
              <a:gd name="connsiteX4244" fmla="*/ 492565 w 9586368"/>
              <a:gd name="connsiteY4244" fmla="*/ 3607625 h 6479439"/>
              <a:gd name="connsiteX4245" fmla="*/ 482654 w 9586368"/>
              <a:gd name="connsiteY4245" fmla="*/ 3607625 h 6479439"/>
              <a:gd name="connsiteX4246" fmla="*/ 478635 w 9586368"/>
              <a:gd name="connsiteY4246" fmla="*/ 3603586 h 6479439"/>
              <a:gd name="connsiteX4247" fmla="*/ 478635 w 9586368"/>
              <a:gd name="connsiteY4247" fmla="*/ 3593716 h 6479439"/>
              <a:gd name="connsiteX4248" fmla="*/ 243341 w 9586368"/>
              <a:gd name="connsiteY4248" fmla="*/ 3589677 h 6479439"/>
              <a:gd name="connsiteX4249" fmla="*/ 253251 w 9586368"/>
              <a:gd name="connsiteY4249" fmla="*/ 3589677 h 6479439"/>
              <a:gd name="connsiteX4250" fmla="*/ 257270 w 9586368"/>
              <a:gd name="connsiteY4250" fmla="*/ 3593716 h 6479439"/>
              <a:gd name="connsiteX4251" fmla="*/ 257270 w 9586368"/>
              <a:gd name="connsiteY4251" fmla="*/ 3603586 h 6479439"/>
              <a:gd name="connsiteX4252" fmla="*/ 253251 w 9586368"/>
              <a:gd name="connsiteY4252" fmla="*/ 3607625 h 6479439"/>
              <a:gd name="connsiteX4253" fmla="*/ 243341 w 9586368"/>
              <a:gd name="connsiteY4253" fmla="*/ 3607625 h 6479439"/>
              <a:gd name="connsiteX4254" fmla="*/ 239321 w 9586368"/>
              <a:gd name="connsiteY4254" fmla="*/ 3603586 h 6479439"/>
              <a:gd name="connsiteX4255" fmla="*/ 239321 w 9586368"/>
              <a:gd name="connsiteY4255" fmla="*/ 3593716 h 6479439"/>
              <a:gd name="connsiteX4256" fmla="*/ 4027 w 9586368"/>
              <a:gd name="connsiteY4256" fmla="*/ 3589677 h 6479439"/>
              <a:gd name="connsiteX4257" fmla="*/ 13938 w 9586368"/>
              <a:gd name="connsiteY4257" fmla="*/ 3589677 h 6479439"/>
              <a:gd name="connsiteX4258" fmla="*/ 17957 w 9586368"/>
              <a:gd name="connsiteY4258" fmla="*/ 3593716 h 6479439"/>
              <a:gd name="connsiteX4259" fmla="*/ 17957 w 9586368"/>
              <a:gd name="connsiteY4259" fmla="*/ 3603586 h 6479439"/>
              <a:gd name="connsiteX4260" fmla="*/ 13938 w 9586368"/>
              <a:gd name="connsiteY4260" fmla="*/ 3607625 h 6479439"/>
              <a:gd name="connsiteX4261" fmla="*/ 4027 w 9586368"/>
              <a:gd name="connsiteY4261" fmla="*/ 3607625 h 6479439"/>
              <a:gd name="connsiteX4262" fmla="*/ 8 w 9586368"/>
              <a:gd name="connsiteY4262" fmla="*/ 3603586 h 6479439"/>
              <a:gd name="connsiteX4263" fmla="*/ 8 w 9586368"/>
              <a:gd name="connsiteY4263" fmla="*/ 3593716 h 6479439"/>
              <a:gd name="connsiteX4264" fmla="*/ 9572438 w 9586368"/>
              <a:gd name="connsiteY4264" fmla="*/ 3350398 h 6479439"/>
              <a:gd name="connsiteX4265" fmla="*/ 9582349 w 9586368"/>
              <a:gd name="connsiteY4265" fmla="*/ 3350398 h 6479439"/>
              <a:gd name="connsiteX4266" fmla="*/ 9586368 w 9586368"/>
              <a:gd name="connsiteY4266" fmla="*/ 3354436 h 6479439"/>
              <a:gd name="connsiteX4267" fmla="*/ 9586368 w 9586368"/>
              <a:gd name="connsiteY4267" fmla="*/ 3364306 h 6479439"/>
              <a:gd name="connsiteX4268" fmla="*/ 9582349 w 9586368"/>
              <a:gd name="connsiteY4268" fmla="*/ 3368345 h 6479439"/>
              <a:gd name="connsiteX4269" fmla="*/ 9572438 w 9586368"/>
              <a:gd name="connsiteY4269" fmla="*/ 3368345 h 6479439"/>
              <a:gd name="connsiteX4270" fmla="*/ 9568419 w 9586368"/>
              <a:gd name="connsiteY4270" fmla="*/ 3364306 h 6479439"/>
              <a:gd name="connsiteX4271" fmla="*/ 9568419 w 9586368"/>
              <a:gd name="connsiteY4271" fmla="*/ 3354436 h 6479439"/>
              <a:gd name="connsiteX4272" fmla="*/ 9333125 w 9586368"/>
              <a:gd name="connsiteY4272" fmla="*/ 3350398 h 6479439"/>
              <a:gd name="connsiteX4273" fmla="*/ 9343036 w 9586368"/>
              <a:gd name="connsiteY4273" fmla="*/ 3350398 h 6479439"/>
              <a:gd name="connsiteX4274" fmla="*/ 9347055 w 9586368"/>
              <a:gd name="connsiteY4274" fmla="*/ 3354436 h 6479439"/>
              <a:gd name="connsiteX4275" fmla="*/ 9347055 w 9586368"/>
              <a:gd name="connsiteY4275" fmla="*/ 3364306 h 6479439"/>
              <a:gd name="connsiteX4276" fmla="*/ 9343036 w 9586368"/>
              <a:gd name="connsiteY4276" fmla="*/ 3368345 h 6479439"/>
              <a:gd name="connsiteX4277" fmla="*/ 9333125 w 9586368"/>
              <a:gd name="connsiteY4277" fmla="*/ 3368345 h 6479439"/>
              <a:gd name="connsiteX4278" fmla="*/ 9329106 w 9586368"/>
              <a:gd name="connsiteY4278" fmla="*/ 3364306 h 6479439"/>
              <a:gd name="connsiteX4279" fmla="*/ 9329106 w 9586368"/>
              <a:gd name="connsiteY4279" fmla="*/ 3354436 h 6479439"/>
              <a:gd name="connsiteX4280" fmla="*/ 9093811 w 9586368"/>
              <a:gd name="connsiteY4280" fmla="*/ 3350398 h 6479439"/>
              <a:gd name="connsiteX4281" fmla="*/ 9103722 w 9586368"/>
              <a:gd name="connsiteY4281" fmla="*/ 3350398 h 6479439"/>
              <a:gd name="connsiteX4282" fmla="*/ 9107741 w 9586368"/>
              <a:gd name="connsiteY4282" fmla="*/ 3354436 h 6479439"/>
              <a:gd name="connsiteX4283" fmla="*/ 9107741 w 9586368"/>
              <a:gd name="connsiteY4283" fmla="*/ 3364306 h 6479439"/>
              <a:gd name="connsiteX4284" fmla="*/ 9103722 w 9586368"/>
              <a:gd name="connsiteY4284" fmla="*/ 3368345 h 6479439"/>
              <a:gd name="connsiteX4285" fmla="*/ 9093811 w 9586368"/>
              <a:gd name="connsiteY4285" fmla="*/ 3368345 h 6479439"/>
              <a:gd name="connsiteX4286" fmla="*/ 9089792 w 9586368"/>
              <a:gd name="connsiteY4286" fmla="*/ 3364306 h 6479439"/>
              <a:gd name="connsiteX4287" fmla="*/ 9089792 w 9586368"/>
              <a:gd name="connsiteY4287" fmla="*/ 3354436 h 6479439"/>
              <a:gd name="connsiteX4288" fmla="*/ 8854496 w 9586368"/>
              <a:gd name="connsiteY4288" fmla="*/ 3350398 h 6479439"/>
              <a:gd name="connsiteX4289" fmla="*/ 8864407 w 9586368"/>
              <a:gd name="connsiteY4289" fmla="*/ 3350398 h 6479439"/>
              <a:gd name="connsiteX4290" fmla="*/ 8868426 w 9586368"/>
              <a:gd name="connsiteY4290" fmla="*/ 3354436 h 6479439"/>
              <a:gd name="connsiteX4291" fmla="*/ 8868426 w 9586368"/>
              <a:gd name="connsiteY4291" fmla="*/ 3364306 h 6479439"/>
              <a:gd name="connsiteX4292" fmla="*/ 8864407 w 9586368"/>
              <a:gd name="connsiteY4292" fmla="*/ 3368345 h 6479439"/>
              <a:gd name="connsiteX4293" fmla="*/ 8854496 w 9586368"/>
              <a:gd name="connsiteY4293" fmla="*/ 3368345 h 6479439"/>
              <a:gd name="connsiteX4294" fmla="*/ 8850477 w 9586368"/>
              <a:gd name="connsiteY4294" fmla="*/ 3364306 h 6479439"/>
              <a:gd name="connsiteX4295" fmla="*/ 8850477 w 9586368"/>
              <a:gd name="connsiteY4295" fmla="*/ 3354436 h 6479439"/>
              <a:gd name="connsiteX4296" fmla="*/ 8615184 w 9586368"/>
              <a:gd name="connsiteY4296" fmla="*/ 3350398 h 6479439"/>
              <a:gd name="connsiteX4297" fmla="*/ 8625095 w 9586368"/>
              <a:gd name="connsiteY4297" fmla="*/ 3350398 h 6479439"/>
              <a:gd name="connsiteX4298" fmla="*/ 8629114 w 9586368"/>
              <a:gd name="connsiteY4298" fmla="*/ 3354436 h 6479439"/>
              <a:gd name="connsiteX4299" fmla="*/ 8629114 w 9586368"/>
              <a:gd name="connsiteY4299" fmla="*/ 3364306 h 6479439"/>
              <a:gd name="connsiteX4300" fmla="*/ 8625095 w 9586368"/>
              <a:gd name="connsiteY4300" fmla="*/ 3368345 h 6479439"/>
              <a:gd name="connsiteX4301" fmla="*/ 8615184 w 9586368"/>
              <a:gd name="connsiteY4301" fmla="*/ 3368345 h 6479439"/>
              <a:gd name="connsiteX4302" fmla="*/ 8611165 w 9586368"/>
              <a:gd name="connsiteY4302" fmla="*/ 3364306 h 6479439"/>
              <a:gd name="connsiteX4303" fmla="*/ 8611165 w 9586368"/>
              <a:gd name="connsiteY4303" fmla="*/ 3354436 h 6479439"/>
              <a:gd name="connsiteX4304" fmla="*/ 8375869 w 9586368"/>
              <a:gd name="connsiteY4304" fmla="*/ 3350398 h 6479439"/>
              <a:gd name="connsiteX4305" fmla="*/ 8385779 w 9586368"/>
              <a:gd name="connsiteY4305" fmla="*/ 3350398 h 6479439"/>
              <a:gd name="connsiteX4306" fmla="*/ 8389799 w 9586368"/>
              <a:gd name="connsiteY4306" fmla="*/ 3354436 h 6479439"/>
              <a:gd name="connsiteX4307" fmla="*/ 8389799 w 9586368"/>
              <a:gd name="connsiteY4307" fmla="*/ 3364306 h 6479439"/>
              <a:gd name="connsiteX4308" fmla="*/ 8385779 w 9586368"/>
              <a:gd name="connsiteY4308" fmla="*/ 3368345 h 6479439"/>
              <a:gd name="connsiteX4309" fmla="*/ 8375869 w 9586368"/>
              <a:gd name="connsiteY4309" fmla="*/ 3368345 h 6479439"/>
              <a:gd name="connsiteX4310" fmla="*/ 8371850 w 9586368"/>
              <a:gd name="connsiteY4310" fmla="*/ 3364306 h 6479439"/>
              <a:gd name="connsiteX4311" fmla="*/ 8371850 w 9586368"/>
              <a:gd name="connsiteY4311" fmla="*/ 3354436 h 6479439"/>
              <a:gd name="connsiteX4312" fmla="*/ 8136553 w 9586368"/>
              <a:gd name="connsiteY4312" fmla="*/ 3350398 h 6479439"/>
              <a:gd name="connsiteX4313" fmla="*/ 8146464 w 9586368"/>
              <a:gd name="connsiteY4313" fmla="*/ 3350398 h 6479439"/>
              <a:gd name="connsiteX4314" fmla="*/ 8150483 w 9586368"/>
              <a:gd name="connsiteY4314" fmla="*/ 3354436 h 6479439"/>
              <a:gd name="connsiteX4315" fmla="*/ 8150483 w 9586368"/>
              <a:gd name="connsiteY4315" fmla="*/ 3364306 h 6479439"/>
              <a:gd name="connsiteX4316" fmla="*/ 8146464 w 9586368"/>
              <a:gd name="connsiteY4316" fmla="*/ 3368345 h 6479439"/>
              <a:gd name="connsiteX4317" fmla="*/ 8136553 w 9586368"/>
              <a:gd name="connsiteY4317" fmla="*/ 3368345 h 6479439"/>
              <a:gd name="connsiteX4318" fmla="*/ 8132534 w 9586368"/>
              <a:gd name="connsiteY4318" fmla="*/ 3364306 h 6479439"/>
              <a:gd name="connsiteX4319" fmla="*/ 8132534 w 9586368"/>
              <a:gd name="connsiteY4319" fmla="*/ 3354436 h 6479439"/>
              <a:gd name="connsiteX4320" fmla="*/ 7897241 w 9586368"/>
              <a:gd name="connsiteY4320" fmla="*/ 3350398 h 6479439"/>
              <a:gd name="connsiteX4321" fmla="*/ 7907151 w 9586368"/>
              <a:gd name="connsiteY4321" fmla="*/ 3350398 h 6479439"/>
              <a:gd name="connsiteX4322" fmla="*/ 7911170 w 9586368"/>
              <a:gd name="connsiteY4322" fmla="*/ 3354436 h 6479439"/>
              <a:gd name="connsiteX4323" fmla="*/ 7911170 w 9586368"/>
              <a:gd name="connsiteY4323" fmla="*/ 3364306 h 6479439"/>
              <a:gd name="connsiteX4324" fmla="*/ 7907151 w 9586368"/>
              <a:gd name="connsiteY4324" fmla="*/ 3368345 h 6479439"/>
              <a:gd name="connsiteX4325" fmla="*/ 7897241 w 9586368"/>
              <a:gd name="connsiteY4325" fmla="*/ 3368345 h 6479439"/>
              <a:gd name="connsiteX4326" fmla="*/ 7893222 w 9586368"/>
              <a:gd name="connsiteY4326" fmla="*/ 3364306 h 6479439"/>
              <a:gd name="connsiteX4327" fmla="*/ 7893222 w 9586368"/>
              <a:gd name="connsiteY4327" fmla="*/ 3354436 h 6479439"/>
              <a:gd name="connsiteX4328" fmla="*/ 7657926 w 9586368"/>
              <a:gd name="connsiteY4328" fmla="*/ 3350398 h 6479439"/>
              <a:gd name="connsiteX4329" fmla="*/ 7667836 w 9586368"/>
              <a:gd name="connsiteY4329" fmla="*/ 3350398 h 6479439"/>
              <a:gd name="connsiteX4330" fmla="*/ 7671855 w 9586368"/>
              <a:gd name="connsiteY4330" fmla="*/ 3354436 h 6479439"/>
              <a:gd name="connsiteX4331" fmla="*/ 7671855 w 9586368"/>
              <a:gd name="connsiteY4331" fmla="*/ 3364306 h 6479439"/>
              <a:gd name="connsiteX4332" fmla="*/ 7667836 w 9586368"/>
              <a:gd name="connsiteY4332" fmla="*/ 3368345 h 6479439"/>
              <a:gd name="connsiteX4333" fmla="*/ 7657926 w 9586368"/>
              <a:gd name="connsiteY4333" fmla="*/ 3368345 h 6479439"/>
              <a:gd name="connsiteX4334" fmla="*/ 7653906 w 9586368"/>
              <a:gd name="connsiteY4334" fmla="*/ 3364306 h 6479439"/>
              <a:gd name="connsiteX4335" fmla="*/ 7653906 w 9586368"/>
              <a:gd name="connsiteY4335" fmla="*/ 3354436 h 6479439"/>
              <a:gd name="connsiteX4336" fmla="*/ 7418611 w 9586368"/>
              <a:gd name="connsiteY4336" fmla="*/ 3350398 h 6479439"/>
              <a:gd name="connsiteX4337" fmla="*/ 7428521 w 9586368"/>
              <a:gd name="connsiteY4337" fmla="*/ 3350398 h 6479439"/>
              <a:gd name="connsiteX4338" fmla="*/ 7432540 w 9586368"/>
              <a:gd name="connsiteY4338" fmla="*/ 3354436 h 6479439"/>
              <a:gd name="connsiteX4339" fmla="*/ 7432540 w 9586368"/>
              <a:gd name="connsiteY4339" fmla="*/ 3364306 h 6479439"/>
              <a:gd name="connsiteX4340" fmla="*/ 7428521 w 9586368"/>
              <a:gd name="connsiteY4340" fmla="*/ 3368345 h 6479439"/>
              <a:gd name="connsiteX4341" fmla="*/ 7418611 w 9586368"/>
              <a:gd name="connsiteY4341" fmla="*/ 3368345 h 6479439"/>
              <a:gd name="connsiteX4342" fmla="*/ 7414592 w 9586368"/>
              <a:gd name="connsiteY4342" fmla="*/ 3364306 h 6479439"/>
              <a:gd name="connsiteX4343" fmla="*/ 7414592 w 9586368"/>
              <a:gd name="connsiteY4343" fmla="*/ 3354436 h 6479439"/>
              <a:gd name="connsiteX4344" fmla="*/ 7179298 w 9586368"/>
              <a:gd name="connsiteY4344" fmla="*/ 3350398 h 6479439"/>
              <a:gd name="connsiteX4345" fmla="*/ 7189209 w 9586368"/>
              <a:gd name="connsiteY4345" fmla="*/ 3350398 h 6479439"/>
              <a:gd name="connsiteX4346" fmla="*/ 7193228 w 9586368"/>
              <a:gd name="connsiteY4346" fmla="*/ 3354436 h 6479439"/>
              <a:gd name="connsiteX4347" fmla="*/ 7193228 w 9586368"/>
              <a:gd name="connsiteY4347" fmla="*/ 3364306 h 6479439"/>
              <a:gd name="connsiteX4348" fmla="*/ 7189209 w 9586368"/>
              <a:gd name="connsiteY4348" fmla="*/ 3368345 h 6479439"/>
              <a:gd name="connsiteX4349" fmla="*/ 7179298 w 9586368"/>
              <a:gd name="connsiteY4349" fmla="*/ 3368345 h 6479439"/>
              <a:gd name="connsiteX4350" fmla="*/ 7175279 w 9586368"/>
              <a:gd name="connsiteY4350" fmla="*/ 3364306 h 6479439"/>
              <a:gd name="connsiteX4351" fmla="*/ 7175279 w 9586368"/>
              <a:gd name="connsiteY4351" fmla="*/ 3354436 h 6479439"/>
              <a:gd name="connsiteX4352" fmla="*/ 6939983 w 9586368"/>
              <a:gd name="connsiteY4352" fmla="*/ 3350398 h 6479439"/>
              <a:gd name="connsiteX4353" fmla="*/ 6949894 w 9586368"/>
              <a:gd name="connsiteY4353" fmla="*/ 3350398 h 6479439"/>
              <a:gd name="connsiteX4354" fmla="*/ 6953913 w 9586368"/>
              <a:gd name="connsiteY4354" fmla="*/ 3354436 h 6479439"/>
              <a:gd name="connsiteX4355" fmla="*/ 6953913 w 9586368"/>
              <a:gd name="connsiteY4355" fmla="*/ 3364306 h 6479439"/>
              <a:gd name="connsiteX4356" fmla="*/ 6949894 w 9586368"/>
              <a:gd name="connsiteY4356" fmla="*/ 3368345 h 6479439"/>
              <a:gd name="connsiteX4357" fmla="*/ 6939983 w 9586368"/>
              <a:gd name="connsiteY4357" fmla="*/ 3368345 h 6479439"/>
              <a:gd name="connsiteX4358" fmla="*/ 6935964 w 9586368"/>
              <a:gd name="connsiteY4358" fmla="*/ 3364306 h 6479439"/>
              <a:gd name="connsiteX4359" fmla="*/ 6935964 w 9586368"/>
              <a:gd name="connsiteY4359" fmla="*/ 3354436 h 6479439"/>
              <a:gd name="connsiteX4360" fmla="*/ 6700670 w 9586368"/>
              <a:gd name="connsiteY4360" fmla="*/ 3350398 h 6479439"/>
              <a:gd name="connsiteX4361" fmla="*/ 6710581 w 9586368"/>
              <a:gd name="connsiteY4361" fmla="*/ 3350398 h 6479439"/>
              <a:gd name="connsiteX4362" fmla="*/ 6714600 w 9586368"/>
              <a:gd name="connsiteY4362" fmla="*/ 3354436 h 6479439"/>
              <a:gd name="connsiteX4363" fmla="*/ 6714600 w 9586368"/>
              <a:gd name="connsiteY4363" fmla="*/ 3364306 h 6479439"/>
              <a:gd name="connsiteX4364" fmla="*/ 6710581 w 9586368"/>
              <a:gd name="connsiteY4364" fmla="*/ 3368345 h 6479439"/>
              <a:gd name="connsiteX4365" fmla="*/ 6700670 w 9586368"/>
              <a:gd name="connsiteY4365" fmla="*/ 3368345 h 6479439"/>
              <a:gd name="connsiteX4366" fmla="*/ 6696651 w 9586368"/>
              <a:gd name="connsiteY4366" fmla="*/ 3364306 h 6479439"/>
              <a:gd name="connsiteX4367" fmla="*/ 6696651 w 9586368"/>
              <a:gd name="connsiteY4367" fmla="*/ 3354436 h 6479439"/>
              <a:gd name="connsiteX4368" fmla="*/ 6461356 w 9586368"/>
              <a:gd name="connsiteY4368" fmla="*/ 3350398 h 6479439"/>
              <a:gd name="connsiteX4369" fmla="*/ 6471266 w 9586368"/>
              <a:gd name="connsiteY4369" fmla="*/ 3350398 h 6479439"/>
              <a:gd name="connsiteX4370" fmla="*/ 6475285 w 9586368"/>
              <a:gd name="connsiteY4370" fmla="*/ 3354436 h 6479439"/>
              <a:gd name="connsiteX4371" fmla="*/ 6475285 w 9586368"/>
              <a:gd name="connsiteY4371" fmla="*/ 3364306 h 6479439"/>
              <a:gd name="connsiteX4372" fmla="*/ 6471266 w 9586368"/>
              <a:gd name="connsiteY4372" fmla="*/ 3368345 h 6479439"/>
              <a:gd name="connsiteX4373" fmla="*/ 6461356 w 9586368"/>
              <a:gd name="connsiteY4373" fmla="*/ 3368345 h 6479439"/>
              <a:gd name="connsiteX4374" fmla="*/ 6457337 w 9586368"/>
              <a:gd name="connsiteY4374" fmla="*/ 3364306 h 6479439"/>
              <a:gd name="connsiteX4375" fmla="*/ 6457337 w 9586368"/>
              <a:gd name="connsiteY4375" fmla="*/ 3354436 h 6479439"/>
              <a:gd name="connsiteX4376" fmla="*/ 6222042 w 9586368"/>
              <a:gd name="connsiteY4376" fmla="*/ 3350398 h 6479439"/>
              <a:gd name="connsiteX4377" fmla="*/ 6231952 w 9586368"/>
              <a:gd name="connsiteY4377" fmla="*/ 3350398 h 6479439"/>
              <a:gd name="connsiteX4378" fmla="*/ 6235971 w 9586368"/>
              <a:gd name="connsiteY4378" fmla="*/ 3354436 h 6479439"/>
              <a:gd name="connsiteX4379" fmla="*/ 6235971 w 9586368"/>
              <a:gd name="connsiteY4379" fmla="*/ 3364306 h 6479439"/>
              <a:gd name="connsiteX4380" fmla="*/ 6231952 w 9586368"/>
              <a:gd name="connsiteY4380" fmla="*/ 3368345 h 6479439"/>
              <a:gd name="connsiteX4381" fmla="*/ 6222042 w 9586368"/>
              <a:gd name="connsiteY4381" fmla="*/ 3368345 h 6479439"/>
              <a:gd name="connsiteX4382" fmla="*/ 6218023 w 9586368"/>
              <a:gd name="connsiteY4382" fmla="*/ 3364306 h 6479439"/>
              <a:gd name="connsiteX4383" fmla="*/ 6218023 w 9586368"/>
              <a:gd name="connsiteY4383" fmla="*/ 3354436 h 6479439"/>
              <a:gd name="connsiteX4384" fmla="*/ 5982729 w 9586368"/>
              <a:gd name="connsiteY4384" fmla="*/ 3350398 h 6479439"/>
              <a:gd name="connsiteX4385" fmla="*/ 5992639 w 9586368"/>
              <a:gd name="connsiteY4385" fmla="*/ 3350398 h 6479439"/>
              <a:gd name="connsiteX4386" fmla="*/ 5996658 w 9586368"/>
              <a:gd name="connsiteY4386" fmla="*/ 3354436 h 6479439"/>
              <a:gd name="connsiteX4387" fmla="*/ 5996658 w 9586368"/>
              <a:gd name="connsiteY4387" fmla="*/ 3364306 h 6479439"/>
              <a:gd name="connsiteX4388" fmla="*/ 5992639 w 9586368"/>
              <a:gd name="connsiteY4388" fmla="*/ 3368345 h 6479439"/>
              <a:gd name="connsiteX4389" fmla="*/ 5982729 w 9586368"/>
              <a:gd name="connsiteY4389" fmla="*/ 3368345 h 6479439"/>
              <a:gd name="connsiteX4390" fmla="*/ 5978710 w 9586368"/>
              <a:gd name="connsiteY4390" fmla="*/ 3364306 h 6479439"/>
              <a:gd name="connsiteX4391" fmla="*/ 5978710 w 9586368"/>
              <a:gd name="connsiteY4391" fmla="*/ 3354436 h 6479439"/>
              <a:gd name="connsiteX4392" fmla="*/ 5743412 w 9586368"/>
              <a:gd name="connsiteY4392" fmla="*/ 3350398 h 6479439"/>
              <a:gd name="connsiteX4393" fmla="*/ 5753323 w 9586368"/>
              <a:gd name="connsiteY4393" fmla="*/ 3350398 h 6479439"/>
              <a:gd name="connsiteX4394" fmla="*/ 5757342 w 9586368"/>
              <a:gd name="connsiteY4394" fmla="*/ 3354436 h 6479439"/>
              <a:gd name="connsiteX4395" fmla="*/ 5757342 w 9586368"/>
              <a:gd name="connsiteY4395" fmla="*/ 3364306 h 6479439"/>
              <a:gd name="connsiteX4396" fmla="*/ 5753323 w 9586368"/>
              <a:gd name="connsiteY4396" fmla="*/ 3368345 h 6479439"/>
              <a:gd name="connsiteX4397" fmla="*/ 5743412 w 9586368"/>
              <a:gd name="connsiteY4397" fmla="*/ 3368345 h 6479439"/>
              <a:gd name="connsiteX4398" fmla="*/ 5739393 w 9586368"/>
              <a:gd name="connsiteY4398" fmla="*/ 3364306 h 6479439"/>
              <a:gd name="connsiteX4399" fmla="*/ 5739393 w 9586368"/>
              <a:gd name="connsiteY4399" fmla="*/ 3354436 h 6479439"/>
              <a:gd name="connsiteX4400" fmla="*/ 5504099 w 9586368"/>
              <a:gd name="connsiteY4400" fmla="*/ 3350398 h 6479439"/>
              <a:gd name="connsiteX4401" fmla="*/ 5514010 w 9586368"/>
              <a:gd name="connsiteY4401" fmla="*/ 3350398 h 6479439"/>
              <a:gd name="connsiteX4402" fmla="*/ 5518029 w 9586368"/>
              <a:gd name="connsiteY4402" fmla="*/ 3354436 h 6479439"/>
              <a:gd name="connsiteX4403" fmla="*/ 5518029 w 9586368"/>
              <a:gd name="connsiteY4403" fmla="*/ 3364306 h 6479439"/>
              <a:gd name="connsiteX4404" fmla="*/ 5514010 w 9586368"/>
              <a:gd name="connsiteY4404" fmla="*/ 3368345 h 6479439"/>
              <a:gd name="connsiteX4405" fmla="*/ 5504099 w 9586368"/>
              <a:gd name="connsiteY4405" fmla="*/ 3368345 h 6479439"/>
              <a:gd name="connsiteX4406" fmla="*/ 5500080 w 9586368"/>
              <a:gd name="connsiteY4406" fmla="*/ 3364306 h 6479439"/>
              <a:gd name="connsiteX4407" fmla="*/ 5500080 w 9586368"/>
              <a:gd name="connsiteY4407" fmla="*/ 3354436 h 6479439"/>
              <a:gd name="connsiteX4408" fmla="*/ 5264784 w 9586368"/>
              <a:gd name="connsiteY4408" fmla="*/ 3350398 h 6479439"/>
              <a:gd name="connsiteX4409" fmla="*/ 5274694 w 9586368"/>
              <a:gd name="connsiteY4409" fmla="*/ 3350398 h 6479439"/>
              <a:gd name="connsiteX4410" fmla="*/ 5278713 w 9586368"/>
              <a:gd name="connsiteY4410" fmla="*/ 3354436 h 6479439"/>
              <a:gd name="connsiteX4411" fmla="*/ 5278713 w 9586368"/>
              <a:gd name="connsiteY4411" fmla="*/ 3364306 h 6479439"/>
              <a:gd name="connsiteX4412" fmla="*/ 5274694 w 9586368"/>
              <a:gd name="connsiteY4412" fmla="*/ 3368345 h 6479439"/>
              <a:gd name="connsiteX4413" fmla="*/ 5264784 w 9586368"/>
              <a:gd name="connsiteY4413" fmla="*/ 3368345 h 6479439"/>
              <a:gd name="connsiteX4414" fmla="*/ 5260765 w 9586368"/>
              <a:gd name="connsiteY4414" fmla="*/ 3364306 h 6479439"/>
              <a:gd name="connsiteX4415" fmla="*/ 5260765 w 9586368"/>
              <a:gd name="connsiteY4415" fmla="*/ 3354436 h 6479439"/>
              <a:gd name="connsiteX4416" fmla="*/ 5025470 w 9586368"/>
              <a:gd name="connsiteY4416" fmla="*/ 3350398 h 6479439"/>
              <a:gd name="connsiteX4417" fmla="*/ 5035381 w 9586368"/>
              <a:gd name="connsiteY4417" fmla="*/ 3350398 h 6479439"/>
              <a:gd name="connsiteX4418" fmla="*/ 5039400 w 9586368"/>
              <a:gd name="connsiteY4418" fmla="*/ 3354436 h 6479439"/>
              <a:gd name="connsiteX4419" fmla="*/ 5039400 w 9586368"/>
              <a:gd name="connsiteY4419" fmla="*/ 3364306 h 6479439"/>
              <a:gd name="connsiteX4420" fmla="*/ 5035381 w 9586368"/>
              <a:gd name="connsiteY4420" fmla="*/ 3368345 h 6479439"/>
              <a:gd name="connsiteX4421" fmla="*/ 5025470 w 9586368"/>
              <a:gd name="connsiteY4421" fmla="*/ 3368345 h 6479439"/>
              <a:gd name="connsiteX4422" fmla="*/ 5021451 w 9586368"/>
              <a:gd name="connsiteY4422" fmla="*/ 3364306 h 6479439"/>
              <a:gd name="connsiteX4423" fmla="*/ 5021451 w 9586368"/>
              <a:gd name="connsiteY4423" fmla="*/ 3354436 h 6479439"/>
              <a:gd name="connsiteX4424" fmla="*/ 4786241 w 9586368"/>
              <a:gd name="connsiteY4424" fmla="*/ 3350398 h 6479439"/>
              <a:gd name="connsiteX4425" fmla="*/ 4796152 w 9586368"/>
              <a:gd name="connsiteY4425" fmla="*/ 3350398 h 6479439"/>
              <a:gd name="connsiteX4426" fmla="*/ 4800171 w 9586368"/>
              <a:gd name="connsiteY4426" fmla="*/ 3354436 h 6479439"/>
              <a:gd name="connsiteX4427" fmla="*/ 4800171 w 9586368"/>
              <a:gd name="connsiteY4427" fmla="*/ 3364306 h 6479439"/>
              <a:gd name="connsiteX4428" fmla="*/ 4796152 w 9586368"/>
              <a:gd name="connsiteY4428" fmla="*/ 3368345 h 6479439"/>
              <a:gd name="connsiteX4429" fmla="*/ 4786241 w 9586368"/>
              <a:gd name="connsiteY4429" fmla="*/ 3368345 h 6479439"/>
              <a:gd name="connsiteX4430" fmla="*/ 4782224 w 9586368"/>
              <a:gd name="connsiteY4430" fmla="*/ 3364306 h 6479439"/>
              <a:gd name="connsiteX4431" fmla="*/ 4782224 w 9586368"/>
              <a:gd name="connsiteY4431" fmla="*/ 3354436 h 6479439"/>
              <a:gd name="connsiteX4432" fmla="*/ 4546929 w 9586368"/>
              <a:gd name="connsiteY4432" fmla="*/ 3350398 h 6479439"/>
              <a:gd name="connsiteX4433" fmla="*/ 4556840 w 9586368"/>
              <a:gd name="connsiteY4433" fmla="*/ 3350398 h 6479439"/>
              <a:gd name="connsiteX4434" fmla="*/ 4560859 w 9586368"/>
              <a:gd name="connsiteY4434" fmla="*/ 3354436 h 6479439"/>
              <a:gd name="connsiteX4435" fmla="*/ 4560859 w 9586368"/>
              <a:gd name="connsiteY4435" fmla="*/ 3364306 h 6479439"/>
              <a:gd name="connsiteX4436" fmla="*/ 4556840 w 9586368"/>
              <a:gd name="connsiteY4436" fmla="*/ 3368345 h 6479439"/>
              <a:gd name="connsiteX4437" fmla="*/ 4546929 w 9586368"/>
              <a:gd name="connsiteY4437" fmla="*/ 3368345 h 6479439"/>
              <a:gd name="connsiteX4438" fmla="*/ 4542910 w 9586368"/>
              <a:gd name="connsiteY4438" fmla="*/ 3364306 h 6479439"/>
              <a:gd name="connsiteX4439" fmla="*/ 4542910 w 9586368"/>
              <a:gd name="connsiteY4439" fmla="*/ 3354436 h 6479439"/>
              <a:gd name="connsiteX4440" fmla="*/ 4307612 w 9586368"/>
              <a:gd name="connsiteY4440" fmla="*/ 3350398 h 6479439"/>
              <a:gd name="connsiteX4441" fmla="*/ 4317523 w 9586368"/>
              <a:gd name="connsiteY4441" fmla="*/ 3350398 h 6479439"/>
              <a:gd name="connsiteX4442" fmla="*/ 4321543 w 9586368"/>
              <a:gd name="connsiteY4442" fmla="*/ 3354436 h 6479439"/>
              <a:gd name="connsiteX4443" fmla="*/ 4321543 w 9586368"/>
              <a:gd name="connsiteY4443" fmla="*/ 3364306 h 6479439"/>
              <a:gd name="connsiteX4444" fmla="*/ 4317523 w 9586368"/>
              <a:gd name="connsiteY4444" fmla="*/ 3368345 h 6479439"/>
              <a:gd name="connsiteX4445" fmla="*/ 4307612 w 9586368"/>
              <a:gd name="connsiteY4445" fmla="*/ 3368345 h 6479439"/>
              <a:gd name="connsiteX4446" fmla="*/ 4303595 w 9586368"/>
              <a:gd name="connsiteY4446" fmla="*/ 3364306 h 6479439"/>
              <a:gd name="connsiteX4447" fmla="*/ 4303595 w 9586368"/>
              <a:gd name="connsiteY4447" fmla="*/ 3354436 h 6479439"/>
              <a:gd name="connsiteX4448" fmla="*/ 4068297 w 9586368"/>
              <a:gd name="connsiteY4448" fmla="*/ 3350398 h 6479439"/>
              <a:gd name="connsiteX4449" fmla="*/ 4078210 w 9586368"/>
              <a:gd name="connsiteY4449" fmla="*/ 3350398 h 6479439"/>
              <a:gd name="connsiteX4450" fmla="*/ 4082229 w 9586368"/>
              <a:gd name="connsiteY4450" fmla="*/ 3354436 h 6479439"/>
              <a:gd name="connsiteX4451" fmla="*/ 4082229 w 9586368"/>
              <a:gd name="connsiteY4451" fmla="*/ 3364306 h 6479439"/>
              <a:gd name="connsiteX4452" fmla="*/ 4078210 w 9586368"/>
              <a:gd name="connsiteY4452" fmla="*/ 3368345 h 6479439"/>
              <a:gd name="connsiteX4453" fmla="*/ 4068297 w 9586368"/>
              <a:gd name="connsiteY4453" fmla="*/ 3368345 h 6479439"/>
              <a:gd name="connsiteX4454" fmla="*/ 4064278 w 9586368"/>
              <a:gd name="connsiteY4454" fmla="*/ 3364306 h 6479439"/>
              <a:gd name="connsiteX4455" fmla="*/ 4064278 w 9586368"/>
              <a:gd name="connsiteY4455" fmla="*/ 3354436 h 6479439"/>
              <a:gd name="connsiteX4456" fmla="*/ 3828990 w 9586368"/>
              <a:gd name="connsiteY4456" fmla="*/ 3350398 h 6479439"/>
              <a:gd name="connsiteX4457" fmla="*/ 3838899 w 9586368"/>
              <a:gd name="connsiteY4457" fmla="*/ 3350398 h 6479439"/>
              <a:gd name="connsiteX4458" fmla="*/ 3842917 w 9586368"/>
              <a:gd name="connsiteY4458" fmla="*/ 3354436 h 6479439"/>
              <a:gd name="connsiteX4459" fmla="*/ 3842917 w 9586368"/>
              <a:gd name="connsiteY4459" fmla="*/ 3364306 h 6479439"/>
              <a:gd name="connsiteX4460" fmla="*/ 3838899 w 9586368"/>
              <a:gd name="connsiteY4460" fmla="*/ 3368345 h 6479439"/>
              <a:gd name="connsiteX4461" fmla="*/ 3828990 w 9586368"/>
              <a:gd name="connsiteY4461" fmla="*/ 3368345 h 6479439"/>
              <a:gd name="connsiteX4462" fmla="*/ 3824971 w 9586368"/>
              <a:gd name="connsiteY4462" fmla="*/ 3364306 h 6479439"/>
              <a:gd name="connsiteX4463" fmla="*/ 3824971 w 9586368"/>
              <a:gd name="connsiteY4463" fmla="*/ 3354436 h 6479439"/>
              <a:gd name="connsiteX4464" fmla="*/ 3589676 w 9586368"/>
              <a:gd name="connsiteY4464" fmla="*/ 3350398 h 6479439"/>
              <a:gd name="connsiteX4465" fmla="*/ 3599585 w 9586368"/>
              <a:gd name="connsiteY4465" fmla="*/ 3350398 h 6479439"/>
              <a:gd name="connsiteX4466" fmla="*/ 3603604 w 9586368"/>
              <a:gd name="connsiteY4466" fmla="*/ 3354436 h 6479439"/>
              <a:gd name="connsiteX4467" fmla="*/ 3603604 w 9586368"/>
              <a:gd name="connsiteY4467" fmla="*/ 3364306 h 6479439"/>
              <a:gd name="connsiteX4468" fmla="*/ 3599585 w 9586368"/>
              <a:gd name="connsiteY4468" fmla="*/ 3368345 h 6479439"/>
              <a:gd name="connsiteX4469" fmla="*/ 3589676 w 9586368"/>
              <a:gd name="connsiteY4469" fmla="*/ 3368345 h 6479439"/>
              <a:gd name="connsiteX4470" fmla="*/ 3585657 w 9586368"/>
              <a:gd name="connsiteY4470" fmla="*/ 3364306 h 6479439"/>
              <a:gd name="connsiteX4471" fmla="*/ 3585657 w 9586368"/>
              <a:gd name="connsiteY4471" fmla="*/ 3354436 h 6479439"/>
              <a:gd name="connsiteX4472" fmla="*/ 3350359 w 9586368"/>
              <a:gd name="connsiteY4472" fmla="*/ 3350398 h 6479439"/>
              <a:gd name="connsiteX4473" fmla="*/ 3360268 w 9586368"/>
              <a:gd name="connsiteY4473" fmla="*/ 3350398 h 6479439"/>
              <a:gd name="connsiteX4474" fmla="*/ 3364287 w 9586368"/>
              <a:gd name="connsiteY4474" fmla="*/ 3354436 h 6479439"/>
              <a:gd name="connsiteX4475" fmla="*/ 3364287 w 9586368"/>
              <a:gd name="connsiteY4475" fmla="*/ 3364306 h 6479439"/>
              <a:gd name="connsiteX4476" fmla="*/ 3360268 w 9586368"/>
              <a:gd name="connsiteY4476" fmla="*/ 3368345 h 6479439"/>
              <a:gd name="connsiteX4477" fmla="*/ 3350359 w 9586368"/>
              <a:gd name="connsiteY4477" fmla="*/ 3368345 h 6479439"/>
              <a:gd name="connsiteX4478" fmla="*/ 3346340 w 9586368"/>
              <a:gd name="connsiteY4478" fmla="*/ 3364306 h 6479439"/>
              <a:gd name="connsiteX4479" fmla="*/ 3346340 w 9586368"/>
              <a:gd name="connsiteY4479" fmla="*/ 3354436 h 6479439"/>
              <a:gd name="connsiteX4480" fmla="*/ 3111048 w 9586368"/>
              <a:gd name="connsiteY4480" fmla="*/ 3350398 h 6479439"/>
              <a:gd name="connsiteX4481" fmla="*/ 3120959 w 9586368"/>
              <a:gd name="connsiteY4481" fmla="*/ 3350398 h 6479439"/>
              <a:gd name="connsiteX4482" fmla="*/ 3124977 w 9586368"/>
              <a:gd name="connsiteY4482" fmla="*/ 3354436 h 6479439"/>
              <a:gd name="connsiteX4483" fmla="*/ 3124977 w 9586368"/>
              <a:gd name="connsiteY4483" fmla="*/ 3364306 h 6479439"/>
              <a:gd name="connsiteX4484" fmla="*/ 3120959 w 9586368"/>
              <a:gd name="connsiteY4484" fmla="*/ 3368345 h 6479439"/>
              <a:gd name="connsiteX4485" fmla="*/ 3111048 w 9586368"/>
              <a:gd name="connsiteY4485" fmla="*/ 3368345 h 6479439"/>
              <a:gd name="connsiteX4486" fmla="*/ 3107029 w 9586368"/>
              <a:gd name="connsiteY4486" fmla="*/ 3364306 h 6479439"/>
              <a:gd name="connsiteX4487" fmla="*/ 3107029 w 9586368"/>
              <a:gd name="connsiteY4487" fmla="*/ 3354436 h 6479439"/>
              <a:gd name="connsiteX4488" fmla="*/ 2871737 w 9586368"/>
              <a:gd name="connsiteY4488" fmla="*/ 3350398 h 6479439"/>
              <a:gd name="connsiteX4489" fmla="*/ 2881646 w 9586368"/>
              <a:gd name="connsiteY4489" fmla="*/ 3350398 h 6479439"/>
              <a:gd name="connsiteX4490" fmla="*/ 2885666 w 9586368"/>
              <a:gd name="connsiteY4490" fmla="*/ 3354436 h 6479439"/>
              <a:gd name="connsiteX4491" fmla="*/ 2885666 w 9586368"/>
              <a:gd name="connsiteY4491" fmla="*/ 3364306 h 6479439"/>
              <a:gd name="connsiteX4492" fmla="*/ 2881646 w 9586368"/>
              <a:gd name="connsiteY4492" fmla="*/ 3368345 h 6479439"/>
              <a:gd name="connsiteX4493" fmla="*/ 2871737 w 9586368"/>
              <a:gd name="connsiteY4493" fmla="*/ 3368345 h 6479439"/>
              <a:gd name="connsiteX4494" fmla="*/ 2867717 w 9586368"/>
              <a:gd name="connsiteY4494" fmla="*/ 3364306 h 6479439"/>
              <a:gd name="connsiteX4495" fmla="*/ 2867717 w 9586368"/>
              <a:gd name="connsiteY4495" fmla="*/ 3354436 h 6479439"/>
              <a:gd name="connsiteX4496" fmla="*/ 2632423 w 9586368"/>
              <a:gd name="connsiteY4496" fmla="*/ 3350398 h 6479439"/>
              <a:gd name="connsiteX4497" fmla="*/ 2642334 w 9586368"/>
              <a:gd name="connsiteY4497" fmla="*/ 3350398 h 6479439"/>
              <a:gd name="connsiteX4498" fmla="*/ 2646352 w 9586368"/>
              <a:gd name="connsiteY4498" fmla="*/ 3354436 h 6479439"/>
              <a:gd name="connsiteX4499" fmla="*/ 2646352 w 9586368"/>
              <a:gd name="connsiteY4499" fmla="*/ 3364306 h 6479439"/>
              <a:gd name="connsiteX4500" fmla="*/ 2642334 w 9586368"/>
              <a:gd name="connsiteY4500" fmla="*/ 3368345 h 6479439"/>
              <a:gd name="connsiteX4501" fmla="*/ 2632423 w 9586368"/>
              <a:gd name="connsiteY4501" fmla="*/ 3368345 h 6479439"/>
              <a:gd name="connsiteX4502" fmla="*/ 2628404 w 9586368"/>
              <a:gd name="connsiteY4502" fmla="*/ 3364306 h 6479439"/>
              <a:gd name="connsiteX4503" fmla="*/ 2628404 w 9586368"/>
              <a:gd name="connsiteY4503" fmla="*/ 3354436 h 6479439"/>
              <a:gd name="connsiteX4504" fmla="*/ 2393104 w 9586368"/>
              <a:gd name="connsiteY4504" fmla="*/ 3350398 h 6479439"/>
              <a:gd name="connsiteX4505" fmla="*/ 2403015 w 9586368"/>
              <a:gd name="connsiteY4505" fmla="*/ 3350398 h 6479439"/>
              <a:gd name="connsiteX4506" fmla="*/ 2407034 w 9586368"/>
              <a:gd name="connsiteY4506" fmla="*/ 3354436 h 6479439"/>
              <a:gd name="connsiteX4507" fmla="*/ 2407034 w 9586368"/>
              <a:gd name="connsiteY4507" fmla="*/ 3364306 h 6479439"/>
              <a:gd name="connsiteX4508" fmla="*/ 2403015 w 9586368"/>
              <a:gd name="connsiteY4508" fmla="*/ 3368345 h 6479439"/>
              <a:gd name="connsiteX4509" fmla="*/ 2393104 w 9586368"/>
              <a:gd name="connsiteY4509" fmla="*/ 3368345 h 6479439"/>
              <a:gd name="connsiteX4510" fmla="*/ 2389087 w 9586368"/>
              <a:gd name="connsiteY4510" fmla="*/ 3364306 h 6479439"/>
              <a:gd name="connsiteX4511" fmla="*/ 2389087 w 9586368"/>
              <a:gd name="connsiteY4511" fmla="*/ 3354436 h 6479439"/>
              <a:gd name="connsiteX4512" fmla="*/ 2157820 w 9586368"/>
              <a:gd name="connsiteY4512" fmla="*/ 3350398 h 6479439"/>
              <a:gd name="connsiteX4513" fmla="*/ 2167731 w 9586368"/>
              <a:gd name="connsiteY4513" fmla="*/ 3350398 h 6479439"/>
              <a:gd name="connsiteX4514" fmla="*/ 2171749 w 9586368"/>
              <a:gd name="connsiteY4514" fmla="*/ 3354436 h 6479439"/>
              <a:gd name="connsiteX4515" fmla="*/ 2171749 w 9586368"/>
              <a:gd name="connsiteY4515" fmla="*/ 3364306 h 6479439"/>
              <a:gd name="connsiteX4516" fmla="*/ 2167731 w 9586368"/>
              <a:gd name="connsiteY4516" fmla="*/ 3368345 h 6479439"/>
              <a:gd name="connsiteX4517" fmla="*/ 2157820 w 9586368"/>
              <a:gd name="connsiteY4517" fmla="*/ 3368345 h 6479439"/>
              <a:gd name="connsiteX4518" fmla="*/ 2153802 w 9586368"/>
              <a:gd name="connsiteY4518" fmla="*/ 3364306 h 6479439"/>
              <a:gd name="connsiteX4519" fmla="*/ 2153802 w 9586368"/>
              <a:gd name="connsiteY4519" fmla="*/ 3354436 h 6479439"/>
              <a:gd name="connsiteX4520" fmla="*/ 1918511 w 9586368"/>
              <a:gd name="connsiteY4520" fmla="*/ 3350398 h 6479439"/>
              <a:gd name="connsiteX4521" fmla="*/ 1928422 w 9586368"/>
              <a:gd name="connsiteY4521" fmla="*/ 3350398 h 6479439"/>
              <a:gd name="connsiteX4522" fmla="*/ 1932441 w 9586368"/>
              <a:gd name="connsiteY4522" fmla="*/ 3354436 h 6479439"/>
              <a:gd name="connsiteX4523" fmla="*/ 1932441 w 9586368"/>
              <a:gd name="connsiteY4523" fmla="*/ 3364306 h 6479439"/>
              <a:gd name="connsiteX4524" fmla="*/ 1928422 w 9586368"/>
              <a:gd name="connsiteY4524" fmla="*/ 3368345 h 6479439"/>
              <a:gd name="connsiteX4525" fmla="*/ 1918511 w 9586368"/>
              <a:gd name="connsiteY4525" fmla="*/ 3368345 h 6479439"/>
              <a:gd name="connsiteX4526" fmla="*/ 1914493 w 9586368"/>
              <a:gd name="connsiteY4526" fmla="*/ 3364306 h 6479439"/>
              <a:gd name="connsiteX4527" fmla="*/ 1914493 w 9586368"/>
              <a:gd name="connsiteY4527" fmla="*/ 3354436 h 6479439"/>
              <a:gd name="connsiteX4528" fmla="*/ 1679210 w 9586368"/>
              <a:gd name="connsiteY4528" fmla="*/ 3350398 h 6479439"/>
              <a:gd name="connsiteX4529" fmla="*/ 1689120 w 9586368"/>
              <a:gd name="connsiteY4529" fmla="*/ 3350398 h 6479439"/>
              <a:gd name="connsiteX4530" fmla="*/ 1693138 w 9586368"/>
              <a:gd name="connsiteY4530" fmla="*/ 3354436 h 6479439"/>
              <a:gd name="connsiteX4531" fmla="*/ 1693138 w 9586368"/>
              <a:gd name="connsiteY4531" fmla="*/ 3364306 h 6479439"/>
              <a:gd name="connsiteX4532" fmla="*/ 1689120 w 9586368"/>
              <a:gd name="connsiteY4532" fmla="*/ 3368345 h 6479439"/>
              <a:gd name="connsiteX4533" fmla="*/ 1679210 w 9586368"/>
              <a:gd name="connsiteY4533" fmla="*/ 3368345 h 6479439"/>
              <a:gd name="connsiteX4534" fmla="*/ 1675191 w 9586368"/>
              <a:gd name="connsiteY4534" fmla="*/ 3364306 h 6479439"/>
              <a:gd name="connsiteX4535" fmla="*/ 1675191 w 9586368"/>
              <a:gd name="connsiteY4535" fmla="*/ 3354436 h 6479439"/>
              <a:gd name="connsiteX4536" fmla="*/ 1439893 w 9586368"/>
              <a:gd name="connsiteY4536" fmla="*/ 3350398 h 6479439"/>
              <a:gd name="connsiteX4537" fmla="*/ 1449803 w 9586368"/>
              <a:gd name="connsiteY4537" fmla="*/ 3350398 h 6479439"/>
              <a:gd name="connsiteX4538" fmla="*/ 1453823 w 9586368"/>
              <a:gd name="connsiteY4538" fmla="*/ 3354436 h 6479439"/>
              <a:gd name="connsiteX4539" fmla="*/ 1453823 w 9586368"/>
              <a:gd name="connsiteY4539" fmla="*/ 3364306 h 6479439"/>
              <a:gd name="connsiteX4540" fmla="*/ 1449803 w 9586368"/>
              <a:gd name="connsiteY4540" fmla="*/ 3368345 h 6479439"/>
              <a:gd name="connsiteX4541" fmla="*/ 1439893 w 9586368"/>
              <a:gd name="connsiteY4541" fmla="*/ 3368345 h 6479439"/>
              <a:gd name="connsiteX4542" fmla="*/ 1435875 w 9586368"/>
              <a:gd name="connsiteY4542" fmla="*/ 3364306 h 6479439"/>
              <a:gd name="connsiteX4543" fmla="*/ 1435875 w 9586368"/>
              <a:gd name="connsiteY4543" fmla="*/ 3354436 h 6479439"/>
              <a:gd name="connsiteX4544" fmla="*/ 1200578 w 9586368"/>
              <a:gd name="connsiteY4544" fmla="*/ 3350398 h 6479439"/>
              <a:gd name="connsiteX4545" fmla="*/ 1210488 w 9586368"/>
              <a:gd name="connsiteY4545" fmla="*/ 3350398 h 6479439"/>
              <a:gd name="connsiteX4546" fmla="*/ 1214507 w 9586368"/>
              <a:gd name="connsiteY4546" fmla="*/ 3354436 h 6479439"/>
              <a:gd name="connsiteX4547" fmla="*/ 1214507 w 9586368"/>
              <a:gd name="connsiteY4547" fmla="*/ 3364306 h 6479439"/>
              <a:gd name="connsiteX4548" fmla="*/ 1210488 w 9586368"/>
              <a:gd name="connsiteY4548" fmla="*/ 3368345 h 6479439"/>
              <a:gd name="connsiteX4549" fmla="*/ 1200578 w 9586368"/>
              <a:gd name="connsiteY4549" fmla="*/ 3368345 h 6479439"/>
              <a:gd name="connsiteX4550" fmla="*/ 1196559 w 9586368"/>
              <a:gd name="connsiteY4550" fmla="*/ 3364306 h 6479439"/>
              <a:gd name="connsiteX4551" fmla="*/ 1196559 w 9586368"/>
              <a:gd name="connsiteY4551" fmla="*/ 3354436 h 6479439"/>
              <a:gd name="connsiteX4552" fmla="*/ 961265 w 9586368"/>
              <a:gd name="connsiteY4552" fmla="*/ 3350398 h 6479439"/>
              <a:gd name="connsiteX4553" fmla="*/ 971176 w 9586368"/>
              <a:gd name="connsiteY4553" fmla="*/ 3350398 h 6479439"/>
              <a:gd name="connsiteX4554" fmla="*/ 975194 w 9586368"/>
              <a:gd name="connsiteY4554" fmla="*/ 3354436 h 6479439"/>
              <a:gd name="connsiteX4555" fmla="*/ 975194 w 9586368"/>
              <a:gd name="connsiteY4555" fmla="*/ 3364306 h 6479439"/>
              <a:gd name="connsiteX4556" fmla="*/ 971176 w 9586368"/>
              <a:gd name="connsiteY4556" fmla="*/ 3368345 h 6479439"/>
              <a:gd name="connsiteX4557" fmla="*/ 961265 w 9586368"/>
              <a:gd name="connsiteY4557" fmla="*/ 3368345 h 6479439"/>
              <a:gd name="connsiteX4558" fmla="*/ 957246 w 9586368"/>
              <a:gd name="connsiteY4558" fmla="*/ 3364306 h 6479439"/>
              <a:gd name="connsiteX4559" fmla="*/ 957246 w 9586368"/>
              <a:gd name="connsiteY4559" fmla="*/ 3354436 h 6479439"/>
              <a:gd name="connsiteX4560" fmla="*/ 721967 w 9586368"/>
              <a:gd name="connsiteY4560" fmla="*/ 3350398 h 6479439"/>
              <a:gd name="connsiteX4561" fmla="*/ 731877 w 9586368"/>
              <a:gd name="connsiteY4561" fmla="*/ 3350398 h 6479439"/>
              <a:gd name="connsiteX4562" fmla="*/ 735896 w 9586368"/>
              <a:gd name="connsiteY4562" fmla="*/ 3354436 h 6479439"/>
              <a:gd name="connsiteX4563" fmla="*/ 735896 w 9586368"/>
              <a:gd name="connsiteY4563" fmla="*/ 3364306 h 6479439"/>
              <a:gd name="connsiteX4564" fmla="*/ 731877 w 9586368"/>
              <a:gd name="connsiteY4564" fmla="*/ 3368345 h 6479439"/>
              <a:gd name="connsiteX4565" fmla="*/ 721967 w 9586368"/>
              <a:gd name="connsiteY4565" fmla="*/ 3368345 h 6479439"/>
              <a:gd name="connsiteX4566" fmla="*/ 717949 w 9586368"/>
              <a:gd name="connsiteY4566" fmla="*/ 3364306 h 6479439"/>
              <a:gd name="connsiteX4567" fmla="*/ 717949 w 9586368"/>
              <a:gd name="connsiteY4567" fmla="*/ 3354436 h 6479439"/>
              <a:gd name="connsiteX4568" fmla="*/ 482655 w 9586368"/>
              <a:gd name="connsiteY4568" fmla="*/ 3350398 h 6479439"/>
              <a:gd name="connsiteX4569" fmla="*/ 492565 w 9586368"/>
              <a:gd name="connsiteY4569" fmla="*/ 3350398 h 6479439"/>
              <a:gd name="connsiteX4570" fmla="*/ 496584 w 9586368"/>
              <a:gd name="connsiteY4570" fmla="*/ 3354436 h 6479439"/>
              <a:gd name="connsiteX4571" fmla="*/ 496584 w 9586368"/>
              <a:gd name="connsiteY4571" fmla="*/ 3364306 h 6479439"/>
              <a:gd name="connsiteX4572" fmla="*/ 492565 w 9586368"/>
              <a:gd name="connsiteY4572" fmla="*/ 3368345 h 6479439"/>
              <a:gd name="connsiteX4573" fmla="*/ 482655 w 9586368"/>
              <a:gd name="connsiteY4573" fmla="*/ 3368345 h 6479439"/>
              <a:gd name="connsiteX4574" fmla="*/ 478636 w 9586368"/>
              <a:gd name="connsiteY4574" fmla="*/ 3364306 h 6479439"/>
              <a:gd name="connsiteX4575" fmla="*/ 478636 w 9586368"/>
              <a:gd name="connsiteY4575" fmla="*/ 3354436 h 6479439"/>
              <a:gd name="connsiteX4576" fmla="*/ 243341 w 9586368"/>
              <a:gd name="connsiteY4576" fmla="*/ 3350398 h 6479439"/>
              <a:gd name="connsiteX4577" fmla="*/ 253252 w 9586368"/>
              <a:gd name="connsiteY4577" fmla="*/ 3350398 h 6479439"/>
              <a:gd name="connsiteX4578" fmla="*/ 257271 w 9586368"/>
              <a:gd name="connsiteY4578" fmla="*/ 3354436 h 6479439"/>
              <a:gd name="connsiteX4579" fmla="*/ 257271 w 9586368"/>
              <a:gd name="connsiteY4579" fmla="*/ 3364306 h 6479439"/>
              <a:gd name="connsiteX4580" fmla="*/ 253252 w 9586368"/>
              <a:gd name="connsiteY4580" fmla="*/ 3368345 h 6479439"/>
              <a:gd name="connsiteX4581" fmla="*/ 243341 w 9586368"/>
              <a:gd name="connsiteY4581" fmla="*/ 3368345 h 6479439"/>
              <a:gd name="connsiteX4582" fmla="*/ 239322 w 9586368"/>
              <a:gd name="connsiteY4582" fmla="*/ 3364306 h 6479439"/>
              <a:gd name="connsiteX4583" fmla="*/ 239322 w 9586368"/>
              <a:gd name="connsiteY4583" fmla="*/ 3354436 h 6479439"/>
              <a:gd name="connsiteX4584" fmla="*/ 4029 w 9586368"/>
              <a:gd name="connsiteY4584" fmla="*/ 3350398 h 6479439"/>
              <a:gd name="connsiteX4585" fmla="*/ 13938 w 9586368"/>
              <a:gd name="connsiteY4585" fmla="*/ 3350398 h 6479439"/>
              <a:gd name="connsiteX4586" fmla="*/ 17957 w 9586368"/>
              <a:gd name="connsiteY4586" fmla="*/ 3354436 h 6479439"/>
              <a:gd name="connsiteX4587" fmla="*/ 17957 w 9586368"/>
              <a:gd name="connsiteY4587" fmla="*/ 3364306 h 6479439"/>
              <a:gd name="connsiteX4588" fmla="*/ 13938 w 9586368"/>
              <a:gd name="connsiteY4588" fmla="*/ 3368345 h 6479439"/>
              <a:gd name="connsiteX4589" fmla="*/ 4029 w 9586368"/>
              <a:gd name="connsiteY4589" fmla="*/ 3368345 h 6479439"/>
              <a:gd name="connsiteX4590" fmla="*/ 9 w 9586368"/>
              <a:gd name="connsiteY4590" fmla="*/ 3364306 h 6479439"/>
              <a:gd name="connsiteX4591" fmla="*/ 9 w 9586368"/>
              <a:gd name="connsiteY4591" fmla="*/ 3354436 h 6479439"/>
              <a:gd name="connsiteX4592" fmla="*/ 2157820 w 9586368"/>
              <a:gd name="connsiteY4592" fmla="*/ 3111118 h 6479439"/>
              <a:gd name="connsiteX4593" fmla="*/ 2167731 w 9586368"/>
              <a:gd name="connsiteY4593" fmla="*/ 3111118 h 6479439"/>
              <a:gd name="connsiteX4594" fmla="*/ 2171750 w 9586368"/>
              <a:gd name="connsiteY4594" fmla="*/ 3115157 h 6479439"/>
              <a:gd name="connsiteX4595" fmla="*/ 2171750 w 9586368"/>
              <a:gd name="connsiteY4595" fmla="*/ 3125027 h 6479439"/>
              <a:gd name="connsiteX4596" fmla="*/ 2167731 w 9586368"/>
              <a:gd name="connsiteY4596" fmla="*/ 3129066 h 6479439"/>
              <a:gd name="connsiteX4597" fmla="*/ 2157820 w 9586368"/>
              <a:gd name="connsiteY4597" fmla="*/ 3129066 h 6479439"/>
              <a:gd name="connsiteX4598" fmla="*/ 2153802 w 9586368"/>
              <a:gd name="connsiteY4598" fmla="*/ 3125027 h 6479439"/>
              <a:gd name="connsiteX4599" fmla="*/ 2153802 w 9586368"/>
              <a:gd name="connsiteY4599" fmla="*/ 3115157 h 6479439"/>
              <a:gd name="connsiteX4600" fmla="*/ 1918513 w 9586368"/>
              <a:gd name="connsiteY4600" fmla="*/ 3111118 h 6479439"/>
              <a:gd name="connsiteX4601" fmla="*/ 1928422 w 9586368"/>
              <a:gd name="connsiteY4601" fmla="*/ 3111118 h 6479439"/>
              <a:gd name="connsiteX4602" fmla="*/ 1932441 w 9586368"/>
              <a:gd name="connsiteY4602" fmla="*/ 3115157 h 6479439"/>
              <a:gd name="connsiteX4603" fmla="*/ 1932441 w 9586368"/>
              <a:gd name="connsiteY4603" fmla="*/ 3125027 h 6479439"/>
              <a:gd name="connsiteX4604" fmla="*/ 1928422 w 9586368"/>
              <a:gd name="connsiteY4604" fmla="*/ 3129066 h 6479439"/>
              <a:gd name="connsiteX4605" fmla="*/ 1918513 w 9586368"/>
              <a:gd name="connsiteY4605" fmla="*/ 3129066 h 6479439"/>
              <a:gd name="connsiteX4606" fmla="*/ 1914493 w 9586368"/>
              <a:gd name="connsiteY4606" fmla="*/ 3125027 h 6479439"/>
              <a:gd name="connsiteX4607" fmla="*/ 1914493 w 9586368"/>
              <a:gd name="connsiteY4607" fmla="*/ 3115157 h 6479439"/>
              <a:gd name="connsiteX4608" fmla="*/ 1679211 w 9586368"/>
              <a:gd name="connsiteY4608" fmla="*/ 3111118 h 6479439"/>
              <a:gd name="connsiteX4609" fmla="*/ 1689121 w 9586368"/>
              <a:gd name="connsiteY4609" fmla="*/ 3111118 h 6479439"/>
              <a:gd name="connsiteX4610" fmla="*/ 1693139 w 9586368"/>
              <a:gd name="connsiteY4610" fmla="*/ 3115157 h 6479439"/>
              <a:gd name="connsiteX4611" fmla="*/ 1693139 w 9586368"/>
              <a:gd name="connsiteY4611" fmla="*/ 3125027 h 6479439"/>
              <a:gd name="connsiteX4612" fmla="*/ 1689121 w 9586368"/>
              <a:gd name="connsiteY4612" fmla="*/ 3129066 h 6479439"/>
              <a:gd name="connsiteX4613" fmla="*/ 1679211 w 9586368"/>
              <a:gd name="connsiteY4613" fmla="*/ 3129066 h 6479439"/>
              <a:gd name="connsiteX4614" fmla="*/ 1675191 w 9586368"/>
              <a:gd name="connsiteY4614" fmla="*/ 3125027 h 6479439"/>
              <a:gd name="connsiteX4615" fmla="*/ 1675191 w 9586368"/>
              <a:gd name="connsiteY4615" fmla="*/ 3115157 h 6479439"/>
              <a:gd name="connsiteX4616" fmla="*/ 1439895 w 9586368"/>
              <a:gd name="connsiteY4616" fmla="*/ 3111118 h 6479439"/>
              <a:gd name="connsiteX4617" fmla="*/ 1449805 w 9586368"/>
              <a:gd name="connsiteY4617" fmla="*/ 3111118 h 6479439"/>
              <a:gd name="connsiteX4618" fmla="*/ 1453823 w 9586368"/>
              <a:gd name="connsiteY4618" fmla="*/ 3115157 h 6479439"/>
              <a:gd name="connsiteX4619" fmla="*/ 1453823 w 9586368"/>
              <a:gd name="connsiteY4619" fmla="*/ 3125027 h 6479439"/>
              <a:gd name="connsiteX4620" fmla="*/ 1449805 w 9586368"/>
              <a:gd name="connsiteY4620" fmla="*/ 3129066 h 6479439"/>
              <a:gd name="connsiteX4621" fmla="*/ 1439895 w 9586368"/>
              <a:gd name="connsiteY4621" fmla="*/ 3129066 h 6479439"/>
              <a:gd name="connsiteX4622" fmla="*/ 1435875 w 9586368"/>
              <a:gd name="connsiteY4622" fmla="*/ 3125027 h 6479439"/>
              <a:gd name="connsiteX4623" fmla="*/ 1435875 w 9586368"/>
              <a:gd name="connsiteY4623" fmla="*/ 3115157 h 6479439"/>
              <a:gd name="connsiteX4624" fmla="*/ 1200578 w 9586368"/>
              <a:gd name="connsiteY4624" fmla="*/ 3111118 h 6479439"/>
              <a:gd name="connsiteX4625" fmla="*/ 1210489 w 9586368"/>
              <a:gd name="connsiteY4625" fmla="*/ 3111118 h 6479439"/>
              <a:gd name="connsiteX4626" fmla="*/ 1214507 w 9586368"/>
              <a:gd name="connsiteY4626" fmla="*/ 3115157 h 6479439"/>
              <a:gd name="connsiteX4627" fmla="*/ 1214507 w 9586368"/>
              <a:gd name="connsiteY4627" fmla="*/ 3125027 h 6479439"/>
              <a:gd name="connsiteX4628" fmla="*/ 1210489 w 9586368"/>
              <a:gd name="connsiteY4628" fmla="*/ 3129066 h 6479439"/>
              <a:gd name="connsiteX4629" fmla="*/ 1200578 w 9586368"/>
              <a:gd name="connsiteY4629" fmla="*/ 3129066 h 6479439"/>
              <a:gd name="connsiteX4630" fmla="*/ 1196560 w 9586368"/>
              <a:gd name="connsiteY4630" fmla="*/ 3125027 h 6479439"/>
              <a:gd name="connsiteX4631" fmla="*/ 1196560 w 9586368"/>
              <a:gd name="connsiteY4631" fmla="*/ 3115157 h 6479439"/>
              <a:gd name="connsiteX4632" fmla="*/ 961266 w 9586368"/>
              <a:gd name="connsiteY4632" fmla="*/ 3111118 h 6479439"/>
              <a:gd name="connsiteX4633" fmla="*/ 971176 w 9586368"/>
              <a:gd name="connsiteY4633" fmla="*/ 3111118 h 6479439"/>
              <a:gd name="connsiteX4634" fmla="*/ 975195 w 9586368"/>
              <a:gd name="connsiteY4634" fmla="*/ 3115157 h 6479439"/>
              <a:gd name="connsiteX4635" fmla="*/ 975195 w 9586368"/>
              <a:gd name="connsiteY4635" fmla="*/ 3125027 h 6479439"/>
              <a:gd name="connsiteX4636" fmla="*/ 971176 w 9586368"/>
              <a:gd name="connsiteY4636" fmla="*/ 3129066 h 6479439"/>
              <a:gd name="connsiteX4637" fmla="*/ 961266 w 9586368"/>
              <a:gd name="connsiteY4637" fmla="*/ 3129066 h 6479439"/>
              <a:gd name="connsiteX4638" fmla="*/ 957247 w 9586368"/>
              <a:gd name="connsiteY4638" fmla="*/ 3125027 h 6479439"/>
              <a:gd name="connsiteX4639" fmla="*/ 957247 w 9586368"/>
              <a:gd name="connsiteY4639" fmla="*/ 3115157 h 6479439"/>
              <a:gd name="connsiteX4640" fmla="*/ 9572438 w 9586368"/>
              <a:gd name="connsiteY4640" fmla="*/ 3111067 h 6479439"/>
              <a:gd name="connsiteX4641" fmla="*/ 9582349 w 9586368"/>
              <a:gd name="connsiteY4641" fmla="*/ 3111067 h 6479439"/>
              <a:gd name="connsiteX4642" fmla="*/ 9586368 w 9586368"/>
              <a:gd name="connsiteY4642" fmla="*/ 3115105 h 6479439"/>
              <a:gd name="connsiteX4643" fmla="*/ 9586368 w 9586368"/>
              <a:gd name="connsiteY4643" fmla="*/ 3124976 h 6479439"/>
              <a:gd name="connsiteX4644" fmla="*/ 9582349 w 9586368"/>
              <a:gd name="connsiteY4644" fmla="*/ 3129015 h 6479439"/>
              <a:gd name="connsiteX4645" fmla="*/ 9572438 w 9586368"/>
              <a:gd name="connsiteY4645" fmla="*/ 3129015 h 6479439"/>
              <a:gd name="connsiteX4646" fmla="*/ 9568419 w 9586368"/>
              <a:gd name="connsiteY4646" fmla="*/ 3124976 h 6479439"/>
              <a:gd name="connsiteX4647" fmla="*/ 9568419 w 9586368"/>
              <a:gd name="connsiteY4647" fmla="*/ 3115105 h 6479439"/>
              <a:gd name="connsiteX4648" fmla="*/ 9333125 w 9586368"/>
              <a:gd name="connsiteY4648" fmla="*/ 3111067 h 6479439"/>
              <a:gd name="connsiteX4649" fmla="*/ 9343036 w 9586368"/>
              <a:gd name="connsiteY4649" fmla="*/ 3111067 h 6479439"/>
              <a:gd name="connsiteX4650" fmla="*/ 9347055 w 9586368"/>
              <a:gd name="connsiteY4650" fmla="*/ 3115105 h 6479439"/>
              <a:gd name="connsiteX4651" fmla="*/ 9347055 w 9586368"/>
              <a:gd name="connsiteY4651" fmla="*/ 3124976 h 6479439"/>
              <a:gd name="connsiteX4652" fmla="*/ 9343036 w 9586368"/>
              <a:gd name="connsiteY4652" fmla="*/ 3129015 h 6479439"/>
              <a:gd name="connsiteX4653" fmla="*/ 9333125 w 9586368"/>
              <a:gd name="connsiteY4653" fmla="*/ 3129015 h 6479439"/>
              <a:gd name="connsiteX4654" fmla="*/ 9329106 w 9586368"/>
              <a:gd name="connsiteY4654" fmla="*/ 3124976 h 6479439"/>
              <a:gd name="connsiteX4655" fmla="*/ 9329106 w 9586368"/>
              <a:gd name="connsiteY4655" fmla="*/ 3115105 h 6479439"/>
              <a:gd name="connsiteX4656" fmla="*/ 9093811 w 9586368"/>
              <a:gd name="connsiteY4656" fmla="*/ 3111067 h 6479439"/>
              <a:gd name="connsiteX4657" fmla="*/ 9103722 w 9586368"/>
              <a:gd name="connsiteY4657" fmla="*/ 3111067 h 6479439"/>
              <a:gd name="connsiteX4658" fmla="*/ 9107741 w 9586368"/>
              <a:gd name="connsiteY4658" fmla="*/ 3115105 h 6479439"/>
              <a:gd name="connsiteX4659" fmla="*/ 9107741 w 9586368"/>
              <a:gd name="connsiteY4659" fmla="*/ 3124976 h 6479439"/>
              <a:gd name="connsiteX4660" fmla="*/ 9103722 w 9586368"/>
              <a:gd name="connsiteY4660" fmla="*/ 3129015 h 6479439"/>
              <a:gd name="connsiteX4661" fmla="*/ 9093811 w 9586368"/>
              <a:gd name="connsiteY4661" fmla="*/ 3129015 h 6479439"/>
              <a:gd name="connsiteX4662" fmla="*/ 9089792 w 9586368"/>
              <a:gd name="connsiteY4662" fmla="*/ 3124976 h 6479439"/>
              <a:gd name="connsiteX4663" fmla="*/ 9089792 w 9586368"/>
              <a:gd name="connsiteY4663" fmla="*/ 3115105 h 6479439"/>
              <a:gd name="connsiteX4664" fmla="*/ 8854496 w 9586368"/>
              <a:gd name="connsiteY4664" fmla="*/ 3111067 h 6479439"/>
              <a:gd name="connsiteX4665" fmla="*/ 8864407 w 9586368"/>
              <a:gd name="connsiteY4665" fmla="*/ 3111067 h 6479439"/>
              <a:gd name="connsiteX4666" fmla="*/ 8868426 w 9586368"/>
              <a:gd name="connsiteY4666" fmla="*/ 3115105 h 6479439"/>
              <a:gd name="connsiteX4667" fmla="*/ 8868426 w 9586368"/>
              <a:gd name="connsiteY4667" fmla="*/ 3124976 h 6479439"/>
              <a:gd name="connsiteX4668" fmla="*/ 8864407 w 9586368"/>
              <a:gd name="connsiteY4668" fmla="*/ 3129015 h 6479439"/>
              <a:gd name="connsiteX4669" fmla="*/ 8854496 w 9586368"/>
              <a:gd name="connsiteY4669" fmla="*/ 3129015 h 6479439"/>
              <a:gd name="connsiteX4670" fmla="*/ 8850477 w 9586368"/>
              <a:gd name="connsiteY4670" fmla="*/ 3124976 h 6479439"/>
              <a:gd name="connsiteX4671" fmla="*/ 8850477 w 9586368"/>
              <a:gd name="connsiteY4671" fmla="*/ 3115105 h 6479439"/>
              <a:gd name="connsiteX4672" fmla="*/ 8615184 w 9586368"/>
              <a:gd name="connsiteY4672" fmla="*/ 3111067 h 6479439"/>
              <a:gd name="connsiteX4673" fmla="*/ 8625095 w 9586368"/>
              <a:gd name="connsiteY4673" fmla="*/ 3111067 h 6479439"/>
              <a:gd name="connsiteX4674" fmla="*/ 8629114 w 9586368"/>
              <a:gd name="connsiteY4674" fmla="*/ 3115105 h 6479439"/>
              <a:gd name="connsiteX4675" fmla="*/ 8629114 w 9586368"/>
              <a:gd name="connsiteY4675" fmla="*/ 3124976 h 6479439"/>
              <a:gd name="connsiteX4676" fmla="*/ 8625095 w 9586368"/>
              <a:gd name="connsiteY4676" fmla="*/ 3129015 h 6479439"/>
              <a:gd name="connsiteX4677" fmla="*/ 8615184 w 9586368"/>
              <a:gd name="connsiteY4677" fmla="*/ 3129015 h 6479439"/>
              <a:gd name="connsiteX4678" fmla="*/ 8611165 w 9586368"/>
              <a:gd name="connsiteY4678" fmla="*/ 3124976 h 6479439"/>
              <a:gd name="connsiteX4679" fmla="*/ 8611165 w 9586368"/>
              <a:gd name="connsiteY4679" fmla="*/ 3115105 h 6479439"/>
              <a:gd name="connsiteX4680" fmla="*/ 8375869 w 9586368"/>
              <a:gd name="connsiteY4680" fmla="*/ 3111067 h 6479439"/>
              <a:gd name="connsiteX4681" fmla="*/ 8385779 w 9586368"/>
              <a:gd name="connsiteY4681" fmla="*/ 3111067 h 6479439"/>
              <a:gd name="connsiteX4682" fmla="*/ 8389799 w 9586368"/>
              <a:gd name="connsiteY4682" fmla="*/ 3115105 h 6479439"/>
              <a:gd name="connsiteX4683" fmla="*/ 8389799 w 9586368"/>
              <a:gd name="connsiteY4683" fmla="*/ 3124976 h 6479439"/>
              <a:gd name="connsiteX4684" fmla="*/ 8385779 w 9586368"/>
              <a:gd name="connsiteY4684" fmla="*/ 3129015 h 6479439"/>
              <a:gd name="connsiteX4685" fmla="*/ 8375869 w 9586368"/>
              <a:gd name="connsiteY4685" fmla="*/ 3129015 h 6479439"/>
              <a:gd name="connsiteX4686" fmla="*/ 8371850 w 9586368"/>
              <a:gd name="connsiteY4686" fmla="*/ 3124976 h 6479439"/>
              <a:gd name="connsiteX4687" fmla="*/ 8371850 w 9586368"/>
              <a:gd name="connsiteY4687" fmla="*/ 3115105 h 6479439"/>
              <a:gd name="connsiteX4688" fmla="*/ 8136553 w 9586368"/>
              <a:gd name="connsiteY4688" fmla="*/ 3111067 h 6479439"/>
              <a:gd name="connsiteX4689" fmla="*/ 8146464 w 9586368"/>
              <a:gd name="connsiteY4689" fmla="*/ 3111067 h 6479439"/>
              <a:gd name="connsiteX4690" fmla="*/ 8150483 w 9586368"/>
              <a:gd name="connsiteY4690" fmla="*/ 3115105 h 6479439"/>
              <a:gd name="connsiteX4691" fmla="*/ 8150483 w 9586368"/>
              <a:gd name="connsiteY4691" fmla="*/ 3124976 h 6479439"/>
              <a:gd name="connsiteX4692" fmla="*/ 8146464 w 9586368"/>
              <a:gd name="connsiteY4692" fmla="*/ 3129015 h 6479439"/>
              <a:gd name="connsiteX4693" fmla="*/ 8136553 w 9586368"/>
              <a:gd name="connsiteY4693" fmla="*/ 3129015 h 6479439"/>
              <a:gd name="connsiteX4694" fmla="*/ 8132534 w 9586368"/>
              <a:gd name="connsiteY4694" fmla="*/ 3124976 h 6479439"/>
              <a:gd name="connsiteX4695" fmla="*/ 8132534 w 9586368"/>
              <a:gd name="connsiteY4695" fmla="*/ 3115105 h 6479439"/>
              <a:gd name="connsiteX4696" fmla="*/ 7897241 w 9586368"/>
              <a:gd name="connsiteY4696" fmla="*/ 3111067 h 6479439"/>
              <a:gd name="connsiteX4697" fmla="*/ 7907151 w 9586368"/>
              <a:gd name="connsiteY4697" fmla="*/ 3111067 h 6479439"/>
              <a:gd name="connsiteX4698" fmla="*/ 7911170 w 9586368"/>
              <a:gd name="connsiteY4698" fmla="*/ 3115105 h 6479439"/>
              <a:gd name="connsiteX4699" fmla="*/ 7911170 w 9586368"/>
              <a:gd name="connsiteY4699" fmla="*/ 3124976 h 6479439"/>
              <a:gd name="connsiteX4700" fmla="*/ 7907151 w 9586368"/>
              <a:gd name="connsiteY4700" fmla="*/ 3129015 h 6479439"/>
              <a:gd name="connsiteX4701" fmla="*/ 7897241 w 9586368"/>
              <a:gd name="connsiteY4701" fmla="*/ 3129015 h 6479439"/>
              <a:gd name="connsiteX4702" fmla="*/ 7893222 w 9586368"/>
              <a:gd name="connsiteY4702" fmla="*/ 3124976 h 6479439"/>
              <a:gd name="connsiteX4703" fmla="*/ 7893222 w 9586368"/>
              <a:gd name="connsiteY4703" fmla="*/ 3115105 h 6479439"/>
              <a:gd name="connsiteX4704" fmla="*/ 7657926 w 9586368"/>
              <a:gd name="connsiteY4704" fmla="*/ 3111067 h 6479439"/>
              <a:gd name="connsiteX4705" fmla="*/ 7667836 w 9586368"/>
              <a:gd name="connsiteY4705" fmla="*/ 3111067 h 6479439"/>
              <a:gd name="connsiteX4706" fmla="*/ 7671855 w 9586368"/>
              <a:gd name="connsiteY4706" fmla="*/ 3115105 h 6479439"/>
              <a:gd name="connsiteX4707" fmla="*/ 7671855 w 9586368"/>
              <a:gd name="connsiteY4707" fmla="*/ 3124976 h 6479439"/>
              <a:gd name="connsiteX4708" fmla="*/ 7667836 w 9586368"/>
              <a:gd name="connsiteY4708" fmla="*/ 3129015 h 6479439"/>
              <a:gd name="connsiteX4709" fmla="*/ 7657926 w 9586368"/>
              <a:gd name="connsiteY4709" fmla="*/ 3129015 h 6479439"/>
              <a:gd name="connsiteX4710" fmla="*/ 7653906 w 9586368"/>
              <a:gd name="connsiteY4710" fmla="*/ 3124976 h 6479439"/>
              <a:gd name="connsiteX4711" fmla="*/ 7653906 w 9586368"/>
              <a:gd name="connsiteY4711" fmla="*/ 3115105 h 6479439"/>
              <a:gd name="connsiteX4712" fmla="*/ 7418611 w 9586368"/>
              <a:gd name="connsiteY4712" fmla="*/ 3111067 h 6479439"/>
              <a:gd name="connsiteX4713" fmla="*/ 7428521 w 9586368"/>
              <a:gd name="connsiteY4713" fmla="*/ 3111067 h 6479439"/>
              <a:gd name="connsiteX4714" fmla="*/ 7432540 w 9586368"/>
              <a:gd name="connsiteY4714" fmla="*/ 3115105 h 6479439"/>
              <a:gd name="connsiteX4715" fmla="*/ 7432540 w 9586368"/>
              <a:gd name="connsiteY4715" fmla="*/ 3124976 h 6479439"/>
              <a:gd name="connsiteX4716" fmla="*/ 7428521 w 9586368"/>
              <a:gd name="connsiteY4716" fmla="*/ 3129015 h 6479439"/>
              <a:gd name="connsiteX4717" fmla="*/ 7418611 w 9586368"/>
              <a:gd name="connsiteY4717" fmla="*/ 3129015 h 6479439"/>
              <a:gd name="connsiteX4718" fmla="*/ 7414592 w 9586368"/>
              <a:gd name="connsiteY4718" fmla="*/ 3124976 h 6479439"/>
              <a:gd name="connsiteX4719" fmla="*/ 7414592 w 9586368"/>
              <a:gd name="connsiteY4719" fmla="*/ 3115105 h 6479439"/>
              <a:gd name="connsiteX4720" fmla="*/ 7179298 w 9586368"/>
              <a:gd name="connsiteY4720" fmla="*/ 3111067 h 6479439"/>
              <a:gd name="connsiteX4721" fmla="*/ 7189209 w 9586368"/>
              <a:gd name="connsiteY4721" fmla="*/ 3111067 h 6479439"/>
              <a:gd name="connsiteX4722" fmla="*/ 7193228 w 9586368"/>
              <a:gd name="connsiteY4722" fmla="*/ 3115105 h 6479439"/>
              <a:gd name="connsiteX4723" fmla="*/ 7193228 w 9586368"/>
              <a:gd name="connsiteY4723" fmla="*/ 3124976 h 6479439"/>
              <a:gd name="connsiteX4724" fmla="*/ 7189209 w 9586368"/>
              <a:gd name="connsiteY4724" fmla="*/ 3129015 h 6479439"/>
              <a:gd name="connsiteX4725" fmla="*/ 7179298 w 9586368"/>
              <a:gd name="connsiteY4725" fmla="*/ 3129015 h 6479439"/>
              <a:gd name="connsiteX4726" fmla="*/ 7175279 w 9586368"/>
              <a:gd name="connsiteY4726" fmla="*/ 3124976 h 6479439"/>
              <a:gd name="connsiteX4727" fmla="*/ 7175279 w 9586368"/>
              <a:gd name="connsiteY4727" fmla="*/ 3115105 h 6479439"/>
              <a:gd name="connsiteX4728" fmla="*/ 6939983 w 9586368"/>
              <a:gd name="connsiteY4728" fmla="*/ 3111067 h 6479439"/>
              <a:gd name="connsiteX4729" fmla="*/ 6949894 w 9586368"/>
              <a:gd name="connsiteY4729" fmla="*/ 3111067 h 6479439"/>
              <a:gd name="connsiteX4730" fmla="*/ 6953913 w 9586368"/>
              <a:gd name="connsiteY4730" fmla="*/ 3115105 h 6479439"/>
              <a:gd name="connsiteX4731" fmla="*/ 6953913 w 9586368"/>
              <a:gd name="connsiteY4731" fmla="*/ 3124976 h 6479439"/>
              <a:gd name="connsiteX4732" fmla="*/ 6949894 w 9586368"/>
              <a:gd name="connsiteY4732" fmla="*/ 3129015 h 6479439"/>
              <a:gd name="connsiteX4733" fmla="*/ 6939983 w 9586368"/>
              <a:gd name="connsiteY4733" fmla="*/ 3129015 h 6479439"/>
              <a:gd name="connsiteX4734" fmla="*/ 6935964 w 9586368"/>
              <a:gd name="connsiteY4734" fmla="*/ 3124976 h 6479439"/>
              <a:gd name="connsiteX4735" fmla="*/ 6935964 w 9586368"/>
              <a:gd name="connsiteY4735" fmla="*/ 3115105 h 6479439"/>
              <a:gd name="connsiteX4736" fmla="*/ 6700670 w 9586368"/>
              <a:gd name="connsiteY4736" fmla="*/ 3111067 h 6479439"/>
              <a:gd name="connsiteX4737" fmla="*/ 6710581 w 9586368"/>
              <a:gd name="connsiteY4737" fmla="*/ 3111067 h 6479439"/>
              <a:gd name="connsiteX4738" fmla="*/ 6714600 w 9586368"/>
              <a:gd name="connsiteY4738" fmla="*/ 3115105 h 6479439"/>
              <a:gd name="connsiteX4739" fmla="*/ 6714600 w 9586368"/>
              <a:gd name="connsiteY4739" fmla="*/ 3124976 h 6479439"/>
              <a:gd name="connsiteX4740" fmla="*/ 6710581 w 9586368"/>
              <a:gd name="connsiteY4740" fmla="*/ 3129015 h 6479439"/>
              <a:gd name="connsiteX4741" fmla="*/ 6700670 w 9586368"/>
              <a:gd name="connsiteY4741" fmla="*/ 3129015 h 6479439"/>
              <a:gd name="connsiteX4742" fmla="*/ 6696651 w 9586368"/>
              <a:gd name="connsiteY4742" fmla="*/ 3124976 h 6479439"/>
              <a:gd name="connsiteX4743" fmla="*/ 6696651 w 9586368"/>
              <a:gd name="connsiteY4743" fmla="*/ 3115105 h 6479439"/>
              <a:gd name="connsiteX4744" fmla="*/ 6461356 w 9586368"/>
              <a:gd name="connsiteY4744" fmla="*/ 3111067 h 6479439"/>
              <a:gd name="connsiteX4745" fmla="*/ 6471266 w 9586368"/>
              <a:gd name="connsiteY4745" fmla="*/ 3111067 h 6479439"/>
              <a:gd name="connsiteX4746" fmla="*/ 6475285 w 9586368"/>
              <a:gd name="connsiteY4746" fmla="*/ 3115105 h 6479439"/>
              <a:gd name="connsiteX4747" fmla="*/ 6475285 w 9586368"/>
              <a:gd name="connsiteY4747" fmla="*/ 3124976 h 6479439"/>
              <a:gd name="connsiteX4748" fmla="*/ 6471266 w 9586368"/>
              <a:gd name="connsiteY4748" fmla="*/ 3129015 h 6479439"/>
              <a:gd name="connsiteX4749" fmla="*/ 6461356 w 9586368"/>
              <a:gd name="connsiteY4749" fmla="*/ 3129015 h 6479439"/>
              <a:gd name="connsiteX4750" fmla="*/ 6457337 w 9586368"/>
              <a:gd name="connsiteY4750" fmla="*/ 3124976 h 6479439"/>
              <a:gd name="connsiteX4751" fmla="*/ 6457337 w 9586368"/>
              <a:gd name="connsiteY4751" fmla="*/ 3115105 h 6479439"/>
              <a:gd name="connsiteX4752" fmla="*/ 6222042 w 9586368"/>
              <a:gd name="connsiteY4752" fmla="*/ 3111067 h 6479439"/>
              <a:gd name="connsiteX4753" fmla="*/ 6231952 w 9586368"/>
              <a:gd name="connsiteY4753" fmla="*/ 3111067 h 6479439"/>
              <a:gd name="connsiteX4754" fmla="*/ 6235971 w 9586368"/>
              <a:gd name="connsiteY4754" fmla="*/ 3115105 h 6479439"/>
              <a:gd name="connsiteX4755" fmla="*/ 6235971 w 9586368"/>
              <a:gd name="connsiteY4755" fmla="*/ 3124976 h 6479439"/>
              <a:gd name="connsiteX4756" fmla="*/ 6231952 w 9586368"/>
              <a:gd name="connsiteY4756" fmla="*/ 3129015 h 6479439"/>
              <a:gd name="connsiteX4757" fmla="*/ 6222042 w 9586368"/>
              <a:gd name="connsiteY4757" fmla="*/ 3129015 h 6479439"/>
              <a:gd name="connsiteX4758" fmla="*/ 6218023 w 9586368"/>
              <a:gd name="connsiteY4758" fmla="*/ 3124976 h 6479439"/>
              <a:gd name="connsiteX4759" fmla="*/ 6218023 w 9586368"/>
              <a:gd name="connsiteY4759" fmla="*/ 3115105 h 6479439"/>
              <a:gd name="connsiteX4760" fmla="*/ 5982729 w 9586368"/>
              <a:gd name="connsiteY4760" fmla="*/ 3111067 h 6479439"/>
              <a:gd name="connsiteX4761" fmla="*/ 5992639 w 9586368"/>
              <a:gd name="connsiteY4761" fmla="*/ 3111067 h 6479439"/>
              <a:gd name="connsiteX4762" fmla="*/ 5996658 w 9586368"/>
              <a:gd name="connsiteY4762" fmla="*/ 3115105 h 6479439"/>
              <a:gd name="connsiteX4763" fmla="*/ 5996658 w 9586368"/>
              <a:gd name="connsiteY4763" fmla="*/ 3124976 h 6479439"/>
              <a:gd name="connsiteX4764" fmla="*/ 5992639 w 9586368"/>
              <a:gd name="connsiteY4764" fmla="*/ 3129015 h 6479439"/>
              <a:gd name="connsiteX4765" fmla="*/ 5982729 w 9586368"/>
              <a:gd name="connsiteY4765" fmla="*/ 3129015 h 6479439"/>
              <a:gd name="connsiteX4766" fmla="*/ 5978710 w 9586368"/>
              <a:gd name="connsiteY4766" fmla="*/ 3124976 h 6479439"/>
              <a:gd name="connsiteX4767" fmla="*/ 5978710 w 9586368"/>
              <a:gd name="connsiteY4767" fmla="*/ 3115105 h 6479439"/>
              <a:gd name="connsiteX4768" fmla="*/ 5743412 w 9586368"/>
              <a:gd name="connsiteY4768" fmla="*/ 3111067 h 6479439"/>
              <a:gd name="connsiteX4769" fmla="*/ 5753323 w 9586368"/>
              <a:gd name="connsiteY4769" fmla="*/ 3111067 h 6479439"/>
              <a:gd name="connsiteX4770" fmla="*/ 5757342 w 9586368"/>
              <a:gd name="connsiteY4770" fmla="*/ 3115105 h 6479439"/>
              <a:gd name="connsiteX4771" fmla="*/ 5757342 w 9586368"/>
              <a:gd name="connsiteY4771" fmla="*/ 3124976 h 6479439"/>
              <a:gd name="connsiteX4772" fmla="*/ 5753323 w 9586368"/>
              <a:gd name="connsiteY4772" fmla="*/ 3129015 h 6479439"/>
              <a:gd name="connsiteX4773" fmla="*/ 5743412 w 9586368"/>
              <a:gd name="connsiteY4773" fmla="*/ 3129015 h 6479439"/>
              <a:gd name="connsiteX4774" fmla="*/ 5739393 w 9586368"/>
              <a:gd name="connsiteY4774" fmla="*/ 3124976 h 6479439"/>
              <a:gd name="connsiteX4775" fmla="*/ 5739393 w 9586368"/>
              <a:gd name="connsiteY4775" fmla="*/ 3115105 h 6479439"/>
              <a:gd name="connsiteX4776" fmla="*/ 5504099 w 9586368"/>
              <a:gd name="connsiteY4776" fmla="*/ 3111067 h 6479439"/>
              <a:gd name="connsiteX4777" fmla="*/ 5514010 w 9586368"/>
              <a:gd name="connsiteY4777" fmla="*/ 3111067 h 6479439"/>
              <a:gd name="connsiteX4778" fmla="*/ 5518029 w 9586368"/>
              <a:gd name="connsiteY4778" fmla="*/ 3115105 h 6479439"/>
              <a:gd name="connsiteX4779" fmla="*/ 5518029 w 9586368"/>
              <a:gd name="connsiteY4779" fmla="*/ 3124976 h 6479439"/>
              <a:gd name="connsiteX4780" fmla="*/ 5514010 w 9586368"/>
              <a:gd name="connsiteY4780" fmla="*/ 3129015 h 6479439"/>
              <a:gd name="connsiteX4781" fmla="*/ 5504099 w 9586368"/>
              <a:gd name="connsiteY4781" fmla="*/ 3129015 h 6479439"/>
              <a:gd name="connsiteX4782" fmla="*/ 5500080 w 9586368"/>
              <a:gd name="connsiteY4782" fmla="*/ 3124976 h 6479439"/>
              <a:gd name="connsiteX4783" fmla="*/ 5500080 w 9586368"/>
              <a:gd name="connsiteY4783" fmla="*/ 3115105 h 6479439"/>
              <a:gd name="connsiteX4784" fmla="*/ 5264784 w 9586368"/>
              <a:gd name="connsiteY4784" fmla="*/ 3111067 h 6479439"/>
              <a:gd name="connsiteX4785" fmla="*/ 5274694 w 9586368"/>
              <a:gd name="connsiteY4785" fmla="*/ 3111067 h 6479439"/>
              <a:gd name="connsiteX4786" fmla="*/ 5278713 w 9586368"/>
              <a:gd name="connsiteY4786" fmla="*/ 3115105 h 6479439"/>
              <a:gd name="connsiteX4787" fmla="*/ 5278713 w 9586368"/>
              <a:gd name="connsiteY4787" fmla="*/ 3124976 h 6479439"/>
              <a:gd name="connsiteX4788" fmla="*/ 5274694 w 9586368"/>
              <a:gd name="connsiteY4788" fmla="*/ 3129015 h 6479439"/>
              <a:gd name="connsiteX4789" fmla="*/ 5264784 w 9586368"/>
              <a:gd name="connsiteY4789" fmla="*/ 3129015 h 6479439"/>
              <a:gd name="connsiteX4790" fmla="*/ 5260765 w 9586368"/>
              <a:gd name="connsiteY4790" fmla="*/ 3124976 h 6479439"/>
              <a:gd name="connsiteX4791" fmla="*/ 5260765 w 9586368"/>
              <a:gd name="connsiteY4791" fmla="*/ 3115105 h 6479439"/>
              <a:gd name="connsiteX4792" fmla="*/ 5025470 w 9586368"/>
              <a:gd name="connsiteY4792" fmla="*/ 3111067 h 6479439"/>
              <a:gd name="connsiteX4793" fmla="*/ 5035381 w 9586368"/>
              <a:gd name="connsiteY4793" fmla="*/ 3111067 h 6479439"/>
              <a:gd name="connsiteX4794" fmla="*/ 5039400 w 9586368"/>
              <a:gd name="connsiteY4794" fmla="*/ 3115105 h 6479439"/>
              <a:gd name="connsiteX4795" fmla="*/ 5039400 w 9586368"/>
              <a:gd name="connsiteY4795" fmla="*/ 3124976 h 6479439"/>
              <a:gd name="connsiteX4796" fmla="*/ 5035381 w 9586368"/>
              <a:gd name="connsiteY4796" fmla="*/ 3129015 h 6479439"/>
              <a:gd name="connsiteX4797" fmla="*/ 5025470 w 9586368"/>
              <a:gd name="connsiteY4797" fmla="*/ 3129015 h 6479439"/>
              <a:gd name="connsiteX4798" fmla="*/ 5021451 w 9586368"/>
              <a:gd name="connsiteY4798" fmla="*/ 3124976 h 6479439"/>
              <a:gd name="connsiteX4799" fmla="*/ 5021451 w 9586368"/>
              <a:gd name="connsiteY4799" fmla="*/ 3115105 h 6479439"/>
              <a:gd name="connsiteX4800" fmla="*/ 4786241 w 9586368"/>
              <a:gd name="connsiteY4800" fmla="*/ 3111067 h 6479439"/>
              <a:gd name="connsiteX4801" fmla="*/ 4796152 w 9586368"/>
              <a:gd name="connsiteY4801" fmla="*/ 3111067 h 6479439"/>
              <a:gd name="connsiteX4802" fmla="*/ 4800171 w 9586368"/>
              <a:gd name="connsiteY4802" fmla="*/ 3115105 h 6479439"/>
              <a:gd name="connsiteX4803" fmla="*/ 4800171 w 9586368"/>
              <a:gd name="connsiteY4803" fmla="*/ 3124976 h 6479439"/>
              <a:gd name="connsiteX4804" fmla="*/ 4796152 w 9586368"/>
              <a:gd name="connsiteY4804" fmla="*/ 3129015 h 6479439"/>
              <a:gd name="connsiteX4805" fmla="*/ 4786241 w 9586368"/>
              <a:gd name="connsiteY4805" fmla="*/ 3129015 h 6479439"/>
              <a:gd name="connsiteX4806" fmla="*/ 4782224 w 9586368"/>
              <a:gd name="connsiteY4806" fmla="*/ 3124976 h 6479439"/>
              <a:gd name="connsiteX4807" fmla="*/ 4782224 w 9586368"/>
              <a:gd name="connsiteY4807" fmla="*/ 3115105 h 6479439"/>
              <a:gd name="connsiteX4808" fmla="*/ 4546929 w 9586368"/>
              <a:gd name="connsiteY4808" fmla="*/ 3111067 h 6479439"/>
              <a:gd name="connsiteX4809" fmla="*/ 4556840 w 9586368"/>
              <a:gd name="connsiteY4809" fmla="*/ 3111067 h 6479439"/>
              <a:gd name="connsiteX4810" fmla="*/ 4560859 w 9586368"/>
              <a:gd name="connsiteY4810" fmla="*/ 3115105 h 6479439"/>
              <a:gd name="connsiteX4811" fmla="*/ 4560859 w 9586368"/>
              <a:gd name="connsiteY4811" fmla="*/ 3124976 h 6479439"/>
              <a:gd name="connsiteX4812" fmla="*/ 4556840 w 9586368"/>
              <a:gd name="connsiteY4812" fmla="*/ 3129015 h 6479439"/>
              <a:gd name="connsiteX4813" fmla="*/ 4546929 w 9586368"/>
              <a:gd name="connsiteY4813" fmla="*/ 3129015 h 6479439"/>
              <a:gd name="connsiteX4814" fmla="*/ 4542910 w 9586368"/>
              <a:gd name="connsiteY4814" fmla="*/ 3124976 h 6479439"/>
              <a:gd name="connsiteX4815" fmla="*/ 4542910 w 9586368"/>
              <a:gd name="connsiteY4815" fmla="*/ 3115105 h 6479439"/>
              <a:gd name="connsiteX4816" fmla="*/ 4307612 w 9586368"/>
              <a:gd name="connsiteY4816" fmla="*/ 3111067 h 6479439"/>
              <a:gd name="connsiteX4817" fmla="*/ 4317523 w 9586368"/>
              <a:gd name="connsiteY4817" fmla="*/ 3111067 h 6479439"/>
              <a:gd name="connsiteX4818" fmla="*/ 4321543 w 9586368"/>
              <a:gd name="connsiteY4818" fmla="*/ 3115105 h 6479439"/>
              <a:gd name="connsiteX4819" fmla="*/ 4321543 w 9586368"/>
              <a:gd name="connsiteY4819" fmla="*/ 3124976 h 6479439"/>
              <a:gd name="connsiteX4820" fmla="*/ 4317523 w 9586368"/>
              <a:gd name="connsiteY4820" fmla="*/ 3129015 h 6479439"/>
              <a:gd name="connsiteX4821" fmla="*/ 4307612 w 9586368"/>
              <a:gd name="connsiteY4821" fmla="*/ 3129015 h 6479439"/>
              <a:gd name="connsiteX4822" fmla="*/ 4303595 w 9586368"/>
              <a:gd name="connsiteY4822" fmla="*/ 3124976 h 6479439"/>
              <a:gd name="connsiteX4823" fmla="*/ 4303595 w 9586368"/>
              <a:gd name="connsiteY4823" fmla="*/ 3115105 h 6479439"/>
              <a:gd name="connsiteX4824" fmla="*/ 4068297 w 9586368"/>
              <a:gd name="connsiteY4824" fmla="*/ 3111067 h 6479439"/>
              <a:gd name="connsiteX4825" fmla="*/ 4078210 w 9586368"/>
              <a:gd name="connsiteY4825" fmla="*/ 3111067 h 6479439"/>
              <a:gd name="connsiteX4826" fmla="*/ 4082229 w 9586368"/>
              <a:gd name="connsiteY4826" fmla="*/ 3115105 h 6479439"/>
              <a:gd name="connsiteX4827" fmla="*/ 4082229 w 9586368"/>
              <a:gd name="connsiteY4827" fmla="*/ 3124976 h 6479439"/>
              <a:gd name="connsiteX4828" fmla="*/ 4078210 w 9586368"/>
              <a:gd name="connsiteY4828" fmla="*/ 3129015 h 6479439"/>
              <a:gd name="connsiteX4829" fmla="*/ 4068297 w 9586368"/>
              <a:gd name="connsiteY4829" fmla="*/ 3129015 h 6479439"/>
              <a:gd name="connsiteX4830" fmla="*/ 4064278 w 9586368"/>
              <a:gd name="connsiteY4830" fmla="*/ 3124976 h 6479439"/>
              <a:gd name="connsiteX4831" fmla="*/ 4064278 w 9586368"/>
              <a:gd name="connsiteY4831" fmla="*/ 3115105 h 6479439"/>
              <a:gd name="connsiteX4832" fmla="*/ 3828990 w 9586368"/>
              <a:gd name="connsiteY4832" fmla="*/ 3111067 h 6479439"/>
              <a:gd name="connsiteX4833" fmla="*/ 3838899 w 9586368"/>
              <a:gd name="connsiteY4833" fmla="*/ 3111067 h 6479439"/>
              <a:gd name="connsiteX4834" fmla="*/ 3842917 w 9586368"/>
              <a:gd name="connsiteY4834" fmla="*/ 3115105 h 6479439"/>
              <a:gd name="connsiteX4835" fmla="*/ 3842917 w 9586368"/>
              <a:gd name="connsiteY4835" fmla="*/ 3124976 h 6479439"/>
              <a:gd name="connsiteX4836" fmla="*/ 3838899 w 9586368"/>
              <a:gd name="connsiteY4836" fmla="*/ 3129015 h 6479439"/>
              <a:gd name="connsiteX4837" fmla="*/ 3828990 w 9586368"/>
              <a:gd name="connsiteY4837" fmla="*/ 3129015 h 6479439"/>
              <a:gd name="connsiteX4838" fmla="*/ 3824971 w 9586368"/>
              <a:gd name="connsiteY4838" fmla="*/ 3124976 h 6479439"/>
              <a:gd name="connsiteX4839" fmla="*/ 3824971 w 9586368"/>
              <a:gd name="connsiteY4839" fmla="*/ 3115105 h 6479439"/>
              <a:gd name="connsiteX4840" fmla="*/ 3589676 w 9586368"/>
              <a:gd name="connsiteY4840" fmla="*/ 3111067 h 6479439"/>
              <a:gd name="connsiteX4841" fmla="*/ 3599585 w 9586368"/>
              <a:gd name="connsiteY4841" fmla="*/ 3111067 h 6479439"/>
              <a:gd name="connsiteX4842" fmla="*/ 3603604 w 9586368"/>
              <a:gd name="connsiteY4842" fmla="*/ 3115105 h 6479439"/>
              <a:gd name="connsiteX4843" fmla="*/ 3603604 w 9586368"/>
              <a:gd name="connsiteY4843" fmla="*/ 3124976 h 6479439"/>
              <a:gd name="connsiteX4844" fmla="*/ 3599585 w 9586368"/>
              <a:gd name="connsiteY4844" fmla="*/ 3129015 h 6479439"/>
              <a:gd name="connsiteX4845" fmla="*/ 3589676 w 9586368"/>
              <a:gd name="connsiteY4845" fmla="*/ 3129015 h 6479439"/>
              <a:gd name="connsiteX4846" fmla="*/ 3585657 w 9586368"/>
              <a:gd name="connsiteY4846" fmla="*/ 3124976 h 6479439"/>
              <a:gd name="connsiteX4847" fmla="*/ 3585657 w 9586368"/>
              <a:gd name="connsiteY4847" fmla="*/ 3115105 h 6479439"/>
              <a:gd name="connsiteX4848" fmla="*/ 3350359 w 9586368"/>
              <a:gd name="connsiteY4848" fmla="*/ 3111067 h 6479439"/>
              <a:gd name="connsiteX4849" fmla="*/ 3360268 w 9586368"/>
              <a:gd name="connsiteY4849" fmla="*/ 3111067 h 6479439"/>
              <a:gd name="connsiteX4850" fmla="*/ 3364287 w 9586368"/>
              <a:gd name="connsiteY4850" fmla="*/ 3115105 h 6479439"/>
              <a:gd name="connsiteX4851" fmla="*/ 3364287 w 9586368"/>
              <a:gd name="connsiteY4851" fmla="*/ 3124976 h 6479439"/>
              <a:gd name="connsiteX4852" fmla="*/ 3360268 w 9586368"/>
              <a:gd name="connsiteY4852" fmla="*/ 3129015 h 6479439"/>
              <a:gd name="connsiteX4853" fmla="*/ 3350359 w 9586368"/>
              <a:gd name="connsiteY4853" fmla="*/ 3129015 h 6479439"/>
              <a:gd name="connsiteX4854" fmla="*/ 3346340 w 9586368"/>
              <a:gd name="connsiteY4854" fmla="*/ 3124976 h 6479439"/>
              <a:gd name="connsiteX4855" fmla="*/ 3346340 w 9586368"/>
              <a:gd name="connsiteY4855" fmla="*/ 3115105 h 6479439"/>
              <a:gd name="connsiteX4856" fmla="*/ 3111048 w 9586368"/>
              <a:gd name="connsiteY4856" fmla="*/ 3111067 h 6479439"/>
              <a:gd name="connsiteX4857" fmla="*/ 3120959 w 9586368"/>
              <a:gd name="connsiteY4857" fmla="*/ 3111067 h 6479439"/>
              <a:gd name="connsiteX4858" fmla="*/ 3124977 w 9586368"/>
              <a:gd name="connsiteY4858" fmla="*/ 3115105 h 6479439"/>
              <a:gd name="connsiteX4859" fmla="*/ 3124977 w 9586368"/>
              <a:gd name="connsiteY4859" fmla="*/ 3124976 h 6479439"/>
              <a:gd name="connsiteX4860" fmla="*/ 3120959 w 9586368"/>
              <a:gd name="connsiteY4860" fmla="*/ 3129015 h 6479439"/>
              <a:gd name="connsiteX4861" fmla="*/ 3111048 w 9586368"/>
              <a:gd name="connsiteY4861" fmla="*/ 3129015 h 6479439"/>
              <a:gd name="connsiteX4862" fmla="*/ 3107029 w 9586368"/>
              <a:gd name="connsiteY4862" fmla="*/ 3124976 h 6479439"/>
              <a:gd name="connsiteX4863" fmla="*/ 3107029 w 9586368"/>
              <a:gd name="connsiteY4863" fmla="*/ 3115105 h 6479439"/>
              <a:gd name="connsiteX4864" fmla="*/ 2871737 w 9586368"/>
              <a:gd name="connsiteY4864" fmla="*/ 3111067 h 6479439"/>
              <a:gd name="connsiteX4865" fmla="*/ 2881646 w 9586368"/>
              <a:gd name="connsiteY4865" fmla="*/ 3111067 h 6479439"/>
              <a:gd name="connsiteX4866" fmla="*/ 2885666 w 9586368"/>
              <a:gd name="connsiteY4866" fmla="*/ 3115105 h 6479439"/>
              <a:gd name="connsiteX4867" fmla="*/ 2885666 w 9586368"/>
              <a:gd name="connsiteY4867" fmla="*/ 3124976 h 6479439"/>
              <a:gd name="connsiteX4868" fmla="*/ 2881646 w 9586368"/>
              <a:gd name="connsiteY4868" fmla="*/ 3129015 h 6479439"/>
              <a:gd name="connsiteX4869" fmla="*/ 2871737 w 9586368"/>
              <a:gd name="connsiteY4869" fmla="*/ 3129015 h 6479439"/>
              <a:gd name="connsiteX4870" fmla="*/ 2867717 w 9586368"/>
              <a:gd name="connsiteY4870" fmla="*/ 3124976 h 6479439"/>
              <a:gd name="connsiteX4871" fmla="*/ 2867717 w 9586368"/>
              <a:gd name="connsiteY4871" fmla="*/ 3115105 h 6479439"/>
              <a:gd name="connsiteX4872" fmla="*/ 2632423 w 9586368"/>
              <a:gd name="connsiteY4872" fmla="*/ 3111067 h 6479439"/>
              <a:gd name="connsiteX4873" fmla="*/ 2642334 w 9586368"/>
              <a:gd name="connsiteY4873" fmla="*/ 3111067 h 6479439"/>
              <a:gd name="connsiteX4874" fmla="*/ 2646352 w 9586368"/>
              <a:gd name="connsiteY4874" fmla="*/ 3115105 h 6479439"/>
              <a:gd name="connsiteX4875" fmla="*/ 2646352 w 9586368"/>
              <a:gd name="connsiteY4875" fmla="*/ 3124976 h 6479439"/>
              <a:gd name="connsiteX4876" fmla="*/ 2642334 w 9586368"/>
              <a:gd name="connsiteY4876" fmla="*/ 3129015 h 6479439"/>
              <a:gd name="connsiteX4877" fmla="*/ 2632423 w 9586368"/>
              <a:gd name="connsiteY4877" fmla="*/ 3129015 h 6479439"/>
              <a:gd name="connsiteX4878" fmla="*/ 2628404 w 9586368"/>
              <a:gd name="connsiteY4878" fmla="*/ 3124976 h 6479439"/>
              <a:gd name="connsiteX4879" fmla="*/ 2628404 w 9586368"/>
              <a:gd name="connsiteY4879" fmla="*/ 3115105 h 6479439"/>
              <a:gd name="connsiteX4880" fmla="*/ 2393104 w 9586368"/>
              <a:gd name="connsiteY4880" fmla="*/ 3111067 h 6479439"/>
              <a:gd name="connsiteX4881" fmla="*/ 2403015 w 9586368"/>
              <a:gd name="connsiteY4881" fmla="*/ 3111067 h 6479439"/>
              <a:gd name="connsiteX4882" fmla="*/ 2407034 w 9586368"/>
              <a:gd name="connsiteY4882" fmla="*/ 3115105 h 6479439"/>
              <a:gd name="connsiteX4883" fmla="*/ 2407034 w 9586368"/>
              <a:gd name="connsiteY4883" fmla="*/ 3124976 h 6479439"/>
              <a:gd name="connsiteX4884" fmla="*/ 2403015 w 9586368"/>
              <a:gd name="connsiteY4884" fmla="*/ 3129015 h 6479439"/>
              <a:gd name="connsiteX4885" fmla="*/ 2393104 w 9586368"/>
              <a:gd name="connsiteY4885" fmla="*/ 3129015 h 6479439"/>
              <a:gd name="connsiteX4886" fmla="*/ 2389087 w 9586368"/>
              <a:gd name="connsiteY4886" fmla="*/ 3124976 h 6479439"/>
              <a:gd name="connsiteX4887" fmla="*/ 2389087 w 9586368"/>
              <a:gd name="connsiteY4887" fmla="*/ 3115105 h 6479439"/>
              <a:gd name="connsiteX4888" fmla="*/ 721968 w 9586368"/>
              <a:gd name="connsiteY4888" fmla="*/ 3111067 h 6479439"/>
              <a:gd name="connsiteX4889" fmla="*/ 731878 w 9586368"/>
              <a:gd name="connsiteY4889" fmla="*/ 3111067 h 6479439"/>
              <a:gd name="connsiteX4890" fmla="*/ 735897 w 9586368"/>
              <a:gd name="connsiteY4890" fmla="*/ 3115105 h 6479439"/>
              <a:gd name="connsiteX4891" fmla="*/ 735897 w 9586368"/>
              <a:gd name="connsiteY4891" fmla="*/ 3124976 h 6479439"/>
              <a:gd name="connsiteX4892" fmla="*/ 731878 w 9586368"/>
              <a:gd name="connsiteY4892" fmla="*/ 3129015 h 6479439"/>
              <a:gd name="connsiteX4893" fmla="*/ 721968 w 9586368"/>
              <a:gd name="connsiteY4893" fmla="*/ 3129015 h 6479439"/>
              <a:gd name="connsiteX4894" fmla="*/ 717949 w 9586368"/>
              <a:gd name="connsiteY4894" fmla="*/ 3124976 h 6479439"/>
              <a:gd name="connsiteX4895" fmla="*/ 717949 w 9586368"/>
              <a:gd name="connsiteY4895" fmla="*/ 3115105 h 6479439"/>
              <a:gd name="connsiteX4896" fmla="*/ 482656 w 9586368"/>
              <a:gd name="connsiteY4896" fmla="*/ 3111067 h 6479439"/>
              <a:gd name="connsiteX4897" fmla="*/ 492566 w 9586368"/>
              <a:gd name="connsiteY4897" fmla="*/ 3111067 h 6479439"/>
              <a:gd name="connsiteX4898" fmla="*/ 496585 w 9586368"/>
              <a:gd name="connsiteY4898" fmla="*/ 3115105 h 6479439"/>
              <a:gd name="connsiteX4899" fmla="*/ 496585 w 9586368"/>
              <a:gd name="connsiteY4899" fmla="*/ 3124976 h 6479439"/>
              <a:gd name="connsiteX4900" fmla="*/ 492566 w 9586368"/>
              <a:gd name="connsiteY4900" fmla="*/ 3129015 h 6479439"/>
              <a:gd name="connsiteX4901" fmla="*/ 482656 w 9586368"/>
              <a:gd name="connsiteY4901" fmla="*/ 3129015 h 6479439"/>
              <a:gd name="connsiteX4902" fmla="*/ 478637 w 9586368"/>
              <a:gd name="connsiteY4902" fmla="*/ 3124976 h 6479439"/>
              <a:gd name="connsiteX4903" fmla="*/ 478637 w 9586368"/>
              <a:gd name="connsiteY4903" fmla="*/ 3115105 h 6479439"/>
              <a:gd name="connsiteX4904" fmla="*/ 243342 w 9586368"/>
              <a:gd name="connsiteY4904" fmla="*/ 3111067 h 6479439"/>
              <a:gd name="connsiteX4905" fmla="*/ 253252 w 9586368"/>
              <a:gd name="connsiteY4905" fmla="*/ 3111067 h 6479439"/>
              <a:gd name="connsiteX4906" fmla="*/ 257271 w 9586368"/>
              <a:gd name="connsiteY4906" fmla="*/ 3115105 h 6479439"/>
              <a:gd name="connsiteX4907" fmla="*/ 257271 w 9586368"/>
              <a:gd name="connsiteY4907" fmla="*/ 3124976 h 6479439"/>
              <a:gd name="connsiteX4908" fmla="*/ 253252 w 9586368"/>
              <a:gd name="connsiteY4908" fmla="*/ 3129015 h 6479439"/>
              <a:gd name="connsiteX4909" fmla="*/ 243342 w 9586368"/>
              <a:gd name="connsiteY4909" fmla="*/ 3129015 h 6479439"/>
              <a:gd name="connsiteX4910" fmla="*/ 239323 w 9586368"/>
              <a:gd name="connsiteY4910" fmla="*/ 3124976 h 6479439"/>
              <a:gd name="connsiteX4911" fmla="*/ 239323 w 9586368"/>
              <a:gd name="connsiteY4911" fmla="*/ 3115105 h 6479439"/>
              <a:gd name="connsiteX4912" fmla="*/ 4029 w 9586368"/>
              <a:gd name="connsiteY4912" fmla="*/ 3111067 h 6479439"/>
              <a:gd name="connsiteX4913" fmla="*/ 13939 w 9586368"/>
              <a:gd name="connsiteY4913" fmla="*/ 3111067 h 6479439"/>
              <a:gd name="connsiteX4914" fmla="*/ 17959 w 9586368"/>
              <a:gd name="connsiteY4914" fmla="*/ 3115105 h 6479439"/>
              <a:gd name="connsiteX4915" fmla="*/ 17959 w 9586368"/>
              <a:gd name="connsiteY4915" fmla="*/ 3124976 h 6479439"/>
              <a:gd name="connsiteX4916" fmla="*/ 13939 w 9586368"/>
              <a:gd name="connsiteY4916" fmla="*/ 3129015 h 6479439"/>
              <a:gd name="connsiteX4917" fmla="*/ 4029 w 9586368"/>
              <a:gd name="connsiteY4917" fmla="*/ 3129015 h 6479439"/>
              <a:gd name="connsiteX4918" fmla="*/ 10 w 9586368"/>
              <a:gd name="connsiteY4918" fmla="*/ 3124976 h 6479439"/>
              <a:gd name="connsiteX4919" fmla="*/ 10 w 9586368"/>
              <a:gd name="connsiteY4919" fmla="*/ 3115105 h 6479439"/>
              <a:gd name="connsiteX4920" fmla="*/ 2157820 w 9586368"/>
              <a:gd name="connsiteY4920" fmla="*/ 2871788 h 6479439"/>
              <a:gd name="connsiteX4921" fmla="*/ 2167732 w 9586368"/>
              <a:gd name="connsiteY4921" fmla="*/ 2871788 h 6479439"/>
              <a:gd name="connsiteX4922" fmla="*/ 2171750 w 9586368"/>
              <a:gd name="connsiteY4922" fmla="*/ 2875826 h 6479439"/>
              <a:gd name="connsiteX4923" fmla="*/ 2171750 w 9586368"/>
              <a:gd name="connsiteY4923" fmla="*/ 2885696 h 6479439"/>
              <a:gd name="connsiteX4924" fmla="*/ 2167732 w 9586368"/>
              <a:gd name="connsiteY4924" fmla="*/ 2889735 h 6479439"/>
              <a:gd name="connsiteX4925" fmla="*/ 2157820 w 9586368"/>
              <a:gd name="connsiteY4925" fmla="*/ 2889735 h 6479439"/>
              <a:gd name="connsiteX4926" fmla="*/ 2153802 w 9586368"/>
              <a:gd name="connsiteY4926" fmla="*/ 2885696 h 6479439"/>
              <a:gd name="connsiteX4927" fmla="*/ 2153802 w 9586368"/>
              <a:gd name="connsiteY4927" fmla="*/ 2875826 h 6479439"/>
              <a:gd name="connsiteX4928" fmla="*/ 1918513 w 9586368"/>
              <a:gd name="connsiteY4928" fmla="*/ 2871788 h 6479439"/>
              <a:gd name="connsiteX4929" fmla="*/ 1928422 w 9586368"/>
              <a:gd name="connsiteY4929" fmla="*/ 2871788 h 6479439"/>
              <a:gd name="connsiteX4930" fmla="*/ 1932441 w 9586368"/>
              <a:gd name="connsiteY4930" fmla="*/ 2875826 h 6479439"/>
              <a:gd name="connsiteX4931" fmla="*/ 1932441 w 9586368"/>
              <a:gd name="connsiteY4931" fmla="*/ 2885696 h 6479439"/>
              <a:gd name="connsiteX4932" fmla="*/ 1928422 w 9586368"/>
              <a:gd name="connsiteY4932" fmla="*/ 2889735 h 6479439"/>
              <a:gd name="connsiteX4933" fmla="*/ 1918513 w 9586368"/>
              <a:gd name="connsiteY4933" fmla="*/ 2889735 h 6479439"/>
              <a:gd name="connsiteX4934" fmla="*/ 1914493 w 9586368"/>
              <a:gd name="connsiteY4934" fmla="*/ 2885696 h 6479439"/>
              <a:gd name="connsiteX4935" fmla="*/ 1914493 w 9586368"/>
              <a:gd name="connsiteY4935" fmla="*/ 2875826 h 6479439"/>
              <a:gd name="connsiteX4936" fmla="*/ 1679211 w 9586368"/>
              <a:gd name="connsiteY4936" fmla="*/ 2871788 h 6479439"/>
              <a:gd name="connsiteX4937" fmla="*/ 1689121 w 9586368"/>
              <a:gd name="connsiteY4937" fmla="*/ 2871788 h 6479439"/>
              <a:gd name="connsiteX4938" fmla="*/ 1693141 w 9586368"/>
              <a:gd name="connsiteY4938" fmla="*/ 2875826 h 6479439"/>
              <a:gd name="connsiteX4939" fmla="*/ 1693141 w 9586368"/>
              <a:gd name="connsiteY4939" fmla="*/ 2885696 h 6479439"/>
              <a:gd name="connsiteX4940" fmla="*/ 1689121 w 9586368"/>
              <a:gd name="connsiteY4940" fmla="*/ 2889735 h 6479439"/>
              <a:gd name="connsiteX4941" fmla="*/ 1679211 w 9586368"/>
              <a:gd name="connsiteY4941" fmla="*/ 2889735 h 6479439"/>
              <a:gd name="connsiteX4942" fmla="*/ 1675193 w 9586368"/>
              <a:gd name="connsiteY4942" fmla="*/ 2885696 h 6479439"/>
              <a:gd name="connsiteX4943" fmla="*/ 1675193 w 9586368"/>
              <a:gd name="connsiteY4943" fmla="*/ 2875826 h 6479439"/>
              <a:gd name="connsiteX4944" fmla="*/ 1439895 w 9586368"/>
              <a:gd name="connsiteY4944" fmla="*/ 2871788 h 6479439"/>
              <a:gd name="connsiteX4945" fmla="*/ 1449805 w 9586368"/>
              <a:gd name="connsiteY4945" fmla="*/ 2871788 h 6479439"/>
              <a:gd name="connsiteX4946" fmla="*/ 1453824 w 9586368"/>
              <a:gd name="connsiteY4946" fmla="*/ 2875826 h 6479439"/>
              <a:gd name="connsiteX4947" fmla="*/ 1453824 w 9586368"/>
              <a:gd name="connsiteY4947" fmla="*/ 2885696 h 6479439"/>
              <a:gd name="connsiteX4948" fmla="*/ 1449805 w 9586368"/>
              <a:gd name="connsiteY4948" fmla="*/ 2889735 h 6479439"/>
              <a:gd name="connsiteX4949" fmla="*/ 1439895 w 9586368"/>
              <a:gd name="connsiteY4949" fmla="*/ 2889735 h 6479439"/>
              <a:gd name="connsiteX4950" fmla="*/ 1435876 w 9586368"/>
              <a:gd name="connsiteY4950" fmla="*/ 2885696 h 6479439"/>
              <a:gd name="connsiteX4951" fmla="*/ 1435876 w 9586368"/>
              <a:gd name="connsiteY4951" fmla="*/ 2875826 h 6479439"/>
              <a:gd name="connsiteX4952" fmla="*/ 1200579 w 9586368"/>
              <a:gd name="connsiteY4952" fmla="*/ 2871788 h 6479439"/>
              <a:gd name="connsiteX4953" fmla="*/ 1210489 w 9586368"/>
              <a:gd name="connsiteY4953" fmla="*/ 2871788 h 6479439"/>
              <a:gd name="connsiteX4954" fmla="*/ 1214509 w 9586368"/>
              <a:gd name="connsiteY4954" fmla="*/ 2875826 h 6479439"/>
              <a:gd name="connsiteX4955" fmla="*/ 1214509 w 9586368"/>
              <a:gd name="connsiteY4955" fmla="*/ 2885696 h 6479439"/>
              <a:gd name="connsiteX4956" fmla="*/ 1210489 w 9586368"/>
              <a:gd name="connsiteY4956" fmla="*/ 2889735 h 6479439"/>
              <a:gd name="connsiteX4957" fmla="*/ 1200579 w 9586368"/>
              <a:gd name="connsiteY4957" fmla="*/ 2889735 h 6479439"/>
              <a:gd name="connsiteX4958" fmla="*/ 1196560 w 9586368"/>
              <a:gd name="connsiteY4958" fmla="*/ 2885696 h 6479439"/>
              <a:gd name="connsiteX4959" fmla="*/ 1196560 w 9586368"/>
              <a:gd name="connsiteY4959" fmla="*/ 2875826 h 6479439"/>
              <a:gd name="connsiteX4960" fmla="*/ 961267 w 9586368"/>
              <a:gd name="connsiteY4960" fmla="*/ 2871788 h 6479439"/>
              <a:gd name="connsiteX4961" fmla="*/ 971177 w 9586368"/>
              <a:gd name="connsiteY4961" fmla="*/ 2871788 h 6479439"/>
              <a:gd name="connsiteX4962" fmla="*/ 975195 w 9586368"/>
              <a:gd name="connsiteY4962" fmla="*/ 2875826 h 6479439"/>
              <a:gd name="connsiteX4963" fmla="*/ 975195 w 9586368"/>
              <a:gd name="connsiteY4963" fmla="*/ 2885696 h 6479439"/>
              <a:gd name="connsiteX4964" fmla="*/ 971177 w 9586368"/>
              <a:gd name="connsiteY4964" fmla="*/ 2889735 h 6479439"/>
              <a:gd name="connsiteX4965" fmla="*/ 961267 w 9586368"/>
              <a:gd name="connsiteY4965" fmla="*/ 2889735 h 6479439"/>
              <a:gd name="connsiteX4966" fmla="*/ 957247 w 9586368"/>
              <a:gd name="connsiteY4966" fmla="*/ 2885696 h 6479439"/>
              <a:gd name="connsiteX4967" fmla="*/ 957247 w 9586368"/>
              <a:gd name="connsiteY4967" fmla="*/ 2875826 h 6479439"/>
              <a:gd name="connsiteX4968" fmla="*/ 9572438 w 9586368"/>
              <a:gd name="connsiteY4968" fmla="*/ 2871736 h 6479439"/>
              <a:gd name="connsiteX4969" fmla="*/ 9582349 w 9586368"/>
              <a:gd name="connsiteY4969" fmla="*/ 2871736 h 6479439"/>
              <a:gd name="connsiteX4970" fmla="*/ 9586368 w 9586368"/>
              <a:gd name="connsiteY4970" fmla="*/ 2875775 h 6479439"/>
              <a:gd name="connsiteX4971" fmla="*/ 9586368 w 9586368"/>
              <a:gd name="connsiteY4971" fmla="*/ 2885645 h 6479439"/>
              <a:gd name="connsiteX4972" fmla="*/ 9582349 w 9586368"/>
              <a:gd name="connsiteY4972" fmla="*/ 2889684 h 6479439"/>
              <a:gd name="connsiteX4973" fmla="*/ 9572438 w 9586368"/>
              <a:gd name="connsiteY4973" fmla="*/ 2889684 h 6479439"/>
              <a:gd name="connsiteX4974" fmla="*/ 9568419 w 9586368"/>
              <a:gd name="connsiteY4974" fmla="*/ 2885645 h 6479439"/>
              <a:gd name="connsiteX4975" fmla="*/ 9568419 w 9586368"/>
              <a:gd name="connsiteY4975" fmla="*/ 2875775 h 6479439"/>
              <a:gd name="connsiteX4976" fmla="*/ 9333125 w 9586368"/>
              <a:gd name="connsiteY4976" fmla="*/ 2871736 h 6479439"/>
              <a:gd name="connsiteX4977" fmla="*/ 9343036 w 9586368"/>
              <a:gd name="connsiteY4977" fmla="*/ 2871736 h 6479439"/>
              <a:gd name="connsiteX4978" fmla="*/ 9347055 w 9586368"/>
              <a:gd name="connsiteY4978" fmla="*/ 2875775 h 6479439"/>
              <a:gd name="connsiteX4979" fmla="*/ 9347055 w 9586368"/>
              <a:gd name="connsiteY4979" fmla="*/ 2885645 h 6479439"/>
              <a:gd name="connsiteX4980" fmla="*/ 9343036 w 9586368"/>
              <a:gd name="connsiteY4980" fmla="*/ 2889684 h 6479439"/>
              <a:gd name="connsiteX4981" fmla="*/ 9333125 w 9586368"/>
              <a:gd name="connsiteY4981" fmla="*/ 2889684 h 6479439"/>
              <a:gd name="connsiteX4982" fmla="*/ 9329106 w 9586368"/>
              <a:gd name="connsiteY4982" fmla="*/ 2885645 h 6479439"/>
              <a:gd name="connsiteX4983" fmla="*/ 9329106 w 9586368"/>
              <a:gd name="connsiteY4983" fmla="*/ 2875775 h 6479439"/>
              <a:gd name="connsiteX4984" fmla="*/ 9093811 w 9586368"/>
              <a:gd name="connsiteY4984" fmla="*/ 2871736 h 6479439"/>
              <a:gd name="connsiteX4985" fmla="*/ 9103722 w 9586368"/>
              <a:gd name="connsiteY4985" fmla="*/ 2871736 h 6479439"/>
              <a:gd name="connsiteX4986" fmla="*/ 9107741 w 9586368"/>
              <a:gd name="connsiteY4986" fmla="*/ 2875775 h 6479439"/>
              <a:gd name="connsiteX4987" fmla="*/ 9107741 w 9586368"/>
              <a:gd name="connsiteY4987" fmla="*/ 2885645 h 6479439"/>
              <a:gd name="connsiteX4988" fmla="*/ 9103722 w 9586368"/>
              <a:gd name="connsiteY4988" fmla="*/ 2889684 h 6479439"/>
              <a:gd name="connsiteX4989" fmla="*/ 9093811 w 9586368"/>
              <a:gd name="connsiteY4989" fmla="*/ 2889684 h 6479439"/>
              <a:gd name="connsiteX4990" fmla="*/ 9089792 w 9586368"/>
              <a:gd name="connsiteY4990" fmla="*/ 2885645 h 6479439"/>
              <a:gd name="connsiteX4991" fmla="*/ 9089792 w 9586368"/>
              <a:gd name="connsiteY4991" fmla="*/ 2875775 h 6479439"/>
              <a:gd name="connsiteX4992" fmla="*/ 8854496 w 9586368"/>
              <a:gd name="connsiteY4992" fmla="*/ 2871736 h 6479439"/>
              <a:gd name="connsiteX4993" fmla="*/ 8864407 w 9586368"/>
              <a:gd name="connsiteY4993" fmla="*/ 2871736 h 6479439"/>
              <a:gd name="connsiteX4994" fmla="*/ 8868426 w 9586368"/>
              <a:gd name="connsiteY4994" fmla="*/ 2875775 h 6479439"/>
              <a:gd name="connsiteX4995" fmla="*/ 8868426 w 9586368"/>
              <a:gd name="connsiteY4995" fmla="*/ 2885645 h 6479439"/>
              <a:gd name="connsiteX4996" fmla="*/ 8864407 w 9586368"/>
              <a:gd name="connsiteY4996" fmla="*/ 2889684 h 6479439"/>
              <a:gd name="connsiteX4997" fmla="*/ 8854496 w 9586368"/>
              <a:gd name="connsiteY4997" fmla="*/ 2889684 h 6479439"/>
              <a:gd name="connsiteX4998" fmla="*/ 8850477 w 9586368"/>
              <a:gd name="connsiteY4998" fmla="*/ 2885645 h 6479439"/>
              <a:gd name="connsiteX4999" fmla="*/ 8850477 w 9586368"/>
              <a:gd name="connsiteY4999" fmla="*/ 2875775 h 6479439"/>
              <a:gd name="connsiteX5000" fmla="*/ 8615184 w 9586368"/>
              <a:gd name="connsiteY5000" fmla="*/ 2871736 h 6479439"/>
              <a:gd name="connsiteX5001" fmla="*/ 8625095 w 9586368"/>
              <a:gd name="connsiteY5001" fmla="*/ 2871736 h 6479439"/>
              <a:gd name="connsiteX5002" fmla="*/ 8629114 w 9586368"/>
              <a:gd name="connsiteY5002" fmla="*/ 2875775 h 6479439"/>
              <a:gd name="connsiteX5003" fmla="*/ 8629114 w 9586368"/>
              <a:gd name="connsiteY5003" fmla="*/ 2885645 h 6479439"/>
              <a:gd name="connsiteX5004" fmla="*/ 8625095 w 9586368"/>
              <a:gd name="connsiteY5004" fmla="*/ 2889684 h 6479439"/>
              <a:gd name="connsiteX5005" fmla="*/ 8615184 w 9586368"/>
              <a:gd name="connsiteY5005" fmla="*/ 2889684 h 6479439"/>
              <a:gd name="connsiteX5006" fmla="*/ 8611165 w 9586368"/>
              <a:gd name="connsiteY5006" fmla="*/ 2885645 h 6479439"/>
              <a:gd name="connsiteX5007" fmla="*/ 8611165 w 9586368"/>
              <a:gd name="connsiteY5007" fmla="*/ 2875775 h 6479439"/>
              <a:gd name="connsiteX5008" fmla="*/ 8375869 w 9586368"/>
              <a:gd name="connsiteY5008" fmla="*/ 2871736 h 6479439"/>
              <a:gd name="connsiteX5009" fmla="*/ 8385779 w 9586368"/>
              <a:gd name="connsiteY5009" fmla="*/ 2871736 h 6479439"/>
              <a:gd name="connsiteX5010" fmla="*/ 8389799 w 9586368"/>
              <a:gd name="connsiteY5010" fmla="*/ 2875775 h 6479439"/>
              <a:gd name="connsiteX5011" fmla="*/ 8389799 w 9586368"/>
              <a:gd name="connsiteY5011" fmla="*/ 2885645 h 6479439"/>
              <a:gd name="connsiteX5012" fmla="*/ 8385779 w 9586368"/>
              <a:gd name="connsiteY5012" fmla="*/ 2889684 h 6479439"/>
              <a:gd name="connsiteX5013" fmla="*/ 8375869 w 9586368"/>
              <a:gd name="connsiteY5013" fmla="*/ 2889684 h 6479439"/>
              <a:gd name="connsiteX5014" fmla="*/ 8371850 w 9586368"/>
              <a:gd name="connsiteY5014" fmla="*/ 2885645 h 6479439"/>
              <a:gd name="connsiteX5015" fmla="*/ 8371850 w 9586368"/>
              <a:gd name="connsiteY5015" fmla="*/ 2875775 h 6479439"/>
              <a:gd name="connsiteX5016" fmla="*/ 8136553 w 9586368"/>
              <a:gd name="connsiteY5016" fmla="*/ 2871736 h 6479439"/>
              <a:gd name="connsiteX5017" fmla="*/ 8146464 w 9586368"/>
              <a:gd name="connsiteY5017" fmla="*/ 2871736 h 6479439"/>
              <a:gd name="connsiteX5018" fmla="*/ 8150483 w 9586368"/>
              <a:gd name="connsiteY5018" fmla="*/ 2875775 h 6479439"/>
              <a:gd name="connsiteX5019" fmla="*/ 8150483 w 9586368"/>
              <a:gd name="connsiteY5019" fmla="*/ 2885645 h 6479439"/>
              <a:gd name="connsiteX5020" fmla="*/ 8146464 w 9586368"/>
              <a:gd name="connsiteY5020" fmla="*/ 2889684 h 6479439"/>
              <a:gd name="connsiteX5021" fmla="*/ 8136553 w 9586368"/>
              <a:gd name="connsiteY5021" fmla="*/ 2889684 h 6479439"/>
              <a:gd name="connsiteX5022" fmla="*/ 8132534 w 9586368"/>
              <a:gd name="connsiteY5022" fmla="*/ 2885645 h 6479439"/>
              <a:gd name="connsiteX5023" fmla="*/ 8132534 w 9586368"/>
              <a:gd name="connsiteY5023" fmla="*/ 2875775 h 6479439"/>
              <a:gd name="connsiteX5024" fmla="*/ 7897241 w 9586368"/>
              <a:gd name="connsiteY5024" fmla="*/ 2871736 h 6479439"/>
              <a:gd name="connsiteX5025" fmla="*/ 7907151 w 9586368"/>
              <a:gd name="connsiteY5025" fmla="*/ 2871736 h 6479439"/>
              <a:gd name="connsiteX5026" fmla="*/ 7911170 w 9586368"/>
              <a:gd name="connsiteY5026" fmla="*/ 2875775 h 6479439"/>
              <a:gd name="connsiteX5027" fmla="*/ 7911170 w 9586368"/>
              <a:gd name="connsiteY5027" fmla="*/ 2885645 h 6479439"/>
              <a:gd name="connsiteX5028" fmla="*/ 7907151 w 9586368"/>
              <a:gd name="connsiteY5028" fmla="*/ 2889684 h 6479439"/>
              <a:gd name="connsiteX5029" fmla="*/ 7897241 w 9586368"/>
              <a:gd name="connsiteY5029" fmla="*/ 2889684 h 6479439"/>
              <a:gd name="connsiteX5030" fmla="*/ 7893222 w 9586368"/>
              <a:gd name="connsiteY5030" fmla="*/ 2885645 h 6479439"/>
              <a:gd name="connsiteX5031" fmla="*/ 7893222 w 9586368"/>
              <a:gd name="connsiteY5031" fmla="*/ 2875775 h 6479439"/>
              <a:gd name="connsiteX5032" fmla="*/ 7657926 w 9586368"/>
              <a:gd name="connsiteY5032" fmla="*/ 2871736 h 6479439"/>
              <a:gd name="connsiteX5033" fmla="*/ 7667836 w 9586368"/>
              <a:gd name="connsiteY5033" fmla="*/ 2871736 h 6479439"/>
              <a:gd name="connsiteX5034" fmla="*/ 7671855 w 9586368"/>
              <a:gd name="connsiteY5034" fmla="*/ 2875775 h 6479439"/>
              <a:gd name="connsiteX5035" fmla="*/ 7671855 w 9586368"/>
              <a:gd name="connsiteY5035" fmla="*/ 2885645 h 6479439"/>
              <a:gd name="connsiteX5036" fmla="*/ 7667836 w 9586368"/>
              <a:gd name="connsiteY5036" fmla="*/ 2889684 h 6479439"/>
              <a:gd name="connsiteX5037" fmla="*/ 7657926 w 9586368"/>
              <a:gd name="connsiteY5037" fmla="*/ 2889684 h 6479439"/>
              <a:gd name="connsiteX5038" fmla="*/ 7653906 w 9586368"/>
              <a:gd name="connsiteY5038" fmla="*/ 2885645 h 6479439"/>
              <a:gd name="connsiteX5039" fmla="*/ 7653906 w 9586368"/>
              <a:gd name="connsiteY5039" fmla="*/ 2875775 h 6479439"/>
              <a:gd name="connsiteX5040" fmla="*/ 7418611 w 9586368"/>
              <a:gd name="connsiteY5040" fmla="*/ 2871736 h 6479439"/>
              <a:gd name="connsiteX5041" fmla="*/ 7428521 w 9586368"/>
              <a:gd name="connsiteY5041" fmla="*/ 2871736 h 6479439"/>
              <a:gd name="connsiteX5042" fmla="*/ 7432540 w 9586368"/>
              <a:gd name="connsiteY5042" fmla="*/ 2875775 h 6479439"/>
              <a:gd name="connsiteX5043" fmla="*/ 7432540 w 9586368"/>
              <a:gd name="connsiteY5043" fmla="*/ 2885645 h 6479439"/>
              <a:gd name="connsiteX5044" fmla="*/ 7428521 w 9586368"/>
              <a:gd name="connsiteY5044" fmla="*/ 2889684 h 6479439"/>
              <a:gd name="connsiteX5045" fmla="*/ 7418611 w 9586368"/>
              <a:gd name="connsiteY5045" fmla="*/ 2889684 h 6479439"/>
              <a:gd name="connsiteX5046" fmla="*/ 7414592 w 9586368"/>
              <a:gd name="connsiteY5046" fmla="*/ 2885645 h 6479439"/>
              <a:gd name="connsiteX5047" fmla="*/ 7414592 w 9586368"/>
              <a:gd name="connsiteY5047" fmla="*/ 2875775 h 6479439"/>
              <a:gd name="connsiteX5048" fmla="*/ 7179298 w 9586368"/>
              <a:gd name="connsiteY5048" fmla="*/ 2871736 h 6479439"/>
              <a:gd name="connsiteX5049" fmla="*/ 7189209 w 9586368"/>
              <a:gd name="connsiteY5049" fmla="*/ 2871736 h 6479439"/>
              <a:gd name="connsiteX5050" fmla="*/ 7193228 w 9586368"/>
              <a:gd name="connsiteY5050" fmla="*/ 2875775 h 6479439"/>
              <a:gd name="connsiteX5051" fmla="*/ 7193228 w 9586368"/>
              <a:gd name="connsiteY5051" fmla="*/ 2885645 h 6479439"/>
              <a:gd name="connsiteX5052" fmla="*/ 7189209 w 9586368"/>
              <a:gd name="connsiteY5052" fmla="*/ 2889684 h 6479439"/>
              <a:gd name="connsiteX5053" fmla="*/ 7179298 w 9586368"/>
              <a:gd name="connsiteY5053" fmla="*/ 2889684 h 6479439"/>
              <a:gd name="connsiteX5054" fmla="*/ 7175279 w 9586368"/>
              <a:gd name="connsiteY5054" fmla="*/ 2885645 h 6479439"/>
              <a:gd name="connsiteX5055" fmla="*/ 7175279 w 9586368"/>
              <a:gd name="connsiteY5055" fmla="*/ 2875775 h 6479439"/>
              <a:gd name="connsiteX5056" fmla="*/ 6939983 w 9586368"/>
              <a:gd name="connsiteY5056" fmla="*/ 2871736 h 6479439"/>
              <a:gd name="connsiteX5057" fmla="*/ 6949894 w 9586368"/>
              <a:gd name="connsiteY5057" fmla="*/ 2871736 h 6479439"/>
              <a:gd name="connsiteX5058" fmla="*/ 6953913 w 9586368"/>
              <a:gd name="connsiteY5058" fmla="*/ 2875775 h 6479439"/>
              <a:gd name="connsiteX5059" fmla="*/ 6953913 w 9586368"/>
              <a:gd name="connsiteY5059" fmla="*/ 2885645 h 6479439"/>
              <a:gd name="connsiteX5060" fmla="*/ 6949894 w 9586368"/>
              <a:gd name="connsiteY5060" fmla="*/ 2889684 h 6479439"/>
              <a:gd name="connsiteX5061" fmla="*/ 6939983 w 9586368"/>
              <a:gd name="connsiteY5061" fmla="*/ 2889684 h 6479439"/>
              <a:gd name="connsiteX5062" fmla="*/ 6935964 w 9586368"/>
              <a:gd name="connsiteY5062" fmla="*/ 2885645 h 6479439"/>
              <a:gd name="connsiteX5063" fmla="*/ 6935964 w 9586368"/>
              <a:gd name="connsiteY5063" fmla="*/ 2875775 h 6479439"/>
              <a:gd name="connsiteX5064" fmla="*/ 6700670 w 9586368"/>
              <a:gd name="connsiteY5064" fmla="*/ 2871736 h 6479439"/>
              <a:gd name="connsiteX5065" fmla="*/ 6710581 w 9586368"/>
              <a:gd name="connsiteY5065" fmla="*/ 2871736 h 6479439"/>
              <a:gd name="connsiteX5066" fmla="*/ 6714600 w 9586368"/>
              <a:gd name="connsiteY5066" fmla="*/ 2875775 h 6479439"/>
              <a:gd name="connsiteX5067" fmla="*/ 6714600 w 9586368"/>
              <a:gd name="connsiteY5067" fmla="*/ 2885645 h 6479439"/>
              <a:gd name="connsiteX5068" fmla="*/ 6710581 w 9586368"/>
              <a:gd name="connsiteY5068" fmla="*/ 2889684 h 6479439"/>
              <a:gd name="connsiteX5069" fmla="*/ 6700670 w 9586368"/>
              <a:gd name="connsiteY5069" fmla="*/ 2889684 h 6479439"/>
              <a:gd name="connsiteX5070" fmla="*/ 6696651 w 9586368"/>
              <a:gd name="connsiteY5070" fmla="*/ 2885645 h 6479439"/>
              <a:gd name="connsiteX5071" fmla="*/ 6696651 w 9586368"/>
              <a:gd name="connsiteY5071" fmla="*/ 2875775 h 6479439"/>
              <a:gd name="connsiteX5072" fmla="*/ 6461356 w 9586368"/>
              <a:gd name="connsiteY5072" fmla="*/ 2871736 h 6479439"/>
              <a:gd name="connsiteX5073" fmla="*/ 6471266 w 9586368"/>
              <a:gd name="connsiteY5073" fmla="*/ 2871736 h 6479439"/>
              <a:gd name="connsiteX5074" fmla="*/ 6475285 w 9586368"/>
              <a:gd name="connsiteY5074" fmla="*/ 2875775 h 6479439"/>
              <a:gd name="connsiteX5075" fmla="*/ 6475285 w 9586368"/>
              <a:gd name="connsiteY5075" fmla="*/ 2885645 h 6479439"/>
              <a:gd name="connsiteX5076" fmla="*/ 6471266 w 9586368"/>
              <a:gd name="connsiteY5076" fmla="*/ 2889684 h 6479439"/>
              <a:gd name="connsiteX5077" fmla="*/ 6461356 w 9586368"/>
              <a:gd name="connsiteY5077" fmla="*/ 2889684 h 6479439"/>
              <a:gd name="connsiteX5078" fmla="*/ 6457337 w 9586368"/>
              <a:gd name="connsiteY5078" fmla="*/ 2885645 h 6479439"/>
              <a:gd name="connsiteX5079" fmla="*/ 6457337 w 9586368"/>
              <a:gd name="connsiteY5079" fmla="*/ 2875775 h 6479439"/>
              <a:gd name="connsiteX5080" fmla="*/ 6222042 w 9586368"/>
              <a:gd name="connsiteY5080" fmla="*/ 2871736 h 6479439"/>
              <a:gd name="connsiteX5081" fmla="*/ 6231952 w 9586368"/>
              <a:gd name="connsiteY5081" fmla="*/ 2871736 h 6479439"/>
              <a:gd name="connsiteX5082" fmla="*/ 6235971 w 9586368"/>
              <a:gd name="connsiteY5082" fmla="*/ 2875775 h 6479439"/>
              <a:gd name="connsiteX5083" fmla="*/ 6235971 w 9586368"/>
              <a:gd name="connsiteY5083" fmla="*/ 2885645 h 6479439"/>
              <a:gd name="connsiteX5084" fmla="*/ 6231952 w 9586368"/>
              <a:gd name="connsiteY5084" fmla="*/ 2889684 h 6479439"/>
              <a:gd name="connsiteX5085" fmla="*/ 6222042 w 9586368"/>
              <a:gd name="connsiteY5085" fmla="*/ 2889684 h 6479439"/>
              <a:gd name="connsiteX5086" fmla="*/ 6218023 w 9586368"/>
              <a:gd name="connsiteY5086" fmla="*/ 2885645 h 6479439"/>
              <a:gd name="connsiteX5087" fmla="*/ 6218023 w 9586368"/>
              <a:gd name="connsiteY5087" fmla="*/ 2875775 h 6479439"/>
              <a:gd name="connsiteX5088" fmla="*/ 5982729 w 9586368"/>
              <a:gd name="connsiteY5088" fmla="*/ 2871736 h 6479439"/>
              <a:gd name="connsiteX5089" fmla="*/ 5992639 w 9586368"/>
              <a:gd name="connsiteY5089" fmla="*/ 2871736 h 6479439"/>
              <a:gd name="connsiteX5090" fmla="*/ 5996658 w 9586368"/>
              <a:gd name="connsiteY5090" fmla="*/ 2875775 h 6479439"/>
              <a:gd name="connsiteX5091" fmla="*/ 5996658 w 9586368"/>
              <a:gd name="connsiteY5091" fmla="*/ 2885645 h 6479439"/>
              <a:gd name="connsiteX5092" fmla="*/ 5992639 w 9586368"/>
              <a:gd name="connsiteY5092" fmla="*/ 2889684 h 6479439"/>
              <a:gd name="connsiteX5093" fmla="*/ 5982729 w 9586368"/>
              <a:gd name="connsiteY5093" fmla="*/ 2889684 h 6479439"/>
              <a:gd name="connsiteX5094" fmla="*/ 5978710 w 9586368"/>
              <a:gd name="connsiteY5094" fmla="*/ 2885645 h 6479439"/>
              <a:gd name="connsiteX5095" fmla="*/ 5978710 w 9586368"/>
              <a:gd name="connsiteY5095" fmla="*/ 2875775 h 6479439"/>
              <a:gd name="connsiteX5096" fmla="*/ 5743412 w 9586368"/>
              <a:gd name="connsiteY5096" fmla="*/ 2871736 h 6479439"/>
              <a:gd name="connsiteX5097" fmla="*/ 5753323 w 9586368"/>
              <a:gd name="connsiteY5097" fmla="*/ 2871736 h 6479439"/>
              <a:gd name="connsiteX5098" fmla="*/ 5757342 w 9586368"/>
              <a:gd name="connsiteY5098" fmla="*/ 2875775 h 6479439"/>
              <a:gd name="connsiteX5099" fmla="*/ 5757342 w 9586368"/>
              <a:gd name="connsiteY5099" fmla="*/ 2885645 h 6479439"/>
              <a:gd name="connsiteX5100" fmla="*/ 5753323 w 9586368"/>
              <a:gd name="connsiteY5100" fmla="*/ 2889684 h 6479439"/>
              <a:gd name="connsiteX5101" fmla="*/ 5743412 w 9586368"/>
              <a:gd name="connsiteY5101" fmla="*/ 2889684 h 6479439"/>
              <a:gd name="connsiteX5102" fmla="*/ 5739393 w 9586368"/>
              <a:gd name="connsiteY5102" fmla="*/ 2885645 h 6479439"/>
              <a:gd name="connsiteX5103" fmla="*/ 5739393 w 9586368"/>
              <a:gd name="connsiteY5103" fmla="*/ 2875775 h 6479439"/>
              <a:gd name="connsiteX5104" fmla="*/ 5504099 w 9586368"/>
              <a:gd name="connsiteY5104" fmla="*/ 2871736 h 6479439"/>
              <a:gd name="connsiteX5105" fmla="*/ 5514010 w 9586368"/>
              <a:gd name="connsiteY5105" fmla="*/ 2871736 h 6479439"/>
              <a:gd name="connsiteX5106" fmla="*/ 5518029 w 9586368"/>
              <a:gd name="connsiteY5106" fmla="*/ 2875775 h 6479439"/>
              <a:gd name="connsiteX5107" fmla="*/ 5518029 w 9586368"/>
              <a:gd name="connsiteY5107" fmla="*/ 2885645 h 6479439"/>
              <a:gd name="connsiteX5108" fmla="*/ 5514010 w 9586368"/>
              <a:gd name="connsiteY5108" fmla="*/ 2889684 h 6479439"/>
              <a:gd name="connsiteX5109" fmla="*/ 5504099 w 9586368"/>
              <a:gd name="connsiteY5109" fmla="*/ 2889684 h 6479439"/>
              <a:gd name="connsiteX5110" fmla="*/ 5500080 w 9586368"/>
              <a:gd name="connsiteY5110" fmla="*/ 2885645 h 6479439"/>
              <a:gd name="connsiteX5111" fmla="*/ 5500080 w 9586368"/>
              <a:gd name="connsiteY5111" fmla="*/ 2875775 h 6479439"/>
              <a:gd name="connsiteX5112" fmla="*/ 5264784 w 9586368"/>
              <a:gd name="connsiteY5112" fmla="*/ 2871736 h 6479439"/>
              <a:gd name="connsiteX5113" fmla="*/ 5274694 w 9586368"/>
              <a:gd name="connsiteY5113" fmla="*/ 2871736 h 6479439"/>
              <a:gd name="connsiteX5114" fmla="*/ 5278713 w 9586368"/>
              <a:gd name="connsiteY5114" fmla="*/ 2875775 h 6479439"/>
              <a:gd name="connsiteX5115" fmla="*/ 5278713 w 9586368"/>
              <a:gd name="connsiteY5115" fmla="*/ 2885645 h 6479439"/>
              <a:gd name="connsiteX5116" fmla="*/ 5274694 w 9586368"/>
              <a:gd name="connsiteY5116" fmla="*/ 2889684 h 6479439"/>
              <a:gd name="connsiteX5117" fmla="*/ 5264784 w 9586368"/>
              <a:gd name="connsiteY5117" fmla="*/ 2889684 h 6479439"/>
              <a:gd name="connsiteX5118" fmla="*/ 5260765 w 9586368"/>
              <a:gd name="connsiteY5118" fmla="*/ 2885645 h 6479439"/>
              <a:gd name="connsiteX5119" fmla="*/ 5260765 w 9586368"/>
              <a:gd name="connsiteY5119" fmla="*/ 2875775 h 6479439"/>
              <a:gd name="connsiteX5120" fmla="*/ 5025470 w 9586368"/>
              <a:gd name="connsiteY5120" fmla="*/ 2871736 h 6479439"/>
              <a:gd name="connsiteX5121" fmla="*/ 5035381 w 9586368"/>
              <a:gd name="connsiteY5121" fmla="*/ 2871736 h 6479439"/>
              <a:gd name="connsiteX5122" fmla="*/ 5039400 w 9586368"/>
              <a:gd name="connsiteY5122" fmla="*/ 2875775 h 6479439"/>
              <a:gd name="connsiteX5123" fmla="*/ 5039400 w 9586368"/>
              <a:gd name="connsiteY5123" fmla="*/ 2885645 h 6479439"/>
              <a:gd name="connsiteX5124" fmla="*/ 5035381 w 9586368"/>
              <a:gd name="connsiteY5124" fmla="*/ 2889684 h 6479439"/>
              <a:gd name="connsiteX5125" fmla="*/ 5025470 w 9586368"/>
              <a:gd name="connsiteY5125" fmla="*/ 2889684 h 6479439"/>
              <a:gd name="connsiteX5126" fmla="*/ 5021451 w 9586368"/>
              <a:gd name="connsiteY5126" fmla="*/ 2885645 h 6479439"/>
              <a:gd name="connsiteX5127" fmla="*/ 5021451 w 9586368"/>
              <a:gd name="connsiteY5127" fmla="*/ 2875775 h 6479439"/>
              <a:gd name="connsiteX5128" fmla="*/ 4786241 w 9586368"/>
              <a:gd name="connsiteY5128" fmla="*/ 2871736 h 6479439"/>
              <a:gd name="connsiteX5129" fmla="*/ 4796152 w 9586368"/>
              <a:gd name="connsiteY5129" fmla="*/ 2871736 h 6479439"/>
              <a:gd name="connsiteX5130" fmla="*/ 4800171 w 9586368"/>
              <a:gd name="connsiteY5130" fmla="*/ 2875775 h 6479439"/>
              <a:gd name="connsiteX5131" fmla="*/ 4800171 w 9586368"/>
              <a:gd name="connsiteY5131" fmla="*/ 2885645 h 6479439"/>
              <a:gd name="connsiteX5132" fmla="*/ 4796152 w 9586368"/>
              <a:gd name="connsiteY5132" fmla="*/ 2889684 h 6479439"/>
              <a:gd name="connsiteX5133" fmla="*/ 4786241 w 9586368"/>
              <a:gd name="connsiteY5133" fmla="*/ 2889684 h 6479439"/>
              <a:gd name="connsiteX5134" fmla="*/ 4782224 w 9586368"/>
              <a:gd name="connsiteY5134" fmla="*/ 2885645 h 6479439"/>
              <a:gd name="connsiteX5135" fmla="*/ 4782224 w 9586368"/>
              <a:gd name="connsiteY5135" fmla="*/ 2875775 h 6479439"/>
              <a:gd name="connsiteX5136" fmla="*/ 4546929 w 9586368"/>
              <a:gd name="connsiteY5136" fmla="*/ 2871736 h 6479439"/>
              <a:gd name="connsiteX5137" fmla="*/ 4556840 w 9586368"/>
              <a:gd name="connsiteY5137" fmla="*/ 2871736 h 6479439"/>
              <a:gd name="connsiteX5138" fmla="*/ 4560859 w 9586368"/>
              <a:gd name="connsiteY5138" fmla="*/ 2875775 h 6479439"/>
              <a:gd name="connsiteX5139" fmla="*/ 4560859 w 9586368"/>
              <a:gd name="connsiteY5139" fmla="*/ 2885645 h 6479439"/>
              <a:gd name="connsiteX5140" fmla="*/ 4556840 w 9586368"/>
              <a:gd name="connsiteY5140" fmla="*/ 2889684 h 6479439"/>
              <a:gd name="connsiteX5141" fmla="*/ 4546929 w 9586368"/>
              <a:gd name="connsiteY5141" fmla="*/ 2889684 h 6479439"/>
              <a:gd name="connsiteX5142" fmla="*/ 4542910 w 9586368"/>
              <a:gd name="connsiteY5142" fmla="*/ 2885645 h 6479439"/>
              <a:gd name="connsiteX5143" fmla="*/ 4542910 w 9586368"/>
              <a:gd name="connsiteY5143" fmla="*/ 2875775 h 6479439"/>
              <a:gd name="connsiteX5144" fmla="*/ 4307612 w 9586368"/>
              <a:gd name="connsiteY5144" fmla="*/ 2871736 h 6479439"/>
              <a:gd name="connsiteX5145" fmla="*/ 4317523 w 9586368"/>
              <a:gd name="connsiteY5145" fmla="*/ 2871736 h 6479439"/>
              <a:gd name="connsiteX5146" fmla="*/ 4321543 w 9586368"/>
              <a:gd name="connsiteY5146" fmla="*/ 2875775 h 6479439"/>
              <a:gd name="connsiteX5147" fmla="*/ 4321543 w 9586368"/>
              <a:gd name="connsiteY5147" fmla="*/ 2885645 h 6479439"/>
              <a:gd name="connsiteX5148" fmla="*/ 4317523 w 9586368"/>
              <a:gd name="connsiteY5148" fmla="*/ 2889684 h 6479439"/>
              <a:gd name="connsiteX5149" fmla="*/ 4307612 w 9586368"/>
              <a:gd name="connsiteY5149" fmla="*/ 2889684 h 6479439"/>
              <a:gd name="connsiteX5150" fmla="*/ 4303595 w 9586368"/>
              <a:gd name="connsiteY5150" fmla="*/ 2885645 h 6479439"/>
              <a:gd name="connsiteX5151" fmla="*/ 4303595 w 9586368"/>
              <a:gd name="connsiteY5151" fmla="*/ 2875775 h 6479439"/>
              <a:gd name="connsiteX5152" fmla="*/ 4068297 w 9586368"/>
              <a:gd name="connsiteY5152" fmla="*/ 2871736 h 6479439"/>
              <a:gd name="connsiteX5153" fmla="*/ 4078210 w 9586368"/>
              <a:gd name="connsiteY5153" fmla="*/ 2871736 h 6479439"/>
              <a:gd name="connsiteX5154" fmla="*/ 4082229 w 9586368"/>
              <a:gd name="connsiteY5154" fmla="*/ 2875775 h 6479439"/>
              <a:gd name="connsiteX5155" fmla="*/ 4082229 w 9586368"/>
              <a:gd name="connsiteY5155" fmla="*/ 2885645 h 6479439"/>
              <a:gd name="connsiteX5156" fmla="*/ 4078210 w 9586368"/>
              <a:gd name="connsiteY5156" fmla="*/ 2889684 h 6479439"/>
              <a:gd name="connsiteX5157" fmla="*/ 4068297 w 9586368"/>
              <a:gd name="connsiteY5157" fmla="*/ 2889684 h 6479439"/>
              <a:gd name="connsiteX5158" fmla="*/ 4064278 w 9586368"/>
              <a:gd name="connsiteY5158" fmla="*/ 2885645 h 6479439"/>
              <a:gd name="connsiteX5159" fmla="*/ 4064278 w 9586368"/>
              <a:gd name="connsiteY5159" fmla="*/ 2875775 h 6479439"/>
              <a:gd name="connsiteX5160" fmla="*/ 3828990 w 9586368"/>
              <a:gd name="connsiteY5160" fmla="*/ 2871736 h 6479439"/>
              <a:gd name="connsiteX5161" fmla="*/ 3838899 w 9586368"/>
              <a:gd name="connsiteY5161" fmla="*/ 2871736 h 6479439"/>
              <a:gd name="connsiteX5162" fmla="*/ 3842917 w 9586368"/>
              <a:gd name="connsiteY5162" fmla="*/ 2875775 h 6479439"/>
              <a:gd name="connsiteX5163" fmla="*/ 3842917 w 9586368"/>
              <a:gd name="connsiteY5163" fmla="*/ 2885645 h 6479439"/>
              <a:gd name="connsiteX5164" fmla="*/ 3838899 w 9586368"/>
              <a:gd name="connsiteY5164" fmla="*/ 2889684 h 6479439"/>
              <a:gd name="connsiteX5165" fmla="*/ 3828990 w 9586368"/>
              <a:gd name="connsiteY5165" fmla="*/ 2889684 h 6479439"/>
              <a:gd name="connsiteX5166" fmla="*/ 3824971 w 9586368"/>
              <a:gd name="connsiteY5166" fmla="*/ 2885645 h 6479439"/>
              <a:gd name="connsiteX5167" fmla="*/ 3824971 w 9586368"/>
              <a:gd name="connsiteY5167" fmla="*/ 2875775 h 6479439"/>
              <a:gd name="connsiteX5168" fmla="*/ 3589676 w 9586368"/>
              <a:gd name="connsiteY5168" fmla="*/ 2871736 h 6479439"/>
              <a:gd name="connsiteX5169" fmla="*/ 3599585 w 9586368"/>
              <a:gd name="connsiteY5169" fmla="*/ 2871736 h 6479439"/>
              <a:gd name="connsiteX5170" fmla="*/ 3603604 w 9586368"/>
              <a:gd name="connsiteY5170" fmla="*/ 2875775 h 6479439"/>
              <a:gd name="connsiteX5171" fmla="*/ 3603604 w 9586368"/>
              <a:gd name="connsiteY5171" fmla="*/ 2885645 h 6479439"/>
              <a:gd name="connsiteX5172" fmla="*/ 3599585 w 9586368"/>
              <a:gd name="connsiteY5172" fmla="*/ 2889684 h 6479439"/>
              <a:gd name="connsiteX5173" fmla="*/ 3589676 w 9586368"/>
              <a:gd name="connsiteY5173" fmla="*/ 2889684 h 6479439"/>
              <a:gd name="connsiteX5174" fmla="*/ 3585657 w 9586368"/>
              <a:gd name="connsiteY5174" fmla="*/ 2885645 h 6479439"/>
              <a:gd name="connsiteX5175" fmla="*/ 3585657 w 9586368"/>
              <a:gd name="connsiteY5175" fmla="*/ 2875775 h 6479439"/>
              <a:gd name="connsiteX5176" fmla="*/ 3350359 w 9586368"/>
              <a:gd name="connsiteY5176" fmla="*/ 2871736 h 6479439"/>
              <a:gd name="connsiteX5177" fmla="*/ 3360268 w 9586368"/>
              <a:gd name="connsiteY5177" fmla="*/ 2871736 h 6479439"/>
              <a:gd name="connsiteX5178" fmla="*/ 3364287 w 9586368"/>
              <a:gd name="connsiteY5178" fmla="*/ 2875775 h 6479439"/>
              <a:gd name="connsiteX5179" fmla="*/ 3364287 w 9586368"/>
              <a:gd name="connsiteY5179" fmla="*/ 2885645 h 6479439"/>
              <a:gd name="connsiteX5180" fmla="*/ 3360268 w 9586368"/>
              <a:gd name="connsiteY5180" fmla="*/ 2889684 h 6479439"/>
              <a:gd name="connsiteX5181" fmla="*/ 3350359 w 9586368"/>
              <a:gd name="connsiteY5181" fmla="*/ 2889684 h 6479439"/>
              <a:gd name="connsiteX5182" fmla="*/ 3346340 w 9586368"/>
              <a:gd name="connsiteY5182" fmla="*/ 2885645 h 6479439"/>
              <a:gd name="connsiteX5183" fmla="*/ 3346340 w 9586368"/>
              <a:gd name="connsiteY5183" fmla="*/ 2875775 h 6479439"/>
              <a:gd name="connsiteX5184" fmla="*/ 3111048 w 9586368"/>
              <a:gd name="connsiteY5184" fmla="*/ 2871736 h 6479439"/>
              <a:gd name="connsiteX5185" fmla="*/ 3120959 w 9586368"/>
              <a:gd name="connsiteY5185" fmla="*/ 2871736 h 6479439"/>
              <a:gd name="connsiteX5186" fmla="*/ 3124977 w 9586368"/>
              <a:gd name="connsiteY5186" fmla="*/ 2875775 h 6479439"/>
              <a:gd name="connsiteX5187" fmla="*/ 3124977 w 9586368"/>
              <a:gd name="connsiteY5187" fmla="*/ 2885645 h 6479439"/>
              <a:gd name="connsiteX5188" fmla="*/ 3120959 w 9586368"/>
              <a:gd name="connsiteY5188" fmla="*/ 2889684 h 6479439"/>
              <a:gd name="connsiteX5189" fmla="*/ 3111048 w 9586368"/>
              <a:gd name="connsiteY5189" fmla="*/ 2889684 h 6479439"/>
              <a:gd name="connsiteX5190" fmla="*/ 3107029 w 9586368"/>
              <a:gd name="connsiteY5190" fmla="*/ 2885645 h 6479439"/>
              <a:gd name="connsiteX5191" fmla="*/ 3107029 w 9586368"/>
              <a:gd name="connsiteY5191" fmla="*/ 2875775 h 6479439"/>
              <a:gd name="connsiteX5192" fmla="*/ 2871737 w 9586368"/>
              <a:gd name="connsiteY5192" fmla="*/ 2871736 h 6479439"/>
              <a:gd name="connsiteX5193" fmla="*/ 2881646 w 9586368"/>
              <a:gd name="connsiteY5193" fmla="*/ 2871736 h 6479439"/>
              <a:gd name="connsiteX5194" fmla="*/ 2885666 w 9586368"/>
              <a:gd name="connsiteY5194" fmla="*/ 2875775 h 6479439"/>
              <a:gd name="connsiteX5195" fmla="*/ 2885666 w 9586368"/>
              <a:gd name="connsiteY5195" fmla="*/ 2885645 h 6479439"/>
              <a:gd name="connsiteX5196" fmla="*/ 2881646 w 9586368"/>
              <a:gd name="connsiteY5196" fmla="*/ 2889684 h 6479439"/>
              <a:gd name="connsiteX5197" fmla="*/ 2871737 w 9586368"/>
              <a:gd name="connsiteY5197" fmla="*/ 2889684 h 6479439"/>
              <a:gd name="connsiteX5198" fmla="*/ 2867717 w 9586368"/>
              <a:gd name="connsiteY5198" fmla="*/ 2885645 h 6479439"/>
              <a:gd name="connsiteX5199" fmla="*/ 2867717 w 9586368"/>
              <a:gd name="connsiteY5199" fmla="*/ 2875775 h 6479439"/>
              <a:gd name="connsiteX5200" fmla="*/ 2632423 w 9586368"/>
              <a:gd name="connsiteY5200" fmla="*/ 2871736 h 6479439"/>
              <a:gd name="connsiteX5201" fmla="*/ 2642334 w 9586368"/>
              <a:gd name="connsiteY5201" fmla="*/ 2871736 h 6479439"/>
              <a:gd name="connsiteX5202" fmla="*/ 2646352 w 9586368"/>
              <a:gd name="connsiteY5202" fmla="*/ 2875775 h 6479439"/>
              <a:gd name="connsiteX5203" fmla="*/ 2646352 w 9586368"/>
              <a:gd name="connsiteY5203" fmla="*/ 2885645 h 6479439"/>
              <a:gd name="connsiteX5204" fmla="*/ 2642334 w 9586368"/>
              <a:gd name="connsiteY5204" fmla="*/ 2889684 h 6479439"/>
              <a:gd name="connsiteX5205" fmla="*/ 2632423 w 9586368"/>
              <a:gd name="connsiteY5205" fmla="*/ 2889684 h 6479439"/>
              <a:gd name="connsiteX5206" fmla="*/ 2628404 w 9586368"/>
              <a:gd name="connsiteY5206" fmla="*/ 2885645 h 6479439"/>
              <a:gd name="connsiteX5207" fmla="*/ 2628404 w 9586368"/>
              <a:gd name="connsiteY5207" fmla="*/ 2875775 h 6479439"/>
              <a:gd name="connsiteX5208" fmla="*/ 2393104 w 9586368"/>
              <a:gd name="connsiteY5208" fmla="*/ 2871736 h 6479439"/>
              <a:gd name="connsiteX5209" fmla="*/ 2403015 w 9586368"/>
              <a:gd name="connsiteY5209" fmla="*/ 2871736 h 6479439"/>
              <a:gd name="connsiteX5210" fmla="*/ 2407034 w 9586368"/>
              <a:gd name="connsiteY5210" fmla="*/ 2875775 h 6479439"/>
              <a:gd name="connsiteX5211" fmla="*/ 2407034 w 9586368"/>
              <a:gd name="connsiteY5211" fmla="*/ 2885645 h 6479439"/>
              <a:gd name="connsiteX5212" fmla="*/ 2403015 w 9586368"/>
              <a:gd name="connsiteY5212" fmla="*/ 2889684 h 6479439"/>
              <a:gd name="connsiteX5213" fmla="*/ 2393104 w 9586368"/>
              <a:gd name="connsiteY5213" fmla="*/ 2889684 h 6479439"/>
              <a:gd name="connsiteX5214" fmla="*/ 2389087 w 9586368"/>
              <a:gd name="connsiteY5214" fmla="*/ 2885645 h 6479439"/>
              <a:gd name="connsiteX5215" fmla="*/ 2389087 w 9586368"/>
              <a:gd name="connsiteY5215" fmla="*/ 2875775 h 6479439"/>
              <a:gd name="connsiteX5216" fmla="*/ 721969 w 9586368"/>
              <a:gd name="connsiteY5216" fmla="*/ 2871736 h 6479439"/>
              <a:gd name="connsiteX5217" fmla="*/ 731879 w 9586368"/>
              <a:gd name="connsiteY5217" fmla="*/ 2871736 h 6479439"/>
              <a:gd name="connsiteX5218" fmla="*/ 735898 w 9586368"/>
              <a:gd name="connsiteY5218" fmla="*/ 2875775 h 6479439"/>
              <a:gd name="connsiteX5219" fmla="*/ 735898 w 9586368"/>
              <a:gd name="connsiteY5219" fmla="*/ 2885645 h 6479439"/>
              <a:gd name="connsiteX5220" fmla="*/ 731879 w 9586368"/>
              <a:gd name="connsiteY5220" fmla="*/ 2889684 h 6479439"/>
              <a:gd name="connsiteX5221" fmla="*/ 721969 w 9586368"/>
              <a:gd name="connsiteY5221" fmla="*/ 2889684 h 6479439"/>
              <a:gd name="connsiteX5222" fmla="*/ 717950 w 9586368"/>
              <a:gd name="connsiteY5222" fmla="*/ 2885645 h 6479439"/>
              <a:gd name="connsiteX5223" fmla="*/ 717950 w 9586368"/>
              <a:gd name="connsiteY5223" fmla="*/ 2875775 h 6479439"/>
              <a:gd name="connsiteX5224" fmla="*/ 482656 w 9586368"/>
              <a:gd name="connsiteY5224" fmla="*/ 2871736 h 6479439"/>
              <a:gd name="connsiteX5225" fmla="*/ 492567 w 9586368"/>
              <a:gd name="connsiteY5225" fmla="*/ 2871736 h 6479439"/>
              <a:gd name="connsiteX5226" fmla="*/ 496586 w 9586368"/>
              <a:gd name="connsiteY5226" fmla="*/ 2875775 h 6479439"/>
              <a:gd name="connsiteX5227" fmla="*/ 496586 w 9586368"/>
              <a:gd name="connsiteY5227" fmla="*/ 2885645 h 6479439"/>
              <a:gd name="connsiteX5228" fmla="*/ 492567 w 9586368"/>
              <a:gd name="connsiteY5228" fmla="*/ 2889684 h 6479439"/>
              <a:gd name="connsiteX5229" fmla="*/ 482656 w 9586368"/>
              <a:gd name="connsiteY5229" fmla="*/ 2889684 h 6479439"/>
              <a:gd name="connsiteX5230" fmla="*/ 478637 w 9586368"/>
              <a:gd name="connsiteY5230" fmla="*/ 2885645 h 6479439"/>
              <a:gd name="connsiteX5231" fmla="*/ 478637 w 9586368"/>
              <a:gd name="connsiteY5231" fmla="*/ 2875775 h 6479439"/>
              <a:gd name="connsiteX5232" fmla="*/ 243343 w 9586368"/>
              <a:gd name="connsiteY5232" fmla="*/ 2871736 h 6479439"/>
              <a:gd name="connsiteX5233" fmla="*/ 253253 w 9586368"/>
              <a:gd name="connsiteY5233" fmla="*/ 2871736 h 6479439"/>
              <a:gd name="connsiteX5234" fmla="*/ 257272 w 9586368"/>
              <a:gd name="connsiteY5234" fmla="*/ 2875775 h 6479439"/>
              <a:gd name="connsiteX5235" fmla="*/ 257272 w 9586368"/>
              <a:gd name="connsiteY5235" fmla="*/ 2885645 h 6479439"/>
              <a:gd name="connsiteX5236" fmla="*/ 253253 w 9586368"/>
              <a:gd name="connsiteY5236" fmla="*/ 2889684 h 6479439"/>
              <a:gd name="connsiteX5237" fmla="*/ 243343 w 9586368"/>
              <a:gd name="connsiteY5237" fmla="*/ 2889684 h 6479439"/>
              <a:gd name="connsiteX5238" fmla="*/ 239324 w 9586368"/>
              <a:gd name="connsiteY5238" fmla="*/ 2885645 h 6479439"/>
              <a:gd name="connsiteX5239" fmla="*/ 239324 w 9586368"/>
              <a:gd name="connsiteY5239" fmla="*/ 2875775 h 6479439"/>
              <a:gd name="connsiteX5240" fmla="*/ 4030 w 9586368"/>
              <a:gd name="connsiteY5240" fmla="*/ 2871736 h 6479439"/>
              <a:gd name="connsiteX5241" fmla="*/ 13940 w 9586368"/>
              <a:gd name="connsiteY5241" fmla="*/ 2871736 h 6479439"/>
              <a:gd name="connsiteX5242" fmla="*/ 17959 w 9586368"/>
              <a:gd name="connsiteY5242" fmla="*/ 2875775 h 6479439"/>
              <a:gd name="connsiteX5243" fmla="*/ 17959 w 9586368"/>
              <a:gd name="connsiteY5243" fmla="*/ 2885645 h 6479439"/>
              <a:gd name="connsiteX5244" fmla="*/ 13940 w 9586368"/>
              <a:gd name="connsiteY5244" fmla="*/ 2889684 h 6479439"/>
              <a:gd name="connsiteX5245" fmla="*/ 4030 w 9586368"/>
              <a:gd name="connsiteY5245" fmla="*/ 2889684 h 6479439"/>
              <a:gd name="connsiteX5246" fmla="*/ 11 w 9586368"/>
              <a:gd name="connsiteY5246" fmla="*/ 2885645 h 6479439"/>
              <a:gd name="connsiteX5247" fmla="*/ 11 w 9586368"/>
              <a:gd name="connsiteY5247" fmla="*/ 2875775 h 6479439"/>
              <a:gd name="connsiteX5248" fmla="*/ 9572438 w 9586368"/>
              <a:gd name="connsiteY5248" fmla="*/ 2632457 h 6479439"/>
              <a:gd name="connsiteX5249" fmla="*/ 9582349 w 9586368"/>
              <a:gd name="connsiteY5249" fmla="*/ 2632457 h 6479439"/>
              <a:gd name="connsiteX5250" fmla="*/ 9586368 w 9586368"/>
              <a:gd name="connsiteY5250" fmla="*/ 2636496 h 6479439"/>
              <a:gd name="connsiteX5251" fmla="*/ 9586368 w 9586368"/>
              <a:gd name="connsiteY5251" fmla="*/ 2646366 h 6479439"/>
              <a:gd name="connsiteX5252" fmla="*/ 9582349 w 9586368"/>
              <a:gd name="connsiteY5252" fmla="*/ 2650405 h 6479439"/>
              <a:gd name="connsiteX5253" fmla="*/ 9572438 w 9586368"/>
              <a:gd name="connsiteY5253" fmla="*/ 2650405 h 6479439"/>
              <a:gd name="connsiteX5254" fmla="*/ 9568419 w 9586368"/>
              <a:gd name="connsiteY5254" fmla="*/ 2646366 h 6479439"/>
              <a:gd name="connsiteX5255" fmla="*/ 9568419 w 9586368"/>
              <a:gd name="connsiteY5255" fmla="*/ 2636496 h 6479439"/>
              <a:gd name="connsiteX5256" fmla="*/ 9333125 w 9586368"/>
              <a:gd name="connsiteY5256" fmla="*/ 2632457 h 6479439"/>
              <a:gd name="connsiteX5257" fmla="*/ 9343036 w 9586368"/>
              <a:gd name="connsiteY5257" fmla="*/ 2632457 h 6479439"/>
              <a:gd name="connsiteX5258" fmla="*/ 9347055 w 9586368"/>
              <a:gd name="connsiteY5258" fmla="*/ 2636496 h 6479439"/>
              <a:gd name="connsiteX5259" fmla="*/ 9347055 w 9586368"/>
              <a:gd name="connsiteY5259" fmla="*/ 2646366 h 6479439"/>
              <a:gd name="connsiteX5260" fmla="*/ 9343036 w 9586368"/>
              <a:gd name="connsiteY5260" fmla="*/ 2650405 h 6479439"/>
              <a:gd name="connsiteX5261" fmla="*/ 9333125 w 9586368"/>
              <a:gd name="connsiteY5261" fmla="*/ 2650405 h 6479439"/>
              <a:gd name="connsiteX5262" fmla="*/ 9329106 w 9586368"/>
              <a:gd name="connsiteY5262" fmla="*/ 2646366 h 6479439"/>
              <a:gd name="connsiteX5263" fmla="*/ 9329106 w 9586368"/>
              <a:gd name="connsiteY5263" fmla="*/ 2636496 h 6479439"/>
              <a:gd name="connsiteX5264" fmla="*/ 9093811 w 9586368"/>
              <a:gd name="connsiteY5264" fmla="*/ 2632457 h 6479439"/>
              <a:gd name="connsiteX5265" fmla="*/ 9103722 w 9586368"/>
              <a:gd name="connsiteY5265" fmla="*/ 2632457 h 6479439"/>
              <a:gd name="connsiteX5266" fmla="*/ 9107741 w 9586368"/>
              <a:gd name="connsiteY5266" fmla="*/ 2636496 h 6479439"/>
              <a:gd name="connsiteX5267" fmla="*/ 9107741 w 9586368"/>
              <a:gd name="connsiteY5267" fmla="*/ 2646366 h 6479439"/>
              <a:gd name="connsiteX5268" fmla="*/ 9103722 w 9586368"/>
              <a:gd name="connsiteY5268" fmla="*/ 2650405 h 6479439"/>
              <a:gd name="connsiteX5269" fmla="*/ 9093811 w 9586368"/>
              <a:gd name="connsiteY5269" fmla="*/ 2650405 h 6479439"/>
              <a:gd name="connsiteX5270" fmla="*/ 9089792 w 9586368"/>
              <a:gd name="connsiteY5270" fmla="*/ 2646366 h 6479439"/>
              <a:gd name="connsiteX5271" fmla="*/ 9089792 w 9586368"/>
              <a:gd name="connsiteY5271" fmla="*/ 2636496 h 6479439"/>
              <a:gd name="connsiteX5272" fmla="*/ 8854496 w 9586368"/>
              <a:gd name="connsiteY5272" fmla="*/ 2632457 h 6479439"/>
              <a:gd name="connsiteX5273" fmla="*/ 8864407 w 9586368"/>
              <a:gd name="connsiteY5273" fmla="*/ 2632457 h 6479439"/>
              <a:gd name="connsiteX5274" fmla="*/ 8868426 w 9586368"/>
              <a:gd name="connsiteY5274" fmla="*/ 2636496 h 6479439"/>
              <a:gd name="connsiteX5275" fmla="*/ 8868426 w 9586368"/>
              <a:gd name="connsiteY5275" fmla="*/ 2646366 h 6479439"/>
              <a:gd name="connsiteX5276" fmla="*/ 8864407 w 9586368"/>
              <a:gd name="connsiteY5276" fmla="*/ 2650405 h 6479439"/>
              <a:gd name="connsiteX5277" fmla="*/ 8854496 w 9586368"/>
              <a:gd name="connsiteY5277" fmla="*/ 2650405 h 6479439"/>
              <a:gd name="connsiteX5278" fmla="*/ 8850477 w 9586368"/>
              <a:gd name="connsiteY5278" fmla="*/ 2646366 h 6479439"/>
              <a:gd name="connsiteX5279" fmla="*/ 8850477 w 9586368"/>
              <a:gd name="connsiteY5279" fmla="*/ 2636496 h 6479439"/>
              <a:gd name="connsiteX5280" fmla="*/ 8615184 w 9586368"/>
              <a:gd name="connsiteY5280" fmla="*/ 2632457 h 6479439"/>
              <a:gd name="connsiteX5281" fmla="*/ 8625095 w 9586368"/>
              <a:gd name="connsiteY5281" fmla="*/ 2632457 h 6479439"/>
              <a:gd name="connsiteX5282" fmla="*/ 8629114 w 9586368"/>
              <a:gd name="connsiteY5282" fmla="*/ 2636496 h 6479439"/>
              <a:gd name="connsiteX5283" fmla="*/ 8629114 w 9586368"/>
              <a:gd name="connsiteY5283" fmla="*/ 2646366 h 6479439"/>
              <a:gd name="connsiteX5284" fmla="*/ 8625095 w 9586368"/>
              <a:gd name="connsiteY5284" fmla="*/ 2650405 h 6479439"/>
              <a:gd name="connsiteX5285" fmla="*/ 8615184 w 9586368"/>
              <a:gd name="connsiteY5285" fmla="*/ 2650405 h 6479439"/>
              <a:gd name="connsiteX5286" fmla="*/ 8611165 w 9586368"/>
              <a:gd name="connsiteY5286" fmla="*/ 2646366 h 6479439"/>
              <a:gd name="connsiteX5287" fmla="*/ 8611165 w 9586368"/>
              <a:gd name="connsiteY5287" fmla="*/ 2636496 h 6479439"/>
              <a:gd name="connsiteX5288" fmla="*/ 8375869 w 9586368"/>
              <a:gd name="connsiteY5288" fmla="*/ 2632457 h 6479439"/>
              <a:gd name="connsiteX5289" fmla="*/ 8385779 w 9586368"/>
              <a:gd name="connsiteY5289" fmla="*/ 2632457 h 6479439"/>
              <a:gd name="connsiteX5290" fmla="*/ 8389799 w 9586368"/>
              <a:gd name="connsiteY5290" fmla="*/ 2636496 h 6479439"/>
              <a:gd name="connsiteX5291" fmla="*/ 8389799 w 9586368"/>
              <a:gd name="connsiteY5291" fmla="*/ 2646366 h 6479439"/>
              <a:gd name="connsiteX5292" fmla="*/ 8385779 w 9586368"/>
              <a:gd name="connsiteY5292" fmla="*/ 2650405 h 6479439"/>
              <a:gd name="connsiteX5293" fmla="*/ 8375869 w 9586368"/>
              <a:gd name="connsiteY5293" fmla="*/ 2650405 h 6479439"/>
              <a:gd name="connsiteX5294" fmla="*/ 8371850 w 9586368"/>
              <a:gd name="connsiteY5294" fmla="*/ 2646366 h 6479439"/>
              <a:gd name="connsiteX5295" fmla="*/ 8371850 w 9586368"/>
              <a:gd name="connsiteY5295" fmla="*/ 2636496 h 6479439"/>
              <a:gd name="connsiteX5296" fmla="*/ 8136553 w 9586368"/>
              <a:gd name="connsiteY5296" fmla="*/ 2632457 h 6479439"/>
              <a:gd name="connsiteX5297" fmla="*/ 8146464 w 9586368"/>
              <a:gd name="connsiteY5297" fmla="*/ 2632457 h 6479439"/>
              <a:gd name="connsiteX5298" fmla="*/ 8150483 w 9586368"/>
              <a:gd name="connsiteY5298" fmla="*/ 2636496 h 6479439"/>
              <a:gd name="connsiteX5299" fmla="*/ 8150483 w 9586368"/>
              <a:gd name="connsiteY5299" fmla="*/ 2646366 h 6479439"/>
              <a:gd name="connsiteX5300" fmla="*/ 8146464 w 9586368"/>
              <a:gd name="connsiteY5300" fmla="*/ 2650405 h 6479439"/>
              <a:gd name="connsiteX5301" fmla="*/ 8136553 w 9586368"/>
              <a:gd name="connsiteY5301" fmla="*/ 2650405 h 6479439"/>
              <a:gd name="connsiteX5302" fmla="*/ 8132534 w 9586368"/>
              <a:gd name="connsiteY5302" fmla="*/ 2646366 h 6479439"/>
              <a:gd name="connsiteX5303" fmla="*/ 8132534 w 9586368"/>
              <a:gd name="connsiteY5303" fmla="*/ 2636496 h 6479439"/>
              <a:gd name="connsiteX5304" fmla="*/ 7897241 w 9586368"/>
              <a:gd name="connsiteY5304" fmla="*/ 2632457 h 6479439"/>
              <a:gd name="connsiteX5305" fmla="*/ 7907151 w 9586368"/>
              <a:gd name="connsiteY5305" fmla="*/ 2632457 h 6479439"/>
              <a:gd name="connsiteX5306" fmla="*/ 7911170 w 9586368"/>
              <a:gd name="connsiteY5306" fmla="*/ 2636496 h 6479439"/>
              <a:gd name="connsiteX5307" fmla="*/ 7911170 w 9586368"/>
              <a:gd name="connsiteY5307" fmla="*/ 2646366 h 6479439"/>
              <a:gd name="connsiteX5308" fmla="*/ 7907151 w 9586368"/>
              <a:gd name="connsiteY5308" fmla="*/ 2650405 h 6479439"/>
              <a:gd name="connsiteX5309" fmla="*/ 7897241 w 9586368"/>
              <a:gd name="connsiteY5309" fmla="*/ 2650405 h 6479439"/>
              <a:gd name="connsiteX5310" fmla="*/ 7893222 w 9586368"/>
              <a:gd name="connsiteY5310" fmla="*/ 2646366 h 6479439"/>
              <a:gd name="connsiteX5311" fmla="*/ 7893222 w 9586368"/>
              <a:gd name="connsiteY5311" fmla="*/ 2636496 h 6479439"/>
              <a:gd name="connsiteX5312" fmla="*/ 7657926 w 9586368"/>
              <a:gd name="connsiteY5312" fmla="*/ 2632457 h 6479439"/>
              <a:gd name="connsiteX5313" fmla="*/ 7667836 w 9586368"/>
              <a:gd name="connsiteY5313" fmla="*/ 2632457 h 6479439"/>
              <a:gd name="connsiteX5314" fmla="*/ 7671855 w 9586368"/>
              <a:gd name="connsiteY5314" fmla="*/ 2636496 h 6479439"/>
              <a:gd name="connsiteX5315" fmla="*/ 7671855 w 9586368"/>
              <a:gd name="connsiteY5315" fmla="*/ 2646366 h 6479439"/>
              <a:gd name="connsiteX5316" fmla="*/ 7667836 w 9586368"/>
              <a:gd name="connsiteY5316" fmla="*/ 2650405 h 6479439"/>
              <a:gd name="connsiteX5317" fmla="*/ 7657926 w 9586368"/>
              <a:gd name="connsiteY5317" fmla="*/ 2650405 h 6479439"/>
              <a:gd name="connsiteX5318" fmla="*/ 7653906 w 9586368"/>
              <a:gd name="connsiteY5318" fmla="*/ 2646366 h 6479439"/>
              <a:gd name="connsiteX5319" fmla="*/ 7653906 w 9586368"/>
              <a:gd name="connsiteY5319" fmla="*/ 2636496 h 6479439"/>
              <a:gd name="connsiteX5320" fmla="*/ 7418611 w 9586368"/>
              <a:gd name="connsiteY5320" fmla="*/ 2632457 h 6479439"/>
              <a:gd name="connsiteX5321" fmla="*/ 7428521 w 9586368"/>
              <a:gd name="connsiteY5321" fmla="*/ 2632457 h 6479439"/>
              <a:gd name="connsiteX5322" fmla="*/ 7432540 w 9586368"/>
              <a:gd name="connsiteY5322" fmla="*/ 2636496 h 6479439"/>
              <a:gd name="connsiteX5323" fmla="*/ 7432540 w 9586368"/>
              <a:gd name="connsiteY5323" fmla="*/ 2646366 h 6479439"/>
              <a:gd name="connsiteX5324" fmla="*/ 7428521 w 9586368"/>
              <a:gd name="connsiteY5324" fmla="*/ 2650405 h 6479439"/>
              <a:gd name="connsiteX5325" fmla="*/ 7418611 w 9586368"/>
              <a:gd name="connsiteY5325" fmla="*/ 2650405 h 6479439"/>
              <a:gd name="connsiteX5326" fmla="*/ 7414592 w 9586368"/>
              <a:gd name="connsiteY5326" fmla="*/ 2646366 h 6479439"/>
              <a:gd name="connsiteX5327" fmla="*/ 7414592 w 9586368"/>
              <a:gd name="connsiteY5327" fmla="*/ 2636496 h 6479439"/>
              <a:gd name="connsiteX5328" fmla="*/ 7179298 w 9586368"/>
              <a:gd name="connsiteY5328" fmla="*/ 2632457 h 6479439"/>
              <a:gd name="connsiteX5329" fmla="*/ 7189209 w 9586368"/>
              <a:gd name="connsiteY5329" fmla="*/ 2632457 h 6479439"/>
              <a:gd name="connsiteX5330" fmla="*/ 7193228 w 9586368"/>
              <a:gd name="connsiteY5330" fmla="*/ 2636496 h 6479439"/>
              <a:gd name="connsiteX5331" fmla="*/ 7193228 w 9586368"/>
              <a:gd name="connsiteY5331" fmla="*/ 2646366 h 6479439"/>
              <a:gd name="connsiteX5332" fmla="*/ 7189209 w 9586368"/>
              <a:gd name="connsiteY5332" fmla="*/ 2650405 h 6479439"/>
              <a:gd name="connsiteX5333" fmla="*/ 7179298 w 9586368"/>
              <a:gd name="connsiteY5333" fmla="*/ 2650405 h 6479439"/>
              <a:gd name="connsiteX5334" fmla="*/ 7175279 w 9586368"/>
              <a:gd name="connsiteY5334" fmla="*/ 2646366 h 6479439"/>
              <a:gd name="connsiteX5335" fmla="*/ 7175279 w 9586368"/>
              <a:gd name="connsiteY5335" fmla="*/ 2636496 h 6479439"/>
              <a:gd name="connsiteX5336" fmla="*/ 6939983 w 9586368"/>
              <a:gd name="connsiteY5336" fmla="*/ 2632457 h 6479439"/>
              <a:gd name="connsiteX5337" fmla="*/ 6949894 w 9586368"/>
              <a:gd name="connsiteY5337" fmla="*/ 2632457 h 6479439"/>
              <a:gd name="connsiteX5338" fmla="*/ 6953913 w 9586368"/>
              <a:gd name="connsiteY5338" fmla="*/ 2636496 h 6479439"/>
              <a:gd name="connsiteX5339" fmla="*/ 6953913 w 9586368"/>
              <a:gd name="connsiteY5339" fmla="*/ 2646366 h 6479439"/>
              <a:gd name="connsiteX5340" fmla="*/ 6949894 w 9586368"/>
              <a:gd name="connsiteY5340" fmla="*/ 2650405 h 6479439"/>
              <a:gd name="connsiteX5341" fmla="*/ 6939983 w 9586368"/>
              <a:gd name="connsiteY5341" fmla="*/ 2650405 h 6479439"/>
              <a:gd name="connsiteX5342" fmla="*/ 6935964 w 9586368"/>
              <a:gd name="connsiteY5342" fmla="*/ 2646366 h 6479439"/>
              <a:gd name="connsiteX5343" fmla="*/ 6935964 w 9586368"/>
              <a:gd name="connsiteY5343" fmla="*/ 2636496 h 6479439"/>
              <a:gd name="connsiteX5344" fmla="*/ 6700670 w 9586368"/>
              <a:gd name="connsiteY5344" fmla="*/ 2632457 h 6479439"/>
              <a:gd name="connsiteX5345" fmla="*/ 6710581 w 9586368"/>
              <a:gd name="connsiteY5345" fmla="*/ 2632457 h 6479439"/>
              <a:gd name="connsiteX5346" fmla="*/ 6714600 w 9586368"/>
              <a:gd name="connsiteY5346" fmla="*/ 2636496 h 6479439"/>
              <a:gd name="connsiteX5347" fmla="*/ 6714600 w 9586368"/>
              <a:gd name="connsiteY5347" fmla="*/ 2646366 h 6479439"/>
              <a:gd name="connsiteX5348" fmla="*/ 6710581 w 9586368"/>
              <a:gd name="connsiteY5348" fmla="*/ 2650405 h 6479439"/>
              <a:gd name="connsiteX5349" fmla="*/ 6700670 w 9586368"/>
              <a:gd name="connsiteY5349" fmla="*/ 2650405 h 6479439"/>
              <a:gd name="connsiteX5350" fmla="*/ 6696651 w 9586368"/>
              <a:gd name="connsiteY5350" fmla="*/ 2646366 h 6479439"/>
              <a:gd name="connsiteX5351" fmla="*/ 6696651 w 9586368"/>
              <a:gd name="connsiteY5351" fmla="*/ 2636496 h 6479439"/>
              <a:gd name="connsiteX5352" fmla="*/ 6461356 w 9586368"/>
              <a:gd name="connsiteY5352" fmla="*/ 2632457 h 6479439"/>
              <a:gd name="connsiteX5353" fmla="*/ 6471266 w 9586368"/>
              <a:gd name="connsiteY5353" fmla="*/ 2632457 h 6479439"/>
              <a:gd name="connsiteX5354" fmla="*/ 6475285 w 9586368"/>
              <a:gd name="connsiteY5354" fmla="*/ 2636496 h 6479439"/>
              <a:gd name="connsiteX5355" fmla="*/ 6475285 w 9586368"/>
              <a:gd name="connsiteY5355" fmla="*/ 2646366 h 6479439"/>
              <a:gd name="connsiteX5356" fmla="*/ 6471266 w 9586368"/>
              <a:gd name="connsiteY5356" fmla="*/ 2650405 h 6479439"/>
              <a:gd name="connsiteX5357" fmla="*/ 6461356 w 9586368"/>
              <a:gd name="connsiteY5357" fmla="*/ 2650405 h 6479439"/>
              <a:gd name="connsiteX5358" fmla="*/ 6457337 w 9586368"/>
              <a:gd name="connsiteY5358" fmla="*/ 2646366 h 6479439"/>
              <a:gd name="connsiteX5359" fmla="*/ 6457337 w 9586368"/>
              <a:gd name="connsiteY5359" fmla="*/ 2636496 h 6479439"/>
              <a:gd name="connsiteX5360" fmla="*/ 6222042 w 9586368"/>
              <a:gd name="connsiteY5360" fmla="*/ 2632457 h 6479439"/>
              <a:gd name="connsiteX5361" fmla="*/ 6231952 w 9586368"/>
              <a:gd name="connsiteY5361" fmla="*/ 2632457 h 6479439"/>
              <a:gd name="connsiteX5362" fmla="*/ 6235971 w 9586368"/>
              <a:gd name="connsiteY5362" fmla="*/ 2636496 h 6479439"/>
              <a:gd name="connsiteX5363" fmla="*/ 6235971 w 9586368"/>
              <a:gd name="connsiteY5363" fmla="*/ 2646366 h 6479439"/>
              <a:gd name="connsiteX5364" fmla="*/ 6231952 w 9586368"/>
              <a:gd name="connsiteY5364" fmla="*/ 2650405 h 6479439"/>
              <a:gd name="connsiteX5365" fmla="*/ 6222042 w 9586368"/>
              <a:gd name="connsiteY5365" fmla="*/ 2650405 h 6479439"/>
              <a:gd name="connsiteX5366" fmla="*/ 6218023 w 9586368"/>
              <a:gd name="connsiteY5366" fmla="*/ 2646366 h 6479439"/>
              <a:gd name="connsiteX5367" fmla="*/ 6218023 w 9586368"/>
              <a:gd name="connsiteY5367" fmla="*/ 2636496 h 6479439"/>
              <a:gd name="connsiteX5368" fmla="*/ 5982729 w 9586368"/>
              <a:gd name="connsiteY5368" fmla="*/ 2632457 h 6479439"/>
              <a:gd name="connsiteX5369" fmla="*/ 5992639 w 9586368"/>
              <a:gd name="connsiteY5369" fmla="*/ 2632457 h 6479439"/>
              <a:gd name="connsiteX5370" fmla="*/ 5996658 w 9586368"/>
              <a:gd name="connsiteY5370" fmla="*/ 2636496 h 6479439"/>
              <a:gd name="connsiteX5371" fmla="*/ 5996658 w 9586368"/>
              <a:gd name="connsiteY5371" fmla="*/ 2646366 h 6479439"/>
              <a:gd name="connsiteX5372" fmla="*/ 5992639 w 9586368"/>
              <a:gd name="connsiteY5372" fmla="*/ 2650405 h 6479439"/>
              <a:gd name="connsiteX5373" fmla="*/ 5982729 w 9586368"/>
              <a:gd name="connsiteY5373" fmla="*/ 2650405 h 6479439"/>
              <a:gd name="connsiteX5374" fmla="*/ 5978710 w 9586368"/>
              <a:gd name="connsiteY5374" fmla="*/ 2646366 h 6479439"/>
              <a:gd name="connsiteX5375" fmla="*/ 5978710 w 9586368"/>
              <a:gd name="connsiteY5375" fmla="*/ 2636496 h 6479439"/>
              <a:gd name="connsiteX5376" fmla="*/ 5743412 w 9586368"/>
              <a:gd name="connsiteY5376" fmla="*/ 2632457 h 6479439"/>
              <a:gd name="connsiteX5377" fmla="*/ 5753323 w 9586368"/>
              <a:gd name="connsiteY5377" fmla="*/ 2632457 h 6479439"/>
              <a:gd name="connsiteX5378" fmla="*/ 5757342 w 9586368"/>
              <a:gd name="connsiteY5378" fmla="*/ 2636496 h 6479439"/>
              <a:gd name="connsiteX5379" fmla="*/ 5757342 w 9586368"/>
              <a:gd name="connsiteY5379" fmla="*/ 2646366 h 6479439"/>
              <a:gd name="connsiteX5380" fmla="*/ 5753323 w 9586368"/>
              <a:gd name="connsiteY5380" fmla="*/ 2650405 h 6479439"/>
              <a:gd name="connsiteX5381" fmla="*/ 5743412 w 9586368"/>
              <a:gd name="connsiteY5381" fmla="*/ 2650405 h 6479439"/>
              <a:gd name="connsiteX5382" fmla="*/ 5739393 w 9586368"/>
              <a:gd name="connsiteY5382" fmla="*/ 2646366 h 6479439"/>
              <a:gd name="connsiteX5383" fmla="*/ 5739393 w 9586368"/>
              <a:gd name="connsiteY5383" fmla="*/ 2636496 h 6479439"/>
              <a:gd name="connsiteX5384" fmla="*/ 5504099 w 9586368"/>
              <a:gd name="connsiteY5384" fmla="*/ 2632457 h 6479439"/>
              <a:gd name="connsiteX5385" fmla="*/ 5514010 w 9586368"/>
              <a:gd name="connsiteY5385" fmla="*/ 2632457 h 6479439"/>
              <a:gd name="connsiteX5386" fmla="*/ 5518029 w 9586368"/>
              <a:gd name="connsiteY5386" fmla="*/ 2636496 h 6479439"/>
              <a:gd name="connsiteX5387" fmla="*/ 5518029 w 9586368"/>
              <a:gd name="connsiteY5387" fmla="*/ 2646366 h 6479439"/>
              <a:gd name="connsiteX5388" fmla="*/ 5514010 w 9586368"/>
              <a:gd name="connsiteY5388" fmla="*/ 2650405 h 6479439"/>
              <a:gd name="connsiteX5389" fmla="*/ 5504099 w 9586368"/>
              <a:gd name="connsiteY5389" fmla="*/ 2650405 h 6479439"/>
              <a:gd name="connsiteX5390" fmla="*/ 5500080 w 9586368"/>
              <a:gd name="connsiteY5390" fmla="*/ 2646366 h 6479439"/>
              <a:gd name="connsiteX5391" fmla="*/ 5500080 w 9586368"/>
              <a:gd name="connsiteY5391" fmla="*/ 2636496 h 6479439"/>
              <a:gd name="connsiteX5392" fmla="*/ 5264784 w 9586368"/>
              <a:gd name="connsiteY5392" fmla="*/ 2632457 h 6479439"/>
              <a:gd name="connsiteX5393" fmla="*/ 5274694 w 9586368"/>
              <a:gd name="connsiteY5393" fmla="*/ 2632457 h 6479439"/>
              <a:gd name="connsiteX5394" fmla="*/ 5278713 w 9586368"/>
              <a:gd name="connsiteY5394" fmla="*/ 2636496 h 6479439"/>
              <a:gd name="connsiteX5395" fmla="*/ 5278713 w 9586368"/>
              <a:gd name="connsiteY5395" fmla="*/ 2646366 h 6479439"/>
              <a:gd name="connsiteX5396" fmla="*/ 5274694 w 9586368"/>
              <a:gd name="connsiteY5396" fmla="*/ 2650405 h 6479439"/>
              <a:gd name="connsiteX5397" fmla="*/ 5264784 w 9586368"/>
              <a:gd name="connsiteY5397" fmla="*/ 2650405 h 6479439"/>
              <a:gd name="connsiteX5398" fmla="*/ 5260765 w 9586368"/>
              <a:gd name="connsiteY5398" fmla="*/ 2646366 h 6479439"/>
              <a:gd name="connsiteX5399" fmla="*/ 5260765 w 9586368"/>
              <a:gd name="connsiteY5399" fmla="*/ 2636496 h 6479439"/>
              <a:gd name="connsiteX5400" fmla="*/ 5025470 w 9586368"/>
              <a:gd name="connsiteY5400" fmla="*/ 2632457 h 6479439"/>
              <a:gd name="connsiteX5401" fmla="*/ 5035381 w 9586368"/>
              <a:gd name="connsiteY5401" fmla="*/ 2632457 h 6479439"/>
              <a:gd name="connsiteX5402" fmla="*/ 5039400 w 9586368"/>
              <a:gd name="connsiteY5402" fmla="*/ 2636496 h 6479439"/>
              <a:gd name="connsiteX5403" fmla="*/ 5039400 w 9586368"/>
              <a:gd name="connsiteY5403" fmla="*/ 2646366 h 6479439"/>
              <a:gd name="connsiteX5404" fmla="*/ 5035381 w 9586368"/>
              <a:gd name="connsiteY5404" fmla="*/ 2650405 h 6479439"/>
              <a:gd name="connsiteX5405" fmla="*/ 5025470 w 9586368"/>
              <a:gd name="connsiteY5405" fmla="*/ 2650405 h 6479439"/>
              <a:gd name="connsiteX5406" fmla="*/ 5021451 w 9586368"/>
              <a:gd name="connsiteY5406" fmla="*/ 2646366 h 6479439"/>
              <a:gd name="connsiteX5407" fmla="*/ 5021451 w 9586368"/>
              <a:gd name="connsiteY5407" fmla="*/ 2636496 h 6479439"/>
              <a:gd name="connsiteX5408" fmla="*/ 4786241 w 9586368"/>
              <a:gd name="connsiteY5408" fmla="*/ 2632457 h 6479439"/>
              <a:gd name="connsiteX5409" fmla="*/ 4796152 w 9586368"/>
              <a:gd name="connsiteY5409" fmla="*/ 2632457 h 6479439"/>
              <a:gd name="connsiteX5410" fmla="*/ 4800171 w 9586368"/>
              <a:gd name="connsiteY5410" fmla="*/ 2636496 h 6479439"/>
              <a:gd name="connsiteX5411" fmla="*/ 4800171 w 9586368"/>
              <a:gd name="connsiteY5411" fmla="*/ 2646366 h 6479439"/>
              <a:gd name="connsiteX5412" fmla="*/ 4796152 w 9586368"/>
              <a:gd name="connsiteY5412" fmla="*/ 2650405 h 6479439"/>
              <a:gd name="connsiteX5413" fmla="*/ 4786241 w 9586368"/>
              <a:gd name="connsiteY5413" fmla="*/ 2650405 h 6479439"/>
              <a:gd name="connsiteX5414" fmla="*/ 4782224 w 9586368"/>
              <a:gd name="connsiteY5414" fmla="*/ 2646366 h 6479439"/>
              <a:gd name="connsiteX5415" fmla="*/ 4782224 w 9586368"/>
              <a:gd name="connsiteY5415" fmla="*/ 2636496 h 6479439"/>
              <a:gd name="connsiteX5416" fmla="*/ 4546929 w 9586368"/>
              <a:gd name="connsiteY5416" fmla="*/ 2632457 h 6479439"/>
              <a:gd name="connsiteX5417" fmla="*/ 4556840 w 9586368"/>
              <a:gd name="connsiteY5417" fmla="*/ 2632457 h 6479439"/>
              <a:gd name="connsiteX5418" fmla="*/ 4560859 w 9586368"/>
              <a:gd name="connsiteY5418" fmla="*/ 2636496 h 6479439"/>
              <a:gd name="connsiteX5419" fmla="*/ 4560859 w 9586368"/>
              <a:gd name="connsiteY5419" fmla="*/ 2646366 h 6479439"/>
              <a:gd name="connsiteX5420" fmla="*/ 4556840 w 9586368"/>
              <a:gd name="connsiteY5420" fmla="*/ 2650405 h 6479439"/>
              <a:gd name="connsiteX5421" fmla="*/ 4546929 w 9586368"/>
              <a:gd name="connsiteY5421" fmla="*/ 2650405 h 6479439"/>
              <a:gd name="connsiteX5422" fmla="*/ 4542910 w 9586368"/>
              <a:gd name="connsiteY5422" fmla="*/ 2646366 h 6479439"/>
              <a:gd name="connsiteX5423" fmla="*/ 4542910 w 9586368"/>
              <a:gd name="connsiteY5423" fmla="*/ 2636496 h 6479439"/>
              <a:gd name="connsiteX5424" fmla="*/ 4307612 w 9586368"/>
              <a:gd name="connsiteY5424" fmla="*/ 2632457 h 6479439"/>
              <a:gd name="connsiteX5425" fmla="*/ 4317523 w 9586368"/>
              <a:gd name="connsiteY5425" fmla="*/ 2632457 h 6479439"/>
              <a:gd name="connsiteX5426" fmla="*/ 4321543 w 9586368"/>
              <a:gd name="connsiteY5426" fmla="*/ 2636496 h 6479439"/>
              <a:gd name="connsiteX5427" fmla="*/ 4321543 w 9586368"/>
              <a:gd name="connsiteY5427" fmla="*/ 2646366 h 6479439"/>
              <a:gd name="connsiteX5428" fmla="*/ 4317523 w 9586368"/>
              <a:gd name="connsiteY5428" fmla="*/ 2650405 h 6479439"/>
              <a:gd name="connsiteX5429" fmla="*/ 4307612 w 9586368"/>
              <a:gd name="connsiteY5429" fmla="*/ 2650405 h 6479439"/>
              <a:gd name="connsiteX5430" fmla="*/ 4303595 w 9586368"/>
              <a:gd name="connsiteY5430" fmla="*/ 2646366 h 6479439"/>
              <a:gd name="connsiteX5431" fmla="*/ 4303595 w 9586368"/>
              <a:gd name="connsiteY5431" fmla="*/ 2636496 h 6479439"/>
              <a:gd name="connsiteX5432" fmla="*/ 4068297 w 9586368"/>
              <a:gd name="connsiteY5432" fmla="*/ 2632457 h 6479439"/>
              <a:gd name="connsiteX5433" fmla="*/ 4078210 w 9586368"/>
              <a:gd name="connsiteY5433" fmla="*/ 2632457 h 6479439"/>
              <a:gd name="connsiteX5434" fmla="*/ 4082229 w 9586368"/>
              <a:gd name="connsiteY5434" fmla="*/ 2636496 h 6479439"/>
              <a:gd name="connsiteX5435" fmla="*/ 4082229 w 9586368"/>
              <a:gd name="connsiteY5435" fmla="*/ 2646366 h 6479439"/>
              <a:gd name="connsiteX5436" fmla="*/ 4078210 w 9586368"/>
              <a:gd name="connsiteY5436" fmla="*/ 2650405 h 6479439"/>
              <a:gd name="connsiteX5437" fmla="*/ 4068297 w 9586368"/>
              <a:gd name="connsiteY5437" fmla="*/ 2650405 h 6479439"/>
              <a:gd name="connsiteX5438" fmla="*/ 4064278 w 9586368"/>
              <a:gd name="connsiteY5438" fmla="*/ 2646366 h 6479439"/>
              <a:gd name="connsiteX5439" fmla="*/ 4064278 w 9586368"/>
              <a:gd name="connsiteY5439" fmla="*/ 2636496 h 6479439"/>
              <a:gd name="connsiteX5440" fmla="*/ 3828990 w 9586368"/>
              <a:gd name="connsiteY5440" fmla="*/ 2632457 h 6479439"/>
              <a:gd name="connsiteX5441" fmla="*/ 3838899 w 9586368"/>
              <a:gd name="connsiteY5441" fmla="*/ 2632457 h 6479439"/>
              <a:gd name="connsiteX5442" fmla="*/ 3842917 w 9586368"/>
              <a:gd name="connsiteY5442" fmla="*/ 2636496 h 6479439"/>
              <a:gd name="connsiteX5443" fmla="*/ 3842917 w 9586368"/>
              <a:gd name="connsiteY5443" fmla="*/ 2646366 h 6479439"/>
              <a:gd name="connsiteX5444" fmla="*/ 3838899 w 9586368"/>
              <a:gd name="connsiteY5444" fmla="*/ 2650405 h 6479439"/>
              <a:gd name="connsiteX5445" fmla="*/ 3828990 w 9586368"/>
              <a:gd name="connsiteY5445" fmla="*/ 2650405 h 6479439"/>
              <a:gd name="connsiteX5446" fmla="*/ 3824971 w 9586368"/>
              <a:gd name="connsiteY5446" fmla="*/ 2646366 h 6479439"/>
              <a:gd name="connsiteX5447" fmla="*/ 3824971 w 9586368"/>
              <a:gd name="connsiteY5447" fmla="*/ 2636496 h 6479439"/>
              <a:gd name="connsiteX5448" fmla="*/ 3589676 w 9586368"/>
              <a:gd name="connsiteY5448" fmla="*/ 2632457 h 6479439"/>
              <a:gd name="connsiteX5449" fmla="*/ 3599585 w 9586368"/>
              <a:gd name="connsiteY5449" fmla="*/ 2632457 h 6479439"/>
              <a:gd name="connsiteX5450" fmla="*/ 3603604 w 9586368"/>
              <a:gd name="connsiteY5450" fmla="*/ 2636496 h 6479439"/>
              <a:gd name="connsiteX5451" fmla="*/ 3603604 w 9586368"/>
              <a:gd name="connsiteY5451" fmla="*/ 2646366 h 6479439"/>
              <a:gd name="connsiteX5452" fmla="*/ 3599585 w 9586368"/>
              <a:gd name="connsiteY5452" fmla="*/ 2650405 h 6479439"/>
              <a:gd name="connsiteX5453" fmla="*/ 3589676 w 9586368"/>
              <a:gd name="connsiteY5453" fmla="*/ 2650405 h 6479439"/>
              <a:gd name="connsiteX5454" fmla="*/ 3585657 w 9586368"/>
              <a:gd name="connsiteY5454" fmla="*/ 2646366 h 6479439"/>
              <a:gd name="connsiteX5455" fmla="*/ 3585657 w 9586368"/>
              <a:gd name="connsiteY5455" fmla="*/ 2636496 h 6479439"/>
              <a:gd name="connsiteX5456" fmla="*/ 3350359 w 9586368"/>
              <a:gd name="connsiteY5456" fmla="*/ 2632457 h 6479439"/>
              <a:gd name="connsiteX5457" fmla="*/ 3360268 w 9586368"/>
              <a:gd name="connsiteY5457" fmla="*/ 2632457 h 6479439"/>
              <a:gd name="connsiteX5458" fmla="*/ 3364287 w 9586368"/>
              <a:gd name="connsiteY5458" fmla="*/ 2636496 h 6479439"/>
              <a:gd name="connsiteX5459" fmla="*/ 3364287 w 9586368"/>
              <a:gd name="connsiteY5459" fmla="*/ 2646366 h 6479439"/>
              <a:gd name="connsiteX5460" fmla="*/ 3360268 w 9586368"/>
              <a:gd name="connsiteY5460" fmla="*/ 2650405 h 6479439"/>
              <a:gd name="connsiteX5461" fmla="*/ 3350359 w 9586368"/>
              <a:gd name="connsiteY5461" fmla="*/ 2650405 h 6479439"/>
              <a:gd name="connsiteX5462" fmla="*/ 3346340 w 9586368"/>
              <a:gd name="connsiteY5462" fmla="*/ 2646366 h 6479439"/>
              <a:gd name="connsiteX5463" fmla="*/ 3346340 w 9586368"/>
              <a:gd name="connsiteY5463" fmla="*/ 2636496 h 6479439"/>
              <a:gd name="connsiteX5464" fmla="*/ 3111048 w 9586368"/>
              <a:gd name="connsiteY5464" fmla="*/ 2632457 h 6479439"/>
              <a:gd name="connsiteX5465" fmla="*/ 3120959 w 9586368"/>
              <a:gd name="connsiteY5465" fmla="*/ 2632457 h 6479439"/>
              <a:gd name="connsiteX5466" fmla="*/ 3124977 w 9586368"/>
              <a:gd name="connsiteY5466" fmla="*/ 2636496 h 6479439"/>
              <a:gd name="connsiteX5467" fmla="*/ 3124977 w 9586368"/>
              <a:gd name="connsiteY5467" fmla="*/ 2646366 h 6479439"/>
              <a:gd name="connsiteX5468" fmla="*/ 3120959 w 9586368"/>
              <a:gd name="connsiteY5468" fmla="*/ 2650405 h 6479439"/>
              <a:gd name="connsiteX5469" fmla="*/ 3111048 w 9586368"/>
              <a:gd name="connsiteY5469" fmla="*/ 2650405 h 6479439"/>
              <a:gd name="connsiteX5470" fmla="*/ 3107029 w 9586368"/>
              <a:gd name="connsiteY5470" fmla="*/ 2646366 h 6479439"/>
              <a:gd name="connsiteX5471" fmla="*/ 3107029 w 9586368"/>
              <a:gd name="connsiteY5471" fmla="*/ 2636496 h 6479439"/>
              <a:gd name="connsiteX5472" fmla="*/ 2871737 w 9586368"/>
              <a:gd name="connsiteY5472" fmla="*/ 2632457 h 6479439"/>
              <a:gd name="connsiteX5473" fmla="*/ 2881646 w 9586368"/>
              <a:gd name="connsiteY5473" fmla="*/ 2632457 h 6479439"/>
              <a:gd name="connsiteX5474" fmla="*/ 2885666 w 9586368"/>
              <a:gd name="connsiteY5474" fmla="*/ 2636496 h 6479439"/>
              <a:gd name="connsiteX5475" fmla="*/ 2885666 w 9586368"/>
              <a:gd name="connsiteY5475" fmla="*/ 2646366 h 6479439"/>
              <a:gd name="connsiteX5476" fmla="*/ 2881646 w 9586368"/>
              <a:gd name="connsiteY5476" fmla="*/ 2650405 h 6479439"/>
              <a:gd name="connsiteX5477" fmla="*/ 2871737 w 9586368"/>
              <a:gd name="connsiteY5477" fmla="*/ 2650405 h 6479439"/>
              <a:gd name="connsiteX5478" fmla="*/ 2867717 w 9586368"/>
              <a:gd name="connsiteY5478" fmla="*/ 2646366 h 6479439"/>
              <a:gd name="connsiteX5479" fmla="*/ 2867717 w 9586368"/>
              <a:gd name="connsiteY5479" fmla="*/ 2636496 h 6479439"/>
              <a:gd name="connsiteX5480" fmla="*/ 2632423 w 9586368"/>
              <a:gd name="connsiteY5480" fmla="*/ 2632457 h 6479439"/>
              <a:gd name="connsiteX5481" fmla="*/ 2642334 w 9586368"/>
              <a:gd name="connsiteY5481" fmla="*/ 2632457 h 6479439"/>
              <a:gd name="connsiteX5482" fmla="*/ 2646352 w 9586368"/>
              <a:gd name="connsiteY5482" fmla="*/ 2636496 h 6479439"/>
              <a:gd name="connsiteX5483" fmla="*/ 2646352 w 9586368"/>
              <a:gd name="connsiteY5483" fmla="*/ 2646366 h 6479439"/>
              <a:gd name="connsiteX5484" fmla="*/ 2642334 w 9586368"/>
              <a:gd name="connsiteY5484" fmla="*/ 2650405 h 6479439"/>
              <a:gd name="connsiteX5485" fmla="*/ 2632423 w 9586368"/>
              <a:gd name="connsiteY5485" fmla="*/ 2650405 h 6479439"/>
              <a:gd name="connsiteX5486" fmla="*/ 2628404 w 9586368"/>
              <a:gd name="connsiteY5486" fmla="*/ 2646366 h 6479439"/>
              <a:gd name="connsiteX5487" fmla="*/ 2628404 w 9586368"/>
              <a:gd name="connsiteY5487" fmla="*/ 2636496 h 6479439"/>
              <a:gd name="connsiteX5488" fmla="*/ 2393104 w 9586368"/>
              <a:gd name="connsiteY5488" fmla="*/ 2632457 h 6479439"/>
              <a:gd name="connsiteX5489" fmla="*/ 2403015 w 9586368"/>
              <a:gd name="connsiteY5489" fmla="*/ 2632457 h 6479439"/>
              <a:gd name="connsiteX5490" fmla="*/ 2407034 w 9586368"/>
              <a:gd name="connsiteY5490" fmla="*/ 2636496 h 6479439"/>
              <a:gd name="connsiteX5491" fmla="*/ 2407034 w 9586368"/>
              <a:gd name="connsiteY5491" fmla="*/ 2646366 h 6479439"/>
              <a:gd name="connsiteX5492" fmla="*/ 2403015 w 9586368"/>
              <a:gd name="connsiteY5492" fmla="*/ 2650405 h 6479439"/>
              <a:gd name="connsiteX5493" fmla="*/ 2393104 w 9586368"/>
              <a:gd name="connsiteY5493" fmla="*/ 2650405 h 6479439"/>
              <a:gd name="connsiteX5494" fmla="*/ 2389087 w 9586368"/>
              <a:gd name="connsiteY5494" fmla="*/ 2646366 h 6479439"/>
              <a:gd name="connsiteX5495" fmla="*/ 2389087 w 9586368"/>
              <a:gd name="connsiteY5495" fmla="*/ 2636496 h 6479439"/>
              <a:gd name="connsiteX5496" fmla="*/ 2157821 w 9586368"/>
              <a:gd name="connsiteY5496" fmla="*/ 2632457 h 6479439"/>
              <a:gd name="connsiteX5497" fmla="*/ 2167732 w 9586368"/>
              <a:gd name="connsiteY5497" fmla="*/ 2632457 h 6479439"/>
              <a:gd name="connsiteX5498" fmla="*/ 2171750 w 9586368"/>
              <a:gd name="connsiteY5498" fmla="*/ 2636496 h 6479439"/>
              <a:gd name="connsiteX5499" fmla="*/ 2171750 w 9586368"/>
              <a:gd name="connsiteY5499" fmla="*/ 2646366 h 6479439"/>
              <a:gd name="connsiteX5500" fmla="*/ 2167732 w 9586368"/>
              <a:gd name="connsiteY5500" fmla="*/ 2650405 h 6479439"/>
              <a:gd name="connsiteX5501" fmla="*/ 2157821 w 9586368"/>
              <a:gd name="connsiteY5501" fmla="*/ 2650405 h 6479439"/>
              <a:gd name="connsiteX5502" fmla="*/ 2153802 w 9586368"/>
              <a:gd name="connsiteY5502" fmla="*/ 2646366 h 6479439"/>
              <a:gd name="connsiteX5503" fmla="*/ 2153802 w 9586368"/>
              <a:gd name="connsiteY5503" fmla="*/ 2636496 h 6479439"/>
              <a:gd name="connsiteX5504" fmla="*/ 1918513 w 9586368"/>
              <a:gd name="connsiteY5504" fmla="*/ 2632457 h 6479439"/>
              <a:gd name="connsiteX5505" fmla="*/ 1928422 w 9586368"/>
              <a:gd name="connsiteY5505" fmla="*/ 2632457 h 6479439"/>
              <a:gd name="connsiteX5506" fmla="*/ 1932441 w 9586368"/>
              <a:gd name="connsiteY5506" fmla="*/ 2636496 h 6479439"/>
              <a:gd name="connsiteX5507" fmla="*/ 1932441 w 9586368"/>
              <a:gd name="connsiteY5507" fmla="*/ 2646366 h 6479439"/>
              <a:gd name="connsiteX5508" fmla="*/ 1928422 w 9586368"/>
              <a:gd name="connsiteY5508" fmla="*/ 2650405 h 6479439"/>
              <a:gd name="connsiteX5509" fmla="*/ 1918513 w 9586368"/>
              <a:gd name="connsiteY5509" fmla="*/ 2650405 h 6479439"/>
              <a:gd name="connsiteX5510" fmla="*/ 1914494 w 9586368"/>
              <a:gd name="connsiteY5510" fmla="*/ 2646366 h 6479439"/>
              <a:gd name="connsiteX5511" fmla="*/ 1914494 w 9586368"/>
              <a:gd name="connsiteY5511" fmla="*/ 2636496 h 6479439"/>
              <a:gd name="connsiteX5512" fmla="*/ 1679212 w 9586368"/>
              <a:gd name="connsiteY5512" fmla="*/ 2632457 h 6479439"/>
              <a:gd name="connsiteX5513" fmla="*/ 1689122 w 9586368"/>
              <a:gd name="connsiteY5513" fmla="*/ 2632457 h 6479439"/>
              <a:gd name="connsiteX5514" fmla="*/ 1693141 w 9586368"/>
              <a:gd name="connsiteY5514" fmla="*/ 2636496 h 6479439"/>
              <a:gd name="connsiteX5515" fmla="*/ 1693141 w 9586368"/>
              <a:gd name="connsiteY5515" fmla="*/ 2646366 h 6479439"/>
              <a:gd name="connsiteX5516" fmla="*/ 1689122 w 9586368"/>
              <a:gd name="connsiteY5516" fmla="*/ 2650405 h 6479439"/>
              <a:gd name="connsiteX5517" fmla="*/ 1679212 w 9586368"/>
              <a:gd name="connsiteY5517" fmla="*/ 2650405 h 6479439"/>
              <a:gd name="connsiteX5518" fmla="*/ 1675193 w 9586368"/>
              <a:gd name="connsiteY5518" fmla="*/ 2646366 h 6479439"/>
              <a:gd name="connsiteX5519" fmla="*/ 1675193 w 9586368"/>
              <a:gd name="connsiteY5519" fmla="*/ 2636496 h 6479439"/>
              <a:gd name="connsiteX5520" fmla="*/ 1439896 w 9586368"/>
              <a:gd name="connsiteY5520" fmla="*/ 2632457 h 6479439"/>
              <a:gd name="connsiteX5521" fmla="*/ 1449806 w 9586368"/>
              <a:gd name="connsiteY5521" fmla="*/ 2632457 h 6479439"/>
              <a:gd name="connsiteX5522" fmla="*/ 1453824 w 9586368"/>
              <a:gd name="connsiteY5522" fmla="*/ 2636496 h 6479439"/>
              <a:gd name="connsiteX5523" fmla="*/ 1453824 w 9586368"/>
              <a:gd name="connsiteY5523" fmla="*/ 2646366 h 6479439"/>
              <a:gd name="connsiteX5524" fmla="*/ 1449806 w 9586368"/>
              <a:gd name="connsiteY5524" fmla="*/ 2650405 h 6479439"/>
              <a:gd name="connsiteX5525" fmla="*/ 1439896 w 9586368"/>
              <a:gd name="connsiteY5525" fmla="*/ 2650405 h 6479439"/>
              <a:gd name="connsiteX5526" fmla="*/ 1435876 w 9586368"/>
              <a:gd name="connsiteY5526" fmla="*/ 2646366 h 6479439"/>
              <a:gd name="connsiteX5527" fmla="*/ 1435876 w 9586368"/>
              <a:gd name="connsiteY5527" fmla="*/ 2636496 h 6479439"/>
              <a:gd name="connsiteX5528" fmla="*/ 1200580 w 9586368"/>
              <a:gd name="connsiteY5528" fmla="*/ 2632457 h 6479439"/>
              <a:gd name="connsiteX5529" fmla="*/ 1210490 w 9586368"/>
              <a:gd name="connsiteY5529" fmla="*/ 2632457 h 6479439"/>
              <a:gd name="connsiteX5530" fmla="*/ 1214509 w 9586368"/>
              <a:gd name="connsiteY5530" fmla="*/ 2636496 h 6479439"/>
              <a:gd name="connsiteX5531" fmla="*/ 1214509 w 9586368"/>
              <a:gd name="connsiteY5531" fmla="*/ 2646366 h 6479439"/>
              <a:gd name="connsiteX5532" fmla="*/ 1210490 w 9586368"/>
              <a:gd name="connsiteY5532" fmla="*/ 2650405 h 6479439"/>
              <a:gd name="connsiteX5533" fmla="*/ 1200580 w 9586368"/>
              <a:gd name="connsiteY5533" fmla="*/ 2650405 h 6479439"/>
              <a:gd name="connsiteX5534" fmla="*/ 1196561 w 9586368"/>
              <a:gd name="connsiteY5534" fmla="*/ 2646366 h 6479439"/>
              <a:gd name="connsiteX5535" fmla="*/ 1196561 w 9586368"/>
              <a:gd name="connsiteY5535" fmla="*/ 2636496 h 6479439"/>
              <a:gd name="connsiteX5536" fmla="*/ 961267 w 9586368"/>
              <a:gd name="connsiteY5536" fmla="*/ 2632457 h 6479439"/>
              <a:gd name="connsiteX5537" fmla="*/ 971178 w 9586368"/>
              <a:gd name="connsiteY5537" fmla="*/ 2632457 h 6479439"/>
              <a:gd name="connsiteX5538" fmla="*/ 975196 w 9586368"/>
              <a:gd name="connsiteY5538" fmla="*/ 2636496 h 6479439"/>
              <a:gd name="connsiteX5539" fmla="*/ 975196 w 9586368"/>
              <a:gd name="connsiteY5539" fmla="*/ 2646366 h 6479439"/>
              <a:gd name="connsiteX5540" fmla="*/ 971178 w 9586368"/>
              <a:gd name="connsiteY5540" fmla="*/ 2650405 h 6479439"/>
              <a:gd name="connsiteX5541" fmla="*/ 961267 w 9586368"/>
              <a:gd name="connsiteY5541" fmla="*/ 2650405 h 6479439"/>
              <a:gd name="connsiteX5542" fmla="*/ 957249 w 9586368"/>
              <a:gd name="connsiteY5542" fmla="*/ 2646366 h 6479439"/>
              <a:gd name="connsiteX5543" fmla="*/ 957249 w 9586368"/>
              <a:gd name="connsiteY5543" fmla="*/ 2636496 h 6479439"/>
              <a:gd name="connsiteX5544" fmla="*/ 721970 w 9586368"/>
              <a:gd name="connsiteY5544" fmla="*/ 2632457 h 6479439"/>
              <a:gd name="connsiteX5545" fmla="*/ 731879 w 9586368"/>
              <a:gd name="connsiteY5545" fmla="*/ 2632457 h 6479439"/>
              <a:gd name="connsiteX5546" fmla="*/ 735898 w 9586368"/>
              <a:gd name="connsiteY5546" fmla="*/ 2636496 h 6479439"/>
              <a:gd name="connsiteX5547" fmla="*/ 735898 w 9586368"/>
              <a:gd name="connsiteY5547" fmla="*/ 2646366 h 6479439"/>
              <a:gd name="connsiteX5548" fmla="*/ 731879 w 9586368"/>
              <a:gd name="connsiteY5548" fmla="*/ 2650405 h 6479439"/>
              <a:gd name="connsiteX5549" fmla="*/ 721970 w 9586368"/>
              <a:gd name="connsiteY5549" fmla="*/ 2650405 h 6479439"/>
              <a:gd name="connsiteX5550" fmla="*/ 717951 w 9586368"/>
              <a:gd name="connsiteY5550" fmla="*/ 2646366 h 6479439"/>
              <a:gd name="connsiteX5551" fmla="*/ 717951 w 9586368"/>
              <a:gd name="connsiteY5551" fmla="*/ 2636496 h 6479439"/>
              <a:gd name="connsiteX5552" fmla="*/ 482657 w 9586368"/>
              <a:gd name="connsiteY5552" fmla="*/ 2632457 h 6479439"/>
              <a:gd name="connsiteX5553" fmla="*/ 492567 w 9586368"/>
              <a:gd name="connsiteY5553" fmla="*/ 2632457 h 6479439"/>
              <a:gd name="connsiteX5554" fmla="*/ 496586 w 9586368"/>
              <a:gd name="connsiteY5554" fmla="*/ 2636496 h 6479439"/>
              <a:gd name="connsiteX5555" fmla="*/ 496586 w 9586368"/>
              <a:gd name="connsiteY5555" fmla="*/ 2646366 h 6479439"/>
              <a:gd name="connsiteX5556" fmla="*/ 492567 w 9586368"/>
              <a:gd name="connsiteY5556" fmla="*/ 2650405 h 6479439"/>
              <a:gd name="connsiteX5557" fmla="*/ 482657 w 9586368"/>
              <a:gd name="connsiteY5557" fmla="*/ 2650405 h 6479439"/>
              <a:gd name="connsiteX5558" fmla="*/ 478638 w 9586368"/>
              <a:gd name="connsiteY5558" fmla="*/ 2646366 h 6479439"/>
              <a:gd name="connsiteX5559" fmla="*/ 478638 w 9586368"/>
              <a:gd name="connsiteY5559" fmla="*/ 2636496 h 6479439"/>
              <a:gd name="connsiteX5560" fmla="*/ 243344 w 9586368"/>
              <a:gd name="connsiteY5560" fmla="*/ 2632457 h 6479439"/>
              <a:gd name="connsiteX5561" fmla="*/ 253254 w 9586368"/>
              <a:gd name="connsiteY5561" fmla="*/ 2632457 h 6479439"/>
              <a:gd name="connsiteX5562" fmla="*/ 257273 w 9586368"/>
              <a:gd name="connsiteY5562" fmla="*/ 2636496 h 6479439"/>
              <a:gd name="connsiteX5563" fmla="*/ 257273 w 9586368"/>
              <a:gd name="connsiteY5563" fmla="*/ 2646366 h 6479439"/>
              <a:gd name="connsiteX5564" fmla="*/ 253254 w 9586368"/>
              <a:gd name="connsiteY5564" fmla="*/ 2650405 h 6479439"/>
              <a:gd name="connsiteX5565" fmla="*/ 243344 w 9586368"/>
              <a:gd name="connsiteY5565" fmla="*/ 2650405 h 6479439"/>
              <a:gd name="connsiteX5566" fmla="*/ 239325 w 9586368"/>
              <a:gd name="connsiteY5566" fmla="*/ 2646366 h 6479439"/>
              <a:gd name="connsiteX5567" fmla="*/ 239325 w 9586368"/>
              <a:gd name="connsiteY5567" fmla="*/ 2636496 h 6479439"/>
              <a:gd name="connsiteX5568" fmla="*/ 4030 w 9586368"/>
              <a:gd name="connsiteY5568" fmla="*/ 2632457 h 6479439"/>
              <a:gd name="connsiteX5569" fmla="*/ 13941 w 9586368"/>
              <a:gd name="connsiteY5569" fmla="*/ 2632457 h 6479439"/>
              <a:gd name="connsiteX5570" fmla="*/ 17960 w 9586368"/>
              <a:gd name="connsiteY5570" fmla="*/ 2636496 h 6479439"/>
              <a:gd name="connsiteX5571" fmla="*/ 17960 w 9586368"/>
              <a:gd name="connsiteY5571" fmla="*/ 2646366 h 6479439"/>
              <a:gd name="connsiteX5572" fmla="*/ 13941 w 9586368"/>
              <a:gd name="connsiteY5572" fmla="*/ 2650405 h 6479439"/>
              <a:gd name="connsiteX5573" fmla="*/ 4030 w 9586368"/>
              <a:gd name="connsiteY5573" fmla="*/ 2650405 h 6479439"/>
              <a:gd name="connsiteX5574" fmla="*/ 11 w 9586368"/>
              <a:gd name="connsiteY5574" fmla="*/ 2646366 h 6479439"/>
              <a:gd name="connsiteX5575" fmla="*/ 11 w 9586368"/>
              <a:gd name="connsiteY5575" fmla="*/ 2636496 h 6479439"/>
              <a:gd name="connsiteX5576" fmla="*/ 2157821 w 9586368"/>
              <a:gd name="connsiteY5576" fmla="*/ 2393178 h 6479439"/>
              <a:gd name="connsiteX5577" fmla="*/ 2167732 w 9586368"/>
              <a:gd name="connsiteY5577" fmla="*/ 2393178 h 6479439"/>
              <a:gd name="connsiteX5578" fmla="*/ 2171750 w 9586368"/>
              <a:gd name="connsiteY5578" fmla="*/ 2397216 h 6479439"/>
              <a:gd name="connsiteX5579" fmla="*/ 2171750 w 9586368"/>
              <a:gd name="connsiteY5579" fmla="*/ 2407087 h 6479439"/>
              <a:gd name="connsiteX5580" fmla="*/ 2167732 w 9586368"/>
              <a:gd name="connsiteY5580" fmla="*/ 2411126 h 6479439"/>
              <a:gd name="connsiteX5581" fmla="*/ 2157821 w 9586368"/>
              <a:gd name="connsiteY5581" fmla="*/ 2411126 h 6479439"/>
              <a:gd name="connsiteX5582" fmla="*/ 2153802 w 9586368"/>
              <a:gd name="connsiteY5582" fmla="*/ 2407087 h 6479439"/>
              <a:gd name="connsiteX5583" fmla="*/ 2153802 w 9586368"/>
              <a:gd name="connsiteY5583" fmla="*/ 2397216 h 6479439"/>
              <a:gd name="connsiteX5584" fmla="*/ 1918513 w 9586368"/>
              <a:gd name="connsiteY5584" fmla="*/ 2393178 h 6479439"/>
              <a:gd name="connsiteX5585" fmla="*/ 1928422 w 9586368"/>
              <a:gd name="connsiteY5585" fmla="*/ 2393178 h 6479439"/>
              <a:gd name="connsiteX5586" fmla="*/ 1932443 w 9586368"/>
              <a:gd name="connsiteY5586" fmla="*/ 2397216 h 6479439"/>
              <a:gd name="connsiteX5587" fmla="*/ 1932443 w 9586368"/>
              <a:gd name="connsiteY5587" fmla="*/ 2407087 h 6479439"/>
              <a:gd name="connsiteX5588" fmla="*/ 1928422 w 9586368"/>
              <a:gd name="connsiteY5588" fmla="*/ 2411126 h 6479439"/>
              <a:gd name="connsiteX5589" fmla="*/ 1918513 w 9586368"/>
              <a:gd name="connsiteY5589" fmla="*/ 2411126 h 6479439"/>
              <a:gd name="connsiteX5590" fmla="*/ 1914494 w 9586368"/>
              <a:gd name="connsiteY5590" fmla="*/ 2407087 h 6479439"/>
              <a:gd name="connsiteX5591" fmla="*/ 1914494 w 9586368"/>
              <a:gd name="connsiteY5591" fmla="*/ 2397216 h 6479439"/>
              <a:gd name="connsiteX5592" fmla="*/ 1679212 w 9586368"/>
              <a:gd name="connsiteY5592" fmla="*/ 2393178 h 6479439"/>
              <a:gd name="connsiteX5593" fmla="*/ 1689123 w 9586368"/>
              <a:gd name="connsiteY5593" fmla="*/ 2393178 h 6479439"/>
              <a:gd name="connsiteX5594" fmla="*/ 1693142 w 9586368"/>
              <a:gd name="connsiteY5594" fmla="*/ 2397216 h 6479439"/>
              <a:gd name="connsiteX5595" fmla="*/ 1693142 w 9586368"/>
              <a:gd name="connsiteY5595" fmla="*/ 2407087 h 6479439"/>
              <a:gd name="connsiteX5596" fmla="*/ 1689123 w 9586368"/>
              <a:gd name="connsiteY5596" fmla="*/ 2411126 h 6479439"/>
              <a:gd name="connsiteX5597" fmla="*/ 1679212 w 9586368"/>
              <a:gd name="connsiteY5597" fmla="*/ 2411126 h 6479439"/>
              <a:gd name="connsiteX5598" fmla="*/ 1675194 w 9586368"/>
              <a:gd name="connsiteY5598" fmla="*/ 2407087 h 6479439"/>
              <a:gd name="connsiteX5599" fmla="*/ 1675194 w 9586368"/>
              <a:gd name="connsiteY5599" fmla="*/ 2397216 h 6479439"/>
              <a:gd name="connsiteX5600" fmla="*/ 1439896 w 9586368"/>
              <a:gd name="connsiteY5600" fmla="*/ 2393178 h 6479439"/>
              <a:gd name="connsiteX5601" fmla="*/ 1449806 w 9586368"/>
              <a:gd name="connsiteY5601" fmla="*/ 2393178 h 6479439"/>
              <a:gd name="connsiteX5602" fmla="*/ 1453826 w 9586368"/>
              <a:gd name="connsiteY5602" fmla="*/ 2397216 h 6479439"/>
              <a:gd name="connsiteX5603" fmla="*/ 1453826 w 9586368"/>
              <a:gd name="connsiteY5603" fmla="*/ 2407087 h 6479439"/>
              <a:gd name="connsiteX5604" fmla="*/ 1449806 w 9586368"/>
              <a:gd name="connsiteY5604" fmla="*/ 2411126 h 6479439"/>
              <a:gd name="connsiteX5605" fmla="*/ 1439896 w 9586368"/>
              <a:gd name="connsiteY5605" fmla="*/ 2411126 h 6479439"/>
              <a:gd name="connsiteX5606" fmla="*/ 1435878 w 9586368"/>
              <a:gd name="connsiteY5606" fmla="*/ 2407087 h 6479439"/>
              <a:gd name="connsiteX5607" fmla="*/ 1435878 w 9586368"/>
              <a:gd name="connsiteY5607" fmla="*/ 2397216 h 6479439"/>
              <a:gd name="connsiteX5608" fmla="*/ 1200580 w 9586368"/>
              <a:gd name="connsiteY5608" fmla="*/ 2393178 h 6479439"/>
              <a:gd name="connsiteX5609" fmla="*/ 1210491 w 9586368"/>
              <a:gd name="connsiteY5609" fmla="*/ 2393178 h 6479439"/>
              <a:gd name="connsiteX5610" fmla="*/ 1214510 w 9586368"/>
              <a:gd name="connsiteY5610" fmla="*/ 2397216 h 6479439"/>
              <a:gd name="connsiteX5611" fmla="*/ 1214510 w 9586368"/>
              <a:gd name="connsiteY5611" fmla="*/ 2407087 h 6479439"/>
              <a:gd name="connsiteX5612" fmla="*/ 1210491 w 9586368"/>
              <a:gd name="connsiteY5612" fmla="*/ 2411126 h 6479439"/>
              <a:gd name="connsiteX5613" fmla="*/ 1200580 w 9586368"/>
              <a:gd name="connsiteY5613" fmla="*/ 2411126 h 6479439"/>
              <a:gd name="connsiteX5614" fmla="*/ 1196562 w 9586368"/>
              <a:gd name="connsiteY5614" fmla="*/ 2407087 h 6479439"/>
              <a:gd name="connsiteX5615" fmla="*/ 1196562 w 9586368"/>
              <a:gd name="connsiteY5615" fmla="*/ 2397216 h 6479439"/>
              <a:gd name="connsiteX5616" fmla="*/ 961268 w 9586368"/>
              <a:gd name="connsiteY5616" fmla="*/ 2393178 h 6479439"/>
              <a:gd name="connsiteX5617" fmla="*/ 971178 w 9586368"/>
              <a:gd name="connsiteY5617" fmla="*/ 2393178 h 6479439"/>
              <a:gd name="connsiteX5618" fmla="*/ 975196 w 9586368"/>
              <a:gd name="connsiteY5618" fmla="*/ 2397216 h 6479439"/>
              <a:gd name="connsiteX5619" fmla="*/ 975196 w 9586368"/>
              <a:gd name="connsiteY5619" fmla="*/ 2407087 h 6479439"/>
              <a:gd name="connsiteX5620" fmla="*/ 971178 w 9586368"/>
              <a:gd name="connsiteY5620" fmla="*/ 2411126 h 6479439"/>
              <a:gd name="connsiteX5621" fmla="*/ 961268 w 9586368"/>
              <a:gd name="connsiteY5621" fmla="*/ 2411126 h 6479439"/>
              <a:gd name="connsiteX5622" fmla="*/ 957249 w 9586368"/>
              <a:gd name="connsiteY5622" fmla="*/ 2407087 h 6479439"/>
              <a:gd name="connsiteX5623" fmla="*/ 957249 w 9586368"/>
              <a:gd name="connsiteY5623" fmla="*/ 2397216 h 6479439"/>
              <a:gd name="connsiteX5624" fmla="*/ 9572438 w 9586368"/>
              <a:gd name="connsiteY5624" fmla="*/ 2393127 h 6479439"/>
              <a:gd name="connsiteX5625" fmla="*/ 9582349 w 9586368"/>
              <a:gd name="connsiteY5625" fmla="*/ 2393127 h 6479439"/>
              <a:gd name="connsiteX5626" fmla="*/ 9586368 w 9586368"/>
              <a:gd name="connsiteY5626" fmla="*/ 2397165 h 6479439"/>
              <a:gd name="connsiteX5627" fmla="*/ 9586368 w 9586368"/>
              <a:gd name="connsiteY5627" fmla="*/ 2407036 h 6479439"/>
              <a:gd name="connsiteX5628" fmla="*/ 9582349 w 9586368"/>
              <a:gd name="connsiteY5628" fmla="*/ 2411074 h 6479439"/>
              <a:gd name="connsiteX5629" fmla="*/ 9572438 w 9586368"/>
              <a:gd name="connsiteY5629" fmla="*/ 2411074 h 6479439"/>
              <a:gd name="connsiteX5630" fmla="*/ 9568419 w 9586368"/>
              <a:gd name="connsiteY5630" fmla="*/ 2407036 h 6479439"/>
              <a:gd name="connsiteX5631" fmla="*/ 9568419 w 9586368"/>
              <a:gd name="connsiteY5631" fmla="*/ 2397165 h 6479439"/>
              <a:gd name="connsiteX5632" fmla="*/ 9333125 w 9586368"/>
              <a:gd name="connsiteY5632" fmla="*/ 2393127 h 6479439"/>
              <a:gd name="connsiteX5633" fmla="*/ 9343036 w 9586368"/>
              <a:gd name="connsiteY5633" fmla="*/ 2393127 h 6479439"/>
              <a:gd name="connsiteX5634" fmla="*/ 9347055 w 9586368"/>
              <a:gd name="connsiteY5634" fmla="*/ 2397165 h 6479439"/>
              <a:gd name="connsiteX5635" fmla="*/ 9347055 w 9586368"/>
              <a:gd name="connsiteY5635" fmla="*/ 2407036 h 6479439"/>
              <a:gd name="connsiteX5636" fmla="*/ 9343036 w 9586368"/>
              <a:gd name="connsiteY5636" fmla="*/ 2411074 h 6479439"/>
              <a:gd name="connsiteX5637" fmla="*/ 9333125 w 9586368"/>
              <a:gd name="connsiteY5637" fmla="*/ 2411074 h 6479439"/>
              <a:gd name="connsiteX5638" fmla="*/ 9329106 w 9586368"/>
              <a:gd name="connsiteY5638" fmla="*/ 2407036 h 6479439"/>
              <a:gd name="connsiteX5639" fmla="*/ 9329106 w 9586368"/>
              <a:gd name="connsiteY5639" fmla="*/ 2397165 h 6479439"/>
              <a:gd name="connsiteX5640" fmla="*/ 9093811 w 9586368"/>
              <a:gd name="connsiteY5640" fmla="*/ 2393127 h 6479439"/>
              <a:gd name="connsiteX5641" fmla="*/ 9103722 w 9586368"/>
              <a:gd name="connsiteY5641" fmla="*/ 2393127 h 6479439"/>
              <a:gd name="connsiteX5642" fmla="*/ 9107741 w 9586368"/>
              <a:gd name="connsiteY5642" fmla="*/ 2397165 h 6479439"/>
              <a:gd name="connsiteX5643" fmla="*/ 9107741 w 9586368"/>
              <a:gd name="connsiteY5643" fmla="*/ 2407036 h 6479439"/>
              <a:gd name="connsiteX5644" fmla="*/ 9103722 w 9586368"/>
              <a:gd name="connsiteY5644" fmla="*/ 2411074 h 6479439"/>
              <a:gd name="connsiteX5645" fmla="*/ 9093811 w 9586368"/>
              <a:gd name="connsiteY5645" fmla="*/ 2411074 h 6479439"/>
              <a:gd name="connsiteX5646" fmla="*/ 9089792 w 9586368"/>
              <a:gd name="connsiteY5646" fmla="*/ 2407036 h 6479439"/>
              <a:gd name="connsiteX5647" fmla="*/ 9089792 w 9586368"/>
              <a:gd name="connsiteY5647" fmla="*/ 2397165 h 6479439"/>
              <a:gd name="connsiteX5648" fmla="*/ 8854496 w 9586368"/>
              <a:gd name="connsiteY5648" fmla="*/ 2393127 h 6479439"/>
              <a:gd name="connsiteX5649" fmla="*/ 8864407 w 9586368"/>
              <a:gd name="connsiteY5649" fmla="*/ 2393127 h 6479439"/>
              <a:gd name="connsiteX5650" fmla="*/ 8868426 w 9586368"/>
              <a:gd name="connsiteY5650" fmla="*/ 2397165 h 6479439"/>
              <a:gd name="connsiteX5651" fmla="*/ 8868426 w 9586368"/>
              <a:gd name="connsiteY5651" fmla="*/ 2407036 h 6479439"/>
              <a:gd name="connsiteX5652" fmla="*/ 8864407 w 9586368"/>
              <a:gd name="connsiteY5652" fmla="*/ 2411074 h 6479439"/>
              <a:gd name="connsiteX5653" fmla="*/ 8854496 w 9586368"/>
              <a:gd name="connsiteY5653" fmla="*/ 2411074 h 6479439"/>
              <a:gd name="connsiteX5654" fmla="*/ 8850477 w 9586368"/>
              <a:gd name="connsiteY5654" fmla="*/ 2407036 h 6479439"/>
              <a:gd name="connsiteX5655" fmla="*/ 8850477 w 9586368"/>
              <a:gd name="connsiteY5655" fmla="*/ 2397165 h 6479439"/>
              <a:gd name="connsiteX5656" fmla="*/ 8615184 w 9586368"/>
              <a:gd name="connsiteY5656" fmla="*/ 2393127 h 6479439"/>
              <a:gd name="connsiteX5657" fmla="*/ 8625095 w 9586368"/>
              <a:gd name="connsiteY5657" fmla="*/ 2393127 h 6479439"/>
              <a:gd name="connsiteX5658" fmla="*/ 8629114 w 9586368"/>
              <a:gd name="connsiteY5658" fmla="*/ 2397165 h 6479439"/>
              <a:gd name="connsiteX5659" fmla="*/ 8629114 w 9586368"/>
              <a:gd name="connsiteY5659" fmla="*/ 2407036 h 6479439"/>
              <a:gd name="connsiteX5660" fmla="*/ 8625095 w 9586368"/>
              <a:gd name="connsiteY5660" fmla="*/ 2411074 h 6479439"/>
              <a:gd name="connsiteX5661" fmla="*/ 8615184 w 9586368"/>
              <a:gd name="connsiteY5661" fmla="*/ 2411074 h 6479439"/>
              <a:gd name="connsiteX5662" fmla="*/ 8611165 w 9586368"/>
              <a:gd name="connsiteY5662" fmla="*/ 2407036 h 6479439"/>
              <a:gd name="connsiteX5663" fmla="*/ 8611165 w 9586368"/>
              <a:gd name="connsiteY5663" fmla="*/ 2397165 h 6479439"/>
              <a:gd name="connsiteX5664" fmla="*/ 8375869 w 9586368"/>
              <a:gd name="connsiteY5664" fmla="*/ 2393127 h 6479439"/>
              <a:gd name="connsiteX5665" fmla="*/ 8385779 w 9586368"/>
              <a:gd name="connsiteY5665" fmla="*/ 2393127 h 6479439"/>
              <a:gd name="connsiteX5666" fmla="*/ 8389799 w 9586368"/>
              <a:gd name="connsiteY5666" fmla="*/ 2397165 h 6479439"/>
              <a:gd name="connsiteX5667" fmla="*/ 8389799 w 9586368"/>
              <a:gd name="connsiteY5667" fmla="*/ 2407036 h 6479439"/>
              <a:gd name="connsiteX5668" fmla="*/ 8385779 w 9586368"/>
              <a:gd name="connsiteY5668" fmla="*/ 2411074 h 6479439"/>
              <a:gd name="connsiteX5669" fmla="*/ 8375869 w 9586368"/>
              <a:gd name="connsiteY5669" fmla="*/ 2411074 h 6479439"/>
              <a:gd name="connsiteX5670" fmla="*/ 8371850 w 9586368"/>
              <a:gd name="connsiteY5670" fmla="*/ 2407036 h 6479439"/>
              <a:gd name="connsiteX5671" fmla="*/ 8371850 w 9586368"/>
              <a:gd name="connsiteY5671" fmla="*/ 2397165 h 6479439"/>
              <a:gd name="connsiteX5672" fmla="*/ 8136553 w 9586368"/>
              <a:gd name="connsiteY5672" fmla="*/ 2393127 h 6479439"/>
              <a:gd name="connsiteX5673" fmla="*/ 8146464 w 9586368"/>
              <a:gd name="connsiteY5673" fmla="*/ 2393127 h 6479439"/>
              <a:gd name="connsiteX5674" fmla="*/ 8150483 w 9586368"/>
              <a:gd name="connsiteY5674" fmla="*/ 2397165 h 6479439"/>
              <a:gd name="connsiteX5675" fmla="*/ 8150483 w 9586368"/>
              <a:gd name="connsiteY5675" fmla="*/ 2407036 h 6479439"/>
              <a:gd name="connsiteX5676" fmla="*/ 8146464 w 9586368"/>
              <a:gd name="connsiteY5676" fmla="*/ 2411074 h 6479439"/>
              <a:gd name="connsiteX5677" fmla="*/ 8136553 w 9586368"/>
              <a:gd name="connsiteY5677" fmla="*/ 2411074 h 6479439"/>
              <a:gd name="connsiteX5678" fmla="*/ 8132534 w 9586368"/>
              <a:gd name="connsiteY5678" fmla="*/ 2407036 h 6479439"/>
              <a:gd name="connsiteX5679" fmla="*/ 8132534 w 9586368"/>
              <a:gd name="connsiteY5679" fmla="*/ 2397165 h 6479439"/>
              <a:gd name="connsiteX5680" fmla="*/ 7897241 w 9586368"/>
              <a:gd name="connsiteY5680" fmla="*/ 2393127 h 6479439"/>
              <a:gd name="connsiteX5681" fmla="*/ 7907151 w 9586368"/>
              <a:gd name="connsiteY5681" fmla="*/ 2393127 h 6479439"/>
              <a:gd name="connsiteX5682" fmla="*/ 7911170 w 9586368"/>
              <a:gd name="connsiteY5682" fmla="*/ 2397165 h 6479439"/>
              <a:gd name="connsiteX5683" fmla="*/ 7911170 w 9586368"/>
              <a:gd name="connsiteY5683" fmla="*/ 2407036 h 6479439"/>
              <a:gd name="connsiteX5684" fmla="*/ 7907151 w 9586368"/>
              <a:gd name="connsiteY5684" fmla="*/ 2411074 h 6479439"/>
              <a:gd name="connsiteX5685" fmla="*/ 7897241 w 9586368"/>
              <a:gd name="connsiteY5685" fmla="*/ 2411074 h 6479439"/>
              <a:gd name="connsiteX5686" fmla="*/ 7893222 w 9586368"/>
              <a:gd name="connsiteY5686" fmla="*/ 2407036 h 6479439"/>
              <a:gd name="connsiteX5687" fmla="*/ 7893222 w 9586368"/>
              <a:gd name="connsiteY5687" fmla="*/ 2397165 h 6479439"/>
              <a:gd name="connsiteX5688" fmla="*/ 7657926 w 9586368"/>
              <a:gd name="connsiteY5688" fmla="*/ 2393127 h 6479439"/>
              <a:gd name="connsiteX5689" fmla="*/ 7667836 w 9586368"/>
              <a:gd name="connsiteY5689" fmla="*/ 2393127 h 6479439"/>
              <a:gd name="connsiteX5690" fmla="*/ 7671855 w 9586368"/>
              <a:gd name="connsiteY5690" fmla="*/ 2397165 h 6479439"/>
              <a:gd name="connsiteX5691" fmla="*/ 7671855 w 9586368"/>
              <a:gd name="connsiteY5691" fmla="*/ 2407036 h 6479439"/>
              <a:gd name="connsiteX5692" fmla="*/ 7667836 w 9586368"/>
              <a:gd name="connsiteY5692" fmla="*/ 2411074 h 6479439"/>
              <a:gd name="connsiteX5693" fmla="*/ 7657926 w 9586368"/>
              <a:gd name="connsiteY5693" fmla="*/ 2411074 h 6479439"/>
              <a:gd name="connsiteX5694" fmla="*/ 7653906 w 9586368"/>
              <a:gd name="connsiteY5694" fmla="*/ 2407036 h 6479439"/>
              <a:gd name="connsiteX5695" fmla="*/ 7653906 w 9586368"/>
              <a:gd name="connsiteY5695" fmla="*/ 2397165 h 6479439"/>
              <a:gd name="connsiteX5696" fmla="*/ 7418611 w 9586368"/>
              <a:gd name="connsiteY5696" fmla="*/ 2393127 h 6479439"/>
              <a:gd name="connsiteX5697" fmla="*/ 7428521 w 9586368"/>
              <a:gd name="connsiteY5697" fmla="*/ 2393127 h 6479439"/>
              <a:gd name="connsiteX5698" fmla="*/ 7432540 w 9586368"/>
              <a:gd name="connsiteY5698" fmla="*/ 2397165 h 6479439"/>
              <a:gd name="connsiteX5699" fmla="*/ 7432540 w 9586368"/>
              <a:gd name="connsiteY5699" fmla="*/ 2407036 h 6479439"/>
              <a:gd name="connsiteX5700" fmla="*/ 7428521 w 9586368"/>
              <a:gd name="connsiteY5700" fmla="*/ 2411074 h 6479439"/>
              <a:gd name="connsiteX5701" fmla="*/ 7418611 w 9586368"/>
              <a:gd name="connsiteY5701" fmla="*/ 2411074 h 6479439"/>
              <a:gd name="connsiteX5702" fmla="*/ 7414592 w 9586368"/>
              <a:gd name="connsiteY5702" fmla="*/ 2407036 h 6479439"/>
              <a:gd name="connsiteX5703" fmla="*/ 7414592 w 9586368"/>
              <a:gd name="connsiteY5703" fmla="*/ 2397165 h 6479439"/>
              <a:gd name="connsiteX5704" fmla="*/ 7179298 w 9586368"/>
              <a:gd name="connsiteY5704" fmla="*/ 2393127 h 6479439"/>
              <a:gd name="connsiteX5705" fmla="*/ 7189209 w 9586368"/>
              <a:gd name="connsiteY5705" fmla="*/ 2393127 h 6479439"/>
              <a:gd name="connsiteX5706" fmla="*/ 7193228 w 9586368"/>
              <a:gd name="connsiteY5706" fmla="*/ 2397165 h 6479439"/>
              <a:gd name="connsiteX5707" fmla="*/ 7193228 w 9586368"/>
              <a:gd name="connsiteY5707" fmla="*/ 2407036 h 6479439"/>
              <a:gd name="connsiteX5708" fmla="*/ 7189209 w 9586368"/>
              <a:gd name="connsiteY5708" fmla="*/ 2411074 h 6479439"/>
              <a:gd name="connsiteX5709" fmla="*/ 7179298 w 9586368"/>
              <a:gd name="connsiteY5709" fmla="*/ 2411074 h 6479439"/>
              <a:gd name="connsiteX5710" fmla="*/ 7175279 w 9586368"/>
              <a:gd name="connsiteY5710" fmla="*/ 2407036 h 6479439"/>
              <a:gd name="connsiteX5711" fmla="*/ 7175279 w 9586368"/>
              <a:gd name="connsiteY5711" fmla="*/ 2397165 h 6479439"/>
              <a:gd name="connsiteX5712" fmla="*/ 6939983 w 9586368"/>
              <a:gd name="connsiteY5712" fmla="*/ 2393127 h 6479439"/>
              <a:gd name="connsiteX5713" fmla="*/ 6949894 w 9586368"/>
              <a:gd name="connsiteY5713" fmla="*/ 2393127 h 6479439"/>
              <a:gd name="connsiteX5714" fmla="*/ 6953913 w 9586368"/>
              <a:gd name="connsiteY5714" fmla="*/ 2397165 h 6479439"/>
              <a:gd name="connsiteX5715" fmla="*/ 6953913 w 9586368"/>
              <a:gd name="connsiteY5715" fmla="*/ 2407036 h 6479439"/>
              <a:gd name="connsiteX5716" fmla="*/ 6949894 w 9586368"/>
              <a:gd name="connsiteY5716" fmla="*/ 2411074 h 6479439"/>
              <a:gd name="connsiteX5717" fmla="*/ 6939983 w 9586368"/>
              <a:gd name="connsiteY5717" fmla="*/ 2411074 h 6479439"/>
              <a:gd name="connsiteX5718" fmla="*/ 6935964 w 9586368"/>
              <a:gd name="connsiteY5718" fmla="*/ 2407036 h 6479439"/>
              <a:gd name="connsiteX5719" fmla="*/ 6935964 w 9586368"/>
              <a:gd name="connsiteY5719" fmla="*/ 2397165 h 6479439"/>
              <a:gd name="connsiteX5720" fmla="*/ 6700670 w 9586368"/>
              <a:gd name="connsiteY5720" fmla="*/ 2393127 h 6479439"/>
              <a:gd name="connsiteX5721" fmla="*/ 6710581 w 9586368"/>
              <a:gd name="connsiteY5721" fmla="*/ 2393127 h 6479439"/>
              <a:gd name="connsiteX5722" fmla="*/ 6714600 w 9586368"/>
              <a:gd name="connsiteY5722" fmla="*/ 2397165 h 6479439"/>
              <a:gd name="connsiteX5723" fmla="*/ 6714600 w 9586368"/>
              <a:gd name="connsiteY5723" fmla="*/ 2407036 h 6479439"/>
              <a:gd name="connsiteX5724" fmla="*/ 6710581 w 9586368"/>
              <a:gd name="connsiteY5724" fmla="*/ 2411074 h 6479439"/>
              <a:gd name="connsiteX5725" fmla="*/ 6700670 w 9586368"/>
              <a:gd name="connsiteY5725" fmla="*/ 2411074 h 6479439"/>
              <a:gd name="connsiteX5726" fmla="*/ 6696651 w 9586368"/>
              <a:gd name="connsiteY5726" fmla="*/ 2407036 h 6479439"/>
              <a:gd name="connsiteX5727" fmla="*/ 6696651 w 9586368"/>
              <a:gd name="connsiteY5727" fmla="*/ 2397165 h 6479439"/>
              <a:gd name="connsiteX5728" fmla="*/ 6461356 w 9586368"/>
              <a:gd name="connsiteY5728" fmla="*/ 2393127 h 6479439"/>
              <a:gd name="connsiteX5729" fmla="*/ 6471266 w 9586368"/>
              <a:gd name="connsiteY5729" fmla="*/ 2393127 h 6479439"/>
              <a:gd name="connsiteX5730" fmla="*/ 6475285 w 9586368"/>
              <a:gd name="connsiteY5730" fmla="*/ 2397165 h 6479439"/>
              <a:gd name="connsiteX5731" fmla="*/ 6475285 w 9586368"/>
              <a:gd name="connsiteY5731" fmla="*/ 2407036 h 6479439"/>
              <a:gd name="connsiteX5732" fmla="*/ 6471266 w 9586368"/>
              <a:gd name="connsiteY5732" fmla="*/ 2411074 h 6479439"/>
              <a:gd name="connsiteX5733" fmla="*/ 6461356 w 9586368"/>
              <a:gd name="connsiteY5733" fmla="*/ 2411074 h 6479439"/>
              <a:gd name="connsiteX5734" fmla="*/ 6457337 w 9586368"/>
              <a:gd name="connsiteY5734" fmla="*/ 2407036 h 6479439"/>
              <a:gd name="connsiteX5735" fmla="*/ 6457337 w 9586368"/>
              <a:gd name="connsiteY5735" fmla="*/ 2397165 h 6479439"/>
              <a:gd name="connsiteX5736" fmla="*/ 6222042 w 9586368"/>
              <a:gd name="connsiteY5736" fmla="*/ 2393127 h 6479439"/>
              <a:gd name="connsiteX5737" fmla="*/ 6231952 w 9586368"/>
              <a:gd name="connsiteY5737" fmla="*/ 2393127 h 6479439"/>
              <a:gd name="connsiteX5738" fmla="*/ 6235971 w 9586368"/>
              <a:gd name="connsiteY5738" fmla="*/ 2397165 h 6479439"/>
              <a:gd name="connsiteX5739" fmla="*/ 6235971 w 9586368"/>
              <a:gd name="connsiteY5739" fmla="*/ 2407036 h 6479439"/>
              <a:gd name="connsiteX5740" fmla="*/ 6231952 w 9586368"/>
              <a:gd name="connsiteY5740" fmla="*/ 2411074 h 6479439"/>
              <a:gd name="connsiteX5741" fmla="*/ 6222042 w 9586368"/>
              <a:gd name="connsiteY5741" fmla="*/ 2411074 h 6479439"/>
              <a:gd name="connsiteX5742" fmla="*/ 6218023 w 9586368"/>
              <a:gd name="connsiteY5742" fmla="*/ 2407036 h 6479439"/>
              <a:gd name="connsiteX5743" fmla="*/ 6218023 w 9586368"/>
              <a:gd name="connsiteY5743" fmla="*/ 2397165 h 6479439"/>
              <a:gd name="connsiteX5744" fmla="*/ 5982729 w 9586368"/>
              <a:gd name="connsiteY5744" fmla="*/ 2393127 h 6479439"/>
              <a:gd name="connsiteX5745" fmla="*/ 5992639 w 9586368"/>
              <a:gd name="connsiteY5745" fmla="*/ 2393127 h 6479439"/>
              <a:gd name="connsiteX5746" fmla="*/ 5996658 w 9586368"/>
              <a:gd name="connsiteY5746" fmla="*/ 2397165 h 6479439"/>
              <a:gd name="connsiteX5747" fmla="*/ 5996658 w 9586368"/>
              <a:gd name="connsiteY5747" fmla="*/ 2407036 h 6479439"/>
              <a:gd name="connsiteX5748" fmla="*/ 5992639 w 9586368"/>
              <a:gd name="connsiteY5748" fmla="*/ 2411074 h 6479439"/>
              <a:gd name="connsiteX5749" fmla="*/ 5982729 w 9586368"/>
              <a:gd name="connsiteY5749" fmla="*/ 2411074 h 6479439"/>
              <a:gd name="connsiteX5750" fmla="*/ 5978710 w 9586368"/>
              <a:gd name="connsiteY5750" fmla="*/ 2407036 h 6479439"/>
              <a:gd name="connsiteX5751" fmla="*/ 5978710 w 9586368"/>
              <a:gd name="connsiteY5751" fmla="*/ 2397165 h 6479439"/>
              <a:gd name="connsiteX5752" fmla="*/ 5743412 w 9586368"/>
              <a:gd name="connsiteY5752" fmla="*/ 2393127 h 6479439"/>
              <a:gd name="connsiteX5753" fmla="*/ 5753323 w 9586368"/>
              <a:gd name="connsiteY5753" fmla="*/ 2393127 h 6479439"/>
              <a:gd name="connsiteX5754" fmla="*/ 5757342 w 9586368"/>
              <a:gd name="connsiteY5754" fmla="*/ 2397165 h 6479439"/>
              <a:gd name="connsiteX5755" fmla="*/ 5757342 w 9586368"/>
              <a:gd name="connsiteY5755" fmla="*/ 2407036 h 6479439"/>
              <a:gd name="connsiteX5756" fmla="*/ 5753323 w 9586368"/>
              <a:gd name="connsiteY5756" fmla="*/ 2411074 h 6479439"/>
              <a:gd name="connsiteX5757" fmla="*/ 5743412 w 9586368"/>
              <a:gd name="connsiteY5757" fmla="*/ 2411074 h 6479439"/>
              <a:gd name="connsiteX5758" fmla="*/ 5739393 w 9586368"/>
              <a:gd name="connsiteY5758" fmla="*/ 2407036 h 6479439"/>
              <a:gd name="connsiteX5759" fmla="*/ 5739393 w 9586368"/>
              <a:gd name="connsiteY5759" fmla="*/ 2397165 h 6479439"/>
              <a:gd name="connsiteX5760" fmla="*/ 5504099 w 9586368"/>
              <a:gd name="connsiteY5760" fmla="*/ 2393127 h 6479439"/>
              <a:gd name="connsiteX5761" fmla="*/ 5514010 w 9586368"/>
              <a:gd name="connsiteY5761" fmla="*/ 2393127 h 6479439"/>
              <a:gd name="connsiteX5762" fmla="*/ 5518029 w 9586368"/>
              <a:gd name="connsiteY5762" fmla="*/ 2397165 h 6479439"/>
              <a:gd name="connsiteX5763" fmla="*/ 5518029 w 9586368"/>
              <a:gd name="connsiteY5763" fmla="*/ 2407036 h 6479439"/>
              <a:gd name="connsiteX5764" fmla="*/ 5514010 w 9586368"/>
              <a:gd name="connsiteY5764" fmla="*/ 2411074 h 6479439"/>
              <a:gd name="connsiteX5765" fmla="*/ 5504099 w 9586368"/>
              <a:gd name="connsiteY5765" fmla="*/ 2411074 h 6479439"/>
              <a:gd name="connsiteX5766" fmla="*/ 5500080 w 9586368"/>
              <a:gd name="connsiteY5766" fmla="*/ 2407036 h 6479439"/>
              <a:gd name="connsiteX5767" fmla="*/ 5500080 w 9586368"/>
              <a:gd name="connsiteY5767" fmla="*/ 2397165 h 6479439"/>
              <a:gd name="connsiteX5768" fmla="*/ 5264784 w 9586368"/>
              <a:gd name="connsiteY5768" fmla="*/ 2393127 h 6479439"/>
              <a:gd name="connsiteX5769" fmla="*/ 5274694 w 9586368"/>
              <a:gd name="connsiteY5769" fmla="*/ 2393127 h 6479439"/>
              <a:gd name="connsiteX5770" fmla="*/ 5278713 w 9586368"/>
              <a:gd name="connsiteY5770" fmla="*/ 2397165 h 6479439"/>
              <a:gd name="connsiteX5771" fmla="*/ 5278713 w 9586368"/>
              <a:gd name="connsiteY5771" fmla="*/ 2407036 h 6479439"/>
              <a:gd name="connsiteX5772" fmla="*/ 5274694 w 9586368"/>
              <a:gd name="connsiteY5772" fmla="*/ 2411074 h 6479439"/>
              <a:gd name="connsiteX5773" fmla="*/ 5264784 w 9586368"/>
              <a:gd name="connsiteY5773" fmla="*/ 2411074 h 6479439"/>
              <a:gd name="connsiteX5774" fmla="*/ 5260765 w 9586368"/>
              <a:gd name="connsiteY5774" fmla="*/ 2407036 h 6479439"/>
              <a:gd name="connsiteX5775" fmla="*/ 5260765 w 9586368"/>
              <a:gd name="connsiteY5775" fmla="*/ 2397165 h 6479439"/>
              <a:gd name="connsiteX5776" fmla="*/ 5025470 w 9586368"/>
              <a:gd name="connsiteY5776" fmla="*/ 2393127 h 6479439"/>
              <a:gd name="connsiteX5777" fmla="*/ 5035381 w 9586368"/>
              <a:gd name="connsiteY5777" fmla="*/ 2393127 h 6479439"/>
              <a:gd name="connsiteX5778" fmla="*/ 5039400 w 9586368"/>
              <a:gd name="connsiteY5778" fmla="*/ 2397165 h 6479439"/>
              <a:gd name="connsiteX5779" fmla="*/ 5039400 w 9586368"/>
              <a:gd name="connsiteY5779" fmla="*/ 2407036 h 6479439"/>
              <a:gd name="connsiteX5780" fmla="*/ 5035381 w 9586368"/>
              <a:gd name="connsiteY5780" fmla="*/ 2411074 h 6479439"/>
              <a:gd name="connsiteX5781" fmla="*/ 5025470 w 9586368"/>
              <a:gd name="connsiteY5781" fmla="*/ 2411074 h 6479439"/>
              <a:gd name="connsiteX5782" fmla="*/ 5021451 w 9586368"/>
              <a:gd name="connsiteY5782" fmla="*/ 2407036 h 6479439"/>
              <a:gd name="connsiteX5783" fmla="*/ 5021451 w 9586368"/>
              <a:gd name="connsiteY5783" fmla="*/ 2397165 h 6479439"/>
              <a:gd name="connsiteX5784" fmla="*/ 4786241 w 9586368"/>
              <a:gd name="connsiteY5784" fmla="*/ 2393127 h 6479439"/>
              <a:gd name="connsiteX5785" fmla="*/ 4796152 w 9586368"/>
              <a:gd name="connsiteY5785" fmla="*/ 2393127 h 6479439"/>
              <a:gd name="connsiteX5786" fmla="*/ 4800171 w 9586368"/>
              <a:gd name="connsiteY5786" fmla="*/ 2397165 h 6479439"/>
              <a:gd name="connsiteX5787" fmla="*/ 4800171 w 9586368"/>
              <a:gd name="connsiteY5787" fmla="*/ 2407036 h 6479439"/>
              <a:gd name="connsiteX5788" fmla="*/ 4796152 w 9586368"/>
              <a:gd name="connsiteY5788" fmla="*/ 2411074 h 6479439"/>
              <a:gd name="connsiteX5789" fmla="*/ 4786241 w 9586368"/>
              <a:gd name="connsiteY5789" fmla="*/ 2411074 h 6479439"/>
              <a:gd name="connsiteX5790" fmla="*/ 4782224 w 9586368"/>
              <a:gd name="connsiteY5790" fmla="*/ 2407036 h 6479439"/>
              <a:gd name="connsiteX5791" fmla="*/ 4782224 w 9586368"/>
              <a:gd name="connsiteY5791" fmla="*/ 2397165 h 6479439"/>
              <a:gd name="connsiteX5792" fmla="*/ 4546929 w 9586368"/>
              <a:gd name="connsiteY5792" fmla="*/ 2393127 h 6479439"/>
              <a:gd name="connsiteX5793" fmla="*/ 4556840 w 9586368"/>
              <a:gd name="connsiteY5793" fmla="*/ 2393127 h 6479439"/>
              <a:gd name="connsiteX5794" fmla="*/ 4560859 w 9586368"/>
              <a:gd name="connsiteY5794" fmla="*/ 2397165 h 6479439"/>
              <a:gd name="connsiteX5795" fmla="*/ 4560859 w 9586368"/>
              <a:gd name="connsiteY5795" fmla="*/ 2407036 h 6479439"/>
              <a:gd name="connsiteX5796" fmla="*/ 4556840 w 9586368"/>
              <a:gd name="connsiteY5796" fmla="*/ 2411074 h 6479439"/>
              <a:gd name="connsiteX5797" fmla="*/ 4546929 w 9586368"/>
              <a:gd name="connsiteY5797" fmla="*/ 2411074 h 6479439"/>
              <a:gd name="connsiteX5798" fmla="*/ 4542910 w 9586368"/>
              <a:gd name="connsiteY5798" fmla="*/ 2407036 h 6479439"/>
              <a:gd name="connsiteX5799" fmla="*/ 4542910 w 9586368"/>
              <a:gd name="connsiteY5799" fmla="*/ 2397165 h 6479439"/>
              <a:gd name="connsiteX5800" fmla="*/ 4307612 w 9586368"/>
              <a:gd name="connsiteY5800" fmla="*/ 2393127 h 6479439"/>
              <a:gd name="connsiteX5801" fmla="*/ 4317523 w 9586368"/>
              <a:gd name="connsiteY5801" fmla="*/ 2393127 h 6479439"/>
              <a:gd name="connsiteX5802" fmla="*/ 4321543 w 9586368"/>
              <a:gd name="connsiteY5802" fmla="*/ 2397165 h 6479439"/>
              <a:gd name="connsiteX5803" fmla="*/ 4321543 w 9586368"/>
              <a:gd name="connsiteY5803" fmla="*/ 2407036 h 6479439"/>
              <a:gd name="connsiteX5804" fmla="*/ 4317523 w 9586368"/>
              <a:gd name="connsiteY5804" fmla="*/ 2411074 h 6479439"/>
              <a:gd name="connsiteX5805" fmla="*/ 4307612 w 9586368"/>
              <a:gd name="connsiteY5805" fmla="*/ 2411074 h 6479439"/>
              <a:gd name="connsiteX5806" fmla="*/ 4303595 w 9586368"/>
              <a:gd name="connsiteY5806" fmla="*/ 2407036 h 6479439"/>
              <a:gd name="connsiteX5807" fmla="*/ 4303595 w 9586368"/>
              <a:gd name="connsiteY5807" fmla="*/ 2397165 h 6479439"/>
              <a:gd name="connsiteX5808" fmla="*/ 4068297 w 9586368"/>
              <a:gd name="connsiteY5808" fmla="*/ 2393127 h 6479439"/>
              <a:gd name="connsiteX5809" fmla="*/ 4078210 w 9586368"/>
              <a:gd name="connsiteY5809" fmla="*/ 2393127 h 6479439"/>
              <a:gd name="connsiteX5810" fmla="*/ 4082229 w 9586368"/>
              <a:gd name="connsiteY5810" fmla="*/ 2397165 h 6479439"/>
              <a:gd name="connsiteX5811" fmla="*/ 4082229 w 9586368"/>
              <a:gd name="connsiteY5811" fmla="*/ 2407036 h 6479439"/>
              <a:gd name="connsiteX5812" fmla="*/ 4078210 w 9586368"/>
              <a:gd name="connsiteY5812" fmla="*/ 2411074 h 6479439"/>
              <a:gd name="connsiteX5813" fmla="*/ 4068297 w 9586368"/>
              <a:gd name="connsiteY5813" fmla="*/ 2411074 h 6479439"/>
              <a:gd name="connsiteX5814" fmla="*/ 4064278 w 9586368"/>
              <a:gd name="connsiteY5814" fmla="*/ 2407036 h 6479439"/>
              <a:gd name="connsiteX5815" fmla="*/ 4064278 w 9586368"/>
              <a:gd name="connsiteY5815" fmla="*/ 2397165 h 6479439"/>
              <a:gd name="connsiteX5816" fmla="*/ 3828990 w 9586368"/>
              <a:gd name="connsiteY5816" fmla="*/ 2393127 h 6479439"/>
              <a:gd name="connsiteX5817" fmla="*/ 3838899 w 9586368"/>
              <a:gd name="connsiteY5817" fmla="*/ 2393127 h 6479439"/>
              <a:gd name="connsiteX5818" fmla="*/ 3842917 w 9586368"/>
              <a:gd name="connsiteY5818" fmla="*/ 2397165 h 6479439"/>
              <a:gd name="connsiteX5819" fmla="*/ 3842917 w 9586368"/>
              <a:gd name="connsiteY5819" fmla="*/ 2407036 h 6479439"/>
              <a:gd name="connsiteX5820" fmla="*/ 3838899 w 9586368"/>
              <a:gd name="connsiteY5820" fmla="*/ 2411074 h 6479439"/>
              <a:gd name="connsiteX5821" fmla="*/ 3828990 w 9586368"/>
              <a:gd name="connsiteY5821" fmla="*/ 2411074 h 6479439"/>
              <a:gd name="connsiteX5822" fmla="*/ 3824971 w 9586368"/>
              <a:gd name="connsiteY5822" fmla="*/ 2407036 h 6479439"/>
              <a:gd name="connsiteX5823" fmla="*/ 3824971 w 9586368"/>
              <a:gd name="connsiteY5823" fmla="*/ 2397165 h 6479439"/>
              <a:gd name="connsiteX5824" fmla="*/ 3589676 w 9586368"/>
              <a:gd name="connsiteY5824" fmla="*/ 2393127 h 6479439"/>
              <a:gd name="connsiteX5825" fmla="*/ 3599585 w 9586368"/>
              <a:gd name="connsiteY5825" fmla="*/ 2393127 h 6479439"/>
              <a:gd name="connsiteX5826" fmla="*/ 3603604 w 9586368"/>
              <a:gd name="connsiteY5826" fmla="*/ 2397165 h 6479439"/>
              <a:gd name="connsiteX5827" fmla="*/ 3603604 w 9586368"/>
              <a:gd name="connsiteY5827" fmla="*/ 2407036 h 6479439"/>
              <a:gd name="connsiteX5828" fmla="*/ 3599585 w 9586368"/>
              <a:gd name="connsiteY5828" fmla="*/ 2411074 h 6479439"/>
              <a:gd name="connsiteX5829" fmla="*/ 3589676 w 9586368"/>
              <a:gd name="connsiteY5829" fmla="*/ 2411074 h 6479439"/>
              <a:gd name="connsiteX5830" fmla="*/ 3585657 w 9586368"/>
              <a:gd name="connsiteY5830" fmla="*/ 2407036 h 6479439"/>
              <a:gd name="connsiteX5831" fmla="*/ 3585657 w 9586368"/>
              <a:gd name="connsiteY5831" fmla="*/ 2397165 h 6479439"/>
              <a:gd name="connsiteX5832" fmla="*/ 3350359 w 9586368"/>
              <a:gd name="connsiteY5832" fmla="*/ 2393127 h 6479439"/>
              <a:gd name="connsiteX5833" fmla="*/ 3360268 w 9586368"/>
              <a:gd name="connsiteY5833" fmla="*/ 2393127 h 6479439"/>
              <a:gd name="connsiteX5834" fmla="*/ 3364287 w 9586368"/>
              <a:gd name="connsiteY5834" fmla="*/ 2397165 h 6479439"/>
              <a:gd name="connsiteX5835" fmla="*/ 3364287 w 9586368"/>
              <a:gd name="connsiteY5835" fmla="*/ 2407036 h 6479439"/>
              <a:gd name="connsiteX5836" fmla="*/ 3360268 w 9586368"/>
              <a:gd name="connsiteY5836" fmla="*/ 2411074 h 6479439"/>
              <a:gd name="connsiteX5837" fmla="*/ 3350359 w 9586368"/>
              <a:gd name="connsiteY5837" fmla="*/ 2411074 h 6479439"/>
              <a:gd name="connsiteX5838" fmla="*/ 3346340 w 9586368"/>
              <a:gd name="connsiteY5838" fmla="*/ 2407036 h 6479439"/>
              <a:gd name="connsiteX5839" fmla="*/ 3346340 w 9586368"/>
              <a:gd name="connsiteY5839" fmla="*/ 2397165 h 6479439"/>
              <a:gd name="connsiteX5840" fmla="*/ 3111048 w 9586368"/>
              <a:gd name="connsiteY5840" fmla="*/ 2393127 h 6479439"/>
              <a:gd name="connsiteX5841" fmla="*/ 3120959 w 9586368"/>
              <a:gd name="connsiteY5841" fmla="*/ 2393127 h 6479439"/>
              <a:gd name="connsiteX5842" fmla="*/ 3124977 w 9586368"/>
              <a:gd name="connsiteY5842" fmla="*/ 2397165 h 6479439"/>
              <a:gd name="connsiteX5843" fmla="*/ 3124977 w 9586368"/>
              <a:gd name="connsiteY5843" fmla="*/ 2407036 h 6479439"/>
              <a:gd name="connsiteX5844" fmla="*/ 3120959 w 9586368"/>
              <a:gd name="connsiteY5844" fmla="*/ 2411074 h 6479439"/>
              <a:gd name="connsiteX5845" fmla="*/ 3111048 w 9586368"/>
              <a:gd name="connsiteY5845" fmla="*/ 2411074 h 6479439"/>
              <a:gd name="connsiteX5846" fmla="*/ 3107029 w 9586368"/>
              <a:gd name="connsiteY5846" fmla="*/ 2407036 h 6479439"/>
              <a:gd name="connsiteX5847" fmla="*/ 3107029 w 9586368"/>
              <a:gd name="connsiteY5847" fmla="*/ 2397165 h 6479439"/>
              <a:gd name="connsiteX5848" fmla="*/ 2871737 w 9586368"/>
              <a:gd name="connsiteY5848" fmla="*/ 2393127 h 6479439"/>
              <a:gd name="connsiteX5849" fmla="*/ 2881646 w 9586368"/>
              <a:gd name="connsiteY5849" fmla="*/ 2393127 h 6479439"/>
              <a:gd name="connsiteX5850" fmla="*/ 2885666 w 9586368"/>
              <a:gd name="connsiteY5850" fmla="*/ 2397165 h 6479439"/>
              <a:gd name="connsiteX5851" fmla="*/ 2885666 w 9586368"/>
              <a:gd name="connsiteY5851" fmla="*/ 2407036 h 6479439"/>
              <a:gd name="connsiteX5852" fmla="*/ 2881646 w 9586368"/>
              <a:gd name="connsiteY5852" fmla="*/ 2411074 h 6479439"/>
              <a:gd name="connsiteX5853" fmla="*/ 2871737 w 9586368"/>
              <a:gd name="connsiteY5853" fmla="*/ 2411074 h 6479439"/>
              <a:gd name="connsiteX5854" fmla="*/ 2867717 w 9586368"/>
              <a:gd name="connsiteY5854" fmla="*/ 2407036 h 6479439"/>
              <a:gd name="connsiteX5855" fmla="*/ 2867717 w 9586368"/>
              <a:gd name="connsiteY5855" fmla="*/ 2397165 h 6479439"/>
              <a:gd name="connsiteX5856" fmla="*/ 2632423 w 9586368"/>
              <a:gd name="connsiteY5856" fmla="*/ 2393127 h 6479439"/>
              <a:gd name="connsiteX5857" fmla="*/ 2642334 w 9586368"/>
              <a:gd name="connsiteY5857" fmla="*/ 2393127 h 6479439"/>
              <a:gd name="connsiteX5858" fmla="*/ 2646352 w 9586368"/>
              <a:gd name="connsiteY5858" fmla="*/ 2397165 h 6479439"/>
              <a:gd name="connsiteX5859" fmla="*/ 2646352 w 9586368"/>
              <a:gd name="connsiteY5859" fmla="*/ 2407036 h 6479439"/>
              <a:gd name="connsiteX5860" fmla="*/ 2642334 w 9586368"/>
              <a:gd name="connsiteY5860" fmla="*/ 2411074 h 6479439"/>
              <a:gd name="connsiteX5861" fmla="*/ 2632423 w 9586368"/>
              <a:gd name="connsiteY5861" fmla="*/ 2411074 h 6479439"/>
              <a:gd name="connsiteX5862" fmla="*/ 2628404 w 9586368"/>
              <a:gd name="connsiteY5862" fmla="*/ 2407036 h 6479439"/>
              <a:gd name="connsiteX5863" fmla="*/ 2628404 w 9586368"/>
              <a:gd name="connsiteY5863" fmla="*/ 2397165 h 6479439"/>
              <a:gd name="connsiteX5864" fmla="*/ 2393104 w 9586368"/>
              <a:gd name="connsiteY5864" fmla="*/ 2393127 h 6479439"/>
              <a:gd name="connsiteX5865" fmla="*/ 2403015 w 9586368"/>
              <a:gd name="connsiteY5865" fmla="*/ 2393127 h 6479439"/>
              <a:gd name="connsiteX5866" fmla="*/ 2407034 w 9586368"/>
              <a:gd name="connsiteY5866" fmla="*/ 2397165 h 6479439"/>
              <a:gd name="connsiteX5867" fmla="*/ 2407034 w 9586368"/>
              <a:gd name="connsiteY5867" fmla="*/ 2407036 h 6479439"/>
              <a:gd name="connsiteX5868" fmla="*/ 2403015 w 9586368"/>
              <a:gd name="connsiteY5868" fmla="*/ 2411074 h 6479439"/>
              <a:gd name="connsiteX5869" fmla="*/ 2393104 w 9586368"/>
              <a:gd name="connsiteY5869" fmla="*/ 2411074 h 6479439"/>
              <a:gd name="connsiteX5870" fmla="*/ 2389087 w 9586368"/>
              <a:gd name="connsiteY5870" fmla="*/ 2407036 h 6479439"/>
              <a:gd name="connsiteX5871" fmla="*/ 2389087 w 9586368"/>
              <a:gd name="connsiteY5871" fmla="*/ 2397165 h 6479439"/>
              <a:gd name="connsiteX5872" fmla="*/ 721970 w 9586368"/>
              <a:gd name="connsiteY5872" fmla="*/ 2393127 h 6479439"/>
              <a:gd name="connsiteX5873" fmla="*/ 731881 w 9586368"/>
              <a:gd name="connsiteY5873" fmla="*/ 2393127 h 6479439"/>
              <a:gd name="connsiteX5874" fmla="*/ 735899 w 9586368"/>
              <a:gd name="connsiteY5874" fmla="*/ 2397165 h 6479439"/>
              <a:gd name="connsiteX5875" fmla="*/ 735899 w 9586368"/>
              <a:gd name="connsiteY5875" fmla="*/ 2407036 h 6479439"/>
              <a:gd name="connsiteX5876" fmla="*/ 731881 w 9586368"/>
              <a:gd name="connsiteY5876" fmla="*/ 2411074 h 6479439"/>
              <a:gd name="connsiteX5877" fmla="*/ 721970 w 9586368"/>
              <a:gd name="connsiteY5877" fmla="*/ 2411074 h 6479439"/>
              <a:gd name="connsiteX5878" fmla="*/ 717951 w 9586368"/>
              <a:gd name="connsiteY5878" fmla="*/ 2407036 h 6479439"/>
              <a:gd name="connsiteX5879" fmla="*/ 717951 w 9586368"/>
              <a:gd name="connsiteY5879" fmla="*/ 2397165 h 6479439"/>
              <a:gd name="connsiteX5880" fmla="*/ 482658 w 9586368"/>
              <a:gd name="connsiteY5880" fmla="*/ 2393127 h 6479439"/>
              <a:gd name="connsiteX5881" fmla="*/ 492568 w 9586368"/>
              <a:gd name="connsiteY5881" fmla="*/ 2393127 h 6479439"/>
              <a:gd name="connsiteX5882" fmla="*/ 496588 w 9586368"/>
              <a:gd name="connsiteY5882" fmla="*/ 2397165 h 6479439"/>
              <a:gd name="connsiteX5883" fmla="*/ 496588 w 9586368"/>
              <a:gd name="connsiteY5883" fmla="*/ 2407036 h 6479439"/>
              <a:gd name="connsiteX5884" fmla="*/ 492568 w 9586368"/>
              <a:gd name="connsiteY5884" fmla="*/ 2411074 h 6479439"/>
              <a:gd name="connsiteX5885" fmla="*/ 482658 w 9586368"/>
              <a:gd name="connsiteY5885" fmla="*/ 2411074 h 6479439"/>
              <a:gd name="connsiteX5886" fmla="*/ 478639 w 9586368"/>
              <a:gd name="connsiteY5886" fmla="*/ 2407036 h 6479439"/>
              <a:gd name="connsiteX5887" fmla="*/ 478639 w 9586368"/>
              <a:gd name="connsiteY5887" fmla="*/ 2397165 h 6479439"/>
              <a:gd name="connsiteX5888" fmla="*/ 243344 w 9586368"/>
              <a:gd name="connsiteY5888" fmla="*/ 2393127 h 6479439"/>
              <a:gd name="connsiteX5889" fmla="*/ 253255 w 9586368"/>
              <a:gd name="connsiteY5889" fmla="*/ 2393127 h 6479439"/>
              <a:gd name="connsiteX5890" fmla="*/ 257274 w 9586368"/>
              <a:gd name="connsiteY5890" fmla="*/ 2397165 h 6479439"/>
              <a:gd name="connsiteX5891" fmla="*/ 257274 w 9586368"/>
              <a:gd name="connsiteY5891" fmla="*/ 2407036 h 6479439"/>
              <a:gd name="connsiteX5892" fmla="*/ 253255 w 9586368"/>
              <a:gd name="connsiteY5892" fmla="*/ 2411074 h 6479439"/>
              <a:gd name="connsiteX5893" fmla="*/ 243344 w 9586368"/>
              <a:gd name="connsiteY5893" fmla="*/ 2411074 h 6479439"/>
              <a:gd name="connsiteX5894" fmla="*/ 239325 w 9586368"/>
              <a:gd name="connsiteY5894" fmla="*/ 2407036 h 6479439"/>
              <a:gd name="connsiteX5895" fmla="*/ 239325 w 9586368"/>
              <a:gd name="connsiteY5895" fmla="*/ 2397165 h 6479439"/>
              <a:gd name="connsiteX5896" fmla="*/ 4031 w 9586368"/>
              <a:gd name="connsiteY5896" fmla="*/ 2393127 h 6479439"/>
              <a:gd name="connsiteX5897" fmla="*/ 13941 w 9586368"/>
              <a:gd name="connsiteY5897" fmla="*/ 2393127 h 6479439"/>
              <a:gd name="connsiteX5898" fmla="*/ 17961 w 9586368"/>
              <a:gd name="connsiteY5898" fmla="*/ 2397165 h 6479439"/>
              <a:gd name="connsiteX5899" fmla="*/ 17961 w 9586368"/>
              <a:gd name="connsiteY5899" fmla="*/ 2407036 h 6479439"/>
              <a:gd name="connsiteX5900" fmla="*/ 13941 w 9586368"/>
              <a:gd name="connsiteY5900" fmla="*/ 2411074 h 6479439"/>
              <a:gd name="connsiteX5901" fmla="*/ 4031 w 9586368"/>
              <a:gd name="connsiteY5901" fmla="*/ 2411074 h 6479439"/>
              <a:gd name="connsiteX5902" fmla="*/ 12 w 9586368"/>
              <a:gd name="connsiteY5902" fmla="*/ 2407036 h 6479439"/>
              <a:gd name="connsiteX5903" fmla="*/ 12 w 9586368"/>
              <a:gd name="connsiteY5903" fmla="*/ 2397165 h 6479439"/>
              <a:gd name="connsiteX5904" fmla="*/ 3111048 w 9586368"/>
              <a:gd name="connsiteY5904" fmla="*/ 2153996 h 6479439"/>
              <a:gd name="connsiteX5905" fmla="*/ 3120959 w 9586368"/>
              <a:gd name="connsiteY5905" fmla="*/ 2153996 h 6479439"/>
              <a:gd name="connsiteX5906" fmla="*/ 3124977 w 9586368"/>
              <a:gd name="connsiteY5906" fmla="*/ 2158034 h 6479439"/>
              <a:gd name="connsiteX5907" fmla="*/ 3124977 w 9586368"/>
              <a:gd name="connsiteY5907" fmla="*/ 2167907 h 6479439"/>
              <a:gd name="connsiteX5908" fmla="*/ 3120959 w 9586368"/>
              <a:gd name="connsiteY5908" fmla="*/ 2171946 h 6479439"/>
              <a:gd name="connsiteX5909" fmla="*/ 3111048 w 9586368"/>
              <a:gd name="connsiteY5909" fmla="*/ 2171946 h 6479439"/>
              <a:gd name="connsiteX5910" fmla="*/ 3107029 w 9586368"/>
              <a:gd name="connsiteY5910" fmla="*/ 2167907 h 6479439"/>
              <a:gd name="connsiteX5911" fmla="*/ 3107029 w 9586368"/>
              <a:gd name="connsiteY5911" fmla="*/ 2158034 h 6479439"/>
              <a:gd name="connsiteX5912" fmla="*/ 2871737 w 9586368"/>
              <a:gd name="connsiteY5912" fmla="*/ 2153996 h 6479439"/>
              <a:gd name="connsiteX5913" fmla="*/ 2881646 w 9586368"/>
              <a:gd name="connsiteY5913" fmla="*/ 2153996 h 6479439"/>
              <a:gd name="connsiteX5914" fmla="*/ 2885666 w 9586368"/>
              <a:gd name="connsiteY5914" fmla="*/ 2158034 h 6479439"/>
              <a:gd name="connsiteX5915" fmla="*/ 2885666 w 9586368"/>
              <a:gd name="connsiteY5915" fmla="*/ 2167907 h 6479439"/>
              <a:gd name="connsiteX5916" fmla="*/ 2881646 w 9586368"/>
              <a:gd name="connsiteY5916" fmla="*/ 2171946 h 6479439"/>
              <a:gd name="connsiteX5917" fmla="*/ 2871737 w 9586368"/>
              <a:gd name="connsiteY5917" fmla="*/ 2171946 h 6479439"/>
              <a:gd name="connsiteX5918" fmla="*/ 2867717 w 9586368"/>
              <a:gd name="connsiteY5918" fmla="*/ 2167907 h 6479439"/>
              <a:gd name="connsiteX5919" fmla="*/ 2867717 w 9586368"/>
              <a:gd name="connsiteY5919" fmla="*/ 2158034 h 6479439"/>
              <a:gd name="connsiteX5920" fmla="*/ 2632423 w 9586368"/>
              <a:gd name="connsiteY5920" fmla="*/ 2153996 h 6479439"/>
              <a:gd name="connsiteX5921" fmla="*/ 2642334 w 9586368"/>
              <a:gd name="connsiteY5921" fmla="*/ 2153996 h 6479439"/>
              <a:gd name="connsiteX5922" fmla="*/ 2646352 w 9586368"/>
              <a:gd name="connsiteY5922" fmla="*/ 2158034 h 6479439"/>
              <a:gd name="connsiteX5923" fmla="*/ 2646352 w 9586368"/>
              <a:gd name="connsiteY5923" fmla="*/ 2167907 h 6479439"/>
              <a:gd name="connsiteX5924" fmla="*/ 2642334 w 9586368"/>
              <a:gd name="connsiteY5924" fmla="*/ 2171947 h 6479439"/>
              <a:gd name="connsiteX5925" fmla="*/ 2632423 w 9586368"/>
              <a:gd name="connsiteY5925" fmla="*/ 2171947 h 6479439"/>
              <a:gd name="connsiteX5926" fmla="*/ 2628404 w 9586368"/>
              <a:gd name="connsiteY5926" fmla="*/ 2167907 h 6479439"/>
              <a:gd name="connsiteX5927" fmla="*/ 2628404 w 9586368"/>
              <a:gd name="connsiteY5927" fmla="*/ 2158034 h 6479439"/>
              <a:gd name="connsiteX5928" fmla="*/ 2393104 w 9586368"/>
              <a:gd name="connsiteY5928" fmla="*/ 2153996 h 6479439"/>
              <a:gd name="connsiteX5929" fmla="*/ 2403015 w 9586368"/>
              <a:gd name="connsiteY5929" fmla="*/ 2153996 h 6479439"/>
              <a:gd name="connsiteX5930" fmla="*/ 2407034 w 9586368"/>
              <a:gd name="connsiteY5930" fmla="*/ 2158034 h 6479439"/>
              <a:gd name="connsiteX5931" fmla="*/ 2407034 w 9586368"/>
              <a:gd name="connsiteY5931" fmla="*/ 2167907 h 6479439"/>
              <a:gd name="connsiteX5932" fmla="*/ 2403015 w 9586368"/>
              <a:gd name="connsiteY5932" fmla="*/ 2171947 h 6479439"/>
              <a:gd name="connsiteX5933" fmla="*/ 2393104 w 9586368"/>
              <a:gd name="connsiteY5933" fmla="*/ 2171947 h 6479439"/>
              <a:gd name="connsiteX5934" fmla="*/ 2389087 w 9586368"/>
              <a:gd name="connsiteY5934" fmla="*/ 2167907 h 6479439"/>
              <a:gd name="connsiteX5935" fmla="*/ 2389087 w 9586368"/>
              <a:gd name="connsiteY5935" fmla="*/ 2158034 h 6479439"/>
              <a:gd name="connsiteX5936" fmla="*/ 3350359 w 9586368"/>
              <a:gd name="connsiteY5936" fmla="*/ 2153995 h 6479439"/>
              <a:gd name="connsiteX5937" fmla="*/ 3360268 w 9586368"/>
              <a:gd name="connsiteY5937" fmla="*/ 2153995 h 6479439"/>
              <a:gd name="connsiteX5938" fmla="*/ 3364287 w 9586368"/>
              <a:gd name="connsiteY5938" fmla="*/ 2158034 h 6479439"/>
              <a:gd name="connsiteX5939" fmla="*/ 3364287 w 9586368"/>
              <a:gd name="connsiteY5939" fmla="*/ 2167907 h 6479439"/>
              <a:gd name="connsiteX5940" fmla="*/ 3360268 w 9586368"/>
              <a:gd name="connsiteY5940" fmla="*/ 2171946 h 6479439"/>
              <a:gd name="connsiteX5941" fmla="*/ 3350359 w 9586368"/>
              <a:gd name="connsiteY5941" fmla="*/ 2171946 h 6479439"/>
              <a:gd name="connsiteX5942" fmla="*/ 3346340 w 9586368"/>
              <a:gd name="connsiteY5942" fmla="*/ 2167907 h 6479439"/>
              <a:gd name="connsiteX5943" fmla="*/ 3346340 w 9586368"/>
              <a:gd name="connsiteY5943" fmla="*/ 2158034 h 6479439"/>
              <a:gd name="connsiteX5944" fmla="*/ 4546929 w 9586368"/>
              <a:gd name="connsiteY5944" fmla="*/ 2153976 h 6479439"/>
              <a:gd name="connsiteX5945" fmla="*/ 4556840 w 9586368"/>
              <a:gd name="connsiteY5945" fmla="*/ 2153976 h 6479439"/>
              <a:gd name="connsiteX5946" fmla="*/ 4560859 w 9586368"/>
              <a:gd name="connsiteY5946" fmla="*/ 2158014 h 6479439"/>
              <a:gd name="connsiteX5947" fmla="*/ 4560859 w 9586368"/>
              <a:gd name="connsiteY5947" fmla="*/ 2167886 h 6479439"/>
              <a:gd name="connsiteX5948" fmla="*/ 4556840 w 9586368"/>
              <a:gd name="connsiteY5948" fmla="*/ 2171926 h 6479439"/>
              <a:gd name="connsiteX5949" fmla="*/ 4546929 w 9586368"/>
              <a:gd name="connsiteY5949" fmla="*/ 2171926 h 6479439"/>
              <a:gd name="connsiteX5950" fmla="*/ 4542910 w 9586368"/>
              <a:gd name="connsiteY5950" fmla="*/ 2167886 h 6479439"/>
              <a:gd name="connsiteX5951" fmla="*/ 4542910 w 9586368"/>
              <a:gd name="connsiteY5951" fmla="*/ 2158014 h 6479439"/>
              <a:gd name="connsiteX5952" fmla="*/ 4307612 w 9586368"/>
              <a:gd name="connsiteY5952" fmla="*/ 2153976 h 6479439"/>
              <a:gd name="connsiteX5953" fmla="*/ 4317523 w 9586368"/>
              <a:gd name="connsiteY5953" fmla="*/ 2153976 h 6479439"/>
              <a:gd name="connsiteX5954" fmla="*/ 4321543 w 9586368"/>
              <a:gd name="connsiteY5954" fmla="*/ 2158014 h 6479439"/>
              <a:gd name="connsiteX5955" fmla="*/ 4321543 w 9586368"/>
              <a:gd name="connsiteY5955" fmla="*/ 2167887 h 6479439"/>
              <a:gd name="connsiteX5956" fmla="*/ 4317523 w 9586368"/>
              <a:gd name="connsiteY5956" fmla="*/ 2171926 h 6479439"/>
              <a:gd name="connsiteX5957" fmla="*/ 4307612 w 9586368"/>
              <a:gd name="connsiteY5957" fmla="*/ 2171926 h 6479439"/>
              <a:gd name="connsiteX5958" fmla="*/ 4303595 w 9586368"/>
              <a:gd name="connsiteY5958" fmla="*/ 2167887 h 6479439"/>
              <a:gd name="connsiteX5959" fmla="*/ 4303595 w 9586368"/>
              <a:gd name="connsiteY5959" fmla="*/ 2158014 h 6479439"/>
              <a:gd name="connsiteX5960" fmla="*/ 4068297 w 9586368"/>
              <a:gd name="connsiteY5960" fmla="*/ 2153976 h 6479439"/>
              <a:gd name="connsiteX5961" fmla="*/ 4078210 w 9586368"/>
              <a:gd name="connsiteY5961" fmla="*/ 2153976 h 6479439"/>
              <a:gd name="connsiteX5962" fmla="*/ 4082229 w 9586368"/>
              <a:gd name="connsiteY5962" fmla="*/ 2158014 h 6479439"/>
              <a:gd name="connsiteX5963" fmla="*/ 4082229 w 9586368"/>
              <a:gd name="connsiteY5963" fmla="*/ 2167887 h 6479439"/>
              <a:gd name="connsiteX5964" fmla="*/ 4078210 w 9586368"/>
              <a:gd name="connsiteY5964" fmla="*/ 2171926 h 6479439"/>
              <a:gd name="connsiteX5965" fmla="*/ 4068297 w 9586368"/>
              <a:gd name="connsiteY5965" fmla="*/ 2171926 h 6479439"/>
              <a:gd name="connsiteX5966" fmla="*/ 4064278 w 9586368"/>
              <a:gd name="connsiteY5966" fmla="*/ 2167887 h 6479439"/>
              <a:gd name="connsiteX5967" fmla="*/ 4064278 w 9586368"/>
              <a:gd name="connsiteY5967" fmla="*/ 2158014 h 6479439"/>
              <a:gd name="connsiteX5968" fmla="*/ 3828990 w 9586368"/>
              <a:gd name="connsiteY5968" fmla="*/ 2153976 h 6479439"/>
              <a:gd name="connsiteX5969" fmla="*/ 3838899 w 9586368"/>
              <a:gd name="connsiteY5969" fmla="*/ 2153976 h 6479439"/>
              <a:gd name="connsiteX5970" fmla="*/ 3842917 w 9586368"/>
              <a:gd name="connsiteY5970" fmla="*/ 2158014 h 6479439"/>
              <a:gd name="connsiteX5971" fmla="*/ 3842917 w 9586368"/>
              <a:gd name="connsiteY5971" fmla="*/ 2167887 h 6479439"/>
              <a:gd name="connsiteX5972" fmla="*/ 3838899 w 9586368"/>
              <a:gd name="connsiteY5972" fmla="*/ 2171926 h 6479439"/>
              <a:gd name="connsiteX5973" fmla="*/ 3828990 w 9586368"/>
              <a:gd name="connsiteY5973" fmla="*/ 2171926 h 6479439"/>
              <a:gd name="connsiteX5974" fmla="*/ 3824971 w 9586368"/>
              <a:gd name="connsiteY5974" fmla="*/ 2167887 h 6479439"/>
              <a:gd name="connsiteX5975" fmla="*/ 3824971 w 9586368"/>
              <a:gd name="connsiteY5975" fmla="*/ 2158014 h 6479439"/>
              <a:gd name="connsiteX5976" fmla="*/ 3589676 w 9586368"/>
              <a:gd name="connsiteY5976" fmla="*/ 2153976 h 6479439"/>
              <a:gd name="connsiteX5977" fmla="*/ 3599585 w 9586368"/>
              <a:gd name="connsiteY5977" fmla="*/ 2153976 h 6479439"/>
              <a:gd name="connsiteX5978" fmla="*/ 3603604 w 9586368"/>
              <a:gd name="connsiteY5978" fmla="*/ 2158014 h 6479439"/>
              <a:gd name="connsiteX5979" fmla="*/ 3603604 w 9586368"/>
              <a:gd name="connsiteY5979" fmla="*/ 2167887 h 6479439"/>
              <a:gd name="connsiteX5980" fmla="*/ 3599585 w 9586368"/>
              <a:gd name="connsiteY5980" fmla="*/ 2171926 h 6479439"/>
              <a:gd name="connsiteX5981" fmla="*/ 3589676 w 9586368"/>
              <a:gd name="connsiteY5981" fmla="*/ 2171926 h 6479439"/>
              <a:gd name="connsiteX5982" fmla="*/ 3585657 w 9586368"/>
              <a:gd name="connsiteY5982" fmla="*/ 2167887 h 6479439"/>
              <a:gd name="connsiteX5983" fmla="*/ 3585657 w 9586368"/>
              <a:gd name="connsiteY5983" fmla="*/ 2158014 h 6479439"/>
              <a:gd name="connsiteX5984" fmla="*/ 5504099 w 9586368"/>
              <a:gd name="connsiteY5984" fmla="*/ 2153956 h 6479439"/>
              <a:gd name="connsiteX5985" fmla="*/ 5514010 w 9586368"/>
              <a:gd name="connsiteY5985" fmla="*/ 2153956 h 6479439"/>
              <a:gd name="connsiteX5986" fmla="*/ 5518029 w 9586368"/>
              <a:gd name="connsiteY5986" fmla="*/ 2157994 h 6479439"/>
              <a:gd name="connsiteX5987" fmla="*/ 5518029 w 9586368"/>
              <a:gd name="connsiteY5987" fmla="*/ 2167867 h 6479439"/>
              <a:gd name="connsiteX5988" fmla="*/ 5514010 w 9586368"/>
              <a:gd name="connsiteY5988" fmla="*/ 2171905 h 6479439"/>
              <a:gd name="connsiteX5989" fmla="*/ 5504099 w 9586368"/>
              <a:gd name="connsiteY5989" fmla="*/ 2171905 h 6479439"/>
              <a:gd name="connsiteX5990" fmla="*/ 5500080 w 9586368"/>
              <a:gd name="connsiteY5990" fmla="*/ 2167867 h 6479439"/>
              <a:gd name="connsiteX5991" fmla="*/ 5500080 w 9586368"/>
              <a:gd name="connsiteY5991" fmla="*/ 2157994 h 6479439"/>
              <a:gd name="connsiteX5992" fmla="*/ 5264784 w 9586368"/>
              <a:gd name="connsiteY5992" fmla="*/ 2153956 h 6479439"/>
              <a:gd name="connsiteX5993" fmla="*/ 5274694 w 9586368"/>
              <a:gd name="connsiteY5993" fmla="*/ 2153956 h 6479439"/>
              <a:gd name="connsiteX5994" fmla="*/ 5278713 w 9586368"/>
              <a:gd name="connsiteY5994" fmla="*/ 2157994 h 6479439"/>
              <a:gd name="connsiteX5995" fmla="*/ 5278713 w 9586368"/>
              <a:gd name="connsiteY5995" fmla="*/ 2167867 h 6479439"/>
              <a:gd name="connsiteX5996" fmla="*/ 5274694 w 9586368"/>
              <a:gd name="connsiteY5996" fmla="*/ 2171905 h 6479439"/>
              <a:gd name="connsiteX5997" fmla="*/ 5264784 w 9586368"/>
              <a:gd name="connsiteY5997" fmla="*/ 2171905 h 6479439"/>
              <a:gd name="connsiteX5998" fmla="*/ 5260765 w 9586368"/>
              <a:gd name="connsiteY5998" fmla="*/ 2167867 h 6479439"/>
              <a:gd name="connsiteX5999" fmla="*/ 5260765 w 9586368"/>
              <a:gd name="connsiteY5999" fmla="*/ 2157994 h 6479439"/>
              <a:gd name="connsiteX6000" fmla="*/ 5025470 w 9586368"/>
              <a:gd name="connsiteY6000" fmla="*/ 2153956 h 6479439"/>
              <a:gd name="connsiteX6001" fmla="*/ 5035381 w 9586368"/>
              <a:gd name="connsiteY6001" fmla="*/ 2153956 h 6479439"/>
              <a:gd name="connsiteX6002" fmla="*/ 5039400 w 9586368"/>
              <a:gd name="connsiteY6002" fmla="*/ 2157994 h 6479439"/>
              <a:gd name="connsiteX6003" fmla="*/ 5039400 w 9586368"/>
              <a:gd name="connsiteY6003" fmla="*/ 2167867 h 6479439"/>
              <a:gd name="connsiteX6004" fmla="*/ 5035381 w 9586368"/>
              <a:gd name="connsiteY6004" fmla="*/ 2171906 h 6479439"/>
              <a:gd name="connsiteX6005" fmla="*/ 5025470 w 9586368"/>
              <a:gd name="connsiteY6005" fmla="*/ 2171906 h 6479439"/>
              <a:gd name="connsiteX6006" fmla="*/ 5021451 w 9586368"/>
              <a:gd name="connsiteY6006" fmla="*/ 2167867 h 6479439"/>
              <a:gd name="connsiteX6007" fmla="*/ 5021451 w 9586368"/>
              <a:gd name="connsiteY6007" fmla="*/ 2157994 h 6479439"/>
              <a:gd name="connsiteX6008" fmla="*/ 4786241 w 9586368"/>
              <a:gd name="connsiteY6008" fmla="*/ 2153956 h 6479439"/>
              <a:gd name="connsiteX6009" fmla="*/ 4796152 w 9586368"/>
              <a:gd name="connsiteY6009" fmla="*/ 2153956 h 6479439"/>
              <a:gd name="connsiteX6010" fmla="*/ 4800171 w 9586368"/>
              <a:gd name="connsiteY6010" fmla="*/ 2157994 h 6479439"/>
              <a:gd name="connsiteX6011" fmla="*/ 4800171 w 9586368"/>
              <a:gd name="connsiteY6011" fmla="*/ 2167867 h 6479439"/>
              <a:gd name="connsiteX6012" fmla="*/ 4796152 w 9586368"/>
              <a:gd name="connsiteY6012" fmla="*/ 2171906 h 6479439"/>
              <a:gd name="connsiteX6013" fmla="*/ 4786241 w 9586368"/>
              <a:gd name="connsiteY6013" fmla="*/ 2171906 h 6479439"/>
              <a:gd name="connsiteX6014" fmla="*/ 4782224 w 9586368"/>
              <a:gd name="connsiteY6014" fmla="*/ 2167867 h 6479439"/>
              <a:gd name="connsiteX6015" fmla="*/ 4782224 w 9586368"/>
              <a:gd name="connsiteY6015" fmla="*/ 2157994 h 6479439"/>
              <a:gd name="connsiteX6016" fmla="*/ 5743412 w 9586368"/>
              <a:gd name="connsiteY6016" fmla="*/ 2153955 h 6479439"/>
              <a:gd name="connsiteX6017" fmla="*/ 5753323 w 9586368"/>
              <a:gd name="connsiteY6017" fmla="*/ 2153955 h 6479439"/>
              <a:gd name="connsiteX6018" fmla="*/ 5757342 w 9586368"/>
              <a:gd name="connsiteY6018" fmla="*/ 2157994 h 6479439"/>
              <a:gd name="connsiteX6019" fmla="*/ 5757342 w 9586368"/>
              <a:gd name="connsiteY6019" fmla="*/ 2167866 h 6479439"/>
              <a:gd name="connsiteX6020" fmla="*/ 5753323 w 9586368"/>
              <a:gd name="connsiteY6020" fmla="*/ 2171905 h 6479439"/>
              <a:gd name="connsiteX6021" fmla="*/ 5743412 w 9586368"/>
              <a:gd name="connsiteY6021" fmla="*/ 2171905 h 6479439"/>
              <a:gd name="connsiteX6022" fmla="*/ 5739393 w 9586368"/>
              <a:gd name="connsiteY6022" fmla="*/ 2167866 h 6479439"/>
              <a:gd name="connsiteX6023" fmla="*/ 5739393 w 9586368"/>
              <a:gd name="connsiteY6023" fmla="*/ 2157994 h 6479439"/>
              <a:gd name="connsiteX6024" fmla="*/ 6222042 w 9586368"/>
              <a:gd name="connsiteY6024" fmla="*/ 2153936 h 6479439"/>
              <a:gd name="connsiteX6025" fmla="*/ 6231952 w 9586368"/>
              <a:gd name="connsiteY6025" fmla="*/ 2153936 h 6479439"/>
              <a:gd name="connsiteX6026" fmla="*/ 6235971 w 9586368"/>
              <a:gd name="connsiteY6026" fmla="*/ 2157974 h 6479439"/>
              <a:gd name="connsiteX6027" fmla="*/ 6235971 w 9586368"/>
              <a:gd name="connsiteY6027" fmla="*/ 2167846 h 6479439"/>
              <a:gd name="connsiteX6028" fmla="*/ 6231952 w 9586368"/>
              <a:gd name="connsiteY6028" fmla="*/ 2171885 h 6479439"/>
              <a:gd name="connsiteX6029" fmla="*/ 6222042 w 9586368"/>
              <a:gd name="connsiteY6029" fmla="*/ 2171885 h 6479439"/>
              <a:gd name="connsiteX6030" fmla="*/ 6218023 w 9586368"/>
              <a:gd name="connsiteY6030" fmla="*/ 2167846 h 6479439"/>
              <a:gd name="connsiteX6031" fmla="*/ 6218023 w 9586368"/>
              <a:gd name="connsiteY6031" fmla="*/ 2157974 h 6479439"/>
              <a:gd name="connsiteX6032" fmla="*/ 5982729 w 9586368"/>
              <a:gd name="connsiteY6032" fmla="*/ 2153936 h 6479439"/>
              <a:gd name="connsiteX6033" fmla="*/ 5992639 w 9586368"/>
              <a:gd name="connsiteY6033" fmla="*/ 2153936 h 6479439"/>
              <a:gd name="connsiteX6034" fmla="*/ 5996658 w 9586368"/>
              <a:gd name="connsiteY6034" fmla="*/ 2157974 h 6479439"/>
              <a:gd name="connsiteX6035" fmla="*/ 5996658 w 9586368"/>
              <a:gd name="connsiteY6035" fmla="*/ 2167846 h 6479439"/>
              <a:gd name="connsiteX6036" fmla="*/ 5992639 w 9586368"/>
              <a:gd name="connsiteY6036" fmla="*/ 2171885 h 6479439"/>
              <a:gd name="connsiteX6037" fmla="*/ 5982729 w 9586368"/>
              <a:gd name="connsiteY6037" fmla="*/ 2171885 h 6479439"/>
              <a:gd name="connsiteX6038" fmla="*/ 5978710 w 9586368"/>
              <a:gd name="connsiteY6038" fmla="*/ 2167846 h 6479439"/>
              <a:gd name="connsiteX6039" fmla="*/ 5978710 w 9586368"/>
              <a:gd name="connsiteY6039" fmla="*/ 2157974 h 6479439"/>
              <a:gd name="connsiteX6040" fmla="*/ 6939983 w 9586368"/>
              <a:gd name="connsiteY6040" fmla="*/ 2153935 h 6479439"/>
              <a:gd name="connsiteX6041" fmla="*/ 6949894 w 9586368"/>
              <a:gd name="connsiteY6041" fmla="*/ 2153935 h 6479439"/>
              <a:gd name="connsiteX6042" fmla="*/ 6953913 w 9586368"/>
              <a:gd name="connsiteY6042" fmla="*/ 2157974 h 6479439"/>
              <a:gd name="connsiteX6043" fmla="*/ 6953913 w 9586368"/>
              <a:gd name="connsiteY6043" fmla="*/ 2167845 h 6479439"/>
              <a:gd name="connsiteX6044" fmla="*/ 6949894 w 9586368"/>
              <a:gd name="connsiteY6044" fmla="*/ 2171885 h 6479439"/>
              <a:gd name="connsiteX6045" fmla="*/ 6939983 w 9586368"/>
              <a:gd name="connsiteY6045" fmla="*/ 2171885 h 6479439"/>
              <a:gd name="connsiteX6046" fmla="*/ 6935964 w 9586368"/>
              <a:gd name="connsiteY6046" fmla="*/ 2167845 h 6479439"/>
              <a:gd name="connsiteX6047" fmla="*/ 6935964 w 9586368"/>
              <a:gd name="connsiteY6047" fmla="*/ 2157974 h 6479439"/>
              <a:gd name="connsiteX6048" fmla="*/ 6700670 w 9586368"/>
              <a:gd name="connsiteY6048" fmla="*/ 2153935 h 6479439"/>
              <a:gd name="connsiteX6049" fmla="*/ 6710581 w 9586368"/>
              <a:gd name="connsiteY6049" fmla="*/ 2153935 h 6479439"/>
              <a:gd name="connsiteX6050" fmla="*/ 6714600 w 9586368"/>
              <a:gd name="connsiteY6050" fmla="*/ 2157974 h 6479439"/>
              <a:gd name="connsiteX6051" fmla="*/ 6714600 w 9586368"/>
              <a:gd name="connsiteY6051" fmla="*/ 2167846 h 6479439"/>
              <a:gd name="connsiteX6052" fmla="*/ 6710581 w 9586368"/>
              <a:gd name="connsiteY6052" fmla="*/ 2171885 h 6479439"/>
              <a:gd name="connsiteX6053" fmla="*/ 6700670 w 9586368"/>
              <a:gd name="connsiteY6053" fmla="*/ 2171885 h 6479439"/>
              <a:gd name="connsiteX6054" fmla="*/ 6696651 w 9586368"/>
              <a:gd name="connsiteY6054" fmla="*/ 2167846 h 6479439"/>
              <a:gd name="connsiteX6055" fmla="*/ 6696651 w 9586368"/>
              <a:gd name="connsiteY6055" fmla="*/ 2157974 h 6479439"/>
              <a:gd name="connsiteX6056" fmla="*/ 6461356 w 9586368"/>
              <a:gd name="connsiteY6056" fmla="*/ 2153935 h 6479439"/>
              <a:gd name="connsiteX6057" fmla="*/ 6471266 w 9586368"/>
              <a:gd name="connsiteY6057" fmla="*/ 2153935 h 6479439"/>
              <a:gd name="connsiteX6058" fmla="*/ 6475285 w 9586368"/>
              <a:gd name="connsiteY6058" fmla="*/ 2157974 h 6479439"/>
              <a:gd name="connsiteX6059" fmla="*/ 6475285 w 9586368"/>
              <a:gd name="connsiteY6059" fmla="*/ 2167846 h 6479439"/>
              <a:gd name="connsiteX6060" fmla="*/ 6471266 w 9586368"/>
              <a:gd name="connsiteY6060" fmla="*/ 2171885 h 6479439"/>
              <a:gd name="connsiteX6061" fmla="*/ 6461356 w 9586368"/>
              <a:gd name="connsiteY6061" fmla="*/ 2171885 h 6479439"/>
              <a:gd name="connsiteX6062" fmla="*/ 6457337 w 9586368"/>
              <a:gd name="connsiteY6062" fmla="*/ 2167846 h 6479439"/>
              <a:gd name="connsiteX6063" fmla="*/ 6457337 w 9586368"/>
              <a:gd name="connsiteY6063" fmla="*/ 2157974 h 6479439"/>
              <a:gd name="connsiteX6064" fmla="*/ 7418611 w 9586368"/>
              <a:gd name="connsiteY6064" fmla="*/ 2153916 h 6479439"/>
              <a:gd name="connsiteX6065" fmla="*/ 7428521 w 9586368"/>
              <a:gd name="connsiteY6065" fmla="*/ 2153916 h 6479439"/>
              <a:gd name="connsiteX6066" fmla="*/ 7432540 w 9586368"/>
              <a:gd name="connsiteY6066" fmla="*/ 2157955 h 6479439"/>
              <a:gd name="connsiteX6067" fmla="*/ 7432540 w 9586368"/>
              <a:gd name="connsiteY6067" fmla="*/ 2167826 h 6479439"/>
              <a:gd name="connsiteX6068" fmla="*/ 7428521 w 9586368"/>
              <a:gd name="connsiteY6068" fmla="*/ 2171865 h 6479439"/>
              <a:gd name="connsiteX6069" fmla="*/ 7418611 w 9586368"/>
              <a:gd name="connsiteY6069" fmla="*/ 2171865 h 6479439"/>
              <a:gd name="connsiteX6070" fmla="*/ 7414592 w 9586368"/>
              <a:gd name="connsiteY6070" fmla="*/ 2167826 h 6479439"/>
              <a:gd name="connsiteX6071" fmla="*/ 7414592 w 9586368"/>
              <a:gd name="connsiteY6071" fmla="*/ 2157955 h 6479439"/>
              <a:gd name="connsiteX6072" fmla="*/ 7179298 w 9586368"/>
              <a:gd name="connsiteY6072" fmla="*/ 2153916 h 6479439"/>
              <a:gd name="connsiteX6073" fmla="*/ 7189209 w 9586368"/>
              <a:gd name="connsiteY6073" fmla="*/ 2153916 h 6479439"/>
              <a:gd name="connsiteX6074" fmla="*/ 7193228 w 9586368"/>
              <a:gd name="connsiteY6074" fmla="*/ 2157955 h 6479439"/>
              <a:gd name="connsiteX6075" fmla="*/ 7193228 w 9586368"/>
              <a:gd name="connsiteY6075" fmla="*/ 2167826 h 6479439"/>
              <a:gd name="connsiteX6076" fmla="*/ 7189209 w 9586368"/>
              <a:gd name="connsiteY6076" fmla="*/ 2171865 h 6479439"/>
              <a:gd name="connsiteX6077" fmla="*/ 7179298 w 9586368"/>
              <a:gd name="connsiteY6077" fmla="*/ 2171865 h 6479439"/>
              <a:gd name="connsiteX6078" fmla="*/ 7175279 w 9586368"/>
              <a:gd name="connsiteY6078" fmla="*/ 2167826 h 6479439"/>
              <a:gd name="connsiteX6079" fmla="*/ 7175279 w 9586368"/>
              <a:gd name="connsiteY6079" fmla="*/ 2157955 h 6479439"/>
              <a:gd name="connsiteX6080" fmla="*/ 8136553 w 9586368"/>
              <a:gd name="connsiteY6080" fmla="*/ 2153915 h 6479439"/>
              <a:gd name="connsiteX6081" fmla="*/ 8146464 w 9586368"/>
              <a:gd name="connsiteY6081" fmla="*/ 2153915 h 6479439"/>
              <a:gd name="connsiteX6082" fmla="*/ 8150483 w 9586368"/>
              <a:gd name="connsiteY6082" fmla="*/ 2157955 h 6479439"/>
              <a:gd name="connsiteX6083" fmla="*/ 8150483 w 9586368"/>
              <a:gd name="connsiteY6083" fmla="*/ 2167825 h 6479439"/>
              <a:gd name="connsiteX6084" fmla="*/ 8146464 w 9586368"/>
              <a:gd name="connsiteY6084" fmla="*/ 2171864 h 6479439"/>
              <a:gd name="connsiteX6085" fmla="*/ 8136553 w 9586368"/>
              <a:gd name="connsiteY6085" fmla="*/ 2171864 h 6479439"/>
              <a:gd name="connsiteX6086" fmla="*/ 8132534 w 9586368"/>
              <a:gd name="connsiteY6086" fmla="*/ 2167825 h 6479439"/>
              <a:gd name="connsiteX6087" fmla="*/ 8132534 w 9586368"/>
              <a:gd name="connsiteY6087" fmla="*/ 2157955 h 6479439"/>
              <a:gd name="connsiteX6088" fmla="*/ 7897241 w 9586368"/>
              <a:gd name="connsiteY6088" fmla="*/ 2153915 h 6479439"/>
              <a:gd name="connsiteX6089" fmla="*/ 7907151 w 9586368"/>
              <a:gd name="connsiteY6089" fmla="*/ 2153915 h 6479439"/>
              <a:gd name="connsiteX6090" fmla="*/ 7911170 w 9586368"/>
              <a:gd name="connsiteY6090" fmla="*/ 2157955 h 6479439"/>
              <a:gd name="connsiteX6091" fmla="*/ 7911170 w 9586368"/>
              <a:gd name="connsiteY6091" fmla="*/ 2167826 h 6479439"/>
              <a:gd name="connsiteX6092" fmla="*/ 7907151 w 9586368"/>
              <a:gd name="connsiteY6092" fmla="*/ 2171864 h 6479439"/>
              <a:gd name="connsiteX6093" fmla="*/ 7897241 w 9586368"/>
              <a:gd name="connsiteY6093" fmla="*/ 2171864 h 6479439"/>
              <a:gd name="connsiteX6094" fmla="*/ 7893222 w 9586368"/>
              <a:gd name="connsiteY6094" fmla="*/ 2167826 h 6479439"/>
              <a:gd name="connsiteX6095" fmla="*/ 7893222 w 9586368"/>
              <a:gd name="connsiteY6095" fmla="*/ 2157955 h 6479439"/>
              <a:gd name="connsiteX6096" fmla="*/ 7657926 w 9586368"/>
              <a:gd name="connsiteY6096" fmla="*/ 2153915 h 6479439"/>
              <a:gd name="connsiteX6097" fmla="*/ 7667836 w 9586368"/>
              <a:gd name="connsiteY6097" fmla="*/ 2153915 h 6479439"/>
              <a:gd name="connsiteX6098" fmla="*/ 7671855 w 9586368"/>
              <a:gd name="connsiteY6098" fmla="*/ 2157955 h 6479439"/>
              <a:gd name="connsiteX6099" fmla="*/ 7671855 w 9586368"/>
              <a:gd name="connsiteY6099" fmla="*/ 2167826 h 6479439"/>
              <a:gd name="connsiteX6100" fmla="*/ 7667836 w 9586368"/>
              <a:gd name="connsiteY6100" fmla="*/ 2171864 h 6479439"/>
              <a:gd name="connsiteX6101" fmla="*/ 7657926 w 9586368"/>
              <a:gd name="connsiteY6101" fmla="*/ 2171864 h 6479439"/>
              <a:gd name="connsiteX6102" fmla="*/ 7653906 w 9586368"/>
              <a:gd name="connsiteY6102" fmla="*/ 2167826 h 6479439"/>
              <a:gd name="connsiteX6103" fmla="*/ 7653906 w 9586368"/>
              <a:gd name="connsiteY6103" fmla="*/ 2157955 h 6479439"/>
              <a:gd name="connsiteX6104" fmla="*/ 8615184 w 9586368"/>
              <a:gd name="connsiteY6104" fmla="*/ 2153896 h 6479439"/>
              <a:gd name="connsiteX6105" fmla="*/ 8625095 w 9586368"/>
              <a:gd name="connsiteY6105" fmla="*/ 2153896 h 6479439"/>
              <a:gd name="connsiteX6106" fmla="*/ 8629114 w 9586368"/>
              <a:gd name="connsiteY6106" fmla="*/ 2157935 h 6479439"/>
              <a:gd name="connsiteX6107" fmla="*/ 8629114 w 9586368"/>
              <a:gd name="connsiteY6107" fmla="*/ 2167805 h 6479439"/>
              <a:gd name="connsiteX6108" fmla="*/ 8625095 w 9586368"/>
              <a:gd name="connsiteY6108" fmla="*/ 2171844 h 6479439"/>
              <a:gd name="connsiteX6109" fmla="*/ 8615184 w 9586368"/>
              <a:gd name="connsiteY6109" fmla="*/ 2171844 h 6479439"/>
              <a:gd name="connsiteX6110" fmla="*/ 8611165 w 9586368"/>
              <a:gd name="connsiteY6110" fmla="*/ 2167805 h 6479439"/>
              <a:gd name="connsiteX6111" fmla="*/ 8611165 w 9586368"/>
              <a:gd name="connsiteY6111" fmla="*/ 2157935 h 6479439"/>
              <a:gd name="connsiteX6112" fmla="*/ 8375869 w 9586368"/>
              <a:gd name="connsiteY6112" fmla="*/ 2153896 h 6479439"/>
              <a:gd name="connsiteX6113" fmla="*/ 8385779 w 9586368"/>
              <a:gd name="connsiteY6113" fmla="*/ 2153896 h 6479439"/>
              <a:gd name="connsiteX6114" fmla="*/ 8389799 w 9586368"/>
              <a:gd name="connsiteY6114" fmla="*/ 2157935 h 6479439"/>
              <a:gd name="connsiteX6115" fmla="*/ 8389799 w 9586368"/>
              <a:gd name="connsiteY6115" fmla="*/ 2167805 h 6479439"/>
              <a:gd name="connsiteX6116" fmla="*/ 8385779 w 9586368"/>
              <a:gd name="connsiteY6116" fmla="*/ 2171844 h 6479439"/>
              <a:gd name="connsiteX6117" fmla="*/ 8375869 w 9586368"/>
              <a:gd name="connsiteY6117" fmla="*/ 2171844 h 6479439"/>
              <a:gd name="connsiteX6118" fmla="*/ 8371850 w 9586368"/>
              <a:gd name="connsiteY6118" fmla="*/ 2167805 h 6479439"/>
              <a:gd name="connsiteX6119" fmla="*/ 8371850 w 9586368"/>
              <a:gd name="connsiteY6119" fmla="*/ 2157935 h 6479439"/>
              <a:gd name="connsiteX6120" fmla="*/ 9333125 w 9586368"/>
              <a:gd name="connsiteY6120" fmla="*/ 2153895 h 6479439"/>
              <a:gd name="connsiteX6121" fmla="*/ 9343036 w 9586368"/>
              <a:gd name="connsiteY6121" fmla="*/ 2153895 h 6479439"/>
              <a:gd name="connsiteX6122" fmla="*/ 9347055 w 9586368"/>
              <a:gd name="connsiteY6122" fmla="*/ 2157934 h 6479439"/>
              <a:gd name="connsiteX6123" fmla="*/ 9347055 w 9586368"/>
              <a:gd name="connsiteY6123" fmla="*/ 2167805 h 6479439"/>
              <a:gd name="connsiteX6124" fmla="*/ 9343036 w 9586368"/>
              <a:gd name="connsiteY6124" fmla="*/ 2171844 h 6479439"/>
              <a:gd name="connsiteX6125" fmla="*/ 9333125 w 9586368"/>
              <a:gd name="connsiteY6125" fmla="*/ 2171844 h 6479439"/>
              <a:gd name="connsiteX6126" fmla="*/ 9329106 w 9586368"/>
              <a:gd name="connsiteY6126" fmla="*/ 2167805 h 6479439"/>
              <a:gd name="connsiteX6127" fmla="*/ 9329106 w 9586368"/>
              <a:gd name="connsiteY6127" fmla="*/ 2157934 h 6479439"/>
              <a:gd name="connsiteX6128" fmla="*/ 9093811 w 9586368"/>
              <a:gd name="connsiteY6128" fmla="*/ 2153895 h 6479439"/>
              <a:gd name="connsiteX6129" fmla="*/ 9103722 w 9586368"/>
              <a:gd name="connsiteY6129" fmla="*/ 2153895 h 6479439"/>
              <a:gd name="connsiteX6130" fmla="*/ 9107741 w 9586368"/>
              <a:gd name="connsiteY6130" fmla="*/ 2157935 h 6479439"/>
              <a:gd name="connsiteX6131" fmla="*/ 9107741 w 9586368"/>
              <a:gd name="connsiteY6131" fmla="*/ 2167805 h 6479439"/>
              <a:gd name="connsiteX6132" fmla="*/ 9103722 w 9586368"/>
              <a:gd name="connsiteY6132" fmla="*/ 2171844 h 6479439"/>
              <a:gd name="connsiteX6133" fmla="*/ 9093811 w 9586368"/>
              <a:gd name="connsiteY6133" fmla="*/ 2171844 h 6479439"/>
              <a:gd name="connsiteX6134" fmla="*/ 9089792 w 9586368"/>
              <a:gd name="connsiteY6134" fmla="*/ 2167805 h 6479439"/>
              <a:gd name="connsiteX6135" fmla="*/ 9089792 w 9586368"/>
              <a:gd name="connsiteY6135" fmla="*/ 2157935 h 6479439"/>
              <a:gd name="connsiteX6136" fmla="*/ 8854496 w 9586368"/>
              <a:gd name="connsiteY6136" fmla="*/ 2153895 h 6479439"/>
              <a:gd name="connsiteX6137" fmla="*/ 8864407 w 9586368"/>
              <a:gd name="connsiteY6137" fmla="*/ 2153895 h 6479439"/>
              <a:gd name="connsiteX6138" fmla="*/ 8868426 w 9586368"/>
              <a:gd name="connsiteY6138" fmla="*/ 2157935 h 6479439"/>
              <a:gd name="connsiteX6139" fmla="*/ 8868426 w 9586368"/>
              <a:gd name="connsiteY6139" fmla="*/ 2167805 h 6479439"/>
              <a:gd name="connsiteX6140" fmla="*/ 8864407 w 9586368"/>
              <a:gd name="connsiteY6140" fmla="*/ 2171844 h 6479439"/>
              <a:gd name="connsiteX6141" fmla="*/ 8854496 w 9586368"/>
              <a:gd name="connsiteY6141" fmla="*/ 2171844 h 6479439"/>
              <a:gd name="connsiteX6142" fmla="*/ 8850477 w 9586368"/>
              <a:gd name="connsiteY6142" fmla="*/ 2167805 h 6479439"/>
              <a:gd name="connsiteX6143" fmla="*/ 8850477 w 9586368"/>
              <a:gd name="connsiteY6143" fmla="*/ 2157935 h 6479439"/>
              <a:gd name="connsiteX6144" fmla="*/ 9572438 w 9586368"/>
              <a:gd name="connsiteY6144" fmla="*/ 2153876 h 6479439"/>
              <a:gd name="connsiteX6145" fmla="*/ 9582349 w 9586368"/>
              <a:gd name="connsiteY6145" fmla="*/ 2153876 h 6479439"/>
              <a:gd name="connsiteX6146" fmla="*/ 9586368 w 9586368"/>
              <a:gd name="connsiteY6146" fmla="*/ 2157914 h 6479439"/>
              <a:gd name="connsiteX6147" fmla="*/ 9586368 w 9586368"/>
              <a:gd name="connsiteY6147" fmla="*/ 2167786 h 6479439"/>
              <a:gd name="connsiteX6148" fmla="*/ 9582349 w 9586368"/>
              <a:gd name="connsiteY6148" fmla="*/ 2171824 h 6479439"/>
              <a:gd name="connsiteX6149" fmla="*/ 9572438 w 9586368"/>
              <a:gd name="connsiteY6149" fmla="*/ 2171824 h 6479439"/>
              <a:gd name="connsiteX6150" fmla="*/ 9568419 w 9586368"/>
              <a:gd name="connsiteY6150" fmla="*/ 2167786 h 6479439"/>
              <a:gd name="connsiteX6151" fmla="*/ 9568419 w 9586368"/>
              <a:gd name="connsiteY6151" fmla="*/ 2157914 h 6479439"/>
              <a:gd name="connsiteX6152" fmla="*/ 1200582 w 9586368"/>
              <a:gd name="connsiteY6152" fmla="*/ 2153867 h 6479439"/>
              <a:gd name="connsiteX6153" fmla="*/ 1210491 w 9586368"/>
              <a:gd name="connsiteY6153" fmla="*/ 2153867 h 6479439"/>
              <a:gd name="connsiteX6154" fmla="*/ 1214510 w 9586368"/>
              <a:gd name="connsiteY6154" fmla="*/ 2157906 h 6479439"/>
              <a:gd name="connsiteX6155" fmla="*/ 1214510 w 9586368"/>
              <a:gd name="connsiteY6155" fmla="*/ 2167776 h 6479439"/>
              <a:gd name="connsiteX6156" fmla="*/ 1210491 w 9586368"/>
              <a:gd name="connsiteY6156" fmla="*/ 2171815 h 6479439"/>
              <a:gd name="connsiteX6157" fmla="*/ 1200582 w 9586368"/>
              <a:gd name="connsiteY6157" fmla="*/ 2171815 h 6479439"/>
              <a:gd name="connsiteX6158" fmla="*/ 1196562 w 9586368"/>
              <a:gd name="connsiteY6158" fmla="*/ 2167776 h 6479439"/>
              <a:gd name="connsiteX6159" fmla="*/ 1196562 w 9586368"/>
              <a:gd name="connsiteY6159" fmla="*/ 2157906 h 6479439"/>
              <a:gd name="connsiteX6160" fmla="*/ 961268 w 9586368"/>
              <a:gd name="connsiteY6160" fmla="*/ 2153867 h 6479439"/>
              <a:gd name="connsiteX6161" fmla="*/ 971179 w 9586368"/>
              <a:gd name="connsiteY6161" fmla="*/ 2153867 h 6479439"/>
              <a:gd name="connsiteX6162" fmla="*/ 975198 w 9586368"/>
              <a:gd name="connsiteY6162" fmla="*/ 2157906 h 6479439"/>
              <a:gd name="connsiteX6163" fmla="*/ 975198 w 9586368"/>
              <a:gd name="connsiteY6163" fmla="*/ 2167776 h 6479439"/>
              <a:gd name="connsiteX6164" fmla="*/ 971179 w 9586368"/>
              <a:gd name="connsiteY6164" fmla="*/ 2171815 h 6479439"/>
              <a:gd name="connsiteX6165" fmla="*/ 961268 w 9586368"/>
              <a:gd name="connsiteY6165" fmla="*/ 2171815 h 6479439"/>
              <a:gd name="connsiteX6166" fmla="*/ 957250 w 9586368"/>
              <a:gd name="connsiteY6166" fmla="*/ 2167776 h 6479439"/>
              <a:gd name="connsiteX6167" fmla="*/ 957250 w 9586368"/>
              <a:gd name="connsiteY6167" fmla="*/ 2157906 h 6479439"/>
              <a:gd name="connsiteX6168" fmla="*/ 1679214 w 9586368"/>
              <a:gd name="connsiteY6168" fmla="*/ 2153867 h 6479439"/>
              <a:gd name="connsiteX6169" fmla="*/ 1689123 w 9586368"/>
              <a:gd name="connsiteY6169" fmla="*/ 2153867 h 6479439"/>
              <a:gd name="connsiteX6170" fmla="*/ 1693144 w 9586368"/>
              <a:gd name="connsiteY6170" fmla="*/ 2157905 h 6479439"/>
              <a:gd name="connsiteX6171" fmla="*/ 1693144 w 9586368"/>
              <a:gd name="connsiteY6171" fmla="*/ 2167775 h 6479439"/>
              <a:gd name="connsiteX6172" fmla="*/ 1689123 w 9586368"/>
              <a:gd name="connsiteY6172" fmla="*/ 2171814 h 6479439"/>
              <a:gd name="connsiteX6173" fmla="*/ 1679214 w 9586368"/>
              <a:gd name="connsiteY6173" fmla="*/ 2171814 h 6479439"/>
              <a:gd name="connsiteX6174" fmla="*/ 1675195 w 9586368"/>
              <a:gd name="connsiteY6174" fmla="*/ 2167775 h 6479439"/>
              <a:gd name="connsiteX6175" fmla="*/ 1675195 w 9586368"/>
              <a:gd name="connsiteY6175" fmla="*/ 2157905 h 6479439"/>
              <a:gd name="connsiteX6176" fmla="*/ 1439897 w 9586368"/>
              <a:gd name="connsiteY6176" fmla="*/ 2153867 h 6479439"/>
              <a:gd name="connsiteX6177" fmla="*/ 1449807 w 9586368"/>
              <a:gd name="connsiteY6177" fmla="*/ 2153867 h 6479439"/>
              <a:gd name="connsiteX6178" fmla="*/ 1453826 w 9586368"/>
              <a:gd name="connsiteY6178" fmla="*/ 2157905 h 6479439"/>
              <a:gd name="connsiteX6179" fmla="*/ 1453826 w 9586368"/>
              <a:gd name="connsiteY6179" fmla="*/ 2167776 h 6479439"/>
              <a:gd name="connsiteX6180" fmla="*/ 1449807 w 9586368"/>
              <a:gd name="connsiteY6180" fmla="*/ 2171814 h 6479439"/>
              <a:gd name="connsiteX6181" fmla="*/ 1439897 w 9586368"/>
              <a:gd name="connsiteY6181" fmla="*/ 2171814 h 6479439"/>
              <a:gd name="connsiteX6182" fmla="*/ 1435878 w 9586368"/>
              <a:gd name="connsiteY6182" fmla="*/ 2167776 h 6479439"/>
              <a:gd name="connsiteX6183" fmla="*/ 1435878 w 9586368"/>
              <a:gd name="connsiteY6183" fmla="*/ 2157905 h 6479439"/>
              <a:gd name="connsiteX6184" fmla="*/ 1918513 w 9586368"/>
              <a:gd name="connsiteY6184" fmla="*/ 2153855 h 6479439"/>
              <a:gd name="connsiteX6185" fmla="*/ 1928422 w 9586368"/>
              <a:gd name="connsiteY6185" fmla="*/ 2153855 h 6479439"/>
              <a:gd name="connsiteX6186" fmla="*/ 1932443 w 9586368"/>
              <a:gd name="connsiteY6186" fmla="*/ 2157892 h 6479439"/>
              <a:gd name="connsiteX6187" fmla="*/ 1932443 w 9586368"/>
              <a:gd name="connsiteY6187" fmla="*/ 2167763 h 6479439"/>
              <a:gd name="connsiteX6188" fmla="*/ 1928422 w 9586368"/>
              <a:gd name="connsiteY6188" fmla="*/ 2171803 h 6479439"/>
              <a:gd name="connsiteX6189" fmla="*/ 1918513 w 9586368"/>
              <a:gd name="connsiteY6189" fmla="*/ 2171803 h 6479439"/>
              <a:gd name="connsiteX6190" fmla="*/ 1914494 w 9586368"/>
              <a:gd name="connsiteY6190" fmla="*/ 2167763 h 6479439"/>
              <a:gd name="connsiteX6191" fmla="*/ 1914494 w 9586368"/>
              <a:gd name="connsiteY6191" fmla="*/ 2157892 h 6479439"/>
              <a:gd name="connsiteX6192" fmla="*/ 2157821 w 9586368"/>
              <a:gd name="connsiteY6192" fmla="*/ 2153850 h 6479439"/>
              <a:gd name="connsiteX6193" fmla="*/ 2167732 w 9586368"/>
              <a:gd name="connsiteY6193" fmla="*/ 2153850 h 6479439"/>
              <a:gd name="connsiteX6194" fmla="*/ 2171750 w 9586368"/>
              <a:gd name="connsiteY6194" fmla="*/ 2157889 h 6479439"/>
              <a:gd name="connsiteX6195" fmla="*/ 2171750 w 9586368"/>
              <a:gd name="connsiteY6195" fmla="*/ 2167759 h 6479439"/>
              <a:gd name="connsiteX6196" fmla="*/ 2167732 w 9586368"/>
              <a:gd name="connsiteY6196" fmla="*/ 2171798 h 6479439"/>
              <a:gd name="connsiteX6197" fmla="*/ 2157821 w 9586368"/>
              <a:gd name="connsiteY6197" fmla="*/ 2171798 h 6479439"/>
              <a:gd name="connsiteX6198" fmla="*/ 2153803 w 9586368"/>
              <a:gd name="connsiteY6198" fmla="*/ 2167759 h 6479439"/>
              <a:gd name="connsiteX6199" fmla="*/ 2153803 w 9586368"/>
              <a:gd name="connsiteY6199" fmla="*/ 2157889 h 6479439"/>
              <a:gd name="connsiteX6200" fmla="*/ 4032 w 9586368"/>
              <a:gd name="connsiteY6200" fmla="*/ 2153832 h 6479439"/>
              <a:gd name="connsiteX6201" fmla="*/ 13942 w 9586368"/>
              <a:gd name="connsiteY6201" fmla="*/ 2153832 h 6479439"/>
              <a:gd name="connsiteX6202" fmla="*/ 17961 w 9586368"/>
              <a:gd name="connsiteY6202" fmla="*/ 2157870 h 6479439"/>
              <a:gd name="connsiteX6203" fmla="*/ 17961 w 9586368"/>
              <a:gd name="connsiteY6203" fmla="*/ 2167741 h 6479439"/>
              <a:gd name="connsiteX6204" fmla="*/ 13942 w 9586368"/>
              <a:gd name="connsiteY6204" fmla="*/ 2171780 h 6479439"/>
              <a:gd name="connsiteX6205" fmla="*/ 4032 w 9586368"/>
              <a:gd name="connsiteY6205" fmla="*/ 2171780 h 6479439"/>
              <a:gd name="connsiteX6206" fmla="*/ 13 w 9586368"/>
              <a:gd name="connsiteY6206" fmla="*/ 2167741 h 6479439"/>
              <a:gd name="connsiteX6207" fmla="*/ 13 w 9586368"/>
              <a:gd name="connsiteY6207" fmla="*/ 2157870 h 6479439"/>
              <a:gd name="connsiteX6208" fmla="*/ 721971 w 9586368"/>
              <a:gd name="connsiteY6208" fmla="*/ 2153832 h 6479439"/>
              <a:gd name="connsiteX6209" fmla="*/ 731881 w 9586368"/>
              <a:gd name="connsiteY6209" fmla="*/ 2153832 h 6479439"/>
              <a:gd name="connsiteX6210" fmla="*/ 735900 w 9586368"/>
              <a:gd name="connsiteY6210" fmla="*/ 2157870 h 6479439"/>
              <a:gd name="connsiteX6211" fmla="*/ 735900 w 9586368"/>
              <a:gd name="connsiteY6211" fmla="*/ 2167740 h 6479439"/>
              <a:gd name="connsiteX6212" fmla="*/ 731881 w 9586368"/>
              <a:gd name="connsiteY6212" fmla="*/ 2171780 h 6479439"/>
              <a:gd name="connsiteX6213" fmla="*/ 721971 w 9586368"/>
              <a:gd name="connsiteY6213" fmla="*/ 2171780 h 6479439"/>
              <a:gd name="connsiteX6214" fmla="*/ 717952 w 9586368"/>
              <a:gd name="connsiteY6214" fmla="*/ 2167740 h 6479439"/>
              <a:gd name="connsiteX6215" fmla="*/ 717952 w 9586368"/>
              <a:gd name="connsiteY6215" fmla="*/ 2157870 h 6479439"/>
              <a:gd name="connsiteX6216" fmla="*/ 482659 w 9586368"/>
              <a:gd name="connsiteY6216" fmla="*/ 2153832 h 6479439"/>
              <a:gd name="connsiteX6217" fmla="*/ 492569 w 9586368"/>
              <a:gd name="connsiteY6217" fmla="*/ 2153832 h 6479439"/>
              <a:gd name="connsiteX6218" fmla="*/ 496588 w 9586368"/>
              <a:gd name="connsiteY6218" fmla="*/ 2157870 h 6479439"/>
              <a:gd name="connsiteX6219" fmla="*/ 496588 w 9586368"/>
              <a:gd name="connsiteY6219" fmla="*/ 2167741 h 6479439"/>
              <a:gd name="connsiteX6220" fmla="*/ 492569 w 9586368"/>
              <a:gd name="connsiteY6220" fmla="*/ 2171780 h 6479439"/>
              <a:gd name="connsiteX6221" fmla="*/ 482659 w 9586368"/>
              <a:gd name="connsiteY6221" fmla="*/ 2171780 h 6479439"/>
              <a:gd name="connsiteX6222" fmla="*/ 478640 w 9586368"/>
              <a:gd name="connsiteY6222" fmla="*/ 2167741 h 6479439"/>
              <a:gd name="connsiteX6223" fmla="*/ 478640 w 9586368"/>
              <a:gd name="connsiteY6223" fmla="*/ 2157870 h 6479439"/>
              <a:gd name="connsiteX6224" fmla="*/ 243345 w 9586368"/>
              <a:gd name="connsiteY6224" fmla="*/ 2153832 h 6479439"/>
              <a:gd name="connsiteX6225" fmla="*/ 253255 w 9586368"/>
              <a:gd name="connsiteY6225" fmla="*/ 2153832 h 6479439"/>
              <a:gd name="connsiteX6226" fmla="*/ 257274 w 9586368"/>
              <a:gd name="connsiteY6226" fmla="*/ 2157870 h 6479439"/>
              <a:gd name="connsiteX6227" fmla="*/ 257274 w 9586368"/>
              <a:gd name="connsiteY6227" fmla="*/ 2167741 h 6479439"/>
              <a:gd name="connsiteX6228" fmla="*/ 253255 w 9586368"/>
              <a:gd name="connsiteY6228" fmla="*/ 2171780 h 6479439"/>
              <a:gd name="connsiteX6229" fmla="*/ 243345 w 9586368"/>
              <a:gd name="connsiteY6229" fmla="*/ 2171780 h 6479439"/>
              <a:gd name="connsiteX6230" fmla="*/ 239326 w 9586368"/>
              <a:gd name="connsiteY6230" fmla="*/ 2167741 h 6479439"/>
              <a:gd name="connsiteX6231" fmla="*/ 239326 w 9586368"/>
              <a:gd name="connsiteY6231" fmla="*/ 2157870 h 6479439"/>
              <a:gd name="connsiteX6232" fmla="*/ 2393104 w 9586368"/>
              <a:gd name="connsiteY6232" fmla="*/ 1914701 h 6479439"/>
              <a:gd name="connsiteX6233" fmla="*/ 2403015 w 9586368"/>
              <a:gd name="connsiteY6233" fmla="*/ 1914701 h 6479439"/>
              <a:gd name="connsiteX6234" fmla="*/ 2407034 w 9586368"/>
              <a:gd name="connsiteY6234" fmla="*/ 1918739 h 6479439"/>
              <a:gd name="connsiteX6235" fmla="*/ 2407034 w 9586368"/>
              <a:gd name="connsiteY6235" fmla="*/ 1928610 h 6479439"/>
              <a:gd name="connsiteX6236" fmla="*/ 2403015 w 9586368"/>
              <a:gd name="connsiteY6236" fmla="*/ 1932649 h 6479439"/>
              <a:gd name="connsiteX6237" fmla="*/ 2393104 w 9586368"/>
              <a:gd name="connsiteY6237" fmla="*/ 1932649 h 6479439"/>
              <a:gd name="connsiteX6238" fmla="*/ 2389087 w 9586368"/>
              <a:gd name="connsiteY6238" fmla="*/ 1928610 h 6479439"/>
              <a:gd name="connsiteX6239" fmla="*/ 2389087 w 9586368"/>
              <a:gd name="connsiteY6239" fmla="*/ 1918739 h 6479439"/>
              <a:gd name="connsiteX6240" fmla="*/ 3350359 w 9586368"/>
              <a:gd name="connsiteY6240" fmla="*/ 1914699 h 6479439"/>
              <a:gd name="connsiteX6241" fmla="*/ 3360268 w 9586368"/>
              <a:gd name="connsiteY6241" fmla="*/ 1914699 h 6479439"/>
              <a:gd name="connsiteX6242" fmla="*/ 3364287 w 9586368"/>
              <a:gd name="connsiteY6242" fmla="*/ 1918738 h 6479439"/>
              <a:gd name="connsiteX6243" fmla="*/ 3364287 w 9586368"/>
              <a:gd name="connsiteY6243" fmla="*/ 1928610 h 6479439"/>
              <a:gd name="connsiteX6244" fmla="*/ 3360268 w 9586368"/>
              <a:gd name="connsiteY6244" fmla="*/ 1932649 h 6479439"/>
              <a:gd name="connsiteX6245" fmla="*/ 3350359 w 9586368"/>
              <a:gd name="connsiteY6245" fmla="*/ 1932649 h 6479439"/>
              <a:gd name="connsiteX6246" fmla="*/ 3346340 w 9586368"/>
              <a:gd name="connsiteY6246" fmla="*/ 1928610 h 6479439"/>
              <a:gd name="connsiteX6247" fmla="*/ 3346340 w 9586368"/>
              <a:gd name="connsiteY6247" fmla="*/ 1918738 h 6479439"/>
              <a:gd name="connsiteX6248" fmla="*/ 3111048 w 9586368"/>
              <a:gd name="connsiteY6248" fmla="*/ 1914699 h 6479439"/>
              <a:gd name="connsiteX6249" fmla="*/ 3120959 w 9586368"/>
              <a:gd name="connsiteY6249" fmla="*/ 1914699 h 6479439"/>
              <a:gd name="connsiteX6250" fmla="*/ 3124977 w 9586368"/>
              <a:gd name="connsiteY6250" fmla="*/ 1918739 h 6479439"/>
              <a:gd name="connsiteX6251" fmla="*/ 3124977 w 9586368"/>
              <a:gd name="connsiteY6251" fmla="*/ 1928610 h 6479439"/>
              <a:gd name="connsiteX6252" fmla="*/ 3120959 w 9586368"/>
              <a:gd name="connsiteY6252" fmla="*/ 1932649 h 6479439"/>
              <a:gd name="connsiteX6253" fmla="*/ 3111048 w 9586368"/>
              <a:gd name="connsiteY6253" fmla="*/ 1932649 h 6479439"/>
              <a:gd name="connsiteX6254" fmla="*/ 3107029 w 9586368"/>
              <a:gd name="connsiteY6254" fmla="*/ 1928610 h 6479439"/>
              <a:gd name="connsiteX6255" fmla="*/ 3107029 w 9586368"/>
              <a:gd name="connsiteY6255" fmla="*/ 1918739 h 6479439"/>
              <a:gd name="connsiteX6256" fmla="*/ 2871737 w 9586368"/>
              <a:gd name="connsiteY6256" fmla="*/ 1914699 h 6479439"/>
              <a:gd name="connsiteX6257" fmla="*/ 2881646 w 9586368"/>
              <a:gd name="connsiteY6257" fmla="*/ 1914699 h 6479439"/>
              <a:gd name="connsiteX6258" fmla="*/ 2885666 w 9586368"/>
              <a:gd name="connsiteY6258" fmla="*/ 1918739 h 6479439"/>
              <a:gd name="connsiteX6259" fmla="*/ 2885666 w 9586368"/>
              <a:gd name="connsiteY6259" fmla="*/ 1928610 h 6479439"/>
              <a:gd name="connsiteX6260" fmla="*/ 2881646 w 9586368"/>
              <a:gd name="connsiteY6260" fmla="*/ 1932649 h 6479439"/>
              <a:gd name="connsiteX6261" fmla="*/ 2871737 w 9586368"/>
              <a:gd name="connsiteY6261" fmla="*/ 1932649 h 6479439"/>
              <a:gd name="connsiteX6262" fmla="*/ 2867717 w 9586368"/>
              <a:gd name="connsiteY6262" fmla="*/ 1928610 h 6479439"/>
              <a:gd name="connsiteX6263" fmla="*/ 2867717 w 9586368"/>
              <a:gd name="connsiteY6263" fmla="*/ 1918739 h 6479439"/>
              <a:gd name="connsiteX6264" fmla="*/ 2632423 w 9586368"/>
              <a:gd name="connsiteY6264" fmla="*/ 1914699 h 6479439"/>
              <a:gd name="connsiteX6265" fmla="*/ 2642334 w 9586368"/>
              <a:gd name="connsiteY6265" fmla="*/ 1914699 h 6479439"/>
              <a:gd name="connsiteX6266" fmla="*/ 2646352 w 9586368"/>
              <a:gd name="connsiteY6266" fmla="*/ 1918739 h 6479439"/>
              <a:gd name="connsiteX6267" fmla="*/ 2646352 w 9586368"/>
              <a:gd name="connsiteY6267" fmla="*/ 1928610 h 6479439"/>
              <a:gd name="connsiteX6268" fmla="*/ 2642334 w 9586368"/>
              <a:gd name="connsiteY6268" fmla="*/ 1932649 h 6479439"/>
              <a:gd name="connsiteX6269" fmla="*/ 2632423 w 9586368"/>
              <a:gd name="connsiteY6269" fmla="*/ 1932649 h 6479439"/>
              <a:gd name="connsiteX6270" fmla="*/ 2628404 w 9586368"/>
              <a:gd name="connsiteY6270" fmla="*/ 1928610 h 6479439"/>
              <a:gd name="connsiteX6271" fmla="*/ 2628404 w 9586368"/>
              <a:gd name="connsiteY6271" fmla="*/ 1918739 h 6479439"/>
              <a:gd name="connsiteX6272" fmla="*/ 3589676 w 9586368"/>
              <a:gd name="connsiteY6272" fmla="*/ 1914682 h 6479439"/>
              <a:gd name="connsiteX6273" fmla="*/ 3599585 w 9586368"/>
              <a:gd name="connsiteY6273" fmla="*/ 1914682 h 6479439"/>
              <a:gd name="connsiteX6274" fmla="*/ 3603604 w 9586368"/>
              <a:gd name="connsiteY6274" fmla="*/ 1918721 h 6479439"/>
              <a:gd name="connsiteX6275" fmla="*/ 3603604 w 9586368"/>
              <a:gd name="connsiteY6275" fmla="*/ 1928592 h 6479439"/>
              <a:gd name="connsiteX6276" fmla="*/ 3599585 w 9586368"/>
              <a:gd name="connsiteY6276" fmla="*/ 1932631 h 6479439"/>
              <a:gd name="connsiteX6277" fmla="*/ 3589676 w 9586368"/>
              <a:gd name="connsiteY6277" fmla="*/ 1932631 h 6479439"/>
              <a:gd name="connsiteX6278" fmla="*/ 3585657 w 9586368"/>
              <a:gd name="connsiteY6278" fmla="*/ 1928592 h 6479439"/>
              <a:gd name="connsiteX6279" fmla="*/ 3585657 w 9586368"/>
              <a:gd name="connsiteY6279" fmla="*/ 1918721 h 6479439"/>
              <a:gd name="connsiteX6280" fmla="*/ 4546929 w 9586368"/>
              <a:gd name="connsiteY6280" fmla="*/ 1914681 h 6479439"/>
              <a:gd name="connsiteX6281" fmla="*/ 4556840 w 9586368"/>
              <a:gd name="connsiteY6281" fmla="*/ 1914681 h 6479439"/>
              <a:gd name="connsiteX6282" fmla="*/ 4560859 w 9586368"/>
              <a:gd name="connsiteY6282" fmla="*/ 1918719 h 6479439"/>
              <a:gd name="connsiteX6283" fmla="*/ 4560859 w 9586368"/>
              <a:gd name="connsiteY6283" fmla="*/ 1928592 h 6479439"/>
              <a:gd name="connsiteX6284" fmla="*/ 4556840 w 9586368"/>
              <a:gd name="connsiteY6284" fmla="*/ 1932631 h 6479439"/>
              <a:gd name="connsiteX6285" fmla="*/ 4546929 w 9586368"/>
              <a:gd name="connsiteY6285" fmla="*/ 1932631 h 6479439"/>
              <a:gd name="connsiteX6286" fmla="*/ 4542910 w 9586368"/>
              <a:gd name="connsiteY6286" fmla="*/ 1928592 h 6479439"/>
              <a:gd name="connsiteX6287" fmla="*/ 4542910 w 9586368"/>
              <a:gd name="connsiteY6287" fmla="*/ 1918719 h 6479439"/>
              <a:gd name="connsiteX6288" fmla="*/ 4307612 w 9586368"/>
              <a:gd name="connsiteY6288" fmla="*/ 1914681 h 6479439"/>
              <a:gd name="connsiteX6289" fmla="*/ 4317523 w 9586368"/>
              <a:gd name="connsiteY6289" fmla="*/ 1914681 h 6479439"/>
              <a:gd name="connsiteX6290" fmla="*/ 4321543 w 9586368"/>
              <a:gd name="connsiteY6290" fmla="*/ 1918720 h 6479439"/>
              <a:gd name="connsiteX6291" fmla="*/ 4321543 w 9586368"/>
              <a:gd name="connsiteY6291" fmla="*/ 1928592 h 6479439"/>
              <a:gd name="connsiteX6292" fmla="*/ 4317523 w 9586368"/>
              <a:gd name="connsiteY6292" fmla="*/ 1932631 h 6479439"/>
              <a:gd name="connsiteX6293" fmla="*/ 4307612 w 9586368"/>
              <a:gd name="connsiteY6293" fmla="*/ 1932631 h 6479439"/>
              <a:gd name="connsiteX6294" fmla="*/ 4303595 w 9586368"/>
              <a:gd name="connsiteY6294" fmla="*/ 1928592 h 6479439"/>
              <a:gd name="connsiteX6295" fmla="*/ 4303595 w 9586368"/>
              <a:gd name="connsiteY6295" fmla="*/ 1918720 h 6479439"/>
              <a:gd name="connsiteX6296" fmla="*/ 4068297 w 9586368"/>
              <a:gd name="connsiteY6296" fmla="*/ 1914681 h 6479439"/>
              <a:gd name="connsiteX6297" fmla="*/ 4078210 w 9586368"/>
              <a:gd name="connsiteY6297" fmla="*/ 1914681 h 6479439"/>
              <a:gd name="connsiteX6298" fmla="*/ 4082229 w 9586368"/>
              <a:gd name="connsiteY6298" fmla="*/ 1918720 h 6479439"/>
              <a:gd name="connsiteX6299" fmla="*/ 4082229 w 9586368"/>
              <a:gd name="connsiteY6299" fmla="*/ 1928592 h 6479439"/>
              <a:gd name="connsiteX6300" fmla="*/ 4078210 w 9586368"/>
              <a:gd name="connsiteY6300" fmla="*/ 1932631 h 6479439"/>
              <a:gd name="connsiteX6301" fmla="*/ 4068297 w 9586368"/>
              <a:gd name="connsiteY6301" fmla="*/ 1932631 h 6479439"/>
              <a:gd name="connsiteX6302" fmla="*/ 4064278 w 9586368"/>
              <a:gd name="connsiteY6302" fmla="*/ 1928592 h 6479439"/>
              <a:gd name="connsiteX6303" fmla="*/ 4064278 w 9586368"/>
              <a:gd name="connsiteY6303" fmla="*/ 1918720 h 6479439"/>
              <a:gd name="connsiteX6304" fmla="*/ 3828990 w 9586368"/>
              <a:gd name="connsiteY6304" fmla="*/ 1914681 h 6479439"/>
              <a:gd name="connsiteX6305" fmla="*/ 3838899 w 9586368"/>
              <a:gd name="connsiteY6305" fmla="*/ 1914681 h 6479439"/>
              <a:gd name="connsiteX6306" fmla="*/ 3842917 w 9586368"/>
              <a:gd name="connsiteY6306" fmla="*/ 1918720 h 6479439"/>
              <a:gd name="connsiteX6307" fmla="*/ 3842917 w 9586368"/>
              <a:gd name="connsiteY6307" fmla="*/ 1928592 h 6479439"/>
              <a:gd name="connsiteX6308" fmla="*/ 3838899 w 9586368"/>
              <a:gd name="connsiteY6308" fmla="*/ 1932631 h 6479439"/>
              <a:gd name="connsiteX6309" fmla="*/ 3828990 w 9586368"/>
              <a:gd name="connsiteY6309" fmla="*/ 1932631 h 6479439"/>
              <a:gd name="connsiteX6310" fmla="*/ 3824971 w 9586368"/>
              <a:gd name="connsiteY6310" fmla="*/ 1928592 h 6479439"/>
              <a:gd name="connsiteX6311" fmla="*/ 3824971 w 9586368"/>
              <a:gd name="connsiteY6311" fmla="*/ 1918720 h 6479439"/>
              <a:gd name="connsiteX6312" fmla="*/ 4786241 w 9586368"/>
              <a:gd name="connsiteY6312" fmla="*/ 1914664 h 6479439"/>
              <a:gd name="connsiteX6313" fmla="*/ 4796152 w 9586368"/>
              <a:gd name="connsiteY6313" fmla="*/ 1914664 h 6479439"/>
              <a:gd name="connsiteX6314" fmla="*/ 4800171 w 9586368"/>
              <a:gd name="connsiteY6314" fmla="*/ 1918702 h 6479439"/>
              <a:gd name="connsiteX6315" fmla="*/ 4800171 w 9586368"/>
              <a:gd name="connsiteY6315" fmla="*/ 1928573 h 6479439"/>
              <a:gd name="connsiteX6316" fmla="*/ 4796152 w 9586368"/>
              <a:gd name="connsiteY6316" fmla="*/ 1932612 h 6479439"/>
              <a:gd name="connsiteX6317" fmla="*/ 4786241 w 9586368"/>
              <a:gd name="connsiteY6317" fmla="*/ 1932612 h 6479439"/>
              <a:gd name="connsiteX6318" fmla="*/ 4782224 w 9586368"/>
              <a:gd name="connsiteY6318" fmla="*/ 1928573 h 6479439"/>
              <a:gd name="connsiteX6319" fmla="*/ 4782224 w 9586368"/>
              <a:gd name="connsiteY6319" fmla="*/ 1918702 h 6479439"/>
              <a:gd name="connsiteX6320" fmla="*/ 5504099 w 9586368"/>
              <a:gd name="connsiteY6320" fmla="*/ 1914663 h 6479439"/>
              <a:gd name="connsiteX6321" fmla="*/ 5514010 w 9586368"/>
              <a:gd name="connsiteY6321" fmla="*/ 1914663 h 6479439"/>
              <a:gd name="connsiteX6322" fmla="*/ 5518029 w 9586368"/>
              <a:gd name="connsiteY6322" fmla="*/ 1918702 h 6479439"/>
              <a:gd name="connsiteX6323" fmla="*/ 5518029 w 9586368"/>
              <a:gd name="connsiteY6323" fmla="*/ 1928572 h 6479439"/>
              <a:gd name="connsiteX6324" fmla="*/ 5514010 w 9586368"/>
              <a:gd name="connsiteY6324" fmla="*/ 1932612 h 6479439"/>
              <a:gd name="connsiteX6325" fmla="*/ 5504099 w 9586368"/>
              <a:gd name="connsiteY6325" fmla="*/ 1932612 h 6479439"/>
              <a:gd name="connsiteX6326" fmla="*/ 5500080 w 9586368"/>
              <a:gd name="connsiteY6326" fmla="*/ 1928572 h 6479439"/>
              <a:gd name="connsiteX6327" fmla="*/ 5500080 w 9586368"/>
              <a:gd name="connsiteY6327" fmla="*/ 1918702 h 6479439"/>
              <a:gd name="connsiteX6328" fmla="*/ 5264784 w 9586368"/>
              <a:gd name="connsiteY6328" fmla="*/ 1914663 h 6479439"/>
              <a:gd name="connsiteX6329" fmla="*/ 5274694 w 9586368"/>
              <a:gd name="connsiteY6329" fmla="*/ 1914663 h 6479439"/>
              <a:gd name="connsiteX6330" fmla="*/ 5278713 w 9586368"/>
              <a:gd name="connsiteY6330" fmla="*/ 1918702 h 6479439"/>
              <a:gd name="connsiteX6331" fmla="*/ 5278713 w 9586368"/>
              <a:gd name="connsiteY6331" fmla="*/ 1928573 h 6479439"/>
              <a:gd name="connsiteX6332" fmla="*/ 5274694 w 9586368"/>
              <a:gd name="connsiteY6332" fmla="*/ 1932612 h 6479439"/>
              <a:gd name="connsiteX6333" fmla="*/ 5264784 w 9586368"/>
              <a:gd name="connsiteY6333" fmla="*/ 1932612 h 6479439"/>
              <a:gd name="connsiteX6334" fmla="*/ 5260765 w 9586368"/>
              <a:gd name="connsiteY6334" fmla="*/ 1928573 h 6479439"/>
              <a:gd name="connsiteX6335" fmla="*/ 5260765 w 9586368"/>
              <a:gd name="connsiteY6335" fmla="*/ 1918702 h 6479439"/>
              <a:gd name="connsiteX6336" fmla="*/ 5025470 w 9586368"/>
              <a:gd name="connsiteY6336" fmla="*/ 1914663 h 6479439"/>
              <a:gd name="connsiteX6337" fmla="*/ 5035381 w 9586368"/>
              <a:gd name="connsiteY6337" fmla="*/ 1914663 h 6479439"/>
              <a:gd name="connsiteX6338" fmla="*/ 5039400 w 9586368"/>
              <a:gd name="connsiteY6338" fmla="*/ 1918702 h 6479439"/>
              <a:gd name="connsiteX6339" fmla="*/ 5039400 w 9586368"/>
              <a:gd name="connsiteY6339" fmla="*/ 1928573 h 6479439"/>
              <a:gd name="connsiteX6340" fmla="*/ 5035381 w 9586368"/>
              <a:gd name="connsiteY6340" fmla="*/ 1932612 h 6479439"/>
              <a:gd name="connsiteX6341" fmla="*/ 5025470 w 9586368"/>
              <a:gd name="connsiteY6341" fmla="*/ 1932612 h 6479439"/>
              <a:gd name="connsiteX6342" fmla="*/ 5021451 w 9586368"/>
              <a:gd name="connsiteY6342" fmla="*/ 1928573 h 6479439"/>
              <a:gd name="connsiteX6343" fmla="*/ 5021451 w 9586368"/>
              <a:gd name="connsiteY6343" fmla="*/ 1918702 h 6479439"/>
              <a:gd name="connsiteX6344" fmla="*/ 5743412 w 9586368"/>
              <a:gd name="connsiteY6344" fmla="*/ 1914662 h 6479439"/>
              <a:gd name="connsiteX6345" fmla="*/ 5753323 w 9586368"/>
              <a:gd name="connsiteY6345" fmla="*/ 1914662 h 6479439"/>
              <a:gd name="connsiteX6346" fmla="*/ 5757342 w 9586368"/>
              <a:gd name="connsiteY6346" fmla="*/ 1918701 h 6479439"/>
              <a:gd name="connsiteX6347" fmla="*/ 5757342 w 9586368"/>
              <a:gd name="connsiteY6347" fmla="*/ 1928572 h 6479439"/>
              <a:gd name="connsiteX6348" fmla="*/ 5753323 w 9586368"/>
              <a:gd name="connsiteY6348" fmla="*/ 1932612 h 6479439"/>
              <a:gd name="connsiteX6349" fmla="*/ 5743412 w 9586368"/>
              <a:gd name="connsiteY6349" fmla="*/ 1932612 h 6479439"/>
              <a:gd name="connsiteX6350" fmla="*/ 5739393 w 9586368"/>
              <a:gd name="connsiteY6350" fmla="*/ 1928572 h 6479439"/>
              <a:gd name="connsiteX6351" fmla="*/ 5739393 w 9586368"/>
              <a:gd name="connsiteY6351" fmla="*/ 1918701 h 6479439"/>
              <a:gd name="connsiteX6352" fmla="*/ 5982729 w 9586368"/>
              <a:gd name="connsiteY6352" fmla="*/ 1914645 h 6479439"/>
              <a:gd name="connsiteX6353" fmla="*/ 5992639 w 9586368"/>
              <a:gd name="connsiteY6353" fmla="*/ 1914645 h 6479439"/>
              <a:gd name="connsiteX6354" fmla="*/ 5996658 w 9586368"/>
              <a:gd name="connsiteY6354" fmla="*/ 1918684 h 6479439"/>
              <a:gd name="connsiteX6355" fmla="*/ 5996658 w 9586368"/>
              <a:gd name="connsiteY6355" fmla="*/ 1928555 h 6479439"/>
              <a:gd name="connsiteX6356" fmla="*/ 5992639 w 9586368"/>
              <a:gd name="connsiteY6356" fmla="*/ 1932594 h 6479439"/>
              <a:gd name="connsiteX6357" fmla="*/ 5982729 w 9586368"/>
              <a:gd name="connsiteY6357" fmla="*/ 1932594 h 6479439"/>
              <a:gd name="connsiteX6358" fmla="*/ 5978710 w 9586368"/>
              <a:gd name="connsiteY6358" fmla="*/ 1928555 h 6479439"/>
              <a:gd name="connsiteX6359" fmla="*/ 5978710 w 9586368"/>
              <a:gd name="connsiteY6359" fmla="*/ 1918684 h 6479439"/>
              <a:gd name="connsiteX6360" fmla="*/ 6939983 w 9586368"/>
              <a:gd name="connsiteY6360" fmla="*/ 1914645 h 6479439"/>
              <a:gd name="connsiteX6361" fmla="*/ 6949894 w 9586368"/>
              <a:gd name="connsiteY6361" fmla="*/ 1914645 h 6479439"/>
              <a:gd name="connsiteX6362" fmla="*/ 6953913 w 9586368"/>
              <a:gd name="connsiteY6362" fmla="*/ 1918682 h 6479439"/>
              <a:gd name="connsiteX6363" fmla="*/ 6953913 w 9586368"/>
              <a:gd name="connsiteY6363" fmla="*/ 1928554 h 6479439"/>
              <a:gd name="connsiteX6364" fmla="*/ 6949894 w 9586368"/>
              <a:gd name="connsiteY6364" fmla="*/ 1932594 h 6479439"/>
              <a:gd name="connsiteX6365" fmla="*/ 6939983 w 9586368"/>
              <a:gd name="connsiteY6365" fmla="*/ 1932594 h 6479439"/>
              <a:gd name="connsiteX6366" fmla="*/ 6935964 w 9586368"/>
              <a:gd name="connsiteY6366" fmla="*/ 1928554 h 6479439"/>
              <a:gd name="connsiteX6367" fmla="*/ 6935964 w 9586368"/>
              <a:gd name="connsiteY6367" fmla="*/ 1918682 h 6479439"/>
              <a:gd name="connsiteX6368" fmla="*/ 6700670 w 9586368"/>
              <a:gd name="connsiteY6368" fmla="*/ 1914645 h 6479439"/>
              <a:gd name="connsiteX6369" fmla="*/ 6710581 w 9586368"/>
              <a:gd name="connsiteY6369" fmla="*/ 1914645 h 6479439"/>
              <a:gd name="connsiteX6370" fmla="*/ 6714600 w 9586368"/>
              <a:gd name="connsiteY6370" fmla="*/ 1918683 h 6479439"/>
              <a:gd name="connsiteX6371" fmla="*/ 6714600 w 9586368"/>
              <a:gd name="connsiteY6371" fmla="*/ 1928554 h 6479439"/>
              <a:gd name="connsiteX6372" fmla="*/ 6710581 w 9586368"/>
              <a:gd name="connsiteY6372" fmla="*/ 1932594 h 6479439"/>
              <a:gd name="connsiteX6373" fmla="*/ 6700670 w 9586368"/>
              <a:gd name="connsiteY6373" fmla="*/ 1932594 h 6479439"/>
              <a:gd name="connsiteX6374" fmla="*/ 6696651 w 9586368"/>
              <a:gd name="connsiteY6374" fmla="*/ 1928554 h 6479439"/>
              <a:gd name="connsiteX6375" fmla="*/ 6696651 w 9586368"/>
              <a:gd name="connsiteY6375" fmla="*/ 1918683 h 6479439"/>
              <a:gd name="connsiteX6376" fmla="*/ 6461356 w 9586368"/>
              <a:gd name="connsiteY6376" fmla="*/ 1914645 h 6479439"/>
              <a:gd name="connsiteX6377" fmla="*/ 6471266 w 9586368"/>
              <a:gd name="connsiteY6377" fmla="*/ 1914645 h 6479439"/>
              <a:gd name="connsiteX6378" fmla="*/ 6475285 w 9586368"/>
              <a:gd name="connsiteY6378" fmla="*/ 1918683 h 6479439"/>
              <a:gd name="connsiteX6379" fmla="*/ 6475285 w 9586368"/>
              <a:gd name="connsiteY6379" fmla="*/ 1928555 h 6479439"/>
              <a:gd name="connsiteX6380" fmla="*/ 6471266 w 9586368"/>
              <a:gd name="connsiteY6380" fmla="*/ 1932594 h 6479439"/>
              <a:gd name="connsiteX6381" fmla="*/ 6461356 w 9586368"/>
              <a:gd name="connsiteY6381" fmla="*/ 1932594 h 6479439"/>
              <a:gd name="connsiteX6382" fmla="*/ 6457337 w 9586368"/>
              <a:gd name="connsiteY6382" fmla="*/ 1928555 h 6479439"/>
              <a:gd name="connsiteX6383" fmla="*/ 6457337 w 9586368"/>
              <a:gd name="connsiteY6383" fmla="*/ 1918683 h 6479439"/>
              <a:gd name="connsiteX6384" fmla="*/ 6222042 w 9586368"/>
              <a:gd name="connsiteY6384" fmla="*/ 1914645 h 6479439"/>
              <a:gd name="connsiteX6385" fmla="*/ 6231952 w 9586368"/>
              <a:gd name="connsiteY6385" fmla="*/ 1914645 h 6479439"/>
              <a:gd name="connsiteX6386" fmla="*/ 6235971 w 9586368"/>
              <a:gd name="connsiteY6386" fmla="*/ 1918683 h 6479439"/>
              <a:gd name="connsiteX6387" fmla="*/ 6235971 w 9586368"/>
              <a:gd name="connsiteY6387" fmla="*/ 1928555 h 6479439"/>
              <a:gd name="connsiteX6388" fmla="*/ 6231952 w 9586368"/>
              <a:gd name="connsiteY6388" fmla="*/ 1932594 h 6479439"/>
              <a:gd name="connsiteX6389" fmla="*/ 6222042 w 9586368"/>
              <a:gd name="connsiteY6389" fmla="*/ 1932594 h 6479439"/>
              <a:gd name="connsiteX6390" fmla="*/ 6218023 w 9586368"/>
              <a:gd name="connsiteY6390" fmla="*/ 1928555 h 6479439"/>
              <a:gd name="connsiteX6391" fmla="*/ 6218023 w 9586368"/>
              <a:gd name="connsiteY6391" fmla="*/ 1918683 h 6479439"/>
              <a:gd name="connsiteX6392" fmla="*/ 7179298 w 9586368"/>
              <a:gd name="connsiteY6392" fmla="*/ 1914627 h 6479439"/>
              <a:gd name="connsiteX6393" fmla="*/ 7189209 w 9586368"/>
              <a:gd name="connsiteY6393" fmla="*/ 1914627 h 6479439"/>
              <a:gd name="connsiteX6394" fmla="*/ 7193228 w 9586368"/>
              <a:gd name="connsiteY6394" fmla="*/ 1918666 h 6479439"/>
              <a:gd name="connsiteX6395" fmla="*/ 7193228 w 9586368"/>
              <a:gd name="connsiteY6395" fmla="*/ 1928536 h 6479439"/>
              <a:gd name="connsiteX6396" fmla="*/ 7189209 w 9586368"/>
              <a:gd name="connsiteY6396" fmla="*/ 1932575 h 6479439"/>
              <a:gd name="connsiteX6397" fmla="*/ 7179298 w 9586368"/>
              <a:gd name="connsiteY6397" fmla="*/ 1932575 h 6479439"/>
              <a:gd name="connsiteX6398" fmla="*/ 7175279 w 9586368"/>
              <a:gd name="connsiteY6398" fmla="*/ 1928536 h 6479439"/>
              <a:gd name="connsiteX6399" fmla="*/ 7175279 w 9586368"/>
              <a:gd name="connsiteY6399" fmla="*/ 1918666 h 6479439"/>
              <a:gd name="connsiteX6400" fmla="*/ 7897241 w 9586368"/>
              <a:gd name="connsiteY6400" fmla="*/ 1914627 h 6479439"/>
              <a:gd name="connsiteX6401" fmla="*/ 7907151 w 9586368"/>
              <a:gd name="connsiteY6401" fmla="*/ 1914627 h 6479439"/>
              <a:gd name="connsiteX6402" fmla="*/ 7911170 w 9586368"/>
              <a:gd name="connsiteY6402" fmla="*/ 1918664 h 6479439"/>
              <a:gd name="connsiteX6403" fmla="*/ 7911170 w 9586368"/>
              <a:gd name="connsiteY6403" fmla="*/ 1928535 h 6479439"/>
              <a:gd name="connsiteX6404" fmla="*/ 7907151 w 9586368"/>
              <a:gd name="connsiteY6404" fmla="*/ 1932575 h 6479439"/>
              <a:gd name="connsiteX6405" fmla="*/ 7897241 w 9586368"/>
              <a:gd name="connsiteY6405" fmla="*/ 1932575 h 6479439"/>
              <a:gd name="connsiteX6406" fmla="*/ 7893222 w 9586368"/>
              <a:gd name="connsiteY6406" fmla="*/ 1928535 h 6479439"/>
              <a:gd name="connsiteX6407" fmla="*/ 7893222 w 9586368"/>
              <a:gd name="connsiteY6407" fmla="*/ 1918664 h 6479439"/>
              <a:gd name="connsiteX6408" fmla="*/ 7657926 w 9586368"/>
              <a:gd name="connsiteY6408" fmla="*/ 1914627 h 6479439"/>
              <a:gd name="connsiteX6409" fmla="*/ 7667836 w 9586368"/>
              <a:gd name="connsiteY6409" fmla="*/ 1914627 h 6479439"/>
              <a:gd name="connsiteX6410" fmla="*/ 7671855 w 9586368"/>
              <a:gd name="connsiteY6410" fmla="*/ 1918664 h 6479439"/>
              <a:gd name="connsiteX6411" fmla="*/ 7671855 w 9586368"/>
              <a:gd name="connsiteY6411" fmla="*/ 1928536 h 6479439"/>
              <a:gd name="connsiteX6412" fmla="*/ 7667836 w 9586368"/>
              <a:gd name="connsiteY6412" fmla="*/ 1932575 h 6479439"/>
              <a:gd name="connsiteX6413" fmla="*/ 7657926 w 9586368"/>
              <a:gd name="connsiteY6413" fmla="*/ 1932575 h 6479439"/>
              <a:gd name="connsiteX6414" fmla="*/ 7653906 w 9586368"/>
              <a:gd name="connsiteY6414" fmla="*/ 1928536 h 6479439"/>
              <a:gd name="connsiteX6415" fmla="*/ 7653906 w 9586368"/>
              <a:gd name="connsiteY6415" fmla="*/ 1918664 h 6479439"/>
              <a:gd name="connsiteX6416" fmla="*/ 7418611 w 9586368"/>
              <a:gd name="connsiteY6416" fmla="*/ 1914627 h 6479439"/>
              <a:gd name="connsiteX6417" fmla="*/ 7428521 w 9586368"/>
              <a:gd name="connsiteY6417" fmla="*/ 1914627 h 6479439"/>
              <a:gd name="connsiteX6418" fmla="*/ 7432540 w 9586368"/>
              <a:gd name="connsiteY6418" fmla="*/ 1918664 h 6479439"/>
              <a:gd name="connsiteX6419" fmla="*/ 7432540 w 9586368"/>
              <a:gd name="connsiteY6419" fmla="*/ 1928536 h 6479439"/>
              <a:gd name="connsiteX6420" fmla="*/ 7428521 w 9586368"/>
              <a:gd name="connsiteY6420" fmla="*/ 1932575 h 6479439"/>
              <a:gd name="connsiteX6421" fmla="*/ 7418611 w 9586368"/>
              <a:gd name="connsiteY6421" fmla="*/ 1932575 h 6479439"/>
              <a:gd name="connsiteX6422" fmla="*/ 7414592 w 9586368"/>
              <a:gd name="connsiteY6422" fmla="*/ 1928536 h 6479439"/>
              <a:gd name="connsiteX6423" fmla="*/ 7414592 w 9586368"/>
              <a:gd name="connsiteY6423" fmla="*/ 1918664 h 6479439"/>
              <a:gd name="connsiteX6424" fmla="*/ 8136553 w 9586368"/>
              <a:gd name="connsiteY6424" fmla="*/ 1914626 h 6479439"/>
              <a:gd name="connsiteX6425" fmla="*/ 8146464 w 9586368"/>
              <a:gd name="connsiteY6425" fmla="*/ 1914626 h 6479439"/>
              <a:gd name="connsiteX6426" fmla="*/ 8150483 w 9586368"/>
              <a:gd name="connsiteY6426" fmla="*/ 1918664 h 6479439"/>
              <a:gd name="connsiteX6427" fmla="*/ 8150483 w 9586368"/>
              <a:gd name="connsiteY6427" fmla="*/ 1928535 h 6479439"/>
              <a:gd name="connsiteX6428" fmla="*/ 8146464 w 9586368"/>
              <a:gd name="connsiteY6428" fmla="*/ 1932575 h 6479439"/>
              <a:gd name="connsiteX6429" fmla="*/ 8136553 w 9586368"/>
              <a:gd name="connsiteY6429" fmla="*/ 1932575 h 6479439"/>
              <a:gd name="connsiteX6430" fmla="*/ 8132534 w 9586368"/>
              <a:gd name="connsiteY6430" fmla="*/ 1928535 h 6479439"/>
              <a:gd name="connsiteX6431" fmla="*/ 8132534 w 9586368"/>
              <a:gd name="connsiteY6431" fmla="*/ 1918664 h 6479439"/>
              <a:gd name="connsiteX6432" fmla="*/ 8375869 w 9586368"/>
              <a:gd name="connsiteY6432" fmla="*/ 1914608 h 6479439"/>
              <a:gd name="connsiteX6433" fmla="*/ 8385779 w 9586368"/>
              <a:gd name="connsiteY6433" fmla="*/ 1914608 h 6479439"/>
              <a:gd name="connsiteX6434" fmla="*/ 8389799 w 9586368"/>
              <a:gd name="connsiteY6434" fmla="*/ 1918647 h 6479439"/>
              <a:gd name="connsiteX6435" fmla="*/ 8389799 w 9586368"/>
              <a:gd name="connsiteY6435" fmla="*/ 1928518 h 6479439"/>
              <a:gd name="connsiteX6436" fmla="*/ 8385779 w 9586368"/>
              <a:gd name="connsiteY6436" fmla="*/ 1932557 h 6479439"/>
              <a:gd name="connsiteX6437" fmla="*/ 8375869 w 9586368"/>
              <a:gd name="connsiteY6437" fmla="*/ 1932557 h 6479439"/>
              <a:gd name="connsiteX6438" fmla="*/ 8371850 w 9586368"/>
              <a:gd name="connsiteY6438" fmla="*/ 1928518 h 6479439"/>
              <a:gd name="connsiteX6439" fmla="*/ 8371850 w 9586368"/>
              <a:gd name="connsiteY6439" fmla="*/ 1918647 h 6479439"/>
              <a:gd name="connsiteX6440" fmla="*/ 9333125 w 9586368"/>
              <a:gd name="connsiteY6440" fmla="*/ 1914608 h 6479439"/>
              <a:gd name="connsiteX6441" fmla="*/ 9343036 w 9586368"/>
              <a:gd name="connsiteY6441" fmla="*/ 1914608 h 6479439"/>
              <a:gd name="connsiteX6442" fmla="*/ 9347055 w 9586368"/>
              <a:gd name="connsiteY6442" fmla="*/ 1918646 h 6479439"/>
              <a:gd name="connsiteX6443" fmla="*/ 9347055 w 9586368"/>
              <a:gd name="connsiteY6443" fmla="*/ 1928517 h 6479439"/>
              <a:gd name="connsiteX6444" fmla="*/ 9343036 w 9586368"/>
              <a:gd name="connsiteY6444" fmla="*/ 1932557 h 6479439"/>
              <a:gd name="connsiteX6445" fmla="*/ 9333125 w 9586368"/>
              <a:gd name="connsiteY6445" fmla="*/ 1932557 h 6479439"/>
              <a:gd name="connsiteX6446" fmla="*/ 9329106 w 9586368"/>
              <a:gd name="connsiteY6446" fmla="*/ 1928517 h 6479439"/>
              <a:gd name="connsiteX6447" fmla="*/ 9329106 w 9586368"/>
              <a:gd name="connsiteY6447" fmla="*/ 1918646 h 6479439"/>
              <a:gd name="connsiteX6448" fmla="*/ 9093811 w 9586368"/>
              <a:gd name="connsiteY6448" fmla="*/ 1914608 h 6479439"/>
              <a:gd name="connsiteX6449" fmla="*/ 9103722 w 9586368"/>
              <a:gd name="connsiteY6449" fmla="*/ 1914608 h 6479439"/>
              <a:gd name="connsiteX6450" fmla="*/ 9107741 w 9586368"/>
              <a:gd name="connsiteY6450" fmla="*/ 1918646 h 6479439"/>
              <a:gd name="connsiteX6451" fmla="*/ 9107741 w 9586368"/>
              <a:gd name="connsiteY6451" fmla="*/ 1928517 h 6479439"/>
              <a:gd name="connsiteX6452" fmla="*/ 9103722 w 9586368"/>
              <a:gd name="connsiteY6452" fmla="*/ 1932557 h 6479439"/>
              <a:gd name="connsiteX6453" fmla="*/ 9093811 w 9586368"/>
              <a:gd name="connsiteY6453" fmla="*/ 1932557 h 6479439"/>
              <a:gd name="connsiteX6454" fmla="*/ 9089792 w 9586368"/>
              <a:gd name="connsiteY6454" fmla="*/ 1928517 h 6479439"/>
              <a:gd name="connsiteX6455" fmla="*/ 9089792 w 9586368"/>
              <a:gd name="connsiteY6455" fmla="*/ 1918646 h 6479439"/>
              <a:gd name="connsiteX6456" fmla="*/ 8854496 w 9586368"/>
              <a:gd name="connsiteY6456" fmla="*/ 1914608 h 6479439"/>
              <a:gd name="connsiteX6457" fmla="*/ 8864407 w 9586368"/>
              <a:gd name="connsiteY6457" fmla="*/ 1914608 h 6479439"/>
              <a:gd name="connsiteX6458" fmla="*/ 8868426 w 9586368"/>
              <a:gd name="connsiteY6458" fmla="*/ 1918646 h 6479439"/>
              <a:gd name="connsiteX6459" fmla="*/ 8868426 w 9586368"/>
              <a:gd name="connsiteY6459" fmla="*/ 1928518 h 6479439"/>
              <a:gd name="connsiteX6460" fmla="*/ 8864407 w 9586368"/>
              <a:gd name="connsiteY6460" fmla="*/ 1932557 h 6479439"/>
              <a:gd name="connsiteX6461" fmla="*/ 8854496 w 9586368"/>
              <a:gd name="connsiteY6461" fmla="*/ 1932557 h 6479439"/>
              <a:gd name="connsiteX6462" fmla="*/ 8850477 w 9586368"/>
              <a:gd name="connsiteY6462" fmla="*/ 1928518 h 6479439"/>
              <a:gd name="connsiteX6463" fmla="*/ 8850477 w 9586368"/>
              <a:gd name="connsiteY6463" fmla="*/ 1918646 h 6479439"/>
              <a:gd name="connsiteX6464" fmla="*/ 8615184 w 9586368"/>
              <a:gd name="connsiteY6464" fmla="*/ 1914608 h 6479439"/>
              <a:gd name="connsiteX6465" fmla="*/ 8625095 w 9586368"/>
              <a:gd name="connsiteY6465" fmla="*/ 1914608 h 6479439"/>
              <a:gd name="connsiteX6466" fmla="*/ 8629114 w 9586368"/>
              <a:gd name="connsiteY6466" fmla="*/ 1918646 h 6479439"/>
              <a:gd name="connsiteX6467" fmla="*/ 8629114 w 9586368"/>
              <a:gd name="connsiteY6467" fmla="*/ 1928518 h 6479439"/>
              <a:gd name="connsiteX6468" fmla="*/ 8625095 w 9586368"/>
              <a:gd name="connsiteY6468" fmla="*/ 1932557 h 6479439"/>
              <a:gd name="connsiteX6469" fmla="*/ 8615184 w 9586368"/>
              <a:gd name="connsiteY6469" fmla="*/ 1932557 h 6479439"/>
              <a:gd name="connsiteX6470" fmla="*/ 8611165 w 9586368"/>
              <a:gd name="connsiteY6470" fmla="*/ 1928518 h 6479439"/>
              <a:gd name="connsiteX6471" fmla="*/ 8611165 w 9586368"/>
              <a:gd name="connsiteY6471" fmla="*/ 1918646 h 6479439"/>
              <a:gd name="connsiteX6472" fmla="*/ 9572438 w 9586368"/>
              <a:gd name="connsiteY6472" fmla="*/ 1914590 h 6479439"/>
              <a:gd name="connsiteX6473" fmla="*/ 9582349 w 9586368"/>
              <a:gd name="connsiteY6473" fmla="*/ 1914590 h 6479439"/>
              <a:gd name="connsiteX6474" fmla="*/ 9586368 w 9586368"/>
              <a:gd name="connsiteY6474" fmla="*/ 1918629 h 6479439"/>
              <a:gd name="connsiteX6475" fmla="*/ 9586368 w 9586368"/>
              <a:gd name="connsiteY6475" fmla="*/ 1928499 h 6479439"/>
              <a:gd name="connsiteX6476" fmla="*/ 9582349 w 9586368"/>
              <a:gd name="connsiteY6476" fmla="*/ 1932538 h 6479439"/>
              <a:gd name="connsiteX6477" fmla="*/ 9572438 w 9586368"/>
              <a:gd name="connsiteY6477" fmla="*/ 1932538 h 6479439"/>
              <a:gd name="connsiteX6478" fmla="*/ 9568419 w 9586368"/>
              <a:gd name="connsiteY6478" fmla="*/ 1928499 h 6479439"/>
              <a:gd name="connsiteX6479" fmla="*/ 9568419 w 9586368"/>
              <a:gd name="connsiteY6479" fmla="*/ 1918629 h 6479439"/>
              <a:gd name="connsiteX6480" fmla="*/ 243346 w 9586368"/>
              <a:gd name="connsiteY6480" fmla="*/ 1914550 h 6479439"/>
              <a:gd name="connsiteX6481" fmla="*/ 253256 w 9586368"/>
              <a:gd name="connsiteY6481" fmla="*/ 1914550 h 6479439"/>
              <a:gd name="connsiteX6482" fmla="*/ 257275 w 9586368"/>
              <a:gd name="connsiteY6482" fmla="*/ 1918589 h 6479439"/>
              <a:gd name="connsiteX6483" fmla="*/ 257275 w 9586368"/>
              <a:gd name="connsiteY6483" fmla="*/ 1928459 h 6479439"/>
              <a:gd name="connsiteX6484" fmla="*/ 253256 w 9586368"/>
              <a:gd name="connsiteY6484" fmla="*/ 1932498 h 6479439"/>
              <a:gd name="connsiteX6485" fmla="*/ 243346 w 9586368"/>
              <a:gd name="connsiteY6485" fmla="*/ 1932498 h 6479439"/>
              <a:gd name="connsiteX6486" fmla="*/ 239327 w 9586368"/>
              <a:gd name="connsiteY6486" fmla="*/ 1928459 h 6479439"/>
              <a:gd name="connsiteX6487" fmla="*/ 239327 w 9586368"/>
              <a:gd name="connsiteY6487" fmla="*/ 1918589 h 6479439"/>
              <a:gd name="connsiteX6488" fmla="*/ 4032 w 9586368"/>
              <a:gd name="connsiteY6488" fmla="*/ 1914550 h 6479439"/>
              <a:gd name="connsiteX6489" fmla="*/ 13943 w 9586368"/>
              <a:gd name="connsiteY6489" fmla="*/ 1914550 h 6479439"/>
              <a:gd name="connsiteX6490" fmla="*/ 17962 w 9586368"/>
              <a:gd name="connsiteY6490" fmla="*/ 1918589 h 6479439"/>
              <a:gd name="connsiteX6491" fmla="*/ 17962 w 9586368"/>
              <a:gd name="connsiteY6491" fmla="*/ 1928459 h 6479439"/>
              <a:gd name="connsiteX6492" fmla="*/ 13943 w 9586368"/>
              <a:gd name="connsiteY6492" fmla="*/ 1932498 h 6479439"/>
              <a:gd name="connsiteX6493" fmla="*/ 4032 w 9586368"/>
              <a:gd name="connsiteY6493" fmla="*/ 1932498 h 6479439"/>
              <a:gd name="connsiteX6494" fmla="*/ 13 w 9586368"/>
              <a:gd name="connsiteY6494" fmla="*/ 1928459 h 6479439"/>
              <a:gd name="connsiteX6495" fmla="*/ 13 w 9586368"/>
              <a:gd name="connsiteY6495" fmla="*/ 1918589 h 6479439"/>
              <a:gd name="connsiteX6496" fmla="*/ 721971 w 9586368"/>
              <a:gd name="connsiteY6496" fmla="*/ 1914550 h 6479439"/>
              <a:gd name="connsiteX6497" fmla="*/ 731882 w 9586368"/>
              <a:gd name="connsiteY6497" fmla="*/ 1914550 h 6479439"/>
              <a:gd name="connsiteX6498" fmla="*/ 735901 w 9586368"/>
              <a:gd name="connsiteY6498" fmla="*/ 1918588 h 6479439"/>
              <a:gd name="connsiteX6499" fmla="*/ 735901 w 9586368"/>
              <a:gd name="connsiteY6499" fmla="*/ 1928459 h 6479439"/>
              <a:gd name="connsiteX6500" fmla="*/ 731882 w 9586368"/>
              <a:gd name="connsiteY6500" fmla="*/ 1932497 h 6479439"/>
              <a:gd name="connsiteX6501" fmla="*/ 721971 w 9586368"/>
              <a:gd name="connsiteY6501" fmla="*/ 1932497 h 6479439"/>
              <a:gd name="connsiteX6502" fmla="*/ 717953 w 9586368"/>
              <a:gd name="connsiteY6502" fmla="*/ 1928459 h 6479439"/>
              <a:gd name="connsiteX6503" fmla="*/ 717953 w 9586368"/>
              <a:gd name="connsiteY6503" fmla="*/ 1918588 h 6479439"/>
              <a:gd name="connsiteX6504" fmla="*/ 482660 w 9586368"/>
              <a:gd name="connsiteY6504" fmla="*/ 1914550 h 6479439"/>
              <a:gd name="connsiteX6505" fmla="*/ 492570 w 9586368"/>
              <a:gd name="connsiteY6505" fmla="*/ 1914550 h 6479439"/>
              <a:gd name="connsiteX6506" fmla="*/ 496589 w 9586368"/>
              <a:gd name="connsiteY6506" fmla="*/ 1918588 h 6479439"/>
              <a:gd name="connsiteX6507" fmla="*/ 496589 w 9586368"/>
              <a:gd name="connsiteY6507" fmla="*/ 1928459 h 6479439"/>
              <a:gd name="connsiteX6508" fmla="*/ 492570 w 9586368"/>
              <a:gd name="connsiteY6508" fmla="*/ 1932497 h 6479439"/>
              <a:gd name="connsiteX6509" fmla="*/ 482660 w 9586368"/>
              <a:gd name="connsiteY6509" fmla="*/ 1932497 h 6479439"/>
              <a:gd name="connsiteX6510" fmla="*/ 478640 w 9586368"/>
              <a:gd name="connsiteY6510" fmla="*/ 1928459 h 6479439"/>
              <a:gd name="connsiteX6511" fmla="*/ 478640 w 9586368"/>
              <a:gd name="connsiteY6511" fmla="*/ 1918588 h 6479439"/>
              <a:gd name="connsiteX6512" fmla="*/ 1679215 w 9586368"/>
              <a:gd name="connsiteY6512" fmla="*/ 1914535 h 6479439"/>
              <a:gd name="connsiteX6513" fmla="*/ 1689125 w 9586368"/>
              <a:gd name="connsiteY6513" fmla="*/ 1914535 h 6479439"/>
              <a:gd name="connsiteX6514" fmla="*/ 1693144 w 9586368"/>
              <a:gd name="connsiteY6514" fmla="*/ 1918573 h 6479439"/>
              <a:gd name="connsiteX6515" fmla="*/ 1693144 w 9586368"/>
              <a:gd name="connsiteY6515" fmla="*/ 1928444 h 6479439"/>
              <a:gd name="connsiteX6516" fmla="*/ 1689125 w 9586368"/>
              <a:gd name="connsiteY6516" fmla="*/ 1932482 h 6479439"/>
              <a:gd name="connsiteX6517" fmla="*/ 1679215 w 9586368"/>
              <a:gd name="connsiteY6517" fmla="*/ 1932482 h 6479439"/>
              <a:gd name="connsiteX6518" fmla="*/ 1675195 w 9586368"/>
              <a:gd name="connsiteY6518" fmla="*/ 1928444 h 6479439"/>
              <a:gd name="connsiteX6519" fmla="*/ 1675195 w 9586368"/>
              <a:gd name="connsiteY6519" fmla="*/ 1918573 h 6479439"/>
              <a:gd name="connsiteX6520" fmla="*/ 1439897 w 9586368"/>
              <a:gd name="connsiteY6520" fmla="*/ 1914535 h 6479439"/>
              <a:gd name="connsiteX6521" fmla="*/ 1449808 w 9586368"/>
              <a:gd name="connsiteY6521" fmla="*/ 1914535 h 6479439"/>
              <a:gd name="connsiteX6522" fmla="*/ 1453827 w 9586368"/>
              <a:gd name="connsiteY6522" fmla="*/ 1918573 h 6479439"/>
              <a:gd name="connsiteX6523" fmla="*/ 1453827 w 9586368"/>
              <a:gd name="connsiteY6523" fmla="*/ 1928444 h 6479439"/>
              <a:gd name="connsiteX6524" fmla="*/ 1449808 w 9586368"/>
              <a:gd name="connsiteY6524" fmla="*/ 1932483 h 6479439"/>
              <a:gd name="connsiteX6525" fmla="*/ 1439897 w 9586368"/>
              <a:gd name="connsiteY6525" fmla="*/ 1932483 h 6479439"/>
              <a:gd name="connsiteX6526" fmla="*/ 1435879 w 9586368"/>
              <a:gd name="connsiteY6526" fmla="*/ 1928444 h 6479439"/>
              <a:gd name="connsiteX6527" fmla="*/ 1435879 w 9586368"/>
              <a:gd name="connsiteY6527" fmla="*/ 1918573 h 6479439"/>
              <a:gd name="connsiteX6528" fmla="*/ 1200582 w 9586368"/>
              <a:gd name="connsiteY6528" fmla="*/ 1914535 h 6479439"/>
              <a:gd name="connsiteX6529" fmla="*/ 1210492 w 9586368"/>
              <a:gd name="connsiteY6529" fmla="*/ 1914535 h 6479439"/>
              <a:gd name="connsiteX6530" fmla="*/ 1214511 w 9586368"/>
              <a:gd name="connsiteY6530" fmla="*/ 1918573 h 6479439"/>
              <a:gd name="connsiteX6531" fmla="*/ 1214511 w 9586368"/>
              <a:gd name="connsiteY6531" fmla="*/ 1928444 h 6479439"/>
              <a:gd name="connsiteX6532" fmla="*/ 1210492 w 9586368"/>
              <a:gd name="connsiteY6532" fmla="*/ 1932483 h 6479439"/>
              <a:gd name="connsiteX6533" fmla="*/ 1200582 w 9586368"/>
              <a:gd name="connsiteY6533" fmla="*/ 1932483 h 6479439"/>
              <a:gd name="connsiteX6534" fmla="*/ 1196563 w 9586368"/>
              <a:gd name="connsiteY6534" fmla="*/ 1928444 h 6479439"/>
              <a:gd name="connsiteX6535" fmla="*/ 1196563 w 9586368"/>
              <a:gd name="connsiteY6535" fmla="*/ 1918573 h 6479439"/>
              <a:gd name="connsiteX6536" fmla="*/ 961269 w 9586368"/>
              <a:gd name="connsiteY6536" fmla="*/ 1914535 h 6479439"/>
              <a:gd name="connsiteX6537" fmla="*/ 971179 w 9586368"/>
              <a:gd name="connsiteY6537" fmla="*/ 1914535 h 6479439"/>
              <a:gd name="connsiteX6538" fmla="*/ 975198 w 9586368"/>
              <a:gd name="connsiteY6538" fmla="*/ 1918573 h 6479439"/>
              <a:gd name="connsiteX6539" fmla="*/ 975198 w 9586368"/>
              <a:gd name="connsiteY6539" fmla="*/ 1928444 h 6479439"/>
              <a:gd name="connsiteX6540" fmla="*/ 971179 w 9586368"/>
              <a:gd name="connsiteY6540" fmla="*/ 1932483 h 6479439"/>
              <a:gd name="connsiteX6541" fmla="*/ 961269 w 9586368"/>
              <a:gd name="connsiteY6541" fmla="*/ 1932483 h 6479439"/>
              <a:gd name="connsiteX6542" fmla="*/ 957250 w 9586368"/>
              <a:gd name="connsiteY6542" fmla="*/ 1928444 h 6479439"/>
              <a:gd name="connsiteX6543" fmla="*/ 957250 w 9586368"/>
              <a:gd name="connsiteY6543" fmla="*/ 1918573 h 6479439"/>
              <a:gd name="connsiteX6544" fmla="*/ 1918513 w 9586368"/>
              <a:gd name="connsiteY6544" fmla="*/ 1914523 h 6479439"/>
              <a:gd name="connsiteX6545" fmla="*/ 1928424 w 9586368"/>
              <a:gd name="connsiteY6545" fmla="*/ 1914523 h 6479439"/>
              <a:gd name="connsiteX6546" fmla="*/ 1932443 w 9586368"/>
              <a:gd name="connsiteY6546" fmla="*/ 1918562 h 6479439"/>
              <a:gd name="connsiteX6547" fmla="*/ 1932443 w 9586368"/>
              <a:gd name="connsiteY6547" fmla="*/ 1928432 h 6479439"/>
              <a:gd name="connsiteX6548" fmla="*/ 1928424 w 9586368"/>
              <a:gd name="connsiteY6548" fmla="*/ 1932471 h 6479439"/>
              <a:gd name="connsiteX6549" fmla="*/ 1918513 w 9586368"/>
              <a:gd name="connsiteY6549" fmla="*/ 1932471 h 6479439"/>
              <a:gd name="connsiteX6550" fmla="*/ 1914494 w 9586368"/>
              <a:gd name="connsiteY6550" fmla="*/ 1928432 h 6479439"/>
              <a:gd name="connsiteX6551" fmla="*/ 1914494 w 9586368"/>
              <a:gd name="connsiteY6551" fmla="*/ 1918562 h 6479439"/>
              <a:gd name="connsiteX6552" fmla="*/ 2157821 w 9586368"/>
              <a:gd name="connsiteY6552" fmla="*/ 1914520 h 6479439"/>
              <a:gd name="connsiteX6553" fmla="*/ 2167732 w 9586368"/>
              <a:gd name="connsiteY6553" fmla="*/ 1914520 h 6479439"/>
              <a:gd name="connsiteX6554" fmla="*/ 2171751 w 9586368"/>
              <a:gd name="connsiteY6554" fmla="*/ 1918558 h 6479439"/>
              <a:gd name="connsiteX6555" fmla="*/ 2171751 w 9586368"/>
              <a:gd name="connsiteY6555" fmla="*/ 1928428 h 6479439"/>
              <a:gd name="connsiteX6556" fmla="*/ 2167732 w 9586368"/>
              <a:gd name="connsiteY6556" fmla="*/ 1932467 h 6479439"/>
              <a:gd name="connsiteX6557" fmla="*/ 2157821 w 9586368"/>
              <a:gd name="connsiteY6557" fmla="*/ 1932467 h 6479439"/>
              <a:gd name="connsiteX6558" fmla="*/ 2153803 w 9586368"/>
              <a:gd name="connsiteY6558" fmla="*/ 1928428 h 6479439"/>
              <a:gd name="connsiteX6559" fmla="*/ 2153803 w 9586368"/>
              <a:gd name="connsiteY6559" fmla="*/ 1918558 h 6479439"/>
              <a:gd name="connsiteX6560" fmla="*/ 2871737 w 9586368"/>
              <a:gd name="connsiteY6560" fmla="*/ 1675350 h 6479439"/>
              <a:gd name="connsiteX6561" fmla="*/ 2881646 w 9586368"/>
              <a:gd name="connsiteY6561" fmla="*/ 1675350 h 6479439"/>
              <a:gd name="connsiteX6562" fmla="*/ 2885666 w 9586368"/>
              <a:gd name="connsiteY6562" fmla="*/ 1679389 h 6479439"/>
              <a:gd name="connsiteX6563" fmla="*/ 2885666 w 9586368"/>
              <a:gd name="connsiteY6563" fmla="*/ 1689260 h 6479439"/>
              <a:gd name="connsiteX6564" fmla="*/ 2881646 w 9586368"/>
              <a:gd name="connsiteY6564" fmla="*/ 1693299 h 6479439"/>
              <a:gd name="connsiteX6565" fmla="*/ 2871737 w 9586368"/>
              <a:gd name="connsiteY6565" fmla="*/ 1693299 h 6479439"/>
              <a:gd name="connsiteX6566" fmla="*/ 2867717 w 9586368"/>
              <a:gd name="connsiteY6566" fmla="*/ 1689260 h 6479439"/>
              <a:gd name="connsiteX6567" fmla="*/ 2867717 w 9586368"/>
              <a:gd name="connsiteY6567" fmla="*/ 1679389 h 6479439"/>
              <a:gd name="connsiteX6568" fmla="*/ 2632423 w 9586368"/>
              <a:gd name="connsiteY6568" fmla="*/ 1675350 h 6479439"/>
              <a:gd name="connsiteX6569" fmla="*/ 2642334 w 9586368"/>
              <a:gd name="connsiteY6569" fmla="*/ 1675350 h 6479439"/>
              <a:gd name="connsiteX6570" fmla="*/ 2646352 w 9586368"/>
              <a:gd name="connsiteY6570" fmla="*/ 1679389 h 6479439"/>
              <a:gd name="connsiteX6571" fmla="*/ 2646352 w 9586368"/>
              <a:gd name="connsiteY6571" fmla="*/ 1689260 h 6479439"/>
              <a:gd name="connsiteX6572" fmla="*/ 2642334 w 9586368"/>
              <a:gd name="connsiteY6572" fmla="*/ 1693299 h 6479439"/>
              <a:gd name="connsiteX6573" fmla="*/ 2632423 w 9586368"/>
              <a:gd name="connsiteY6573" fmla="*/ 1693299 h 6479439"/>
              <a:gd name="connsiteX6574" fmla="*/ 2628404 w 9586368"/>
              <a:gd name="connsiteY6574" fmla="*/ 1689260 h 6479439"/>
              <a:gd name="connsiteX6575" fmla="*/ 2628404 w 9586368"/>
              <a:gd name="connsiteY6575" fmla="*/ 1679389 h 6479439"/>
              <a:gd name="connsiteX6576" fmla="*/ 2393104 w 9586368"/>
              <a:gd name="connsiteY6576" fmla="*/ 1675350 h 6479439"/>
              <a:gd name="connsiteX6577" fmla="*/ 2403015 w 9586368"/>
              <a:gd name="connsiteY6577" fmla="*/ 1675350 h 6479439"/>
              <a:gd name="connsiteX6578" fmla="*/ 2407034 w 9586368"/>
              <a:gd name="connsiteY6578" fmla="*/ 1679389 h 6479439"/>
              <a:gd name="connsiteX6579" fmla="*/ 2407034 w 9586368"/>
              <a:gd name="connsiteY6579" fmla="*/ 1689260 h 6479439"/>
              <a:gd name="connsiteX6580" fmla="*/ 2403015 w 9586368"/>
              <a:gd name="connsiteY6580" fmla="*/ 1693299 h 6479439"/>
              <a:gd name="connsiteX6581" fmla="*/ 2393104 w 9586368"/>
              <a:gd name="connsiteY6581" fmla="*/ 1693299 h 6479439"/>
              <a:gd name="connsiteX6582" fmla="*/ 2389087 w 9586368"/>
              <a:gd name="connsiteY6582" fmla="*/ 1689260 h 6479439"/>
              <a:gd name="connsiteX6583" fmla="*/ 2389087 w 9586368"/>
              <a:gd name="connsiteY6583" fmla="*/ 1679389 h 6479439"/>
              <a:gd name="connsiteX6584" fmla="*/ 3350359 w 9586368"/>
              <a:gd name="connsiteY6584" fmla="*/ 1675349 h 6479439"/>
              <a:gd name="connsiteX6585" fmla="*/ 3360268 w 9586368"/>
              <a:gd name="connsiteY6585" fmla="*/ 1675349 h 6479439"/>
              <a:gd name="connsiteX6586" fmla="*/ 3364287 w 9586368"/>
              <a:gd name="connsiteY6586" fmla="*/ 1679388 h 6479439"/>
              <a:gd name="connsiteX6587" fmla="*/ 3364287 w 9586368"/>
              <a:gd name="connsiteY6587" fmla="*/ 1689260 h 6479439"/>
              <a:gd name="connsiteX6588" fmla="*/ 3360268 w 9586368"/>
              <a:gd name="connsiteY6588" fmla="*/ 1693298 h 6479439"/>
              <a:gd name="connsiteX6589" fmla="*/ 3350359 w 9586368"/>
              <a:gd name="connsiteY6589" fmla="*/ 1693298 h 6479439"/>
              <a:gd name="connsiteX6590" fmla="*/ 3346340 w 9586368"/>
              <a:gd name="connsiteY6590" fmla="*/ 1689260 h 6479439"/>
              <a:gd name="connsiteX6591" fmla="*/ 3346340 w 9586368"/>
              <a:gd name="connsiteY6591" fmla="*/ 1679388 h 6479439"/>
              <a:gd name="connsiteX6592" fmla="*/ 3111048 w 9586368"/>
              <a:gd name="connsiteY6592" fmla="*/ 1675349 h 6479439"/>
              <a:gd name="connsiteX6593" fmla="*/ 3120959 w 9586368"/>
              <a:gd name="connsiteY6593" fmla="*/ 1675349 h 6479439"/>
              <a:gd name="connsiteX6594" fmla="*/ 3124977 w 9586368"/>
              <a:gd name="connsiteY6594" fmla="*/ 1679388 h 6479439"/>
              <a:gd name="connsiteX6595" fmla="*/ 3124977 w 9586368"/>
              <a:gd name="connsiteY6595" fmla="*/ 1689260 h 6479439"/>
              <a:gd name="connsiteX6596" fmla="*/ 3120959 w 9586368"/>
              <a:gd name="connsiteY6596" fmla="*/ 1693299 h 6479439"/>
              <a:gd name="connsiteX6597" fmla="*/ 3111048 w 9586368"/>
              <a:gd name="connsiteY6597" fmla="*/ 1693299 h 6479439"/>
              <a:gd name="connsiteX6598" fmla="*/ 3107029 w 9586368"/>
              <a:gd name="connsiteY6598" fmla="*/ 1689260 h 6479439"/>
              <a:gd name="connsiteX6599" fmla="*/ 3107029 w 9586368"/>
              <a:gd name="connsiteY6599" fmla="*/ 1679388 h 6479439"/>
              <a:gd name="connsiteX6600" fmla="*/ 4068297 w 9586368"/>
              <a:gd name="connsiteY6600" fmla="*/ 1675334 h 6479439"/>
              <a:gd name="connsiteX6601" fmla="*/ 4078210 w 9586368"/>
              <a:gd name="connsiteY6601" fmla="*/ 1675334 h 6479439"/>
              <a:gd name="connsiteX6602" fmla="*/ 4082229 w 9586368"/>
              <a:gd name="connsiteY6602" fmla="*/ 1679373 h 6479439"/>
              <a:gd name="connsiteX6603" fmla="*/ 4082229 w 9586368"/>
              <a:gd name="connsiteY6603" fmla="*/ 1689243 h 6479439"/>
              <a:gd name="connsiteX6604" fmla="*/ 4078210 w 9586368"/>
              <a:gd name="connsiteY6604" fmla="*/ 1693282 h 6479439"/>
              <a:gd name="connsiteX6605" fmla="*/ 4068297 w 9586368"/>
              <a:gd name="connsiteY6605" fmla="*/ 1693282 h 6479439"/>
              <a:gd name="connsiteX6606" fmla="*/ 4064278 w 9586368"/>
              <a:gd name="connsiteY6606" fmla="*/ 1689243 h 6479439"/>
              <a:gd name="connsiteX6607" fmla="*/ 4064278 w 9586368"/>
              <a:gd name="connsiteY6607" fmla="*/ 1679373 h 6479439"/>
              <a:gd name="connsiteX6608" fmla="*/ 3828990 w 9586368"/>
              <a:gd name="connsiteY6608" fmla="*/ 1675334 h 6479439"/>
              <a:gd name="connsiteX6609" fmla="*/ 3838899 w 9586368"/>
              <a:gd name="connsiteY6609" fmla="*/ 1675334 h 6479439"/>
              <a:gd name="connsiteX6610" fmla="*/ 3842917 w 9586368"/>
              <a:gd name="connsiteY6610" fmla="*/ 1679373 h 6479439"/>
              <a:gd name="connsiteX6611" fmla="*/ 3842917 w 9586368"/>
              <a:gd name="connsiteY6611" fmla="*/ 1689243 h 6479439"/>
              <a:gd name="connsiteX6612" fmla="*/ 3838899 w 9586368"/>
              <a:gd name="connsiteY6612" fmla="*/ 1693282 h 6479439"/>
              <a:gd name="connsiteX6613" fmla="*/ 3828990 w 9586368"/>
              <a:gd name="connsiteY6613" fmla="*/ 1693282 h 6479439"/>
              <a:gd name="connsiteX6614" fmla="*/ 3824971 w 9586368"/>
              <a:gd name="connsiteY6614" fmla="*/ 1689243 h 6479439"/>
              <a:gd name="connsiteX6615" fmla="*/ 3824971 w 9586368"/>
              <a:gd name="connsiteY6615" fmla="*/ 1679373 h 6479439"/>
              <a:gd name="connsiteX6616" fmla="*/ 3589676 w 9586368"/>
              <a:gd name="connsiteY6616" fmla="*/ 1675334 h 6479439"/>
              <a:gd name="connsiteX6617" fmla="*/ 3599585 w 9586368"/>
              <a:gd name="connsiteY6617" fmla="*/ 1675334 h 6479439"/>
              <a:gd name="connsiteX6618" fmla="*/ 3603604 w 9586368"/>
              <a:gd name="connsiteY6618" fmla="*/ 1679373 h 6479439"/>
              <a:gd name="connsiteX6619" fmla="*/ 3603604 w 9586368"/>
              <a:gd name="connsiteY6619" fmla="*/ 1689243 h 6479439"/>
              <a:gd name="connsiteX6620" fmla="*/ 3599585 w 9586368"/>
              <a:gd name="connsiteY6620" fmla="*/ 1693282 h 6479439"/>
              <a:gd name="connsiteX6621" fmla="*/ 3589676 w 9586368"/>
              <a:gd name="connsiteY6621" fmla="*/ 1693282 h 6479439"/>
              <a:gd name="connsiteX6622" fmla="*/ 3585657 w 9586368"/>
              <a:gd name="connsiteY6622" fmla="*/ 1689243 h 6479439"/>
              <a:gd name="connsiteX6623" fmla="*/ 3585657 w 9586368"/>
              <a:gd name="connsiteY6623" fmla="*/ 1679373 h 6479439"/>
              <a:gd name="connsiteX6624" fmla="*/ 4546929 w 9586368"/>
              <a:gd name="connsiteY6624" fmla="*/ 1675333 h 6479439"/>
              <a:gd name="connsiteX6625" fmla="*/ 4556840 w 9586368"/>
              <a:gd name="connsiteY6625" fmla="*/ 1675333 h 6479439"/>
              <a:gd name="connsiteX6626" fmla="*/ 4560859 w 9586368"/>
              <a:gd name="connsiteY6626" fmla="*/ 1679372 h 6479439"/>
              <a:gd name="connsiteX6627" fmla="*/ 4560859 w 9586368"/>
              <a:gd name="connsiteY6627" fmla="*/ 1689243 h 6479439"/>
              <a:gd name="connsiteX6628" fmla="*/ 4556840 w 9586368"/>
              <a:gd name="connsiteY6628" fmla="*/ 1693281 h 6479439"/>
              <a:gd name="connsiteX6629" fmla="*/ 4546929 w 9586368"/>
              <a:gd name="connsiteY6629" fmla="*/ 1693281 h 6479439"/>
              <a:gd name="connsiteX6630" fmla="*/ 4542910 w 9586368"/>
              <a:gd name="connsiteY6630" fmla="*/ 1689243 h 6479439"/>
              <a:gd name="connsiteX6631" fmla="*/ 4542910 w 9586368"/>
              <a:gd name="connsiteY6631" fmla="*/ 1679372 h 6479439"/>
              <a:gd name="connsiteX6632" fmla="*/ 4307612 w 9586368"/>
              <a:gd name="connsiteY6632" fmla="*/ 1675333 h 6479439"/>
              <a:gd name="connsiteX6633" fmla="*/ 4317523 w 9586368"/>
              <a:gd name="connsiteY6633" fmla="*/ 1675333 h 6479439"/>
              <a:gd name="connsiteX6634" fmla="*/ 4321543 w 9586368"/>
              <a:gd name="connsiteY6634" fmla="*/ 1679372 h 6479439"/>
              <a:gd name="connsiteX6635" fmla="*/ 4321543 w 9586368"/>
              <a:gd name="connsiteY6635" fmla="*/ 1689243 h 6479439"/>
              <a:gd name="connsiteX6636" fmla="*/ 4317523 w 9586368"/>
              <a:gd name="connsiteY6636" fmla="*/ 1693282 h 6479439"/>
              <a:gd name="connsiteX6637" fmla="*/ 4307612 w 9586368"/>
              <a:gd name="connsiteY6637" fmla="*/ 1693282 h 6479439"/>
              <a:gd name="connsiteX6638" fmla="*/ 4303595 w 9586368"/>
              <a:gd name="connsiteY6638" fmla="*/ 1689243 h 6479439"/>
              <a:gd name="connsiteX6639" fmla="*/ 4303595 w 9586368"/>
              <a:gd name="connsiteY6639" fmla="*/ 1679372 h 6479439"/>
              <a:gd name="connsiteX6640" fmla="*/ 5264784 w 9586368"/>
              <a:gd name="connsiteY6640" fmla="*/ 1675318 h 6479439"/>
              <a:gd name="connsiteX6641" fmla="*/ 5274694 w 9586368"/>
              <a:gd name="connsiteY6641" fmla="*/ 1675318 h 6479439"/>
              <a:gd name="connsiteX6642" fmla="*/ 5278713 w 9586368"/>
              <a:gd name="connsiteY6642" fmla="*/ 1679357 h 6479439"/>
              <a:gd name="connsiteX6643" fmla="*/ 5278713 w 9586368"/>
              <a:gd name="connsiteY6643" fmla="*/ 1689227 h 6479439"/>
              <a:gd name="connsiteX6644" fmla="*/ 5274694 w 9586368"/>
              <a:gd name="connsiteY6644" fmla="*/ 1693266 h 6479439"/>
              <a:gd name="connsiteX6645" fmla="*/ 5264784 w 9586368"/>
              <a:gd name="connsiteY6645" fmla="*/ 1693266 h 6479439"/>
              <a:gd name="connsiteX6646" fmla="*/ 5260765 w 9586368"/>
              <a:gd name="connsiteY6646" fmla="*/ 1689227 h 6479439"/>
              <a:gd name="connsiteX6647" fmla="*/ 5260765 w 9586368"/>
              <a:gd name="connsiteY6647" fmla="*/ 1679357 h 6479439"/>
              <a:gd name="connsiteX6648" fmla="*/ 5025470 w 9586368"/>
              <a:gd name="connsiteY6648" fmla="*/ 1675318 h 6479439"/>
              <a:gd name="connsiteX6649" fmla="*/ 5035381 w 9586368"/>
              <a:gd name="connsiteY6649" fmla="*/ 1675318 h 6479439"/>
              <a:gd name="connsiteX6650" fmla="*/ 5039400 w 9586368"/>
              <a:gd name="connsiteY6650" fmla="*/ 1679357 h 6479439"/>
              <a:gd name="connsiteX6651" fmla="*/ 5039400 w 9586368"/>
              <a:gd name="connsiteY6651" fmla="*/ 1689227 h 6479439"/>
              <a:gd name="connsiteX6652" fmla="*/ 5035381 w 9586368"/>
              <a:gd name="connsiteY6652" fmla="*/ 1693266 h 6479439"/>
              <a:gd name="connsiteX6653" fmla="*/ 5025470 w 9586368"/>
              <a:gd name="connsiteY6653" fmla="*/ 1693266 h 6479439"/>
              <a:gd name="connsiteX6654" fmla="*/ 5021451 w 9586368"/>
              <a:gd name="connsiteY6654" fmla="*/ 1689227 h 6479439"/>
              <a:gd name="connsiteX6655" fmla="*/ 5021451 w 9586368"/>
              <a:gd name="connsiteY6655" fmla="*/ 1679357 h 6479439"/>
              <a:gd name="connsiteX6656" fmla="*/ 4786241 w 9586368"/>
              <a:gd name="connsiteY6656" fmla="*/ 1675318 h 6479439"/>
              <a:gd name="connsiteX6657" fmla="*/ 4796152 w 9586368"/>
              <a:gd name="connsiteY6657" fmla="*/ 1675318 h 6479439"/>
              <a:gd name="connsiteX6658" fmla="*/ 4800171 w 9586368"/>
              <a:gd name="connsiteY6658" fmla="*/ 1679357 h 6479439"/>
              <a:gd name="connsiteX6659" fmla="*/ 4800171 w 9586368"/>
              <a:gd name="connsiteY6659" fmla="*/ 1689227 h 6479439"/>
              <a:gd name="connsiteX6660" fmla="*/ 4796152 w 9586368"/>
              <a:gd name="connsiteY6660" fmla="*/ 1693266 h 6479439"/>
              <a:gd name="connsiteX6661" fmla="*/ 4786241 w 9586368"/>
              <a:gd name="connsiteY6661" fmla="*/ 1693266 h 6479439"/>
              <a:gd name="connsiteX6662" fmla="*/ 4782224 w 9586368"/>
              <a:gd name="connsiteY6662" fmla="*/ 1689227 h 6479439"/>
              <a:gd name="connsiteX6663" fmla="*/ 4782224 w 9586368"/>
              <a:gd name="connsiteY6663" fmla="*/ 1679357 h 6479439"/>
              <a:gd name="connsiteX6664" fmla="*/ 5743412 w 9586368"/>
              <a:gd name="connsiteY6664" fmla="*/ 1675316 h 6479439"/>
              <a:gd name="connsiteX6665" fmla="*/ 5753323 w 9586368"/>
              <a:gd name="connsiteY6665" fmla="*/ 1675316 h 6479439"/>
              <a:gd name="connsiteX6666" fmla="*/ 5757342 w 9586368"/>
              <a:gd name="connsiteY6666" fmla="*/ 1679356 h 6479439"/>
              <a:gd name="connsiteX6667" fmla="*/ 5757342 w 9586368"/>
              <a:gd name="connsiteY6667" fmla="*/ 1689227 h 6479439"/>
              <a:gd name="connsiteX6668" fmla="*/ 5753323 w 9586368"/>
              <a:gd name="connsiteY6668" fmla="*/ 1693266 h 6479439"/>
              <a:gd name="connsiteX6669" fmla="*/ 5743412 w 9586368"/>
              <a:gd name="connsiteY6669" fmla="*/ 1693266 h 6479439"/>
              <a:gd name="connsiteX6670" fmla="*/ 5739393 w 9586368"/>
              <a:gd name="connsiteY6670" fmla="*/ 1689227 h 6479439"/>
              <a:gd name="connsiteX6671" fmla="*/ 5739393 w 9586368"/>
              <a:gd name="connsiteY6671" fmla="*/ 1679356 h 6479439"/>
              <a:gd name="connsiteX6672" fmla="*/ 5504099 w 9586368"/>
              <a:gd name="connsiteY6672" fmla="*/ 1675316 h 6479439"/>
              <a:gd name="connsiteX6673" fmla="*/ 5514010 w 9586368"/>
              <a:gd name="connsiteY6673" fmla="*/ 1675316 h 6479439"/>
              <a:gd name="connsiteX6674" fmla="*/ 5518029 w 9586368"/>
              <a:gd name="connsiteY6674" fmla="*/ 1679356 h 6479439"/>
              <a:gd name="connsiteX6675" fmla="*/ 5518029 w 9586368"/>
              <a:gd name="connsiteY6675" fmla="*/ 1689227 h 6479439"/>
              <a:gd name="connsiteX6676" fmla="*/ 5514010 w 9586368"/>
              <a:gd name="connsiteY6676" fmla="*/ 1693266 h 6479439"/>
              <a:gd name="connsiteX6677" fmla="*/ 5504099 w 9586368"/>
              <a:gd name="connsiteY6677" fmla="*/ 1693266 h 6479439"/>
              <a:gd name="connsiteX6678" fmla="*/ 5500080 w 9586368"/>
              <a:gd name="connsiteY6678" fmla="*/ 1689227 h 6479439"/>
              <a:gd name="connsiteX6679" fmla="*/ 5500080 w 9586368"/>
              <a:gd name="connsiteY6679" fmla="*/ 1679356 h 6479439"/>
              <a:gd name="connsiteX6680" fmla="*/ 6461356 w 9586368"/>
              <a:gd name="connsiteY6680" fmla="*/ 1675301 h 6479439"/>
              <a:gd name="connsiteX6681" fmla="*/ 6471266 w 9586368"/>
              <a:gd name="connsiteY6681" fmla="*/ 1675301 h 6479439"/>
              <a:gd name="connsiteX6682" fmla="*/ 6475285 w 9586368"/>
              <a:gd name="connsiteY6682" fmla="*/ 1679339 h 6479439"/>
              <a:gd name="connsiteX6683" fmla="*/ 6475285 w 9586368"/>
              <a:gd name="connsiteY6683" fmla="*/ 1689210 h 6479439"/>
              <a:gd name="connsiteX6684" fmla="*/ 6471266 w 9586368"/>
              <a:gd name="connsiteY6684" fmla="*/ 1693249 h 6479439"/>
              <a:gd name="connsiteX6685" fmla="*/ 6461356 w 9586368"/>
              <a:gd name="connsiteY6685" fmla="*/ 1693249 h 6479439"/>
              <a:gd name="connsiteX6686" fmla="*/ 6457337 w 9586368"/>
              <a:gd name="connsiteY6686" fmla="*/ 1689210 h 6479439"/>
              <a:gd name="connsiteX6687" fmla="*/ 6457337 w 9586368"/>
              <a:gd name="connsiteY6687" fmla="*/ 1679339 h 6479439"/>
              <a:gd name="connsiteX6688" fmla="*/ 6222042 w 9586368"/>
              <a:gd name="connsiteY6688" fmla="*/ 1675301 h 6479439"/>
              <a:gd name="connsiteX6689" fmla="*/ 6231952 w 9586368"/>
              <a:gd name="connsiteY6689" fmla="*/ 1675301 h 6479439"/>
              <a:gd name="connsiteX6690" fmla="*/ 6235971 w 9586368"/>
              <a:gd name="connsiteY6690" fmla="*/ 1679339 h 6479439"/>
              <a:gd name="connsiteX6691" fmla="*/ 6235971 w 9586368"/>
              <a:gd name="connsiteY6691" fmla="*/ 1689211 h 6479439"/>
              <a:gd name="connsiteX6692" fmla="*/ 6231952 w 9586368"/>
              <a:gd name="connsiteY6692" fmla="*/ 1693249 h 6479439"/>
              <a:gd name="connsiteX6693" fmla="*/ 6222042 w 9586368"/>
              <a:gd name="connsiteY6693" fmla="*/ 1693249 h 6479439"/>
              <a:gd name="connsiteX6694" fmla="*/ 6218023 w 9586368"/>
              <a:gd name="connsiteY6694" fmla="*/ 1689211 h 6479439"/>
              <a:gd name="connsiteX6695" fmla="*/ 6218023 w 9586368"/>
              <a:gd name="connsiteY6695" fmla="*/ 1679339 h 6479439"/>
              <a:gd name="connsiteX6696" fmla="*/ 5982729 w 9586368"/>
              <a:gd name="connsiteY6696" fmla="*/ 1675301 h 6479439"/>
              <a:gd name="connsiteX6697" fmla="*/ 5992639 w 9586368"/>
              <a:gd name="connsiteY6697" fmla="*/ 1675301 h 6479439"/>
              <a:gd name="connsiteX6698" fmla="*/ 5996658 w 9586368"/>
              <a:gd name="connsiteY6698" fmla="*/ 1679339 h 6479439"/>
              <a:gd name="connsiteX6699" fmla="*/ 5996658 w 9586368"/>
              <a:gd name="connsiteY6699" fmla="*/ 1689211 h 6479439"/>
              <a:gd name="connsiteX6700" fmla="*/ 5992639 w 9586368"/>
              <a:gd name="connsiteY6700" fmla="*/ 1693251 h 6479439"/>
              <a:gd name="connsiteX6701" fmla="*/ 5982729 w 9586368"/>
              <a:gd name="connsiteY6701" fmla="*/ 1693251 h 6479439"/>
              <a:gd name="connsiteX6702" fmla="*/ 5978710 w 9586368"/>
              <a:gd name="connsiteY6702" fmla="*/ 1689211 h 6479439"/>
              <a:gd name="connsiteX6703" fmla="*/ 5978710 w 9586368"/>
              <a:gd name="connsiteY6703" fmla="*/ 1679339 h 6479439"/>
              <a:gd name="connsiteX6704" fmla="*/ 6939983 w 9586368"/>
              <a:gd name="connsiteY6704" fmla="*/ 1675300 h 6479439"/>
              <a:gd name="connsiteX6705" fmla="*/ 6949894 w 9586368"/>
              <a:gd name="connsiteY6705" fmla="*/ 1675300 h 6479439"/>
              <a:gd name="connsiteX6706" fmla="*/ 6953913 w 9586368"/>
              <a:gd name="connsiteY6706" fmla="*/ 1679339 h 6479439"/>
              <a:gd name="connsiteX6707" fmla="*/ 6953913 w 9586368"/>
              <a:gd name="connsiteY6707" fmla="*/ 1689210 h 6479439"/>
              <a:gd name="connsiteX6708" fmla="*/ 6949894 w 9586368"/>
              <a:gd name="connsiteY6708" fmla="*/ 1693249 h 6479439"/>
              <a:gd name="connsiteX6709" fmla="*/ 6939983 w 9586368"/>
              <a:gd name="connsiteY6709" fmla="*/ 1693249 h 6479439"/>
              <a:gd name="connsiteX6710" fmla="*/ 6935964 w 9586368"/>
              <a:gd name="connsiteY6710" fmla="*/ 1689210 h 6479439"/>
              <a:gd name="connsiteX6711" fmla="*/ 6935964 w 9586368"/>
              <a:gd name="connsiteY6711" fmla="*/ 1679339 h 6479439"/>
              <a:gd name="connsiteX6712" fmla="*/ 6700670 w 9586368"/>
              <a:gd name="connsiteY6712" fmla="*/ 1675300 h 6479439"/>
              <a:gd name="connsiteX6713" fmla="*/ 6710581 w 9586368"/>
              <a:gd name="connsiteY6713" fmla="*/ 1675300 h 6479439"/>
              <a:gd name="connsiteX6714" fmla="*/ 6714600 w 9586368"/>
              <a:gd name="connsiteY6714" fmla="*/ 1679339 h 6479439"/>
              <a:gd name="connsiteX6715" fmla="*/ 6714600 w 9586368"/>
              <a:gd name="connsiteY6715" fmla="*/ 1689210 h 6479439"/>
              <a:gd name="connsiteX6716" fmla="*/ 6710581 w 9586368"/>
              <a:gd name="connsiteY6716" fmla="*/ 1693249 h 6479439"/>
              <a:gd name="connsiteX6717" fmla="*/ 6700670 w 9586368"/>
              <a:gd name="connsiteY6717" fmla="*/ 1693249 h 6479439"/>
              <a:gd name="connsiteX6718" fmla="*/ 6696651 w 9586368"/>
              <a:gd name="connsiteY6718" fmla="*/ 1689210 h 6479439"/>
              <a:gd name="connsiteX6719" fmla="*/ 6696651 w 9586368"/>
              <a:gd name="connsiteY6719" fmla="*/ 1679339 h 6479439"/>
              <a:gd name="connsiteX6720" fmla="*/ 8136553 w 9586368"/>
              <a:gd name="connsiteY6720" fmla="*/ 1675285 h 6479439"/>
              <a:gd name="connsiteX6721" fmla="*/ 8146464 w 9586368"/>
              <a:gd name="connsiteY6721" fmla="*/ 1675285 h 6479439"/>
              <a:gd name="connsiteX6722" fmla="*/ 8150483 w 9586368"/>
              <a:gd name="connsiteY6722" fmla="*/ 1679323 h 6479439"/>
              <a:gd name="connsiteX6723" fmla="*/ 8150483 w 9586368"/>
              <a:gd name="connsiteY6723" fmla="*/ 1689193 h 6479439"/>
              <a:gd name="connsiteX6724" fmla="*/ 8146464 w 9586368"/>
              <a:gd name="connsiteY6724" fmla="*/ 1693232 h 6479439"/>
              <a:gd name="connsiteX6725" fmla="*/ 8136553 w 9586368"/>
              <a:gd name="connsiteY6725" fmla="*/ 1693232 h 6479439"/>
              <a:gd name="connsiteX6726" fmla="*/ 8132534 w 9586368"/>
              <a:gd name="connsiteY6726" fmla="*/ 1689193 h 6479439"/>
              <a:gd name="connsiteX6727" fmla="*/ 8132534 w 9586368"/>
              <a:gd name="connsiteY6727" fmla="*/ 1679323 h 6479439"/>
              <a:gd name="connsiteX6728" fmla="*/ 7897241 w 9586368"/>
              <a:gd name="connsiteY6728" fmla="*/ 1675285 h 6479439"/>
              <a:gd name="connsiteX6729" fmla="*/ 7907151 w 9586368"/>
              <a:gd name="connsiteY6729" fmla="*/ 1675285 h 6479439"/>
              <a:gd name="connsiteX6730" fmla="*/ 7911170 w 9586368"/>
              <a:gd name="connsiteY6730" fmla="*/ 1679323 h 6479439"/>
              <a:gd name="connsiteX6731" fmla="*/ 7911170 w 9586368"/>
              <a:gd name="connsiteY6731" fmla="*/ 1689193 h 6479439"/>
              <a:gd name="connsiteX6732" fmla="*/ 7907151 w 9586368"/>
              <a:gd name="connsiteY6732" fmla="*/ 1693232 h 6479439"/>
              <a:gd name="connsiteX6733" fmla="*/ 7897241 w 9586368"/>
              <a:gd name="connsiteY6733" fmla="*/ 1693232 h 6479439"/>
              <a:gd name="connsiteX6734" fmla="*/ 7893222 w 9586368"/>
              <a:gd name="connsiteY6734" fmla="*/ 1689193 h 6479439"/>
              <a:gd name="connsiteX6735" fmla="*/ 7893222 w 9586368"/>
              <a:gd name="connsiteY6735" fmla="*/ 1679323 h 6479439"/>
              <a:gd name="connsiteX6736" fmla="*/ 7657926 w 9586368"/>
              <a:gd name="connsiteY6736" fmla="*/ 1675285 h 6479439"/>
              <a:gd name="connsiteX6737" fmla="*/ 7667836 w 9586368"/>
              <a:gd name="connsiteY6737" fmla="*/ 1675285 h 6479439"/>
              <a:gd name="connsiteX6738" fmla="*/ 7671855 w 9586368"/>
              <a:gd name="connsiteY6738" fmla="*/ 1679323 h 6479439"/>
              <a:gd name="connsiteX6739" fmla="*/ 7671855 w 9586368"/>
              <a:gd name="connsiteY6739" fmla="*/ 1689193 h 6479439"/>
              <a:gd name="connsiteX6740" fmla="*/ 7667836 w 9586368"/>
              <a:gd name="connsiteY6740" fmla="*/ 1693232 h 6479439"/>
              <a:gd name="connsiteX6741" fmla="*/ 7657926 w 9586368"/>
              <a:gd name="connsiteY6741" fmla="*/ 1693232 h 6479439"/>
              <a:gd name="connsiteX6742" fmla="*/ 7653906 w 9586368"/>
              <a:gd name="connsiteY6742" fmla="*/ 1689193 h 6479439"/>
              <a:gd name="connsiteX6743" fmla="*/ 7653906 w 9586368"/>
              <a:gd name="connsiteY6743" fmla="*/ 1679323 h 6479439"/>
              <a:gd name="connsiteX6744" fmla="*/ 7418611 w 9586368"/>
              <a:gd name="connsiteY6744" fmla="*/ 1675285 h 6479439"/>
              <a:gd name="connsiteX6745" fmla="*/ 7428521 w 9586368"/>
              <a:gd name="connsiteY6745" fmla="*/ 1675285 h 6479439"/>
              <a:gd name="connsiteX6746" fmla="*/ 7432540 w 9586368"/>
              <a:gd name="connsiteY6746" fmla="*/ 1679323 h 6479439"/>
              <a:gd name="connsiteX6747" fmla="*/ 7432540 w 9586368"/>
              <a:gd name="connsiteY6747" fmla="*/ 1689195 h 6479439"/>
              <a:gd name="connsiteX6748" fmla="*/ 7428521 w 9586368"/>
              <a:gd name="connsiteY6748" fmla="*/ 1693232 h 6479439"/>
              <a:gd name="connsiteX6749" fmla="*/ 7418611 w 9586368"/>
              <a:gd name="connsiteY6749" fmla="*/ 1693232 h 6479439"/>
              <a:gd name="connsiteX6750" fmla="*/ 7414592 w 9586368"/>
              <a:gd name="connsiteY6750" fmla="*/ 1689195 h 6479439"/>
              <a:gd name="connsiteX6751" fmla="*/ 7414592 w 9586368"/>
              <a:gd name="connsiteY6751" fmla="*/ 1679323 h 6479439"/>
              <a:gd name="connsiteX6752" fmla="*/ 7179298 w 9586368"/>
              <a:gd name="connsiteY6752" fmla="*/ 1675285 h 6479439"/>
              <a:gd name="connsiteX6753" fmla="*/ 7189209 w 9586368"/>
              <a:gd name="connsiteY6753" fmla="*/ 1675285 h 6479439"/>
              <a:gd name="connsiteX6754" fmla="*/ 7193228 w 9586368"/>
              <a:gd name="connsiteY6754" fmla="*/ 1679323 h 6479439"/>
              <a:gd name="connsiteX6755" fmla="*/ 7193228 w 9586368"/>
              <a:gd name="connsiteY6755" fmla="*/ 1689195 h 6479439"/>
              <a:gd name="connsiteX6756" fmla="*/ 7189209 w 9586368"/>
              <a:gd name="connsiteY6756" fmla="*/ 1693234 h 6479439"/>
              <a:gd name="connsiteX6757" fmla="*/ 7179298 w 9586368"/>
              <a:gd name="connsiteY6757" fmla="*/ 1693234 h 6479439"/>
              <a:gd name="connsiteX6758" fmla="*/ 7175279 w 9586368"/>
              <a:gd name="connsiteY6758" fmla="*/ 1689195 h 6479439"/>
              <a:gd name="connsiteX6759" fmla="*/ 7175279 w 9586368"/>
              <a:gd name="connsiteY6759" fmla="*/ 1679323 h 6479439"/>
              <a:gd name="connsiteX6760" fmla="*/ 9333125 w 9586368"/>
              <a:gd name="connsiteY6760" fmla="*/ 1675268 h 6479439"/>
              <a:gd name="connsiteX6761" fmla="*/ 9343036 w 9586368"/>
              <a:gd name="connsiteY6761" fmla="*/ 1675268 h 6479439"/>
              <a:gd name="connsiteX6762" fmla="*/ 9347055 w 9586368"/>
              <a:gd name="connsiteY6762" fmla="*/ 1679306 h 6479439"/>
              <a:gd name="connsiteX6763" fmla="*/ 9347055 w 9586368"/>
              <a:gd name="connsiteY6763" fmla="*/ 1689177 h 6479439"/>
              <a:gd name="connsiteX6764" fmla="*/ 9343036 w 9586368"/>
              <a:gd name="connsiteY6764" fmla="*/ 1693216 h 6479439"/>
              <a:gd name="connsiteX6765" fmla="*/ 9333125 w 9586368"/>
              <a:gd name="connsiteY6765" fmla="*/ 1693216 h 6479439"/>
              <a:gd name="connsiteX6766" fmla="*/ 9329106 w 9586368"/>
              <a:gd name="connsiteY6766" fmla="*/ 1689177 h 6479439"/>
              <a:gd name="connsiteX6767" fmla="*/ 9329106 w 9586368"/>
              <a:gd name="connsiteY6767" fmla="*/ 1679306 h 6479439"/>
              <a:gd name="connsiteX6768" fmla="*/ 9093811 w 9586368"/>
              <a:gd name="connsiteY6768" fmla="*/ 1675268 h 6479439"/>
              <a:gd name="connsiteX6769" fmla="*/ 9103722 w 9586368"/>
              <a:gd name="connsiteY6769" fmla="*/ 1675268 h 6479439"/>
              <a:gd name="connsiteX6770" fmla="*/ 9107741 w 9586368"/>
              <a:gd name="connsiteY6770" fmla="*/ 1679306 h 6479439"/>
              <a:gd name="connsiteX6771" fmla="*/ 9107741 w 9586368"/>
              <a:gd name="connsiteY6771" fmla="*/ 1689177 h 6479439"/>
              <a:gd name="connsiteX6772" fmla="*/ 9103722 w 9586368"/>
              <a:gd name="connsiteY6772" fmla="*/ 1693217 h 6479439"/>
              <a:gd name="connsiteX6773" fmla="*/ 9093811 w 9586368"/>
              <a:gd name="connsiteY6773" fmla="*/ 1693217 h 6479439"/>
              <a:gd name="connsiteX6774" fmla="*/ 9089792 w 9586368"/>
              <a:gd name="connsiteY6774" fmla="*/ 1689177 h 6479439"/>
              <a:gd name="connsiteX6775" fmla="*/ 9089792 w 9586368"/>
              <a:gd name="connsiteY6775" fmla="*/ 1679306 h 6479439"/>
              <a:gd name="connsiteX6776" fmla="*/ 8854496 w 9586368"/>
              <a:gd name="connsiteY6776" fmla="*/ 1675268 h 6479439"/>
              <a:gd name="connsiteX6777" fmla="*/ 8864407 w 9586368"/>
              <a:gd name="connsiteY6777" fmla="*/ 1675268 h 6479439"/>
              <a:gd name="connsiteX6778" fmla="*/ 8868426 w 9586368"/>
              <a:gd name="connsiteY6778" fmla="*/ 1679307 h 6479439"/>
              <a:gd name="connsiteX6779" fmla="*/ 8868426 w 9586368"/>
              <a:gd name="connsiteY6779" fmla="*/ 1689177 h 6479439"/>
              <a:gd name="connsiteX6780" fmla="*/ 8864407 w 9586368"/>
              <a:gd name="connsiteY6780" fmla="*/ 1693217 h 6479439"/>
              <a:gd name="connsiteX6781" fmla="*/ 8854496 w 9586368"/>
              <a:gd name="connsiteY6781" fmla="*/ 1693217 h 6479439"/>
              <a:gd name="connsiteX6782" fmla="*/ 8850477 w 9586368"/>
              <a:gd name="connsiteY6782" fmla="*/ 1689177 h 6479439"/>
              <a:gd name="connsiteX6783" fmla="*/ 8850477 w 9586368"/>
              <a:gd name="connsiteY6783" fmla="*/ 1679307 h 6479439"/>
              <a:gd name="connsiteX6784" fmla="*/ 8615184 w 9586368"/>
              <a:gd name="connsiteY6784" fmla="*/ 1675268 h 6479439"/>
              <a:gd name="connsiteX6785" fmla="*/ 8625095 w 9586368"/>
              <a:gd name="connsiteY6785" fmla="*/ 1675268 h 6479439"/>
              <a:gd name="connsiteX6786" fmla="*/ 8629114 w 9586368"/>
              <a:gd name="connsiteY6786" fmla="*/ 1679307 h 6479439"/>
              <a:gd name="connsiteX6787" fmla="*/ 8629114 w 9586368"/>
              <a:gd name="connsiteY6787" fmla="*/ 1689178 h 6479439"/>
              <a:gd name="connsiteX6788" fmla="*/ 8625095 w 9586368"/>
              <a:gd name="connsiteY6788" fmla="*/ 1693217 h 6479439"/>
              <a:gd name="connsiteX6789" fmla="*/ 8615184 w 9586368"/>
              <a:gd name="connsiteY6789" fmla="*/ 1693217 h 6479439"/>
              <a:gd name="connsiteX6790" fmla="*/ 8611165 w 9586368"/>
              <a:gd name="connsiteY6790" fmla="*/ 1689178 h 6479439"/>
              <a:gd name="connsiteX6791" fmla="*/ 8611165 w 9586368"/>
              <a:gd name="connsiteY6791" fmla="*/ 1679307 h 6479439"/>
              <a:gd name="connsiteX6792" fmla="*/ 8375869 w 9586368"/>
              <a:gd name="connsiteY6792" fmla="*/ 1675268 h 6479439"/>
              <a:gd name="connsiteX6793" fmla="*/ 8385779 w 9586368"/>
              <a:gd name="connsiteY6793" fmla="*/ 1675268 h 6479439"/>
              <a:gd name="connsiteX6794" fmla="*/ 8389799 w 9586368"/>
              <a:gd name="connsiteY6794" fmla="*/ 1679307 h 6479439"/>
              <a:gd name="connsiteX6795" fmla="*/ 8389799 w 9586368"/>
              <a:gd name="connsiteY6795" fmla="*/ 1689178 h 6479439"/>
              <a:gd name="connsiteX6796" fmla="*/ 8385779 w 9586368"/>
              <a:gd name="connsiteY6796" fmla="*/ 1693217 h 6479439"/>
              <a:gd name="connsiteX6797" fmla="*/ 8375869 w 9586368"/>
              <a:gd name="connsiteY6797" fmla="*/ 1693217 h 6479439"/>
              <a:gd name="connsiteX6798" fmla="*/ 8371850 w 9586368"/>
              <a:gd name="connsiteY6798" fmla="*/ 1689178 h 6479439"/>
              <a:gd name="connsiteX6799" fmla="*/ 8371850 w 9586368"/>
              <a:gd name="connsiteY6799" fmla="*/ 1679307 h 6479439"/>
              <a:gd name="connsiteX6800" fmla="*/ 961270 w 9586368"/>
              <a:gd name="connsiteY6800" fmla="*/ 1675255 h 6479439"/>
              <a:gd name="connsiteX6801" fmla="*/ 971180 w 9586368"/>
              <a:gd name="connsiteY6801" fmla="*/ 1675255 h 6479439"/>
              <a:gd name="connsiteX6802" fmla="*/ 975199 w 9586368"/>
              <a:gd name="connsiteY6802" fmla="*/ 1679292 h 6479439"/>
              <a:gd name="connsiteX6803" fmla="*/ 975199 w 9586368"/>
              <a:gd name="connsiteY6803" fmla="*/ 1689163 h 6479439"/>
              <a:gd name="connsiteX6804" fmla="*/ 971180 w 9586368"/>
              <a:gd name="connsiteY6804" fmla="*/ 1693202 h 6479439"/>
              <a:gd name="connsiteX6805" fmla="*/ 961270 w 9586368"/>
              <a:gd name="connsiteY6805" fmla="*/ 1693202 h 6479439"/>
              <a:gd name="connsiteX6806" fmla="*/ 957251 w 9586368"/>
              <a:gd name="connsiteY6806" fmla="*/ 1689163 h 6479439"/>
              <a:gd name="connsiteX6807" fmla="*/ 957251 w 9586368"/>
              <a:gd name="connsiteY6807" fmla="*/ 1679292 h 6479439"/>
              <a:gd name="connsiteX6808" fmla="*/ 1679215 w 9586368"/>
              <a:gd name="connsiteY6808" fmla="*/ 1675254 h 6479439"/>
              <a:gd name="connsiteX6809" fmla="*/ 1689126 w 9586368"/>
              <a:gd name="connsiteY6809" fmla="*/ 1675254 h 6479439"/>
              <a:gd name="connsiteX6810" fmla="*/ 1693145 w 9586368"/>
              <a:gd name="connsiteY6810" fmla="*/ 1679292 h 6479439"/>
              <a:gd name="connsiteX6811" fmla="*/ 1693145 w 9586368"/>
              <a:gd name="connsiteY6811" fmla="*/ 1689163 h 6479439"/>
              <a:gd name="connsiteX6812" fmla="*/ 1689126 w 9586368"/>
              <a:gd name="connsiteY6812" fmla="*/ 1693202 h 6479439"/>
              <a:gd name="connsiteX6813" fmla="*/ 1679215 w 9586368"/>
              <a:gd name="connsiteY6813" fmla="*/ 1693202 h 6479439"/>
              <a:gd name="connsiteX6814" fmla="*/ 1675196 w 9586368"/>
              <a:gd name="connsiteY6814" fmla="*/ 1689163 h 6479439"/>
              <a:gd name="connsiteX6815" fmla="*/ 1675196 w 9586368"/>
              <a:gd name="connsiteY6815" fmla="*/ 1679292 h 6479439"/>
              <a:gd name="connsiteX6816" fmla="*/ 1439898 w 9586368"/>
              <a:gd name="connsiteY6816" fmla="*/ 1675254 h 6479439"/>
              <a:gd name="connsiteX6817" fmla="*/ 1449808 w 9586368"/>
              <a:gd name="connsiteY6817" fmla="*/ 1675254 h 6479439"/>
              <a:gd name="connsiteX6818" fmla="*/ 1453828 w 9586368"/>
              <a:gd name="connsiteY6818" fmla="*/ 1679292 h 6479439"/>
              <a:gd name="connsiteX6819" fmla="*/ 1453828 w 9586368"/>
              <a:gd name="connsiteY6819" fmla="*/ 1689163 h 6479439"/>
              <a:gd name="connsiteX6820" fmla="*/ 1449808 w 9586368"/>
              <a:gd name="connsiteY6820" fmla="*/ 1693202 h 6479439"/>
              <a:gd name="connsiteX6821" fmla="*/ 1439898 w 9586368"/>
              <a:gd name="connsiteY6821" fmla="*/ 1693202 h 6479439"/>
              <a:gd name="connsiteX6822" fmla="*/ 1435880 w 9586368"/>
              <a:gd name="connsiteY6822" fmla="*/ 1689163 h 6479439"/>
              <a:gd name="connsiteX6823" fmla="*/ 1435880 w 9586368"/>
              <a:gd name="connsiteY6823" fmla="*/ 1679292 h 6479439"/>
              <a:gd name="connsiteX6824" fmla="*/ 1200583 w 9586368"/>
              <a:gd name="connsiteY6824" fmla="*/ 1675254 h 6479439"/>
              <a:gd name="connsiteX6825" fmla="*/ 1210493 w 9586368"/>
              <a:gd name="connsiteY6825" fmla="*/ 1675254 h 6479439"/>
              <a:gd name="connsiteX6826" fmla="*/ 1214511 w 9586368"/>
              <a:gd name="connsiteY6826" fmla="*/ 1679292 h 6479439"/>
              <a:gd name="connsiteX6827" fmla="*/ 1214511 w 9586368"/>
              <a:gd name="connsiteY6827" fmla="*/ 1689163 h 6479439"/>
              <a:gd name="connsiteX6828" fmla="*/ 1210493 w 9586368"/>
              <a:gd name="connsiteY6828" fmla="*/ 1693202 h 6479439"/>
              <a:gd name="connsiteX6829" fmla="*/ 1200583 w 9586368"/>
              <a:gd name="connsiteY6829" fmla="*/ 1693202 h 6479439"/>
              <a:gd name="connsiteX6830" fmla="*/ 1196564 w 9586368"/>
              <a:gd name="connsiteY6830" fmla="*/ 1689163 h 6479439"/>
              <a:gd name="connsiteX6831" fmla="*/ 1196564 w 9586368"/>
              <a:gd name="connsiteY6831" fmla="*/ 1679292 h 6479439"/>
              <a:gd name="connsiteX6832" fmla="*/ 9572438 w 9586368"/>
              <a:gd name="connsiteY6832" fmla="*/ 1675251 h 6479439"/>
              <a:gd name="connsiteX6833" fmla="*/ 9582349 w 9586368"/>
              <a:gd name="connsiteY6833" fmla="*/ 1675251 h 6479439"/>
              <a:gd name="connsiteX6834" fmla="*/ 9586368 w 9586368"/>
              <a:gd name="connsiteY6834" fmla="*/ 1679290 h 6479439"/>
              <a:gd name="connsiteX6835" fmla="*/ 9586368 w 9586368"/>
              <a:gd name="connsiteY6835" fmla="*/ 1689161 h 6479439"/>
              <a:gd name="connsiteX6836" fmla="*/ 9582349 w 9586368"/>
              <a:gd name="connsiteY6836" fmla="*/ 1693201 h 6479439"/>
              <a:gd name="connsiteX6837" fmla="*/ 9572438 w 9586368"/>
              <a:gd name="connsiteY6837" fmla="*/ 1693201 h 6479439"/>
              <a:gd name="connsiteX6838" fmla="*/ 9568419 w 9586368"/>
              <a:gd name="connsiteY6838" fmla="*/ 1689161 h 6479439"/>
              <a:gd name="connsiteX6839" fmla="*/ 9568419 w 9586368"/>
              <a:gd name="connsiteY6839" fmla="*/ 1679290 h 6479439"/>
              <a:gd name="connsiteX6840" fmla="*/ 1918514 w 9586368"/>
              <a:gd name="connsiteY6840" fmla="*/ 1675243 h 6479439"/>
              <a:gd name="connsiteX6841" fmla="*/ 1928424 w 9586368"/>
              <a:gd name="connsiteY6841" fmla="*/ 1675243 h 6479439"/>
              <a:gd name="connsiteX6842" fmla="*/ 1932443 w 9586368"/>
              <a:gd name="connsiteY6842" fmla="*/ 1679282 h 6479439"/>
              <a:gd name="connsiteX6843" fmla="*/ 1932443 w 9586368"/>
              <a:gd name="connsiteY6843" fmla="*/ 1689153 h 6479439"/>
              <a:gd name="connsiteX6844" fmla="*/ 1928424 w 9586368"/>
              <a:gd name="connsiteY6844" fmla="*/ 1693191 h 6479439"/>
              <a:gd name="connsiteX6845" fmla="*/ 1918514 w 9586368"/>
              <a:gd name="connsiteY6845" fmla="*/ 1693191 h 6479439"/>
              <a:gd name="connsiteX6846" fmla="*/ 1914494 w 9586368"/>
              <a:gd name="connsiteY6846" fmla="*/ 1689153 h 6479439"/>
              <a:gd name="connsiteX6847" fmla="*/ 1914494 w 9586368"/>
              <a:gd name="connsiteY6847" fmla="*/ 1679282 h 6479439"/>
              <a:gd name="connsiteX6848" fmla="*/ 2157821 w 9586368"/>
              <a:gd name="connsiteY6848" fmla="*/ 1675240 h 6479439"/>
              <a:gd name="connsiteX6849" fmla="*/ 2167732 w 9586368"/>
              <a:gd name="connsiteY6849" fmla="*/ 1675240 h 6479439"/>
              <a:gd name="connsiteX6850" fmla="*/ 2171751 w 9586368"/>
              <a:gd name="connsiteY6850" fmla="*/ 1679279 h 6479439"/>
              <a:gd name="connsiteX6851" fmla="*/ 2171751 w 9586368"/>
              <a:gd name="connsiteY6851" fmla="*/ 1689149 h 6479439"/>
              <a:gd name="connsiteX6852" fmla="*/ 2167732 w 9586368"/>
              <a:gd name="connsiteY6852" fmla="*/ 1693188 h 6479439"/>
              <a:gd name="connsiteX6853" fmla="*/ 2157821 w 9586368"/>
              <a:gd name="connsiteY6853" fmla="*/ 1693188 h 6479439"/>
              <a:gd name="connsiteX6854" fmla="*/ 2153803 w 9586368"/>
              <a:gd name="connsiteY6854" fmla="*/ 1689149 h 6479439"/>
              <a:gd name="connsiteX6855" fmla="*/ 2153803 w 9586368"/>
              <a:gd name="connsiteY6855" fmla="*/ 1679279 h 6479439"/>
              <a:gd name="connsiteX6856" fmla="*/ 243346 w 9586368"/>
              <a:gd name="connsiteY6856" fmla="*/ 1675216 h 6479439"/>
              <a:gd name="connsiteX6857" fmla="*/ 253257 w 9586368"/>
              <a:gd name="connsiteY6857" fmla="*/ 1675216 h 6479439"/>
              <a:gd name="connsiteX6858" fmla="*/ 257276 w 9586368"/>
              <a:gd name="connsiteY6858" fmla="*/ 1679254 h 6479439"/>
              <a:gd name="connsiteX6859" fmla="*/ 257276 w 9586368"/>
              <a:gd name="connsiteY6859" fmla="*/ 1689125 h 6479439"/>
              <a:gd name="connsiteX6860" fmla="*/ 253257 w 9586368"/>
              <a:gd name="connsiteY6860" fmla="*/ 1693164 h 6479439"/>
              <a:gd name="connsiteX6861" fmla="*/ 243346 w 9586368"/>
              <a:gd name="connsiteY6861" fmla="*/ 1693164 h 6479439"/>
              <a:gd name="connsiteX6862" fmla="*/ 239327 w 9586368"/>
              <a:gd name="connsiteY6862" fmla="*/ 1689125 h 6479439"/>
              <a:gd name="connsiteX6863" fmla="*/ 239327 w 9586368"/>
              <a:gd name="connsiteY6863" fmla="*/ 1679254 h 6479439"/>
              <a:gd name="connsiteX6864" fmla="*/ 4034 w 9586368"/>
              <a:gd name="connsiteY6864" fmla="*/ 1675216 h 6479439"/>
              <a:gd name="connsiteX6865" fmla="*/ 13943 w 9586368"/>
              <a:gd name="connsiteY6865" fmla="*/ 1675216 h 6479439"/>
              <a:gd name="connsiteX6866" fmla="*/ 17962 w 9586368"/>
              <a:gd name="connsiteY6866" fmla="*/ 1679254 h 6479439"/>
              <a:gd name="connsiteX6867" fmla="*/ 17962 w 9586368"/>
              <a:gd name="connsiteY6867" fmla="*/ 1689125 h 6479439"/>
              <a:gd name="connsiteX6868" fmla="*/ 13943 w 9586368"/>
              <a:gd name="connsiteY6868" fmla="*/ 1693164 h 6479439"/>
              <a:gd name="connsiteX6869" fmla="*/ 4034 w 9586368"/>
              <a:gd name="connsiteY6869" fmla="*/ 1693164 h 6479439"/>
              <a:gd name="connsiteX6870" fmla="*/ 14 w 9586368"/>
              <a:gd name="connsiteY6870" fmla="*/ 1689125 h 6479439"/>
              <a:gd name="connsiteX6871" fmla="*/ 14 w 9586368"/>
              <a:gd name="connsiteY6871" fmla="*/ 1679254 h 6479439"/>
              <a:gd name="connsiteX6872" fmla="*/ 721972 w 9586368"/>
              <a:gd name="connsiteY6872" fmla="*/ 1675216 h 6479439"/>
              <a:gd name="connsiteX6873" fmla="*/ 731882 w 9586368"/>
              <a:gd name="connsiteY6873" fmla="*/ 1675216 h 6479439"/>
              <a:gd name="connsiteX6874" fmla="*/ 735902 w 9586368"/>
              <a:gd name="connsiteY6874" fmla="*/ 1679254 h 6479439"/>
              <a:gd name="connsiteX6875" fmla="*/ 735902 w 9586368"/>
              <a:gd name="connsiteY6875" fmla="*/ 1689125 h 6479439"/>
              <a:gd name="connsiteX6876" fmla="*/ 731882 w 9586368"/>
              <a:gd name="connsiteY6876" fmla="*/ 1693164 h 6479439"/>
              <a:gd name="connsiteX6877" fmla="*/ 721972 w 9586368"/>
              <a:gd name="connsiteY6877" fmla="*/ 1693164 h 6479439"/>
              <a:gd name="connsiteX6878" fmla="*/ 717954 w 9586368"/>
              <a:gd name="connsiteY6878" fmla="*/ 1689125 h 6479439"/>
              <a:gd name="connsiteX6879" fmla="*/ 717954 w 9586368"/>
              <a:gd name="connsiteY6879" fmla="*/ 1679254 h 6479439"/>
              <a:gd name="connsiteX6880" fmla="*/ 482660 w 9586368"/>
              <a:gd name="connsiteY6880" fmla="*/ 1675216 h 6479439"/>
              <a:gd name="connsiteX6881" fmla="*/ 492571 w 9586368"/>
              <a:gd name="connsiteY6881" fmla="*/ 1675216 h 6479439"/>
              <a:gd name="connsiteX6882" fmla="*/ 496589 w 9586368"/>
              <a:gd name="connsiteY6882" fmla="*/ 1679254 h 6479439"/>
              <a:gd name="connsiteX6883" fmla="*/ 496589 w 9586368"/>
              <a:gd name="connsiteY6883" fmla="*/ 1689125 h 6479439"/>
              <a:gd name="connsiteX6884" fmla="*/ 492571 w 9586368"/>
              <a:gd name="connsiteY6884" fmla="*/ 1693164 h 6479439"/>
              <a:gd name="connsiteX6885" fmla="*/ 482660 w 9586368"/>
              <a:gd name="connsiteY6885" fmla="*/ 1693164 h 6479439"/>
              <a:gd name="connsiteX6886" fmla="*/ 478641 w 9586368"/>
              <a:gd name="connsiteY6886" fmla="*/ 1689125 h 6479439"/>
              <a:gd name="connsiteX6887" fmla="*/ 478641 w 9586368"/>
              <a:gd name="connsiteY6887" fmla="*/ 1679254 h 6479439"/>
              <a:gd name="connsiteX6888" fmla="*/ 2393104 w 9586368"/>
              <a:gd name="connsiteY6888" fmla="*/ 1436001 h 6479439"/>
              <a:gd name="connsiteX6889" fmla="*/ 2403015 w 9586368"/>
              <a:gd name="connsiteY6889" fmla="*/ 1436001 h 6479439"/>
              <a:gd name="connsiteX6890" fmla="*/ 2407034 w 9586368"/>
              <a:gd name="connsiteY6890" fmla="*/ 1440038 h 6479439"/>
              <a:gd name="connsiteX6891" fmla="*/ 2407034 w 9586368"/>
              <a:gd name="connsiteY6891" fmla="*/ 1449910 h 6479439"/>
              <a:gd name="connsiteX6892" fmla="*/ 2403015 w 9586368"/>
              <a:gd name="connsiteY6892" fmla="*/ 1453949 h 6479439"/>
              <a:gd name="connsiteX6893" fmla="*/ 2393104 w 9586368"/>
              <a:gd name="connsiteY6893" fmla="*/ 1453949 h 6479439"/>
              <a:gd name="connsiteX6894" fmla="*/ 2389087 w 9586368"/>
              <a:gd name="connsiteY6894" fmla="*/ 1449910 h 6479439"/>
              <a:gd name="connsiteX6895" fmla="*/ 2389087 w 9586368"/>
              <a:gd name="connsiteY6895" fmla="*/ 1440038 h 6479439"/>
              <a:gd name="connsiteX6896" fmla="*/ 3350359 w 9586368"/>
              <a:gd name="connsiteY6896" fmla="*/ 1436000 h 6479439"/>
              <a:gd name="connsiteX6897" fmla="*/ 3360268 w 9586368"/>
              <a:gd name="connsiteY6897" fmla="*/ 1436000 h 6479439"/>
              <a:gd name="connsiteX6898" fmla="*/ 3364287 w 9586368"/>
              <a:gd name="connsiteY6898" fmla="*/ 1440038 h 6479439"/>
              <a:gd name="connsiteX6899" fmla="*/ 3364287 w 9586368"/>
              <a:gd name="connsiteY6899" fmla="*/ 1449909 h 6479439"/>
              <a:gd name="connsiteX6900" fmla="*/ 3360268 w 9586368"/>
              <a:gd name="connsiteY6900" fmla="*/ 1453949 h 6479439"/>
              <a:gd name="connsiteX6901" fmla="*/ 3350359 w 9586368"/>
              <a:gd name="connsiteY6901" fmla="*/ 1453949 h 6479439"/>
              <a:gd name="connsiteX6902" fmla="*/ 3346340 w 9586368"/>
              <a:gd name="connsiteY6902" fmla="*/ 1449909 h 6479439"/>
              <a:gd name="connsiteX6903" fmla="*/ 3346340 w 9586368"/>
              <a:gd name="connsiteY6903" fmla="*/ 1440038 h 6479439"/>
              <a:gd name="connsiteX6904" fmla="*/ 3111048 w 9586368"/>
              <a:gd name="connsiteY6904" fmla="*/ 1436000 h 6479439"/>
              <a:gd name="connsiteX6905" fmla="*/ 3120959 w 9586368"/>
              <a:gd name="connsiteY6905" fmla="*/ 1436000 h 6479439"/>
              <a:gd name="connsiteX6906" fmla="*/ 3124977 w 9586368"/>
              <a:gd name="connsiteY6906" fmla="*/ 1440038 h 6479439"/>
              <a:gd name="connsiteX6907" fmla="*/ 3124977 w 9586368"/>
              <a:gd name="connsiteY6907" fmla="*/ 1449910 h 6479439"/>
              <a:gd name="connsiteX6908" fmla="*/ 3120959 w 9586368"/>
              <a:gd name="connsiteY6908" fmla="*/ 1453949 h 6479439"/>
              <a:gd name="connsiteX6909" fmla="*/ 3111048 w 9586368"/>
              <a:gd name="connsiteY6909" fmla="*/ 1453949 h 6479439"/>
              <a:gd name="connsiteX6910" fmla="*/ 3107029 w 9586368"/>
              <a:gd name="connsiteY6910" fmla="*/ 1449910 h 6479439"/>
              <a:gd name="connsiteX6911" fmla="*/ 3107029 w 9586368"/>
              <a:gd name="connsiteY6911" fmla="*/ 1440038 h 6479439"/>
              <a:gd name="connsiteX6912" fmla="*/ 2871737 w 9586368"/>
              <a:gd name="connsiteY6912" fmla="*/ 1436000 h 6479439"/>
              <a:gd name="connsiteX6913" fmla="*/ 2881646 w 9586368"/>
              <a:gd name="connsiteY6913" fmla="*/ 1436000 h 6479439"/>
              <a:gd name="connsiteX6914" fmla="*/ 2885666 w 9586368"/>
              <a:gd name="connsiteY6914" fmla="*/ 1440038 h 6479439"/>
              <a:gd name="connsiteX6915" fmla="*/ 2885666 w 9586368"/>
              <a:gd name="connsiteY6915" fmla="*/ 1449910 h 6479439"/>
              <a:gd name="connsiteX6916" fmla="*/ 2881646 w 9586368"/>
              <a:gd name="connsiteY6916" fmla="*/ 1453949 h 6479439"/>
              <a:gd name="connsiteX6917" fmla="*/ 2871737 w 9586368"/>
              <a:gd name="connsiteY6917" fmla="*/ 1453949 h 6479439"/>
              <a:gd name="connsiteX6918" fmla="*/ 2867717 w 9586368"/>
              <a:gd name="connsiteY6918" fmla="*/ 1449910 h 6479439"/>
              <a:gd name="connsiteX6919" fmla="*/ 2867717 w 9586368"/>
              <a:gd name="connsiteY6919" fmla="*/ 1440038 h 6479439"/>
              <a:gd name="connsiteX6920" fmla="*/ 2632423 w 9586368"/>
              <a:gd name="connsiteY6920" fmla="*/ 1436000 h 6479439"/>
              <a:gd name="connsiteX6921" fmla="*/ 2642334 w 9586368"/>
              <a:gd name="connsiteY6921" fmla="*/ 1436000 h 6479439"/>
              <a:gd name="connsiteX6922" fmla="*/ 2646352 w 9586368"/>
              <a:gd name="connsiteY6922" fmla="*/ 1440038 h 6479439"/>
              <a:gd name="connsiteX6923" fmla="*/ 2646352 w 9586368"/>
              <a:gd name="connsiteY6923" fmla="*/ 1449910 h 6479439"/>
              <a:gd name="connsiteX6924" fmla="*/ 2642334 w 9586368"/>
              <a:gd name="connsiteY6924" fmla="*/ 1453949 h 6479439"/>
              <a:gd name="connsiteX6925" fmla="*/ 2632423 w 9586368"/>
              <a:gd name="connsiteY6925" fmla="*/ 1453949 h 6479439"/>
              <a:gd name="connsiteX6926" fmla="*/ 2628404 w 9586368"/>
              <a:gd name="connsiteY6926" fmla="*/ 1449910 h 6479439"/>
              <a:gd name="connsiteX6927" fmla="*/ 2628404 w 9586368"/>
              <a:gd name="connsiteY6927" fmla="*/ 1440038 h 6479439"/>
              <a:gd name="connsiteX6928" fmla="*/ 3589676 w 9586368"/>
              <a:gd name="connsiteY6928" fmla="*/ 1435986 h 6479439"/>
              <a:gd name="connsiteX6929" fmla="*/ 3599585 w 9586368"/>
              <a:gd name="connsiteY6929" fmla="*/ 1435986 h 6479439"/>
              <a:gd name="connsiteX6930" fmla="*/ 3603604 w 9586368"/>
              <a:gd name="connsiteY6930" fmla="*/ 1440024 h 6479439"/>
              <a:gd name="connsiteX6931" fmla="*/ 3603604 w 9586368"/>
              <a:gd name="connsiteY6931" fmla="*/ 1449895 h 6479439"/>
              <a:gd name="connsiteX6932" fmla="*/ 3599585 w 9586368"/>
              <a:gd name="connsiteY6932" fmla="*/ 1453934 h 6479439"/>
              <a:gd name="connsiteX6933" fmla="*/ 3589676 w 9586368"/>
              <a:gd name="connsiteY6933" fmla="*/ 1453934 h 6479439"/>
              <a:gd name="connsiteX6934" fmla="*/ 3585657 w 9586368"/>
              <a:gd name="connsiteY6934" fmla="*/ 1449895 h 6479439"/>
              <a:gd name="connsiteX6935" fmla="*/ 3585657 w 9586368"/>
              <a:gd name="connsiteY6935" fmla="*/ 1440024 h 6479439"/>
              <a:gd name="connsiteX6936" fmla="*/ 4546929 w 9586368"/>
              <a:gd name="connsiteY6936" fmla="*/ 1435986 h 6479439"/>
              <a:gd name="connsiteX6937" fmla="*/ 4556840 w 9586368"/>
              <a:gd name="connsiteY6937" fmla="*/ 1435986 h 6479439"/>
              <a:gd name="connsiteX6938" fmla="*/ 4560859 w 9586368"/>
              <a:gd name="connsiteY6938" fmla="*/ 1440024 h 6479439"/>
              <a:gd name="connsiteX6939" fmla="*/ 4560859 w 9586368"/>
              <a:gd name="connsiteY6939" fmla="*/ 1449895 h 6479439"/>
              <a:gd name="connsiteX6940" fmla="*/ 4556840 w 9586368"/>
              <a:gd name="connsiteY6940" fmla="*/ 1453934 h 6479439"/>
              <a:gd name="connsiteX6941" fmla="*/ 4546929 w 9586368"/>
              <a:gd name="connsiteY6941" fmla="*/ 1453934 h 6479439"/>
              <a:gd name="connsiteX6942" fmla="*/ 4542910 w 9586368"/>
              <a:gd name="connsiteY6942" fmla="*/ 1449895 h 6479439"/>
              <a:gd name="connsiteX6943" fmla="*/ 4542910 w 9586368"/>
              <a:gd name="connsiteY6943" fmla="*/ 1440024 h 6479439"/>
              <a:gd name="connsiteX6944" fmla="*/ 4307612 w 9586368"/>
              <a:gd name="connsiteY6944" fmla="*/ 1435986 h 6479439"/>
              <a:gd name="connsiteX6945" fmla="*/ 4317523 w 9586368"/>
              <a:gd name="connsiteY6945" fmla="*/ 1435986 h 6479439"/>
              <a:gd name="connsiteX6946" fmla="*/ 4321543 w 9586368"/>
              <a:gd name="connsiteY6946" fmla="*/ 1440024 h 6479439"/>
              <a:gd name="connsiteX6947" fmla="*/ 4321543 w 9586368"/>
              <a:gd name="connsiteY6947" fmla="*/ 1449895 h 6479439"/>
              <a:gd name="connsiteX6948" fmla="*/ 4317523 w 9586368"/>
              <a:gd name="connsiteY6948" fmla="*/ 1453934 h 6479439"/>
              <a:gd name="connsiteX6949" fmla="*/ 4307612 w 9586368"/>
              <a:gd name="connsiteY6949" fmla="*/ 1453934 h 6479439"/>
              <a:gd name="connsiteX6950" fmla="*/ 4303595 w 9586368"/>
              <a:gd name="connsiteY6950" fmla="*/ 1449895 h 6479439"/>
              <a:gd name="connsiteX6951" fmla="*/ 4303595 w 9586368"/>
              <a:gd name="connsiteY6951" fmla="*/ 1440024 h 6479439"/>
              <a:gd name="connsiteX6952" fmla="*/ 4068297 w 9586368"/>
              <a:gd name="connsiteY6952" fmla="*/ 1435986 h 6479439"/>
              <a:gd name="connsiteX6953" fmla="*/ 4078210 w 9586368"/>
              <a:gd name="connsiteY6953" fmla="*/ 1435986 h 6479439"/>
              <a:gd name="connsiteX6954" fmla="*/ 4082229 w 9586368"/>
              <a:gd name="connsiteY6954" fmla="*/ 1440024 h 6479439"/>
              <a:gd name="connsiteX6955" fmla="*/ 4082229 w 9586368"/>
              <a:gd name="connsiteY6955" fmla="*/ 1449895 h 6479439"/>
              <a:gd name="connsiteX6956" fmla="*/ 4078210 w 9586368"/>
              <a:gd name="connsiteY6956" fmla="*/ 1453934 h 6479439"/>
              <a:gd name="connsiteX6957" fmla="*/ 4068297 w 9586368"/>
              <a:gd name="connsiteY6957" fmla="*/ 1453934 h 6479439"/>
              <a:gd name="connsiteX6958" fmla="*/ 4064278 w 9586368"/>
              <a:gd name="connsiteY6958" fmla="*/ 1449895 h 6479439"/>
              <a:gd name="connsiteX6959" fmla="*/ 4064278 w 9586368"/>
              <a:gd name="connsiteY6959" fmla="*/ 1440024 h 6479439"/>
              <a:gd name="connsiteX6960" fmla="*/ 3828990 w 9586368"/>
              <a:gd name="connsiteY6960" fmla="*/ 1435986 h 6479439"/>
              <a:gd name="connsiteX6961" fmla="*/ 3838899 w 9586368"/>
              <a:gd name="connsiteY6961" fmla="*/ 1435986 h 6479439"/>
              <a:gd name="connsiteX6962" fmla="*/ 3842917 w 9586368"/>
              <a:gd name="connsiteY6962" fmla="*/ 1440024 h 6479439"/>
              <a:gd name="connsiteX6963" fmla="*/ 3842917 w 9586368"/>
              <a:gd name="connsiteY6963" fmla="*/ 1449895 h 6479439"/>
              <a:gd name="connsiteX6964" fmla="*/ 3838899 w 9586368"/>
              <a:gd name="connsiteY6964" fmla="*/ 1453934 h 6479439"/>
              <a:gd name="connsiteX6965" fmla="*/ 3828990 w 9586368"/>
              <a:gd name="connsiteY6965" fmla="*/ 1453934 h 6479439"/>
              <a:gd name="connsiteX6966" fmla="*/ 3824971 w 9586368"/>
              <a:gd name="connsiteY6966" fmla="*/ 1449895 h 6479439"/>
              <a:gd name="connsiteX6967" fmla="*/ 3824971 w 9586368"/>
              <a:gd name="connsiteY6967" fmla="*/ 1440024 h 6479439"/>
              <a:gd name="connsiteX6968" fmla="*/ 4786241 w 9586368"/>
              <a:gd name="connsiteY6968" fmla="*/ 1435972 h 6479439"/>
              <a:gd name="connsiteX6969" fmla="*/ 4796152 w 9586368"/>
              <a:gd name="connsiteY6969" fmla="*/ 1435972 h 6479439"/>
              <a:gd name="connsiteX6970" fmla="*/ 4800171 w 9586368"/>
              <a:gd name="connsiteY6970" fmla="*/ 1440010 h 6479439"/>
              <a:gd name="connsiteX6971" fmla="*/ 4800171 w 9586368"/>
              <a:gd name="connsiteY6971" fmla="*/ 1449881 h 6479439"/>
              <a:gd name="connsiteX6972" fmla="*/ 4796152 w 9586368"/>
              <a:gd name="connsiteY6972" fmla="*/ 1453920 h 6479439"/>
              <a:gd name="connsiteX6973" fmla="*/ 4786241 w 9586368"/>
              <a:gd name="connsiteY6973" fmla="*/ 1453920 h 6479439"/>
              <a:gd name="connsiteX6974" fmla="*/ 4782224 w 9586368"/>
              <a:gd name="connsiteY6974" fmla="*/ 1449881 h 6479439"/>
              <a:gd name="connsiteX6975" fmla="*/ 4782224 w 9586368"/>
              <a:gd name="connsiteY6975" fmla="*/ 1440010 h 6479439"/>
              <a:gd name="connsiteX6976" fmla="*/ 5743412 w 9586368"/>
              <a:gd name="connsiteY6976" fmla="*/ 1435971 h 6479439"/>
              <a:gd name="connsiteX6977" fmla="*/ 5753323 w 9586368"/>
              <a:gd name="connsiteY6977" fmla="*/ 1435971 h 6479439"/>
              <a:gd name="connsiteX6978" fmla="*/ 5757342 w 9586368"/>
              <a:gd name="connsiteY6978" fmla="*/ 1440010 h 6479439"/>
              <a:gd name="connsiteX6979" fmla="*/ 5757342 w 9586368"/>
              <a:gd name="connsiteY6979" fmla="*/ 1449880 h 6479439"/>
              <a:gd name="connsiteX6980" fmla="*/ 5753323 w 9586368"/>
              <a:gd name="connsiteY6980" fmla="*/ 1453919 h 6479439"/>
              <a:gd name="connsiteX6981" fmla="*/ 5743412 w 9586368"/>
              <a:gd name="connsiteY6981" fmla="*/ 1453919 h 6479439"/>
              <a:gd name="connsiteX6982" fmla="*/ 5739393 w 9586368"/>
              <a:gd name="connsiteY6982" fmla="*/ 1449880 h 6479439"/>
              <a:gd name="connsiteX6983" fmla="*/ 5739393 w 9586368"/>
              <a:gd name="connsiteY6983" fmla="*/ 1440010 h 6479439"/>
              <a:gd name="connsiteX6984" fmla="*/ 5504099 w 9586368"/>
              <a:gd name="connsiteY6984" fmla="*/ 1435971 h 6479439"/>
              <a:gd name="connsiteX6985" fmla="*/ 5514010 w 9586368"/>
              <a:gd name="connsiteY6985" fmla="*/ 1435971 h 6479439"/>
              <a:gd name="connsiteX6986" fmla="*/ 5518029 w 9586368"/>
              <a:gd name="connsiteY6986" fmla="*/ 1440010 h 6479439"/>
              <a:gd name="connsiteX6987" fmla="*/ 5518029 w 9586368"/>
              <a:gd name="connsiteY6987" fmla="*/ 1449881 h 6479439"/>
              <a:gd name="connsiteX6988" fmla="*/ 5514010 w 9586368"/>
              <a:gd name="connsiteY6988" fmla="*/ 1453919 h 6479439"/>
              <a:gd name="connsiteX6989" fmla="*/ 5504099 w 9586368"/>
              <a:gd name="connsiteY6989" fmla="*/ 1453919 h 6479439"/>
              <a:gd name="connsiteX6990" fmla="*/ 5500080 w 9586368"/>
              <a:gd name="connsiteY6990" fmla="*/ 1449881 h 6479439"/>
              <a:gd name="connsiteX6991" fmla="*/ 5500080 w 9586368"/>
              <a:gd name="connsiteY6991" fmla="*/ 1440010 h 6479439"/>
              <a:gd name="connsiteX6992" fmla="*/ 5264784 w 9586368"/>
              <a:gd name="connsiteY6992" fmla="*/ 1435971 h 6479439"/>
              <a:gd name="connsiteX6993" fmla="*/ 5274694 w 9586368"/>
              <a:gd name="connsiteY6993" fmla="*/ 1435971 h 6479439"/>
              <a:gd name="connsiteX6994" fmla="*/ 5278713 w 9586368"/>
              <a:gd name="connsiteY6994" fmla="*/ 1440010 h 6479439"/>
              <a:gd name="connsiteX6995" fmla="*/ 5278713 w 9586368"/>
              <a:gd name="connsiteY6995" fmla="*/ 1449881 h 6479439"/>
              <a:gd name="connsiteX6996" fmla="*/ 5274694 w 9586368"/>
              <a:gd name="connsiteY6996" fmla="*/ 1453920 h 6479439"/>
              <a:gd name="connsiteX6997" fmla="*/ 5264784 w 9586368"/>
              <a:gd name="connsiteY6997" fmla="*/ 1453920 h 6479439"/>
              <a:gd name="connsiteX6998" fmla="*/ 5260765 w 9586368"/>
              <a:gd name="connsiteY6998" fmla="*/ 1449881 h 6479439"/>
              <a:gd name="connsiteX6999" fmla="*/ 5260765 w 9586368"/>
              <a:gd name="connsiteY6999" fmla="*/ 1440010 h 6479439"/>
              <a:gd name="connsiteX7000" fmla="*/ 5025470 w 9586368"/>
              <a:gd name="connsiteY7000" fmla="*/ 1435971 h 6479439"/>
              <a:gd name="connsiteX7001" fmla="*/ 5035381 w 9586368"/>
              <a:gd name="connsiteY7001" fmla="*/ 1435971 h 6479439"/>
              <a:gd name="connsiteX7002" fmla="*/ 5039400 w 9586368"/>
              <a:gd name="connsiteY7002" fmla="*/ 1440010 h 6479439"/>
              <a:gd name="connsiteX7003" fmla="*/ 5039400 w 9586368"/>
              <a:gd name="connsiteY7003" fmla="*/ 1449881 h 6479439"/>
              <a:gd name="connsiteX7004" fmla="*/ 5035381 w 9586368"/>
              <a:gd name="connsiteY7004" fmla="*/ 1453920 h 6479439"/>
              <a:gd name="connsiteX7005" fmla="*/ 5025470 w 9586368"/>
              <a:gd name="connsiteY7005" fmla="*/ 1453920 h 6479439"/>
              <a:gd name="connsiteX7006" fmla="*/ 5021451 w 9586368"/>
              <a:gd name="connsiteY7006" fmla="*/ 1449881 h 6479439"/>
              <a:gd name="connsiteX7007" fmla="*/ 5021451 w 9586368"/>
              <a:gd name="connsiteY7007" fmla="*/ 1440010 h 6479439"/>
              <a:gd name="connsiteX7008" fmla="*/ 5982729 w 9586368"/>
              <a:gd name="connsiteY7008" fmla="*/ 1435958 h 6479439"/>
              <a:gd name="connsiteX7009" fmla="*/ 5992639 w 9586368"/>
              <a:gd name="connsiteY7009" fmla="*/ 1435958 h 6479439"/>
              <a:gd name="connsiteX7010" fmla="*/ 5996658 w 9586368"/>
              <a:gd name="connsiteY7010" fmla="*/ 1439995 h 6479439"/>
              <a:gd name="connsiteX7011" fmla="*/ 5996658 w 9586368"/>
              <a:gd name="connsiteY7011" fmla="*/ 1449866 h 6479439"/>
              <a:gd name="connsiteX7012" fmla="*/ 5992639 w 9586368"/>
              <a:gd name="connsiteY7012" fmla="*/ 1453905 h 6479439"/>
              <a:gd name="connsiteX7013" fmla="*/ 5982729 w 9586368"/>
              <a:gd name="connsiteY7013" fmla="*/ 1453905 h 6479439"/>
              <a:gd name="connsiteX7014" fmla="*/ 5978710 w 9586368"/>
              <a:gd name="connsiteY7014" fmla="*/ 1449866 h 6479439"/>
              <a:gd name="connsiteX7015" fmla="*/ 5978710 w 9586368"/>
              <a:gd name="connsiteY7015" fmla="*/ 1439995 h 6479439"/>
              <a:gd name="connsiteX7016" fmla="*/ 6939983 w 9586368"/>
              <a:gd name="connsiteY7016" fmla="*/ 1435956 h 6479439"/>
              <a:gd name="connsiteX7017" fmla="*/ 6949894 w 9586368"/>
              <a:gd name="connsiteY7017" fmla="*/ 1435956 h 6479439"/>
              <a:gd name="connsiteX7018" fmla="*/ 6953913 w 9586368"/>
              <a:gd name="connsiteY7018" fmla="*/ 1439995 h 6479439"/>
              <a:gd name="connsiteX7019" fmla="*/ 6953913 w 9586368"/>
              <a:gd name="connsiteY7019" fmla="*/ 1449865 h 6479439"/>
              <a:gd name="connsiteX7020" fmla="*/ 6949894 w 9586368"/>
              <a:gd name="connsiteY7020" fmla="*/ 1453905 h 6479439"/>
              <a:gd name="connsiteX7021" fmla="*/ 6939983 w 9586368"/>
              <a:gd name="connsiteY7021" fmla="*/ 1453905 h 6479439"/>
              <a:gd name="connsiteX7022" fmla="*/ 6935964 w 9586368"/>
              <a:gd name="connsiteY7022" fmla="*/ 1449865 h 6479439"/>
              <a:gd name="connsiteX7023" fmla="*/ 6935964 w 9586368"/>
              <a:gd name="connsiteY7023" fmla="*/ 1439995 h 6479439"/>
              <a:gd name="connsiteX7024" fmla="*/ 6700670 w 9586368"/>
              <a:gd name="connsiteY7024" fmla="*/ 1435956 h 6479439"/>
              <a:gd name="connsiteX7025" fmla="*/ 6710581 w 9586368"/>
              <a:gd name="connsiteY7025" fmla="*/ 1435956 h 6479439"/>
              <a:gd name="connsiteX7026" fmla="*/ 6714600 w 9586368"/>
              <a:gd name="connsiteY7026" fmla="*/ 1439995 h 6479439"/>
              <a:gd name="connsiteX7027" fmla="*/ 6714600 w 9586368"/>
              <a:gd name="connsiteY7027" fmla="*/ 1449866 h 6479439"/>
              <a:gd name="connsiteX7028" fmla="*/ 6710581 w 9586368"/>
              <a:gd name="connsiteY7028" fmla="*/ 1453905 h 6479439"/>
              <a:gd name="connsiteX7029" fmla="*/ 6700670 w 9586368"/>
              <a:gd name="connsiteY7029" fmla="*/ 1453905 h 6479439"/>
              <a:gd name="connsiteX7030" fmla="*/ 6696651 w 9586368"/>
              <a:gd name="connsiteY7030" fmla="*/ 1449866 h 6479439"/>
              <a:gd name="connsiteX7031" fmla="*/ 6696651 w 9586368"/>
              <a:gd name="connsiteY7031" fmla="*/ 1439995 h 6479439"/>
              <a:gd name="connsiteX7032" fmla="*/ 6461356 w 9586368"/>
              <a:gd name="connsiteY7032" fmla="*/ 1435956 h 6479439"/>
              <a:gd name="connsiteX7033" fmla="*/ 6471266 w 9586368"/>
              <a:gd name="connsiteY7033" fmla="*/ 1435956 h 6479439"/>
              <a:gd name="connsiteX7034" fmla="*/ 6475285 w 9586368"/>
              <a:gd name="connsiteY7034" fmla="*/ 1439995 h 6479439"/>
              <a:gd name="connsiteX7035" fmla="*/ 6475285 w 9586368"/>
              <a:gd name="connsiteY7035" fmla="*/ 1449866 h 6479439"/>
              <a:gd name="connsiteX7036" fmla="*/ 6471266 w 9586368"/>
              <a:gd name="connsiteY7036" fmla="*/ 1453905 h 6479439"/>
              <a:gd name="connsiteX7037" fmla="*/ 6461356 w 9586368"/>
              <a:gd name="connsiteY7037" fmla="*/ 1453905 h 6479439"/>
              <a:gd name="connsiteX7038" fmla="*/ 6457337 w 9586368"/>
              <a:gd name="connsiteY7038" fmla="*/ 1449866 h 6479439"/>
              <a:gd name="connsiteX7039" fmla="*/ 6457337 w 9586368"/>
              <a:gd name="connsiteY7039" fmla="*/ 1439995 h 6479439"/>
              <a:gd name="connsiteX7040" fmla="*/ 6222042 w 9586368"/>
              <a:gd name="connsiteY7040" fmla="*/ 1435956 h 6479439"/>
              <a:gd name="connsiteX7041" fmla="*/ 6231952 w 9586368"/>
              <a:gd name="connsiteY7041" fmla="*/ 1435956 h 6479439"/>
              <a:gd name="connsiteX7042" fmla="*/ 6235971 w 9586368"/>
              <a:gd name="connsiteY7042" fmla="*/ 1439995 h 6479439"/>
              <a:gd name="connsiteX7043" fmla="*/ 6235971 w 9586368"/>
              <a:gd name="connsiteY7043" fmla="*/ 1449866 h 6479439"/>
              <a:gd name="connsiteX7044" fmla="*/ 6231952 w 9586368"/>
              <a:gd name="connsiteY7044" fmla="*/ 1453905 h 6479439"/>
              <a:gd name="connsiteX7045" fmla="*/ 6222042 w 9586368"/>
              <a:gd name="connsiteY7045" fmla="*/ 1453905 h 6479439"/>
              <a:gd name="connsiteX7046" fmla="*/ 6218023 w 9586368"/>
              <a:gd name="connsiteY7046" fmla="*/ 1449866 h 6479439"/>
              <a:gd name="connsiteX7047" fmla="*/ 6218023 w 9586368"/>
              <a:gd name="connsiteY7047" fmla="*/ 1439995 h 6479439"/>
              <a:gd name="connsiteX7048" fmla="*/ 7179298 w 9586368"/>
              <a:gd name="connsiteY7048" fmla="*/ 1435943 h 6479439"/>
              <a:gd name="connsiteX7049" fmla="*/ 7189209 w 9586368"/>
              <a:gd name="connsiteY7049" fmla="*/ 1435943 h 6479439"/>
              <a:gd name="connsiteX7050" fmla="*/ 7193228 w 9586368"/>
              <a:gd name="connsiteY7050" fmla="*/ 1439981 h 6479439"/>
              <a:gd name="connsiteX7051" fmla="*/ 7193228 w 9586368"/>
              <a:gd name="connsiteY7051" fmla="*/ 1449852 h 6479439"/>
              <a:gd name="connsiteX7052" fmla="*/ 7189209 w 9586368"/>
              <a:gd name="connsiteY7052" fmla="*/ 1453891 h 6479439"/>
              <a:gd name="connsiteX7053" fmla="*/ 7179298 w 9586368"/>
              <a:gd name="connsiteY7053" fmla="*/ 1453891 h 6479439"/>
              <a:gd name="connsiteX7054" fmla="*/ 7175279 w 9586368"/>
              <a:gd name="connsiteY7054" fmla="*/ 1449852 h 6479439"/>
              <a:gd name="connsiteX7055" fmla="*/ 7175279 w 9586368"/>
              <a:gd name="connsiteY7055" fmla="*/ 1439981 h 6479439"/>
              <a:gd name="connsiteX7056" fmla="*/ 8136553 w 9586368"/>
              <a:gd name="connsiteY7056" fmla="*/ 1435943 h 6479439"/>
              <a:gd name="connsiteX7057" fmla="*/ 8146464 w 9586368"/>
              <a:gd name="connsiteY7057" fmla="*/ 1435943 h 6479439"/>
              <a:gd name="connsiteX7058" fmla="*/ 8150483 w 9586368"/>
              <a:gd name="connsiteY7058" fmla="*/ 1439980 h 6479439"/>
              <a:gd name="connsiteX7059" fmla="*/ 8150483 w 9586368"/>
              <a:gd name="connsiteY7059" fmla="*/ 1449851 h 6479439"/>
              <a:gd name="connsiteX7060" fmla="*/ 8146464 w 9586368"/>
              <a:gd name="connsiteY7060" fmla="*/ 1453890 h 6479439"/>
              <a:gd name="connsiteX7061" fmla="*/ 8136553 w 9586368"/>
              <a:gd name="connsiteY7061" fmla="*/ 1453890 h 6479439"/>
              <a:gd name="connsiteX7062" fmla="*/ 8132534 w 9586368"/>
              <a:gd name="connsiteY7062" fmla="*/ 1449851 h 6479439"/>
              <a:gd name="connsiteX7063" fmla="*/ 8132534 w 9586368"/>
              <a:gd name="connsiteY7063" fmla="*/ 1439980 h 6479439"/>
              <a:gd name="connsiteX7064" fmla="*/ 7897241 w 9586368"/>
              <a:gd name="connsiteY7064" fmla="*/ 1435943 h 6479439"/>
              <a:gd name="connsiteX7065" fmla="*/ 7907151 w 9586368"/>
              <a:gd name="connsiteY7065" fmla="*/ 1435943 h 6479439"/>
              <a:gd name="connsiteX7066" fmla="*/ 7911170 w 9586368"/>
              <a:gd name="connsiteY7066" fmla="*/ 1439980 h 6479439"/>
              <a:gd name="connsiteX7067" fmla="*/ 7911170 w 9586368"/>
              <a:gd name="connsiteY7067" fmla="*/ 1449852 h 6479439"/>
              <a:gd name="connsiteX7068" fmla="*/ 7907151 w 9586368"/>
              <a:gd name="connsiteY7068" fmla="*/ 1453890 h 6479439"/>
              <a:gd name="connsiteX7069" fmla="*/ 7897241 w 9586368"/>
              <a:gd name="connsiteY7069" fmla="*/ 1453890 h 6479439"/>
              <a:gd name="connsiteX7070" fmla="*/ 7893222 w 9586368"/>
              <a:gd name="connsiteY7070" fmla="*/ 1449852 h 6479439"/>
              <a:gd name="connsiteX7071" fmla="*/ 7893222 w 9586368"/>
              <a:gd name="connsiteY7071" fmla="*/ 1439980 h 6479439"/>
              <a:gd name="connsiteX7072" fmla="*/ 7657926 w 9586368"/>
              <a:gd name="connsiteY7072" fmla="*/ 1435943 h 6479439"/>
              <a:gd name="connsiteX7073" fmla="*/ 7667836 w 9586368"/>
              <a:gd name="connsiteY7073" fmla="*/ 1435943 h 6479439"/>
              <a:gd name="connsiteX7074" fmla="*/ 7671855 w 9586368"/>
              <a:gd name="connsiteY7074" fmla="*/ 1439980 h 6479439"/>
              <a:gd name="connsiteX7075" fmla="*/ 7671855 w 9586368"/>
              <a:gd name="connsiteY7075" fmla="*/ 1449852 h 6479439"/>
              <a:gd name="connsiteX7076" fmla="*/ 7667836 w 9586368"/>
              <a:gd name="connsiteY7076" fmla="*/ 1453891 h 6479439"/>
              <a:gd name="connsiteX7077" fmla="*/ 7657926 w 9586368"/>
              <a:gd name="connsiteY7077" fmla="*/ 1453891 h 6479439"/>
              <a:gd name="connsiteX7078" fmla="*/ 7653906 w 9586368"/>
              <a:gd name="connsiteY7078" fmla="*/ 1449852 h 6479439"/>
              <a:gd name="connsiteX7079" fmla="*/ 7653906 w 9586368"/>
              <a:gd name="connsiteY7079" fmla="*/ 1439980 h 6479439"/>
              <a:gd name="connsiteX7080" fmla="*/ 7418611 w 9586368"/>
              <a:gd name="connsiteY7080" fmla="*/ 1435943 h 6479439"/>
              <a:gd name="connsiteX7081" fmla="*/ 7428521 w 9586368"/>
              <a:gd name="connsiteY7081" fmla="*/ 1435943 h 6479439"/>
              <a:gd name="connsiteX7082" fmla="*/ 7432540 w 9586368"/>
              <a:gd name="connsiteY7082" fmla="*/ 1439980 h 6479439"/>
              <a:gd name="connsiteX7083" fmla="*/ 7432540 w 9586368"/>
              <a:gd name="connsiteY7083" fmla="*/ 1449852 h 6479439"/>
              <a:gd name="connsiteX7084" fmla="*/ 7428521 w 9586368"/>
              <a:gd name="connsiteY7084" fmla="*/ 1453891 h 6479439"/>
              <a:gd name="connsiteX7085" fmla="*/ 7418611 w 9586368"/>
              <a:gd name="connsiteY7085" fmla="*/ 1453891 h 6479439"/>
              <a:gd name="connsiteX7086" fmla="*/ 7414592 w 9586368"/>
              <a:gd name="connsiteY7086" fmla="*/ 1449852 h 6479439"/>
              <a:gd name="connsiteX7087" fmla="*/ 7414592 w 9586368"/>
              <a:gd name="connsiteY7087" fmla="*/ 1439980 h 6479439"/>
              <a:gd name="connsiteX7088" fmla="*/ 8375869 w 9586368"/>
              <a:gd name="connsiteY7088" fmla="*/ 1435928 h 6479439"/>
              <a:gd name="connsiteX7089" fmla="*/ 8385779 w 9586368"/>
              <a:gd name="connsiteY7089" fmla="*/ 1435928 h 6479439"/>
              <a:gd name="connsiteX7090" fmla="*/ 8389799 w 9586368"/>
              <a:gd name="connsiteY7090" fmla="*/ 1439967 h 6479439"/>
              <a:gd name="connsiteX7091" fmla="*/ 8389799 w 9586368"/>
              <a:gd name="connsiteY7091" fmla="*/ 1449837 h 6479439"/>
              <a:gd name="connsiteX7092" fmla="*/ 8385779 w 9586368"/>
              <a:gd name="connsiteY7092" fmla="*/ 1453877 h 6479439"/>
              <a:gd name="connsiteX7093" fmla="*/ 8375869 w 9586368"/>
              <a:gd name="connsiteY7093" fmla="*/ 1453877 h 6479439"/>
              <a:gd name="connsiteX7094" fmla="*/ 8371850 w 9586368"/>
              <a:gd name="connsiteY7094" fmla="*/ 1449837 h 6479439"/>
              <a:gd name="connsiteX7095" fmla="*/ 8371850 w 9586368"/>
              <a:gd name="connsiteY7095" fmla="*/ 1439967 h 6479439"/>
              <a:gd name="connsiteX7096" fmla="*/ 9333125 w 9586368"/>
              <a:gd name="connsiteY7096" fmla="*/ 1435928 h 6479439"/>
              <a:gd name="connsiteX7097" fmla="*/ 9343036 w 9586368"/>
              <a:gd name="connsiteY7097" fmla="*/ 1435928 h 6479439"/>
              <a:gd name="connsiteX7098" fmla="*/ 9347055 w 9586368"/>
              <a:gd name="connsiteY7098" fmla="*/ 1439967 h 6479439"/>
              <a:gd name="connsiteX7099" fmla="*/ 9347055 w 9586368"/>
              <a:gd name="connsiteY7099" fmla="*/ 1449836 h 6479439"/>
              <a:gd name="connsiteX7100" fmla="*/ 9343036 w 9586368"/>
              <a:gd name="connsiteY7100" fmla="*/ 1453876 h 6479439"/>
              <a:gd name="connsiteX7101" fmla="*/ 9333125 w 9586368"/>
              <a:gd name="connsiteY7101" fmla="*/ 1453876 h 6479439"/>
              <a:gd name="connsiteX7102" fmla="*/ 9329106 w 9586368"/>
              <a:gd name="connsiteY7102" fmla="*/ 1449836 h 6479439"/>
              <a:gd name="connsiteX7103" fmla="*/ 9329106 w 9586368"/>
              <a:gd name="connsiteY7103" fmla="*/ 1439967 h 6479439"/>
              <a:gd name="connsiteX7104" fmla="*/ 9093811 w 9586368"/>
              <a:gd name="connsiteY7104" fmla="*/ 1435928 h 6479439"/>
              <a:gd name="connsiteX7105" fmla="*/ 9103722 w 9586368"/>
              <a:gd name="connsiteY7105" fmla="*/ 1435928 h 6479439"/>
              <a:gd name="connsiteX7106" fmla="*/ 9107741 w 9586368"/>
              <a:gd name="connsiteY7106" fmla="*/ 1439967 h 6479439"/>
              <a:gd name="connsiteX7107" fmla="*/ 9107741 w 9586368"/>
              <a:gd name="connsiteY7107" fmla="*/ 1449837 h 6479439"/>
              <a:gd name="connsiteX7108" fmla="*/ 9103722 w 9586368"/>
              <a:gd name="connsiteY7108" fmla="*/ 1453876 h 6479439"/>
              <a:gd name="connsiteX7109" fmla="*/ 9093811 w 9586368"/>
              <a:gd name="connsiteY7109" fmla="*/ 1453876 h 6479439"/>
              <a:gd name="connsiteX7110" fmla="*/ 9089792 w 9586368"/>
              <a:gd name="connsiteY7110" fmla="*/ 1449837 h 6479439"/>
              <a:gd name="connsiteX7111" fmla="*/ 9089792 w 9586368"/>
              <a:gd name="connsiteY7111" fmla="*/ 1439967 h 6479439"/>
              <a:gd name="connsiteX7112" fmla="*/ 8854496 w 9586368"/>
              <a:gd name="connsiteY7112" fmla="*/ 1435928 h 6479439"/>
              <a:gd name="connsiteX7113" fmla="*/ 8864407 w 9586368"/>
              <a:gd name="connsiteY7113" fmla="*/ 1435928 h 6479439"/>
              <a:gd name="connsiteX7114" fmla="*/ 8868426 w 9586368"/>
              <a:gd name="connsiteY7114" fmla="*/ 1439967 h 6479439"/>
              <a:gd name="connsiteX7115" fmla="*/ 8868426 w 9586368"/>
              <a:gd name="connsiteY7115" fmla="*/ 1449837 h 6479439"/>
              <a:gd name="connsiteX7116" fmla="*/ 8864407 w 9586368"/>
              <a:gd name="connsiteY7116" fmla="*/ 1453877 h 6479439"/>
              <a:gd name="connsiteX7117" fmla="*/ 8854496 w 9586368"/>
              <a:gd name="connsiteY7117" fmla="*/ 1453877 h 6479439"/>
              <a:gd name="connsiteX7118" fmla="*/ 8850477 w 9586368"/>
              <a:gd name="connsiteY7118" fmla="*/ 1449837 h 6479439"/>
              <a:gd name="connsiteX7119" fmla="*/ 8850477 w 9586368"/>
              <a:gd name="connsiteY7119" fmla="*/ 1439967 h 6479439"/>
              <a:gd name="connsiteX7120" fmla="*/ 8615184 w 9586368"/>
              <a:gd name="connsiteY7120" fmla="*/ 1435928 h 6479439"/>
              <a:gd name="connsiteX7121" fmla="*/ 8625095 w 9586368"/>
              <a:gd name="connsiteY7121" fmla="*/ 1435928 h 6479439"/>
              <a:gd name="connsiteX7122" fmla="*/ 8629114 w 9586368"/>
              <a:gd name="connsiteY7122" fmla="*/ 1439967 h 6479439"/>
              <a:gd name="connsiteX7123" fmla="*/ 8629114 w 9586368"/>
              <a:gd name="connsiteY7123" fmla="*/ 1449837 h 6479439"/>
              <a:gd name="connsiteX7124" fmla="*/ 8625095 w 9586368"/>
              <a:gd name="connsiteY7124" fmla="*/ 1453877 h 6479439"/>
              <a:gd name="connsiteX7125" fmla="*/ 8615184 w 9586368"/>
              <a:gd name="connsiteY7125" fmla="*/ 1453877 h 6479439"/>
              <a:gd name="connsiteX7126" fmla="*/ 8611165 w 9586368"/>
              <a:gd name="connsiteY7126" fmla="*/ 1449837 h 6479439"/>
              <a:gd name="connsiteX7127" fmla="*/ 8611165 w 9586368"/>
              <a:gd name="connsiteY7127" fmla="*/ 1439967 h 6479439"/>
              <a:gd name="connsiteX7128" fmla="*/ 1679216 w 9586368"/>
              <a:gd name="connsiteY7128" fmla="*/ 1435922 h 6479439"/>
              <a:gd name="connsiteX7129" fmla="*/ 1689126 w 9586368"/>
              <a:gd name="connsiteY7129" fmla="*/ 1435922 h 6479439"/>
              <a:gd name="connsiteX7130" fmla="*/ 1693146 w 9586368"/>
              <a:gd name="connsiteY7130" fmla="*/ 1439960 h 6479439"/>
              <a:gd name="connsiteX7131" fmla="*/ 1693146 w 9586368"/>
              <a:gd name="connsiteY7131" fmla="*/ 1449831 h 6479439"/>
              <a:gd name="connsiteX7132" fmla="*/ 1689126 w 9586368"/>
              <a:gd name="connsiteY7132" fmla="*/ 1453870 h 6479439"/>
              <a:gd name="connsiteX7133" fmla="*/ 1679216 w 9586368"/>
              <a:gd name="connsiteY7133" fmla="*/ 1453870 h 6479439"/>
              <a:gd name="connsiteX7134" fmla="*/ 1675198 w 9586368"/>
              <a:gd name="connsiteY7134" fmla="*/ 1449831 h 6479439"/>
              <a:gd name="connsiteX7135" fmla="*/ 1675198 w 9586368"/>
              <a:gd name="connsiteY7135" fmla="*/ 1439960 h 6479439"/>
              <a:gd name="connsiteX7136" fmla="*/ 1439900 w 9586368"/>
              <a:gd name="connsiteY7136" fmla="*/ 1435922 h 6479439"/>
              <a:gd name="connsiteX7137" fmla="*/ 1449810 w 9586368"/>
              <a:gd name="connsiteY7137" fmla="*/ 1435922 h 6479439"/>
              <a:gd name="connsiteX7138" fmla="*/ 1453828 w 9586368"/>
              <a:gd name="connsiteY7138" fmla="*/ 1439960 h 6479439"/>
              <a:gd name="connsiteX7139" fmla="*/ 1453828 w 9586368"/>
              <a:gd name="connsiteY7139" fmla="*/ 1449831 h 6479439"/>
              <a:gd name="connsiteX7140" fmla="*/ 1449810 w 9586368"/>
              <a:gd name="connsiteY7140" fmla="*/ 1453870 h 6479439"/>
              <a:gd name="connsiteX7141" fmla="*/ 1439900 w 9586368"/>
              <a:gd name="connsiteY7141" fmla="*/ 1453870 h 6479439"/>
              <a:gd name="connsiteX7142" fmla="*/ 1435880 w 9586368"/>
              <a:gd name="connsiteY7142" fmla="*/ 1449831 h 6479439"/>
              <a:gd name="connsiteX7143" fmla="*/ 1435880 w 9586368"/>
              <a:gd name="connsiteY7143" fmla="*/ 1439960 h 6479439"/>
              <a:gd name="connsiteX7144" fmla="*/ 1200583 w 9586368"/>
              <a:gd name="connsiteY7144" fmla="*/ 1435922 h 6479439"/>
              <a:gd name="connsiteX7145" fmla="*/ 1210493 w 9586368"/>
              <a:gd name="connsiteY7145" fmla="*/ 1435922 h 6479439"/>
              <a:gd name="connsiteX7146" fmla="*/ 1214512 w 9586368"/>
              <a:gd name="connsiteY7146" fmla="*/ 1439960 h 6479439"/>
              <a:gd name="connsiteX7147" fmla="*/ 1214512 w 9586368"/>
              <a:gd name="connsiteY7147" fmla="*/ 1449831 h 6479439"/>
              <a:gd name="connsiteX7148" fmla="*/ 1210493 w 9586368"/>
              <a:gd name="connsiteY7148" fmla="*/ 1453870 h 6479439"/>
              <a:gd name="connsiteX7149" fmla="*/ 1200583 w 9586368"/>
              <a:gd name="connsiteY7149" fmla="*/ 1453870 h 6479439"/>
              <a:gd name="connsiteX7150" fmla="*/ 1196564 w 9586368"/>
              <a:gd name="connsiteY7150" fmla="*/ 1449831 h 6479439"/>
              <a:gd name="connsiteX7151" fmla="*/ 1196564 w 9586368"/>
              <a:gd name="connsiteY7151" fmla="*/ 1439960 h 6479439"/>
              <a:gd name="connsiteX7152" fmla="*/ 961270 w 9586368"/>
              <a:gd name="connsiteY7152" fmla="*/ 1435922 h 6479439"/>
              <a:gd name="connsiteX7153" fmla="*/ 971181 w 9586368"/>
              <a:gd name="connsiteY7153" fmla="*/ 1435922 h 6479439"/>
              <a:gd name="connsiteX7154" fmla="*/ 975200 w 9586368"/>
              <a:gd name="connsiteY7154" fmla="*/ 1439960 h 6479439"/>
              <a:gd name="connsiteX7155" fmla="*/ 975200 w 9586368"/>
              <a:gd name="connsiteY7155" fmla="*/ 1449831 h 6479439"/>
              <a:gd name="connsiteX7156" fmla="*/ 971181 w 9586368"/>
              <a:gd name="connsiteY7156" fmla="*/ 1453870 h 6479439"/>
              <a:gd name="connsiteX7157" fmla="*/ 961270 w 9586368"/>
              <a:gd name="connsiteY7157" fmla="*/ 1453870 h 6479439"/>
              <a:gd name="connsiteX7158" fmla="*/ 957252 w 9586368"/>
              <a:gd name="connsiteY7158" fmla="*/ 1449831 h 6479439"/>
              <a:gd name="connsiteX7159" fmla="*/ 957252 w 9586368"/>
              <a:gd name="connsiteY7159" fmla="*/ 1439960 h 6479439"/>
              <a:gd name="connsiteX7160" fmla="*/ 9572438 w 9586368"/>
              <a:gd name="connsiteY7160" fmla="*/ 1435914 h 6479439"/>
              <a:gd name="connsiteX7161" fmla="*/ 9582349 w 9586368"/>
              <a:gd name="connsiteY7161" fmla="*/ 1435914 h 6479439"/>
              <a:gd name="connsiteX7162" fmla="*/ 9586368 w 9586368"/>
              <a:gd name="connsiteY7162" fmla="*/ 1439952 h 6479439"/>
              <a:gd name="connsiteX7163" fmla="*/ 9586368 w 9586368"/>
              <a:gd name="connsiteY7163" fmla="*/ 1449823 h 6479439"/>
              <a:gd name="connsiteX7164" fmla="*/ 9582349 w 9586368"/>
              <a:gd name="connsiteY7164" fmla="*/ 1453862 h 6479439"/>
              <a:gd name="connsiteX7165" fmla="*/ 9572438 w 9586368"/>
              <a:gd name="connsiteY7165" fmla="*/ 1453862 h 6479439"/>
              <a:gd name="connsiteX7166" fmla="*/ 9568419 w 9586368"/>
              <a:gd name="connsiteY7166" fmla="*/ 1449823 h 6479439"/>
              <a:gd name="connsiteX7167" fmla="*/ 9568419 w 9586368"/>
              <a:gd name="connsiteY7167" fmla="*/ 1439952 h 6479439"/>
              <a:gd name="connsiteX7168" fmla="*/ 1918514 w 9586368"/>
              <a:gd name="connsiteY7168" fmla="*/ 1435912 h 6479439"/>
              <a:gd name="connsiteX7169" fmla="*/ 1928424 w 9586368"/>
              <a:gd name="connsiteY7169" fmla="*/ 1435912 h 6479439"/>
              <a:gd name="connsiteX7170" fmla="*/ 1932443 w 9586368"/>
              <a:gd name="connsiteY7170" fmla="*/ 1439950 h 6479439"/>
              <a:gd name="connsiteX7171" fmla="*/ 1932443 w 9586368"/>
              <a:gd name="connsiteY7171" fmla="*/ 1449821 h 6479439"/>
              <a:gd name="connsiteX7172" fmla="*/ 1928424 w 9586368"/>
              <a:gd name="connsiteY7172" fmla="*/ 1453860 h 6479439"/>
              <a:gd name="connsiteX7173" fmla="*/ 1918514 w 9586368"/>
              <a:gd name="connsiteY7173" fmla="*/ 1453860 h 6479439"/>
              <a:gd name="connsiteX7174" fmla="*/ 1914494 w 9586368"/>
              <a:gd name="connsiteY7174" fmla="*/ 1449821 h 6479439"/>
              <a:gd name="connsiteX7175" fmla="*/ 1914494 w 9586368"/>
              <a:gd name="connsiteY7175" fmla="*/ 1439950 h 6479439"/>
              <a:gd name="connsiteX7176" fmla="*/ 2157823 w 9586368"/>
              <a:gd name="connsiteY7176" fmla="*/ 1435909 h 6479439"/>
              <a:gd name="connsiteX7177" fmla="*/ 2167733 w 9586368"/>
              <a:gd name="connsiteY7177" fmla="*/ 1435909 h 6479439"/>
              <a:gd name="connsiteX7178" fmla="*/ 2171751 w 9586368"/>
              <a:gd name="connsiteY7178" fmla="*/ 1439947 h 6479439"/>
              <a:gd name="connsiteX7179" fmla="*/ 2171751 w 9586368"/>
              <a:gd name="connsiteY7179" fmla="*/ 1449818 h 6479439"/>
              <a:gd name="connsiteX7180" fmla="*/ 2167733 w 9586368"/>
              <a:gd name="connsiteY7180" fmla="*/ 1453857 h 6479439"/>
              <a:gd name="connsiteX7181" fmla="*/ 2157823 w 9586368"/>
              <a:gd name="connsiteY7181" fmla="*/ 1453857 h 6479439"/>
              <a:gd name="connsiteX7182" fmla="*/ 2153803 w 9586368"/>
              <a:gd name="connsiteY7182" fmla="*/ 1449818 h 6479439"/>
              <a:gd name="connsiteX7183" fmla="*/ 2153803 w 9586368"/>
              <a:gd name="connsiteY7183" fmla="*/ 1439947 h 6479439"/>
              <a:gd name="connsiteX7184" fmla="*/ 243347 w 9586368"/>
              <a:gd name="connsiteY7184" fmla="*/ 1435883 h 6479439"/>
              <a:gd name="connsiteX7185" fmla="*/ 253257 w 9586368"/>
              <a:gd name="connsiteY7185" fmla="*/ 1435883 h 6479439"/>
              <a:gd name="connsiteX7186" fmla="*/ 257276 w 9586368"/>
              <a:gd name="connsiteY7186" fmla="*/ 1439920 h 6479439"/>
              <a:gd name="connsiteX7187" fmla="*/ 257276 w 9586368"/>
              <a:gd name="connsiteY7187" fmla="*/ 1449791 h 6479439"/>
              <a:gd name="connsiteX7188" fmla="*/ 253257 w 9586368"/>
              <a:gd name="connsiteY7188" fmla="*/ 1453830 h 6479439"/>
              <a:gd name="connsiteX7189" fmla="*/ 243347 w 9586368"/>
              <a:gd name="connsiteY7189" fmla="*/ 1453830 h 6479439"/>
              <a:gd name="connsiteX7190" fmla="*/ 239328 w 9586368"/>
              <a:gd name="connsiteY7190" fmla="*/ 1449791 h 6479439"/>
              <a:gd name="connsiteX7191" fmla="*/ 239328 w 9586368"/>
              <a:gd name="connsiteY7191" fmla="*/ 1439920 h 6479439"/>
              <a:gd name="connsiteX7192" fmla="*/ 4034 w 9586368"/>
              <a:gd name="connsiteY7192" fmla="*/ 1435883 h 6479439"/>
              <a:gd name="connsiteX7193" fmla="*/ 13944 w 9586368"/>
              <a:gd name="connsiteY7193" fmla="*/ 1435883 h 6479439"/>
              <a:gd name="connsiteX7194" fmla="*/ 17964 w 9586368"/>
              <a:gd name="connsiteY7194" fmla="*/ 1439920 h 6479439"/>
              <a:gd name="connsiteX7195" fmla="*/ 17964 w 9586368"/>
              <a:gd name="connsiteY7195" fmla="*/ 1449791 h 6479439"/>
              <a:gd name="connsiteX7196" fmla="*/ 13944 w 9586368"/>
              <a:gd name="connsiteY7196" fmla="*/ 1453830 h 6479439"/>
              <a:gd name="connsiteX7197" fmla="*/ 4034 w 9586368"/>
              <a:gd name="connsiteY7197" fmla="*/ 1453830 h 6479439"/>
              <a:gd name="connsiteX7198" fmla="*/ 15 w 9586368"/>
              <a:gd name="connsiteY7198" fmla="*/ 1449791 h 6479439"/>
              <a:gd name="connsiteX7199" fmla="*/ 15 w 9586368"/>
              <a:gd name="connsiteY7199" fmla="*/ 1439920 h 6479439"/>
              <a:gd name="connsiteX7200" fmla="*/ 721973 w 9586368"/>
              <a:gd name="connsiteY7200" fmla="*/ 1435882 h 6479439"/>
              <a:gd name="connsiteX7201" fmla="*/ 731883 w 9586368"/>
              <a:gd name="connsiteY7201" fmla="*/ 1435882 h 6479439"/>
              <a:gd name="connsiteX7202" fmla="*/ 735902 w 9586368"/>
              <a:gd name="connsiteY7202" fmla="*/ 1439920 h 6479439"/>
              <a:gd name="connsiteX7203" fmla="*/ 735902 w 9586368"/>
              <a:gd name="connsiteY7203" fmla="*/ 1449791 h 6479439"/>
              <a:gd name="connsiteX7204" fmla="*/ 731883 w 9586368"/>
              <a:gd name="connsiteY7204" fmla="*/ 1453830 h 6479439"/>
              <a:gd name="connsiteX7205" fmla="*/ 721973 w 9586368"/>
              <a:gd name="connsiteY7205" fmla="*/ 1453830 h 6479439"/>
              <a:gd name="connsiteX7206" fmla="*/ 717954 w 9586368"/>
              <a:gd name="connsiteY7206" fmla="*/ 1449791 h 6479439"/>
              <a:gd name="connsiteX7207" fmla="*/ 717954 w 9586368"/>
              <a:gd name="connsiteY7207" fmla="*/ 1439920 h 6479439"/>
              <a:gd name="connsiteX7208" fmla="*/ 482661 w 9586368"/>
              <a:gd name="connsiteY7208" fmla="*/ 1435882 h 6479439"/>
              <a:gd name="connsiteX7209" fmla="*/ 492571 w 9586368"/>
              <a:gd name="connsiteY7209" fmla="*/ 1435882 h 6479439"/>
              <a:gd name="connsiteX7210" fmla="*/ 496590 w 9586368"/>
              <a:gd name="connsiteY7210" fmla="*/ 1439920 h 6479439"/>
              <a:gd name="connsiteX7211" fmla="*/ 496590 w 9586368"/>
              <a:gd name="connsiteY7211" fmla="*/ 1449791 h 6479439"/>
              <a:gd name="connsiteX7212" fmla="*/ 492571 w 9586368"/>
              <a:gd name="connsiteY7212" fmla="*/ 1453830 h 6479439"/>
              <a:gd name="connsiteX7213" fmla="*/ 482661 w 9586368"/>
              <a:gd name="connsiteY7213" fmla="*/ 1453830 h 6479439"/>
              <a:gd name="connsiteX7214" fmla="*/ 478642 w 9586368"/>
              <a:gd name="connsiteY7214" fmla="*/ 1449791 h 6479439"/>
              <a:gd name="connsiteX7215" fmla="*/ 478642 w 9586368"/>
              <a:gd name="connsiteY7215" fmla="*/ 1439920 h 6479439"/>
              <a:gd name="connsiteX7216" fmla="*/ 3350359 w 9586368"/>
              <a:gd name="connsiteY7216" fmla="*/ 1196701 h 6479439"/>
              <a:gd name="connsiteX7217" fmla="*/ 3360268 w 9586368"/>
              <a:gd name="connsiteY7217" fmla="*/ 1196701 h 6479439"/>
              <a:gd name="connsiteX7218" fmla="*/ 3364287 w 9586368"/>
              <a:gd name="connsiteY7218" fmla="*/ 1200738 h 6479439"/>
              <a:gd name="connsiteX7219" fmla="*/ 3364287 w 9586368"/>
              <a:gd name="connsiteY7219" fmla="*/ 1210610 h 6479439"/>
              <a:gd name="connsiteX7220" fmla="*/ 3360268 w 9586368"/>
              <a:gd name="connsiteY7220" fmla="*/ 1214650 h 6479439"/>
              <a:gd name="connsiteX7221" fmla="*/ 3350359 w 9586368"/>
              <a:gd name="connsiteY7221" fmla="*/ 1214650 h 6479439"/>
              <a:gd name="connsiteX7222" fmla="*/ 3346340 w 9586368"/>
              <a:gd name="connsiteY7222" fmla="*/ 1210610 h 6479439"/>
              <a:gd name="connsiteX7223" fmla="*/ 3346340 w 9586368"/>
              <a:gd name="connsiteY7223" fmla="*/ 1200738 h 6479439"/>
              <a:gd name="connsiteX7224" fmla="*/ 3111048 w 9586368"/>
              <a:gd name="connsiteY7224" fmla="*/ 1196701 h 6479439"/>
              <a:gd name="connsiteX7225" fmla="*/ 3120959 w 9586368"/>
              <a:gd name="connsiteY7225" fmla="*/ 1196701 h 6479439"/>
              <a:gd name="connsiteX7226" fmla="*/ 3124977 w 9586368"/>
              <a:gd name="connsiteY7226" fmla="*/ 1200738 h 6479439"/>
              <a:gd name="connsiteX7227" fmla="*/ 3124977 w 9586368"/>
              <a:gd name="connsiteY7227" fmla="*/ 1210610 h 6479439"/>
              <a:gd name="connsiteX7228" fmla="*/ 3120959 w 9586368"/>
              <a:gd name="connsiteY7228" fmla="*/ 1214650 h 6479439"/>
              <a:gd name="connsiteX7229" fmla="*/ 3111048 w 9586368"/>
              <a:gd name="connsiteY7229" fmla="*/ 1214650 h 6479439"/>
              <a:gd name="connsiteX7230" fmla="*/ 3107029 w 9586368"/>
              <a:gd name="connsiteY7230" fmla="*/ 1210610 h 6479439"/>
              <a:gd name="connsiteX7231" fmla="*/ 3107029 w 9586368"/>
              <a:gd name="connsiteY7231" fmla="*/ 1200738 h 6479439"/>
              <a:gd name="connsiteX7232" fmla="*/ 2871737 w 9586368"/>
              <a:gd name="connsiteY7232" fmla="*/ 1196701 h 6479439"/>
              <a:gd name="connsiteX7233" fmla="*/ 2881646 w 9586368"/>
              <a:gd name="connsiteY7233" fmla="*/ 1196701 h 6479439"/>
              <a:gd name="connsiteX7234" fmla="*/ 2885666 w 9586368"/>
              <a:gd name="connsiteY7234" fmla="*/ 1200738 h 6479439"/>
              <a:gd name="connsiteX7235" fmla="*/ 2885666 w 9586368"/>
              <a:gd name="connsiteY7235" fmla="*/ 1210610 h 6479439"/>
              <a:gd name="connsiteX7236" fmla="*/ 2881646 w 9586368"/>
              <a:gd name="connsiteY7236" fmla="*/ 1214650 h 6479439"/>
              <a:gd name="connsiteX7237" fmla="*/ 2871737 w 9586368"/>
              <a:gd name="connsiteY7237" fmla="*/ 1214650 h 6479439"/>
              <a:gd name="connsiteX7238" fmla="*/ 2867717 w 9586368"/>
              <a:gd name="connsiteY7238" fmla="*/ 1210610 h 6479439"/>
              <a:gd name="connsiteX7239" fmla="*/ 2867717 w 9586368"/>
              <a:gd name="connsiteY7239" fmla="*/ 1200738 h 6479439"/>
              <a:gd name="connsiteX7240" fmla="*/ 2632423 w 9586368"/>
              <a:gd name="connsiteY7240" fmla="*/ 1196701 h 6479439"/>
              <a:gd name="connsiteX7241" fmla="*/ 2642334 w 9586368"/>
              <a:gd name="connsiteY7241" fmla="*/ 1196701 h 6479439"/>
              <a:gd name="connsiteX7242" fmla="*/ 2646352 w 9586368"/>
              <a:gd name="connsiteY7242" fmla="*/ 1200740 h 6479439"/>
              <a:gd name="connsiteX7243" fmla="*/ 2646352 w 9586368"/>
              <a:gd name="connsiteY7243" fmla="*/ 1210610 h 6479439"/>
              <a:gd name="connsiteX7244" fmla="*/ 2642334 w 9586368"/>
              <a:gd name="connsiteY7244" fmla="*/ 1214650 h 6479439"/>
              <a:gd name="connsiteX7245" fmla="*/ 2632423 w 9586368"/>
              <a:gd name="connsiteY7245" fmla="*/ 1214650 h 6479439"/>
              <a:gd name="connsiteX7246" fmla="*/ 2628404 w 9586368"/>
              <a:gd name="connsiteY7246" fmla="*/ 1210610 h 6479439"/>
              <a:gd name="connsiteX7247" fmla="*/ 2628404 w 9586368"/>
              <a:gd name="connsiteY7247" fmla="*/ 1200740 h 6479439"/>
              <a:gd name="connsiteX7248" fmla="*/ 2393104 w 9586368"/>
              <a:gd name="connsiteY7248" fmla="*/ 1196701 h 6479439"/>
              <a:gd name="connsiteX7249" fmla="*/ 2403015 w 9586368"/>
              <a:gd name="connsiteY7249" fmla="*/ 1196701 h 6479439"/>
              <a:gd name="connsiteX7250" fmla="*/ 2407034 w 9586368"/>
              <a:gd name="connsiteY7250" fmla="*/ 1200740 h 6479439"/>
              <a:gd name="connsiteX7251" fmla="*/ 2407034 w 9586368"/>
              <a:gd name="connsiteY7251" fmla="*/ 1210610 h 6479439"/>
              <a:gd name="connsiteX7252" fmla="*/ 2403015 w 9586368"/>
              <a:gd name="connsiteY7252" fmla="*/ 1214650 h 6479439"/>
              <a:gd name="connsiteX7253" fmla="*/ 2393104 w 9586368"/>
              <a:gd name="connsiteY7253" fmla="*/ 1214650 h 6479439"/>
              <a:gd name="connsiteX7254" fmla="*/ 2389087 w 9586368"/>
              <a:gd name="connsiteY7254" fmla="*/ 1210610 h 6479439"/>
              <a:gd name="connsiteX7255" fmla="*/ 2389087 w 9586368"/>
              <a:gd name="connsiteY7255" fmla="*/ 1200740 h 6479439"/>
              <a:gd name="connsiteX7256" fmla="*/ 4546929 w 9586368"/>
              <a:gd name="connsiteY7256" fmla="*/ 1196689 h 6479439"/>
              <a:gd name="connsiteX7257" fmla="*/ 4556840 w 9586368"/>
              <a:gd name="connsiteY7257" fmla="*/ 1196689 h 6479439"/>
              <a:gd name="connsiteX7258" fmla="*/ 4560859 w 9586368"/>
              <a:gd name="connsiteY7258" fmla="*/ 1200726 h 6479439"/>
              <a:gd name="connsiteX7259" fmla="*/ 4560859 w 9586368"/>
              <a:gd name="connsiteY7259" fmla="*/ 1210598 h 6479439"/>
              <a:gd name="connsiteX7260" fmla="*/ 4556840 w 9586368"/>
              <a:gd name="connsiteY7260" fmla="*/ 1214637 h 6479439"/>
              <a:gd name="connsiteX7261" fmla="*/ 4546929 w 9586368"/>
              <a:gd name="connsiteY7261" fmla="*/ 1214637 h 6479439"/>
              <a:gd name="connsiteX7262" fmla="*/ 4542910 w 9586368"/>
              <a:gd name="connsiteY7262" fmla="*/ 1210598 h 6479439"/>
              <a:gd name="connsiteX7263" fmla="*/ 4542910 w 9586368"/>
              <a:gd name="connsiteY7263" fmla="*/ 1200726 h 6479439"/>
              <a:gd name="connsiteX7264" fmla="*/ 4307612 w 9586368"/>
              <a:gd name="connsiteY7264" fmla="*/ 1196689 h 6479439"/>
              <a:gd name="connsiteX7265" fmla="*/ 4317523 w 9586368"/>
              <a:gd name="connsiteY7265" fmla="*/ 1196689 h 6479439"/>
              <a:gd name="connsiteX7266" fmla="*/ 4321543 w 9586368"/>
              <a:gd name="connsiteY7266" fmla="*/ 1200726 h 6479439"/>
              <a:gd name="connsiteX7267" fmla="*/ 4321543 w 9586368"/>
              <a:gd name="connsiteY7267" fmla="*/ 1210598 h 6479439"/>
              <a:gd name="connsiteX7268" fmla="*/ 4317523 w 9586368"/>
              <a:gd name="connsiteY7268" fmla="*/ 1214637 h 6479439"/>
              <a:gd name="connsiteX7269" fmla="*/ 4307612 w 9586368"/>
              <a:gd name="connsiteY7269" fmla="*/ 1214637 h 6479439"/>
              <a:gd name="connsiteX7270" fmla="*/ 4303595 w 9586368"/>
              <a:gd name="connsiteY7270" fmla="*/ 1210598 h 6479439"/>
              <a:gd name="connsiteX7271" fmla="*/ 4303595 w 9586368"/>
              <a:gd name="connsiteY7271" fmla="*/ 1200726 h 6479439"/>
              <a:gd name="connsiteX7272" fmla="*/ 4068297 w 9586368"/>
              <a:gd name="connsiteY7272" fmla="*/ 1196689 h 6479439"/>
              <a:gd name="connsiteX7273" fmla="*/ 4078210 w 9586368"/>
              <a:gd name="connsiteY7273" fmla="*/ 1196689 h 6479439"/>
              <a:gd name="connsiteX7274" fmla="*/ 4082229 w 9586368"/>
              <a:gd name="connsiteY7274" fmla="*/ 1200726 h 6479439"/>
              <a:gd name="connsiteX7275" fmla="*/ 4082229 w 9586368"/>
              <a:gd name="connsiteY7275" fmla="*/ 1210598 h 6479439"/>
              <a:gd name="connsiteX7276" fmla="*/ 4078210 w 9586368"/>
              <a:gd name="connsiteY7276" fmla="*/ 1214637 h 6479439"/>
              <a:gd name="connsiteX7277" fmla="*/ 4068297 w 9586368"/>
              <a:gd name="connsiteY7277" fmla="*/ 1214637 h 6479439"/>
              <a:gd name="connsiteX7278" fmla="*/ 4064278 w 9586368"/>
              <a:gd name="connsiteY7278" fmla="*/ 1210598 h 6479439"/>
              <a:gd name="connsiteX7279" fmla="*/ 4064278 w 9586368"/>
              <a:gd name="connsiteY7279" fmla="*/ 1200726 h 6479439"/>
              <a:gd name="connsiteX7280" fmla="*/ 3828990 w 9586368"/>
              <a:gd name="connsiteY7280" fmla="*/ 1196689 h 6479439"/>
              <a:gd name="connsiteX7281" fmla="*/ 3838899 w 9586368"/>
              <a:gd name="connsiteY7281" fmla="*/ 1196689 h 6479439"/>
              <a:gd name="connsiteX7282" fmla="*/ 3842917 w 9586368"/>
              <a:gd name="connsiteY7282" fmla="*/ 1200728 h 6479439"/>
              <a:gd name="connsiteX7283" fmla="*/ 3842917 w 9586368"/>
              <a:gd name="connsiteY7283" fmla="*/ 1210598 h 6479439"/>
              <a:gd name="connsiteX7284" fmla="*/ 3838899 w 9586368"/>
              <a:gd name="connsiteY7284" fmla="*/ 1214637 h 6479439"/>
              <a:gd name="connsiteX7285" fmla="*/ 3828990 w 9586368"/>
              <a:gd name="connsiteY7285" fmla="*/ 1214637 h 6479439"/>
              <a:gd name="connsiteX7286" fmla="*/ 3824971 w 9586368"/>
              <a:gd name="connsiteY7286" fmla="*/ 1210598 h 6479439"/>
              <a:gd name="connsiteX7287" fmla="*/ 3824971 w 9586368"/>
              <a:gd name="connsiteY7287" fmla="*/ 1200728 h 6479439"/>
              <a:gd name="connsiteX7288" fmla="*/ 3589676 w 9586368"/>
              <a:gd name="connsiteY7288" fmla="*/ 1196689 h 6479439"/>
              <a:gd name="connsiteX7289" fmla="*/ 3599585 w 9586368"/>
              <a:gd name="connsiteY7289" fmla="*/ 1196689 h 6479439"/>
              <a:gd name="connsiteX7290" fmla="*/ 3603604 w 9586368"/>
              <a:gd name="connsiteY7290" fmla="*/ 1200728 h 6479439"/>
              <a:gd name="connsiteX7291" fmla="*/ 3603604 w 9586368"/>
              <a:gd name="connsiteY7291" fmla="*/ 1210598 h 6479439"/>
              <a:gd name="connsiteX7292" fmla="*/ 3599585 w 9586368"/>
              <a:gd name="connsiteY7292" fmla="*/ 1214637 h 6479439"/>
              <a:gd name="connsiteX7293" fmla="*/ 3589676 w 9586368"/>
              <a:gd name="connsiteY7293" fmla="*/ 1214637 h 6479439"/>
              <a:gd name="connsiteX7294" fmla="*/ 3585657 w 9586368"/>
              <a:gd name="connsiteY7294" fmla="*/ 1210598 h 6479439"/>
              <a:gd name="connsiteX7295" fmla="*/ 3585657 w 9586368"/>
              <a:gd name="connsiteY7295" fmla="*/ 1200728 h 6479439"/>
              <a:gd name="connsiteX7296" fmla="*/ 5743412 w 9586368"/>
              <a:gd name="connsiteY7296" fmla="*/ 1196676 h 6479439"/>
              <a:gd name="connsiteX7297" fmla="*/ 5753323 w 9586368"/>
              <a:gd name="connsiteY7297" fmla="*/ 1196676 h 6479439"/>
              <a:gd name="connsiteX7298" fmla="*/ 5757342 w 9586368"/>
              <a:gd name="connsiteY7298" fmla="*/ 1200714 h 6479439"/>
              <a:gd name="connsiteX7299" fmla="*/ 5757342 w 9586368"/>
              <a:gd name="connsiteY7299" fmla="*/ 1210586 h 6479439"/>
              <a:gd name="connsiteX7300" fmla="*/ 5753323 w 9586368"/>
              <a:gd name="connsiteY7300" fmla="*/ 1214625 h 6479439"/>
              <a:gd name="connsiteX7301" fmla="*/ 5743412 w 9586368"/>
              <a:gd name="connsiteY7301" fmla="*/ 1214625 h 6479439"/>
              <a:gd name="connsiteX7302" fmla="*/ 5739393 w 9586368"/>
              <a:gd name="connsiteY7302" fmla="*/ 1210586 h 6479439"/>
              <a:gd name="connsiteX7303" fmla="*/ 5739393 w 9586368"/>
              <a:gd name="connsiteY7303" fmla="*/ 1200714 h 6479439"/>
              <a:gd name="connsiteX7304" fmla="*/ 5504099 w 9586368"/>
              <a:gd name="connsiteY7304" fmla="*/ 1196676 h 6479439"/>
              <a:gd name="connsiteX7305" fmla="*/ 5514010 w 9586368"/>
              <a:gd name="connsiteY7305" fmla="*/ 1196676 h 6479439"/>
              <a:gd name="connsiteX7306" fmla="*/ 5518029 w 9586368"/>
              <a:gd name="connsiteY7306" fmla="*/ 1200714 h 6479439"/>
              <a:gd name="connsiteX7307" fmla="*/ 5518029 w 9586368"/>
              <a:gd name="connsiteY7307" fmla="*/ 1210586 h 6479439"/>
              <a:gd name="connsiteX7308" fmla="*/ 5514010 w 9586368"/>
              <a:gd name="connsiteY7308" fmla="*/ 1214625 h 6479439"/>
              <a:gd name="connsiteX7309" fmla="*/ 5504099 w 9586368"/>
              <a:gd name="connsiteY7309" fmla="*/ 1214625 h 6479439"/>
              <a:gd name="connsiteX7310" fmla="*/ 5500080 w 9586368"/>
              <a:gd name="connsiteY7310" fmla="*/ 1210586 h 6479439"/>
              <a:gd name="connsiteX7311" fmla="*/ 5500080 w 9586368"/>
              <a:gd name="connsiteY7311" fmla="*/ 1200714 h 6479439"/>
              <a:gd name="connsiteX7312" fmla="*/ 5264784 w 9586368"/>
              <a:gd name="connsiteY7312" fmla="*/ 1196676 h 6479439"/>
              <a:gd name="connsiteX7313" fmla="*/ 5274694 w 9586368"/>
              <a:gd name="connsiteY7313" fmla="*/ 1196676 h 6479439"/>
              <a:gd name="connsiteX7314" fmla="*/ 5278713 w 9586368"/>
              <a:gd name="connsiteY7314" fmla="*/ 1200714 h 6479439"/>
              <a:gd name="connsiteX7315" fmla="*/ 5278713 w 9586368"/>
              <a:gd name="connsiteY7315" fmla="*/ 1210586 h 6479439"/>
              <a:gd name="connsiteX7316" fmla="*/ 5274694 w 9586368"/>
              <a:gd name="connsiteY7316" fmla="*/ 1214625 h 6479439"/>
              <a:gd name="connsiteX7317" fmla="*/ 5264784 w 9586368"/>
              <a:gd name="connsiteY7317" fmla="*/ 1214625 h 6479439"/>
              <a:gd name="connsiteX7318" fmla="*/ 5260765 w 9586368"/>
              <a:gd name="connsiteY7318" fmla="*/ 1210586 h 6479439"/>
              <a:gd name="connsiteX7319" fmla="*/ 5260765 w 9586368"/>
              <a:gd name="connsiteY7319" fmla="*/ 1200714 h 6479439"/>
              <a:gd name="connsiteX7320" fmla="*/ 5025470 w 9586368"/>
              <a:gd name="connsiteY7320" fmla="*/ 1196676 h 6479439"/>
              <a:gd name="connsiteX7321" fmla="*/ 5035381 w 9586368"/>
              <a:gd name="connsiteY7321" fmla="*/ 1196676 h 6479439"/>
              <a:gd name="connsiteX7322" fmla="*/ 5039400 w 9586368"/>
              <a:gd name="connsiteY7322" fmla="*/ 1200715 h 6479439"/>
              <a:gd name="connsiteX7323" fmla="*/ 5039400 w 9586368"/>
              <a:gd name="connsiteY7323" fmla="*/ 1210586 h 6479439"/>
              <a:gd name="connsiteX7324" fmla="*/ 5035381 w 9586368"/>
              <a:gd name="connsiteY7324" fmla="*/ 1214625 h 6479439"/>
              <a:gd name="connsiteX7325" fmla="*/ 5025470 w 9586368"/>
              <a:gd name="connsiteY7325" fmla="*/ 1214625 h 6479439"/>
              <a:gd name="connsiteX7326" fmla="*/ 5021451 w 9586368"/>
              <a:gd name="connsiteY7326" fmla="*/ 1210586 h 6479439"/>
              <a:gd name="connsiteX7327" fmla="*/ 5021451 w 9586368"/>
              <a:gd name="connsiteY7327" fmla="*/ 1200715 h 6479439"/>
              <a:gd name="connsiteX7328" fmla="*/ 4786241 w 9586368"/>
              <a:gd name="connsiteY7328" fmla="*/ 1196676 h 6479439"/>
              <a:gd name="connsiteX7329" fmla="*/ 4796152 w 9586368"/>
              <a:gd name="connsiteY7329" fmla="*/ 1196676 h 6479439"/>
              <a:gd name="connsiteX7330" fmla="*/ 4800171 w 9586368"/>
              <a:gd name="connsiteY7330" fmla="*/ 1200715 h 6479439"/>
              <a:gd name="connsiteX7331" fmla="*/ 4800171 w 9586368"/>
              <a:gd name="connsiteY7331" fmla="*/ 1210586 h 6479439"/>
              <a:gd name="connsiteX7332" fmla="*/ 4796152 w 9586368"/>
              <a:gd name="connsiteY7332" fmla="*/ 1214625 h 6479439"/>
              <a:gd name="connsiteX7333" fmla="*/ 4786241 w 9586368"/>
              <a:gd name="connsiteY7333" fmla="*/ 1214625 h 6479439"/>
              <a:gd name="connsiteX7334" fmla="*/ 4782224 w 9586368"/>
              <a:gd name="connsiteY7334" fmla="*/ 1210586 h 6479439"/>
              <a:gd name="connsiteX7335" fmla="*/ 4782224 w 9586368"/>
              <a:gd name="connsiteY7335" fmla="*/ 1200715 h 6479439"/>
              <a:gd name="connsiteX7336" fmla="*/ 6222042 w 9586368"/>
              <a:gd name="connsiteY7336" fmla="*/ 1196664 h 6479439"/>
              <a:gd name="connsiteX7337" fmla="*/ 6231952 w 9586368"/>
              <a:gd name="connsiteY7337" fmla="*/ 1196664 h 6479439"/>
              <a:gd name="connsiteX7338" fmla="*/ 6235971 w 9586368"/>
              <a:gd name="connsiteY7338" fmla="*/ 1200703 h 6479439"/>
              <a:gd name="connsiteX7339" fmla="*/ 6235971 w 9586368"/>
              <a:gd name="connsiteY7339" fmla="*/ 1210573 h 6479439"/>
              <a:gd name="connsiteX7340" fmla="*/ 6231952 w 9586368"/>
              <a:gd name="connsiteY7340" fmla="*/ 1214612 h 6479439"/>
              <a:gd name="connsiteX7341" fmla="*/ 6222042 w 9586368"/>
              <a:gd name="connsiteY7341" fmla="*/ 1214612 h 6479439"/>
              <a:gd name="connsiteX7342" fmla="*/ 6218023 w 9586368"/>
              <a:gd name="connsiteY7342" fmla="*/ 1210573 h 6479439"/>
              <a:gd name="connsiteX7343" fmla="*/ 6218023 w 9586368"/>
              <a:gd name="connsiteY7343" fmla="*/ 1200703 h 6479439"/>
              <a:gd name="connsiteX7344" fmla="*/ 5982729 w 9586368"/>
              <a:gd name="connsiteY7344" fmla="*/ 1196664 h 6479439"/>
              <a:gd name="connsiteX7345" fmla="*/ 5992639 w 9586368"/>
              <a:gd name="connsiteY7345" fmla="*/ 1196664 h 6479439"/>
              <a:gd name="connsiteX7346" fmla="*/ 5996658 w 9586368"/>
              <a:gd name="connsiteY7346" fmla="*/ 1200703 h 6479439"/>
              <a:gd name="connsiteX7347" fmla="*/ 5996658 w 9586368"/>
              <a:gd name="connsiteY7347" fmla="*/ 1210573 h 6479439"/>
              <a:gd name="connsiteX7348" fmla="*/ 5992639 w 9586368"/>
              <a:gd name="connsiteY7348" fmla="*/ 1214612 h 6479439"/>
              <a:gd name="connsiteX7349" fmla="*/ 5982729 w 9586368"/>
              <a:gd name="connsiteY7349" fmla="*/ 1214612 h 6479439"/>
              <a:gd name="connsiteX7350" fmla="*/ 5978710 w 9586368"/>
              <a:gd name="connsiteY7350" fmla="*/ 1210573 h 6479439"/>
              <a:gd name="connsiteX7351" fmla="*/ 5978710 w 9586368"/>
              <a:gd name="connsiteY7351" fmla="*/ 1200703 h 6479439"/>
              <a:gd name="connsiteX7352" fmla="*/ 6939983 w 9586368"/>
              <a:gd name="connsiteY7352" fmla="*/ 1196664 h 6479439"/>
              <a:gd name="connsiteX7353" fmla="*/ 6949894 w 9586368"/>
              <a:gd name="connsiteY7353" fmla="*/ 1196664 h 6479439"/>
              <a:gd name="connsiteX7354" fmla="*/ 6953913 w 9586368"/>
              <a:gd name="connsiteY7354" fmla="*/ 1200702 h 6479439"/>
              <a:gd name="connsiteX7355" fmla="*/ 6953913 w 9586368"/>
              <a:gd name="connsiteY7355" fmla="*/ 1210573 h 6479439"/>
              <a:gd name="connsiteX7356" fmla="*/ 6949894 w 9586368"/>
              <a:gd name="connsiteY7356" fmla="*/ 1214612 h 6479439"/>
              <a:gd name="connsiteX7357" fmla="*/ 6939983 w 9586368"/>
              <a:gd name="connsiteY7357" fmla="*/ 1214612 h 6479439"/>
              <a:gd name="connsiteX7358" fmla="*/ 6935964 w 9586368"/>
              <a:gd name="connsiteY7358" fmla="*/ 1210573 h 6479439"/>
              <a:gd name="connsiteX7359" fmla="*/ 6935964 w 9586368"/>
              <a:gd name="connsiteY7359" fmla="*/ 1200702 h 6479439"/>
              <a:gd name="connsiteX7360" fmla="*/ 6700670 w 9586368"/>
              <a:gd name="connsiteY7360" fmla="*/ 1196664 h 6479439"/>
              <a:gd name="connsiteX7361" fmla="*/ 6710581 w 9586368"/>
              <a:gd name="connsiteY7361" fmla="*/ 1196664 h 6479439"/>
              <a:gd name="connsiteX7362" fmla="*/ 6714600 w 9586368"/>
              <a:gd name="connsiteY7362" fmla="*/ 1200702 h 6479439"/>
              <a:gd name="connsiteX7363" fmla="*/ 6714600 w 9586368"/>
              <a:gd name="connsiteY7363" fmla="*/ 1210573 h 6479439"/>
              <a:gd name="connsiteX7364" fmla="*/ 6710581 w 9586368"/>
              <a:gd name="connsiteY7364" fmla="*/ 1214612 h 6479439"/>
              <a:gd name="connsiteX7365" fmla="*/ 6700670 w 9586368"/>
              <a:gd name="connsiteY7365" fmla="*/ 1214612 h 6479439"/>
              <a:gd name="connsiteX7366" fmla="*/ 6696651 w 9586368"/>
              <a:gd name="connsiteY7366" fmla="*/ 1210573 h 6479439"/>
              <a:gd name="connsiteX7367" fmla="*/ 6696651 w 9586368"/>
              <a:gd name="connsiteY7367" fmla="*/ 1200702 h 6479439"/>
              <a:gd name="connsiteX7368" fmla="*/ 6461356 w 9586368"/>
              <a:gd name="connsiteY7368" fmla="*/ 1196664 h 6479439"/>
              <a:gd name="connsiteX7369" fmla="*/ 6471266 w 9586368"/>
              <a:gd name="connsiteY7369" fmla="*/ 1196664 h 6479439"/>
              <a:gd name="connsiteX7370" fmla="*/ 6475285 w 9586368"/>
              <a:gd name="connsiteY7370" fmla="*/ 1200702 h 6479439"/>
              <a:gd name="connsiteX7371" fmla="*/ 6475285 w 9586368"/>
              <a:gd name="connsiteY7371" fmla="*/ 1210573 h 6479439"/>
              <a:gd name="connsiteX7372" fmla="*/ 6471266 w 9586368"/>
              <a:gd name="connsiteY7372" fmla="*/ 1214612 h 6479439"/>
              <a:gd name="connsiteX7373" fmla="*/ 6461356 w 9586368"/>
              <a:gd name="connsiteY7373" fmla="*/ 1214612 h 6479439"/>
              <a:gd name="connsiteX7374" fmla="*/ 6457337 w 9586368"/>
              <a:gd name="connsiteY7374" fmla="*/ 1210573 h 6479439"/>
              <a:gd name="connsiteX7375" fmla="*/ 6457337 w 9586368"/>
              <a:gd name="connsiteY7375" fmla="*/ 1200702 h 6479439"/>
              <a:gd name="connsiteX7376" fmla="*/ 7418611 w 9586368"/>
              <a:gd name="connsiteY7376" fmla="*/ 1196652 h 6479439"/>
              <a:gd name="connsiteX7377" fmla="*/ 7428521 w 9586368"/>
              <a:gd name="connsiteY7377" fmla="*/ 1196652 h 6479439"/>
              <a:gd name="connsiteX7378" fmla="*/ 7432540 w 9586368"/>
              <a:gd name="connsiteY7378" fmla="*/ 1200690 h 6479439"/>
              <a:gd name="connsiteX7379" fmla="*/ 7432540 w 9586368"/>
              <a:gd name="connsiteY7379" fmla="*/ 1210561 h 6479439"/>
              <a:gd name="connsiteX7380" fmla="*/ 7428521 w 9586368"/>
              <a:gd name="connsiteY7380" fmla="*/ 1214600 h 6479439"/>
              <a:gd name="connsiteX7381" fmla="*/ 7418611 w 9586368"/>
              <a:gd name="connsiteY7381" fmla="*/ 1214600 h 6479439"/>
              <a:gd name="connsiteX7382" fmla="*/ 7414592 w 9586368"/>
              <a:gd name="connsiteY7382" fmla="*/ 1210561 h 6479439"/>
              <a:gd name="connsiteX7383" fmla="*/ 7414592 w 9586368"/>
              <a:gd name="connsiteY7383" fmla="*/ 1200690 h 6479439"/>
              <a:gd name="connsiteX7384" fmla="*/ 7179298 w 9586368"/>
              <a:gd name="connsiteY7384" fmla="*/ 1196652 h 6479439"/>
              <a:gd name="connsiteX7385" fmla="*/ 7189209 w 9586368"/>
              <a:gd name="connsiteY7385" fmla="*/ 1196652 h 6479439"/>
              <a:gd name="connsiteX7386" fmla="*/ 7193228 w 9586368"/>
              <a:gd name="connsiteY7386" fmla="*/ 1200690 h 6479439"/>
              <a:gd name="connsiteX7387" fmla="*/ 7193228 w 9586368"/>
              <a:gd name="connsiteY7387" fmla="*/ 1210561 h 6479439"/>
              <a:gd name="connsiteX7388" fmla="*/ 7189209 w 9586368"/>
              <a:gd name="connsiteY7388" fmla="*/ 1214600 h 6479439"/>
              <a:gd name="connsiteX7389" fmla="*/ 7179298 w 9586368"/>
              <a:gd name="connsiteY7389" fmla="*/ 1214600 h 6479439"/>
              <a:gd name="connsiteX7390" fmla="*/ 7175279 w 9586368"/>
              <a:gd name="connsiteY7390" fmla="*/ 1210561 h 6479439"/>
              <a:gd name="connsiteX7391" fmla="*/ 7175279 w 9586368"/>
              <a:gd name="connsiteY7391" fmla="*/ 1200690 h 6479439"/>
              <a:gd name="connsiteX7392" fmla="*/ 8136553 w 9586368"/>
              <a:gd name="connsiteY7392" fmla="*/ 1196651 h 6479439"/>
              <a:gd name="connsiteX7393" fmla="*/ 8146464 w 9586368"/>
              <a:gd name="connsiteY7393" fmla="*/ 1196651 h 6479439"/>
              <a:gd name="connsiteX7394" fmla="*/ 8150483 w 9586368"/>
              <a:gd name="connsiteY7394" fmla="*/ 1200689 h 6479439"/>
              <a:gd name="connsiteX7395" fmla="*/ 8150483 w 9586368"/>
              <a:gd name="connsiteY7395" fmla="*/ 1210561 h 6479439"/>
              <a:gd name="connsiteX7396" fmla="*/ 8146464 w 9586368"/>
              <a:gd name="connsiteY7396" fmla="*/ 1214600 h 6479439"/>
              <a:gd name="connsiteX7397" fmla="*/ 8136553 w 9586368"/>
              <a:gd name="connsiteY7397" fmla="*/ 1214600 h 6479439"/>
              <a:gd name="connsiteX7398" fmla="*/ 8132534 w 9586368"/>
              <a:gd name="connsiteY7398" fmla="*/ 1210561 h 6479439"/>
              <a:gd name="connsiteX7399" fmla="*/ 8132534 w 9586368"/>
              <a:gd name="connsiteY7399" fmla="*/ 1200689 h 6479439"/>
              <a:gd name="connsiteX7400" fmla="*/ 7897241 w 9586368"/>
              <a:gd name="connsiteY7400" fmla="*/ 1196651 h 6479439"/>
              <a:gd name="connsiteX7401" fmla="*/ 7907151 w 9586368"/>
              <a:gd name="connsiteY7401" fmla="*/ 1196651 h 6479439"/>
              <a:gd name="connsiteX7402" fmla="*/ 7911170 w 9586368"/>
              <a:gd name="connsiteY7402" fmla="*/ 1200689 h 6479439"/>
              <a:gd name="connsiteX7403" fmla="*/ 7911170 w 9586368"/>
              <a:gd name="connsiteY7403" fmla="*/ 1210561 h 6479439"/>
              <a:gd name="connsiteX7404" fmla="*/ 7907151 w 9586368"/>
              <a:gd name="connsiteY7404" fmla="*/ 1214600 h 6479439"/>
              <a:gd name="connsiteX7405" fmla="*/ 7897241 w 9586368"/>
              <a:gd name="connsiteY7405" fmla="*/ 1214600 h 6479439"/>
              <a:gd name="connsiteX7406" fmla="*/ 7893222 w 9586368"/>
              <a:gd name="connsiteY7406" fmla="*/ 1210561 h 6479439"/>
              <a:gd name="connsiteX7407" fmla="*/ 7893222 w 9586368"/>
              <a:gd name="connsiteY7407" fmla="*/ 1200689 h 6479439"/>
              <a:gd name="connsiteX7408" fmla="*/ 7657926 w 9586368"/>
              <a:gd name="connsiteY7408" fmla="*/ 1196651 h 6479439"/>
              <a:gd name="connsiteX7409" fmla="*/ 7667836 w 9586368"/>
              <a:gd name="connsiteY7409" fmla="*/ 1196651 h 6479439"/>
              <a:gd name="connsiteX7410" fmla="*/ 7671855 w 9586368"/>
              <a:gd name="connsiteY7410" fmla="*/ 1200689 h 6479439"/>
              <a:gd name="connsiteX7411" fmla="*/ 7671855 w 9586368"/>
              <a:gd name="connsiteY7411" fmla="*/ 1210561 h 6479439"/>
              <a:gd name="connsiteX7412" fmla="*/ 7667836 w 9586368"/>
              <a:gd name="connsiteY7412" fmla="*/ 1214600 h 6479439"/>
              <a:gd name="connsiteX7413" fmla="*/ 7657926 w 9586368"/>
              <a:gd name="connsiteY7413" fmla="*/ 1214600 h 6479439"/>
              <a:gd name="connsiteX7414" fmla="*/ 7653906 w 9586368"/>
              <a:gd name="connsiteY7414" fmla="*/ 1210561 h 6479439"/>
              <a:gd name="connsiteX7415" fmla="*/ 7653906 w 9586368"/>
              <a:gd name="connsiteY7415" fmla="*/ 1200689 h 6479439"/>
              <a:gd name="connsiteX7416" fmla="*/ 8615184 w 9586368"/>
              <a:gd name="connsiteY7416" fmla="*/ 1196639 h 6479439"/>
              <a:gd name="connsiteX7417" fmla="*/ 8625095 w 9586368"/>
              <a:gd name="connsiteY7417" fmla="*/ 1196639 h 6479439"/>
              <a:gd name="connsiteX7418" fmla="*/ 8629114 w 9586368"/>
              <a:gd name="connsiteY7418" fmla="*/ 1200678 h 6479439"/>
              <a:gd name="connsiteX7419" fmla="*/ 8629114 w 9586368"/>
              <a:gd name="connsiteY7419" fmla="*/ 1210548 h 6479439"/>
              <a:gd name="connsiteX7420" fmla="*/ 8625095 w 9586368"/>
              <a:gd name="connsiteY7420" fmla="*/ 1214587 h 6479439"/>
              <a:gd name="connsiteX7421" fmla="*/ 8615184 w 9586368"/>
              <a:gd name="connsiteY7421" fmla="*/ 1214587 h 6479439"/>
              <a:gd name="connsiteX7422" fmla="*/ 8611165 w 9586368"/>
              <a:gd name="connsiteY7422" fmla="*/ 1210548 h 6479439"/>
              <a:gd name="connsiteX7423" fmla="*/ 8611165 w 9586368"/>
              <a:gd name="connsiteY7423" fmla="*/ 1200678 h 6479439"/>
              <a:gd name="connsiteX7424" fmla="*/ 8375869 w 9586368"/>
              <a:gd name="connsiteY7424" fmla="*/ 1196639 h 6479439"/>
              <a:gd name="connsiteX7425" fmla="*/ 8385779 w 9586368"/>
              <a:gd name="connsiteY7425" fmla="*/ 1196639 h 6479439"/>
              <a:gd name="connsiteX7426" fmla="*/ 8389799 w 9586368"/>
              <a:gd name="connsiteY7426" fmla="*/ 1200678 h 6479439"/>
              <a:gd name="connsiteX7427" fmla="*/ 8389799 w 9586368"/>
              <a:gd name="connsiteY7427" fmla="*/ 1210549 h 6479439"/>
              <a:gd name="connsiteX7428" fmla="*/ 8385779 w 9586368"/>
              <a:gd name="connsiteY7428" fmla="*/ 1214587 h 6479439"/>
              <a:gd name="connsiteX7429" fmla="*/ 8375869 w 9586368"/>
              <a:gd name="connsiteY7429" fmla="*/ 1214587 h 6479439"/>
              <a:gd name="connsiteX7430" fmla="*/ 8371850 w 9586368"/>
              <a:gd name="connsiteY7430" fmla="*/ 1210549 h 6479439"/>
              <a:gd name="connsiteX7431" fmla="*/ 8371850 w 9586368"/>
              <a:gd name="connsiteY7431" fmla="*/ 1200678 h 6479439"/>
              <a:gd name="connsiteX7432" fmla="*/ 9333125 w 9586368"/>
              <a:gd name="connsiteY7432" fmla="*/ 1196639 h 6479439"/>
              <a:gd name="connsiteX7433" fmla="*/ 9343036 w 9586368"/>
              <a:gd name="connsiteY7433" fmla="*/ 1196639 h 6479439"/>
              <a:gd name="connsiteX7434" fmla="*/ 9347055 w 9586368"/>
              <a:gd name="connsiteY7434" fmla="*/ 1200677 h 6479439"/>
              <a:gd name="connsiteX7435" fmla="*/ 9347055 w 9586368"/>
              <a:gd name="connsiteY7435" fmla="*/ 1210548 h 6479439"/>
              <a:gd name="connsiteX7436" fmla="*/ 9343036 w 9586368"/>
              <a:gd name="connsiteY7436" fmla="*/ 1214587 h 6479439"/>
              <a:gd name="connsiteX7437" fmla="*/ 9333125 w 9586368"/>
              <a:gd name="connsiteY7437" fmla="*/ 1214587 h 6479439"/>
              <a:gd name="connsiteX7438" fmla="*/ 9329106 w 9586368"/>
              <a:gd name="connsiteY7438" fmla="*/ 1210548 h 6479439"/>
              <a:gd name="connsiteX7439" fmla="*/ 9329106 w 9586368"/>
              <a:gd name="connsiteY7439" fmla="*/ 1200677 h 6479439"/>
              <a:gd name="connsiteX7440" fmla="*/ 9093811 w 9586368"/>
              <a:gd name="connsiteY7440" fmla="*/ 1196639 h 6479439"/>
              <a:gd name="connsiteX7441" fmla="*/ 9103722 w 9586368"/>
              <a:gd name="connsiteY7441" fmla="*/ 1196639 h 6479439"/>
              <a:gd name="connsiteX7442" fmla="*/ 9107741 w 9586368"/>
              <a:gd name="connsiteY7442" fmla="*/ 1200677 h 6479439"/>
              <a:gd name="connsiteX7443" fmla="*/ 9107741 w 9586368"/>
              <a:gd name="connsiteY7443" fmla="*/ 1210548 h 6479439"/>
              <a:gd name="connsiteX7444" fmla="*/ 9103722 w 9586368"/>
              <a:gd name="connsiteY7444" fmla="*/ 1214587 h 6479439"/>
              <a:gd name="connsiteX7445" fmla="*/ 9093811 w 9586368"/>
              <a:gd name="connsiteY7445" fmla="*/ 1214587 h 6479439"/>
              <a:gd name="connsiteX7446" fmla="*/ 9089792 w 9586368"/>
              <a:gd name="connsiteY7446" fmla="*/ 1210548 h 6479439"/>
              <a:gd name="connsiteX7447" fmla="*/ 9089792 w 9586368"/>
              <a:gd name="connsiteY7447" fmla="*/ 1200677 h 6479439"/>
              <a:gd name="connsiteX7448" fmla="*/ 8854496 w 9586368"/>
              <a:gd name="connsiteY7448" fmla="*/ 1196639 h 6479439"/>
              <a:gd name="connsiteX7449" fmla="*/ 8864407 w 9586368"/>
              <a:gd name="connsiteY7449" fmla="*/ 1196639 h 6479439"/>
              <a:gd name="connsiteX7450" fmla="*/ 8868426 w 9586368"/>
              <a:gd name="connsiteY7450" fmla="*/ 1200677 h 6479439"/>
              <a:gd name="connsiteX7451" fmla="*/ 8868426 w 9586368"/>
              <a:gd name="connsiteY7451" fmla="*/ 1210548 h 6479439"/>
              <a:gd name="connsiteX7452" fmla="*/ 8864407 w 9586368"/>
              <a:gd name="connsiteY7452" fmla="*/ 1214587 h 6479439"/>
              <a:gd name="connsiteX7453" fmla="*/ 8854496 w 9586368"/>
              <a:gd name="connsiteY7453" fmla="*/ 1214587 h 6479439"/>
              <a:gd name="connsiteX7454" fmla="*/ 8850477 w 9586368"/>
              <a:gd name="connsiteY7454" fmla="*/ 1210548 h 6479439"/>
              <a:gd name="connsiteX7455" fmla="*/ 8850477 w 9586368"/>
              <a:gd name="connsiteY7455" fmla="*/ 1200677 h 6479439"/>
              <a:gd name="connsiteX7456" fmla="*/ 9572438 w 9586368"/>
              <a:gd name="connsiteY7456" fmla="*/ 1196627 h 6479439"/>
              <a:gd name="connsiteX7457" fmla="*/ 9582349 w 9586368"/>
              <a:gd name="connsiteY7457" fmla="*/ 1196627 h 6479439"/>
              <a:gd name="connsiteX7458" fmla="*/ 9586368 w 9586368"/>
              <a:gd name="connsiteY7458" fmla="*/ 1200665 h 6479439"/>
              <a:gd name="connsiteX7459" fmla="*/ 9586368 w 9586368"/>
              <a:gd name="connsiteY7459" fmla="*/ 1210536 h 6479439"/>
              <a:gd name="connsiteX7460" fmla="*/ 9582349 w 9586368"/>
              <a:gd name="connsiteY7460" fmla="*/ 1214575 h 6479439"/>
              <a:gd name="connsiteX7461" fmla="*/ 9572438 w 9586368"/>
              <a:gd name="connsiteY7461" fmla="*/ 1214575 h 6479439"/>
              <a:gd name="connsiteX7462" fmla="*/ 9568419 w 9586368"/>
              <a:gd name="connsiteY7462" fmla="*/ 1210536 h 6479439"/>
              <a:gd name="connsiteX7463" fmla="*/ 9568419 w 9586368"/>
              <a:gd name="connsiteY7463" fmla="*/ 1200665 h 6479439"/>
              <a:gd name="connsiteX7464" fmla="*/ 4035 w 9586368"/>
              <a:gd name="connsiteY7464" fmla="*/ 1196600 h 6479439"/>
              <a:gd name="connsiteX7465" fmla="*/ 13945 w 9586368"/>
              <a:gd name="connsiteY7465" fmla="*/ 1196600 h 6479439"/>
              <a:gd name="connsiteX7466" fmla="*/ 17964 w 9586368"/>
              <a:gd name="connsiteY7466" fmla="*/ 1200638 h 6479439"/>
              <a:gd name="connsiteX7467" fmla="*/ 17964 w 9586368"/>
              <a:gd name="connsiteY7467" fmla="*/ 1210509 h 6479439"/>
              <a:gd name="connsiteX7468" fmla="*/ 13945 w 9586368"/>
              <a:gd name="connsiteY7468" fmla="*/ 1214548 h 6479439"/>
              <a:gd name="connsiteX7469" fmla="*/ 4035 w 9586368"/>
              <a:gd name="connsiteY7469" fmla="*/ 1214548 h 6479439"/>
              <a:gd name="connsiteX7470" fmla="*/ 16 w 9586368"/>
              <a:gd name="connsiteY7470" fmla="*/ 1210509 h 6479439"/>
              <a:gd name="connsiteX7471" fmla="*/ 16 w 9586368"/>
              <a:gd name="connsiteY7471" fmla="*/ 1200638 h 6479439"/>
              <a:gd name="connsiteX7472" fmla="*/ 721974 w 9586368"/>
              <a:gd name="connsiteY7472" fmla="*/ 1196599 h 6479439"/>
              <a:gd name="connsiteX7473" fmla="*/ 731884 w 9586368"/>
              <a:gd name="connsiteY7473" fmla="*/ 1196599 h 6479439"/>
              <a:gd name="connsiteX7474" fmla="*/ 735903 w 9586368"/>
              <a:gd name="connsiteY7474" fmla="*/ 1200638 h 6479439"/>
              <a:gd name="connsiteX7475" fmla="*/ 735903 w 9586368"/>
              <a:gd name="connsiteY7475" fmla="*/ 1210509 h 6479439"/>
              <a:gd name="connsiteX7476" fmla="*/ 731884 w 9586368"/>
              <a:gd name="connsiteY7476" fmla="*/ 1214547 h 6479439"/>
              <a:gd name="connsiteX7477" fmla="*/ 721974 w 9586368"/>
              <a:gd name="connsiteY7477" fmla="*/ 1214547 h 6479439"/>
              <a:gd name="connsiteX7478" fmla="*/ 717955 w 9586368"/>
              <a:gd name="connsiteY7478" fmla="*/ 1210509 h 6479439"/>
              <a:gd name="connsiteX7479" fmla="*/ 717955 w 9586368"/>
              <a:gd name="connsiteY7479" fmla="*/ 1200638 h 6479439"/>
              <a:gd name="connsiteX7480" fmla="*/ 482661 w 9586368"/>
              <a:gd name="connsiteY7480" fmla="*/ 1196599 h 6479439"/>
              <a:gd name="connsiteX7481" fmla="*/ 492572 w 9586368"/>
              <a:gd name="connsiteY7481" fmla="*/ 1196599 h 6479439"/>
              <a:gd name="connsiteX7482" fmla="*/ 496591 w 9586368"/>
              <a:gd name="connsiteY7482" fmla="*/ 1200638 h 6479439"/>
              <a:gd name="connsiteX7483" fmla="*/ 496591 w 9586368"/>
              <a:gd name="connsiteY7483" fmla="*/ 1210509 h 6479439"/>
              <a:gd name="connsiteX7484" fmla="*/ 492572 w 9586368"/>
              <a:gd name="connsiteY7484" fmla="*/ 1214548 h 6479439"/>
              <a:gd name="connsiteX7485" fmla="*/ 482661 w 9586368"/>
              <a:gd name="connsiteY7485" fmla="*/ 1214548 h 6479439"/>
              <a:gd name="connsiteX7486" fmla="*/ 478642 w 9586368"/>
              <a:gd name="connsiteY7486" fmla="*/ 1210509 h 6479439"/>
              <a:gd name="connsiteX7487" fmla="*/ 478642 w 9586368"/>
              <a:gd name="connsiteY7487" fmla="*/ 1200638 h 6479439"/>
              <a:gd name="connsiteX7488" fmla="*/ 243348 w 9586368"/>
              <a:gd name="connsiteY7488" fmla="*/ 1196599 h 6479439"/>
              <a:gd name="connsiteX7489" fmla="*/ 253258 w 9586368"/>
              <a:gd name="connsiteY7489" fmla="*/ 1196599 h 6479439"/>
              <a:gd name="connsiteX7490" fmla="*/ 257278 w 9586368"/>
              <a:gd name="connsiteY7490" fmla="*/ 1200638 h 6479439"/>
              <a:gd name="connsiteX7491" fmla="*/ 257278 w 9586368"/>
              <a:gd name="connsiteY7491" fmla="*/ 1210509 h 6479439"/>
              <a:gd name="connsiteX7492" fmla="*/ 253258 w 9586368"/>
              <a:gd name="connsiteY7492" fmla="*/ 1214548 h 6479439"/>
              <a:gd name="connsiteX7493" fmla="*/ 243348 w 9586368"/>
              <a:gd name="connsiteY7493" fmla="*/ 1214548 h 6479439"/>
              <a:gd name="connsiteX7494" fmla="*/ 239329 w 9586368"/>
              <a:gd name="connsiteY7494" fmla="*/ 1210509 h 6479439"/>
              <a:gd name="connsiteX7495" fmla="*/ 239329 w 9586368"/>
              <a:gd name="connsiteY7495" fmla="*/ 1200638 h 6479439"/>
              <a:gd name="connsiteX7496" fmla="*/ 1439900 w 9586368"/>
              <a:gd name="connsiteY7496" fmla="*/ 1196589 h 6479439"/>
              <a:gd name="connsiteX7497" fmla="*/ 1449810 w 9586368"/>
              <a:gd name="connsiteY7497" fmla="*/ 1196589 h 6479439"/>
              <a:gd name="connsiteX7498" fmla="*/ 1453829 w 9586368"/>
              <a:gd name="connsiteY7498" fmla="*/ 1200628 h 6479439"/>
              <a:gd name="connsiteX7499" fmla="*/ 1453829 w 9586368"/>
              <a:gd name="connsiteY7499" fmla="*/ 1210498 h 6479439"/>
              <a:gd name="connsiteX7500" fmla="*/ 1449810 w 9586368"/>
              <a:gd name="connsiteY7500" fmla="*/ 1214537 h 6479439"/>
              <a:gd name="connsiteX7501" fmla="*/ 1439900 w 9586368"/>
              <a:gd name="connsiteY7501" fmla="*/ 1214537 h 6479439"/>
              <a:gd name="connsiteX7502" fmla="*/ 1435881 w 9586368"/>
              <a:gd name="connsiteY7502" fmla="*/ 1210498 h 6479439"/>
              <a:gd name="connsiteX7503" fmla="*/ 1435881 w 9586368"/>
              <a:gd name="connsiteY7503" fmla="*/ 1200628 h 6479439"/>
              <a:gd name="connsiteX7504" fmla="*/ 1200584 w 9586368"/>
              <a:gd name="connsiteY7504" fmla="*/ 1196589 h 6479439"/>
              <a:gd name="connsiteX7505" fmla="*/ 1210494 w 9586368"/>
              <a:gd name="connsiteY7505" fmla="*/ 1196589 h 6479439"/>
              <a:gd name="connsiteX7506" fmla="*/ 1214512 w 9586368"/>
              <a:gd name="connsiteY7506" fmla="*/ 1200628 h 6479439"/>
              <a:gd name="connsiteX7507" fmla="*/ 1214512 w 9586368"/>
              <a:gd name="connsiteY7507" fmla="*/ 1210498 h 6479439"/>
              <a:gd name="connsiteX7508" fmla="*/ 1210494 w 9586368"/>
              <a:gd name="connsiteY7508" fmla="*/ 1214537 h 6479439"/>
              <a:gd name="connsiteX7509" fmla="*/ 1200584 w 9586368"/>
              <a:gd name="connsiteY7509" fmla="*/ 1214537 h 6479439"/>
              <a:gd name="connsiteX7510" fmla="*/ 1196565 w 9586368"/>
              <a:gd name="connsiteY7510" fmla="*/ 1210498 h 6479439"/>
              <a:gd name="connsiteX7511" fmla="*/ 1196565 w 9586368"/>
              <a:gd name="connsiteY7511" fmla="*/ 1200628 h 6479439"/>
              <a:gd name="connsiteX7512" fmla="*/ 961271 w 9586368"/>
              <a:gd name="connsiteY7512" fmla="*/ 1196589 h 6479439"/>
              <a:gd name="connsiteX7513" fmla="*/ 971181 w 9586368"/>
              <a:gd name="connsiteY7513" fmla="*/ 1196589 h 6479439"/>
              <a:gd name="connsiteX7514" fmla="*/ 975200 w 9586368"/>
              <a:gd name="connsiteY7514" fmla="*/ 1200628 h 6479439"/>
              <a:gd name="connsiteX7515" fmla="*/ 975200 w 9586368"/>
              <a:gd name="connsiteY7515" fmla="*/ 1210499 h 6479439"/>
              <a:gd name="connsiteX7516" fmla="*/ 971181 w 9586368"/>
              <a:gd name="connsiteY7516" fmla="*/ 1214537 h 6479439"/>
              <a:gd name="connsiteX7517" fmla="*/ 961271 w 9586368"/>
              <a:gd name="connsiteY7517" fmla="*/ 1214537 h 6479439"/>
              <a:gd name="connsiteX7518" fmla="*/ 957253 w 9586368"/>
              <a:gd name="connsiteY7518" fmla="*/ 1210499 h 6479439"/>
              <a:gd name="connsiteX7519" fmla="*/ 957253 w 9586368"/>
              <a:gd name="connsiteY7519" fmla="*/ 1200628 h 6479439"/>
              <a:gd name="connsiteX7520" fmla="*/ 1679217 w 9586368"/>
              <a:gd name="connsiteY7520" fmla="*/ 1196589 h 6479439"/>
              <a:gd name="connsiteX7521" fmla="*/ 1689127 w 9586368"/>
              <a:gd name="connsiteY7521" fmla="*/ 1196589 h 6479439"/>
              <a:gd name="connsiteX7522" fmla="*/ 1693146 w 9586368"/>
              <a:gd name="connsiteY7522" fmla="*/ 1200627 h 6479439"/>
              <a:gd name="connsiteX7523" fmla="*/ 1693146 w 9586368"/>
              <a:gd name="connsiteY7523" fmla="*/ 1210498 h 6479439"/>
              <a:gd name="connsiteX7524" fmla="*/ 1689127 w 9586368"/>
              <a:gd name="connsiteY7524" fmla="*/ 1214537 h 6479439"/>
              <a:gd name="connsiteX7525" fmla="*/ 1679217 w 9586368"/>
              <a:gd name="connsiteY7525" fmla="*/ 1214537 h 6479439"/>
              <a:gd name="connsiteX7526" fmla="*/ 1675198 w 9586368"/>
              <a:gd name="connsiteY7526" fmla="*/ 1210498 h 6479439"/>
              <a:gd name="connsiteX7527" fmla="*/ 1675198 w 9586368"/>
              <a:gd name="connsiteY7527" fmla="*/ 1200627 h 6479439"/>
              <a:gd name="connsiteX7528" fmla="*/ 1918514 w 9586368"/>
              <a:gd name="connsiteY7528" fmla="*/ 1196581 h 6479439"/>
              <a:gd name="connsiteX7529" fmla="*/ 1928424 w 9586368"/>
              <a:gd name="connsiteY7529" fmla="*/ 1196581 h 6479439"/>
              <a:gd name="connsiteX7530" fmla="*/ 1932443 w 9586368"/>
              <a:gd name="connsiteY7530" fmla="*/ 1200619 h 6479439"/>
              <a:gd name="connsiteX7531" fmla="*/ 1932443 w 9586368"/>
              <a:gd name="connsiteY7531" fmla="*/ 1210489 h 6479439"/>
              <a:gd name="connsiteX7532" fmla="*/ 1928424 w 9586368"/>
              <a:gd name="connsiteY7532" fmla="*/ 1214528 h 6479439"/>
              <a:gd name="connsiteX7533" fmla="*/ 1918514 w 9586368"/>
              <a:gd name="connsiteY7533" fmla="*/ 1214528 h 6479439"/>
              <a:gd name="connsiteX7534" fmla="*/ 1914495 w 9586368"/>
              <a:gd name="connsiteY7534" fmla="*/ 1210489 h 6479439"/>
              <a:gd name="connsiteX7535" fmla="*/ 1914495 w 9586368"/>
              <a:gd name="connsiteY7535" fmla="*/ 1200619 h 6479439"/>
              <a:gd name="connsiteX7536" fmla="*/ 2157823 w 9586368"/>
              <a:gd name="connsiteY7536" fmla="*/ 1196578 h 6479439"/>
              <a:gd name="connsiteX7537" fmla="*/ 2167733 w 9586368"/>
              <a:gd name="connsiteY7537" fmla="*/ 1196578 h 6479439"/>
              <a:gd name="connsiteX7538" fmla="*/ 2171751 w 9586368"/>
              <a:gd name="connsiteY7538" fmla="*/ 1200617 h 6479439"/>
              <a:gd name="connsiteX7539" fmla="*/ 2171751 w 9586368"/>
              <a:gd name="connsiteY7539" fmla="*/ 1210488 h 6479439"/>
              <a:gd name="connsiteX7540" fmla="*/ 2167733 w 9586368"/>
              <a:gd name="connsiteY7540" fmla="*/ 1214526 h 6479439"/>
              <a:gd name="connsiteX7541" fmla="*/ 2157823 w 9586368"/>
              <a:gd name="connsiteY7541" fmla="*/ 1214526 h 6479439"/>
              <a:gd name="connsiteX7542" fmla="*/ 2153803 w 9586368"/>
              <a:gd name="connsiteY7542" fmla="*/ 1210488 h 6479439"/>
              <a:gd name="connsiteX7543" fmla="*/ 2153803 w 9586368"/>
              <a:gd name="connsiteY7543" fmla="*/ 1200617 h 6479439"/>
              <a:gd name="connsiteX7544" fmla="*/ 3350359 w 9586368"/>
              <a:gd name="connsiteY7544" fmla="*/ 957358 h 6479439"/>
              <a:gd name="connsiteX7545" fmla="*/ 3360268 w 9586368"/>
              <a:gd name="connsiteY7545" fmla="*/ 957358 h 6479439"/>
              <a:gd name="connsiteX7546" fmla="*/ 3364287 w 9586368"/>
              <a:gd name="connsiteY7546" fmla="*/ 961396 h 6479439"/>
              <a:gd name="connsiteX7547" fmla="*/ 3364287 w 9586368"/>
              <a:gd name="connsiteY7547" fmla="*/ 971266 h 6479439"/>
              <a:gd name="connsiteX7548" fmla="*/ 3360268 w 9586368"/>
              <a:gd name="connsiteY7548" fmla="*/ 975304 h 6479439"/>
              <a:gd name="connsiteX7549" fmla="*/ 3350359 w 9586368"/>
              <a:gd name="connsiteY7549" fmla="*/ 975304 h 6479439"/>
              <a:gd name="connsiteX7550" fmla="*/ 3346340 w 9586368"/>
              <a:gd name="connsiteY7550" fmla="*/ 971266 h 6479439"/>
              <a:gd name="connsiteX7551" fmla="*/ 3346340 w 9586368"/>
              <a:gd name="connsiteY7551" fmla="*/ 961396 h 6479439"/>
              <a:gd name="connsiteX7552" fmla="*/ 3111048 w 9586368"/>
              <a:gd name="connsiteY7552" fmla="*/ 957358 h 6479439"/>
              <a:gd name="connsiteX7553" fmla="*/ 3120959 w 9586368"/>
              <a:gd name="connsiteY7553" fmla="*/ 957358 h 6479439"/>
              <a:gd name="connsiteX7554" fmla="*/ 3124977 w 9586368"/>
              <a:gd name="connsiteY7554" fmla="*/ 961396 h 6479439"/>
              <a:gd name="connsiteX7555" fmla="*/ 3124977 w 9586368"/>
              <a:gd name="connsiteY7555" fmla="*/ 971266 h 6479439"/>
              <a:gd name="connsiteX7556" fmla="*/ 3120959 w 9586368"/>
              <a:gd name="connsiteY7556" fmla="*/ 975304 h 6479439"/>
              <a:gd name="connsiteX7557" fmla="*/ 3111048 w 9586368"/>
              <a:gd name="connsiteY7557" fmla="*/ 975304 h 6479439"/>
              <a:gd name="connsiteX7558" fmla="*/ 3107029 w 9586368"/>
              <a:gd name="connsiteY7558" fmla="*/ 971266 h 6479439"/>
              <a:gd name="connsiteX7559" fmla="*/ 3107029 w 9586368"/>
              <a:gd name="connsiteY7559" fmla="*/ 961396 h 6479439"/>
              <a:gd name="connsiteX7560" fmla="*/ 2871737 w 9586368"/>
              <a:gd name="connsiteY7560" fmla="*/ 957358 h 6479439"/>
              <a:gd name="connsiteX7561" fmla="*/ 2881646 w 9586368"/>
              <a:gd name="connsiteY7561" fmla="*/ 957358 h 6479439"/>
              <a:gd name="connsiteX7562" fmla="*/ 2885666 w 9586368"/>
              <a:gd name="connsiteY7562" fmla="*/ 961396 h 6479439"/>
              <a:gd name="connsiteX7563" fmla="*/ 2885666 w 9586368"/>
              <a:gd name="connsiteY7563" fmla="*/ 971266 h 6479439"/>
              <a:gd name="connsiteX7564" fmla="*/ 2881646 w 9586368"/>
              <a:gd name="connsiteY7564" fmla="*/ 975304 h 6479439"/>
              <a:gd name="connsiteX7565" fmla="*/ 2871737 w 9586368"/>
              <a:gd name="connsiteY7565" fmla="*/ 975304 h 6479439"/>
              <a:gd name="connsiteX7566" fmla="*/ 2867717 w 9586368"/>
              <a:gd name="connsiteY7566" fmla="*/ 971266 h 6479439"/>
              <a:gd name="connsiteX7567" fmla="*/ 2867717 w 9586368"/>
              <a:gd name="connsiteY7567" fmla="*/ 961396 h 6479439"/>
              <a:gd name="connsiteX7568" fmla="*/ 2632423 w 9586368"/>
              <a:gd name="connsiteY7568" fmla="*/ 957358 h 6479439"/>
              <a:gd name="connsiteX7569" fmla="*/ 2642334 w 9586368"/>
              <a:gd name="connsiteY7569" fmla="*/ 957358 h 6479439"/>
              <a:gd name="connsiteX7570" fmla="*/ 2646352 w 9586368"/>
              <a:gd name="connsiteY7570" fmla="*/ 961396 h 6479439"/>
              <a:gd name="connsiteX7571" fmla="*/ 2646352 w 9586368"/>
              <a:gd name="connsiteY7571" fmla="*/ 971266 h 6479439"/>
              <a:gd name="connsiteX7572" fmla="*/ 2642334 w 9586368"/>
              <a:gd name="connsiteY7572" fmla="*/ 975305 h 6479439"/>
              <a:gd name="connsiteX7573" fmla="*/ 2632423 w 9586368"/>
              <a:gd name="connsiteY7573" fmla="*/ 975305 h 6479439"/>
              <a:gd name="connsiteX7574" fmla="*/ 2628404 w 9586368"/>
              <a:gd name="connsiteY7574" fmla="*/ 971266 h 6479439"/>
              <a:gd name="connsiteX7575" fmla="*/ 2628404 w 9586368"/>
              <a:gd name="connsiteY7575" fmla="*/ 961396 h 6479439"/>
              <a:gd name="connsiteX7576" fmla="*/ 2393104 w 9586368"/>
              <a:gd name="connsiteY7576" fmla="*/ 957358 h 6479439"/>
              <a:gd name="connsiteX7577" fmla="*/ 2403015 w 9586368"/>
              <a:gd name="connsiteY7577" fmla="*/ 957358 h 6479439"/>
              <a:gd name="connsiteX7578" fmla="*/ 2407034 w 9586368"/>
              <a:gd name="connsiteY7578" fmla="*/ 961396 h 6479439"/>
              <a:gd name="connsiteX7579" fmla="*/ 2407034 w 9586368"/>
              <a:gd name="connsiteY7579" fmla="*/ 971266 h 6479439"/>
              <a:gd name="connsiteX7580" fmla="*/ 2403015 w 9586368"/>
              <a:gd name="connsiteY7580" fmla="*/ 975305 h 6479439"/>
              <a:gd name="connsiteX7581" fmla="*/ 2393104 w 9586368"/>
              <a:gd name="connsiteY7581" fmla="*/ 975305 h 6479439"/>
              <a:gd name="connsiteX7582" fmla="*/ 2389087 w 9586368"/>
              <a:gd name="connsiteY7582" fmla="*/ 971266 h 6479439"/>
              <a:gd name="connsiteX7583" fmla="*/ 2389087 w 9586368"/>
              <a:gd name="connsiteY7583" fmla="*/ 961396 h 6479439"/>
              <a:gd name="connsiteX7584" fmla="*/ 4546929 w 9586368"/>
              <a:gd name="connsiteY7584" fmla="*/ 957347 h 6479439"/>
              <a:gd name="connsiteX7585" fmla="*/ 4556840 w 9586368"/>
              <a:gd name="connsiteY7585" fmla="*/ 957347 h 6479439"/>
              <a:gd name="connsiteX7586" fmla="*/ 4560859 w 9586368"/>
              <a:gd name="connsiteY7586" fmla="*/ 961385 h 6479439"/>
              <a:gd name="connsiteX7587" fmla="*/ 4560859 w 9586368"/>
              <a:gd name="connsiteY7587" fmla="*/ 971255 h 6479439"/>
              <a:gd name="connsiteX7588" fmla="*/ 4556840 w 9586368"/>
              <a:gd name="connsiteY7588" fmla="*/ 975293 h 6479439"/>
              <a:gd name="connsiteX7589" fmla="*/ 4546929 w 9586368"/>
              <a:gd name="connsiteY7589" fmla="*/ 975293 h 6479439"/>
              <a:gd name="connsiteX7590" fmla="*/ 4542910 w 9586368"/>
              <a:gd name="connsiteY7590" fmla="*/ 971255 h 6479439"/>
              <a:gd name="connsiteX7591" fmla="*/ 4542910 w 9586368"/>
              <a:gd name="connsiteY7591" fmla="*/ 961385 h 6479439"/>
              <a:gd name="connsiteX7592" fmla="*/ 4307612 w 9586368"/>
              <a:gd name="connsiteY7592" fmla="*/ 957347 h 6479439"/>
              <a:gd name="connsiteX7593" fmla="*/ 4317523 w 9586368"/>
              <a:gd name="connsiteY7593" fmla="*/ 957347 h 6479439"/>
              <a:gd name="connsiteX7594" fmla="*/ 4321543 w 9586368"/>
              <a:gd name="connsiteY7594" fmla="*/ 961385 h 6479439"/>
              <a:gd name="connsiteX7595" fmla="*/ 4321543 w 9586368"/>
              <a:gd name="connsiteY7595" fmla="*/ 971255 h 6479439"/>
              <a:gd name="connsiteX7596" fmla="*/ 4317523 w 9586368"/>
              <a:gd name="connsiteY7596" fmla="*/ 975293 h 6479439"/>
              <a:gd name="connsiteX7597" fmla="*/ 4307612 w 9586368"/>
              <a:gd name="connsiteY7597" fmla="*/ 975293 h 6479439"/>
              <a:gd name="connsiteX7598" fmla="*/ 4303595 w 9586368"/>
              <a:gd name="connsiteY7598" fmla="*/ 971255 h 6479439"/>
              <a:gd name="connsiteX7599" fmla="*/ 4303595 w 9586368"/>
              <a:gd name="connsiteY7599" fmla="*/ 961385 h 6479439"/>
              <a:gd name="connsiteX7600" fmla="*/ 4068297 w 9586368"/>
              <a:gd name="connsiteY7600" fmla="*/ 957347 h 6479439"/>
              <a:gd name="connsiteX7601" fmla="*/ 4078210 w 9586368"/>
              <a:gd name="connsiteY7601" fmla="*/ 957347 h 6479439"/>
              <a:gd name="connsiteX7602" fmla="*/ 4082229 w 9586368"/>
              <a:gd name="connsiteY7602" fmla="*/ 961385 h 6479439"/>
              <a:gd name="connsiteX7603" fmla="*/ 4082229 w 9586368"/>
              <a:gd name="connsiteY7603" fmla="*/ 971255 h 6479439"/>
              <a:gd name="connsiteX7604" fmla="*/ 4078210 w 9586368"/>
              <a:gd name="connsiteY7604" fmla="*/ 975293 h 6479439"/>
              <a:gd name="connsiteX7605" fmla="*/ 4068297 w 9586368"/>
              <a:gd name="connsiteY7605" fmla="*/ 975293 h 6479439"/>
              <a:gd name="connsiteX7606" fmla="*/ 4064278 w 9586368"/>
              <a:gd name="connsiteY7606" fmla="*/ 971255 h 6479439"/>
              <a:gd name="connsiteX7607" fmla="*/ 4064278 w 9586368"/>
              <a:gd name="connsiteY7607" fmla="*/ 961385 h 6479439"/>
              <a:gd name="connsiteX7608" fmla="*/ 3828990 w 9586368"/>
              <a:gd name="connsiteY7608" fmla="*/ 957347 h 6479439"/>
              <a:gd name="connsiteX7609" fmla="*/ 3838899 w 9586368"/>
              <a:gd name="connsiteY7609" fmla="*/ 957347 h 6479439"/>
              <a:gd name="connsiteX7610" fmla="*/ 3842917 w 9586368"/>
              <a:gd name="connsiteY7610" fmla="*/ 961385 h 6479439"/>
              <a:gd name="connsiteX7611" fmla="*/ 3842917 w 9586368"/>
              <a:gd name="connsiteY7611" fmla="*/ 971255 h 6479439"/>
              <a:gd name="connsiteX7612" fmla="*/ 3838899 w 9586368"/>
              <a:gd name="connsiteY7612" fmla="*/ 975293 h 6479439"/>
              <a:gd name="connsiteX7613" fmla="*/ 3828990 w 9586368"/>
              <a:gd name="connsiteY7613" fmla="*/ 975293 h 6479439"/>
              <a:gd name="connsiteX7614" fmla="*/ 3824971 w 9586368"/>
              <a:gd name="connsiteY7614" fmla="*/ 971255 h 6479439"/>
              <a:gd name="connsiteX7615" fmla="*/ 3824971 w 9586368"/>
              <a:gd name="connsiteY7615" fmla="*/ 961385 h 6479439"/>
              <a:gd name="connsiteX7616" fmla="*/ 3589676 w 9586368"/>
              <a:gd name="connsiteY7616" fmla="*/ 957347 h 6479439"/>
              <a:gd name="connsiteX7617" fmla="*/ 3599585 w 9586368"/>
              <a:gd name="connsiteY7617" fmla="*/ 957347 h 6479439"/>
              <a:gd name="connsiteX7618" fmla="*/ 3603604 w 9586368"/>
              <a:gd name="connsiteY7618" fmla="*/ 961385 h 6479439"/>
              <a:gd name="connsiteX7619" fmla="*/ 3603604 w 9586368"/>
              <a:gd name="connsiteY7619" fmla="*/ 971255 h 6479439"/>
              <a:gd name="connsiteX7620" fmla="*/ 3599585 w 9586368"/>
              <a:gd name="connsiteY7620" fmla="*/ 975293 h 6479439"/>
              <a:gd name="connsiteX7621" fmla="*/ 3589676 w 9586368"/>
              <a:gd name="connsiteY7621" fmla="*/ 975293 h 6479439"/>
              <a:gd name="connsiteX7622" fmla="*/ 3585657 w 9586368"/>
              <a:gd name="connsiteY7622" fmla="*/ 971255 h 6479439"/>
              <a:gd name="connsiteX7623" fmla="*/ 3585657 w 9586368"/>
              <a:gd name="connsiteY7623" fmla="*/ 961385 h 6479439"/>
              <a:gd name="connsiteX7624" fmla="*/ 5743412 w 9586368"/>
              <a:gd name="connsiteY7624" fmla="*/ 957335 h 6479439"/>
              <a:gd name="connsiteX7625" fmla="*/ 5753323 w 9586368"/>
              <a:gd name="connsiteY7625" fmla="*/ 957335 h 6479439"/>
              <a:gd name="connsiteX7626" fmla="*/ 5757342 w 9586368"/>
              <a:gd name="connsiteY7626" fmla="*/ 961373 h 6479439"/>
              <a:gd name="connsiteX7627" fmla="*/ 5757342 w 9586368"/>
              <a:gd name="connsiteY7627" fmla="*/ 971244 h 6479439"/>
              <a:gd name="connsiteX7628" fmla="*/ 5753323 w 9586368"/>
              <a:gd name="connsiteY7628" fmla="*/ 975282 h 6479439"/>
              <a:gd name="connsiteX7629" fmla="*/ 5743412 w 9586368"/>
              <a:gd name="connsiteY7629" fmla="*/ 975282 h 6479439"/>
              <a:gd name="connsiteX7630" fmla="*/ 5739393 w 9586368"/>
              <a:gd name="connsiteY7630" fmla="*/ 971244 h 6479439"/>
              <a:gd name="connsiteX7631" fmla="*/ 5739393 w 9586368"/>
              <a:gd name="connsiteY7631" fmla="*/ 961373 h 6479439"/>
              <a:gd name="connsiteX7632" fmla="*/ 5504099 w 9586368"/>
              <a:gd name="connsiteY7632" fmla="*/ 957335 h 6479439"/>
              <a:gd name="connsiteX7633" fmla="*/ 5514010 w 9586368"/>
              <a:gd name="connsiteY7633" fmla="*/ 957335 h 6479439"/>
              <a:gd name="connsiteX7634" fmla="*/ 5518029 w 9586368"/>
              <a:gd name="connsiteY7634" fmla="*/ 961373 h 6479439"/>
              <a:gd name="connsiteX7635" fmla="*/ 5518029 w 9586368"/>
              <a:gd name="connsiteY7635" fmla="*/ 971244 h 6479439"/>
              <a:gd name="connsiteX7636" fmla="*/ 5514010 w 9586368"/>
              <a:gd name="connsiteY7636" fmla="*/ 975282 h 6479439"/>
              <a:gd name="connsiteX7637" fmla="*/ 5504099 w 9586368"/>
              <a:gd name="connsiteY7637" fmla="*/ 975282 h 6479439"/>
              <a:gd name="connsiteX7638" fmla="*/ 5500080 w 9586368"/>
              <a:gd name="connsiteY7638" fmla="*/ 971244 h 6479439"/>
              <a:gd name="connsiteX7639" fmla="*/ 5500080 w 9586368"/>
              <a:gd name="connsiteY7639" fmla="*/ 961373 h 6479439"/>
              <a:gd name="connsiteX7640" fmla="*/ 5264784 w 9586368"/>
              <a:gd name="connsiteY7640" fmla="*/ 957335 h 6479439"/>
              <a:gd name="connsiteX7641" fmla="*/ 5274694 w 9586368"/>
              <a:gd name="connsiteY7641" fmla="*/ 957335 h 6479439"/>
              <a:gd name="connsiteX7642" fmla="*/ 5278713 w 9586368"/>
              <a:gd name="connsiteY7642" fmla="*/ 961373 h 6479439"/>
              <a:gd name="connsiteX7643" fmla="*/ 5278713 w 9586368"/>
              <a:gd name="connsiteY7643" fmla="*/ 971244 h 6479439"/>
              <a:gd name="connsiteX7644" fmla="*/ 5274694 w 9586368"/>
              <a:gd name="connsiteY7644" fmla="*/ 975282 h 6479439"/>
              <a:gd name="connsiteX7645" fmla="*/ 5264784 w 9586368"/>
              <a:gd name="connsiteY7645" fmla="*/ 975282 h 6479439"/>
              <a:gd name="connsiteX7646" fmla="*/ 5260765 w 9586368"/>
              <a:gd name="connsiteY7646" fmla="*/ 971244 h 6479439"/>
              <a:gd name="connsiteX7647" fmla="*/ 5260765 w 9586368"/>
              <a:gd name="connsiteY7647" fmla="*/ 961373 h 6479439"/>
              <a:gd name="connsiteX7648" fmla="*/ 5025470 w 9586368"/>
              <a:gd name="connsiteY7648" fmla="*/ 957335 h 6479439"/>
              <a:gd name="connsiteX7649" fmla="*/ 5035381 w 9586368"/>
              <a:gd name="connsiteY7649" fmla="*/ 957335 h 6479439"/>
              <a:gd name="connsiteX7650" fmla="*/ 5039400 w 9586368"/>
              <a:gd name="connsiteY7650" fmla="*/ 961373 h 6479439"/>
              <a:gd name="connsiteX7651" fmla="*/ 5039400 w 9586368"/>
              <a:gd name="connsiteY7651" fmla="*/ 971244 h 6479439"/>
              <a:gd name="connsiteX7652" fmla="*/ 5035381 w 9586368"/>
              <a:gd name="connsiteY7652" fmla="*/ 975283 h 6479439"/>
              <a:gd name="connsiteX7653" fmla="*/ 5025470 w 9586368"/>
              <a:gd name="connsiteY7653" fmla="*/ 975283 h 6479439"/>
              <a:gd name="connsiteX7654" fmla="*/ 5021451 w 9586368"/>
              <a:gd name="connsiteY7654" fmla="*/ 971244 h 6479439"/>
              <a:gd name="connsiteX7655" fmla="*/ 5021451 w 9586368"/>
              <a:gd name="connsiteY7655" fmla="*/ 961373 h 6479439"/>
              <a:gd name="connsiteX7656" fmla="*/ 4786241 w 9586368"/>
              <a:gd name="connsiteY7656" fmla="*/ 957335 h 6479439"/>
              <a:gd name="connsiteX7657" fmla="*/ 4796152 w 9586368"/>
              <a:gd name="connsiteY7657" fmla="*/ 957335 h 6479439"/>
              <a:gd name="connsiteX7658" fmla="*/ 4800171 w 9586368"/>
              <a:gd name="connsiteY7658" fmla="*/ 961374 h 6479439"/>
              <a:gd name="connsiteX7659" fmla="*/ 4800171 w 9586368"/>
              <a:gd name="connsiteY7659" fmla="*/ 971244 h 6479439"/>
              <a:gd name="connsiteX7660" fmla="*/ 4796152 w 9586368"/>
              <a:gd name="connsiteY7660" fmla="*/ 975283 h 6479439"/>
              <a:gd name="connsiteX7661" fmla="*/ 4786241 w 9586368"/>
              <a:gd name="connsiteY7661" fmla="*/ 975283 h 6479439"/>
              <a:gd name="connsiteX7662" fmla="*/ 4782224 w 9586368"/>
              <a:gd name="connsiteY7662" fmla="*/ 971244 h 6479439"/>
              <a:gd name="connsiteX7663" fmla="*/ 4782224 w 9586368"/>
              <a:gd name="connsiteY7663" fmla="*/ 961374 h 6479439"/>
              <a:gd name="connsiteX7664" fmla="*/ 6939983 w 9586368"/>
              <a:gd name="connsiteY7664" fmla="*/ 957324 h 6479439"/>
              <a:gd name="connsiteX7665" fmla="*/ 6949894 w 9586368"/>
              <a:gd name="connsiteY7665" fmla="*/ 957324 h 6479439"/>
              <a:gd name="connsiteX7666" fmla="*/ 6953913 w 9586368"/>
              <a:gd name="connsiteY7666" fmla="*/ 961363 h 6479439"/>
              <a:gd name="connsiteX7667" fmla="*/ 6953913 w 9586368"/>
              <a:gd name="connsiteY7667" fmla="*/ 971232 h 6479439"/>
              <a:gd name="connsiteX7668" fmla="*/ 6949894 w 9586368"/>
              <a:gd name="connsiteY7668" fmla="*/ 975271 h 6479439"/>
              <a:gd name="connsiteX7669" fmla="*/ 6939983 w 9586368"/>
              <a:gd name="connsiteY7669" fmla="*/ 975271 h 6479439"/>
              <a:gd name="connsiteX7670" fmla="*/ 6935964 w 9586368"/>
              <a:gd name="connsiteY7670" fmla="*/ 971232 h 6479439"/>
              <a:gd name="connsiteX7671" fmla="*/ 6935964 w 9586368"/>
              <a:gd name="connsiteY7671" fmla="*/ 961363 h 6479439"/>
              <a:gd name="connsiteX7672" fmla="*/ 6700670 w 9586368"/>
              <a:gd name="connsiteY7672" fmla="*/ 957324 h 6479439"/>
              <a:gd name="connsiteX7673" fmla="*/ 6710581 w 9586368"/>
              <a:gd name="connsiteY7673" fmla="*/ 957324 h 6479439"/>
              <a:gd name="connsiteX7674" fmla="*/ 6714600 w 9586368"/>
              <a:gd name="connsiteY7674" fmla="*/ 961363 h 6479439"/>
              <a:gd name="connsiteX7675" fmla="*/ 6714600 w 9586368"/>
              <a:gd name="connsiteY7675" fmla="*/ 971232 h 6479439"/>
              <a:gd name="connsiteX7676" fmla="*/ 6710581 w 9586368"/>
              <a:gd name="connsiteY7676" fmla="*/ 975271 h 6479439"/>
              <a:gd name="connsiteX7677" fmla="*/ 6700670 w 9586368"/>
              <a:gd name="connsiteY7677" fmla="*/ 975271 h 6479439"/>
              <a:gd name="connsiteX7678" fmla="*/ 6696651 w 9586368"/>
              <a:gd name="connsiteY7678" fmla="*/ 971232 h 6479439"/>
              <a:gd name="connsiteX7679" fmla="*/ 6696651 w 9586368"/>
              <a:gd name="connsiteY7679" fmla="*/ 961363 h 6479439"/>
              <a:gd name="connsiteX7680" fmla="*/ 6461356 w 9586368"/>
              <a:gd name="connsiteY7680" fmla="*/ 957324 h 6479439"/>
              <a:gd name="connsiteX7681" fmla="*/ 6471266 w 9586368"/>
              <a:gd name="connsiteY7681" fmla="*/ 957324 h 6479439"/>
              <a:gd name="connsiteX7682" fmla="*/ 6475285 w 9586368"/>
              <a:gd name="connsiteY7682" fmla="*/ 961363 h 6479439"/>
              <a:gd name="connsiteX7683" fmla="*/ 6475285 w 9586368"/>
              <a:gd name="connsiteY7683" fmla="*/ 971232 h 6479439"/>
              <a:gd name="connsiteX7684" fmla="*/ 6471266 w 9586368"/>
              <a:gd name="connsiteY7684" fmla="*/ 975271 h 6479439"/>
              <a:gd name="connsiteX7685" fmla="*/ 6461356 w 9586368"/>
              <a:gd name="connsiteY7685" fmla="*/ 975271 h 6479439"/>
              <a:gd name="connsiteX7686" fmla="*/ 6457337 w 9586368"/>
              <a:gd name="connsiteY7686" fmla="*/ 971232 h 6479439"/>
              <a:gd name="connsiteX7687" fmla="*/ 6457337 w 9586368"/>
              <a:gd name="connsiteY7687" fmla="*/ 961363 h 6479439"/>
              <a:gd name="connsiteX7688" fmla="*/ 6222042 w 9586368"/>
              <a:gd name="connsiteY7688" fmla="*/ 957324 h 6479439"/>
              <a:gd name="connsiteX7689" fmla="*/ 6231952 w 9586368"/>
              <a:gd name="connsiteY7689" fmla="*/ 957324 h 6479439"/>
              <a:gd name="connsiteX7690" fmla="*/ 6235971 w 9586368"/>
              <a:gd name="connsiteY7690" fmla="*/ 961363 h 6479439"/>
              <a:gd name="connsiteX7691" fmla="*/ 6235971 w 9586368"/>
              <a:gd name="connsiteY7691" fmla="*/ 971232 h 6479439"/>
              <a:gd name="connsiteX7692" fmla="*/ 6231952 w 9586368"/>
              <a:gd name="connsiteY7692" fmla="*/ 975271 h 6479439"/>
              <a:gd name="connsiteX7693" fmla="*/ 6222042 w 9586368"/>
              <a:gd name="connsiteY7693" fmla="*/ 975271 h 6479439"/>
              <a:gd name="connsiteX7694" fmla="*/ 6218023 w 9586368"/>
              <a:gd name="connsiteY7694" fmla="*/ 971232 h 6479439"/>
              <a:gd name="connsiteX7695" fmla="*/ 6218023 w 9586368"/>
              <a:gd name="connsiteY7695" fmla="*/ 961363 h 6479439"/>
              <a:gd name="connsiteX7696" fmla="*/ 5982729 w 9586368"/>
              <a:gd name="connsiteY7696" fmla="*/ 957324 h 6479439"/>
              <a:gd name="connsiteX7697" fmla="*/ 5992639 w 9586368"/>
              <a:gd name="connsiteY7697" fmla="*/ 957324 h 6479439"/>
              <a:gd name="connsiteX7698" fmla="*/ 5996658 w 9586368"/>
              <a:gd name="connsiteY7698" fmla="*/ 961363 h 6479439"/>
              <a:gd name="connsiteX7699" fmla="*/ 5996658 w 9586368"/>
              <a:gd name="connsiteY7699" fmla="*/ 971232 h 6479439"/>
              <a:gd name="connsiteX7700" fmla="*/ 5992639 w 9586368"/>
              <a:gd name="connsiteY7700" fmla="*/ 975271 h 6479439"/>
              <a:gd name="connsiteX7701" fmla="*/ 5982729 w 9586368"/>
              <a:gd name="connsiteY7701" fmla="*/ 975271 h 6479439"/>
              <a:gd name="connsiteX7702" fmla="*/ 5978710 w 9586368"/>
              <a:gd name="connsiteY7702" fmla="*/ 971232 h 6479439"/>
              <a:gd name="connsiteX7703" fmla="*/ 5978710 w 9586368"/>
              <a:gd name="connsiteY7703" fmla="*/ 961363 h 6479439"/>
              <a:gd name="connsiteX7704" fmla="*/ 8136553 w 9586368"/>
              <a:gd name="connsiteY7704" fmla="*/ 957313 h 6479439"/>
              <a:gd name="connsiteX7705" fmla="*/ 8146464 w 9586368"/>
              <a:gd name="connsiteY7705" fmla="*/ 957313 h 6479439"/>
              <a:gd name="connsiteX7706" fmla="*/ 8150483 w 9586368"/>
              <a:gd name="connsiteY7706" fmla="*/ 961351 h 6479439"/>
              <a:gd name="connsiteX7707" fmla="*/ 8150483 w 9586368"/>
              <a:gd name="connsiteY7707" fmla="*/ 971222 h 6479439"/>
              <a:gd name="connsiteX7708" fmla="*/ 8146464 w 9586368"/>
              <a:gd name="connsiteY7708" fmla="*/ 975260 h 6479439"/>
              <a:gd name="connsiteX7709" fmla="*/ 8136553 w 9586368"/>
              <a:gd name="connsiteY7709" fmla="*/ 975260 h 6479439"/>
              <a:gd name="connsiteX7710" fmla="*/ 8132534 w 9586368"/>
              <a:gd name="connsiteY7710" fmla="*/ 971222 h 6479439"/>
              <a:gd name="connsiteX7711" fmla="*/ 8132534 w 9586368"/>
              <a:gd name="connsiteY7711" fmla="*/ 961351 h 6479439"/>
              <a:gd name="connsiteX7712" fmla="*/ 7897241 w 9586368"/>
              <a:gd name="connsiteY7712" fmla="*/ 957313 h 6479439"/>
              <a:gd name="connsiteX7713" fmla="*/ 7907151 w 9586368"/>
              <a:gd name="connsiteY7713" fmla="*/ 957313 h 6479439"/>
              <a:gd name="connsiteX7714" fmla="*/ 7911170 w 9586368"/>
              <a:gd name="connsiteY7714" fmla="*/ 961351 h 6479439"/>
              <a:gd name="connsiteX7715" fmla="*/ 7911170 w 9586368"/>
              <a:gd name="connsiteY7715" fmla="*/ 971222 h 6479439"/>
              <a:gd name="connsiteX7716" fmla="*/ 7907151 w 9586368"/>
              <a:gd name="connsiteY7716" fmla="*/ 975260 h 6479439"/>
              <a:gd name="connsiteX7717" fmla="*/ 7897241 w 9586368"/>
              <a:gd name="connsiteY7717" fmla="*/ 975260 h 6479439"/>
              <a:gd name="connsiteX7718" fmla="*/ 7893222 w 9586368"/>
              <a:gd name="connsiteY7718" fmla="*/ 971222 h 6479439"/>
              <a:gd name="connsiteX7719" fmla="*/ 7893222 w 9586368"/>
              <a:gd name="connsiteY7719" fmla="*/ 961351 h 6479439"/>
              <a:gd name="connsiteX7720" fmla="*/ 7657926 w 9586368"/>
              <a:gd name="connsiteY7720" fmla="*/ 957313 h 6479439"/>
              <a:gd name="connsiteX7721" fmla="*/ 7667836 w 9586368"/>
              <a:gd name="connsiteY7721" fmla="*/ 957313 h 6479439"/>
              <a:gd name="connsiteX7722" fmla="*/ 7671855 w 9586368"/>
              <a:gd name="connsiteY7722" fmla="*/ 961351 h 6479439"/>
              <a:gd name="connsiteX7723" fmla="*/ 7671855 w 9586368"/>
              <a:gd name="connsiteY7723" fmla="*/ 971222 h 6479439"/>
              <a:gd name="connsiteX7724" fmla="*/ 7667836 w 9586368"/>
              <a:gd name="connsiteY7724" fmla="*/ 975260 h 6479439"/>
              <a:gd name="connsiteX7725" fmla="*/ 7657926 w 9586368"/>
              <a:gd name="connsiteY7725" fmla="*/ 975260 h 6479439"/>
              <a:gd name="connsiteX7726" fmla="*/ 7653906 w 9586368"/>
              <a:gd name="connsiteY7726" fmla="*/ 971222 h 6479439"/>
              <a:gd name="connsiteX7727" fmla="*/ 7653906 w 9586368"/>
              <a:gd name="connsiteY7727" fmla="*/ 961351 h 6479439"/>
              <a:gd name="connsiteX7728" fmla="*/ 7418611 w 9586368"/>
              <a:gd name="connsiteY7728" fmla="*/ 957313 h 6479439"/>
              <a:gd name="connsiteX7729" fmla="*/ 7428521 w 9586368"/>
              <a:gd name="connsiteY7729" fmla="*/ 957313 h 6479439"/>
              <a:gd name="connsiteX7730" fmla="*/ 7432540 w 9586368"/>
              <a:gd name="connsiteY7730" fmla="*/ 961351 h 6479439"/>
              <a:gd name="connsiteX7731" fmla="*/ 7432540 w 9586368"/>
              <a:gd name="connsiteY7731" fmla="*/ 971222 h 6479439"/>
              <a:gd name="connsiteX7732" fmla="*/ 7428521 w 9586368"/>
              <a:gd name="connsiteY7732" fmla="*/ 975260 h 6479439"/>
              <a:gd name="connsiteX7733" fmla="*/ 7418611 w 9586368"/>
              <a:gd name="connsiteY7733" fmla="*/ 975260 h 6479439"/>
              <a:gd name="connsiteX7734" fmla="*/ 7414592 w 9586368"/>
              <a:gd name="connsiteY7734" fmla="*/ 971222 h 6479439"/>
              <a:gd name="connsiteX7735" fmla="*/ 7414592 w 9586368"/>
              <a:gd name="connsiteY7735" fmla="*/ 961351 h 6479439"/>
              <a:gd name="connsiteX7736" fmla="*/ 7179298 w 9586368"/>
              <a:gd name="connsiteY7736" fmla="*/ 957313 h 6479439"/>
              <a:gd name="connsiteX7737" fmla="*/ 7189209 w 9586368"/>
              <a:gd name="connsiteY7737" fmla="*/ 957313 h 6479439"/>
              <a:gd name="connsiteX7738" fmla="*/ 7193228 w 9586368"/>
              <a:gd name="connsiteY7738" fmla="*/ 961351 h 6479439"/>
              <a:gd name="connsiteX7739" fmla="*/ 7193228 w 9586368"/>
              <a:gd name="connsiteY7739" fmla="*/ 971222 h 6479439"/>
              <a:gd name="connsiteX7740" fmla="*/ 7189209 w 9586368"/>
              <a:gd name="connsiteY7740" fmla="*/ 975260 h 6479439"/>
              <a:gd name="connsiteX7741" fmla="*/ 7179298 w 9586368"/>
              <a:gd name="connsiteY7741" fmla="*/ 975260 h 6479439"/>
              <a:gd name="connsiteX7742" fmla="*/ 7175279 w 9586368"/>
              <a:gd name="connsiteY7742" fmla="*/ 971222 h 6479439"/>
              <a:gd name="connsiteX7743" fmla="*/ 7175279 w 9586368"/>
              <a:gd name="connsiteY7743" fmla="*/ 961351 h 6479439"/>
              <a:gd name="connsiteX7744" fmla="*/ 1679217 w 9586368"/>
              <a:gd name="connsiteY7744" fmla="*/ 957309 h 6479439"/>
              <a:gd name="connsiteX7745" fmla="*/ 1689128 w 9586368"/>
              <a:gd name="connsiteY7745" fmla="*/ 957309 h 6479439"/>
              <a:gd name="connsiteX7746" fmla="*/ 1693147 w 9586368"/>
              <a:gd name="connsiteY7746" fmla="*/ 961347 h 6479439"/>
              <a:gd name="connsiteX7747" fmla="*/ 1693147 w 9586368"/>
              <a:gd name="connsiteY7747" fmla="*/ 971217 h 6479439"/>
              <a:gd name="connsiteX7748" fmla="*/ 1689128 w 9586368"/>
              <a:gd name="connsiteY7748" fmla="*/ 975256 h 6479439"/>
              <a:gd name="connsiteX7749" fmla="*/ 1679217 w 9586368"/>
              <a:gd name="connsiteY7749" fmla="*/ 975256 h 6479439"/>
              <a:gd name="connsiteX7750" fmla="*/ 1675199 w 9586368"/>
              <a:gd name="connsiteY7750" fmla="*/ 971217 h 6479439"/>
              <a:gd name="connsiteX7751" fmla="*/ 1675199 w 9586368"/>
              <a:gd name="connsiteY7751" fmla="*/ 961347 h 6479439"/>
              <a:gd name="connsiteX7752" fmla="*/ 1439901 w 9586368"/>
              <a:gd name="connsiteY7752" fmla="*/ 957309 h 6479439"/>
              <a:gd name="connsiteX7753" fmla="*/ 1449811 w 9586368"/>
              <a:gd name="connsiteY7753" fmla="*/ 957309 h 6479439"/>
              <a:gd name="connsiteX7754" fmla="*/ 1453829 w 9586368"/>
              <a:gd name="connsiteY7754" fmla="*/ 961347 h 6479439"/>
              <a:gd name="connsiteX7755" fmla="*/ 1453829 w 9586368"/>
              <a:gd name="connsiteY7755" fmla="*/ 971217 h 6479439"/>
              <a:gd name="connsiteX7756" fmla="*/ 1449811 w 9586368"/>
              <a:gd name="connsiteY7756" fmla="*/ 975256 h 6479439"/>
              <a:gd name="connsiteX7757" fmla="*/ 1439901 w 9586368"/>
              <a:gd name="connsiteY7757" fmla="*/ 975256 h 6479439"/>
              <a:gd name="connsiteX7758" fmla="*/ 1435881 w 9586368"/>
              <a:gd name="connsiteY7758" fmla="*/ 971217 h 6479439"/>
              <a:gd name="connsiteX7759" fmla="*/ 1435881 w 9586368"/>
              <a:gd name="connsiteY7759" fmla="*/ 961347 h 6479439"/>
              <a:gd name="connsiteX7760" fmla="*/ 1200584 w 9586368"/>
              <a:gd name="connsiteY7760" fmla="*/ 957309 h 6479439"/>
              <a:gd name="connsiteX7761" fmla="*/ 1210495 w 9586368"/>
              <a:gd name="connsiteY7761" fmla="*/ 957309 h 6479439"/>
              <a:gd name="connsiteX7762" fmla="*/ 1214513 w 9586368"/>
              <a:gd name="connsiteY7762" fmla="*/ 961347 h 6479439"/>
              <a:gd name="connsiteX7763" fmla="*/ 1214513 w 9586368"/>
              <a:gd name="connsiteY7763" fmla="*/ 971217 h 6479439"/>
              <a:gd name="connsiteX7764" fmla="*/ 1210495 w 9586368"/>
              <a:gd name="connsiteY7764" fmla="*/ 975256 h 6479439"/>
              <a:gd name="connsiteX7765" fmla="*/ 1200584 w 9586368"/>
              <a:gd name="connsiteY7765" fmla="*/ 975256 h 6479439"/>
              <a:gd name="connsiteX7766" fmla="*/ 1196566 w 9586368"/>
              <a:gd name="connsiteY7766" fmla="*/ 971217 h 6479439"/>
              <a:gd name="connsiteX7767" fmla="*/ 1196566 w 9586368"/>
              <a:gd name="connsiteY7767" fmla="*/ 961347 h 6479439"/>
              <a:gd name="connsiteX7768" fmla="*/ 961271 w 9586368"/>
              <a:gd name="connsiteY7768" fmla="*/ 957309 h 6479439"/>
              <a:gd name="connsiteX7769" fmla="*/ 971182 w 9586368"/>
              <a:gd name="connsiteY7769" fmla="*/ 957309 h 6479439"/>
              <a:gd name="connsiteX7770" fmla="*/ 975201 w 9586368"/>
              <a:gd name="connsiteY7770" fmla="*/ 961347 h 6479439"/>
              <a:gd name="connsiteX7771" fmla="*/ 975201 w 9586368"/>
              <a:gd name="connsiteY7771" fmla="*/ 971218 h 6479439"/>
              <a:gd name="connsiteX7772" fmla="*/ 971182 w 9586368"/>
              <a:gd name="connsiteY7772" fmla="*/ 975256 h 6479439"/>
              <a:gd name="connsiteX7773" fmla="*/ 961271 w 9586368"/>
              <a:gd name="connsiteY7773" fmla="*/ 975256 h 6479439"/>
              <a:gd name="connsiteX7774" fmla="*/ 957253 w 9586368"/>
              <a:gd name="connsiteY7774" fmla="*/ 971218 h 6479439"/>
              <a:gd name="connsiteX7775" fmla="*/ 957253 w 9586368"/>
              <a:gd name="connsiteY7775" fmla="*/ 961347 h 6479439"/>
              <a:gd name="connsiteX7776" fmla="*/ 9333125 w 9586368"/>
              <a:gd name="connsiteY7776" fmla="*/ 957302 h 6479439"/>
              <a:gd name="connsiteX7777" fmla="*/ 9343036 w 9586368"/>
              <a:gd name="connsiteY7777" fmla="*/ 957302 h 6479439"/>
              <a:gd name="connsiteX7778" fmla="*/ 9347055 w 9586368"/>
              <a:gd name="connsiteY7778" fmla="*/ 961340 h 6479439"/>
              <a:gd name="connsiteX7779" fmla="*/ 9347055 w 9586368"/>
              <a:gd name="connsiteY7779" fmla="*/ 971210 h 6479439"/>
              <a:gd name="connsiteX7780" fmla="*/ 9343036 w 9586368"/>
              <a:gd name="connsiteY7780" fmla="*/ 975249 h 6479439"/>
              <a:gd name="connsiteX7781" fmla="*/ 9333125 w 9586368"/>
              <a:gd name="connsiteY7781" fmla="*/ 975249 h 6479439"/>
              <a:gd name="connsiteX7782" fmla="*/ 9329106 w 9586368"/>
              <a:gd name="connsiteY7782" fmla="*/ 971210 h 6479439"/>
              <a:gd name="connsiteX7783" fmla="*/ 9329106 w 9586368"/>
              <a:gd name="connsiteY7783" fmla="*/ 961340 h 6479439"/>
              <a:gd name="connsiteX7784" fmla="*/ 9093811 w 9586368"/>
              <a:gd name="connsiteY7784" fmla="*/ 957302 h 6479439"/>
              <a:gd name="connsiteX7785" fmla="*/ 9103722 w 9586368"/>
              <a:gd name="connsiteY7785" fmla="*/ 957302 h 6479439"/>
              <a:gd name="connsiteX7786" fmla="*/ 9107741 w 9586368"/>
              <a:gd name="connsiteY7786" fmla="*/ 961340 h 6479439"/>
              <a:gd name="connsiteX7787" fmla="*/ 9107741 w 9586368"/>
              <a:gd name="connsiteY7787" fmla="*/ 971210 h 6479439"/>
              <a:gd name="connsiteX7788" fmla="*/ 9103722 w 9586368"/>
              <a:gd name="connsiteY7788" fmla="*/ 975249 h 6479439"/>
              <a:gd name="connsiteX7789" fmla="*/ 9093811 w 9586368"/>
              <a:gd name="connsiteY7789" fmla="*/ 975249 h 6479439"/>
              <a:gd name="connsiteX7790" fmla="*/ 9089792 w 9586368"/>
              <a:gd name="connsiteY7790" fmla="*/ 971210 h 6479439"/>
              <a:gd name="connsiteX7791" fmla="*/ 9089792 w 9586368"/>
              <a:gd name="connsiteY7791" fmla="*/ 961340 h 6479439"/>
              <a:gd name="connsiteX7792" fmla="*/ 8854496 w 9586368"/>
              <a:gd name="connsiteY7792" fmla="*/ 957302 h 6479439"/>
              <a:gd name="connsiteX7793" fmla="*/ 8864407 w 9586368"/>
              <a:gd name="connsiteY7793" fmla="*/ 957302 h 6479439"/>
              <a:gd name="connsiteX7794" fmla="*/ 8868426 w 9586368"/>
              <a:gd name="connsiteY7794" fmla="*/ 961340 h 6479439"/>
              <a:gd name="connsiteX7795" fmla="*/ 8868426 w 9586368"/>
              <a:gd name="connsiteY7795" fmla="*/ 971210 h 6479439"/>
              <a:gd name="connsiteX7796" fmla="*/ 8864407 w 9586368"/>
              <a:gd name="connsiteY7796" fmla="*/ 975249 h 6479439"/>
              <a:gd name="connsiteX7797" fmla="*/ 8854496 w 9586368"/>
              <a:gd name="connsiteY7797" fmla="*/ 975249 h 6479439"/>
              <a:gd name="connsiteX7798" fmla="*/ 8850477 w 9586368"/>
              <a:gd name="connsiteY7798" fmla="*/ 971210 h 6479439"/>
              <a:gd name="connsiteX7799" fmla="*/ 8850477 w 9586368"/>
              <a:gd name="connsiteY7799" fmla="*/ 961340 h 6479439"/>
              <a:gd name="connsiteX7800" fmla="*/ 8615184 w 9586368"/>
              <a:gd name="connsiteY7800" fmla="*/ 957302 h 6479439"/>
              <a:gd name="connsiteX7801" fmla="*/ 8625095 w 9586368"/>
              <a:gd name="connsiteY7801" fmla="*/ 957302 h 6479439"/>
              <a:gd name="connsiteX7802" fmla="*/ 8629114 w 9586368"/>
              <a:gd name="connsiteY7802" fmla="*/ 961340 h 6479439"/>
              <a:gd name="connsiteX7803" fmla="*/ 8629114 w 9586368"/>
              <a:gd name="connsiteY7803" fmla="*/ 971210 h 6479439"/>
              <a:gd name="connsiteX7804" fmla="*/ 8625095 w 9586368"/>
              <a:gd name="connsiteY7804" fmla="*/ 975249 h 6479439"/>
              <a:gd name="connsiteX7805" fmla="*/ 8615184 w 9586368"/>
              <a:gd name="connsiteY7805" fmla="*/ 975249 h 6479439"/>
              <a:gd name="connsiteX7806" fmla="*/ 8611165 w 9586368"/>
              <a:gd name="connsiteY7806" fmla="*/ 971210 h 6479439"/>
              <a:gd name="connsiteX7807" fmla="*/ 8611165 w 9586368"/>
              <a:gd name="connsiteY7807" fmla="*/ 961340 h 6479439"/>
              <a:gd name="connsiteX7808" fmla="*/ 8375869 w 9586368"/>
              <a:gd name="connsiteY7808" fmla="*/ 957302 h 6479439"/>
              <a:gd name="connsiteX7809" fmla="*/ 8385779 w 9586368"/>
              <a:gd name="connsiteY7809" fmla="*/ 957302 h 6479439"/>
              <a:gd name="connsiteX7810" fmla="*/ 8389799 w 9586368"/>
              <a:gd name="connsiteY7810" fmla="*/ 961340 h 6479439"/>
              <a:gd name="connsiteX7811" fmla="*/ 8389799 w 9586368"/>
              <a:gd name="connsiteY7811" fmla="*/ 971210 h 6479439"/>
              <a:gd name="connsiteX7812" fmla="*/ 8385779 w 9586368"/>
              <a:gd name="connsiteY7812" fmla="*/ 975249 h 6479439"/>
              <a:gd name="connsiteX7813" fmla="*/ 8375869 w 9586368"/>
              <a:gd name="connsiteY7813" fmla="*/ 975249 h 6479439"/>
              <a:gd name="connsiteX7814" fmla="*/ 8371850 w 9586368"/>
              <a:gd name="connsiteY7814" fmla="*/ 971210 h 6479439"/>
              <a:gd name="connsiteX7815" fmla="*/ 8371850 w 9586368"/>
              <a:gd name="connsiteY7815" fmla="*/ 961340 h 6479439"/>
              <a:gd name="connsiteX7816" fmla="*/ 1918514 w 9586368"/>
              <a:gd name="connsiteY7816" fmla="*/ 957301 h 6479439"/>
              <a:gd name="connsiteX7817" fmla="*/ 1928424 w 9586368"/>
              <a:gd name="connsiteY7817" fmla="*/ 957301 h 6479439"/>
              <a:gd name="connsiteX7818" fmla="*/ 1932444 w 9586368"/>
              <a:gd name="connsiteY7818" fmla="*/ 961339 h 6479439"/>
              <a:gd name="connsiteX7819" fmla="*/ 1932444 w 9586368"/>
              <a:gd name="connsiteY7819" fmla="*/ 971210 h 6479439"/>
              <a:gd name="connsiteX7820" fmla="*/ 1928424 w 9586368"/>
              <a:gd name="connsiteY7820" fmla="*/ 975249 h 6479439"/>
              <a:gd name="connsiteX7821" fmla="*/ 1918514 w 9586368"/>
              <a:gd name="connsiteY7821" fmla="*/ 975249 h 6479439"/>
              <a:gd name="connsiteX7822" fmla="*/ 1914495 w 9586368"/>
              <a:gd name="connsiteY7822" fmla="*/ 971210 h 6479439"/>
              <a:gd name="connsiteX7823" fmla="*/ 1914495 w 9586368"/>
              <a:gd name="connsiteY7823" fmla="*/ 961339 h 6479439"/>
              <a:gd name="connsiteX7824" fmla="*/ 2157823 w 9586368"/>
              <a:gd name="connsiteY7824" fmla="*/ 957299 h 6479439"/>
              <a:gd name="connsiteX7825" fmla="*/ 2167733 w 9586368"/>
              <a:gd name="connsiteY7825" fmla="*/ 957299 h 6479439"/>
              <a:gd name="connsiteX7826" fmla="*/ 2171751 w 9586368"/>
              <a:gd name="connsiteY7826" fmla="*/ 961337 h 6479439"/>
              <a:gd name="connsiteX7827" fmla="*/ 2171751 w 9586368"/>
              <a:gd name="connsiteY7827" fmla="*/ 971207 h 6479439"/>
              <a:gd name="connsiteX7828" fmla="*/ 2167733 w 9586368"/>
              <a:gd name="connsiteY7828" fmla="*/ 975246 h 6479439"/>
              <a:gd name="connsiteX7829" fmla="*/ 2157823 w 9586368"/>
              <a:gd name="connsiteY7829" fmla="*/ 975246 h 6479439"/>
              <a:gd name="connsiteX7830" fmla="*/ 2153804 w 9586368"/>
              <a:gd name="connsiteY7830" fmla="*/ 971207 h 6479439"/>
              <a:gd name="connsiteX7831" fmla="*/ 2153804 w 9586368"/>
              <a:gd name="connsiteY7831" fmla="*/ 961337 h 6479439"/>
              <a:gd name="connsiteX7832" fmla="*/ 9572438 w 9586368"/>
              <a:gd name="connsiteY7832" fmla="*/ 957291 h 6479439"/>
              <a:gd name="connsiteX7833" fmla="*/ 9582349 w 9586368"/>
              <a:gd name="connsiteY7833" fmla="*/ 957291 h 6479439"/>
              <a:gd name="connsiteX7834" fmla="*/ 9586368 w 9586368"/>
              <a:gd name="connsiteY7834" fmla="*/ 961329 h 6479439"/>
              <a:gd name="connsiteX7835" fmla="*/ 9586368 w 9586368"/>
              <a:gd name="connsiteY7835" fmla="*/ 971199 h 6479439"/>
              <a:gd name="connsiteX7836" fmla="*/ 9582349 w 9586368"/>
              <a:gd name="connsiteY7836" fmla="*/ 975238 h 6479439"/>
              <a:gd name="connsiteX7837" fmla="*/ 9572438 w 9586368"/>
              <a:gd name="connsiteY7837" fmla="*/ 975238 h 6479439"/>
              <a:gd name="connsiteX7838" fmla="*/ 9568419 w 9586368"/>
              <a:gd name="connsiteY7838" fmla="*/ 971199 h 6479439"/>
              <a:gd name="connsiteX7839" fmla="*/ 9568419 w 9586368"/>
              <a:gd name="connsiteY7839" fmla="*/ 961329 h 6479439"/>
              <a:gd name="connsiteX7840" fmla="*/ 721974 w 9586368"/>
              <a:gd name="connsiteY7840" fmla="*/ 957266 h 6479439"/>
              <a:gd name="connsiteX7841" fmla="*/ 731884 w 9586368"/>
              <a:gd name="connsiteY7841" fmla="*/ 957266 h 6479439"/>
              <a:gd name="connsiteX7842" fmla="*/ 735903 w 9586368"/>
              <a:gd name="connsiteY7842" fmla="*/ 961305 h 6479439"/>
              <a:gd name="connsiteX7843" fmla="*/ 735903 w 9586368"/>
              <a:gd name="connsiteY7843" fmla="*/ 971175 h 6479439"/>
              <a:gd name="connsiteX7844" fmla="*/ 731884 w 9586368"/>
              <a:gd name="connsiteY7844" fmla="*/ 975214 h 6479439"/>
              <a:gd name="connsiteX7845" fmla="*/ 721974 w 9586368"/>
              <a:gd name="connsiteY7845" fmla="*/ 975214 h 6479439"/>
              <a:gd name="connsiteX7846" fmla="*/ 717956 w 9586368"/>
              <a:gd name="connsiteY7846" fmla="*/ 971175 h 6479439"/>
              <a:gd name="connsiteX7847" fmla="*/ 717956 w 9586368"/>
              <a:gd name="connsiteY7847" fmla="*/ 961305 h 6479439"/>
              <a:gd name="connsiteX7848" fmla="*/ 482662 w 9586368"/>
              <a:gd name="connsiteY7848" fmla="*/ 957266 h 6479439"/>
              <a:gd name="connsiteX7849" fmla="*/ 492572 w 9586368"/>
              <a:gd name="connsiteY7849" fmla="*/ 957266 h 6479439"/>
              <a:gd name="connsiteX7850" fmla="*/ 496591 w 9586368"/>
              <a:gd name="connsiteY7850" fmla="*/ 961305 h 6479439"/>
              <a:gd name="connsiteX7851" fmla="*/ 496591 w 9586368"/>
              <a:gd name="connsiteY7851" fmla="*/ 971175 h 6479439"/>
              <a:gd name="connsiteX7852" fmla="*/ 492572 w 9586368"/>
              <a:gd name="connsiteY7852" fmla="*/ 975214 h 6479439"/>
              <a:gd name="connsiteX7853" fmla="*/ 482662 w 9586368"/>
              <a:gd name="connsiteY7853" fmla="*/ 975214 h 6479439"/>
              <a:gd name="connsiteX7854" fmla="*/ 478643 w 9586368"/>
              <a:gd name="connsiteY7854" fmla="*/ 971175 h 6479439"/>
              <a:gd name="connsiteX7855" fmla="*/ 478643 w 9586368"/>
              <a:gd name="connsiteY7855" fmla="*/ 961305 h 6479439"/>
              <a:gd name="connsiteX7856" fmla="*/ 243349 w 9586368"/>
              <a:gd name="connsiteY7856" fmla="*/ 957266 h 6479439"/>
              <a:gd name="connsiteX7857" fmla="*/ 253259 w 9586368"/>
              <a:gd name="connsiteY7857" fmla="*/ 957266 h 6479439"/>
              <a:gd name="connsiteX7858" fmla="*/ 257278 w 9586368"/>
              <a:gd name="connsiteY7858" fmla="*/ 961305 h 6479439"/>
              <a:gd name="connsiteX7859" fmla="*/ 257278 w 9586368"/>
              <a:gd name="connsiteY7859" fmla="*/ 971175 h 6479439"/>
              <a:gd name="connsiteX7860" fmla="*/ 253259 w 9586368"/>
              <a:gd name="connsiteY7860" fmla="*/ 975214 h 6479439"/>
              <a:gd name="connsiteX7861" fmla="*/ 243349 w 9586368"/>
              <a:gd name="connsiteY7861" fmla="*/ 975214 h 6479439"/>
              <a:gd name="connsiteX7862" fmla="*/ 239330 w 9586368"/>
              <a:gd name="connsiteY7862" fmla="*/ 971175 h 6479439"/>
              <a:gd name="connsiteX7863" fmla="*/ 239330 w 9586368"/>
              <a:gd name="connsiteY7863" fmla="*/ 961305 h 6479439"/>
              <a:gd name="connsiteX7864" fmla="*/ 4036 w 9586368"/>
              <a:gd name="connsiteY7864" fmla="*/ 957266 h 6479439"/>
              <a:gd name="connsiteX7865" fmla="*/ 13946 w 9586368"/>
              <a:gd name="connsiteY7865" fmla="*/ 957266 h 6479439"/>
              <a:gd name="connsiteX7866" fmla="*/ 17965 w 9586368"/>
              <a:gd name="connsiteY7866" fmla="*/ 961305 h 6479439"/>
              <a:gd name="connsiteX7867" fmla="*/ 17965 w 9586368"/>
              <a:gd name="connsiteY7867" fmla="*/ 971176 h 6479439"/>
              <a:gd name="connsiteX7868" fmla="*/ 13946 w 9586368"/>
              <a:gd name="connsiteY7868" fmla="*/ 975214 h 6479439"/>
              <a:gd name="connsiteX7869" fmla="*/ 4036 w 9586368"/>
              <a:gd name="connsiteY7869" fmla="*/ 975214 h 6479439"/>
              <a:gd name="connsiteX7870" fmla="*/ 16 w 9586368"/>
              <a:gd name="connsiteY7870" fmla="*/ 971176 h 6479439"/>
              <a:gd name="connsiteX7871" fmla="*/ 16 w 9586368"/>
              <a:gd name="connsiteY7871" fmla="*/ 961305 h 6479439"/>
              <a:gd name="connsiteX7872" fmla="*/ 3350359 w 9586368"/>
              <a:gd name="connsiteY7872" fmla="*/ 718040 h 6479439"/>
              <a:gd name="connsiteX7873" fmla="*/ 3360268 w 9586368"/>
              <a:gd name="connsiteY7873" fmla="*/ 718040 h 6479439"/>
              <a:gd name="connsiteX7874" fmla="*/ 3364287 w 9586368"/>
              <a:gd name="connsiteY7874" fmla="*/ 722078 h 6479439"/>
              <a:gd name="connsiteX7875" fmla="*/ 3364287 w 9586368"/>
              <a:gd name="connsiteY7875" fmla="*/ 731948 h 6479439"/>
              <a:gd name="connsiteX7876" fmla="*/ 3360268 w 9586368"/>
              <a:gd name="connsiteY7876" fmla="*/ 735987 h 6479439"/>
              <a:gd name="connsiteX7877" fmla="*/ 3350359 w 9586368"/>
              <a:gd name="connsiteY7877" fmla="*/ 735987 h 6479439"/>
              <a:gd name="connsiteX7878" fmla="*/ 3346340 w 9586368"/>
              <a:gd name="connsiteY7878" fmla="*/ 731948 h 6479439"/>
              <a:gd name="connsiteX7879" fmla="*/ 3346340 w 9586368"/>
              <a:gd name="connsiteY7879" fmla="*/ 722078 h 6479439"/>
              <a:gd name="connsiteX7880" fmla="*/ 3111048 w 9586368"/>
              <a:gd name="connsiteY7880" fmla="*/ 718040 h 6479439"/>
              <a:gd name="connsiteX7881" fmla="*/ 3120959 w 9586368"/>
              <a:gd name="connsiteY7881" fmla="*/ 718040 h 6479439"/>
              <a:gd name="connsiteX7882" fmla="*/ 3124977 w 9586368"/>
              <a:gd name="connsiteY7882" fmla="*/ 722078 h 6479439"/>
              <a:gd name="connsiteX7883" fmla="*/ 3124977 w 9586368"/>
              <a:gd name="connsiteY7883" fmla="*/ 731949 h 6479439"/>
              <a:gd name="connsiteX7884" fmla="*/ 3120959 w 9586368"/>
              <a:gd name="connsiteY7884" fmla="*/ 735987 h 6479439"/>
              <a:gd name="connsiteX7885" fmla="*/ 3111048 w 9586368"/>
              <a:gd name="connsiteY7885" fmla="*/ 735987 h 6479439"/>
              <a:gd name="connsiteX7886" fmla="*/ 3107029 w 9586368"/>
              <a:gd name="connsiteY7886" fmla="*/ 731949 h 6479439"/>
              <a:gd name="connsiteX7887" fmla="*/ 3107029 w 9586368"/>
              <a:gd name="connsiteY7887" fmla="*/ 722078 h 6479439"/>
              <a:gd name="connsiteX7888" fmla="*/ 2871737 w 9586368"/>
              <a:gd name="connsiteY7888" fmla="*/ 718040 h 6479439"/>
              <a:gd name="connsiteX7889" fmla="*/ 2881646 w 9586368"/>
              <a:gd name="connsiteY7889" fmla="*/ 718040 h 6479439"/>
              <a:gd name="connsiteX7890" fmla="*/ 2885666 w 9586368"/>
              <a:gd name="connsiteY7890" fmla="*/ 722078 h 6479439"/>
              <a:gd name="connsiteX7891" fmla="*/ 2885666 w 9586368"/>
              <a:gd name="connsiteY7891" fmla="*/ 731949 h 6479439"/>
              <a:gd name="connsiteX7892" fmla="*/ 2881646 w 9586368"/>
              <a:gd name="connsiteY7892" fmla="*/ 735987 h 6479439"/>
              <a:gd name="connsiteX7893" fmla="*/ 2871737 w 9586368"/>
              <a:gd name="connsiteY7893" fmla="*/ 735987 h 6479439"/>
              <a:gd name="connsiteX7894" fmla="*/ 2867717 w 9586368"/>
              <a:gd name="connsiteY7894" fmla="*/ 731949 h 6479439"/>
              <a:gd name="connsiteX7895" fmla="*/ 2867717 w 9586368"/>
              <a:gd name="connsiteY7895" fmla="*/ 722078 h 6479439"/>
              <a:gd name="connsiteX7896" fmla="*/ 2632423 w 9586368"/>
              <a:gd name="connsiteY7896" fmla="*/ 718040 h 6479439"/>
              <a:gd name="connsiteX7897" fmla="*/ 2642334 w 9586368"/>
              <a:gd name="connsiteY7897" fmla="*/ 718040 h 6479439"/>
              <a:gd name="connsiteX7898" fmla="*/ 2646352 w 9586368"/>
              <a:gd name="connsiteY7898" fmla="*/ 722078 h 6479439"/>
              <a:gd name="connsiteX7899" fmla="*/ 2646352 w 9586368"/>
              <a:gd name="connsiteY7899" fmla="*/ 731949 h 6479439"/>
              <a:gd name="connsiteX7900" fmla="*/ 2642334 w 9586368"/>
              <a:gd name="connsiteY7900" fmla="*/ 735988 h 6479439"/>
              <a:gd name="connsiteX7901" fmla="*/ 2632423 w 9586368"/>
              <a:gd name="connsiteY7901" fmla="*/ 735988 h 6479439"/>
              <a:gd name="connsiteX7902" fmla="*/ 2628404 w 9586368"/>
              <a:gd name="connsiteY7902" fmla="*/ 731949 h 6479439"/>
              <a:gd name="connsiteX7903" fmla="*/ 2628404 w 9586368"/>
              <a:gd name="connsiteY7903" fmla="*/ 722078 h 6479439"/>
              <a:gd name="connsiteX7904" fmla="*/ 2393104 w 9586368"/>
              <a:gd name="connsiteY7904" fmla="*/ 718040 h 6479439"/>
              <a:gd name="connsiteX7905" fmla="*/ 2403015 w 9586368"/>
              <a:gd name="connsiteY7905" fmla="*/ 718040 h 6479439"/>
              <a:gd name="connsiteX7906" fmla="*/ 2407034 w 9586368"/>
              <a:gd name="connsiteY7906" fmla="*/ 722078 h 6479439"/>
              <a:gd name="connsiteX7907" fmla="*/ 2407034 w 9586368"/>
              <a:gd name="connsiteY7907" fmla="*/ 731949 h 6479439"/>
              <a:gd name="connsiteX7908" fmla="*/ 2403015 w 9586368"/>
              <a:gd name="connsiteY7908" fmla="*/ 735988 h 6479439"/>
              <a:gd name="connsiteX7909" fmla="*/ 2393104 w 9586368"/>
              <a:gd name="connsiteY7909" fmla="*/ 735988 h 6479439"/>
              <a:gd name="connsiteX7910" fmla="*/ 2389087 w 9586368"/>
              <a:gd name="connsiteY7910" fmla="*/ 731949 h 6479439"/>
              <a:gd name="connsiteX7911" fmla="*/ 2389087 w 9586368"/>
              <a:gd name="connsiteY7911" fmla="*/ 722078 h 6479439"/>
              <a:gd name="connsiteX7912" fmla="*/ 4546929 w 9586368"/>
              <a:gd name="connsiteY7912" fmla="*/ 718028 h 6479439"/>
              <a:gd name="connsiteX7913" fmla="*/ 4556840 w 9586368"/>
              <a:gd name="connsiteY7913" fmla="*/ 718028 h 6479439"/>
              <a:gd name="connsiteX7914" fmla="*/ 4560859 w 9586368"/>
              <a:gd name="connsiteY7914" fmla="*/ 722066 h 6479439"/>
              <a:gd name="connsiteX7915" fmla="*/ 4560859 w 9586368"/>
              <a:gd name="connsiteY7915" fmla="*/ 731935 h 6479439"/>
              <a:gd name="connsiteX7916" fmla="*/ 4556840 w 9586368"/>
              <a:gd name="connsiteY7916" fmla="*/ 735975 h 6479439"/>
              <a:gd name="connsiteX7917" fmla="*/ 4546929 w 9586368"/>
              <a:gd name="connsiteY7917" fmla="*/ 735975 h 6479439"/>
              <a:gd name="connsiteX7918" fmla="*/ 4542910 w 9586368"/>
              <a:gd name="connsiteY7918" fmla="*/ 731935 h 6479439"/>
              <a:gd name="connsiteX7919" fmla="*/ 4542910 w 9586368"/>
              <a:gd name="connsiteY7919" fmla="*/ 722066 h 6479439"/>
              <a:gd name="connsiteX7920" fmla="*/ 4307612 w 9586368"/>
              <a:gd name="connsiteY7920" fmla="*/ 718028 h 6479439"/>
              <a:gd name="connsiteX7921" fmla="*/ 4317523 w 9586368"/>
              <a:gd name="connsiteY7921" fmla="*/ 718028 h 6479439"/>
              <a:gd name="connsiteX7922" fmla="*/ 4321543 w 9586368"/>
              <a:gd name="connsiteY7922" fmla="*/ 722066 h 6479439"/>
              <a:gd name="connsiteX7923" fmla="*/ 4321543 w 9586368"/>
              <a:gd name="connsiteY7923" fmla="*/ 731936 h 6479439"/>
              <a:gd name="connsiteX7924" fmla="*/ 4317523 w 9586368"/>
              <a:gd name="connsiteY7924" fmla="*/ 735975 h 6479439"/>
              <a:gd name="connsiteX7925" fmla="*/ 4307612 w 9586368"/>
              <a:gd name="connsiteY7925" fmla="*/ 735975 h 6479439"/>
              <a:gd name="connsiteX7926" fmla="*/ 4303595 w 9586368"/>
              <a:gd name="connsiteY7926" fmla="*/ 731936 h 6479439"/>
              <a:gd name="connsiteX7927" fmla="*/ 4303595 w 9586368"/>
              <a:gd name="connsiteY7927" fmla="*/ 722066 h 6479439"/>
              <a:gd name="connsiteX7928" fmla="*/ 4068297 w 9586368"/>
              <a:gd name="connsiteY7928" fmla="*/ 718028 h 6479439"/>
              <a:gd name="connsiteX7929" fmla="*/ 4078210 w 9586368"/>
              <a:gd name="connsiteY7929" fmla="*/ 718028 h 6479439"/>
              <a:gd name="connsiteX7930" fmla="*/ 4082229 w 9586368"/>
              <a:gd name="connsiteY7930" fmla="*/ 722066 h 6479439"/>
              <a:gd name="connsiteX7931" fmla="*/ 4082229 w 9586368"/>
              <a:gd name="connsiteY7931" fmla="*/ 731936 h 6479439"/>
              <a:gd name="connsiteX7932" fmla="*/ 4078210 w 9586368"/>
              <a:gd name="connsiteY7932" fmla="*/ 735975 h 6479439"/>
              <a:gd name="connsiteX7933" fmla="*/ 4068297 w 9586368"/>
              <a:gd name="connsiteY7933" fmla="*/ 735975 h 6479439"/>
              <a:gd name="connsiteX7934" fmla="*/ 4064278 w 9586368"/>
              <a:gd name="connsiteY7934" fmla="*/ 731936 h 6479439"/>
              <a:gd name="connsiteX7935" fmla="*/ 4064278 w 9586368"/>
              <a:gd name="connsiteY7935" fmla="*/ 722066 h 6479439"/>
              <a:gd name="connsiteX7936" fmla="*/ 3828990 w 9586368"/>
              <a:gd name="connsiteY7936" fmla="*/ 718028 h 6479439"/>
              <a:gd name="connsiteX7937" fmla="*/ 3838899 w 9586368"/>
              <a:gd name="connsiteY7937" fmla="*/ 718028 h 6479439"/>
              <a:gd name="connsiteX7938" fmla="*/ 3842917 w 9586368"/>
              <a:gd name="connsiteY7938" fmla="*/ 722066 h 6479439"/>
              <a:gd name="connsiteX7939" fmla="*/ 3842917 w 9586368"/>
              <a:gd name="connsiteY7939" fmla="*/ 731936 h 6479439"/>
              <a:gd name="connsiteX7940" fmla="*/ 3838899 w 9586368"/>
              <a:gd name="connsiteY7940" fmla="*/ 735975 h 6479439"/>
              <a:gd name="connsiteX7941" fmla="*/ 3828990 w 9586368"/>
              <a:gd name="connsiteY7941" fmla="*/ 735975 h 6479439"/>
              <a:gd name="connsiteX7942" fmla="*/ 3824971 w 9586368"/>
              <a:gd name="connsiteY7942" fmla="*/ 731936 h 6479439"/>
              <a:gd name="connsiteX7943" fmla="*/ 3824971 w 9586368"/>
              <a:gd name="connsiteY7943" fmla="*/ 722066 h 6479439"/>
              <a:gd name="connsiteX7944" fmla="*/ 3589676 w 9586368"/>
              <a:gd name="connsiteY7944" fmla="*/ 718028 h 6479439"/>
              <a:gd name="connsiteX7945" fmla="*/ 3599585 w 9586368"/>
              <a:gd name="connsiteY7945" fmla="*/ 718028 h 6479439"/>
              <a:gd name="connsiteX7946" fmla="*/ 3603604 w 9586368"/>
              <a:gd name="connsiteY7946" fmla="*/ 722066 h 6479439"/>
              <a:gd name="connsiteX7947" fmla="*/ 3603604 w 9586368"/>
              <a:gd name="connsiteY7947" fmla="*/ 731936 h 6479439"/>
              <a:gd name="connsiteX7948" fmla="*/ 3599585 w 9586368"/>
              <a:gd name="connsiteY7948" fmla="*/ 735975 h 6479439"/>
              <a:gd name="connsiteX7949" fmla="*/ 3589676 w 9586368"/>
              <a:gd name="connsiteY7949" fmla="*/ 735975 h 6479439"/>
              <a:gd name="connsiteX7950" fmla="*/ 3585657 w 9586368"/>
              <a:gd name="connsiteY7950" fmla="*/ 731936 h 6479439"/>
              <a:gd name="connsiteX7951" fmla="*/ 3585657 w 9586368"/>
              <a:gd name="connsiteY7951" fmla="*/ 722066 h 6479439"/>
              <a:gd name="connsiteX7952" fmla="*/ 5743412 w 9586368"/>
              <a:gd name="connsiteY7952" fmla="*/ 718015 h 6479439"/>
              <a:gd name="connsiteX7953" fmla="*/ 5753323 w 9586368"/>
              <a:gd name="connsiteY7953" fmla="*/ 718015 h 6479439"/>
              <a:gd name="connsiteX7954" fmla="*/ 5757342 w 9586368"/>
              <a:gd name="connsiteY7954" fmla="*/ 722053 h 6479439"/>
              <a:gd name="connsiteX7955" fmla="*/ 5757342 w 9586368"/>
              <a:gd name="connsiteY7955" fmla="*/ 731924 h 6479439"/>
              <a:gd name="connsiteX7956" fmla="*/ 5753323 w 9586368"/>
              <a:gd name="connsiteY7956" fmla="*/ 735963 h 6479439"/>
              <a:gd name="connsiteX7957" fmla="*/ 5743412 w 9586368"/>
              <a:gd name="connsiteY7957" fmla="*/ 735963 h 6479439"/>
              <a:gd name="connsiteX7958" fmla="*/ 5739393 w 9586368"/>
              <a:gd name="connsiteY7958" fmla="*/ 731924 h 6479439"/>
              <a:gd name="connsiteX7959" fmla="*/ 5739393 w 9586368"/>
              <a:gd name="connsiteY7959" fmla="*/ 722053 h 6479439"/>
              <a:gd name="connsiteX7960" fmla="*/ 5504099 w 9586368"/>
              <a:gd name="connsiteY7960" fmla="*/ 718015 h 6479439"/>
              <a:gd name="connsiteX7961" fmla="*/ 5514010 w 9586368"/>
              <a:gd name="connsiteY7961" fmla="*/ 718015 h 6479439"/>
              <a:gd name="connsiteX7962" fmla="*/ 5518029 w 9586368"/>
              <a:gd name="connsiteY7962" fmla="*/ 722053 h 6479439"/>
              <a:gd name="connsiteX7963" fmla="*/ 5518029 w 9586368"/>
              <a:gd name="connsiteY7963" fmla="*/ 731924 h 6479439"/>
              <a:gd name="connsiteX7964" fmla="*/ 5514010 w 9586368"/>
              <a:gd name="connsiteY7964" fmla="*/ 735963 h 6479439"/>
              <a:gd name="connsiteX7965" fmla="*/ 5504099 w 9586368"/>
              <a:gd name="connsiteY7965" fmla="*/ 735963 h 6479439"/>
              <a:gd name="connsiteX7966" fmla="*/ 5500080 w 9586368"/>
              <a:gd name="connsiteY7966" fmla="*/ 731924 h 6479439"/>
              <a:gd name="connsiteX7967" fmla="*/ 5500080 w 9586368"/>
              <a:gd name="connsiteY7967" fmla="*/ 722053 h 6479439"/>
              <a:gd name="connsiteX7968" fmla="*/ 5264784 w 9586368"/>
              <a:gd name="connsiteY7968" fmla="*/ 718015 h 6479439"/>
              <a:gd name="connsiteX7969" fmla="*/ 5274694 w 9586368"/>
              <a:gd name="connsiteY7969" fmla="*/ 718015 h 6479439"/>
              <a:gd name="connsiteX7970" fmla="*/ 5278713 w 9586368"/>
              <a:gd name="connsiteY7970" fmla="*/ 722053 h 6479439"/>
              <a:gd name="connsiteX7971" fmla="*/ 5278713 w 9586368"/>
              <a:gd name="connsiteY7971" fmla="*/ 731924 h 6479439"/>
              <a:gd name="connsiteX7972" fmla="*/ 5274694 w 9586368"/>
              <a:gd name="connsiteY7972" fmla="*/ 735963 h 6479439"/>
              <a:gd name="connsiteX7973" fmla="*/ 5264784 w 9586368"/>
              <a:gd name="connsiteY7973" fmla="*/ 735963 h 6479439"/>
              <a:gd name="connsiteX7974" fmla="*/ 5260765 w 9586368"/>
              <a:gd name="connsiteY7974" fmla="*/ 731924 h 6479439"/>
              <a:gd name="connsiteX7975" fmla="*/ 5260765 w 9586368"/>
              <a:gd name="connsiteY7975" fmla="*/ 722053 h 6479439"/>
              <a:gd name="connsiteX7976" fmla="*/ 5025470 w 9586368"/>
              <a:gd name="connsiteY7976" fmla="*/ 718015 h 6479439"/>
              <a:gd name="connsiteX7977" fmla="*/ 5035381 w 9586368"/>
              <a:gd name="connsiteY7977" fmla="*/ 718015 h 6479439"/>
              <a:gd name="connsiteX7978" fmla="*/ 5039400 w 9586368"/>
              <a:gd name="connsiteY7978" fmla="*/ 722053 h 6479439"/>
              <a:gd name="connsiteX7979" fmla="*/ 5039400 w 9586368"/>
              <a:gd name="connsiteY7979" fmla="*/ 731924 h 6479439"/>
              <a:gd name="connsiteX7980" fmla="*/ 5035381 w 9586368"/>
              <a:gd name="connsiteY7980" fmla="*/ 735963 h 6479439"/>
              <a:gd name="connsiteX7981" fmla="*/ 5025470 w 9586368"/>
              <a:gd name="connsiteY7981" fmla="*/ 735963 h 6479439"/>
              <a:gd name="connsiteX7982" fmla="*/ 5021451 w 9586368"/>
              <a:gd name="connsiteY7982" fmla="*/ 731924 h 6479439"/>
              <a:gd name="connsiteX7983" fmla="*/ 5021451 w 9586368"/>
              <a:gd name="connsiteY7983" fmla="*/ 722053 h 6479439"/>
              <a:gd name="connsiteX7984" fmla="*/ 4786241 w 9586368"/>
              <a:gd name="connsiteY7984" fmla="*/ 718015 h 6479439"/>
              <a:gd name="connsiteX7985" fmla="*/ 4796152 w 9586368"/>
              <a:gd name="connsiteY7985" fmla="*/ 718015 h 6479439"/>
              <a:gd name="connsiteX7986" fmla="*/ 4800171 w 9586368"/>
              <a:gd name="connsiteY7986" fmla="*/ 722053 h 6479439"/>
              <a:gd name="connsiteX7987" fmla="*/ 4800171 w 9586368"/>
              <a:gd name="connsiteY7987" fmla="*/ 731924 h 6479439"/>
              <a:gd name="connsiteX7988" fmla="*/ 4796152 w 9586368"/>
              <a:gd name="connsiteY7988" fmla="*/ 735963 h 6479439"/>
              <a:gd name="connsiteX7989" fmla="*/ 4786241 w 9586368"/>
              <a:gd name="connsiteY7989" fmla="*/ 735963 h 6479439"/>
              <a:gd name="connsiteX7990" fmla="*/ 4782224 w 9586368"/>
              <a:gd name="connsiteY7990" fmla="*/ 731924 h 6479439"/>
              <a:gd name="connsiteX7991" fmla="*/ 4782224 w 9586368"/>
              <a:gd name="connsiteY7991" fmla="*/ 722053 h 6479439"/>
              <a:gd name="connsiteX7992" fmla="*/ 6939983 w 9586368"/>
              <a:gd name="connsiteY7992" fmla="*/ 718003 h 6479439"/>
              <a:gd name="connsiteX7993" fmla="*/ 6949894 w 9586368"/>
              <a:gd name="connsiteY7993" fmla="*/ 718003 h 6479439"/>
              <a:gd name="connsiteX7994" fmla="*/ 6953913 w 9586368"/>
              <a:gd name="connsiteY7994" fmla="*/ 722041 h 6479439"/>
              <a:gd name="connsiteX7995" fmla="*/ 6953913 w 9586368"/>
              <a:gd name="connsiteY7995" fmla="*/ 731911 h 6479439"/>
              <a:gd name="connsiteX7996" fmla="*/ 6949894 w 9586368"/>
              <a:gd name="connsiteY7996" fmla="*/ 735950 h 6479439"/>
              <a:gd name="connsiteX7997" fmla="*/ 6939983 w 9586368"/>
              <a:gd name="connsiteY7997" fmla="*/ 735950 h 6479439"/>
              <a:gd name="connsiteX7998" fmla="*/ 6935964 w 9586368"/>
              <a:gd name="connsiteY7998" fmla="*/ 731911 h 6479439"/>
              <a:gd name="connsiteX7999" fmla="*/ 6935964 w 9586368"/>
              <a:gd name="connsiteY7999" fmla="*/ 722041 h 6479439"/>
              <a:gd name="connsiteX8000" fmla="*/ 6700670 w 9586368"/>
              <a:gd name="connsiteY8000" fmla="*/ 718003 h 6479439"/>
              <a:gd name="connsiteX8001" fmla="*/ 6710581 w 9586368"/>
              <a:gd name="connsiteY8001" fmla="*/ 718003 h 6479439"/>
              <a:gd name="connsiteX8002" fmla="*/ 6714600 w 9586368"/>
              <a:gd name="connsiteY8002" fmla="*/ 722041 h 6479439"/>
              <a:gd name="connsiteX8003" fmla="*/ 6714600 w 9586368"/>
              <a:gd name="connsiteY8003" fmla="*/ 731912 h 6479439"/>
              <a:gd name="connsiteX8004" fmla="*/ 6710581 w 9586368"/>
              <a:gd name="connsiteY8004" fmla="*/ 735950 h 6479439"/>
              <a:gd name="connsiteX8005" fmla="*/ 6700670 w 9586368"/>
              <a:gd name="connsiteY8005" fmla="*/ 735950 h 6479439"/>
              <a:gd name="connsiteX8006" fmla="*/ 6696651 w 9586368"/>
              <a:gd name="connsiteY8006" fmla="*/ 731912 h 6479439"/>
              <a:gd name="connsiteX8007" fmla="*/ 6696651 w 9586368"/>
              <a:gd name="connsiteY8007" fmla="*/ 722041 h 6479439"/>
              <a:gd name="connsiteX8008" fmla="*/ 6461356 w 9586368"/>
              <a:gd name="connsiteY8008" fmla="*/ 718003 h 6479439"/>
              <a:gd name="connsiteX8009" fmla="*/ 6471266 w 9586368"/>
              <a:gd name="connsiteY8009" fmla="*/ 718003 h 6479439"/>
              <a:gd name="connsiteX8010" fmla="*/ 6475285 w 9586368"/>
              <a:gd name="connsiteY8010" fmla="*/ 722041 h 6479439"/>
              <a:gd name="connsiteX8011" fmla="*/ 6475285 w 9586368"/>
              <a:gd name="connsiteY8011" fmla="*/ 731912 h 6479439"/>
              <a:gd name="connsiteX8012" fmla="*/ 6471266 w 9586368"/>
              <a:gd name="connsiteY8012" fmla="*/ 735950 h 6479439"/>
              <a:gd name="connsiteX8013" fmla="*/ 6461356 w 9586368"/>
              <a:gd name="connsiteY8013" fmla="*/ 735950 h 6479439"/>
              <a:gd name="connsiteX8014" fmla="*/ 6457337 w 9586368"/>
              <a:gd name="connsiteY8014" fmla="*/ 731912 h 6479439"/>
              <a:gd name="connsiteX8015" fmla="*/ 6457337 w 9586368"/>
              <a:gd name="connsiteY8015" fmla="*/ 722041 h 6479439"/>
              <a:gd name="connsiteX8016" fmla="*/ 6222042 w 9586368"/>
              <a:gd name="connsiteY8016" fmla="*/ 718003 h 6479439"/>
              <a:gd name="connsiteX8017" fmla="*/ 6231952 w 9586368"/>
              <a:gd name="connsiteY8017" fmla="*/ 718003 h 6479439"/>
              <a:gd name="connsiteX8018" fmla="*/ 6235971 w 9586368"/>
              <a:gd name="connsiteY8018" fmla="*/ 722041 h 6479439"/>
              <a:gd name="connsiteX8019" fmla="*/ 6235971 w 9586368"/>
              <a:gd name="connsiteY8019" fmla="*/ 731912 h 6479439"/>
              <a:gd name="connsiteX8020" fmla="*/ 6231952 w 9586368"/>
              <a:gd name="connsiteY8020" fmla="*/ 735951 h 6479439"/>
              <a:gd name="connsiteX8021" fmla="*/ 6222042 w 9586368"/>
              <a:gd name="connsiteY8021" fmla="*/ 735951 h 6479439"/>
              <a:gd name="connsiteX8022" fmla="*/ 6218023 w 9586368"/>
              <a:gd name="connsiteY8022" fmla="*/ 731912 h 6479439"/>
              <a:gd name="connsiteX8023" fmla="*/ 6218023 w 9586368"/>
              <a:gd name="connsiteY8023" fmla="*/ 722041 h 6479439"/>
              <a:gd name="connsiteX8024" fmla="*/ 5982729 w 9586368"/>
              <a:gd name="connsiteY8024" fmla="*/ 718003 h 6479439"/>
              <a:gd name="connsiteX8025" fmla="*/ 5992639 w 9586368"/>
              <a:gd name="connsiteY8025" fmla="*/ 718003 h 6479439"/>
              <a:gd name="connsiteX8026" fmla="*/ 5996658 w 9586368"/>
              <a:gd name="connsiteY8026" fmla="*/ 722041 h 6479439"/>
              <a:gd name="connsiteX8027" fmla="*/ 5996658 w 9586368"/>
              <a:gd name="connsiteY8027" fmla="*/ 731912 h 6479439"/>
              <a:gd name="connsiteX8028" fmla="*/ 5992639 w 9586368"/>
              <a:gd name="connsiteY8028" fmla="*/ 735951 h 6479439"/>
              <a:gd name="connsiteX8029" fmla="*/ 5982729 w 9586368"/>
              <a:gd name="connsiteY8029" fmla="*/ 735951 h 6479439"/>
              <a:gd name="connsiteX8030" fmla="*/ 5978710 w 9586368"/>
              <a:gd name="connsiteY8030" fmla="*/ 731912 h 6479439"/>
              <a:gd name="connsiteX8031" fmla="*/ 5978710 w 9586368"/>
              <a:gd name="connsiteY8031" fmla="*/ 722041 h 6479439"/>
              <a:gd name="connsiteX8032" fmla="*/ 8136553 w 9586368"/>
              <a:gd name="connsiteY8032" fmla="*/ 717990 h 6479439"/>
              <a:gd name="connsiteX8033" fmla="*/ 8146464 w 9586368"/>
              <a:gd name="connsiteY8033" fmla="*/ 717990 h 6479439"/>
              <a:gd name="connsiteX8034" fmla="*/ 8150483 w 9586368"/>
              <a:gd name="connsiteY8034" fmla="*/ 722028 h 6479439"/>
              <a:gd name="connsiteX8035" fmla="*/ 8150483 w 9586368"/>
              <a:gd name="connsiteY8035" fmla="*/ 731899 h 6479439"/>
              <a:gd name="connsiteX8036" fmla="*/ 8146464 w 9586368"/>
              <a:gd name="connsiteY8036" fmla="*/ 735938 h 6479439"/>
              <a:gd name="connsiteX8037" fmla="*/ 8136553 w 9586368"/>
              <a:gd name="connsiteY8037" fmla="*/ 735938 h 6479439"/>
              <a:gd name="connsiteX8038" fmla="*/ 8132534 w 9586368"/>
              <a:gd name="connsiteY8038" fmla="*/ 731899 h 6479439"/>
              <a:gd name="connsiteX8039" fmla="*/ 8132534 w 9586368"/>
              <a:gd name="connsiteY8039" fmla="*/ 722028 h 6479439"/>
              <a:gd name="connsiteX8040" fmla="*/ 7897241 w 9586368"/>
              <a:gd name="connsiteY8040" fmla="*/ 717990 h 6479439"/>
              <a:gd name="connsiteX8041" fmla="*/ 7907151 w 9586368"/>
              <a:gd name="connsiteY8041" fmla="*/ 717990 h 6479439"/>
              <a:gd name="connsiteX8042" fmla="*/ 7911170 w 9586368"/>
              <a:gd name="connsiteY8042" fmla="*/ 722029 h 6479439"/>
              <a:gd name="connsiteX8043" fmla="*/ 7911170 w 9586368"/>
              <a:gd name="connsiteY8043" fmla="*/ 731899 h 6479439"/>
              <a:gd name="connsiteX8044" fmla="*/ 7907151 w 9586368"/>
              <a:gd name="connsiteY8044" fmla="*/ 735938 h 6479439"/>
              <a:gd name="connsiteX8045" fmla="*/ 7897241 w 9586368"/>
              <a:gd name="connsiteY8045" fmla="*/ 735938 h 6479439"/>
              <a:gd name="connsiteX8046" fmla="*/ 7893222 w 9586368"/>
              <a:gd name="connsiteY8046" fmla="*/ 731899 h 6479439"/>
              <a:gd name="connsiteX8047" fmla="*/ 7893222 w 9586368"/>
              <a:gd name="connsiteY8047" fmla="*/ 722029 h 6479439"/>
              <a:gd name="connsiteX8048" fmla="*/ 7657926 w 9586368"/>
              <a:gd name="connsiteY8048" fmla="*/ 717990 h 6479439"/>
              <a:gd name="connsiteX8049" fmla="*/ 7667836 w 9586368"/>
              <a:gd name="connsiteY8049" fmla="*/ 717990 h 6479439"/>
              <a:gd name="connsiteX8050" fmla="*/ 7671855 w 9586368"/>
              <a:gd name="connsiteY8050" fmla="*/ 722029 h 6479439"/>
              <a:gd name="connsiteX8051" fmla="*/ 7671855 w 9586368"/>
              <a:gd name="connsiteY8051" fmla="*/ 731899 h 6479439"/>
              <a:gd name="connsiteX8052" fmla="*/ 7667836 w 9586368"/>
              <a:gd name="connsiteY8052" fmla="*/ 735938 h 6479439"/>
              <a:gd name="connsiteX8053" fmla="*/ 7657926 w 9586368"/>
              <a:gd name="connsiteY8053" fmla="*/ 735938 h 6479439"/>
              <a:gd name="connsiteX8054" fmla="*/ 7653906 w 9586368"/>
              <a:gd name="connsiteY8054" fmla="*/ 731899 h 6479439"/>
              <a:gd name="connsiteX8055" fmla="*/ 7653906 w 9586368"/>
              <a:gd name="connsiteY8055" fmla="*/ 722029 h 6479439"/>
              <a:gd name="connsiteX8056" fmla="*/ 7418611 w 9586368"/>
              <a:gd name="connsiteY8056" fmla="*/ 717990 h 6479439"/>
              <a:gd name="connsiteX8057" fmla="*/ 7428521 w 9586368"/>
              <a:gd name="connsiteY8057" fmla="*/ 717990 h 6479439"/>
              <a:gd name="connsiteX8058" fmla="*/ 7432540 w 9586368"/>
              <a:gd name="connsiteY8058" fmla="*/ 722029 h 6479439"/>
              <a:gd name="connsiteX8059" fmla="*/ 7432540 w 9586368"/>
              <a:gd name="connsiteY8059" fmla="*/ 731899 h 6479439"/>
              <a:gd name="connsiteX8060" fmla="*/ 7428521 w 9586368"/>
              <a:gd name="connsiteY8060" fmla="*/ 735938 h 6479439"/>
              <a:gd name="connsiteX8061" fmla="*/ 7418611 w 9586368"/>
              <a:gd name="connsiteY8061" fmla="*/ 735938 h 6479439"/>
              <a:gd name="connsiteX8062" fmla="*/ 7414592 w 9586368"/>
              <a:gd name="connsiteY8062" fmla="*/ 731899 h 6479439"/>
              <a:gd name="connsiteX8063" fmla="*/ 7414592 w 9586368"/>
              <a:gd name="connsiteY8063" fmla="*/ 722029 h 6479439"/>
              <a:gd name="connsiteX8064" fmla="*/ 7179298 w 9586368"/>
              <a:gd name="connsiteY8064" fmla="*/ 717990 h 6479439"/>
              <a:gd name="connsiteX8065" fmla="*/ 7189209 w 9586368"/>
              <a:gd name="connsiteY8065" fmla="*/ 717990 h 6479439"/>
              <a:gd name="connsiteX8066" fmla="*/ 7193228 w 9586368"/>
              <a:gd name="connsiteY8066" fmla="*/ 722029 h 6479439"/>
              <a:gd name="connsiteX8067" fmla="*/ 7193228 w 9586368"/>
              <a:gd name="connsiteY8067" fmla="*/ 731899 h 6479439"/>
              <a:gd name="connsiteX8068" fmla="*/ 7189209 w 9586368"/>
              <a:gd name="connsiteY8068" fmla="*/ 735938 h 6479439"/>
              <a:gd name="connsiteX8069" fmla="*/ 7179298 w 9586368"/>
              <a:gd name="connsiteY8069" fmla="*/ 735938 h 6479439"/>
              <a:gd name="connsiteX8070" fmla="*/ 7175279 w 9586368"/>
              <a:gd name="connsiteY8070" fmla="*/ 731899 h 6479439"/>
              <a:gd name="connsiteX8071" fmla="*/ 7175279 w 9586368"/>
              <a:gd name="connsiteY8071" fmla="*/ 722029 h 6479439"/>
              <a:gd name="connsiteX8072" fmla="*/ 961272 w 9586368"/>
              <a:gd name="connsiteY8072" fmla="*/ 717980 h 6479439"/>
              <a:gd name="connsiteX8073" fmla="*/ 971182 w 9586368"/>
              <a:gd name="connsiteY8073" fmla="*/ 717980 h 6479439"/>
              <a:gd name="connsiteX8074" fmla="*/ 975202 w 9586368"/>
              <a:gd name="connsiteY8074" fmla="*/ 722018 h 6479439"/>
              <a:gd name="connsiteX8075" fmla="*/ 975202 w 9586368"/>
              <a:gd name="connsiteY8075" fmla="*/ 731889 h 6479439"/>
              <a:gd name="connsiteX8076" fmla="*/ 971182 w 9586368"/>
              <a:gd name="connsiteY8076" fmla="*/ 735928 h 6479439"/>
              <a:gd name="connsiteX8077" fmla="*/ 961272 w 9586368"/>
              <a:gd name="connsiteY8077" fmla="*/ 735928 h 6479439"/>
              <a:gd name="connsiteX8078" fmla="*/ 957254 w 9586368"/>
              <a:gd name="connsiteY8078" fmla="*/ 731889 h 6479439"/>
              <a:gd name="connsiteX8079" fmla="*/ 957254 w 9586368"/>
              <a:gd name="connsiteY8079" fmla="*/ 722018 h 6479439"/>
              <a:gd name="connsiteX8080" fmla="*/ 1679219 w 9586368"/>
              <a:gd name="connsiteY8080" fmla="*/ 717979 h 6479439"/>
              <a:gd name="connsiteX8081" fmla="*/ 1689128 w 9586368"/>
              <a:gd name="connsiteY8081" fmla="*/ 717979 h 6479439"/>
              <a:gd name="connsiteX8082" fmla="*/ 1693149 w 9586368"/>
              <a:gd name="connsiteY8082" fmla="*/ 722018 h 6479439"/>
              <a:gd name="connsiteX8083" fmla="*/ 1693149 w 9586368"/>
              <a:gd name="connsiteY8083" fmla="*/ 731889 h 6479439"/>
              <a:gd name="connsiteX8084" fmla="*/ 1689128 w 9586368"/>
              <a:gd name="connsiteY8084" fmla="*/ 735927 h 6479439"/>
              <a:gd name="connsiteX8085" fmla="*/ 1679219 w 9586368"/>
              <a:gd name="connsiteY8085" fmla="*/ 735927 h 6479439"/>
              <a:gd name="connsiteX8086" fmla="*/ 1675200 w 9586368"/>
              <a:gd name="connsiteY8086" fmla="*/ 731889 h 6479439"/>
              <a:gd name="connsiteX8087" fmla="*/ 1675200 w 9586368"/>
              <a:gd name="connsiteY8087" fmla="*/ 722018 h 6479439"/>
              <a:gd name="connsiteX8088" fmla="*/ 1439901 w 9586368"/>
              <a:gd name="connsiteY8088" fmla="*/ 717979 h 6479439"/>
              <a:gd name="connsiteX8089" fmla="*/ 1449811 w 9586368"/>
              <a:gd name="connsiteY8089" fmla="*/ 717979 h 6479439"/>
              <a:gd name="connsiteX8090" fmla="*/ 1453831 w 9586368"/>
              <a:gd name="connsiteY8090" fmla="*/ 722018 h 6479439"/>
              <a:gd name="connsiteX8091" fmla="*/ 1453831 w 9586368"/>
              <a:gd name="connsiteY8091" fmla="*/ 731889 h 6479439"/>
              <a:gd name="connsiteX8092" fmla="*/ 1449811 w 9586368"/>
              <a:gd name="connsiteY8092" fmla="*/ 735927 h 6479439"/>
              <a:gd name="connsiteX8093" fmla="*/ 1439901 w 9586368"/>
              <a:gd name="connsiteY8093" fmla="*/ 735927 h 6479439"/>
              <a:gd name="connsiteX8094" fmla="*/ 1435883 w 9586368"/>
              <a:gd name="connsiteY8094" fmla="*/ 731889 h 6479439"/>
              <a:gd name="connsiteX8095" fmla="*/ 1435883 w 9586368"/>
              <a:gd name="connsiteY8095" fmla="*/ 722018 h 6479439"/>
              <a:gd name="connsiteX8096" fmla="*/ 1200585 w 9586368"/>
              <a:gd name="connsiteY8096" fmla="*/ 717979 h 6479439"/>
              <a:gd name="connsiteX8097" fmla="*/ 1210495 w 9586368"/>
              <a:gd name="connsiteY8097" fmla="*/ 717979 h 6479439"/>
              <a:gd name="connsiteX8098" fmla="*/ 1214513 w 9586368"/>
              <a:gd name="connsiteY8098" fmla="*/ 722018 h 6479439"/>
              <a:gd name="connsiteX8099" fmla="*/ 1214513 w 9586368"/>
              <a:gd name="connsiteY8099" fmla="*/ 731889 h 6479439"/>
              <a:gd name="connsiteX8100" fmla="*/ 1210495 w 9586368"/>
              <a:gd name="connsiteY8100" fmla="*/ 735927 h 6479439"/>
              <a:gd name="connsiteX8101" fmla="*/ 1200585 w 9586368"/>
              <a:gd name="connsiteY8101" fmla="*/ 735927 h 6479439"/>
              <a:gd name="connsiteX8102" fmla="*/ 1196566 w 9586368"/>
              <a:gd name="connsiteY8102" fmla="*/ 731889 h 6479439"/>
              <a:gd name="connsiteX8103" fmla="*/ 1196566 w 9586368"/>
              <a:gd name="connsiteY8103" fmla="*/ 722018 h 6479439"/>
              <a:gd name="connsiteX8104" fmla="*/ 9333125 w 9586368"/>
              <a:gd name="connsiteY8104" fmla="*/ 717978 h 6479439"/>
              <a:gd name="connsiteX8105" fmla="*/ 9343036 w 9586368"/>
              <a:gd name="connsiteY8105" fmla="*/ 717978 h 6479439"/>
              <a:gd name="connsiteX8106" fmla="*/ 9347055 w 9586368"/>
              <a:gd name="connsiteY8106" fmla="*/ 722016 h 6479439"/>
              <a:gd name="connsiteX8107" fmla="*/ 9347055 w 9586368"/>
              <a:gd name="connsiteY8107" fmla="*/ 731887 h 6479439"/>
              <a:gd name="connsiteX8108" fmla="*/ 9343036 w 9586368"/>
              <a:gd name="connsiteY8108" fmla="*/ 735926 h 6479439"/>
              <a:gd name="connsiteX8109" fmla="*/ 9333125 w 9586368"/>
              <a:gd name="connsiteY8109" fmla="*/ 735926 h 6479439"/>
              <a:gd name="connsiteX8110" fmla="*/ 9329106 w 9586368"/>
              <a:gd name="connsiteY8110" fmla="*/ 731887 h 6479439"/>
              <a:gd name="connsiteX8111" fmla="*/ 9329106 w 9586368"/>
              <a:gd name="connsiteY8111" fmla="*/ 722016 h 6479439"/>
              <a:gd name="connsiteX8112" fmla="*/ 9093811 w 9586368"/>
              <a:gd name="connsiteY8112" fmla="*/ 717978 h 6479439"/>
              <a:gd name="connsiteX8113" fmla="*/ 9103722 w 9586368"/>
              <a:gd name="connsiteY8113" fmla="*/ 717978 h 6479439"/>
              <a:gd name="connsiteX8114" fmla="*/ 9107741 w 9586368"/>
              <a:gd name="connsiteY8114" fmla="*/ 722016 h 6479439"/>
              <a:gd name="connsiteX8115" fmla="*/ 9107741 w 9586368"/>
              <a:gd name="connsiteY8115" fmla="*/ 731887 h 6479439"/>
              <a:gd name="connsiteX8116" fmla="*/ 9103722 w 9586368"/>
              <a:gd name="connsiteY8116" fmla="*/ 735926 h 6479439"/>
              <a:gd name="connsiteX8117" fmla="*/ 9093811 w 9586368"/>
              <a:gd name="connsiteY8117" fmla="*/ 735926 h 6479439"/>
              <a:gd name="connsiteX8118" fmla="*/ 9089792 w 9586368"/>
              <a:gd name="connsiteY8118" fmla="*/ 731887 h 6479439"/>
              <a:gd name="connsiteX8119" fmla="*/ 9089792 w 9586368"/>
              <a:gd name="connsiteY8119" fmla="*/ 722016 h 6479439"/>
              <a:gd name="connsiteX8120" fmla="*/ 8854496 w 9586368"/>
              <a:gd name="connsiteY8120" fmla="*/ 717978 h 6479439"/>
              <a:gd name="connsiteX8121" fmla="*/ 8864407 w 9586368"/>
              <a:gd name="connsiteY8121" fmla="*/ 717978 h 6479439"/>
              <a:gd name="connsiteX8122" fmla="*/ 8868426 w 9586368"/>
              <a:gd name="connsiteY8122" fmla="*/ 722016 h 6479439"/>
              <a:gd name="connsiteX8123" fmla="*/ 8868426 w 9586368"/>
              <a:gd name="connsiteY8123" fmla="*/ 731887 h 6479439"/>
              <a:gd name="connsiteX8124" fmla="*/ 8864407 w 9586368"/>
              <a:gd name="connsiteY8124" fmla="*/ 735926 h 6479439"/>
              <a:gd name="connsiteX8125" fmla="*/ 8854496 w 9586368"/>
              <a:gd name="connsiteY8125" fmla="*/ 735926 h 6479439"/>
              <a:gd name="connsiteX8126" fmla="*/ 8850477 w 9586368"/>
              <a:gd name="connsiteY8126" fmla="*/ 731887 h 6479439"/>
              <a:gd name="connsiteX8127" fmla="*/ 8850477 w 9586368"/>
              <a:gd name="connsiteY8127" fmla="*/ 722016 h 6479439"/>
              <a:gd name="connsiteX8128" fmla="*/ 8615184 w 9586368"/>
              <a:gd name="connsiteY8128" fmla="*/ 717978 h 6479439"/>
              <a:gd name="connsiteX8129" fmla="*/ 8625095 w 9586368"/>
              <a:gd name="connsiteY8129" fmla="*/ 717978 h 6479439"/>
              <a:gd name="connsiteX8130" fmla="*/ 8629114 w 9586368"/>
              <a:gd name="connsiteY8130" fmla="*/ 722016 h 6479439"/>
              <a:gd name="connsiteX8131" fmla="*/ 8629114 w 9586368"/>
              <a:gd name="connsiteY8131" fmla="*/ 731887 h 6479439"/>
              <a:gd name="connsiteX8132" fmla="*/ 8625095 w 9586368"/>
              <a:gd name="connsiteY8132" fmla="*/ 735926 h 6479439"/>
              <a:gd name="connsiteX8133" fmla="*/ 8615184 w 9586368"/>
              <a:gd name="connsiteY8133" fmla="*/ 735926 h 6479439"/>
              <a:gd name="connsiteX8134" fmla="*/ 8611165 w 9586368"/>
              <a:gd name="connsiteY8134" fmla="*/ 731887 h 6479439"/>
              <a:gd name="connsiteX8135" fmla="*/ 8611165 w 9586368"/>
              <a:gd name="connsiteY8135" fmla="*/ 722016 h 6479439"/>
              <a:gd name="connsiteX8136" fmla="*/ 8375869 w 9586368"/>
              <a:gd name="connsiteY8136" fmla="*/ 717978 h 6479439"/>
              <a:gd name="connsiteX8137" fmla="*/ 8385779 w 9586368"/>
              <a:gd name="connsiteY8137" fmla="*/ 717978 h 6479439"/>
              <a:gd name="connsiteX8138" fmla="*/ 8389799 w 9586368"/>
              <a:gd name="connsiteY8138" fmla="*/ 722016 h 6479439"/>
              <a:gd name="connsiteX8139" fmla="*/ 8389799 w 9586368"/>
              <a:gd name="connsiteY8139" fmla="*/ 731887 h 6479439"/>
              <a:gd name="connsiteX8140" fmla="*/ 8385779 w 9586368"/>
              <a:gd name="connsiteY8140" fmla="*/ 735926 h 6479439"/>
              <a:gd name="connsiteX8141" fmla="*/ 8375869 w 9586368"/>
              <a:gd name="connsiteY8141" fmla="*/ 735926 h 6479439"/>
              <a:gd name="connsiteX8142" fmla="*/ 8371850 w 9586368"/>
              <a:gd name="connsiteY8142" fmla="*/ 731887 h 6479439"/>
              <a:gd name="connsiteX8143" fmla="*/ 8371850 w 9586368"/>
              <a:gd name="connsiteY8143" fmla="*/ 722016 h 6479439"/>
              <a:gd name="connsiteX8144" fmla="*/ 1918514 w 9586368"/>
              <a:gd name="connsiteY8144" fmla="*/ 717970 h 6479439"/>
              <a:gd name="connsiteX8145" fmla="*/ 1928424 w 9586368"/>
              <a:gd name="connsiteY8145" fmla="*/ 717970 h 6479439"/>
              <a:gd name="connsiteX8146" fmla="*/ 1932444 w 9586368"/>
              <a:gd name="connsiteY8146" fmla="*/ 722009 h 6479439"/>
              <a:gd name="connsiteX8147" fmla="*/ 1932444 w 9586368"/>
              <a:gd name="connsiteY8147" fmla="*/ 731879 h 6479439"/>
              <a:gd name="connsiteX8148" fmla="*/ 1928424 w 9586368"/>
              <a:gd name="connsiteY8148" fmla="*/ 735918 h 6479439"/>
              <a:gd name="connsiteX8149" fmla="*/ 1918514 w 9586368"/>
              <a:gd name="connsiteY8149" fmla="*/ 735918 h 6479439"/>
              <a:gd name="connsiteX8150" fmla="*/ 1914495 w 9586368"/>
              <a:gd name="connsiteY8150" fmla="*/ 731879 h 6479439"/>
              <a:gd name="connsiteX8151" fmla="*/ 1914495 w 9586368"/>
              <a:gd name="connsiteY8151" fmla="*/ 722009 h 6479439"/>
              <a:gd name="connsiteX8152" fmla="*/ 2157823 w 9586368"/>
              <a:gd name="connsiteY8152" fmla="*/ 717968 h 6479439"/>
              <a:gd name="connsiteX8153" fmla="*/ 2167733 w 9586368"/>
              <a:gd name="connsiteY8153" fmla="*/ 717968 h 6479439"/>
              <a:gd name="connsiteX8154" fmla="*/ 2171753 w 9586368"/>
              <a:gd name="connsiteY8154" fmla="*/ 722006 h 6479439"/>
              <a:gd name="connsiteX8155" fmla="*/ 2171753 w 9586368"/>
              <a:gd name="connsiteY8155" fmla="*/ 731877 h 6479439"/>
              <a:gd name="connsiteX8156" fmla="*/ 2167733 w 9586368"/>
              <a:gd name="connsiteY8156" fmla="*/ 735916 h 6479439"/>
              <a:gd name="connsiteX8157" fmla="*/ 2157823 w 9586368"/>
              <a:gd name="connsiteY8157" fmla="*/ 735916 h 6479439"/>
              <a:gd name="connsiteX8158" fmla="*/ 2153804 w 9586368"/>
              <a:gd name="connsiteY8158" fmla="*/ 731877 h 6479439"/>
              <a:gd name="connsiteX8159" fmla="*/ 2153804 w 9586368"/>
              <a:gd name="connsiteY8159" fmla="*/ 722006 h 6479439"/>
              <a:gd name="connsiteX8160" fmla="*/ 9572438 w 9586368"/>
              <a:gd name="connsiteY8160" fmla="*/ 717966 h 6479439"/>
              <a:gd name="connsiteX8161" fmla="*/ 9582349 w 9586368"/>
              <a:gd name="connsiteY8161" fmla="*/ 717966 h 6479439"/>
              <a:gd name="connsiteX8162" fmla="*/ 9586368 w 9586368"/>
              <a:gd name="connsiteY8162" fmla="*/ 722004 h 6479439"/>
              <a:gd name="connsiteX8163" fmla="*/ 9586368 w 9586368"/>
              <a:gd name="connsiteY8163" fmla="*/ 731875 h 6479439"/>
              <a:gd name="connsiteX8164" fmla="*/ 9582349 w 9586368"/>
              <a:gd name="connsiteY8164" fmla="*/ 735914 h 6479439"/>
              <a:gd name="connsiteX8165" fmla="*/ 9572438 w 9586368"/>
              <a:gd name="connsiteY8165" fmla="*/ 735914 h 6479439"/>
              <a:gd name="connsiteX8166" fmla="*/ 9568419 w 9586368"/>
              <a:gd name="connsiteY8166" fmla="*/ 731875 h 6479439"/>
              <a:gd name="connsiteX8167" fmla="*/ 9568419 w 9586368"/>
              <a:gd name="connsiteY8167" fmla="*/ 722004 h 6479439"/>
              <a:gd name="connsiteX8168" fmla="*/ 243349 w 9586368"/>
              <a:gd name="connsiteY8168" fmla="*/ 717939 h 6479439"/>
              <a:gd name="connsiteX8169" fmla="*/ 253260 w 9586368"/>
              <a:gd name="connsiteY8169" fmla="*/ 717939 h 6479439"/>
              <a:gd name="connsiteX8170" fmla="*/ 257279 w 9586368"/>
              <a:gd name="connsiteY8170" fmla="*/ 721977 h 6479439"/>
              <a:gd name="connsiteX8171" fmla="*/ 257279 w 9586368"/>
              <a:gd name="connsiteY8171" fmla="*/ 731847 h 6479439"/>
              <a:gd name="connsiteX8172" fmla="*/ 253260 w 9586368"/>
              <a:gd name="connsiteY8172" fmla="*/ 735886 h 6479439"/>
              <a:gd name="connsiteX8173" fmla="*/ 243349 w 9586368"/>
              <a:gd name="connsiteY8173" fmla="*/ 735886 h 6479439"/>
              <a:gd name="connsiteX8174" fmla="*/ 239330 w 9586368"/>
              <a:gd name="connsiteY8174" fmla="*/ 731847 h 6479439"/>
              <a:gd name="connsiteX8175" fmla="*/ 239330 w 9586368"/>
              <a:gd name="connsiteY8175" fmla="*/ 721977 h 6479439"/>
              <a:gd name="connsiteX8176" fmla="*/ 4036 w 9586368"/>
              <a:gd name="connsiteY8176" fmla="*/ 717939 h 6479439"/>
              <a:gd name="connsiteX8177" fmla="*/ 13947 w 9586368"/>
              <a:gd name="connsiteY8177" fmla="*/ 717939 h 6479439"/>
              <a:gd name="connsiteX8178" fmla="*/ 17965 w 9586368"/>
              <a:gd name="connsiteY8178" fmla="*/ 721978 h 6479439"/>
              <a:gd name="connsiteX8179" fmla="*/ 17965 w 9586368"/>
              <a:gd name="connsiteY8179" fmla="*/ 731848 h 6479439"/>
              <a:gd name="connsiteX8180" fmla="*/ 13947 w 9586368"/>
              <a:gd name="connsiteY8180" fmla="*/ 735886 h 6479439"/>
              <a:gd name="connsiteX8181" fmla="*/ 4036 w 9586368"/>
              <a:gd name="connsiteY8181" fmla="*/ 735886 h 6479439"/>
              <a:gd name="connsiteX8182" fmla="*/ 17 w 9586368"/>
              <a:gd name="connsiteY8182" fmla="*/ 731848 h 6479439"/>
              <a:gd name="connsiteX8183" fmla="*/ 17 w 9586368"/>
              <a:gd name="connsiteY8183" fmla="*/ 721978 h 6479439"/>
              <a:gd name="connsiteX8184" fmla="*/ 721975 w 9586368"/>
              <a:gd name="connsiteY8184" fmla="*/ 717939 h 6479439"/>
              <a:gd name="connsiteX8185" fmla="*/ 731885 w 9586368"/>
              <a:gd name="connsiteY8185" fmla="*/ 717939 h 6479439"/>
              <a:gd name="connsiteX8186" fmla="*/ 735904 w 9586368"/>
              <a:gd name="connsiteY8186" fmla="*/ 721977 h 6479439"/>
              <a:gd name="connsiteX8187" fmla="*/ 735904 w 9586368"/>
              <a:gd name="connsiteY8187" fmla="*/ 731847 h 6479439"/>
              <a:gd name="connsiteX8188" fmla="*/ 731885 w 9586368"/>
              <a:gd name="connsiteY8188" fmla="*/ 735886 h 6479439"/>
              <a:gd name="connsiteX8189" fmla="*/ 721975 w 9586368"/>
              <a:gd name="connsiteY8189" fmla="*/ 735886 h 6479439"/>
              <a:gd name="connsiteX8190" fmla="*/ 717956 w 9586368"/>
              <a:gd name="connsiteY8190" fmla="*/ 731847 h 6479439"/>
              <a:gd name="connsiteX8191" fmla="*/ 717956 w 9586368"/>
              <a:gd name="connsiteY8191" fmla="*/ 721977 h 6479439"/>
              <a:gd name="connsiteX8192" fmla="*/ 482663 w 9586368"/>
              <a:gd name="connsiteY8192" fmla="*/ 717939 h 6479439"/>
              <a:gd name="connsiteX8193" fmla="*/ 492573 w 9586368"/>
              <a:gd name="connsiteY8193" fmla="*/ 717939 h 6479439"/>
              <a:gd name="connsiteX8194" fmla="*/ 496593 w 9586368"/>
              <a:gd name="connsiteY8194" fmla="*/ 721977 h 6479439"/>
              <a:gd name="connsiteX8195" fmla="*/ 496593 w 9586368"/>
              <a:gd name="connsiteY8195" fmla="*/ 731847 h 6479439"/>
              <a:gd name="connsiteX8196" fmla="*/ 492573 w 9586368"/>
              <a:gd name="connsiteY8196" fmla="*/ 735886 h 6479439"/>
              <a:gd name="connsiteX8197" fmla="*/ 482663 w 9586368"/>
              <a:gd name="connsiteY8197" fmla="*/ 735886 h 6479439"/>
              <a:gd name="connsiteX8198" fmla="*/ 478643 w 9586368"/>
              <a:gd name="connsiteY8198" fmla="*/ 731847 h 6479439"/>
              <a:gd name="connsiteX8199" fmla="*/ 478643 w 9586368"/>
              <a:gd name="connsiteY8199" fmla="*/ 721977 h 6479439"/>
              <a:gd name="connsiteX8200" fmla="*/ 3350359 w 9586368"/>
              <a:gd name="connsiteY8200" fmla="*/ 478760 h 6479439"/>
              <a:gd name="connsiteX8201" fmla="*/ 3360268 w 9586368"/>
              <a:gd name="connsiteY8201" fmla="*/ 478760 h 6479439"/>
              <a:gd name="connsiteX8202" fmla="*/ 3364287 w 9586368"/>
              <a:gd name="connsiteY8202" fmla="*/ 482801 h 6479439"/>
              <a:gd name="connsiteX8203" fmla="*/ 3364287 w 9586368"/>
              <a:gd name="connsiteY8203" fmla="*/ 492670 h 6479439"/>
              <a:gd name="connsiteX8204" fmla="*/ 3360268 w 9586368"/>
              <a:gd name="connsiteY8204" fmla="*/ 496707 h 6479439"/>
              <a:gd name="connsiteX8205" fmla="*/ 3350359 w 9586368"/>
              <a:gd name="connsiteY8205" fmla="*/ 496707 h 6479439"/>
              <a:gd name="connsiteX8206" fmla="*/ 3346340 w 9586368"/>
              <a:gd name="connsiteY8206" fmla="*/ 492670 h 6479439"/>
              <a:gd name="connsiteX8207" fmla="*/ 3346340 w 9586368"/>
              <a:gd name="connsiteY8207" fmla="*/ 482801 h 6479439"/>
              <a:gd name="connsiteX8208" fmla="*/ 3111048 w 9586368"/>
              <a:gd name="connsiteY8208" fmla="*/ 478760 h 6479439"/>
              <a:gd name="connsiteX8209" fmla="*/ 3120959 w 9586368"/>
              <a:gd name="connsiteY8209" fmla="*/ 478760 h 6479439"/>
              <a:gd name="connsiteX8210" fmla="*/ 3124977 w 9586368"/>
              <a:gd name="connsiteY8210" fmla="*/ 482801 h 6479439"/>
              <a:gd name="connsiteX8211" fmla="*/ 3124977 w 9586368"/>
              <a:gd name="connsiteY8211" fmla="*/ 492670 h 6479439"/>
              <a:gd name="connsiteX8212" fmla="*/ 3120959 w 9586368"/>
              <a:gd name="connsiteY8212" fmla="*/ 496707 h 6479439"/>
              <a:gd name="connsiteX8213" fmla="*/ 3111048 w 9586368"/>
              <a:gd name="connsiteY8213" fmla="*/ 496707 h 6479439"/>
              <a:gd name="connsiteX8214" fmla="*/ 3107029 w 9586368"/>
              <a:gd name="connsiteY8214" fmla="*/ 492670 h 6479439"/>
              <a:gd name="connsiteX8215" fmla="*/ 3107029 w 9586368"/>
              <a:gd name="connsiteY8215" fmla="*/ 482801 h 6479439"/>
              <a:gd name="connsiteX8216" fmla="*/ 2871737 w 9586368"/>
              <a:gd name="connsiteY8216" fmla="*/ 478760 h 6479439"/>
              <a:gd name="connsiteX8217" fmla="*/ 2881646 w 9586368"/>
              <a:gd name="connsiteY8217" fmla="*/ 478760 h 6479439"/>
              <a:gd name="connsiteX8218" fmla="*/ 2885666 w 9586368"/>
              <a:gd name="connsiteY8218" fmla="*/ 482801 h 6479439"/>
              <a:gd name="connsiteX8219" fmla="*/ 2885666 w 9586368"/>
              <a:gd name="connsiteY8219" fmla="*/ 492670 h 6479439"/>
              <a:gd name="connsiteX8220" fmla="*/ 2881646 w 9586368"/>
              <a:gd name="connsiteY8220" fmla="*/ 496707 h 6479439"/>
              <a:gd name="connsiteX8221" fmla="*/ 2871737 w 9586368"/>
              <a:gd name="connsiteY8221" fmla="*/ 496707 h 6479439"/>
              <a:gd name="connsiteX8222" fmla="*/ 2867717 w 9586368"/>
              <a:gd name="connsiteY8222" fmla="*/ 492670 h 6479439"/>
              <a:gd name="connsiteX8223" fmla="*/ 2867717 w 9586368"/>
              <a:gd name="connsiteY8223" fmla="*/ 482801 h 6479439"/>
              <a:gd name="connsiteX8224" fmla="*/ 2632423 w 9586368"/>
              <a:gd name="connsiteY8224" fmla="*/ 478760 h 6479439"/>
              <a:gd name="connsiteX8225" fmla="*/ 2642334 w 9586368"/>
              <a:gd name="connsiteY8225" fmla="*/ 478760 h 6479439"/>
              <a:gd name="connsiteX8226" fmla="*/ 2646352 w 9586368"/>
              <a:gd name="connsiteY8226" fmla="*/ 482801 h 6479439"/>
              <a:gd name="connsiteX8227" fmla="*/ 2646352 w 9586368"/>
              <a:gd name="connsiteY8227" fmla="*/ 492670 h 6479439"/>
              <a:gd name="connsiteX8228" fmla="*/ 2642334 w 9586368"/>
              <a:gd name="connsiteY8228" fmla="*/ 496707 h 6479439"/>
              <a:gd name="connsiteX8229" fmla="*/ 2632423 w 9586368"/>
              <a:gd name="connsiteY8229" fmla="*/ 496707 h 6479439"/>
              <a:gd name="connsiteX8230" fmla="*/ 2628404 w 9586368"/>
              <a:gd name="connsiteY8230" fmla="*/ 492670 h 6479439"/>
              <a:gd name="connsiteX8231" fmla="*/ 2628404 w 9586368"/>
              <a:gd name="connsiteY8231" fmla="*/ 482801 h 6479439"/>
              <a:gd name="connsiteX8232" fmla="*/ 2393104 w 9586368"/>
              <a:gd name="connsiteY8232" fmla="*/ 478760 h 6479439"/>
              <a:gd name="connsiteX8233" fmla="*/ 2403015 w 9586368"/>
              <a:gd name="connsiteY8233" fmla="*/ 478760 h 6479439"/>
              <a:gd name="connsiteX8234" fmla="*/ 2407034 w 9586368"/>
              <a:gd name="connsiteY8234" fmla="*/ 482801 h 6479439"/>
              <a:gd name="connsiteX8235" fmla="*/ 2407034 w 9586368"/>
              <a:gd name="connsiteY8235" fmla="*/ 492670 h 6479439"/>
              <a:gd name="connsiteX8236" fmla="*/ 2403015 w 9586368"/>
              <a:gd name="connsiteY8236" fmla="*/ 496707 h 6479439"/>
              <a:gd name="connsiteX8237" fmla="*/ 2393104 w 9586368"/>
              <a:gd name="connsiteY8237" fmla="*/ 496707 h 6479439"/>
              <a:gd name="connsiteX8238" fmla="*/ 2389087 w 9586368"/>
              <a:gd name="connsiteY8238" fmla="*/ 492670 h 6479439"/>
              <a:gd name="connsiteX8239" fmla="*/ 2389087 w 9586368"/>
              <a:gd name="connsiteY8239" fmla="*/ 482801 h 6479439"/>
              <a:gd name="connsiteX8240" fmla="*/ 4546929 w 9586368"/>
              <a:gd name="connsiteY8240" fmla="*/ 478748 h 6479439"/>
              <a:gd name="connsiteX8241" fmla="*/ 4556840 w 9586368"/>
              <a:gd name="connsiteY8241" fmla="*/ 478748 h 6479439"/>
              <a:gd name="connsiteX8242" fmla="*/ 4560859 w 9586368"/>
              <a:gd name="connsiteY8242" fmla="*/ 482789 h 6479439"/>
              <a:gd name="connsiteX8243" fmla="*/ 4560859 w 9586368"/>
              <a:gd name="connsiteY8243" fmla="*/ 492657 h 6479439"/>
              <a:gd name="connsiteX8244" fmla="*/ 4556840 w 9586368"/>
              <a:gd name="connsiteY8244" fmla="*/ 496695 h 6479439"/>
              <a:gd name="connsiteX8245" fmla="*/ 4546929 w 9586368"/>
              <a:gd name="connsiteY8245" fmla="*/ 496695 h 6479439"/>
              <a:gd name="connsiteX8246" fmla="*/ 4542910 w 9586368"/>
              <a:gd name="connsiteY8246" fmla="*/ 492657 h 6479439"/>
              <a:gd name="connsiteX8247" fmla="*/ 4542910 w 9586368"/>
              <a:gd name="connsiteY8247" fmla="*/ 482789 h 6479439"/>
              <a:gd name="connsiteX8248" fmla="*/ 4307612 w 9586368"/>
              <a:gd name="connsiteY8248" fmla="*/ 478748 h 6479439"/>
              <a:gd name="connsiteX8249" fmla="*/ 4317523 w 9586368"/>
              <a:gd name="connsiteY8249" fmla="*/ 478748 h 6479439"/>
              <a:gd name="connsiteX8250" fmla="*/ 4321543 w 9586368"/>
              <a:gd name="connsiteY8250" fmla="*/ 482789 h 6479439"/>
              <a:gd name="connsiteX8251" fmla="*/ 4321543 w 9586368"/>
              <a:gd name="connsiteY8251" fmla="*/ 492657 h 6479439"/>
              <a:gd name="connsiteX8252" fmla="*/ 4317523 w 9586368"/>
              <a:gd name="connsiteY8252" fmla="*/ 496695 h 6479439"/>
              <a:gd name="connsiteX8253" fmla="*/ 4307612 w 9586368"/>
              <a:gd name="connsiteY8253" fmla="*/ 496695 h 6479439"/>
              <a:gd name="connsiteX8254" fmla="*/ 4303595 w 9586368"/>
              <a:gd name="connsiteY8254" fmla="*/ 492657 h 6479439"/>
              <a:gd name="connsiteX8255" fmla="*/ 4303595 w 9586368"/>
              <a:gd name="connsiteY8255" fmla="*/ 482789 h 6479439"/>
              <a:gd name="connsiteX8256" fmla="*/ 4068297 w 9586368"/>
              <a:gd name="connsiteY8256" fmla="*/ 478748 h 6479439"/>
              <a:gd name="connsiteX8257" fmla="*/ 4078210 w 9586368"/>
              <a:gd name="connsiteY8257" fmla="*/ 478748 h 6479439"/>
              <a:gd name="connsiteX8258" fmla="*/ 4082229 w 9586368"/>
              <a:gd name="connsiteY8258" fmla="*/ 482789 h 6479439"/>
              <a:gd name="connsiteX8259" fmla="*/ 4082229 w 9586368"/>
              <a:gd name="connsiteY8259" fmla="*/ 492657 h 6479439"/>
              <a:gd name="connsiteX8260" fmla="*/ 4078210 w 9586368"/>
              <a:gd name="connsiteY8260" fmla="*/ 496695 h 6479439"/>
              <a:gd name="connsiteX8261" fmla="*/ 4068297 w 9586368"/>
              <a:gd name="connsiteY8261" fmla="*/ 496695 h 6479439"/>
              <a:gd name="connsiteX8262" fmla="*/ 4064278 w 9586368"/>
              <a:gd name="connsiteY8262" fmla="*/ 492657 h 6479439"/>
              <a:gd name="connsiteX8263" fmla="*/ 4064278 w 9586368"/>
              <a:gd name="connsiteY8263" fmla="*/ 482789 h 6479439"/>
              <a:gd name="connsiteX8264" fmla="*/ 3828990 w 9586368"/>
              <a:gd name="connsiteY8264" fmla="*/ 478748 h 6479439"/>
              <a:gd name="connsiteX8265" fmla="*/ 3838899 w 9586368"/>
              <a:gd name="connsiteY8265" fmla="*/ 478748 h 6479439"/>
              <a:gd name="connsiteX8266" fmla="*/ 3842917 w 9586368"/>
              <a:gd name="connsiteY8266" fmla="*/ 482789 h 6479439"/>
              <a:gd name="connsiteX8267" fmla="*/ 3842917 w 9586368"/>
              <a:gd name="connsiteY8267" fmla="*/ 492657 h 6479439"/>
              <a:gd name="connsiteX8268" fmla="*/ 3838899 w 9586368"/>
              <a:gd name="connsiteY8268" fmla="*/ 496695 h 6479439"/>
              <a:gd name="connsiteX8269" fmla="*/ 3828990 w 9586368"/>
              <a:gd name="connsiteY8269" fmla="*/ 496695 h 6479439"/>
              <a:gd name="connsiteX8270" fmla="*/ 3824971 w 9586368"/>
              <a:gd name="connsiteY8270" fmla="*/ 492657 h 6479439"/>
              <a:gd name="connsiteX8271" fmla="*/ 3824971 w 9586368"/>
              <a:gd name="connsiteY8271" fmla="*/ 482789 h 6479439"/>
              <a:gd name="connsiteX8272" fmla="*/ 3589676 w 9586368"/>
              <a:gd name="connsiteY8272" fmla="*/ 478748 h 6479439"/>
              <a:gd name="connsiteX8273" fmla="*/ 3599585 w 9586368"/>
              <a:gd name="connsiteY8273" fmla="*/ 478748 h 6479439"/>
              <a:gd name="connsiteX8274" fmla="*/ 3603604 w 9586368"/>
              <a:gd name="connsiteY8274" fmla="*/ 482789 h 6479439"/>
              <a:gd name="connsiteX8275" fmla="*/ 3603604 w 9586368"/>
              <a:gd name="connsiteY8275" fmla="*/ 492657 h 6479439"/>
              <a:gd name="connsiteX8276" fmla="*/ 3599585 w 9586368"/>
              <a:gd name="connsiteY8276" fmla="*/ 496695 h 6479439"/>
              <a:gd name="connsiteX8277" fmla="*/ 3589676 w 9586368"/>
              <a:gd name="connsiteY8277" fmla="*/ 496695 h 6479439"/>
              <a:gd name="connsiteX8278" fmla="*/ 3585657 w 9586368"/>
              <a:gd name="connsiteY8278" fmla="*/ 492657 h 6479439"/>
              <a:gd name="connsiteX8279" fmla="*/ 3585657 w 9586368"/>
              <a:gd name="connsiteY8279" fmla="*/ 482789 h 6479439"/>
              <a:gd name="connsiteX8280" fmla="*/ 5743412 w 9586368"/>
              <a:gd name="connsiteY8280" fmla="*/ 478736 h 6479439"/>
              <a:gd name="connsiteX8281" fmla="*/ 5753323 w 9586368"/>
              <a:gd name="connsiteY8281" fmla="*/ 478736 h 6479439"/>
              <a:gd name="connsiteX8282" fmla="*/ 5757342 w 9586368"/>
              <a:gd name="connsiteY8282" fmla="*/ 482776 h 6479439"/>
              <a:gd name="connsiteX8283" fmla="*/ 5757342 w 9586368"/>
              <a:gd name="connsiteY8283" fmla="*/ 492645 h 6479439"/>
              <a:gd name="connsiteX8284" fmla="*/ 5753323 w 9586368"/>
              <a:gd name="connsiteY8284" fmla="*/ 496683 h 6479439"/>
              <a:gd name="connsiteX8285" fmla="*/ 5743412 w 9586368"/>
              <a:gd name="connsiteY8285" fmla="*/ 496683 h 6479439"/>
              <a:gd name="connsiteX8286" fmla="*/ 5739393 w 9586368"/>
              <a:gd name="connsiteY8286" fmla="*/ 492645 h 6479439"/>
              <a:gd name="connsiteX8287" fmla="*/ 5739393 w 9586368"/>
              <a:gd name="connsiteY8287" fmla="*/ 482776 h 6479439"/>
              <a:gd name="connsiteX8288" fmla="*/ 5504099 w 9586368"/>
              <a:gd name="connsiteY8288" fmla="*/ 478736 h 6479439"/>
              <a:gd name="connsiteX8289" fmla="*/ 5514010 w 9586368"/>
              <a:gd name="connsiteY8289" fmla="*/ 478736 h 6479439"/>
              <a:gd name="connsiteX8290" fmla="*/ 5518029 w 9586368"/>
              <a:gd name="connsiteY8290" fmla="*/ 482776 h 6479439"/>
              <a:gd name="connsiteX8291" fmla="*/ 5518029 w 9586368"/>
              <a:gd name="connsiteY8291" fmla="*/ 492645 h 6479439"/>
              <a:gd name="connsiteX8292" fmla="*/ 5514010 w 9586368"/>
              <a:gd name="connsiteY8292" fmla="*/ 496683 h 6479439"/>
              <a:gd name="connsiteX8293" fmla="*/ 5504099 w 9586368"/>
              <a:gd name="connsiteY8293" fmla="*/ 496683 h 6479439"/>
              <a:gd name="connsiteX8294" fmla="*/ 5500080 w 9586368"/>
              <a:gd name="connsiteY8294" fmla="*/ 492645 h 6479439"/>
              <a:gd name="connsiteX8295" fmla="*/ 5500080 w 9586368"/>
              <a:gd name="connsiteY8295" fmla="*/ 482776 h 6479439"/>
              <a:gd name="connsiteX8296" fmla="*/ 5264784 w 9586368"/>
              <a:gd name="connsiteY8296" fmla="*/ 478736 h 6479439"/>
              <a:gd name="connsiteX8297" fmla="*/ 5274694 w 9586368"/>
              <a:gd name="connsiteY8297" fmla="*/ 478736 h 6479439"/>
              <a:gd name="connsiteX8298" fmla="*/ 5278713 w 9586368"/>
              <a:gd name="connsiteY8298" fmla="*/ 482776 h 6479439"/>
              <a:gd name="connsiteX8299" fmla="*/ 5278713 w 9586368"/>
              <a:gd name="connsiteY8299" fmla="*/ 492645 h 6479439"/>
              <a:gd name="connsiteX8300" fmla="*/ 5274694 w 9586368"/>
              <a:gd name="connsiteY8300" fmla="*/ 496683 h 6479439"/>
              <a:gd name="connsiteX8301" fmla="*/ 5264784 w 9586368"/>
              <a:gd name="connsiteY8301" fmla="*/ 496683 h 6479439"/>
              <a:gd name="connsiteX8302" fmla="*/ 5260765 w 9586368"/>
              <a:gd name="connsiteY8302" fmla="*/ 492645 h 6479439"/>
              <a:gd name="connsiteX8303" fmla="*/ 5260765 w 9586368"/>
              <a:gd name="connsiteY8303" fmla="*/ 482776 h 6479439"/>
              <a:gd name="connsiteX8304" fmla="*/ 5025470 w 9586368"/>
              <a:gd name="connsiteY8304" fmla="*/ 478736 h 6479439"/>
              <a:gd name="connsiteX8305" fmla="*/ 5035381 w 9586368"/>
              <a:gd name="connsiteY8305" fmla="*/ 478736 h 6479439"/>
              <a:gd name="connsiteX8306" fmla="*/ 5039400 w 9586368"/>
              <a:gd name="connsiteY8306" fmla="*/ 482776 h 6479439"/>
              <a:gd name="connsiteX8307" fmla="*/ 5039400 w 9586368"/>
              <a:gd name="connsiteY8307" fmla="*/ 492645 h 6479439"/>
              <a:gd name="connsiteX8308" fmla="*/ 5035381 w 9586368"/>
              <a:gd name="connsiteY8308" fmla="*/ 496683 h 6479439"/>
              <a:gd name="connsiteX8309" fmla="*/ 5025470 w 9586368"/>
              <a:gd name="connsiteY8309" fmla="*/ 496683 h 6479439"/>
              <a:gd name="connsiteX8310" fmla="*/ 5021451 w 9586368"/>
              <a:gd name="connsiteY8310" fmla="*/ 492645 h 6479439"/>
              <a:gd name="connsiteX8311" fmla="*/ 5021451 w 9586368"/>
              <a:gd name="connsiteY8311" fmla="*/ 482776 h 6479439"/>
              <a:gd name="connsiteX8312" fmla="*/ 4786241 w 9586368"/>
              <a:gd name="connsiteY8312" fmla="*/ 478736 h 6479439"/>
              <a:gd name="connsiteX8313" fmla="*/ 4796152 w 9586368"/>
              <a:gd name="connsiteY8313" fmla="*/ 478736 h 6479439"/>
              <a:gd name="connsiteX8314" fmla="*/ 4800171 w 9586368"/>
              <a:gd name="connsiteY8314" fmla="*/ 482776 h 6479439"/>
              <a:gd name="connsiteX8315" fmla="*/ 4800171 w 9586368"/>
              <a:gd name="connsiteY8315" fmla="*/ 492645 h 6479439"/>
              <a:gd name="connsiteX8316" fmla="*/ 4796152 w 9586368"/>
              <a:gd name="connsiteY8316" fmla="*/ 496683 h 6479439"/>
              <a:gd name="connsiteX8317" fmla="*/ 4786241 w 9586368"/>
              <a:gd name="connsiteY8317" fmla="*/ 496683 h 6479439"/>
              <a:gd name="connsiteX8318" fmla="*/ 4782224 w 9586368"/>
              <a:gd name="connsiteY8318" fmla="*/ 492645 h 6479439"/>
              <a:gd name="connsiteX8319" fmla="*/ 4782224 w 9586368"/>
              <a:gd name="connsiteY8319" fmla="*/ 482776 h 6479439"/>
              <a:gd name="connsiteX8320" fmla="*/ 6939983 w 9586368"/>
              <a:gd name="connsiteY8320" fmla="*/ 478724 h 6479439"/>
              <a:gd name="connsiteX8321" fmla="*/ 6949894 w 9586368"/>
              <a:gd name="connsiteY8321" fmla="*/ 478724 h 6479439"/>
              <a:gd name="connsiteX8322" fmla="*/ 6953913 w 9586368"/>
              <a:gd name="connsiteY8322" fmla="*/ 482764 h 6479439"/>
              <a:gd name="connsiteX8323" fmla="*/ 6953913 w 9586368"/>
              <a:gd name="connsiteY8323" fmla="*/ 492633 h 6479439"/>
              <a:gd name="connsiteX8324" fmla="*/ 6949894 w 9586368"/>
              <a:gd name="connsiteY8324" fmla="*/ 496671 h 6479439"/>
              <a:gd name="connsiteX8325" fmla="*/ 6939983 w 9586368"/>
              <a:gd name="connsiteY8325" fmla="*/ 496671 h 6479439"/>
              <a:gd name="connsiteX8326" fmla="*/ 6935964 w 9586368"/>
              <a:gd name="connsiteY8326" fmla="*/ 492633 h 6479439"/>
              <a:gd name="connsiteX8327" fmla="*/ 6935964 w 9586368"/>
              <a:gd name="connsiteY8327" fmla="*/ 482764 h 6479439"/>
              <a:gd name="connsiteX8328" fmla="*/ 6700670 w 9586368"/>
              <a:gd name="connsiteY8328" fmla="*/ 478724 h 6479439"/>
              <a:gd name="connsiteX8329" fmla="*/ 6710581 w 9586368"/>
              <a:gd name="connsiteY8329" fmla="*/ 478724 h 6479439"/>
              <a:gd name="connsiteX8330" fmla="*/ 6714600 w 9586368"/>
              <a:gd name="connsiteY8330" fmla="*/ 482764 h 6479439"/>
              <a:gd name="connsiteX8331" fmla="*/ 6714600 w 9586368"/>
              <a:gd name="connsiteY8331" fmla="*/ 492633 h 6479439"/>
              <a:gd name="connsiteX8332" fmla="*/ 6710581 w 9586368"/>
              <a:gd name="connsiteY8332" fmla="*/ 496671 h 6479439"/>
              <a:gd name="connsiteX8333" fmla="*/ 6700670 w 9586368"/>
              <a:gd name="connsiteY8333" fmla="*/ 496671 h 6479439"/>
              <a:gd name="connsiteX8334" fmla="*/ 6696651 w 9586368"/>
              <a:gd name="connsiteY8334" fmla="*/ 492633 h 6479439"/>
              <a:gd name="connsiteX8335" fmla="*/ 6696651 w 9586368"/>
              <a:gd name="connsiteY8335" fmla="*/ 482764 h 6479439"/>
              <a:gd name="connsiteX8336" fmla="*/ 6461356 w 9586368"/>
              <a:gd name="connsiteY8336" fmla="*/ 478724 h 6479439"/>
              <a:gd name="connsiteX8337" fmla="*/ 6471266 w 9586368"/>
              <a:gd name="connsiteY8337" fmla="*/ 478724 h 6479439"/>
              <a:gd name="connsiteX8338" fmla="*/ 6475285 w 9586368"/>
              <a:gd name="connsiteY8338" fmla="*/ 482764 h 6479439"/>
              <a:gd name="connsiteX8339" fmla="*/ 6475285 w 9586368"/>
              <a:gd name="connsiteY8339" fmla="*/ 492633 h 6479439"/>
              <a:gd name="connsiteX8340" fmla="*/ 6471266 w 9586368"/>
              <a:gd name="connsiteY8340" fmla="*/ 496671 h 6479439"/>
              <a:gd name="connsiteX8341" fmla="*/ 6461356 w 9586368"/>
              <a:gd name="connsiteY8341" fmla="*/ 496671 h 6479439"/>
              <a:gd name="connsiteX8342" fmla="*/ 6457337 w 9586368"/>
              <a:gd name="connsiteY8342" fmla="*/ 492633 h 6479439"/>
              <a:gd name="connsiteX8343" fmla="*/ 6457337 w 9586368"/>
              <a:gd name="connsiteY8343" fmla="*/ 482764 h 6479439"/>
              <a:gd name="connsiteX8344" fmla="*/ 6222042 w 9586368"/>
              <a:gd name="connsiteY8344" fmla="*/ 478724 h 6479439"/>
              <a:gd name="connsiteX8345" fmla="*/ 6231952 w 9586368"/>
              <a:gd name="connsiteY8345" fmla="*/ 478724 h 6479439"/>
              <a:gd name="connsiteX8346" fmla="*/ 6235971 w 9586368"/>
              <a:gd name="connsiteY8346" fmla="*/ 482764 h 6479439"/>
              <a:gd name="connsiteX8347" fmla="*/ 6235971 w 9586368"/>
              <a:gd name="connsiteY8347" fmla="*/ 492633 h 6479439"/>
              <a:gd name="connsiteX8348" fmla="*/ 6231952 w 9586368"/>
              <a:gd name="connsiteY8348" fmla="*/ 496671 h 6479439"/>
              <a:gd name="connsiteX8349" fmla="*/ 6222042 w 9586368"/>
              <a:gd name="connsiteY8349" fmla="*/ 496671 h 6479439"/>
              <a:gd name="connsiteX8350" fmla="*/ 6218023 w 9586368"/>
              <a:gd name="connsiteY8350" fmla="*/ 492633 h 6479439"/>
              <a:gd name="connsiteX8351" fmla="*/ 6218023 w 9586368"/>
              <a:gd name="connsiteY8351" fmla="*/ 482764 h 6479439"/>
              <a:gd name="connsiteX8352" fmla="*/ 5982729 w 9586368"/>
              <a:gd name="connsiteY8352" fmla="*/ 478724 h 6479439"/>
              <a:gd name="connsiteX8353" fmla="*/ 5992639 w 9586368"/>
              <a:gd name="connsiteY8353" fmla="*/ 478724 h 6479439"/>
              <a:gd name="connsiteX8354" fmla="*/ 5996658 w 9586368"/>
              <a:gd name="connsiteY8354" fmla="*/ 482764 h 6479439"/>
              <a:gd name="connsiteX8355" fmla="*/ 5996658 w 9586368"/>
              <a:gd name="connsiteY8355" fmla="*/ 492633 h 6479439"/>
              <a:gd name="connsiteX8356" fmla="*/ 5992639 w 9586368"/>
              <a:gd name="connsiteY8356" fmla="*/ 496671 h 6479439"/>
              <a:gd name="connsiteX8357" fmla="*/ 5982729 w 9586368"/>
              <a:gd name="connsiteY8357" fmla="*/ 496671 h 6479439"/>
              <a:gd name="connsiteX8358" fmla="*/ 5978710 w 9586368"/>
              <a:gd name="connsiteY8358" fmla="*/ 492633 h 6479439"/>
              <a:gd name="connsiteX8359" fmla="*/ 5978710 w 9586368"/>
              <a:gd name="connsiteY8359" fmla="*/ 482764 h 6479439"/>
              <a:gd name="connsiteX8360" fmla="*/ 7897241 w 9586368"/>
              <a:gd name="connsiteY8360" fmla="*/ 478712 h 6479439"/>
              <a:gd name="connsiteX8361" fmla="*/ 7907151 w 9586368"/>
              <a:gd name="connsiteY8361" fmla="*/ 478712 h 6479439"/>
              <a:gd name="connsiteX8362" fmla="*/ 7911170 w 9586368"/>
              <a:gd name="connsiteY8362" fmla="*/ 482751 h 6479439"/>
              <a:gd name="connsiteX8363" fmla="*/ 7911170 w 9586368"/>
              <a:gd name="connsiteY8363" fmla="*/ 492620 h 6479439"/>
              <a:gd name="connsiteX8364" fmla="*/ 7907151 w 9586368"/>
              <a:gd name="connsiteY8364" fmla="*/ 496658 h 6479439"/>
              <a:gd name="connsiteX8365" fmla="*/ 7897241 w 9586368"/>
              <a:gd name="connsiteY8365" fmla="*/ 496658 h 6479439"/>
              <a:gd name="connsiteX8366" fmla="*/ 7893222 w 9586368"/>
              <a:gd name="connsiteY8366" fmla="*/ 492620 h 6479439"/>
              <a:gd name="connsiteX8367" fmla="*/ 7893222 w 9586368"/>
              <a:gd name="connsiteY8367" fmla="*/ 482751 h 6479439"/>
              <a:gd name="connsiteX8368" fmla="*/ 7657926 w 9586368"/>
              <a:gd name="connsiteY8368" fmla="*/ 478712 h 6479439"/>
              <a:gd name="connsiteX8369" fmla="*/ 7667836 w 9586368"/>
              <a:gd name="connsiteY8369" fmla="*/ 478712 h 6479439"/>
              <a:gd name="connsiteX8370" fmla="*/ 7671855 w 9586368"/>
              <a:gd name="connsiteY8370" fmla="*/ 482751 h 6479439"/>
              <a:gd name="connsiteX8371" fmla="*/ 7671855 w 9586368"/>
              <a:gd name="connsiteY8371" fmla="*/ 492620 h 6479439"/>
              <a:gd name="connsiteX8372" fmla="*/ 7667836 w 9586368"/>
              <a:gd name="connsiteY8372" fmla="*/ 496659 h 6479439"/>
              <a:gd name="connsiteX8373" fmla="*/ 7657926 w 9586368"/>
              <a:gd name="connsiteY8373" fmla="*/ 496659 h 6479439"/>
              <a:gd name="connsiteX8374" fmla="*/ 7653906 w 9586368"/>
              <a:gd name="connsiteY8374" fmla="*/ 492620 h 6479439"/>
              <a:gd name="connsiteX8375" fmla="*/ 7653906 w 9586368"/>
              <a:gd name="connsiteY8375" fmla="*/ 482751 h 6479439"/>
              <a:gd name="connsiteX8376" fmla="*/ 7418611 w 9586368"/>
              <a:gd name="connsiteY8376" fmla="*/ 478712 h 6479439"/>
              <a:gd name="connsiteX8377" fmla="*/ 7428521 w 9586368"/>
              <a:gd name="connsiteY8377" fmla="*/ 478712 h 6479439"/>
              <a:gd name="connsiteX8378" fmla="*/ 7432540 w 9586368"/>
              <a:gd name="connsiteY8378" fmla="*/ 482751 h 6479439"/>
              <a:gd name="connsiteX8379" fmla="*/ 7432540 w 9586368"/>
              <a:gd name="connsiteY8379" fmla="*/ 492620 h 6479439"/>
              <a:gd name="connsiteX8380" fmla="*/ 7428521 w 9586368"/>
              <a:gd name="connsiteY8380" fmla="*/ 496659 h 6479439"/>
              <a:gd name="connsiteX8381" fmla="*/ 7418611 w 9586368"/>
              <a:gd name="connsiteY8381" fmla="*/ 496659 h 6479439"/>
              <a:gd name="connsiteX8382" fmla="*/ 7414592 w 9586368"/>
              <a:gd name="connsiteY8382" fmla="*/ 492620 h 6479439"/>
              <a:gd name="connsiteX8383" fmla="*/ 7414592 w 9586368"/>
              <a:gd name="connsiteY8383" fmla="*/ 482751 h 6479439"/>
              <a:gd name="connsiteX8384" fmla="*/ 7179298 w 9586368"/>
              <a:gd name="connsiteY8384" fmla="*/ 478712 h 6479439"/>
              <a:gd name="connsiteX8385" fmla="*/ 7189209 w 9586368"/>
              <a:gd name="connsiteY8385" fmla="*/ 478712 h 6479439"/>
              <a:gd name="connsiteX8386" fmla="*/ 7193228 w 9586368"/>
              <a:gd name="connsiteY8386" fmla="*/ 482751 h 6479439"/>
              <a:gd name="connsiteX8387" fmla="*/ 7193228 w 9586368"/>
              <a:gd name="connsiteY8387" fmla="*/ 492620 h 6479439"/>
              <a:gd name="connsiteX8388" fmla="*/ 7189209 w 9586368"/>
              <a:gd name="connsiteY8388" fmla="*/ 496659 h 6479439"/>
              <a:gd name="connsiteX8389" fmla="*/ 7179298 w 9586368"/>
              <a:gd name="connsiteY8389" fmla="*/ 496659 h 6479439"/>
              <a:gd name="connsiteX8390" fmla="*/ 7175279 w 9586368"/>
              <a:gd name="connsiteY8390" fmla="*/ 492620 h 6479439"/>
              <a:gd name="connsiteX8391" fmla="*/ 7175279 w 9586368"/>
              <a:gd name="connsiteY8391" fmla="*/ 482751 h 6479439"/>
              <a:gd name="connsiteX8392" fmla="*/ 8136553 w 9586368"/>
              <a:gd name="connsiteY8392" fmla="*/ 478711 h 6479439"/>
              <a:gd name="connsiteX8393" fmla="*/ 8146464 w 9586368"/>
              <a:gd name="connsiteY8393" fmla="*/ 478711 h 6479439"/>
              <a:gd name="connsiteX8394" fmla="*/ 8150483 w 9586368"/>
              <a:gd name="connsiteY8394" fmla="*/ 482751 h 6479439"/>
              <a:gd name="connsiteX8395" fmla="*/ 8150483 w 9586368"/>
              <a:gd name="connsiteY8395" fmla="*/ 492620 h 6479439"/>
              <a:gd name="connsiteX8396" fmla="*/ 8146464 w 9586368"/>
              <a:gd name="connsiteY8396" fmla="*/ 496658 h 6479439"/>
              <a:gd name="connsiteX8397" fmla="*/ 8136553 w 9586368"/>
              <a:gd name="connsiteY8397" fmla="*/ 496658 h 6479439"/>
              <a:gd name="connsiteX8398" fmla="*/ 8132534 w 9586368"/>
              <a:gd name="connsiteY8398" fmla="*/ 492620 h 6479439"/>
              <a:gd name="connsiteX8399" fmla="*/ 8132534 w 9586368"/>
              <a:gd name="connsiteY8399" fmla="*/ 482751 h 6479439"/>
              <a:gd name="connsiteX8400" fmla="*/ 9093811 w 9586368"/>
              <a:gd name="connsiteY8400" fmla="*/ 478699 h 6479439"/>
              <a:gd name="connsiteX8401" fmla="*/ 9103722 w 9586368"/>
              <a:gd name="connsiteY8401" fmla="*/ 478699 h 6479439"/>
              <a:gd name="connsiteX8402" fmla="*/ 9107741 w 9586368"/>
              <a:gd name="connsiteY8402" fmla="*/ 482738 h 6479439"/>
              <a:gd name="connsiteX8403" fmla="*/ 9107741 w 9586368"/>
              <a:gd name="connsiteY8403" fmla="*/ 492608 h 6479439"/>
              <a:gd name="connsiteX8404" fmla="*/ 9103722 w 9586368"/>
              <a:gd name="connsiteY8404" fmla="*/ 496646 h 6479439"/>
              <a:gd name="connsiteX8405" fmla="*/ 9093811 w 9586368"/>
              <a:gd name="connsiteY8405" fmla="*/ 496646 h 6479439"/>
              <a:gd name="connsiteX8406" fmla="*/ 9089792 w 9586368"/>
              <a:gd name="connsiteY8406" fmla="*/ 492608 h 6479439"/>
              <a:gd name="connsiteX8407" fmla="*/ 9089792 w 9586368"/>
              <a:gd name="connsiteY8407" fmla="*/ 482738 h 6479439"/>
              <a:gd name="connsiteX8408" fmla="*/ 8854496 w 9586368"/>
              <a:gd name="connsiteY8408" fmla="*/ 478699 h 6479439"/>
              <a:gd name="connsiteX8409" fmla="*/ 8864407 w 9586368"/>
              <a:gd name="connsiteY8409" fmla="*/ 478699 h 6479439"/>
              <a:gd name="connsiteX8410" fmla="*/ 8868426 w 9586368"/>
              <a:gd name="connsiteY8410" fmla="*/ 482738 h 6479439"/>
              <a:gd name="connsiteX8411" fmla="*/ 8868426 w 9586368"/>
              <a:gd name="connsiteY8411" fmla="*/ 492608 h 6479439"/>
              <a:gd name="connsiteX8412" fmla="*/ 8864407 w 9586368"/>
              <a:gd name="connsiteY8412" fmla="*/ 496647 h 6479439"/>
              <a:gd name="connsiteX8413" fmla="*/ 8854496 w 9586368"/>
              <a:gd name="connsiteY8413" fmla="*/ 496647 h 6479439"/>
              <a:gd name="connsiteX8414" fmla="*/ 8850477 w 9586368"/>
              <a:gd name="connsiteY8414" fmla="*/ 492608 h 6479439"/>
              <a:gd name="connsiteX8415" fmla="*/ 8850477 w 9586368"/>
              <a:gd name="connsiteY8415" fmla="*/ 482738 h 6479439"/>
              <a:gd name="connsiteX8416" fmla="*/ 8615184 w 9586368"/>
              <a:gd name="connsiteY8416" fmla="*/ 478699 h 6479439"/>
              <a:gd name="connsiteX8417" fmla="*/ 8625095 w 9586368"/>
              <a:gd name="connsiteY8417" fmla="*/ 478699 h 6479439"/>
              <a:gd name="connsiteX8418" fmla="*/ 8629114 w 9586368"/>
              <a:gd name="connsiteY8418" fmla="*/ 482739 h 6479439"/>
              <a:gd name="connsiteX8419" fmla="*/ 8629114 w 9586368"/>
              <a:gd name="connsiteY8419" fmla="*/ 492608 h 6479439"/>
              <a:gd name="connsiteX8420" fmla="*/ 8625095 w 9586368"/>
              <a:gd name="connsiteY8420" fmla="*/ 496647 h 6479439"/>
              <a:gd name="connsiteX8421" fmla="*/ 8615184 w 9586368"/>
              <a:gd name="connsiteY8421" fmla="*/ 496647 h 6479439"/>
              <a:gd name="connsiteX8422" fmla="*/ 8611165 w 9586368"/>
              <a:gd name="connsiteY8422" fmla="*/ 492608 h 6479439"/>
              <a:gd name="connsiteX8423" fmla="*/ 8611165 w 9586368"/>
              <a:gd name="connsiteY8423" fmla="*/ 482739 h 6479439"/>
              <a:gd name="connsiteX8424" fmla="*/ 8375869 w 9586368"/>
              <a:gd name="connsiteY8424" fmla="*/ 478699 h 6479439"/>
              <a:gd name="connsiteX8425" fmla="*/ 8385779 w 9586368"/>
              <a:gd name="connsiteY8425" fmla="*/ 478699 h 6479439"/>
              <a:gd name="connsiteX8426" fmla="*/ 8389799 w 9586368"/>
              <a:gd name="connsiteY8426" fmla="*/ 482739 h 6479439"/>
              <a:gd name="connsiteX8427" fmla="*/ 8389799 w 9586368"/>
              <a:gd name="connsiteY8427" fmla="*/ 492608 h 6479439"/>
              <a:gd name="connsiteX8428" fmla="*/ 8385779 w 9586368"/>
              <a:gd name="connsiteY8428" fmla="*/ 496647 h 6479439"/>
              <a:gd name="connsiteX8429" fmla="*/ 8375869 w 9586368"/>
              <a:gd name="connsiteY8429" fmla="*/ 496647 h 6479439"/>
              <a:gd name="connsiteX8430" fmla="*/ 8371850 w 9586368"/>
              <a:gd name="connsiteY8430" fmla="*/ 492608 h 6479439"/>
              <a:gd name="connsiteX8431" fmla="*/ 8371850 w 9586368"/>
              <a:gd name="connsiteY8431" fmla="*/ 482739 h 6479439"/>
              <a:gd name="connsiteX8432" fmla="*/ 9333125 w 9586368"/>
              <a:gd name="connsiteY8432" fmla="*/ 478698 h 6479439"/>
              <a:gd name="connsiteX8433" fmla="*/ 9343036 w 9586368"/>
              <a:gd name="connsiteY8433" fmla="*/ 478698 h 6479439"/>
              <a:gd name="connsiteX8434" fmla="*/ 9347055 w 9586368"/>
              <a:gd name="connsiteY8434" fmla="*/ 482738 h 6479439"/>
              <a:gd name="connsiteX8435" fmla="*/ 9347055 w 9586368"/>
              <a:gd name="connsiteY8435" fmla="*/ 492608 h 6479439"/>
              <a:gd name="connsiteX8436" fmla="*/ 9343036 w 9586368"/>
              <a:gd name="connsiteY8436" fmla="*/ 496646 h 6479439"/>
              <a:gd name="connsiteX8437" fmla="*/ 9333125 w 9586368"/>
              <a:gd name="connsiteY8437" fmla="*/ 496646 h 6479439"/>
              <a:gd name="connsiteX8438" fmla="*/ 9329106 w 9586368"/>
              <a:gd name="connsiteY8438" fmla="*/ 492608 h 6479439"/>
              <a:gd name="connsiteX8439" fmla="*/ 9329106 w 9586368"/>
              <a:gd name="connsiteY8439" fmla="*/ 482738 h 6479439"/>
              <a:gd name="connsiteX8440" fmla="*/ 9572438 w 9586368"/>
              <a:gd name="connsiteY8440" fmla="*/ 478687 h 6479439"/>
              <a:gd name="connsiteX8441" fmla="*/ 9582349 w 9586368"/>
              <a:gd name="connsiteY8441" fmla="*/ 478687 h 6479439"/>
              <a:gd name="connsiteX8442" fmla="*/ 9586368 w 9586368"/>
              <a:gd name="connsiteY8442" fmla="*/ 482726 h 6479439"/>
              <a:gd name="connsiteX8443" fmla="*/ 9586368 w 9586368"/>
              <a:gd name="connsiteY8443" fmla="*/ 492596 h 6479439"/>
              <a:gd name="connsiteX8444" fmla="*/ 9582349 w 9586368"/>
              <a:gd name="connsiteY8444" fmla="*/ 496634 h 6479439"/>
              <a:gd name="connsiteX8445" fmla="*/ 9572438 w 9586368"/>
              <a:gd name="connsiteY8445" fmla="*/ 496634 h 6479439"/>
              <a:gd name="connsiteX8446" fmla="*/ 9568419 w 9586368"/>
              <a:gd name="connsiteY8446" fmla="*/ 492596 h 6479439"/>
              <a:gd name="connsiteX8447" fmla="*/ 9568419 w 9586368"/>
              <a:gd name="connsiteY8447" fmla="*/ 482726 h 6479439"/>
              <a:gd name="connsiteX8448" fmla="*/ 721976 w 9586368"/>
              <a:gd name="connsiteY8448" fmla="*/ 478660 h 6479439"/>
              <a:gd name="connsiteX8449" fmla="*/ 731886 w 9586368"/>
              <a:gd name="connsiteY8449" fmla="*/ 478660 h 6479439"/>
              <a:gd name="connsiteX8450" fmla="*/ 735905 w 9586368"/>
              <a:gd name="connsiteY8450" fmla="*/ 482698 h 6479439"/>
              <a:gd name="connsiteX8451" fmla="*/ 735905 w 9586368"/>
              <a:gd name="connsiteY8451" fmla="*/ 492569 h 6479439"/>
              <a:gd name="connsiteX8452" fmla="*/ 731886 w 9586368"/>
              <a:gd name="connsiteY8452" fmla="*/ 496608 h 6479439"/>
              <a:gd name="connsiteX8453" fmla="*/ 721976 w 9586368"/>
              <a:gd name="connsiteY8453" fmla="*/ 496608 h 6479439"/>
              <a:gd name="connsiteX8454" fmla="*/ 717957 w 9586368"/>
              <a:gd name="connsiteY8454" fmla="*/ 492569 h 6479439"/>
              <a:gd name="connsiteX8455" fmla="*/ 717957 w 9586368"/>
              <a:gd name="connsiteY8455" fmla="*/ 482698 h 6479439"/>
              <a:gd name="connsiteX8456" fmla="*/ 482664 w 9586368"/>
              <a:gd name="connsiteY8456" fmla="*/ 478660 h 6479439"/>
              <a:gd name="connsiteX8457" fmla="*/ 492574 w 9586368"/>
              <a:gd name="connsiteY8457" fmla="*/ 478660 h 6479439"/>
              <a:gd name="connsiteX8458" fmla="*/ 496593 w 9586368"/>
              <a:gd name="connsiteY8458" fmla="*/ 482698 h 6479439"/>
              <a:gd name="connsiteX8459" fmla="*/ 496593 w 9586368"/>
              <a:gd name="connsiteY8459" fmla="*/ 492569 h 6479439"/>
              <a:gd name="connsiteX8460" fmla="*/ 492574 w 9586368"/>
              <a:gd name="connsiteY8460" fmla="*/ 496608 h 6479439"/>
              <a:gd name="connsiteX8461" fmla="*/ 482664 w 9586368"/>
              <a:gd name="connsiteY8461" fmla="*/ 496608 h 6479439"/>
              <a:gd name="connsiteX8462" fmla="*/ 478645 w 9586368"/>
              <a:gd name="connsiteY8462" fmla="*/ 492569 h 6479439"/>
              <a:gd name="connsiteX8463" fmla="*/ 478645 w 9586368"/>
              <a:gd name="connsiteY8463" fmla="*/ 482698 h 6479439"/>
              <a:gd name="connsiteX8464" fmla="*/ 243350 w 9586368"/>
              <a:gd name="connsiteY8464" fmla="*/ 478660 h 6479439"/>
              <a:gd name="connsiteX8465" fmla="*/ 253260 w 9586368"/>
              <a:gd name="connsiteY8465" fmla="*/ 478660 h 6479439"/>
              <a:gd name="connsiteX8466" fmla="*/ 257279 w 9586368"/>
              <a:gd name="connsiteY8466" fmla="*/ 482698 h 6479439"/>
              <a:gd name="connsiteX8467" fmla="*/ 257279 w 9586368"/>
              <a:gd name="connsiteY8467" fmla="*/ 492569 h 6479439"/>
              <a:gd name="connsiteX8468" fmla="*/ 253260 w 9586368"/>
              <a:gd name="connsiteY8468" fmla="*/ 496608 h 6479439"/>
              <a:gd name="connsiteX8469" fmla="*/ 243350 w 9586368"/>
              <a:gd name="connsiteY8469" fmla="*/ 496608 h 6479439"/>
              <a:gd name="connsiteX8470" fmla="*/ 239331 w 9586368"/>
              <a:gd name="connsiteY8470" fmla="*/ 492569 h 6479439"/>
              <a:gd name="connsiteX8471" fmla="*/ 239331 w 9586368"/>
              <a:gd name="connsiteY8471" fmla="*/ 482698 h 6479439"/>
              <a:gd name="connsiteX8472" fmla="*/ 4037 w 9586368"/>
              <a:gd name="connsiteY8472" fmla="*/ 478660 h 6479439"/>
              <a:gd name="connsiteX8473" fmla="*/ 13947 w 9586368"/>
              <a:gd name="connsiteY8473" fmla="*/ 478660 h 6479439"/>
              <a:gd name="connsiteX8474" fmla="*/ 17966 w 9586368"/>
              <a:gd name="connsiteY8474" fmla="*/ 482698 h 6479439"/>
              <a:gd name="connsiteX8475" fmla="*/ 17966 w 9586368"/>
              <a:gd name="connsiteY8475" fmla="*/ 492569 h 6479439"/>
              <a:gd name="connsiteX8476" fmla="*/ 13947 w 9586368"/>
              <a:gd name="connsiteY8476" fmla="*/ 496608 h 6479439"/>
              <a:gd name="connsiteX8477" fmla="*/ 4037 w 9586368"/>
              <a:gd name="connsiteY8477" fmla="*/ 496608 h 6479439"/>
              <a:gd name="connsiteX8478" fmla="*/ 18 w 9586368"/>
              <a:gd name="connsiteY8478" fmla="*/ 492569 h 6479439"/>
              <a:gd name="connsiteX8479" fmla="*/ 18 w 9586368"/>
              <a:gd name="connsiteY8479" fmla="*/ 482698 h 6479439"/>
              <a:gd name="connsiteX8480" fmla="*/ 1679220 w 9586368"/>
              <a:gd name="connsiteY8480" fmla="*/ 478650 h 6479439"/>
              <a:gd name="connsiteX8481" fmla="*/ 1689130 w 9586368"/>
              <a:gd name="connsiteY8481" fmla="*/ 478650 h 6479439"/>
              <a:gd name="connsiteX8482" fmla="*/ 1693149 w 9586368"/>
              <a:gd name="connsiteY8482" fmla="*/ 482688 h 6479439"/>
              <a:gd name="connsiteX8483" fmla="*/ 1693149 w 9586368"/>
              <a:gd name="connsiteY8483" fmla="*/ 492559 h 6479439"/>
              <a:gd name="connsiteX8484" fmla="*/ 1689130 w 9586368"/>
              <a:gd name="connsiteY8484" fmla="*/ 496598 h 6479439"/>
              <a:gd name="connsiteX8485" fmla="*/ 1679220 w 9586368"/>
              <a:gd name="connsiteY8485" fmla="*/ 496598 h 6479439"/>
              <a:gd name="connsiteX8486" fmla="*/ 1675200 w 9586368"/>
              <a:gd name="connsiteY8486" fmla="*/ 492559 h 6479439"/>
              <a:gd name="connsiteX8487" fmla="*/ 1675200 w 9586368"/>
              <a:gd name="connsiteY8487" fmla="*/ 482688 h 6479439"/>
              <a:gd name="connsiteX8488" fmla="*/ 1439902 w 9586368"/>
              <a:gd name="connsiteY8488" fmla="*/ 478650 h 6479439"/>
              <a:gd name="connsiteX8489" fmla="*/ 1449812 w 9586368"/>
              <a:gd name="connsiteY8489" fmla="*/ 478650 h 6479439"/>
              <a:gd name="connsiteX8490" fmla="*/ 1453831 w 9586368"/>
              <a:gd name="connsiteY8490" fmla="*/ 482688 h 6479439"/>
              <a:gd name="connsiteX8491" fmla="*/ 1453831 w 9586368"/>
              <a:gd name="connsiteY8491" fmla="*/ 492559 h 6479439"/>
              <a:gd name="connsiteX8492" fmla="*/ 1449812 w 9586368"/>
              <a:gd name="connsiteY8492" fmla="*/ 496598 h 6479439"/>
              <a:gd name="connsiteX8493" fmla="*/ 1439902 w 9586368"/>
              <a:gd name="connsiteY8493" fmla="*/ 496598 h 6479439"/>
              <a:gd name="connsiteX8494" fmla="*/ 1435883 w 9586368"/>
              <a:gd name="connsiteY8494" fmla="*/ 492559 h 6479439"/>
              <a:gd name="connsiteX8495" fmla="*/ 1435883 w 9586368"/>
              <a:gd name="connsiteY8495" fmla="*/ 482688 h 6479439"/>
              <a:gd name="connsiteX8496" fmla="*/ 1200585 w 9586368"/>
              <a:gd name="connsiteY8496" fmla="*/ 478650 h 6479439"/>
              <a:gd name="connsiteX8497" fmla="*/ 1210496 w 9586368"/>
              <a:gd name="connsiteY8497" fmla="*/ 478650 h 6479439"/>
              <a:gd name="connsiteX8498" fmla="*/ 1214515 w 9586368"/>
              <a:gd name="connsiteY8498" fmla="*/ 482689 h 6479439"/>
              <a:gd name="connsiteX8499" fmla="*/ 1214515 w 9586368"/>
              <a:gd name="connsiteY8499" fmla="*/ 492559 h 6479439"/>
              <a:gd name="connsiteX8500" fmla="*/ 1210496 w 9586368"/>
              <a:gd name="connsiteY8500" fmla="*/ 496598 h 6479439"/>
              <a:gd name="connsiteX8501" fmla="*/ 1200585 w 9586368"/>
              <a:gd name="connsiteY8501" fmla="*/ 496598 h 6479439"/>
              <a:gd name="connsiteX8502" fmla="*/ 1196567 w 9586368"/>
              <a:gd name="connsiteY8502" fmla="*/ 492559 h 6479439"/>
              <a:gd name="connsiteX8503" fmla="*/ 1196567 w 9586368"/>
              <a:gd name="connsiteY8503" fmla="*/ 482689 h 6479439"/>
              <a:gd name="connsiteX8504" fmla="*/ 961273 w 9586368"/>
              <a:gd name="connsiteY8504" fmla="*/ 478650 h 6479439"/>
              <a:gd name="connsiteX8505" fmla="*/ 971183 w 9586368"/>
              <a:gd name="connsiteY8505" fmla="*/ 478650 h 6479439"/>
              <a:gd name="connsiteX8506" fmla="*/ 975202 w 9586368"/>
              <a:gd name="connsiteY8506" fmla="*/ 482689 h 6479439"/>
              <a:gd name="connsiteX8507" fmla="*/ 975202 w 9586368"/>
              <a:gd name="connsiteY8507" fmla="*/ 492559 h 6479439"/>
              <a:gd name="connsiteX8508" fmla="*/ 971183 w 9586368"/>
              <a:gd name="connsiteY8508" fmla="*/ 496598 h 6479439"/>
              <a:gd name="connsiteX8509" fmla="*/ 961273 w 9586368"/>
              <a:gd name="connsiteY8509" fmla="*/ 496598 h 6479439"/>
              <a:gd name="connsiteX8510" fmla="*/ 957254 w 9586368"/>
              <a:gd name="connsiteY8510" fmla="*/ 492559 h 6479439"/>
              <a:gd name="connsiteX8511" fmla="*/ 957254 w 9586368"/>
              <a:gd name="connsiteY8511" fmla="*/ 482689 h 6479439"/>
              <a:gd name="connsiteX8512" fmla="*/ 1918515 w 9586368"/>
              <a:gd name="connsiteY8512" fmla="*/ 478641 h 6479439"/>
              <a:gd name="connsiteX8513" fmla="*/ 1928425 w 9586368"/>
              <a:gd name="connsiteY8513" fmla="*/ 478641 h 6479439"/>
              <a:gd name="connsiteX8514" fmla="*/ 1932444 w 9586368"/>
              <a:gd name="connsiteY8514" fmla="*/ 482679 h 6479439"/>
              <a:gd name="connsiteX8515" fmla="*/ 1932444 w 9586368"/>
              <a:gd name="connsiteY8515" fmla="*/ 492550 h 6479439"/>
              <a:gd name="connsiteX8516" fmla="*/ 1928425 w 9586368"/>
              <a:gd name="connsiteY8516" fmla="*/ 496589 h 6479439"/>
              <a:gd name="connsiteX8517" fmla="*/ 1918515 w 9586368"/>
              <a:gd name="connsiteY8517" fmla="*/ 496589 h 6479439"/>
              <a:gd name="connsiteX8518" fmla="*/ 1914495 w 9586368"/>
              <a:gd name="connsiteY8518" fmla="*/ 492550 h 6479439"/>
              <a:gd name="connsiteX8519" fmla="*/ 1914495 w 9586368"/>
              <a:gd name="connsiteY8519" fmla="*/ 482679 h 6479439"/>
              <a:gd name="connsiteX8520" fmla="*/ 2157823 w 9586368"/>
              <a:gd name="connsiteY8520" fmla="*/ 478638 h 6479439"/>
              <a:gd name="connsiteX8521" fmla="*/ 2167734 w 9586368"/>
              <a:gd name="connsiteY8521" fmla="*/ 478638 h 6479439"/>
              <a:gd name="connsiteX8522" fmla="*/ 2171753 w 9586368"/>
              <a:gd name="connsiteY8522" fmla="*/ 482677 h 6479439"/>
              <a:gd name="connsiteX8523" fmla="*/ 2171753 w 9586368"/>
              <a:gd name="connsiteY8523" fmla="*/ 492548 h 6479439"/>
              <a:gd name="connsiteX8524" fmla="*/ 2167734 w 9586368"/>
              <a:gd name="connsiteY8524" fmla="*/ 496587 h 6479439"/>
              <a:gd name="connsiteX8525" fmla="*/ 2157823 w 9586368"/>
              <a:gd name="connsiteY8525" fmla="*/ 496587 h 6479439"/>
              <a:gd name="connsiteX8526" fmla="*/ 2153804 w 9586368"/>
              <a:gd name="connsiteY8526" fmla="*/ 492548 h 6479439"/>
              <a:gd name="connsiteX8527" fmla="*/ 2153804 w 9586368"/>
              <a:gd name="connsiteY8527" fmla="*/ 482677 h 6479439"/>
              <a:gd name="connsiteX8528" fmla="*/ 2632423 w 9586368"/>
              <a:gd name="connsiteY8528" fmla="*/ 239432 h 6479439"/>
              <a:gd name="connsiteX8529" fmla="*/ 2642334 w 9586368"/>
              <a:gd name="connsiteY8529" fmla="*/ 239432 h 6479439"/>
              <a:gd name="connsiteX8530" fmla="*/ 2646352 w 9586368"/>
              <a:gd name="connsiteY8530" fmla="*/ 243470 h 6479439"/>
              <a:gd name="connsiteX8531" fmla="*/ 2646352 w 9586368"/>
              <a:gd name="connsiteY8531" fmla="*/ 253341 h 6479439"/>
              <a:gd name="connsiteX8532" fmla="*/ 2642334 w 9586368"/>
              <a:gd name="connsiteY8532" fmla="*/ 257380 h 6479439"/>
              <a:gd name="connsiteX8533" fmla="*/ 2632423 w 9586368"/>
              <a:gd name="connsiteY8533" fmla="*/ 257380 h 6479439"/>
              <a:gd name="connsiteX8534" fmla="*/ 2628404 w 9586368"/>
              <a:gd name="connsiteY8534" fmla="*/ 253341 h 6479439"/>
              <a:gd name="connsiteX8535" fmla="*/ 2628404 w 9586368"/>
              <a:gd name="connsiteY8535" fmla="*/ 243470 h 6479439"/>
              <a:gd name="connsiteX8536" fmla="*/ 2393104 w 9586368"/>
              <a:gd name="connsiteY8536" fmla="*/ 239432 h 6479439"/>
              <a:gd name="connsiteX8537" fmla="*/ 2403015 w 9586368"/>
              <a:gd name="connsiteY8537" fmla="*/ 239432 h 6479439"/>
              <a:gd name="connsiteX8538" fmla="*/ 2407034 w 9586368"/>
              <a:gd name="connsiteY8538" fmla="*/ 243470 h 6479439"/>
              <a:gd name="connsiteX8539" fmla="*/ 2407034 w 9586368"/>
              <a:gd name="connsiteY8539" fmla="*/ 253341 h 6479439"/>
              <a:gd name="connsiteX8540" fmla="*/ 2403015 w 9586368"/>
              <a:gd name="connsiteY8540" fmla="*/ 257380 h 6479439"/>
              <a:gd name="connsiteX8541" fmla="*/ 2393104 w 9586368"/>
              <a:gd name="connsiteY8541" fmla="*/ 257380 h 6479439"/>
              <a:gd name="connsiteX8542" fmla="*/ 2389087 w 9586368"/>
              <a:gd name="connsiteY8542" fmla="*/ 253341 h 6479439"/>
              <a:gd name="connsiteX8543" fmla="*/ 2389087 w 9586368"/>
              <a:gd name="connsiteY8543" fmla="*/ 243470 h 6479439"/>
              <a:gd name="connsiteX8544" fmla="*/ 3350359 w 9586368"/>
              <a:gd name="connsiteY8544" fmla="*/ 239432 h 6479439"/>
              <a:gd name="connsiteX8545" fmla="*/ 3360268 w 9586368"/>
              <a:gd name="connsiteY8545" fmla="*/ 239432 h 6479439"/>
              <a:gd name="connsiteX8546" fmla="*/ 3364287 w 9586368"/>
              <a:gd name="connsiteY8546" fmla="*/ 243470 h 6479439"/>
              <a:gd name="connsiteX8547" fmla="*/ 3364287 w 9586368"/>
              <a:gd name="connsiteY8547" fmla="*/ 253341 h 6479439"/>
              <a:gd name="connsiteX8548" fmla="*/ 3360268 w 9586368"/>
              <a:gd name="connsiteY8548" fmla="*/ 257380 h 6479439"/>
              <a:gd name="connsiteX8549" fmla="*/ 3350359 w 9586368"/>
              <a:gd name="connsiteY8549" fmla="*/ 257380 h 6479439"/>
              <a:gd name="connsiteX8550" fmla="*/ 3346340 w 9586368"/>
              <a:gd name="connsiteY8550" fmla="*/ 253341 h 6479439"/>
              <a:gd name="connsiteX8551" fmla="*/ 3346340 w 9586368"/>
              <a:gd name="connsiteY8551" fmla="*/ 243470 h 6479439"/>
              <a:gd name="connsiteX8552" fmla="*/ 3111048 w 9586368"/>
              <a:gd name="connsiteY8552" fmla="*/ 239432 h 6479439"/>
              <a:gd name="connsiteX8553" fmla="*/ 3120959 w 9586368"/>
              <a:gd name="connsiteY8553" fmla="*/ 239432 h 6479439"/>
              <a:gd name="connsiteX8554" fmla="*/ 3124977 w 9586368"/>
              <a:gd name="connsiteY8554" fmla="*/ 243470 h 6479439"/>
              <a:gd name="connsiteX8555" fmla="*/ 3124977 w 9586368"/>
              <a:gd name="connsiteY8555" fmla="*/ 253341 h 6479439"/>
              <a:gd name="connsiteX8556" fmla="*/ 3120959 w 9586368"/>
              <a:gd name="connsiteY8556" fmla="*/ 257380 h 6479439"/>
              <a:gd name="connsiteX8557" fmla="*/ 3111048 w 9586368"/>
              <a:gd name="connsiteY8557" fmla="*/ 257380 h 6479439"/>
              <a:gd name="connsiteX8558" fmla="*/ 3107029 w 9586368"/>
              <a:gd name="connsiteY8558" fmla="*/ 253341 h 6479439"/>
              <a:gd name="connsiteX8559" fmla="*/ 3107029 w 9586368"/>
              <a:gd name="connsiteY8559" fmla="*/ 243470 h 6479439"/>
              <a:gd name="connsiteX8560" fmla="*/ 2871737 w 9586368"/>
              <a:gd name="connsiteY8560" fmla="*/ 239432 h 6479439"/>
              <a:gd name="connsiteX8561" fmla="*/ 2881646 w 9586368"/>
              <a:gd name="connsiteY8561" fmla="*/ 239432 h 6479439"/>
              <a:gd name="connsiteX8562" fmla="*/ 2885666 w 9586368"/>
              <a:gd name="connsiteY8562" fmla="*/ 243470 h 6479439"/>
              <a:gd name="connsiteX8563" fmla="*/ 2885666 w 9586368"/>
              <a:gd name="connsiteY8563" fmla="*/ 253341 h 6479439"/>
              <a:gd name="connsiteX8564" fmla="*/ 2881646 w 9586368"/>
              <a:gd name="connsiteY8564" fmla="*/ 257380 h 6479439"/>
              <a:gd name="connsiteX8565" fmla="*/ 2871737 w 9586368"/>
              <a:gd name="connsiteY8565" fmla="*/ 257380 h 6479439"/>
              <a:gd name="connsiteX8566" fmla="*/ 2867717 w 9586368"/>
              <a:gd name="connsiteY8566" fmla="*/ 253341 h 6479439"/>
              <a:gd name="connsiteX8567" fmla="*/ 2867717 w 9586368"/>
              <a:gd name="connsiteY8567" fmla="*/ 243470 h 6479439"/>
              <a:gd name="connsiteX8568" fmla="*/ 3828990 w 9586368"/>
              <a:gd name="connsiteY8568" fmla="*/ 239420 h 6479439"/>
              <a:gd name="connsiteX8569" fmla="*/ 3838899 w 9586368"/>
              <a:gd name="connsiteY8569" fmla="*/ 239420 h 6479439"/>
              <a:gd name="connsiteX8570" fmla="*/ 3842917 w 9586368"/>
              <a:gd name="connsiteY8570" fmla="*/ 243457 h 6479439"/>
              <a:gd name="connsiteX8571" fmla="*/ 3842917 w 9586368"/>
              <a:gd name="connsiteY8571" fmla="*/ 253328 h 6479439"/>
              <a:gd name="connsiteX8572" fmla="*/ 3838899 w 9586368"/>
              <a:gd name="connsiteY8572" fmla="*/ 257367 h 6479439"/>
              <a:gd name="connsiteX8573" fmla="*/ 3828990 w 9586368"/>
              <a:gd name="connsiteY8573" fmla="*/ 257367 h 6479439"/>
              <a:gd name="connsiteX8574" fmla="*/ 3824971 w 9586368"/>
              <a:gd name="connsiteY8574" fmla="*/ 253328 h 6479439"/>
              <a:gd name="connsiteX8575" fmla="*/ 3824971 w 9586368"/>
              <a:gd name="connsiteY8575" fmla="*/ 243457 h 6479439"/>
              <a:gd name="connsiteX8576" fmla="*/ 3589676 w 9586368"/>
              <a:gd name="connsiteY8576" fmla="*/ 239420 h 6479439"/>
              <a:gd name="connsiteX8577" fmla="*/ 3599585 w 9586368"/>
              <a:gd name="connsiteY8577" fmla="*/ 239420 h 6479439"/>
              <a:gd name="connsiteX8578" fmla="*/ 3603604 w 9586368"/>
              <a:gd name="connsiteY8578" fmla="*/ 243457 h 6479439"/>
              <a:gd name="connsiteX8579" fmla="*/ 3603604 w 9586368"/>
              <a:gd name="connsiteY8579" fmla="*/ 253328 h 6479439"/>
              <a:gd name="connsiteX8580" fmla="*/ 3599585 w 9586368"/>
              <a:gd name="connsiteY8580" fmla="*/ 257367 h 6479439"/>
              <a:gd name="connsiteX8581" fmla="*/ 3589676 w 9586368"/>
              <a:gd name="connsiteY8581" fmla="*/ 257367 h 6479439"/>
              <a:gd name="connsiteX8582" fmla="*/ 3585657 w 9586368"/>
              <a:gd name="connsiteY8582" fmla="*/ 253328 h 6479439"/>
              <a:gd name="connsiteX8583" fmla="*/ 3585657 w 9586368"/>
              <a:gd name="connsiteY8583" fmla="*/ 243457 h 6479439"/>
              <a:gd name="connsiteX8584" fmla="*/ 4546929 w 9586368"/>
              <a:gd name="connsiteY8584" fmla="*/ 239419 h 6479439"/>
              <a:gd name="connsiteX8585" fmla="*/ 4556840 w 9586368"/>
              <a:gd name="connsiteY8585" fmla="*/ 239419 h 6479439"/>
              <a:gd name="connsiteX8586" fmla="*/ 4560859 w 9586368"/>
              <a:gd name="connsiteY8586" fmla="*/ 243457 h 6479439"/>
              <a:gd name="connsiteX8587" fmla="*/ 4560859 w 9586368"/>
              <a:gd name="connsiteY8587" fmla="*/ 253328 h 6479439"/>
              <a:gd name="connsiteX8588" fmla="*/ 4556840 w 9586368"/>
              <a:gd name="connsiteY8588" fmla="*/ 257367 h 6479439"/>
              <a:gd name="connsiteX8589" fmla="*/ 4546929 w 9586368"/>
              <a:gd name="connsiteY8589" fmla="*/ 257367 h 6479439"/>
              <a:gd name="connsiteX8590" fmla="*/ 4542910 w 9586368"/>
              <a:gd name="connsiteY8590" fmla="*/ 253328 h 6479439"/>
              <a:gd name="connsiteX8591" fmla="*/ 4542910 w 9586368"/>
              <a:gd name="connsiteY8591" fmla="*/ 243457 h 6479439"/>
              <a:gd name="connsiteX8592" fmla="*/ 4307612 w 9586368"/>
              <a:gd name="connsiteY8592" fmla="*/ 239419 h 6479439"/>
              <a:gd name="connsiteX8593" fmla="*/ 4317523 w 9586368"/>
              <a:gd name="connsiteY8593" fmla="*/ 239419 h 6479439"/>
              <a:gd name="connsiteX8594" fmla="*/ 4321543 w 9586368"/>
              <a:gd name="connsiteY8594" fmla="*/ 243457 h 6479439"/>
              <a:gd name="connsiteX8595" fmla="*/ 4321543 w 9586368"/>
              <a:gd name="connsiteY8595" fmla="*/ 253328 h 6479439"/>
              <a:gd name="connsiteX8596" fmla="*/ 4317523 w 9586368"/>
              <a:gd name="connsiteY8596" fmla="*/ 257367 h 6479439"/>
              <a:gd name="connsiteX8597" fmla="*/ 4307612 w 9586368"/>
              <a:gd name="connsiteY8597" fmla="*/ 257367 h 6479439"/>
              <a:gd name="connsiteX8598" fmla="*/ 4303595 w 9586368"/>
              <a:gd name="connsiteY8598" fmla="*/ 253328 h 6479439"/>
              <a:gd name="connsiteX8599" fmla="*/ 4303595 w 9586368"/>
              <a:gd name="connsiteY8599" fmla="*/ 243457 h 6479439"/>
              <a:gd name="connsiteX8600" fmla="*/ 4068297 w 9586368"/>
              <a:gd name="connsiteY8600" fmla="*/ 239419 h 6479439"/>
              <a:gd name="connsiteX8601" fmla="*/ 4078210 w 9586368"/>
              <a:gd name="connsiteY8601" fmla="*/ 239419 h 6479439"/>
              <a:gd name="connsiteX8602" fmla="*/ 4082229 w 9586368"/>
              <a:gd name="connsiteY8602" fmla="*/ 243457 h 6479439"/>
              <a:gd name="connsiteX8603" fmla="*/ 4082229 w 9586368"/>
              <a:gd name="connsiteY8603" fmla="*/ 253328 h 6479439"/>
              <a:gd name="connsiteX8604" fmla="*/ 4078210 w 9586368"/>
              <a:gd name="connsiteY8604" fmla="*/ 257367 h 6479439"/>
              <a:gd name="connsiteX8605" fmla="*/ 4068297 w 9586368"/>
              <a:gd name="connsiteY8605" fmla="*/ 257367 h 6479439"/>
              <a:gd name="connsiteX8606" fmla="*/ 4064278 w 9586368"/>
              <a:gd name="connsiteY8606" fmla="*/ 253328 h 6479439"/>
              <a:gd name="connsiteX8607" fmla="*/ 4064278 w 9586368"/>
              <a:gd name="connsiteY8607" fmla="*/ 243457 h 6479439"/>
              <a:gd name="connsiteX8608" fmla="*/ 5025470 w 9586368"/>
              <a:gd name="connsiteY8608" fmla="*/ 239407 h 6479439"/>
              <a:gd name="connsiteX8609" fmla="*/ 5035381 w 9586368"/>
              <a:gd name="connsiteY8609" fmla="*/ 239407 h 6479439"/>
              <a:gd name="connsiteX8610" fmla="*/ 5039400 w 9586368"/>
              <a:gd name="connsiteY8610" fmla="*/ 243445 h 6479439"/>
              <a:gd name="connsiteX8611" fmla="*/ 5039400 w 9586368"/>
              <a:gd name="connsiteY8611" fmla="*/ 253316 h 6479439"/>
              <a:gd name="connsiteX8612" fmla="*/ 5035381 w 9586368"/>
              <a:gd name="connsiteY8612" fmla="*/ 257355 h 6479439"/>
              <a:gd name="connsiteX8613" fmla="*/ 5025470 w 9586368"/>
              <a:gd name="connsiteY8613" fmla="*/ 257355 h 6479439"/>
              <a:gd name="connsiteX8614" fmla="*/ 5021451 w 9586368"/>
              <a:gd name="connsiteY8614" fmla="*/ 253316 h 6479439"/>
              <a:gd name="connsiteX8615" fmla="*/ 5021451 w 9586368"/>
              <a:gd name="connsiteY8615" fmla="*/ 243445 h 6479439"/>
              <a:gd name="connsiteX8616" fmla="*/ 4786241 w 9586368"/>
              <a:gd name="connsiteY8616" fmla="*/ 239407 h 6479439"/>
              <a:gd name="connsiteX8617" fmla="*/ 4796152 w 9586368"/>
              <a:gd name="connsiteY8617" fmla="*/ 239407 h 6479439"/>
              <a:gd name="connsiteX8618" fmla="*/ 4800171 w 9586368"/>
              <a:gd name="connsiteY8618" fmla="*/ 243445 h 6479439"/>
              <a:gd name="connsiteX8619" fmla="*/ 4800171 w 9586368"/>
              <a:gd name="connsiteY8619" fmla="*/ 253316 h 6479439"/>
              <a:gd name="connsiteX8620" fmla="*/ 4796152 w 9586368"/>
              <a:gd name="connsiteY8620" fmla="*/ 257355 h 6479439"/>
              <a:gd name="connsiteX8621" fmla="*/ 4786241 w 9586368"/>
              <a:gd name="connsiteY8621" fmla="*/ 257355 h 6479439"/>
              <a:gd name="connsiteX8622" fmla="*/ 4782224 w 9586368"/>
              <a:gd name="connsiteY8622" fmla="*/ 253316 h 6479439"/>
              <a:gd name="connsiteX8623" fmla="*/ 4782224 w 9586368"/>
              <a:gd name="connsiteY8623" fmla="*/ 243445 h 6479439"/>
              <a:gd name="connsiteX8624" fmla="*/ 5743412 w 9586368"/>
              <a:gd name="connsiteY8624" fmla="*/ 239407 h 6479439"/>
              <a:gd name="connsiteX8625" fmla="*/ 5753323 w 9586368"/>
              <a:gd name="connsiteY8625" fmla="*/ 239407 h 6479439"/>
              <a:gd name="connsiteX8626" fmla="*/ 5757342 w 9586368"/>
              <a:gd name="connsiteY8626" fmla="*/ 243445 h 6479439"/>
              <a:gd name="connsiteX8627" fmla="*/ 5757342 w 9586368"/>
              <a:gd name="connsiteY8627" fmla="*/ 253316 h 6479439"/>
              <a:gd name="connsiteX8628" fmla="*/ 5753323 w 9586368"/>
              <a:gd name="connsiteY8628" fmla="*/ 257355 h 6479439"/>
              <a:gd name="connsiteX8629" fmla="*/ 5743412 w 9586368"/>
              <a:gd name="connsiteY8629" fmla="*/ 257355 h 6479439"/>
              <a:gd name="connsiteX8630" fmla="*/ 5739393 w 9586368"/>
              <a:gd name="connsiteY8630" fmla="*/ 253316 h 6479439"/>
              <a:gd name="connsiteX8631" fmla="*/ 5739393 w 9586368"/>
              <a:gd name="connsiteY8631" fmla="*/ 243445 h 6479439"/>
              <a:gd name="connsiteX8632" fmla="*/ 5504099 w 9586368"/>
              <a:gd name="connsiteY8632" fmla="*/ 239407 h 6479439"/>
              <a:gd name="connsiteX8633" fmla="*/ 5514010 w 9586368"/>
              <a:gd name="connsiteY8633" fmla="*/ 239407 h 6479439"/>
              <a:gd name="connsiteX8634" fmla="*/ 5518029 w 9586368"/>
              <a:gd name="connsiteY8634" fmla="*/ 243445 h 6479439"/>
              <a:gd name="connsiteX8635" fmla="*/ 5518029 w 9586368"/>
              <a:gd name="connsiteY8635" fmla="*/ 253316 h 6479439"/>
              <a:gd name="connsiteX8636" fmla="*/ 5514010 w 9586368"/>
              <a:gd name="connsiteY8636" fmla="*/ 257355 h 6479439"/>
              <a:gd name="connsiteX8637" fmla="*/ 5504099 w 9586368"/>
              <a:gd name="connsiteY8637" fmla="*/ 257355 h 6479439"/>
              <a:gd name="connsiteX8638" fmla="*/ 5500080 w 9586368"/>
              <a:gd name="connsiteY8638" fmla="*/ 253316 h 6479439"/>
              <a:gd name="connsiteX8639" fmla="*/ 5500080 w 9586368"/>
              <a:gd name="connsiteY8639" fmla="*/ 243445 h 6479439"/>
              <a:gd name="connsiteX8640" fmla="*/ 5264784 w 9586368"/>
              <a:gd name="connsiteY8640" fmla="*/ 239407 h 6479439"/>
              <a:gd name="connsiteX8641" fmla="*/ 5274694 w 9586368"/>
              <a:gd name="connsiteY8641" fmla="*/ 239407 h 6479439"/>
              <a:gd name="connsiteX8642" fmla="*/ 5278713 w 9586368"/>
              <a:gd name="connsiteY8642" fmla="*/ 243445 h 6479439"/>
              <a:gd name="connsiteX8643" fmla="*/ 5278713 w 9586368"/>
              <a:gd name="connsiteY8643" fmla="*/ 253316 h 6479439"/>
              <a:gd name="connsiteX8644" fmla="*/ 5274694 w 9586368"/>
              <a:gd name="connsiteY8644" fmla="*/ 257355 h 6479439"/>
              <a:gd name="connsiteX8645" fmla="*/ 5264784 w 9586368"/>
              <a:gd name="connsiteY8645" fmla="*/ 257355 h 6479439"/>
              <a:gd name="connsiteX8646" fmla="*/ 5260765 w 9586368"/>
              <a:gd name="connsiteY8646" fmla="*/ 253316 h 6479439"/>
              <a:gd name="connsiteX8647" fmla="*/ 5260765 w 9586368"/>
              <a:gd name="connsiteY8647" fmla="*/ 243445 h 6479439"/>
              <a:gd name="connsiteX8648" fmla="*/ 6222042 w 9586368"/>
              <a:gd name="connsiteY8648" fmla="*/ 239395 h 6479439"/>
              <a:gd name="connsiteX8649" fmla="*/ 6231952 w 9586368"/>
              <a:gd name="connsiteY8649" fmla="*/ 239395 h 6479439"/>
              <a:gd name="connsiteX8650" fmla="*/ 6235971 w 9586368"/>
              <a:gd name="connsiteY8650" fmla="*/ 243432 h 6479439"/>
              <a:gd name="connsiteX8651" fmla="*/ 6235971 w 9586368"/>
              <a:gd name="connsiteY8651" fmla="*/ 253303 h 6479439"/>
              <a:gd name="connsiteX8652" fmla="*/ 6231952 w 9586368"/>
              <a:gd name="connsiteY8652" fmla="*/ 257342 h 6479439"/>
              <a:gd name="connsiteX8653" fmla="*/ 6222042 w 9586368"/>
              <a:gd name="connsiteY8653" fmla="*/ 257342 h 6479439"/>
              <a:gd name="connsiteX8654" fmla="*/ 6218023 w 9586368"/>
              <a:gd name="connsiteY8654" fmla="*/ 253303 h 6479439"/>
              <a:gd name="connsiteX8655" fmla="*/ 6218023 w 9586368"/>
              <a:gd name="connsiteY8655" fmla="*/ 243432 h 6479439"/>
              <a:gd name="connsiteX8656" fmla="*/ 5982729 w 9586368"/>
              <a:gd name="connsiteY8656" fmla="*/ 239395 h 6479439"/>
              <a:gd name="connsiteX8657" fmla="*/ 5992639 w 9586368"/>
              <a:gd name="connsiteY8657" fmla="*/ 239395 h 6479439"/>
              <a:gd name="connsiteX8658" fmla="*/ 5996658 w 9586368"/>
              <a:gd name="connsiteY8658" fmla="*/ 243433 h 6479439"/>
              <a:gd name="connsiteX8659" fmla="*/ 5996658 w 9586368"/>
              <a:gd name="connsiteY8659" fmla="*/ 253303 h 6479439"/>
              <a:gd name="connsiteX8660" fmla="*/ 5992639 w 9586368"/>
              <a:gd name="connsiteY8660" fmla="*/ 257342 h 6479439"/>
              <a:gd name="connsiteX8661" fmla="*/ 5982729 w 9586368"/>
              <a:gd name="connsiteY8661" fmla="*/ 257342 h 6479439"/>
              <a:gd name="connsiteX8662" fmla="*/ 5978710 w 9586368"/>
              <a:gd name="connsiteY8662" fmla="*/ 253303 h 6479439"/>
              <a:gd name="connsiteX8663" fmla="*/ 5978710 w 9586368"/>
              <a:gd name="connsiteY8663" fmla="*/ 243433 h 6479439"/>
              <a:gd name="connsiteX8664" fmla="*/ 6939983 w 9586368"/>
              <a:gd name="connsiteY8664" fmla="*/ 239394 h 6479439"/>
              <a:gd name="connsiteX8665" fmla="*/ 6949894 w 9586368"/>
              <a:gd name="connsiteY8665" fmla="*/ 239394 h 6479439"/>
              <a:gd name="connsiteX8666" fmla="*/ 6953913 w 9586368"/>
              <a:gd name="connsiteY8666" fmla="*/ 243432 h 6479439"/>
              <a:gd name="connsiteX8667" fmla="*/ 6953913 w 9586368"/>
              <a:gd name="connsiteY8667" fmla="*/ 253303 h 6479439"/>
              <a:gd name="connsiteX8668" fmla="*/ 6949894 w 9586368"/>
              <a:gd name="connsiteY8668" fmla="*/ 257342 h 6479439"/>
              <a:gd name="connsiteX8669" fmla="*/ 6939983 w 9586368"/>
              <a:gd name="connsiteY8669" fmla="*/ 257342 h 6479439"/>
              <a:gd name="connsiteX8670" fmla="*/ 6935964 w 9586368"/>
              <a:gd name="connsiteY8670" fmla="*/ 253303 h 6479439"/>
              <a:gd name="connsiteX8671" fmla="*/ 6935964 w 9586368"/>
              <a:gd name="connsiteY8671" fmla="*/ 243432 h 6479439"/>
              <a:gd name="connsiteX8672" fmla="*/ 6700670 w 9586368"/>
              <a:gd name="connsiteY8672" fmla="*/ 239394 h 6479439"/>
              <a:gd name="connsiteX8673" fmla="*/ 6710581 w 9586368"/>
              <a:gd name="connsiteY8673" fmla="*/ 239394 h 6479439"/>
              <a:gd name="connsiteX8674" fmla="*/ 6714600 w 9586368"/>
              <a:gd name="connsiteY8674" fmla="*/ 243432 h 6479439"/>
              <a:gd name="connsiteX8675" fmla="*/ 6714600 w 9586368"/>
              <a:gd name="connsiteY8675" fmla="*/ 253303 h 6479439"/>
              <a:gd name="connsiteX8676" fmla="*/ 6710581 w 9586368"/>
              <a:gd name="connsiteY8676" fmla="*/ 257342 h 6479439"/>
              <a:gd name="connsiteX8677" fmla="*/ 6700670 w 9586368"/>
              <a:gd name="connsiteY8677" fmla="*/ 257342 h 6479439"/>
              <a:gd name="connsiteX8678" fmla="*/ 6696651 w 9586368"/>
              <a:gd name="connsiteY8678" fmla="*/ 253303 h 6479439"/>
              <a:gd name="connsiteX8679" fmla="*/ 6696651 w 9586368"/>
              <a:gd name="connsiteY8679" fmla="*/ 243432 h 6479439"/>
              <a:gd name="connsiteX8680" fmla="*/ 6461356 w 9586368"/>
              <a:gd name="connsiteY8680" fmla="*/ 239394 h 6479439"/>
              <a:gd name="connsiteX8681" fmla="*/ 6471266 w 9586368"/>
              <a:gd name="connsiteY8681" fmla="*/ 239394 h 6479439"/>
              <a:gd name="connsiteX8682" fmla="*/ 6475285 w 9586368"/>
              <a:gd name="connsiteY8682" fmla="*/ 243432 h 6479439"/>
              <a:gd name="connsiteX8683" fmla="*/ 6475285 w 9586368"/>
              <a:gd name="connsiteY8683" fmla="*/ 253303 h 6479439"/>
              <a:gd name="connsiteX8684" fmla="*/ 6471266 w 9586368"/>
              <a:gd name="connsiteY8684" fmla="*/ 257342 h 6479439"/>
              <a:gd name="connsiteX8685" fmla="*/ 6461356 w 9586368"/>
              <a:gd name="connsiteY8685" fmla="*/ 257342 h 6479439"/>
              <a:gd name="connsiteX8686" fmla="*/ 6457337 w 9586368"/>
              <a:gd name="connsiteY8686" fmla="*/ 253303 h 6479439"/>
              <a:gd name="connsiteX8687" fmla="*/ 6457337 w 9586368"/>
              <a:gd name="connsiteY8687" fmla="*/ 243432 h 6479439"/>
              <a:gd name="connsiteX8688" fmla="*/ 7418611 w 9586368"/>
              <a:gd name="connsiteY8688" fmla="*/ 239382 h 6479439"/>
              <a:gd name="connsiteX8689" fmla="*/ 7428521 w 9586368"/>
              <a:gd name="connsiteY8689" fmla="*/ 239382 h 6479439"/>
              <a:gd name="connsiteX8690" fmla="*/ 7432540 w 9586368"/>
              <a:gd name="connsiteY8690" fmla="*/ 243420 h 6479439"/>
              <a:gd name="connsiteX8691" fmla="*/ 7432540 w 9586368"/>
              <a:gd name="connsiteY8691" fmla="*/ 253291 h 6479439"/>
              <a:gd name="connsiteX8692" fmla="*/ 7428521 w 9586368"/>
              <a:gd name="connsiteY8692" fmla="*/ 257330 h 6479439"/>
              <a:gd name="connsiteX8693" fmla="*/ 7418611 w 9586368"/>
              <a:gd name="connsiteY8693" fmla="*/ 257330 h 6479439"/>
              <a:gd name="connsiteX8694" fmla="*/ 7414592 w 9586368"/>
              <a:gd name="connsiteY8694" fmla="*/ 253291 h 6479439"/>
              <a:gd name="connsiteX8695" fmla="*/ 7414592 w 9586368"/>
              <a:gd name="connsiteY8695" fmla="*/ 243420 h 6479439"/>
              <a:gd name="connsiteX8696" fmla="*/ 7179298 w 9586368"/>
              <a:gd name="connsiteY8696" fmla="*/ 239382 h 6479439"/>
              <a:gd name="connsiteX8697" fmla="*/ 7189209 w 9586368"/>
              <a:gd name="connsiteY8697" fmla="*/ 239382 h 6479439"/>
              <a:gd name="connsiteX8698" fmla="*/ 7193228 w 9586368"/>
              <a:gd name="connsiteY8698" fmla="*/ 243421 h 6479439"/>
              <a:gd name="connsiteX8699" fmla="*/ 7193228 w 9586368"/>
              <a:gd name="connsiteY8699" fmla="*/ 253292 h 6479439"/>
              <a:gd name="connsiteX8700" fmla="*/ 7189209 w 9586368"/>
              <a:gd name="connsiteY8700" fmla="*/ 257330 h 6479439"/>
              <a:gd name="connsiteX8701" fmla="*/ 7179298 w 9586368"/>
              <a:gd name="connsiteY8701" fmla="*/ 257330 h 6479439"/>
              <a:gd name="connsiteX8702" fmla="*/ 7175279 w 9586368"/>
              <a:gd name="connsiteY8702" fmla="*/ 253292 h 6479439"/>
              <a:gd name="connsiteX8703" fmla="*/ 7175279 w 9586368"/>
              <a:gd name="connsiteY8703" fmla="*/ 243421 h 6479439"/>
              <a:gd name="connsiteX8704" fmla="*/ 8136553 w 9586368"/>
              <a:gd name="connsiteY8704" fmla="*/ 239382 h 6479439"/>
              <a:gd name="connsiteX8705" fmla="*/ 8146464 w 9586368"/>
              <a:gd name="connsiteY8705" fmla="*/ 239382 h 6479439"/>
              <a:gd name="connsiteX8706" fmla="*/ 8150483 w 9586368"/>
              <a:gd name="connsiteY8706" fmla="*/ 243420 h 6479439"/>
              <a:gd name="connsiteX8707" fmla="*/ 8150483 w 9586368"/>
              <a:gd name="connsiteY8707" fmla="*/ 253291 h 6479439"/>
              <a:gd name="connsiteX8708" fmla="*/ 8146464 w 9586368"/>
              <a:gd name="connsiteY8708" fmla="*/ 257330 h 6479439"/>
              <a:gd name="connsiteX8709" fmla="*/ 8136553 w 9586368"/>
              <a:gd name="connsiteY8709" fmla="*/ 257330 h 6479439"/>
              <a:gd name="connsiteX8710" fmla="*/ 8132534 w 9586368"/>
              <a:gd name="connsiteY8710" fmla="*/ 253291 h 6479439"/>
              <a:gd name="connsiteX8711" fmla="*/ 8132534 w 9586368"/>
              <a:gd name="connsiteY8711" fmla="*/ 243420 h 6479439"/>
              <a:gd name="connsiteX8712" fmla="*/ 7897241 w 9586368"/>
              <a:gd name="connsiteY8712" fmla="*/ 239382 h 6479439"/>
              <a:gd name="connsiteX8713" fmla="*/ 7907151 w 9586368"/>
              <a:gd name="connsiteY8713" fmla="*/ 239382 h 6479439"/>
              <a:gd name="connsiteX8714" fmla="*/ 7911170 w 9586368"/>
              <a:gd name="connsiteY8714" fmla="*/ 243420 h 6479439"/>
              <a:gd name="connsiteX8715" fmla="*/ 7911170 w 9586368"/>
              <a:gd name="connsiteY8715" fmla="*/ 253291 h 6479439"/>
              <a:gd name="connsiteX8716" fmla="*/ 7907151 w 9586368"/>
              <a:gd name="connsiteY8716" fmla="*/ 257330 h 6479439"/>
              <a:gd name="connsiteX8717" fmla="*/ 7897241 w 9586368"/>
              <a:gd name="connsiteY8717" fmla="*/ 257330 h 6479439"/>
              <a:gd name="connsiteX8718" fmla="*/ 7893222 w 9586368"/>
              <a:gd name="connsiteY8718" fmla="*/ 253291 h 6479439"/>
              <a:gd name="connsiteX8719" fmla="*/ 7893222 w 9586368"/>
              <a:gd name="connsiteY8719" fmla="*/ 243420 h 6479439"/>
              <a:gd name="connsiteX8720" fmla="*/ 7657926 w 9586368"/>
              <a:gd name="connsiteY8720" fmla="*/ 239382 h 6479439"/>
              <a:gd name="connsiteX8721" fmla="*/ 7667836 w 9586368"/>
              <a:gd name="connsiteY8721" fmla="*/ 239382 h 6479439"/>
              <a:gd name="connsiteX8722" fmla="*/ 7671855 w 9586368"/>
              <a:gd name="connsiteY8722" fmla="*/ 243420 h 6479439"/>
              <a:gd name="connsiteX8723" fmla="*/ 7671855 w 9586368"/>
              <a:gd name="connsiteY8723" fmla="*/ 253291 h 6479439"/>
              <a:gd name="connsiteX8724" fmla="*/ 7667836 w 9586368"/>
              <a:gd name="connsiteY8724" fmla="*/ 257330 h 6479439"/>
              <a:gd name="connsiteX8725" fmla="*/ 7657926 w 9586368"/>
              <a:gd name="connsiteY8725" fmla="*/ 257330 h 6479439"/>
              <a:gd name="connsiteX8726" fmla="*/ 7653906 w 9586368"/>
              <a:gd name="connsiteY8726" fmla="*/ 253291 h 6479439"/>
              <a:gd name="connsiteX8727" fmla="*/ 7653906 w 9586368"/>
              <a:gd name="connsiteY8727" fmla="*/ 243420 h 6479439"/>
              <a:gd name="connsiteX8728" fmla="*/ 1679220 w 9586368"/>
              <a:gd name="connsiteY8728" fmla="*/ 239371 h 6479439"/>
              <a:gd name="connsiteX8729" fmla="*/ 1689131 w 9586368"/>
              <a:gd name="connsiteY8729" fmla="*/ 239371 h 6479439"/>
              <a:gd name="connsiteX8730" fmla="*/ 1693150 w 9586368"/>
              <a:gd name="connsiteY8730" fmla="*/ 243409 h 6479439"/>
              <a:gd name="connsiteX8731" fmla="*/ 1693150 w 9586368"/>
              <a:gd name="connsiteY8731" fmla="*/ 253280 h 6479439"/>
              <a:gd name="connsiteX8732" fmla="*/ 1689131 w 9586368"/>
              <a:gd name="connsiteY8732" fmla="*/ 257319 h 6479439"/>
              <a:gd name="connsiteX8733" fmla="*/ 1679220 w 9586368"/>
              <a:gd name="connsiteY8733" fmla="*/ 257319 h 6479439"/>
              <a:gd name="connsiteX8734" fmla="*/ 1675202 w 9586368"/>
              <a:gd name="connsiteY8734" fmla="*/ 253280 h 6479439"/>
              <a:gd name="connsiteX8735" fmla="*/ 1675202 w 9586368"/>
              <a:gd name="connsiteY8735" fmla="*/ 243409 h 6479439"/>
              <a:gd name="connsiteX8736" fmla="*/ 1439902 w 9586368"/>
              <a:gd name="connsiteY8736" fmla="*/ 239371 h 6479439"/>
              <a:gd name="connsiteX8737" fmla="*/ 1449813 w 9586368"/>
              <a:gd name="connsiteY8737" fmla="*/ 239371 h 6479439"/>
              <a:gd name="connsiteX8738" fmla="*/ 1453832 w 9586368"/>
              <a:gd name="connsiteY8738" fmla="*/ 243409 h 6479439"/>
              <a:gd name="connsiteX8739" fmla="*/ 1453832 w 9586368"/>
              <a:gd name="connsiteY8739" fmla="*/ 253280 h 6479439"/>
              <a:gd name="connsiteX8740" fmla="*/ 1449813 w 9586368"/>
              <a:gd name="connsiteY8740" fmla="*/ 257319 h 6479439"/>
              <a:gd name="connsiteX8741" fmla="*/ 1439902 w 9586368"/>
              <a:gd name="connsiteY8741" fmla="*/ 257319 h 6479439"/>
              <a:gd name="connsiteX8742" fmla="*/ 1435884 w 9586368"/>
              <a:gd name="connsiteY8742" fmla="*/ 253280 h 6479439"/>
              <a:gd name="connsiteX8743" fmla="*/ 1435884 w 9586368"/>
              <a:gd name="connsiteY8743" fmla="*/ 243409 h 6479439"/>
              <a:gd name="connsiteX8744" fmla="*/ 1200587 w 9586368"/>
              <a:gd name="connsiteY8744" fmla="*/ 239371 h 6479439"/>
              <a:gd name="connsiteX8745" fmla="*/ 1210496 w 9586368"/>
              <a:gd name="connsiteY8745" fmla="*/ 239371 h 6479439"/>
              <a:gd name="connsiteX8746" fmla="*/ 1214515 w 9586368"/>
              <a:gd name="connsiteY8746" fmla="*/ 243409 h 6479439"/>
              <a:gd name="connsiteX8747" fmla="*/ 1214515 w 9586368"/>
              <a:gd name="connsiteY8747" fmla="*/ 253280 h 6479439"/>
              <a:gd name="connsiteX8748" fmla="*/ 1210496 w 9586368"/>
              <a:gd name="connsiteY8748" fmla="*/ 257319 h 6479439"/>
              <a:gd name="connsiteX8749" fmla="*/ 1200587 w 9586368"/>
              <a:gd name="connsiteY8749" fmla="*/ 257319 h 6479439"/>
              <a:gd name="connsiteX8750" fmla="*/ 1196567 w 9586368"/>
              <a:gd name="connsiteY8750" fmla="*/ 253280 h 6479439"/>
              <a:gd name="connsiteX8751" fmla="*/ 1196567 w 9586368"/>
              <a:gd name="connsiteY8751" fmla="*/ 243409 h 6479439"/>
              <a:gd name="connsiteX8752" fmla="*/ 961273 w 9586368"/>
              <a:gd name="connsiteY8752" fmla="*/ 239371 h 6479439"/>
              <a:gd name="connsiteX8753" fmla="*/ 971184 w 9586368"/>
              <a:gd name="connsiteY8753" fmla="*/ 239371 h 6479439"/>
              <a:gd name="connsiteX8754" fmla="*/ 975203 w 9586368"/>
              <a:gd name="connsiteY8754" fmla="*/ 243409 h 6479439"/>
              <a:gd name="connsiteX8755" fmla="*/ 975203 w 9586368"/>
              <a:gd name="connsiteY8755" fmla="*/ 253280 h 6479439"/>
              <a:gd name="connsiteX8756" fmla="*/ 971184 w 9586368"/>
              <a:gd name="connsiteY8756" fmla="*/ 257319 h 6479439"/>
              <a:gd name="connsiteX8757" fmla="*/ 961273 w 9586368"/>
              <a:gd name="connsiteY8757" fmla="*/ 257319 h 6479439"/>
              <a:gd name="connsiteX8758" fmla="*/ 957255 w 9586368"/>
              <a:gd name="connsiteY8758" fmla="*/ 253280 h 6479439"/>
              <a:gd name="connsiteX8759" fmla="*/ 957255 w 9586368"/>
              <a:gd name="connsiteY8759" fmla="*/ 243409 h 6479439"/>
              <a:gd name="connsiteX8760" fmla="*/ 8615184 w 9586368"/>
              <a:gd name="connsiteY8760" fmla="*/ 239370 h 6479439"/>
              <a:gd name="connsiteX8761" fmla="*/ 8625095 w 9586368"/>
              <a:gd name="connsiteY8761" fmla="*/ 239370 h 6479439"/>
              <a:gd name="connsiteX8762" fmla="*/ 8629114 w 9586368"/>
              <a:gd name="connsiteY8762" fmla="*/ 243408 h 6479439"/>
              <a:gd name="connsiteX8763" fmla="*/ 8629114 w 9586368"/>
              <a:gd name="connsiteY8763" fmla="*/ 253278 h 6479439"/>
              <a:gd name="connsiteX8764" fmla="*/ 8625095 w 9586368"/>
              <a:gd name="connsiteY8764" fmla="*/ 257317 h 6479439"/>
              <a:gd name="connsiteX8765" fmla="*/ 8615184 w 9586368"/>
              <a:gd name="connsiteY8765" fmla="*/ 257317 h 6479439"/>
              <a:gd name="connsiteX8766" fmla="*/ 8611165 w 9586368"/>
              <a:gd name="connsiteY8766" fmla="*/ 253278 h 6479439"/>
              <a:gd name="connsiteX8767" fmla="*/ 8611165 w 9586368"/>
              <a:gd name="connsiteY8767" fmla="*/ 243408 h 6479439"/>
              <a:gd name="connsiteX8768" fmla="*/ 8375869 w 9586368"/>
              <a:gd name="connsiteY8768" fmla="*/ 239370 h 6479439"/>
              <a:gd name="connsiteX8769" fmla="*/ 8385779 w 9586368"/>
              <a:gd name="connsiteY8769" fmla="*/ 239370 h 6479439"/>
              <a:gd name="connsiteX8770" fmla="*/ 8389799 w 9586368"/>
              <a:gd name="connsiteY8770" fmla="*/ 243408 h 6479439"/>
              <a:gd name="connsiteX8771" fmla="*/ 8389799 w 9586368"/>
              <a:gd name="connsiteY8771" fmla="*/ 253279 h 6479439"/>
              <a:gd name="connsiteX8772" fmla="*/ 8385779 w 9586368"/>
              <a:gd name="connsiteY8772" fmla="*/ 257318 h 6479439"/>
              <a:gd name="connsiteX8773" fmla="*/ 8375869 w 9586368"/>
              <a:gd name="connsiteY8773" fmla="*/ 257318 h 6479439"/>
              <a:gd name="connsiteX8774" fmla="*/ 8371850 w 9586368"/>
              <a:gd name="connsiteY8774" fmla="*/ 253279 h 6479439"/>
              <a:gd name="connsiteX8775" fmla="*/ 8371850 w 9586368"/>
              <a:gd name="connsiteY8775" fmla="*/ 243408 h 6479439"/>
              <a:gd name="connsiteX8776" fmla="*/ 9333125 w 9586368"/>
              <a:gd name="connsiteY8776" fmla="*/ 239369 h 6479439"/>
              <a:gd name="connsiteX8777" fmla="*/ 9343036 w 9586368"/>
              <a:gd name="connsiteY8777" fmla="*/ 239369 h 6479439"/>
              <a:gd name="connsiteX8778" fmla="*/ 9347055 w 9586368"/>
              <a:gd name="connsiteY8778" fmla="*/ 243407 h 6479439"/>
              <a:gd name="connsiteX8779" fmla="*/ 9347055 w 9586368"/>
              <a:gd name="connsiteY8779" fmla="*/ 253278 h 6479439"/>
              <a:gd name="connsiteX8780" fmla="*/ 9343036 w 9586368"/>
              <a:gd name="connsiteY8780" fmla="*/ 257317 h 6479439"/>
              <a:gd name="connsiteX8781" fmla="*/ 9333125 w 9586368"/>
              <a:gd name="connsiteY8781" fmla="*/ 257317 h 6479439"/>
              <a:gd name="connsiteX8782" fmla="*/ 9329106 w 9586368"/>
              <a:gd name="connsiteY8782" fmla="*/ 253278 h 6479439"/>
              <a:gd name="connsiteX8783" fmla="*/ 9329106 w 9586368"/>
              <a:gd name="connsiteY8783" fmla="*/ 243407 h 6479439"/>
              <a:gd name="connsiteX8784" fmla="*/ 9093811 w 9586368"/>
              <a:gd name="connsiteY8784" fmla="*/ 239369 h 6479439"/>
              <a:gd name="connsiteX8785" fmla="*/ 9103722 w 9586368"/>
              <a:gd name="connsiteY8785" fmla="*/ 239369 h 6479439"/>
              <a:gd name="connsiteX8786" fmla="*/ 9107741 w 9586368"/>
              <a:gd name="connsiteY8786" fmla="*/ 243407 h 6479439"/>
              <a:gd name="connsiteX8787" fmla="*/ 9107741 w 9586368"/>
              <a:gd name="connsiteY8787" fmla="*/ 253278 h 6479439"/>
              <a:gd name="connsiteX8788" fmla="*/ 9103722 w 9586368"/>
              <a:gd name="connsiteY8788" fmla="*/ 257317 h 6479439"/>
              <a:gd name="connsiteX8789" fmla="*/ 9093811 w 9586368"/>
              <a:gd name="connsiteY8789" fmla="*/ 257317 h 6479439"/>
              <a:gd name="connsiteX8790" fmla="*/ 9089792 w 9586368"/>
              <a:gd name="connsiteY8790" fmla="*/ 253278 h 6479439"/>
              <a:gd name="connsiteX8791" fmla="*/ 9089792 w 9586368"/>
              <a:gd name="connsiteY8791" fmla="*/ 243407 h 6479439"/>
              <a:gd name="connsiteX8792" fmla="*/ 8854496 w 9586368"/>
              <a:gd name="connsiteY8792" fmla="*/ 239369 h 6479439"/>
              <a:gd name="connsiteX8793" fmla="*/ 8864407 w 9586368"/>
              <a:gd name="connsiteY8793" fmla="*/ 239369 h 6479439"/>
              <a:gd name="connsiteX8794" fmla="*/ 8868426 w 9586368"/>
              <a:gd name="connsiteY8794" fmla="*/ 243407 h 6479439"/>
              <a:gd name="connsiteX8795" fmla="*/ 8868426 w 9586368"/>
              <a:gd name="connsiteY8795" fmla="*/ 253278 h 6479439"/>
              <a:gd name="connsiteX8796" fmla="*/ 8864407 w 9586368"/>
              <a:gd name="connsiteY8796" fmla="*/ 257317 h 6479439"/>
              <a:gd name="connsiteX8797" fmla="*/ 8854496 w 9586368"/>
              <a:gd name="connsiteY8797" fmla="*/ 257317 h 6479439"/>
              <a:gd name="connsiteX8798" fmla="*/ 8850477 w 9586368"/>
              <a:gd name="connsiteY8798" fmla="*/ 253278 h 6479439"/>
              <a:gd name="connsiteX8799" fmla="*/ 8850477 w 9586368"/>
              <a:gd name="connsiteY8799" fmla="*/ 243407 h 6479439"/>
              <a:gd name="connsiteX8800" fmla="*/ 1918515 w 9586368"/>
              <a:gd name="connsiteY8800" fmla="*/ 239361 h 6479439"/>
              <a:gd name="connsiteX8801" fmla="*/ 1928425 w 9586368"/>
              <a:gd name="connsiteY8801" fmla="*/ 239361 h 6479439"/>
              <a:gd name="connsiteX8802" fmla="*/ 1932444 w 9586368"/>
              <a:gd name="connsiteY8802" fmla="*/ 243400 h 6479439"/>
              <a:gd name="connsiteX8803" fmla="*/ 1932444 w 9586368"/>
              <a:gd name="connsiteY8803" fmla="*/ 253271 h 6479439"/>
              <a:gd name="connsiteX8804" fmla="*/ 1928425 w 9586368"/>
              <a:gd name="connsiteY8804" fmla="*/ 257310 h 6479439"/>
              <a:gd name="connsiteX8805" fmla="*/ 1918515 w 9586368"/>
              <a:gd name="connsiteY8805" fmla="*/ 257310 h 6479439"/>
              <a:gd name="connsiteX8806" fmla="*/ 1914495 w 9586368"/>
              <a:gd name="connsiteY8806" fmla="*/ 253271 h 6479439"/>
              <a:gd name="connsiteX8807" fmla="*/ 1914495 w 9586368"/>
              <a:gd name="connsiteY8807" fmla="*/ 243400 h 6479439"/>
              <a:gd name="connsiteX8808" fmla="*/ 2157824 w 9586368"/>
              <a:gd name="connsiteY8808" fmla="*/ 239359 h 6479439"/>
              <a:gd name="connsiteX8809" fmla="*/ 2167734 w 9586368"/>
              <a:gd name="connsiteY8809" fmla="*/ 239359 h 6479439"/>
              <a:gd name="connsiteX8810" fmla="*/ 2171753 w 9586368"/>
              <a:gd name="connsiteY8810" fmla="*/ 243397 h 6479439"/>
              <a:gd name="connsiteX8811" fmla="*/ 2171753 w 9586368"/>
              <a:gd name="connsiteY8811" fmla="*/ 253268 h 6479439"/>
              <a:gd name="connsiteX8812" fmla="*/ 2167734 w 9586368"/>
              <a:gd name="connsiteY8812" fmla="*/ 257307 h 6479439"/>
              <a:gd name="connsiteX8813" fmla="*/ 2157824 w 9586368"/>
              <a:gd name="connsiteY8813" fmla="*/ 257307 h 6479439"/>
              <a:gd name="connsiteX8814" fmla="*/ 2153804 w 9586368"/>
              <a:gd name="connsiteY8814" fmla="*/ 253268 h 6479439"/>
              <a:gd name="connsiteX8815" fmla="*/ 2153804 w 9586368"/>
              <a:gd name="connsiteY8815" fmla="*/ 243397 h 6479439"/>
              <a:gd name="connsiteX8816" fmla="*/ 9572438 w 9586368"/>
              <a:gd name="connsiteY8816" fmla="*/ 239357 h 6479439"/>
              <a:gd name="connsiteX8817" fmla="*/ 9582349 w 9586368"/>
              <a:gd name="connsiteY8817" fmla="*/ 239357 h 6479439"/>
              <a:gd name="connsiteX8818" fmla="*/ 9586368 w 9586368"/>
              <a:gd name="connsiteY8818" fmla="*/ 243395 h 6479439"/>
              <a:gd name="connsiteX8819" fmla="*/ 9586368 w 9586368"/>
              <a:gd name="connsiteY8819" fmla="*/ 253267 h 6479439"/>
              <a:gd name="connsiteX8820" fmla="*/ 9582349 w 9586368"/>
              <a:gd name="connsiteY8820" fmla="*/ 257306 h 6479439"/>
              <a:gd name="connsiteX8821" fmla="*/ 9572438 w 9586368"/>
              <a:gd name="connsiteY8821" fmla="*/ 257306 h 6479439"/>
              <a:gd name="connsiteX8822" fmla="*/ 9568419 w 9586368"/>
              <a:gd name="connsiteY8822" fmla="*/ 253267 h 6479439"/>
              <a:gd name="connsiteX8823" fmla="*/ 9568419 w 9586368"/>
              <a:gd name="connsiteY8823" fmla="*/ 243395 h 6479439"/>
              <a:gd name="connsiteX8824" fmla="*/ 721976 w 9586368"/>
              <a:gd name="connsiteY8824" fmla="*/ 239330 h 6479439"/>
              <a:gd name="connsiteX8825" fmla="*/ 731887 w 9586368"/>
              <a:gd name="connsiteY8825" fmla="*/ 239330 h 6479439"/>
              <a:gd name="connsiteX8826" fmla="*/ 735906 w 9586368"/>
              <a:gd name="connsiteY8826" fmla="*/ 243368 h 6479439"/>
              <a:gd name="connsiteX8827" fmla="*/ 735906 w 9586368"/>
              <a:gd name="connsiteY8827" fmla="*/ 253239 h 6479439"/>
              <a:gd name="connsiteX8828" fmla="*/ 731887 w 9586368"/>
              <a:gd name="connsiteY8828" fmla="*/ 257278 h 6479439"/>
              <a:gd name="connsiteX8829" fmla="*/ 721976 w 9586368"/>
              <a:gd name="connsiteY8829" fmla="*/ 257278 h 6479439"/>
              <a:gd name="connsiteX8830" fmla="*/ 717958 w 9586368"/>
              <a:gd name="connsiteY8830" fmla="*/ 253239 h 6479439"/>
              <a:gd name="connsiteX8831" fmla="*/ 717958 w 9586368"/>
              <a:gd name="connsiteY8831" fmla="*/ 243368 h 6479439"/>
              <a:gd name="connsiteX8832" fmla="*/ 482664 w 9586368"/>
              <a:gd name="connsiteY8832" fmla="*/ 239330 h 6479439"/>
              <a:gd name="connsiteX8833" fmla="*/ 492575 w 9586368"/>
              <a:gd name="connsiteY8833" fmla="*/ 239330 h 6479439"/>
              <a:gd name="connsiteX8834" fmla="*/ 496594 w 9586368"/>
              <a:gd name="connsiteY8834" fmla="*/ 243368 h 6479439"/>
              <a:gd name="connsiteX8835" fmla="*/ 496594 w 9586368"/>
              <a:gd name="connsiteY8835" fmla="*/ 253239 h 6479439"/>
              <a:gd name="connsiteX8836" fmla="*/ 492575 w 9586368"/>
              <a:gd name="connsiteY8836" fmla="*/ 257278 h 6479439"/>
              <a:gd name="connsiteX8837" fmla="*/ 482664 w 9586368"/>
              <a:gd name="connsiteY8837" fmla="*/ 257278 h 6479439"/>
              <a:gd name="connsiteX8838" fmla="*/ 478645 w 9586368"/>
              <a:gd name="connsiteY8838" fmla="*/ 253239 h 6479439"/>
              <a:gd name="connsiteX8839" fmla="*/ 478645 w 9586368"/>
              <a:gd name="connsiteY8839" fmla="*/ 243368 h 6479439"/>
              <a:gd name="connsiteX8840" fmla="*/ 243350 w 9586368"/>
              <a:gd name="connsiteY8840" fmla="*/ 239330 h 6479439"/>
              <a:gd name="connsiteX8841" fmla="*/ 253261 w 9586368"/>
              <a:gd name="connsiteY8841" fmla="*/ 239330 h 6479439"/>
              <a:gd name="connsiteX8842" fmla="*/ 257280 w 9586368"/>
              <a:gd name="connsiteY8842" fmla="*/ 243368 h 6479439"/>
              <a:gd name="connsiteX8843" fmla="*/ 257280 w 9586368"/>
              <a:gd name="connsiteY8843" fmla="*/ 253239 h 6479439"/>
              <a:gd name="connsiteX8844" fmla="*/ 253261 w 9586368"/>
              <a:gd name="connsiteY8844" fmla="*/ 257278 h 6479439"/>
              <a:gd name="connsiteX8845" fmla="*/ 243350 w 9586368"/>
              <a:gd name="connsiteY8845" fmla="*/ 257278 h 6479439"/>
              <a:gd name="connsiteX8846" fmla="*/ 239332 w 9586368"/>
              <a:gd name="connsiteY8846" fmla="*/ 253239 h 6479439"/>
              <a:gd name="connsiteX8847" fmla="*/ 239332 w 9586368"/>
              <a:gd name="connsiteY8847" fmla="*/ 243368 h 6479439"/>
              <a:gd name="connsiteX8848" fmla="*/ 4037 w 9586368"/>
              <a:gd name="connsiteY8848" fmla="*/ 239330 h 6479439"/>
              <a:gd name="connsiteX8849" fmla="*/ 13948 w 9586368"/>
              <a:gd name="connsiteY8849" fmla="*/ 239330 h 6479439"/>
              <a:gd name="connsiteX8850" fmla="*/ 17967 w 9586368"/>
              <a:gd name="connsiteY8850" fmla="*/ 243368 h 6479439"/>
              <a:gd name="connsiteX8851" fmla="*/ 17967 w 9586368"/>
              <a:gd name="connsiteY8851" fmla="*/ 253239 h 6479439"/>
              <a:gd name="connsiteX8852" fmla="*/ 13948 w 9586368"/>
              <a:gd name="connsiteY8852" fmla="*/ 257278 h 6479439"/>
              <a:gd name="connsiteX8853" fmla="*/ 4037 w 9586368"/>
              <a:gd name="connsiteY8853" fmla="*/ 257278 h 6479439"/>
              <a:gd name="connsiteX8854" fmla="*/ 18 w 9586368"/>
              <a:gd name="connsiteY8854" fmla="*/ 253239 h 6479439"/>
              <a:gd name="connsiteX8855" fmla="*/ 18 w 9586368"/>
              <a:gd name="connsiteY8855" fmla="*/ 243368 h 6479439"/>
              <a:gd name="connsiteX8856" fmla="*/ 3111048 w 9586368"/>
              <a:gd name="connsiteY8856" fmla="*/ 106 h 6479439"/>
              <a:gd name="connsiteX8857" fmla="*/ 3120959 w 9586368"/>
              <a:gd name="connsiteY8857" fmla="*/ 106 h 6479439"/>
              <a:gd name="connsiteX8858" fmla="*/ 3124977 w 9586368"/>
              <a:gd name="connsiteY8858" fmla="*/ 4144 h 6479439"/>
              <a:gd name="connsiteX8859" fmla="*/ 3124977 w 9586368"/>
              <a:gd name="connsiteY8859" fmla="*/ 14015 h 6479439"/>
              <a:gd name="connsiteX8860" fmla="*/ 3120959 w 9586368"/>
              <a:gd name="connsiteY8860" fmla="*/ 18054 h 6479439"/>
              <a:gd name="connsiteX8861" fmla="*/ 3111048 w 9586368"/>
              <a:gd name="connsiteY8861" fmla="*/ 18054 h 6479439"/>
              <a:gd name="connsiteX8862" fmla="*/ 3107029 w 9586368"/>
              <a:gd name="connsiteY8862" fmla="*/ 14015 h 6479439"/>
              <a:gd name="connsiteX8863" fmla="*/ 3107029 w 9586368"/>
              <a:gd name="connsiteY8863" fmla="*/ 4144 h 6479439"/>
              <a:gd name="connsiteX8864" fmla="*/ 2871737 w 9586368"/>
              <a:gd name="connsiteY8864" fmla="*/ 106 h 6479439"/>
              <a:gd name="connsiteX8865" fmla="*/ 2881646 w 9586368"/>
              <a:gd name="connsiteY8865" fmla="*/ 106 h 6479439"/>
              <a:gd name="connsiteX8866" fmla="*/ 2885666 w 9586368"/>
              <a:gd name="connsiteY8866" fmla="*/ 4145 h 6479439"/>
              <a:gd name="connsiteX8867" fmla="*/ 2885666 w 9586368"/>
              <a:gd name="connsiteY8867" fmla="*/ 14015 h 6479439"/>
              <a:gd name="connsiteX8868" fmla="*/ 2881646 w 9586368"/>
              <a:gd name="connsiteY8868" fmla="*/ 18054 h 6479439"/>
              <a:gd name="connsiteX8869" fmla="*/ 2871737 w 9586368"/>
              <a:gd name="connsiteY8869" fmla="*/ 18054 h 6479439"/>
              <a:gd name="connsiteX8870" fmla="*/ 2867717 w 9586368"/>
              <a:gd name="connsiteY8870" fmla="*/ 14015 h 6479439"/>
              <a:gd name="connsiteX8871" fmla="*/ 2867717 w 9586368"/>
              <a:gd name="connsiteY8871" fmla="*/ 4145 h 6479439"/>
              <a:gd name="connsiteX8872" fmla="*/ 2632423 w 9586368"/>
              <a:gd name="connsiteY8872" fmla="*/ 106 h 6479439"/>
              <a:gd name="connsiteX8873" fmla="*/ 2642334 w 9586368"/>
              <a:gd name="connsiteY8873" fmla="*/ 106 h 6479439"/>
              <a:gd name="connsiteX8874" fmla="*/ 2646352 w 9586368"/>
              <a:gd name="connsiteY8874" fmla="*/ 4145 h 6479439"/>
              <a:gd name="connsiteX8875" fmla="*/ 2646352 w 9586368"/>
              <a:gd name="connsiteY8875" fmla="*/ 14016 h 6479439"/>
              <a:gd name="connsiteX8876" fmla="*/ 2642334 w 9586368"/>
              <a:gd name="connsiteY8876" fmla="*/ 18055 h 6479439"/>
              <a:gd name="connsiteX8877" fmla="*/ 2632423 w 9586368"/>
              <a:gd name="connsiteY8877" fmla="*/ 18055 h 6479439"/>
              <a:gd name="connsiteX8878" fmla="*/ 2628404 w 9586368"/>
              <a:gd name="connsiteY8878" fmla="*/ 14016 h 6479439"/>
              <a:gd name="connsiteX8879" fmla="*/ 2628404 w 9586368"/>
              <a:gd name="connsiteY8879" fmla="*/ 4145 h 6479439"/>
              <a:gd name="connsiteX8880" fmla="*/ 2393104 w 9586368"/>
              <a:gd name="connsiteY8880" fmla="*/ 106 h 6479439"/>
              <a:gd name="connsiteX8881" fmla="*/ 2403015 w 9586368"/>
              <a:gd name="connsiteY8881" fmla="*/ 106 h 6479439"/>
              <a:gd name="connsiteX8882" fmla="*/ 2407034 w 9586368"/>
              <a:gd name="connsiteY8882" fmla="*/ 4145 h 6479439"/>
              <a:gd name="connsiteX8883" fmla="*/ 2407034 w 9586368"/>
              <a:gd name="connsiteY8883" fmla="*/ 14016 h 6479439"/>
              <a:gd name="connsiteX8884" fmla="*/ 2403015 w 9586368"/>
              <a:gd name="connsiteY8884" fmla="*/ 18055 h 6479439"/>
              <a:gd name="connsiteX8885" fmla="*/ 2393104 w 9586368"/>
              <a:gd name="connsiteY8885" fmla="*/ 18055 h 6479439"/>
              <a:gd name="connsiteX8886" fmla="*/ 2389087 w 9586368"/>
              <a:gd name="connsiteY8886" fmla="*/ 14016 h 6479439"/>
              <a:gd name="connsiteX8887" fmla="*/ 2389087 w 9586368"/>
              <a:gd name="connsiteY8887" fmla="*/ 4145 h 6479439"/>
              <a:gd name="connsiteX8888" fmla="*/ 3350359 w 9586368"/>
              <a:gd name="connsiteY8888" fmla="*/ 106 h 6479439"/>
              <a:gd name="connsiteX8889" fmla="*/ 3360268 w 9586368"/>
              <a:gd name="connsiteY8889" fmla="*/ 106 h 6479439"/>
              <a:gd name="connsiteX8890" fmla="*/ 3364287 w 9586368"/>
              <a:gd name="connsiteY8890" fmla="*/ 4144 h 6479439"/>
              <a:gd name="connsiteX8891" fmla="*/ 3364287 w 9586368"/>
              <a:gd name="connsiteY8891" fmla="*/ 14015 h 6479439"/>
              <a:gd name="connsiteX8892" fmla="*/ 3360268 w 9586368"/>
              <a:gd name="connsiteY8892" fmla="*/ 18054 h 6479439"/>
              <a:gd name="connsiteX8893" fmla="*/ 3350359 w 9586368"/>
              <a:gd name="connsiteY8893" fmla="*/ 18054 h 6479439"/>
              <a:gd name="connsiteX8894" fmla="*/ 3346340 w 9586368"/>
              <a:gd name="connsiteY8894" fmla="*/ 14015 h 6479439"/>
              <a:gd name="connsiteX8895" fmla="*/ 3346340 w 9586368"/>
              <a:gd name="connsiteY8895" fmla="*/ 4144 h 6479439"/>
              <a:gd name="connsiteX8896" fmla="*/ 4546929 w 9586368"/>
              <a:gd name="connsiteY8896" fmla="*/ 93 h 6479439"/>
              <a:gd name="connsiteX8897" fmla="*/ 4556840 w 9586368"/>
              <a:gd name="connsiteY8897" fmla="*/ 93 h 6479439"/>
              <a:gd name="connsiteX8898" fmla="*/ 4560859 w 9586368"/>
              <a:gd name="connsiteY8898" fmla="*/ 4132 h 6479439"/>
              <a:gd name="connsiteX8899" fmla="*/ 4560859 w 9586368"/>
              <a:gd name="connsiteY8899" fmla="*/ 14002 h 6479439"/>
              <a:gd name="connsiteX8900" fmla="*/ 4556840 w 9586368"/>
              <a:gd name="connsiteY8900" fmla="*/ 18041 h 6479439"/>
              <a:gd name="connsiteX8901" fmla="*/ 4546929 w 9586368"/>
              <a:gd name="connsiteY8901" fmla="*/ 18041 h 6479439"/>
              <a:gd name="connsiteX8902" fmla="*/ 4542910 w 9586368"/>
              <a:gd name="connsiteY8902" fmla="*/ 14002 h 6479439"/>
              <a:gd name="connsiteX8903" fmla="*/ 4542910 w 9586368"/>
              <a:gd name="connsiteY8903" fmla="*/ 4132 h 6479439"/>
              <a:gd name="connsiteX8904" fmla="*/ 4307612 w 9586368"/>
              <a:gd name="connsiteY8904" fmla="*/ 93 h 6479439"/>
              <a:gd name="connsiteX8905" fmla="*/ 4317523 w 9586368"/>
              <a:gd name="connsiteY8905" fmla="*/ 93 h 6479439"/>
              <a:gd name="connsiteX8906" fmla="*/ 4321543 w 9586368"/>
              <a:gd name="connsiteY8906" fmla="*/ 4132 h 6479439"/>
              <a:gd name="connsiteX8907" fmla="*/ 4321543 w 9586368"/>
              <a:gd name="connsiteY8907" fmla="*/ 14003 h 6479439"/>
              <a:gd name="connsiteX8908" fmla="*/ 4317523 w 9586368"/>
              <a:gd name="connsiteY8908" fmla="*/ 18042 h 6479439"/>
              <a:gd name="connsiteX8909" fmla="*/ 4307612 w 9586368"/>
              <a:gd name="connsiteY8909" fmla="*/ 18042 h 6479439"/>
              <a:gd name="connsiteX8910" fmla="*/ 4303595 w 9586368"/>
              <a:gd name="connsiteY8910" fmla="*/ 14003 h 6479439"/>
              <a:gd name="connsiteX8911" fmla="*/ 4303595 w 9586368"/>
              <a:gd name="connsiteY8911" fmla="*/ 4132 h 6479439"/>
              <a:gd name="connsiteX8912" fmla="*/ 4068297 w 9586368"/>
              <a:gd name="connsiteY8912" fmla="*/ 93 h 6479439"/>
              <a:gd name="connsiteX8913" fmla="*/ 4078210 w 9586368"/>
              <a:gd name="connsiteY8913" fmla="*/ 93 h 6479439"/>
              <a:gd name="connsiteX8914" fmla="*/ 4082229 w 9586368"/>
              <a:gd name="connsiteY8914" fmla="*/ 4132 h 6479439"/>
              <a:gd name="connsiteX8915" fmla="*/ 4082229 w 9586368"/>
              <a:gd name="connsiteY8915" fmla="*/ 14003 h 6479439"/>
              <a:gd name="connsiteX8916" fmla="*/ 4078210 w 9586368"/>
              <a:gd name="connsiteY8916" fmla="*/ 18042 h 6479439"/>
              <a:gd name="connsiteX8917" fmla="*/ 4068297 w 9586368"/>
              <a:gd name="connsiteY8917" fmla="*/ 18042 h 6479439"/>
              <a:gd name="connsiteX8918" fmla="*/ 4064278 w 9586368"/>
              <a:gd name="connsiteY8918" fmla="*/ 14003 h 6479439"/>
              <a:gd name="connsiteX8919" fmla="*/ 4064278 w 9586368"/>
              <a:gd name="connsiteY8919" fmla="*/ 4132 h 6479439"/>
              <a:gd name="connsiteX8920" fmla="*/ 3828990 w 9586368"/>
              <a:gd name="connsiteY8920" fmla="*/ 93 h 6479439"/>
              <a:gd name="connsiteX8921" fmla="*/ 3838899 w 9586368"/>
              <a:gd name="connsiteY8921" fmla="*/ 93 h 6479439"/>
              <a:gd name="connsiteX8922" fmla="*/ 3842917 w 9586368"/>
              <a:gd name="connsiteY8922" fmla="*/ 4132 h 6479439"/>
              <a:gd name="connsiteX8923" fmla="*/ 3842917 w 9586368"/>
              <a:gd name="connsiteY8923" fmla="*/ 14003 h 6479439"/>
              <a:gd name="connsiteX8924" fmla="*/ 3838899 w 9586368"/>
              <a:gd name="connsiteY8924" fmla="*/ 18042 h 6479439"/>
              <a:gd name="connsiteX8925" fmla="*/ 3828990 w 9586368"/>
              <a:gd name="connsiteY8925" fmla="*/ 18042 h 6479439"/>
              <a:gd name="connsiteX8926" fmla="*/ 3824971 w 9586368"/>
              <a:gd name="connsiteY8926" fmla="*/ 14003 h 6479439"/>
              <a:gd name="connsiteX8927" fmla="*/ 3824971 w 9586368"/>
              <a:gd name="connsiteY8927" fmla="*/ 4132 h 6479439"/>
              <a:gd name="connsiteX8928" fmla="*/ 3589676 w 9586368"/>
              <a:gd name="connsiteY8928" fmla="*/ 93 h 6479439"/>
              <a:gd name="connsiteX8929" fmla="*/ 3599585 w 9586368"/>
              <a:gd name="connsiteY8929" fmla="*/ 93 h 6479439"/>
              <a:gd name="connsiteX8930" fmla="*/ 3603604 w 9586368"/>
              <a:gd name="connsiteY8930" fmla="*/ 4132 h 6479439"/>
              <a:gd name="connsiteX8931" fmla="*/ 3603604 w 9586368"/>
              <a:gd name="connsiteY8931" fmla="*/ 14003 h 6479439"/>
              <a:gd name="connsiteX8932" fmla="*/ 3599585 w 9586368"/>
              <a:gd name="connsiteY8932" fmla="*/ 18042 h 6479439"/>
              <a:gd name="connsiteX8933" fmla="*/ 3589676 w 9586368"/>
              <a:gd name="connsiteY8933" fmla="*/ 18042 h 6479439"/>
              <a:gd name="connsiteX8934" fmla="*/ 3585657 w 9586368"/>
              <a:gd name="connsiteY8934" fmla="*/ 14003 h 6479439"/>
              <a:gd name="connsiteX8935" fmla="*/ 3585657 w 9586368"/>
              <a:gd name="connsiteY8935" fmla="*/ 4132 h 6479439"/>
              <a:gd name="connsiteX8936" fmla="*/ 4786241 w 9586368"/>
              <a:gd name="connsiteY8936" fmla="*/ 81 h 6479439"/>
              <a:gd name="connsiteX8937" fmla="*/ 4796152 w 9586368"/>
              <a:gd name="connsiteY8937" fmla="*/ 81 h 6479439"/>
              <a:gd name="connsiteX8938" fmla="*/ 4800171 w 9586368"/>
              <a:gd name="connsiteY8938" fmla="*/ 4119 h 6479439"/>
              <a:gd name="connsiteX8939" fmla="*/ 4800171 w 9586368"/>
              <a:gd name="connsiteY8939" fmla="*/ 13990 h 6479439"/>
              <a:gd name="connsiteX8940" fmla="*/ 4796152 w 9586368"/>
              <a:gd name="connsiteY8940" fmla="*/ 18029 h 6479439"/>
              <a:gd name="connsiteX8941" fmla="*/ 4786241 w 9586368"/>
              <a:gd name="connsiteY8941" fmla="*/ 18029 h 6479439"/>
              <a:gd name="connsiteX8942" fmla="*/ 4782224 w 9586368"/>
              <a:gd name="connsiteY8942" fmla="*/ 13990 h 6479439"/>
              <a:gd name="connsiteX8943" fmla="*/ 4782224 w 9586368"/>
              <a:gd name="connsiteY8943" fmla="*/ 4119 h 6479439"/>
              <a:gd name="connsiteX8944" fmla="*/ 5743412 w 9586368"/>
              <a:gd name="connsiteY8944" fmla="*/ 80 h 6479439"/>
              <a:gd name="connsiteX8945" fmla="*/ 5753323 w 9586368"/>
              <a:gd name="connsiteY8945" fmla="*/ 80 h 6479439"/>
              <a:gd name="connsiteX8946" fmla="*/ 5757342 w 9586368"/>
              <a:gd name="connsiteY8946" fmla="*/ 4119 h 6479439"/>
              <a:gd name="connsiteX8947" fmla="*/ 5757342 w 9586368"/>
              <a:gd name="connsiteY8947" fmla="*/ 13990 h 6479439"/>
              <a:gd name="connsiteX8948" fmla="*/ 5753323 w 9586368"/>
              <a:gd name="connsiteY8948" fmla="*/ 18029 h 6479439"/>
              <a:gd name="connsiteX8949" fmla="*/ 5743412 w 9586368"/>
              <a:gd name="connsiteY8949" fmla="*/ 18029 h 6479439"/>
              <a:gd name="connsiteX8950" fmla="*/ 5739393 w 9586368"/>
              <a:gd name="connsiteY8950" fmla="*/ 13990 h 6479439"/>
              <a:gd name="connsiteX8951" fmla="*/ 5739393 w 9586368"/>
              <a:gd name="connsiteY8951" fmla="*/ 4119 h 6479439"/>
              <a:gd name="connsiteX8952" fmla="*/ 5504099 w 9586368"/>
              <a:gd name="connsiteY8952" fmla="*/ 80 h 6479439"/>
              <a:gd name="connsiteX8953" fmla="*/ 5514010 w 9586368"/>
              <a:gd name="connsiteY8953" fmla="*/ 80 h 6479439"/>
              <a:gd name="connsiteX8954" fmla="*/ 5518029 w 9586368"/>
              <a:gd name="connsiteY8954" fmla="*/ 4119 h 6479439"/>
              <a:gd name="connsiteX8955" fmla="*/ 5518029 w 9586368"/>
              <a:gd name="connsiteY8955" fmla="*/ 13990 h 6479439"/>
              <a:gd name="connsiteX8956" fmla="*/ 5514010 w 9586368"/>
              <a:gd name="connsiteY8956" fmla="*/ 18029 h 6479439"/>
              <a:gd name="connsiteX8957" fmla="*/ 5504099 w 9586368"/>
              <a:gd name="connsiteY8957" fmla="*/ 18029 h 6479439"/>
              <a:gd name="connsiteX8958" fmla="*/ 5500080 w 9586368"/>
              <a:gd name="connsiteY8958" fmla="*/ 13990 h 6479439"/>
              <a:gd name="connsiteX8959" fmla="*/ 5500080 w 9586368"/>
              <a:gd name="connsiteY8959" fmla="*/ 4119 h 6479439"/>
              <a:gd name="connsiteX8960" fmla="*/ 5264784 w 9586368"/>
              <a:gd name="connsiteY8960" fmla="*/ 80 h 6479439"/>
              <a:gd name="connsiteX8961" fmla="*/ 5274694 w 9586368"/>
              <a:gd name="connsiteY8961" fmla="*/ 80 h 6479439"/>
              <a:gd name="connsiteX8962" fmla="*/ 5278713 w 9586368"/>
              <a:gd name="connsiteY8962" fmla="*/ 4119 h 6479439"/>
              <a:gd name="connsiteX8963" fmla="*/ 5278713 w 9586368"/>
              <a:gd name="connsiteY8963" fmla="*/ 13990 h 6479439"/>
              <a:gd name="connsiteX8964" fmla="*/ 5274694 w 9586368"/>
              <a:gd name="connsiteY8964" fmla="*/ 18029 h 6479439"/>
              <a:gd name="connsiteX8965" fmla="*/ 5264784 w 9586368"/>
              <a:gd name="connsiteY8965" fmla="*/ 18029 h 6479439"/>
              <a:gd name="connsiteX8966" fmla="*/ 5260765 w 9586368"/>
              <a:gd name="connsiteY8966" fmla="*/ 13990 h 6479439"/>
              <a:gd name="connsiteX8967" fmla="*/ 5260765 w 9586368"/>
              <a:gd name="connsiteY8967" fmla="*/ 4119 h 6479439"/>
              <a:gd name="connsiteX8968" fmla="*/ 5025470 w 9586368"/>
              <a:gd name="connsiteY8968" fmla="*/ 80 h 6479439"/>
              <a:gd name="connsiteX8969" fmla="*/ 5035381 w 9586368"/>
              <a:gd name="connsiteY8969" fmla="*/ 80 h 6479439"/>
              <a:gd name="connsiteX8970" fmla="*/ 5039400 w 9586368"/>
              <a:gd name="connsiteY8970" fmla="*/ 4119 h 6479439"/>
              <a:gd name="connsiteX8971" fmla="*/ 5039400 w 9586368"/>
              <a:gd name="connsiteY8971" fmla="*/ 13990 h 6479439"/>
              <a:gd name="connsiteX8972" fmla="*/ 5035381 w 9586368"/>
              <a:gd name="connsiteY8972" fmla="*/ 18029 h 6479439"/>
              <a:gd name="connsiteX8973" fmla="*/ 5025470 w 9586368"/>
              <a:gd name="connsiteY8973" fmla="*/ 18029 h 6479439"/>
              <a:gd name="connsiteX8974" fmla="*/ 5021451 w 9586368"/>
              <a:gd name="connsiteY8974" fmla="*/ 13990 h 6479439"/>
              <a:gd name="connsiteX8975" fmla="*/ 5021451 w 9586368"/>
              <a:gd name="connsiteY8975" fmla="*/ 4119 h 6479439"/>
              <a:gd name="connsiteX8976" fmla="*/ 6461356 w 9586368"/>
              <a:gd name="connsiteY8976" fmla="*/ 68 h 6479439"/>
              <a:gd name="connsiteX8977" fmla="*/ 6471266 w 9586368"/>
              <a:gd name="connsiteY8977" fmla="*/ 68 h 6479439"/>
              <a:gd name="connsiteX8978" fmla="*/ 6475285 w 9586368"/>
              <a:gd name="connsiteY8978" fmla="*/ 4106 h 6479439"/>
              <a:gd name="connsiteX8979" fmla="*/ 6475285 w 9586368"/>
              <a:gd name="connsiteY8979" fmla="*/ 13976 h 6479439"/>
              <a:gd name="connsiteX8980" fmla="*/ 6471266 w 9586368"/>
              <a:gd name="connsiteY8980" fmla="*/ 18015 h 6479439"/>
              <a:gd name="connsiteX8981" fmla="*/ 6461356 w 9586368"/>
              <a:gd name="connsiteY8981" fmla="*/ 18015 h 6479439"/>
              <a:gd name="connsiteX8982" fmla="*/ 6457337 w 9586368"/>
              <a:gd name="connsiteY8982" fmla="*/ 13976 h 6479439"/>
              <a:gd name="connsiteX8983" fmla="*/ 6457337 w 9586368"/>
              <a:gd name="connsiteY8983" fmla="*/ 4106 h 6479439"/>
              <a:gd name="connsiteX8984" fmla="*/ 6222042 w 9586368"/>
              <a:gd name="connsiteY8984" fmla="*/ 68 h 6479439"/>
              <a:gd name="connsiteX8985" fmla="*/ 6231952 w 9586368"/>
              <a:gd name="connsiteY8985" fmla="*/ 68 h 6479439"/>
              <a:gd name="connsiteX8986" fmla="*/ 6235971 w 9586368"/>
              <a:gd name="connsiteY8986" fmla="*/ 4106 h 6479439"/>
              <a:gd name="connsiteX8987" fmla="*/ 6235971 w 9586368"/>
              <a:gd name="connsiteY8987" fmla="*/ 13977 h 6479439"/>
              <a:gd name="connsiteX8988" fmla="*/ 6231952 w 9586368"/>
              <a:gd name="connsiteY8988" fmla="*/ 18016 h 6479439"/>
              <a:gd name="connsiteX8989" fmla="*/ 6222042 w 9586368"/>
              <a:gd name="connsiteY8989" fmla="*/ 18016 h 6479439"/>
              <a:gd name="connsiteX8990" fmla="*/ 6218023 w 9586368"/>
              <a:gd name="connsiteY8990" fmla="*/ 13977 h 6479439"/>
              <a:gd name="connsiteX8991" fmla="*/ 6218023 w 9586368"/>
              <a:gd name="connsiteY8991" fmla="*/ 4106 h 6479439"/>
              <a:gd name="connsiteX8992" fmla="*/ 5982729 w 9586368"/>
              <a:gd name="connsiteY8992" fmla="*/ 68 h 6479439"/>
              <a:gd name="connsiteX8993" fmla="*/ 5992639 w 9586368"/>
              <a:gd name="connsiteY8993" fmla="*/ 68 h 6479439"/>
              <a:gd name="connsiteX8994" fmla="*/ 5996658 w 9586368"/>
              <a:gd name="connsiteY8994" fmla="*/ 4106 h 6479439"/>
              <a:gd name="connsiteX8995" fmla="*/ 5996658 w 9586368"/>
              <a:gd name="connsiteY8995" fmla="*/ 13977 h 6479439"/>
              <a:gd name="connsiteX8996" fmla="*/ 5992639 w 9586368"/>
              <a:gd name="connsiteY8996" fmla="*/ 18016 h 6479439"/>
              <a:gd name="connsiteX8997" fmla="*/ 5982729 w 9586368"/>
              <a:gd name="connsiteY8997" fmla="*/ 18016 h 6479439"/>
              <a:gd name="connsiteX8998" fmla="*/ 5978710 w 9586368"/>
              <a:gd name="connsiteY8998" fmla="*/ 13977 h 6479439"/>
              <a:gd name="connsiteX8999" fmla="*/ 5978710 w 9586368"/>
              <a:gd name="connsiteY8999" fmla="*/ 4106 h 6479439"/>
              <a:gd name="connsiteX9000" fmla="*/ 6939983 w 9586368"/>
              <a:gd name="connsiteY9000" fmla="*/ 67 h 6479439"/>
              <a:gd name="connsiteX9001" fmla="*/ 6949894 w 9586368"/>
              <a:gd name="connsiteY9001" fmla="*/ 67 h 6479439"/>
              <a:gd name="connsiteX9002" fmla="*/ 6953913 w 9586368"/>
              <a:gd name="connsiteY9002" fmla="*/ 4105 h 6479439"/>
              <a:gd name="connsiteX9003" fmla="*/ 6953913 w 9586368"/>
              <a:gd name="connsiteY9003" fmla="*/ 13976 h 6479439"/>
              <a:gd name="connsiteX9004" fmla="*/ 6949894 w 9586368"/>
              <a:gd name="connsiteY9004" fmla="*/ 18015 h 6479439"/>
              <a:gd name="connsiteX9005" fmla="*/ 6939983 w 9586368"/>
              <a:gd name="connsiteY9005" fmla="*/ 18015 h 6479439"/>
              <a:gd name="connsiteX9006" fmla="*/ 6935964 w 9586368"/>
              <a:gd name="connsiteY9006" fmla="*/ 13976 h 6479439"/>
              <a:gd name="connsiteX9007" fmla="*/ 6935964 w 9586368"/>
              <a:gd name="connsiteY9007" fmla="*/ 4105 h 6479439"/>
              <a:gd name="connsiteX9008" fmla="*/ 6700670 w 9586368"/>
              <a:gd name="connsiteY9008" fmla="*/ 67 h 6479439"/>
              <a:gd name="connsiteX9009" fmla="*/ 6710581 w 9586368"/>
              <a:gd name="connsiteY9009" fmla="*/ 67 h 6479439"/>
              <a:gd name="connsiteX9010" fmla="*/ 6714600 w 9586368"/>
              <a:gd name="connsiteY9010" fmla="*/ 4105 h 6479439"/>
              <a:gd name="connsiteX9011" fmla="*/ 6714600 w 9586368"/>
              <a:gd name="connsiteY9011" fmla="*/ 13976 h 6479439"/>
              <a:gd name="connsiteX9012" fmla="*/ 6710581 w 9586368"/>
              <a:gd name="connsiteY9012" fmla="*/ 18015 h 6479439"/>
              <a:gd name="connsiteX9013" fmla="*/ 6700670 w 9586368"/>
              <a:gd name="connsiteY9013" fmla="*/ 18015 h 6479439"/>
              <a:gd name="connsiteX9014" fmla="*/ 6696651 w 9586368"/>
              <a:gd name="connsiteY9014" fmla="*/ 13976 h 6479439"/>
              <a:gd name="connsiteX9015" fmla="*/ 6696651 w 9586368"/>
              <a:gd name="connsiteY9015" fmla="*/ 4105 h 6479439"/>
              <a:gd name="connsiteX9016" fmla="*/ 8136553 w 9586368"/>
              <a:gd name="connsiteY9016" fmla="*/ 54 h 6479439"/>
              <a:gd name="connsiteX9017" fmla="*/ 8146464 w 9586368"/>
              <a:gd name="connsiteY9017" fmla="*/ 54 h 6479439"/>
              <a:gd name="connsiteX9018" fmla="*/ 8150483 w 9586368"/>
              <a:gd name="connsiteY9018" fmla="*/ 4093 h 6479439"/>
              <a:gd name="connsiteX9019" fmla="*/ 8150483 w 9586368"/>
              <a:gd name="connsiteY9019" fmla="*/ 13963 h 6479439"/>
              <a:gd name="connsiteX9020" fmla="*/ 8146464 w 9586368"/>
              <a:gd name="connsiteY9020" fmla="*/ 18002 h 6479439"/>
              <a:gd name="connsiteX9021" fmla="*/ 8136553 w 9586368"/>
              <a:gd name="connsiteY9021" fmla="*/ 18002 h 6479439"/>
              <a:gd name="connsiteX9022" fmla="*/ 8132534 w 9586368"/>
              <a:gd name="connsiteY9022" fmla="*/ 13963 h 6479439"/>
              <a:gd name="connsiteX9023" fmla="*/ 8132534 w 9586368"/>
              <a:gd name="connsiteY9023" fmla="*/ 4093 h 6479439"/>
              <a:gd name="connsiteX9024" fmla="*/ 7897241 w 9586368"/>
              <a:gd name="connsiteY9024" fmla="*/ 54 h 6479439"/>
              <a:gd name="connsiteX9025" fmla="*/ 7907151 w 9586368"/>
              <a:gd name="connsiteY9025" fmla="*/ 54 h 6479439"/>
              <a:gd name="connsiteX9026" fmla="*/ 7911170 w 9586368"/>
              <a:gd name="connsiteY9026" fmla="*/ 4093 h 6479439"/>
              <a:gd name="connsiteX9027" fmla="*/ 7911170 w 9586368"/>
              <a:gd name="connsiteY9027" fmla="*/ 13964 h 6479439"/>
              <a:gd name="connsiteX9028" fmla="*/ 7907151 w 9586368"/>
              <a:gd name="connsiteY9028" fmla="*/ 18003 h 6479439"/>
              <a:gd name="connsiteX9029" fmla="*/ 7897241 w 9586368"/>
              <a:gd name="connsiteY9029" fmla="*/ 18003 h 6479439"/>
              <a:gd name="connsiteX9030" fmla="*/ 7893222 w 9586368"/>
              <a:gd name="connsiteY9030" fmla="*/ 13964 h 6479439"/>
              <a:gd name="connsiteX9031" fmla="*/ 7893222 w 9586368"/>
              <a:gd name="connsiteY9031" fmla="*/ 4093 h 6479439"/>
              <a:gd name="connsiteX9032" fmla="*/ 7657926 w 9586368"/>
              <a:gd name="connsiteY9032" fmla="*/ 54 h 6479439"/>
              <a:gd name="connsiteX9033" fmla="*/ 7667836 w 9586368"/>
              <a:gd name="connsiteY9033" fmla="*/ 54 h 6479439"/>
              <a:gd name="connsiteX9034" fmla="*/ 7671855 w 9586368"/>
              <a:gd name="connsiteY9034" fmla="*/ 4093 h 6479439"/>
              <a:gd name="connsiteX9035" fmla="*/ 7671855 w 9586368"/>
              <a:gd name="connsiteY9035" fmla="*/ 13964 h 6479439"/>
              <a:gd name="connsiteX9036" fmla="*/ 7667836 w 9586368"/>
              <a:gd name="connsiteY9036" fmla="*/ 18003 h 6479439"/>
              <a:gd name="connsiteX9037" fmla="*/ 7657926 w 9586368"/>
              <a:gd name="connsiteY9037" fmla="*/ 18003 h 6479439"/>
              <a:gd name="connsiteX9038" fmla="*/ 7653906 w 9586368"/>
              <a:gd name="connsiteY9038" fmla="*/ 13964 h 6479439"/>
              <a:gd name="connsiteX9039" fmla="*/ 7653906 w 9586368"/>
              <a:gd name="connsiteY9039" fmla="*/ 4093 h 6479439"/>
              <a:gd name="connsiteX9040" fmla="*/ 7418611 w 9586368"/>
              <a:gd name="connsiteY9040" fmla="*/ 54 h 6479439"/>
              <a:gd name="connsiteX9041" fmla="*/ 7428521 w 9586368"/>
              <a:gd name="connsiteY9041" fmla="*/ 54 h 6479439"/>
              <a:gd name="connsiteX9042" fmla="*/ 7432540 w 9586368"/>
              <a:gd name="connsiteY9042" fmla="*/ 4093 h 6479439"/>
              <a:gd name="connsiteX9043" fmla="*/ 7432540 w 9586368"/>
              <a:gd name="connsiteY9043" fmla="*/ 13964 h 6479439"/>
              <a:gd name="connsiteX9044" fmla="*/ 7428521 w 9586368"/>
              <a:gd name="connsiteY9044" fmla="*/ 18003 h 6479439"/>
              <a:gd name="connsiteX9045" fmla="*/ 7418611 w 9586368"/>
              <a:gd name="connsiteY9045" fmla="*/ 18003 h 6479439"/>
              <a:gd name="connsiteX9046" fmla="*/ 7414592 w 9586368"/>
              <a:gd name="connsiteY9046" fmla="*/ 13964 h 6479439"/>
              <a:gd name="connsiteX9047" fmla="*/ 7414592 w 9586368"/>
              <a:gd name="connsiteY9047" fmla="*/ 4093 h 6479439"/>
              <a:gd name="connsiteX9048" fmla="*/ 7179298 w 9586368"/>
              <a:gd name="connsiteY9048" fmla="*/ 54 h 6479439"/>
              <a:gd name="connsiteX9049" fmla="*/ 7189209 w 9586368"/>
              <a:gd name="connsiteY9049" fmla="*/ 54 h 6479439"/>
              <a:gd name="connsiteX9050" fmla="*/ 7193228 w 9586368"/>
              <a:gd name="connsiteY9050" fmla="*/ 4093 h 6479439"/>
              <a:gd name="connsiteX9051" fmla="*/ 7193228 w 9586368"/>
              <a:gd name="connsiteY9051" fmla="*/ 13964 h 6479439"/>
              <a:gd name="connsiteX9052" fmla="*/ 7189209 w 9586368"/>
              <a:gd name="connsiteY9052" fmla="*/ 18003 h 6479439"/>
              <a:gd name="connsiteX9053" fmla="*/ 7179298 w 9586368"/>
              <a:gd name="connsiteY9053" fmla="*/ 18003 h 6479439"/>
              <a:gd name="connsiteX9054" fmla="*/ 7175279 w 9586368"/>
              <a:gd name="connsiteY9054" fmla="*/ 13964 h 6479439"/>
              <a:gd name="connsiteX9055" fmla="*/ 7175279 w 9586368"/>
              <a:gd name="connsiteY9055" fmla="*/ 4093 h 6479439"/>
              <a:gd name="connsiteX9056" fmla="*/ 8375869 w 9586368"/>
              <a:gd name="connsiteY9056" fmla="*/ 42 h 6479439"/>
              <a:gd name="connsiteX9057" fmla="*/ 8385779 w 9586368"/>
              <a:gd name="connsiteY9057" fmla="*/ 42 h 6479439"/>
              <a:gd name="connsiteX9058" fmla="*/ 8389799 w 9586368"/>
              <a:gd name="connsiteY9058" fmla="*/ 4080 h 6479439"/>
              <a:gd name="connsiteX9059" fmla="*/ 8389799 w 9586368"/>
              <a:gd name="connsiteY9059" fmla="*/ 13951 h 6479439"/>
              <a:gd name="connsiteX9060" fmla="*/ 8385779 w 9586368"/>
              <a:gd name="connsiteY9060" fmla="*/ 17990 h 6479439"/>
              <a:gd name="connsiteX9061" fmla="*/ 8375869 w 9586368"/>
              <a:gd name="connsiteY9061" fmla="*/ 17990 h 6479439"/>
              <a:gd name="connsiteX9062" fmla="*/ 8371850 w 9586368"/>
              <a:gd name="connsiteY9062" fmla="*/ 13951 h 6479439"/>
              <a:gd name="connsiteX9063" fmla="*/ 8371850 w 9586368"/>
              <a:gd name="connsiteY9063" fmla="*/ 4080 h 6479439"/>
              <a:gd name="connsiteX9064" fmla="*/ 9333125 w 9586368"/>
              <a:gd name="connsiteY9064" fmla="*/ 41 h 6479439"/>
              <a:gd name="connsiteX9065" fmla="*/ 9343036 w 9586368"/>
              <a:gd name="connsiteY9065" fmla="*/ 41 h 6479439"/>
              <a:gd name="connsiteX9066" fmla="*/ 9347055 w 9586368"/>
              <a:gd name="connsiteY9066" fmla="*/ 4080 h 6479439"/>
              <a:gd name="connsiteX9067" fmla="*/ 9347055 w 9586368"/>
              <a:gd name="connsiteY9067" fmla="*/ 13951 h 6479439"/>
              <a:gd name="connsiteX9068" fmla="*/ 9343036 w 9586368"/>
              <a:gd name="connsiteY9068" fmla="*/ 17990 h 6479439"/>
              <a:gd name="connsiteX9069" fmla="*/ 9333125 w 9586368"/>
              <a:gd name="connsiteY9069" fmla="*/ 17990 h 6479439"/>
              <a:gd name="connsiteX9070" fmla="*/ 9329106 w 9586368"/>
              <a:gd name="connsiteY9070" fmla="*/ 13951 h 6479439"/>
              <a:gd name="connsiteX9071" fmla="*/ 9329106 w 9586368"/>
              <a:gd name="connsiteY9071" fmla="*/ 4080 h 6479439"/>
              <a:gd name="connsiteX9072" fmla="*/ 9093811 w 9586368"/>
              <a:gd name="connsiteY9072" fmla="*/ 41 h 6479439"/>
              <a:gd name="connsiteX9073" fmla="*/ 9103722 w 9586368"/>
              <a:gd name="connsiteY9073" fmla="*/ 41 h 6479439"/>
              <a:gd name="connsiteX9074" fmla="*/ 9107741 w 9586368"/>
              <a:gd name="connsiteY9074" fmla="*/ 4080 h 6479439"/>
              <a:gd name="connsiteX9075" fmla="*/ 9107741 w 9586368"/>
              <a:gd name="connsiteY9075" fmla="*/ 13951 h 6479439"/>
              <a:gd name="connsiteX9076" fmla="*/ 9103722 w 9586368"/>
              <a:gd name="connsiteY9076" fmla="*/ 17990 h 6479439"/>
              <a:gd name="connsiteX9077" fmla="*/ 9093811 w 9586368"/>
              <a:gd name="connsiteY9077" fmla="*/ 17990 h 6479439"/>
              <a:gd name="connsiteX9078" fmla="*/ 9089792 w 9586368"/>
              <a:gd name="connsiteY9078" fmla="*/ 13951 h 6479439"/>
              <a:gd name="connsiteX9079" fmla="*/ 9089792 w 9586368"/>
              <a:gd name="connsiteY9079" fmla="*/ 4080 h 6479439"/>
              <a:gd name="connsiteX9080" fmla="*/ 8854496 w 9586368"/>
              <a:gd name="connsiteY9080" fmla="*/ 41 h 6479439"/>
              <a:gd name="connsiteX9081" fmla="*/ 8864407 w 9586368"/>
              <a:gd name="connsiteY9081" fmla="*/ 41 h 6479439"/>
              <a:gd name="connsiteX9082" fmla="*/ 8868426 w 9586368"/>
              <a:gd name="connsiteY9082" fmla="*/ 4080 h 6479439"/>
              <a:gd name="connsiteX9083" fmla="*/ 8868426 w 9586368"/>
              <a:gd name="connsiteY9083" fmla="*/ 13951 h 6479439"/>
              <a:gd name="connsiteX9084" fmla="*/ 8864407 w 9586368"/>
              <a:gd name="connsiteY9084" fmla="*/ 17990 h 6479439"/>
              <a:gd name="connsiteX9085" fmla="*/ 8854496 w 9586368"/>
              <a:gd name="connsiteY9085" fmla="*/ 17990 h 6479439"/>
              <a:gd name="connsiteX9086" fmla="*/ 8850477 w 9586368"/>
              <a:gd name="connsiteY9086" fmla="*/ 13951 h 6479439"/>
              <a:gd name="connsiteX9087" fmla="*/ 8850477 w 9586368"/>
              <a:gd name="connsiteY9087" fmla="*/ 4080 h 6479439"/>
              <a:gd name="connsiteX9088" fmla="*/ 8615184 w 9586368"/>
              <a:gd name="connsiteY9088" fmla="*/ 41 h 6479439"/>
              <a:gd name="connsiteX9089" fmla="*/ 8625095 w 9586368"/>
              <a:gd name="connsiteY9089" fmla="*/ 41 h 6479439"/>
              <a:gd name="connsiteX9090" fmla="*/ 8629114 w 9586368"/>
              <a:gd name="connsiteY9090" fmla="*/ 4080 h 6479439"/>
              <a:gd name="connsiteX9091" fmla="*/ 8629114 w 9586368"/>
              <a:gd name="connsiteY9091" fmla="*/ 13951 h 6479439"/>
              <a:gd name="connsiteX9092" fmla="*/ 8625095 w 9586368"/>
              <a:gd name="connsiteY9092" fmla="*/ 17990 h 6479439"/>
              <a:gd name="connsiteX9093" fmla="*/ 8615184 w 9586368"/>
              <a:gd name="connsiteY9093" fmla="*/ 17990 h 6479439"/>
              <a:gd name="connsiteX9094" fmla="*/ 8611165 w 9586368"/>
              <a:gd name="connsiteY9094" fmla="*/ 13951 h 6479439"/>
              <a:gd name="connsiteX9095" fmla="*/ 8611165 w 9586368"/>
              <a:gd name="connsiteY9095" fmla="*/ 4080 h 6479439"/>
              <a:gd name="connsiteX9096" fmla="*/ 961275 w 9586368"/>
              <a:gd name="connsiteY9096" fmla="*/ 41 h 6479439"/>
              <a:gd name="connsiteX9097" fmla="*/ 971184 w 9586368"/>
              <a:gd name="connsiteY9097" fmla="*/ 41 h 6479439"/>
              <a:gd name="connsiteX9098" fmla="*/ 975204 w 9586368"/>
              <a:gd name="connsiteY9098" fmla="*/ 4080 h 6479439"/>
              <a:gd name="connsiteX9099" fmla="*/ 975204 w 9586368"/>
              <a:gd name="connsiteY9099" fmla="*/ 13951 h 6479439"/>
              <a:gd name="connsiteX9100" fmla="*/ 971184 w 9586368"/>
              <a:gd name="connsiteY9100" fmla="*/ 17990 h 6479439"/>
              <a:gd name="connsiteX9101" fmla="*/ 961275 w 9586368"/>
              <a:gd name="connsiteY9101" fmla="*/ 17990 h 6479439"/>
              <a:gd name="connsiteX9102" fmla="*/ 957256 w 9586368"/>
              <a:gd name="connsiteY9102" fmla="*/ 13951 h 6479439"/>
              <a:gd name="connsiteX9103" fmla="*/ 957256 w 9586368"/>
              <a:gd name="connsiteY9103" fmla="*/ 4080 h 6479439"/>
              <a:gd name="connsiteX9104" fmla="*/ 1679221 w 9586368"/>
              <a:gd name="connsiteY9104" fmla="*/ 41 h 6479439"/>
              <a:gd name="connsiteX9105" fmla="*/ 1689131 w 9586368"/>
              <a:gd name="connsiteY9105" fmla="*/ 41 h 6479439"/>
              <a:gd name="connsiteX9106" fmla="*/ 1693151 w 9586368"/>
              <a:gd name="connsiteY9106" fmla="*/ 4079 h 6479439"/>
              <a:gd name="connsiteX9107" fmla="*/ 1693151 w 9586368"/>
              <a:gd name="connsiteY9107" fmla="*/ 13950 h 6479439"/>
              <a:gd name="connsiteX9108" fmla="*/ 1689131 w 9586368"/>
              <a:gd name="connsiteY9108" fmla="*/ 17989 h 6479439"/>
              <a:gd name="connsiteX9109" fmla="*/ 1679221 w 9586368"/>
              <a:gd name="connsiteY9109" fmla="*/ 17989 h 6479439"/>
              <a:gd name="connsiteX9110" fmla="*/ 1675203 w 9586368"/>
              <a:gd name="connsiteY9110" fmla="*/ 13950 h 6479439"/>
              <a:gd name="connsiteX9111" fmla="*/ 1675203 w 9586368"/>
              <a:gd name="connsiteY9111" fmla="*/ 4079 h 6479439"/>
              <a:gd name="connsiteX9112" fmla="*/ 1439904 w 9586368"/>
              <a:gd name="connsiteY9112" fmla="*/ 41 h 6479439"/>
              <a:gd name="connsiteX9113" fmla="*/ 1449813 w 9586368"/>
              <a:gd name="connsiteY9113" fmla="*/ 41 h 6479439"/>
              <a:gd name="connsiteX9114" fmla="*/ 1453833 w 9586368"/>
              <a:gd name="connsiteY9114" fmla="*/ 4079 h 6479439"/>
              <a:gd name="connsiteX9115" fmla="*/ 1453833 w 9586368"/>
              <a:gd name="connsiteY9115" fmla="*/ 13950 h 6479439"/>
              <a:gd name="connsiteX9116" fmla="*/ 1449813 w 9586368"/>
              <a:gd name="connsiteY9116" fmla="*/ 17989 h 6479439"/>
              <a:gd name="connsiteX9117" fmla="*/ 1439904 w 9586368"/>
              <a:gd name="connsiteY9117" fmla="*/ 17989 h 6479439"/>
              <a:gd name="connsiteX9118" fmla="*/ 1435885 w 9586368"/>
              <a:gd name="connsiteY9118" fmla="*/ 13950 h 6479439"/>
              <a:gd name="connsiteX9119" fmla="*/ 1435885 w 9586368"/>
              <a:gd name="connsiteY9119" fmla="*/ 4079 h 6479439"/>
              <a:gd name="connsiteX9120" fmla="*/ 1200587 w 9586368"/>
              <a:gd name="connsiteY9120" fmla="*/ 41 h 6479439"/>
              <a:gd name="connsiteX9121" fmla="*/ 1210497 w 9586368"/>
              <a:gd name="connsiteY9121" fmla="*/ 41 h 6479439"/>
              <a:gd name="connsiteX9122" fmla="*/ 1214516 w 9586368"/>
              <a:gd name="connsiteY9122" fmla="*/ 4080 h 6479439"/>
              <a:gd name="connsiteX9123" fmla="*/ 1214516 w 9586368"/>
              <a:gd name="connsiteY9123" fmla="*/ 13951 h 6479439"/>
              <a:gd name="connsiteX9124" fmla="*/ 1210497 w 9586368"/>
              <a:gd name="connsiteY9124" fmla="*/ 17989 h 6479439"/>
              <a:gd name="connsiteX9125" fmla="*/ 1200587 w 9586368"/>
              <a:gd name="connsiteY9125" fmla="*/ 17989 h 6479439"/>
              <a:gd name="connsiteX9126" fmla="*/ 1196568 w 9586368"/>
              <a:gd name="connsiteY9126" fmla="*/ 13951 h 6479439"/>
              <a:gd name="connsiteX9127" fmla="*/ 1196568 w 9586368"/>
              <a:gd name="connsiteY9127" fmla="*/ 4080 h 6479439"/>
              <a:gd name="connsiteX9128" fmla="*/ 1918515 w 9586368"/>
              <a:gd name="connsiteY9128" fmla="*/ 31 h 6479439"/>
              <a:gd name="connsiteX9129" fmla="*/ 1928425 w 9586368"/>
              <a:gd name="connsiteY9129" fmla="*/ 31 h 6479439"/>
              <a:gd name="connsiteX9130" fmla="*/ 1932444 w 9586368"/>
              <a:gd name="connsiteY9130" fmla="*/ 4069 h 6479439"/>
              <a:gd name="connsiteX9131" fmla="*/ 1932444 w 9586368"/>
              <a:gd name="connsiteY9131" fmla="*/ 13940 h 6479439"/>
              <a:gd name="connsiteX9132" fmla="*/ 1928425 w 9586368"/>
              <a:gd name="connsiteY9132" fmla="*/ 17979 h 6479439"/>
              <a:gd name="connsiteX9133" fmla="*/ 1918515 w 9586368"/>
              <a:gd name="connsiteY9133" fmla="*/ 17979 h 6479439"/>
              <a:gd name="connsiteX9134" fmla="*/ 1914497 w 9586368"/>
              <a:gd name="connsiteY9134" fmla="*/ 13940 h 6479439"/>
              <a:gd name="connsiteX9135" fmla="*/ 1914497 w 9586368"/>
              <a:gd name="connsiteY9135" fmla="*/ 4069 h 6479439"/>
              <a:gd name="connsiteX9136" fmla="*/ 9572438 w 9586368"/>
              <a:gd name="connsiteY9136" fmla="*/ 29 h 6479439"/>
              <a:gd name="connsiteX9137" fmla="*/ 9582349 w 9586368"/>
              <a:gd name="connsiteY9137" fmla="*/ 29 h 6479439"/>
              <a:gd name="connsiteX9138" fmla="*/ 9586368 w 9586368"/>
              <a:gd name="connsiteY9138" fmla="*/ 4067 h 6479439"/>
              <a:gd name="connsiteX9139" fmla="*/ 9586368 w 9586368"/>
              <a:gd name="connsiteY9139" fmla="*/ 13938 h 6479439"/>
              <a:gd name="connsiteX9140" fmla="*/ 9582349 w 9586368"/>
              <a:gd name="connsiteY9140" fmla="*/ 17977 h 6479439"/>
              <a:gd name="connsiteX9141" fmla="*/ 9572438 w 9586368"/>
              <a:gd name="connsiteY9141" fmla="*/ 17977 h 6479439"/>
              <a:gd name="connsiteX9142" fmla="*/ 9568419 w 9586368"/>
              <a:gd name="connsiteY9142" fmla="*/ 13938 h 6479439"/>
              <a:gd name="connsiteX9143" fmla="*/ 9568419 w 9586368"/>
              <a:gd name="connsiteY9143" fmla="*/ 4067 h 6479439"/>
              <a:gd name="connsiteX9144" fmla="*/ 2157824 w 9586368"/>
              <a:gd name="connsiteY9144" fmla="*/ 28 h 6479439"/>
              <a:gd name="connsiteX9145" fmla="*/ 2167734 w 9586368"/>
              <a:gd name="connsiteY9145" fmla="*/ 28 h 6479439"/>
              <a:gd name="connsiteX9146" fmla="*/ 2171753 w 9586368"/>
              <a:gd name="connsiteY9146" fmla="*/ 4067 h 6479439"/>
              <a:gd name="connsiteX9147" fmla="*/ 2171753 w 9586368"/>
              <a:gd name="connsiteY9147" fmla="*/ 13938 h 6479439"/>
              <a:gd name="connsiteX9148" fmla="*/ 2167734 w 9586368"/>
              <a:gd name="connsiteY9148" fmla="*/ 17977 h 6479439"/>
              <a:gd name="connsiteX9149" fmla="*/ 2157824 w 9586368"/>
              <a:gd name="connsiteY9149" fmla="*/ 17977 h 6479439"/>
              <a:gd name="connsiteX9150" fmla="*/ 2153804 w 9586368"/>
              <a:gd name="connsiteY9150" fmla="*/ 13938 h 6479439"/>
              <a:gd name="connsiteX9151" fmla="*/ 2153804 w 9586368"/>
              <a:gd name="connsiteY9151" fmla="*/ 4067 h 6479439"/>
              <a:gd name="connsiteX9152" fmla="*/ 721977 w 9586368"/>
              <a:gd name="connsiteY9152" fmla="*/ 0 h 6479439"/>
              <a:gd name="connsiteX9153" fmla="*/ 731887 w 9586368"/>
              <a:gd name="connsiteY9153" fmla="*/ 0 h 6479439"/>
              <a:gd name="connsiteX9154" fmla="*/ 735906 w 9586368"/>
              <a:gd name="connsiteY9154" fmla="*/ 4039 h 6479439"/>
              <a:gd name="connsiteX9155" fmla="*/ 735906 w 9586368"/>
              <a:gd name="connsiteY9155" fmla="*/ 13910 h 6479439"/>
              <a:gd name="connsiteX9156" fmla="*/ 731887 w 9586368"/>
              <a:gd name="connsiteY9156" fmla="*/ 17949 h 6479439"/>
              <a:gd name="connsiteX9157" fmla="*/ 721977 w 9586368"/>
              <a:gd name="connsiteY9157" fmla="*/ 17949 h 6479439"/>
              <a:gd name="connsiteX9158" fmla="*/ 717959 w 9586368"/>
              <a:gd name="connsiteY9158" fmla="*/ 13910 h 6479439"/>
              <a:gd name="connsiteX9159" fmla="*/ 717959 w 9586368"/>
              <a:gd name="connsiteY9159" fmla="*/ 4039 h 6479439"/>
              <a:gd name="connsiteX9160" fmla="*/ 482665 w 9586368"/>
              <a:gd name="connsiteY9160" fmla="*/ 0 h 6479439"/>
              <a:gd name="connsiteX9161" fmla="*/ 492575 w 9586368"/>
              <a:gd name="connsiteY9161" fmla="*/ 0 h 6479439"/>
              <a:gd name="connsiteX9162" fmla="*/ 496594 w 9586368"/>
              <a:gd name="connsiteY9162" fmla="*/ 4039 h 6479439"/>
              <a:gd name="connsiteX9163" fmla="*/ 496594 w 9586368"/>
              <a:gd name="connsiteY9163" fmla="*/ 13910 h 6479439"/>
              <a:gd name="connsiteX9164" fmla="*/ 492575 w 9586368"/>
              <a:gd name="connsiteY9164" fmla="*/ 17949 h 6479439"/>
              <a:gd name="connsiteX9165" fmla="*/ 482665 w 9586368"/>
              <a:gd name="connsiteY9165" fmla="*/ 17949 h 6479439"/>
              <a:gd name="connsiteX9166" fmla="*/ 478646 w 9586368"/>
              <a:gd name="connsiteY9166" fmla="*/ 13910 h 6479439"/>
              <a:gd name="connsiteX9167" fmla="*/ 478646 w 9586368"/>
              <a:gd name="connsiteY9167" fmla="*/ 4039 h 6479439"/>
              <a:gd name="connsiteX9168" fmla="*/ 243351 w 9586368"/>
              <a:gd name="connsiteY9168" fmla="*/ 0 h 6479439"/>
              <a:gd name="connsiteX9169" fmla="*/ 253261 w 9586368"/>
              <a:gd name="connsiteY9169" fmla="*/ 0 h 6479439"/>
              <a:gd name="connsiteX9170" fmla="*/ 257281 w 9586368"/>
              <a:gd name="connsiteY9170" fmla="*/ 4039 h 6479439"/>
              <a:gd name="connsiteX9171" fmla="*/ 257281 w 9586368"/>
              <a:gd name="connsiteY9171" fmla="*/ 13910 h 6479439"/>
              <a:gd name="connsiteX9172" fmla="*/ 253261 w 9586368"/>
              <a:gd name="connsiteY9172" fmla="*/ 17949 h 6479439"/>
              <a:gd name="connsiteX9173" fmla="*/ 243351 w 9586368"/>
              <a:gd name="connsiteY9173" fmla="*/ 17949 h 6479439"/>
              <a:gd name="connsiteX9174" fmla="*/ 239332 w 9586368"/>
              <a:gd name="connsiteY9174" fmla="*/ 13910 h 6479439"/>
              <a:gd name="connsiteX9175" fmla="*/ 239332 w 9586368"/>
              <a:gd name="connsiteY9175" fmla="*/ 4039 h 6479439"/>
              <a:gd name="connsiteX9176" fmla="*/ 4039 w 9586368"/>
              <a:gd name="connsiteY9176" fmla="*/ 0 h 6479439"/>
              <a:gd name="connsiteX9177" fmla="*/ 13948 w 9586368"/>
              <a:gd name="connsiteY9177" fmla="*/ 0 h 6479439"/>
              <a:gd name="connsiteX9178" fmla="*/ 17967 w 9586368"/>
              <a:gd name="connsiteY9178" fmla="*/ 4039 h 6479439"/>
              <a:gd name="connsiteX9179" fmla="*/ 17967 w 9586368"/>
              <a:gd name="connsiteY9179" fmla="*/ 13910 h 6479439"/>
              <a:gd name="connsiteX9180" fmla="*/ 13948 w 9586368"/>
              <a:gd name="connsiteY9180" fmla="*/ 17949 h 6479439"/>
              <a:gd name="connsiteX9181" fmla="*/ 4039 w 9586368"/>
              <a:gd name="connsiteY9181" fmla="*/ 17949 h 6479439"/>
              <a:gd name="connsiteX9182" fmla="*/ 19 w 9586368"/>
              <a:gd name="connsiteY9182" fmla="*/ 13910 h 6479439"/>
              <a:gd name="connsiteX9183" fmla="*/ 19 w 9586368"/>
              <a:gd name="connsiteY9183" fmla="*/ 4039 h 6479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</a:cxnLst>
            <a:rect l="l" t="t" r="r" b="b"/>
            <a:pathLst>
              <a:path w="9586368" h="6479439">
                <a:moveTo>
                  <a:pt x="2157895" y="6461491"/>
                </a:moveTo>
                <a:lnTo>
                  <a:pt x="2167802" y="6461491"/>
                </a:lnTo>
                <a:lnTo>
                  <a:pt x="2171820" y="6465529"/>
                </a:lnTo>
                <a:lnTo>
                  <a:pt x="2171820" y="6475400"/>
                </a:lnTo>
                <a:lnTo>
                  <a:pt x="2167802" y="6479439"/>
                </a:lnTo>
                <a:lnTo>
                  <a:pt x="2157895" y="6479439"/>
                </a:lnTo>
                <a:lnTo>
                  <a:pt x="2153871" y="6475400"/>
                </a:lnTo>
                <a:lnTo>
                  <a:pt x="2153871" y="6465529"/>
                </a:lnTo>
                <a:close/>
                <a:moveTo>
                  <a:pt x="1918509" y="6461491"/>
                </a:moveTo>
                <a:lnTo>
                  <a:pt x="1928419" y="6461491"/>
                </a:lnTo>
                <a:lnTo>
                  <a:pt x="1932437" y="6465529"/>
                </a:lnTo>
                <a:lnTo>
                  <a:pt x="1932437" y="6475400"/>
                </a:lnTo>
                <a:lnTo>
                  <a:pt x="1928419" y="6479439"/>
                </a:lnTo>
                <a:lnTo>
                  <a:pt x="1918509" y="6479439"/>
                </a:lnTo>
                <a:lnTo>
                  <a:pt x="1914490" y="6475400"/>
                </a:lnTo>
                <a:lnTo>
                  <a:pt x="1914490" y="6465529"/>
                </a:lnTo>
                <a:close/>
                <a:moveTo>
                  <a:pt x="1679200" y="6461491"/>
                </a:moveTo>
                <a:lnTo>
                  <a:pt x="1689110" y="6461491"/>
                </a:lnTo>
                <a:lnTo>
                  <a:pt x="1693128" y="6465529"/>
                </a:lnTo>
                <a:lnTo>
                  <a:pt x="1693128" y="6475400"/>
                </a:lnTo>
                <a:lnTo>
                  <a:pt x="1689110" y="6479439"/>
                </a:lnTo>
                <a:lnTo>
                  <a:pt x="1679200" y="6479439"/>
                </a:lnTo>
                <a:lnTo>
                  <a:pt x="1675180" y="6475400"/>
                </a:lnTo>
                <a:lnTo>
                  <a:pt x="1675180" y="6465529"/>
                </a:lnTo>
                <a:close/>
                <a:moveTo>
                  <a:pt x="1439885" y="6461491"/>
                </a:moveTo>
                <a:lnTo>
                  <a:pt x="1449795" y="6461491"/>
                </a:lnTo>
                <a:lnTo>
                  <a:pt x="1453813" y="6465529"/>
                </a:lnTo>
                <a:lnTo>
                  <a:pt x="1453813" y="6475400"/>
                </a:lnTo>
                <a:lnTo>
                  <a:pt x="1449795" y="6479439"/>
                </a:lnTo>
                <a:lnTo>
                  <a:pt x="1439885" y="6479439"/>
                </a:lnTo>
                <a:lnTo>
                  <a:pt x="1435865" y="6475400"/>
                </a:lnTo>
                <a:lnTo>
                  <a:pt x="1435865" y="6465529"/>
                </a:lnTo>
                <a:close/>
                <a:moveTo>
                  <a:pt x="1200570" y="6461491"/>
                </a:moveTo>
                <a:lnTo>
                  <a:pt x="1210480" y="6461491"/>
                </a:lnTo>
                <a:lnTo>
                  <a:pt x="1214498" y="6465529"/>
                </a:lnTo>
                <a:lnTo>
                  <a:pt x="1214498" y="6475400"/>
                </a:lnTo>
                <a:lnTo>
                  <a:pt x="1210480" y="6479439"/>
                </a:lnTo>
                <a:lnTo>
                  <a:pt x="1200570" y="6479439"/>
                </a:lnTo>
                <a:lnTo>
                  <a:pt x="1196551" y="6475400"/>
                </a:lnTo>
                <a:lnTo>
                  <a:pt x="1196551" y="6465529"/>
                </a:lnTo>
                <a:close/>
                <a:moveTo>
                  <a:pt x="961257" y="6461491"/>
                </a:moveTo>
                <a:lnTo>
                  <a:pt x="971167" y="6461491"/>
                </a:lnTo>
                <a:lnTo>
                  <a:pt x="975186" y="6465529"/>
                </a:lnTo>
                <a:lnTo>
                  <a:pt x="975186" y="6475400"/>
                </a:lnTo>
                <a:lnTo>
                  <a:pt x="971167" y="6479439"/>
                </a:lnTo>
                <a:lnTo>
                  <a:pt x="961257" y="6479439"/>
                </a:lnTo>
                <a:lnTo>
                  <a:pt x="957238" y="6475400"/>
                </a:lnTo>
                <a:lnTo>
                  <a:pt x="957238" y="6465529"/>
                </a:lnTo>
                <a:close/>
                <a:moveTo>
                  <a:pt x="9572438" y="6461440"/>
                </a:moveTo>
                <a:lnTo>
                  <a:pt x="9582349" y="6461440"/>
                </a:lnTo>
                <a:lnTo>
                  <a:pt x="9586368" y="6465478"/>
                </a:lnTo>
                <a:lnTo>
                  <a:pt x="9586368" y="6475349"/>
                </a:lnTo>
                <a:lnTo>
                  <a:pt x="9582349" y="6479388"/>
                </a:lnTo>
                <a:lnTo>
                  <a:pt x="9572438" y="6479388"/>
                </a:lnTo>
                <a:lnTo>
                  <a:pt x="9568419" y="6475349"/>
                </a:lnTo>
                <a:lnTo>
                  <a:pt x="9568419" y="6465478"/>
                </a:lnTo>
                <a:close/>
                <a:moveTo>
                  <a:pt x="9333125" y="6461440"/>
                </a:moveTo>
                <a:lnTo>
                  <a:pt x="9343036" y="6461440"/>
                </a:lnTo>
                <a:lnTo>
                  <a:pt x="9347055" y="6465478"/>
                </a:lnTo>
                <a:lnTo>
                  <a:pt x="9347055" y="6475349"/>
                </a:lnTo>
                <a:lnTo>
                  <a:pt x="9343036" y="6479388"/>
                </a:lnTo>
                <a:lnTo>
                  <a:pt x="9333125" y="6479388"/>
                </a:lnTo>
                <a:lnTo>
                  <a:pt x="9329106" y="6475349"/>
                </a:lnTo>
                <a:lnTo>
                  <a:pt x="9329106" y="6465478"/>
                </a:lnTo>
                <a:close/>
                <a:moveTo>
                  <a:pt x="9093811" y="6461440"/>
                </a:moveTo>
                <a:lnTo>
                  <a:pt x="9103722" y="6461440"/>
                </a:lnTo>
                <a:lnTo>
                  <a:pt x="9107741" y="6465478"/>
                </a:lnTo>
                <a:lnTo>
                  <a:pt x="9107741" y="6475349"/>
                </a:lnTo>
                <a:lnTo>
                  <a:pt x="9103722" y="6479388"/>
                </a:lnTo>
                <a:lnTo>
                  <a:pt x="9093811" y="6479388"/>
                </a:lnTo>
                <a:lnTo>
                  <a:pt x="9089792" y="6475349"/>
                </a:lnTo>
                <a:lnTo>
                  <a:pt x="9089792" y="6465478"/>
                </a:lnTo>
                <a:close/>
                <a:moveTo>
                  <a:pt x="8854496" y="6461440"/>
                </a:moveTo>
                <a:lnTo>
                  <a:pt x="8864407" y="6461440"/>
                </a:lnTo>
                <a:lnTo>
                  <a:pt x="8868426" y="6465478"/>
                </a:lnTo>
                <a:lnTo>
                  <a:pt x="8868426" y="6475349"/>
                </a:lnTo>
                <a:lnTo>
                  <a:pt x="8864407" y="6479388"/>
                </a:lnTo>
                <a:lnTo>
                  <a:pt x="8854496" y="6479388"/>
                </a:lnTo>
                <a:lnTo>
                  <a:pt x="8850477" y="6475349"/>
                </a:lnTo>
                <a:lnTo>
                  <a:pt x="8850477" y="6465478"/>
                </a:lnTo>
                <a:close/>
                <a:moveTo>
                  <a:pt x="8615184" y="6461440"/>
                </a:moveTo>
                <a:lnTo>
                  <a:pt x="8625095" y="6461440"/>
                </a:lnTo>
                <a:lnTo>
                  <a:pt x="8629114" y="6465478"/>
                </a:lnTo>
                <a:lnTo>
                  <a:pt x="8629114" y="6475349"/>
                </a:lnTo>
                <a:lnTo>
                  <a:pt x="8625095" y="6479388"/>
                </a:lnTo>
                <a:lnTo>
                  <a:pt x="8615184" y="6479388"/>
                </a:lnTo>
                <a:lnTo>
                  <a:pt x="8611165" y="6475349"/>
                </a:lnTo>
                <a:lnTo>
                  <a:pt x="8611165" y="6465478"/>
                </a:lnTo>
                <a:close/>
                <a:moveTo>
                  <a:pt x="8375869" y="6461440"/>
                </a:moveTo>
                <a:lnTo>
                  <a:pt x="8385779" y="6461440"/>
                </a:lnTo>
                <a:lnTo>
                  <a:pt x="8389799" y="6465478"/>
                </a:lnTo>
                <a:lnTo>
                  <a:pt x="8389799" y="6475349"/>
                </a:lnTo>
                <a:lnTo>
                  <a:pt x="8385779" y="6479388"/>
                </a:lnTo>
                <a:lnTo>
                  <a:pt x="8375869" y="6479388"/>
                </a:lnTo>
                <a:lnTo>
                  <a:pt x="8371850" y="6475349"/>
                </a:lnTo>
                <a:lnTo>
                  <a:pt x="8371850" y="6465478"/>
                </a:lnTo>
                <a:close/>
                <a:moveTo>
                  <a:pt x="8136553" y="6461440"/>
                </a:moveTo>
                <a:lnTo>
                  <a:pt x="8146464" y="6461440"/>
                </a:lnTo>
                <a:lnTo>
                  <a:pt x="8150483" y="6465478"/>
                </a:lnTo>
                <a:lnTo>
                  <a:pt x="8150483" y="6475349"/>
                </a:lnTo>
                <a:lnTo>
                  <a:pt x="8146464" y="6479388"/>
                </a:lnTo>
                <a:lnTo>
                  <a:pt x="8136553" y="6479388"/>
                </a:lnTo>
                <a:lnTo>
                  <a:pt x="8132534" y="6475349"/>
                </a:lnTo>
                <a:lnTo>
                  <a:pt x="8132534" y="6465478"/>
                </a:lnTo>
                <a:close/>
                <a:moveTo>
                  <a:pt x="7897241" y="6461440"/>
                </a:moveTo>
                <a:lnTo>
                  <a:pt x="7907151" y="6461440"/>
                </a:lnTo>
                <a:lnTo>
                  <a:pt x="7911170" y="6465478"/>
                </a:lnTo>
                <a:lnTo>
                  <a:pt x="7911170" y="6475349"/>
                </a:lnTo>
                <a:lnTo>
                  <a:pt x="7907151" y="6479388"/>
                </a:lnTo>
                <a:lnTo>
                  <a:pt x="7897241" y="6479388"/>
                </a:lnTo>
                <a:lnTo>
                  <a:pt x="7893222" y="6475349"/>
                </a:lnTo>
                <a:lnTo>
                  <a:pt x="7893222" y="6465478"/>
                </a:lnTo>
                <a:close/>
                <a:moveTo>
                  <a:pt x="7657926" y="6461440"/>
                </a:moveTo>
                <a:lnTo>
                  <a:pt x="7667836" y="6461440"/>
                </a:lnTo>
                <a:lnTo>
                  <a:pt x="7671855" y="6465478"/>
                </a:lnTo>
                <a:lnTo>
                  <a:pt x="7671855" y="6475349"/>
                </a:lnTo>
                <a:lnTo>
                  <a:pt x="7667836" y="6479388"/>
                </a:lnTo>
                <a:lnTo>
                  <a:pt x="7657926" y="6479388"/>
                </a:lnTo>
                <a:lnTo>
                  <a:pt x="7653906" y="6475349"/>
                </a:lnTo>
                <a:lnTo>
                  <a:pt x="7653906" y="6465478"/>
                </a:lnTo>
                <a:close/>
                <a:moveTo>
                  <a:pt x="7418611" y="6461440"/>
                </a:moveTo>
                <a:lnTo>
                  <a:pt x="7428521" y="6461440"/>
                </a:lnTo>
                <a:lnTo>
                  <a:pt x="7432540" y="6465478"/>
                </a:lnTo>
                <a:lnTo>
                  <a:pt x="7432540" y="6475349"/>
                </a:lnTo>
                <a:lnTo>
                  <a:pt x="7428521" y="6479388"/>
                </a:lnTo>
                <a:lnTo>
                  <a:pt x="7418611" y="6479388"/>
                </a:lnTo>
                <a:lnTo>
                  <a:pt x="7414592" y="6475349"/>
                </a:lnTo>
                <a:lnTo>
                  <a:pt x="7414592" y="6465478"/>
                </a:lnTo>
                <a:close/>
                <a:moveTo>
                  <a:pt x="7179298" y="6461440"/>
                </a:moveTo>
                <a:lnTo>
                  <a:pt x="7189209" y="6461440"/>
                </a:lnTo>
                <a:lnTo>
                  <a:pt x="7193228" y="6465478"/>
                </a:lnTo>
                <a:lnTo>
                  <a:pt x="7193228" y="6475349"/>
                </a:lnTo>
                <a:lnTo>
                  <a:pt x="7189209" y="6479388"/>
                </a:lnTo>
                <a:lnTo>
                  <a:pt x="7179298" y="6479388"/>
                </a:lnTo>
                <a:lnTo>
                  <a:pt x="7175279" y="6475349"/>
                </a:lnTo>
                <a:lnTo>
                  <a:pt x="7175279" y="6465478"/>
                </a:lnTo>
                <a:close/>
                <a:moveTo>
                  <a:pt x="6939983" y="6461440"/>
                </a:moveTo>
                <a:lnTo>
                  <a:pt x="6949894" y="6461440"/>
                </a:lnTo>
                <a:lnTo>
                  <a:pt x="6953913" y="6465478"/>
                </a:lnTo>
                <a:lnTo>
                  <a:pt x="6953913" y="6475349"/>
                </a:lnTo>
                <a:lnTo>
                  <a:pt x="6949894" y="6479388"/>
                </a:lnTo>
                <a:lnTo>
                  <a:pt x="6939983" y="6479388"/>
                </a:lnTo>
                <a:lnTo>
                  <a:pt x="6935964" y="6475349"/>
                </a:lnTo>
                <a:lnTo>
                  <a:pt x="6935964" y="6465478"/>
                </a:lnTo>
                <a:close/>
                <a:moveTo>
                  <a:pt x="6700670" y="6461440"/>
                </a:moveTo>
                <a:lnTo>
                  <a:pt x="6710581" y="6461440"/>
                </a:lnTo>
                <a:lnTo>
                  <a:pt x="6714600" y="6465478"/>
                </a:lnTo>
                <a:lnTo>
                  <a:pt x="6714600" y="6475349"/>
                </a:lnTo>
                <a:lnTo>
                  <a:pt x="6710581" y="6479388"/>
                </a:lnTo>
                <a:lnTo>
                  <a:pt x="6700670" y="6479388"/>
                </a:lnTo>
                <a:lnTo>
                  <a:pt x="6696651" y="6475349"/>
                </a:lnTo>
                <a:lnTo>
                  <a:pt x="6696651" y="6465478"/>
                </a:lnTo>
                <a:close/>
                <a:moveTo>
                  <a:pt x="6461356" y="6461440"/>
                </a:moveTo>
                <a:lnTo>
                  <a:pt x="6471266" y="6461440"/>
                </a:lnTo>
                <a:lnTo>
                  <a:pt x="6475285" y="6465478"/>
                </a:lnTo>
                <a:lnTo>
                  <a:pt x="6475285" y="6475349"/>
                </a:lnTo>
                <a:lnTo>
                  <a:pt x="6471266" y="6479388"/>
                </a:lnTo>
                <a:lnTo>
                  <a:pt x="6461356" y="6479388"/>
                </a:lnTo>
                <a:lnTo>
                  <a:pt x="6457337" y="6475349"/>
                </a:lnTo>
                <a:lnTo>
                  <a:pt x="6457337" y="6465478"/>
                </a:lnTo>
                <a:close/>
                <a:moveTo>
                  <a:pt x="6222042" y="6461440"/>
                </a:moveTo>
                <a:lnTo>
                  <a:pt x="6231952" y="6461440"/>
                </a:lnTo>
                <a:lnTo>
                  <a:pt x="6235971" y="6465478"/>
                </a:lnTo>
                <a:lnTo>
                  <a:pt x="6235971" y="6475349"/>
                </a:lnTo>
                <a:lnTo>
                  <a:pt x="6231952" y="6479388"/>
                </a:lnTo>
                <a:lnTo>
                  <a:pt x="6222042" y="6479388"/>
                </a:lnTo>
                <a:lnTo>
                  <a:pt x="6218023" y="6475349"/>
                </a:lnTo>
                <a:lnTo>
                  <a:pt x="6218023" y="6465478"/>
                </a:lnTo>
                <a:close/>
                <a:moveTo>
                  <a:pt x="5982729" y="6461440"/>
                </a:moveTo>
                <a:lnTo>
                  <a:pt x="5992639" y="6461440"/>
                </a:lnTo>
                <a:lnTo>
                  <a:pt x="5996658" y="6465478"/>
                </a:lnTo>
                <a:lnTo>
                  <a:pt x="5996658" y="6475349"/>
                </a:lnTo>
                <a:lnTo>
                  <a:pt x="5992639" y="6479388"/>
                </a:lnTo>
                <a:lnTo>
                  <a:pt x="5982729" y="6479388"/>
                </a:lnTo>
                <a:lnTo>
                  <a:pt x="5978710" y="6475349"/>
                </a:lnTo>
                <a:lnTo>
                  <a:pt x="5978710" y="6465478"/>
                </a:lnTo>
                <a:close/>
                <a:moveTo>
                  <a:pt x="5743412" y="6461440"/>
                </a:moveTo>
                <a:lnTo>
                  <a:pt x="5753323" y="6461440"/>
                </a:lnTo>
                <a:lnTo>
                  <a:pt x="5757342" y="6465478"/>
                </a:lnTo>
                <a:lnTo>
                  <a:pt x="5757342" y="6475349"/>
                </a:lnTo>
                <a:lnTo>
                  <a:pt x="5753323" y="6479388"/>
                </a:lnTo>
                <a:lnTo>
                  <a:pt x="5743412" y="6479388"/>
                </a:lnTo>
                <a:lnTo>
                  <a:pt x="5739393" y="6475349"/>
                </a:lnTo>
                <a:lnTo>
                  <a:pt x="5739393" y="6465478"/>
                </a:lnTo>
                <a:close/>
                <a:moveTo>
                  <a:pt x="5504099" y="6461440"/>
                </a:moveTo>
                <a:lnTo>
                  <a:pt x="5514010" y="6461440"/>
                </a:lnTo>
                <a:lnTo>
                  <a:pt x="5518029" y="6465478"/>
                </a:lnTo>
                <a:lnTo>
                  <a:pt x="5518029" y="6475349"/>
                </a:lnTo>
                <a:lnTo>
                  <a:pt x="5514010" y="6479388"/>
                </a:lnTo>
                <a:lnTo>
                  <a:pt x="5504099" y="6479388"/>
                </a:lnTo>
                <a:lnTo>
                  <a:pt x="5500080" y="6475349"/>
                </a:lnTo>
                <a:lnTo>
                  <a:pt x="5500080" y="6465478"/>
                </a:lnTo>
                <a:close/>
                <a:moveTo>
                  <a:pt x="5264784" y="6461440"/>
                </a:moveTo>
                <a:lnTo>
                  <a:pt x="5274694" y="6461440"/>
                </a:lnTo>
                <a:lnTo>
                  <a:pt x="5278713" y="6465478"/>
                </a:lnTo>
                <a:lnTo>
                  <a:pt x="5278713" y="6475349"/>
                </a:lnTo>
                <a:lnTo>
                  <a:pt x="5274694" y="6479388"/>
                </a:lnTo>
                <a:lnTo>
                  <a:pt x="5264784" y="6479388"/>
                </a:lnTo>
                <a:lnTo>
                  <a:pt x="5260765" y="6475349"/>
                </a:lnTo>
                <a:lnTo>
                  <a:pt x="5260765" y="6465478"/>
                </a:lnTo>
                <a:close/>
                <a:moveTo>
                  <a:pt x="5025470" y="6461440"/>
                </a:moveTo>
                <a:lnTo>
                  <a:pt x="5035381" y="6461440"/>
                </a:lnTo>
                <a:lnTo>
                  <a:pt x="5039400" y="6465478"/>
                </a:lnTo>
                <a:lnTo>
                  <a:pt x="5039400" y="6475349"/>
                </a:lnTo>
                <a:lnTo>
                  <a:pt x="5035381" y="6479388"/>
                </a:lnTo>
                <a:lnTo>
                  <a:pt x="5025470" y="6479388"/>
                </a:lnTo>
                <a:lnTo>
                  <a:pt x="5021451" y="6475349"/>
                </a:lnTo>
                <a:lnTo>
                  <a:pt x="5021451" y="6465478"/>
                </a:lnTo>
                <a:close/>
                <a:moveTo>
                  <a:pt x="4786241" y="6461440"/>
                </a:moveTo>
                <a:lnTo>
                  <a:pt x="4796152" y="6461440"/>
                </a:lnTo>
                <a:lnTo>
                  <a:pt x="4800171" y="6465478"/>
                </a:lnTo>
                <a:lnTo>
                  <a:pt x="4800171" y="6475349"/>
                </a:lnTo>
                <a:lnTo>
                  <a:pt x="4796152" y="6479388"/>
                </a:lnTo>
                <a:lnTo>
                  <a:pt x="4786241" y="6479388"/>
                </a:lnTo>
                <a:lnTo>
                  <a:pt x="4782224" y="6475349"/>
                </a:lnTo>
                <a:lnTo>
                  <a:pt x="4782224" y="6465478"/>
                </a:lnTo>
                <a:close/>
                <a:moveTo>
                  <a:pt x="4546929" y="6461440"/>
                </a:moveTo>
                <a:lnTo>
                  <a:pt x="4556840" y="6461440"/>
                </a:lnTo>
                <a:lnTo>
                  <a:pt x="4560859" y="6465478"/>
                </a:lnTo>
                <a:lnTo>
                  <a:pt x="4560859" y="6475349"/>
                </a:lnTo>
                <a:lnTo>
                  <a:pt x="4556840" y="6479388"/>
                </a:lnTo>
                <a:lnTo>
                  <a:pt x="4546929" y="6479388"/>
                </a:lnTo>
                <a:lnTo>
                  <a:pt x="4542910" y="6475349"/>
                </a:lnTo>
                <a:lnTo>
                  <a:pt x="4542910" y="6465478"/>
                </a:lnTo>
                <a:close/>
                <a:moveTo>
                  <a:pt x="4307612" y="6461440"/>
                </a:moveTo>
                <a:lnTo>
                  <a:pt x="4317523" y="6461440"/>
                </a:lnTo>
                <a:lnTo>
                  <a:pt x="4321543" y="6465478"/>
                </a:lnTo>
                <a:lnTo>
                  <a:pt x="4321543" y="6475349"/>
                </a:lnTo>
                <a:lnTo>
                  <a:pt x="4317523" y="6479388"/>
                </a:lnTo>
                <a:lnTo>
                  <a:pt x="4307612" y="6479388"/>
                </a:lnTo>
                <a:lnTo>
                  <a:pt x="4303595" y="6475349"/>
                </a:lnTo>
                <a:lnTo>
                  <a:pt x="4303595" y="6465478"/>
                </a:lnTo>
                <a:close/>
                <a:moveTo>
                  <a:pt x="4068297" y="6461440"/>
                </a:moveTo>
                <a:lnTo>
                  <a:pt x="4078210" y="6461440"/>
                </a:lnTo>
                <a:lnTo>
                  <a:pt x="4082229" y="6465478"/>
                </a:lnTo>
                <a:lnTo>
                  <a:pt x="4082229" y="6475349"/>
                </a:lnTo>
                <a:lnTo>
                  <a:pt x="4078210" y="6479388"/>
                </a:lnTo>
                <a:lnTo>
                  <a:pt x="4068297" y="6479388"/>
                </a:lnTo>
                <a:lnTo>
                  <a:pt x="4064278" y="6475349"/>
                </a:lnTo>
                <a:lnTo>
                  <a:pt x="4064278" y="6465478"/>
                </a:lnTo>
                <a:close/>
                <a:moveTo>
                  <a:pt x="3828990" y="6461440"/>
                </a:moveTo>
                <a:lnTo>
                  <a:pt x="3838899" y="6461440"/>
                </a:lnTo>
                <a:lnTo>
                  <a:pt x="3842917" y="6465478"/>
                </a:lnTo>
                <a:lnTo>
                  <a:pt x="3842917" y="6475349"/>
                </a:lnTo>
                <a:lnTo>
                  <a:pt x="3838899" y="6479388"/>
                </a:lnTo>
                <a:lnTo>
                  <a:pt x="3828990" y="6479388"/>
                </a:lnTo>
                <a:lnTo>
                  <a:pt x="3824971" y="6475349"/>
                </a:lnTo>
                <a:lnTo>
                  <a:pt x="3824971" y="6465478"/>
                </a:lnTo>
                <a:close/>
                <a:moveTo>
                  <a:pt x="3589676" y="6461440"/>
                </a:moveTo>
                <a:lnTo>
                  <a:pt x="3599585" y="6461440"/>
                </a:lnTo>
                <a:lnTo>
                  <a:pt x="3603604" y="6465478"/>
                </a:lnTo>
                <a:lnTo>
                  <a:pt x="3603604" y="6475349"/>
                </a:lnTo>
                <a:lnTo>
                  <a:pt x="3599585" y="6479388"/>
                </a:lnTo>
                <a:lnTo>
                  <a:pt x="3589676" y="6479388"/>
                </a:lnTo>
                <a:lnTo>
                  <a:pt x="3585657" y="6475349"/>
                </a:lnTo>
                <a:lnTo>
                  <a:pt x="3585657" y="6465478"/>
                </a:lnTo>
                <a:close/>
                <a:moveTo>
                  <a:pt x="3350359" y="6461440"/>
                </a:moveTo>
                <a:lnTo>
                  <a:pt x="3360268" y="6461440"/>
                </a:lnTo>
                <a:lnTo>
                  <a:pt x="3364287" y="6465478"/>
                </a:lnTo>
                <a:lnTo>
                  <a:pt x="3364287" y="6475349"/>
                </a:lnTo>
                <a:lnTo>
                  <a:pt x="3360268" y="6479388"/>
                </a:lnTo>
                <a:lnTo>
                  <a:pt x="3350359" y="6479388"/>
                </a:lnTo>
                <a:lnTo>
                  <a:pt x="3346340" y="6475349"/>
                </a:lnTo>
                <a:lnTo>
                  <a:pt x="3346340" y="6465478"/>
                </a:lnTo>
                <a:close/>
                <a:moveTo>
                  <a:pt x="3111048" y="6461440"/>
                </a:moveTo>
                <a:lnTo>
                  <a:pt x="3120959" y="6461440"/>
                </a:lnTo>
                <a:lnTo>
                  <a:pt x="3124977" y="6465478"/>
                </a:lnTo>
                <a:lnTo>
                  <a:pt x="3124977" y="6475349"/>
                </a:lnTo>
                <a:lnTo>
                  <a:pt x="3120959" y="6479388"/>
                </a:lnTo>
                <a:lnTo>
                  <a:pt x="3111048" y="6479388"/>
                </a:lnTo>
                <a:lnTo>
                  <a:pt x="3107029" y="6475349"/>
                </a:lnTo>
                <a:lnTo>
                  <a:pt x="3107029" y="6465478"/>
                </a:lnTo>
                <a:close/>
                <a:moveTo>
                  <a:pt x="2871737" y="6461440"/>
                </a:moveTo>
                <a:lnTo>
                  <a:pt x="2881646" y="6461440"/>
                </a:lnTo>
                <a:lnTo>
                  <a:pt x="2885666" y="6465478"/>
                </a:lnTo>
                <a:lnTo>
                  <a:pt x="2885666" y="6475349"/>
                </a:lnTo>
                <a:lnTo>
                  <a:pt x="2881646" y="6479388"/>
                </a:lnTo>
                <a:lnTo>
                  <a:pt x="2871737" y="6479388"/>
                </a:lnTo>
                <a:lnTo>
                  <a:pt x="2867717" y="6475349"/>
                </a:lnTo>
                <a:lnTo>
                  <a:pt x="2867717" y="6465478"/>
                </a:lnTo>
                <a:close/>
                <a:moveTo>
                  <a:pt x="2632423" y="6461440"/>
                </a:moveTo>
                <a:lnTo>
                  <a:pt x="2642334" y="6461440"/>
                </a:lnTo>
                <a:lnTo>
                  <a:pt x="2646352" y="6465478"/>
                </a:lnTo>
                <a:lnTo>
                  <a:pt x="2646352" y="6475349"/>
                </a:lnTo>
                <a:lnTo>
                  <a:pt x="2642334" y="6479388"/>
                </a:lnTo>
                <a:lnTo>
                  <a:pt x="2632423" y="6479388"/>
                </a:lnTo>
                <a:lnTo>
                  <a:pt x="2628404" y="6475349"/>
                </a:lnTo>
                <a:lnTo>
                  <a:pt x="2628404" y="6465478"/>
                </a:lnTo>
                <a:close/>
                <a:moveTo>
                  <a:pt x="2393104" y="6461440"/>
                </a:moveTo>
                <a:lnTo>
                  <a:pt x="2403015" y="6461440"/>
                </a:lnTo>
                <a:lnTo>
                  <a:pt x="2407034" y="6465478"/>
                </a:lnTo>
                <a:lnTo>
                  <a:pt x="2407034" y="6475349"/>
                </a:lnTo>
                <a:lnTo>
                  <a:pt x="2403015" y="6479388"/>
                </a:lnTo>
                <a:lnTo>
                  <a:pt x="2393104" y="6479388"/>
                </a:lnTo>
                <a:lnTo>
                  <a:pt x="2389087" y="6475349"/>
                </a:lnTo>
                <a:lnTo>
                  <a:pt x="2389087" y="6465478"/>
                </a:lnTo>
                <a:close/>
                <a:moveTo>
                  <a:pt x="721958" y="6461440"/>
                </a:moveTo>
                <a:lnTo>
                  <a:pt x="731868" y="6461440"/>
                </a:lnTo>
                <a:lnTo>
                  <a:pt x="735887" y="6465478"/>
                </a:lnTo>
                <a:lnTo>
                  <a:pt x="735887" y="6475349"/>
                </a:lnTo>
                <a:lnTo>
                  <a:pt x="731868" y="6479388"/>
                </a:lnTo>
                <a:lnTo>
                  <a:pt x="721958" y="6479388"/>
                </a:lnTo>
                <a:lnTo>
                  <a:pt x="717939" y="6475349"/>
                </a:lnTo>
                <a:lnTo>
                  <a:pt x="717939" y="6465478"/>
                </a:lnTo>
                <a:close/>
                <a:moveTo>
                  <a:pt x="482646" y="6461440"/>
                </a:moveTo>
                <a:lnTo>
                  <a:pt x="492556" y="6461440"/>
                </a:lnTo>
                <a:lnTo>
                  <a:pt x="496575" y="6465478"/>
                </a:lnTo>
                <a:lnTo>
                  <a:pt x="496575" y="6475349"/>
                </a:lnTo>
                <a:lnTo>
                  <a:pt x="492556" y="6479388"/>
                </a:lnTo>
                <a:lnTo>
                  <a:pt x="482646" y="6479388"/>
                </a:lnTo>
                <a:lnTo>
                  <a:pt x="478627" y="6475349"/>
                </a:lnTo>
                <a:lnTo>
                  <a:pt x="478627" y="6465478"/>
                </a:lnTo>
                <a:close/>
                <a:moveTo>
                  <a:pt x="243332" y="6461440"/>
                </a:moveTo>
                <a:lnTo>
                  <a:pt x="253242" y="6461440"/>
                </a:lnTo>
                <a:lnTo>
                  <a:pt x="257261" y="6465478"/>
                </a:lnTo>
                <a:lnTo>
                  <a:pt x="257261" y="6475349"/>
                </a:lnTo>
                <a:lnTo>
                  <a:pt x="253242" y="6479388"/>
                </a:lnTo>
                <a:lnTo>
                  <a:pt x="243332" y="6479388"/>
                </a:lnTo>
                <a:lnTo>
                  <a:pt x="239313" y="6475349"/>
                </a:lnTo>
                <a:lnTo>
                  <a:pt x="239313" y="6465478"/>
                </a:lnTo>
                <a:close/>
                <a:moveTo>
                  <a:pt x="4019" y="6461440"/>
                </a:moveTo>
                <a:lnTo>
                  <a:pt x="13929" y="6461440"/>
                </a:lnTo>
                <a:lnTo>
                  <a:pt x="17949" y="6465478"/>
                </a:lnTo>
                <a:lnTo>
                  <a:pt x="17949" y="6475349"/>
                </a:lnTo>
                <a:lnTo>
                  <a:pt x="13929" y="6479388"/>
                </a:lnTo>
                <a:lnTo>
                  <a:pt x="4019" y="6479388"/>
                </a:lnTo>
                <a:lnTo>
                  <a:pt x="0" y="6475349"/>
                </a:lnTo>
                <a:lnTo>
                  <a:pt x="0" y="6465478"/>
                </a:lnTo>
                <a:close/>
                <a:moveTo>
                  <a:pt x="9572438" y="6222160"/>
                </a:moveTo>
                <a:lnTo>
                  <a:pt x="9582349" y="6222160"/>
                </a:lnTo>
                <a:lnTo>
                  <a:pt x="9586368" y="6226198"/>
                </a:lnTo>
                <a:lnTo>
                  <a:pt x="9586368" y="6236069"/>
                </a:lnTo>
                <a:lnTo>
                  <a:pt x="9582349" y="6240109"/>
                </a:lnTo>
                <a:lnTo>
                  <a:pt x="9572438" y="6240109"/>
                </a:lnTo>
                <a:lnTo>
                  <a:pt x="9568419" y="6236069"/>
                </a:lnTo>
                <a:lnTo>
                  <a:pt x="9568419" y="6226198"/>
                </a:lnTo>
                <a:close/>
                <a:moveTo>
                  <a:pt x="9333125" y="6222160"/>
                </a:moveTo>
                <a:lnTo>
                  <a:pt x="9343036" y="6222160"/>
                </a:lnTo>
                <a:lnTo>
                  <a:pt x="9347055" y="6226198"/>
                </a:lnTo>
                <a:lnTo>
                  <a:pt x="9347055" y="6236069"/>
                </a:lnTo>
                <a:lnTo>
                  <a:pt x="9343036" y="6240109"/>
                </a:lnTo>
                <a:lnTo>
                  <a:pt x="9333125" y="6240109"/>
                </a:lnTo>
                <a:lnTo>
                  <a:pt x="9329106" y="6236069"/>
                </a:lnTo>
                <a:lnTo>
                  <a:pt x="9329106" y="6226198"/>
                </a:lnTo>
                <a:close/>
                <a:moveTo>
                  <a:pt x="9093811" y="6222160"/>
                </a:moveTo>
                <a:lnTo>
                  <a:pt x="9103722" y="6222160"/>
                </a:lnTo>
                <a:lnTo>
                  <a:pt x="9107741" y="6226198"/>
                </a:lnTo>
                <a:lnTo>
                  <a:pt x="9107741" y="6236069"/>
                </a:lnTo>
                <a:lnTo>
                  <a:pt x="9103722" y="6240109"/>
                </a:lnTo>
                <a:lnTo>
                  <a:pt x="9093811" y="6240109"/>
                </a:lnTo>
                <a:lnTo>
                  <a:pt x="9089792" y="6236069"/>
                </a:lnTo>
                <a:lnTo>
                  <a:pt x="9089792" y="6226198"/>
                </a:lnTo>
                <a:close/>
                <a:moveTo>
                  <a:pt x="8854496" y="6222160"/>
                </a:moveTo>
                <a:lnTo>
                  <a:pt x="8864407" y="6222160"/>
                </a:lnTo>
                <a:lnTo>
                  <a:pt x="8868426" y="6226198"/>
                </a:lnTo>
                <a:lnTo>
                  <a:pt x="8868426" y="6236069"/>
                </a:lnTo>
                <a:lnTo>
                  <a:pt x="8864407" y="6240109"/>
                </a:lnTo>
                <a:lnTo>
                  <a:pt x="8854496" y="6240109"/>
                </a:lnTo>
                <a:lnTo>
                  <a:pt x="8850477" y="6236069"/>
                </a:lnTo>
                <a:lnTo>
                  <a:pt x="8850477" y="6226198"/>
                </a:lnTo>
                <a:close/>
                <a:moveTo>
                  <a:pt x="8615184" y="6222160"/>
                </a:moveTo>
                <a:lnTo>
                  <a:pt x="8625095" y="6222160"/>
                </a:lnTo>
                <a:lnTo>
                  <a:pt x="8629114" y="6226198"/>
                </a:lnTo>
                <a:lnTo>
                  <a:pt x="8629114" y="6236069"/>
                </a:lnTo>
                <a:lnTo>
                  <a:pt x="8625095" y="6240109"/>
                </a:lnTo>
                <a:lnTo>
                  <a:pt x="8615184" y="6240109"/>
                </a:lnTo>
                <a:lnTo>
                  <a:pt x="8611165" y="6236069"/>
                </a:lnTo>
                <a:lnTo>
                  <a:pt x="8611165" y="6226198"/>
                </a:lnTo>
                <a:close/>
                <a:moveTo>
                  <a:pt x="8375869" y="6222160"/>
                </a:moveTo>
                <a:lnTo>
                  <a:pt x="8385779" y="6222160"/>
                </a:lnTo>
                <a:lnTo>
                  <a:pt x="8389799" y="6226198"/>
                </a:lnTo>
                <a:lnTo>
                  <a:pt x="8389799" y="6236069"/>
                </a:lnTo>
                <a:lnTo>
                  <a:pt x="8385779" y="6240109"/>
                </a:lnTo>
                <a:lnTo>
                  <a:pt x="8375869" y="6240109"/>
                </a:lnTo>
                <a:lnTo>
                  <a:pt x="8371850" y="6236069"/>
                </a:lnTo>
                <a:lnTo>
                  <a:pt x="8371850" y="6226198"/>
                </a:lnTo>
                <a:close/>
                <a:moveTo>
                  <a:pt x="8136553" y="6222160"/>
                </a:moveTo>
                <a:lnTo>
                  <a:pt x="8146464" y="6222160"/>
                </a:lnTo>
                <a:lnTo>
                  <a:pt x="8150483" y="6226198"/>
                </a:lnTo>
                <a:lnTo>
                  <a:pt x="8150483" y="6236069"/>
                </a:lnTo>
                <a:lnTo>
                  <a:pt x="8146464" y="6240109"/>
                </a:lnTo>
                <a:lnTo>
                  <a:pt x="8136553" y="6240109"/>
                </a:lnTo>
                <a:lnTo>
                  <a:pt x="8132534" y="6236069"/>
                </a:lnTo>
                <a:lnTo>
                  <a:pt x="8132534" y="6226198"/>
                </a:lnTo>
                <a:close/>
                <a:moveTo>
                  <a:pt x="7897241" y="6222160"/>
                </a:moveTo>
                <a:lnTo>
                  <a:pt x="7907151" y="6222160"/>
                </a:lnTo>
                <a:lnTo>
                  <a:pt x="7911170" y="6226198"/>
                </a:lnTo>
                <a:lnTo>
                  <a:pt x="7911170" y="6236069"/>
                </a:lnTo>
                <a:lnTo>
                  <a:pt x="7907151" y="6240109"/>
                </a:lnTo>
                <a:lnTo>
                  <a:pt x="7897241" y="6240109"/>
                </a:lnTo>
                <a:lnTo>
                  <a:pt x="7893222" y="6236069"/>
                </a:lnTo>
                <a:lnTo>
                  <a:pt x="7893222" y="6226198"/>
                </a:lnTo>
                <a:close/>
                <a:moveTo>
                  <a:pt x="7657926" y="6222160"/>
                </a:moveTo>
                <a:lnTo>
                  <a:pt x="7667836" y="6222160"/>
                </a:lnTo>
                <a:lnTo>
                  <a:pt x="7671855" y="6226198"/>
                </a:lnTo>
                <a:lnTo>
                  <a:pt x="7671855" y="6236069"/>
                </a:lnTo>
                <a:lnTo>
                  <a:pt x="7667836" y="6240109"/>
                </a:lnTo>
                <a:lnTo>
                  <a:pt x="7657926" y="6240109"/>
                </a:lnTo>
                <a:lnTo>
                  <a:pt x="7653906" y="6236069"/>
                </a:lnTo>
                <a:lnTo>
                  <a:pt x="7653906" y="6226198"/>
                </a:lnTo>
                <a:close/>
                <a:moveTo>
                  <a:pt x="7418611" y="6222160"/>
                </a:moveTo>
                <a:lnTo>
                  <a:pt x="7428521" y="6222160"/>
                </a:lnTo>
                <a:lnTo>
                  <a:pt x="7432540" y="6226198"/>
                </a:lnTo>
                <a:lnTo>
                  <a:pt x="7432540" y="6236069"/>
                </a:lnTo>
                <a:lnTo>
                  <a:pt x="7428521" y="6240109"/>
                </a:lnTo>
                <a:lnTo>
                  <a:pt x="7418611" y="6240109"/>
                </a:lnTo>
                <a:lnTo>
                  <a:pt x="7414592" y="6236069"/>
                </a:lnTo>
                <a:lnTo>
                  <a:pt x="7414592" y="6226198"/>
                </a:lnTo>
                <a:close/>
                <a:moveTo>
                  <a:pt x="7179298" y="6222160"/>
                </a:moveTo>
                <a:lnTo>
                  <a:pt x="7189209" y="6222160"/>
                </a:lnTo>
                <a:lnTo>
                  <a:pt x="7193228" y="6226198"/>
                </a:lnTo>
                <a:lnTo>
                  <a:pt x="7193228" y="6236069"/>
                </a:lnTo>
                <a:lnTo>
                  <a:pt x="7189209" y="6240109"/>
                </a:lnTo>
                <a:lnTo>
                  <a:pt x="7179298" y="6240109"/>
                </a:lnTo>
                <a:lnTo>
                  <a:pt x="7175279" y="6236069"/>
                </a:lnTo>
                <a:lnTo>
                  <a:pt x="7175279" y="6226198"/>
                </a:lnTo>
                <a:close/>
                <a:moveTo>
                  <a:pt x="6939983" y="6222160"/>
                </a:moveTo>
                <a:lnTo>
                  <a:pt x="6949894" y="6222160"/>
                </a:lnTo>
                <a:lnTo>
                  <a:pt x="6953913" y="6226198"/>
                </a:lnTo>
                <a:lnTo>
                  <a:pt x="6953913" y="6236069"/>
                </a:lnTo>
                <a:lnTo>
                  <a:pt x="6949894" y="6240109"/>
                </a:lnTo>
                <a:lnTo>
                  <a:pt x="6939983" y="6240109"/>
                </a:lnTo>
                <a:lnTo>
                  <a:pt x="6935964" y="6236069"/>
                </a:lnTo>
                <a:lnTo>
                  <a:pt x="6935964" y="6226198"/>
                </a:lnTo>
                <a:close/>
                <a:moveTo>
                  <a:pt x="6700670" y="6222160"/>
                </a:moveTo>
                <a:lnTo>
                  <a:pt x="6710581" y="6222160"/>
                </a:lnTo>
                <a:lnTo>
                  <a:pt x="6714600" y="6226198"/>
                </a:lnTo>
                <a:lnTo>
                  <a:pt x="6714600" y="6236069"/>
                </a:lnTo>
                <a:lnTo>
                  <a:pt x="6710581" y="6240109"/>
                </a:lnTo>
                <a:lnTo>
                  <a:pt x="6700670" y="6240109"/>
                </a:lnTo>
                <a:lnTo>
                  <a:pt x="6696651" y="6236069"/>
                </a:lnTo>
                <a:lnTo>
                  <a:pt x="6696651" y="6226198"/>
                </a:lnTo>
                <a:close/>
                <a:moveTo>
                  <a:pt x="6461356" y="6222160"/>
                </a:moveTo>
                <a:lnTo>
                  <a:pt x="6471266" y="6222160"/>
                </a:lnTo>
                <a:lnTo>
                  <a:pt x="6475285" y="6226198"/>
                </a:lnTo>
                <a:lnTo>
                  <a:pt x="6475285" y="6236069"/>
                </a:lnTo>
                <a:lnTo>
                  <a:pt x="6471266" y="6240109"/>
                </a:lnTo>
                <a:lnTo>
                  <a:pt x="6461356" y="6240109"/>
                </a:lnTo>
                <a:lnTo>
                  <a:pt x="6457337" y="6236069"/>
                </a:lnTo>
                <a:lnTo>
                  <a:pt x="6457337" y="6226198"/>
                </a:lnTo>
                <a:close/>
                <a:moveTo>
                  <a:pt x="6222042" y="6222160"/>
                </a:moveTo>
                <a:lnTo>
                  <a:pt x="6231952" y="6222160"/>
                </a:lnTo>
                <a:lnTo>
                  <a:pt x="6235971" y="6226198"/>
                </a:lnTo>
                <a:lnTo>
                  <a:pt x="6235971" y="6236069"/>
                </a:lnTo>
                <a:lnTo>
                  <a:pt x="6231952" y="6240109"/>
                </a:lnTo>
                <a:lnTo>
                  <a:pt x="6222042" y="6240109"/>
                </a:lnTo>
                <a:lnTo>
                  <a:pt x="6218023" y="6236069"/>
                </a:lnTo>
                <a:lnTo>
                  <a:pt x="6218023" y="6226198"/>
                </a:lnTo>
                <a:close/>
                <a:moveTo>
                  <a:pt x="5982729" y="6222160"/>
                </a:moveTo>
                <a:lnTo>
                  <a:pt x="5992639" y="6222160"/>
                </a:lnTo>
                <a:lnTo>
                  <a:pt x="5996658" y="6226198"/>
                </a:lnTo>
                <a:lnTo>
                  <a:pt x="5996658" y="6236069"/>
                </a:lnTo>
                <a:lnTo>
                  <a:pt x="5992639" y="6240109"/>
                </a:lnTo>
                <a:lnTo>
                  <a:pt x="5982729" y="6240109"/>
                </a:lnTo>
                <a:lnTo>
                  <a:pt x="5978710" y="6236069"/>
                </a:lnTo>
                <a:lnTo>
                  <a:pt x="5978710" y="6226198"/>
                </a:lnTo>
                <a:close/>
                <a:moveTo>
                  <a:pt x="5743412" y="6222160"/>
                </a:moveTo>
                <a:lnTo>
                  <a:pt x="5753323" y="6222160"/>
                </a:lnTo>
                <a:lnTo>
                  <a:pt x="5757342" y="6226198"/>
                </a:lnTo>
                <a:lnTo>
                  <a:pt x="5757342" y="6236069"/>
                </a:lnTo>
                <a:lnTo>
                  <a:pt x="5753323" y="6240109"/>
                </a:lnTo>
                <a:lnTo>
                  <a:pt x="5743412" y="6240109"/>
                </a:lnTo>
                <a:lnTo>
                  <a:pt x="5739393" y="6236069"/>
                </a:lnTo>
                <a:lnTo>
                  <a:pt x="5739393" y="6226198"/>
                </a:lnTo>
                <a:close/>
                <a:moveTo>
                  <a:pt x="5504099" y="6222160"/>
                </a:moveTo>
                <a:lnTo>
                  <a:pt x="5514010" y="6222160"/>
                </a:lnTo>
                <a:lnTo>
                  <a:pt x="5518029" y="6226198"/>
                </a:lnTo>
                <a:lnTo>
                  <a:pt x="5518029" y="6236069"/>
                </a:lnTo>
                <a:lnTo>
                  <a:pt x="5514010" y="6240109"/>
                </a:lnTo>
                <a:lnTo>
                  <a:pt x="5504099" y="6240109"/>
                </a:lnTo>
                <a:lnTo>
                  <a:pt x="5500080" y="6236069"/>
                </a:lnTo>
                <a:lnTo>
                  <a:pt x="5500080" y="6226198"/>
                </a:lnTo>
                <a:close/>
                <a:moveTo>
                  <a:pt x="5264784" y="6222160"/>
                </a:moveTo>
                <a:lnTo>
                  <a:pt x="5274694" y="6222160"/>
                </a:lnTo>
                <a:lnTo>
                  <a:pt x="5278713" y="6226198"/>
                </a:lnTo>
                <a:lnTo>
                  <a:pt x="5278713" y="6236069"/>
                </a:lnTo>
                <a:lnTo>
                  <a:pt x="5274694" y="6240109"/>
                </a:lnTo>
                <a:lnTo>
                  <a:pt x="5264784" y="6240109"/>
                </a:lnTo>
                <a:lnTo>
                  <a:pt x="5260765" y="6236069"/>
                </a:lnTo>
                <a:lnTo>
                  <a:pt x="5260765" y="6226198"/>
                </a:lnTo>
                <a:close/>
                <a:moveTo>
                  <a:pt x="5025470" y="6222160"/>
                </a:moveTo>
                <a:lnTo>
                  <a:pt x="5035381" y="6222160"/>
                </a:lnTo>
                <a:lnTo>
                  <a:pt x="5039400" y="6226198"/>
                </a:lnTo>
                <a:lnTo>
                  <a:pt x="5039400" y="6236069"/>
                </a:lnTo>
                <a:lnTo>
                  <a:pt x="5035381" y="6240109"/>
                </a:lnTo>
                <a:lnTo>
                  <a:pt x="5025470" y="6240109"/>
                </a:lnTo>
                <a:lnTo>
                  <a:pt x="5021451" y="6236069"/>
                </a:lnTo>
                <a:lnTo>
                  <a:pt x="5021451" y="6226198"/>
                </a:lnTo>
                <a:close/>
                <a:moveTo>
                  <a:pt x="4786241" y="6222160"/>
                </a:moveTo>
                <a:lnTo>
                  <a:pt x="4796152" y="6222160"/>
                </a:lnTo>
                <a:lnTo>
                  <a:pt x="4800171" y="6226198"/>
                </a:lnTo>
                <a:lnTo>
                  <a:pt x="4800171" y="6236069"/>
                </a:lnTo>
                <a:lnTo>
                  <a:pt x="4796152" y="6240109"/>
                </a:lnTo>
                <a:lnTo>
                  <a:pt x="4786241" y="6240109"/>
                </a:lnTo>
                <a:lnTo>
                  <a:pt x="4782224" y="6236069"/>
                </a:lnTo>
                <a:lnTo>
                  <a:pt x="4782224" y="6226198"/>
                </a:lnTo>
                <a:close/>
                <a:moveTo>
                  <a:pt x="4546929" y="6222160"/>
                </a:moveTo>
                <a:lnTo>
                  <a:pt x="4556840" y="6222160"/>
                </a:lnTo>
                <a:lnTo>
                  <a:pt x="4560859" y="6226198"/>
                </a:lnTo>
                <a:lnTo>
                  <a:pt x="4560859" y="6236069"/>
                </a:lnTo>
                <a:lnTo>
                  <a:pt x="4556840" y="6240109"/>
                </a:lnTo>
                <a:lnTo>
                  <a:pt x="4546929" y="6240109"/>
                </a:lnTo>
                <a:lnTo>
                  <a:pt x="4542910" y="6236069"/>
                </a:lnTo>
                <a:lnTo>
                  <a:pt x="4542910" y="6226198"/>
                </a:lnTo>
                <a:close/>
                <a:moveTo>
                  <a:pt x="4307612" y="6222160"/>
                </a:moveTo>
                <a:lnTo>
                  <a:pt x="4317523" y="6222160"/>
                </a:lnTo>
                <a:lnTo>
                  <a:pt x="4321543" y="6226198"/>
                </a:lnTo>
                <a:lnTo>
                  <a:pt x="4321543" y="6236069"/>
                </a:lnTo>
                <a:lnTo>
                  <a:pt x="4317523" y="6240109"/>
                </a:lnTo>
                <a:lnTo>
                  <a:pt x="4307612" y="6240109"/>
                </a:lnTo>
                <a:lnTo>
                  <a:pt x="4303595" y="6236069"/>
                </a:lnTo>
                <a:lnTo>
                  <a:pt x="4303595" y="6226198"/>
                </a:lnTo>
                <a:close/>
                <a:moveTo>
                  <a:pt x="4068297" y="6222160"/>
                </a:moveTo>
                <a:lnTo>
                  <a:pt x="4078210" y="6222160"/>
                </a:lnTo>
                <a:lnTo>
                  <a:pt x="4082229" y="6226198"/>
                </a:lnTo>
                <a:lnTo>
                  <a:pt x="4082229" y="6236069"/>
                </a:lnTo>
                <a:lnTo>
                  <a:pt x="4078210" y="6240109"/>
                </a:lnTo>
                <a:lnTo>
                  <a:pt x="4068297" y="6240109"/>
                </a:lnTo>
                <a:lnTo>
                  <a:pt x="4064278" y="6236069"/>
                </a:lnTo>
                <a:lnTo>
                  <a:pt x="4064278" y="6226198"/>
                </a:lnTo>
                <a:close/>
                <a:moveTo>
                  <a:pt x="3828990" y="6222160"/>
                </a:moveTo>
                <a:lnTo>
                  <a:pt x="3838899" y="6222160"/>
                </a:lnTo>
                <a:lnTo>
                  <a:pt x="3842917" y="6226198"/>
                </a:lnTo>
                <a:lnTo>
                  <a:pt x="3842917" y="6236069"/>
                </a:lnTo>
                <a:lnTo>
                  <a:pt x="3838899" y="6240109"/>
                </a:lnTo>
                <a:lnTo>
                  <a:pt x="3828990" y="6240109"/>
                </a:lnTo>
                <a:lnTo>
                  <a:pt x="3824971" y="6236069"/>
                </a:lnTo>
                <a:lnTo>
                  <a:pt x="3824971" y="6226198"/>
                </a:lnTo>
                <a:close/>
                <a:moveTo>
                  <a:pt x="3589676" y="6222160"/>
                </a:moveTo>
                <a:lnTo>
                  <a:pt x="3599585" y="6222160"/>
                </a:lnTo>
                <a:lnTo>
                  <a:pt x="3603604" y="6226198"/>
                </a:lnTo>
                <a:lnTo>
                  <a:pt x="3603604" y="6236069"/>
                </a:lnTo>
                <a:lnTo>
                  <a:pt x="3599585" y="6240109"/>
                </a:lnTo>
                <a:lnTo>
                  <a:pt x="3589676" y="6240109"/>
                </a:lnTo>
                <a:lnTo>
                  <a:pt x="3585657" y="6236069"/>
                </a:lnTo>
                <a:lnTo>
                  <a:pt x="3585657" y="6226198"/>
                </a:lnTo>
                <a:close/>
                <a:moveTo>
                  <a:pt x="3350359" y="6222160"/>
                </a:moveTo>
                <a:lnTo>
                  <a:pt x="3360268" y="6222160"/>
                </a:lnTo>
                <a:lnTo>
                  <a:pt x="3364287" y="6226198"/>
                </a:lnTo>
                <a:lnTo>
                  <a:pt x="3364287" y="6236069"/>
                </a:lnTo>
                <a:lnTo>
                  <a:pt x="3360268" y="6240109"/>
                </a:lnTo>
                <a:lnTo>
                  <a:pt x="3350359" y="6240109"/>
                </a:lnTo>
                <a:lnTo>
                  <a:pt x="3346340" y="6236069"/>
                </a:lnTo>
                <a:lnTo>
                  <a:pt x="3346340" y="6226198"/>
                </a:lnTo>
                <a:close/>
                <a:moveTo>
                  <a:pt x="3111048" y="6222160"/>
                </a:moveTo>
                <a:lnTo>
                  <a:pt x="3120959" y="6222160"/>
                </a:lnTo>
                <a:lnTo>
                  <a:pt x="3124977" y="6226198"/>
                </a:lnTo>
                <a:lnTo>
                  <a:pt x="3124977" y="6236069"/>
                </a:lnTo>
                <a:lnTo>
                  <a:pt x="3120959" y="6240109"/>
                </a:lnTo>
                <a:lnTo>
                  <a:pt x="3111048" y="6240109"/>
                </a:lnTo>
                <a:lnTo>
                  <a:pt x="3107029" y="6236069"/>
                </a:lnTo>
                <a:lnTo>
                  <a:pt x="3107029" y="6226198"/>
                </a:lnTo>
                <a:close/>
                <a:moveTo>
                  <a:pt x="2871737" y="6222160"/>
                </a:moveTo>
                <a:lnTo>
                  <a:pt x="2881646" y="6222160"/>
                </a:lnTo>
                <a:lnTo>
                  <a:pt x="2885666" y="6226198"/>
                </a:lnTo>
                <a:lnTo>
                  <a:pt x="2885666" y="6236069"/>
                </a:lnTo>
                <a:lnTo>
                  <a:pt x="2881646" y="6240109"/>
                </a:lnTo>
                <a:lnTo>
                  <a:pt x="2871737" y="6240109"/>
                </a:lnTo>
                <a:lnTo>
                  <a:pt x="2867717" y="6236069"/>
                </a:lnTo>
                <a:lnTo>
                  <a:pt x="2867717" y="6226198"/>
                </a:lnTo>
                <a:close/>
                <a:moveTo>
                  <a:pt x="2632423" y="6222160"/>
                </a:moveTo>
                <a:lnTo>
                  <a:pt x="2642334" y="6222160"/>
                </a:lnTo>
                <a:lnTo>
                  <a:pt x="2646352" y="6226198"/>
                </a:lnTo>
                <a:lnTo>
                  <a:pt x="2646352" y="6236069"/>
                </a:lnTo>
                <a:lnTo>
                  <a:pt x="2642334" y="6240109"/>
                </a:lnTo>
                <a:lnTo>
                  <a:pt x="2632423" y="6240109"/>
                </a:lnTo>
                <a:lnTo>
                  <a:pt x="2628404" y="6236069"/>
                </a:lnTo>
                <a:lnTo>
                  <a:pt x="2628404" y="6226198"/>
                </a:lnTo>
                <a:close/>
                <a:moveTo>
                  <a:pt x="2393104" y="6222160"/>
                </a:moveTo>
                <a:lnTo>
                  <a:pt x="2403015" y="6222160"/>
                </a:lnTo>
                <a:lnTo>
                  <a:pt x="2407034" y="6226198"/>
                </a:lnTo>
                <a:lnTo>
                  <a:pt x="2407034" y="6236069"/>
                </a:lnTo>
                <a:lnTo>
                  <a:pt x="2403015" y="6240109"/>
                </a:lnTo>
                <a:lnTo>
                  <a:pt x="2393104" y="6240109"/>
                </a:lnTo>
                <a:lnTo>
                  <a:pt x="2389087" y="6236069"/>
                </a:lnTo>
                <a:lnTo>
                  <a:pt x="2389087" y="6226198"/>
                </a:lnTo>
                <a:close/>
                <a:moveTo>
                  <a:pt x="2157818" y="6222160"/>
                </a:moveTo>
                <a:lnTo>
                  <a:pt x="2167728" y="6222160"/>
                </a:lnTo>
                <a:lnTo>
                  <a:pt x="2171746" y="6226198"/>
                </a:lnTo>
                <a:lnTo>
                  <a:pt x="2171746" y="6236069"/>
                </a:lnTo>
                <a:lnTo>
                  <a:pt x="2167728" y="6240109"/>
                </a:lnTo>
                <a:lnTo>
                  <a:pt x="2157818" y="6240109"/>
                </a:lnTo>
                <a:lnTo>
                  <a:pt x="2153799" y="6236069"/>
                </a:lnTo>
                <a:lnTo>
                  <a:pt x="2153799" y="6226198"/>
                </a:lnTo>
                <a:close/>
                <a:moveTo>
                  <a:pt x="1918509" y="6222160"/>
                </a:moveTo>
                <a:lnTo>
                  <a:pt x="1928419" y="6222160"/>
                </a:lnTo>
                <a:lnTo>
                  <a:pt x="1932438" y="6226198"/>
                </a:lnTo>
                <a:lnTo>
                  <a:pt x="1932438" y="6236069"/>
                </a:lnTo>
                <a:lnTo>
                  <a:pt x="1928419" y="6240109"/>
                </a:lnTo>
                <a:lnTo>
                  <a:pt x="1918509" y="6240109"/>
                </a:lnTo>
                <a:lnTo>
                  <a:pt x="1914490" y="6236069"/>
                </a:lnTo>
                <a:lnTo>
                  <a:pt x="1914490" y="6226198"/>
                </a:lnTo>
                <a:close/>
                <a:moveTo>
                  <a:pt x="1679200" y="6222160"/>
                </a:moveTo>
                <a:lnTo>
                  <a:pt x="1689110" y="6222160"/>
                </a:lnTo>
                <a:lnTo>
                  <a:pt x="1693129" y="6226198"/>
                </a:lnTo>
                <a:lnTo>
                  <a:pt x="1693129" y="6236069"/>
                </a:lnTo>
                <a:lnTo>
                  <a:pt x="1689110" y="6240109"/>
                </a:lnTo>
                <a:lnTo>
                  <a:pt x="1679200" y="6240109"/>
                </a:lnTo>
                <a:lnTo>
                  <a:pt x="1675182" y="6236069"/>
                </a:lnTo>
                <a:lnTo>
                  <a:pt x="1675182" y="6226198"/>
                </a:lnTo>
                <a:close/>
                <a:moveTo>
                  <a:pt x="1439885" y="6222160"/>
                </a:moveTo>
                <a:lnTo>
                  <a:pt x="1449795" y="6222160"/>
                </a:lnTo>
                <a:lnTo>
                  <a:pt x="1453814" y="6226198"/>
                </a:lnTo>
                <a:lnTo>
                  <a:pt x="1453814" y="6236069"/>
                </a:lnTo>
                <a:lnTo>
                  <a:pt x="1449795" y="6240109"/>
                </a:lnTo>
                <a:lnTo>
                  <a:pt x="1439885" y="6240109"/>
                </a:lnTo>
                <a:lnTo>
                  <a:pt x="1435866" y="6236069"/>
                </a:lnTo>
                <a:lnTo>
                  <a:pt x="1435866" y="6226198"/>
                </a:lnTo>
                <a:close/>
                <a:moveTo>
                  <a:pt x="1200570" y="6222160"/>
                </a:moveTo>
                <a:lnTo>
                  <a:pt x="1210481" y="6222160"/>
                </a:lnTo>
                <a:lnTo>
                  <a:pt x="1214499" y="6226198"/>
                </a:lnTo>
                <a:lnTo>
                  <a:pt x="1214499" y="6236069"/>
                </a:lnTo>
                <a:lnTo>
                  <a:pt x="1210481" y="6240109"/>
                </a:lnTo>
                <a:lnTo>
                  <a:pt x="1200570" y="6240109"/>
                </a:lnTo>
                <a:lnTo>
                  <a:pt x="1196551" y="6236069"/>
                </a:lnTo>
                <a:lnTo>
                  <a:pt x="1196551" y="6226198"/>
                </a:lnTo>
                <a:close/>
                <a:moveTo>
                  <a:pt x="961258" y="6222160"/>
                </a:moveTo>
                <a:lnTo>
                  <a:pt x="971167" y="6222160"/>
                </a:lnTo>
                <a:lnTo>
                  <a:pt x="975186" y="6226198"/>
                </a:lnTo>
                <a:lnTo>
                  <a:pt x="975186" y="6236069"/>
                </a:lnTo>
                <a:lnTo>
                  <a:pt x="971167" y="6240109"/>
                </a:lnTo>
                <a:lnTo>
                  <a:pt x="961258" y="6240109"/>
                </a:lnTo>
                <a:lnTo>
                  <a:pt x="957239" y="6236069"/>
                </a:lnTo>
                <a:lnTo>
                  <a:pt x="957239" y="6226198"/>
                </a:lnTo>
                <a:close/>
                <a:moveTo>
                  <a:pt x="721959" y="6222160"/>
                </a:moveTo>
                <a:lnTo>
                  <a:pt x="731869" y="6222160"/>
                </a:lnTo>
                <a:lnTo>
                  <a:pt x="735888" y="6226198"/>
                </a:lnTo>
                <a:lnTo>
                  <a:pt x="735888" y="6236069"/>
                </a:lnTo>
                <a:lnTo>
                  <a:pt x="731869" y="6240109"/>
                </a:lnTo>
                <a:lnTo>
                  <a:pt x="721959" y="6240109"/>
                </a:lnTo>
                <a:lnTo>
                  <a:pt x="717940" y="6236069"/>
                </a:lnTo>
                <a:lnTo>
                  <a:pt x="717940" y="6226198"/>
                </a:lnTo>
                <a:close/>
                <a:moveTo>
                  <a:pt x="482646" y="6222160"/>
                </a:moveTo>
                <a:lnTo>
                  <a:pt x="492557" y="6222160"/>
                </a:lnTo>
                <a:lnTo>
                  <a:pt x="496576" y="6226198"/>
                </a:lnTo>
                <a:lnTo>
                  <a:pt x="496576" y="6236069"/>
                </a:lnTo>
                <a:lnTo>
                  <a:pt x="492557" y="6240109"/>
                </a:lnTo>
                <a:lnTo>
                  <a:pt x="482646" y="6240109"/>
                </a:lnTo>
                <a:lnTo>
                  <a:pt x="478627" y="6236069"/>
                </a:lnTo>
                <a:lnTo>
                  <a:pt x="478627" y="6226198"/>
                </a:lnTo>
                <a:close/>
                <a:moveTo>
                  <a:pt x="243333" y="6222160"/>
                </a:moveTo>
                <a:lnTo>
                  <a:pt x="253243" y="6222160"/>
                </a:lnTo>
                <a:lnTo>
                  <a:pt x="257263" y="6226198"/>
                </a:lnTo>
                <a:lnTo>
                  <a:pt x="257263" y="6236069"/>
                </a:lnTo>
                <a:lnTo>
                  <a:pt x="253243" y="6240109"/>
                </a:lnTo>
                <a:lnTo>
                  <a:pt x="243333" y="6240109"/>
                </a:lnTo>
                <a:lnTo>
                  <a:pt x="239314" y="6236069"/>
                </a:lnTo>
                <a:lnTo>
                  <a:pt x="239314" y="6226198"/>
                </a:lnTo>
                <a:close/>
                <a:moveTo>
                  <a:pt x="4020" y="6222160"/>
                </a:moveTo>
                <a:lnTo>
                  <a:pt x="13930" y="6222160"/>
                </a:lnTo>
                <a:lnTo>
                  <a:pt x="17949" y="6226198"/>
                </a:lnTo>
                <a:lnTo>
                  <a:pt x="17949" y="6236069"/>
                </a:lnTo>
                <a:lnTo>
                  <a:pt x="13930" y="6240109"/>
                </a:lnTo>
                <a:lnTo>
                  <a:pt x="4020" y="6240109"/>
                </a:lnTo>
                <a:lnTo>
                  <a:pt x="1" y="6236069"/>
                </a:lnTo>
                <a:lnTo>
                  <a:pt x="1" y="6226198"/>
                </a:lnTo>
                <a:close/>
                <a:moveTo>
                  <a:pt x="2157818" y="5982881"/>
                </a:moveTo>
                <a:lnTo>
                  <a:pt x="2167728" y="5982881"/>
                </a:lnTo>
                <a:lnTo>
                  <a:pt x="2171747" y="5986919"/>
                </a:lnTo>
                <a:lnTo>
                  <a:pt x="2171747" y="5996790"/>
                </a:lnTo>
                <a:lnTo>
                  <a:pt x="2167728" y="6000829"/>
                </a:lnTo>
                <a:lnTo>
                  <a:pt x="2157818" y="6000829"/>
                </a:lnTo>
                <a:lnTo>
                  <a:pt x="2153799" y="5996790"/>
                </a:lnTo>
                <a:lnTo>
                  <a:pt x="2153799" y="5986919"/>
                </a:lnTo>
                <a:close/>
                <a:moveTo>
                  <a:pt x="1918509" y="5982881"/>
                </a:moveTo>
                <a:lnTo>
                  <a:pt x="1928420" y="5982881"/>
                </a:lnTo>
                <a:lnTo>
                  <a:pt x="1932438" y="5986919"/>
                </a:lnTo>
                <a:lnTo>
                  <a:pt x="1932438" y="5996790"/>
                </a:lnTo>
                <a:lnTo>
                  <a:pt x="1928420" y="6000829"/>
                </a:lnTo>
                <a:lnTo>
                  <a:pt x="1918509" y="6000829"/>
                </a:lnTo>
                <a:lnTo>
                  <a:pt x="1914490" y="5996790"/>
                </a:lnTo>
                <a:lnTo>
                  <a:pt x="1914490" y="5986919"/>
                </a:lnTo>
                <a:close/>
                <a:moveTo>
                  <a:pt x="1679201" y="5982881"/>
                </a:moveTo>
                <a:lnTo>
                  <a:pt x="1689111" y="5982881"/>
                </a:lnTo>
                <a:lnTo>
                  <a:pt x="1693129" y="5986919"/>
                </a:lnTo>
                <a:lnTo>
                  <a:pt x="1693129" y="5996790"/>
                </a:lnTo>
                <a:lnTo>
                  <a:pt x="1689111" y="6000829"/>
                </a:lnTo>
                <a:lnTo>
                  <a:pt x="1679201" y="6000829"/>
                </a:lnTo>
                <a:lnTo>
                  <a:pt x="1675182" y="5996790"/>
                </a:lnTo>
                <a:lnTo>
                  <a:pt x="1675182" y="5986919"/>
                </a:lnTo>
                <a:close/>
                <a:moveTo>
                  <a:pt x="1439886" y="5982881"/>
                </a:moveTo>
                <a:lnTo>
                  <a:pt x="1449796" y="5982881"/>
                </a:lnTo>
                <a:lnTo>
                  <a:pt x="1453814" y="5986919"/>
                </a:lnTo>
                <a:lnTo>
                  <a:pt x="1453814" y="5996790"/>
                </a:lnTo>
                <a:lnTo>
                  <a:pt x="1449796" y="6000829"/>
                </a:lnTo>
                <a:lnTo>
                  <a:pt x="1439886" y="6000829"/>
                </a:lnTo>
                <a:lnTo>
                  <a:pt x="1435866" y="5996790"/>
                </a:lnTo>
                <a:lnTo>
                  <a:pt x="1435866" y="5986919"/>
                </a:lnTo>
                <a:close/>
                <a:moveTo>
                  <a:pt x="1200571" y="5982881"/>
                </a:moveTo>
                <a:lnTo>
                  <a:pt x="1210481" y="5982881"/>
                </a:lnTo>
                <a:lnTo>
                  <a:pt x="1214500" y="5986919"/>
                </a:lnTo>
                <a:lnTo>
                  <a:pt x="1214500" y="5996790"/>
                </a:lnTo>
                <a:lnTo>
                  <a:pt x="1210481" y="6000829"/>
                </a:lnTo>
                <a:lnTo>
                  <a:pt x="1200571" y="6000829"/>
                </a:lnTo>
                <a:lnTo>
                  <a:pt x="1196553" y="5996790"/>
                </a:lnTo>
                <a:lnTo>
                  <a:pt x="1196553" y="5986919"/>
                </a:lnTo>
                <a:close/>
                <a:moveTo>
                  <a:pt x="961258" y="5982881"/>
                </a:moveTo>
                <a:lnTo>
                  <a:pt x="971168" y="5982881"/>
                </a:lnTo>
                <a:lnTo>
                  <a:pt x="975187" y="5986919"/>
                </a:lnTo>
                <a:lnTo>
                  <a:pt x="975187" y="5996790"/>
                </a:lnTo>
                <a:lnTo>
                  <a:pt x="971168" y="6000829"/>
                </a:lnTo>
                <a:lnTo>
                  <a:pt x="961258" y="6000829"/>
                </a:lnTo>
                <a:lnTo>
                  <a:pt x="957239" y="5996790"/>
                </a:lnTo>
                <a:lnTo>
                  <a:pt x="957239" y="5986919"/>
                </a:lnTo>
                <a:close/>
                <a:moveTo>
                  <a:pt x="9572438" y="5982829"/>
                </a:moveTo>
                <a:lnTo>
                  <a:pt x="9582349" y="5982829"/>
                </a:lnTo>
                <a:lnTo>
                  <a:pt x="9586368" y="5986868"/>
                </a:lnTo>
                <a:lnTo>
                  <a:pt x="9586368" y="5996739"/>
                </a:lnTo>
                <a:lnTo>
                  <a:pt x="9582349" y="6000778"/>
                </a:lnTo>
                <a:lnTo>
                  <a:pt x="9572438" y="6000778"/>
                </a:lnTo>
                <a:lnTo>
                  <a:pt x="9568419" y="5996739"/>
                </a:lnTo>
                <a:lnTo>
                  <a:pt x="9568419" y="5986868"/>
                </a:lnTo>
                <a:close/>
                <a:moveTo>
                  <a:pt x="9333125" y="5982829"/>
                </a:moveTo>
                <a:lnTo>
                  <a:pt x="9343036" y="5982829"/>
                </a:lnTo>
                <a:lnTo>
                  <a:pt x="9347055" y="5986868"/>
                </a:lnTo>
                <a:lnTo>
                  <a:pt x="9347055" y="5996739"/>
                </a:lnTo>
                <a:lnTo>
                  <a:pt x="9343036" y="6000778"/>
                </a:lnTo>
                <a:lnTo>
                  <a:pt x="9333125" y="6000778"/>
                </a:lnTo>
                <a:lnTo>
                  <a:pt x="9329106" y="5996739"/>
                </a:lnTo>
                <a:lnTo>
                  <a:pt x="9329106" y="5986868"/>
                </a:lnTo>
                <a:close/>
                <a:moveTo>
                  <a:pt x="9093811" y="5982829"/>
                </a:moveTo>
                <a:lnTo>
                  <a:pt x="9103722" y="5982829"/>
                </a:lnTo>
                <a:lnTo>
                  <a:pt x="9107741" y="5986868"/>
                </a:lnTo>
                <a:lnTo>
                  <a:pt x="9107741" y="5996739"/>
                </a:lnTo>
                <a:lnTo>
                  <a:pt x="9103722" y="6000778"/>
                </a:lnTo>
                <a:lnTo>
                  <a:pt x="9093811" y="6000778"/>
                </a:lnTo>
                <a:lnTo>
                  <a:pt x="9089792" y="5996739"/>
                </a:lnTo>
                <a:lnTo>
                  <a:pt x="9089792" y="5986868"/>
                </a:lnTo>
                <a:close/>
                <a:moveTo>
                  <a:pt x="8854496" y="5982829"/>
                </a:moveTo>
                <a:lnTo>
                  <a:pt x="8864407" y="5982829"/>
                </a:lnTo>
                <a:lnTo>
                  <a:pt x="8868426" y="5986868"/>
                </a:lnTo>
                <a:lnTo>
                  <a:pt x="8868426" y="5996739"/>
                </a:lnTo>
                <a:lnTo>
                  <a:pt x="8864407" y="6000778"/>
                </a:lnTo>
                <a:lnTo>
                  <a:pt x="8854496" y="6000778"/>
                </a:lnTo>
                <a:lnTo>
                  <a:pt x="8850477" y="5996739"/>
                </a:lnTo>
                <a:lnTo>
                  <a:pt x="8850477" y="5986868"/>
                </a:lnTo>
                <a:close/>
                <a:moveTo>
                  <a:pt x="8615184" y="5982829"/>
                </a:moveTo>
                <a:lnTo>
                  <a:pt x="8625095" y="5982829"/>
                </a:lnTo>
                <a:lnTo>
                  <a:pt x="8629114" y="5986868"/>
                </a:lnTo>
                <a:lnTo>
                  <a:pt x="8629114" y="5996739"/>
                </a:lnTo>
                <a:lnTo>
                  <a:pt x="8625095" y="6000778"/>
                </a:lnTo>
                <a:lnTo>
                  <a:pt x="8615184" y="6000778"/>
                </a:lnTo>
                <a:lnTo>
                  <a:pt x="8611165" y="5996739"/>
                </a:lnTo>
                <a:lnTo>
                  <a:pt x="8611165" y="5986868"/>
                </a:lnTo>
                <a:close/>
                <a:moveTo>
                  <a:pt x="8375869" y="5982829"/>
                </a:moveTo>
                <a:lnTo>
                  <a:pt x="8385779" y="5982829"/>
                </a:lnTo>
                <a:lnTo>
                  <a:pt x="8389799" y="5986868"/>
                </a:lnTo>
                <a:lnTo>
                  <a:pt x="8389799" y="5996739"/>
                </a:lnTo>
                <a:lnTo>
                  <a:pt x="8385779" y="6000778"/>
                </a:lnTo>
                <a:lnTo>
                  <a:pt x="8375869" y="6000778"/>
                </a:lnTo>
                <a:lnTo>
                  <a:pt x="8371850" y="5996739"/>
                </a:lnTo>
                <a:lnTo>
                  <a:pt x="8371850" y="5986868"/>
                </a:lnTo>
                <a:close/>
                <a:moveTo>
                  <a:pt x="8136553" y="5982829"/>
                </a:moveTo>
                <a:lnTo>
                  <a:pt x="8146464" y="5982829"/>
                </a:lnTo>
                <a:lnTo>
                  <a:pt x="8150483" y="5986868"/>
                </a:lnTo>
                <a:lnTo>
                  <a:pt x="8150483" y="5996739"/>
                </a:lnTo>
                <a:lnTo>
                  <a:pt x="8146464" y="6000778"/>
                </a:lnTo>
                <a:lnTo>
                  <a:pt x="8136553" y="6000778"/>
                </a:lnTo>
                <a:lnTo>
                  <a:pt x="8132534" y="5996739"/>
                </a:lnTo>
                <a:lnTo>
                  <a:pt x="8132534" y="5986868"/>
                </a:lnTo>
                <a:close/>
                <a:moveTo>
                  <a:pt x="7897241" y="5982829"/>
                </a:moveTo>
                <a:lnTo>
                  <a:pt x="7907151" y="5982829"/>
                </a:lnTo>
                <a:lnTo>
                  <a:pt x="7911170" y="5986868"/>
                </a:lnTo>
                <a:lnTo>
                  <a:pt x="7911170" y="5996739"/>
                </a:lnTo>
                <a:lnTo>
                  <a:pt x="7907151" y="6000778"/>
                </a:lnTo>
                <a:lnTo>
                  <a:pt x="7897241" y="6000778"/>
                </a:lnTo>
                <a:lnTo>
                  <a:pt x="7893222" y="5996739"/>
                </a:lnTo>
                <a:lnTo>
                  <a:pt x="7893222" y="5986868"/>
                </a:lnTo>
                <a:close/>
                <a:moveTo>
                  <a:pt x="7657926" y="5982829"/>
                </a:moveTo>
                <a:lnTo>
                  <a:pt x="7667836" y="5982829"/>
                </a:lnTo>
                <a:lnTo>
                  <a:pt x="7671855" y="5986868"/>
                </a:lnTo>
                <a:lnTo>
                  <a:pt x="7671855" y="5996739"/>
                </a:lnTo>
                <a:lnTo>
                  <a:pt x="7667836" y="6000778"/>
                </a:lnTo>
                <a:lnTo>
                  <a:pt x="7657926" y="6000778"/>
                </a:lnTo>
                <a:lnTo>
                  <a:pt x="7653906" y="5996739"/>
                </a:lnTo>
                <a:lnTo>
                  <a:pt x="7653906" y="5986868"/>
                </a:lnTo>
                <a:close/>
                <a:moveTo>
                  <a:pt x="7418611" y="5982829"/>
                </a:moveTo>
                <a:lnTo>
                  <a:pt x="7428521" y="5982829"/>
                </a:lnTo>
                <a:lnTo>
                  <a:pt x="7432540" y="5986868"/>
                </a:lnTo>
                <a:lnTo>
                  <a:pt x="7432540" y="5996739"/>
                </a:lnTo>
                <a:lnTo>
                  <a:pt x="7428521" y="6000778"/>
                </a:lnTo>
                <a:lnTo>
                  <a:pt x="7418611" y="6000778"/>
                </a:lnTo>
                <a:lnTo>
                  <a:pt x="7414592" y="5996739"/>
                </a:lnTo>
                <a:lnTo>
                  <a:pt x="7414592" y="5986868"/>
                </a:lnTo>
                <a:close/>
                <a:moveTo>
                  <a:pt x="7179298" y="5982829"/>
                </a:moveTo>
                <a:lnTo>
                  <a:pt x="7189209" y="5982829"/>
                </a:lnTo>
                <a:lnTo>
                  <a:pt x="7193228" y="5986868"/>
                </a:lnTo>
                <a:lnTo>
                  <a:pt x="7193228" y="5996739"/>
                </a:lnTo>
                <a:lnTo>
                  <a:pt x="7189209" y="6000778"/>
                </a:lnTo>
                <a:lnTo>
                  <a:pt x="7179298" y="6000778"/>
                </a:lnTo>
                <a:lnTo>
                  <a:pt x="7175279" y="5996739"/>
                </a:lnTo>
                <a:lnTo>
                  <a:pt x="7175279" y="5986868"/>
                </a:lnTo>
                <a:close/>
                <a:moveTo>
                  <a:pt x="6939983" y="5982829"/>
                </a:moveTo>
                <a:lnTo>
                  <a:pt x="6949894" y="5982829"/>
                </a:lnTo>
                <a:lnTo>
                  <a:pt x="6953913" y="5986868"/>
                </a:lnTo>
                <a:lnTo>
                  <a:pt x="6953913" y="5996739"/>
                </a:lnTo>
                <a:lnTo>
                  <a:pt x="6949894" y="6000778"/>
                </a:lnTo>
                <a:lnTo>
                  <a:pt x="6939983" y="6000778"/>
                </a:lnTo>
                <a:lnTo>
                  <a:pt x="6935964" y="5996739"/>
                </a:lnTo>
                <a:lnTo>
                  <a:pt x="6935964" y="5986868"/>
                </a:lnTo>
                <a:close/>
                <a:moveTo>
                  <a:pt x="6700670" y="5982829"/>
                </a:moveTo>
                <a:lnTo>
                  <a:pt x="6710581" y="5982829"/>
                </a:lnTo>
                <a:lnTo>
                  <a:pt x="6714600" y="5986868"/>
                </a:lnTo>
                <a:lnTo>
                  <a:pt x="6714600" y="5996739"/>
                </a:lnTo>
                <a:lnTo>
                  <a:pt x="6710581" y="6000778"/>
                </a:lnTo>
                <a:lnTo>
                  <a:pt x="6700670" y="6000778"/>
                </a:lnTo>
                <a:lnTo>
                  <a:pt x="6696651" y="5996739"/>
                </a:lnTo>
                <a:lnTo>
                  <a:pt x="6696651" y="5986868"/>
                </a:lnTo>
                <a:close/>
                <a:moveTo>
                  <a:pt x="6461356" y="5982829"/>
                </a:moveTo>
                <a:lnTo>
                  <a:pt x="6471266" y="5982829"/>
                </a:lnTo>
                <a:lnTo>
                  <a:pt x="6475285" y="5986868"/>
                </a:lnTo>
                <a:lnTo>
                  <a:pt x="6475285" y="5996739"/>
                </a:lnTo>
                <a:lnTo>
                  <a:pt x="6471266" y="6000778"/>
                </a:lnTo>
                <a:lnTo>
                  <a:pt x="6461356" y="6000778"/>
                </a:lnTo>
                <a:lnTo>
                  <a:pt x="6457337" y="5996739"/>
                </a:lnTo>
                <a:lnTo>
                  <a:pt x="6457337" y="5986868"/>
                </a:lnTo>
                <a:close/>
                <a:moveTo>
                  <a:pt x="6222042" y="5982829"/>
                </a:moveTo>
                <a:lnTo>
                  <a:pt x="6231952" y="5982829"/>
                </a:lnTo>
                <a:lnTo>
                  <a:pt x="6235971" y="5986868"/>
                </a:lnTo>
                <a:lnTo>
                  <a:pt x="6235971" y="5996739"/>
                </a:lnTo>
                <a:lnTo>
                  <a:pt x="6231952" y="6000778"/>
                </a:lnTo>
                <a:lnTo>
                  <a:pt x="6222042" y="6000778"/>
                </a:lnTo>
                <a:lnTo>
                  <a:pt x="6218023" y="5996739"/>
                </a:lnTo>
                <a:lnTo>
                  <a:pt x="6218023" y="5986868"/>
                </a:lnTo>
                <a:close/>
                <a:moveTo>
                  <a:pt x="5982729" y="5982829"/>
                </a:moveTo>
                <a:lnTo>
                  <a:pt x="5992639" y="5982829"/>
                </a:lnTo>
                <a:lnTo>
                  <a:pt x="5996658" y="5986868"/>
                </a:lnTo>
                <a:lnTo>
                  <a:pt x="5996658" y="5996739"/>
                </a:lnTo>
                <a:lnTo>
                  <a:pt x="5992639" y="6000778"/>
                </a:lnTo>
                <a:lnTo>
                  <a:pt x="5982729" y="6000778"/>
                </a:lnTo>
                <a:lnTo>
                  <a:pt x="5978710" y="5996739"/>
                </a:lnTo>
                <a:lnTo>
                  <a:pt x="5978710" y="5986868"/>
                </a:lnTo>
                <a:close/>
                <a:moveTo>
                  <a:pt x="5743412" y="5982829"/>
                </a:moveTo>
                <a:lnTo>
                  <a:pt x="5753323" y="5982829"/>
                </a:lnTo>
                <a:lnTo>
                  <a:pt x="5757342" y="5986868"/>
                </a:lnTo>
                <a:lnTo>
                  <a:pt x="5757342" y="5996739"/>
                </a:lnTo>
                <a:lnTo>
                  <a:pt x="5753323" y="6000778"/>
                </a:lnTo>
                <a:lnTo>
                  <a:pt x="5743412" y="6000778"/>
                </a:lnTo>
                <a:lnTo>
                  <a:pt x="5739393" y="5996739"/>
                </a:lnTo>
                <a:lnTo>
                  <a:pt x="5739393" y="5986868"/>
                </a:lnTo>
                <a:close/>
                <a:moveTo>
                  <a:pt x="5504099" y="5982829"/>
                </a:moveTo>
                <a:lnTo>
                  <a:pt x="5514010" y="5982829"/>
                </a:lnTo>
                <a:lnTo>
                  <a:pt x="5518029" y="5986868"/>
                </a:lnTo>
                <a:lnTo>
                  <a:pt x="5518029" y="5996739"/>
                </a:lnTo>
                <a:lnTo>
                  <a:pt x="5514010" y="6000778"/>
                </a:lnTo>
                <a:lnTo>
                  <a:pt x="5504099" y="6000778"/>
                </a:lnTo>
                <a:lnTo>
                  <a:pt x="5500080" y="5996739"/>
                </a:lnTo>
                <a:lnTo>
                  <a:pt x="5500080" y="5986868"/>
                </a:lnTo>
                <a:close/>
                <a:moveTo>
                  <a:pt x="5264784" y="5982829"/>
                </a:moveTo>
                <a:lnTo>
                  <a:pt x="5274694" y="5982829"/>
                </a:lnTo>
                <a:lnTo>
                  <a:pt x="5278713" y="5986868"/>
                </a:lnTo>
                <a:lnTo>
                  <a:pt x="5278713" y="5996739"/>
                </a:lnTo>
                <a:lnTo>
                  <a:pt x="5274694" y="6000778"/>
                </a:lnTo>
                <a:lnTo>
                  <a:pt x="5264784" y="6000778"/>
                </a:lnTo>
                <a:lnTo>
                  <a:pt x="5260765" y="5996739"/>
                </a:lnTo>
                <a:lnTo>
                  <a:pt x="5260765" y="5986868"/>
                </a:lnTo>
                <a:close/>
                <a:moveTo>
                  <a:pt x="5025470" y="5982829"/>
                </a:moveTo>
                <a:lnTo>
                  <a:pt x="5035381" y="5982829"/>
                </a:lnTo>
                <a:lnTo>
                  <a:pt x="5039400" y="5986868"/>
                </a:lnTo>
                <a:lnTo>
                  <a:pt x="5039400" y="5996739"/>
                </a:lnTo>
                <a:lnTo>
                  <a:pt x="5035381" y="6000778"/>
                </a:lnTo>
                <a:lnTo>
                  <a:pt x="5025470" y="6000778"/>
                </a:lnTo>
                <a:lnTo>
                  <a:pt x="5021451" y="5996739"/>
                </a:lnTo>
                <a:lnTo>
                  <a:pt x="5021451" y="5986868"/>
                </a:lnTo>
                <a:close/>
                <a:moveTo>
                  <a:pt x="4786241" y="5982829"/>
                </a:moveTo>
                <a:lnTo>
                  <a:pt x="4796152" y="5982829"/>
                </a:lnTo>
                <a:lnTo>
                  <a:pt x="4800171" y="5986868"/>
                </a:lnTo>
                <a:lnTo>
                  <a:pt x="4800171" y="5996739"/>
                </a:lnTo>
                <a:lnTo>
                  <a:pt x="4796152" y="6000778"/>
                </a:lnTo>
                <a:lnTo>
                  <a:pt x="4786241" y="6000778"/>
                </a:lnTo>
                <a:lnTo>
                  <a:pt x="4782224" y="5996739"/>
                </a:lnTo>
                <a:lnTo>
                  <a:pt x="4782224" y="5986868"/>
                </a:lnTo>
                <a:close/>
                <a:moveTo>
                  <a:pt x="4546929" y="5982829"/>
                </a:moveTo>
                <a:lnTo>
                  <a:pt x="4556840" y="5982829"/>
                </a:lnTo>
                <a:lnTo>
                  <a:pt x="4560859" y="5986868"/>
                </a:lnTo>
                <a:lnTo>
                  <a:pt x="4560859" y="5996739"/>
                </a:lnTo>
                <a:lnTo>
                  <a:pt x="4556840" y="6000778"/>
                </a:lnTo>
                <a:lnTo>
                  <a:pt x="4546929" y="6000778"/>
                </a:lnTo>
                <a:lnTo>
                  <a:pt x="4542910" y="5996739"/>
                </a:lnTo>
                <a:lnTo>
                  <a:pt x="4542910" y="5986868"/>
                </a:lnTo>
                <a:close/>
                <a:moveTo>
                  <a:pt x="4307612" y="5982829"/>
                </a:moveTo>
                <a:lnTo>
                  <a:pt x="4317523" y="5982829"/>
                </a:lnTo>
                <a:lnTo>
                  <a:pt x="4321543" y="5986868"/>
                </a:lnTo>
                <a:lnTo>
                  <a:pt x="4321543" y="5996739"/>
                </a:lnTo>
                <a:lnTo>
                  <a:pt x="4317523" y="6000778"/>
                </a:lnTo>
                <a:lnTo>
                  <a:pt x="4307612" y="6000778"/>
                </a:lnTo>
                <a:lnTo>
                  <a:pt x="4303595" y="5996739"/>
                </a:lnTo>
                <a:lnTo>
                  <a:pt x="4303595" y="5986868"/>
                </a:lnTo>
                <a:close/>
                <a:moveTo>
                  <a:pt x="4068297" y="5982829"/>
                </a:moveTo>
                <a:lnTo>
                  <a:pt x="4078210" y="5982829"/>
                </a:lnTo>
                <a:lnTo>
                  <a:pt x="4082229" y="5986868"/>
                </a:lnTo>
                <a:lnTo>
                  <a:pt x="4082229" y="5996739"/>
                </a:lnTo>
                <a:lnTo>
                  <a:pt x="4078210" y="6000778"/>
                </a:lnTo>
                <a:lnTo>
                  <a:pt x="4068297" y="6000778"/>
                </a:lnTo>
                <a:lnTo>
                  <a:pt x="4064278" y="5996739"/>
                </a:lnTo>
                <a:lnTo>
                  <a:pt x="4064278" y="5986868"/>
                </a:lnTo>
                <a:close/>
                <a:moveTo>
                  <a:pt x="3828990" y="5982829"/>
                </a:moveTo>
                <a:lnTo>
                  <a:pt x="3838899" y="5982829"/>
                </a:lnTo>
                <a:lnTo>
                  <a:pt x="3842917" y="5986868"/>
                </a:lnTo>
                <a:lnTo>
                  <a:pt x="3842917" y="5996739"/>
                </a:lnTo>
                <a:lnTo>
                  <a:pt x="3838899" y="6000778"/>
                </a:lnTo>
                <a:lnTo>
                  <a:pt x="3828990" y="6000778"/>
                </a:lnTo>
                <a:lnTo>
                  <a:pt x="3824971" y="5996739"/>
                </a:lnTo>
                <a:lnTo>
                  <a:pt x="3824971" y="5986868"/>
                </a:lnTo>
                <a:close/>
                <a:moveTo>
                  <a:pt x="3589676" y="5982829"/>
                </a:moveTo>
                <a:lnTo>
                  <a:pt x="3599585" y="5982829"/>
                </a:lnTo>
                <a:lnTo>
                  <a:pt x="3603604" y="5986868"/>
                </a:lnTo>
                <a:lnTo>
                  <a:pt x="3603604" y="5996739"/>
                </a:lnTo>
                <a:lnTo>
                  <a:pt x="3599585" y="6000778"/>
                </a:lnTo>
                <a:lnTo>
                  <a:pt x="3589676" y="6000778"/>
                </a:lnTo>
                <a:lnTo>
                  <a:pt x="3585657" y="5996739"/>
                </a:lnTo>
                <a:lnTo>
                  <a:pt x="3585657" y="5986868"/>
                </a:lnTo>
                <a:close/>
                <a:moveTo>
                  <a:pt x="3350359" y="5982829"/>
                </a:moveTo>
                <a:lnTo>
                  <a:pt x="3360268" y="5982829"/>
                </a:lnTo>
                <a:lnTo>
                  <a:pt x="3364287" y="5986868"/>
                </a:lnTo>
                <a:lnTo>
                  <a:pt x="3364287" y="5996739"/>
                </a:lnTo>
                <a:lnTo>
                  <a:pt x="3360268" y="6000778"/>
                </a:lnTo>
                <a:lnTo>
                  <a:pt x="3350359" y="6000778"/>
                </a:lnTo>
                <a:lnTo>
                  <a:pt x="3346340" y="5996739"/>
                </a:lnTo>
                <a:lnTo>
                  <a:pt x="3346340" y="5986868"/>
                </a:lnTo>
                <a:close/>
                <a:moveTo>
                  <a:pt x="3111048" y="5982829"/>
                </a:moveTo>
                <a:lnTo>
                  <a:pt x="3120959" y="5982829"/>
                </a:lnTo>
                <a:lnTo>
                  <a:pt x="3124977" y="5986868"/>
                </a:lnTo>
                <a:lnTo>
                  <a:pt x="3124977" y="5996739"/>
                </a:lnTo>
                <a:lnTo>
                  <a:pt x="3120959" y="6000778"/>
                </a:lnTo>
                <a:lnTo>
                  <a:pt x="3111048" y="6000778"/>
                </a:lnTo>
                <a:lnTo>
                  <a:pt x="3107029" y="5996739"/>
                </a:lnTo>
                <a:lnTo>
                  <a:pt x="3107029" y="5986868"/>
                </a:lnTo>
                <a:close/>
                <a:moveTo>
                  <a:pt x="2871737" y="5982829"/>
                </a:moveTo>
                <a:lnTo>
                  <a:pt x="2881646" y="5982829"/>
                </a:lnTo>
                <a:lnTo>
                  <a:pt x="2885666" y="5986868"/>
                </a:lnTo>
                <a:lnTo>
                  <a:pt x="2885666" y="5996739"/>
                </a:lnTo>
                <a:lnTo>
                  <a:pt x="2881646" y="6000778"/>
                </a:lnTo>
                <a:lnTo>
                  <a:pt x="2871737" y="6000778"/>
                </a:lnTo>
                <a:lnTo>
                  <a:pt x="2867717" y="5996739"/>
                </a:lnTo>
                <a:lnTo>
                  <a:pt x="2867717" y="5986868"/>
                </a:lnTo>
                <a:close/>
                <a:moveTo>
                  <a:pt x="2632423" y="5982829"/>
                </a:moveTo>
                <a:lnTo>
                  <a:pt x="2642334" y="5982829"/>
                </a:lnTo>
                <a:lnTo>
                  <a:pt x="2646352" y="5986868"/>
                </a:lnTo>
                <a:lnTo>
                  <a:pt x="2646352" y="5996739"/>
                </a:lnTo>
                <a:lnTo>
                  <a:pt x="2642334" y="6000778"/>
                </a:lnTo>
                <a:lnTo>
                  <a:pt x="2632423" y="6000778"/>
                </a:lnTo>
                <a:lnTo>
                  <a:pt x="2628404" y="5996739"/>
                </a:lnTo>
                <a:lnTo>
                  <a:pt x="2628404" y="5986868"/>
                </a:lnTo>
                <a:close/>
                <a:moveTo>
                  <a:pt x="2393104" y="5982829"/>
                </a:moveTo>
                <a:lnTo>
                  <a:pt x="2403015" y="5982829"/>
                </a:lnTo>
                <a:lnTo>
                  <a:pt x="2407034" y="5986868"/>
                </a:lnTo>
                <a:lnTo>
                  <a:pt x="2407034" y="5996739"/>
                </a:lnTo>
                <a:lnTo>
                  <a:pt x="2403015" y="6000778"/>
                </a:lnTo>
                <a:lnTo>
                  <a:pt x="2393104" y="6000778"/>
                </a:lnTo>
                <a:lnTo>
                  <a:pt x="2389087" y="5996739"/>
                </a:lnTo>
                <a:lnTo>
                  <a:pt x="2389087" y="5986868"/>
                </a:lnTo>
                <a:close/>
                <a:moveTo>
                  <a:pt x="721960" y="5982829"/>
                </a:moveTo>
                <a:lnTo>
                  <a:pt x="731869" y="5982829"/>
                </a:lnTo>
                <a:lnTo>
                  <a:pt x="735888" y="5986868"/>
                </a:lnTo>
                <a:lnTo>
                  <a:pt x="735888" y="5996739"/>
                </a:lnTo>
                <a:lnTo>
                  <a:pt x="731869" y="6000778"/>
                </a:lnTo>
                <a:lnTo>
                  <a:pt x="721960" y="6000778"/>
                </a:lnTo>
                <a:lnTo>
                  <a:pt x="717940" y="5996739"/>
                </a:lnTo>
                <a:lnTo>
                  <a:pt x="717940" y="5986868"/>
                </a:lnTo>
                <a:close/>
                <a:moveTo>
                  <a:pt x="482647" y="5982829"/>
                </a:moveTo>
                <a:lnTo>
                  <a:pt x="492557" y="5982829"/>
                </a:lnTo>
                <a:lnTo>
                  <a:pt x="496576" y="5986868"/>
                </a:lnTo>
                <a:lnTo>
                  <a:pt x="496576" y="5996739"/>
                </a:lnTo>
                <a:lnTo>
                  <a:pt x="492557" y="6000778"/>
                </a:lnTo>
                <a:lnTo>
                  <a:pt x="482647" y="6000778"/>
                </a:lnTo>
                <a:lnTo>
                  <a:pt x="478628" y="5996739"/>
                </a:lnTo>
                <a:lnTo>
                  <a:pt x="478628" y="5986868"/>
                </a:lnTo>
                <a:close/>
                <a:moveTo>
                  <a:pt x="243334" y="5982829"/>
                </a:moveTo>
                <a:lnTo>
                  <a:pt x="253244" y="5982829"/>
                </a:lnTo>
                <a:lnTo>
                  <a:pt x="257263" y="5986868"/>
                </a:lnTo>
                <a:lnTo>
                  <a:pt x="257263" y="5996739"/>
                </a:lnTo>
                <a:lnTo>
                  <a:pt x="253244" y="6000778"/>
                </a:lnTo>
                <a:lnTo>
                  <a:pt x="243334" y="6000778"/>
                </a:lnTo>
                <a:lnTo>
                  <a:pt x="239315" y="5996739"/>
                </a:lnTo>
                <a:lnTo>
                  <a:pt x="239315" y="5986868"/>
                </a:lnTo>
                <a:close/>
                <a:moveTo>
                  <a:pt x="4021" y="5982829"/>
                </a:moveTo>
                <a:lnTo>
                  <a:pt x="13931" y="5982829"/>
                </a:lnTo>
                <a:lnTo>
                  <a:pt x="17950" y="5986868"/>
                </a:lnTo>
                <a:lnTo>
                  <a:pt x="17950" y="5996739"/>
                </a:lnTo>
                <a:lnTo>
                  <a:pt x="13931" y="6000778"/>
                </a:lnTo>
                <a:lnTo>
                  <a:pt x="4021" y="6000778"/>
                </a:lnTo>
                <a:lnTo>
                  <a:pt x="1" y="5996739"/>
                </a:lnTo>
                <a:lnTo>
                  <a:pt x="1" y="5986868"/>
                </a:lnTo>
                <a:close/>
                <a:moveTo>
                  <a:pt x="2157818" y="5743551"/>
                </a:moveTo>
                <a:lnTo>
                  <a:pt x="2167728" y="5743551"/>
                </a:lnTo>
                <a:lnTo>
                  <a:pt x="2171747" y="5747589"/>
                </a:lnTo>
                <a:lnTo>
                  <a:pt x="2171747" y="5757460"/>
                </a:lnTo>
                <a:lnTo>
                  <a:pt x="2167728" y="5761499"/>
                </a:lnTo>
                <a:lnTo>
                  <a:pt x="2157818" y="5761499"/>
                </a:lnTo>
                <a:lnTo>
                  <a:pt x="2153799" y="5757460"/>
                </a:lnTo>
                <a:lnTo>
                  <a:pt x="2153799" y="5747589"/>
                </a:lnTo>
                <a:close/>
                <a:moveTo>
                  <a:pt x="1918510" y="5743551"/>
                </a:moveTo>
                <a:lnTo>
                  <a:pt x="1928420" y="5743551"/>
                </a:lnTo>
                <a:lnTo>
                  <a:pt x="1932438" y="5747589"/>
                </a:lnTo>
                <a:lnTo>
                  <a:pt x="1932438" y="5757460"/>
                </a:lnTo>
                <a:lnTo>
                  <a:pt x="1928420" y="5761499"/>
                </a:lnTo>
                <a:lnTo>
                  <a:pt x="1918510" y="5761499"/>
                </a:lnTo>
                <a:lnTo>
                  <a:pt x="1914490" y="5757460"/>
                </a:lnTo>
                <a:lnTo>
                  <a:pt x="1914490" y="5747589"/>
                </a:lnTo>
                <a:close/>
                <a:moveTo>
                  <a:pt x="1679201" y="5743551"/>
                </a:moveTo>
                <a:lnTo>
                  <a:pt x="1689112" y="5743551"/>
                </a:lnTo>
                <a:lnTo>
                  <a:pt x="1693131" y="5747589"/>
                </a:lnTo>
                <a:lnTo>
                  <a:pt x="1693131" y="5757460"/>
                </a:lnTo>
                <a:lnTo>
                  <a:pt x="1689112" y="5761499"/>
                </a:lnTo>
                <a:lnTo>
                  <a:pt x="1679201" y="5761499"/>
                </a:lnTo>
                <a:lnTo>
                  <a:pt x="1675183" y="5757460"/>
                </a:lnTo>
                <a:lnTo>
                  <a:pt x="1675183" y="5747589"/>
                </a:lnTo>
                <a:close/>
                <a:moveTo>
                  <a:pt x="1439886" y="5743551"/>
                </a:moveTo>
                <a:lnTo>
                  <a:pt x="1449797" y="5743551"/>
                </a:lnTo>
                <a:lnTo>
                  <a:pt x="1453815" y="5747589"/>
                </a:lnTo>
                <a:lnTo>
                  <a:pt x="1453815" y="5757460"/>
                </a:lnTo>
                <a:lnTo>
                  <a:pt x="1449797" y="5761499"/>
                </a:lnTo>
                <a:lnTo>
                  <a:pt x="1439886" y="5761499"/>
                </a:lnTo>
                <a:lnTo>
                  <a:pt x="1435868" y="5757460"/>
                </a:lnTo>
                <a:lnTo>
                  <a:pt x="1435868" y="5747589"/>
                </a:lnTo>
                <a:close/>
                <a:moveTo>
                  <a:pt x="1200572" y="5743551"/>
                </a:moveTo>
                <a:lnTo>
                  <a:pt x="1210482" y="5743551"/>
                </a:lnTo>
                <a:lnTo>
                  <a:pt x="1214500" y="5747589"/>
                </a:lnTo>
                <a:lnTo>
                  <a:pt x="1214500" y="5757460"/>
                </a:lnTo>
                <a:lnTo>
                  <a:pt x="1210482" y="5761499"/>
                </a:lnTo>
                <a:lnTo>
                  <a:pt x="1200572" y="5761499"/>
                </a:lnTo>
                <a:lnTo>
                  <a:pt x="1196553" y="5757460"/>
                </a:lnTo>
                <a:lnTo>
                  <a:pt x="1196553" y="5747589"/>
                </a:lnTo>
                <a:close/>
                <a:moveTo>
                  <a:pt x="961259" y="5743551"/>
                </a:moveTo>
                <a:lnTo>
                  <a:pt x="971169" y="5743551"/>
                </a:lnTo>
                <a:lnTo>
                  <a:pt x="975188" y="5747589"/>
                </a:lnTo>
                <a:lnTo>
                  <a:pt x="975188" y="5757460"/>
                </a:lnTo>
                <a:lnTo>
                  <a:pt x="971169" y="5761499"/>
                </a:lnTo>
                <a:lnTo>
                  <a:pt x="961259" y="5761499"/>
                </a:lnTo>
                <a:lnTo>
                  <a:pt x="957240" y="5757460"/>
                </a:lnTo>
                <a:lnTo>
                  <a:pt x="957240" y="5747589"/>
                </a:lnTo>
                <a:close/>
                <a:moveTo>
                  <a:pt x="9572438" y="5743499"/>
                </a:moveTo>
                <a:lnTo>
                  <a:pt x="9582349" y="5743499"/>
                </a:lnTo>
                <a:lnTo>
                  <a:pt x="9586368" y="5747537"/>
                </a:lnTo>
                <a:lnTo>
                  <a:pt x="9586368" y="5757408"/>
                </a:lnTo>
                <a:lnTo>
                  <a:pt x="9582349" y="5761447"/>
                </a:lnTo>
                <a:lnTo>
                  <a:pt x="9572438" y="5761447"/>
                </a:lnTo>
                <a:lnTo>
                  <a:pt x="9568419" y="5757408"/>
                </a:lnTo>
                <a:lnTo>
                  <a:pt x="9568419" y="5747537"/>
                </a:lnTo>
                <a:close/>
                <a:moveTo>
                  <a:pt x="9333125" y="5743499"/>
                </a:moveTo>
                <a:lnTo>
                  <a:pt x="9343036" y="5743499"/>
                </a:lnTo>
                <a:lnTo>
                  <a:pt x="9347055" y="5747537"/>
                </a:lnTo>
                <a:lnTo>
                  <a:pt x="9347055" y="5757408"/>
                </a:lnTo>
                <a:lnTo>
                  <a:pt x="9343036" y="5761447"/>
                </a:lnTo>
                <a:lnTo>
                  <a:pt x="9333125" y="5761447"/>
                </a:lnTo>
                <a:lnTo>
                  <a:pt x="9329106" y="5757408"/>
                </a:lnTo>
                <a:lnTo>
                  <a:pt x="9329106" y="5747537"/>
                </a:lnTo>
                <a:close/>
                <a:moveTo>
                  <a:pt x="9093811" y="5743499"/>
                </a:moveTo>
                <a:lnTo>
                  <a:pt x="9103722" y="5743499"/>
                </a:lnTo>
                <a:lnTo>
                  <a:pt x="9107741" y="5747537"/>
                </a:lnTo>
                <a:lnTo>
                  <a:pt x="9107741" y="5757408"/>
                </a:lnTo>
                <a:lnTo>
                  <a:pt x="9103722" y="5761447"/>
                </a:lnTo>
                <a:lnTo>
                  <a:pt x="9093811" y="5761447"/>
                </a:lnTo>
                <a:lnTo>
                  <a:pt x="9089792" y="5757408"/>
                </a:lnTo>
                <a:lnTo>
                  <a:pt x="9089792" y="5747537"/>
                </a:lnTo>
                <a:close/>
                <a:moveTo>
                  <a:pt x="8854496" y="5743499"/>
                </a:moveTo>
                <a:lnTo>
                  <a:pt x="8864407" y="5743499"/>
                </a:lnTo>
                <a:lnTo>
                  <a:pt x="8868426" y="5747537"/>
                </a:lnTo>
                <a:lnTo>
                  <a:pt x="8868426" y="5757408"/>
                </a:lnTo>
                <a:lnTo>
                  <a:pt x="8864407" y="5761447"/>
                </a:lnTo>
                <a:lnTo>
                  <a:pt x="8854496" y="5761447"/>
                </a:lnTo>
                <a:lnTo>
                  <a:pt x="8850477" y="5757408"/>
                </a:lnTo>
                <a:lnTo>
                  <a:pt x="8850477" y="5747537"/>
                </a:lnTo>
                <a:close/>
                <a:moveTo>
                  <a:pt x="8615184" y="5743499"/>
                </a:moveTo>
                <a:lnTo>
                  <a:pt x="8625095" y="5743499"/>
                </a:lnTo>
                <a:lnTo>
                  <a:pt x="8629114" y="5747537"/>
                </a:lnTo>
                <a:lnTo>
                  <a:pt x="8629114" y="5757408"/>
                </a:lnTo>
                <a:lnTo>
                  <a:pt x="8625095" y="5761447"/>
                </a:lnTo>
                <a:lnTo>
                  <a:pt x="8615184" y="5761447"/>
                </a:lnTo>
                <a:lnTo>
                  <a:pt x="8611165" y="5757408"/>
                </a:lnTo>
                <a:lnTo>
                  <a:pt x="8611165" y="5747537"/>
                </a:lnTo>
                <a:close/>
                <a:moveTo>
                  <a:pt x="8375869" y="5743499"/>
                </a:moveTo>
                <a:lnTo>
                  <a:pt x="8385779" y="5743499"/>
                </a:lnTo>
                <a:lnTo>
                  <a:pt x="8389799" y="5747537"/>
                </a:lnTo>
                <a:lnTo>
                  <a:pt x="8389799" y="5757408"/>
                </a:lnTo>
                <a:lnTo>
                  <a:pt x="8385779" y="5761447"/>
                </a:lnTo>
                <a:lnTo>
                  <a:pt x="8375869" y="5761447"/>
                </a:lnTo>
                <a:lnTo>
                  <a:pt x="8371850" y="5757408"/>
                </a:lnTo>
                <a:lnTo>
                  <a:pt x="8371850" y="5747537"/>
                </a:lnTo>
                <a:close/>
                <a:moveTo>
                  <a:pt x="8136553" y="5743499"/>
                </a:moveTo>
                <a:lnTo>
                  <a:pt x="8146464" y="5743499"/>
                </a:lnTo>
                <a:lnTo>
                  <a:pt x="8150483" y="5747537"/>
                </a:lnTo>
                <a:lnTo>
                  <a:pt x="8150483" y="5757408"/>
                </a:lnTo>
                <a:lnTo>
                  <a:pt x="8146464" y="5761447"/>
                </a:lnTo>
                <a:lnTo>
                  <a:pt x="8136553" y="5761447"/>
                </a:lnTo>
                <a:lnTo>
                  <a:pt x="8132534" y="5757408"/>
                </a:lnTo>
                <a:lnTo>
                  <a:pt x="8132534" y="5747537"/>
                </a:lnTo>
                <a:close/>
                <a:moveTo>
                  <a:pt x="7897241" y="5743499"/>
                </a:moveTo>
                <a:lnTo>
                  <a:pt x="7907151" y="5743499"/>
                </a:lnTo>
                <a:lnTo>
                  <a:pt x="7911170" y="5747537"/>
                </a:lnTo>
                <a:lnTo>
                  <a:pt x="7911170" y="5757408"/>
                </a:lnTo>
                <a:lnTo>
                  <a:pt x="7907151" y="5761447"/>
                </a:lnTo>
                <a:lnTo>
                  <a:pt x="7897241" y="5761447"/>
                </a:lnTo>
                <a:lnTo>
                  <a:pt x="7893222" y="5757408"/>
                </a:lnTo>
                <a:lnTo>
                  <a:pt x="7893222" y="5747537"/>
                </a:lnTo>
                <a:close/>
                <a:moveTo>
                  <a:pt x="7657926" y="5743499"/>
                </a:moveTo>
                <a:lnTo>
                  <a:pt x="7667836" y="5743499"/>
                </a:lnTo>
                <a:lnTo>
                  <a:pt x="7671855" y="5747537"/>
                </a:lnTo>
                <a:lnTo>
                  <a:pt x="7671855" y="5757408"/>
                </a:lnTo>
                <a:lnTo>
                  <a:pt x="7667836" y="5761447"/>
                </a:lnTo>
                <a:lnTo>
                  <a:pt x="7657926" y="5761447"/>
                </a:lnTo>
                <a:lnTo>
                  <a:pt x="7653906" y="5757408"/>
                </a:lnTo>
                <a:lnTo>
                  <a:pt x="7653906" y="5747537"/>
                </a:lnTo>
                <a:close/>
                <a:moveTo>
                  <a:pt x="7418611" y="5743499"/>
                </a:moveTo>
                <a:lnTo>
                  <a:pt x="7428521" y="5743499"/>
                </a:lnTo>
                <a:lnTo>
                  <a:pt x="7432540" y="5747537"/>
                </a:lnTo>
                <a:lnTo>
                  <a:pt x="7432540" y="5757408"/>
                </a:lnTo>
                <a:lnTo>
                  <a:pt x="7428521" y="5761447"/>
                </a:lnTo>
                <a:lnTo>
                  <a:pt x="7418611" y="5761447"/>
                </a:lnTo>
                <a:lnTo>
                  <a:pt x="7414592" y="5757408"/>
                </a:lnTo>
                <a:lnTo>
                  <a:pt x="7414592" y="5747537"/>
                </a:lnTo>
                <a:close/>
                <a:moveTo>
                  <a:pt x="7179298" y="5743499"/>
                </a:moveTo>
                <a:lnTo>
                  <a:pt x="7189209" y="5743499"/>
                </a:lnTo>
                <a:lnTo>
                  <a:pt x="7193228" y="5747537"/>
                </a:lnTo>
                <a:lnTo>
                  <a:pt x="7193228" y="5757408"/>
                </a:lnTo>
                <a:lnTo>
                  <a:pt x="7189209" y="5761447"/>
                </a:lnTo>
                <a:lnTo>
                  <a:pt x="7179298" y="5761447"/>
                </a:lnTo>
                <a:lnTo>
                  <a:pt x="7175279" y="5757408"/>
                </a:lnTo>
                <a:lnTo>
                  <a:pt x="7175279" y="5747537"/>
                </a:lnTo>
                <a:close/>
                <a:moveTo>
                  <a:pt x="6939983" y="5743499"/>
                </a:moveTo>
                <a:lnTo>
                  <a:pt x="6949894" y="5743499"/>
                </a:lnTo>
                <a:lnTo>
                  <a:pt x="6953913" y="5747537"/>
                </a:lnTo>
                <a:lnTo>
                  <a:pt x="6953913" y="5757408"/>
                </a:lnTo>
                <a:lnTo>
                  <a:pt x="6949894" y="5761447"/>
                </a:lnTo>
                <a:lnTo>
                  <a:pt x="6939983" y="5761447"/>
                </a:lnTo>
                <a:lnTo>
                  <a:pt x="6935964" y="5757408"/>
                </a:lnTo>
                <a:lnTo>
                  <a:pt x="6935964" y="5747537"/>
                </a:lnTo>
                <a:close/>
                <a:moveTo>
                  <a:pt x="6700670" y="5743499"/>
                </a:moveTo>
                <a:lnTo>
                  <a:pt x="6710581" y="5743499"/>
                </a:lnTo>
                <a:lnTo>
                  <a:pt x="6714600" y="5747537"/>
                </a:lnTo>
                <a:lnTo>
                  <a:pt x="6714600" y="5757408"/>
                </a:lnTo>
                <a:lnTo>
                  <a:pt x="6710581" y="5761447"/>
                </a:lnTo>
                <a:lnTo>
                  <a:pt x="6700670" y="5761447"/>
                </a:lnTo>
                <a:lnTo>
                  <a:pt x="6696651" y="5757408"/>
                </a:lnTo>
                <a:lnTo>
                  <a:pt x="6696651" y="5747537"/>
                </a:lnTo>
                <a:close/>
                <a:moveTo>
                  <a:pt x="6461356" y="5743499"/>
                </a:moveTo>
                <a:lnTo>
                  <a:pt x="6471266" y="5743499"/>
                </a:lnTo>
                <a:lnTo>
                  <a:pt x="6475285" y="5747537"/>
                </a:lnTo>
                <a:lnTo>
                  <a:pt x="6475285" y="5757408"/>
                </a:lnTo>
                <a:lnTo>
                  <a:pt x="6471266" y="5761447"/>
                </a:lnTo>
                <a:lnTo>
                  <a:pt x="6461356" y="5761447"/>
                </a:lnTo>
                <a:lnTo>
                  <a:pt x="6457337" y="5757408"/>
                </a:lnTo>
                <a:lnTo>
                  <a:pt x="6457337" y="5747537"/>
                </a:lnTo>
                <a:close/>
                <a:moveTo>
                  <a:pt x="6222042" y="5743499"/>
                </a:moveTo>
                <a:lnTo>
                  <a:pt x="6231952" y="5743499"/>
                </a:lnTo>
                <a:lnTo>
                  <a:pt x="6235971" y="5747537"/>
                </a:lnTo>
                <a:lnTo>
                  <a:pt x="6235971" y="5757408"/>
                </a:lnTo>
                <a:lnTo>
                  <a:pt x="6231952" y="5761447"/>
                </a:lnTo>
                <a:lnTo>
                  <a:pt x="6222042" y="5761447"/>
                </a:lnTo>
                <a:lnTo>
                  <a:pt x="6218023" y="5757408"/>
                </a:lnTo>
                <a:lnTo>
                  <a:pt x="6218023" y="5747537"/>
                </a:lnTo>
                <a:close/>
                <a:moveTo>
                  <a:pt x="5982729" y="5743499"/>
                </a:moveTo>
                <a:lnTo>
                  <a:pt x="5992639" y="5743499"/>
                </a:lnTo>
                <a:lnTo>
                  <a:pt x="5996658" y="5747537"/>
                </a:lnTo>
                <a:lnTo>
                  <a:pt x="5996658" y="5757408"/>
                </a:lnTo>
                <a:lnTo>
                  <a:pt x="5992639" y="5761447"/>
                </a:lnTo>
                <a:lnTo>
                  <a:pt x="5982729" y="5761447"/>
                </a:lnTo>
                <a:lnTo>
                  <a:pt x="5978710" y="5757408"/>
                </a:lnTo>
                <a:lnTo>
                  <a:pt x="5978710" y="5747537"/>
                </a:lnTo>
                <a:close/>
                <a:moveTo>
                  <a:pt x="5743412" y="5743499"/>
                </a:moveTo>
                <a:lnTo>
                  <a:pt x="5753323" y="5743499"/>
                </a:lnTo>
                <a:lnTo>
                  <a:pt x="5757342" y="5747537"/>
                </a:lnTo>
                <a:lnTo>
                  <a:pt x="5757342" y="5757408"/>
                </a:lnTo>
                <a:lnTo>
                  <a:pt x="5753323" y="5761447"/>
                </a:lnTo>
                <a:lnTo>
                  <a:pt x="5743412" y="5761447"/>
                </a:lnTo>
                <a:lnTo>
                  <a:pt x="5739393" y="5757408"/>
                </a:lnTo>
                <a:lnTo>
                  <a:pt x="5739393" y="5747537"/>
                </a:lnTo>
                <a:close/>
                <a:moveTo>
                  <a:pt x="5504099" y="5743499"/>
                </a:moveTo>
                <a:lnTo>
                  <a:pt x="5514010" y="5743499"/>
                </a:lnTo>
                <a:lnTo>
                  <a:pt x="5518029" y="5747537"/>
                </a:lnTo>
                <a:lnTo>
                  <a:pt x="5518029" y="5757408"/>
                </a:lnTo>
                <a:lnTo>
                  <a:pt x="5514010" y="5761447"/>
                </a:lnTo>
                <a:lnTo>
                  <a:pt x="5504099" y="5761447"/>
                </a:lnTo>
                <a:lnTo>
                  <a:pt x="5500080" y="5757408"/>
                </a:lnTo>
                <a:lnTo>
                  <a:pt x="5500080" y="5747537"/>
                </a:lnTo>
                <a:close/>
                <a:moveTo>
                  <a:pt x="5264784" y="5743499"/>
                </a:moveTo>
                <a:lnTo>
                  <a:pt x="5274694" y="5743499"/>
                </a:lnTo>
                <a:lnTo>
                  <a:pt x="5278713" y="5747537"/>
                </a:lnTo>
                <a:lnTo>
                  <a:pt x="5278713" y="5757408"/>
                </a:lnTo>
                <a:lnTo>
                  <a:pt x="5274694" y="5761447"/>
                </a:lnTo>
                <a:lnTo>
                  <a:pt x="5264784" y="5761447"/>
                </a:lnTo>
                <a:lnTo>
                  <a:pt x="5260765" y="5757408"/>
                </a:lnTo>
                <a:lnTo>
                  <a:pt x="5260765" y="5747537"/>
                </a:lnTo>
                <a:close/>
                <a:moveTo>
                  <a:pt x="5025470" y="5743499"/>
                </a:moveTo>
                <a:lnTo>
                  <a:pt x="5035381" y="5743499"/>
                </a:lnTo>
                <a:lnTo>
                  <a:pt x="5039400" y="5747537"/>
                </a:lnTo>
                <a:lnTo>
                  <a:pt x="5039400" y="5757408"/>
                </a:lnTo>
                <a:lnTo>
                  <a:pt x="5035381" y="5761447"/>
                </a:lnTo>
                <a:lnTo>
                  <a:pt x="5025470" y="5761447"/>
                </a:lnTo>
                <a:lnTo>
                  <a:pt x="5021451" y="5757408"/>
                </a:lnTo>
                <a:lnTo>
                  <a:pt x="5021451" y="5747537"/>
                </a:lnTo>
                <a:close/>
                <a:moveTo>
                  <a:pt x="4786241" y="5743499"/>
                </a:moveTo>
                <a:lnTo>
                  <a:pt x="4796152" y="5743499"/>
                </a:lnTo>
                <a:lnTo>
                  <a:pt x="4800171" y="5747537"/>
                </a:lnTo>
                <a:lnTo>
                  <a:pt x="4800171" y="5757408"/>
                </a:lnTo>
                <a:lnTo>
                  <a:pt x="4796152" y="5761447"/>
                </a:lnTo>
                <a:lnTo>
                  <a:pt x="4786241" y="5761447"/>
                </a:lnTo>
                <a:lnTo>
                  <a:pt x="4782224" y="5757408"/>
                </a:lnTo>
                <a:lnTo>
                  <a:pt x="4782224" y="5747537"/>
                </a:lnTo>
                <a:close/>
                <a:moveTo>
                  <a:pt x="4546929" y="5743499"/>
                </a:moveTo>
                <a:lnTo>
                  <a:pt x="4556840" y="5743499"/>
                </a:lnTo>
                <a:lnTo>
                  <a:pt x="4560859" y="5747537"/>
                </a:lnTo>
                <a:lnTo>
                  <a:pt x="4560859" y="5757408"/>
                </a:lnTo>
                <a:lnTo>
                  <a:pt x="4556840" y="5761447"/>
                </a:lnTo>
                <a:lnTo>
                  <a:pt x="4546929" y="5761447"/>
                </a:lnTo>
                <a:lnTo>
                  <a:pt x="4542910" y="5757408"/>
                </a:lnTo>
                <a:lnTo>
                  <a:pt x="4542910" y="5747537"/>
                </a:lnTo>
                <a:close/>
                <a:moveTo>
                  <a:pt x="4307612" y="5743499"/>
                </a:moveTo>
                <a:lnTo>
                  <a:pt x="4317523" y="5743499"/>
                </a:lnTo>
                <a:lnTo>
                  <a:pt x="4321543" y="5747537"/>
                </a:lnTo>
                <a:lnTo>
                  <a:pt x="4321543" y="5757408"/>
                </a:lnTo>
                <a:lnTo>
                  <a:pt x="4317523" y="5761447"/>
                </a:lnTo>
                <a:lnTo>
                  <a:pt x="4307612" y="5761447"/>
                </a:lnTo>
                <a:lnTo>
                  <a:pt x="4303595" y="5757408"/>
                </a:lnTo>
                <a:lnTo>
                  <a:pt x="4303595" y="5747537"/>
                </a:lnTo>
                <a:close/>
                <a:moveTo>
                  <a:pt x="4068297" y="5743499"/>
                </a:moveTo>
                <a:lnTo>
                  <a:pt x="4078210" y="5743499"/>
                </a:lnTo>
                <a:lnTo>
                  <a:pt x="4082229" y="5747537"/>
                </a:lnTo>
                <a:lnTo>
                  <a:pt x="4082229" y="5757408"/>
                </a:lnTo>
                <a:lnTo>
                  <a:pt x="4078210" y="5761447"/>
                </a:lnTo>
                <a:lnTo>
                  <a:pt x="4068297" y="5761447"/>
                </a:lnTo>
                <a:lnTo>
                  <a:pt x="4064278" y="5757408"/>
                </a:lnTo>
                <a:lnTo>
                  <a:pt x="4064278" y="5747537"/>
                </a:lnTo>
                <a:close/>
                <a:moveTo>
                  <a:pt x="3828990" y="5743499"/>
                </a:moveTo>
                <a:lnTo>
                  <a:pt x="3838899" y="5743499"/>
                </a:lnTo>
                <a:lnTo>
                  <a:pt x="3842917" y="5747537"/>
                </a:lnTo>
                <a:lnTo>
                  <a:pt x="3842917" y="5757408"/>
                </a:lnTo>
                <a:lnTo>
                  <a:pt x="3838899" y="5761447"/>
                </a:lnTo>
                <a:lnTo>
                  <a:pt x="3828990" y="5761447"/>
                </a:lnTo>
                <a:lnTo>
                  <a:pt x="3824971" y="5757408"/>
                </a:lnTo>
                <a:lnTo>
                  <a:pt x="3824971" y="5747537"/>
                </a:lnTo>
                <a:close/>
                <a:moveTo>
                  <a:pt x="3589676" y="5743499"/>
                </a:moveTo>
                <a:lnTo>
                  <a:pt x="3599585" y="5743499"/>
                </a:lnTo>
                <a:lnTo>
                  <a:pt x="3603604" y="5747537"/>
                </a:lnTo>
                <a:lnTo>
                  <a:pt x="3603604" y="5757408"/>
                </a:lnTo>
                <a:lnTo>
                  <a:pt x="3599585" y="5761447"/>
                </a:lnTo>
                <a:lnTo>
                  <a:pt x="3589676" y="5761447"/>
                </a:lnTo>
                <a:lnTo>
                  <a:pt x="3585657" y="5757408"/>
                </a:lnTo>
                <a:lnTo>
                  <a:pt x="3585657" y="5747537"/>
                </a:lnTo>
                <a:close/>
                <a:moveTo>
                  <a:pt x="3350359" y="5743499"/>
                </a:moveTo>
                <a:lnTo>
                  <a:pt x="3360268" y="5743499"/>
                </a:lnTo>
                <a:lnTo>
                  <a:pt x="3364287" y="5747537"/>
                </a:lnTo>
                <a:lnTo>
                  <a:pt x="3364287" y="5757408"/>
                </a:lnTo>
                <a:lnTo>
                  <a:pt x="3360268" y="5761447"/>
                </a:lnTo>
                <a:lnTo>
                  <a:pt x="3350359" y="5761447"/>
                </a:lnTo>
                <a:lnTo>
                  <a:pt x="3346340" y="5757408"/>
                </a:lnTo>
                <a:lnTo>
                  <a:pt x="3346340" y="5747537"/>
                </a:lnTo>
                <a:close/>
                <a:moveTo>
                  <a:pt x="3111048" y="5743499"/>
                </a:moveTo>
                <a:lnTo>
                  <a:pt x="3120959" y="5743499"/>
                </a:lnTo>
                <a:lnTo>
                  <a:pt x="3124977" y="5747537"/>
                </a:lnTo>
                <a:lnTo>
                  <a:pt x="3124977" y="5757408"/>
                </a:lnTo>
                <a:lnTo>
                  <a:pt x="3120959" y="5761447"/>
                </a:lnTo>
                <a:lnTo>
                  <a:pt x="3111048" y="5761447"/>
                </a:lnTo>
                <a:lnTo>
                  <a:pt x="3107029" y="5757408"/>
                </a:lnTo>
                <a:lnTo>
                  <a:pt x="3107029" y="5747537"/>
                </a:lnTo>
                <a:close/>
                <a:moveTo>
                  <a:pt x="2871737" y="5743499"/>
                </a:moveTo>
                <a:lnTo>
                  <a:pt x="2881646" y="5743499"/>
                </a:lnTo>
                <a:lnTo>
                  <a:pt x="2885666" y="5747537"/>
                </a:lnTo>
                <a:lnTo>
                  <a:pt x="2885666" y="5757408"/>
                </a:lnTo>
                <a:lnTo>
                  <a:pt x="2881646" y="5761447"/>
                </a:lnTo>
                <a:lnTo>
                  <a:pt x="2871737" y="5761447"/>
                </a:lnTo>
                <a:lnTo>
                  <a:pt x="2867717" y="5757408"/>
                </a:lnTo>
                <a:lnTo>
                  <a:pt x="2867717" y="5747537"/>
                </a:lnTo>
                <a:close/>
                <a:moveTo>
                  <a:pt x="2632423" y="5743499"/>
                </a:moveTo>
                <a:lnTo>
                  <a:pt x="2642334" y="5743499"/>
                </a:lnTo>
                <a:lnTo>
                  <a:pt x="2646352" y="5747537"/>
                </a:lnTo>
                <a:lnTo>
                  <a:pt x="2646352" y="5757408"/>
                </a:lnTo>
                <a:lnTo>
                  <a:pt x="2642334" y="5761447"/>
                </a:lnTo>
                <a:lnTo>
                  <a:pt x="2632423" y="5761447"/>
                </a:lnTo>
                <a:lnTo>
                  <a:pt x="2628404" y="5757408"/>
                </a:lnTo>
                <a:lnTo>
                  <a:pt x="2628404" y="5747537"/>
                </a:lnTo>
                <a:close/>
                <a:moveTo>
                  <a:pt x="2393104" y="5743499"/>
                </a:moveTo>
                <a:lnTo>
                  <a:pt x="2403015" y="5743499"/>
                </a:lnTo>
                <a:lnTo>
                  <a:pt x="2407034" y="5747537"/>
                </a:lnTo>
                <a:lnTo>
                  <a:pt x="2407034" y="5757408"/>
                </a:lnTo>
                <a:lnTo>
                  <a:pt x="2403015" y="5761447"/>
                </a:lnTo>
                <a:lnTo>
                  <a:pt x="2393104" y="5761447"/>
                </a:lnTo>
                <a:lnTo>
                  <a:pt x="2389087" y="5757408"/>
                </a:lnTo>
                <a:lnTo>
                  <a:pt x="2389087" y="5747537"/>
                </a:lnTo>
                <a:close/>
                <a:moveTo>
                  <a:pt x="721960" y="5743499"/>
                </a:moveTo>
                <a:lnTo>
                  <a:pt x="731871" y="5743499"/>
                </a:lnTo>
                <a:lnTo>
                  <a:pt x="735889" y="5747537"/>
                </a:lnTo>
                <a:lnTo>
                  <a:pt x="735889" y="5757408"/>
                </a:lnTo>
                <a:lnTo>
                  <a:pt x="731871" y="5761447"/>
                </a:lnTo>
                <a:lnTo>
                  <a:pt x="721960" y="5761447"/>
                </a:lnTo>
                <a:lnTo>
                  <a:pt x="717941" y="5757408"/>
                </a:lnTo>
                <a:lnTo>
                  <a:pt x="717941" y="5747537"/>
                </a:lnTo>
                <a:close/>
                <a:moveTo>
                  <a:pt x="482648" y="5743499"/>
                </a:moveTo>
                <a:lnTo>
                  <a:pt x="492558" y="5743499"/>
                </a:lnTo>
                <a:lnTo>
                  <a:pt x="496578" y="5747537"/>
                </a:lnTo>
                <a:lnTo>
                  <a:pt x="496578" y="5757408"/>
                </a:lnTo>
                <a:lnTo>
                  <a:pt x="492558" y="5761447"/>
                </a:lnTo>
                <a:lnTo>
                  <a:pt x="482648" y="5761447"/>
                </a:lnTo>
                <a:lnTo>
                  <a:pt x="478629" y="5757408"/>
                </a:lnTo>
                <a:lnTo>
                  <a:pt x="478629" y="5747537"/>
                </a:lnTo>
                <a:close/>
                <a:moveTo>
                  <a:pt x="243334" y="5743499"/>
                </a:moveTo>
                <a:lnTo>
                  <a:pt x="253245" y="5743499"/>
                </a:lnTo>
                <a:lnTo>
                  <a:pt x="257264" y="5747537"/>
                </a:lnTo>
                <a:lnTo>
                  <a:pt x="257264" y="5757408"/>
                </a:lnTo>
                <a:lnTo>
                  <a:pt x="253245" y="5761447"/>
                </a:lnTo>
                <a:lnTo>
                  <a:pt x="243334" y="5761447"/>
                </a:lnTo>
                <a:lnTo>
                  <a:pt x="239315" y="5757408"/>
                </a:lnTo>
                <a:lnTo>
                  <a:pt x="239315" y="5747537"/>
                </a:lnTo>
                <a:close/>
                <a:moveTo>
                  <a:pt x="4021" y="5743499"/>
                </a:moveTo>
                <a:lnTo>
                  <a:pt x="13932" y="5743499"/>
                </a:lnTo>
                <a:lnTo>
                  <a:pt x="17950" y="5747537"/>
                </a:lnTo>
                <a:lnTo>
                  <a:pt x="17950" y="5757408"/>
                </a:lnTo>
                <a:lnTo>
                  <a:pt x="13932" y="5761447"/>
                </a:lnTo>
                <a:lnTo>
                  <a:pt x="4021" y="5761447"/>
                </a:lnTo>
                <a:lnTo>
                  <a:pt x="2" y="5757408"/>
                </a:lnTo>
                <a:lnTo>
                  <a:pt x="2" y="5747537"/>
                </a:lnTo>
                <a:close/>
                <a:moveTo>
                  <a:pt x="9572438" y="5504220"/>
                </a:moveTo>
                <a:lnTo>
                  <a:pt x="9582349" y="5504220"/>
                </a:lnTo>
                <a:lnTo>
                  <a:pt x="9586368" y="5508258"/>
                </a:lnTo>
                <a:lnTo>
                  <a:pt x="9586368" y="5518129"/>
                </a:lnTo>
                <a:lnTo>
                  <a:pt x="9582349" y="5522168"/>
                </a:lnTo>
                <a:lnTo>
                  <a:pt x="9572438" y="5522168"/>
                </a:lnTo>
                <a:lnTo>
                  <a:pt x="9568419" y="5518129"/>
                </a:lnTo>
                <a:lnTo>
                  <a:pt x="9568419" y="5508258"/>
                </a:lnTo>
                <a:close/>
                <a:moveTo>
                  <a:pt x="9333125" y="5504220"/>
                </a:moveTo>
                <a:lnTo>
                  <a:pt x="9343036" y="5504220"/>
                </a:lnTo>
                <a:lnTo>
                  <a:pt x="9347055" y="5508258"/>
                </a:lnTo>
                <a:lnTo>
                  <a:pt x="9347055" y="5518129"/>
                </a:lnTo>
                <a:lnTo>
                  <a:pt x="9343036" y="5522168"/>
                </a:lnTo>
                <a:lnTo>
                  <a:pt x="9333125" y="5522168"/>
                </a:lnTo>
                <a:lnTo>
                  <a:pt x="9329106" y="5518129"/>
                </a:lnTo>
                <a:lnTo>
                  <a:pt x="9329106" y="5508258"/>
                </a:lnTo>
                <a:close/>
                <a:moveTo>
                  <a:pt x="9093811" y="5504220"/>
                </a:moveTo>
                <a:lnTo>
                  <a:pt x="9103722" y="5504220"/>
                </a:lnTo>
                <a:lnTo>
                  <a:pt x="9107741" y="5508258"/>
                </a:lnTo>
                <a:lnTo>
                  <a:pt x="9107741" y="5518129"/>
                </a:lnTo>
                <a:lnTo>
                  <a:pt x="9103722" y="5522168"/>
                </a:lnTo>
                <a:lnTo>
                  <a:pt x="9093811" y="5522168"/>
                </a:lnTo>
                <a:lnTo>
                  <a:pt x="9089792" y="5518129"/>
                </a:lnTo>
                <a:lnTo>
                  <a:pt x="9089792" y="5508258"/>
                </a:lnTo>
                <a:close/>
                <a:moveTo>
                  <a:pt x="8854496" y="5504220"/>
                </a:moveTo>
                <a:lnTo>
                  <a:pt x="8864407" y="5504220"/>
                </a:lnTo>
                <a:lnTo>
                  <a:pt x="8868426" y="5508258"/>
                </a:lnTo>
                <a:lnTo>
                  <a:pt x="8868426" y="5518129"/>
                </a:lnTo>
                <a:lnTo>
                  <a:pt x="8864407" y="5522168"/>
                </a:lnTo>
                <a:lnTo>
                  <a:pt x="8854496" y="5522168"/>
                </a:lnTo>
                <a:lnTo>
                  <a:pt x="8850477" y="5518129"/>
                </a:lnTo>
                <a:lnTo>
                  <a:pt x="8850477" y="5508258"/>
                </a:lnTo>
                <a:close/>
                <a:moveTo>
                  <a:pt x="8615184" y="5504220"/>
                </a:moveTo>
                <a:lnTo>
                  <a:pt x="8625095" y="5504220"/>
                </a:lnTo>
                <a:lnTo>
                  <a:pt x="8629114" y="5508258"/>
                </a:lnTo>
                <a:lnTo>
                  <a:pt x="8629114" y="5518129"/>
                </a:lnTo>
                <a:lnTo>
                  <a:pt x="8625095" y="5522168"/>
                </a:lnTo>
                <a:lnTo>
                  <a:pt x="8615184" y="5522168"/>
                </a:lnTo>
                <a:lnTo>
                  <a:pt x="8611165" y="5518129"/>
                </a:lnTo>
                <a:lnTo>
                  <a:pt x="8611165" y="5508258"/>
                </a:lnTo>
                <a:close/>
                <a:moveTo>
                  <a:pt x="8375869" y="5504220"/>
                </a:moveTo>
                <a:lnTo>
                  <a:pt x="8385779" y="5504220"/>
                </a:lnTo>
                <a:lnTo>
                  <a:pt x="8389799" y="5508258"/>
                </a:lnTo>
                <a:lnTo>
                  <a:pt x="8389799" y="5518129"/>
                </a:lnTo>
                <a:lnTo>
                  <a:pt x="8385779" y="5522168"/>
                </a:lnTo>
                <a:lnTo>
                  <a:pt x="8375869" y="5522168"/>
                </a:lnTo>
                <a:lnTo>
                  <a:pt x="8371850" y="5518129"/>
                </a:lnTo>
                <a:lnTo>
                  <a:pt x="8371850" y="5508258"/>
                </a:lnTo>
                <a:close/>
                <a:moveTo>
                  <a:pt x="8136553" y="5504220"/>
                </a:moveTo>
                <a:lnTo>
                  <a:pt x="8146464" y="5504220"/>
                </a:lnTo>
                <a:lnTo>
                  <a:pt x="8150483" y="5508258"/>
                </a:lnTo>
                <a:lnTo>
                  <a:pt x="8150483" y="5518129"/>
                </a:lnTo>
                <a:lnTo>
                  <a:pt x="8146464" y="5522168"/>
                </a:lnTo>
                <a:lnTo>
                  <a:pt x="8136553" y="5522168"/>
                </a:lnTo>
                <a:lnTo>
                  <a:pt x="8132534" y="5518129"/>
                </a:lnTo>
                <a:lnTo>
                  <a:pt x="8132534" y="5508258"/>
                </a:lnTo>
                <a:close/>
                <a:moveTo>
                  <a:pt x="7897241" y="5504220"/>
                </a:moveTo>
                <a:lnTo>
                  <a:pt x="7907151" y="5504220"/>
                </a:lnTo>
                <a:lnTo>
                  <a:pt x="7911170" y="5508258"/>
                </a:lnTo>
                <a:lnTo>
                  <a:pt x="7911170" y="5518129"/>
                </a:lnTo>
                <a:lnTo>
                  <a:pt x="7907151" y="5522168"/>
                </a:lnTo>
                <a:lnTo>
                  <a:pt x="7897241" y="5522168"/>
                </a:lnTo>
                <a:lnTo>
                  <a:pt x="7893222" y="5518129"/>
                </a:lnTo>
                <a:lnTo>
                  <a:pt x="7893222" y="5508258"/>
                </a:lnTo>
                <a:close/>
                <a:moveTo>
                  <a:pt x="7657926" y="5504220"/>
                </a:moveTo>
                <a:lnTo>
                  <a:pt x="7667836" y="5504220"/>
                </a:lnTo>
                <a:lnTo>
                  <a:pt x="7671855" y="5508258"/>
                </a:lnTo>
                <a:lnTo>
                  <a:pt x="7671855" y="5518129"/>
                </a:lnTo>
                <a:lnTo>
                  <a:pt x="7667836" y="5522168"/>
                </a:lnTo>
                <a:lnTo>
                  <a:pt x="7657926" y="5522168"/>
                </a:lnTo>
                <a:lnTo>
                  <a:pt x="7653906" y="5518129"/>
                </a:lnTo>
                <a:lnTo>
                  <a:pt x="7653906" y="5508258"/>
                </a:lnTo>
                <a:close/>
                <a:moveTo>
                  <a:pt x="7418611" y="5504220"/>
                </a:moveTo>
                <a:lnTo>
                  <a:pt x="7428521" y="5504220"/>
                </a:lnTo>
                <a:lnTo>
                  <a:pt x="7432540" y="5508258"/>
                </a:lnTo>
                <a:lnTo>
                  <a:pt x="7432540" y="5518129"/>
                </a:lnTo>
                <a:lnTo>
                  <a:pt x="7428521" y="5522168"/>
                </a:lnTo>
                <a:lnTo>
                  <a:pt x="7418611" y="5522168"/>
                </a:lnTo>
                <a:lnTo>
                  <a:pt x="7414592" y="5518129"/>
                </a:lnTo>
                <a:lnTo>
                  <a:pt x="7414592" y="5508258"/>
                </a:lnTo>
                <a:close/>
                <a:moveTo>
                  <a:pt x="7179298" y="5504220"/>
                </a:moveTo>
                <a:lnTo>
                  <a:pt x="7189209" y="5504220"/>
                </a:lnTo>
                <a:lnTo>
                  <a:pt x="7193228" y="5508258"/>
                </a:lnTo>
                <a:lnTo>
                  <a:pt x="7193228" y="5518129"/>
                </a:lnTo>
                <a:lnTo>
                  <a:pt x="7189209" y="5522168"/>
                </a:lnTo>
                <a:lnTo>
                  <a:pt x="7179298" y="5522168"/>
                </a:lnTo>
                <a:lnTo>
                  <a:pt x="7175279" y="5518129"/>
                </a:lnTo>
                <a:lnTo>
                  <a:pt x="7175279" y="5508258"/>
                </a:lnTo>
                <a:close/>
                <a:moveTo>
                  <a:pt x="6939983" y="5504220"/>
                </a:moveTo>
                <a:lnTo>
                  <a:pt x="6949894" y="5504220"/>
                </a:lnTo>
                <a:lnTo>
                  <a:pt x="6953913" y="5508258"/>
                </a:lnTo>
                <a:lnTo>
                  <a:pt x="6953913" y="5518129"/>
                </a:lnTo>
                <a:lnTo>
                  <a:pt x="6949894" y="5522168"/>
                </a:lnTo>
                <a:lnTo>
                  <a:pt x="6939983" y="5522168"/>
                </a:lnTo>
                <a:lnTo>
                  <a:pt x="6935964" y="5518129"/>
                </a:lnTo>
                <a:lnTo>
                  <a:pt x="6935964" y="5508258"/>
                </a:lnTo>
                <a:close/>
                <a:moveTo>
                  <a:pt x="6700670" y="5504220"/>
                </a:moveTo>
                <a:lnTo>
                  <a:pt x="6710581" y="5504220"/>
                </a:lnTo>
                <a:lnTo>
                  <a:pt x="6714600" y="5508258"/>
                </a:lnTo>
                <a:lnTo>
                  <a:pt x="6714600" y="5518129"/>
                </a:lnTo>
                <a:lnTo>
                  <a:pt x="6710581" y="5522168"/>
                </a:lnTo>
                <a:lnTo>
                  <a:pt x="6700670" y="5522168"/>
                </a:lnTo>
                <a:lnTo>
                  <a:pt x="6696651" y="5518129"/>
                </a:lnTo>
                <a:lnTo>
                  <a:pt x="6696651" y="5508258"/>
                </a:lnTo>
                <a:close/>
                <a:moveTo>
                  <a:pt x="6461356" y="5504220"/>
                </a:moveTo>
                <a:lnTo>
                  <a:pt x="6471266" y="5504220"/>
                </a:lnTo>
                <a:lnTo>
                  <a:pt x="6475285" y="5508258"/>
                </a:lnTo>
                <a:lnTo>
                  <a:pt x="6475285" y="5518129"/>
                </a:lnTo>
                <a:lnTo>
                  <a:pt x="6471266" y="5522168"/>
                </a:lnTo>
                <a:lnTo>
                  <a:pt x="6461356" y="5522168"/>
                </a:lnTo>
                <a:lnTo>
                  <a:pt x="6457337" y="5518129"/>
                </a:lnTo>
                <a:lnTo>
                  <a:pt x="6457337" y="5508258"/>
                </a:lnTo>
                <a:close/>
                <a:moveTo>
                  <a:pt x="6222042" y="5504220"/>
                </a:moveTo>
                <a:lnTo>
                  <a:pt x="6231952" y="5504220"/>
                </a:lnTo>
                <a:lnTo>
                  <a:pt x="6235971" y="5508258"/>
                </a:lnTo>
                <a:lnTo>
                  <a:pt x="6235971" y="5518129"/>
                </a:lnTo>
                <a:lnTo>
                  <a:pt x="6231952" y="5522168"/>
                </a:lnTo>
                <a:lnTo>
                  <a:pt x="6222042" y="5522168"/>
                </a:lnTo>
                <a:lnTo>
                  <a:pt x="6218023" y="5518129"/>
                </a:lnTo>
                <a:lnTo>
                  <a:pt x="6218023" y="5508258"/>
                </a:lnTo>
                <a:close/>
                <a:moveTo>
                  <a:pt x="5982729" y="5504220"/>
                </a:moveTo>
                <a:lnTo>
                  <a:pt x="5992639" y="5504220"/>
                </a:lnTo>
                <a:lnTo>
                  <a:pt x="5996658" y="5508258"/>
                </a:lnTo>
                <a:lnTo>
                  <a:pt x="5996658" y="5518129"/>
                </a:lnTo>
                <a:lnTo>
                  <a:pt x="5992639" y="5522168"/>
                </a:lnTo>
                <a:lnTo>
                  <a:pt x="5982729" y="5522168"/>
                </a:lnTo>
                <a:lnTo>
                  <a:pt x="5978710" y="5518129"/>
                </a:lnTo>
                <a:lnTo>
                  <a:pt x="5978710" y="5508258"/>
                </a:lnTo>
                <a:close/>
                <a:moveTo>
                  <a:pt x="5743412" y="5504220"/>
                </a:moveTo>
                <a:lnTo>
                  <a:pt x="5753323" y="5504220"/>
                </a:lnTo>
                <a:lnTo>
                  <a:pt x="5757342" y="5508258"/>
                </a:lnTo>
                <a:lnTo>
                  <a:pt x="5757342" y="5518129"/>
                </a:lnTo>
                <a:lnTo>
                  <a:pt x="5753323" y="5522168"/>
                </a:lnTo>
                <a:lnTo>
                  <a:pt x="5743412" y="5522168"/>
                </a:lnTo>
                <a:lnTo>
                  <a:pt x="5739393" y="5518129"/>
                </a:lnTo>
                <a:lnTo>
                  <a:pt x="5739393" y="5508258"/>
                </a:lnTo>
                <a:close/>
                <a:moveTo>
                  <a:pt x="5504099" y="5504220"/>
                </a:moveTo>
                <a:lnTo>
                  <a:pt x="5514010" y="5504220"/>
                </a:lnTo>
                <a:lnTo>
                  <a:pt x="5518029" y="5508258"/>
                </a:lnTo>
                <a:lnTo>
                  <a:pt x="5518029" y="5518129"/>
                </a:lnTo>
                <a:lnTo>
                  <a:pt x="5514010" y="5522168"/>
                </a:lnTo>
                <a:lnTo>
                  <a:pt x="5504099" y="5522168"/>
                </a:lnTo>
                <a:lnTo>
                  <a:pt x="5500080" y="5518129"/>
                </a:lnTo>
                <a:lnTo>
                  <a:pt x="5500080" y="5508258"/>
                </a:lnTo>
                <a:close/>
                <a:moveTo>
                  <a:pt x="5264784" y="5504220"/>
                </a:moveTo>
                <a:lnTo>
                  <a:pt x="5274694" y="5504220"/>
                </a:lnTo>
                <a:lnTo>
                  <a:pt x="5278713" y="5508258"/>
                </a:lnTo>
                <a:lnTo>
                  <a:pt x="5278713" y="5518129"/>
                </a:lnTo>
                <a:lnTo>
                  <a:pt x="5274694" y="5522168"/>
                </a:lnTo>
                <a:lnTo>
                  <a:pt x="5264784" y="5522168"/>
                </a:lnTo>
                <a:lnTo>
                  <a:pt x="5260765" y="5518129"/>
                </a:lnTo>
                <a:lnTo>
                  <a:pt x="5260765" y="5508258"/>
                </a:lnTo>
                <a:close/>
                <a:moveTo>
                  <a:pt x="5025470" y="5504220"/>
                </a:moveTo>
                <a:lnTo>
                  <a:pt x="5035381" y="5504220"/>
                </a:lnTo>
                <a:lnTo>
                  <a:pt x="5039400" y="5508258"/>
                </a:lnTo>
                <a:lnTo>
                  <a:pt x="5039400" y="5518129"/>
                </a:lnTo>
                <a:lnTo>
                  <a:pt x="5035381" y="5522168"/>
                </a:lnTo>
                <a:lnTo>
                  <a:pt x="5025470" y="5522168"/>
                </a:lnTo>
                <a:lnTo>
                  <a:pt x="5021451" y="5518129"/>
                </a:lnTo>
                <a:lnTo>
                  <a:pt x="5021451" y="5508258"/>
                </a:lnTo>
                <a:close/>
                <a:moveTo>
                  <a:pt x="4786241" y="5504220"/>
                </a:moveTo>
                <a:lnTo>
                  <a:pt x="4796152" y="5504220"/>
                </a:lnTo>
                <a:lnTo>
                  <a:pt x="4800171" y="5508258"/>
                </a:lnTo>
                <a:lnTo>
                  <a:pt x="4800171" y="5518129"/>
                </a:lnTo>
                <a:lnTo>
                  <a:pt x="4796152" y="5522168"/>
                </a:lnTo>
                <a:lnTo>
                  <a:pt x="4786241" y="5522168"/>
                </a:lnTo>
                <a:lnTo>
                  <a:pt x="4782224" y="5518129"/>
                </a:lnTo>
                <a:lnTo>
                  <a:pt x="4782224" y="5508258"/>
                </a:lnTo>
                <a:close/>
                <a:moveTo>
                  <a:pt x="4546929" y="5504220"/>
                </a:moveTo>
                <a:lnTo>
                  <a:pt x="4556840" y="5504220"/>
                </a:lnTo>
                <a:lnTo>
                  <a:pt x="4560859" y="5508258"/>
                </a:lnTo>
                <a:lnTo>
                  <a:pt x="4560859" y="5518129"/>
                </a:lnTo>
                <a:lnTo>
                  <a:pt x="4556840" y="5522168"/>
                </a:lnTo>
                <a:lnTo>
                  <a:pt x="4546929" y="5522168"/>
                </a:lnTo>
                <a:lnTo>
                  <a:pt x="4542910" y="5518129"/>
                </a:lnTo>
                <a:lnTo>
                  <a:pt x="4542910" y="5508258"/>
                </a:lnTo>
                <a:close/>
                <a:moveTo>
                  <a:pt x="4307612" y="5504220"/>
                </a:moveTo>
                <a:lnTo>
                  <a:pt x="4317523" y="5504220"/>
                </a:lnTo>
                <a:lnTo>
                  <a:pt x="4321543" y="5508258"/>
                </a:lnTo>
                <a:lnTo>
                  <a:pt x="4321543" y="5518129"/>
                </a:lnTo>
                <a:lnTo>
                  <a:pt x="4317523" y="5522168"/>
                </a:lnTo>
                <a:lnTo>
                  <a:pt x="4307612" y="5522168"/>
                </a:lnTo>
                <a:lnTo>
                  <a:pt x="4303595" y="5518129"/>
                </a:lnTo>
                <a:lnTo>
                  <a:pt x="4303595" y="5508258"/>
                </a:lnTo>
                <a:close/>
                <a:moveTo>
                  <a:pt x="4068297" y="5504220"/>
                </a:moveTo>
                <a:lnTo>
                  <a:pt x="4078210" y="5504220"/>
                </a:lnTo>
                <a:lnTo>
                  <a:pt x="4082229" y="5508258"/>
                </a:lnTo>
                <a:lnTo>
                  <a:pt x="4082229" y="5518129"/>
                </a:lnTo>
                <a:lnTo>
                  <a:pt x="4078210" y="5522168"/>
                </a:lnTo>
                <a:lnTo>
                  <a:pt x="4068297" y="5522168"/>
                </a:lnTo>
                <a:lnTo>
                  <a:pt x="4064278" y="5518129"/>
                </a:lnTo>
                <a:lnTo>
                  <a:pt x="4064278" y="5508258"/>
                </a:lnTo>
                <a:close/>
                <a:moveTo>
                  <a:pt x="3828990" y="5504220"/>
                </a:moveTo>
                <a:lnTo>
                  <a:pt x="3838899" y="5504220"/>
                </a:lnTo>
                <a:lnTo>
                  <a:pt x="3842917" y="5508258"/>
                </a:lnTo>
                <a:lnTo>
                  <a:pt x="3842917" y="5518129"/>
                </a:lnTo>
                <a:lnTo>
                  <a:pt x="3838899" y="5522168"/>
                </a:lnTo>
                <a:lnTo>
                  <a:pt x="3828990" y="5522168"/>
                </a:lnTo>
                <a:lnTo>
                  <a:pt x="3824971" y="5518129"/>
                </a:lnTo>
                <a:lnTo>
                  <a:pt x="3824971" y="5508258"/>
                </a:lnTo>
                <a:close/>
                <a:moveTo>
                  <a:pt x="3589676" y="5504220"/>
                </a:moveTo>
                <a:lnTo>
                  <a:pt x="3599585" y="5504220"/>
                </a:lnTo>
                <a:lnTo>
                  <a:pt x="3603604" y="5508258"/>
                </a:lnTo>
                <a:lnTo>
                  <a:pt x="3603604" y="5518129"/>
                </a:lnTo>
                <a:lnTo>
                  <a:pt x="3599585" y="5522168"/>
                </a:lnTo>
                <a:lnTo>
                  <a:pt x="3589676" y="5522168"/>
                </a:lnTo>
                <a:lnTo>
                  <a:pt x="3585657" y="5518129"/>
                </a:lnTo>
                <a:lnTo>
                  <a:pt x="3585657" y="5508258"/>
                </a:lnTo>
                <a:close/>
                <a:moveTo>
                  <a:pt x="3350359" y="5504220"/>
                </a:moveTo>
                <a:lnTo>
                  <a:pt x="3360268" y="5504220"/>
                </a:lnTo>
                <a:lnTo>
                  <a:pt x="3364287" y="5508258"/>
                </a:lnTo>
                <a:lnTo>
                  <a:pt x="3364287" y="5518129"/>
                </a:lnTo>
                <a:lnTo>
                  <a:pt x="3360268" y="5522168"/>
                </a:lnTo>
                <a:lnTo>
                  <a:pt x="3350359" y="5522168"/>
                </a:lnTo>
                <a:lnTo>
                  <a:pt x="3346340" y="5518129"/>
                </a:lnTo>
                <a:lnTo>
                  <a:pt x="3346340" y="5508258"/>
                </a:lnTo>
                <a:close/>
                <a:moveTo>
                  <a:pt x="3111048" y="5504220"/>
                </a:moveTo>
                <a:lnTo>
                  <a:pt x="3120959" y="5504220"/>
                </a:lnTo>
                <a:lnTo>
                  <a:pt x="3124977" y="5508258"/>
                </a:lnTo>
                <a:lnTo>
                  <a:pt x="3124977" y="5518129"/>
                </a:lnTo>
                <a:lnTo>
                  <a:pt x="3120959" y="5522168"/>
                </a:lnTo>
                <a:lnTo>
                  <a:pt x="3111048" y="5522168"/>
                </a:lnTo>
                <a:lnTo>
                  <a:pt x="3107029" y="5518129"/>
                </a:lnTo>
                <a:lnTo>
                  <a:pt x="3107029" y="5508258"/>
                </a:lnTo>
                <a:close/>
                <a:moveTo>
                  <a:pt x="2871737" y="5504220"/>
                </a:moveTo>
                <a:lnTo>
                  <a:pt x="2881646" y="5504220"/>
                </a:lnTo>
                <a:lnTo>
                  <a:pt x="2885666" y="5508258"/>
                </a:lnTo>
                <a:lnTo>
                  <a:pt x="2885666" y="5518129"/>
                </a:lnTo>
                <a:lnTo>
                  <a:pt x="2881646" y="5522168"/>
                </a:lnTo>
                <a:lnTo>
                  <a:pt x="2871737" y="5522168"/>
                </a:lnTo>
                <a:lnTo>
                  <a:pt x="2867717" y="5518129"/>
                </a:lnTo>
                <a:lnTo>
                  <a:pt x="2867717" y="5508258"/>
                </a:lnTo>
                <a:close/>
                <a:moveTo>
                  <a:pt x="2632423" y="5504220"/>
                </a:moveTo>
                <a:lnTo>
                  <a:pt x="2642334" y="5504220"/>
                </a:lnTo>
                <a:lnTo>
                  <a:pt x="2646352" y="5508258"/>
                </a:lnTo>
                <a:lnTo>
                  <a:pt x="2646352" y="5518129"/>
                </a:lnTo>
                <a:lnTo>
                  <a:pt x="2642334" y="5522168"/>
                </a:lnTo>
                <a:lnTo>
                  <a:pt x="2632423" y="5522168"/>
                </a:lnTo>
                <a:lnTo>
                  <a:pt x="2628404" y="5518129"/>
                </a:lnTo>
                <a:lnTo>
                  <a:pt x="2628404" y="5508258"/>
                </a:lnTo>
                <a:close/>
                <a:moveTo>
                  <a:pt x="2393104" y="5504220"/>
                </a:moveTo>
                <a:lnTo>
                  <a:pt x="2403015" y="5504220"/>
                </a:lnTo>
                <a:lnTo>
                  <a:pt x="2407034" y="5508258"/>
                </a:lnTo>
                <a:lnTo>
                  <a:pt x="2407034" y="5518129"/>
                </a:lnTo>
                <a:lnTo>
                  <a:pt x="2403015" y="5522168"/>
                </a:lnTo>
                <a:lnTo>
                  <a:pt x="2393104" y="5522168"/>
                </a:lnTo>
                <a:lnTo>
                  <a:pt x="2389087" y="5518129"/>
                </a:lnTo>
                <a:lnTo>
                  <a:pt x="2389087" y="5508258"/>
                </a:lnTo>
                <a:close/>
                <a:moveTo>
                  <a:pt x="2157818" y="5504220"/>
                </a:moveTo>
                <a:lnTo>
                  <a:pt x="2167728" y="5504220"/>
                </a:lnTo>
                <a:lnTo>
                  <a:pt x="2171748" y="5508258"/>
                </a:lnTo>
                <a:lnTo>
                  <a:pt x="2171748" y="5518129"/>
                </a:lnTo>
                <a:lnTo>
                  <a:pt x="2167728" y="5522168"/>
                </a:lnTo>
                <a:lnTo>
                  <a:pt x="2157818" y="5522168"/>
                </a:lnTo>
                <a:lnTo>
                  <a:pt x="2153799" y="5518129"/>
                </a:lnTo>
                <a:lnTo>
                  <a:pt x="2153799" y="5508258"/>
                </a:lnTo>
                <a:close/>
                <a:moveTo>
                  <a:pt x="1918510" y="5504220"/>
                </a:moveTo>
                <a:lnTo>
                  <a:pt x="1928420" y="5504220"/>
                </a:lnTo>
                <a:lnTo>
                  <a:pt x="1932438" y="5508258"/>
                </a:lnTo>
                <a:lnTo>
                  <a:pt x="1932438" y="5518129"/>
                </a:lnTo>
                <a:lnTo>
                  <a:pt x="1928420" y="5522168"/>
                </a:lnTo>
                <a:lnTo>
                  <a:pt x="1918510" y="5522168"/>
                </a:lnTo>
                <a:lnTo>
                  <a:pt x="1914490" y="5518129"/>
                </a:lnTo>
                <a:lnTo>
                  <a:pt x="1914490" y="5508258"/>
                </a:lnTo>
                <a:close/>
                <a:moveTo>
                  <a:pt x="1679202" y="5504220"/>
                </a:moveTo>
                <a:lnTo>
                  <a:pt x="1689112" y="5504220"/>
                </a:lnTo>
                <a:lnTo>
                  <a:pt x="1693132" y="5508258"/>
                </a:lnTo>
                <a:lnTo>
                  <a:pt x="1693132" y="5518129"/>
                </a:lnTo>
                <a:lnTo>
                  <a:pt x="1689112" y="5522168"/>
                </a:lnTo>
                <a:lnTo>
                  <a:pt x="1679202" y="5522168"/>
                </a:lnTo>
                <a:lnTo>
                  <a:pt x="1675184" y="5518129"/>
                </a:lnTo>
                <a:lnTo>
                  <a:pt x="1675184" y="5508258"/>
                </a:lnTo>
                <a:close/>
                <a:moveTo>
                  <a:pt x="1439887" y="5504220"/>
                </a:moveTo>
                <a:lnTo>
                  <a:pt x="1449797" y="5504220"/>
                </a:lnTo>
                <a:lnTo>
                  <a:pt x="1453815" y="5508258"/>
                </a:lnTo>
                <a:lnTo>
                  <a:pt x="1453815" y="5518129"/>
                </a:lnTo>
                <a:lnTo>
                  <a:pt x="1449797" y="5522168"/>
                </a:lnTo>
                <a:lnTo>
                  <a:pt x="1439887" y="5522168"/>
                </a:lnTo>
                <a:lnTo>
                  <a:pt x="1435869" y="5518129"/>
                </a:lnTo>
                <a:lnTo>
                  <a:pt x="1435869" y="5508258"/>
                </a:lnTo>
                <a:close/>
                <a:moveTo>
                  <a:pt x="1200572" y="5504220"/>
                </a:moveTo>
                <a:lnTo>
                  <a:pt x="1210483" y="5504220"/>
                </a:lnTo>
                <a:lnTo>
                  <a:pt x="1214501" y="5508258"/>
                </a:lnTo>
                <a:lnTo>
                  <a:pt x="1214501" y="5518129"/>
                </a:lnTo>
                <a:lnTo>
                  <a:pt x="1210483" y="5522168"/>
                </a:lnTo>
                <a:lnTo>
                  <a:pt x="1200572" y="5522168"/>
                </a:lnTo>
                <a:lnTo>
                  <a:pt x="1196554" y="5518129"/>
                </a:lnTo>
                <a:lnTo>
                  <a:pt x="1196554" y="5508258"/>
                </a:lnTo>
                <a:close/>
                <a:moveTo>
                  <a:pt x="961260" y="5504220"/>
                </a:moveTo>
                <a:lnTo>
                  <a:pt x="971169" y="5504220"/>
                </a:lnTo>
                <a:lnTo>
                  <a:pt x="975189" y="5508258"/>
                </a:lnTo>
                <a:lnTo>
                  <a:pt x="975189" y="5518129"/>
                </a:lnTo>
                <a:lnTo>
                  <a:pt x="971169" y="5522168"/>
                </a:lnTo>
                <a:lnTo>
                  <a:pt x="961260" y="5522168"/>
                </a:lnTo>
                <a:lnTo>
                  <a:pt x="957241" y="5518129"/>
                </a:lnTo>
                <a:lnTo>
                  <a:pt x="957241" y="5508258"/>
                </a:lnTo>
                <a:close/>
                <a:moveTo>
                  <a:pt x="721961" y="5504220"/>
                </a:moveTo>
                <a:lnTo>
                  <a:pt x="731871" y="5504220"/>
                </a:lnTo>
                <a:lnTo>
                  <a:pt x="735890" y="5508258"/>
                </a:lnTo>
                <a:lnTo>
                  <a:pt x="735890" y="5518129"/>
                </a:lnTo>
                <a:lnTo>
                  <a:pt x="731871" y="5522168"/>
                </a:lnTo>
                <a:lnTo>
                  <a:pt x="721961" y="5522168"/>
                </a:lnTo>
                <a:lnTo>
                  <a:pt x="717942" y="5518129"/>
                </a:lnTo>
                <a:lnTo>
                  <a:pt x="717942" y="5508258"/>
                </a:lnTo>
                <a:close/>
                <a:moveTo>
                  <a:pt x="482649" y="5504220"/>
                </a:moveTo>
                <a:lnTo>
                  <a:pt x="492559" y="5504220"/>
                </a:lnTo>
                <a:lnTo>
                  <a:pt x="496578" y="5508258"/>
                </a:lnTo>
                <a:lnTo>
                  <a:pt x="496578" y="5518129"/>
                </a:lnTo>
                <a:lnTo>
                  <a:pt x="492559" y="5522168"/>
                </a:lnTo>
                <a:lnTo>
                  <a:pt x="482649" y="5522168"/>
                </a:lnTo>
                <a:lnTo>
                  <a:pt x="478630" y="5518129"/>
                </a:lnTo>
                <a:lnTo>
                  <a:pt x="478630" y="5508258"/>
                </a:lnTo>
                <a:close/>
                <a:moveTo>
                  <a:pt x="243335" y="5504220"/>
                </a:moveTo>
                <a:lnTo>
                  <a:pt x="253245" y="5504220"/>
                </a:lnTo>
                <a:lnTo>
                  <a:pt x="257264" y="5508258"/>
                </a:lnTo>
                <a:lnTo>
                  <a:pt x="257264" y="5518129"/>
                </a:lnTo>
                <a:lnTo>
                  <a:pt x="253245" y="5522168"/>
                </a:lnTo>
                <a:lnTo>
                  <a:pt x="243335" y="5522168"/>
                </a:lnTo>
                <a:lnTo>
                  <a:pt x="239316" y="5518129"/>
                </a:lnTo>
                <a:lnTo>
                  <a:pt x="239316" y="5508258"/>
                </a:lnTo>
                <a:close/>
                <a:moveTo>
                  <a:pt x="4022" y="5504220"/>
                </a:moveTo>
                <a:lnTo>
                  <a:pt x="13932" y="5504220"/>
                </a:lnTo>
                <a:lnTo>
                  <a:pt x="17951" y="5508258"/>
                </a:lnTo>
                <a:lnTo>
                  <a:pt x="17951" y="5518129"/>
                </a:lnTo>
                <a:lnTo>
                  <a:pt x="13932" y="5522168"/>
                </a:lnTo>
                <a:lnTo>
                  <a:pt x="4022" y="5522168"/>
                </a:lnTo>
                <a:lnTo>
                  <a:pt x="3" y="5518129"/>
                </a:lnTo>
                <a:lnTo>
                  <a:pt x="3" y="5508258"/>
                </a:lnTo>
                <a:close/>
                <a:moveTo>
                  <a:pt x="2157818" y="5264940"/>
                </a:moveTo>
                <a:lnTo>
                  <a:pt x="2167729" y="5264940"/>
                </a:lnTo>
                <a:lnTo>
                  <a:pt x="2171748" y="5268978"/>
                </a:lnTo>
                <a:lnTo>
                  <a:pt x="2171748" y="5278849"/>
                </a:lnTo>
                <a:lnTo>
                  <a:pt x="2167729" y="5282888"/>
                </a:lnTo>
                <a:lnTo>
                  <a:pt x="2157818" y="5282888"/>
                </a:lnTo>
                <a:lnTo>
                  <a:pt x="2153799" y="5278849"/>
                </a:lnTo>
                <a:lnTo>
                  <a:pt x="2153799" y="5268978"/>
                </a:lnTo>
                <a:close/>
                <a:moveTo>
                  <a:pt x="1918510" y="5264940"/>
                </a:moveTo>
                <a:lnTo>
                  <a:pt x="1928420" y="5264940"/>
                </a:lnTo>
                <a:lnTo>
                  <a:pt x="1932438" y="5268978"/>
                </a:lnTo>
                <a:lnTo>
                  <a:pt x="1932438" y="5278849"/>
                </a:lnTo>
                <a:lnTo>
                  <a:pt x="1928420" y="5282888"/>
                </a:lnTo>
                <a:lnTo>
                  <a:pt x="1918510" y="5282888"/>
                </a:lnTo>
                <a:lnTo>
                  <a:pt x="1914492" y="5278849"/>
                </a:lnTo>
                <a:lnTo>
                  <a:pt x="1914492" y="5268978"/>
                </a:lnTo>
                <a:close/>
                <a:moveTo>
                  <a:pt x="1679204" y="5264940"/>
                </a:moveTo>
                <a:lnTo>
                  <a:pt x="1689113" y="5264940"/>
                </a:lnTo>
                <a:lnTo>
                  <a:pt x="1693132" y="5268978"/>
                </a:lnTo>
                <a:lnTo>
                  <a:pt x="1693132" y="5278849"/>
                </a:lnTo>
                <a:lnTo>
                  <a:pt x="1689113" y="5282888"/>
                </a:lnTo>
                <a:lnTo>
                  <a:pt x="1679204" y="5282888"/>
                </a:lnTo>
                <a:lnTo>
                  <a:pt x="1675184" y="5278849"/>
                </a:lnTo>
                <a:lnTo>
                  <a:pt x="1675184" y="5268978"/>
                </a:lnTo>
                <a:close/>
                <a:moveTo>
                  <a:pt x="1439889" y="5264940"/>
                </a:moveTo>
                <a:lnTo>
                  <a:pt x="1449798" y="5264940"/>
                </a:lnTo>
                <a:lnTo>
                  <a:pt x="1453817" y="5268978"/>
                </a:lnTo>
                <a:lnTo>
                  <a:pt x="1453817" y="5278849"/>
                </a:lnTo>
                <a:lnTo>
                  <a:pt x="1449798" y="5282888"/>
                </a:lnTo>
                <a:lnTo>
                  <a:pt x="1439889" y="5282888"/>
                </a:lnTo>
                <a:lnTo>
                  <a:pt x="1435869" y="5278849"/>
                </a:lnTo>
                <a:lnTo>
                  <a:pt x="1435869" y="5268978"/>
                </a:lnTo>
                <a:close/>
                <a:moveTo>
                  <a:pt x="1200573" y="5264940"/>
                </a:moveTo>
                <a:lnTo>
                  <a:pt x="1210483" y="5264940"/>
                </a:lnTo>
                <a:lnTo>
                  <a:pt x="1214502" y="5268978"/>
                </a:lnTo>
                <a:lnTo>
                  <a:pt x="1214502" y="5278849"/>
                </a:lnTo>
                <a:lnTo>
                  <a:pt x="1210483" y="5282888"/>
                </a:lnTo>
                <a:lnTo>
                  <a:pt x="1200573" y="5282888"/>
                </a:lnTo>
                <a:lnTo>
                  <a:pt x="1196554" y="5278849"/>
                </a:lnTo>
                <a:lnTo>
                  <a:pt x="1196554" y="5268978"/>
                </a:lnTo>
                <a:close/>
                <a:moveTo>
                  <a:pt x="961260" y="5264940"/>
                </a:moveTo>
                <a:lnTo>
                  <a:pt x="971171" y="5264940"/>
                </a:lnTo>
                <a:lnTo>
                  <a:pt x="975189" y="5268978"/>
                </a:lnTo>
                <a:lnTo>
                  <a:pt x="975189" y="5278849"/>
                </a:lnTo>
                <a:lnTo>
                  <a:pt x="971171" y="5282888"/>
                </a:lnTo>
                <a:lnTo>
                  <a:pt x="961260" y="5282888"/>
                </a:lnTo>
                <a:lnTo>
                  <a:pt x="957241" y="5278849"/>
                </a:lnTo>
                <a:lnTo>
                  <a:pt x="957241" y="5268978"/>
                </a:lnTo>
                <a:close/>
                <a:moveTo>
                  <a:pt x="9572438" y="5264889"/>
                </a:moveTo>
                <a:lnTo>
                  <a:pt x="9582349" y="5264889"/>
                </a:lnTo>
                <a:lnTo>
                  <a:pt x="9586368" y="5268928"/>
                </a:lnTo>
                <a:lnTo>
                  <a:pt x="9586368" y="5278799"/>
                </a:lnTo>
                <a:lnTo>
                  <a:pt x="9582349" y="5282838"/>
                </a:lnTo>
                <a:lnTo>
                  <a:pt x="9572438" y="5282838"/>
                </a:lnTo>
                <a:lnTo>
                  <a:pt x="9568419" y="5278799"/>
                </a:lnTo>
                <a:lnTo>
                  <a:pt x="9568419" y="5268928"/>
                </a:lnTo>
                <a:close/>
                <a:moveTo>
                  <a:pt x="9333125" y="5264889"/>
                </a:moveTo>
                <a:lnTo>
                  <a:pt x="9343036" y="5264889"/>
                </a:lnTo>
                <a:lnTo>
                  <a:pt x="9347055" y="5268928"/>
                </a:lnTo>
                <a:lnTo>
                  <a:pt x="9347055" y="5278799"/>
                </a:lnTo>
                <a:lnTo>
                  <a:pt x="9343036" y="5282838"/>
                </a:lnTo>
                <a:lnTo>
                  <a:pt x="9333125" y="5282838"/>
                </a:lnTo>
                <a:lnTo>
                  <a:pt x="9329106" y="5278799"/>
                </a:lnTo>
                <a:lnTo>
                  <a:pt x="9329106" y="5268928"/>
                </a:lnTo>
                <a:close/>
                <a:moveTo>
                  <a:pt x="9093811" y="5264889"/>
                </a:moveTo>
                <a:lnTo>
                  <a:pt x="9103722" y="5264889"/>
                </a:lnTo>
                <a:lnTo>
                  <a:pt x="9107741" y="5268928"/>
                </a:lnTo>
                <a:lnTo>
                  <a:pt x="9107741" y="5278799"/>
                </a:lnTo>
                <a:lnTo>
                  <a:pt x="9103722" y="5282838"/>
                </a:lnTo>
                <a:lnTo>
                  <a:pt x="9093811" y="5282838"/>
                </a:lnTo>
                <a:lnTo>
                  <a:pt x="9089792" y="5278799"/>
                </a:lnTo>
                <a:lnTo>
                  <a:pt x="9089792" y="5268928"/>
                </a:lnTo>
                <a:close/>
                <a:moveTo>
                  <a:pt x="8854496" y="5264889"/>
                </a:moveTo>
                <a:lnTo>
                  <a:pt x="8864407" y="5264889"/>
                </a:lnTo>
                <a:lnTo>
                  <a:pt x="8868426" y="5268928"/>
                </a:lnTo>
                <a:lnTo>
                  <a:pt x="8868426" y="5278799"/>
                </a:lnTo>
                <a:lnTo>
                  <a:pt x="8864407" y="5282838"/>
                </a:lnTo>
                <a:lnTo>
                  <a:pt x="8854496" y="5282838"/>
                </a:lnTo>
                <a:lnTo>
                  <a:pt x="8850477" y="5278799"/>
                </a:lnTo>
                <a:lnTo>
                  <a:pt x="8850477" y="5268928"/>
                </a:lnTo>
                <a:close/>
                <a:moveTo>
                  <a:pt x="8615184" y="5264889"/>
                </a:moveTo>
                <a:lnTo>
                  <a:pt x="8625095" y="5264889"/>
                </a:lnTo>
                <a:lnTo>
                  <a:pt x="8629114" y="5268928"/>
                </a:lnTo>
                <a:lnTo>
                  <a:pt x="8629114" y="5278799"/>
                </a:lnTo>
                <a:lnTo>
                  <a:pt x="8625095" y="5282838"/>
                </a:lnTo>
                <a:lnTo>
                  <a:pt x="8615184" y="5282838"/>
                </a:lnTo>
                <a:lnTo>
                  <a:pt x="8611165" y="5278799"/>
                </a:lnTo>
                <a:lnTo>
                  <a:pt x="8611165" y="5268928"/>
                </a:lnTo>
                <a:close/>
                <a:moveTo>
                  <a:pt x="8375869" y="5264889"/>
                </a:moveTo>
                <a:lnTo>
                  <a:pt x="8385779" y="5264889"/>
                </a:lnTo>
                <a:lnTo>
                  <a:pt x="8389799" y="5268928"/>
                </a:lnTo>
                <a:lnTo>
                  <a:pt x="8389799" y="5278799"/>
                </a:lnTo>
                <a:lnTo>
                  <a:pt x="8385779" y="5282838"/>
                </a:lnTo>
                <a:lnTo>
                  <a:pt x="8375869" y="5282838"/>
                </a:lnTo>
                <a:lnTo>
                  <a:pt x="8371850" y="5278799"/>
                </a:lnTo>
                <a:lnTo>
                  <a:pt x="8371850" y="5268928"/>
                </a:lnTo>
                <a:close/>
                <a:moveTo>
                  <a:pt x="8136553" y="5264889"/>
                </a:moveTo>
                <a:lnTo>
                  <a:pt x="8146464" y="5264889"/>
                </a:lnTo>
                <a:lnTo>
                  <a:pt x="8150483" y="5268928"/>
                </a:lnTo>
                <a:lnTo>
                  <a:pt x="8150483" y="5278799"/>
                </a:lnTo>
                <a:lnTo>
                  <a:pt x="8146464" y="5282838"/>
                </a:lnTo>
                <a:lnTo>
                  <a:pt x="8136553" y="5282838"/>
                </a:lnTo>
                <a:lnTo>
                  <a:pt x="8132534" y="5278799"/>
                </a:lnTo>
                <a:lnTo>
                  <a:pt x="8132534" y="5268928"/>
                </a:lnTo>
                <a:close/>
                <a:moveTo>
                  <a:pt x="7897241" y="5264889"/>
                </a:moveTo>
                <a:lnTo>
                  <a:pt x="7907151" y="5264889"/>
                </a:lnTo>
                <a:lnTo>
                  <a:pt x="7911170" y="5268928"/>
                </a:lnTo>
                <a:lnTo>
                  <a:pt x="7911170" y="5278799"/>
                </a:lnTo>
                <a:lnTo>
                  <a:pt x="7907151" y="5282838"/>
                </a:lnTo>
                <a:lnTo>
                  <a:pt x="7897241" y="5282838"/>
                </a:lnTo>
                <a:lnTo>
                  <a:pt x="7893222" y="5278799"/>
                </a:lnTo>
                <a:lnTo>
                  <a:pt x="7893222" y="5268928"/>
                </a:lnTo>
                <a:close/>
                <a:moveTo>
                  <a:pt x="7657926" y="5264889"/>
                </a:moveTo>
                <a:lnTo>
                  <a:pt x="7667836" y="5264889"/>
                </a:lnTo>
                <a:lnTo>
                  <a:pt x="7671855" y="5268928"/>
                </a:lnTo>
                <a:lnTo>
                  <a:pt x="7671855" y="5278799"/>
                </a:lnTo>
                <a:lnTo>
                  <a:pt x="7667836" y="5282838"/>
                </a:lnTo>
                <a:lnTo>
                  <a:pt x="7657926" y="5282838"/>
                </a:lnTo>
                <a:lnTo>
                  <a:pt x="7653906" y="5278799"/>
                </a:lnTo>
                <a:lnTo>
                  <a:pt x="7653906" y="5268928"/>
                </a:lnTo>
                <a:close/>
                <a:moveTo>
                  <a:pt x="7418611" y="5264889"/>
                </a:moveTo>
                <a:lnTo>
                  <a:pt x="7428521" y="5264889"/>
                </a:lnTo>
                <a:lnTo>
                  <a:pt x="7432540" y="5268928"/>
                </a:lnTo>
                <a:lnTo>
                  <a:pt x="7432540" y="5278799"/>
                </a:lnTo>
                <a:lnTo>
                  <a:pt x="7428521" y="5282838"/>
                </a:lnTo>
                <a:lnTo>
                  <a:pt x="7418611" y="5282838"/>
                </a:lnTo>
                <a:lnTo>
                  <a:pt x="7414592" y="5278799"/>
                </a:lnTo>
                <a:lnTo>
                  <a:pt x="7414592" y="5268928"/>
                </a:lnTo>
                <a:close/>
                <a:moveTo>
                  <a:pt x="7179298" y="5264889"/>
                </a:moveTo>
                <a:lnTo>
                  <a:pt x="7189209" y="5264889"/>
                </a:lnTo>
                <a:lnTo>
                  <a:pt x="7193228" y="5268928"/>
                </a:lnTo>
                <a:lnTo>
                  <a:pt x="7193228" y="5278799"/>
                </a:lnTo>
                <a:lnTo>
                  <a:pt x="7189209" y="5282838"/>
                </a:lnTo>
                <a:lnTo>
                  <a:pt x="7179298" y="5282838"/>
                </a:lnTo>
                <a:lnTo>
                  <a:pt x="7175279" y="5278799"/>
                </a:lnTo>
                <a:lnTo>
                  <a:pt x="7175279" y="5268928"/>
                </a:lnTo>
                <a:close/>
                <a:moveTo>
                  <a:pt x="6939983" y="5264889"/>
                </a:moveTo>
                <a:lnTo>
                  <a:pt x="6949894" y="5264889"/>
                </a:lnTo>
                <a:lnTo>
                  <a:pt x="6953913" y="5268928"/>
                </a:lnTo>
                <a:lnTo>
                  <a:pt x="6953913" y="5278799"/>
                </a:lnTo>
                <a:lnTo>
                  <a:pt x="6949894" y="5282838"/>
                </a:lnTo>
                <a:lnTo>
                  <a:pt x="6939983" y="5282838"/>
                </a:lnTo>
                <a:lnTo>
                  <a:pt x="6935964" y="5278799"/>
                </a:lnTo>
                <a:lnTo>
                  <a:pt x="6935964" y="5268928"/>
                </a:lnTo>
                <a:close/>
                <a:moveTo>
                  <a:pt x="6700670" y="5264889"/>
                </a:moveTo>
                <a:lnTo>
                  <a:pt x="6710581" y="5264889"/>
                </a:lnTo>
                <a:lnTo>
                  <a:pt x="6714600" y="5268928"/>
                </a:lnTo>
                <a:lnTo>
                  <a:pt x="6714600" y="5278799"/>
                </a:lnTo>
                <a:lnTo>
                  <a:pt x="6710581" y="5282838"/>
                </a:lnTo>
                <a:lnTo>
                  <a:pt x="6700670" y="5282838"/>
                </a:lnTo>
                <a:lnTo>
                  <a:pt x="6696651" y="5278799"/>
                </a:lnTo>
                <a:lnTo>
                  <a:pt x="6696651" y="5268928"/>
                </a:lnTo>
                <a:close/>
                <a:moveTo>
                  <a:pt x="6461356" y="5264889"/>
                </a:moveTo>
                <a:lnTo>
                  <a:pt x="6471266" y="5264889"/>
                </a:lnTo>
                <a:lnTo>
                  <a:pt x="6475285" y="5268928"/>
                </a:lnTo>
                <a:lnTo>
                  <a:pt x="6475285" y="5278799"/>
                </a:lnTo>
                <a:lnTo>
                  <a:pt x="6471266" y="5282838"/>
                </a:lnTo>
                <a:lnTo>
                  <a:pt x="6461356" y="5282838"/>
                </a:lnTo>
                <a:lnTo>
                  <a:pt x="6457337" y="5278799"/>
                </a:lnTo>
                <a:lnTo>
                  <a:pt x="6457337" y="5268928"/>
                </a:lnTo>
                <a:close/>
                <a:moveTo>
                  <a:pt x="6222042" y="5264889"/>
                </a:moveTo>
                <a:lnTo>
                  <a:pt x="6231952" y="5264889"/>
                </a:lnTo>
                <a:lnTo>
                  <a:pt x="6235971" y="5268928"/>
                </a:lnTo>
                <a:lnTo>
                  <a:pt x="6235971" y="5278799"/>
                </a:lnTo>
                <a:lnTo>
                  <a:pt x="6231952" y="5282838"/>
                </a:lnTo>
                <a:lnTo>
                  <a:pt x="6222042" y="5282838"/>
                </a:lnTo>
                <a:lnTo>
                  <a:pt x="6218023" y="5278799"/>
                </a:lnTo>
                <a:lnTo>
                  <a:pt x="6218023" y="5268928"/>
                </a:lnTo>
                <a:close/>
                <a:moveTo>
                  <a:pt x="5982729" y="5264889"/>
                </a:moveTo>
                <a:lnTo>
                  <a:pt x="5992639" y="5264889"/>
                </a:lnTo>
                <a:lnTo>
                  <a:pt x="5996658" y="5268928"/>
                </a:lnTo>
                <a:lnTo>
                  <a:pt x="5996658" y="5278799"/>
                </a:lnTo>
                <a:lnTo>
                  <a:pt x="5992639" y="5282838"/>
                </a:lnTo>
                <a:lnTo>
                  <a:pt x="5982729" y="5282838"/>
                </a:lnTo>
                <a:lnTo>
                  <a:pt x="5978710" y="5278799"/>
                </a:lnTo>
                <a:lnTo>
                  <a:pt x="5978710" y="5268928"/>
                </a:lnTo>
                <a:close/>
                <a:moveTo>
                  <a:pt x="5743412" y="5264889"/>
                </a:moveTo>
                <a:lnTo>
                  <a:pt x="5753323" y="5264889"/>
                </a:lnTo>
                <a:lnTo>
                  <a:pt x="5757342" y="5268928"/>
                </a:lnTo>
                <a:lnTo>
                  <a:pt x="5757342" y="5278799"/>
                </a:lnTo>
                <a:lnTo>
                  <a:pt x="5753323" y="5282838"/>
                </a:lnTo>
                <a:lnTo>
                  <a:pt x="5743412" y="5282838"/>
                </a:lnTo>
                <a:lnTo>
                  <a:pt x="5739393" y="5278799"/>
                </a:lnTo>
                <a:lnTo>
                  <a:pt x="5739393" y="5268928"/>
                </a:lnTo>
                <a:close/>
                <a:moveTo>
                  <a:pt x="5504099" y="5264889"/>
                </a:moveTo>
                <a:lnTo>
                  <a:pt x="5514010" y="5264889"/>
                </a:lnTo>
                <a:lnTo>
                  <a:pt x="5518029" y="5268928"/>
                </a:lnTo>
                <a:lnTo>
                  <a:pt x="5518029" y="5278799"/>
                </a:lnTo>
                <a:lnTo>
                  <a:pt x="5514010" y="5282838"/>
                </a:lnTo>
                <a:lnTo>
                  <a:pt x="5504099" y="5282838"/>
                </a:lnTo>
                <a:lnTo>
                  <a:pt x="5500080" y="5278799"/>
                </a:lnTo>
                <a:lnTo>
                  <a:pt x="5500080" y="5268928"/>
                </a:lnTo>
                <a:close/>
                <a:moveTo>
                  <a:pt x="5264784" y="5264889"/>
                </a:moveTo>
                <a:lnTo>
                  <a:pt x="5274694" y="5264889"/>
                </a:lnTo>
                <a:lnTo>
                  <a:pt x="5278713" y="5268928"/>
                </a:lnTo>
                <a:lnTo>
                  <a:pt x="5278713" y="5278799"/>
                </a:lnTo>
                <a:lnTo>
                  <a:pt x="5274694" y="5282838"/>
                </a:lnTo>
                <a:lnTo>
                  <a:pt x="5264784" y="5282838"/>
                </a:lnTo>
                <a:lnTo>
                  <a:pt x="5260765" y="5278799"/>
                </a:lnTo>
                <a:lnTo>
                  <a:pt x="5260765" y="5268928"/>
                </a:lnTo>
                <a:close/>
                <a:moveTo>
                  <a:pt x="5025470" y="5264889"/>
                </a:moveTo>
                <a:lnTo>
                  <a:pt x="5035381" y="5264889"/>
                </a:lnTo>
                <a:lnTo>
                  <a:pt x="5039400" y="5268928"/>
                </a:lnTo>
                <a:lnTo>
                  <a:pt x="5039400" y="5278799"/>
                </a:lnTo>
                <a:lnTo>
                  <a:pt x="5035381" y="5282838"/>
                </a:lnTo>
                <a:lnTo>
                  <a:pt x="5025470" y="5282838"/>
                </a:lnTo>
                <a:lnTo>
                  <a:pt x="5021451" y="5278799"/>
                </a:lnTo>
                <a:lnTo>
                  <a:pt x="5021451" y="5268928"/>
                </a:lnTo>
                <a:close/>
                <a:moveTo>
                  <a:pt x="4786241" y="5264889"/>
                </a:moveTo>
                <a:lnTo>
                  <a:pt x="4796152" y="5264889"/>
                </a:lnTo>
                <a:lnTo>
                  <a:pt x="4800171" y="5268928"/>
                </a:lnTo>
                <a:lnTo>
                  <a:pt x="4800171" y="5278799"/>
                </a:lnTo>
                <a:lnTo>
                  <a:pt x="4796152" y="5282838"/>
                </a:lnTo>
                <a:lnTo>
                  <a:pt x="4786241" y="5282838"/>
                </a:lnTo>
                <a:lnTo>
                  <a:pt x="4782224" y="5278799"/>
                </a:lnTo>
                <a:lnTo>
                  <a:pt x="4782224" y="5268928"/>
                </a:lnTo>
                <a:close/>
                <a:moveTo>
                  <a:pt x="4546929" y="5264889"/>
                </a:moveTo>
                <a:lnTo>
                  <a:pt x="4556840" y="5264889"/>
                </a:lnTo>
                <a:lnTo>
                  <a:pt x="4560859" y="5268928"/>
                </a:lnTo>
                <a:lnTo>
                  <a:pt x="4560859" y="5278799"/>
                </a:lnTo>
                <a:lnTo>
                  <a:pt x="4556840" y="5282838"/>
                </a:lnTo>
                <a:lnTo>
                  <a:pt x="4546929" y="5282838"/>
                </a:lnTo>
                <a:lnTo>
                  <a:pt x="4542910" y="5278799"/>
                </a:lnTo>
                <a:lnTo>
                  <a:pt x="4542910" y="5268928"/>
                </a:lnTo>
                <a:close/>
                <a:moveTo>
                  <a:pt x="4307612" y="5264889"/>
                </a:moveTo>
                <a:lnTo>
                  <a:pt x="4317523" y="5264889"/>
                </a:lnTo>
                <a:lnTo>
                  <a:pt x="4321543" y="5268928"/>
                </a:lnTo>
                <a:lnTo>
                  <a:pt x="4321543" y="5278799"/>
                </a:lnTo>
                <a:lnTo>
                  <a:pt x="4317523" y="5282838"/>
                </a:lnTo>
                <a:lnTo>
                  <a:pt x="4307612" y="5282838"/>
                </a:lnTo>
                <a:lnTo>
                  <a:pt x="4303595" y="5278799"/>
                </a:lnTo>
                <a:lnTo>
                  <a:pt x="4303595" y="5268928"/>
                </a:lnTo>
                <a:close/>
                <a:moveTo>
                  <a:pt x="4068297" y="5264889"/>
                </a:moveTo>
                <a:lnTo>
                  <a:pt x="4078210" y="5264889"/>
                </a:lnTo>
                <a:lnTo>
                  <a:pt x="4082229" y="5268928"/>
                </a:lnTo>
                <a:lnTo>
                  <a:pt x="4082229" y="5278799"/>
                </a:lnTo>
                <a:lnTo>
                  <a:pt x="4078210" y="5282838"/>
                </a:lnTo>
                <a:lnTo>
                  <a:pt x="4068297" y="5282838"/>
                </a:lnTo>
                <a:lnTo>
                  <a:pt x="4064278" y="5278799"/>
                </a:lnTo>
                <a:lnTo>
                  <a:pt x="4064278" y="5268928"/>
                </a:lnTo>
                <a:close/>
                <a:moveTo>
                  <a:pt x="3828990" y="5264889"/>
                </a:moveTo>
                <a:lnTo>
                  <a:pt x="3838899" y="5264889"/>
                </a:lnTo>
                <a:lnTo>
                  <a:pt x="3842917" y="5268928"/>
                </a:lnTo>
                <a:lnTo>
                  <a:pt x="3842917" y="5278799"/>
                </a:lnTo>
                <a:lnTo>
                  <a:pt x="3838899" y="5282838"/>
                </a:lnTo>
                <a:lnTo>
                  <a:pt x="3828990" y="5282838"/>
                </a:lnTo>
                <a:lnTo>
                  <a:pt x="3824971" y="5278799"/>
                </a:lnTo>
                <a:lnTo>
                  <a:pt x="3824971" y="5268928"/>
                </a:lnTo>
                <a:close/>
                <a:moveTo>
                  <a:pt x="3589676" y="5264889"/>
                </a:moveTo>
                <a:lnTo>
                  <a:pt x="3599585" y="5264889"/>
                </a:lnTo>
                <a:lnTo>
                  <a:pt x="3603604" y="5268928"/>
                </a:lnTo>
                <a:lnTo>
                  <a:pt x="3603604" y="5278799"/>
                </a:lnTo>
                <a:lnTo>
                  <a:pt x="3599585" y="5282838"/>
                </a:lnTo>
                <a:lnTo>
                  <a:pt x="3589676" y="5282838"/>
                </a:lnTo>
                <a:lnTo>
                  <a:pt x="3585657" y="5278799"/>
                </a:lnTo>
                <a:lnTo>
                  <a:pt x="3585657" y="5268928"/>
                </a:lnTo>
                <a:close/>
                <a:moveTo>
                  <a:pt x="3350359" y="5264889"/>
                </a:moveTo>
                <a:lnTo>
                  <a:pt x="3360268" y="5264889"/>
                </a:lnTo>
                <a:lnTo>
                  <a:pt x="3364287" y="5268928"/>
                </a:lnTo>
                <a:lnTo>
                  <a:pt x="3364287" y="5278799"/>
                </a:lnTo>
                <a:lnTo>
                  <a:pt x="3360268" y="5282838"/>
                </a:lnTo>
                <a:lnTo>
                  <a:pt x="3350359" y="5282838"/>
                </a:lnTo>
                <a:lnTo>
                  <a:pt x="3346340" y="5278799"/>
                </a:lnTo>
                <a:lnTo>
                  <a:pt x="3346340" y="5268928"/>
                </a:lnTo>
                <a:close/>
                <a:moveTo>
                  <a:pt x="3111048" y="5264889"/>
                </a:moveTo>
                <a:lnTo>
                  <a:pt x="3120959" y="5264889"/>
                </a:lnTo>
                <a:lnTo>
                  <a:pt x="3124977" y="5268928"/>
                </a:lnTo>
                <a:lnTo>
                  <a:pt x="3124977" y="5278799"/>
                </a:lnTo>
                <a:lnTo>
                  <a:pt x="3120959" y="5282838"/>
                </a:lnTo>
                <a:lnTo>
                  <a:pt x="3111048" y="5282838"/>
                </a:lnTo>
                <a:lnTo>
                  <a:pt x="3107029" y="5278799"/>
                </a:lnTo>
                <a:lnTo>
                  <a:pt x="3107029" y="5268928"/>
                </a:lnTo>
                <a:close/>
                <a:moveTo>
                  <a:pt x="2871737" y="5264889"/>
                </a:moveTo>
                <a:lnTo>
                  <a:pt x="2881646" y="5264889"/>
                </a:lnTo>
                <a:lnTo>
                  <a:pt x="2885666" y="5268928"/>
                </a:lnTo>
                <a:lnTo>
                  <a:pt x="2885666" y="5278799"/>
                </a:lnTo>
                <a:lnTo>
                  <a:pt x="2881646" y="5282838"/>
                </a:lnTo>
                <a:lnTo>
                  <a:pt x="2871737" y="5282838"/>
                </a:lnTo>
                <a:lnTo>
                  <a:pt x="2867717" y="5278799"/>
                </a:lnTo>
                <a:lnTo>
                  <a:pt x="2867717" y="5268928"/>
                </a:lnTo>
                <a:close/>
                <a:moveTo>
                  <a:pt x="2632423" y="5264889"/>
                </a:moveTo>
                <a:lnTo>
                  <a:pt x="2642334" y="5264889"/>
                </a:lnTo>
                <a:lnTo>
                  <a:pt x="2646352" y="5268928"/>
                </a:lnTo>
                <a:lnTo>
                  <a:pt x="2646352" y="5278799"/>
                </a:lnTo>
                <a:lnTo>
                  <a:pt x="2642334" y="5282838"/>
                </a:lnTo>
                <a:lnTo>
                  <a:pt x="2632423" y="5282838"/>
                </a:lnTo>
                <a:lnTo>
                  <a:pt x="2628404" y="5278799"/>
                </a:lnTo>
                <a:lnTo>
                  <a:pt x="2628404" y="5268928"/>
                </a:lnTo>
                <a:close/>
                <a:moveTo>
                  <a:pt x="2393104" y="5264889"/>
                </a:moveTo>
                <a:lnTo>
                  <a:pt x="2403015" y="5264889"/>
                </a:lnTo>
                <a:lnTo>
                  <a:pt x="2407034" y="5268928"/>
                </a:lnTo>
                <a:lnTo>
                  <a:pt x="2407034" y="5278799"/>
                </a:lnTo>
                <a:lnTo>
                  <a:pt x="2403015" y="5282838"/>
                </a:lnTo>
                <a:lnTo>
                  <a:pt x="2393104" y="5282838"/>
                </a:lnTo>
                <a:lnTo>
                  <a:pt x="2389087" y="5278799"/>
                </a:lnTo>
                <a:lnTo>
                  <a:pt x="2389087" y="5268928"/>
                </a:lnTo>
                <a:close/>
                <a:moveTo>
                  <a:pt x="721961" y="5264889"/>
                </a:moveTo>
                <a:lnTo>
                  <a:pt x="731872" y="5264889"/>
                </a:lnTo>
                <a:lnTo>
                  <a:pt x="735891" y="5268928"/>
                </a:lnTo>
                <a:lnTo>
                  <a:pt x="735891" y="5278799"/>
                </a:lnTo>
                <a:lnTo>
                  <a:pt x="731872" y="5282838"/>
                </a:lnTo>
                <a:lnTo>
                  <a:pt x="721961" y="5282838"/>
                </a:lnTo>
                <a:lnTo>
                  <a:pt x="717943" y="5278799"/>
                </a:lnTo>
                <a:lnTo>
                  <a:pt x="717943" y="5268928"/>
                </a:lnTo>
                <a:close/>
                <a:moveTo>
                  <a:pt x="482649" y="5264889"/>
                </a:moveTo>
                <a:lnTo>
                  <a:pt x="492560" y="5264889"/>
                </a:lnTo>
                <a:lnTo>
                  <a:pt x="496579" y="5268928"/>
                </a:lnTo>
                <a:lnTo>
                  <a:pt x="496579" y="5278799"/>
                </a:lnTo>
                <a:lnTo>
                  <a:pt x="492560" y="5282838"/>
                </a:lnTo>
                <a:lnTo>
                  <a:pt x="482649" y="5282838"/>
                </a:lnTo>
                <a:lnTo>
                  <a:pt x="478630" y="5278799"/>
                </a:lnTo>
                <a:lnTo>
                  <a:pt x="478630" y="5268928"/>
                </a:lnTo>
                <a:close/>
                <a:moveTo>
                  <a:pt x="243336" y="5264889"/>
                </a:moveTo>
                <a:lnTo>
                  <a:pt x="253246" y="5264889"/>
                </a:lnTo>
                <a:lnTo>
                  <a:pt x="257265" y="5268928"/>
                </a:lnTo>
                <a:lnTo>
                  <a:pt x="257265" y="5278799"/>
                </a:lnTo>
                <a:lnTo>
                  <a:pt x="253246" y="5282838"/>
                </a:lnTo>
                <a:lnTo>
                  <a:pt x="243336" y="5282838"/>
                </a:lnTo>
                <a:lnTo>
                  <a:pt x="239317" y="5278799"/>
                </a:lnTo>
                <a:lnTo>
                  <a:pt x="239317" y="5268928"/>
                </a:lnTo>
                <a:close/>
                <a:moveTo>
                  <a:pt x="4022" y="5264889"/>
                </a:moveTo>
                <a:lnTo>
                  <a:pt x="13933" y="5264889"/>
                </a:lnTo>
                <a:lnTo>
                  <a:pt x="17952" y="5268928"/>
                </a:lnTo>
                <a:lnTo>
                  <a:pt x="17952" y="5278799"/>
                </a:lnTo>
                <a:lnTo>
                  <a:pt x="13933" y="5282838"/>
                </a:lnTo>
                <a:lnTo>
                  <a:pt x="4022" y="5282838"/>
                </a:lnTo>
                <a:lnTo>
                  <a:pt x="3" y="5278799"/>
                </a:lnTo>
                <a:lnTo>
                  <a:pt x="3" y="5268928"/>
                </a:lnTo>
                <a:close/>
                <a:moveTo>
                  <a:pt x="2157819" y="5025610"/>
                </a:moveTo>
                <a:lnTo>
                  <a:pt x="2167729" y="5025610"/>
                </a:lnTo>
                <a:lnTo>
                  <a:pt x="2171748" y="5029648"/>
                </a:lnTo>
                <a:lnTo>
                  <a:pt x="2171748" y="5039519"/>
                </a:lnTo>
                <a:lnTo>
                  <a:pt x="2167729" y="5043558"/>
                </a:lnTo>
                <a:lnTo>
                  <a:pt x="2157819" y="5043558"/>
                </a:lnTo>
                <a:lnTo>
                  <a:pt x="2153800" y="5039519"/>
                </a:lnTo>
                <a:lnTo>
                  <a:pt x="2153800" y="5029648"/>
                </a:lnTo>
                <a:close/>
                <a:moveTo>
                  <a:pt x="1918510" y="5025610"/>
                </a:moveTo>
                <a:lnTo>
                  <a:pt x="1928420" y="5025610"/>
                </a:lnTo>
                <a:lnTo>
                  <a:pt x="1932440" y="5029648"/>
                </a:lnTo>
                <a:lnTo>
                  <a:pt x="1932440" y="5039519"/>
                </a:lnTo>
                <a:lnTo>
                  <a:pt x="1928420" y="5043558"/>
                </a:lnTo>
                <a:lnTo>
                  <a:pt x="1918510" y="5043558"/>
                </a:lnTo>
                <a:lnTo>
                  <a:pt x="1914492" y="5039519"/>
                </a:lnTo>
                <a:lnTo>
                  <a:pt x="1914492" y="5029648"/>
                </a:lnTo>
                <a:close/>
                <a:moveTo>
                  <a:pt x="1679204" y="5025610"/>
                </a:moveTo>
                <a:lnTo>
                  <a:pt x="1689115" y="5025610"/>
                </a:lnTo>
                <a:lnTo>
                  <a:pt x="1693133" y="5029648"/>
                </a:lnTo>
                <a:lnTo>
                  <a:pt x="1693133" y="5039519"/>
                </a:lnTo>
                <a:lnTo>
                  <a:pt x="1689115" y="5043558"/>
                </a:lnTo>
                <a:lnTo>
                  <a:pt x="1679204" y="5043558"/>
                </a:lnTo>
                <a:lnTo>
                  <a:pt x="1675185" y="5039519"/>
                </a:lnTo>
                <a:lnTo>
                  <a:pt x="1675185" y="5029648"/>
                </a:lnTo>
                <a:close/>
                <a:moveTo>
                  <a:pt x="1439889" y="5025610"/>
                </a:moveTo>
                <a:lnTo>
                  <a:pt x="1449798" y="5025610"/>
                </a:lnTo>
                <a:lnTo>
                  <a:pt x="1453818" y="5029648"/>
                </a:lnTo>
                <a:lnTo>
                  <a:pt x="1453818" y="5039519"/>
                </a:lnTo>
                <a:lnTo>
                  <a:pt x="1449798" y="5043558"/>
                </a:lnTo>
                <a:lnTo>
                  <a:pt x="1439889" y="5043558"/>
                </a:lnTo>
                <a:lnTo>
                  <a:pt x="1435870" y="5039519"/>
                </a:lnTo>
                <a:lnTo>
                  <a:pt x="1435870" y="5029648"/>
                </a:lnTo>
                <a:close/>
                <a:moveTo>
                  <a:pt x="1200573" y="5025610"/>
                </a:moveTo>
                <a:lnTo>
                  <a:pt x="1210484" y="5025610"/>
                </a:lnTo>
                <a:lnTo>
                  <a:pt x="1214502" y="5029648"/>
                </a:lnTo>
                <a:lnTo>
                  <a:pt x="1214502" y="5039519"/>
                </a:lnTo>
                <a:lnTo>
                  <a:pt x="1210484" y="5043558"/>
                </a:lnTo>
                <a:lnTo>
                  <a:pt x="1200573" y="5043558"/>
                </a:lnTo>
                <a:lnTo>
                  <a:pt x="1196555" y="5039519"/>
                </a:lnTo>
                <a:lnTo>
                  <a:pt x="1196555" y="5029648"/>
                </a:lnTo>
                <a:close/>
                <a:moveTo>
                  <a:pt x="961261" y="5025610"/>
                </a:moveTo>
                <a:lnTo>
                  <a:pt x="971171" y="5025610"/>
                </a:lnTo>
                <a:lnTo>
                  <a:pt x="975190" y="5029648"/>
                </a:lnTo>
                <a:lnTo>
                  <a:pt x="975190" y="5039519"/>
                </a:lnTo>
                <a:lnTo>
                  <a:pt x="971171" y="5043558"/>
                </a:lnTo>
                <a:lnTo>
                  <a:pt x="961261" y="5043558"/>
                </a:lnTo>
                <a:lnTo>
                  <a:pt x="957242" y="5039519"/>
                </a:lnTo>
                <a:lnTo>
                  <a:pt x="957242" y="5029648"/>
                </a:lnTo>
                <a:close/>
                <a:moveTo>
                  <a:pt x="9572438" y="5025558"/>
                </a:moveTo>
                <a:lnTo>
                  <a:pt x="9582349" y="5025558"/>
                </a:lnTo>
                <a:lnTo>
                  <a:pt x="9586368" y="5029597"/>
                </a:lnTo>
                <a:lnTo>
                  <a:pt x="9586368" y="5039468"/>
                </a:lnTo>
                <a:lnTo>
                  <a:pt x="9582349" y="5043507"/>
                </a:lnTo>
                <a:lnTo>
                  <a:pt x="9572438" y="5043507"/>
                </a:lnTo>
                <a:lnTo>
                  <a:pt x="9568419" y="5039468"/>
                </a:lnTo>
                <a:lnTo>
                  <a:pt x="9568419" y="5029597"/>
                </a:lnTo>
                <a:close/>
                <a:moveTo>
                  <a:pt x="9333125" y="5025558"/>
                </a:moveTo>
                <a:lnTo>
                  <a:pt x="9343036" y="5025558"/>
                </a:lnTo>
                <a:lnTo>
                  <a:pt x="9347055" y="5029597"/>
                </a:lnTo>
                <a:lnTo>
                  <a:pt x="9347055" y="5039468"/>
                </a:lnTo>
                <a:lnTo>
                  <a:pt x="9343036" y="5043507"/>
                </a:lnTo>
                <a:lnTo>
                  <a:pt x="9333125" y="5043507"/>
                </a:lnTo>
                <a:lnTo>
                  <a:pt x="9329106" y="5039468"/>
                </a:lnTo>
                <a:lnTo>
                  <a:pt x="9329106" y="5029597"/>
                </a:lnTo>
                <a:close/>
                <a:moveTo>
                  <a:pt x="9093811" y="5025558"/>
                </a:moveTo>
                <a:lnTo>
                  <a:pt x="9103722" y="5025558"/>
                </a:lnTo>
                <a:lnTo>
                  <a:pt x="9107741" y="5029597"/>
                </a:lnTo>
                <a:lnTo>
                  <a:pt x="9107741" y="5039468"/>
                </a:lnTo>
                <a:lnTo>
                  <a:pt x="9103722" y="5043507"/>
                </a:lnTo>
                <a:lnTo>
                  <a:pt x="9093811" y="5043507"/>
                </a:lnTo>
                <a:lnTo>
                  <a:pt x="9089792" y="5039468"/>
                </a:lnTo>
                <a:lnTo>
                  <a:pt x="9089792" y="5029597"/>
                </a:lnTo>
                <a:close/>
                <a:moveTo>
                  <a:pt x="8854496" y="5025558"/>
                </a:moveTo>
                <a:lnTo>
                  <a:pt x="8864407" y="5025558"/>
                </a:lnTo>
                <a:lnTo>
                  <a:pt x="8868426" y="5029597"/>
                </a:lnTo>
                <a:lnTo>
                  <a:pt x="8868426" y="5039468"/>
                </a:lnTo>
                <a:lnTo>
                  <a:pt x="8864407" y="5043507"/>
                </a:lnTo>
                <a:lnTo>
                  <a:pt x="8854496" y="5043507"/>
                </a:lnTo>
                <a:lnTo>
                  <a:pt x="8850477" y="5039468"/>
                </a:lnTo>
                <a:lnTo>
                  <a:pt x="8850477" y="5029597"/>
                </a:lnTo>
                <a:close/>
                <a:moveTo>
                  <a:pt x="8615184" y="5025558"/>
                </a:moveTo>
                <a:lnTo>
                  <a:pt x="8625095" y="5025558"/>
                </a:lnTo>
                <a:lnTo>
                  <a:pt x="8629114" y="5029597"/>
                </a:lnTo>
                <a:lnTo>
                  <a:pt x="8629114" y="5039468"/>
                </a:lnTo>
                <a:lnTo>
                  <a:pt x="8625095" y="5043507"/>
                </a:lnTo>
                <a:lnTo>
                  <a:pt x="8615184" y="5043507"/>
                </a:lnTo>
                <a:lnTo>
                  <a:pt x="8611165" y="5039468"/>
                </a:lnTo>
                <a:lnTo>
                  <a:pt x="8611165" y="5029597"/>
                </a:lnTo>
                <a:close/>
                <a:moveTo>
                  <a:pt x="8375869" y="5025558"/>
                </a:moveTo>
                <a:lnTo>
                  <a:pt x="8385779" y="5025558"/>
                </a:lnTo>
                <a:lnTo>
                  <a:pt x="8389799" y="5029597"/>
                </a:lnTo>
                <a:lnTo>
                  <a:pt x="8389799" y="5039468"/>
                </a:lnTo>
                <a:lnTo>
                  <a:pt x="8385779" y="5043507"/>
                </a:lnTo>
                <a:lnTo>
                  <a:pt x="8375869" y="5043507"/>
                </a:lnTo>
                <a:lnTo>
                  <a:pt x="8371850" y="5039468"/>
                </a:lnTo>
                <a:lnTo>
                  <a:pt x="8371850" y="5029597"/>
                </a:lnTo>
                <a:close/>
                <a:moveTo>
                  <a:pt x="8136553" y="5025558"/>
                </a:moveTo>
                <a:lnTo>
                  <a:pt x="8146464" y="5025558"/>
                </a:lnTo>
                <a:lnTo>
                  <a:pt x="8150483" y="5029597"/>
                </a:lnTo>
                <a:lnTo>
                  <a:pt x="8150483" y="5039468"/>
                </a:lnTo>
                <a:lnTo>
                  <a:pt x="8146464" y="5043507"/>
                </a:lnTo>
                <a:lnTo>
                  <a:pt x="8136553" y="5043507"/>
                </a:lnTo>
                <a:lnTo>
                  <a:pt x="8132534" y="5039468"/>
                </a:lnTo>
                <a:lnTo>
                  <a:pt x="8132534" y="5029597"/>
                </a:lnTo>
                <a:close/>
                <a:moveTo>
                  <a:pt x="7897241" y="5025558"/>
                </a:moveTo>
                <a:lnTo>
                  <a:pt x="7907151" y="5025558"/>
                </a:lnTo>
                <a:lnTo>
                  <a:pt x="7911170" y="5029597"/>
                </a:lnTo>
                <a:lnTo>
                  <a:pt x="7911170" y="5039468"/>
                </a:lnTo>
                <a:lnTo>
                  <a:pt x="7907151" y="5043507"/>
                </a:lnTo>
                <a:lnTo>
                  <a:pt x="7897241" y="5043507"/>
                </a:lnTo>
                <a:lnTo>
                  <a:pt x="7893222" y="5039468"/>
                </a:lnTo>
                <a:lnTo>
                  <a:pt x="7893222" y="5029597"/>
                </a:lnTo>
                <a:close/>
                <a:moveTo>
                  <a:pt x="7657926" y="5025558"/>
                </a:moveTo>
                <a:lnTo>
                  <a:pt x="7667836" y="5025558"/>
                </a:lnTo>
                <a:lnTo>
                  <a:pt x="7671855" y="5029597"/>
                </a:lnTo>
                <a:lnTo>
                  <a:pt x="7671855" y="5039468"/>
                </a:lnTo>
                <a:lnTo>
                  <a:pt x="7667836" y="5043507"/>
                </a:lnTo>
                <a:lnTo>
                  <a:pt x="7657926" y="5043507"/>
                </a:lnTo>
                <a:lnTo>
                  <a:pt x="7653906" y="5039468"/>
                </a:lnTo>
                <a:lnTo>
                  <a:pt x="7653906" y="5029597"/>
                </a:lnTo>
                <a:close/>
                <a:moveTo>
                  <a:pt x="7418611" y="5025558"/>
                </a:moveTo>
                <a:lnTo>
                  <a:pt x="7428521" y="5025558"/>
                </a:lnTo>
                <a:lnTo>
                  <a:pt x="7432540" y="5029597"/>
                </a:lnTo>
                <a:lnTo>
                  <a:pt x="7432540" y="5039468"/>
                </a:lnTo>
                <a:lnTo>
                  <a:pt x="7428521" y="5043507"/>
                </a:lnTo>
                <a:lnTo>
                  <a:pt x="7418611" y="5043507"/>
                </a:lnTo>
                <a:lnTo>
                  <a:pt x="7414592" y="5039468"/>
                </a:lnTo>
                <a:lnTo>
                  <a:pt x="7414592" y="5029597"/>
                </a:lnTo>
                <a:close/>
                <a:moveTo>
                  <a:pt x="7179298" y="5025558"/>
                </a:moveTo>
                <a:lnTo>
                  <a:pt x="7189209" y="5025558"/>
                </a:lnTo>
                <a:lnTo>
                  <a:pt x="7193228" y="5029597"/>
                </a:lnTo>
                <a:lnTo>
                  <a:pt x="7193228" y="5039468"/>
                </a:lnTo>
                <a:lnTo>
                  <a:pt x="7189209" y="5043507"/>
                </a:lnTo>
                <a:lnTo>
                  <a:pt x="7179298" y="5043507"/>
                </a:lnTo>
                <a:lnTo>
                  <a:pt x="7175279" y="5039468"/>
                </a:lnTo>
                <a:lnTo>
                  <a:pt x="7175279" y="5029597"/>
                </a:lnTo>
                <a:close/>
                <a:moveTo>
                  <a:pt x="6939983" y="5025558"/>
                </a:moveTo>
                <a:lnTo>
                  <a:pt x="6949894" y="5025558"/>
                </a:lnTo>
                <a:lnTo>
                  <a:pt x="6953913" y="5029597"/>
                </a:lnTo>
                <a:lnTo>
                  <a:pt x="6953913" y="5039468"/>
                </a:lnTo>
                <a:lnTo>
                  <a:pt x="6949894" y="5043507"/>
                </a:lnTo>
                <a:lnTo>
                  <a:pt x="6939983" y="5043507"/>
                </a:lnTo>
                <a:lnTo>
                  <a:pt x="6935964" y="5039468"/>
                </a:lnTo>
                <a:lnTo>
                  <a:pt x="6935964" y="5029597"/>
                </a:lnTo>
                <a:close/>
                <a:moveTo>
                  <a:pt x="6700670" y="5025558"/>
                </a:moveTo>
                <a:lnTo>
                  <a:pt x="6710581" y="5025558"/>
                </a:lnTo>
                <a:lnTo>
                  <a:pt x="6714600" y="5029597"/>
                </a:lnTo>
                <a:lnTo>
                  <a:pt x="6714600" y="5039468"/>
                </a:lnTo>
                <a:lnTo>
                  <a:pt x="6710581" y="5043507"/>
                </a:lnTo>
                <a:lnTo>
                  <a:pt x="6700670" y="5043507"/>
                </a:lnTo>
                <a:lnTo>
                  <a:pt x="6696651" y="5039468"/>
                </a:lnTo>
                <a:lnTo>
                  <a:pt x="6696651" y="5029597"/>
                </a:lnTo>
                <a:close/>
                <a:moveTo>
                  <a:pt x="6461356" y="5025558"/>
                </a:moveTo>
                <a:lnTo>
                  <a:pt x="6471266" y="5025558"/>
                </a:lnTo>
                <a:lnTo>
                  <a:pt x="6475285" y="5029597"/>
                </a:lnTo>
                <a:lnTo>
                  <a:pt x="6475285" y="5039468"/>
                </a:lnTo>
                <a:lnTo>
                  <a:pt x="6471266" y="5043507"/>
                </a:lnTo>
                <a:lnTo>
                  <a:pt x="6461356" y="5043507"/>
                </a:lnTo>
                <a:lnTo>
                  <a:pt x="6457337" y="5039468"/>
                </a:lnTo>
                <a:lnTo>
                  <a:pt x="6457337" y="5029597"/>
                </a:lnTo>
                <a:close/>
                <a:moveTo>
                  <a:pt x="6222042" y="5025558"/>
                </a:moveTo>
                <a:lnTo>
                  <a:pt x="6231952" y="5025558"/>
                </a:lnTo>
                <a:lnTo>
                  <a:pt x="6235971" y="5029597"/>
                </a:lnTo>
                <a:lnTo>
                  <a:pt x="6235971" y="5039468"/>
                </a:lnTo>
                <a:lnTo>
                  <a:pt x="6231952" y="5043507"/>
                </a:lnTo>
                <a:lnTo>
                  <a:pt x="6222042" y="5043507"/>
                </a:lnTo>
                <a:lnTo>
                  <a:pt x="6218023" y="5039468"/>
                </a:lnTo>
                <a:lnTo>
                  <a:pt x="6218023" y="5029597"/>
                </a:lnTo>
                <a:close/>
                <a:moveTo>
                  <a:pt x="5982729" y="5025558"/>
                </a:moveTo>
                <a:lnTo>
                  <a:pt x="5992639" y="5025558"/>
                </a:lnTo>
                <a:lnTo>
                  <a:pt x="5996658" y="5029597"/>
                </a:lnTo>
                <a:lnTo>
                  <a:pt x="5996658" y="5039468"/>
                </a:lnTo>
                <a:lnTo>
                  <a:pt x="5992639" y="5043507"/>
                </a:lnTo>
                <a:lnTo>
                  <a:pt x="5982729" y="5043507"/>
                </a:lnTo>
                <a:lnTo>
                  <a:pt x="5978710" y="5039468"/>
                </a:lnTo>
                <a:lnTo>
                  <a:pt x="5978710" y="5029597"/>
                </a:lnTo>
                <a:close/>
                <a:moveTo>
                  <a:pt x="5743412" y="5025558"/>
                </a:moveTo>
                <a:lnTo>
                  <a:pt x="5753323" y="5025558"/>
                </a:lnTo>
                <a:lnTo>
                  <a:pt x="5757342" y="5029597"/>
                </a:lnTo>
                <a:lnTo>
                  <a:pt x="5757342" y="5039468"/>
                </a:lnTo>
                <a:lnTo>
                  <a:pt x="5753323" y="5043507"/>
                </a:lnTo>
                <a:lnTo>
                  <a:pt x="5743412" y="5043507"/>
                </a:lnTo>
                <a:lnTo>
                  <a:pt x="5739393" y="5039468"/>
                </a:lnTo>
                <a:lnTo>
                  <a:pt x="5739393" y="5029597"/>
                </a:lnTo>
                <a:close/>
                <a:moveTo>
                  <a:pt x="5504099" y="5025558"/>
                </a:moveTo>
                <a:lnTo>
                  <a:pt x="5514010" y="5025558"/>
                </a:lnTo>
                <a:lnTo>
                  <a:pt x="5518029" y="5029597"/>
                </a:lnTo>
                <a:lnTo>
                  <a:pt x="5518029" y="5039468"/>
                </a:lnTo>
                <a:lnTo>
                  <a:pt x="5514010" y="5043507"/>
                </a:lnTo>
                <a:lnTo>
                  <a:pt x="5504099" y="5043507"/>
                </a:lnTo>
                <a:lnTo>
                  <a:pt x="5500080" y="5039468"/>
                </a:lnTo>
                <a:lnTo>
                  <a:pt x="5500080" y="5029597"/>
                </a:lnTo>
                <a:close/>
                <a:moveTo>
                  <a:pt x="5264784" y="5025558"/>
                </a:moveTo>
                <a:lnTo>
                  <a:pt x="5274694" y="5025558"/>
                </a:lnTo>
                <a:lnTo>
                  <a:pt x="5278713" y="5029597"/>
                </a:lnTo>
                <a:lnTo>
                  <a:pt x="5278713" y="5039468"/>
                </a:lnTo>
                <a:lnTo>
                  <a:pt x="5274694" y="5043507"/>
                </a:lnTo>
                <a:lnTo>
                  <a:pt x="5264784" y="5043507"/>
                </a:lnTo>
                <a:lnTo>
                  <a:pt x="5260765" y="5039468"/>
                </a:lnTo>
                <a:lnTo>
                  <a:pt x="5260765" y="5029597"/>
                </a:lnTo>
                <a:close/>
                <a:moveTo>
                  <a:pt x="5025470" y="5025558"/>
                </a:moveTo>
                <a:lnTo>
                  <a:pt x="5035381" y="5025558"/>
                </a:lnTo>
                <a:lnTo>
                  <a:pt x="5039400" y="5029597"/>
                </a:lnTo>
                <a:lnTo>
                  <a:pt x="5039400" y="5039468"/>
                </a:lnTo>
                <a:lnTo>
                  <a:pt x="5035381" y="5043507"/>
                </a:lnTo>
                <a:lnTo>
                  <a:pt x="5025470" y="5043507"/>
                </a:lnTo>
                <a:lnTo>
                  <a:pt x="5021451" y="5039468"/>
                </a:lnTo>
                <a:lnTo>
                  <a:pt x="5021451" y="5029597"/>
                </a:lnTo>
                <a:close/>
                <a:moveTo>
                  <a:pt x="4786241" y="5025558"/>
                </a:moveTo>
                <a:lnTo>
                  <a:pt x="4796152" y="5025558"/>
                </a:lnTo>
                <a:lnTo>
                  <a:pt x="4800171" y="5029597"/>
                </a:lnTo>
                <a:lnTo>
                  <a:pt x="4800171" y="5039468"/>
                </a:lnTo>
                <a:lnTo>
                  <a:pt x="4796152" y="5043507"/>
                </a:lnTo>
                <a:lnTo>
                  <a:pt x="4786241" y="5043507"/>
                </a:lnTo>
                <a:lnTo>
                  <a:pt x="4782224" y="5039468"/>
                </a:lnTo>
                <a:lnTo>
                  <a:pt x="4782224" y="5029597"/>
                </a:lnTo>
                <a:close/>
                <a:moveTo>
                  <a:pt x="4546929" y="5025558"/>
                </a:moveTo>
                <a:lnTo>
                  <a:pt x="4556840" y="5025558"/>
                </a:lnTo>
                <a:lnTo>
                  <a:pt x="4560859" y="5029597"/>
                </a:lnTo>
                <a:lnTo>
                  <a:pt x="4560859" y="5039468"/>
                </a:lnTo>
                <a:lnTo>
                  <a:pt x="4556840" y="5043507"/>
                </a:lnTo>
                <a:lnTo>
                  <a:pt x="4546929" y="5043507"/>
                </a:lnTo>
                <a:lnTo>
                  <a:pt x="4542910" y="5039468"/>
                </a:lnTo>
                <a:lnTo>
                  <a:pt x="4542910" y="5029597"/>
                </a:lnTo>
                <a:close/>
                <a:moveTo>
                  <a:pt x="4307612" y="5025558"/>
                </a:moveTo>
                <a:lnTo>
                  <a:pt x="4317523" y="5025558"/>
                </a:lnTo>
                <a:lnTo>
                  <a:pt x="4321543" y="5029597"/>
                </a:lnTo>
                <a:lnTo>
                  <a:pt x="4321543" y="5039468"/>
                </a:lnTo>
                <a:lnTo>
                  <a:pt x="4317523" y="5043507"/>
                </a:lnTo>
                <a:lnTo>
                  <a:pt x="4307612" y="5043507"/>
                </a:lnTo>
                <a:lnTo>
                  <a:pt x="4303595" y="5039468"/>
                </a:lnTo>
                <a:lnTo>
                  <a:pt x="4303595" y="5029597"/>
                </a:lnTo>
                <a:close/>
                <a:moveTo>
                  <a:pt x="4068297" y="5025558"/>
                </a:moveTo>
                <a:lnTo>
                  <a:pt x="4078210" y="5025558"/>
                </a:lnTo>
                <a:lnTo>
                  <a:pt x="4082229" y="5029597"/>
                </a:lnTo>
                <a:lnTo>
                  <a:pt x="4082229" y="5039468"/>
                </a:lnTo>
                <a:lnTo>
                  <a:pt x="4078210" y="5043507"/>
                </a:lnTo>
                <a:lnTo>
                  <a:pt x="4068297" y="5043507"/>
                </a:lnTo>
                <a:lnTo>
                  <a:pt x="4064278" y="5039468"/>
                </a:lnTo>
                <a:lnTo>
                  <a:pt x="4064278" y="5029597"/>
                </a:lnTo>
                <a:close/>
                <a:moveTo>
                  <a:pt x="3828990" y="5025558"/>
                </a:moveTo>
                <a:lnTo>
                  <a:pt x="3838899" y="5025558"/>
                </a:lnTo>
                <a:lnTo>
                  <a:pt x="3842917" y="5029597"/>
                </a:lnTo>
                <a:lnTo>
                  <a:pt x="3842917" y="5039468"/>
                </a:lnTo>
                <a:lnTo>
                  <a:pt x="3838899" y="5043507"/>
                </a:lnTo>
                <a:lnTo>
                  <a:pt x="3828990" y="5043507"/>
                </a:lnTo>
                <a:lnTo>
                  <a:pt x="3824971" y="5039468"/>
                </a:lnTo>
                <a:lnTo>
                  <a:pt x="3824971" y="5029597"/>
                </a:lnTo>
                <a:close/>
                <a:moveTo>
                  <a:pt x="3589676" y="5025558"/>
                </a:moveTo>
                <a:lnTo>
                  <a:pt x="3599585" y="5025558"/>
                </a:lnTo>
                <a:lnTo>
                  <a:pt x="3603604" y="5029597"/>
                </a:lnTo>
                <a:lnTo>
                  <a:pt x="3603604" y="5039468"/>
                </a:lnTo>
                <a:lnTo>
                  <a:pt x="3599585" y="5043507"/>
                </a:lnTo>
                <a:lnTo>
                  <a:pt x="3589676" y="5043507"/>
                </a:lnTo>
                <a:lnTo>
                  <a:pt x="3585657" y="5039468"/>
                </a:lnTo>
                <a:lnTo>
                  <a:pt x="3585657" y="5029597"/>
                </a:lnTo>
                <a:close/>
                <a:moveTo>
                  <a:pt x="3350359" y="5025558"/>
                </a:moveTo>
                <a:lnTo>
                  <a:pt x="3360268" y="5025558"/>
                </a:lnTo>
                <a:lnTo>
                  <a:pt x="3364287" y="5029597"/>
                </a:lnTo>
                <a:lnTo>
                  <a:pt x="3364287" y="5039468"/>
                </a:lnTo>
                <a:lnTo>
                  <a:pt x="3360268" y="5043507"/>
                </a:lnTo>
                <a:lnTo>
                  <a:pt x="3350359" y="5043507"/>
                </a:lnTo>
                <a:lnTo>
                  <a:pt x="3346340" y="5039468"/>
                </a:lnTo>
                <a:lnTo>
                  <a:pt x="3346340" y="5029597"/>
                </a:lnTo>
                <a:close/>
                <a:moveTo>
                  <a:pt x="3111048" y="5025558"/>
                </a:moveTo>
                <a:lnTo>
                  <a:pt x="3120959" y="5025558"/>
                </a:lnTo>
                <a:lnTo>
                  <a:pt x="3124977" y="5029597"/>
                </a:lnTo>
                <a:lnTo>
                  <a:pt x="3124977" y="5039468"/>
                </a:lnTo>
                <a:lnTo>
                  <a:pt x="3120959" y="5043507"/>
                </a:lnTo>
                <a:lnTo>
                  <a:pt x="3111048" y="5043507"/>
                </a:lnTo>
                <a:lnTo>
                  <a:pt x="3107029" y="5039468"/>
                </a:lnTo>
                <a:lnTo>
                  <a:pt x="3107029" y="5029597"/>
                </a:lnTo>
                <a:close/>
                <a:moveTo>
                  <a:pt x="2871737" y="5025558"/>
                </a:moveTo>
                <a:lnTo>
                  <a:pt x="2881646" y="5025558"/>
                </a:lnTo>
                <a:lnTo>
                  <a:pt x="2885666" y="5029597"/>
                </a:lnTo>
                <a:lnTo>
                  <a:pt x="2885666" y="5039468"/>
                </a:lnTo>
                <a:lnTo>
                  <a:pt x="2881646" y="5043507"/>
                </a:lnTo>
                <a:lnTo>
                  <a:pt x="2871737" y="5043507"/>
                </a:lnTo>
                <a:lnTo>
                  <a:pt x="2867717" y="5039468"/>
                </a:lnTo>
                <a:lnTo>
                  <a:pt x="2867717" y="5029597"/>
                </a:lnTo>
                <a:close/>
                <a:moveTo>
                  <a:pt x="2632423" y="5025558"/>
                </a:moveTo>
                <a:lnTo>
                  <a:pt x="2642334" y="5025558"/>
                </a:lnTo>
                <a:lnTo>
                  <a:pt x="2646352" y="5029597"/>
                </a:lnTo>
                <a:lnTo>
                  <a:pt x="2646352" y="5039468"/>
                </a:lnTo>
                <a:lnTo>
                  <a:pt x="2642334" y="5043507"/>
                </a:lnTo>
                <a:lnTo>
                  <a:pt x="2632423" y="5043507"/>
                </a:lnTo>
                <a:lnTo>
                  <a:pt x="2628404" y="5039468"/>
                </a:lnTo>
                <a:lnTo>
                  <a:pt x="2628404" y="5029597"/>
                </a:lnTo>
                <a:close/>
                <a:moveTo>
                  <a:pt x="2393104" y="5025558"/>
                </a:moveTo>
                <a:lnTo>
                  <a:pt x="2403015" y="5025558"/>
                </a:lnTo>
                <a:lnTo>
                  <a:pt x="2407034" y="5029597"/>
                </a:lnTo>
                <a:lnTo>
                  <a:pt x="2407034" y="5039468"/>
                </a:lnTo>
                <a:lnTo>
                  <a:pt x="2403015" y="5043507"/>
                </a:lnTo>
                <a:lnTo>
                  <a:pt x="2393104" y="5043507"/>
                </a:lnTo>
                <a:lnTo>
                  <a:pt x="2389087" y="5039468"/>
                </a:lnTo>
                <a:lnTo>
                  <a:pt x="2389087" y="5029597"/>
                </a:lnTo>
                <a:close/>
                <a:moveTo>
                  <a:pt x="721962" y="5025558"/>
                </a:moveTo>
                <a:lnTo>
                  <a:pt x="731872" y="5025558"/>
                </a:lnTo>
                <a:lnTo>
                  <a:pt x="735891" y="5029597"/>
                </a:lnTo>
                <a:lnTo>
                  <a:pt x="735891" y="5039468"/>
                </a:lnTo>
                <a:lnTo>
                  <a:pt x="731872" y="5043507"/>
                </a:lnTo>
                <a:lnTo>
                  <a:pt x="721962" y="5043507"/>
                </a:lnTo>
                <a:lnTo>
                  <a:pt x="717944" y="5039468"/>
                </a:lnTo>
                <a:lnTo>
                  <a:pt x="717944" y="5029597"/>
                </a:lnTo>
                <a:close/>
                <a:moveTo>
                  <a:pt x="482650" y="5025558"/>
                </a:moveTo>
                <a:lnTo>
                  <a:pt x="492560" y="5025558"/>
                </a:lnTo>
                <a:lnTo>
                  <a:pt x="496580" y="5029597"/>
                </a:lnTo>
                <a:lnTo>
                  <a:pt x="496580" y="5039468"/>
                </a:lnTo>
                <a:lnTo>
                  <a:pt x="492560" y="5043507"/>
                </a:lnTo>
                <a:lnTo>
                  <a:pt x="482650" y="5043507"/>
                </a:lnTo>
                <a:lnTo>
                  <a:pt x="478631" y="5039468"/>
                </a:lnTo>
                <a:lnTo>
                  <a:pt x="478631" y="5029597"/>
                </a:lnTo>
                <a:close/>
                <a:moveTo>
                  <a:pt x="243336" y="5025558"/>
                </a:moveTo>
                <a:lnTo>
                  <a:pt x="253247" y="5025558"/>
                </a:lnTo>
                <a:lnTo>
                  <a:pt x="257266" y="5029597"/>
                </a:lnTo>
                <a:lnTo>
                  <a:pt x="257266" y="5039468"/>
                </a:lnTo>
                <a:lnTo>
                  <a:pt x="253247" y="5043507"/>
                </a:lnTo>
                <a:lnTo>
                  <a:pt x="243336" y="5043507"/>
                </a:lnTo>
                <a:lnTo>
                  <a:pt x="239317" y="5039468"/>
                </a:lnTo>
                <a:lnTo>
                  <a:pt x="239317" y="5029597"/>
                </a:lnTo>
                <a:close/>
                <a:moveTo>
                  <a:pt x="4024" y="5025558"/>
                </a:moveTo>
                <a:lnTo>
                  <a:pt x="13933" y="5025558"/>
                </a:lnTo>
                <a:lnTo>
                  <a:pt x="17952" y="5029597"/>
                </a:lnTo>
                <a:lnTo>
                  <a:pt x="17952" y="5039468"/>
                </a:lnTo>
                <a:lnTo>
                  <a:pt x="13933" y="5043507"/>
                </a:lnTo>
                <a:lnTo>
                  <a:pt x="4024" y="5043507"/>
                </a:lnTo>
                <a:lnTo>
                  <a:pt x="4" y="5039468"/>
                </a:lnTo>
                <a:lnTo>
                  <a:pt x="4" y="5029597"/>
                </a:lnTo>
                <a:close/>
                <a:moveTo>
                  <a:pt x="9572438" y="4786279"/>
                </a:moveTo>
                <a:lnTo>
                  <a:pt x="9582349" y="4786279"/>
                </a:lnTo>
                <a:lnTo>
                  <a:pt x="9586368" y="4790317"/>
                </a:lnTo>
                <a:lnTo>
                  <a:pt x="9586368" y="4800188"/>
                </a:lnTo>
                <a:lnTo>
                  <a:pt x="9582349" y="4804227"/>
                </a:lnTo>
                <a:lnTo>
                  <a:pt x="9572438" y="4804227"/>
                </a:lnTo>
                <a:lnTo>
                  <a:pt x="9568419" y="4800188"/>
                </a:lnTo>
                <a:lnTo>
                  <a:pt x="9568419" y="4790317"/>
                </a:lnTo>
                <a:close/>
                <a:moveTo>
                  <a:pt x="9333125" y="4786279"/>
                </a:moveTo>
                <a:lnTo>
                  <a:pt x="9343036" y="4786279"/>
                </a:lnTo>
                <a:lnTo>
                  <a:pt x="9347055" y="4790317"/>
                </a:lnTo>
                <a:lnTo>
                  <a:pt x="9347055" y="4800188"/>
                </a:lnTo>
                <a:lnTo>
                  <a:pt x="9343036" y="4804227"/>
                </a:lnTo>
                <a:lnTo>
                  <a:pt x="9333125" y="4804227"/>
                </a:lnTo>
                <a:lnTo>
                  <a:pt x="9329106" y="4800188"/>
                </a:lnTo>
                <a:lnTo>
                  <a:pt x="9329106" y="4790317"/>
                </a:lnTo>
                <a:close/>
                <a:moveTo>
                  <a:pt x="9093811" y="4786279"/>
                </a:moveTo>
                <a:lnTo>
                  <a:pt x="9103722" y="4786279"/>
                </a:lnTo>
                <a:lnTo>
                  <a:pt x="9107741" y="4790317"/>
                </a:lnTo>
                <a:lnTo>
                  <a:pt x="9107741" y="4800188"/>
                </a:lnTo>
                <a:lnTo>
                  <a:pt x="9103722" y="4804227"/>
                </a:lnTo>
                <a:lnTo>
                  <a:pt x="9093811" y="4804227"/>
                </a:lnTo>
                <a:lnTo>
                  <a:pt x="9089792" y="4800188"/>
                </a:lnTo>
                <a:lnTo>
                  <a:pt x="9089792" y="4790317"/>
                </a:lnTo>
                <a:close/>
                <a:moveTo>
                  <a:pt x="8854496" y="4786279"/>
                </a:moveTo>
                <a:lnTo>
                  <a:pt x="8864407" y="4786279"/>
                </a:lnTo>
                <a:lnTo>
                  <a:pt x="8868426" y="4790317"/>
                </a:lnTo>
                <a:lnTo>
                  <a:pt x="8868426" y="4800188"/>
                </a:lnTo>
                <a:lnTo>
                  <a:pt x="8864407" y="4804227"/>
                </a:lnTo>
                <a:lnTo>
                  <a:pt x="8854496" y="4804227"/>
                </a:lnTo>
                <a:lnTo>
                  <a:pt x="8850477" y="4800188"/>
                </a:lnTo>
                <a:lnTo>
                  <a:pt x="8850477" y="4790317"/>
                </a:lnTo>
                <a:close/>
                <a:moveTo>
                  <a:pt x="8615184" y="4786279"/>
                </a:moveTo>
                <a:lnTo>
                  <a:pt x="8625095" y="4786279"/>
                </a:lnTo>
                <a:lnTo>
                  <a:pt x="8629114" y="4790317"/>
                </a:lnTo>
                <a:lnTo>
                  <a:pt x="8629114" y="4800188"/>
                </a:lnTo>
                <a:lnTo>
                  <a:pt x="8625095" y="4804227"/>
                </a:lnTo>
                <a:lnTo>
                  <a:pt x="8615184" y="4804227"/>
                </a:lnTo>
                <a:lnTo>
                  <a:pt x="8611165" y="4800188"/>
                </a:lnTo>
                <a:lnTo>
                  <a:pt x="8611165" y="4790317"/>
                </a:lnTo>
                <a:close/>
                <a:moveTo>
                  <a:pt x="8375869" y="4786279"/>
                </a:moveTo>
                <a:lnTo>
                  <a:pt x="8385779" y="4786279"/>
                </a:lnTo>
                <a:lnTo>
                  <a:pt x="8389799" y="4790317"/>
                </a:lnTo>
                <a:lnTo>
                  <a:pt x="8389799" y="4800188"/>
                </a:lnTo>
                <a:lnTo>
                  <a:pt x="8385779" y="4804227"/>
                </a:lnTo>
                <a:lnTo>
                  <a:pt x="8375869" y="4804227"/>
                </a:lnTo>
                <a:lnTo>
                  <a:pt x="8371850" y="4800188"/>
                </a:lnTo>
                <a:lnTo>
                  <a:pt x="8371850" y="4790317"/>
                </a:lnTo>
                <a:close/>
                <a:moveTo>
                  <a:pt x="8136553" y="4786279"/>
                </a:moveTo>
                <a:lnTo>
                  <a:pt x="8146464" y="4786279"/>
                </a:lnTo>
                <a:lnTo>
                  <a:pt x="8150483" y="4790317"/>
                </a:lnTo>
                <a:lnTo>
                  <a:pt x="8150483" y="4800188"/>
                </a:lnTo>
                <a:lnTo>
                  <a:pt x="8146464" y="4804227"/>
                </a:lnTo>
                <a:lnTo>
                  <a:pt x="8136553" y="4804227"/>
                </a:lnTo>
                <a:lnTo>
                  <a:pt x="8132534" y="4800188"/>
                </a:lnTo>
                <a:lnTo>
                  <a:pt x="8132534" y="4790317"/>
                </a:lnTo>
                <a:close/>
                <a:moveTo>
                  <a:pt x="7897241" y="4786279"/>
                </a:moveTo>
                <a:lnTo>
                  <a:pt x="7907151" y="4786279"/>
                </a:lnTo>
                <a:lnTo>
                  <a:pt x="7911170" y="4790317"/>
                </a:lnTo>
                <a:lnTo>
                  <a:pt x="7911170" y="4800188"/>
                </a:lnTo>
                <a:lnTo>
                  <a:pt x="7907151" y="4804227"/>
                </a:lnTo>
                <a:lnTo>
                  <a:pt x="7897241" y="4804227"/>
                </a:lnTo>
                <a:lnTo>
                  <a:pt x="7893222" y="4800188"/>
                </a:lnTo>
                <a:lnTo>
                  <a:pt x="7893222" y="4790317"/>
                </a:lnTo>
                <a:close/>
                <a:moveTo>
                  <a:pt x="7657926" y="4786279"/>
                </a:moveTo>
                <a:lnTo>
                  <a:pt x="7667836" y="4786279"/>
                </a:lnTo>
                <a:lnTo>
                  <a:pt x="7671855" y="4790317"/>
                </a:lnTo>
                <a:lnTo>
                  <a:pt x="7671855" y="4800188"/>
                </a:lnTo>
                <a:lnTo>
                  <a:pt x="7667836" y="4804227"/>
                </a:lnTo>
                <a:lnTo>
                  <a:pt x="7657926" y="4804227"/>
                </a:lnTo>
                <a:lnTo>
                  <a:pt x="7653906" y="4800188"/>
                </a:lnTo>
                <a:lnTo>
                  <a:pt x="7653906" y="4790317"/>
                </a:lnTo>
                <a:close/>
                <a:moveTo>
                  <a:pt x="7418611" y="4786279"/>
                </a:moveTo>
                <a:lnTo>
                  <a:pt x="7428521" y="4786279"/>
                </a:lnTo>
                <a:lnTo>
                  <a:pt x="7432540" y="4790317"/>
                </a:lnTo>
                <a:lnTo>
                  <a:pt x="7432540" y="4800188"/>
                </a:lnTo>
                <a:lnTo>
                  <a:pt x="7428521" y="4804227"/>
                </a:lnTo>
                <a:lnTo>
                  <a:pt x="7418611" y="4804227"/>
                </a:lnTo>
                <a:lnTo>
                  <a:pt x="7414592" y="4800188"/>
                </a:lnTo>
                <a:lnTo>
                  <a:pt x="7414592" y="4790317"/>
                </a:lnTo>
                <a:close/>
                <a:moveTo>
                  <a:pt x="7179298" y="4786279"/>
                </a:moveTo>
                <a:lnTo>
                  <a:pt x="7189209" y="4786279"/>
                </a:lnTo>
                <a:lnTo>
                  <a:pt x="7193228" y="4790317"/>
                </a:lnTo>
                <a:lnTo>
                  <a:pt x="7193228" y="4800188"/>
                </a:lnTo>
                <a:lnTo>
                  <a:pt x="7189209" y="4804227"/>
                </a:lnTo>
                <a:lnTo>
                  <a:pt x="7179298" y="4804227"/>
                </a:lnTo>
                <a:lnTo>
                  <a:pt x="7175279" y="4800188"/>
                </a:lnTo>
                <a:lnTo>
                  <a:pt x="7175279" y="4790317"/>
                </a:lnTo>
                <a:close/>
                <a:moveTo>
                  <a:pt x="6939983" y="4786279"/>
                </a:moveTo>
                <a:lnTo>
                  <a:pt x="6949894" y="4786279"/>
                </a:lnTo>
                <a:lnTo>
                  <a:pt x="6953913" y="4790317"/>
                </a:lnTo>
                <a:lnTo>
                  <a:pt x="6953913" y="4800188"/>
                </a:lnTo>
                <a:lnTo>
                  <a:pt x="6949894" y="4804227"/>
                </a:lnTo>
                <a:lnTo>
                  <a:pt x="6939983" y="4804227"/>
                </a:lnTo>
                <a:lnTo>
                  <a:pt x="6935964" y="4800188"/>
                </a:lnTo>
                <a:lnTo>
                  <a:pt x="6935964" y="4790317"/>
                </a:lnTo>
                <a:close/>
                <a:moveTo>
                  <a:pt x="6700670" y="4786279"/>
                </a:moveTo>
                <a:lnTo>
                  <a:pt x="6710581" y="4786279"/>
                </a:lnTo>
                <a:lnTo>
                  <a:pt x="6714600" y="4790317"/>
                </a:lnTo>
                <a:lnTo>
                  <a:pt x="6714600" y="4800188"/>
                </a:lnTo>
                <a:lnTo>
                  <a:pt x="6710581" y="4804227"/>
                </a:lnTo>
                <a:lnTo>
                  <a:pt x="6700670" y="4804227"/>
                </a:lnTo>
                <a:lnTo>
                  <a:pt x="6696651" y="4800188"/>
                </a:lnTo>
                <a:lnTo>
                  <a:pt x="6696651" y="4790317"/>
                </a:lnTo>
                <a:close/>
                <a:moveTo>
                  <a:pt x="6461356" y="4786279"/>
                </a:moveTo>
                <a:lnTo>
                  <a:pt x="6471266" y="4786279"/>
                </a:lnTo>
                <a:lnTo>
                  <a:pt x="6475285" y="4790317"/>
                </a:lnTo>
                <a:lnTo>
                  <a:pt x="6475285" y="4800188"/>
                </a:lnTo>
                <a:lnTo>
                  <a:pt x="6471266" y="4804227"/>
                </a:lnTo>
                <a:lnTo>
                  <a:pt x="6461356" y="4804227"/>
                </a:lnTo>
                <a:lnTo>
                  <a:pt x="6457337" y="4800188"/>
                </a:lnTo>
                <a:lnTo>
                  <a:pt x="6457337" y="4790317"/>
                </a:lnTo>
                <a:close/>
                <a:moveTo>
                  <a:pt x="6222042" y="4786279"/>
                </a:moveTo>
                <a:lnTo>
                  <a:pt x="6231952" y="4786279"/>
                </a:lnTo>
                <a:lnTo>
                  <a:pt x="6235971" y="4790317"/>
                </a:lnTo>
                <a:lnTo>
                  <a:pt x="6235971" y="4800188"/>
                </a:lnTo>
                <a:lnTo>
                  <a:pt x="6231952" y="4804227"/>
                </a:lnTo>
                <a:lnTo>
                  <a:pt x="6222042" y="4804227"/>
                </a:lnTo>
                <a:lnTo>
                  <a:pt x="6218023" y="4800188"/>
                </a:lnTo>
                <a:lnTo>
                  <a:pt x="6218023" y="4790317"/>
                </a:lnTo>
                <a:close/>
                <a:moveTo>
                  <a:pt x="5982729" y="4786279"/>
                </a:moveTo>
                <a:lnTo>
                  <a:pt x="5992639" y="4786279"/>
                </a:lnTo>
                <a:lnTo>
                  <a:pt x="5996658" y="4790317"/>
                </a:lnTo>
                <a:lnTo>
                  <a:pt x="5996658" y="4800188"/>
                </a:lnTo>
                <a:lnTo>
                  <a:pt x="5992639" y="4804227"/>
                </a:lnTo>
                <a:lnTo>
                  <a:pt x="5982729" y="4804227"/>
                </a:lnTo>
                <a:lnTo>
                  <a:pt x="5978710" y="4800188"/>
                </a:lnTo>
                <a:lnTo>
                  <a:pt x="5978710" y="4790317"/>
                </a:lnTo>
                <a:close/>
                <a:moveTo>
                  <a:pt x="5743412" y="4786279"/>
                </a:moveTo>
                <a:lnTo>
                  <a:pt x="5753323" y="4786279"/>
                </a:lnTo>
                <a:lnTo>
                  <a:pt x="5757342" y="4790317"/>
                </a:lnTo>
                <a:lnTo>
                  <a:pt x="5757342" y="4800188"/>
                </a:lnTo>
                <a:lnTo>
                  <a:pt x="5753323" y="4804227"/>
                </a:lnTo>
                <a:lnTo>
                  <a:pt x="5743412" y="4804227"/>
                </a:lnTo>
                <a:lnTo>
                  <a:pt x="5739393" y="4800188"/>
                </a:lnTo>
                <a:lnTo>
                  <a:pt x="5739393" y="4790317"/>
                </a:lnTo>
                <a:close/>
                <a:moveTo>
                  <a:pt x="5504099" y="4786279"/>
                </a:moveTo>
                <a:lnTo>
                  <a:pt x="5514010" y="4786279"/>
                </a:lnTo>
                <a:lnTo>
                  <a:pt x="5518029" y="4790317"/>
                </a:lnTo>
                <a:lnTo>
                  <a:pt x="5518029" y="4800188"/>
                </a:lnTo>
                <a:lnTo>
                  <a:pt x="5514010" y="4804227"/>
                </a:lnTo>
                <a:lnTo>
                  <a:pt x="5504099" y="4804227"/>
                </a:lnTo>
                <a:lnTo>
                  <a:pt x="5500080" y="4800188"/>
                </a:lnTo>
                <a:lnTo>
                  <a:pt x="5500080" y="4790317"/>
                </a:lnTo>
                <a:close/>
                <a:moveTo>
                  <a:pt x="5264784" y="4786279"/>
                </a:moveTo>
                <a:lnTo>
                  <a:pt x="5274694" y="4786279"/>
                </a:lnTo>
                <a:lnTo>
                  <a:pt x="5278713" y="4790317"/>
                </a:lnTo>
                <a:lnTo>
                  <a:pt x="5278713" y="4800188"/>
                </a:lnTo>
                <a:lnTo>
                  <a:pt x="5274694" y="4804227"/>
                </a:lnTo>
                <a:lnTo>
                  <a:pt x="5264784" y="4804227"/>
                </a:lnTo>
                <a:lnTo>
                  <a:pt x="5260765" y="4800188"/>
                </a:lnTo>
                <a:lnTo>
                  <a:pt x="5260765" y="4790317"/>
                </a:lnTo>
                <a:close/>
                <a:moveTo>
                  <a:pt x="5025470" y="4786279"/>
                </a:moveTo>
                <a:lnTo>
                  <a:pt x="5035381" y="4786279"/>
                </a:lnTo>
                <a:lnTo>
                  <a:pt x="5039400" y="4790317"/>
                </a:lnTo>
                <a:lnTo>
                  <a:pt x="5039400" y="4800188"/>
                </a:lnTo>
                <a:lnTo>
                  <a:pt x="5035381" y="4804227"/>
                </a:lnTo>
                <a:lnTo>
                  <a:pt x="5025470" y="4804227"/>
                </a:lnTo>
                <a:lnTo>
                  <a:pt x="5021451" y="4800188"/>
                </a:lnTo>
                <a:lnTo>
                  <a:pt x="5021451" y="4790317"/>
                </a:lnTo>
                <a:close/>
                <a:moveTo>
                  <a:pt x="4786241" y="4786279"/>
                </a:moveTo>
                <a:lnTo>
                  <a:pt x="4796152" y="4786279"/>
                </a:lnTo>
                <a:lnTo>
                  <a:pt x="4800171" y="4790317"/>
                </a:lnTo>
                <a:lnTo>
                  <a:pt x="4800171" y="4800188"/>
                </a:lnTo>
                <a:lnTo>
                  <a:pt x="4796152" y="4804227"/>
                </a:lnTo>
                <a:lnTo>
                  <a:pt x="4786241" y="4804227"/>
                </a:lnTo>
                <a:lnTo>
                  <a:pt x="4782224" y="4800188"/>
                </a:lnTo>
                <a:lnTo>
                  <a:pt x="4782224" y="4790317"/>
                </a:lnTo>
                <a:close/>
                <a:moveTo>
                  <a:pt x="4546929" y="4786279"/>
                </a:moveTo>
                <a:lnTo>
                  <a:pt x="4556840" y="4786279"/>
                </a:lnTo>
                <a:lnTo>
                  <a:pt x="4560859" y="4790317"/>
                </a:lnTo>
                <a:lnTo>
                  <a:pt x="4560859" y="4800188"/>
                </a:lnTo>
                <a:lnTo>
                  <a:pt x="4556840" y="4804227"/>
                </a:lnTo>
                <a:lnTo>
                  <a:pt x="4546929" y="4804227"/>
                </a:lnTo>
                <a:lnTo>
                  <a:pt x="4542910" y="4800188"/>
                </a:lnTo>
                <a:lnTo>
                  <a:pt x="4542910" y="4790317"/>
                </a:lnTo>
                <a:close/>
                <a:moveTo>
                  <a:pt x="4307612" y="4786279"/>
                </a:moveTo>
                <a:lnTo>
                  <a:pt x="4317523" y="4786279"/>
                </a:lnTo>
                <a:lnTo>
                  <a:pt x="4321543" y="4790317"/>
                </a:lnTo>
                <a:lnTo>
                  <a:pt x="4321543" y="4800188"/>
                </a:lnTo>
                <a:lnTo>
                  <a:pt x="4317523" y="4804227"/>
                </a:lnTo>
                <a:lnTo>
                  <a:pt x="4307612" y="4804227"/>
                </a:lnTo>
                <a:lnTo>
                  <a:pt x="4303595" y="4800188"/>
                </a:lnTo>
                <a:lnTo>
                  <a:pt x="4303595" y="4790317"/>
                </a:lnTo>
                <a:close/>
                <a:moveTo>
                  <a:pt x="4068297" y="4786279"/>
                </a:moveTo>
                <a:lnTo>
                  <a:pt x="4078210" y="4786279"/>
                </a:lnTo>
                <a:lnTo>
                  <a:pt x="4082229" y="4790317"/>
                </a:lnTo>
                <a:lnTo>
                  <a:pt x="4082229" y="4800188"/>
                </a:lnTo>
                <a:lnTo>
                  <a:pt x="4078210" y="4804227"/>
                </a:lnTo>
                <a:lnTo>
                  <a:pt x="4068297" y="4804227"/>
                </a:lnTo>
                <a:lnTo>
                  <a:pt x="4064278" y="4800188"/>
                </a:lnTo>
                <a:lnTo>
                  <a:pt x="4064278" y="4790317"/>
                </a:lnTo>
                <a:close/>
                <a:moveTo>
                  <a:pt x="3828990" y="4786279"/>
                </a:moveTo>
                <a:lnTo>
                  <a:pt x="3838899" y="4786279"/>
                </a:lnTo>
                <a:lnTo>
                  <a:pt x="3842917" y="4790317"/>
                </a:lnTo>
                <a:lnTo>
                  <a:pt x="3842917" y="4800188"/>
                </a:lnTo>
                <a:lnTo>
                  <a:pt x="3838899" y="4804227"/>
                </a:lnTo>
                <a:lnTo>
                  <a:pt x="3828990" y="4804227"/>
                </a:lnTo>
                <a:lnTo>
                  <a:pt x="3824971" y="4800188"/>
                </a:lnTo>
                <a:lnTo>
                  <a:pt x="3824971" y="4790317"/>
                </a:lnTo>
                <a:close/>
                <a:moveTo>
                  <a:pt x="3589676" y="4786279"/>
                </a:moveTo>
                <a:lnTo>
                  <a:pt x="3599585" y="4786279"/>
                </a:lnTo>
                <a:lnTo>
                  <a:pt x="3603604" y="4790317"/>
                </a:lnTo>
                <a:lnTo>
                  <a:pt x="3603604" y="4800188"/>
                </a:lnTo>
                <a:lnTo>
                  <a:pt x="3599585" y="4804227"/>
                </a:lnTo>
                <a:lnTo>
                  <a:pt x="3589676" y="4804227"/>
                </a:lnTo>
                <a:lnTo>
                  <a:pt x="3585657" y="4800188"/>
                </a:lnTo>
                <a:lnTo>
                  <a:pt x="3585657" y="4790317"/>
                </a:lnTo>
                <a:close/>
                <a:moveTo>
                  <a:pt x="3350359" y="4786279"/>
                </a:moveTo>
                <a:lnTo>
                  <a:pt x="3360268" y="4786279"/>
                </a:lnTo>
                <a:lnTo>
                  <a:pt x="3364287" y="4790317"/>
                </a:lnTo>
                <a:lnTo>
                  <a:pt x="3364287" y="4800188"/>
                </a:lnTo>
                <a:lnTo>
                  <a:pt x="3360268" y="4804227"/>
                </a:lnTo>
                <a:lnTo>
                  <a:pt x="3350359" y="4804227"/>
                </a:lnTo>
                <a:lnTo>
                  <a:pt x="3346340" y="4800188"/>
                </a:lnTo>
                <a:lnTo>
                  <a:pt x="3346340" y="4790317"/>
                </a:lnTo>
                <a:close/>
                <a:moveTo>
                  <a:pt x="3111048" y="4786279"/>
                </a:moveTo>
                <a:lnTo>
                  <a:pt x="3120959" y="4786279"/>
                </a:lnTo>
                <a:lnTo>
                  <a:pt x="3124977" y="4790317"/>
                </a:lnTo>
                <a:lnTo>
                  <a:pt x="3124977" y="4800188"/>
                </a:lnTo>
                <a:lnTo>
                  <a:pt x="3120959" y="4804227"/>
                </a:lnTo>
                <a:lnTo>
                  <a:pt x="3111048" y="4804227"/>
                </a:lnTo>
                <a:lnTo>
                  <a:pt x="3107029" y="4800188"/>
                </a:lnTo>
                <a:lnTo>
                  <a:pt x="3107029" y="4790317"/>
                </a:lnTo>
                <a:close/>
                <a:moveTo>
                  <a:pt x="2871737" y="4786279"/>
                </a:moveTo>
                <a:lnTo>
                  <a:pt x="2881646" y="4786279"/>
                </a:lnTo>
                <a:lnTo>
                  <a:pt x="2885666" y="4790317"/>
                </a:lnTo>
                <a:lnTo>
                  <a:pt x="2885666" y="4800188"/>
                </a:lnTo>
                <a:lnTo>
                  <a:pt x="2881646" y="4804227"/>
                </a:lnTo>
                <a:lnTo>
                  <a:pt x="2871737" y="4804227"/>
                </a:lnTo>
                <a:lnTo>
                  <a:pt x="2867717" y="4800188"/>
                </a:lnTo>
                <a:lnTo>
                  <a:pt x="2867717" y="4790317"/>
                </a:lnTo>
                <a:close/>
                <a:moveTo>
                  <a:pt x="2632423" y="4786279"/>
                </a:moveTo>
                <a:lnTo>
                  <a:pt x="2642334" y="4786279"/>
                </a:lnTo>
                <a:lnTo>
                  <a:pt x="2646352" y="4790317"/>
                </a:lnTo>
                <a:lnTo>
                  <a:pt x="2646352" y="4800188"/>
                </a:lnTo>
                <a:lnTo>
                  <a:pt x="2642334" y="4804227"/>
                </a:lnTo>
                <a:lnTo>
                  <a:pt x="2632423" y="4804227"/>
                </a:lnTo>
                <a:lnTo>
                  <a:pt x="2628404" y="4800188"/>
                </a:lnTo>
                <a:lnTo>
                  <a:pt x="2628404" y="4790317"/>
                </a:lnTo>
                <a:close/>
                <a:moveTo>
                  <a:pt x="2393104" y="4786279"/>
                </a:moveTo>
                <a:lnTo>
                  <a:pt x="2403015" y="4786279"/>
                </a:lnTo>
                <a:lnTo>
                  <a:pt x="2407034" y="4790317"/>
                </a:lnTo>
                <a:lnTo>
                  <a:pt x="2407034" y="4800188"/>
                </a:lnTo>
                <a:lnTo>
                  <a:pt x="2403015" y="4804227"/>
                </a:lnTo>
                <a:lnTo>
                  <a:pt x="2393104" y="4804227"/>
                </a:lnTo>
                <a:lnTo>
                  <a:pt x="2389087" y="4800188"/>
                </a:lnTo>
                <a:lnTo>
                  <a:pt x="2389087" y="4790317"/>
                </a:lnTo>
                <a:close/>
                <a:moveTo>
                  <a:pt x="2157819" y="4786279"/>
                </a:moveTo>
                <a:lnTo>
                  <a:pt x="2167729" y="4786279"/>
                </a:lnTo>
                <a:lnTo>
                  <a:pt x="2171748" y="4790317"/>
                </a:lnTo>
                <a:lnTo>
                  <a:pt x="2171748" y="4800188"/>
                </a:lnTo>
                <a:lnTo>
                  <a:pt x="2167729" y="4804227"/>
                </a:lnTo>
                <a:lnTo>
                  <a:pt x="2157819" y="4804227"/>
                </a:lnTo>
                <a:lnTo>
                  <a:pt x="2153800" y="4800188"/>
                </a:lnTo>
                <a:lnTo>
                  <a:pt x="2153800" y="4790317"/>
                </a:lnTo>
                <a:close/>
                <a:moveTo>
                  <a:pt x="1918510" y="4786279"/>
                </a:moveTo>
                <a:lnTo>
                  <a:pt x="1928420" y="4786279"/>
                </a:lnTo>
                <a:lnTo>
                  <a:pt x="1932440" y="4790317"/>
                </a:lnTo>
                <a:lnTo>
                  <a:pt x="1932440" y="4800188"/>
                </a:lnTo>
                <a:lnTo>
                  <a:pt x="1928420" y="4804227"/>
                </a:lnTo>
                <a:lnTo>
                  <a:pt x="1918510" y="4804227"/>
                </a:lnTo>
                <a:lnTo>
                  <a:pt x="1914492" y="4800188"/>
                </a:lnTo>
                <a:lnTo>
                  <a:pt x="1914492" y="4790317"/>
                </a:lnTo>
                <a:close/>
                <a:moveTo>
                  <a:pt x="1679205" y="4786279"/>
                </a:moveTo>
                <a:lnTo>
                  <a:pt x="1689115" y="4786279"/>
                </a:lnTo>
                <a:lnTo>
                  <a:pt x="1693134" y="4790317"/>
                </a:lnTo>
                <a:lnTo>
                  <a:pt x="1693134" y="4800188"/>
                </a:lnTo>
                <a:lnTo>
                  <a:pt x="1689115" y="4804227"/>
                </a:lnTo>
                <a:lnTo>
                  <a:pt x="1679205" y="4804227"/>
                </a:lnTo>
                <a:lnTo>
                  <a:pt x="1675187" y="4800188"/>
                </a:lnTo>
                <a:lnTo>
                  <a:pt x="1675187" y="4790317"/>
                </a:lnTo>
                <a:close/>
                <a:moveTo>
                  <a:pt x="1439890" y="4786279"/>
                </a:moveTo>
                <a:lnTo>
                  <a:pt x="1449800" y="4786279"/>
                </a:lnTo>
                <a:lnTo>
                  <a:pt x="1453818" y="4790317"/>
                </a:lnTo>
                <a:lnTo>
                  <a:pt x="1453818" y="4800188"/>
                </a:lnTo>
                <a:lnTo>
                  <a:pt x="1449800" y="4804227"/>
                </a:lnTo>
                <a:lnTo>
                  <a:pt x="1439890" y="4804227"/>
                </a:lnTo>
                <a:lnTo>
                  <a:pt x="1435870" y="4800188"/>
                </a:lnTo>
                <a:lnTo>
                  <a:pt x="1435870" y="4790317"/>
                </a:lnTo>
                <a:close/>
                <a:moveTo>
                  <a:pt x="1200574" y="4786279"/>
                </a:moveTo>
                <a:lnTo>
                  <a:pt x="1210484" y="4786279"/>
                </a:lnTo>
                <a:lnTo>
                  <a:pt x="1214503" y="4790317"/>
                </a:lnTo>
                <a:lnTo>
                  <a:pt x="1214503" y="4800188"/>
                </a:lnTo>
                <a:lnTo>
                  <a:pt x="1210484" y="4804227"/>
                </a:lnTo>
                <a:lnTo>
                  <a:pt x="1200574" y="4804227"/>
                </a:lnTo>
                <a:lnTo>
                  <a:pt x="1196555" y="4800188"/>
                </a:lnTo>
                <a:lnTo>
                  <a:pt x="1196555" y="4790317"/>
                </a:lnTo>
                <a:close/>
                <a:moveTo>
                  <a:pt x="961262" y="4786279"/>
                </a:moveTo>
                <a:lnTo>
                  <a:pt x="971172" y="4786279"/>
                </a:lnTo>
                <a:lnTo>
                  <a:pt x="975190" y="4790317"/>
                </a:lnTo>
                <a:lnTo>
                  <a:pt x="975190" y="4800188"/>
                </a:lnTo>
                <a:lnTo>
                  <a:pt x="971172" y="4804227"/>
                </a:lnTo>
                <a:lnTo>
                  <a:pt x="961262" y="4804227"/>
                </a:lnTo>
                <a:lnTo>
                  <a:pt x="957242" y="4800188"/>
                </a:lnTo>
                <a:lnTo>
                  <a:pt x="957242" y="4790317"/>
                </a:lnTo>
                <a:close/>
                <a:moveTo>
                  <a:pt x="721963" y="4786279"/>
                </a:moveTo>
                <a:lnTo>
                  <a:pt x="731873" y="4786279"/>
                </a:lnTo>
                <a:lnTo>
                  <a:pt x="735892" y="4790317"/>
                </a:lnTo>
                <a:lnTo>
                  <a:pt x="735892" y="4800188"/>
                </a:lnTo>
                <a:lnTo>
                  <a:pt x="731873" y="4804227"/>
                </a:lnTo>
                <a:lnTo>
                  <a:pt x="721963" y="4804227"/>
                </a:lnTo>
                <a:lnTo>
                  <a:pt x="717944" y="4800188"/>
                </a:lnTo>
                <a:lnTo>
                  <a:pt x="717944" y="4790317"/>
                </a:lnTo>
                <a:close/>
                <a:moveTo>
                  <a:pt x="482651" y="4786279"/>
                </a:moveTo>
                <a:lnTo>
                  <a:pt x="492561" y="4786279"/>
                </a:lnTo>
                <a:lnTo>
                  <a:pt x="496580" y="4790317"/>
                </a:lnTo>
                <a:lnTo>
                  <a:pt x="496580" y="4800188"/>
                </a:lnTo>
                <a:lnTo>
                  <a:pt x="492561" y="4804227"/>
                </a:lnTo>
                <a:lnTo>
                  <a:pt x="482651" y="4804227"/>
                </a:lnTo>
                <a:lnTo>
                  <a:pt x="478632" y="4800188"/>
                </a:lnTo>
                <a:lnTo>
                  <a:pt x="478632" y="4790317"/>
                </a:lnTo>
                <a:close/>
                <a:moveTo>
                  <a:pt x="243338" y="4786279"/>
                </a:moveTo>
                <a:lnTo>
                  <a:pt x="253247" y="4786279"/>
                </a:lnTo>
                <a:lnTo>
                  <a:pt x="257266" y="4790317"/>
                </a:lnTo>
                <a:lnTo>
                  <a:pt x="257266" y="4800188"/>
                </a:lnTo>
                <a:lnTo>
                  <a:pt x="253247" y="4804227"/>
                </a:lnTo>
                <a:lnTo>
                  <a:pt x="243338" y="4804227"/>
                </a:lnTo>
                <a:lnTo>
                  <a:pt x="239318" y="4800188"/>
                </a:lnTo>
                <a:lnTo>
                  <a:pt x="239318" y="4790317"/>
                </a:lnTo>
                <a:close/>
                <a:moveTo>
                  <a:pt x="4024" y="4786279"/>
                </a:moveTo>
                <a:lnTo>
                  <a:pt x="13934" y="4786279"/>
                </a:lnTo>
                <a:lnTo>
                  <a:pt x="17954" y="4790317"/>
                </a:lnTo>
                <a:lnTo>
                  <a:pt x="17954" y="4800188"/>
                </a:lnTo>
                <a:lnTo>
                  <a:pt x="13934" y="4804227"/>
                </a:lnTo>
                <a:lnTo>
                  <a:pt x="4024" y="4804227"/>
                </a:lnTo>
                <a:lnTo>
                  <a:pt x="5" y="4800188"/>
                </a:lnTo>
                <a:lnTo>
                  <a:pt x="5" y="4790317"/>
                </a:lnTo>
                <a:close/>
                <a:moveTo>
                  <a:pt x="2157819" y="4546999"/>
                </a:moveTo>
                <a:lnTo>
                  <a:pt x="2167729" y="4546999"/>
                </a:lnTo>
                <a:lnTo>
                  <a:pt x="2171748" y="4551038"/>
                </a:lnTo>
                <a:lnTo>
                  <a:pt x="2171748" y="4560909"/>
                </a:lnTo>
                <a:lnTo>
                  <a:pt x="2167729" y="4564948"/>
                </a:lnTo>
                <a:lnTo>
                  <a:pt x="2157819" y="4564948"/>
                </a:lnTo>
                <a:lnTo>
                  <a:pt x="2153801" y="4560909"/>
                </a:lnTo>
                <a:lnTo>
                  <a:pt x="2153801" y="4551038"/>
                </a:lnTo>
                <a:close/>
                <a:moveTo>
                  <a:pt x="1918510" y="4546999"/>
                </a:moveTo>
                <a:lnTo>
                  <a:pt x="1928421" y="4546999"/>
                </a:lnTo>
                <a:lnTo>
                  <a:pt x="1932440" y="4551038"/>
                </a:lnTo>
                <a:lnTo>
                  <a:pt x="1932440" y="4560909"/>
                </a:lnTo>
                <a:lnTo>
                  <a:pt x="1928421" y="4564948"/>
                </a:lnTo>
                <a:lnTo>
                  <a:pt x="1918510" y="4564948"/>
                </a:lnTo>
                <a:lnTo>
                  <a:pt x="1914492" y="4560909"/>
                </a:lnTo>
                <a:lnTo>
                  <a:pt x="1914492" y="4551038"/>
                </a:lnTo>
                <a:close/>
                <a:moveTo>
                  <a:pt x="1679206" y="4546999"/>
                </a:moveTo>
                <a:lnTo>
                  <a:pt x="1689116" y="4546999"/>
                </a:lnTo>
                <a:lnTo>
                  <a:pt x="1693134" y="4551038"/>
                </a:lnTo>
                <a:lnTo>
                  <a:pt x="1693134" y="4560909"/>
                </a:lnTo>
                <a:lnTo>
                  <a:pt x="1689116" y="4564948"/>
                </a:lnTo>
                <a:lnTo>
                  <a:pt x="1679206" y="4564948"/>
                </a:lnTo>
                <a:lnTo>
                  <a:pt x="1675187" y="4560909"/>
                </a:lnTo>
                <a:lnTo>
                  <a:pt x="1675187" y="4551038"/>
                </a:lnTo>
                <a:close/>
                <a:moveTo>
                  <a:pt x="1439890" y="4546999"/>
                </a:moveTo>
                <a:lnTo>
                  <a:pt x="1449800" y="4546999"/>
                </a:lnTo>
                <a:lnTo>
                  <a:pt x="1453819" y="4551038"/>
                </a:lnTo>
                <a:lnTo>
                  <a:pt x="1453819" y="4560909"/>
                </a:lnTo>
                <a:lnTo>
                  <a:pt x="1449800" y="4564948"/>
                </a:lnTo>
                <a:lnTo>
                  <a:pt x="1439890" y="4564948"/>
                </a:lnTo>
                <a:lnTo>
                  <a:pt x="1435871" y="4560909"/>
                </a:lnTo>
                <a:lnTo>
                  <a:pt x="1435871" y="4551038"/>
                </a:lnTo>
                <a:close/>
                <a:moveTo>
                  <a:pt x="1200575" y="4546999"/>
                </a:moveTo>
                <a:lnTo>
                  <a:pt x="1210485" y="4546999"/>
                </a:lnTo>
                <a:lnTo>
                  <a:pt x="1214504" y="4551038"/>
                </a:lnTo>
                <a:lnTo>
                  <a:pt x="1214504" y="4560909"/>
                </a:lnTo>
                <a:lnTo>
                  <a:pt x="1210485" y="4564948"/>
                </a:lnTo>
                <a:lnTo>
                  <a:pt x="1200575" y="4564948"/>
                </a:lnTo>
                <a:lnTo>
                  <a:pt x="1196556" y="4560909"/>
                </a:lnTo>
                <a:lnTo>
                  <a:pt x="1196556" y="4551038"/>
                </a:lnTo>
                <a:close/>
                <a:moveTo>
                  <a:pt x="961262" y="4546999"/>
                </a:moveTo>
                <a:lnTo>
                  <a:pt x="971172" y="4546999"/>
                </a:lnTo>
                <a:lnTo>
                  <a:pt x="975191" y="4551038"/>
                </a:lnTo>
                <a:lnTo>
                  <a:pt x="975191" y="4560909"/>
                </a:lnTo>
                <a:lnTo>
                  <a:pt x="971172" y="4564948"/>
                </a:lnTo>
                <a:lnTo>
                  <a:pt x="961262" y="4564948"/>
                </a:lnTo>
                <a:lnTo>
                  <a:pt x="957243" y="4560909"/>
                </a:lnTo>
                <a:lnTo>
                  <a:pt x="957243" y="4551038"/>
                </a:lnTo>
                <a:close/>
                <a:moveTo>
                  <a:pt x="9572438" y="4546948"/>
                </a:moveTo>
                <a:lnTo>
                  <a:pt x="9582349" y="4546948"/>
                </a:lnTo>
                <a:lnTo>
                  <a:pt x="9586368" y="4550987"/>
                </a:lnTo>
                <a:lnTo>
                  <a:pt x="9586368" y="4560858"/>
                </a:lnTo>
                <a:lnTo>
                  <a:pt x="9582349" y="4564897"/>
                </a:lnTo>
                <a:lnTo>
                  <a:pt x="9572438" y="4564897"/>
                </a:lnTo>
                <a:lnTo>
                  <a:pt x="9568419" y="4560858"/>
                </a:lnTo>
                <a:lnTo>
                  <a:pt x="9568419" y="4550987"/>
                </a:lnTo>
                <a:close/>
                <a:moveTo>
                  <a:pt x="9333125" y="4546948"/>
                </a:moveTo>
                <a:lnTo>
                  <a:pt x="9343036" y="4546948"/>
                </a:lnTo>
                <a:lnTo>
                  <a:pt x="9347055" y="4550987"/>
                </a:lnTo>
                <a:lnTo>
                  <a:pt x="9347055" y="4560858"/>
                </a:lnTo>
                <a:lnTo>
                  <a:pt x="9343036" y="4564897"/>
                </a:lnTo>
                <a:lnTo>
                  <a:pt x="9333125" y="4564897"/>
                </a:lnTo>
                <a:lnTo>
                  <a:pt x="9329106" y="4560858"/>
                </a:lnTo>
                <a:lnTo>
                  <a:pt x="9329106" y="4550987"/>
                </a:lnTo>
                <a:close/>
                <a:moveTo>
                  <a:pt x="9093811" y="4546948"/>
                </a:moveTo>
                <a:lnTo>
                  <a:pt x="9103722" y="4546948"/>
                </a:lnTo>
                <a:lnTo>
                  <a:pt x="9107741" y="4550987"/>
                </a:lnTo>
                <a:lnTo>
                  <a:pt x="9107741" y="4560858"/>
                </a:lnTo>
                <a:lnTo>
                  <a:pt x="9103722" y="4564897"/>
                </a:lnTo>
                <a:lnTo>
                  <a:pt x="9093811" y="4564897"/>
                </a:lnTo>
                <a:lnTo>
                  <a:pt x="9089792" y="4560858"/>
                </a:lnTo>
                <a:lnTo>
                  <a:pt x="9089792" y="4550987"/>
                </a:lnTo>
                <a:close/>
                <a:moveTo>
                  <a:pt x="8854496" y="4546948"/>
                </a:moveTo>
                <a:lnTo>
                  <a:pt x="8864407" y="4546948"/>
                </a:lnTo>
                <a:lnTo>
                  <a:pt x="8868426" y="4550987"/>
                </a:lnTo>
                <a:lnTo>
                  <a:pt x="8868426" y="4560858"/>
                </a:lnTo>
                <a:lnTo>
                  <a:pt x="8864407" y="4564897"/>
                </a:lnTo>
                <a:lnTo>
                  <a:pt x="8854496" y="4564897"/>
                </a:lnTo>
                <a:lnTo>
                  <a:pt x="8850477" y="4560858"/>
                </a:lnTo>
                <a:lnTo>
                  <a:pt x="8850477" y="4550987"/>
                </a:lnTo>
                <a:close/>
                <a:moveTo>
                  <a:pt x="8615184" y="4546948"/>
                </a:moveTo>
                <a:lnTo>
                  <a:pt x="8625095" y="4546948"/>
                </a:lnTo>
                <a:lnTo>
                  <a:pt x="8629114" y="4550987"/>
                </a:lnTo>
                <a:lnTo>
                  <a:pt x="8629114" y="4560858"/>
                </a:lnTo>
                <a:lnTo>
                  <a:pt x="8625095" y="4564897"/>
                </a:lnTo>
                <a:lnTo>
                  <a:pt x="8615184" y="4564897"/>
                </a:lnTo>
                <a:lnTo>
                  <a:pt x="8611165" y="4560858"/>
                </a:lnTo>
                <a:lnTo>
                  <a:pt x="8611165" y="4550987"/>
                </a:lnTo>
                <a:close/>
                <a:moveTo>
                  <a:pt x="8375869" y="4546948"/>
                </a:moveTo>
                <a:lnTo>
                  <a:pt x="8385779" y="4546948"/>
                </a:lnTo>
                <a:lnTo>
                  <a:pt x="8389799" y="4550987"/>
                </a:lnTo>
                <a:lnTo>
                  <a:pt x="8389799" y="4560858"/>
                </a:lnTo>
                <a:lnTo>
                  <a:pt x="8385779" y="4564897"/>
                </a:lnTo>
                <a:lnTo>
                  <a:pt x="8375869" y="4564897"/>
                </a:lnTo>
                <a:lnTo>
                  <a:pt x="8371850" y="4560858"/>
                </a:lnTo>
                <a:lnTo>
                  <a:pt x="8371850" y="4550987"/>
                </a:lnTo>
                <a:close/>
                <a:moveTo>
                  <a:pt x="8136553" y="4546948"/>
                </a:moveTo>
                <a:lnTo>
                  <a:pt x="8146464" y="4546948"/>
                </a:lnTo>
                <a:lnTo>
                  <a:pt x="8150483" y="4550987"/>
                </a:lnTo>
                <a:lnTo>
                  <a:pt x="8150483" y="4560858"/>
                </a:lnTo>
                <a:lnTo>
                  <a:pt x="8146464" y="4564897"/>
                </a:lnTo>
                <a:lnTo>
                  <a:pt x="8136553" y="4564897"/>
                </a:lnTo>
                <a:lnTo>
                  <a:pt x="8132534" y="4560858"/>
                </a:lnTo>
                <a:lnTo>
                  <a:pt x="8132534" y="4550987"/>
                </a:lnTo>
                <a:close/>
                <a:moveTo>
                  <a:pt x="7897241" y="4546948"/>
                </a:moveTo>
                <a:lnTo>
                  <a:pt x="7907151" y="4546948"/>
                </a:lnTo>
                <a:lnTo>
                  <a:pt x="7911170" y="4550987"/>
                </a:lnTo>
                <a:lnTo>
                  <a:pt x="7911170" y="4560858"/>
                </a:lnTo>
                <a:lnTo>
                  <a:pt x="7907151" y="4564897"/>
                </a:lnTo>
                <a:lnTo>
                  <a:pt x="7897241" y="4564897"/>
                </a:lnTo>
                <a:lnTo>
                  <a:pt x="7893222" y="4560858"/>
                </a:lnTo>
                <a:lnTo>
                  <a:pt x="7893222" y="4550987"/>
                </a:lnTo>
                <a:close/>
                <a:moveTo>
                  <a:pt x="7657926" y="4546948"/>
                </a:moveTo>
                <a:lnTo>
                  <a:pt x="7667836" y="4546948"/>
                </a:lnTo>
                <a:lnTo>
                  <a:pt x="7671855" y="4550987"/>
                </a:lnTo>
                <a:lnTo>
                  <a:pt x="7671855" y="4560858"/>
                </a:lnTo>
                <a:lnTo>
                  <a:pt x="7667836" y="4564897"/>
                </a:lnTo>
                <a:lnTo>
                  <a:pt x="7657926" y="4564897"/>
                </a:lnTo>
                <a:lnTo>
                  <a:pt x="7653906" y="4560858"/>
                </a:lnTo>
                <a:lnTo>
                  <a:pt x="7653906" y="4550987"/>
                </a:lnTo>
                <a:close/>
                <a:moveTo>
                  <a:pt x="7418611" y="4546948"/>
                </a:moveTo>
                <a:lnTo>
                  <a:pt x="7428521" y="4546948"/>
                </a:lnTo>
                <a:lnTo>
                  <a:pt x="7432540" y="4550987"/>
                </a:lnTo>
                <a:lnTo>
                  <a:pt x="7432540" y="4560858"/>
                </a:lnTo>
                <a:lnTo>
                  <a:pt x="7428521" y="4564897"/>
                </a:lnTo>
                <a:lnTo>
                  <a:pt x="7418611" y="4564897"/>
                </a:lnTo>
                <a:lnTo>
                  <a:pt x="7414592" y="4560858"/>
                </a:lnTo>
                <a:lnTo>
                  <a:pt x="7414592" y="4550987"/>
                </a:lnTo>
                <a:close/>
                <a:moveTo>
                  <a:pt x="7179298" y="4546948"/>
                </a:moveTo>
                <a:lnTo>
                  <a:pt x="7189209" y="4546948"/>
                </a:lnTo>
                <a:lnTo>
                  <a:pt x="7193228" y="4550987"/>
                </a:lnTo>
                <a:lnTo>
                  <a:pt x="7193228" y="4560858"/>
                </a:lnTo>
                <a:lnTo>
                  <a:pt x="7189209" y="4564897"/>
                </a:lnTo>
                <a:lnTo>
                  <a:pt x="7179298" y="4564897"/>
                </a:lnTo>
                <a:lnTo>
                  <a:pt x="7175279" y="4560858"/>
                </a:lnTo>
                <a:lnTo>
                  <a:pt x="7175279" y="4550987"/>
                </a:lnTo>
                <a:close/>
                <a:moveTo>
                  <a:pt x="6939983" y="4546948"/>
                </a:moveTo>
                <a:lnTo>
                  <a:pt x="6949894" y="4546948"/>
                </a:lnTo>
                <a:lnTo>
                  <a:pt x="6953913" y="4550987"/>
                </a:lnTo>
                <a:lnTo>
                  <a:pt x="6953913" y="4560858"/>
                </a:lnTo>
                <a:lnTo>
                  <a:pt x="6949894" y="4564897"/>
                </a:lnTo>
                <a:lnTo>
                  <a:pt x="6939983" y="4564897"/>
                </a:lnTo>
                <a:lnTo>
                  <a:pt x="6935964" y="4560858"/>
                </a:lnTo>
                <a:lnTo>
                  <a:pt x="6935964" y="4550987"/>
                </a:lnTo>
                <a:close/>
                <a:moveTo>
                  <a:pt x="6700670" y="4546948"/>
                </a:moveTo>
                <a:lnTo>
                  <a:pt x="6710581" y="4546948"/>
                </a:lnTo>
                <a:lnTo>
                  <a:pt x="6714600" y="4550987"/>
                </a:lnTo>
                <a:lnTo>
                  <a:pt x="6714600" y="4560858"/>
                </a:lnTo>
                <a:lnTo>
                  <a:pt x="6710581" y="4564897"/>
                </a:lnTo>
                <a:lnTo>
                  <a:pt x="6700670" y="4564897"/>
                </a:lnTo>
                <a:lnTo>
                  <a:pt x="6696651" y="4560858"/>
                </a:lnTo>
                <a:lnTo>
                  <a:pt x="6696651" y="4550987"/>
                </a:lnTo>
                <a:close/>
                <a:moveTo>
                  <a:pt x="6461356" y="4546948"/>
                </a:moveTo>
                <a:lnTo>
                  <a:pt x="6471266" y="4546948"/>
                </a:lnTo>
                <a:lnTo>
                  <a:pt x="6475285" y="4550987"/>
                </a:lnTo>
                <a:lnTo>
                  <a:pt x="6475285" y="4560858"/>
                </a:lnTo>
                <a:lnTo>
                  <a:pt x="6471266" y="4564897"/>
                </a:lnTo>
                <a:lnTo>
                  <a:pt x="6461356" y="4564897"/>
                </a:lnTo>
                <a:lnTo>
                  <a:pt x="6457337" y="4560858"/>
                </a:lnTo>
                <a:lnTo>
                  <a:pt x="6457337" y="4550987"/>
                </a:lnTo>
                <a:close/>
                <a:moveTo>
                  <a:pt x="6222042" y="4546948"/>
                </a:moveTo>
                <a:lnTo>
                  <a:pt x="6231952" y="4546948"/>
                </a:lnTo>
                <a:lnTo>
                  <a:pt x="6235971" y="4550987"/>
                </a:lnTo>
                <a:lnTo>
                  <a:pt x="6235971" y="4560858"/>
                </a:lnTo>
                <a:lnTo>
                  <a:pt x="6231952" y="4564897"/>
                </a:lnTo>
                <a:lnTo>
                  <a:pt x="6222042" y="4564897"/>
                </a:lnTo>
                <a:lnTo>
                  <a:pt x="6218023" y="4560858"/>
                </a:lnTo>
                <a:lnTo>
                  <a:pt x="6218023" y="4550987"/>
                </a:lnTo>
                <a:close/>
                <a:moveTo>
                  <a:pt x="5982729" y="4546948"/>
                </a:moveTo>
                <a:lnTo>
                  <a:pt x="5992639" y="4546948"/>
                </a:lnTo>
                <a:lnTo>
                  <a:pt x="5996658" y="4550987"/>
                </a:lnTo>
                <a:lnTo>
                  <a:pt x="5996658" y="4560858"/>
                </a:lnTo>
                <a:lnTo>
                  <a:pt x="5992639" y="4564897"/>
                </a:lnTo>
                <a:lnTo>
                  <a:pt x="5982729" y="4564897"/>
                </a:lnTo>
                <a:lnTo>
                  <a:pt x="5978710" y="4560858"/>
                </a:lnTo>
                <a:lnTo>
                  <a:pt x="5978710" y="4550987"/>
                </a:lnTo>
                <a:close/>
                <a:moveTo>
                  <a:pt x="5743412" y="4546948"/>
                </a:moveTo>
                <a:lnTo>
                  <a:pt x="5753323" y="4546948"/>
                </a:lnTo>
                <a:lnTo>
                  <a:pt x="5757342" y="4550987"/>
                </a:lnTo>
                <a:lnTo>
                  <a:pt x="5757342" y="4560858"/>
                </a:lnTo>
                <a:lnTo>
                  <a:pt x="5753323" y="4564897"/>
                </a:lnTo>
                <a:lnTo>
                  <a:pt x="5743412" y="4564897"/>
                </a:lnTo>
                <a:lnTo>
                  <a:pt x="5739393" y="4560858"/>
                </a:lnTo>
                <a:lnTo>
                  <a:pt x="5739393" y="4550987"/>
                </a:lnTo>
                <a:close/>
                <a:moveTo>
                  <a:pt x="5504099" y="4546948"/>
                </a:moveTo>
                <a:lnTo>
                  <a:pt x="5514010" y="4546948"/>
                </a:lnTo>
                <a:lnTo>
                  <a:pt x="5518029" y="4550987"/>
                </a:lnTo>
                <a:lnTo>
                  <a:pt x="5518029" y="4560858"/>
                </a:lnTo>
                <a:lnTo>
                  <a:pt x="5514010" y="4564897"/>
                </a:lnTo>
                <a:lnTo>
                  <a:pt x="5504099" y="4564897"/>
                </a:lnTo>
                <a:lnTo>
                  <a:pt x="5500080" y="4560858"/>
                </a:lnTo>
                <a:lnTo>
                  <a:pt x="5500080" y="4550987"/>
                </a:lnTo>
                <a:close/>
                <a:moveTo>
                  <a:pt x="5264784" y="4546948"/>
                </a:moveTo>
                <a:lnTo>
                  <a:pt x="5274694" y="4546948"/>
                </a:lnTo>
                <a:lnTo>
                  <a:pt x="5278713" y="4550987"/>
                </a:lnTo>
                <a:lnTo>
                  <a:pt x="5278713" y="4560858"/>
                </a:lnTo>
                <a:lnTo>
                  <a:pt x="5274694" y="4564897"/>
                </a:lnTo>
                <a:lnTo>
                  <a:pt x="5264784" y="4564897"/>
                </a:lnTo>
                <a:lnTo>
                  <a:pt x="5260765" y="4560858"/>
                </a:lnTo>
                <a:lnTo>
                  <a:pt x="5260765" y="4550987"/>
                </a:lnTo>
                <a:close/>
                <a:moveTo>
                  <a:pt x="5025470" y="4546948"/>
                </a:moveTo>
                <a:lnTo>
                  <a:pt x="5035381" y="4546948"/>
                </a:lnTo>
                <a:lnTo>
                  <a:pt x="5039400" y="4550987"/>
                </a:lnTo>
                <a:lnTo>
                  <a:pt x="5039400" y="4560858"/>
                </a:lnTo>
                <a:lnTo>
                  <a:pt x="5035381" y="4564897"/>
                </a:lnTo>
                <a:lnTo>
                  <a:pt x="5025470" y="4564897"/>
                </a:lnTo>
                <a:lnTo>
                  <a:pt x="5021451" y="4560858"/>
                </a:lnTo>
                <a:lnTo>
                  <a:pt x="5021451" y="4550987"/>
                </a:lnTo>
                <a:close/>
                <a:moveTo>
                  <a:pt x="4786241" y="4546948"/>
                </a:moveTo>
                <a:lnTo>
                  <a:pt x="4796152" y="4546948"/>
                </a:lnTo>
                <a:lnTo>
                  <a:pt x="4800171" y="4550987"/>
                </a:lnTo>
                <a:lnTo>
                  <a:pt x="4800171" y="4560858"/>
                </a:lnTo>
                <a:lnTo>
                  <a:pt x="4796152" y="4564897"/>
                </a:lnTo>
                <a:lnTo>
                  <a:pt x="4786241" y="4564897"/>
                </a:lnTo>
                <a:lnTo>
                  <a:pt x="4782224" y="4560858"/>
                </a:lnTo>
                <a:lnTo>
                  <a:pt x="4782224" y="4550987"/>
                </a:lnTo>
                <a:close/>
                <a:moveTo>
                  <a:pt x="4546929" y="4546948"/>
                </a:moveTo>
                <a:lnTo>
                  <a:pt x="4556840" y="4546948"/>
                </a:lnTo>
                <a:lnTo>
                  <a:pt x="4560859" y="4550987"/>
                </a:lnTo>
                <a:lnTo>
                  <a:pt x="4560859" y="4560858"/>
                </a:lnTo>
                <a:lnTo>
                  <a:pt x="4556840" y="4564897"/>
                </a:lnTo>
                <a:lnTo>
                  <a:pt x="4546929" y="4564897"/>
                </a:lnTo>
                <a:lnTo>
                  <a:pt x="4542910" y="4560858"/>
                </a:lnTo>
                <a:lnTo>
                  <a:pt x="4542910" y="4550987"/>
                </a:lnTo>
                <a:close/>
                <a:moveTo>
                  <a:pt x="4307612" y="4546948"/>
                </a:moveTo>
                <a:lnTo>
                  <a:pt x="4317523" y="4546948"/>
                </a:lnTo>
                <a:lnTo>
                  <a:pt x="4321543" y="4550987"/>
                </a:lnTo>
                <a:lnTo>
                  <a:pt x="4321543" y="4560858"/>
                </a:lnTo>
                <a:lnTo>
                  <a:pt x="4317523" y="4564897"/>
                </a:lnTo>
                <a:lnTo>
                  <a:pt x="4307612" y="4564897"/>
                </a:lnTo>
                <a:lnTo>
                  <a:pt x="4303595" y="4560858"/>
                </a:lnTo>
                <a:lnTo>
                  <a:pt x="4303595" y="4550987"/>
                </a:lnTo>
                <a:close/>
                <a:moveTo>
                  <a:pt x="4068297" y="4546948"/>
                </a:moveTo>
                <a:lnTo>
                  <a:pt x="4078210" y="4546948"/>
                </a:lnTo>
                <a:lnTo>
                  <a:pt x="4082229" y="4550987"/>
                </a:lnTo>
                <a:lnTo>
                  <a:pt x="4082229" y="4560858"/>
                </a:lnTo>
                <a:lnTo>
                  <a:pt x="4078210" y="4564897"/>
                </a:lnTo>
                <a:lnTo>
                  <a:pt x="4068297" y="4564897"/>
                </a:lnTo>
                <a:lnTo>
                  <a:pt x="4064278" y="4560858"/>
                </a:lnTo>
                <a:lnTo>
                  <a:pt x="4064278" y="4550987"/>
                </a:lnTo>
                <a:close/>
                <a:moveTo>
                  <a:pt x="3828990" y="4546948"/>
                </a:moveTo>
                <a:lnTo>
                  <a:pt x="3838899" y="4546948"/>
                </a:lnTo>
                <a:lnTo>
                  <a:pt x="3842917" y="4550987"/>
                </a:lnTo>
                <a:lnTo>
                  <a:pt x="3842917" y="4560858"/>
                </a:lnTo>
                <a:lnTo>
                  <a:pt x="3838899" y="4564897"/>
                </a:lnTo>
                <a:lnTo>
                  <a:pt x="3828990" y="4564897"/>
                </a:lnTo>
                <a:lnTo>
                  <a:pt x="3824971" y="4560858"/>
                </a:lnTo>
                <a:lnTo>
                  <a:pt x="3824971" y="4550987"/>
                </a:lnTo>
                <a:close/>
                <a:moveTo>
                  <a:pt x="3589676" y="4546948"/>
                </a:moveTo>
                <a:lnTo>
                  <a:pt x="3599585" y="4546948"/>
                </a:lnTo>
                <a:lnTo>
                  <a:pt x="3603604" y="4550987"/>
                </a:lnTo>
                <a:lnTo>
                  <a:pt x="3603604" y="4560858"/>
                </a:lnTo>
                <a:lnTo>
                  <a:pt x="3599585" y="4564897"/>
                </a:lnTo>
                <a:lnTo>
                  <a:pt x="3589676" y="4564897"/>
                </a:lnTo>
                <a:lnTo>
                  <a:pt x="3585657" y="4560858"/>
                </a:lnTo>
                <a:lnTo>
                  <a:pt x="3585657" y="4550987"/>
                </a:lnTo>
                <a:close/>
                <a:moveTo>
                  <a:pt x="3350359" y="4546948"/>
                </a:moveTo>
                <a:lnTo>
                  <a:pt x="3360268" y="4546948"/>
                </a:lnTo>
                <a:lnTo>
                  <a:pt x="3364287" y="4550987"/>
                </a:lnTo>
                <a:lnTo>
                  <a:pt x="3364287" y="4560858"/>
                </a:lnTo>
                <a:lnTo>
                  <a:pt x="3360268" y="4564897"/>
                </a:lnTo>
                <a:lnTo>
                  <a:pt x="3350359" y="4564897"/>
                </a:lnTo>
                <a:lnTo>
                  <a:pt x="3346340" y="4560858"/>
                </a:lnTo>
                <a:lnTo>
                  <a:pt x="3346340" y="4550987"/>
                </a:lnTo>
                <a:close/>
                <a:moveTo>
                  <a:pt x="3111048" y="4546948"/>
                </a:moveTo>
                <a:lnTo>
                  <a:pt x="3120959" y="4546948"/>
                </a:lnTo>
                <a:lnTo>
                  <a:pt x="3124977" y="4550987"/>
                </a:lnTo>
                <a:lnTo>
                  <a:pt x="3124977" y="4560858"/>
                </a:lnTo>
                <a:lnTo>
                  <a:pt x="3120959" y="4564897"/>
                </a:lnTo>
                <a:lnTo>
                  <a:pt x="3111048" y="4564897"/>
                </a:lnTo>
                <a:lnTo>
                  <a:pt x="3107029" y="4560858"/>
                </a:lnTo>
                <a:lnTo>
                  <a:pt x="3107029" y="4550987"/>
                </a:lnTo>
                <a:close/>
                <a:moveTo>
                  <a:pt x="2871737" y="4546948"/>
                </a:moveTo>
                <a:lnTo>
                  <a:pt x="2881646" y="4546948"/>
                </a:lnTo>
                <a:lnTo>
                  <a:pt x="2885666" y="4550987"/>
                </a:lnTo>
                <a:lnTo>
                  <a:pt x="2885666" y="4560858"/>
                </a:lnTo>
                <a:lnTo>
                  <a:pt x="2881646" y="4564897"/>
                </a:lnTo>
                <a:lnTo>
                  <a:pt x="2871737" y="4564897"/>
                </a:lnTo>
                <a:lnTo>
                  <a:pt x="2867717" y="4560858"/>
                </a:lnTo>
                <a:lnTo>
                  <a:pt x="2867717" y="4550987"/>
                </a:lnTo>
                <a:close/>
                <a:moveTo>
                  <a:pt x="2632423" y="4546948"/>
                </a:moveTo>
                <a:lnTo>
                  <a:pt x="2642334" y="4546948"/>
                </a:lnTo>
                <a:lnTo>
                  <a:pt x="2646352" y="4550987"/>
                </a:lnTo>
                <a:lnTo>
                  <a:pt x="2646352" y="4560858"/>
                </a:lnTo>
                <a:lnTo>
                  <a:pt x="2642334" y="4564897"/>
                </a:lnTo>
                <a:lnTo>
                  <a:pt x="2632423" y="4564897"/>
                </a:lnTo>
                <a:lnTo>
                  <a:pt x="2628404" y="4560858"/>
                </a:lnTo>
                <a:lnTo>
                  <a:pt x="2628404" y="4550987"/>
                </a:lnTo>
                <a:close/>
                <a:moveTo>
                  <a:pt x="2393104" y="4546948"/>
                </a:moveTo>
                <a:lnTo>
                  <a:pt x="2403015" y="4546948"/>
                </a:lnTo>
                <a:lnTo>
                  <a:pt x="2407034" y="4550987"/>
                </a:lnTo>
                <a:lnTo>
                  <a:pt x="2407034" y="4560858"/>
                </a:lnTo>
                <a:lnTo>
                  <a:pt x="2403015" y="4564897"/>
                </a:lnTo>
                <a:lnTo>
                  <a:pt x="2393104" y="4564897"/>
                </a:lnTo>
                <a:lnTo>
                  <a:pt x="2389087" y="4560858"/>
                </a:lnTo>
                <a:lnTo>
                  <a:pt x="2389087" y="4550987"/>
                </a:lnTo>
                <a:close/>
                <a:moveTo>
                  <a:pt x="721964" y="4546948"/>
                </a:moveTo>
                <a:lnTo>
                  <a:pt x="731874" y="4546948"/>
                </a:lnTo>
                <a:lnTo>
                  <a:pt x="735893" y="4550987"/>
                </a:lnTo>
                <a:lnTo>
                  <a:pt x="735893" y="4560858"/>
                </a:lnTo>
                <a:lnTo>
                  <a:pt x="731874" y="4564897"/>
                </a:lnTo>
                <a:lnTo>
                  <a:pt x="721964" y="4564897"/>
                </a:lnTo>
                <a:lnTo>
                  <a:pt x="717945" y="4560858"/>
                </a:lnTo>
                <a:lnTo>
                  <a:pt x="717945" y="4550987"/>
                </a:lnTo>
                <a:close/>
                <a:moveTo>
                  <a:pt x="482651" y="4546948"/>
                </a:moveTo>
                <a:lnTo>
                  <a:pt x="492562" y="4546948"/>
                </a:lnTo>
                <a:lnTo>
                  <a:pt x="496581" y="4550987"/>
                </a:lnTo>
                <a:lnTo>
                  <a:pt x="496581" y="4560858"/>
                </a:lnTo>
                <a:lnTo>
                  <a:pt x="492562" y="4564897"/>
                </a:lnTo>
                <a:lnTo>
                  <a:pt x="482651" y="4564897"/>
                </a:lnTo>
                <a:lnTo>
                  <a:pt x="478632" y="4560858"/>
                </a:lnTo>
                <a:lnTo>
                  <a:pt x="478632" y="4550987"/>
                </a:lnTo>
                <a:close/>
                <a:moveTo>
                  <a:pt x="243338" y="4546948"/>
                </a:moveTo>
                <a:lnTo>
                  <a:pt x="253248" y="4546948"/>
                </a:lnTo>
                <a:lnTo>
                  <a:pt x="257267" y="4550987"/>
                </a:lnTo>
                <a:lnTo>
                  <a:pt x="257267" y="4560858"/>
                </a:lnTo>
                <a:lnTo>
                  <a:pt x="253248" y="4564897"/>
                </a:lnTo>
                <a:lnTo>
                  <a:pt x="243338" y="4564897"/>
                </a:lnTo>
                <a:lnTo>
                  <a:pt x="239319" y="4560858"/>
                </a:lnTo>
                <a:lnTo>
                  <a:pt x="239319" y="4550987"/>
                </a:lnTo>
                <a:close/>
                <a:moveTo>
                  <a:pt x="4025" y="4546948"/>
                </a:moveTo>
                <a:lnTo>
                  <a:pt x="13935" y="4546948"/>
                </a:lnTo>
                <a:lnTo>
                  <a:pt x="17954" y="4550987"/>
                </a:lnTo>
                <a:lnTo>
                  <a:pt x="17954" y="4560858"/>
                </a:lnTo>
                <a:lnTo>
                  <a:pt x="13935" y="4564897"/>
                </a:lnTo>
                <a:lnTo>
                  <a:pt x="4025" y="4564897"/>
                </a:lnTo>
                <a:lnTo>
                  <a:pt x="6" y="4560858"/>
                </a:lnTo>
                <a:lnTo>
                  <a:pt x="6" y="4550987"/>
                </a:lnTo>
                <a:close/>
                <a:moveTo>
                  <a:pt x="2157819" y="4307669"/>
                </a:moveTo>
                <a:lnTo>
                  <a:pt x="2167729" y="4307669"/>
                </a:lnTo>
                <a:lnTo>
                  <a:pt x="2171749" y="4311708"/>
                </a:lnTo>
                <a:lnTo>
                  <a:pt x="2171749" y="4321579"/>
                </a:lnTo>
                <a:lnTo>
                  <a:pt x="2167729" y="4325618"/>
                </a:lnTo>
                <a:lnTo>
                  <a:pt x="2157819" y="4325618"/>
                </a:lnTo>
                <a:lnTo>
                  <a:pt x="2153801" y="4321579"/>
                </a:lnTo>
                <a:lnTo>
                  <a:pt x="2153801" y="4311708"/>
                </a:lnTo>
                <a:close/>
                <a:moveTo>
                  <a:pt x="1918511" y="4307669"/>
                </a:moveTo>
                <a:lnTo>
                  <a:pt x="1928421" y="4307669"/>
                </a:lnTo>
                <a:lnTo>
                  <a:pt x="1932440" y="4311708"/>
                </a:lnTo>
                <a:lnTo>
                  <a:pt x="1932440" y="4321579"/>
                </a:lnTo>
                <a:lnTo>
                  <a:pt x="1928421" y="4325618"/>
                </a:lnTo>
                <a:lnTo>
                  <a:pt x="1918511" y="4325618"/>
                </a:lnTo>
                <a:lnTo>
                  <a:pt x="1914492" y="4321579"/>
                </a:lnTo>
                <a:lnTo>
                  <a:pt x="1914492" y="4311708"/>
                </a:lnTo>
                <a:close/>
                <a:moveTo>
                  <a:pt x="1679206" y="4307669"/>
                </a:moveTo>
                <a:lnTo>
                  <a:pt x="1689117" y="4307669"/>
                </a:lnTo>
                <a:lnTo>
                  <a:pt x="1693136" y="4311708"/>
                </a:lnTo>
                <a:lnTo>
                  <a:pt x="1693136" y="4321579"/>
                </a:lnTo>
                <a:lnTo>
                  <a:pt x="1689117" y="4325618"/>
                </a:lnTo>
                <a:lnTo>
                  <a:pt x="1679206" y="4325618"/>
                </a:lnTo>
                <a:lnTo>
                  <a:pt x="1675188" y="4321579"/>
                </a:lnTo>
                <a:lnTo>
                  <a:pt x="1675188" y="4311708"/>
                </a:lnTo>
                <a:close/>
                <a:moveTo>
                  <a:pt x="1439891" y="4307669"/>
                </a:moveTo>
                <a:lnTo>
                  <a:pt x="1449801" y="4307669"/>
                </a:lnTo>
                <a:lnTo>
                  <a:pt x="1453819" y="4311708"/>
                </a:lnTo>
                <a:lnTo>
                  <a:pt x="1453819" y="4321579"/>
                </a:lnTo>
                <a:lnTo>
                  <a:pt x="1449801" y="4325618"/>
                </a:lnTo>
                <a:lnTo>
                  <a:pt x="1439891" y="4325618"/>
                </a:lnTo>
                <a:lnTo>
                  <a:pt x="1435871" y="4321579"/>
                </a:lnTo>
                <a:lnTo>
                  <a:pt x="1435871" y="4311708"/>
                </a:lnTo>
                <a:close/>
                <a:moveTo>
                  <a:pt x="1200575" y="4307669"/>
                </a:moveTo>
                <a:lnTo>
                  <a:pt x="1210486" y="4307669"/>
                </a:lnTo>
                <a:lnTo>
                  <a:pt x="1214505" y="4311708"/>
                </a:lnTo>
                <a:lnTo>
                  <a:pt x="1214505" y="4321579"/>
                </a:lnTo>
                <a:lnTo>
                  <a:pt x="1210486" y="4325618"/>
                </a:lnTo>
                <a:lnTo>
                  <a:pt x="1200575" y="4325618"/>
                </a:lnTo>
                <a:lnTo>
                  <a:pt x="1196556" y="4321579"/>
                </a:lnTo>
                <a:lnTo>
                  <a:pt x="1196556" y="4311708"/>
                </a:lnTo>
                <a:close/>
                <a:moveTo>
                  <a:pt x="961263" y="4307669"/>
                </a:moveTo>
                <a:lnTo>
                  <a:pt x="971173" y="4307669"/>
                </a:lnTo>
                <a:lnTo>
                  <a:pt x="975191" y="4311708"/>
                </a:lnTo>
                <a:lnTo>
                  <a:pt x="975191" y="4321579"/>
                </a:lnTo>
                <a:lnTo>
                  <a:pt x="971173" y="4325618"/>
                </a:lnTo>
                <a:lnTo>
                  <a:pt x="961263" y="4325618"/>
                </a:lnTo>
                <a:lnTo>
                  <a:pt x="957244" y="4321579"/>
                </a:lnTo>
                <a:lnTo>
                  <a:pt x="957244" y="4311708"/>
                </a:lnTo>
                <a:close/>
                <a:moveTo>
                  <a:pt x="9572438" y="4307617"/>
                </a:moveTo>
                <a:lnTo>
                  <a:pt x="9582349" y="4307617"/>
                </a:lnTo>
                <a:lnTo>
                  <a:pt x="9586368" y="4311656"/>
                </a:lnTo>
                <a:lnTo>
                  <a:pt x="9586368" y="4321527"/>
                </a:lnTo>
                <a:lnTo>
                  <a:pt x="9582349" y="4325566"/>
                </a:lnTo>
                <a:lnTo>
                  <a:pt x="9572438" y="4325566"/>
                </a:lnTo>
                <a:lnTo>
                  <a:pt x="9568419" y="4321527"/>
                </a:lnTo>
                <a:lnTo>
                  <a:pt x="9568419" y="4311656"/>
                </a:lnTo>
                <a:close/>
                <a:moveTo>
                  <a:pt x="9333125" y="4307617"/>
                </a:moveTo>
                <a:lnTo>
                  <a:pt x="9343036" y="4307617"/>
                </a:lnTo>
                <a:lnTo>
                  <a:pt x="9347055" y="4311656"/>
                </a:lnTo>
                <a:lnTo>
                  <a:pt x="9347055" y="4321527"/>
                </a:lnTo>
                <a:lnTo>
                  <a:pt x="9343036" y="4325566"/>
                </a:lnTo>
                <a:lnTo>
                  <a:pt x="9333125" y="4325566"/>
                </a:lnTo>
                <a:lnTo>
                  <a:pt x="9329106" y="4321527"/>
                </a:lnTo>
                <a:lnTo>
                  <a:pt x="9329106" y="4311656"/>
                </a:lnTo>
                <a:close/>
                <a:moveTo>
                  <a:pt x="9093811" y="4307617"/>
                </a:moveTo>
                <a:lnTo>
                  <a:pt x="9103722" y="4307617"/>
                </a:lnTo>
                <a:lnTo>
                  <a:pt x="9107741" y="4311656"/>
                </a:lnTo>
                <a:lnTo>
                  <a:pt x="9107741" y="4321527"/>
                </a:lnTo>
                <a:lnTo>
                  <a:pt x="9103722" y="4325566"/>
                </a:lnTo>
                <a:lnTo>
                  <a:pt x="9093811" y="4325566"/>
                </a:lnTo>
                <a:lnTo>
                  <a:pt x="9089792" y="4321527"/>
                </a:lnTo>
                <a:lnTo>
                  <a:pt x="9089792" y="4311656"/>
                </a:lnTo>
                <a:close/>
                <a:moveTo>
                  <a:pt x="8854496" y="4307617"/>
                </a:moveTo>
                <a:lnTo>
                  <a:pt x="8864407" y="4307617"/>
                </a:lnTo>
                <a:lnTo>
                  <a:pt x="8868426" y="4311656"/>
                </a:lnTo>
                <a:lnTo>
                  <a:pt x="8868426" y="4321527"/>
                </a:lnTo>
                <a:lnTo>
                  <a:pt x="8864407" y="4325566"/>
                </a:lnTo>
                <a:lnTo>
                  <a:pt x="8854496" y="4325566"/>
                </a:lnTo>
                <a:lnTo>
                  <a:pt x="8850477" y="4321527"/>
                </a:lnTo>
                <a:lnTo>
                  <a:pt x="8850477" y="4311656"/>
                </a:lnTo>
                <a:close/>
                <a:moveTo>
                  <a:pt x="8615184" y="4307617"/>
                </a:moveTo>
                <a:lnTo>
                  <a:pt x="8625095" y="4307617"/>
                </a:lnTo>
                <a:lnTo>
                  <a:pt x="8629114" y="4311656"/>
                </a:lnTo>
                <a:lnTo>
                  <a:pt x="8629114" y="4321527"/>
                </a:lnTo>
                <a:lnTo>
                  <a:pt x="8625095" y="4325566"/>
                </a:lnTo>
                <a:lnTo>
                  <a:pt x="8615184" y="4325566"/>
                </a:lnTo>
                <a:lnTo>
                  <a:pt x="8611165" y="4321527"/>
                </a:lnTo>
                <a:lnTo>
                  <a:pt x="8611165" y="4311656"/>
                </a:lnTo>
                <a:close/>
                <a:moveTo>
                  <a:pt x="8375869" y="4307617"/>
                </a:moveTo>
                <a:lnTo>
                  <a:pt x="8385779" y="4307617"/>
                </a:lnTo>
                <a:lnTo>
                  <a:pt x="8389799" y="4311656"/>
                </a:lnTo>
                <a:lnTo>
                  <a:pt x="8389799" y="4321527"/>
                </a:lnTo>
                <a:lnTo>
                  <a:pt x="8385779" y="4325566"/>
                </a:lnTo>
                <a:lnTo>
                  <a:pt x="8375869" y="4325566"/>
                </a:lnTo>
                <a:lnTo>
                  <a:pt x="8371850" y="4321527"/>
                </a:lnTo>
                <a:lnTo>
                  <a:pt x="8371850" y="4311656"/>
                </a:lnTo>
                <a:close/>
                <a:moveTo>
                  <a:pt x="8136553" y="4307617"/>
                </a:moveTo>
                <a:lnTo>
                  <a:pt x="8146464" y="4307617"/>
                </a:lnTo>
                <a:lnTo>
                  <a:pt x="8150483" y="4311656"/>
                </a:lnTo>
                <a:lnTo>
                  <a:pt x="8150483" y="4321527"/>
                </a:lnTo>
                <a:lnTo>
                  <a:pt x="8146464" y="4325566"/>
                </a:lnTo>
                <a:lnTo>
                  <a:pt x="8136553" y="4325566"/>
                </a:lnTo>
                <a:lnTo>
                  <a:pt x="8132534" y="4321527"/>
                </a:lnTo>
                <a:lnTo>
                  <a:pt x="8132534" y="4311656"/>
                </a:lnTo>
                <a:close/>
                <a:moveTo>
                  <a:pt x="7897241" y="4307617"/>
                </a:moveTo>
                <a:lnTo>
                  <a:pt x="7907151" y="4307617"/>
                </a:lnTo>
                <a:lnTo>
                  <a:pt x="7911170" y="4311656"/>
                </a:lnTo>
                <a:lnTo>
                  <a:pt x="7911170" y="4321527"/>
                </a:lnTo>
                <a:lnTo>
                  <a:pt x="7907151" y="4325566"/>
                </a:lnTo>
                <a:lnTo>
                  <a:pt x="7897241" y="4325566"/>
                </a:lnTo>
                <a:lnTo>
                  <a:pt x="7893222" y="4321527"/>
                </a:lnTo>
                <a:lnTo>
                  <a:pt x="7893222" y="4311656"/>
                </a:lnTo>
                <a:close/>
                <a:moveTo>
                  <a:pt x="7657926" y="4307617"/>
                </a:moveTo>
                <a:lnTo>
                  <a:pt x="7667836" y="4307617"/>
                </a:lnTo>
                <a:lnTo>
                  <a:pt x="7671855" y="4311656"/>
                </a:lnTo>
                <a:lnTo>
                  <a:pt x="7671855" y="4321527"/>
                </a:lnTo>
                <a:lnTo>
                  <a:pt x="7667836" y="4325566"/>
                </a:lnTo>
                <a:lnTo>
                  <a:pt x="7657926" y="4325566"/>
                </a:lnTo>
                <a:lnTo>
                  <a:pt x="7653906" y="4321527"/>
                </a:lnTo>
                <a:lnTo>
                  <a:pt x="7653906" y="4311656"/>
                </a:lnTo>
                <a:close/>
                <a:moveTo>
                  <a:pt x="7418611" y="4307617"/>
                </a:moveTo>
                <a:lnTo>
                  <a:pt x="7428521" y="4307617"/>
                </a:lnTo>
                <a:lnTo>
                  <a:pt x="7432540" y="4311656"/>
                </a:lnTo>
                <a:lnTo>
                  <a:pt x="7432540" y="4321527"/>
                </a:lnTo>
                <a:lnTo>
                  <a:pt x="7428521" y="4325566"/>
                </a:lnTo>
                <a:lnTo>
                  <a:pt x="7418611" y="4325566"/>
                </a:lnTo>
                <a:lnTo>
                  <a:pt x="7414592" y="4321527"/>
                </a:lnTo>
                <a:lnTo>
                  <a:pt x="7414592" y="4311656"/>
                </a:lnTo>
                <a:close/>
                <a:moveTo>
                  <a:pt x="7179298" y="4307617"/>
                </a:moveTo>
                <a:lnTo>
                  <a:pt x="7189209" y="4307617"/>
                </a:lnTo>
                <a:lnTo>
                  <a:pt x="7193228" y="4311656"/>
                </a:lnTo>
                <a:lnTo>
                  <a:pt x="7193228" y="4321527"/>
                </a:lnTo>
                <a:lnTo>
                  <a:pt x="7189209" y="4325566"/>
                </a:lnTo>
                <a:lnTo>
                  <a:pt x="7179298" y="4325566"/>
                </a:lnTo>
                <a:lnTo>
                  <a:pt x="7175279" y="4321527"/>
                </a:lnTo>
                <a:lnTo>
                  <a:pt x="7175279" y="4311656"/>
                </a:lnTo>
                <a:close/>
                <a:moveTo>
                  <a:pt x="6939983" y="4307617"/>
                </a:moveTo>
                <a:lnTo>
                  <a:pt x="6949894" y="4307617"/>
                </a:lnTo>
                <a:lnTo>
                  <a:pt x="6953913" y="4311656"/>
                </a:lnTo>
                <a:lnTo>
                  <a:pt x="6953913" y="4321527"/>
                </a:lnTo>
                <a:lnTo>
                  <a:pt x="6949894" y="4325566"/>
                </a:lnTo>
                <a:lnTo>
                  <a:pt x="6939983" y="4325566"/>
                </a:lnTo>
                <a:lnTo>
                  <a:pt x="6935964" y="4321527"/>
                </a:lnTo>
                <a:lnTo>
                  <a:pt x="6935964" y="4311656"/>
                </a:lnTo>
                <a:close/>
                <a:moveTo>
                  <a:pt x="6700670" y="4307617"/>
                </a:moveTo>
                <a:lnTo>
                  <a:pt x="6710581" y="4307617"/>
                </a:lnTo>
                <a:lnTo>
                  <a:pt x="6714600" y="4311656"/>
                </a:lnTo>
                <a:lnTo>
                  <a:pt x="6714600" y="4321527"/>
                </a:lnTo>
                <a:lnTo>
                  <a:pt x="6710581" y="4325566"/>
                </a:lnTo>
                <a:lnTo>
                  <a:pt x="6700670" y="4325566"/>
                </a:lnTo>
                <a:lnTo>
                  <a:pt x="6696651" y="4321527"/>
                </a:lnTo>
                <a:lnTo>
                  <a:pt x="6696651" y="4311656"/>
                </a:lnTo>
                <a:close/>
                <a:moveTo>
                  <a:pt x="6461356" y="4307617"/>
                </a:moveTo>
                <a:lnTo>
                  <a:pt x="6471266" y="4307617"/>
                </a:lnTo>
                <a:lnTo>
                  <a:pt x="6475285" y="4311656"/>
                </a:lnTo>
                <a:lnTo>
                  <a:pt x="6475285" y="4321527"/>
                </a:lnTo>
                <a:lnTo>
                  <a:pt x="6471266" y="4325566"/>
                </a:lnTo>
                <a:lnTo>
                  <a:pt x="6461356" y="4325566"/>
                </a:lnTo>
                <a:lnTo>
                  <a:pt x="6457337" y="4321527"/>
                </a:lnTo>
                <a:lnTo>
                  <a:pt x="6457337" y="4311656"/>
                </a:lnTo>
                <a:close/>
                <a:moveTo>
                  <a:pt x="6222042" y="4307617"/>
                </a:moveTo>
                <a:lnTo>
                  <a:pt x="6231952" y="4307617"/>
                </a:lnTo>
                <a:lnTo>
                  <a:pt x="6235971" y="4311656"/>
                </a:lnTo>
                <a:lnTo>
                  <a:pt x="6235971" y="4321527"/>
                </a:lnTo>
                <a:lnTo>
                  <a:pt x="6231952" y="4325566"/>
                </a:lnTo>
                <a:lnTo>
                  <a:pt x="6222042" y="4325566"/>
                </a:lnTo>
                <a:lnTo>
                  <a:pt x="6218023" y="4321527"/>
                </a:lnTo>
                <a:lnTo>
                  <a:pt x="6218023" y="4311656"/>
                </a:lnTo>
                <a:close/>
                <a:moveTo>
                  <a:pt x="5982729" y="4307617"/>
                </a:moveTo>
                <a:lnTo>
                  <a:pt x="5992639" y="4307617"/>
                </a:lnTo>
                <a:lnTo>
                  <a:pt x="5996658" y="4311656"/>
                </a:lnTo>
                <a:lnTo>
                  <a:pt x="5996658" y="4321527"/>
                </a:lnTo>
                <a:lnTo>
                  <a:pt x="5992639" y="4325566"/>
                </a:lnTo>
                <a:lnTo>
                  <a:pt x="5982729" y="4325566"/>
                </a:lnTo>
                <a:lnTo>
                  <a:pt x="5978710" y="4321527"/>
                </a:lnTo>
                <a:lnTo>
                  <a:pt x="5978710" y="4311656"/>
                </a:lnTo>
                <a:close/>
                <a:moveTo>
                  <a:pt x="5743412" y="4307617"/>
                </a:moveTo>
                <a:lnTo>
                  <a:pt x="5753323" y="4307617"/>
                </a:lnTo>
                <a:lnTo>
                  <a:pt x="5757342" y="4311656"/>
                </a:lnTo>
                <a:lnTo>
                  <a:pt x="5757342" y="4321527"/>
                </a:lnTo>
                <a:lnTo>
                  <a:pt x="5753323" y="4325566"/>
                </a:lnTo>
                <a:lnTo>
                  <a:pt x="5743412" y="4325566"/>
                </a:lnTo>
                <a:lnTo>
                  <a:pt x="5739393" y="4321527"/>
                </a:lnTo>
                <a:lnTo>
                  <a:pt x="5739393" y="4311656"/>
                </a:lnTo>
                <a:close/>
                <a:moveTo>
                  <a:pt x="5504099" y="4307617"/>
                </a:moveTo>
                <a:lnTo>
                  <a:pt x="5514010" y="4307617"/>
                </a:lnTo>
                <a:lnTo>
                  <a:pt x="5518029" y="4311656"/>
                </a:lnTo>
                <a:lnTo>
                  <a:pt x="5518029" y="4321527"/>
                </a:lnTo>
                <a:lnTo>
                  <a:pt x="5514010" y="4325566"/>
                </a:lnTo>
                <a:lnTo>
                  <a:pt x="5504099" y="4325566"/>
                </a:lnTo>
                <a:lnTo>
                  <a:pt x="5500080" y="4321527"/>
                </a:lnTo>
                <a:lnTo>
                  <a:pt x="5500080" y="4311656"/>
                </a:lnTo>
                <a:close/>
                <a:moveTo>
                  <a:pt x="5264784" y="4307617"/>
                </a:moveTo>
                <a:lnTo>
                  <a:pt x="5274694" y="4307617"/>
                </a:lnTo>
                <a:lnTo>
                  <a:pt x="5278713" y="4311656"/>
                </a:lnTo>
                <a:lnTo>
                  <a:pt x="5278713" y="4321527"/>
                </a:lnTo>
                <a:lnTo>
                  <a:pt x="5274694" y="4325566"/>
                </a:lnTo>
                <a:lnTo>
                  <a:pt x="5264784" y="4325566"/>
                </a:lnTo>
                <a:lnTo>
                  <a:pt x="5260765" y="4321527"/>
                </a:lnTo>
                <a:lnTo>
                  <a:pt x="5260765" y="4311656"/>
                </a:lnTo>
                <a:close/>
                <a:moveTo>
                  <a:pt x="5025470" y="4307617"/>
                </a:moveTo>
                <a:lnTo>
                  <a:pt x="5035381" y="4307617"/>
                </a:lnTo>
                <a:lnTo>
                  <a:pt x="5039400" y="4311656"/>
                </a:lnTo>
                <a:lnTo>
                  <a:pt x="5039400" y="4321527"/>
                </a:lnTo>
                <a:lnTo>
                  <a:pt x="5035381" y="4325566"/>
                </a:lnTo>
                <a:lnTo>
                  <a:pt x="5025470" y="4325566"/>
                </a:lnTo>
                <a:lnTo>
                  <a:pt x="5021451" y="4321527"/>
                </a:lnTo>
                <a:lnTo>
                  <a:pt x="5021451" y="4311656"/>
                </a:lnTo>
                <a:close/>
                <a:moveTo>
                  <a:pt x="4786241" y="4307617"/>
                </a:moveTo>
                <a:lnTo>
                  <a:pt x="4796152" y="4307617"/>
                </a:lnTo>
                <a:lnTo>
                  <a:pt x="4800171" y="4311656"/>
                </a:lnTo>
                <a:lnTo>
                  <a:pt x="4800171" y="4321527"/>
                </a:lnTo>
                <a:lnTo>
                  <a:pt x="4796152" y="4325566"/>
                </a:lnTo>
                <a:lnTo>
                  <a:pt x="4786241" y="4325566"/>
                </a:lnTo>
                <a:lnTo>
                  <a:pt x="4782224" y="4321527"/>
                </a:lnTo>
                <a:lnTo>
                  <a:pt x="4782224" y="4311656"/>
                </a:lnTo>
                <a:close/>
                <a:moveTo>
                  <a:pt x="4546929" y="4307617"/>
                </a:moveTo>
                <a:lnTo>
                  <a:pt x="4556840" y="4307617"/>
                </a:lnTo>
                <a:lnTo>
                  <a:pt x="4560859" y="4311656"/>
                </a:lnTo>
                <a:lnTo>
                  <a:pt x="4560859" y="4321527"/>
                </a:lnTo>
                <a:lnTo>
                  <a:pt x="4556840" y="4325566"/>
                </a:lnTo>
                <a:lnTo>
                  <a:pt x="4546929" y="4325566"/>
                </a:lnTo>
                <a:lnTo>
                  <a:pt x="4542910" y="4321527"/>
                </a:lnTo>
                <a:lnTo>
                  <a:pt x="4542910" y="4311656"/>
                </a:lnTo>
                <a:close/>
                <a:moveTo>
                  <a:pt x="4307612" y="4307617"/>
                </a:moveTo>
                <a:lnTo>
                  <a:pt x="4317523" y="4307617"/>
                </a:lnTo>
                <a:lnTo>
                  <a:pt x="4321543" y="4311656"/>
                </a:lnTo>
                <a:lnTo>
                  <a:pt x="4321543" y="4321527"/>
                </a:lnTo>
                <a:lnTo>
                  <a:pt x="4317523" y="4325566"/>
                </a:lnTo>
                <a:lnTo>
                  <a:pt x="4307612" y="4325566"/>
                </a:lnTo>
                <a:lnTo>
                  <a:pt x="4303595" y="4321527"/>
                </a:lnTo>
                <a:lnTo>
                  <a:pt x="4303595" y="4311656"/>
                </a:lnTo>
                <a:close/>
                <a:moveTo>
                  <a:pt x="4068297" y="4307617"/>
                </a:moveTo>
                <a:lnTo>
                  <a:pt x="4078210" y="4307617"/>
                </a:lnTo>
                <a:lnTo>
                  <a:pt x="4082229" y="4311656"/>
                </a:lnTo>
                <a:lnTo>
                  <a:pt x="4082229" y="4321527"/>
                </a:lnTo>
                <a:lnTo>
                  <a:pt x="4078210" y="4325566"/>
                </a:lnTo>
                <a:lnTo>
                  <a:pt x="4068297" y="4325566"/>
                </a:lnTo>
                <a:lnTo>
                  <a:pt x="4064278" y="4321527"/>
                </a:lnTo>
                <a:lnTo>
                  <a:pt x="4064278" y="4311656"/>
                </a:lnTo>
                <a:close/>
                <a:moveTo>
                  <a:pt x="3828990" y="4307617"/>
                </a:moveTo>
                <a:lnTo>
                  <a:pt x="3838899" y="4307617"/>
                </a:lnTo>
                <a:lnTo>
                  <a:pt x="3842917" y="4311656"/>
                </a:lnTo>
                <a:lnTo>
                  <a:pt x="3842917" y="4321527"/>
                </a:lnTo>
                <a:lnTo>
                  <a:pt x="3838899" y="4325566"/>
                </a:lnTo>
                <a:lnTo>
                  <a:pt x="3828990" y="4325566"/>
                </a:lnTo>
                <a:lnTo>
                  <a:pt x="3824971" y="4321527"/>
                </a:lnTo>
                <a:lnTo>
                  <a:pt x="3824971" y="4311656"/>
                </a:lnTo>
                <a:close/>
                <a:moveTo>
                  <a:pt x="3589676" y="4307617"/>
                </a:moveTo>
                <a:lnTo>
                  <a:pt x="3599585" y="4307617"/>
                </a:lnTo>
                <a:lnTo>
                  <a:pt x="3603604" y="4311656"/>
                </a:lnTo>
                <a:lnTo>
                  <a:pt x="3603604" y="4321527"/>
                </a:lnTo>
                <a:lnTo>
                  <a:pt x="3599585" y="4325566"/>
                </a:lnTo>
                <a:lnTo>
                  <a:pt x="3589676" y="4325566"/>
                </a:lnTo>
                <a:lnTo>
                  <a:pt x="3585657" y="4321527"/>
                </a:lnTo>
                <a:lnTo>
                  <a:pt x="3585657" y="4311656"/>
                </a:lnTo>
                <a:close/>
                <a:moveTo>
                  <a:pt x="3350359" y="4307617"/>
                </a:moveTo>
                <a:lnTo>
                  <a:pt x="3360268" y="4307617"/>
                </a:lnTo>
                <a:lnTo>
                  <a:pt x="3364287" y="4311656"/>
                </a:lnTo>
                <a:lnTo>
                  <a:pt x="3364287" y="4321527"/>
                </a:lnTo>
                <a:lnTo>
                  <a:pt x="3360268" y="4325566"/>
                </a:lnTo>
                <a:lnTo>
                  <a:pt x="3350359" y="4325566"/>
                </a:lnTo>
                <a:lnTo>
                  <a:pt x="3346340" y="4321527"/>
                </a:lnTo>
                <a:lnTo>
                  <a:pt x="3346340" y="4311656"/>
                </a:lnTo>
                <a:close/>
                <a:moveTo>
                  <a:pt x="3111048" y="4307617"/>
                </a:moveTo>
                <a:lnTo>
                  <a:pt x="3120959" y="4307617"/>
                </a:lnTo>
                <a:lnTo>
                  <a:pt x="3124977" y="4311656"/>
                </a:lnTo>
                <a:lnTo>
                  <a:pt x="3124977" y="4321527"/>
                </a:lnTo>
                <a:lnTo>
                  <a:pt x="3120959" y="4325566"/>
                </a:lnTo>
                <a:lnTo>
                  <a:pt x="3111048" y="4325566"/>
                </a:lnTo>
                <a:lnTo>
                  <a:pt x="3107029" y="4321527"/>
                </a:lnTo>
                <a:lnTo>
                  <a:pt x="3107029" y="4311656"/>
                </a:lnTo>
                <a:close/>
                <a:moveTo>
                  <a:pt x="2871737" y="4307617"/>
                </a:moveTo>
                <a:lnTo>
                  <a:pt x="2881646" y="4307617"/>
                </a:lnTo>
                <a:lnTo>
                  <a:pt x="2885666" y="4311656"/>
                </a:lnTo>
                <a:lnTo>
                  <a:pt x="2885666" y="4321527"/>
                </a:lnTo>
                <a:lnTo>
                  <a:pt x="2881646" y="4325566"/>
                </a:lnTo>
                <a:lnTo>
                  <a:pt x="2871737" y="4325566"/>
                </a:lnTo>
                <a:lnTo>
                  <a:pt x="2867717" y="4321527"/>
                </a:lnTo>
                <a:lnTo>
                  <a:pt x="2867717" y="4311656"/>
                </a:lnTo>
                <a:close/>
                <a:moveTo>
                  <a:pt x="2632423" y="4307617"/>
                </a:moveTo>
                <a:lnTo>
                  <a:pt x="2642334" y="4307617"/>
                </a:lnTo>
                <a:lnTo>
                  <a:pt x="2646352" y="4311656"/>
                </a:lnTo>
                <a:lnTo>
                  <a:pt x="2646352" y="4321527"/>
                </a:lnTo>
                <a:lnTo>
                  <a:pt x="2642334" y="4325566"/>
                </a:lnTo>
                <a:lnTo>
                  <a:pt x="2632423" y="4325566"/>
                </a:lnTo>
                <a:lnTo>
                  <a:pt x="2628404" y="4321527"/>
                </a:lnTo>
                <a:lnTo>
                  <a:pt x="2628404" y="4311656"/>
                </a:lnTo>
                <a:close/>
                <a:moveTo>
                  <a:pt x="2393104" y="4307617"/>
                </a:moveTo>
                <a:lnTo>
                  <a:pt x="2403015" y="4307617"/>
                </a:lnTo>
                <a:lnTo>
                  <a:pt x="2407034" y="4311656"/>
                </a:lnTo>
                <a:lnTo>
                  <a:pt x="2407034" y="4321527"/>
                </a:lnTo>
                <a:lnTo>
                  <a:pt x="2403015" y="4325566"/>
                </a:lnTo>
                <a:lnTo>
                  <a:pt x="2393104" y="4325566"/>
                </a:lnTo>
                <a:lnTo>
                  <a:pt x="2389087" y="4321527"/>
                </a:lnTo>
                <a:lnTo>
                  <a:pt x="2389087" y="4311656"/>
                </a:lnTo>
                <a:close/>
                <a:moveTo>
                  <a:pt x="721965" y="4307617"/>
                </a:moveTo>
                <a:lnTo>
                  <a:pt x="731874" y="4307617"/>
                </a:lnTo>
                <a:lnTo>
                  <a:pt x="735893" y="4311656"/>
                </a:lnTo>
                <a:lnTo>
                  <a:pt x="735893" y="4321527"/>
                </a:lnTo>
                <a:lnTo>
                  <a:pt x="731874" y="4325566"/>
                </a:lnTo>
                <a:lnTo>
                  <a:pt x="721965" y="4325566"/>
                </a:lnTo>
                <a:lnTo>
                  <a:pt x="717945" y="4321527"/>
                </a:lnTo>
                <a:lnTo>
                  <a:pt x="717945" y="4311656"/>
                </a:lnTo>
                <a:close/>
                <a:moveTo>
                  <a:pt x="482652" y="4307617"/>
                </a:moveTo>
                <a:lnTo>
                  <a:pt x="492562" y="4307617"/>
                </a:lnTo>
                <a:lnTo>
                  <a:pt x="496581" y="4311656"/>
                </a:lnTo>
                <a:lnTo>
                  <a:pt x="496581" y="4321527"/>
                </a:lnTo>
                <a:lnTo>
                  <a:pt x="492562" y="4325566"/>
                </a:lnTo>
                <a:lnTo>
                  <a:pt x="482652" y="4325566"/>
                </a:lnTo>
                <a:lnTo>
                  <a:pt x="478633" y="4321527"/>
                </a:lnTo>
                <a:lnTo>
                  <a:pt x="478633" y="4311656"/>
                </a:lnTo>
                <a:close/>
                <a:moveTo>
                  <a:pt x="243339" y="4307617"/>
                </a:moveTo>
                <a:lnTo>
                  <a:pt x="253249" y="4307617"/>
                </a:lnTo>
                <a:lnTo>
                  <a:pt x="257268" y="4311656"/>
                </a:lnTo>
                <a:lnTo>
                  <a:pt x="257268" y="4321527"/>
                </a:lnTo>
                <a:lnTo>
                  <a:pt x="253249" y="4325566"/>
                </a:lnTo>
                <a:lnTo>
                  <a:pt x="243339" y="4325566"/>
                </a:lnTo>
                <a:lnTo>
                  <a:pt x="239320" y="4321527"/>
                </a:lnTo>
                <a:lnTo>
                  <a:pt x="239320" y="4311656"/>
                </a:lnTo>
                <a:close/>
                <a:moveTo>
                  <a:pt x="4025" y="4307617"/>
                </a:moveTo>
                <a:lnTo>
                  <a:pt x="13936" y="4307617"/>
                </a:lnTo>
                <a:lnTo>
                  <a:pt x="17955" y="4311656"/>
                </a:lnTo>
                <a:lnTo>
                  <a:pt x="17955" y="4321527"/>
                </a:lnTo>
                <a:lnTo>
                  <a:pt x="13936" y="4325566"/>
                </a:lnTo>
                <a:lnTo>
                  <a:pt x="4025" y="4325566"/>
                </a:lnTo>
                <a:lnTo>
                  <a:pt x="7" y="4321527"/>
                </a:lnTo>
                <a:lnTo>
                  <a:pt x="7" y="4311656"/>
                </a:lnTo>
                <a:close/>
                <a:moveTo>
                  <a:pt x="9572438" y="4068339"/>
                </a:moveTo>
                <a:lnTo>
                  <a:pt x="9582349" y="4068339"/>
                </a:lnTo>
                <a:lnTo>
                  <a:pt x="9586368" y="4072377"/>
                </a:lnTo>
                <a:lnTo>
                  <a:pt x="9586368" y="4082248"/>
                </a:lnTo>
                <a:lnTo>
                  <a:pt x="9582349" y="4086287"/>
                </a:lnTo>
                <a:lnTo>
                  <a:pt x="9572438" y="4086287"/>
                </a:lnTo>
                <a:lnTo>
                  <a:pt x="9568419" y="4082248"/>
                </a:lnTo>
                <a:lnTo>
                  <a:pt x="9568419" y="4072377"/>
                </a:lnTo>
                <a:close/>
                <a:moveTo>
                  <a:pt x="9333125" y="4068339"/>
                </a:moveTo>
                <a:lnTo>
                  <a:pt x="9343036" y="4068339"/>
                </a:lnTo>
                <a:lnTo>
                  <a:pt x="9347055" y="4072377"/>
                </a:lnTo>
                <a:lnTo>
                  <a:pt x="9347055" y="4082248"/>
                </a:lnTo>
                <a:lnTo>
                  <a:pt x="9343036" y="4086287"/>
                </a:lnTo>
                <a:lnTo>
                  <a:pt x="9333125" y="4086287"/>
                </a:lnTo>
                <a:lnTo>
                  <a:pt x="9329106" y="4082248"/>
                </a:lnTo>
                <a:lnTo>
                  <a:pt x="9329106" y="4072377"/>
                </a:lnTo>
                <a:close/>
                <a:moveTo>
                  <a:pt x="9093811" y="4068339"/>
                </a:moveTo>
                <a:lnTo>
                  <a:pt x="9103722" y="4068339"/>
                </a:lnTo>
                <a:lnTo>
                  <a:pt x="9107741" y="4072377"/>
                </a:lnTo>
                <a:lnTo>
                  <a:pt x="9107741" y="4082248"/>
                </a:lnTo>
                <a:lnTo>
                  <a:pt x="9103722" y="4086287"/>
                </a:lnTo>
                <a:lnTo>
                  <a:pt x="9093811" y="4086287"/>
                </a:lnTo>
                <a:lnTo>
                  <a:pt x="9089792" y="4082248"/>
                </a:lnTo>
                <a:lnTo>
                  <a:pt x="9089792" y="4072377"/>
                </a:lnTo>
                <a:close/>
                <a:moveTo>
                  <a:pt x="8854496" y="4068339"/>
                </a:moveTo>
                <a:lnTo>
                  <a:pt x="8864407" y="4068339"/>
                </a:lnTo>
                <a:lnTo>
                  <a:pt x="8868426" y="4072377"/>
                </a:lnTo>
                <a:lnTo>
                  <a:pt x="8868426" y="4082248"/>
                </a:lnTo>
                <a:lnTo>
                  <a:pt x="8864407" y="4086287"/>
                </a:lnTo>
                <a:lnTo>
                  <a:pt x="8854496" y="4086287"/>
                </a:lnTo>
                <a:lnTo>
                  <a:pt x="8850477" y="4082248"/>
                </a:lnTo>
                <a:lnTo>
                  <a:pt x="8850477" y="4072377"/>
                </a:lnTo>
                <a:close/>
                <a:moveTo>
                  <a:pt x="8615184" y="4068339"/>
                </a:moveTo>
                <a:lnTo>
                  <a:pt x="8625095" y="4068339"/>
                </a:lnTo>
                <a:lnTo>
                  <a:pt x="8629114" y="4072377"/>
                </a:lnTo>
                <a:lnTo>
                  <a:pt x="8629114" y="4082248"/>
                </a:lnTo>
                <a:lnTo>
                  <a:pt x="8625095" y="4086287"/>
                </a:lnTo>
                <a:lnTo>
                  <a:pt x="8615184" y="4086287"/>
                </a:lnTo>
                <a:lnTo>
                  <a:pt x="8611165" y="4082248"/>
                </a:lnTo>
                <a:lnTo>
                  <a:pt x="8611165" y="4072377"/>
                </a:lnTo>
                <a:close/>
                <a:moveTo>
                  <a:pt x="8375869" y="4068339"/>
                </a:moveTo>
                <a:lnTo>
                  <a:pt x="8385779" y="4068339"/>
                </a:lnTo>
                <a:lnTo>
                  <a:pt x="8389799" y="4072377"/>
                </a:lnTo>
                <a:lnTo>
                  <a:pt x="8389799" y="4082248"/>
                </a:lnTo>
                <a:lnTo>
                  <a:pt x="8385779" y="4086287"/>
                </a:lnTo>
                <a:lnTo>
                  <a:pt x="8375869" y="4086287"/>
                </a:lnTo>
                <a:lnTo>
                  <a:pt x="8371850" y="4082248"/>
                </a:lnTo>
                <a:lnTo>
                  <a:pt x="8371850" y="4072377"/>
                </a:lnTo>
                <a:close/>
                <a:moveTo>
                  <a:pt x="8136553" y="4068339"/>
                </a:moveTo>
                <a:lnTo>
                  <a:pt x="8146464" y="4068339"/>
                </a:lnTo>
                <a:lnTo>
                  <a:pt x="8150483" y="4072377"/>
                </a:lnTo>
                <a:lnTo>
                  <a:pt x="8150483" y="4082248"/>
                </a:lnTo>
                <a:lnTo>
                  <a:pt x="8146464" y="4086287"/>
                </a:lnTo>
                <a:lnTo>
                  <a:pt x="8136553" y="4086287"/>
                </a:lnTo>
                <a:lnTo>
                  <a:pt x="8132534" y="4082248"/>
                </a:lnTo>
                <a:lnTo>
                  <a:pt x="8132534" y="4072377"/>
                </a:lnTo>
                <a:close/>
                <a:moveTo>
                  <a:pt x="7897241" y="4068339"/>
                </a:moveTo>
                <a:lnTo>
                  <a:pt x="7907151" y="4068339"/>
                </a:lnTo>
                <a:lnTo>
                  <a:pt x="7911170" y="4072377"/>
                </a:lnTo>
                <a:lnTo>
                  <a:pt x="7911170" y="4082248"/>
                </a:lnTo>
                <a:lnTo>
                  <a:pt x="7907151" y="4086287"/>
                </a:lnTo>
                <a:lnTo>
                  <a:pt x="7897241" y="4086287"/>
                </a:lnTo>
                <a:lnTo>
                  <a:pt x="7893222" y="4082248"/>
                </a:lnTo>
                <a:lnTo>
                  <a:pt x="7893222" y="4072377"/>
                </a:lnTo>
                <a:close/>
                <a:moveTo>
                  <a:pt x="7657926" y="4068339"/>
                </a:moveTo>
                <a:lnTo>
                  <a:pt x="7667836" y="4068339"/>
                </a:lnTo>
                <a:lnTo>
                  <a:pt x="7671855" y="4072377"/>
                </a:lnTo>
                <a:lnTo>
                  <a:pt x="7671855" y="4082248"/>
                </a:lnTo>
                <a:lnTo>
                  <a:pt x="7667836" y="4086287"/>
                </a:lnTo>
                <a:lnTo>
                  <a:pt x="7657926" y="4086287"/>
                </a:lnTo>
                <a:lnTo>
                  <a:pt x="7653906" y="4082248"/>
                </a:lnTo>
                <a:lnTo>
                  <a:pt x="7653906" y="4072377"/>
                </a:lnTo>
                <a:close/>
                <a:moveTo>
                  <a:pt x="7418611" y="4068339"/>
                </a:moveTo>
                <a:lnTo>
                  <a:pt x="7428521" y="4068339"/>
                </a:lnTo>
                <a:lnTo>
                  <a:pt x="7432540" y="4072377"/>
                </a:lnTo>
                <a:lnTo>
                  <a:pt x="7432540" y="4082248"/>
                </a:lnTo>
                <a:lnTo>
                  <a:pt x="7428521" y="4086287"/>
                </a:lnTo>
                <a:lnTo>
                  <a:pt x="7418611" y="4086287"/>
                </a:lnTo>
                <a:lnTo>
                  <a:pt x="7414592" y="4082248"/>
                </a:lnTo>
                <a:lnTo>
                  <a:pt x="7414592" y="4072377"/>
                </a:lnTo>
                <a:close/>
                <a:moveTo>
                  <a:pt x="7179298" y="4068339"/>
                </a:moveTo>
                <a:lnTo>
                  <a:pt x="7189209" y="4068339"/>
                </a:lnTo>
                <a:lnTo>
                  <a:pt x="7193228" y="4072377"/>
                </a:lnTo>
                <a:lnTo>
                  <a:pt x="7193228" y="4082248"/>
                </a:lnTo>
                <a:lnTo>
                  <a:pt x="7189209" y="4086287"/>
                </a:lnTo>
                <a:lnTo>
                  <a:pt x="7179298" y="4086287"/>
                </a:lnTo>
                <a:lnTo>
                  <a:pt x="7175279" y="4082248"/>
                </a:lnTo>
                <a:lnTo>
                  <a:pt x="7175279" y="4072377"/>
                </a:lnTo>
                <a:close/>
                <a:moveTo>
                  <a:pt x="6939983" y="4068339"/>
                </a:moveTo>
                <a:lnTo>
                  <a:pt x="6949894" y="4068339"/>
                </a:lnTo>
                <a:lnTo>
                  <a:pt x="6953913" y="4072377"/>
                </a:lnTo>
                <a:lnTo>
                  <a:pt x="6953913" y="4082248"/>
                </a:lnTo>
                <a:lnTo>
                  <a:pt x="6949894" y="4086287"/>
                </a:lnTo>
                <a:lnTo>
                  <a:pt x="6939983" y="4086287"/>
                </a:lnTo>
                <a:lnTo>
                  <a:pt x="6935964" y="4082248"/>
                </a:lnTo>
                <a:lnTo>
                  <a:pt x="6935964" y="4072377"/>
                </a:lnTo>
                <a:close/>
                <a:moveTo>
                  <a:pt x="6700670" y="4068339"/>
                </a:moveTo>
                <a:lnTo>
                  <a:pt x="6710581" y="4068339"/>
                </a:lnTo>
                <a:lnTo>
                  <a:pt x="6714600" y="4072377"/>
                </a:lnTo>
                <a:lnTo>
                  <a:pt x="6714600" y="4082248"/>
                </a:lnTo>
                <a:lnTo>
                  <a:pt x="6710581" y="4086287"/>
                </a:lnTo>
                <a:lnTo>
                  <a:pt x="6700670" y="4086287"/>
                </a:lnTo>
                <a:lnTo>
                  <a:pt x="6696651" y="4082248"/>
                </a:lnTo>
                <a:lnTo>
                  <a:pt x="6696651" y="4072377"/>
                </a:lnTo>
                <a:close/>
                <a:moveTo>
                  <a:pt x="6461356" y="4068339"/>
                </a:moveTo>
                <a:lnTo>
                  <a:pt x="6471266" y="4068339"/>
                </a:lnTo>
                <a:lnTo>
                  <a:pt x="6475285" y="4072377"/>
                </a:lnTo>
                <a:lnTo>
                  <a:pt x="6475285" y="4082248"/>
                </a:lnTo>
                <a:lnTo>
                  <a:pt x="6471266" y="4086287"/>
                </a:lnTo>
                <a:lnTo>
                  <a:pt x="6461356" y="4086287"/>
                </a:lnTo>
                <a:lnTo>
                  <a:pt x="6457337" y="4082248"/>
                </a:lnTo>
                <a:lnTo>
                  <a:pt x="6457337" y="4072377"/>
                </a:lnTo>
                <a:close/>
                <a:moveTo>
                  <a:pt x="6222042" y="4068339"/>
                </a:moveTo>
                <a:lnTo>
                  <a:pt x="6231952" y="4068339"/>
                </a:lnTo>
                <a:lnTo>
                  <a:pt x="6235971" y="4072377"/>
                </a:lnTo>
                <a:lnTo>
                  <a:pt x="6235971" y="4082248"/>
                </a:lnTo>
                <a:lnTo>
                  <a:pt x="6231952" y="4086287"/>
                </a:lnTo>
                <a:lnTo>
                  <a:pt x="6222042" y="4086287"/>
                </a:lnTo>
                <a:lnTo>
                  <a:pt x="6218023" y="4082248"/>
                </a:lnTo>
                <a:lnTo>
                  <a:pt x="6218023" y="4072377"/>
                </a:lnTo>
                <a:close/>
                <a:moveTo>
                  <a:pt x="5982729" y="4068339"/>
                </a:moveTo>
                <a:lnTo>
                  <a:pt x="5992639" y="4068339"/>
                </a:lnTo>
                <a:lnTo>
                  <a:pt x="5996658" y="4072377"/>
                </a:lnTo>
                <a:lnTo>
                  <a:pt x="5996658" y="4082248"/>
                </a:lnTo>
                <a:lnTo>
                  <a:pt x="5992639" y="4086287"/>
                </a:lnTo>
                <a:lnTo>
                  <a:pt x="5982729" y="4086287"/>
                </a:lnTo>
                <a:lnTo>
                  <a:pt x="5978710" y="4082248"/>
                </a:lnTo>
                <a:lnTo>
                  <a:pt x="5978710" y="4072377"/>
                </a:lnTo>
                <a:close/>
                <a:moveTo>
                  <a:pt x="5743412" y="4068339"/>
                </a:moveTo>
                <a:lnTo>
                  <a:pt x="5753323" y="4068339"/>
                </a:lnTo>
                <a:lnTo>
                  <a:pt x="5757342" y="4072377"/>
                </a:lnTo>
                <a:lnTo>
                  <a:pt x="5757342" y="4082248"/>
                </a:lnTo>
                <a:lnTo>
                  <a:pt x="5753323" y="4086287"/>
                </a:lnTo>
                <a:lnTo>
                  <a:pt x="5743412" y="4086287"/>
                </a:lnTo>
                <a:lnTo>
                  <a:pt x="5739393" y="4082248"/>
                </a:lnTo>
                <a:lnTo>
                  <a:pt x="5739393" y="4072377"/>
                </a:lnTo>
                <a:close/>
                <a:moveTo>
                  <a:pt x="5504099" y="4068339"/>
                </a:moveTo>
                <a:lnTo>
                  <a:pt x="5514010" y="4068339"/>
                </a:lnTo>
                <a:lnTo>
                  <a:pt x="5518029" y="4072377"/>
                </a:lnTo>
                <a:lnTo>
                  <a:pt x="5518029" y="4082248"/>
                </a:lnTo>
                <a:lnTo>
                  <a:pt x="5514010" y="4086287"/>
                </a:lnTo>
                <a:lnTo>
                  <a:pt x="5504099" y="4086287"/>
                </a:lnTo>
                <a:lnTo>
                  <a:pt x="5500080" y="4082248"/>
                </a:lnTo>
                <a:lnTo>
                  <a:pt x="5500080" y="4072377"/>
                </a:lnTo>
                <a:close/>
                <a:moveTo>
                  <a:pt x="5264784" y="4068339"/>
                </a:moveTo>
                <a:lnTo>
                  <a:pt x="5274694" y="4068339"/>
                </a:lnTo>
                <a:lnTo>
                  <a:pt x="5278713" y="4072377"/>
                </a:lnTo>
                <a:lnTo>
                  <a:pt x="5278713" y="4082248"/>
                </a:lnTo>
                <a:lnTo>
                  <a:pt x="5274694" y="4086287"/>
                </a:lnTo>
                <a:lnTo>
                  <a:pt x="5264784" y="4086287"/>
                </a:lnTo>
                <a:lnTo>
                  <a:pt x="5260765" y="4082248"/>
                </a:lnTo>
                <a:lnTo>
                  <a:pt x="5260765" y="4072377"/>
                </a:lnTo>
                <a:close/>
                <a:moveTo>
                  <a:pt x="5025470" y="4068339"/>
                </a:moveTo>
                <a:lnTo>
                  <a:pt x="5035381" y="4068339"/>
                </a:lnTo>
                <a:lnTo>
                  <a:pt x="5039400" y="4072377"/>
                </a:lnTo>
                <a:lnTo>
                  <a:pt x="5039400" y="4082248"/>
                </a:lnTo>
                <a:lnTo>
                  <a:pt x="5035381" y="4086287"/>
                </a:lnTo>
                <a:lnTo>
                  <a:pt x="5025470" y="4086287"/>
                </a:lnTo>
                <a:lnTo>
                  <a:pt x="5021451" y="4082248"/>
                </a:lnTo>
                <a:lnTo>
                  <a:pt x="5021451" y="4072377"/>
                </a:lnTo>
                <a:close/>
                <a:moveTo>
                  <a:pt x="4786241" y="4068339"/>
                </a:moveTo>
                <a:lnTo>
                  <a:pt x="4796152" y="4068339"/>
                </a:lnTo>
                <a:lnTo>
                  <a:pt x="4800171" y="4072377"/>
                </a:lnTo>
                <a:lnTo>
                  <a:pt x="4800171" y="4082248"/>
                </a:lnTo>
                <a:lnTo>
                  <a:pt x="4796152" y="4086287"/>
                </a:lnTo>
                <a:lnTo>
                  <a:pt x="4786241" y="4086287"/>
                </a:lnTo>
                <a:lnTo>
                  <a:pt x="4782224" y="4082248"/>
                </a:lnTo>
                <a:lnTo>
                  <a:pt x="4782224" y="4072377"/>
                </a:lnTo>
                <a:close/>
                <a:moveTo>
                  <a:pt x="4546929" y="4068339"/>
                </a:moveTo>
                <a:lnTo>
                  <a:pt x="4556840" y="4068339"/>
                </a:lnTo>
                <a:lnTo>
                  <a:pt x="4560859" y="4072377"/>
                </a:lnTo>
                <a:lnTo>
                  <a:pt x="4560859" y="4082248"/>
                </a:lnTo>
                <a:lnTo>
                  <a:pt x="4556840" y="4086287"/>
                </a:lnTo>
                <a:lnTo>
                  <a:pt x="4546929" y="4086287"/>
                </a:lnTo>
                <a:lnTo>
                  <a:pt x="4542910" y="4082248"/>
                </a:lnTo>
                <a:lnTo>
                  <a:pt x="4542910" y="4072377"/>
                </a:lnTo>
                <a:close/>
                <a:moveTo>
                  <a:pt x="4307612" y="4068339"/>
                </a:moveTo>
                <a:lnTo>
                  <a:pt x="4317523" y="4068339"/>
                </a:lnTo>
                <a:lnTo>
                  <a:pt x="4321543" y="4072377"/>
                </a:lnTo>
                <a:lnTo>
                  <a:pt x="4321543" y="4082248"/>
                </a:lnTo>
                <a:lnTo>
                  <a:pt x="4317523" y="4086287"/>
                </a:lnTo>
                <a:lnTo>
                  <a:pt x="4307612" y="4086287"/>
                </a:lnTo>
                <a:lnTo>
                  <a:pt x="4303595" y="4082248"/>
                </a:lnTo>
                <a:lnTo>
                  <a:pt x="4303595" y="4072377"/>
                </a:lnTo>
                <a:close/>
                <a:moveTo>
                  <a:pt x="4068297" y="4068339"/>
                </a:moveTo>
                <a:lnTo>
                  <a:pt x="4078210" y="4068339"/>
                </a:lnTo>
                <a:lnTo>
                  <a:pt x="4082229" y="4072377"/>
                </a:lnTo>
                <a:lnTo>
                  <a:pt x="4082229" y="4082248"/>
                </a:lnTo>
                <a:lnTo>
                  <a:pt x="4078210" y="4086287"/>
                </a:lnTo>
                <a:lnTo>
                  <a:pt x="4068297" y="4086287"/>
                </a:lnTo>
                <a:lnTo>
                  <a:pt x="4064278" y="4082248"/>
                </a:lnTo>
                <a:lnTo>
                  <a:pt x="4064278" y="4072377"/>
                </a:lnTo>
                <a:close/>
                <a:moveTo>
                  <a:pt x="3828990" y="4068339"/>
                </a:moveTo>
                <a:lnTo>
                  <a:pt x="3838899" y="4068339"/>
                </a:lnTo>
                <a:lnTo>
                  <a:pt x="3842917" y="4072377"/>
                </a:lnTo>
                <a:lnTo>
                  <a:pt x="3842917" y="4082248"/>
                </a:lnTo>
                <a:lnTo>
                  <a:pt x="3838899" y="4086287"/>
                </a:lnTo>
                <a:lnTo>
                  <a:pt x="3828990" y="4086287"/>
                </a:lnTo>
                <a:lnTo>
                  <a:pt x="3824971" y="4082248"/>
                </a:lnTo>
                <a:lnTo>
                  <a:pt x="3824971" y="4072377"/>
                </a:lnTo>
                <a:close/>
                <a:moveTo>
                  <a:pt x="3589676" y="4068339"/>
                </a:moveTo>
                <a:lnTo>
                  <a:pt x="3599585" y="4068339"/>
                </a:lnTo>
                <a:lnTo>
                  <a:pt x="3603604" y="4072377"/>
                </a:lnTo>
                <a:lnTo>
                  <a:pt x="3603604" y="4082248"/>
                </a:lnTo>
                <a:lnTo>
                  <a:pt x="3599585" y="4086287"/>
                </a:lnTo>
                <a:lnTo>
                  <a:pt x="3589676" y="4086287"/>
                </a:lnTo>
                <a:lnTo>
                  <a:pt x="3585657" y="4082248"/>
                </a:lnTo>
                <a:lnTo>
                  <a:pt x="3585657" y="4072377"/>
                </a:lnTo>
                <a:close/>
                <a:moveTo>
                  <a:pt x="3350359" y="4068339"/>
                </a:moveTo>
                <a:lnTo>
                  <a:pt x="3360268" y="4068339"/>
                </a:lnTo>
                <a:lnTo>
                  <a:pt x="3364287" y="4072377"/>
                </a:lnTo>
                <a:lnTo>
                  <a:pt x="3364287" y="4082248"/>
                </a:lnTo>
                <a:lnTo>
                  <a:pt x="3360268" y="4086287"/>
                </a:lnTo>
                <a:lnTo>
                  <a:pt x="3350359" y="4086287"/>
                </a:lnTo>
                <a:lnTo>
                  <a:pt x="3346340" y="4082248"/>
                </a:lnTo>
                <a:lnTo>
                  <a:pt x="3346340" y="4072377"/>
                </a:lnTo>
                <a:close/>
                <a:moveTo>
                  <a:pt x="3111048" y="4068339"/>
                </a:moveTo>
                <a:lnTo>
                  <a:pt x="3120959" y="4068339"/>
                </a:lnTo>
                <a:lnTo>
                  <a:pt x="3124977" y="4072377"/>
                </a:lnTo>
                <a:lnTo>
                  <a:pt x="3124977" y="4082248"/>
                </a:lnTo>
                <a:lnTo>
                  <a:pt x="3120959" y="4086287"/>
                </a:lnTo>
                <a:lnTo>
                  <a:pt x="3111048" y="4086287"/>
                </a:lnTo>
                <a:lnTo>
                  <a:pt x="3107029" y="4082248"/>
                </a:lnTo>
                <a:lnTo>
                  <a:pt x="3107029" y="4072377"/>
                </a:lnTo>
                <a:close/>
                <a:moveTo>
                  <a:pt x="2871737" y="4068339"/>
                </a:moveTo>
                <a:lnTo>
                  <a:pt x="2881646" y="4068339"/>
                </a:lnTo>
                <a:lnTo>
                  <a:pt x="2885666" y="4072377"/>
                </a:lnTo>
                <a:lnTo>
                  <a:pt x="2885666" y="4082248"/>
                </a:lnTo>
                <a:lnTo>
                  <a:pt x="2881646" y="4086287"/>
                </a:lnTo>
                <a:lnTo>
                  <a:pt x="2871737" y="4086287"/>
                </a:lnTo>
                <a:lnTo>
                  <a:pt x="2867717" y="4082248"/>
                </a:lnTo>
                <a:lnTo>
                  <a:pt x="2867717" y="4072377"/>
                </a:lnTo>
                <a:close/>
                <a:moveTo>
                  <a:pt x="2632423" y="4068339"/>
                </a:moveTo>
                <a:lnTo>
                  <a:pt x="2642334" y="4068339"/>
                </a:lnTo>
                <a:lnTo>
                  <a:pt x="2646352" y="4072377"/>
                </a:lnTo>
                <a:lnTo>
                  <a:pt x="2646352" y="4082248"/>
                </a:lnTo>
                <a:lnTo>
                  <a:pt x="2642334" y="4086287"/>
                </a:lnTo>
                <a:lnTo>
                  <a:pt x="2632423" y="4086287"/>
                </a:lnTo>
                <a:lnTo>
                  <a:pt x="2628404" y="4082248"/>
                </a:lnTo>
                <a:lnTo>
                  <a:pt x="2628404" y="4072377"/>
                </a:lnTo>
                <a:close/>
                <a:moveTo>
                  <a:pt x="2393104" y="4068339"/>
                </a:moveTo>
                <a:lnTo>
                  <a:pt x="2403015" y="4068339"/>
                </a:lnTo>
                <a:lnTo>
                  <a:pt x="2407034" y="4072377"/>
                </a:lnTo>
                <a:lnTo>
                  <a:pt x="2407034" y="4082248"/>
                </a:lnTo>
                <a:lnTo>
                  <a:pt x="2403015" y="4086287"/>
                </a:lnTo>
                <a:lnTo>
                  <a:pt x="2393104" y="4086287"/>
                </a:lnTo>
                <a:lnTo>
                  <a:pt x="2389087" y="4082248"/>
                </a:lnTo>
                <a:lnTo>
                  <a:pt x="2389087" y="4072377"/>
                </a:lnTo>
                <a:close/>
                <a:moveTo>
                  <a:pt x="2157819" y="4068339"/>
                </a:moveTo>
                <a:lnTo>
                  <a:pt x="2167729" y="4068339"/>
                </a:lnTo>
                <a:lnTo>
                  <a:pt x="2171749" y="4072377"/>
                </a:lnTo>
                <a:lnTo>
                  <a:pt x="2171749" y="4082248"/>
                </a:lnTo>
                <a:lnTo>
                  <a:pt x="2167729" y="4086287"/>
                </a:lnTo>
                <a:lnTo>
                  <a:pt x="2157819" y="4086287"/>
                </a:lnTo>
                <a:lnTo>
                  <a:pt x="2153801" y="4082248"/>
                </a:lnTo>
                <a:lnTo>
                  <a:pt x="2153801" y="4072377"/>
                </a:lnTo>
                <a:close/>
                <a:moveTo>
                  <a:pt x="1918511" y="4068339"/>
                </a:moveTo>
                <a:lnTo>
                  <a:pt x="1928421" y="4068339"/>
                </a:lnTo>
                <a:lnTo>
                  <a:pt x="1932440" y="4072377"/>
                </a:lnTo>
                <a:lnTo>
                  <a:pt x="1932440" y="4082248"/>
                </a:lnTo>
                <a:lnTo>
                  <a:pt x="1928421" y="4086287"/>
                </a:lnTo>
                <a:lnTo>
                  <a:pt x="1918511" y="4086287"/>
                </a:lnTo>
                <a:lnTo>
                  <a:pt x="1914492" y="4082248"/>
                </a:lnTo>
                <a:lnTo>
                  <a:pt x="1914492" y="4072377"/>
                </a:lnTo>
                <a:close/>
                <a:moveTo>
                  <a:pt x="1679207" y="4068339"/>
                </a:moveTo>
                <a:lnTo>
                  <a:pt x="1689117" y="4068339"/>
                </a:lnTo>
                <a:lnTo>
                  <a:pt x="1693137" y="4072377"/>
                </a:lnTo>
                <a:lnTo>
                  <a:pt x="1693137" y="4082248"/>
                </a:lnTo>
                <a:lnTo>
                  <a:pt x="1689117" y="4086287"/>
                </a:lnTo>
                <a:lnTo>
                  <a:pt x="1679207" y="4086287"/>
                </a:lnTo>
                <a:lnTo>
                  <a:pt x="1675189" y="4082248"/>
                </a:lnTo>
                <a:lnTo>
                  <a:pt x="1675189" y="4072377"/>
                </a:lnTo>
                <a:close/>
                <a:moveTo>
                  <a:pt x="1439891" y="4068339"/>
                </a:moveTo>
                <a:lnTo>
                  <a:pt x="1449802" y="4068339"/>
                </a:lnTo>
                <a:lnTo>
                  <a:pt x="1453820" y="4072377"/>
                </a:lnTo>
                <a:lnTo>
                  <a:pt x="1453820" y="4082248"/>
                </a:lnTo>
                <a:lnTo>
                  <a:pt x="1449802" y="4086287"/>
                </a:lnTo>
                <a:lnTo>
                  <a:pt x="1439891" y="4086287"/>
                </a:lnTo>
                <a:lnTo>
                  <a:pt x="1435873" y="4082248"/>
                </a:lnTo>
                <a:lnTo>
                  <a:pt x="1435873" y="4072377"/>
                </a:lnTo>
                <a:close/>
                <a:moveTo>
                  <a:pt x="1200576" y="4068339"/>
                </a:moveTo>
                <a:lnTo>
                  <a:pt x="1210486" y="4068339"/>
                </a:lnTo>
                <a:lnTo>
                  <a:pt x="1214505" y="4072377"/>
                </a:lnTo>
                <a:lnTo>
                  <a:pt x="1214505" y="4082248"/>
                </a:lnTo>
                <a:lnTo>
                  <a:pt x="1210486" y="4086287"/>
                </a:lnTo>
                <a:lnTo>
                  <a:pt x="1200576" y="4086287"/>
                </a:lnTo>
                <a:lnTo>
                  <a:pt x="1196558" y="4082248"/>
                </a:lnTo>
                <a:lnTo>
                  <a:pt x="1196558" y="4072377"/>
                </a:lnTo>
                <a:close/>
                <a:moveTo>
                  <a:pt x="961263" y="4068339"/>
                </a:moveTo>
                <a:lnTo>
                  <a:pt x="971174" y="4068339"/>
                </a:lnTo>
                <a:lnTo>
                  <a:pt x="975192" y="4072377"/>
                </a:lnTo>
                <a:lnTo>
                  <a:pt x="975192" y="4082248"/>
                </a:lnTo>
                <a:lnTo>
                  <a:pt x="971174" y="4086287"/>
                </a:lnTo>
                <a:lnTo>
                  <a:pt x="961263" y="4086287"/>
                </a:lnTo>
                <a:lnTo>
                  <a:pt x="957244" y="4082248"/>
                </a:lnTo>
                <a:lnTo>
                  <a:pt x="957244" y="4072377"/>
                </a:lnTo>
                <a:close/>
                <a:moveTo>
                  <a:pt x="721965" y="4068339"/>
                </a:moveTo>
                <a:lnTo>
                  <a:pt x="731876" y="4068339"/>
                </a:lnTo>
                <a:lnTo>
                  <a:pt x="735894" y="4072377"/>
                </a:lnTo>
                <a:lnTo>
                  <a:pt x="735894" y="4082248"/>
                </a:lnTo>
                <a:lnTo>
                  <a:pt x="731876" y="4086287"/>
                </a:lnTo>
                <a:lnTo>
                  <a:pt x="721965" y="4086287"/>
                </a:lnTo>
                <a:lnTo>
                  <a:pt x="717946" y="4082248"/>
                </a:lnTo>
                <a:lnTo>
                  <a:pt x="717946" y="4072377"/>
                </a:lnTo>
                <a:close/>
                <a:moveTo>
                  <a:pt x="482653" y="4068339"/>
                </a:moveTo>
                <a:lnTo>
                  <a:pt x="492563" y="4068339"/>
                </a:lnTo>
                <a:lnTo>
                  <a:pt x="496583" y="4072377"/>
                </a:lnTo>
                <a:lnTo>
                  <a:pt x="496583" y="4082248"/>
                </a:lnTo>
                <a:lnTo>
                  <a:pt x="492563" y="4086287"/>
                </a:lnTo>
                <a:lnTo>
                  <a:pt x="482653" y="4086287"/>
                </a:lnTo>
                <a:lnTo>
                  <a:pt x="478634" y="4082248"/>
                </a:lnTo>
                <a:lnTo>
                  <a:pt x="478634" y="4072377"/>
                </a:lnTo>
                <a:close/>
                <a:moveTo>
                  <a:pt x="243339" y="4068339"/>
                </a:moveTo>
                <a:lnTo>
                  <a:pt x="253250" y="4068339"/>
                </a:lnTo>
                <a:lnTo>
                  <a:pt x="257269" y="4072377"/>
                </a:lnTo>
                <a:lnTo>
                  <a:pt x="257269" y="4082248"/>
                </a:lnTo>
                <a:lnTo>
                  <a:pt x="253250" y="4086287"/>
                </a:lnTo>
                <a:lnTo>
                  <a:pt x="243339" y="4086287"/>
                </a:lnTo>
                <a:lnTo>
                  <a:pt x="239320" y="4082248"/>
                </a:lnTo>
                <a:lnTo>
                  <a:pt x="239320" y="4072377"/>
                </a:lnTo>
                <a:close/>
                <a:moveTo>
                  <a:pt x="4026" y="4068339"/>
                </a:moveTo>
                <a:lnTo>
                  <a:pt x="13936" y="4068339"/>
                </a:lnTo>
                <a:lnTo>
                  <a:pt x="17956" y="4072377"/>
                </a:lnTo>
                <a:lnTo>
                  <a:pt x="17956" y="4082248"/>
                </a:lnTo>
                <a:lnTo>
                  <a:pt x="13936" y="4086287"/>
                </a:lnTo>
                <a:lnTo>
                  <a:pt x="4026" y="4086287"/>
                </a:lnTo>
                <a:lnTo>
                  <a:pt x="7" y="4082248"/>
                </a:lnTo>
                <a:lnTo>
                  <a:pt x="7" y="4072377"/>
                </a:lnTo>
                <a:close/>
                <a:moveTo>
                  <a:pt x="2157820" y="3829058"/>
                </a:moveTo>
                <a:lnTo>
                  <a:pt x="2167731" y="3829058"/>
                </a:lnTo>
                <a:lnTo>
                  <a:pt x="2171749" y="3833097"/>
                </a:lnTo>
                <a:lnTo>
                  <a:pt x="2171749" y="3842968"/>
                </a:lnTo>
                <a:lnTo>
                  <a:pt x="2167731" y="3847007"/>
                </a:lnTo>
                <a:lnTo>
                  <a:pt x="2157820" y="3847007"/>
                </a:lnTo>
                <a:lnTo>
                  <a:pt x="2153801" y="3842968"/>
                </a:lnTo>
                <a:lnTo>
                  <a:pt x="2153801" y="3833097"/>
                </a:lnTo>
                <a:close/>
                <a:moveTo>
                  <a:pt x="1918511" y="3829058"/>
                </a:moveTo>
                <a:lnTo>
                  <a:pt x="1928421" y="3829058"/>
                </a:lnTo>
                <a:lnTo>
                  <a:pt x="1932440" y="3833097"/>
                </a:lnTo>
                <a:lnTo>
                  <a:pt x="1932440" y="3842968"/>
                </a:lnTo>
                <a:lnTo>
                  <a:pt x="1928421" y="3847007"/>
                </a:lnTo>
                <a:lnTo>
                  <a:pt x="1918511" y="3847007"/>
                </a:lnTo>
                <a:lnTo>
                  <a:pt x="1914493" y="3842968"/>
                </a:lnTo>
                <a:lnTo>
                  <a:pt x="1914493" y="3833097"/>
                </a:lnTo>
                <a:close/>
                <a:moveTo>
                  <a:pt x="1679209" y="3829058"/>
                </a:moveTo>
                <a:lnTo>
                  <a:pt x="1689118" y="3829058"/>
                </a:lnTo>
                <a:lnTo>
                  <a:pt x="1693137" y="3833097"/>
                </a:lnTo>
                <a:lnTo>
                  <a:pt x="1693137" y="3842968"/>
                </a:lnTo>
                <a:lnTo>
                  <a:pt x="1689118" y="3847007"/>
                </a:lnTo>
                <a:lnTo>
                  <a:pt x="1679209" y="3847007"/>
                </a:lnTo>
                <a:lnTo>
                  <a:pt x="1675189" y="3842968"/>
                </a:lnTo>
                <a:lnTo>
                  <a:pt x="1675189" y="3833097"/>
                </a:lnTo>
                <a:close/>
                <a:moveTo>
                  <a:pt x="1439892" y="3829058"/>
                </a:moveTo>
                <a:lnTo>
                  <a:pt x="1449802" y="3829058"/>
                </a:lnTo>
                <a:lnTo>
                  <a:pt x="1453820" y="3833097"/>
                </a:lnTo>
                <a:lnTo>
                  <a:pt x="1453820" y="3842968"/>
                </a:lnTo>
                <a:lnTo>
                  <a:pt x="1449802" y="3847007"/>
                </a:lnTo>
                <a:lnTo>
                  <a:pt x="1439892" y="3847007"/>
                </a:lnTo>
                <a:lnTo>
                  <a:pt x="1435874" y="3842968"/>
                </a:lnTo>
                <a:lnTo>
                  <a:pt x="1435874" y="3833097"/>
                </a:lnTo>
                <a:close/>
                <a:moveTo>
                  <a:pt x="1200577" y="3829058"/>
                </a:moveTo>
                <a:lnTo>
                  <a:pt x="1210487" y="3829058"/>
                </a:lnTo>
                <a:lnTo>
                  <a:pt x="1214506" y="3833097"/>
                </a:lnTo>
                <a:lnTo>
                  <a:pt x="1214506" y="3842968"/>
                </a:lnTo>
                <a:lnTo>
                  <a:pt x="1210487" y="3847007"/>
                </a:lnTo>
                <a:lnTo>
                  <a:pt x="1200577" y="3847007"/>
                </a:lnTo>
                <a:lnTo>
                  <a:pt x="1196558" y="3842968"/>
                </a:lnTo>
                <a:lnTo>
                  <a:pt x="1196558" y="3833097"/>
                </a:lnTo>
                <a:close/>
                <a:moveTo>
                  <a:pt x="961264" y="3829058"/>
                </a:moveTo>
                <a:lnTo>
                  <a:pt x="971174" y="3829058"/>
                </a:lnTo>
                <a:lnTo>
                  <a:pt x="975193" y="3833097"/>
                </a:lnTo>
                <a:lnTo>
                  <a:pt x="975193" y="3842968"/>
                </a:lnTo>
                <a:lnTo>
                  <a:pt x="971174" y="3847007"/>
                </a:lnTo>
                <a:lnTo>
                  <a:pt x="961264" y="3847007"/>
                </a:lnTo>
                <a:lnTo>
                  <a:pt x="957245" y="3842968"/>
                </a:lnTo>
                <a:lnTo>
                  <a:pt x="957245" y="3833097"/>
                </a:lnTo>
                <a:close/>
                <a:moveTo>
                  <a:pt x="9572438" y="3829008"/>
                </a:moveTo>
                <a:lnTo>
                  <a:pt x="9582349" y="3829008"/>
                </a:lnTo>
                <a:lnTo>
                  <a:pt x="9586368" y="3833046"/>
                </a:lnTo>
                <a:lnTo>
                  <a:pt x="9586368" y="3842917"/>
                </a:lnTo>
                <a:lnTo>
                  <a:pt x="9582349" y="3846956"/>
                </a:lnTo>
                <a:lnTo>
                  <a:pt x="9572438" y="3846956"/>
                </a:lnTo>
                <a:lnTo>
                  <a:pt x="9568419" y="3842917"/>
                </a:lnTo>
                <a:lnTo>
                  <a:pt x="9568419" y="3833046"/>
                </a:lnTo>
                <a:close/>
                <a:moveTo>
                  <a:pt x="9333125" y="3829008"/>
                </a:moveTo>
                <a:lnTo>
                  <a:pt x="9343036" y="3829008"/>
                </a:lnTo>
                <a:lnTo>
                  <a:pt x="9347055" y="3833046"/>
                </a:lnTo>
                <a:lnTo>
                  <a:pt x="9347055" y="3842917"/>
                </a:lnTo>
                <a:lnTo>
                  <a:pt x="9343036" y="3846956"/>
                </a:lnTo>
                <a:lnTo>
                  <a:pt x="9333125" y="3846956"/>
                </a:lnTo>
                <a:lnTo>
                  <a:pt x="9329106" y="3842917"/>
                </a:lnTo>
                <a:lnTo>
                  <a:pt x="9329106" y="3833046"/>
                </a:lnTo>
                <a:close/>
                <a:moveTo>
                  <a:pt x="9093811" y="3829008"/>
                </a:moveTo>
                <a:lnTo>
                  <a:pt x="9103722" y="3829008"/>
                </a:lnTo>
                <a:lnTo>
                  <a:pt x="9107741" y="3833046"/>
                </a:lnTo>
                <a:lnTo>
                  <a:pt x="9107741" y="3842917"/>
                </a:lnTo>
                <a:lnTo>
                  <a:pt x="9103722" y="3846956"/>
                </a:lnTo>
                <a:lnTo>
                  <a:pt x="9093811" y="3846956"/>
                </a:lnTo>
                <a:lnTo>
                  <a:pt x="9089792" y="3842917"/>
                </a:lnTo>
                <a:lnTo>
                  <a:pt x="9089792" y="3833046"/>
                </a:lnTo>
                <a:close/>
                <a:moveTo>
                  <a:pt x="8854496" y="3829008"/>
                </a:moveTo>
                <a:lnTo>
                  <a:pt x="8864407" y="3829008"/>
                </a:lnTo>
                <a:lnTo>
                  <a:pt x="8868426" y="3833046"/>
                </a:lnTo>
                <a:lnTo>
                  <a:pt x="8868426" y="3842917"/>
                </a:lnTo>
                <a:lnTo>
                  <a:pt x="8864407" y="3846956"/>
                </a:lnTo>
                <a:lnTo>
                  <a:pt x="8854496" y="3846956"/>
                </a:lnTo>
                <a:lnTo>
                  <a:pt x="8850477" y="3842917"/>
                </a:lnTo>
                <a:lnTo>
                  <a:pt x="8850477" y="3833046"/>
                </a:lnTo>
                <a:close/>
                <a:moveTo>
                  <a:pt x="8615184" y="3829008"/>
                </a:moveTo>
                <a:lnTo>
                  <a:pt x="8625095" y="3829008"/>
                </a:lnTo>
                <a:lnTo>
                  <a:pt x="8629114" y="3833046"/>
                </a:lnTo>
                <a:lnTo>
                  <a:pt x="8629114" y="3842917"/>
                </a:lnTo>
                <a:lnTo>
                  <a:pt x="8625095" y="3846956"/>
                </a:lnTo>
                <a:lnTo>
                  <a:pt x="8615184" y="3846956"/>
                </a:lnTo>
                <a:lnTo>
                  <a:pt x="8611165" y="3842917"/>
                </a:lnTo>
                <a:lnTo>
                  <a:pt x="8611165" y="3833046"/>
                </a:lnTo>
                <a:close/>
                <a:moveTo>
                  <a:pt x="8375869" y="3829008"/>
                </a:moveTo>
                <a:lnTo>
                  <a:pt x="8385779" y="3829008"/>
                </a:lnTo>
                <a:lnTo>
                  <a:pt x="8389799" y="3833046"/>
                </a:lnTo>
                <a:lnTo>
                  <a:pt x="8389799" y="3842917"/>
                </a:lnTo>
                <a:lnTo>
                  <a:pt x="8385779" y="3846956"/>
                </a:lnTo>
                <a:lnTo>
                  <a:pt x="8375869" y="3846956"/>
                </a:lnTo>
                <a:lnTo>
                  <a:pt x="8371850" y="3842917"/>
                </a:lnTo>
                <a:lnTo>
                  <a:pt x="8371850" y="3833046"/>
                </a:lnTo>
                <a:close/>
                <a:moveTo>
                  <a:pt x="8136553" y="3829008"/>
                </a:moveTo>
                <a:lnTo>
                  <a:pt x="8146464" y="3829008"/>
                </a:lnTo>
                <a:lnTo>
                  <a:pt x="8150483" y="3833046"/>
                </a:lnTo>
                <a:lnTo>
                  <a:pt x="8150483" y="3842917"/>
                </a:lnTo>
                <a:lnTo>
                  <a:pt x="8146464" y="3846956"/>
                </a:lnTo>
                <a:lnTo>
                  <a:pt x="8136553" y="3846956"/>
                </a:lnTo>
                <a:lnTo>
                  <a:pt x="8132534" y="3842917"/>
                </a:lnTo>
                <a:lnTo>
                  <a:pt x="8132534" y="3833046"/>
                </a:lnTo>
                <a:close/>
                <a:moveTo>
                  <a:pt x="7897241" y="3829008"/>
                </a:moveTo>
                <a:lnTo>
                  <a:pt x="7907151" y="3829008"/>
                </a:lnTo>
                <a:lnTo>
                  <a:pt x="7911170" y="3833046"/>
                </a:lnTo>
                <a:lnTo>
                  <a:pt x="7911170" y="3842917"/>
                </a:lnTo>
                <a:lnTo>
                  <a:pt x="7907151" y="3846956"/>
                </a:lnTo>
                <a:lnTo>
                  <a:pt x="7897241" y="3846956"/>
                </a:lnTo>
                <a:lnTo>
                  <a:pt x="7893222" y="3842917"/>
                </a:lnTo>
                <a:lnTo>
                  <a:pt x="7893222" y="3833046"/>
                </a:lnTo>
                <a:close/>
                <a:moveTo>
                  <a:pt x="7657926" y="3829008"/>
                </a:moveTo>
                <a:lnTo>
                  <a:pt x="7667836" y="3829008"/>
                </a:lnTo>
                <a:lnTo>
                  <a:pt x="7671855" y="3833046"/>
                </a:lnTo>
                <a:lnTo>
                  <a:pt x="7671855" y="3842917"/>
                </a:lnTo>
                <a:lnTo>
                  <a:pt x="7667836" y="3846956"/>
                </a:lnTo>
                <a:lnTo>
                  <a:pt x="7657926" y="3846956"/>
                </a:lnTo>
                <a:lnTo>
                  <a:pt x="7653906" y="3842917"/>
                </a:lnTo>
                <a:lnTo>
                  <a:pt x="7653906" y="3833046"/>
                </a:lnTo>
                <a:close/>
                <a:moveTo>
                  <a:pt x="7418611" y="3829008"/>
                </a:moveTo>
                <a:lnTo>
                  <a:pt x="7428521" y="3829008"/>
                </a:lnTo>
                <a:lnTo>
                  <a:pt x="7432540" y="3833046"/>
                </a:lnTo>
                <a:lnTo>
                  <a:pt x="7432540" y="3842917"/>
                </a:lnTo>
                <a:lnTo>
                  <a:pt x="7428521" y="3846956"/>
                </a:lnTo>
                <a:lnTo>
                  <a:pt x="7418611" y="3846956"/>
                </a:lnTo>
                <a:lnTo>
                  <a:pt x="7414592" y="3842917"/>
                </a:lnTo>
                <a:lnTo>
                  <a:pt x="7414592" y="3833046"/>
                </a:lnTo>
                <a:close/>
                <a:moveTo>
                  <a:pt x="7179298" y="3829008"/>
                </a:moveTo>
                <a:lnTo>
                  <a:pt x="7189209" y="3829008"/>
                </a:lnTo>
                <a:lnTo>
                  <a:pt x="7193228" y="3833046"/>
                </a:lnTo>
                <a:lnTo>
                  <a:pt x="7193228" y="3842917"/>
                </a:lnTo>
                <a:lnTo>
                  <a:pt x="7189209" y="3846956"/>
                </a:lnTo>
                <a:lnTo>
                  <a:pt x="7179298" y="3846956"/>
                </a:lnTo>
                <a:lnTo>
                  <a:pt x="7175279" y="3842917"/>
                </a:lnTo>
                <a:lnTo>
                  <a:pt x="7175279" y="3833046"/>
                </a:lnTo>
                <a:close/>
                <a:moveTo>
                  <a:pt x="6939983" y="3829008"/>
                </a:moveTo>
                <a:lnTo>
                  <a:pt x="6949894" y="3829008"/>
                </a:lnTo>
                <a:lnTo>
                  <a:pt x="6953913" y="3833046"/>
                </a:lnTo>
                <a:lnTo>
                  <a:pt x="6953913" y="3842917"/>
                </a:lnTo>
                <a:lnTo>
                  <a:pt x="6949894" y="3846956"/>
                </a:lnTo>
                <a:lnTo>
                  <a:pt x="6939983" y="3846956"/>
                </a:lnTo>
                <a:lnTo>
                  <a:pt x="6935964" y="3842917"/>
                </a:lnTo>
                <a:lnTo>
                  <a:pt x="6935964" y="3833046"/>
                </a:lnTo>
                <a:close/>
                <a:moveTo>
                  <a:pt x="6700670" y="3829008"/>
                </a:moveTo>
                <a:lnTo>
                  <a:pt x="6710581" y="3829008"/>
                </a:lnTo>
                <a:lnTo>
                  <a:pt x="6714600" y="3833046"/>
                </a:lnTo>
                <a:lnTo>
                  <a:pt x="6714600" y="3842917"/>
                </a:lnTo>
                <a:lnTo>
                  <a:pt x="6710581" y="3846956"/>
                </a:lnTo>
                <a:lnTo>
                  <a:pt x="6700670" y="3846956"/>
                </a:lnTo>
                <a:lnTo>
                  <a:pt x="6696651" y="3842917"/>
                </a:lnTo>
                <a:lnTo>
                  <a:pt x="6696651" y="3833046"/>
                </a:lnTo>
                <a:close/>
                <a:moveTo>
                  <a:pt x="6461356" y="3829008"/>
                </a:moveTo>
                <a:lnTo>
                  <a:pt x="6471266" y="3829008"/>
                </a:lnTo>
                <a:lnTo>
                  <a:pt x="6475285" y="3833046"/>
                </a:lnTo>
                <a:lnTo>
                  <a:pt x="6475285" y="3842917"/>
                </a:lnTo>
                <a:lnTo>
                  <a:pt x="6471266" y="3846956"/>
                </a:lnTo>
                <a:lnTo>
                  <a:pt x="6461356" y="3846956"/>
                </a:lnTo>
                <a:lnTo>
                  <a:pt x="6457337" y="3842917"/>
                </a:lnTo>
                <a:lnTo>
                  <a:pt x="6457337" y="3833046"/>
                </a:lnTo>
                <a:close/>
                <a:moveTo>
                  <a:pt x="6222042" y="3829008"/>
                </a:moveTo>
                <a:lnTo>
                  <a:pt x="6231952" y="3829008"/>
                </a:lnTo>
                <a:lnTo>
                  <a:pt x="6235971" y="3833046"/>
                </a:lnTo>
                <a:lnTo>
                  <a:pt x="6235971" y="3842917"/>
                </a:lnTo>
                <a:lnTo>
                  <a:pt x="6231952" y="3846956"/>
                </a:lnTo>
                <a:lnTo>
                  <a:pt x="6222042" y="3846956"/>
                </a:lnTo>
                <a:lnTo>
                  <a:pt x="6218023" y="3842917"/>
                </a:lnTo>
                <a:lnTo>
                  <a:pt x="6218023" y="3833046"/>
                </a:lnTo>
                <a:close/>
                <a:moveTo>
                  <a:pt x="5982729" y="3829008"/>
                </a:moveTo>
                <a:lnTo>
                  <a:pt x="5992639" y="3829008"/>
                </a:lnTo>
                <a:lnTo>
                  <a:pt x="5996658" y="3833046"/>
                </a:lnTo>
                <a:lnTo>
                  <a:pt x="5996658" y="3842917"/>
                </a:lnTo>
                <a:lnTo>
                  <a:pt x="5992639" y="3846956"/>
                </a:lnTo>
                <a:lnTo>
                  <a:pt x="5982729" y="3846956"/>
                </a:lnTo>
                <a:lnTo>
                  <a:pt x="5978710" y="3842917"/>
                </a:lnTo>
                <a:lnTo>
                  <a:pt x="5978710" y="3833046"/>
                </a:lnTo>
                <a:close/>
                <a:moveTo>
                  <a:pt x="5743412" y="3829008"/>
                </a:moveTo>
                <a:lnTo>
                  <a:pt x="5753323" y="3829008"/>
                </a:lnTo>
                <a:lnTo>
                  <a:pt x="5757342" y="3833046"/>
                </a:lnTo>
                <a:lnTo>
                  <a:pt x="5757342" y="3842917"/>
                </a:lnTo>
                <a:lnTo>
                  <a:pt x="5753323" y="3846956"/>
                </a:lnTo>
                <a:lnTo>
                  <a:pt x="5743412" y="3846956"/>
                </a:lnTo>
                <a:lnTo>
                  <a:pt x="5739393" y="3842917"/>
                </a:lnTo>
                <a:lnTo>
                  <a:pt x="5739393" y="3833046"/>
                </a:lnTo>
                <a:close/>
                <a:moveTo>
                  <a:pt x="5504099" y="3829008"/>
                </a:moveTo>
                <a:lnTo>
                  <a:pt x="5514010" y="3829008"/>
                </a:lnTo>
                <a:lnTo>
                  <a:pt x="5518029" y="3833046"/>
                </a:lnTo>
                <a:lnTo>
                  <a:pt x="5518029" y="3842917"/>
                </a:lnTo>
                <a:lnTo>
                  <a:pt x="5514010" y="3846956"/>
                </a:lnTo>
                <a:lnTo>
                  <a:pt x="5504099" y="3846956"/>
                </a:lnTo>
                <a:lnTo>
                  <a:pt x="5500080" y="3842917"/>
                </a:lnTo>
                <a:lnTo>
                  <a:pt x="5500080" y="3833046"/>
                </a:lnTo>
                <a:close/>
                <a:moveTo>
                  <a:pt x="5264784" y="3829008"/>
                </a:moveTo>
                <a:lnTo>
                  <a:pt x="5274694" y="3829008"/>
                </a:lnTo>
                <a:lnTo>
                  <a:pt x="5278713" y="3833046"/>
                </a:lnTo>
                <a:lnTo>
                  <a:pt x="5278713" y="3842917"/>
                </a:lnTo>
                <a:lnTo>
                  <a:pt x="5274694" y="3846956"/>
                </a:lnTo>
                <a:lnTo>
                  <a:pt x="5264784" y="3846956"/>
                </a:lnTo>
                <a:lnTo>
                  <a:pt x="5260765" y="3842917"/>
                </a:lnTo>
                <a:lnTo>
                  <a:pt x="5260765" y="3833046"/>
                </a:lnTo>
                <a:close/>
                <a:moveTo>
                  <a:pt x="5025470" y="3829008"/>
                </a:moveTo>
                <a:lnTo>
                  <a:pt x="5035381" y="3829008"/>
                </a:lnTo>
                <a:lnTo>
                  <a:pt x="5039400" y="3833046"/>
                </a:lnTo>
                <a:lnTo>
                  <a:pt x="5039400" y="3842917"/>
                </a:lnTo>
                <a:lnTo>
                  <a:pt x="5035381" y="3846956"/>
                </a:lnTo>
                <a:lnTo>
                  <a:pt x="5025470" y="3846956"/>
                </a:lnTo>
                <a:lnTo>
                  <a:pt x="5021451" y="3842917"/>
                </a:lnTo>
                <a:lnTo>
                  <a:pt x="5021451" y="3833046"/>
                </a:lnTo>
                <a:close/>
                <a:moveTo>
                  <a:pt x="4786241" y="3829008"/>
                </a:moveTo>
                <a:lnTo>
                  <a:pt x="4796152" y="3829008"/>
                </a:lnTo>
                <a:lnTo>
                  <a:pt x="4800171" y="3833046"/>
                </a:lnTo>
                <a:lnTo>
                  <a:pt x="4800171" y="3842917"/>
                </a:lnTo>
                <a:lnTo>
                  <a:pt x="4796152" y="3846956"/>
                </a:lnTo>
                <a:lnTo>
                  <a:pt x="4786241" y="3846956"/>
                </a:lnTo>
                <a:lnTo>
                  <a:pt x="4782224" y="3842917"/>
                </a:lnTo>
                <a:lnTo>
                  <a:pt x="4782224" y="3833046"/>
                </a:lnTo>
                <a:close/>
                <a:moveTo>
                  <a:pt x="4546929" y="3829008"/>
                </a:moveTo>
                <a:lnTo>
                  <a:pt x="4556840" y="3829008"/>
                </a:lnTo>
                <a:lnTo>
                  <a:pt x="4560859" y="3833046"/>
                </a:lnTo>
                <a:lnTo>
                  <a:pt x="4560859" y="3842917"/>
                </a:lnTo>
                <a:lnTo>
                  <a:pt x="4556840" y="3846956"/>
                </a:lnTo>
                <a:lnTo>
                  <a:pt x="4546929" y="3846956"/>
                </a:lnTo>
                <a:lnTo>
                  <a:pt x="4542910" y="3842917"/>
                </a:lnTo>
                <a:lnTo>
                  <a:pt x="4542910" y="3833046"/>
                </a:lnTo>
                <a:close/>
                <a:moveTo>
                  <a:pt x="4307612" y="3829008"/>
                </a:moveTo>
                <a:lnTo>
                  <a:pt x="4317523" y="3829008"/>
                </a:lnTo>
                <a:lnTo>
                  <a:pt x="4321543" y="3833046"/>
                </a:lnTo>
                <a:lnTo>
                  <a:pt x="4321543" y="3842917"/>
                </a:lnTo>
                <a:lnTo>
                  <a:pt x="4317523" y="3846956"/>
                </a:lnTo>
                <a:lnTo>
                  <a:pt x="4307612" y="3846956"/>
                </a:lnTo>
                <a:lnTo>
                  <a:pt x="4303595" y="3842917"/>
                </a:lnTo>
                <a:lnTo>
                  <a:pt x="4303595" y="3833046"/>
                </a:lnTo>
                <a:close/>
                <a:moveTo>
                  <a:pt x="4068297" y="3829008"/>
                </a:moveTo>
                <a:lnTo>
                  <a:pt x="4078210" y="3829008"/>
                </a:lnTo>
                <a:lnTo>
                  <a:pt x="4082229" y="3833046"/>
                </a:lnTo>
                <a:lnTo>
                  <a:pt x="4082229" y="3842917"/>
                </a:lnTo>
                <a:lnTo>
                  <a:pt x="4078210" y="3846956"/>
                </a:lnTo>
                <a:lnTo>
                  <a:pt x="4068297" y="3846956"/>
                </a:lnTo>
                <a:lnTo>
                  <a:pt x="4064278" y="3842917"/>
                </a:lnTo>
                <a:lnTo>
                  <a:pt x="4064278" y="3833046"/>
                </a:lnTo>
                <a:close/>
                <a:moveTo>
                  <a:pt x="3828990" y="3829008"/>
                </a:moveTo>
                <a:lnTo>
                  <a:pt x="3838899" y="3829008"/>
                </a:lnTo>
                <a:lnTo>
                  <a:pt x="3842917" y="3833046"/>
                </a:lnTo>
                <a:lnTo>
                  <a:pt x="3842917" y="3842917"/>
                </a:lnTo>
                <a:lnTo>
                  <a:pt x="3838899" y="3846956"/>
                </a:lnTo>
                <a:lnTo>
                  <a:pt x="3828990" y="3846956"/>
                </a:lnTo>
                <a:lnTo>
                  <a:pt x="3824971" y="3842917"/>
                </a:lnTo>
                <a:lnTo>
                  <a:pt x="3824971" y="3833046"/>
                </a:lnTo>
                <a:close/>
                <a:moveTo>
                  <a:pt x="3589676" y="3829008"/>
                </a:moveTo>
                <a:lnTo>
                  <a:pt x="3599585" y="3829008"/>
                </a:lnTo>
                <a:lnTo>
                  <a:pt x="3603604" y="3833046"/>
                </a:lnTo>
                <a:lnTo>
                  <a:pt x="3603604" y="3842917"/>
                </a:lnTo>
                <a:lnTo>
                  <a:pt x="3599585" y="3846956"/>
                </a:lnTo>
                <a:lnTo>
                  <a:pt x="3589676" y="3846956"/>
                </a:lnTo>
                <a:lnTo>
                  <a:pt x="3585657" y="3842917"/>
                </a:lnTo>
                <a:lnTo>
                  <a:pt x="3585657" y="3833046"/>
                </a:lnTo>
                <a:close/>
                <a:moveTo>
                  <a:pt x="3350359" y="3829008"/>
                </a:moveTo>
                <a:lnTo>
                  <a:pt x="3360268" y="3829008"/>
                </a:lnTo>
                <a:lnTo>
                  <a:pt x="3364287" y="3833046"/>
                </a:lnTo>
                <a:lnTo>
                  <a:pt x="3364287" y="3842917"/>
                </a:lnTo>
                <a:lnTo>
                  <a:pt x="3360268" y="3846956"/>
                </a:lnTo>
                <a:lnTo>
                  <a:pt x="3350359" y="3846956"/>
                </a:lnTo>
                <a:lnTo>
                  <a:pt x="3346340" y="3842917"/>
                </a:lnTo>
                <a:lnTo>
                  <a:pt x="3346340" y="3833046"/>
                </a:lnTo>
                <a:close/>
                <a:moveTo>
                  <a:pt x="3111048" y="3829008"/>
                </a:moveTo>
                <a:lnTo>
                  <a:pt x="3120959" y="3829008"/>
                </a:lnTo>
                <a:lnTo>
                  <a:pt x="3124977" y="3833046"/>
                </a:lnTo>
                <a:lnTo>
                  <a:pt x="3124977" y="3842917"/>
                </a:lnTo>
                <a:lnTo>
                  <a:pt x="3120959" y="3846956"/>
                </a:lnTo>
                <a:lnTo>
                  <a:pt x="3111048" y="3846956"/>
                </a:lnTo>
                <a:lnTo>
                  <a:pt x="3107029" y="3842917"/>
                </a:lnTo>
                <a:lnTo>
                  <a:pt x="3107029" y="3833046"/>
                </a:lnTo>
                <a:close/>
                <a:moveTo>
                  <a:pt x="2871737" y="3829008"/>
                </a:moveTo>
                <a:lnTo>
                  <a:pt x="2881646" y="3829008"/>
                </a:lnTo>
                <a:lnTo>
                  <a:pt x="2885666" y="3833046"/>
                </a:lnTo>
                <a:lnTo>
                  <a:pt x="2885666" y="3842917"/>
                </a:lnTo>
                <a:lnTo>
                  <a:pt x="2881646" y="3846956"/>
                </a:lnTo>
                <a:lnTo>
                  <a:pt x="2871737" y="3846956"/>
                </a:lnTo>
                <a:lnTo>
                  <a:pt x="2867717" y="3842917"/>
                </a:lnTo>
                <a:lnTo>
                  <a:pt x="2867717" y="3833046"/>
                </a:lnTo>
                <a:close/>
                <a:moveTo>
                  <a:pt x="2632423" y="3829008"/>
                </a:moveTo>
                <a:lnTo>
                  <a:pt x="2642334" y="3829008"/>
                </a:lnTo>
                <a:lnTo>
                  <a:pt x="2646352" y="3833046"/>
                </a:lnTo>
                <a:lnTo>
                  <a:pt x="2646352" y="3842917"/>
                </a:lnTo>
                <a:lnTo>
                  <a:pt x="2642334" y="3846956"/>
                </a:lnTo>
                <a:lnTo>
                  <a:pt x="2632423" y="3846956"/>
                </a:lnTo>
                <a:lnTo>
                  <a:pt x="2628404" y="3842917"/>
                </a:lnTo>
                <a:lnTo>
                  <a:pt x="2628404" y="3833046"/>
                </a:lnTo>
                <a:close/>
                <a:moveTo>
                  <a:pt x="2393104" y="3829008"/>
                </a:moveTo>
                <a:lnTo>
                  <a:pt x="2403015" y="3829008"/>
                </a:lnTo>
                <a:lnTo>
                  <a:pt x="2407034" y="3833046"/>
                </a:lnTo>
                <a:lnTo>
                  <a:pt x="2407034" y="3842917"/>
                </a:lnTo>
                <a:lnTo>
                  <a:pt x="2403015" y="3846956"/>
                </a:lnTo>
                <a:lnTo>
                  <a:pt x="2393104" y="3846956"/>
                </a:lnTo>
                <a:lnTo>
                  <a:pt x="2389087" y="3842917"/>
                </a:lnTo>
                <a:lnTo>
                  <a:pt x="2389087" y="3833046"/>
                </a:lnTo>
                <a:close/>
                <a:moveTo>
                  <a:pt x="721966" y="3829008"/>
                </a:moveTo>
                <a:lnTo>
                  <a:pt x="731876" y="3829008"/>
                </a:lnTo>
                <a:lnTo>
                  <a:pt x="735895" y="3833046"/>
                </a:lnTo>
                <a:lnTo>
                  <a:pt x="735895" y="3842917"/>
                </a:lnTo>
                <a:lnTo>
                  <a:pt x="731876" y="3846956"/>
                </a:lnTo>
                <a:lnTo>
                  <a:pt x="721966" y="3846956"/>
                </a:lnTo>
                <a:lnTo>
                  <a:pt x="717947" y="3842917"/>
                </a:lnTo>
                <a:lnTo>
                  <a:pt x="717947" y="3833046"/>
                </a:lnTo>
                <a:close/>
                <a:moveTo>
                  <a:pt x="482654" y="3829008"/>
                </a:moveTo>
                <a:lnTo>
                  <a:pt x="492564" y="3829008"/>
                </a:lnTo>
                <a:lnTo>
                  <a:pt x="496583" y="3833046"/>
                </a:lnTo>
                <a:lnTo>
                  <a:pt x="496583" y="3842917"/>
                </a:lnTo>
                <a:lnTo>
                  <a:pt x="492564" y="3846956"/>
                </a:lnTo>
                <a:lnTo>
                  <a:pt x="482654" y="3846956"/>
                </a:lnTo>
                <a:lnTo>
                  <a:pt x="478635" y="3842917"/>
                </a:lnTo>
                <a:lnTo>
                  <a:pt x="478635" y="3833046"/>
                </a:lnTo>
                <a:close/>
                <a:moveTo>
                  <a:pt x="243340" y="3829008"/>
                </a:moveTo>
                <a:lnTo>
                  <a:pt x="253250" y="3829008"/>
                </a:lnTo>
                <a:lnTo>
                  <a:pt x="257269" y="3833046"/>
                </a:lnTo>
                <a:lnTo>
                  <a:pt x="257269" y="3842917"/>
                </a:lnTo>
                <a:lnTo>
                  <a:pt x="253250" y="3846956"/>
                </a:lnTo>
                <a:lnTo>
                  <a:pt x="243340" y="3846956"/>
                </a:lnTo>
                <a:lnTo>
                  <a:pt x="239321" y="3842917"/>
                </a:lnTo>
                <a:lnTo>
                  <a:pt x="239321" y="3833046"/>
                </a:lnTo>
                <a:close/>
                <a:moveTo>
                  <a:pt x="4027" y="3829008"/>
                </a:moveTo>
                <a:lnTo>
                  <a:pt x="13937" y="3829008"/>
                </a:lnTo>
                <a:lnTo>
                  <a:pt x="17956" y="3833046"/>
                </a:lnTo>
                <a:lnTo>
                  <a:pt x="17956" y="3842917"/>
                </a:lnTo>
                <a:lnTo>
                  <a:pt x="13937" y="3846956"/>
                </a:lnTo>
                <a:lnTo>
                  <a:pt x="4027" y="3846956"/>
                </a:lnTo>
                <a:lnTo>
                  <a:pt x="8" y="3842917"/>
                </a:lnTo>
                <a:lnTo>
                  <a:pt x="8" y="3833046"/>
                </a:lnTo>
                <a:close/>
                <a:moveTo>
                  <a:pt x="2157820" y="3589728"/>
                </a:moveTo>
                <a:lnTo>
                  <a:pt x="2167731" y="3589728"/>
                </a:lnTo>
                <a:lnTo>
                  <a:pt x="2171749" y="3593767"/>
                </a:lnTo>
                <a:lnTo>
                  <a:pt x="2171749" y="3603637"/>
                </a:lnTo>
                <a:lnTo>
                  <a:pt x="2167731" y="3607676"/>
                </a:lnTo>
                <a:lnTo>
                  <a:pt x="2157820" y="3607676"/>
                </a:lnTo>
                <a:lnTo>
                  <a:pt x="2153801" y="3603637"/>
                </a:lnTo>
                <a:lnTo>
                  <a:pt x="2153801" y="3593767"/>
                </a:lnTo>
                <a:close/>
                <a:moveTo>
                  <a:pt x="1918511" y="3589728"/>
                </a:moveTo>
                <a:lnTo>
                  <a:pt x="1928421" y="3589728"/>
                </a:lnTo>
                <a:lnTo>
                  <a:pt x="1932441" y="3593767"/>
                </a:lnTo>
                <a:lnTo>
                  <a:pt x="1932441" y="3603637"/>
                </a:lnTo>
                <a:lnTo>
                  <a:pt x="1928421" y="3607676"/>
                </a:lnTo>
                <a:lnTo>
                  <a:pt x="1918511" y="3607676"/>
                </a:lnTo>
                <a:lnTo>
                  <a:pt x="1914493" y="3603637"/>
                </a:lnTo>
                <a:lnTo>
                  <a:pt x="1914493" y="3593767"/>
                </a:lnTo>
                <a:close/>
                <a:moveTo>
                  <a:pt x="1679209" y="3589728"/>
                </a:moveTo>
                <a:lnTo>
                  <a:pt x="1689118" y="3589728"/>
                </a:lnTo>
                <a:lnTo>
                  <a:pt x="1693138" y="3593767"/>
                </a:lnTo>
                <a:lnTo>
                  <a:pt x="1693138" y="3603637"/>
                </a:lnTo>
                <a:lnTo>
                  <a:pt x="1689118" y="3607676"/>
                </a:lnTo>
                <a:lnTo>
                  <a:pt x="1679209" y="3607676"/>
                </a:lnTo>
                <a:lnTo>
                  <a:pt x="1675190" y="3603637"/>
                </a:lnTo>
                <a:lnTo>
                  <a:pt x="1675190" y="3593767"/>
                </a:lnTo>
                <a:close/>
                <a:moveTo>
                  <a:pt x="1439892" y="3589728"/>
                </a:moveTo>
                <a:lnTo>
                  <a:pt x="1449803" y="3589728"/>
                </a:lnTo>
                <a:lnTo>
                  <a:pt x="1453822" y="3593767"/>
                </a:lnTo>
                <a:lnTo>
                  <a:pt x="1453822" y="3603637"/>
                </a:lnTo>
                <a:lnTo>
                  <a:pt x="1449803" y="3607676"/>
                </a:lnTo>
                <a:lnTo>
                  <a:pt x="1439892" y="3607676"/>
                </a:lnTo>
                <a:lnTo>
                  <a:pt x="1435874" y="3603637"/>
                </a:lnTo>
                <a:lnTo>
                  <a:pt x="1435874" y="3593767"/>
                </a:lnTo>
                <a:close/>
                <a:moveTo>
                  <a:pt x="1200577" y="3589728"/>
                </a:moveTo>
                <a:lnTo>
                  <a:pt x="1210488" y="3589728"/>
                </a:lnTo>
                <a:lnTo>
                  <a:pt x="1214506" y="3593767"/>
                </a:lnTo>
                <a:lnTo>
                  <a:pt x="1214506" y="3603637"/>
                </a:lnTo>
                <a:lnTo>
                  <a:pt x="1210488" y="3607676"/>
                </a:lnTo>
                <a:lnTo>
                  <a:pt x="1200577" y="3607676"/>
                </a:lnTo>
                <a:lnTo>
                  <a:pt x="1196559" y="3603637"/>
                </a:lnTo>
                <a:lnTo>
                  <a:pt x="1196559" y="3593767"/>
                </a:lnTo>
                <a:close/>
                <a:moveTo>
                  <a:pt x="961265" y="3589728"/>
                </a:moveTo>
                <a:lnTo>
                  <a:pt x="971175" y="3589728"/>
                </a:lnTo>
                <a:lnTo>
                  <a:pt x="975193" y="3593767"/>
                </a:lnTo>
                <a:lnTo>
                  <a:pt x="975193" y="3603637"/>
                </a:lnTo>
                <a:lnTo>
                  <a:pt x="971175" y="3607676"/>
                </a:lnTo>
                <a:lnTo>
                  <a:pt x="961265" y="3607676"/>
                </a:lnTo>
                <a:lnTo>
                  <a:pt x="957246" y="3603637"/>
                </a:lnTo>
                <a:lnTo>
                  <a:pt x="957246" y="3593767"/>
                </a:lnTo>
                <a:close/>
                <a:moveTo>
                  <a:pt x="9572438" y="3589677"/>
                </a:moveTo>
                <a:lnTo>
                  <a:pt x="9582349" y="3589677"/>
                </a:lnTo>
                <a:lnTo>
                  <a:pt x="9586368" y="3593716"/>
                </a:lnTo>
                <a:lnTo>
                  <a:pt x="9586368" y="3603586"/>
                </a:lnTo>
                <a:lnTo>
                  <a:pt x="9582349" y="3607625"/>
                </a:lnTo>
                <a:lnTo>
                  <a:pt x="9572438" y="3607625"/>
                </a:lnTo>
                <a:lnTo>
                  <a:pt x="9568419" y="3603586"/>
                </a:lnTo>
                <a:lnTo>
                  <a:pt x="9568419" y="3593716"/>
                </a:lnTo>
                <a:close/>
                <a:moveTo>
                  <a:pt x="9333125" y="3589677"/>
                </a:moveTo>
                <a:lnTo>
                  <a:pt x="9343036" y="3589677"/>
                </a:lnTo>
                <a:lnTo>
                  <a:pt x="9347055" y="3593716"/>
                </a:lnTo>
                <a:lnTo>
                  <a:pt x="9347055" y="3603586"/>
                </a:lnTo>
                <a:lnTo>
                  <a:pt x="9343036" y="3607625"/>
                </a:lnTo>
                <a:lnTo>
                  <a:pt x="9333125" y="3607625"/>
                </a:lnTo>
                <a:lnTo>
                  <a:pt x="9329106" y="3603586"/>
                </a:lnTo>
                <a:lnTo>
                  <a:pt x="9329106" y="3593716"/>
                </a:lnTo>
                <a:close/>
                <a:moveTo>
                  <a:pt x="9093811" y="3589677"/>
                </a:moveTo>
                <a:lnTo>
                  <a:pt x="9103722" y="3589677"/>
                </a:lnTo>
                <a:lnTo>
                  <a:pt x="9107741" y="3593716"/>
                </a:lnTo>
                <a:lnTo>
                  <a:pt x="9107741" y="3603586"/>
                </a:lnTo>
                <a:lnTo>
                  <a:pt x="9103722" y="3607625"/>
                </a:lnTo>
                <a:lnTo>
                  <a:pt x="9093811" y="3607625"/>
                </a:lnTo>
                <a:lnTo>
                  <a:pt x="9089792" y="3603586"/>
                </a:lnTo>
                <a:lnTo>
                  <a:pt x="9089792" y="3593716"/>
                </a:lnTo>
                <a:close/>
                <a:moveTo>
                  <a:pt x="8854496" y="3589677"/>
                </a:moveTo>
                <a:lnTo>
                  <a:pt x="8864407" y="3589677"/>
                </a:lnTo>
                <a:lnTo>
                  <a:pt x="8868426" y="3593716"/>
                </a:lnTo>
                <a:lnTo>
                  <a:pt x="8868426" y="3603586"/>
                </a:lnTo>
                <a:lnTo>
                  <a:pt x="8864407" y="3607625"/>
                </a:lnTo>
                <a:lnTo>
                  <a:pt x="8854496" y="3607625"/>
                </a:lnTo>
                <a:lnTo>
                  <a:pt x="8850477" y="3603586"/>
                </a:lnTo>
                <a:lnTo>
                  <a:pt x="8850477" y="3593716"/>
                </a:lnTo>
                <a:close/>
                <a:moveTo>
                  <a:pt x="8615184" y="3589677"/>
                </a:moveTo>
                <a:lnTo>
                  <a:pt x="8625095" y="3589677"/>
                </a:lnTo>
                <a:lnTo>
                  <a:pt x="8629114" y="3593716"/>
                </a:lnTo>
                <a:lnTo>
                  <a:pt x="8629114" y="3603586"/>
                </a:lnTo>
                <a:lnTo>
                  <a:pt x="8625095" y="3607625"/>
                </a:lnTo>
                <a:lnTo>
                  <a:pt x="8615184" y="3607625"/>
                </a:lnTo>
                <a:lnTo>
                  <a:pt x="8611165" y="3603586"/>
                </a:lnTo>
                <a:lnTo>
                  <a:pt x="8611165" y="3593716"/>
                </a:lnTo>
                <a:close/>
                <a:moveTo>
                  <a:pt x="8375869" y="3589677"/>
                </a:moveTo>
                <a:lnTo>
                  <a:pt x="8385779" y="3589677"/>
                </a:lnTo>
                <a:lnTo>
                  <a:pt x="8389799" y="3593716"/>
                </a:lnTo>
                <a:lnTo>
                  <a:pt x="8389799" y="3603586"/>
                </a:lnTo>
                <a:lnTo>
                  <a:pt x="8385779" y="3607625"/>
                </a:lnTo>
                <a:lnTo>
                  <a:pt x="8375869" y="3607625"/>
                </a:lnTo>
                <a:lnTo>
                  <a:pt x="8371850" y="3603586"/>
                </a:lnTo>
                <a:lnTo>
                  <a:pt x="8371850" y="3593716"/>
                </a:lnTo>
                <a:close/>
                <a:moveTo>
                  <a:pt x="8136553" y="3589677"/>
                </a:moveTo>
                <a:lnTo>
                  <a:pt x="8146464" y="3589677"/>
                </a:lnTo>
                <a:lnTo>
                  <a:pt x="8150483" y="3593716"/>
                </a:lnTo>
                <a:lnTo>
                  <a:pt x="8150483" y="3603586"/>
                </a:lnTo>
                <a:lnTo>
                  <a:pt x="8146464" y="3607625"/>
                </a:lnTo>
                <a:lnTo>
                  <a:pt x="8136553" y="3607625"/>
                </a:lnTo>
                <a:lnTo>
                  <a:pt x="8132534" y="3603586"/>
                </a:lnTo>
                <a:lnTo>
                  <a:pt x="8132534" y="3593716"/>
                </a:lnTo>
                <a:close/>
                <a:moveTo>
                  <a:pt x="7897241" y="3589677"/>
                </a:moveTo>
                <a:lnTo>
                  <a:pt x="7907151" y="3589677"/>
                </a:lnTo>
                <a:lnTo>
                  <a:pt x="7911170" y="3593716"/>
                </a:lnTo>
                <a:lnTo>
                  <a:pt x="7911170" y="3603586"/>
                </a:lnTo>
                <a:lnTo>
                  <a:pt x="7907151" y="3607625"/>
                </a:lnTo>
                <a:lnTo>
                  <a:pt x="7897241" y="3607625"/>
                </a:lnTo>
                <a:lnTo>
                  <a:pt x="7893222" y="3603586"/>
                </a:lnTo>
                <a:lnTo>
                  <a:pt x="7893222" y="3593716"/>
                </a:lnTo>
                <a:close/>
                <a:moveTo>
                  <a:pt x="7657926" y="3589677"/>
                </a:moveTo>
                <a:lnTo>
                  <a:pt x="7667836" y="3589677"/>
                </a:lnTo>
                <a:lnTo>
                  <a:pt x="7671855" y="3593716"/>
                </a:lnTo>
                <a:lnTo>
                  <a:pt x="7671855" y="3603586"/>
                </a:lnTo>
                <a:lnTo>
                  <a:pt x="7667836" y="3607625"/>
                </a:lnTo>
                <a:lnTo>
                  <a:pt x="7657926" y="3607625"/>
                </a:lnTo>
                <a:lnTo>
                  <a:pt x="7653906" y="3603586"/>
                </a:lnTo>
                <a:lnTo>
                  <a:pt x="7653906" y="3593716"/>
                </a:lnTo>
                <a:close/>
                <a:moveTo>
                  <a:pt x="7418611" y="3589677"/>
                </a:moveTo>
                <a:lnTo>
                  <a:pt x="7428521" y="3589677"/>
                </a:lnTo>
                <a:lnTo>
                  <a:pt x="7432540" y="3593716"/>
                </a:lnTo>
                <a:lnTo>
                  <a:pt x="7432540" y="3603586"/>
                </a:lnTo>
                <a:lnTo>
                  <a:pt x="7428521" y="3607625"/>
                </a:lnTo>
                <a:lnTo>
                  <a:pt x="7418611" y="3607625"/>
                </a:lnTo>
                <a:lnTo>
                  <a:pt x="7414592" y="3603586"/>
                </a:lnTo>
                <a:lnTo>
                  <a:pt x="7414592" y="3593716"/>
                </a:lnTo>
                <a:close/>
                <a:moveTo>
                  <a:pt x="7179298" y="3589677"/>
                </a:moveTo>
                <a:lnTo>
                  <a:pt x="7189209" y="3589677"/>
                </a:lnTo>
                <a:lnTo>
                  <a:pt x="7193228" y="3593716"/>
                </a:lnTo>
                <a:lnTo>
                  <a:pt x="7193228" y="3603586"/>
                </a:lnTo>
                <a:lnTo>
                  <a:pt x="7189209" y="3607625"/>
                </a:lnTo>
                <a:lnTo>
                  <a:pt x="7179298" y="3607625"/>
                </a:lnTo>
                <a:lnTo>
                  <a:pt x="7175279" y="3603586"/>
                </a:lnTo>
                <a:lnTo>
                  <a:pt x="7175279" y="3593716"/>
                </a:lnTo>
                <a:close/>
                <a:moveTo>
                  <a:pt x="6939983" y="3589677"/>
                </a:moveTo>
                <a:lnTo>
                  <a:pt x="6949894" y="3589677"/>
                </a:lnTo>
                <a:lnTo>
                  <a:pt x="6953913" y="3593716"/>
                </a:lnTo>
                <a:lnTo>
                  <a:pt x="6953913" y="3603586"/>
                </a:lnTo>
                <a:lnTo>
                  <a:pt x="6949894" y="3607625"/>
                </a:lnTo>
                <a:lnTo>
                  <a:pt x="6939983" y="3607625"/>
                </a:lnTo>
                <a:lnTo>
                  <a:pt x="6935964" y="3603586"/>
                </a:lnTo>
                <a:lnTo>
                  <a:pt x="6935964" y="3593716"/>
                </a:lnTo>
                <a:close/>
                <a:moveTo>
                  <a:pt x="6700670" y="3589677"/>
                </a:moveTo>
                <a:lnTo>
                  <a:pt x="6710581" y="3589677"/>
                </a:lnTo>
                <a:lnTo>
                  <a:pt x="6714600" y="3593716"/>
                </a:lnTo>
                <a:lnTo>
                  <a:pt x="6714600" y="3603586"/>
                </a:lnTo>
                <a:lnTo>
                  <a:pt x="6710581" y="3607625"/>
                </a:lnTo>
                <a:lnTo>
                  <a:pt x="6700670" y="3607625"/>
                </a:lnTo>
                <a:lnTo>
                  <a:pt x="6696651" y="3603586"/>
                </a:lnTo>
                <a:lnTo>
                  <a:pt x="6696651" y="3593716"/>
                </a:lnTo>
                <a:close/>
                <a:moveTo>
                  <a:pt x="6461356" y="3589677"/>
                </a:moveTo>
                <a:lnTo>
                  <a:pt x="6471266" y="3589677"/>
                </a:lnTo>
                <a:lnTo>
                  <a:pt x="6475285" y="3593716"/>
                </a:lnTo>
                <a:lnTo>
                  <a:pt x="6475285" y="3603586"/>
                </a:lnTo>
                <a:lnTo>
                  <a:pt x="6471266" y="3607625"/>
                </a:lnTo>
                <a:lnTo>
                  <a:pt x="6461356" y="3607625"/>
                </a:lnTo>
                <a:lnTo>
                  <a:pt x="6457337" y="3603586"/>
                </a:lnTo>
                <a:lnTo>
                  <a:pt x="6457337" y="3593716"/>
                </a:lnTo>
                <a:close/>
                <a:moveTo>
                  <a:pt x="6222042" y="3589677"/>
                </a:moveTo>
                <a:lnTo>
                  <a:pt x="6231952" y="3589677"/>
                </a:lnTo>
                <a:lnTo>
                  <a:pt x="6235971" y="3593716"/>
                </a:lnTo>
                <a:lnTo>
                  <a:pt x="6235971" y="3603586"/>
                </a:lnTo>
                <a:lnTo>
                  <a:pt x="6231952" y="3607625"/>
                </a:lnTo>
                <a:lnTo>
                  <a:pt x="6222042" y="3607625"/>
                </a:lnTo>
                <a:lnTo>
                  <a:pt x="6218023" y="3603586"/>
                </a:lnTo>
                <a:lnTo>
                  <a:pt x="6218023" y="3593716"/>
                </a:lnTo>
                <a:close/>
                <a:moveTo>
                  <a:pt x="5982729" y="3589677"/>
                </a:moveTo>
                <a:lnTo>
                  <a:pt x="5992639" y="3589677"/>
                </a:lnTo>
                <a:lnTo>
                  <a:pt x="5996658" y="3593716"/>
                </a:lnTo>
                <a:lnTo>
                  <a:pt x="5996658" y="3603586"/>
                </a:lnTo>
                <a:lnTo>
                  <a:pt x="5992639" y="3607625"/>
                </a:lnTo>
                <a:lnTo>
                  <a:pt x="5982729" y="3607625"/>
                </a:lnTo>
                <a:lnTo>
                  <a:pt x="5978710" y="3603586"/>
                </a:lnTo>
                <a:lnTo>
                  <a:pt x="5978710" y="3593716"/>
                </a:lnTo>
                <a:close/>
                <a:moveTo>
                  <a:pt x="5743412" y="3589677"/>
                </a:moveTo>
                <a:lnTo>
                  <a:pt x="5753323" y="3589677"/>
                </a:lnTo>
                <a:lnTo>
                  <a:pt x="5757342" y="3593716"/>
                </a:lnTo>
                <a:lnTo>
                  <a:pt x="5757342" y="3603586"/>
                </a:lnTo>
                <a:lnTo>
                  <a:pt x="5753323" y="3607625"/>
                </a:lnTo>
                <a:lnTo>
                  <a:pt x="5743412" y="3607625"/>
                </a:lnTo>
                <a:lnTo>
                  <a:pt x="5739393" y="3603586"/>
                </a:lnTo>
                <a:lnTo>
                  <a:pt x="5739393" y="3593716"/>
                </a:lnTo>
                <a:close/>
                <a:moveTo>
                  <a:pt x="5504099" y="3589677"/>
                </a:moveTo>
                <a:lnTo>
                  <a:pt x="5514010" y="3589677"/>
                </a:lnTo>
                <a:lnTo>
                  <a:pt x="5518029" y="3593716"/>
                </a:lnTo>
                <a:lnTo>
                  <a:pt x="5518029" y="3603586"/>
                </a:lnTo>
                <a:lnTo>
                  <a:pt x="5514010" y="3607625"/>
                </a:lnTo>
                <a:lnTo>
                  <a:pt x="5504099" y="3607625"/>
                </a:lnTo>
                <a:lnTo>
                  <a:pt x="5500080" y="3603586"/>
                </a:lnTo>
                <a:lnTo>
                  <a:pt x="5500080" y="3593716"/>
                </a:lnTo>
                <a:close/>
                <a:moveTo>
                  <a:pt x="5264784" y="3589677"/>
                </a:moveTo>
                <a:lnTo>
                  <a:pt x="5274694" y="3589677"/>
                </a:lnTo>
                <a:lnTo>
                  <a:pt x="5278713" y="3593716"/>
                </a:lnTo>
                <a:lnTo>
                  <a:pt x="5278713" y="3603586"/>
                </a:lnTo>
                <a:lnTo>
                  <a:pt x="5274694" y="3607625"/>
                </a:lnTo>
                <a:lnTo>
                  <a:pt x="5264784" y="3607625"/>
                </a:lnTo>
                <a:lnTo>
                  <a:pt x="5260765" y="3603586"/>
                </a:lnTo>
                <a:lnTo>
                  <a:pt x="5260765" y="3593716"/>
                </a:lnTo>
                <a:close/>
                <a:moveTo>
                  <a:pt x="5025470" y="3589677"/>
                </a:moveTo>
                <a:lnTo>
                  <a:pt x="5035381" y="3589677"/>
                </a:lnTo>
                <a:lnTo>
                  <a:pt x="5039400" y="3593716"/>
                </a:lnTo>
                <a:lnTo>
                  <a:pt x="5039400" y="3603586"/>
                </a:lnTo>
                <a:lnTo>
                  <a:pt x="5035381" y="3607625"/>
                </a:lnTo>
                <a:lnTo>
                  <a:pt x="5025470" y="3607625"/>
                </a:lnTo>
                <a:lnTo>
                  <a:pt x="5021451" y="3603586"/>
                </a:lnTo>
                <a:lnTo>
                  <a:pt x="5021451" y="3593716"/>
                </a:lnTo>
                <a:close/>
                <a:moveTo>
                  <a:pt x="4786241" y="3589677"/>
                </a:moveTo>
                <a:lnTo>
                  <a:pt x="4796152" y="3589677"/>
                </a:lnTo>
                <a:lnTo>
                  <a:pt x="4800171" y="3593716"/>
                </a:lnTo>
                <a:lnTo>
                  <a:pt x="4800171" y="3603586"/>
                </a:lnTo>
                <a:lnTo>
                  <a:pt x="4796152" y="3607625"/>
                </a:lnTo>
                <a:lnTo>
                  <a:pt x="4786241" y="3607625"/>
                </a:lnTo>
                <a:lnTo>
                  <a:pt x="4782224" y="3603586"/>
                </a:lnTo>
                <a:lnTo>
                  <a:pt x="4782224" y="3593716"/>
                </a:lnTo>
                <a:close/>
                <a:moveTo>
                  <a:pt x="4546929" y="3589677"/>
                </a:moveTo>
                <a:lnTo>
                  <a:pt x="4556840" y="3589677"/>
                </a:lnTo>
                <a:lnTo>
                  <a:pt x="4560859" y="3593716"/>
                </a:lnTo>
                <a:lnTo>
                  <a:pt x="4560859" y="3603586"/>
                </a:lnTo>
                <a:lnTo>
                  <a:pt x="4556840" y="3607625"/>
                </a:lnTo>
                <a:lnTo>
                  <a:pt x="4546929" y="3607625"/>
                </a:lnTo>
                <a:lnTo>
                  <a:pt x="4542910" y="3603586"/>
                </a:lnTo>
                <a:lnTo>
                  <a:pt x="4542910" y="3593716"/>
                </a:lnTo>
                <a:close/>
                <a:moveTo>
                  <a:pt x="4307612" y="3589677"/>
                </a:moveTo>
                <a:lnTo>
                  <a:pt x="4317523" y="3589677"/>
                </a:lnTo>
                <a:lnTo>
                  <a:pt x="4321543" y="3593716"/>
                </a:lnTo>
                <a:lnTo>
                  <a:pt x="4321543" y="3603586"/>
                </a:lnTo>
                <a:lnTo>
                  <a:pt x="4317523" y="3607625"/>
                </a:lnTo>
                <a:lnTo>
                  <a:pt x="4307612" y="3607625"/>
                </a:lnTo>
                <a:lnTo>
                  <a:pt x="4303595" y="3603586"/>
                </a:lnTo>
                <a:lnTo>
                  <a:pt x="4303595" y="3593716"/>
                </a:lnTo>
                <a:close/>
                <a:moveTo>
                  <a:pt x="4068297" y="3589677"/>
                </a:moveTo>
                <a:lnTo>
                  <a:pt x="4078210" y="3589677"/>
                </a:lnTo>
                <a:lnTo>
                  <a:pt x="4082229" y="3593716"/>
                </a:lnTo>
                <a:lnTo>
                  <a:pt x="4082229" y="3603586"/>
                </a:lnTo>
                <a:lnTo>
                  <a:pt x="4078210" y="3607625"/>
                </a:lnTo>
                <a:lnTo>
                  <a:pt x="4068297" y="3607625"/>
                </a:lnTo>
                <a:lnTo>
                  <a:pt x="4064278" y="3603586"/>
                </a:lnTo>
                <a:lnTo>
                  <a:pt x="4064278" y="3593716"/>
                </a:lnTo>
                <a:close/>
                <a:moveTo>
                  <a:pt x="3828990" y="3589677"/>
                </a:moveTo>
                <a:lnTo>
                  <a:pt x="3838899" y="3589677"/>
                </a:lnTo>
                <a:lnTo>
                  <a:pt x="3842917" y="3593716"/>
                </a:lnTo>
                <a:lnTo>
                  <a:pt x="3842917" y="3603586"/>
                </a:lnTo>
                <a:lnTo>
                  <a:pt x="3838899" y="3607625"/>
                </a:lnTo>
                <a:lnTo>
                  <a:pt x="3828990" y="3607625"/>
                </a:lnTo>
                <a:lnTo>
                  <a:pt x="3824971" y="3603586"/>
                </a:lnTo>
                <a:lnTo>
                  <a:pt x="3824971" y="3593716"/>
                </a:lnTo>
                <a:close/>
                <a:moveTo>
                  <a:pt x="3589676" y="3589677"/>
                </a:moveTo>
                <a:lnTo>
                  <a:pt x="3599585" y="3589677"/>
                </a:lnTo>
                <a:lnTo>
                  <a:pt x="3603604" y="3593716"/>
                </a:lnTo>
                <a:lnTo>
                  <a:pt x="3603604" y="3603586"/>
                </a:lnTo>
                <a:lnTo>
                  <a:pt x="3599585" y="3607625"/>
                </a:lnTo>
                <a:lnTo>
                  <a:pt x="3589676" y="3607625"/>
                </a:lnTo>
                <a:lnTo>
                  <a:pt x="3585657" y="3603586"/>
                </a:lnTo>
                <a:lnTo>
                  <a:pt x="3585657" y="3593716"/>
                </a:lnTo>
                <a:close/>
                <a:moveTo>
                  <a:pt x="3350359" y="3589677"/>
                </a:moveTo>
                <a:lnTo>
                  <a:pt x="3360268" y="3589677"/>
                </a:lnTo>
                <a:lnTo>
                  <a:pt x="3364287" y="3593716"/>
                </a:lnTo>
                <a:lnTo>
                  <a:pt x="3364287" y="3603586"/>
                </a:lnTo>
                <a:lnTo>
                  <a:pt x="3360268" y="3607625"/>
                </a:lnTo>
                <a:lnTo>
                  <a:pt x="3350359" y="3607625"/>
                </a:lnTo>
                <a:lnTo>
                  <a:pt x="3346340" y="3603586"/>
                </a:lnTo>
                <a:lnTo>
                  <a:pt x="3346340" y="3593716"/>
                </a:lnTo>
                <a:close/>
                <a:moveTo>
                  <a:pt x="3111048" y="3589677"/>
                </a:moveTo>
                <a:lnTo>
                  <a:pt x="3120959" y="3589677"/>
                </a:lnTo>
                <a:lnTo>
                  <a:pt x="3124977" y="3593716"/>
                </a:lnTo>
                <a:lnTo>
                  <a:pt x="3124977" y="3603586"/>
                </a:lnTo>
                <a:lnTo>
                  <a:pt x="3120959" y="3607625"/>
                </a:lnTo>
                <a:lnTo>
                  <a:pt x="3111048" y="3607625"/>
                </a:lnTo>
                <a:lnTo>
                  <a:pt x="3107029" y="3603586"/>
                </a:lnTo>
                <a:lnTo>
                  <a:pt x="3107029" y="3593716"/>
                </a:lnTo>
                <a:close/>
                <a:moveTo>
                  <a:pt x="2871737" y="3589677"/>
                </a:moveTo>
                <a:lnTo>
                  <a:pt x="2881646" y="3589677"/>
                </a:lnTo>
                <a:lnTo>
                  <a:pt x="2885666" y="3593716"/>
                </a:lnTo>
                <a:lnTo>
                  <a:pt x="2885666" y="3603586"/>
                </a:lnTo>
                <a:lnTo>
                  <a:pt x="2881646" y="3607625"/>
                </a:lnTo>
                <a:lnTo>
                  <a:pt x="2871737" y="3607625"/>
                </a:lnTo>
                <a:lnTo>
                  <a:pt x="2867717" y="3603586"/>
                </a:lnTo>
                <a:lnTo>
                  <a:pt x="2867717" y="3593716"/>
                </a:lnTo>
                <a:close/>
                <a:moveTo>
                  <a:pt x="2632423" y="3589677"/>
                </a:moveTo>
                <a:lnTo>
                  <a:pt x="2642334" y="3589677"/>
                </a:lnTo>
                <a:lnTo>
                  <a:pt x="2646352" y="3593716"/>
                </a:lnTo>
                <a:lnTo>
                  <a:pt x="2646352" y="3603586"/>
                </a:lnTo>
                <a:lnTo>
                  <a:pt x="2642334" y="3607625"/>
                </a:lnTo>
                <a:lnTo>
                  <a:pt x="2632423" y="3607625"/>
                </a:lnTo>
                <a:lnTo>
                  <a:pt x="2628404" y="3603586"/>
                </a:lnTo>
                <a:lnTo>
                  <a:pt x="2628404" y="3593716"/>
                </a:lnTo>
                <a:close/>
                <a:moveTo>
                  <a:pt x="2393104" y="3589677"/>
                </a:moveTo>
                <a:lnTo>
                  <a:pt x="2403015" y="3589677"/>
                </a:lnTo>
                <a:lnTo>
                  <a:pt x="2407034" y="3593716"/>
                </a:lnTo>
                <a:lnTo>
                  <a:pt x="2407034" y="3603586"/>
                </a:lnTo>
                <a:lnTo>
                  <a:pt x="2403015" y="3607625"/>
                </a:lnTo>
                <a:lnTo>
                  <a:pt x="2393104" y="3607625"/>
                </a:lnTo>
                <a:lnTo>
                  <a:pt x="2389087" y="3603586"/>
                </a:lnTo>
                <a:lnTo>
                  <a:pt x="2389087" y="3593716"/>
                </a:lnTo>
                <a:close/>
                <a:moveTo>
                  <a:pt x="721966" y="3589677"/>
                </a:moveTo>
                <a:lnTo>
                  <a:pt x="731877" y="3589677"/>
                </a:lnTo>
                <a:lnTo>
                  <a:pt x="735896" y="3593716"/>
                </a:lnTo>
                <a:lnTo>
                  <a:pt x="735896" y="3603586"/>
                </a:lnTo>
                <a:lnTo>
                  <a:pt x="731877" y="3607625"/>
                </a:lnTo>
                <a:lnTo>
                  <a:pt x="721966" y="3607625"/>
                </a:lnTo>
                <a:lnTo>
                  <a:pt x="717948" y="3603586"/>
                </a:lnTo>
                <a:lnTo>
                  <a:pt x="717948" y="3593716"/>
                </a:lnTo>
                <a:close/>
                <a:moveTo>
                  <a:pt x="482654" y="3589677"/>
                </a:moveTo>
                <a:lnTo>
                  <a:pt x="492565" y="3589677"/>
                </a:lnTo>
                <a:lnTo>
                  <a:pt x="496584" y="3593716"/>
                </a:lnTo>
                <a:lnTo>
                  <a:pt x="496584" y="3603586"/>
                </a:lnTo>
                <a:lnTo>
                  <a:pt x="492565" y="3607625"/>
                </a:lnTo>
                <a:lnTo>
                  <a:pt x="482654" y="3607625"/>
                </a:lnTo>
                <a:lnTo>
                  <a:pt x="478635" y="3603586"/>
                </a:lnTo>
                <a:lnTo>
                  <a:pt x="478635" y="3593716"/>
                </a:lnTo>
                <a:close/>
                <a:moveTo>
                  <a:pt x="243341" y="3589677"/>
                </a:moveTo>
                <a:lnTo>
                  <a:pt x="253251" y="3589677"/>
                </a:lnTo>
                <a:lnTo>
                  <a:pt x="257270" y="3593716"/>
                </a:lnTo>
                <a:lnTo>
                  <a:pt x="257270" y="3603586"/>
                </a:lnTo>
                <a:lnTo>
                  <a:pt x="253251" y="3607625"/>
                </a:lnTo>
                <a:lnTo>
                  <a:pt x="243341" y="3607625"/>
                </a:lnTo>
                <a:lnTo>
                  <a:pt x="239321" y="3603586"/>
                </a:lnTo>
                <a:lnTo>
                  <a:pt x="239321" y="3593716"/>
                </a:lnTo>
                <a:close/>
                <a:moveTo>
                  <a:pt x="4027" y="3589677"/>
                </a:moveTo>
                <a:lnTo>
                  <a:pt x="13938" y="3589677"/>
                </a:lnTo>
                <a:lnTo>
                  <a:pt x="17957" y="3593716"/>
                </a:lnTo>
                <a:lnTo>
                  <a:pt x="17957" y="3603586"/>
                </a:lnTo>
                <a:lnTo>
                  <a:pt x="13938" y="3607625"/>
                </a:lnTo>
                <a:lnTo>
                  <a:pt x="4027" y="3607625"/>
                </a:lnTo>
                <a:lnTo>
                  <a:pt x="8" y="3603586"/>
                </a:lnTo>
                <a:lnTo>
                  <a:pt x="8" y="3593716"/>
                </a:lnTo>
                <a:close/>
                <a:moveTo>
                  <a:pt x="9572438" y="3350398"/>
                </a:moveTo>
                <a:lnTo>
                  <a:pt x="9582349" y="3350398"/>
                </a:lnTo>
                <a:lnTo>
                  <a:pt x="9586368" y="3354436"/>
                </a:lnTo>
                <a:lnTo>
                  <a:pt x="9586368" y="3364306"/>
                </a:lnTo>
                <a:lnTo>
                  <a:pt x="9582349" y="3368345"/>
                </a:lnTo>
                <a:lnTo>
                  <a:pt x="9572438" y="3368345"/>
                </a:lnTo>
                <a:lnTo>
                  <a:pt x="9568419" y="3364306"/>
                </a:lnTo>
                <a:lnTo>
                  <a:pt x="9568419" y="3354436"/>
                </a:lnTo>
                <a:close/>
                <a:moveTo>
                  <a:pt x="9333125" y="3350398"/>
                </a:moveTo>
                <a:lnTo>
                  <a:pt x="9343036" y="3350398"/>
                </a:lnTo>
                <a:lnTo>
                  <a:pt x="9347055" y="3354436"/>
                </a:lnTo>
                <a:lnTo>
                  <a:pt x="9347055" y="3364306"/>
                </a:lnTo>
                <a:lnTo>
                  <a:pt x="9343036" y="3368345"/>
                </a:lnTo>
                <a:lnTo>
                  <a:pt x="9333125" y="3368345"/>
                </a:lnTo>
                <a:lnTo>
                  <a:pt x="9329106" y="3364306"/>
                </a:lnTo>
                <a:lnTo>
                  <a:pt x="9329106" y="3354436"/>
                </a:lnTo>
                <a:close/>
                <a:moveTo>
                  <a:pt x="9093811" y="3350398"/>
                </a:moveTo>
                <a:lnTo>
                  <a:pt x="9103722" y="3350398"/>
                </a:lnTo>
                <a:lnTo>
                  <a:pt x="9107741" y="3354436"/>
                </a:lnTo>
                <a:lnTo>
                  <a:pt x="9107741" y="3364306"/>
                </a:lnTo>
                <a:lnTo>
                  <a:pt x="9103722" y="3368345"/>
                </a:lnTo>
                <a:lnTo>
                  <a:pt x="9093811" y="3368345"/>
                </a:lnTo>
                <a:lnTo>
                  <a:pt x="9089792" y="3364306"/>
                </a:lnTo>
                <a:lnTo>
                  <a:pt x="9089792" y="3354436"/>
                </a:lnTo>
                <a:close/>
                <a:moveTo>
                  <a:pt x="8854496" y="3350398"/>
                </a:moveTo>
                <a:lnTo>
                  <a:pt x="8864407" y="3350398"/>
                </a:lnTo>
                <a:lnTo>
                  <a:pt x="8868426" y="3354436"/>
                </a:lnTo>
                <a:lnTo>
                  <a:pt x="8868426" y="3364306"/>
                </a:lnTo>
                <a:lnTo>
                  <a:pt x="8864407" y="3368345"/>
                </a:lnTo>
                <a:lnTo>
                  <a:pt x="8854496" y="3368345"/>
                </a:lnTo>
                <a:lnTo>
                  <a:pt x="8850477" y="3364306"/>
                </a:lnTo>
                <a:lnTo>
                  <a:pt x="8850477" y="3354436"/>
                </a:lnTo>
                <a:close/>
                <a:moveTo>
                  <a:pt x="8615184" y="3350398"/>
                </a:moveTo>
                <a:lnTo>
                  <a:pt x="8625095" y="3350398"/>
                </a:lnTo>
                <a:lnTo>
                  <a:pt x="8629114" y="3354436"/>
                </a:lnTo>
                <a:lnTo>
                  <a:pt x="8629114" y="3364306"/>
                </a:lnTo>
                <a:lnTo>
                  <a:pt x="8625095" y="3368345"/>
                </a:lnTo>
                <a:lnTo>
                  <a:pt x="8615184" y="3368345"/>
                </a:lnTo>
                <a:lnTo>
                  <a:pt x="8611165" y="3364306"/>
                </a:lnTo>
                <a:lnTo>
                  <a:pt x="8611165" y="3354436"/>
                </a:lnTo>
                <a:close/>
                <a:moveTo>
                  <a:pt x="8375869" y="3350398"/>
                </a:moveTo>
                <a:lnTo>
                  <a:pt x="8385779" y="3350398"/>
                </a:lnTo>
                <a:lnTo>
                  <a:pt x="8389799" y="3354436"/>
                </a:lnTo>
                <a:lnTo>
                  <a:pt x="8389799" y="3364306"/>
                </a:lnTo>
                <a:lnTo>
                  <a:pt x="8385779" y="3368345"/>
                </a:lnTo>
                <a:lnTo>
                  <a:pt x="8375869" y="3368345"/>
                </a:lnTo>
                <a:lnTo>
                  <a:pt x="8371850" y="3364306"/>
                </a:lnTo>
                <a:lnTo>
                  <a:pt x="8371850" y="3354436"/>
                </a:lnTo>
                <a:close/>
                <a:moveTo>
                  <a:pt x="8136553" y="3350398"/>
                </a:moveTo>
                <a:lnTo>
                  <a:pt x="8146464" y="3350398"/>
                </a:lnTo>
                <a:lnTo>
                  <a:pt x="8150483" y="3354436"/>
                </a:lnTo>
                <a:lnTo>
                  <a:pt x="8150483" y="3364306"/>
                </a:lnTo>
                <a:lnTo>
                  <a:pt x="8146464" y="3368345"/>
                </a:lnTo>
                <a:lnTo>
                  <a:pt x="8136553" y="3368345"/>
                </a:lnTo>
                <a:lnTo>
                  <a:pt x="8132534" y="3364306"/>
                </a:lnTo>
                <a:lnTo>
                  <a:pt x="8132534" y="3354436"/>
                </a:lnTo>
                <a:close/>
                <a:moveTo>
                  <a:pt x="7897241" y="3350398"/>
                </a:moveTo>
                <a:lnTo>
                  <a:pt x="7907151" y="3350398"/>
                </a:lnTo>
                <a:lnTo>
                  <a:pt x="7911170" y="3354436"/>
                </a:lnTo>
                <a:lnTo>
                  <a:pt x="7911170" y="3364306"/>
                </a:lnTo>
                <a:lnTo>
                  <a:pt x="7907151" y="3368345"/>
                </a:lnTo>
                <a:lnTo>
                  <a:pt x="7897241" y="3368345"/>
                </a:lnTo>
                <a:lnTo>
                  <a:pt x="7893222" y="3364306"/>
                </a:lnTo>
                <a:lnTo>
                  <a:pt x="7893222" y="3354436"/>
                </a:lnTo>
                <a:close/>
                <a:moveTo>
                  <a:pt x="7657926" y="3350398"/>
                </a:moveTo>
                <a:lnTo>
                  <a:pt x="7667836" y="3350398"/>
                </a:lnTo>
                <a:lnTo>
                  <a:pt x="7671855" y="3354436"/>
                </a:lnTo>
                <a:lnTo>
                  <a:pt x="7671855" y="3364306"/>
                </a:lnTo>
                <a:lnTo>
                  <a:pt x="7667836" y="3368345"/>
                </a:lnTo>
                <a:lnTo>
                  <a:pt x="7657926" y="3368345"/>
                </a:lnTo>
                <a:lnTo>
                  <a:pt x="7653906" y="3364306"/>
                </a:lnTo>
                <a:lnTo>
                  <a:pt x="7653906" y="3354436"/>
                </a:lnTo>
                <a:close/>
                <a:moveTo>
                  <a:pt x="7418611" y="3350398"/>
                </a:moveTo>
                <a:lnTo>
                  <a:pt x="7428521" y="3350398"/>
                </a:lnTo>
                <a:lnTo>
                  <a:pt x="7432540" y="3354436"/>
                </a:lnTo>
                <a:lnTo>
                  <a:pt x="7432540" y="3364306"/>
                </a:lnTo>
                <a:lnTo>
                  <a:pt x="7428521" y="3368345"/>
                </a:lnTo>
                <a:lnTo>
                  <a:pt x="7418611" y="3368345"/>
                </a:lnTo>
                <a:lnTo>
                  <a:pt x="7414592" y="3364306"/>
                </a:lnTo>
                <a:lnTo>
                  <a:pt x="7414592" y="3354436"/>
                </a:lnTo>
                <a:close/>
                <a:moveTo>
                  <a:pt x="7179298" y="3350398"/>
                </a:moveTo>
                <a:lnTo>
                  <a:pt x="7189209" y="3350398"/>
                </a:lnTo>
                <a:lnTo>
                  <a:pt x="7193228" y="3354436"/>
                </a:lnTo>
                <a:lnTo>
                  <a:pt x="7193228" y="3364306"/>
                </a:lnTo>
                <a:lnTo>
                  <a:pt x="7189209" y="3368345"/>
                </a:lnTo>
                <a:lnTo>
                  <a:pt x="7179298" y="3368345"/>
                </a:lnTo>
                <a:lnTo>
                  <a:pt x="7175279" y="3364306"/>
                </a:lnTo>
                <a:lnTo>
                  <a:pt x="7175279" y="3354436"/>
                </a:lnTo>
                <a:close/>
                <a:moveTo>
                  <a:pt x="6939983" y="3350398"/>
                </a:moveTo>
                <a:lnTo>
                  <a:pt x="6949894" y="3350398"/>
                </a:lnTo>
                <a:lnTo>
                  <a:pt x="6953913" y="3354436"/>
                </a:lnTo>
                <a:lnTo>
                  <a:pt x="6953913" y="3364306"/>
                </a:lnTo>
                <a:lnTo>
                  <a:pt x="6949894" y="3368345"/>
                </a:lnTo>
                <a:lnTo>
                  <a:pt x="6939983" y="3368345"/>
                </a:lnTo>
                <a:lnTo>
                  <a:pt x="6935964" y="3364306"/>
                </a:lnTo>
                <a:lnTo>
                  <a:pt x="6935964" y="3354436"/>
                </a:lnTo>
                <a:close/>
                <a:moveTo>
                  <a:pt x="6700670" y="3350398"/>
                </a:moveTo>
                <a:lnTo>
                  <a:pt x="6710581" y="3350398"/>
                </a:lnTo>
                <a:lnTo>
                  <a:pt x="6714600" y="3354436"/>
                </a:lnTo>
                <a:lnTo>
                  <a:pt x="6714600" y="3364306"/>
                </a:lnTo>
                <a:lnTo>
                  <a:pt x="6710581" y="3368345"/>
                </a:lnTo>
                <a:lnTo>
                  <a:pt x="6700670" y="3368345"/>
                </a:lnTo>
                <a:lnTo>
                  <a:pt x="6696651" y="3364306"/>
                </a:lnTo>
                <a:lnTo>
                  <a:pt x="6696651" y="3354436"/>
                </a:lnTo>
                <a:close/>
                <a:moveTo>
                  <a:pt x="6461356" y="3350398"/>
                </a:moveTo>
                <a:lnTo>
                  <a:pt x="6471266" y="3350398"/>
                </a:lnTo>
                <a:lnTo>
                  <a:pt x="6475285" y="3354436"/>
                </a:lnTo>
                <a:lnTo>
                  <a:pt x="6475285" y="3364306"/>
                </a:lnTo>
                <a:lnTo>
                  <a:pt x="6471266" y="3368345"/>
                </a:lnTo>
                <a:lnTo>
                  <a:pt x="6461356" y="3368345"/>
                </a:lnTo>
                <a:lnTo>
                  <a:pt x="6457337" y="3364306"/>
                </a:lnTo>
                <a:lnTo>
                  <a:pt x="6457337" y="3354436"/>
                </a:lnTo>
                <a:close/>
                <a:moveTo>
                  <a:pt x="6222042" y="3350398"/>
                </a:moveTo>
                <a:lnTo>
                  <a:pt x="6231952" y="3350398"/>
                </a:lnTo>
                <a:lnTo>
                  <a:pt x="6235971" y="3354436"/>
                </a:lnTo>
                <a:lnTo>
                  <a:pt x="6235971" y="3364306"/>
                </a:lnTo>
                <a:lnTo>
                  <a:pt x="6231952" y="3368345"/>
                </a:lnTo>
                <a:lnTo>
                  <a:pt x="6222042" y="3368345"/>
                </a:lnTo>
                <a:lnTo>
                  <a:pt x="6218023" y="3364306"/>
                </a:lnTo>
                <a:lnTo>
                  <a:pt x="6218023" y="3354436"/>
                </a:lnTo>
                <a:close/>
                <a:moveTo>
                  <a:pt x="5982729" y="3350398"/>
                </a:moveTo>
                <a:lnTo>
                  <a:pt x="5992639" y="3350398"/>
                </a:lnTo>
                <a:lnTo>
                  <a:pt x="5996658" y="3354436"/>
                </a:lnTo>
                <a:lnTo>
                  <a:pt x="5996658" y="3364306"/>
                </a:lnTo>
                <a:lnTo>
                  <a:pt x="5992639" y="3368345"/>
                </a:lnTo>
                <a:lnTo>
                  <a:pt x="5982729" y="3368345"/>
                </a:lnTo>
                <a:lnTo>
                  <a:pt x="5978710" y="3364306"/>
                </a:lnTo>
                <a:lnTo>
                  <a:pt x="5978710" y="3354436"/>
                </a:lnTo>
                <a:close/>
                <a:moveTo>
                  <a:pt x="5743412" y="3350398"/>
                </a:moveTo>
                <a:lnTo>
                  <a:pt x="5753323" y="3350398"/>
                </a:lnTo>
                <a:lnTo>
                  <a:pt x="5757342" y="3354436"/>
                </a:lnTo>
                <a:lnTo>
                  <a:pt x="5757342" y="3364306"/>
                </a:lnTo>
                <a:lnTo>
                  <a:pt x="5753323" y="3368345"/>
                </a:lnTo>
                <a:lnTo>
                  <a:pt x="5743412" y="3368345"/>
                </a:lnTo>
                <a:lnTo>
                  <a:pt x="5739393" y="3364306"/>
                </a:lnTo>
                <a:lnTo>
                  <a:pt x="5739393" y="3354436"/>
                </a:lnTo>
                <a:close/>
                <a:moveTo>
                  <a:pt x="5504099" y="3350398"/>
                </a:moveTo>
                <a:lnTo>
                  <a:pt x="5514010" y="3350398"/>
                </a:lnTo>
                <a:lnTo>
                  <a:pt x="5518029" y="3354436"/>
                </a:lnTo>
                <a:lnTo>
                  <a:pt x="5518029" y="3364306"/>
                </a:lnTo>
                <a:lnTo>
                  <a:pt x="5514010" y="3368345"/>
                </a:lnTo>
                <a:lnTo>
                  <a:pt x="5504099" y="3368345"/>
                </a:lnTo>
                <a:lnTo>
                  <a:pt x="5500080" y="3364306"/>
                </a:lnTo>
                <a:lnTo>
                  <a:pt x="5500080" y="3354436"/>
                </a:lnTo>
                <a:close/>
                <a:moveTo>
                  <a:pt x="5264784" y="3350398"/>
                </a:moveTo>
                <a:lnTo>
                  <a:pt x="5274694" y="3350398"/>
                </a:lnTo>
                <a:lnTo>
                  <a:pt x="5278713" y="3354436"/>
                </a:lnTo>
                <a:lnTo>
                  <a:pt x="5278713" y="3364306"/>
                </a:lnTo>
                <a:lnTo>
                  <a:pt x="5274694" y="3368345"/>
                </a:lnTo>
                <a:lnTo>
                  <a:pt x="5264784" y="3368345"/>
                </a:lnTo>
                <a:lnTo>
                  <a:pt x="5260765" y="3364306"/>
                </a:lnTo>
                <a:lnTo>
                  <a:pt x="5260765" y="3354436"/>
                </a:lnTo>
                <a:close/>
                <a:moveTo>
                  <a:pt x="5025470" y="3350398"/>
                </a:moveTo>
                <a:lnTo>
                  <a:pt x="5035381" y="3350398"/>
                </a:lnTo>
                <a:lnTo>
                  <a:pt x="5039400" y="3354436"/>
                </a:lnTo>
                <a:lnTo>
                  <a:pt x="5039400" y="3364306"/>
                </a:lnTo>
                <a:lnTo>
                  <a:pt x="5035381" y="3368345"/>
                </a:lnTo>
                <a:lnTo>
                  <a:pt x="5025470" y="3368345"/>
                </a:lnTo>
                <a:lnTo>
                  <a:pt x="5021451" y="3364306"/>
                </a:lnTo>
                <a:lnTo>
                  <a:pt x="5021451" y="3354436"/>
                </a:lnTo>
                <a:close/>
                <a:moveTo>
                  <a:pt x="4786241" y="3350398"/>
                </a:moveTo>
                <a:lnTo>
                  <a:pt x="4796152" y="3350398"/>
                </a:lnTo>
                <a:lnTo>
                  <a:pt x="4800171" y="3354436"/>
                </a:lnTo>
                <a:lnTo>
                  <a:pt x="4800171" y="3364306"/>
                </a:lnTo>
                <a:lnTo>
                  <a:pt x="4796152" y="3368345"/>
                </a:lnTo>
                <a:lnTo>
                  <a:pt x="4786241" y="3368345"/>
                </a:lnTo>
                <a:lnTo>
                  <a:pt x="4782224" y="3364306"/>
                </a:lnTo>
                <a:lnTo>
                  <a:pt x="4782224" y="3354436"/>
                </a:lnTo>
                <a:close/>
                <a:moveTo>
                  <a:pt x="4546929" y="3350398"/>
                </a:moveTo>
                <a:lnTo>
                  <a:pt x="4556840" y="3350398"/>
                </a:lnTo>
                <a:lnTo>
                  <a:pt x="4560859" y="3354436"/>
                </a:lnTo>
                <a:lnTo>
                  <a:pt x="4560859" y="3364306"/>
                </a:lnTo>
                <a:lnTo>
                  <a:pt x="4556840" y="3368345"/>
                </a:lnTo>
                <a:lnTo>
                  <a:pt x="4546929" y="3368345"/>
                </a:lnTo>
                <a:lnTo>
                  <a:pt x="4542910" y="3364306"/>
                </a:lnTo>
                <a:lnTo>
                  <a:pt x="4542910" y="3354436"/>
                </a:lnTo>
                <a:close/>
                <a:moveTo>
                  <a:pt x="4307612" y="3350398"/>
                </a:moveTo>
                <a:lnTo>
                  <a:pt x="4317523" y="3350398"/>
                </a:lnTo>
                <a:lnTo>
                  <a:pt x="4321543" y="3354436"/>
                </a:lnTo>
                <a:lnTo>
                  <a:pt x="4321543" y="3364306"/>
                </a:lnTo>
                <a:lnTo>
                  <a:pt x="4317523" y="3368345"/>
                </a:lnTo>
                <a:lnTo>
                  <a:pt x="4307612" y="3368345"/>
                </a:lnTo>
                <a:lnTo>
                  <a:pt x="4303595" y="3364306"/>
                </a:lnTo>
                <a:lnTo>
                  <a:pt x="4303595" y="3354436"/>
                </a:lnTo>
                <a:close/>
                <a:moveTo>
                  <a:pt x="4068297" y="3350398"/>
                </a:moveTo>
                <a:lnTo>
                  <a:pt x="4078210" y="3350398"/>
                </a:lnTo>
                <a:lnTo>
                  <a:pt x="4082229" y="3354436"/>
                </a:lnTo>
                <a:lnTo>
                  <a:pt x="4082229" y="3364306"/>
                </a:lnTo>
                <a:lnTo>
                  <a:pt x="4078210" y="3368345"/>
                </a:lnTo>
                <a:lnTo>
                  <a:pt x="4068297" y="3368345"/>
                </a:lnTo>
                <a:lnTo>
                  <a:pt x="4064278" y="3364306"/>
                </a:lnTo>
                <a:lnTo>
                  <a:pt x="4064278" y="3354436"/>
                </a:lnTo>
                <a:close/>
                <a:moveTo>
                  <a:pt x="3828990" y="3350398"/>
                </a:moveTo>
                <a:lnTo>
                  <a:pt x="3838899" y="3350398"/>
                </a:lnTo>
                <a:lnTo>
                  <a:pt x="3842917" y="3354436"/>
                </a:lnTo>
                <a:lnTo>
                  <a:pt x="3842917" y="3364306"/>
                </a:lnTo>
                <a:lnTo>
                  <a:pt x="3838899" y="3368345"/>
                </a:lnTo>
                <a:lnTo>
                  <a:pt x="3828990" y="3368345"/>
                </a:lnTo>
                <a:lnTo>
                  <a:pt x="3824971" y="3364306"/>
                </a:lnTo>
                <a:lnTo>
                  <a:pt x="3824971" y="3354436"/>
                </a:lnTo>
                <a:close/>
                <a:moveTo>
                  <a:pt x="3589676" y="3350398"/>
                </a:moveTo>
                <a:lnTo>
                  <a:pt x="3599585" y="3350398"/>
                </a:lnTo>
                <a:lnTo>
                  <a:pt x="3603604" y="3354436"/>
                </a:lnTo>
                <a:lnTo>
                  <a:pt x="3603604" y="3364306"/>
                </a:lnTo>
                <a:lnTo>
                  <a:pt x="3599585" y="3368345"/>
                </a:lnTo>
                <a:lnTo>
                  <a:pt x="3589676" y="3368345"/>
                </a:lnTo>
                <a:lnTo>
                  <a:pt x="3585657" y="3364306"/>
                </a:lnTo>
                <a:lnTo>
                  <a:pt x="3585657" y="3354436"/>
                </a:lnTo>
                <a:close/>
                <a:moveTo>
                  <a:pt x="3350359" y="3350398"/>
                </a:moveTo>
                <a:lnTo>
                  <a:pt x="3360268" y="3350398"/>
                </a:lnTo>
                <a:lnTo>
                  <a:pt x="3364287" y="3354436"/>
                </a:lnTo>
                <a:lnTo>
                  <a:pt x="3364287" y="3364306"/>
                </a:lnTo>
                <a:lnTo>
                  <a:pt x="3360268" y="3368345"/>
                </a:lnTo>
                <a:lnTo>
                  <a:pt x="3350359" y="3368345"/>
                </a:lnTo>
                <a:lnTo>
                  <a:pt x="3346340" y="3364306"/>
                </a:lnTo>
                <a:lnTo>
                  <a:pt x="3346340" y="3354436"/>
                </a:lnTo>
                <a:close/>
                <a:moveTo>
                  <a:pt x="3111048" y="3350398"/>
                </a:moveTo>
                <a:lnTo>
                  <a:pt x="3120959" y="3350398"/>
                </a:lnTo>
                <a:lnTo>
                  <a:pt x="3124977" y="3354436"/>
                </a:lnTo>
                <a:lnTo>
                  <a:pt x="3124977" y="3364306"/>
                </a:lnTo>
                <a:lnTo>
                  <a:pt x="3120959" y="3368345"/>
                </a:lnTo>
                <a:lnTo>
                  <a:pt x="3111048" y="3368345"/>
                </a:lnTo>
                <a:lnTo>
                  <a:pt x="3107029" y="3364306"/>
                </a:lnTo>
                <a:lnTo>
                  <a:pt x="3107029" y="3354436"/>
                </a:lnTo>
                <a:close/>
                <a:moveTo>
                  <a:pt x="2871737" y="3350398"/>
                </a:moveTo>
                <a:lnTo>
                  <a:pt x="2881646" y="3350398"/>
                </a:lnTo>
                <a:lnTo>
                  <a:pt x="2885666" y="3354436"/>
                </a:lnTo>
                <a:lnTo>
                  <a:pt x="2885666" y="3364306"/>
                </a:lnTo>
                <a:lnTo>
                  <a:pt x="2881646" y="3368345"/>
                </a:lnTo>
                <a:lnTo>
                  <a:pt x="2871737" y="3368345"/>
                </a:lnTo>
                <a:lnTo>
                  <a:pt x="2867717" y="3364306"/>
                </a:lnTo>
                <a:lnTo>
                  <a:pt x="2867717" y="3354436"/>
                </a:lnTo>
                <a:close/>
                <a:moveTo>
                  <a:pt x="2632423" y="3350398"/>
                </a:moveTo>
                <a:lnTo>
                  <a:pt x="2642334" y="3350398"/>
                </a:lnTo>
                <a:lnTo>
                  <a:pt x="2646352" y="3354436"/>
                </a:lnTo>
                <a:lnTo>
                  <a:pt x="2646352" y="3364306"/>
                </a:lnTo>
                <a:lnTo>
                  <a:pt x="2642334" y="3368345"/>
                </a:lnTo>
                <a:lnTo>
                  <a:pt x="2632423" y="3368345"/>
                </a:lnTo>
                <a:lnTo>
                  <a:pt x="2628404" y="3364306"/>
                </a:lnTo>
                <a:lnTo>
                  <a:pt x="2628404" y="3354436"/>
                </a:lnTo>
                <a:close/>
                <a:moveTo>
                  <a:pt x="2393104" y="3350398"/>
                </a:moveTo>
                <a:lnTo>
                  <a:pt x="2403015" y="3350398"/>
                </a:lnTo>
                <a:lnTo>
                  <a:pt x="2407034" y="3354436"/>
                </a:lnTo>
                <a:lnTo>
                  <a:pt x="2407034" y="3364306"/>
                </a:lnTo>
                <a:lnTo>
                  <a:pt x="2403015" y="3368345"/>
                </a:lnTo>
                <a:lnTo>
                  <a:pt x="2393104" y="3368345"/>
                </a:lnTo>
                <a:lnTo>
                  <a:pt x="2389087" y="3364306"/>
                </a:lnTo>
                <a:lnTo>
                  <a:pt x="2389087" y="3354436"/>
                </a:lnTo>
                <a:close/>
                <a:moveTo>
                  <a:pt x="2157820" y="3350398"/>
                </a:moveTo>
                <a:lnTo>
                  <a:pt x="2167731" y="3350398"/>
                </a:lnTo>
                <a:lnTo>
                  <a:pt x="2171749" y="3354436"/>
                </a:lnTo>
                <a:lnTo>
                  <a:pt x="2171749" y="3364306"/>
                </a:lnTo>
                <a:lnTo>
                  <a:pt x="2167731" y="3368345"/>
                </a:lnTo>
                <a:lnTo>
                  <a:pt x="2157820" y="3368345"/>
                </a:lnTo>
                <a:lnTo>
                  <a:pt x="2153802" y="3364306"/>
                </a:lnTo>
                <a:lnTo>
                  <a:pt x="2153802" y="3354436"/>
                </a:lnTo>
                <a:close/>
                <a:moveTo>
                  <a:pt x="1918511" y="3350398"/>
                </a:moveTo>
                <a:lnTo>
                  <a:pt x="1928422" y="3350398"/>
                </a:lnTo>
                <a:lnTo>
                  <a:pt x="1932441" y="3354436"/>
                </a:lnTo>
                <a:lnTo>
                  <a:pt x="1932441" y="3364306"/>
                </a:lnTo>
                <a:lnTo>
                  <a:pt x="1928422" y="3368345"/>
                </a:lnTo>
                <a:lnTo>
                  <a:pt x="1918511" y="3368345"/>
                </a:lnTo>
                <a:lnTo>
                  <a:pt x="1914493" y="3364306"/>
                </a:lnTo>
                <a:lnTo>
                  <a:pt x="1914493" y="3354436"/>
                </a:lnTo>
                <a:close/>
                <a:moveTo>
                  <a:pt x="1679210" y="3350398"/>
                </a:moveTo>
                <a:lnTo>
                  <a:pt x="1689120" y="3350398"/>
                </a:lnTo>
                <a:lnTo>
                  <a:pt x="1693138" y="3354436"/>
                </a:lnTo>
                <a:lnTo>
                  <a:pt x="1693138" y="3364306"/>
                </a:lnTo>
                <a:lnTo>
                  <a:pt x="1689120" y="3368345"/>
                </a:lnTo>
                <a:lnTo>
                  <a:pt x="1679210" y="3368345"/>
                </a:lnTo>
                <a:lnTo>
                  <a:pt x="1675191" y="3364306"/>
                </a:lnTo>
                <a:lnTo>
                  <a:pt x="1675191" y="3354436"/>
                </a:lnTo>
                <a:close/>
                <a:moveTo>
                  <a:pt x="1439893" y="3350398"/>
                </a:moveTo>
                <a:lnTo>
                  <a:pt x="1449803" y="3350398"/>
                </a:lnTo>
                <a:lnTo>
                  <a:pt x="1453823" y="3354436"/>
                </a:lnTo>
                <a:lnTo>
                  <a:pt x="1453823" y="3364306"/>
                </a:lnTo>
                <a:lnTo>
                  <a:pt x="1449803" y="3368345"/>
                </a:lnTo>
                <a:lnTo>
                  <a:pt x="1439893" y="3368345"/>
                </a:lnTo>
                <a:lnTo>
                  <a:pt x="1435875" y="3364306"/>
                </a:lnTo>
                <a:lnTo>
                  <a:pt x="1435875" y="3354436"/>
                </a:lnTo>
                <a:close/>
                <a:moveTo>
                  <a:pt x="1200578" y="3350398"/>
                </a:moveTo>
                <a:lnTo>
                  <a:pt x="1210488" y="3350398"/>
                </a:lnTo>
                <a:lnTo>
                  <a:pt x="1214507" y="3354436"/>
                </a:lnTo>
                <a:lnTo>
                  <a:pt x="1214507" y="3364306"/>
                </a:lnTo>
                <a:lnTo>
                  <a:pt x="1210488" y="3368345"/>
                </a:lnTo>
                <a:lnTo>
                  <a:pt x="1200578" y="3368345"/>
                </a:lnTo>
                <a:lnTo>
                  <a:pt x="1196559" y="3364306"/>
                </a:lnTo>
                <a:lnTo>
                  <a:pt x="1196559" y="3354436"/>
                </a:lnTo>
                <a:close/>
                <a:moveTo>
                  <a:pt x="961265" y="3350398"/>
                </a:moveTo>
                <a:lnTo>
                  <a:pt x="971176" y="3350398"/>
                </a:lnTo>
                <a:lnTo>
                  <a:pt x="975194" y="3354436"/>
                </a:lnTo>
                <a:lnTo>
                  <a:pt x="975194" y="3364306"/>
                </a:lnTo>
                <a:lnTo>
                  <a:pt x="971176" y="3368345"/>
                </a:lnTo>
                <a:lnTo>
                  <a:pt x="961265" y="3368345"/>
                </a:lnTo>
                <a:lnTo>
                  <a:pt x="957246" y="3364306"/>
                </a:lnTo>
                <a:lnTo>
                  <a:pt x="957246" y="3354436"/>
                </a:lnTo>
                <a:close/>
                <a:moveTo>
                  <a:pt x="721967" y="3350398"/>
                </a:moveTo>
                <a:lnTo>
                  <a:pt x="731877" y="3350398"/>
                </a:lnTo>
                <a:lnTo>
                  <a:pt x="735896" y="3354436"/>
                </a:lnTo>
                <a:lnTo>
                  <a:pt x="735896" y="3364306"/>
                </a:lnTo>
                <a:lnTo>
                  <a:pt x="731877" y="3368345"/>
                </a:lnTo>
                <a:lnTo>
                  <a:pt x="721967" y="3368345"/>
                </a:lnTo>
                <a:lnTo>
                  <a:pt x="717949" y="3364306"/>
                </a:lnTo>
                <a:lnTo>
                  <a:pt x="717949" y="3354436"/>
                </a:lnTo>
                <a:close/>
                <a:moveTo>
                  <a:pt x="482655" y="3350398"/>
                </a:moveTo>
                <a:lnTo>
                  <a:pt x="492565" y="3350398"/>
                </a:lnTo>
                <a:lnTo>
                  <a:pt x="496584" y="3354436"/>
                </a:lnTo>
                <a:lnTo>
                  <a:pt x="496584" y="3364306"/>
                </a:lnTo>
                <a:lnTo>
                  <a:pt x="492565" y="3368345"/>
                </a:lnTo>
                <a:lnTo>
                  <a:pt x="482655" y="3368345"/>
                </a:lnTo>
                <a:lnTo>
                  <a:pt x="478636" y="3364306"/>
                </a:lnTo>
                <a:lnTo>
                  <a:pt x="478636" y="3354436"/>
                </a:lnTo>
                <a:close/>
                <a:moveTo>
                  <a:pt x="243341" y="3350398"/>
                </a:moveTo>
                <a:lnTo>
                  <a:pt x="253252" y="3350398"/>
                </a:lnTo>
                <a:lnTo>
                  <a:pt x="257271" y="3354436"/>
                </a:lnTo>
                <a:lnTo>
                  <a:pt x="257271" y="3364306"/>
                </a:lnTo>
                <a:lnTo>
                  <a:pt x="253252" y="3368345"/>
                </a:lnTo>
                <a:lnTo>
                  <a:pt x="243341" y="3368345"/>
                </a:lnTo>
                <a:lnTo>
                  <a:pt x="239322" y="3364306"/>
                </a:lnTo>
                <a:lnTo>
                  <a:pt x="239322" y="3354436"/>
                </a:lnTo>
                <a:close/>
                <a:moveTo>
                  <a:pt x="4029" y="3350398"/>
                </a:moveTo>
                <a:lnTo>
                  <a:pt x="13938" y="3350398"/>
                </a:lnTo>
                <a:lnTo>
                  <a:pt x="17957" y="3354436"/>
                </a:lnTo>
                <a:lnTo>
                  <a:pt x="17957" y="3364306"/>
                </a:lnTo>
                <a:lnTo>
                  <a:pt x="13938" y="3368345"/>
                </a:lnTo>
                <a:lnTo>
                  <a:pt x="4029" y="3368345"/>
                </a:lnTo>
                <a:lnTo>
                  <a:pt x="9" y="3364306"/>
                </a:lnTo>
                <a:lnTo>
                  <a:pt x="9" y="3354436"/>
                </a:lnTo>
                <a:close/>
                <a:moveTo>
                  <a:pt x="2157820" y="3111118"/>
                </a:moveTo>
                <a:lnTo>
                  <a:pt x="2167731" y="3111118"/>
                </a:lnTo>
                <a:lnTo>
                  <a:pt x="2171750" y="3115157"/>
                </a:lnTo>
                <a:lnTo>
                  <a:pt x="2171750" y="3125027"/>
                </a:lnTo>
                <a:lnTo>
                  <a:pt x="2167731" y="3129066"/>
                </a:lnTo>
                <a:lnTo>
                  <a:pt x="2157820" y="3129066"/>
                </a:lnTo>
                <a:lnTo>
                  <a:pt x="2153802" y="3125027"/>
                </a:lnTo>
                <a:lnTo>
                  <a:pt x="2153802" y="3115157"/>
                </a:lnTo>
                <a:close/>
                <a:moveTo>
                  <a:pt x="1918513" y="3111118"/>
                </a:moveTo>
                <a:lnTo>
                  <a:pt x="1928422" y="3111118"/>
                </a:lnTo>
                <a:lnTo>
                  <a:pt x="1932441" y="3115157"/>
                </a:lnTo>
                <a:lnTo>
                  <a:pt x="1932441" y="3125027"/>
                </a:lnTo>
                <a:lnTo>
                  <a:pt x="1928422" y="3129066"/>
                </a:lnTo>
                <a:lnTo>
                  <a:pt x="1918513" y="3129066"/>
                </a:lnTo>
                <a:lnTo>
                  <a:pt x="1914493" y="3125027"/>
                </a:lnTo>
                <a:lnTo>
                  <a:pt x="1914493" y="3115157"/>
                </a:lnTo>
                <a:close/>
                <a:moveTo>
                  <a:pt x="1679211" y="3111118"/>
                </a:moveTo>
                <a:lnTo>
                  <a:pt x="1689121" y="3111118"/>
                </a:lnTo>
                <a:lnTo>
                  <a:pt x="1693139" y="3115157"/>
                </a:lnTo>
                <a:lnTo>
                  <a:pt x="1693139" y="3125027"/>
                </a:lnTo>
                <a:lnTo>
                  <a:pt x="1689121" y="3129066"/>
                </a:lnTo>
                <a:lnTo>
                  <a:pt x="1679211" y="3129066"/>
                </a:lnTo>
                <a:lnTo>
                  <a:pt x="1675191" y="3125027"/>
                </a:lnTo>
                <a:lnTo>
                  <a:pt x="1675191" y="3115157"/>
                </a:lnTo>
                <a:close/>
                <a:moveTo>
                  <a:pt x="1439895" y="3111118"/>
                </a:moveTo>
                <a:lnTo>
                  <a:pt x="1449805" y="3111118"/>
                </a:lnTo>
                <a:lnTo>
                  <a:pt x="1453823" y="3115157"/>
                </a:lnTo>
                <a:lnTo>
                  <a:pt x="1453823" y="3125027"/>
                </a:lnTo>
                <a:lnTo>
                  <a:pt x="1449805" y="3129066"/>
                </a:lnTo>
                <a:lnTo>
                  <a:pt x="1439895" y="3129066"/>
                </a:lnTo>
                <a:lnTo>
                  <a:pt x="1435875" y="3125027"/>
                </a:lnTo>
                <a:lnTo>
                  <a:pt x="1435875" y="3115157"/>
                </a:lnTo>
                <a:close/>
                <a:moveTo>
                  <a:pt x="1200578" y="3111118"/>
                </a:moveTo>
                <a:lnTo>
                  <a:pt x="1210489" y="3111118"/>
                </a:lnTo>
                <a:lnTo>
                  <a:pt x="1214507" y="3115157"/>
                </a:lnTo>
                <a:lnTo>
                  <a:pt x="1214507" y="3125027"/>
                </a:lnTo>
                <a:lnTo>
                  <a:pt x="1210489" y="3129066"/>
                </a:lnTo>
                <a:lnTo>
                  <a:pt x="1200578" y="3129066"/>
                </a:lnTo>
                <a:lnTo>
                  <a:pt x="1196560" y="3125027"/>
                </a:lnTo>
                <a:lnTo>
                  <a:pt x="1196560" y="3115157"/>
                </a:lnTo>
                <a:close/>
                <a:moveTo>
                  <a:pt x="961266" y="3111118"/>
                </a:moveTo>
                <a:lnTo>
                  <a:pt x="971176" y="3111118"/>
                </a:lnTo>
                <a:lnTo>
                  <a:pt x="975195" y="3115157"/>
                </a:lnTo>
                <a:lnTo>
                  <a:pt x="975195" y="3125027"/>
                </a:lnTo>
                <a:lnTo>
                  <a:pt x="971176" y="3129066"/>
                </a:lnTo>
                <a:lnTo>
                  <a:pt x="961266" y="3129066"/>
                </a:lnTo>
                <a:lnTo>
                  <a:pt x="957247" y="3125027"/>
                </a:lnTo>
                <a:lnTo>
                  <a:pt x="957247" y="3115157"/>
                </a:lnTo>
                <a:close/>
                <a:moveTo>
                  <a:pt x="9572438" y="3111067"/>
                </a:moveTo>
                <a:lnTo>
                  <a:pt x="9582349" y="3111067"/>
                </a:lnTo>
                <a:lnTo>
                  <a:pt x="9586368" y="3115105"/>
                </a:lnTo>
                <a:lnTo>
                  <a:pt x="9586368" y="3124976"/>
                </a:lnTo>
                <a:lnTo>
                  <a:pt x="9582349" y="3129015"/>
                </a:lnTo>
                <a:lnTo>
                  <a:pt x="9572438" y="3129015"/>
                </a:lnTo>
                <a:lnTo>
                  <a:pt x="9568419" y="3124976"/>
                </a:lnTo>
                <a:lnTo>
                  <a:pt x="9568419" y="3115105"/>
                </a:lnTo>
                <a:close/>
                <a:moveTo>
                  <a:pt x="9333125" y="3111067"/>
                </a:moveTo>
                <a:lnTo>
                  <a:pt x="9343036" y="3111067"/>
                </a:lnTo>
                <a:lnTo>
                  <a:pt x="9347055" y="3115105"/>
                </a:lnTo>
                <a:lnTo>
                  <a:pt x="9347055" y="3124976"/>
                </a:lnTo>
                <a:lnTo>
                  <a:pt x="9343036" y="3129015"/>
                </a:lnTo>
                <a:lnTo>
                  <a:pt x="9333125" y="3129015"/>
                </a:lnTo>
                <a:lnTo>
                  <a:pt x="9329106" y="3124976"/>
                </a:lnTo>
                <a:lnTo>
                  <a:pt x="9329106" y="3115105"/>
                </a:lnTo>
                <a:close/>
                <a:moveTo>
                  <a:pt x="9093811" y="3111067"/>
                </a:moveTo>
                <a:lnTo>
                  <a:pt x="9103722" y="3111067"/>
                </a:lnTo>
                <a:lnTo>
                  <a:pt x="9107741" y="3115105"/>
                </a:lnTo>
                <a:lnTo>
                  <a:pt x="9107741" y="3124976"/>
                </a:lnTo>
                <a:lnTo>
                  <a:pt x="9103722" y="3129015"/>
                </a:lnTo>
                <a:lnTo>
                  <a:pt x="9093811" y="3129015"/>
                </a:lnTo>
                <a:lnTo>
                  <a:pt x="9089792" y="3124976"/>
                </a:lnTo>
                <a:lnTo>
                  <a:pt x="9089792" y="3115105"/>
                </a:lnTo>
                <a:close/>
                <a:moveTo>
                  <a:pt x="8854496" y="3111067"/>
                </a:moveTo>
                <a:lnTo>
                  <a:pt x="8864407" y="3111067"/>
                </a:lnTo>
                <a:lnTo>
                  <a:pt x="8868426" y="3115105"/>
                </a:lnTo>
                <a:lnTo>
                  <a:pt x="8868426" y="3124976"/>
                </a:lnTo>
                <a:lnTo>
                  <a:pt x="8864407" y="3129015"/>
                </a:lnTo>
                <a:lnTo>
                  <a:pt x="8854496" y="3129015"/>
                </a:lnTo>
                <a:lnTo>
                  <a:pt x="8850477" y="3124976"/>
                </a:lnTo>
                <a:lnTo>
                  <a:pt x="8850477" y="3115105"/>
                </a:lnTo>
                <a:close/>
                <a:moveTo>
                  <a:pt x="8615184" y="3111067"/>
                </a:moveTo>
                <a:lnTo>
                  <a:pt x="8625095" y="3111067"/>
                </a:lnTo>
                <a:lnTo>
                  <a:pt x="8629114" y="3115105"/>
                </a:lnTo>
                <a:lnTo>
                  <a:pt x="8629114" y="3124976"/>
                </a:lnTo>
                <a:lnTo>
                  <a:pt x="8625095" y="3129015"/>
                </a:lnTo>
                <a:lnTo>
                  <a:pt x="8615184" y="3129015"/>
                </a:lnTo>
                <a:lnTo>
                  <a:pt x="8611165" y="3124976"/>
                </a:lnTo>
                <a:lnTo>
                  <a:pt x="8611165" y="3115105"/>
                </a:lnTo>
                <a:close/>
                <a:moveTo>
                  <a:pt x="8375869" y="3111067"/>
                </a:moveTo>
                <a:lnTo>
                  <a:pt x="8385779" y="3111067"/>
                </a:lnTo>
                <a:lnTo>
                  <a:pt x="8389799" y="3115105"/>
                </a:lnTo>
                <a:lnTo>
                  <a:pt x="8389799" y="3124976"/>
                </a:lnTo>
                <a:lnTo>
                  <a:pt x="8385779" y="3129015"/>
                </a:lnTo>
                <a:lnTo>
                  <a:pt x="8375869" y="3129015"/>
                </a:lnTo>
                <a:lnTo>
                  <a:pt x="8371850" y="3124976"/>
                </a:lnTo>
                <a:lnTo>
                  <a:pt x="8371850" y="3115105"/>
                </a:lnTo>
                <a:close/>
                <a:moveTo>
                  <a:pt x="8136553" y="3111067"/>
                </a:moveTo>
                <a:lnTo>
                  <a:pt x="8146464" y="3111067"/>
                </a:lnTo>
                <a:lnTo>
                  <a:pt x="8150483" y="3115105"/>
                </a:lnTo>
                <a:lnTo>
                  <a:pt x="8150483" y="3124976"/>
                </a:lnTo>
                <a:lnTo>
                  <a:pt x="8146464" y="3129015"/>
                </a:lnTo>
                <a:lnTo>
                  <a:pt x="8136553" y="3129015"/>
                </a:lnTo>
                <a:lnTo>
                  <a:pt x="8132534" y="3124976"/>
                </a:lnTo>
                <a:lnTo>
                  <a:pt x="8132534" y="3115105"/>
                </a:lnTo>
                <a:close/>
                <a:moveTo>
                  <a:pt x="7897241" y="3111067"/>
                </a:moveTo>
                <a:lnTo>
                  <a:pt x="7907151" y="3111067"/>
                </a:lnTo>
                <a:lnTo>
                  <a:pt x="7911170" y="3115105"/>
                </a:lnTo>
                <a:lnTo>
                  <a:pt x="7911170" y="3124976"/>
                </a:lnTo>
                <a:lnTo>
                  <a:pt x="7907151" y="3129015"/>
                </a:lnTo>
                <a:lnTo>
                  <a:pt x="7897241" y="3129015"/>
                </a:lnTo>
                <a:lnTo>
                  <a:pt x="7893222" y="3124976"/>
                </a:lnTo>
                <a:lnTo>
                  <a:pt x="7893222" y="3115105"/>
                </a:lnTo>
                <a:close/>
                <a:moveTo>
                  <a:pt x="7657926" y="3111067"/>
                </a:moveTo>
                <a:lnTo>
                  <a:pt x="7667836" y="3111067"/>
                </a:lnTo>
                <a:lnTo>
                  <a:pt x="7671855" y="3115105"/>
                </a:lnTo>
                <a:lnTo>
                  <a:pt x="7671855" y="3124976"/>
                </a:lnTo>
                <a:lnTo>
                  <a:pt x="7667836" y="3129015"/>
                </a:lnTo>
                <a:lnTo>
                  <a:pt x="7657926" y="3129015"/>
                </a:lnTo>
                <a:lnTo>
                  <a:pt x="7653906" y="3124976"/>
                </a:lnTo>
                <a:lnTo>
                  <a:pt x="7653906" y="3115105"/>
                </a:lnTo>
                <a:close/>
                <a:moveTo>
                  <a:pt x="7418611" y="3111067"/>
                </a:moveTo>
                <a:lnTo>
                  <a:pt x="7428521" y="3111067"/>
                </a:lnTo>
                <a:lnTo>
                  <a:pt x="7432540" y="3115105"/>
                </a:lnTo>
                <a:lnTo>
                  <a:pt x="7432540" y="3124976"/>
                </a:lnTo>
                <a:lnTo>
                  <a:pt x="7428521" y="3129015"/>
                </a:lnTo>
                <a:lnTo>
                  <a:pt x="7418611" y="3129015"/>
                </a:lnTo>
                <a:lnTo>
                  <a:pt x="7414592" y="3124976"/>
                </a:lnTo>
                <a:lnTo>
                  <a:pt x="7414592" y="3115105"/>
                </a:lnTo>
                <a:close/>
                <a:moveTo>
                  <a:pt x="7179298" y="3111067"/>
                </a:moveTo>
                <a:lnTo>
                  <a:pt x="7189209" y="3111067"/>
                </a:lnTo>
                <a:lnTo>
                  <a:pt x="7193228" y="3115105"/>
                </a:lnTo>
                <a:lnTo>
                  <a:pt x="7193228" y="3124976"/>
                </a:lnTo>
                <a:lnTo>
                  <a:pt x="7189209" y="3129015"/>
                </a:lnTo>
                <a:lnTo>
                  <a:pt x="7179298" y="3129015"/>
                </a:lnTo>
                <a:lnTo>
                  <a:pt x="7175279" y="3124976"/>
                </a:lnTo>
                <a:lnTo>
                  <a:pt x="7175279" y="3115105"/>
                </a:lnTo>
                <a:close/>
                <a:moveTo>
                  <a:pt x="6939983" y="3111067"/>
                </a:moveTo>
                <a:lnTo>
                  <a:pt x="6949894" y="3111067"/>
                </a:lnTo>
                <a:lnTo>
                  <a:pt x="6953913" y="3115105"/>
                </a:lnTo>
                <a:lnTo>
                  <a:pt x="6953913" y="3124976"/>
                </a:lnTo>
                <a:lnTo>
                  <a:pt x="6949894" y="3129015"/>
                </a:lnTo>
                <a:lnTo>
                  <a:pt x="6939983" y="3129015"/>
                </a:lnTo>
                <a:lnTo>
                  <a:pt x="6935964" y="3124976"/>
                </a:lnTo>
                <a:lnTo>
                  <a:pt x="6935964" y="3115105"/>
                </a:lnTo>
                <a:close/>
                <a:moveTo>
                  <a:pt x="6700670" y="3111067"/>
                </a:moveTo>
                <a:lnTo>
                  <a:pt x="6710581" y="3111067"/>
                </a:lnTo>
                <a:lnTo>
                  <a:pt x="6714600" y="3115105"/>
                </a:lnTo>
                <a:lnTo>
                  <a:pt x="6714600" y="3124976"/>
                </a:lnTo>
                <a:lnTo>
                  <a:pt x="6710581" y="3129015"/>
                </a:lnTo>
                <a:lnTo>
                  <a:pt x="6700670" y="3129015"/>
                </a:lnTo>
                <a:lnTo>
                  <a:pt x="6696651" y="3124976"/>
                </a:lnTo>
                <a:lnTo>
                  <a:pt x="6696651" y="3115105"/>
                </a:lnTo>
                <a:close/>
                <a:moveTo>
                  <a:pt x="6461356" y="3111067"/>
                </a:moveTo>
                <a:lnTo>
                  <a:pt x="6471266" y="3111067"/>
                </a:lnTo>
                <a:lnTo>
                  <a:pt x="6475285" y="3115105"/>
                </a:lnTo>
                <a:lnTo>
                  <a:pt x="6475285" y="3124976"/>
                </a:lnTo>
                <a:lnTo>
                  <a:pt x="6471266" y="3129015"/>
                </a:lnTo>
                <a:lnTo>
                  <a:pt x="6461356" y="3129015"/>
                </a:lnTo>
                <a:lnTo>
                  <a:pt x="6457337" y="3124976"/>
                </a:lnTo>
                <a:lnTo>
                  <a:pt x="6457337" y="3115105"/>
                </a:lnTo>
                <a:close/>
                <a:moveTo>
                  <a:pt x="6222042" y="3111067"/>
                </a:moveTo>
                <a:lnTo>
                  <a:pt x="6231952" y="3111067"/>
                </a:lnTo>
                <a:lnTo>
                  <a:pt x="6235971" y="3115105"/>
                </a:lnTo>
                <a:lnTo>
                  <a:pt x="6235971" y="3124976"/>
                </a:lnTo>
                <a:lnTo>
                  <a:pt x="6231952" y="3129015"/>
                </a:lnTo>
                <a:lnTo>
                  <a:pt x="6222042" y="3129015"/>
                </a:lnTo>
                <a:lnTo>
                  <a:pt x="6218023" y="3124976"/>
                </a:lnTo>
                <a:lnTo>
                  <a:pt x="6218023" y="3115105"/>
                </a:lnTo>
                <a:close/>
                <a:moveTo>
                  <a:pt x="5982729" y="3111067"/>
                </a:moveTo>
                <a:lnTo>
                  <a:pt x="5992639" y="3111067"/>
                </a:lnTo>
                <a:lnTo>
                  <a:pt x="5996658" y="3115105"/>
                </a:lnTo>
                <a:lnTo>
                  <a:pt x="5996658" y="3124976"/>
                </a:lnTo>
                <a:lnTo>
                  <a:pt x="5992639" y="3129015"/>
                </a:lnTo>
                <a:lnTo>
                  <a:pt x="5982729" y="3129015"/>
                </a:lnTo>
                <a:lnTo>
                  <a:pt x="5978710" y="3124976"/>
                </a:lnTo>
                <a:lnTo>
                  <a:pt x="5978710" y="3115105"/>
                </a:lnTo>
                <a:close/>
                <a:moveTo>
                  <a:pt x="5743412" y="3111067"/>
                </a:moveTo>
                <a:lnTo>
                  <a:pt x="5753323" y="3111067"/>
                </a:lnTo>
                <a:lnTo>
                  <a:pt x="5757342" y="3115105"/>
                </a:lnTo>
                <a:lnTo>
                  <a:pt x="5757342" y="3124976"/>
                </a:lnTo>
                <a:lnTo>
                  <a:pt x="5753323" y="3129015"/>
                </a:lnTo>
                <a:lnTo>
                  <a:pt x="5743412" y="3129015"/>
                </a:lnTo>
                <a:lnTo>
                  <a:pt x="5739393" y="3124976"/>
                </a:lnTo>
                <a:lnTo>
                  <a:pt x="5739393" y="3115105"/>
                </a:lnTo>
                <a:close/>
                <a:moveTo>
                  <a:pt x="5504099" y="3111067"/>
                </a:moveTo>
                <a:lnTo>
                  <a:pt x="5514010" y="3111067"/>
                </a:lnTo>
                <a:lnTo>
                  <a:pt x="5518029" y="3115105"/>
                </a:lnTo>
                <a:lnTo>
                  <a:pt x="5518029" y="3124976"/>
                </a:lnTo>
                <a:lnTo>
                  <a:pt x="5514010" y="3129015"/>
                </a:lnTo>
                <a:lnTo>
                  <a:pt x="5504099" y="3129015"/>
                </a:lnTo>
                <a:lnTo>
                  <a:pt x="5500080" y="3124976"/>
                </a:lnTo>
                <a:lnTo>
                  <a:pt x="5500080" y="3115105"/>
                </a:lnTo>
                <a:close/>
                <a:moveTo>
                  <a:pt x="5264784" y="3111067"/>
                </a:moveTo>
                <a:lnTo>
                  <a:pt x="5274694" y="3111067"/>
                </a:lnTo>
                <a:lnTo>
                  <a:pt x="5278713" y="3115105"/>
                </a:lnTo>
                <a:lnTo>
                  <a:pt x="5278713" y="3124976"/>
                </a:lnTo>
                <a:lnTo>
                  <a:pt x="5274694" y="3129015"/>
                </a:lnTo>
                <a:lnTo>
                  <a:pt x="5264784" y="3129015"/>
                </a:lnTo>
                <a:lnTo>
                  <a:pt x="5260765" y="3124976"/>
                </a:lnTo>
                <a:lnTo>
                  <a:pt x="5260765" y="3115105"/>
                </a:lnTo>
                <a:close/>
                <a:moveTo>
                  <a:pt x="5025470" y="3111067"/>
                </a:moveTo>
                <a:lnTo>
                  <a:pt x="5035381" y="3111067"/>
                </a:lnTo>
                <a:lnTo>
                  <a:pt x="5039400" y="3115105"/>
                </a:lnTo>
                <a:lnTo>
                  <a:pt x="5039400" y="3124976"/>
                </a:lnTo>
                <a:lnTo>
                  <a:pt x="5035381" y="3129015"/>
                </a:lnTo>
                <a:lnTo>
                  <a:pt x="5025470" y="3129015"/>
                </a:lnTo>
                <a:lnTo>
                  <a:pt x="5021451" y="3124976"/>
                </a:lnTo>
                <a:lnTo>
                  <a:pt x="5021451" y="3115105"/>
                </a:lnTo>
                <a:close/>
                <a:moveTo>
                  <a:pt x="4786241" y="3111067"/>
                </a:moveTo>
                <a:lnTo>
                  <a:pt x="4796152" y="3111067"/>
                </a:lnTo>
                <a:lnTo>
                  <a:pt x="4800171" y="3115105"/>
                </a:lnTo>
                <a:lnTo>
                  <a:pt x="4800171" y="3124976"/>
                </a:lnTo>
                <a:lnTo>
                  <a:pt x="4796152" y="3129015"/>
                </a:lnTo>
                <a:lnTo>
                  <a:pt x="4786241" y="3129015"/>
                </a:lnTo>
                <a:lnTo>
                  <a:pt x="4782224" y="3124976"/>
                </a:lnTo>
                <a:lnTo>
                  <a:pt x="4782224" y="3115105"/>
                </a:lnTo>
                <a:close/>
                <a:moveTo>
                  <a:pt x="4546929" y="3111067"/>
                </a:moveTo>
                <a:lnTo>
                  <a:pt x="4556840" y="3111067"/>
                </a:lnTo>
                <a:lnTo>
                  <a:pt x="4560859" y="3115105"/>
                </a:lnTo>
                <a:lnTo>
                  <a:pt x="4560859" y="3124976"/>
                </a:lnTo>
                <a:lnTo>
                  <a:pt x="4556840" y="3129015"/>
                </a:lnTo>
                <a:lnTo>
                  <a:pt x="4546929" y="3129015"/>
                </a:lnTo>
                <a:lnTo>
                  <a:pt x="4542910" y="3124976"/>
                </a:lnTo>
                <a:lnTo>
                  <a:pt x="4542910" y="3115105"/>
                </a:lnTo>
                <a:close/>
                <a:moveTo>
                  <a:pt x="4307612" y="3111067"/>
                </a:moveTo>
                <a:lnTo>
                  <a:pt x="4317523" y="3111067"/>
                </a:lnTo>
                <a:lnTo>
                  <a:pt x="4321543" y="3115105"/>
                </a:lnTo>
                <a:lnTo>
                  <a:pt x="4321543" y="3124976"/>
                </a:lnTo>
                <a:lnTo>
                  <a:pt x="4317523" y="3129015"/>
                </a:lnTo>
                <a:lnTo>
                  <a:pt x="4307612" y="3129015"/>
                </a:lnTo>
                <a:lnTo>
                  <a:pt x="4303595" y="3124976"/>
                </a:lnTo>
                <a:lnTo>
                  <a:pt x="4303595" y="3115105"/>
                </a:lnTo>
                <a:close/>
                <a:moveTo>
                  <a:pt x="4068297" y="3111067"/>
                </a:moveTo>
                <a:lnTo>
                  <a:pt x="4078210" y="3111067"/>
                </a:lnTo>
                <a:lnTo>
                  <a:pt x="4082229" y="3115105"/>
                </a:lnTo>
                <a:lnTo>
                  <a:pt x="4082229" y="3124976"/>
                </a:lnTo>
                <a:lnTo>
                  <a:pt x="4078210" y="3129015"/>
                </a:lnTo>
                <a:lnTo>
                  <a:pt x="4068297" y="3129015"/>
                </a:lnTo>
                <a:lnTo>
                  <a:pt x="4064278" y="3124976"/>
                </a:lnTo>
                <a:lnTo>
                  <a:pt x="4064278" y="3115105"/>
                </a:lnTo>
                <a:close/>
                <a:moveTo>
                  <a:pt x="3828990" y="3111067"/>
                </a:moveTo>
                <a:lnTo>
                  <a:pt x="3838899" y="3111067"/>
                </a:lnTo>
                <a:lnTo>
                  <a:pt x="3842917" y="3115105"/>
                </a:lnTo>
                <a:lnTo>
                  <a:pt x="3842917" y="3124976"/>
                </a:lnTo>
                <a:lnTo>
                  <a:pt x="3838899" y="3129015"/>
                </a:lnTo>
                <a:lnTo>
                  <a:pt x="3828990" y="3129015"/>
                </a:lnTo>
                <a:lnTo>
                  <a:pt x="3824971" y="3124976"/>
                </a:lnTo>
                <a:lnTo>
                  <a:pt x="3824971" y="3115105"/>
                </a:lnTo>
                <a:close/>
                <a:moveTo>
                  <a:pt x="3589676" y="3111067"/>
                </a:moveTo>
                <a:lnTo>
                  <a:pt x="3599585" y="3111067"/>
                </a:lnTo>
                <a:lnTo>
                  <a:pt x="3603604" y="3115105"/>
                </a:lnTo>
                <a:lnTo>
                  <a:pt x="3603604" y="3124976"/>
                </a:lnTo>
                <a:lnTo>
                  <a:pt x="3599585" y="3129015"/>
                </a:lnTo>
                <a:lnTo>
                  <a:pt x="3589676" y="3129015"/>
                </a:lnTo>
                <a:lnTo>
                  <a:pt x="3585657" y="3124976"/>
                </a:lnTo>
                <a:lnTo>
                  <a:pt x="3585657" y="3115105"/>
                </a:lnTo>
                <a:close/>
                <a:moveTo>
                  <a:pt x="3350359" y="3111067"/>
                </a:moveTo>
                <a:lnTo>
                  <a:pt x="3360268" y="3111067"/>
                </a:lnTo>
                <a:lnTo>
                  <a:pt x="3364287" y="3115105"/>
                </a:lnTo>
                <a:lnTo>
                  <a:pt x="3364287" y="3124976"/>
                </a:lnTo>
                <a:lnTo>
                  <a:pt x="3360268" y="3129015"/>
                </a:lnTo>
                <a:lnTo>
                  <a:pt x="3350359" y="3129015"/>
                </a:lnTo>
                <a:lnTo>
                  <a:pt x="3346340" y="3124976"/>
                </a:lnTo>
                <a:lnTo>
                  <a:pt x="3346340" y="3115105"/>
                </a:lnTo>
                <a:close/>
                <a:moveTo>
                  <a:pt x="3111048" y="3111067"/>
                </a:moveTo>
                <a:lnTo>
                  <a:pt x="3120959" y="3111067"/>
                </a:lnTo>
                <a:lnTo>
                  <a:pt x="3124977" y="3115105"/>
                </a:lnTo>
                <a:lnTo>
                  <a:pt x="3124977" y="3124976"/>
                </a:lnTo>
                <a:lnTo>
                  <a:pt x="3120959" y="3129015"/>
                </a:lnTo>
                <a:lnTo>
                  <a:pt x="3111048" y="3129015"/>
                </a:lnTo>
                <a:lnTo>
                  <a:pt x="3107029" y="3124976"/>
                </a:lnTo>
                <a:lnTo>
                  <a:pt x="3107029" y="3115105"/>
                </a:lnTo>
                <a:close/>
                <a:moveTo>
                  <a:pt x="2871737" y="3111067"/>
                </a:moveTo>
                <a:lnTo>
                  <a:pt x="2881646" y="3111067"/>
                </a:lnTo>
                <a:lnTo>
                  <a:pt x="2885666" y="3115105"/>
                </a:lnTo>
                <a:lnTo>
                  <a:pt x="2885666" y="3124976"/>
                </a:lnTo>
                <a:lnTo>
                  <a:pt x="2881646" y="3129015"/>
                </a:lnTo>
                <a:lnTo>
                  <a:pt x="2871737" y="3129015"/>
                </a:lnTo>
                <a:lnTo>
                  <a:pt x="2867717" y="3124976"/>
                </a:lnTo>
                <a:lnTo>
                  <a:pt x="2867717" y="3115105"/>
                </a:lnTo>
                <a:close/>
                <a:moveTo>
                  <a:pt x="2632423" y="3111067"/>
                </a:moveTo>
                <a:lnTo>
                  <a:pt x="2642334" y="3111067"/>
                </a:lnTo>
                <a:lnTo>
                  <a:pt x="2646352" y="3115105"/>
                </a:lnTo>
                <a:lnTo>
                  <a:pt x="2646352" y="3124976"/>
                </a:lnTo>
                <a:lnTo>
                  <a:pt x="2642334" y="3129015"/>
                </a:lnTo>
                <a:lnTo>
                  <a:pt x="2632423" y="3129015"/>
                </a:lnTo>
                <a:lnTo>
                  <a:pt x="2628404" y="3124976"/>
                </a:lnTo>
                <a:lnTo>
                  <a:pt x="2628404" y="3115105"/>
                </a:lnTo>
                <a:close/>
                <a:moveTo>
                  <a:pt x="2393104" y="3111067"/>
                </a:moveTo>
                <a:lnTo>
                  <a:pt x="2403015" y="3111067"/>
                </a:lnTo>
                <a:lnTo>
                  <a:pt x="2407034" y="3115105"/>
                </a:lnTo>
                <a:lnTo>
                  <a:pt x="2407034" y="3124976"/>
                </a:lnTo>
                <a:lnTo>
                  <a:pt x="2403015" y="3129015"/>
                </a:lnTo>
                <a:lnTo>
                  <a:pt x="2393104" y="3129015"/>
                </a:lnTo>
                <a:lnTo>
                  <a:pt x="2389087" y="3124976"/>
                </a:lnTo>
                <a:lnTo>
                  <a:pt x="2389087" y="3115105"/>
                </a:lnTo>
                <a:close/>
                <a:moveTo>
                  <a:pt x="721968" y="3111067"/>
                </a:moveTo>
                <a:lnTo>
                  <a:pt x="731878" y="3111067"/>
                </a:lnTo>
                <a:lnTo>
                  <a:pt x="735897" y="3115105"/>
                </a:lnTo>
                <a:lnTo>
                  <a:pt x="735897" y="3124976"/>
                </a:lnTo>
                <a:lnTo>
                  <a:pt x="731878" y="3129015"/>
                </a:lnTo>
                <a:lnTo>
                  <a:pt x="721968" y="3129015"/>
                </a:lnTo>
                <a:lnTo>
                  <a:pt x="717949" y="3124976"/>
                </a:lnTo>
                <a:lnTo>
                  <a:pt x="717949" y="3115105"/>
                </a:lnTo>
                <a:close/>
                <a:moveTo>
                  <a:pt x="482656" y="3111067"/>
                </a:moveTo>
                <a:lnTo>
                  <a:pt x="492566" y="3111067"/>
                </a:lnTo>
                <a:lnTo>
                  <a:pt x="496585" y="3115105"/>
                </a:lnTo>
                <a:lnTo>
                  <a:pt x="496585" y="3124976"/>
                </a:lnTo>
                <a:lnTo>
                  <a:pt x="492566" y="3129015"/>
                </a:lnTo>
                <a:lnTo>
                  <a:pt x="482656" y="3129015"/>
                </a:lnTo>
                <a:lnTo>
                  <a:pt x="478637" y="3124976"/>
                </a:lnTo>
                <a:lnTo>
                  <a:pt x="478637" y="3115105"/>
                </a:lnTo>
                <a:close/>
                <a:moveTo>
                  <a:pt x="243342" y="3111067"/>
                </a:moveTo>
                <a:lnTo>
                  <a:pt x="253252" y="3111067"/>
                </a:lnTo>
                <a:lnTo>
                  <a:pt x="257271" y="3115105"/>
                </a:lnTo>
                <a:lnTo>
                  <a:pt x="257271" y="3124976"/>
                </a:lnTo>
                <a:lnTo>
                  <a:pt x="253252" y="3129015"/>
                </a:lnTo>
                <a:lnTo>
                  <a:pt x="243342" y="3129015"/>
                </a:lnTo>
                <a:lnTo>
                  <a:pt x="239323" y="3124976"/>
                </a:lnTo>
                <a:lnTo>
                  <a:pt x="239323" y="3115105"/>
                </a:lnTo>
                <a:close/>
                <a:moveTo>
                  <a:pt x="4029" y="3111067"/>
                </a:moveTo>
                <a:lnTo>
                  <a:pt x="13939" y="3111067"/>
                </a:lnTo>
                <a:lnTo>
                  <a:pt x="17959" y="3115105"/>
                </a:lnTo>
                <a:lnTo>
                  <a:pt x="17959" y="3124976"/>
                </a:lnTo>
                <a:lnTo>
                  <a:pt x="13939" y="3129015"/>
                </a:lnTo>
                <a:lnTo>
                  <a:pt x="4029" y="3129015"/>
                </a:lnTo>
                <a:lnTo>
                  <a:pt x="10" y="3124976"/>
                </a:lnTo>
                <a:lnTo>
                  <a:pt x="10" y="3115105"/>
                </a:lnTo>
                <a:close/>
                <a:moveTo>
                  <a:pt x="2157820" y="2871788"/>
                </a:moveTo>
                <a:lnTo>
                  <a:pt x="2167732" y="2871788"/>
                </a:lnTo>
                <a:lnTo>
                  <a:pt x="2171750" y="2875826"/>
                </a:lnTo>
                <a:lnTo>
                  <a:pt x="2171750" y="2885696"/>
                </a:lnTo>
                <a:lnTo>
                  <a:pt x="2167732" y="2889735"/>
                </a:lnTo>
                <a:lnTo>
                  <a:pt x="2157820" y="2889735"/>
                </a:lnTo>
                <a:lnTo>
                  <a:pt x="2153802" y="2885696"/>
                </a:lnTo>
                <a:lnTo>
                  <a:pt x="2153802" y="2875826"/>
                </a:lnTo>
                <a:close/>
                <a:moveTo>
                  <a:pt x="1918513" y="2871788"/>
                </a:moveTo>
                <a:lnTo>
                  <a:pt x="1928422" y="2871788"/>
                </a:lnTo>
                <a:lnTo>
                  <a:pt x="1932441" y="2875826"/>
                </a:lnTo>
                <a:lnTo>
                  <a:pt x="1932441" y="2885696"/>
                </a:lnTo>
                <a:lnTo>
                  <a:pt x="1928422" y="2889735"/>
                </a:lnTo>
                <a:lnTo>
                  <a:pt x="1918513" y="2889735"/>
                </a:lnTo>
                <a:lnTo>
                  <a:pt x="1914493" y="2885696"/>
                </a:lnTo>
                <a:lnTo>
                  <a:pt x="1914493" y="2875826"/>
                </a:lnTo>
                <a:close/>
                <a:moveTo>
                  <a:pt x="1679211" y="2871788"/>
                </a:moveTo>
                <a:lnTo>
                  <a:pt x="1689121" y="2871788"/>
                </a:lnTo>
                <a:lnTo>
                  <a:pt x="1693141" y="2875826"/>
                </a:lnTo>
                <a:lnTo>
                  <a:pt x="1693141" y="2885696"/>
                </a:lnTo>
                <a:lnTo>
                  <a:pt x="1689121" y="2889735"/>
                </a:lnTo>
                <a:lnTo>
                  <a:pt x="1679211" y="2889735"/>
                </a:lnTo>
                <a:lnTo>
                  <a:pt x="1675193" y="2885696"/>
                </a:lnTo>
                <a:lnTo>
                  <a:pt x="1675193" y="2875826"/>
                </a:lnTo>
                <a:close/>
                <a:moveTo>
                  <a:pt x="1439895" y="2871788"/>
                </a:moveTo>
                <a:lnTo>
                  <a:pt x="1449805" y="2871788"/>
                </a:lnTo>
                <a:lnTo>
                  <a:pt x="1453824" y="2875826"/>
                </a:lnTo>
                <a:lnTo>
                  <a:pt x="1453824" y="2885696"/>
                </a:lnTo>
                <a:lnTo>
                  <a:pt x="1449805" y="2889735"/>
                </a:lnTo>
                <a:lnTo>
                  <a:pt x="1439895" y="2889735"/>
                </a:lnTo>
                <a:lnTo>
                  <a:pt x="1435876" y="2885696"/>
                </a:lnTo>
                <a:lnTo>
                  <a:pt x="1435876" y="2875826"/>
                </a:lnTo>
                <a:close/>
                <a:moveTo>
                  <a:pt x="1200579" y="2871788"/>
                </a:moveTo>
                <a:lnTo>
                  <a:pt x="1210489" y="2871788"/>
                </a:lnTo>
                <a:lnTo>
                  <a:pt x="1214509" y="2875826"/>
                </a:lnTo>
                <a:lnTo>
                  <a:pt x="1214509" y="2885696"/>
                </a:lnTo>
                <a:lnTo>
                  <a:pt x="1210489" y="2889735"/>
                </a:lnTo>
                <a:lnTo>
                  <a:pt x="1200579" y="2889735"/>
                </a:lnTo>
                <a:lnTo>
                  <a:pt x="1196560" y="2885696"/>
                </a:lnTo>
                <a:lnTo>
                  <a:pt x="1196560" y="2875826"/>
                </a:lnTo>
                <a:close/>
                <a:moveTo>
                  <a:pt x="961267" y="2871788"/>
                </a:moveTo>
                <a:lnTo>
                  <a:pt x="971177" y="2871788"/>
                </a:lnTo>
                <a:lnTo>
                  <a:pt x="975195" y="2875826"/>
                </a:lnTo>
                <a:lnTo>
                  <a:pt x="975195" y="2885696"/>
                </a:lnTo>
                <a:lnTo>
                  <a:pt x="971177" y="2889735"/>
                </a:lnTo>
                <a:lnTo>
                  <a:pt x="961267" y="2889735"/>
                </a:lnTo>
                <a:lnTo>
                  <a:pt x="957247" y="2885696"/>
                </a:lnTo>
                <a:lnTo>
                  <a:pt x="957247" y="2875826"/>
                </a:lnTo>
                <a:close/>
                <a:moveTo>
                  <a:pt x="9572438" y="2871736"/>
                </a:moveTo>
                <a:lnTo>
                  <a:pt x="9582349" y="2871736"/>
                </a:lnTo>
                <a:lnTo>
                  <a:pt x="9586368" y="2875775"/>
                </a:lnTo>
                <a:lnTo>
                  <a:pt x="9586368" y="2885645"/>
                </a:lnTo>
                <a:lnTo>
                  <a:pt x="9582349" y="2889684"/>
                </a:lnTo>
                <a:lnTo>
                  <a:pt x="9572438" y="2889684"/>
                </a:lnTo>
                <a:lnTo>
                  <a:pt x="9568419" y="2885645"/>
                </a:lnTo>
                <a:lnTo>
                  <a:pt x="9568419" y="2875775"/>
                </a:lnTo>
                <a:close/>
                <a:moveTo>
                  <a:pt x="9333125" y="2871736"/>
                </a:moveTo>
                <a:lnTo>
                  <a:pt x="9343036" y="2871736"/>
                </a:lnTo>
                <a:lnTo>
                  <a:pt x="9347055" y="2875775"/>
                </a:lnTo>
                <a:lnTo>
                  <a:pt x="9347055" y="2885645"/>
                </a:lnTo>
                <a:lnTo>
                  <a:pt x="9343036" y="2889684"/>
                </a:lnTo>
                <a:lnTo>
                  <a:pt x="9333125" y="2889684"/>
                </a:lnTo>
                <a:lnTo>
                  <a:pt x="9329106" y="2885645"/>
                </a:lnTo>
                <a:lnTo>
                  <a:pt x="9329106" y="2875775"/>
                </a:lnTo>
                <a:close/>
                <a:moveTo>
                  <a:pt x="9093811" y="2871736"/>
                </a:moveTo>
                <a:lnTo>
                  <a:pt x="9103722" y="2871736"/>
                </a:lnTo>
                <a:lnTo>
                  <a:pt x="9107741" y="2875775"/>
                </a:lnTo>
                <a:lnTo>
                  <a:pt x="9107741" y="2885645"/>
                </a:lnTo>
                <a:lnTo>
                  <a:pt x="9103722" y="2889684"/>
                </a:lnTo>
                <a:lnTo>
                  <a:pt x="9093811" y="2889684"/>
                </a:lnTo>
                <a:lnTo>
                  <a:pt x="9089792" y="2885645"/>
                </a:lnTo>
                <a:lnTo>
                  <a:pt x="9089792" y="2875775"/>
                </a:lnTo>
                <a:close/>
                <a:moveTo>
                  <a:pt x="8854496" y="2871736"/>
                </a:moveTo>
                <a:lnTo>
                  <a:pt x="8864407" y="2871736"/>
                </a:lnTo>
                <a:lnTo>
                  <a:pt x="8868426" y="2875775"/>
                </a:lnTo>
                <a:lnTo>
                  <a:pt x="8868426" y="2885645"/>
                </a:lnTo>
                <a:lnTo>
                  <a:pt x="8864407" y="2889684"/>
                </a:lnTo>
                <a:lnTo>
                  <a:pt x="8854496" y="2889684"/>
                </a:lnTo>
                <a:lnTo>
                  <a:pt x="8850477" y="2885645"/>
                </a:lnTo>
                <a:lnTo>
                  <a:pt x="8850477" y="2875775"/>
                </a:lnTo>
                <a:close/>
                <a:moveTo>
                  <a:pt x="8615184" y="2871736"/>
                </a:moveTo>
                <a:lnTo>
                  <a:pt x="8625095" y="2871736"/>
                </a:lnTo>
                <a:lnTo>
                  <a:pt x="8629114" y="2875775"/>
                </a:lnTo>
                <a:lnTo>
                  <a:pt x="8629114" y="2885645"/>
                </a:lnTo>
                <a:lnTo>
                  <a:pt x="8625095" y="2889684"/>
                </a:lnTo>
                <a:lnTo>
                  <a:pt x="8615184" y="2889684"/>
                </a:lnTo>
                <a:lnTo>
                  <a:pt x="8611165" y="2885645"/>
                </a:lnTo>
                <a:lnTo>
                  <a:pt x="8611165" y="2875775"/>
                </a:lnTo>
                <a:close/>
                <a:moveTo>
                  <a:pt x="8375869" y="2871736"/>
                </a:moveTo>
                <a:lnTo>
                  <a:pt x="8385779" y="2871736"/>
                </a:lnTo>
                <a:lnTo>
                  <a:pt x="8389799" y="2875775"/>
                </a:lnTo>
                <a:lnTo>
                  <a:pt x="8389799" y="2885645"/>
                </a:lnTo>
                <a:lnTo>
                  <a:pt x="8385779" y="2889684"/>
                </a:lnTo>
                <a:lnTo>
                  <a:pt x="8375869" y="2889684"/>
                </a:lnTo>
                <a:lnTo>
                  <a:pt x="8371850" y="2885645"/>
                </a:lnTo>
                <a:lnTo>
                  <a:pt x="8371850" y="2875775"/>
                </a:lnTo>
                <a:close/>
                <a:moveTo>
                  <a:pt x="8136553" y="2871736"/>
                </a:moveTo>
                <a:lnTo>
                  <a:pt x="8146464" y="2871736"/>
                </a:lnTo>
                <a:lnTo>
                  <a:pt x="8150483" y="2875775"/>
                </a:lnTo>
                <a:lnTo>
                  <a:pt x="8150483" y="2885645"/>
                </a:lnTo>
                <a:lnTo>
                  <a:pt x="8146464" y="2889684"/>
                </a:lnTo>
                <a:lnTo>
                  <a:pt x="8136553" y="2889684"/>
                </a:lnTo>
                <a:lnTo>
                  <a:pt x="8132534" y="2885645"/>
                </a:lnTo>
                <a:lnTo>
                  <a:pt x="8132534" y="2875775"/>
                </a:lnTo>
                <a:close/>
                <a:moveTo>
                  <a:pt x="7897241" y="2871736"/>
                </a:moveTo>
                <a:lnTo>
                  <a:pt x="7907151" y="2871736"/>
                </a:lnTo>
                <a:lnTo>
                  <a:pt x="7911170" y="2875775"/>
                </a:lnTo>
                <a:lnTo>
                  <a:pt x="7911170" y="2885645"/>
                </a:lnTo>
                <a:lnTo>
                  <a:pt x="7907151" y="2889684"/>
                </a:lnTo>
                <a:lnTo>
                  <a:pt x="7897241" y="2889684"/>
                </a:lnTo>
                <a:lnTo>
                  <a:pt x="7893222" y="2885645"/>
                </a:lnTo>
                <a:lnTo>
                  <a:pt x="7893222" y="2875775"/>
                </a:lnTo>
                <a:close/>
                <a:moveTo>
                  <a:pt x="7657926" y="2871736"/>
                </a:moveTo>
                <a:lnTo>
                  <a:pt x="7667836" y="2871736"/>
                </a:lnTo>
                <a:lnTo>
                  <a:pt x="7671855" y="2875775"/>
                </a:lnTo>
                <a:lnTo>
                  <a:pt x="7671855" y="2885645"/>
                </a:lnTo>
                <a:lnTo>
                  <a:pt x="7667836" y="2889684"/>
                </a:lnTo>
                <a:lnTo>
                  <a:pt x="7657926" y="2889684"/>
                </a:lnTo>
                <a:lnTo>
                  <a:pt x="7653906" y="2885645"/>
                </a:lnTo>
                <a:lnTo>
                  <a:pt x="7653906" y="2875775"/>
                </a:lnTo>
                <a:close/>
                <a:moveTo>
                  <a:pt x="7418611" y="2871736"/>
                </a:moveTo>
                <a:lnTo>
                  <a:pt x="7428521" y="2871736"/>
                </a:lnTo>
                <a:lnTo>
                  <a:pt x="7432540" y="2875775"/>
                </a:lnTo>
                <a:lnTo>
                  <a:pt x="7432540" y="2885645"/>
                </a:lnTo>
                <a:lnTo>
                  <a:pt x="7428521" y="2889684"/>
                </a:lnTo>
                <a:lnTo>
                  <a:pt x="7418611" y="2889684"/>
                </a:lnTo>
                <a:lnTo>
                  <a:pt x="7414592" y="2885645"/>
                </a:lnTo>
                <a:lnTo>
                  <a:pt x="7414592" y="2875775"/>
                </a:lnTo>
                <a:close/>
                <a:moveTo>
                  <a:pt x="7179298" y="2871736"/>
                </a:moveTo>
                <a:lnTo>
                  <a:pt x="7189209" y="2871736"/>
                </a:lnTo>
                <a:lnTo>
                  <a:pt x="7193228" y="2875775"/>
                </a:lnTo>
                <a:lnTo>
                  <a:pt x="7193228" y="2885645"/>
                </a:lnTo>
                <a:lnTo>
                  <a:pt x="7189209" y="2889684"/>
                </a:lnTo>
                <a:lnTo>
                  <a:pt x="7179298" y="2889684"/>
                </a:lnTo>
                <a:lnTo>
                  <a:pt x="7175279" y="2885645"/>
                </a:lnTo>
                <a:lnTo>
                  <a:pt x="7175279" y="2875775"/>
                </a:lnTo>
                <a:close/>
                <a:moveTo>
                  <a:pt x="6939983" y="2871736"/>
                </a:moveTo>
                <a:lnTo>
                  <a:pt x="6949894" y="2871736"/>
                </a:lnTo>
                <a:lnTo>
                  <a:pt x="6953913" y="2875775"/>
                </a:lnTo>
                <a:lnTo>
                  <a:pt x="6953913" y="2885645"/>
                </a:lnTo>
                <a:lnTo>
                  <a:pt x="6949894" y="2889684"/>
                </a:lnTo>
                <a:lnTo>
                  <a:pt x="6939983" y="2889684"/>
                </a:lnTo>
                <a:lnTo>
                  <a:pt x="6935964" y="2885645"/>
                </a:lnTo>
                <a:lnTo>
                  <a:pt x="6935964" y="2875775"/>
                </a:lnTo>
                <a:close/>
                <a:moveTo>
                  <a:pt x="6700670" y="2871736"/>
                </a:moveTo>
                <a:lnTo>
                  <a:pt x="6710581" y="2871736"/>
                </a:lnTo>
                <a:lnTo>
                  <a:pt x="6714600" y="2875775"/>
                </a:lnTo>
                <a:lnTo>
                  <a:pt x="6714600" y="2885645"/>
                </a:lnTo>
                <a:lnTo>
                  <a:pt x="6710581" y="2889684"/>
                </a:lnTo>
                <a:lnTo>
                  <a:pt x="6700670" y="2889684"/>
                </a:lnTo>
                <a:lnTo>
                  <a:pt x="6696651" y="2885645"/>
                </a:lnTo>
                <a:lnTo>
                  <a:pt x="6696651" y="2875775"/>
                </a:lnTo>
                <a:close/>
                <a:moveTo>
                  <a:pt x="6461356" y="2871736"/>
                </a:moveTo>
                <a:lnTo>
                  <a:pt x="6471266" y="2871736"/>
                </a:lnTo>
                <a:lnTo>
                  <a:pt x="6475285" y="2875775"/>
                </a:lnTo>
                <a:lnTo>
                  <a:pt x="6475285" y="2885645"/>
                </a:lnTo>
                <a:lnTo>
                  <a:pt x="6471266" y="2889684"/>
                </a:lnTo>
                <a:lnTo>
                  <a:pt x="6461356" y="2889684"/>
                </a:lnTo>
                <a:lnTo>
                  <a:pt x="6457337" y="2885645"/>
                </a:lnTo>
                <a:lnTo>
                  <a:pt x="6457337" y="2875775"/>
                </a:lnTo>
                <a:close/>
                <a:moveTo>
                  <a:pt x="6222042" y="2871736"/>
                </a:moveTo>
                <a:lnTo>
                  <a:pt x="6231952" y="2871736"/>
                </a:lnTo>
                <a:lnTo>
                  <a:pt x="6235971" y="2875775"/>
                </a:lnTo>
                <a:lnTo>
                  <a:pt x="6235971" y="2885645"/>
                </a:lnTo>
                <a:lnTo>
                  <a:pt x="6231952" y="2889684"/>
                </a:lnTo>
                <a:lnTo>
                  <a:pt x="6222042" y="2889684"/>
                </a:lnTo>
                <a:lnTo>
                  <a:pt x="6218023" y="2885645"/>
                </a:lnTo>
                <a:lnTo>
                  <a:pt x="6218023" y="2875775"/>
                </a:lnTo>
                <a:close/>
                <a:moveTo>
                  <a:pt x="5982729" y="2871736"/>
                </a:moveTo>
                <a:lnTo>
                  <a:pt x="5992639" y="2871736"/>
                </a:lnTo>
                <a:lnTo>
                  <a:pt x="5996658" y="2875775"/>
                </a:lnTo>
                <a:lnTo>
                  <a:pt x="5996658" y="2885645"/>
                </a:lnTo>
                <a:lnTo>
                  <a:pt x="5992639" y="2889684"/>
                </a:lnTo>
                <a:lnTo>
                  <a:pt x="5982729" y="2889684"/>
                </a:lnTo>
                <a:lnTo>
                  <a:pt x="5978710" y="2885645"/>
                </a:lnTo>
                <a:lnTo>
                  <a:pt x="5978710" y="2875775"/>
                </a:lnTo>
                <a:close/>
                <a:moveTo>
                  <a:pt x="5743412" y="2871736"/>
                </a:moveTo>
                <a:lnTo>
                  <a:pt x="5753323" y="2871736"/>
                </a:lnTo>
                <a:lnTo>
                  <a:pt x="5757342" y="2875775"/>
                </a:lnTo>
                <a:lnTo>
                  <a:pt x="5757342" y="2885645"/>
                </a:lnTo>
                <a:lnTo>
                  <a:pt x="5753323" y="2889684"/>
                </a:lnTo>
                <a:lnTo>
                  <a:pt x="5743412" y="2889684"/>
                </a:lnTo>
                <a:lnTo>
                  <a:pt x="5739393" y="2885645"/>
                </a:lnTo>
                <a:lnTo>
                  <a:pt x="5739393" y="2875775"/>
                </a:lnTo>
                <a:close/>
                <a:moveTo>
                  <a:pt x="5504099" y="2871736"/>
                </a:moveTo>
                <a:lnTo>
                  <a:pt x="5514010" y="2871736"/>
                </a:lnTo>
                <a:lnTo>
                  <a:pt x="5518029" y="2875775"/>
                </a:lnTo>
                <a:lnTo>
                  <a:pt x="5518029" y="2885645"/>
                </a:lnTo>
                <a:lnTo>
                  <a:pt x="5514010" y="2889684"/>
                </a:lnTo>
                <a:lnTo>
                  <a:pt x="5504099" y="2889684"/>
                </a:lnTo>
                <a:lnTo>
                  <a:pt x="5500080" y="2885645"/>
                </a:lnTo>
                <a:lnTo>
                  <a:pt x="5500080" y="2875775"/>
                </a:lnTo>
                <a:close/>
                <a:moveTo>
                  <a:pt x="5264784" y="2871736"/>
                </a:moveTo>
                <a:lnTo>
                  <a:pt x="5274694" y="2871736"/>
                </a:lnTo>
                <a:lnTo>
                  <a:pt x="5278713" y="2875775"/>
                </a:lnTo>
                <a:lnTo>
                  <a:pt x="5278713" y="2885645"/>
                </a:lnTo>
                <a:lnTo>
                  <a:pt x="5274694" y="2889684"/>
                </a:lnTo>
                <a:lnTo>
                  <a:pt x="5264784" y="2889684"/>
                </a:lnTo>
                <a:lnTo>
                  <a:pt x="5260765" y="2885645"/>
                </a:lnTo>
                <a:lnTo>
                  <a:pt x="5260765" y="2875775"/>
                </a:lnTo>
                <a:close/>
                <a:moveTo>
                  <a:pt x="5025470" y="2871736"/>
                </a:moveTo>
                <a:lnTo>
                  <a:pt x="5035381" y="2871736"/>
                </a:lnTo>
                <a:lnTo>
                  <a:pt x="5039400" y="2875775"/>
                </a:lnTo>
                <a:lnTo>
                  <a:pt x="5039400" y="2885645"/>
                </a:lnTo>
                <a:lnTo>
                  <a:pt x="5035381" y="2889684"/>
                </a:lnTo>
                <a:lnTo>
                  <a:pt x="5025470" y="2889684"/>
                </a:lnTo>
                <a:lnTo>
                  <a:pt x="5021451" y="2885645"/>
                </a:lnTo>
                <a:lnTo>
                  <a:pt x="5021451" y="2875775"/>
                </a:lnTo>
                <a:close/>
                <a:moveTo>
                  <a:pt x="4786241" y="2871736"/>
                </a:moveTo>
                <a:lnTo>
                  <a:pt x="4796152" y="2871736"/>
                </a:lnTo>
                <a:lnTo>
                  <a:pt x="4800171" y="2875775"/>
                </a:lnTo>
                <a:lnTo>
                  <a:pt x="4800171" y="2885645"/>
                </a:lnTo>
                <a:lnTo>
                  <a:pt x="4796152" y="2889684"/>
                </a:lnTo>
                <a:lnTo>
                  <a:pt x="4786241" y="2889684"/>
                </a:lnTo>
                <a:lnTo>
                  <a:pt x="4782224" y="2885645"/>
                </a:lnTo>
                <a:lnTo>
                  <a:pt x="4782224" y="2875775"/>
                </a:lnTo>
                <a:close/>
                <a:moveTo>
                  <a:pt x="4546929" y="2871736"/>
                </a:moveTo>
                <a:lnTo>
                  <a:pt x="4556840" y="2871736"/>
                </a:lnTo>
                <a:lnTo>
                  <a:pt x="4560859" y="2875775"/>
                </a:lnTo>
                <a:lnTo>
                  <a:pt x="4560859" y="2885645"/>
                </a:lnTo>
                <a:lnTo>
                  <a:pt x="4556840" y="2889684"/>
                </a:lnTo>
                <a:lnTo>
                  <a:pt x="4546929" y="2889684"/>
                </a:lnTo>
                <a:lnTo>
                  <a:pt x="4542910" y="2885645"/>
                </a:lnTo>
                <a:lnTo>
                  <a:pt x="4542910" y="2875775"/>
                </a:lnTo>
                <a:close/>
                <a:moveTo>
                  <a:pt x="4307612" y="2871736"/>
                </a:moveTo>
                <a:lnTo>
                  <a:pt x="4317523" y="2871736"/>
                </a:lnTo>
                <a:lnTo>
                  <a:pt x="4321543" y="2875775"/>
                </a:lnTo>
                <a:lnTo>
                  <a:pt x="4321543" y="2885645"/>
                </a:lnTo>
                <a:lnTo>
                  <a:pt x="4317523" y="2889684"/>
                </a:lnTo>
                <a:lnTo>
                  <a:pt x="4307612" y="2889684"/>
                </a:lnTo>
                <a:lnTo>
                  <a:pt x="4303595" y="2885645"/>
                </a:lnTo>
                <a:lnTo>
                  <a:pt x="4303595" y="2875775"/>
                </a:lnTo>
                <a:close/>
                <a:moveTo>
                  <a:pt x="4068297" y="2871736"/>
                </a:moveTo>
                <a:lnTo>
                  <a:pt x="4078210" y="2871736"/>
                </a:lnTo>
                <a:lnTo>
                  <a:pt x="4082229" y="2875775"/>
                </a:lnTo>
                <a:lnTo>
                  <a:pt x="4082229" y="2885645"/>
                </a:lnTo>
                <a:lnTo>
                  <a:pt x="4078210" y="2889684"/>
                </a:lnTo>
                <a:lnTo>
                  <a:pt x="4068297" y="2889684"/>
                </a:lnTo>
                <a:lnTo>
                  <a:pt x="4064278" y="2885645"/>
                </a:lnTo>
                <a:lnTo>
                  <a:pt x="4064278" y="2875775"/>
                </a:lnTo>
                <a:close/>
                <a:moveTo>
                  <a:pt x="3828990" y="2871736"/>
                </a:moveTo>
                <a:lnTo>
                  <a:pt x="3838899" y="2871736"/>
                </a:lnTo>
                <a:lnTo>
                  <a:pt x="3842917" y="2875775"/>
                </a:lnTo>
                <a:lnTo>
                  <a:pt x="3842917" y="2885645"/>
                </a:lnTo>
                <a:lnTo>
                  <a:pt x="3838899" y="2889684"/>
                </a:lnTo>
                <a:lnTo>
                  <a:pt x="3828990" y="2889684"/>
                </a:lnTo>
                <a:lnTo>
                  <a:pt x="3824971" y="2885645"/>
                </a:lnTo>
                <a:lnTo>
                  <a:pt x="3824971" y="2875775"/>
                </a:lnTo>
                <a:close/>
                <a:moveTo>
                  <a:pt x="3589676" y="2871736"/>
                </a:moveTo>
                <a:lnTo>
                  <a:pt x="3599585" y="2871736"/>
                </a:lnTo>
                <a:lnTo>
                  <a:pt x="3603604" y="2875775"/>
                </a:lnTo>
                <a:lnTo>
                  <a:pt x="3603604" y="2885645"/>
                </a:lnTo>
                <a:lnTo>
                  <a:pt x="3599585" y="2889684"/>
                </a:lnTo>
                <a:lnTo>
                  <a:pt x="3589676" y="2889684"/>
                </a:lnTo>
                <a:lnTo>
                  <a:pt x="3585657" y="2885645"/>
                </a:lnTo>
                <a:lnTo>
                  <a:pt x="3585657" y="2875775"/>
                </a:lnTo>
                <a:close/>
                <a:moveTo>
                  <a:pt x="3350359" y="2871736"/>
                </a:moveTo>
                <a:lnTo>
                  <a:pt x="3360268" y="2871736"/>
                </a:lnTo>
                <a:lnTo>
                  <a:pt x="3364287" y="2875775"/>
                </a:lnTo>
                <a:lnTo>
                  <a:pt x="3364287" y="2885645"/>
                </a:lnTo>
                <a:lnTo>
                  <a:pt x="3360268" y="2889684"/>
                </a:lnTo>
                <a:lnTo>
                  <a:pt x="3350359" y="2889684"/>
                </a:lnTo>
                <a:lnTo>
                  <a:pt x="3346340" y="2885645"/>
                </a:lnTo>
                <a:lnTo>
                  <a:pt x="3346340" y="2875775"/>
                </a:lnTo>
                <a:close/>
                <a:moveTo>
                  <a:pt x="3111048" y="2871736"/>
                </a:moveTo>
                <a:lnTo>
                  <a:pt x="3120959" y="2871736"/>
                </a:lnTo>
                <a:lnTo>
                  <a:pt x="3124977" y="2875775"/>
                </a:lnTo>
                <a:lnTo>
                  <a:pt x="3124977" y="2885645"/>
                </a:lnTo>
                <a:lnTo>
                  <a:pt x="3120959" y="2889684"/>
                </a:lnTo>
                <a:lnTo>
                  <a:pt x="3111048" y="2889684"/>
                </a:lnTo>
                <a:lnTo>
                  <a:pt x="3107029" y="2885645"/>
                </a:lnTo>
                <a:lnTo>
                  <a:pt x="3107029" y="2875775"/>
                </a:lnTo>
                <a:close/>
                <a:moveTo>
                  <a:pt x="2871737" y="2871736"/>
                </a:moveTo>
                <a:lnTo>
                  <a:pt x="2881646" y="2871736"/>
                </a:lnTo>
                <a:lnTo>
                  <a:pt x="2885666" y="2875775"/>
                </a:lnTo>
                <a:lnTo>
                  <a:pt x="2885666" y="2885645"/>
                </a:lnTo>
                <a:lnTo>
                  <a:pt x="2881646" y="2889684"/>
                </a:lnTo>
                <a:lnTo>
                  <a:pt x="2871737" y="2889684"/>
                </a:lnTo>
                <a:lnTo>
                  <a:pt x="2867717" y="2885645"/>
                </a:lnTo>
                <a:lnTo>
                  <a:pt x="2867717" y="2875775"/>
                </a:lnTo>
                <a:close/>
                <a:moveTo>
                  <a:pt x="2632423" y="2871736"/>
                </a:moveTo>
                <a:lnTo>
                  <a:pt x="2642334" y="2871736"/>
                </a:lnTo>
                <a:lnTo>
                  <a:pt x="2646352" y="2875775"/>
                </a:lnTo>
                <a:lnTo>
                  <a:pt x="2646352" y="2885645"/>
                </a:lnTo>
                <a:lnTo>
                  <a:pt x="2642334" y="2889684"/>
                </a:lnTo>
                <a:lnTo>
                  <a:pt x="2632423" y="2889684"/>
                </a:lnTo>
                <a:lnTo>
                  <a:pt x="2628404" y="2885645"/>
                </a:lnTo>
                <a:lnTo>
                  <a:pt x="2628404" y="2875775"/>
                </a:lnTo>
                <a:close/>
                <a:moveTo>
                  <a:pt x="2393104" y="2871736"/>
                </a:moveTo>
                <a:lnTo>
                  <a:pt x="2403015" y="2871736"/>
                </a:lnTo>
                <a:lnTo>
                  <a:pt x="2407034" y="2875775"/>
                </a:lnTo>
                <a:lnTo>
                  <a:pt x="2407034" y="2885645"/>
                </a:lnTo>
                <a:lnTo>
                  <a:pt x="2403015" y="2889684"/>
                </a:lnTo>
                <a:lnTo>
                  <a:pt x="2393104" y="2889684"/>
                </a:lnTo>
                <a:lnTo>
                  <a:pt x="2389087" y="2885645"/>
                </a:lnTo>
                <a:lnTo>
                  <a:pt x="2389087" y="2875775"/>
                </a:lnTo>
                <a:close/>
                <a:moveTo>
                  <a:pt x="721969" y="2871736"/>
                </a:moveTo>
                <a:lnTo>
                  <a:pt x="731879" y="2871736"/>
                </a:lnTo>
                <a:lnTo>
                  <a:pt x="735898" y="2875775"/>
                </a:lnTo>
                <a:lnTo>
                  <a:pt x="735898" y="2885645"/>
                </a:lnTo>
                <a:lnTo>
                  <a:pt x="731879" y="2889684"/>
                </a:lnTo>
                <a:lnTo>
                  <a:pt x="721969" y="2889684"/>
                </a:lnTo>
                <a:lnTo>
                  <a:pt x="717950" y="2885645"/>
                </a:lnTo>
                <a:lnTo>
                  <a:pt x="717950" y="2875775"/>
                </a:lnTo>
                <a:close/>
                <a:moveTo>
                  <a:pt x="482656" y="2871736"/>
                </a:moveTo>
                <a:lnTo>
                  <a:pt x="492567" y="2871736"/>
                </a:lnTo>
                <a:lnTo>
                  <a:pt x="496586" y="2875775"/>
                </a:lnTo>
                <a:lnTo>
                  <a:pt x="496586" y="2885645"/>
                </a:lnTo>
                <a:lnTo>
                  <a:pt x="492567" y="2889684"/>
                </a:lnTo>
                <a:lnTo>
                  <a:pt x="482656" y="2889684"/>
                </a:lnTo>
                <a:lnTo>
                  <a:pt x="478637" y="2885645"/>
                </a:lnTo>
                <a:lnTo>
                  <a:pt x="478637" y="2875775"/>
                </a:lnTo>
                <a:close/>
                <a:moveTo>
                  <a:pt x="243343" y="2871736"/>
                </a:moveTo>
                <a:lnTo>
                  <a:pt x="253253" y="2871736"/>
                </a:lnTo>
                <a:lnTo>
                  <a:pt x="257272" y="2875775"/>
                </a:lnTo>
                <a:lnTo>
                  <a:pt x="257272" y="2885645"/>
                </a:lnTo>
                <a:lnTo>
                  <a:pt x="253253" y="2889684"/>
                </a:lnTo>
                <a:lnTo>
                  <a:pt x="243343" y="2889684"/>
                </a:lnTo>
                <a:lnTo>
                  <a:pt x="239324" y="2885645"/>
                </a:lnTo>
                <a:lnTo>
                  <a:pt x="239324" y="2875775"/>
                </a:lnTo>
                <a:close/>
                <a:moveTo>
                  <a:pt x="4030" y="2871736"/>
                </a:moveTo>
                <a:lnTo>
                  <a:pt x="13940" y="2871736"/>
                </a:lnTo>
                <a:lnTo>
                  <a:pt x="17959" y="2875775"/>
                </a:lnTo>
                <a:lnTo>
                  <a:pt x="17959" y="2885645"/>
                </a:lnTo>
                <a:lnTo>
                  <a:pt x="13940" y="2889684"/>
                </a:lnTo>
                <a:lnTo>
                  <a:pt x="4030" y="2889684"/>
                </a:lnTo>
                <a:lnTo>
                  <a:pt x="11" y="2885645"/>
                </a:lnTo>
                <a:lnTo>
                  <a:pt x="11" y="2875775"/>
                </a:lnTo>
                <a:close/>
                <a:moveTo>
                  <a:pt x="9572438" y="2632457"/>
                </a:moveTo>
                <a:lnTo>
                  <a:pt x="9582349" y="2632457"/>
                </a:lnTo>
                <a:lnTo>
                  <a:pt x="9586368" y="2636496"/>
                </a:lnTo>
                <a:lnTo>
                  <a:pt x="9586368" y="2646366"/>
                </a:lnTo>
                <a:lnTo>
                  <a:pt x="9582349" y="2650405"/>
                </a:lnTo>
                <a:lnTo>
                  <a:pt x="9572438" y="2650405"/>
                </a:lnTo>
                <a:lnTo>
                  <a:pt x="9568419" y="2646366"/>
                </a:lnTo>
                <a:lnTo>
                  <a:pt x="9568419" y="2636496"/>
                </a:lnTo>
                <a:close/>
                <a:moveTo>
                  <a:pt x="9333125" y="2632457"/>
                </a:moveTo>
                <a:lnTo>
                  <a:pt x="9343036" y="2632457"/>
                </a:lnTo>
                <a:lnTo>
                  <a:pt x="9347055" y="2636496"/>
                </a:lnTo>
                <a:lnTo>
                  <a:pt x="9347055" y="2646366"/>
                </a:lnTo>
                <a:lnTo>
                  <a:pt x="9343036" y="2650405"/>
                </a:lnTo>
                <a:lnTo>
                  <a:pt x="9333125" y="2650405"/>
                </a:lnTo>
                <a:lnTo>
                  <a:pt x="9329106" y="2646366"/>
                </a:lnTo>
                <a:lnTo>
                  <a:pt x="9329106" y="2636496"/>
                </a:lnTo>
                <a:close/>
                <a:moveTo>
                  <a:pt x="9093811" y="2632457"/>
                </a:moveTo>
                <a:lnTo>
                  <a:pt x="9103722" y="2632457"/>
                </a:lnTo>
                <a:lnTo>
                  <a:pt x="9107741" y="2636496"/>
                </a:lnTo>
                <a:lnTo>
                  <a:pt x="9107741" y="2646366"/>
                </a:lnTo>
                <a:lnTo>
                  <a:pt x="9103722" y="2650405"/>
                </a:lnTo>
                <a:lnTo>
                  <a:pt x="9093811" y="2650405"/>
                </a:lnTo>
                <a:lnTo>
                  <a:pt x="9089792" y="2646366"/>
                </a:lnTo>
                <a:lnTo>
                  <a:pt x="9089792" y="2636496"/>
                </a:lnTo>
                <a:close/>
                <a:moveTo>
                  <a:pt x="8854496" y="2632457"/>
                </a:moveTo>
                <a:lnTo>
                  <a:pt x="8864407" y="2632457"/>
                </a:lnTo>
                <a:lnTo>
                  <a:pt x="8868426" y="2636496"/>
                </a:lnTo>
                <a:lnTo>
                  <a:pt x="8868426" y="2646366"/>
                </a:lnTo>
                <a:lnTo>
                  <a:pt x="8864407" y="2650405"/>
                </a:lnTo>
                <a:lnTo>
                  <a:pt x="8854496" y="2650405"/>
                </a:lnTo>
                <a:lnTo>
                  <a:pt x="8850477" y="2646366"/>
                </a:lnTo>
                <a:lnTo>
                  <a:pt x="8850477" y="2636496"/>
                </a:lnTo>
                <a:close/>
                <a:moveTo>
                  <a:pt x="8615184" y="2632457"/>
                </a:moveTo>
                <a:lnTo>
                  <a:pt x="8625095" y="2632457"/>
                </a:lnTo>
                <a:lnTo>
                  <a:pt x="8629114" y="2636496"/>
                </a:lnTo>
                <a:lnTo>
                  <a:pt x="8629114" y="2646366"/>
                </a:lnTo>
                <a:lnTo>
                  <a:pt x="8625095" y="2650405"/>
                </a:lnTo>
                <a:lnTo>
                  <a:pt x="8615184" y="2650405"/>
                </a:lnTo>
                <a:lnTo>
                  <a:pt x="8611165" y="2646366"/>
                </a:lnTo>
                <a:lnTo>
                  <a:pt x="8611165" y="2636496"/>
                </a:lnTo>
                <a:close/>
                <a:moveTo>
                  <a:pt x="8375869" y="2632457"/>
                </a:moveTo>
                <a:lnTo>
                  <a:pt x="8385779" y="2632457"/>
                </a:lnTo>
                <a:lnTo>
                  <a:pt x="8389799" y="2636496"/>
                </a:lnTo>
                <a:lnTo>
                  <a:pt x="8389799" y="2646366"/>
                </a:lnTo>
                <a:lnTo>
                  <a:pt x="8385779" y="2650405"/>
                </a:lnTo>
                <a:lnTo>
                  <a:pt x="8375869" y="2650405"/>
                </a:lnTo>
                <a:lnTo>
                  <a:pt x="8371850" y="2646366"/>
                </a:lnTo>
                <a:lnTo>
                  <a:pt x="8371850" y="2636496"/>
                </a:lnTo>
                <a:close/>
                <a:moveTo>
                  <a:pt x="8136553" y="2632457"/>
                </a:moveTo>
                <a:lnTo>
                  <a:pt x="8146464" y="2632457"/>
                </a:lnTo>
                <a:lnTo>
                  <a:pt x="8150483" y="2636496"/>
                </a:lnTo>
                <a:lnTo>
                  <a:pt x="8150483" y="2646366"/>
                </a:lnTo>
                <a:lnTo>
                  <a:pt x="8146464" y="2650405"/>
                </a:lnTo>
                <a:lnTo>
                  <a:pt x="8136553" y="2650405"/>
                </a:lnTo>
                <a:lnTo>
                  <a:pt x="8132534" y="2646366"/>
                </a:lnTo>
                <a:lnTo>
                  <a:pt x="8132534" y="2636496"/>
                </a:lnTo>
                <a:close/>
                <a:moveTo>
                  <a:pt x="7897241" y="2632457"/>
                </a:moveTo>
                <a:lnTo>
                  <a:pt x="7907151" y="2632457"/>
                </a:lnTo>
                <a:lnTo>
                  <a:pt x="7911170" y="2636496"/>
                </a:lnTo>
                <a:lnTo>
                  <a:pt x="7911170" y="2646366"/>
                </a:lnTo>
                <a:lnTo>
                  <a:pt x="7907151" y="2650405"/>
                </a:lnTo>
                <a:lnTo>
                  <a:pt x="7897241" y="2650405"/>
                </a:lnTo>
                <a:lnTo>
                  <a:pt x="7893222" y="2646366"/>
                </a:lnTo>
                <a:lnTo>
                  <a:pt x="7893222" y="2636496"/>
                </a:lnTo>
                <a:close/>
                <a:moveTo>
                  <a:pt x="7657926" y="2632457"/>
                </a:moveTo>
                <a:lnTo>
                  <a:pt x="7667836" y="2632457"/>
                </a:lnTo>
                <a:lnTo>
                  <a:pt x="7671855" y="2636496"/>
                </a:lnTo>
                <a:lnTo>
                  <a:pt x="7671855" y="2646366"/>
                </a:lnTo>
                <a:lnTo>
                  <a:pt x="7667836" y="2650405"/>
                </a:lnTo>
                <a:lnTo>
                  <a:pt x="7657926" y="2650405"/>
                </a:lnTo>
                <a:lnTo>
                  <a:pt x="7653906" y="2646366"/>
                </a:lnTo>
                <a:lnTo>
                  <a:pt x="7653906" y="2636496"/>
                </a:lnTo>
                <a:close/>
                <a:moveTo>
                  <a:pt x="7418611" y="2632457"/>
                </a:moveTo>
                <a:lnTo>
                  <a:pt x="7428521" y="2632457"/>
                </a:lnTo>
                <a:lnTo>
                  <a:pt x="7432540" y="2636496"/>
                </a:lnTo>
                <a:lnTo>
                  <a:pt x="7432540" y="2646366"/>
                </a:lnTo>
                <a:lnTo>
                  <a:pt x="7428521" y="2650405"/>
                </a:lnTo>
                <a:lnTo>
                  <a:pt x="7418611" y="2650405"/>
                </a:lnTo>
                <a:lnTo>
                  <a:pt x="7414592" y="2646366"/>
                </a:lnTo>
                <a:lnTo>
                  <a:pt x="7414592" y="2636496"/>
                </a:lnTo>
                <a:close/>
                <a:moveTo>
                  <a:pt x="7179298" y="2632457"/>
                </a:moveTo>
                <a:lnTo>
                  <a:pt x="7189209" y="2632457"/>
                </a:lnTo>
                <a:lnTo>
                  <a:pt x="7193228" y="2636496"/>
                </a:lnTo>
                <a:lnTo>
                  <a:pt x="7193228" y="2646366"/>
                </a:lnTo>
                <a:lnTo>
                  <a:pt x="7189209" y="2650405"/>
                </a:lnTo>
                <a:lnTo>
                  <a:pt x="7179298" y="2650405"/>
                </a:lnTo>
                <a:lnTo>
                  <a:pt x="7175279" y="2646366"/>
                </a:lnTo>
                <a:lnTo>
                  <a:pt x="7175279" y="2636496"/>
                </a:lnTo>
                <a:close/>
                <a:moveTo>
                  <a:pt x="6939983" y="2632457"/>
                </a:moveTo>
                <a:lnTo>
                  <a:pt x="6949894" y="2632457"/>
                </a:lnTo>
                <a:lnTo>
                  <a:pt x="6953913" y="2636496"/>
                </a:lnTo>
                <a:lnTo>
                  <a:pt x="6953913" y="2646366"/>
                </a:lnTo>
                <a:lnTo>
                  <a:pt x="6949894" y="2650405"/>
                </a:lnTo>
                <a:lnTo>
                  <a:pt x="6939983" y="2650405"/>
                </a:lnTo>
                <a:lnTo>
                  <a:pt x="6935964" y="2646366"/>
                </a:lnTo>
                <a:lnTo>
                  <a:pt x="6935964" y="2636496"/>
                </a:lnTo>
                <a:close/>
                <a:moveTo>
                  <a:pt x="6700670" y="2632457"/>
                </a:moveTo>
                <a:lnTo>
                  <a:pt x="6710581" y="2632457"/>
                </a:lnTo>
                <a:lnTo>
                  <a:pt x="6714600" y="2636496"/>
                </a:lnTo>
                <a:lnTo>
                  <a:pt x="6714600" y="2646366"/>
                </a:lnTo>
                <a:lnTo>
                  <a:pt x="6710581" y="2650405"/>
                </a:lnTo>
                <a:lnTo>
                  <a:pt x="6700670" y="2650405"/>
                </a:lnTo>
                <a:lnTo>
                  <a:pt x="6696651" y="2646366"/>
                </a:lnTo>
                <a:lnTo>
                  <a:pt x="6696651" y="2636496"/>
                </a:lnTo>
                <a:close/>
                <a:moveTo>
                  <a:pt x="6461356" y="2632457"/>
                </a:moveTo>
                <a:lnTo>
                  <a:pt x="6471266" y="2632457"/>
                </a:lnTo>
                <a:lnTo>
                  <a:pt x="6475285" y="2636496"/>
                </a:lnTo>
                <a:lnTo>
                  <a:pt x="6475285" y="2646366"/>
                </a:lnTo>
                <a:lnTo>
                  <a:pt x="6471266" y="2650405"/>
                </a:lnTo>
                <a:lnTo>
                  <a:pt x="6461356" y="2650405"/>
                </a:lnTo>
                <a:lnTo>
                  <a:pt x="6457337" y="2646366"/>
                </a:lnTo>
                <a:lnTo>
                  <a:pt x="6457337" y="2636496"/>
                </a:lnTo>
                <a:close/>
                <a:moveTo>
                  <a:pt x="6222042" y="2632457"/>
                </a:moveTo>
                <a:lnTo>
                  <a:pt x="6231952" y="2632457"/>
                </a:lnTo>
                <a:lnTo>
                  <a:pt x="6235971" y="2636496"/>
                </a:lnTo>
                <a:lnTo>
                  <a:pt x="6235971" y="2646366"/>
                </a:lnTo>
                <a:lnTo>
                  <a:pt x="6231952" y="2650405"/>
                </a:lnTo>
                <a:lnTo>
                  <a:pt x="6222042" y="2650405"/>
                </a:lnTo>
                <a:lnTo>
                  <a:pt x="6218023" y="2646366"/>
                </a:lnTo>
                <a:lnTo>
                  <a:pt x="6218023" y="2636496"/>
                </a:lnTo>
                <a:close/>
                <a:moveTo>
                  <a:pt x="5982729" y="2632457"/>
                </a:moveTo>
                <a:lnTo>
                  <a:pt x="5992639" y="2632457"/>
                </a:lnTo>
                <a:lnTo>
                  <a:pt x="5996658" y="2636496"/>
                </a:lnTo>
                <a:lnTo>
                  <a:pt x="5996658" y="2646366"/>
                </a:lnTo>
                <a:lnTo>
                  <a:pt x="5992639" y="2650405"/>
                </a:lnTo>
                <a:lnTo>
                  <a:pt x="5982729" y="2650405"/>
                </a:lnTo>
                <a:lnTo>
                  <a:pt x="5978710" y="2646366"/>
                </a:lnTo>
                <a:lnTo>
                  <a:pt x="5978710" y="2636496"/>
                </a:lnTo>
                <a:close/>
                <a:moveTo>
                  <a:pt x="5743412" y="2632457"/>
                </a:moveTo>
                <a:lnTo>
                  <a:pt x="5753323" y="2632457"/>
                </a:lnTo>
                <a:lnTo>
                  <a:pt x="5757342" y="2636496"/>
                </a:lnTo>
                <a:lnTo>
                  <a:pt x="5757342" y="2646366"/>
                </a:lnTo>
                <a:lnTo>
                  <a:pt x="5753323" y="2650405"/>
                </a:lnTo>
                <a:lnTo>
                  <a:pt x="5743412" y="2650405"/>
                </a:lnTo>
                <a:lnTo>
                  <a:pt x="5739393" y="2646366"/>
                </a:lnTo>
                <a:lnTo>
                  <a:pt x="5739393" y="2636496"/>
                </a:lnTo>
                <a:close/>
                <a:moveTo>
                  <a:pt x="5504099" y="2632457"/>
                </a:moveTo>
                <a:lnTo>
                  <a:pt x="5514010" y="2632457"/>
                </a:lnTo>
                <a:lnTo>
                  <a:pt x="5518029" y="2636496"/>
                </a:lnTo>
                <a:lnTo>
                  <a:pt x="5518029" y="2646366"/>
                </a:lnTo>
                <a:lnTo>
                  <a:pt x="5514010" y="2650405"/>
                </a:lnTo>
                <a:lnTo>
                  <a:pt x="5504099" y="2650405"/>
                </a:lnTo>
                <a:lnTo>
                  <a:pt x="5500080" y="2646366"/>
                </a:lnTo>
                <a:lnTo>
                  <a:pt x="5500080" y="2636496"/>
                </a:lnTo>
                <a:close/>
                <a:moveTo>
                  <a:pt x="5264784" y="2632457"/>
                </a:moveTo>
                <a:lnTo>
                  <a:pt x="5274694" y="2632457"/>
                </a:lnTo>
                <a:lnTo>
                  <a:pt x="5278713" y="2636496"/>
                </a:lnTo>
                <a:lnTo>
                  <a:pt x="5278713" y="2646366"/>
                </a:lnTo>
                <a:lnTo>
                  <a:pt x="5274694" y="2650405"/>
                </a:lnTo>
                <a:lnTo>
                  <a:pt x="5264784" y="2650405"/>
                </a:lnTo>
                <a:lnTo>
                  <a:pt x="5260765" y="2646366"/>
                </a:lnTo>
                <a:lnTo>
                  <a:pt x="5260765" y="2636496"/>
                </a:lnTo>
                <a:close/>
                <a:moveTo>
                  <a:pt x="5025470" y="2632457"/>
                </a:moveTo>
                <a:lnTo>
                  <a:pt x="5035381" y="2632457"/>
                </a:lnTo>
                <a:lnTo>
                  <a:pt x="5039400" y="2636496"/>
                </a:lnTo>
                <a:lnTo>
                  <a:pt x="5039400" y="2646366"/>
                </a:lnTo>
                <a:lnTo>
                  <a:pt x="5035381" y="2650405"/>
                </a:lnTo>
                <a:lnTo>
                  <a:pt x="5025470" y="2650405"/>
                </a:lnTo>
                <a:lnTo>
                  <a:pt x="5021451" y="2646366"/>
                </a:lnTo>
                <a:lnTo>
                  <a:pt x="5021451" y="2636496"/>
                </a:lnTo>
                <a:close/>
                <a:moveTo>
                  <a:pt x="4786241" y="2632457"/>
                </a:moveTo>
                <a:lnTo>
                  <a:pt x="4796152" y="2632457"/>
                </a:lnTo>
                <a:lnTo>
                  <a:pt x="4800171" y="2636496"/>
                </a:lnTo>
                <a:lnTo>
                  <a:pt x="4800171" y="2646366"/>
                </a:lnTo>
                <a:lnTo>
                  <a:pt x="4796152" y="2650405"/>
                </a:lnTo>
                <a:lnTo>
                  <a:pt x="4786241" y="2650405"/>
                </a:lnTo>
                <a:lnTo>
                  <a:pt x="4782224" y="2646366"/>
                </a:lnTo>
                <a:lnTo>
                  <a:pt x="4782224" y="2636496"/>
                </a:lnTo>
                <a:close/>
                <a:moveTo>
                  <a:pt x="4546929" y="2632457"/>
                </a:moveTo>
                <a:lnTo>
                  <a:pt x="4556840" y="2632457"/>
                </a:lnTo>
                <a:lnTo>
                  <a:pt x="4560859" y="2636496"/>
                </a:lnTo>
                <a:lnTo>
                  <a:pt x="4560859" y="2646366"/>
                </a:lnTo>
                <a:lnTo>
                  <a:pt x="4556840" y="2650405"/>
                </a:lnTo>
                <a:lnTo>
                  <a:pt x="4546929" y="2650405"/>
                </a:lnTo>
                <a:lnTo>
                  <a:pt x="4542910" y="2646366"/>
                </a:lnTo>
                <a:lnTo>
                  <a:pt x="4542910" y="2636496"/>
                </a:lnTo>
                <a:close/>
                <a:moveTo>
                  <a:pt x="4307612" y="2632457"/>
                </a:moveTo>
                <a:lnTo>
                  <a:pt x="4317523" y="2632457"/>
                </a:lnTo>
                <a:lnTo>
                  <a:pt x="4321543" y="2636496"/>
                </a:lnTo>
                <a:lnTo>
                  <a:pt x="4321543" y="2646366"/>
                </a:lnTo>
                <a:lnTo>
                  <a:pt x="4317523" y="2650405"/>
                </a:lnTo>
                <a:lnTo>
                  <a:pt x="4307612" y="2650405"/>
                </a:lnTo>
                <a:lnTo>
                  <a:pt x="4303595" y="2646366"/>
                </a:lnTo>
                <a:lnTo>
                  <a:pt x="4303595" y="2636496"/>
                </a:lnTo>
                <a:close/>
                <a:moveTo>
                  <a:pt x="4068297" y="2632457"/>
                </a:moveTo>
                <a:lnTo>
                  <a:pt x="4078210" y="2632457"/>
                </a:lnTo>
                <a:lnTo>
                  <a:pt x="4082229" y="2636496"/>
                </a:lnTo>
                <a:lnTo>
                  <a:pt x="4082229" y="2646366"/>
                </a:lnTo>
                <a:lnTo>
                  <a:pt x="4078210" y="2650405"/>
                </a:lnTo>
                <a:lnTo>
                  <a:pt x="4068297" y="2650405"/>
                </a:lnTo>
                <a:lnTo>
                  <a:pt x="4064278" y="2646366"/>
                </a:lnTo>
                <a:lnTo>
                  <a:pt x="4064278" y="2636496"/>
                </a:lnTo>
                <a:close/>
                <a:moveTo>
                  <a:pt x="3828990" y="2632457"/>
                </a:moveTo>
                <a:lnTo>
                  <a:pt x="3838899" y="2632457"/>
                </a:lnTo>
                <a:lnTo>
                  <a:pt x="3842917" y="2636496"/>
                </a:lnTo>
                <a:lnTo>
                  <a:pt x="3842917" y="2646366"/>
                </a:lnTo>
                <a:lnTo>
                  <a:pt x="3838899" y="2650405"/>
                </a:lnTo>
                <a:lnTo>
                  <a:pt x="3828990" y="2650405"/>
                </a:lnTo>
                <a:lnTo>
                  <a:pt x="3824971" y="2646366"/>
                </a:lnTo>
                <a:lnTo>
                  <a:pt x="3824971" y="2636496"/>
                </a:lnTo>
                <a:close/>
                <a:moveTo>
                  <a:pt x="3589676" y="2632457"/>
                </a:moveTo>
                <a:lnTo>
                  <a:pt x="3599585" y="2632457"/>
                </a:lnTo>
                <a:lnTo>
                  <a:pt x="3603604" y="2636496"/>
                </a:lnTo>
                <a:lnTo>
                  <a:pt x="3603604" y="2646366"/>
                </a:lnTo>
                <a:lnTo>
                  <a:pt x="3599585" y="2650405"/>
                </a:lnTo>
                <a:lnTo>
                  <a:pt x="3589676" y="2650405"/>
                </a:lnTo>
                <a:lnTo>
                  <a:pt x="3585657" y="2646366"/>
                </a:lnTo>
                <a:lnTo>
                  <a:pt x="3585657" y="2636496"/>
                </a:lnTo>
                <a:close/>
                <a:moveTo>
                  <a:pt x="3350359" y="2632457"/>
                </a:moveTo>
                <a:lnTo>
                  <a:pt x="3360268" y="2632457"/>
                </a:lnTo>
                <a:lnTo>
                  <a:pt x="3364287" y="2636496"/>
                </a:lnTo>
                <a:lnTo>
                  <a:pt x="3364287" y="2646366"/>
                </a:lnTo>
                <a:lnTo>
                  <a:pt x="3360268" y="2650405"/>
                </a:lnTo>
                <a:lnTo>
                  <a:pt x="3350359" y="2650405"/>
                </a:lnTo>
                <a:lnTo>
                  <a:pt x="3346340" y="2646366"/>
                </a:lnTo>
                <a:lnTo>
                  <a:pt x="3346340" y="2636496"/>
                </a:lnTo>
                <a:close/>
                <a:moveTo>
                  <a:pt x="3111048" y="2632457"/>
                </a:moveTo>
                <a:lnTo>
                  <a:pt x="3120959" y="2632457"/>
                </a:lnTo>
                <a:lnTo>
                  <a:pt x="3124977" y="2636496"/>
                </a:lnTo>
                <a:lnTo>
                  <a:pt x="3124977" y="2646366"/>
                </a:lnTo>
                <a:lnTo>
                  <a:pt x="3120959" y="2650405"/>
                </a:lnTo>
                <a:lnTo>
                  <a:pt x="3111048" y="2650405"/>
                </a:lnTo>
                <a:lnTo>
                  <a:pt x="3107029" y="2646366"/>
                </a:lnTo>
                <a:lnTo>
                  <a:pt x="3107029" y="2636496"/>
                </a:lnTo>
                <a:close/>
                <a:moveTo>
                  <a:pt x="2871737" y="2632457"/>
                </a:moveTo>
                <a:lnTo>
                  <a:pt x="2881646" y="2632457"/>
                </a:lnTo>
                <a:lnTo>
                  <a:pt x="2885666" y="2636496"/>
                </a:lnTo>
                <a:lnTo>
                  <a:pt x="2885666" y="2646366"/>
                </a:lnTo>
                <a:lnTo>
                  <a:pt x="2881646" y="2650405"/>
                </a:lnTo>
                <a:lnTo>
                  <a:pt x="2871737" y="2650405"/>
                </a:lnTo>
                <a:lnTo>
                  <a:pt x="2867717" y="2646366"/>
                </a:lnTo>
                <a:lnTo>
                  <a:pt x="2867717" y="2636496"/>
                </a:lnTo>
                <a:close/>
                <a:moveTo>
                  <a:pt x="2632423" y="2632457"/>
                </a:moveTo>
                <a:lnTo>
                  <a:pt x="2642334" y="2632457"/>
                </a:lnTo>
                <a:lnTo>
                  <a:pt x="2646352" y="2636496"/>
                </a:lnTo>
                <a:lnTo>
                  <a:pt x="2646352" y="2646366"/>
                </a:lnTo>
                <a:lnTo>
                  <a:pt x="2642334" y="2650405"/>
                </a:lnTo>
                <a:lnTo>
                  <a:pt x="2632423" y="2650405"/>
                </a:lnTo>
                <a:lnTo>
                  <a:pt x="2628404" y="2646366"/>
                </a:lnTo>
                <a:lnTo>
                  <a:pt x="2628404" y="2636496"/>
                </a:lnTo>
                <a:close/>
                <a:moveTo>
                  <a:pt x="2393104" y="2632457"/>
                </a:moveTo>
                <a:lnTo>
                  <a:pt x="2403015" y="2632457"/>
                </a:lnTo>
                <a:lnTo>
                  <a:pt x="2407034" y="2636496"/>
                </a:lnTo>
                <a:lnTo>
                  <a:pt x="2407034" y="2646366"/>
                </a:lnTo>
                <a:lnTo>
                  <a:pt x="2403015" y="2650405"/>
                </a:lnTo>
                <a:lnTo>
                  <a:pt x="2393104" y="2650405"/>
                </a:lnTo>
                <a:lnTo>
                  <a:pt x="2389087" y="2646366"/>
                </a:lnTo>
                <a:lnTo>
                  <a:pt x="2389087" y="2636496"/>
                </a:lnTo>
                <a:close/>
                <a:moveTo>
                  <a:pt x="2157821" y="2632457"/>
                </a:moveTo>
                <a:lnTo>
                  <a:pt x="2167732" y="2632457"/>
                </a:lnTo>
                <a:lnTo>
                  <a:pt x="2171750" y="2636496"/>
                </a:lnTo>
                <a:lnTo>
                  <a:pt x="2171750" y="2646366"/>
                </a:lnTo>
                <a:lnTo>
                  <a:pt x="2167732" y="2650405"/>
                </a:lnTo>
                <a:lnTo>
                  <a:pt x="2157821" y="2650405"/>
                </a:lnTo>
                <a:lnTo>
                  <a:pt x="2153802" y="2646366"/>
                </a:lnTo>
                <a:lnTo>
                  <a:pt x="2153802" y="2636496"/>
                </a:lnTo>
                <a:close/>
                <a:moveTo>
                  <a:pt x="1918513" y="2632457"/>
                </a:moveTo>
                <a:lnTo>
                  <a:pt x="1928422" y="2632457"/>
                </a:lnTo>
                <a:lnTo>
                  <a:pt x="1932441" y="2636496"/>
                </a:lnTo>
                <a:lnTo>
                  <a:pt x="1932441" y="2646366"/>
                </a:lnTo>
                <a:lnTo>
                  <a:pt x="1928422" y="2650405"/>
                </a:lnTo>
                <a:lnTo>
                  <a:pt x="1918513" y="2650405"/>
                </a:lnTo>
                <a:lnTo>
                  <a:pt x="1914494" y="2646366"/>
                </a:lnTo>
                <a:lnTo>
                  <a:pt x="1914494" y="2636496"/>
                </a:lnTo>
                <a:close/>
                <a:moveTo>
                  <a:pt x="1679212" y="2632457"/>
                </a:moveTo>
                <a:lnTo>
                  <a:pt x="1689122" y="2632457"/>
                </a:lnTo>
                <a:lnTo>
                  <a:pt x="1693141" y="2636496"/>
                </a:lnTo>
                <a:lnTo>
                  <a:pt x="1693141" y="2646366"/>
                </a:lnTo>
                <a:lnTo>
                  <a:pt x="1689122" y="2650405"/>
                </a:lnTo>
                <a:lnTo>
                  <a:pt x="1679212" y="2650405"/>
                </a:lnTo>
                <a:lnTo>
                  <a:pt x="1675193" y="2646366"/>
                </a:lnTo>
                <a:lnTo>
                  <a:pt x="1675193" y="2636496"/>
                </a:lnTo>
                <a:close/>
                <a:moveTo>
                  <a:pt x="1439896" y="2632457"/>
                </a:moveTo>
                <a:lnTo>
                  <a:pt x="1449806" y="2632457"/>
                </a:lnTo>
                <a:lnTo>
                  <a:pt x="1453824" y="2636496"/>
                </a:lnTo>
                <a:lnTo>
                  <a:pt x="1453824" y="2646366"/>
                </a:lnTo>
                <a:lnTo>
                  <a:pt x="1449806" y="2650405"/>
                </a:lnTo>
                <a:lnTo>
                  <a:pt x="1439896" y="2650405"/>
                </a:lnTo>
                <a:lnTo>
                  <a:pt x="1435876" y="2646366"/>
                </a:lnTo>
                <a:lnTo>
                  <a:pt x="1435876" y="2636496"/>
                </a:lnTo>
                <a:close/>
                <a:moveTo>
                  <a:pt x="1200580" y="2632457"/>
                </a:moveTo>
                <a:lnTo>
                  <a:pt x="1210490" y="2632457"/>
                </a:lnTo>
                <a:lnTo>
                  <a:pt x="1214509" y="2636496"/>
                </a:lnTo>
                <a:lnTo>
                  <a:pt x="1214509" y="2646366"/>
                </a:lnTo>
                <a:lnTo>
                  <a:pt x="1210490" y="2650405"/>
                </a:lnTo>
                <a:lnTo>
                  <a:pt x="1200580" y="2650405"/>
                </a:lnTo>
                <a:lnTo>
                  <a:pt x="1196561" y="2646366"/>
                </a:lnTo>
                <a:lnTo>
                  <a:pt x="1196561" y="2636496"/>
                </a:lnTo>
                <a:close/>
                <a:moveTo>
                  <a:pt x="961267" y="2632457"/>
                </a:moveTo>
                <a:lnTo>
                  <a:pt x="971178" y="2632457"/>
                </a:lnTo>
                <a:lnTo>
                  <a:pt x="975196" y="2636496"/>
                </a:lnTo>
                <a:lnTo>
                  <a:pt x="975196" y="2646366"/>
                </a:lnTo>
                <a:lnTo>
                  <a:pt x="971178" y="2650405"/>
                </a:lnTo>
                <a:lnTo>
                  <a:pt x="961267" y="2650405"/>
                </a:lnTo>
                <a:lnTo>
                  <a:pt x="957249" y="2646366"/>
                </a:lnTo>
                <a:lnTo>
                  <a:pt x="957249" y="2636496"/>
                </a:lnTo>
                <a:close/>
                <a:moveTo>
                  <a:pt x="721970" y="2632457"/>
                </a:moveTo>
                <a:lnTo>
                  <a:pt x="731879" y="2632457"/>
                </a:lnTo>
                <a:lnTo>
                  <a:pt x="735898" y="2636496"/>
                </a:lnTo>
                <a:lnTo>
                  <a:pt x="735898" y="2646366"/>
                </a:lnTo>
                <a:lnTo>
                  <a:pt x="731879" y="2650405"/>
                </a:lnTo>
                <a:lnTo>
                  <a:pt x="721970" y="2650405"/>
                </a:lnTo>
                <a:lnTo>
                  <a:pt x="717951" y="2646366"/>
                </a:lnTo>
                <a:lnTo>
                  <a:pt x="717951" y="2636496"/>
                </a:lnTo>
                <a:close/>
                <a:moveTo>
                  <a:pt x="482657" y="2632457"/>
                </a:moveTo>
                <a:lnTo>
                  <a:pt x="492567" y="2632457"/>
                </a:lnTo>
                <a:lnTo>
                  <a:pt x="496586" y="2636496"/>
                </a:lnTo>
                <a:lnTo>
                  <a:pt x="496586" y="2646366"/>
                </a:lnTo>
                <a:lnTo>
                  <a:pt x="492567" y="2650405"/>
                </a:lnTo>
                <a:lnTo>
                  <a:pt x="482657" y="2650405"/>
                </a:lnTo>
                <a:lnTo>
                  <a:pt x="478638" y="2646366"/>
                </a:lnTo>
                <a:lnTo>
                  <a:pt x="478638" y="2636496"/>
                </a:lnTo>
                <a:close/>
                <a:moveTo>
                  <a:pt x="243344" y="2632457"/>
                </a:moveTo>
                <a:lnTo>
                  <a:pt x="253254" y="2632457"/>
                </a:lnTo>
                <a:lnTo>
                  <a:pt x="257273" y="2636496"/>
                </a:lnTo>
                <a:lnTo>
                  <a:pt x="257273" y="2646366"/>
                </a:lnTo>
                <a:lnTo>
                  <a:pt x="253254" y="2650405"/>
                </a:lnTo>
                <a:lnTo>
                  <a:pt x="243344" y="2650405"/>
                </a:lnTo>
                <a:lnTo>
                  <a:pt x="239325" y="2646366"/>
                </a:lnTo>
                <a:lnTo>
                  <a:pt x="239325" y="2636496"/>
                </a:lnTo>
                <a:close/>
                <a:moveTo>
                  <a:pt x="4030" y="2632457"/>
                </a:moveTo>
                <a:lnTo>
                  <a:pt x="13941" y="2632457"/>
                </a:lnTo>
                <a:lnTo>
                  <a:pt x="17960" y="2636496"/>
                </a:lnTo>
                <a:lnTo>
                  <a:pt x="17960" y="2646366"/>
                </a:lnTo>
                <a:lnTo>
                  <a:pt x="13941" y="2650405"/>
                </a:lnTo>
                <a:lnTo>
                  <a:pt x="4030" y="2650405"/>
                </a:lnTo>
                <a:lnTo>
                  <a:pt x="11" y="2646366"/>
                </a:lnTo>
                <a:lnTo>
                  <a:pt x="11" y="2636496"/>
                </a:lnTo>
                <a:close/>
                <a:moveTo>
                  <a:pt x="2157821" y="2393178"/>
                </a:moveTo>
                <a:lnTo>
                  <a:pt x="2167732" y="2393178"/>
                </a:lnTo>
                <a:lnTo>
                  <a:pt x="2171750" y="2397216"/>
                </a:lnTo>
                <a:lnTo>
                  <a:pt x="2171750" y="2407087"/>
                </a:lnTo>
                <a:lnTo>
                  <a:pt x="2167732" y="2411126"/>
                </a:lnTo>
                <a:lnTo>
                  <a:pt x="2157821" y="2411126"/>
                </a:lnTo>
                <a:lnTo>
                  <a:pt x="2153802" y="2407087"/>
                </a:lnTo>
                <a:lnTo>
                  <a:pt x="2153802" y="2397216"/>
                </a:lnTo>
                <a:close/>
                <a:moveTo>
                  <a:pt x="1918513" y="2393178"/>
                </a:moveTo>
                <a:lnTo>
                  <a:pt x="1928422" y="2393178"/>
                </a:lnTo>
                <a:lnTo>
                  <a:pt x="1932443" y="2397216"/>
                </a:lnTo>
                <a:lnTo>
                  <a:pt x="1932443" y="2407087"/>
                </a:lnTo>
                <a:lnTo>
                  <a:pt x="1928422" y="2411126"/>
                </a:lnTo>
                <a:lnTo>
                  <a:pt x="1918513" y="2411126"/>
                </a:lnTo>
                <a:lnTo>
                  <a:pt x="1914494" y="2407087"/>
                </a:lnTo>
                <a:lnTo>
                  <a:pt x="1914494" y="2397216"/>
                </a:lnTo>
                <a:close/>
                <a:moveTo>
                  <a:pt x="1679212" y="2393178"/>
                </a:moveTo>
                <a:lnTo>
                  <a:pt x="1689123" y="2393178"/>
                </a:lnTo>
                <a:lnTo>
                  <a:pt x="1693142" y="2397216"/>
                </a:lnTo>
                <a:lnTo>
                  <a:pt x="1693142" y="2407087"/>
                </a:lnTo>
                <a:lnTo>
                  <a:pt x="1689123" y="2411126"/>
                </a:lnTo>
                <a:lnTo>
                  <a:pt x="1679212" y="2411126"/>
                </a:lnTo>
                <a:lnTo>
                  <a:pt x="1675194" y="2407087"/>
                </a:lnTo>
                <a:lnTo>
                  <a:pt x="1675194" y="2397216"/>
                </a:lnTo>
                <a:close/>
                <a:moveTo>
                  <a:pt x="1439896" y="2393178"/>
                </a:moveTo>
                <a:lnTo>
                  <a:pt x="1449806" y="2393178"/>
                </a:lnTo>
                <a:lnTo>
                  <a:pt x="1453826" y="2397216"/>
                </a:lnTo>
                <a:lnTo>
                  <a:pt x="1453826" y="2407087"/>
                </a:lnTo>
                <a:lnTo>
                  <a:pt x="1449806" y="2411126"/>
                </a:lnTo>
                <a:lnTo>
                  <a:pt x="1439896" y="2411126"/>
                </a:lnTo>
                <a:lnTo>
                  <a:pt x="1435878" y="2407087"/>
                </a:lnTo>
                <a:lnTo>
                  <a:pt x="1435878" y="2397216"/>
                </a:lnTo>
                <a:close/>
                <a:moveTo>
                  <a:pt x="1200580" y="2393178"/>
                </a:moveTo>
                <a:lnTo>
                  <a:pt x="1210491" y="2393178"/>
                </a:lnTo>
                <a:lnTo>
                  <a:pt x="1214510" y="2397216"/>
                </a:lnTo>
                <a:lnTo>
                  <a:pt x="1214510" y="2407087"/>
                </a:lnTo>
                <a:lnTo>
                  <a:pt x="1210491" y="2411126"/>
                </a:lnTo>
                <a:lnTo>
                  <a:pt x="1200580" y="2411126"/>
                </a:lnTo>
                <a:lnTo>
                  <a:pt x="1196562" y="2407087"/>
                </a:lnTo>
                <a:lnTo>
                  <a:pt x="1196562" y="2397216"/>
                </a:lnTo>
                <a:close/>
                <a:moveTo>
                  <a:pt x="961268" y="2393178"/>
                </a:moveTo>
                <a:lnTo>
                  <a:pt x="971178" y="2393178"/>
                </a:lnTo>
                <a:lnTo>
                  <a:pt x="975196" y="2397216"/>
                </a:lnTo>
                <a:lnTo>
                  <a:pt x="975196" y="2407087"/>
                </a:lnTo>
                <a:lnTo>
                  <a:pt x="971178" y="2411126"/>
                </a:lnTo>
                <a:lnTo>
                  <a:pt x="961268" y="2411126"/>
                </a:lnTo>
                <a:lnTo>
                  <a:pt x="957249" y="2407087"/>
                </a:lnTo>
                <a:lnTo>
                  <a:pt x="957249" y="2397216"/>
                </a:lnTo>
                <a:close/>
                <a:moveTo>
                  <a:pt x="9572438" y="2393127"/>
                </a:moveTo>
                <a:lnTo>
                  <a:pt x="9582349" y="2393127"/>
                </a:lnTo>
                <a:lnTo>
                  <a:pt x="9586368" y="2397165"/>
                </a:lnTo>
                <a:lnTo>
                  <a:pt x="9586368" y="2407036"/>
                </a:lnTo>
                <a:lnTo>
                  <a:pt x="9582349" y="2411074"/>
                </a:lnTo>
                <a:lnTo>
                  <a:pt x="9572438" y="2411074"/>
                </a:lnTo>
                <a:lnTo>
                  <a:pt x="9568419" y="2407036"/>
                </a:lnTo>
                <a:lnTo>
                  <a:pt x="9568419" y="2397165"/>
                </a:lnTo>
                <a:close/>
                <a:moveTo>
                  <a:pt x="9333125" y="2393127"/>
                </a:moveTo>
                <a:lnTo>
                  <a:pt x="9343036" y="2393127"/>
                </a:lnTo>
                <a:lnTo>
                  <a:pt x="9347055" y="2397165"/>
                </a:lnTo>
                <a:lnTo>
                  <a:pt x="9347055" y="2407036"/>
                </a:lnTo>
                <a:lnTo>
                  <a:pt x="9343036" y="2411074"/>
                </a:lnTo>
                <a:lnTo>
                  <a:pt x="9333125" y="2411074"/>
                </a:lnTo>
                <a:lnTo>
                  <a:pt x="9329106" y="2407036"/>
                </a:lnTo>
                <a:lnTo>
                  <a:pt x="9329106" y="2397165"/>
                </a:lnTo>
                <a:close/>
                <a:moveTo>
                  <a:pt x="9093811" y="2393127"/>
                </a:moveTo>
                <a:lnTo>
                  <a:pt x="9103722" y="2393127"/>
                </a:lnTo>
                <a:lnTo>
                  <a:pt x="9107741" y="2397165"/>
                </a:lnTo>
                <a:lnTo>
                  <a:pt x="9107741" y="2407036"/>
                </a:lnTo>
                <a:lnTo>
                  <a:pt x="9103722" y="2411074"/>
                </a:lnTo>
                <a:lnTo>
                  <a:pt x="9093811" y="2411074"/>
                </a:lnTo>
                <a:lnTo>
                  <a:pt x="9089792" y="2407036"/>
                </a:lnTo>
                <a:lnTo>
                  <a:pt x="9089792" y="2397165"/>
                </a:lnTo>
                <a:close/>
                <a:moveTo>
                  <a:pt x="8854496" y="2393127"/>
                </a:moveTo>
                <a:lnTo>
                  <a:pt x="8864407" y="2393127"/>
                </a:lnTo>
                <a:lnTo>
                  <a:pt x="8868426" y="2397165"/>
                </a:lnTo>
                <a:lnTo>
                  <a:pt x="8868426" y="2407036"/>
                </a:lnTo>
                <a:lnTo>
                  <a:pt x="8864407" y="2411074"/>
                </a:lnTo>
                <a:lnTo>
                  <a:pt x="8854496" y="2411074"/>
                </a:lnTo>
                <a:lnTo>
                  <a:pt x="8850477" y="2407036"/>
                </a:lnTo>
                <a:lnTo>
                  <a:pt x="8850477" y="2397165"/>
                </a:lnTo>
                <a:close/>
                <a:moveTo>
                  <a:pt x="8615184" y="2393127"/>
                </a:moveTo>
                <a:lnTo>
                  <a:pt x="8625095" y="2393127"/>
                </a:lnTo>
                <a:lnTo>
                  <a:pt x="8629114" y="2397165"/>
                </a:lnTo>
                <a:lnTo>
                  <a:pt x="8629114" y="2407036"/>
                </a:lnTo>
                <a:lnTo>
                  <a:pt x="8625095" y="2411074"/>
                </a:lnTo>
                <a:lnTo>
                  <a:pt x="8615184" y="2411074"/>
                </a:lnTo>
                <a:lnTo>
                  <a:pt x="8611165" y="2407036"/>
                </a:lnTo>
                <a:lnTo>
                  <a:pt x="8611165" y="2397165"/>
                </a:lnTo>
                <a:close/>
                <a:moveTo>
                  <a:pt x="8375869" y="2393127"/>
                </a:moveTo>
                <a:lnTo>
                  <a:pt x="8385779" y="2393127"/>
                </a:lnTo>
                <a:lnTo>
                  <a:pt x="8389799" y="2397165"/>
                </a:lnTo>
                <a:lnTo>
                  <a:pt x="8389799" y="2407036"/>
                </a:lnTo>
                <a:lnTo>
                  <a:pt x="8385779" y="2411074"/>
                </a:lnTo>
                <a:lnTo>
                  <a:pt x="8375869" y="2411074"/>
                </a:lnTo>
                <a:lnTo>
                  <a:pt x="8371850" y="2407036"/>
                </a:lnTo>
                <a:lnTo>
                  <a:pt x="8371850" y="2397165"/>
                </a:lnTo>
                <a:close/>
                <a:moveTo>
                  <a:pt x="8136553" y="2393127"/>
                </a:moveTo>
                <a:lnTo>
                  <a:pt x="8146464" y="2393127"/>
                </a:lnTo>
                <a:lnTo>
                  <a:pt x="8150483" y="2397165"/>
                </a:lnTo>
                <a:lnTo>
                  <a:pt x="8150483" y="2407036"/>
                </a:lnTo>
                <a:lnTo>
                  <a:pt x="8146464" y="2411074"/>
                </a:lnTo>
                <a:lnTo>
                  <a:pt x="8136553" y="2411074"/>
                </a:lnTo>
                <a:lnTo>
                  <a:pt x="8132534" y="2407036"/>
                </a:lnTo>
                <a:lnTo>
                  <a:pt x="8132534" y="2397165"/>
                </a:lnTo>
                <a:close/>
                <a:moveTo>
                  <a:pt x="7897241" y="2393127"/>
                </a:moveTo>
                <a:lnTo>
                  <a:pt x="7907151" y="2393127"/>
                </a:lnTo>
                <a:lnTo>
                  <a:pt x="7911170" y="2397165"/>
                </a:lnTo>
                <a:lnTo>
                  <a:pt x="7911170" y="2407036"/>
                </a:lnTo>
                <a:lnTo>
                  <a:pt x="7907151" y="2411074"/>
                </a:lnTo>
                <a:lnTo>
                  <a:pt x="7897241" y="2411074"/>
                </a:lnTo>
                <a:lnTo>
                  <a:pt x="7893222" y="2407036"/>
                </a:lnTo>
                <a:lnTo>
                  <a:pt x="7893222" y="2397165"/>
                </a:lnTo>
                <a:close/>
                <a:moveTo>
                  <a:pt x="7657926" y="2393127"/>
                </a:moveTo>
                <a:lnTo>
                  <a:pt x="7667836" y="2393127"/>
                </a:lnTo>
                <a:lnTo>
                  <a:pt x="7671855" y="2397165"/>
                </a:lnTo>
                <a:lnTo>
                  <a:pt x="7671855" y="2407036"/>
                </a:lnTo>
                <a:lnTo>
                  <a:pt x="7667836" y="2411074"/>
                </a:lnTo>
                <a:lnTo>
                  <a:pt x="7657926" y="2411074"/>
                </a:lnTo>
                <a:lnTo>
                  <a:pt x="7653906" y="2407036"/>
                </a:lnTo>
                <a:lnTo>
                  <a:pt x="7653906" y="2397165"/>
                </a:lnTo>
                <a:close/>
                <a:moveTo>
                  <a:pt x="7418611" y="2393127"/>
                </a:moveTo>
                <a:lnTo>
                  <a:pt x="7428521" y="2393127"/>
                </a:lnTo>
                <a:lnTo>
                  <a:pt x="7432540" y="2397165"/>
                </a:lnTo>
                <a:lnTo>
                  <a:pt x="7432540" y="2407036"/>
                </a:lnTo>
                <a:lnTo>
                  <a:pt x="7428521" y="2411074"/>
                </a:lnTo>
                <a:lnTo>
                  <a:pt x="7418611" y="2411074"/>
                </a:lnTo>
                <a:lnTo>
                  <a:pt x="7414592" y="2407036"/>
                </a:lnTo>
                <a:lnTo>
                  <a:pt x="7414592" y="2397165"/>
                </a:lnTo>
                <a:close/>
                <a:moveTo>
                  <a:pt x="7179298" y="2393127"/>
                </a:moveTo>
                <a:lnTo>
                  <a:pt x="7189209" y="2393127"/>
                </a:lnTo>
                <a:lnTo>
                  <a:pt x="7193228" y="2397165"/>
                </a:lnTo>
                <a:lnTo>
                  <a:pt x="7193228" y="2407036"/>
                </a:lnTo>
                <a:lnTo>
                  <a:pt x="7189209" y="2411074"/>
                </a:lnTo>
                <a:lnTo>
                  <a:pt x="7179298" y="2411074"/>
                </a:lnTo>
                <a:lnTo>
                  <a:pt x="7175279" y="2407036"/>
                </a:lnTo>
                <a:lnTo>
                  <a:pt x="7175279" y="2397165"/>
                </a:lnTo>
                <a:close/>
                <a:moveTo>
                  <a:pt x="6939983" y="2393127"/>
                </a:moveTo>
                <a:lnTo>
                  <a:pt x="6949894" y="2393127"/>
                </a:lnTo>
                <a:lnTo>
                  <a:pt x="6953913" y="2397165"/>
                </a:lnTo>
                <a:lnTo>
                  <a:pt x="6953913" y="2407036"/>
                </a:lnTo>
                <a:lnTo>
                  <a:pt x="6949894" y="2411074"/>
                </a:lnTo>
                <a:lnTo>
                  <a:pt x="6939983" y="2411074"/>
                </a:lnTo>
                <a:lnTo>
                  <a:pt x="6935964" y="2407036"/>
                </a:lnTo>
                <a:lnTo>
                  <a:pt x="6935964" y="2397165"/>
                </a:lnTo>
                <a:close/>
                <a:moveTo>
                  <a:pt x="6700670" y="2393127"/>
                </a:moveTo>
                <a:lnTo>
                  <a:pt x="6710581" y="2393127"/>
                </a:lnTo>
                <a:lnTo>
                  <a:pt x="6714600" y="2397165"/>
                </a:lnTo>
                <a:lnTo>
                  <a:pt x="6714600" y="2407036"/>
                </a:lnTo>
                <a:lnTo>
                  <a:pt x="6710581" y="2411074"/>
                </a:lnTo>
                <a:lnTo>
                  <a:pt x="6700670" y="2411074"/>
                </a:lnTo>
                <a:lnTo>
                  <a:pt x="6696651" y="2407036"/>
                </a:lnTo>
                <a:lnTo>
                  <a:pt x="6696651" y="2397165"/>
                </a:lnTo>
                <a:close/>
                <a:moveTo>
                  <a:pt x="6461356" y="2393127"/>
                </a:moveTo>
                <a:lnTo>
                  <a:pt x="6471266" y="2393127"/>
                </a:lnTo>
                <a:lnTo>
                  <a:pt x="6475285" y="2397165"/>
                </a:lnTo>
                <a:lnTo>
                  <a:pt x="6475285" y="2407036"/>
                </a:lnTo>
                <a:lnTo>
                  <a:pt x="6471266" y="2411074"/>
                </a:lnTo>
                <a:lnTo>
                  <a:pt x="6461356" y="2411074"/>
                </a:lnTo>
                <a:lnTo>
                  <a:pt x="6457337" y="2407036"/>
                </a:lnTo>
                <a:lnTo>
                  <a:pt x="6457337" y="2397165"/>
                </a:lnTo>
                <a:close/>
                <a:moveTo>
                  <a:pt x="6222042" y="2393127"/>
                </a:moveTo>
                <a:lnTo>
                  <a:pt x="6231952" y="2393127"/>
                </a:lnTo>
                <a:lnTo>
                  <a:pt x="6235971" y="2397165"/>
                </a:lnTo>
                <a:lnTo>
                  <a:pt x="6235971" y="2407036"/>
                </a:lnTo>
                <a:lnTo>
                  <a:pt x="6231952" y="2411074"/>
                </a:lnTo>
                <a:lnTo>
                  <a:pt x="6222042" y="2411074"/>
                </a:lnTo>
                <a:lnTo>
                  <a:pt x="6218023" y="2407036"/>
                </a:lnTo>
                <a:lnTo>
                  <a:pt x="6218023" y="2397165"/>
                </a:lnTo>
                <a:close/>
                <a:moveTo>
                  <a:pt x="5982729" y="2393127"/>
                </a:moveTo>
                <a:lnTo>
                  <a:pt x="5992639" y="2393127"/>
                </a:lnTo>
                <a:lnTo>
                  <a:pt x="5996658" y="2397165"/>
                </a:lnTo>
                <a:lnTo>
                  <a:pt x="5996658" y="2407036"/>
                </a:lnTo>
                <a:lnTo>
                  <a:pt x="5992639" y="2411074"/>
                </a:lnTo>
                <a:lnTo>
                  <a:pt x="5982729" y="2411074"/>
                </a:lnTo>
                <a:lnTo>
                  <a:pt x="5978710" y="2407036"/>
                </a:lnTo>
                <a:lnTo>
                  <a:pt x="5978710" y="2397165"/>
                </a:lnTo>
                <a:close/>
                <a:moveTo>
                  <a:pt x="5743412" y="2393127"/>
                </a:moveTo>
                <a:lnTo>
                  <a:pt x="5753323" y="2393127"/>
                </a:lnTo>
                <a:lnTo>
                  <a:pt x="5757342" y="2397165"/>
                </a:lnTo>
                <a:lnTo>
                  <a:pt x="5757342" y="2407036"/>
                </a:lnTo>
                <a:lnTo>
                  <a:pt x="5753323" y="2411074"/>
                </a:lnTo>
                <a:lnTo>
                  <a:pt x="5743412" y="2411074"/>
                </a:lnTo>
                <a:lnTo>
                  <a:pt x="5739393" y="2407036"/>
                </a:lnTo>
                <a:lnTo>
                  <a:pt x="5739393" y="2397165"/>
                </a:lnTo>
                <a:close/>
                <a:moveTo>
                  <a:pt x="5504099" y="2393127"/>
                </a:moveTo>
                <a:lnTo>
                  <a:pt x="5514010" y="2393127"/>
                </a:lnTo>
                <a:lnTo>
                  <a:pt x="5518029" y="2397165"/>
                </a:lnTo>
                <a:lnTo>
                  <a:pt x="5518029" y="2407036"/>
                </a:lnTo>
                <a:lnTo>
                  <a:pt x="5514010" y="2411074"/>
                </a:lnTo>
                <a:lnTo>
                  <a:pt x="5504099" y="2411074"/>
                </a:lnTo>
                <a:lnTo>
                  <a:pt x="5500080" y="2407036"/>
                </a:lnTo>
                <a:lnTo>
                  <a:pt x="5500080" y="2397165"/>
                </a:lnTo>
                <a:close/>
                <a:moveTo>
                  <a:pt x="5264784" y="2393127"/>
                </a:moveTo>
                <a:lnTo>
                  <a:pt x="5274694" y="2393127"/>
                </a:lnTo>
                <a:lnTo>
                  <a:pt x="5278713" y="2397165"/>
                </a:lnTo>
                <a:lnTo>
                  <a:pt x="5278713" y="2407036"/>
                </a:lnTo>
                <a:lnTo>
                  <a:pt x="5274694" y="2411074"/>
                </a:lnTo>
                <a:lnTo>
                  <a:pt x="5264784" y="2411074"/>
                </a:lnTo>
                <a:lnTo>
                  <a:pt x="5260765" y="2407036"/>
                </a:lnTo>
                <a:lnTo>
                  <a:pt x="5260765" y="2397165"/>
                </a:lnTo>
                <a:close/>
                <a:moveTo>
                  <a:pt x="5025470" y="2393127"/>
                </a:moveTo>
                <a:lnTo>
                  <a:pt x="5035381" y="2393127"/>
                </a:lnTo>
                <a:lnTo>
                  <a:pt x="5039400" y="2397165"/>
                </a:lnTo>
                <a:lnTo>
                  <a:pt x="5039400" y="2407036"/>
                </a:lnTo>
                <a:lnTo>
                  <a:pt x="5035381" y="2411074"/>
                </a:lnTo>
                <a:lnTo>
                  <a:pt x="5025470" y="2411074"/>
                </a:lnTo>
                <a:lnTo>
                  <a:pt x="5021451" y="2407036"/>
                </a:lnTo>
                <a:lnTo>
                  <a:pt x="5021451" y="2397165"/>
                </a:lnTo>
                <a:close/>
                <a:moveTo>
                  <a:pt x="4786241" y="2393127"/>
                </a:moveTo>
                <a:lnTo>
                  <a:pt x="4796152" y="2393127"/>
                </a:lnTo>
                <a:lnTo>
                  <a:pt x="4800171" y="2397165"/>
                </a:lnTo>
                <a:lnTo>
                  <a:pt x="4800171" y="2407036"/>
                </a:lnTo>
                <a:lnTo>
                  <a:pt x="4796152" y="2411074"/>
                </a:lnTo>
                <a:lnTo>
                  <a:pt x="4786241" y="2411074"/>
                </a:lnTo>
                <a:lnTo>
                  <a:pt x="4782224" y="2407036"/>
                </a:lnTo>
                <a:lnTo>
                  <a:pt x="4782224" y="2397165"/>
                </a:lnTo>
                <a:close/>
                <a:moveTo>
                  <a:pt x="4546929" y="2393127"/>
                </a:moveTo>
                <a:lnTo>
                  <a:pt x="4556840" y="2393127"/>
                </a:lnTo>
                <a:lnTo>
                  <a:pt x="4560859" y="2397165"/>
                </a:lnTo>
                <a:lnTo>
                  <a:pt x="4560859" y="2407036"/>
                </a:lnTo>
                <a:lnTo>
                  <a:pt x="4556840" y="2411074"/>
                </a:lnTo>
                <a:lnTo>
                  <a:pt x="4546929" y="2411074"/>
                </a:lnTo>
                <a:lnTo>
                  <a:pt x="4542910" y="2407036"/>
                </a:lnTo>
                <a:lnTo>
                  <a:pt x="4542910" y="2397165"/>
                </a:lnTo>
                <a:close/>
                <a:moveTo>
                  <a:pt x="4307612" y="2393127"/>
                </a:moveTo>
                <a:lnTo>
                  <a:pt x="4317523" y="2393127"/>
                </a:lnTo>
                <a:lnTo>
                  <a:pt x="4321543" y="2397165"/>
                </a:lnTo>
                <a:lnTo>
                  <a:pt x="4321543" y="2407036"/>
                </a:lnTo>
                <a:lnTo>
                  <a:pt x="4317523" y="2411074"/>
                </a:lnTo>
                <a:lnTo>
                  <a:pt x="4307612" y="2411074"/>
                </a:lnTo>
                <a:lnTo>
                  <a:pt x="4303595" y="2407036"/>
                </a:lnTo>
                <a:lnTo>
                  <a:pt x="4303595" y="2397165"/>
                </a:lnTo>
                <a:close/>
                <a:moveTo>
                  <a:pt x="4068297" y="2393127"/>
                </a:moveTo>
                <a:lnTo>
                  <a:pt x="4078210" y="2393127"/>
                </a:lnTo>
                <a:lnTo>
                  <a:pt x="4082229" y="2397165"/>
                </a:lnTo>
                <a:lnTo>
                  <a:pt x="4082229" y="2407036"/>
                </a:lnTo>
                <a:lnTo>
                  <a:pt x="4078210" y="2411074"/>
                </a:lnTo>
                <a:lnTo>
                  <a:pt x="4068297" y="2411074"/>
                </a:lnTo>
                <a:lnTo>
                  <a:pt x="4064278" y="2407036"/>
                </a:lnTo>
                <a:lnTo>
                  <a:pt x="4064278" y="2397165"/>
                </a:lnTo>
                <a:close/>
                <a:moveTo>
                  <a:pt x="3828990" y="2393127"/>
                </a:moveTo>
                <a:lnTo>
                  <a:pt x="3838899" y="2393127"/>
                </a:lnTo>
                <a:lnTo>
                  <a:pt x="3842917" y="2397165"/>
                </a:lnTo>
                <a:lnTo>
                  <a:pt x="3842917" y="2407036"/>
                </a:lnTo>
                <a:lnTo>
                  <a:pt x="3838899" y="2411074"/>
                </a:lnTo>
                <a:lnTo>
                  <a:pt x="3828990" y="2411074"/>
                </a:lnTo>
                <a:lnTo>
                  <a:pt x="3824971" y="2407036"/>
                </a:lnTo>
                <a:lnTo>
                  <a:pt x="3824971" y="2397165"/>
                </a:lnTo>
                <a:close/>
                <a:moveTo>
                  <a:pt x="3589676" y="2393127"/>
                </a:moveTo>
                <a:lnTo>
                  <a:pt x="3599585" y="2393127"/>
                </a:lnTo>
                <a:lnTo>
                  <a:pt x="3603604" y="2397165"/>
                </a:lnTo>
                <a:lnTo>
                  <a:pt x="3603604" y="2407036"/>
                </a:lnTo>
                <a:lnTo>
                  <a:pt x="3599585" y="2411074"/>
                </a:lnTo>
                <a:lnTo>
                  <a:pt x="3589676" y="2411074"/>
                </a:lnTo>
                <a:lnTo>
                  <a:pt x="3585657" y="2407036"/>
                </a:lnTo>
                <a:lnTo>
                  <a:pt x="3585657" y="2397165"/>
                </a:lnTo>
                <a:close/>
                <a:moveTo>
                  <a:pt x="3350359" y="2393127"/>
                </a:moveTo>
                <a:lnTo>
                  <a:pt x="3360268" y="2393127"/>
                </a:lnTo>
                <a:lnTo>
                  <a:pt x="3364287" y="2397165"/>
                </a:lnTo>
                <a:lnTo>
                  <a:pt x="3364287" y="2407036"/>
                </a:lnTo>
                <a:lnTo>
                  <a:pt x="3360268" y="2411074"/>
                </a:lnTo>
                <a:lnTo>
                  <a:pt x="3350359" y="2411074"/>
                </a:lnTo>
                <a:lnTo>
                  <a:pt x="3346340" y="2407036"/>
                </a:lnTo>
                <a:lnTo>
                  <a:pt x="3346340" y="2397165"/>
                </a:lnTo>
                <a:close/>
                <a:moveTo>
                  <a:pt x="3111048" y="2393127"/>
                </a:moveTo>
                <a:lnTo>
                  <a:pt x="3120959" y="2393127"/>
                </a:lnTo>
                <a:lnTo>
                  <a:pt x="3124977" y="2397165"/>
                </a:lnTo>
                <a:lnTo>
                  <a:pt x="3124977" y="2407036"/>
                </a:lnTo>
                <a:lnTo>
                  <a:pt x="3120959" y="2411074"/>
                </a:lnTo>
                <a:lnTo>
                  <a:pt x="3111048" y="2411074"/>
                </a:lnTo>
                <a:lnTo>
                  <a:pt x="3107029" y="2407036"/>
                </a:lnTo>
                <a:lnTo>
                  <a:pt x="3107029" y="2397165"/>
                </a:lnTo>
                <a:close/>
                <a:moveTo>
                  <a:pt x="2871737" y="2393127"/>
                </a:moveTo>
                <a:lnTo>
                  <a:pt x="2881646" y="2393127"/>
                </a:lnTo>
                <a:lnTo>
                  <a:pt x="2885666" y="2397165"/>
                </a:lnTo>
                <a:lnTo>
                  <a:pt x="2885666" y="2407036"/>
                </a:lnTo>
                <a:lnTo>
                  <a:pt x="2881646" y="2411074"/>
                </a:lnTo>
                <a:lnTo>
                  <a:pt x="2871737" y="2411074"/>
                </a:lnTo>
                <a:lnTo>
                  <a:pt x="2867717" y="2407036"/>
                </a:lnTo>
                <a:lnTo>
                  <a:pt x="2867717" y="2397165"/>
                </a:lnTo>
                <a:close/>
                <a:moveTo>
                  <a:pt x="2632423" y="2393127"/>
                </a:moveTo>
                <a:lnTo>
                  <a:pt x="2642334" y="2393127"/>
                </a:lnTo>
                <a:lnTo>
                  <a:pt x="2646352" y="2397165"/>
                </a:lnTo>
                <a:lnTo>
                  <a:pt x="2646352" y="2407036"/>
                </a:lnTo>
                <a:lnTo>
                  <a:pt x="2642334" y="2411074"/>
                </a:lnTo>
                <a:lnTo>
                  <a:pt x="2632423" y="2411074"/>
                </a:lnTo>
                <a:lnTo>
                  <a:pt x="2628404" y="2407036"/>
                </a:lnTo>
                <a:lnTo>
                  <a:pt x="2628404" y="2397165"/>
                </a:lnTo>
                <a:close/>
                <a:moveTo>
                  <a:pt x="2393104" y="2393127"/>
                </a:moveTo>
                <a:lnTo>
                  <a:pt x="2403015" y="2393127"/>
                </a:lnTo>
                <a:lnTo>
                  <a:pt x="2407034" y="2397165"/>
                </a:lnTo>
                <a:lnTo>
                  <a:pt x="2407034" y="2407036"/>
                </a:lnTo>
                <a:lnTo>
                  <a:pt x="2403015" y="2411074"/>
                </a:lnTo>
                <a:lnTo>
                  <a:pt x="2393104" y="2411074"/>
                </a:lnTo>
                <a:lnTo>
                  <a:pt x="2389087" y="2407036"/>
                </a:lnTo>
                <a:lnTo>
                  <a:pt x="2389087" y="2397165"/>
                </a:lnTo>
                <a:close/>
                <a:moveTo>
                  <a:pt x="721970" y="2393127"/>
                </a:moveTo>
                <a:lnTo>
                  <a:pt x="731881" y="2393127"/>
                </a:lnTo>
                <a:lnTo>
                  <a:pt x="735899" y="2397165"/>
                </a:lnTo>
                <a:lnTo>
                  <a:pt x="735899" y="2407036"/>
                </a:lnTo>
                <a:lnTo>
                  <a:pt x="731881" y="2411074"/>
                </a:lnTo>
                <a:lnTo>
                  <a:pt x="721970" y="2411074"/>
                </a:lnTo>
                <a:lnTo>
                  <a:pt x="717951" y="2407036"/>
                </a:lnTo>
                <a:lnTo>
                  <a:pt x="717951" y="2397165"/>
                </a:lnTo>
                <a:close/>
                <a:moveTo>
                  <a:pt x="482658" y="2393127"/>
                </a:moveTo>
                <a:lnTo>
                  <a:pt x="492568" y="2393127"/>
                </a:lnTo>
                <a:lnTo>
                  <a:pt x="496588" y="2397165"/>
                </a:lnTo>
                <a:lnTo>
                  <a:pt x="496588" y="2407036"/>
                </a:lnTo>
                <a:lnTo>
                  <a:pt x="492568" y="2411074"/>
                </a:lnTo>
                <a:lnTo>
                  <a:pt x="482658" y="2411074"/>
                </a:lnTo>
                <a:lnTo>
                  <a:pt x="478639" y="2407036"/>
                </a:lnTo>
                <a:lnTo>
                  <a:pt x="478639" y="2397165"/>
                </a:lnTo>
                <a:close/>
                <a:moveTo>
                  <a:pt x="243344" y="2393127"/>
                </a:moveTo>
                <a:lnTo>
                  <a:pt x="253255" y="2393127"/>
                </a:lnTo>
                <a:lnTo>
                  <a:pt x="257274" y="2397165"/>
                </a:lnTo>
                <a:lnTo>
                  <a:pt x="257274" y="2407036"/>
                </a:lnTo>
                <a:lnTo>
                  <a:pt x="253255" y="2411074"/>
                </a:lnTo>
                <a:lnTo>
                  <a:pt x="243344" y="2411074"/>
                </a:lnTo>
                <a:lnTo>
                  <a:pt x="239325" y="2407036"/>
                </a:lnTo>
                <a:lnTo>
                  <a:pt x="239325" y="2397165"/>
                </a:lnTo>
                <a:close/>
                <a:moveTo>
                  <a:pt x="4031" y="2393127"/>
                </a:moveTo>
                <a:lnTo>
                  <a:pt x="13941" y="2393127"/>
                </a:lnTo>
                <a:lnTo>
                  <a:pt x="17961" y="2397165"/>
                </a:lnTo>
                <a:lnTo>
                  <a:pt x="17961" y="2407036"/>
                </a:lnTo>
                <a:lnTo>
                  <a:pt x="13941" y="2411074"/>
                </a:lnTo>
                <a:lnTo>
                  <a:pt x="4031" y="2411074"/>
                </a:lnTo>
                <a:lnTo>
                  <a:pt x="12" y="2407036"/>
                </a:lnTo>
                <a:lnTo>
                  <a:pt x="12" y="2397165"/>
                </a:lnTo>
                <a:close/>
                <a:moveTo>
                  <a:pt x="3111048" y="2153996"/>
                </a:moveTo>
                <a:lnTo>
                  <a:pt x="3120959" y="2153996"/>
                </a:lnTo>
                <a:lnTo>
                  <a:pt x="3124977" y="2158034"/>
                </a:lnTo>
                <a:lnTo>
                  <a:pt x="3124977" y="2167907"/>
                </a:lnTo>
                <a:lnTo>
                  <a:pt x="3120959" y="2171946"/>
                </a:lnTo>
                <a:lnTo>
                  <a:pt x="3111048" y="2171946"/>
                </a:lnTo>
                <a:lnTo>
                  <a:pt x="3107029" y="2167907"/>
                </a:lnTo>
                <a:lnTo>
                  <a:pt x="3107029" y="2158034"/>
                </a:lnTo>
                <a:close/>
                <a:moveTo>
                  <a:pt x="2871737" y="2153996"/>
                </a:moveTo>
                <a:lnTo>
                  <a:pt x="2881646" y="2153996"/>
                </a:lnTo>
                <a:lnTo>
                  <a:pt x="2885666" y="2158034"/>
                </a:lnTo>
                <a:lnTo>
                  <a:pt x="2885666" y="2167907"/>
                </a:lnTo>
                <a:lnTo>
                  <a:pt x="2881646" y="2171946"/>
                </a:lnTo>
                <a:lnTo>
                  <a:pt x="2871737" y="2171946"/>
                </a:lnTo>
                <a:lnTo>
                  <a:pt x="2867717" y="2167907"/>
                </a:lnTo>
                <a:lnTo>
                  <a:pt x="2867717" y="2158034"/>
                </a:lnTo>
                <a:close/>
                <a:moveTo>
                  <a:pt x="2632423" y="2153996"/>
                </a:moveTo>
                <a:lnTo>
                  <a:pt x="2642334" y="2153996"/>
                </a:lnTo>
                <a:lnTo>
                  <a:pt x="2646352" y="2158034"/>
                </a:lnTo>
                <a:lnTo>
                  <a:pt x="2646352" y="2167907"/>
                </a:lnTo>
                <a:lnTo>
                  <a:pt x="2642334" y="2171947"/>
                </a:lnTo>
                <a:lnTo>
                  <a:pt x="2632423" y="2171947"/>
                </a:lnTo>
                <a:lnTo>
                  <a:pt x="2628404" y="2167907"/>
                </a:lnTo>
                <a:lnTo>
                  <a:pt x="2628404" y="2158034"/>
                </a:lnTo>
                <a:close/>
                <a:moveTo>
                  <a:pt x="2393104" y="2153996"/>
                </a:moveTo>
                <a:lnTo>
                  <a:pt x="2403015" y="2153996"/>
                </a:lnTo>
                <a:lnTo>
                  <a:pt x="2407034" y="2158034"/>
                </a:lnTo>
                <a:lnTo>
                  <a:pt x="2407034" y="2167907"/>
                </a:lnTo>
                <a:lnTo>
                  <a:pt x="2403015" y="2171947"/>
                </a:lnTo>
                <a:lnTo>
                  <a:pt x="2393104" y="2171947"/>
                </a:lnTo>
                <a:lnTo>
                  <a:pt x="2389087" y="2167907"/>
                </a:lnTo>
                <a:lnTo>
                  <a:pt x="2389087" y="2158034"/>
                </a:lnTo>
                <a:close/>
                <a:moveTo>
                  <a:pt x="3350359" y="2153995"/>
                </a:moveTo>
                <a:lnTo>
                  <a:pt x="3360268" y="2153995"/>
                </a:lnTo>
                <a:lnTo>
                  <a:pt x="3364287" y="2158034"/>
                </a:lnTo>
                <a:lnTo>
                  <a:pt x="3364287" y="2167907"/>
                </a:lnTo>
                <a:lnTo>
                  <a:pt x="3360268" y="2171946"/>
                </a:lnTo>
                <a:lnTo>
                  <a:pt x="3350359" y="2171946"/>
                </a:lnTo>
                <a:lnTo>
                  <a:pt x="3346340" y="2167907"/>
                </a:lnTo>
                <a:lnTo>
                  <a:pt x="3346340" y="2158034"/>
                </a:lnTo>
                <a:close/>
                <a:moveTo>
                  <a:pt x="4546929" y="2153976"/>
                </a:moveTo>
                <a:lnTo>
                  <a:pt x="4556840" y="2153976"/>
                </a:lnTo>
                <a:lnTo>
                  <a:pt x="4560859" y="2158014"/>
                </a:lnTo>
                <a:lnTo>
                  <a:pt x="4560859" y="2167886"/>
                </a:lnTo>
                <a:lnTo>
                  <a:pt x="4556840" y="2171926"/>
                </a:lnTo>
                <a:lnTo>
                  <a:pt x="4546929" y="2171926"/>
                </a:lnTo>
                <a:lnTo>
                  <a:pt x="4542910" y="2167886"/>
                </a:lnTo>
                <a:lnTo>
                  <a:pt x="4542910" y="2158014"/>
                </a:lnTo>
                <a:close/>
                <a:moveTo>
                  <a:pt x="4307612" y="2153976"/>
                </a:moveTo>
                <a:lnTo>
                  <a:pt x="4317523" y="2153976"/>
                </a:lnTo>
                <a:lnTo>
                  <a:pt x="4321543" y="2158014"/>
                </a:lnTo>
                <a:lnTo>
                  <a:pt x="4321543" y="2167887"/>
                </a:lnTo>
                <a:lnTo>
                  <a:pt x="4317523" y="2171926"/>
                </a:lnTo>
                <a:lnTo>
                  <a:pt x="4307612" y="2171926"/>
                </a:lnTo>
                <a:lnTo>
                  <a:pt x="4303595" y="2167887"/>
                </a:lnTo>
                <a:lnTo>
                  <a:pt x="4303595" y="2158014"/>
                </a:lnTo>
                <a:close/>
                <a:moveTo>
                  <a:pt x="4068297" y="2153976"/>
                </a:moveTo>
                <a:lnTo>
                  <a:pt x="4078210" y="2153976"/>
                </a:lnTo>
                <a:lnTo>
                  <a:pt x="4082229" y="2158014"/>
                </a:lnTo>
                <a:lnTo>
                  <a:pt x="4082229" y="2167887"/>
                </a:lnTo>
                <a:lnTo>
                  <a:pt x="4078210" y="2171926"/>
                </a:lnTo>
                <a:lnTo>
                  <a:pt x="4068297" y="2171926"/>
                </a:lnTo>
                <a:lnTo>
                  <a:pt x="4064278" y="2167887"/>
                </a:lnTo>
                <a:lnTo>
                  <a:pt x="4064278" y="2158014"/>
                </a:lnTo>
                <a:close/>
                <a:moveTo>
                  <a:pt x="3828990" y="2153976"/>
                </a:moveTo>
                <a:lnTo>
                  <a:pt x="3838899" y="2153976"/>
                </a:lnTo>
                <a:lnTo>
                  <a:pt x="3842917" y="2158014"/>
                </a:lnTo>
                <a:lnTo>
                  <a:pt x="3842917" y="2167887"/>
                </a:lnTo>
                <a:lnTo>
                  <a:pt x="3838899" y="2171926"/>
                </a:lnTo>
                <a:lnTo>
                  <a:pt x="3828990" y="2171926"/>
                </a:lnTo>
                <a:lnTo>
                  <a:pt x="3824971" y="2167887"/>
                </a:lnTo>
                <a:lnTo>
                  <a:pt x="3824971" y="2158014"/>
                </a:lnTo>
                <a:close/>
                <a:moveTo>
                  <a:pt x="3589676" y="2153976"/>
                </a:moveTo>
                <a:lnTo>
                  <a:pt x="3599585" y="2153976"/>
                </a:lnTo>
                <a:lnTo>
                  <a:pt x="3603604" y="2158014"/>
                </a:lnTo>
                <a:lnTo>
                  <a:pt x="3603604" y="2167887"/>
                </a:lnTo>
                <a:lnTo>
                  <a:pt x="3599585" y="2171926"/>
                </a:lnTo>
                <a:lnTo>
                  <a:pt x="3589676" y="2171926"/>
                </a:lnTo>
                <a:lnTo>
                  <a:pt x="3585657" y="2167887"/>
                </a:lnTo>
                <a:lnTo>
                  <a:pt x="3585657" y="2158014"/>
                </a:lnTo>
                <a:close/>
                <a:moveTo>
                  <a:pt x="5504099" y="2153956"/>
                </a:moveTo>
                <a:lnTo>
                  <a:pt x="5514010" y="2153956"/>
                </a:lnTo>
                <a:lnTo>
                  <a:pt x="5518029" y="2157994"/>
                </a:lnTo>
                <a:lnTo>
                  <a:pt x="5518029" y="2167867"/>
                </a:lnTo>
                <a:lnTo>
                  <a:pt x="5514010" y="2171905"/>
                </a:lnTo>
                <a:lnTo>
                  <a:pt x="5504099" y="2171905"/>
                </a:lnTo>
                <a:lnTo>
                  <a:pt x="5500080" y="2167867"/>
                </a:lnTo>
                <a:lnTo>
                  <a:pt x="5500080" y="2157994"/>
                </a:lnTo>
                <a:close/>
                <a:moveTo>
                  <a:pt x="5264784" y="2153956"/>
                </a:moveTo>
                <a:lnTo>
                  <a:pt x="5274694" y="2153956"/>
                </a:lnTo>
                <a:lnTo>
                  <a:pt x="5278713" y="2157994"/>
                </a:lnTo>
                <a:lnTo>
                  <a:pt x="5278713" y="2167867"/>
                </a:lnTo>
                <a:lnTo>
                  <a:pt x="5274694" y="2171905"/>
                </a:lnTo>
                <a:lnTo>
                  <a:pt x="5264784" y="2171905"/>
                </a:lnTo>
                <a:lnTo>
                  <a:pt x="5260765" y="2167867"/>
                </a:lnTo>
                <a:lnTo>
                  <a:pt x="5260765" y="2157994"/>
                </a:lnTo>
                <a:close/>
                <a:moveTo>
                  <a:pt x="5025470" y="2153956"/>
                </a:moveTo>
                <a:lnTo>
                  <a:pt x="5035381" y="2153956"/>
                </a:lnTo>
                <a:lnTo>
                  <a:pt x="5039400" y="2157994"/>
                </a:lnTo>
                <a:lnTo>
                  <a:pt x="5039400" y="2167867"/>
                </a:lnTo>
                <a:lnTo>
                  <a:pt x="5035381" y="2171906"/>
                </a:lnTo>
                <a:lnTo>
                  <a:pt x="5025470" y="2171906"/>
                </a:lnTo>
                <a:lnTo>
                  <a:pt x="5021451" y="2167867"/>
                </a:lnTo>
                <a:lnTo>
                  <a:pt x="5021451" y="2157994"/>
                </a:lnTo>
                <a:close/>
                <a:moveTo>
                  <a:pt x="4786241" y="2153956"/>
                </a:moveTo>
                <a:lnTo>
                  <a:pt x="4796152" y="2153956"/>
                </a:lnTo>
                <a:lnTo>
                  <a:pt x="4800171" y="2157994"/>
                </a:lnTo>
                <a:lnTo>
                  <a:pt x="4800171" y="2167867"/>
                </a:lnTo>
                <a:lnTo>
                  <a:pt x="4796152" y="2171906"/>
                </a:lnTo>
                <a:lnTo>
                  <a:pt x="4786241" y="2171906"/>
                </a:lnTo>
                <a:lnTo>
                  <a:pt x="4782224" y="2167867"/>
                </a:lnTo>
                <a:lnTo>
                  <a:pt x="4782224" y="2157994"/>
                </a:lnTo>
                <a:close/>
                <a:moveTo>
                  <a:pt x="5743412" y="2153955"/>
                </a:moveTo>
                <a:lnTo>
                  <a:pt x="5753323" y="2153955"/>
                </a:lnTo>
                <a:lnTo>
                  <a:pt x="5757342" y="2157994"/>
                </a:lnTo>
                <a:lnTo>
                  <a:pt x="5757342" y="2167866"/>
                </a:lnTo>
                <a:lnTo>
                  <a:pt x="5753323" y="2171905"/>
                </a:lnTo>
                <a:lnTo>
                  <a:pt x="5743412" y="2171905"/>
                </a:lnTo>
                <a:lnTo>
                  <a:pt x="5739393" y="2167866"/>
                </a:lnTo>
                <a:lnTo>
                  <a:pt x="5739393" y="2157994"/>
                </a:lnTo>
                <a:close/>
                <a:moveTo>
                  <a:pt x="6222042" y="2153936"/>
                </a:moveTo>
                <a:lnTo>
                  <a:pt x="6231952" y="2153936"/>
                </a:lnTo>
                <a:lnTo>
                  <a:pt x="6235971" y="2157974"/>
                </a:lnTo>
                <a:lnTo>
                  <a:pt x="6235971" y="2167846"/>
                </a:lnTo>
                <a:lnTo>
                  <a:pt x="6231952" y="2171885"/>
                </a:lnTo>
                <a:lnTo>
                  <a:pt x="6222042" y="2171885"/>
                </a:lnTo>
                <a:lnTo>
                  <a:pt x="6218023" y="2167846"/>
                </a:lnTo>
                <a:lnTo>
                  <a:pt x="6218023" y="2157974"/>
                </a:lnTo>
                <a:close/>
                <a:moveTo>
                  <a:pt x="5982729" y="2153936"/>
                </a:moveTo>
                <a:lnTo>
                  <a:pt x="5992639" y="2153936"/>
                </a:lnTo>
                <a:lnTo>
                  <a:pt x="5996658" y="2157974"/>
                </a:lnTo>
                <a:lnTo>
                  <a:pt x="5996658" y="2167846"/>
                </a:lnTo>
                <a:lnTo>
                  <a:pt x="5992639" y="2171885"/>
                </a:lnTo>
                <a:lnTo>
                  <a:pt x="5982729" y="2171885"/>
                </a:lnTo>
                <a:lnTo>
                  <a:pt x="5978710" y="2167846"/>
                </a:lnTo>
                <a:lnTo>
                  <a:pt x="5978710" y="2157974"/>
                </a:lnTo>
                <a:close/>
                <a:moveTo>
                  <a:pt x="6939983" y="2153935"/>
                </a:moveTo>
                <a:lnTo>
                  <a:pt x="6949894" y="2153935"/>
                </a:lnTo>
                <a:lnTo>
                  <a:pt x="6953913" y="2157974"/>
                </a:lnTo>
                <a:lnTo>
                  <a:pt x="6953913" y="2167845"/>
                </a:lnTo>
                <a:lnTo>
                  <a:pt x="6949894" y="2171885"/>
                </a:lnTo>
                <a:lnTo>
                  <a:pt x="6939983" y="2171885"/>
                </a:lnTo>
                <a:lnTo>
                  <a:pt x="6935964" y="2167845"/>
                </a:lnTo>
                <a:lnTo>
                  <a:pt x="6935964" y="2157974"/>
                </a:lnTo>
                <a:close/>
                <a:moveTo>
                  <a:pt x="6700670" y="2153935"/>
                </a:moveTo>
                <a:lnTo>
                  <a:pt x="6710581" y="2153935"/>
                </a:lnTo>
                <a:lnTo>
                  <a:pt x="6714600" y="2157974"/>
                </a:lnTo>
                <a:lnTo>
                  <a:pt x="6714600" y="2167846"/>
                </a:lnTo>
                <a:lnTo>
                  <a:pt x="6710581" y="2171885"/>
                </a:lnTo>
                <a:lnTo>
                  <a:pt x="6700670" y="2171885"/>
                </a:lnTo>
                <a:lnTo>
                  <a:pt x="6696651" y="2167846"/>
                </a:lnTo>
                <a:lnTo>
                  <a:pt x="6696651" y="2157974"/>
                </a:lnTo>
                <a:close/>
                <a:moveTo>
                  <a:pt x="6461356" y="2153935"/>
                </a:moveTo>
                <a:lnTo>
                  <a:pt x="6471266" y="2153935"/>
                </a:lnTo>
                <a:lnTo>
                  <a:pt x="6475285" y="2157974"/>
                </a:lnTo>
                <a:lnTo>
                  <a:pt x="6475285" y="2167846"/>
                </a:lnTo>
                <a:lnTo>
                  <a:pt x="6471266" y="2171885"/>
                </a:lnTo>
                <a:lnTo>
                  <a:pt x="6461356" y="2171885"/>
                </a:lnTo>
                <a:lnTo>
                  <a:pt x="6457337" y="2167846"/>
                </a:lnTo>
                <a:lnTo>
                  <a:pt x="6457337" y="2157974"/>
                </a:lnTo>
                <a:close/>
                <a:moveTo>
                  <a:pt x="7418611" y="2153916"/>
                </a:moveTo>
                <a:lnTo>
                  <a:pt x="7428521" y="2153916"/>
                </a:lnTo>
                <a:lnTo>
                  <a:pt x="7432540" y="2157955"/>
                </a:lnTo>
                <a:lnTo>
                  <a:pt x="7432540" y="2167826"/>
                </a:lnTo>
                <a:lnTo>
                  <a:pt x="7428521" y="2171865"/>
                </a:lnTo>
                <a:lnTo>
                  <a:pt x="7418611" y="2171865"/>
                </a:lnTo>
                <a:lnTo>
                  <a:pt x="7414592" y="2167826"/>
                </a:lnTo>
                <a:lnTo>
                  <a:pt x="7414592" y="2157955"/>
                </a:lnTo>
                <a:close/>
                <a:moveTo>
                  <a:pt x="7179298" y="2153916"/>
                </a:moveTo>
                <a:lnTo>
                  <a:pt x="7189209" y="2153916"/>
                </a:lnTo>
                <a:lnTo>
                  <a:pt x="7193228" y="2157955"/>
                </a:lnTo>
                <a:lnTo>
                  <a:pt x="7193228" y="2167826"/>
                </a:lnTo>
                <a:lnTo>
                  <a:pt x="7189209" y="2171865"/>
                </a:lnTo>
                <a:lnTo>
                  <a:pt x="7179298" y="2171865"/>
                </a:lnTo>
                <a:lnTo>
                  <a:pt x="7175279" y="2167826"/>
                </a:lnTo>
                <a:lnTo>
                  <a:pt x="7175279" y="2157955"/>
                </a:lnTo>
                <a:close/>
                <a:moveTo>
                  <a:pt x="8136553" y="2153915"/>
                </a:moveTo>
                <a:lnTo>
                  <a:pt x="8146464" y="2153915"/>
                </a:lnTo>
                <a:lnTo>
                  <a:pt x="8150483" y="2157955"/>
                </a:lnTo>
                <a:lnTo>
                  <a:pt x="8150483" y="2167825"/>
                </a:lnTo>
                <a:lnTo>
                  <a:pt x="8146464" y="2171864"/>
                </a:lnTo>
                <a:lnTo>
                  <a:pt x="8136553" y="2171864"/>
                </a:lnTo>
                <a:lnTo>
                  <a:pt x="8132534" y="2167825"/>
                </a:lnTo>
                <a:lnTo>
                  <a:pt x="8132534" y="2157955"/>
                </a:lnTo>
                <a:close/>
                <a:moveTo>
                  <a:pt x="7897241" y="2153915"/>
                </a:moveTo>
                <a:lnTo>
                  <a:pt x="7907151" y="2153915"/>
                </a:lnTo>
                <a:lnTo>
                  <a:pt x="7911170" y="2157955"/>
                </a:lnTo>
                <a:lnTo>
                  <a:pt x="7911170" y="2167826"/>
                </a:lnTo>
                <a:lnTo>
                  <a:pt x="7907151" y="2171864"/>
                </a:lnTo>
                <a:lnTo>
                  <a:pt x="7897241" y="2171864"/>
                </a:lnTo>
                <a:lnTo>
                  <a:pt x="7893222" y="2167826"/>
                </a:lnTo>
                <a:lnTo>
                  <a:pt x="7893222" y="2157955"/>
                </a:lnTo>
                <a:close/>
                <a:moveTo>
                  <a:pt x="7657926" y="2153915"/>
                </a:moveTo>
                <a:lnTo>
                  <a:pt x="7667836" y="2153915"/>
                </a:lnTo>
                <a:lnTo>
                  <a:pt x="7671855" y="2157955"/>
                </a:lnTo>
                <a:lnTo>
                  <a:pt x="7671855" y="2167826"/>
                </a:lnTo>
                <a:lnTo>
                  <a:pt x="7667836" y="2171864"/>
                </a:lnTo>
                <a:lnTo>
                  <a:pt x="7657926" y="2171864"/>
                </a:lnTo>
                <a:lnTo>
                  <a:pt x="7653906" y="2167826"/>
                </a:lnTo>
                <a:lnTo>
                  <a:pt x="7653906" y="2157955"/>
                </a:lnTo>
                <a:close/>
                <a:moveTo>
                  <a:pt x="8615184" y="2153896"/>
                </a:moveTo>
                <a:lnTo>
                  <a:pt x="8625095" y="2153896"/>
                </a:lnTo>
                <a:lnTo>
                  <a:pt x="8629114" y="2157935"/>
                </a:lnTo>
                <a:lnTo>
                  <a:pt x="8629114" y="2167805"/>
                </a:lnTo>
                <a:lnTo>
                  <a:pt x="8625095" y="2171844"/>
                </a:lnTo>
                <a:lnTo>
                  <a:pt x="8615184" y="2171844"/>
                </a:lnTo>
                <a:lnTo>
                  <a:pt x="8611165" y="2167805"/>
                </a:lnTo>
                <a:lnTo>
                  <a:pt x="8611165" y="2157935"/>
                </a:lnTo>
                <a:close/>
                <a:moveTo>
                  <a:pt x="8375869" y="2153896"/>
                </a:moveTo>
                <a:lnTo>
                  <a:pt x="8385779" y="2153896"/>
                </a:lnTo>
                <a:lnTo>
                  <a:pt x="8389799" y="2157935"/>
                </a:lnTo>
                <a:lnTo>
                  <a:pt x="8389799" y="2167805"/>
                </a:lnTo>
                <a:lnTo>
                  <a:pt x="8385779" y="2171844"/>
                </a:lnTo>
                <a:lnTo>
                  <a:pt x="8375869" y="2171844"/>
                </a:lnTo>
                <a:lnTo>
                  <a:pt x="8371850" y="2167805"/>
                </a:lnTo>
                <a:lnTo>
                  <a:pt x="8371850" y="2157935"/>
                </a:lnTo>
                <a:close/>
                <a:moveTo>
                  <a:pt x="9333125" y="2153895"/>
                </a:moveTo>
                <a:lnTo>
                  <a:pt x="9343036" y="2153895"/>
                </a:lnTo>
                <a:lnTo>
                  <a:pt x="9347055" y="2157934"/>
                </a:lnTo>
                <a:lnTo>
                  <a:pt x="9347055" y="2167805"/>
                </a:lnTo>
                <a:lnTo>
                  <a:pt x="9343036" y="2171844"/>
                </a:lnTo>
                <a:lnTo>
                  <a:pt x="9333125" y="2171844"/>
                </a:lnTo>
                <a:lnTo>
                  <a:pt x="9329106" y="2167805"/>
                </a:lnTo>
                <a:lnTo>
                  <a:pt x="9329106" y="2157934"/>
                </a:lnTo>
                <a:close/>
                <a:moveTo>
                  <a:pt x="9093811" y="2153895"/>
                </a:moveTo>
                <a:lnTo>
                  <a:pt x="9103722" y="2153895"/>
                </a:lnTo>
                <a:lnTo>
                  <a:pt x="9107741" y="2157935"/>
                </a:lnTo>
                <a:lnTo>
                  <a:pt x="9107741" y="2167805"/>
                </a:lnTo>
                <a:lnTo>
                  <a:pt x="9103722" y="2171844"/>
                </a:lnTo>
                <a:lnTo>
                  <a:pt x="9093811" y="2171844"/>
                </a:lnTo>
                <a:lnTo>
                  <a:pt x="9089792" y="2167805"/>
                </a:lnTo>
                <a:lnTo>
                  <a:pt x="9089792" y="2157935"/>
                </a:lnTo>
                <a:close/>
                <a:moveTo>
                  <a:pt x="8854496" y="2153895"/>
                </a:moveTo>
                <a:lnTo>
                  <a:pt x="8864407" y="2153895"/>
                </a:lnTo>
                <a:lnTo>
                  <a:pt x="8868426" y="2157935"/>
                </a:lnTo>
                <a:lnTo>
                  <a:pt x="8868426" y="2167805"/>
                </a:lnTo>
                <a:lnTo>
                  <a:pt x="8864407" y="2171844"/>
                </a:lnTo>
                <a:lnTo>
                  <a:pt x="8854496" y="2171844"/>
                </a:lnTo>
                <a:lnTo>
                  <a:pt x="8850477" y="2167805"/>
                </a:lnTo>
                <a:lnTo>
                  <a:pt x="8850477" y="2157935"/>
                </a:lnTo>
                <a:close/>
                <a:moveTo>
                  <a:pt x="9572438" y="2153876"/>
                </a:moveTo>
                <a:lnTo>
                  <a:pt x="9582349" y="2153876"/>
                </a:lnTo>
                <a:lnTo>
                  <a:pt x="9586368" y="2157914"/>
                </a:lnTo>
                <a:lnTo>
                  <a:pt x="9586368" y="2167786"/>
                </a:lnTo>
                <a:lnTo>
                  <a:pt x="9582349" y="2171824"/>
                </a:lnTo>
                <a:lnTo>
                  <a:pt x="9572438" y="2171824"/>
                </a:lnTo>
                <a:lnTo>
                  <a:pt x="9568419" y="2167786"/>
                </a:lnTo>
                <a:lnTo>
                  <a:pt x="9568419" y="2157914"/>
                </a:lnTo>
                <a:close/>
                <a:moveTo>
                  <a:pt x="1200582" y="2153867"/>
                </a:moveTo>
                <a:lnTo>
                  <a:pt x="1210491" y="2153867"/>
                </a:lnTo>
                <a:lnTo>
                  <a:pt x="1214510" y="2157906"/>
                </a:lnTo>
                <a:lnTo>
                  <a:pt x="1214510" y="2167776"/>
                </a:lnTo>
                <a:lnTo>
                  <a:pt x="1210491" y="2171815"/>
                </a:lnTo>
                <a:lnTo>
                  <a:pt x="1200582" y="2171815"/>
                </a:lnTo>
                <a:lnTo>
                  <a:pt x="1196562" y="2167776"/>
                </a:lnTo>
                <a:lnTo>
                  <a:pt x="1196562" y="2157906"/>
                </a:lnTo>
                <a:close/>
                <a:moveTo>
                  <a:pt x="961268" y="2153867"/>
                </a:moveTo>
                <a:lnTo>
                  <a:pt x="971179" y="2153867"/>
                </a:lnTo>
                <a:lnTo>
                  <a:pt x="975198" y="2157906"/>
                </a:lnTo>
                <a:lnTo>
                  <a:pt x="975198" y="2167776"/>
                </a:lnTo>
                <a:lnTo>
                  <a:pt x="971179" y="2171815"/>
                </a:lnTo>
                <a:lnTo>
                  <a:pt x="961268" y="2171815"/>
                </a:lnTo>
                <a:lnTo>
                  <a:pt x="957250" y="2167776"/>
                </a:lnTo>
                <a:lnTo>
                  <a:pt x="957250" y="2157906"/>
                </a:lnTo>
                <a:close/>
                <a:moveTo>
                  <a:pt x="1679214" y="2153867"/>
                </a:moveTo>
                <a:lnTo>
                  <a:pt x="1689123" y="2153867"/>
                </a:lnTo>
                <a:lnTo>
                  <a:pt x="1693144" y="2157905"/>
                </a:lnTo>
                <a:lnTo>
                  <a:pt x="1693144" y="2167775"/>
                </a:lnTo>
                <a:lnTo>
                  <a:pt x="1689123" y="2171814"/>
                </a:lnTo>
                <a:lnTo>
                  <a:pt x="1679214" y="2171814"/>
                </a:lnTo>
                <a:lnTo>
                  <a:pt x="1675195" y="2167775"/>
                </a:lnTo>
                <a:lnTo>
                  <a:pt x="1675195" y="2157905"/>
                </a:lnTo>
                <a:close/>
                <a:moveTo>
                  <a:pt x="1439897" y="2153867"/>
                </a:moveTo>
                <a:lnTo>
                  <a:pt x="1449807" y="2153867"/>
                </a:lnTo>
                <a:lnTo>
                  <a:pt x="1453826" y="2157905"/>
                </a:lnTo>
                <a:lnTo>
                  <a:pt x="1453826" y="2167776"/>
                </a:lnTo>
                <a:lnTo>
                  <a:pt x="1449807" y="2171814"/>
                </a:lnTo>
                <a:lnTo>
                  <a:pt x="1439897" y="2171814"/>
                </a:lnTo>
                <a:lnTo>
                  <a:pt x="1435878" y="2167776"/>
                </a:lnTo>
                <a:lnTo>
                  <a:pt x="1435878" y="2157905"/>
                </a:lnTo>
                <a:close/>
                <a:moveTo>
                  <a:pt x="1918513" y="2153855"/>
                </a:moveTo>
                <a:lnTo>
                  <a:pt x="1928422" y="2153855"/>
                </a:lnTo>
                <a:lnTo>
                  <a:pt x="1932443" y="2157892"/>
                </a:lnTo>
                <a:lnTo>
                  <a:pt x="1932443" y="2167763"/>
                </a:lnTo>
                <a:lnTo>
                  <a:pt x="1928422" y="2171803"/>
                </a:lnTo>
                <a:lnTo>
                  <a:pt x="1918513" y="2171803"/>
                </a:lnTo>
                <a:lnTo>
                  <a:pt x="1914494" y="2167763"/>
                </a:lnTo>
                <a:lnTo>
                  <a:pt x="1914494" y="2157892"/>
                </a:lnTo>
                <a:close/>
                <a:moveTo>
                  <a:pt x="2157821" y="2153850"/>
                </a:moveTo>
                <a:lnTo>
                  <a:pt x="2167732" y="2153850"/>
                </a:lnTo>
                <a:lnTo>
                  <a:pt x="2171750" y="2157889"/>
                </a:lnTo>
                <a:lnTo>
                  <a:pt x="2171750" y="2167759"/>
                </a:lnTo>
                <a:lnTo>
                  <a:pt x="2167732" y="2171798"/>
                </a:lnTo>
                <a:lnTo>
                  <a:pt x="2157821" y="2171798"/>
                </a:lnTo>
                <a:lnTo>
                  <a:pt x="2153803" y="2167759"/>
                </a:lnTo>
                <a:lnTo>
                  <a:pt x="2153803" y="2157889"/>
                </a:lnTo>
                <a:close/>
                <a:moveTo>
                  <a:pt x="4032" y="2153832"/>
                </a:moveTo>
                <a:lnTo>
                  <a:pt x="13942" y="2153832"/>
                </a:lnTo>
                <a:lnTo>
                  <a:pt x="17961" y="2157870"/>
                </a:lnTo>
                <a:lnTo>
                  <a:pt x="17961" y="2167741"/>
                </a:lnTo>
                <a:lnTo>
                  <a:pt x="13942" y="2171780"/>
                </a:lnTo>
                <a:lnTo>
                  <a:pt x="4032" y="2171780"/>
                </a:lnTo>
                <a:lnTo>
                  <a:pt x="13" y="2167741"/>
                </a:lnTo>
                <a:lnTo>
                  <a:pt x="13" y="2157870"/>
                </a:lnTo>
                <a:close/>
                <a:moveTo>
                  <a:pt x="721971" y="2153832"/>
                </a:moveTo>
                <a:lnTo>
                  <a:pt x="731881" y="2153832"/>
                </a:lnTo>
                <a:lnTo>
                  <a:pt x="735900" y="2157870"/>
                </a:lnTo>
                <a:lnTo>
                  <a:pt x="735900" y="2167740"/>
                </a:lnTo>
                <a:lnTo>
                  <a:pt x="731881" y="2171780"/>
                </a:lnTo>
                <a:lnTo>
                  <a:pt x="721971" y="2171780"/>
                </a:lnTo>
                <a:lnTo>
                  <a:pt x="717952" y="2167740"/>
                </a:lnTo>
                <a:lnTo>
                  <a:pt x="717952" y="2157870"/>
                </a:lnTo>
                <a:close/>
                <a:moveTo>
                  <a:pt x="482659" y="2153832"/>
                </a:moveTo>
                <a:lnTo>
                  <a:pt x="492569" y="2153832"/>
                </a:lnTo>
                <a:lnTo>
                  <a:pt x="496588" y="2157870"/>
                </a:lnTo>
                <a:lnTo>
                  <a:pt x="496588" y="2167741"/>
                </a:lnTo>
                <a:lnTo>
                  <a:pt x="492569" y="2171780"/>
                </a:lnTo>
                <a:lnTo>
                  <a:pt x="482659" y="2171780"/>
                </a:lnTo>
                <a:lnTo>
                  <a:pt x="478640" y="2167741"/>
                </a:lnTo>
                <a:lnTo>
                  <a:pt x="478640" y="2157870"/>
                </a:lnTo>
                <a:close/>
                <a:moveTo>
                  <a:pt x="243345" y="2153832"/>
                </a:moveTo>
                <a:lnTo>
                  <a:pt x="253255" y="2153832"/>
                </a:lnTo>
                <a:lnTo>
                  <a:pt x="257274" y="2157870"/>
                </a:lnTo>
                <a:lnTo>
                  <a:pt x="257274" y="2167741"/>
                </a:lnTo>
                <a:lnTo>
                  <a:pt x="253255" y="2171780"/>
                </a:lnTo>
                <a:lnTo>
                  <a:pt x="243345" y="2171780"/>
                </a:lnTo>
                <a:lnTo>
                  <a:pt x="239326" y="2167741"/>
                </a:lnTo>
                <a:lnTo>
                  <a:pt x="239326" y="2157870"/>
                </a:lnTo>
                <a:close/>
                <a:moveTo>
                  <a:pt x="2393104" y="1914701"/>
                </a:moveTo>
                <a:lnTo>
                  <a:pt x="2403015" y="1914701"/>
                </a:lnTo>
                <a:lnTo>
                  <a:pt x="2407034" y="1918739"/>
                </a:lnTo>
                <a:lnTo>
                  <a:pt x="2407034" y="1928610"/>
                </a:lnTo>
                <a:lnTo>
                  <a:pt x="2403015" y="1932649"/>
                </a:lnTo>
                <a:lnTo>
                  <a:pt x="2393104" y="1932649"/>
                </a:lnTo>
                <a:lnTo>
                  <a:pt x="2389087" y="1928610"/>
                </a:lnTo>
                <a:lnTo>
                  <a:pt x="2389087" y="1918739"/>
                </a:lnTo>
                <a:close/>
                <a:moveTo>
                  <a:pt x="3350359" y="1914699"/>
                </a:moveTo>
                <a:lnTo>
                  <a:pt x="3360268" y="1914699"/>
                </a:lnTo>
                <a:lnTo>
                  <a:pt x="3364287" y="1918738"/>
                </a:lnTo>
                <a:lnTo>
                  <a:pt x="3364287" y="1928610"/>
                </a:lnTo>
                <a:lnTo>
                  <a:pt x="3360268" y="1932649"/>
                </a:lnTo>
                <a:lnTo>
                  <a:pt x="3350359" y="1932649"/>
                </a:lnTo>
                <a:lnTo>
                  <a:pt x="3346340" y="1928610"/>
                </a:lnTo>
                <a:lnTo>
                  <a:pt x="3346340" y="1918738"/>
                </a:lnTo>
                <a:close/>
                <a:moveTo>
                  <a:pt x="3111048" y="1914699"/>
                </a:moveTo>
                <a:lnTo>
                  <a:pt x="3120959" y="1914699"/>
                </a:lnTo>
                <a:lnTo>
                  <a:pt x="3124977" y="1918739"/>
                </a:lnTo>
                <a:lnTo>
                  <a:pt x="3124977" y="1928610"/>
                </a:lnTo>
                <a:lnTo>
                  <a:pt x="3120959" y="1932649"/>
                </a:lnTo>
                <a:lnTo>
                  <a:pt x="3111048" y="1932649"/>
                </a:lnTo>
                <a:lnTo>
                  <a:pt x="3107029" y="1928610"/>
                </a:lnTo>
                <a:lnTo>
                  <a:pt x="3107029" y="1918739"/>
                </a:lnTo>
                <a:close/>
                <a:moveTo>
                  <a:pt x="2871737" y="1914699"/>
                </a:moveTo>
                <a:lnTo>
                  <a:pt x="2881646" y="1914699"/>
                </a:lnTo>
                <a:lnTo>
                  <a:pt x="2885666" y="1918739"/>
                </a:lnTo>
                <a:lnTo>
                  <a:pt x="2885666" y="1928610"/>
                </a:lnTo>
                <a:lnTo>
                  <a:pt x="2881646" y="1932649"/>
                </a:lnTo>
                <a:lnTo>
                  <a:pt x="2871737" y="1932649"/>
                </a:lnTo>
                <a:lnTo>
                  <a:pt x="2867717" y="1928610"/>
                </a:lnTo>
                <a:lnTo>
                  <a:pt x="2867717" y="1918739"/>
                </a:lnTo>
                <a:close/>
                <a:moveTo>
                  <a:pt x="2632423" y="1914699"/>
                </a:moveTo>
                <a:lnTo>
                  <a:pt x="2642334" y="1914699"/>
                </a:lnTo>
                <a:lnTo>
                  <a:pt x="2646352" y="1918739"/>
                </a:lnTo>
                <a:lnTo>
                  <a:pt x="2646352" y="1928610"/>
                </a:lnTo>
                <a:lnTo>
                  <a:pt x="2642334" y="1932649"/>
                </a:lnTo>
                <a:lnTo>
                  <a:pt x="2632423" y="1932649"/>
                </a:lnTo>
                <a:lnTo>
                  <a:pt x="2628404" y="1928610"/>
                </a:lnTo>
                <a:lnTo>
                  <a:pt x="2628404" y="1918739"/>
                </a:lnTo>
                <a:close/>
                <a:moveTo>
                  <a:pt x="3589676" y="1914682"/>
                </a:moveTo>
                <a:lnTo>
                  <a:pt x="3599585" y="1914682"/>
                </a:lnTo>
                <a:lnTo>
                  <a:pt x="3603604" y="1918721"/>
                </a:lnTo>
                <a:lnTo>
                  <a:pt x="3603604" y="1928592"/>
                </a:lnTo>
                <a:lnTo>
                  <a:pt x="3599585" y="1932631"/>
                </a:lnTo>
                <a:lnTo>
                  <a:pt x="3589676" y="1932631"/>
                </a:lnTo>
                <a:lnTo>
                  <a:pt x="3585657" y="1928592"/>
                </a:lnTo>
                <a:lnTo>
                  <a:pt x="3585657" y="1918721"/>
                </a:lnTo>
                <a:close/>
                <a:moveTo>
                  <a:pt x="4546929" y="1914681"/>
                </a:moveTo>
                <a:lnTo>
                  <a:pt x="4556840" y="1914681"/>
                </a:lnTo>
                <a:lnTo>
                  <a:pt x="4560859" y="1918719"/>
                </a:lnTo>
                <a:lnTo>
                  <a:pt x="4560859" y="1928592"/>
                </a:lnTo>
                <a:lnTo>
                  <a:pt x="4556840" y="1932631"/>
                </a:lnTo>
                <a:lnTo>
                  <a:pt x="4546929" y="1932631"/>
                </a:lnTo>
                <a:lnTo>
                  <a:pt x="4542910" y="1928592"/>
                </a:lnTo>
                <a:lnTo>
                  <a:pt x="4542910" y="1918719"/>
                </a:lnTo>
                <a:close/>
                <a:moveTo>
                  <a:pt x="4307612" y="1914681"/>
                </a:moveTo>
                <a:lnTo>
                  <a:pt x="4317523" y="1914681"/>
                </a:lnTo>
                <a:lnTo>
                  <a:pt x="4321543" y="1918720"/>
                </a:lnTo>
                <a:lnTo>
                  <a:pt x="4321543" y="1928592"/>
                </a:lnTo>
                <a:lnTo>
                  <a:pt x="4317523" y="1932631"/>
                </a:lnTo>
                <a:lnTo>
                  <a:pt x="4307612" y="1932631"/>
                </a:lnTo>
                <a:lnTo>
                  <a:pt x="4303595" y="1928592"/>
                </a:lnTo>
                <a:lnTo>
                  <a:pt x="4303595" y="1918720"/>
                </a:lnTo>
                <a:close/>
                <a:moveTo>
                  <a:pt x="4068297" y="1914681"/>
                </a:moveTo>
                <a:lnTo>
                  <a:pt x="4078210" y="1914681"/>
                </a:lnTo>
                <a:lnTo>
                  <a:pt x="4082229" y="1918720"/>
                </a:lnTo>
                <a:lnTo>
                  <a:pt x="4082229" y="1928592"/>
                </a:lnTo>
                <a:lnTo>
                  <a:pt x="4078210" y="1932631"/>
                </a:lnTo>
                <a:lnTo>
                  <a:pt x="4068297" y="1932631"/>
                </a:lnTo>
                <a:lnTo>
                  <a:pt x="4064278" y="1928592"/>
                </a:lnTo>
                <a:lnTo>
                  <a:pt x="4064278" y="1918720"/>
                </a:lnTo>
                <a:close/>
                <a:moveTo>
                  <a:pt x="3828990" y="1914681"/>
                </a:moveTo>
                <a:lnTo>
                  <a:pt x="3838899" y="1914681"/>
                </a:lnTo>
                <a:lnTo>
                  <a:pt x="3842917" y="1918720"/>
                </a:lnTo>
                <a:lnTo>
                  <a:pt x="3842917" y="1928592"/>
                </a:lnTo>
                <a:lnTo>
                  <a:pt x="3838899" y="1932631"/>
                </a:lnTo>
                <a:lnTo>
                  <a:pt x="3828990" y="1932631"/>
                </a:lnTo>
                <a:lnTo>
                  <a:pt x="3824971" y="1928592"/>
                </a:lnTo>
                <a:lnTo>
                  <a:pt x="3824971" y="1918720"/>
                </a:lnTo>
                <a:close/>
                <a:moveTo>
                  <a:pt x="4786241" y="1914664"/>
                </a:moveTo>
                <a:lnTo>
                  <a:pt x="4796152" y="1914664"/>
                </a:lnTo>
                <a:lnTo>
                  <a:pt x="4800171" y="1918702"/>
                </a:lnTo>
                <a:lnTo>
                  <a:pt x="4800171" y="1928573"/>
                </a:lnTo>
                <a:lnTo>
                  <a:pt x="4796152" y="1932612"/>
                </a:lnTo>
                <a:lnTo>
                  <a:pt x="4786241" y="1932612"/>
                </a:lnTo>
                <a:lnTo>
                  <a:pt x="4782224" y="1928573"/>
                </a:lnTo>
                <a:lnTo>
                  <a:pt x="4782224" y="1918702"/>
                </a:lnTo>
                <a:close/>
                <a:moveTo>
                  <a:pt x="5504099" y="1914663"/>
                </a:moveTo>
                <a:lnTo>
                  <a:pt x="5514010" y="1914663"/>
                </a:lnTo>
                <a:lnTo>
                  <a:pt x="5518029" y="1918702"/>
                </a:lnTo>
                <a:lnTo>
                  <a:pt x="5518029" y="1928572"/>
                </a:lnTo>
                <a:lnTo>
                  <a:pt x="5514010" y="1932612"/>
                </a:lnTo>
                <a:lnTo>
                  <a:pt x="5504099" y="1932612"/>
                </a:lnTo>
                <a:lnTo>
                  <a:pt x="5500080" y="1928572"/>
                </a:lnTo>
                <a:lnTo>
                  <a:pt x="5500080" y="1918702"/>
                </a:lnTo>
                <a:close/>
                <a:moveTo>
                  <a:pt x="5264784" y="1914663"/>
                </a:moveTo>
                <a:lnTo>
                  <a:pt x="5274694" y="1914663"/>
                </a:lnTo>
                <a:lnTo>
                  <a:pt x="5278713" y="1918702"/>
                </a:lnTo>
                <a:lnTo>
                  <a:pt x="5278713" y="1928573"/>
                </a:lnTo>
                <a:lnTo>
                  <a:pt x="5274694" y="1932612"/>
                </a:lnTo>
                <a:lnTo>
                  <a:pt x="5264784" y="1932612"/>
                </a:lnTo>
                <a:lnTo>
                  <a:pt x="5260765" y="1928573"/>
                </a:lnTo>
                <a:lnTo>
                  <a:pt x="5260765" y="1918702"/>
                </a:lnTo>
                <a:close/>
                <a:moveTo>
                  <a:pt x="5025470" y="1914663"/>
                </a:moveTo>
                <a:lnTo>
                  <a:pt x="5035381" y="1914663"/>
                </a:lnTo>
                <a:lnTo>
                  <a:pt x="5039400" y="1918702"/>
                </a:lnTo>
                <a:lnTo>
                  <a:pt x="5039400" y="1928573"/>
                </a:lnTo>
                <a:lnTo>
                  <a:pt x="5035381" y="1932612"/>
                </a:lnTo>
                <a:lnTo>
                  <a:pt x="5025470" y="1932612"/>
                </a:lnTo>
                <a:lnTo>
                  <a:pt x="5021451" y="1928573"/>
                </a:lnTo>
                <a:lnTo>
                  <a:pt x="5021451" y="1918702"/>
                </a:lnTo>
                <a:close/>
                <a:moveTo>
                  <a:pt x="5743412" y="1914662"/>
                </a:moveTo>
                <a:lnTo>
                  <a:pt x="5753323" y="1914662"/>
                </a:lnTo>
                <a:lnTo>
                  <a:pt x="5757342" y="1918701"/>
                </a:lnTo>
                <a:lnTo>
                  <a:pt x="5757342" y="1928572"/>
                </a:lnTo>
                <a:lnTo>
                  <a:pt x="5753323" y="1932612"/>
                </a:lnTo>
                <a:lnTo>
                  <a:pt x="5743412" y="1932612"/>
                </a:lnTo>
                <a:lnTo>
                  <a:pt x="5739393" y="1928572"/>
                </a:lnTo>
                <a:lnTo>
                  <a:pt x="5739393" y="1918701"/>
                </a:lnTo>
                <a:close/>
                <a:moveTo>
                  <a:pt x="5982729" y="1914645"/>
                </a:moveTo>
                <a:lnTo>
                  <a:pt x="5992639" y="1914645"/>
                </a:lnTo>
                <a:lnTo>
                  <a:pt x="5996658" y="1918684"/>
                </a:lnTo>
                <a:lnTo>
                  <a:pt x="5996658" y="1928555"/>
                </a:lnTo>
                <a:lnTo>
                  <a:pt x="5992639" y="1932594"/>
                </a:lnTo>
                <a:lnTo>
                  <a:pt x="5982729" y="1932594"/>
                </a:lnTo>
                <a:lnTo>
                  <a:pt x="5978710" y="1928555"/>
                </a:lnTo>
                <a:lnTo>
                  <a:pt x="5978710" y="1918684"/>
                </a:lnTo>
                <a:close/>
                <a:moveTo>
                  <a:pt x="6939983" y="1914645"/>
                </a:moveTo>
                <a:lnTo>
                  <a:pt x="6949894" y="1914645"/>
                </a:lnTo>
                <a:lnTo>
                  <a:pt x="6953913" y="1918682"/>
                </a:lnTo>
                <a:lnTo>
                  <a:pt x="6953913" y="1928554"/>
                </a:lnTo>
                <a:lnTo>
                  <a:pt x="6949894" y="1932594"/>
                </a:lnTo>
                <a:lnTo>
                  <a:pt x="6939983" y="1932594"/>
                </a:lnTo>
                <a:lnTo>
                  <a:pt x="6935964" y="1928554"/>
                </a:lnTo>
                <a:lnTo>
                  <a:pt x="6935964" y="1918682"/>
                </a:lnTo>
                <a:close/>
                <a:moveTo>
                  <a:pt x="6700670" y="1914645"/>
                </a:moveTo>
                <a:lnTo>
                  <a:pt x="6710581" y="1914645"/>
                </a:lnTo>
                <a:lnTo>
                  <a:pt x="6714600" y="1918683"/>
                </a:lnTo>
                <a:lnTo>
                  <a:pt x="6714600" y="1928554"/>
                </a:lnTo>
                <a:lnTo>
                  <a:pt x="6710581" y="1932594"/>
                </a:lnTo>
                <a:lnTo>
                  <a:pt x="6700670" y="1932594"/>
                </a:lnTo>
                <a:lnTo>
                  <a:pt x="6696651" y="1928554"/>
                </a:lnTo>
                <a:lnTo>
                  <a:pt x="6696651" y="1918683"/>
                </a:lnTo>
                <a:close/>
                <a:moveTo>
                  <a:pt x="6461356" y="1914645"/>
                </a:moveTo>
                <a:lnTo>
                  <a:pt x="6471266" y="1914645"/>
                </a:lnTo>
                <a:lnTo>
                  <a:pt x="6475285" y="1918683"/>
                </a:lnTo>
                <a:lnTo>
                  <a:pt x="6475285" y="1928555"/>
                </a:lnTo>
                <a:lnTo>
                  <a:pt x="6471266" y="1932594"/>
                </a:lnTo>
                <a:lnTo>
                  <a:pt x="6461356" y="1932594"/>
                </a:lnTo>
                <a:lnTo>
                  <a:pt x="6457337" y="1928555"/>
                </a:lnTo>
                <a:lnTo>
                  <a:pt x="6457337" y="1918683"/>
                </a:lnTo>
                <a:close/>
                <a:moveTo>
                  <a:pt x="6222042" y="1914645"/>
                </a:moveTo>
                <a:lnTo>
                  <a:pt x="6231952" y="1914645"/>
                </a:lnTo>
                <a:lnTo>
                  <a:pt x="6235971" y="1918683"/>
                </a:lnTo>
                <a:lnTo>
                  <a:pt x="6235971" y="1928555"/>
                </a:lnTo>
                <a:lnTo>
                  <a:pt x="6231952" y="1932594"/>
                </a:lnTo>
                <a:lnTo>
                  <a:pt x="6222042" y="1932594"/>
                </a:lnTo>
                <a:lnTo>
                  <a:pt x="6218023" y="1928555"/>
                </a:lnTo>
                <a:lnTo>
                  <a:pt x="6218023" y="1918683"/>
                </a:lnTo>
                <a:close/>
                <a:moveTo>
                  <a:pt x="7179298" y="1914627"/>
                </a:moveTo>
                <a:lnTo>
                  <a:pt x="7189209" y="1914627"/>
                </a:lnTo>
                <a:lnTo>
                  <a:pt x="7193228" y="1918666"/>
                </a:lnTo>
                <a:lnTo>
                  <a:pt x="7193228" y="1928536"/>
                </a:lnTo>
                <a:lnTo>
                  <a:pt x="7189209" y="1932575"/>
                </a:lnTo>
                <a:lnTo>
                  <a:pt x="7179298" y="1932575"/>
                </a:lnTo>
                <a:lnTo>
                  <a:pt x="7175279" y="1928536"/>
                </a:lnTo>
                <a:lnTo>
                  <a:pt x="7175279" y="1918666"/>
                </a:lnTo>
                <a:close/>
                <a:moveTo>
                  <a:pt x="7897241" y="1914627"/>
                </a:moveTo>
                <a:lnTo>
                  <a:pt x="7907151" y="1914627"/>
                </a:lnTo>
                <a:lnTo>
                  <a:pt x="7911170" y="1918664"/>
                </a:lnTo>
                <a:lnTo>
                  <a:pt x="7911170" y="1928535"/>
                </a:lnTo>
                <a:lnTo>
                  <a:pt x="7907151" y="1932575"/>
                </a:lnTo>
                <a:lnTo>
                  <a:pt x="7897241" y="1932575"/>
                </a:lnTo>
                <a:lnTo>
                  <a:pt x="7893222" y="1928535"/>
                </a:lnTo>
                <a:lnTo>
                  <a:pt x="7893222" y="1918664"/>
                </a:lnTo>
                <a:close/>
                <a:moveTo>
                  <a:pt x="7657926" y="1914627"/>
                </a:moveTo>
                <a:lnTo>
                  <a:pt x="7667836" y="1914627"/>
                </a:lnTo>
                <a:lnTo>
                  <a:pt x="7671855" y="1918664"/>
                </a:lnTo>
                <a:lnTo>
                  <a:pt x="7671855" y="1928536"/>
                </a:lnTo>
                <a:lnTo>
                  <a:pt x="7667836" y="1932575"/>
                </a:lnTo>
                <a:lnTo>
                  <a:pt x="7657926" y="1932575"/>
                </a:lnTo>
                <a:lnTo>
                  <a:pt x="7653906" y="1928536"/>
                </a:lnTo>
                <a:lnTo>
                  <a:pt x="7653906" y="1918664"/>
                </a:lnTo>
                <a:close/>
                <a:moveTo>
                  <a:pt x="7418611" y="1914627"/>
                </a:moveTo>
                <a:lnTo>
                  <a:pt x="7428521" y="1914627"/>
                </a:lnTo>
                <a:lnTo>
                  <a:pt x="7432540" y="1918664"/>
                </a:lnTo>
                <a:lnTo>
                  <a:pt x="7432540" y="1928536"/>
                </a:lnTo>
                <a:lnTo>
                  <a:pt x="7428521" y="1932575"/>
                </a:lnTo>
                <a:lnTo>
                  <a:pt x="7418611" y="1932575"/>
                </a:lnTo>
                <a:lnTo>
                  <a:pt x="7414592" y="1928536"/>
                </a:lnTo>
                <a:lnTo>
                  <a:pt x="7414592" y="1918664"/>
                </a:lnTo>
                <a:close/>
                <a:moveTo>
                  <a:pt x="8136553" y="1914626"/>
                </a:moveTo>
                <a:lnTo>
                  <a:pt x="8146464" y="1914626"/>
                </a:lnTo>
                <a:lnTo>
                  <a:pt x="8150483" y="1918664"/>
                </a:lnTo>
                <a:lnTo>
                  <a:pt x="8150483" y="1928535"/>
                </a:lnTo>
                <a:lnTo>
                  <a:pt x="8146464" y="1932575"/>
                </a:lnTo>
                <a:lnTo>
                  <a:pt x="8136553" y="1932575"/>
                </a:lnTo>
                <a:lnTo>
                  <a:pt x="8132534" y="1928535"/>
                </a:lnTo>
                <a:lnTo>
                  <a:pt x="8132534" y="1918664"/>
                </a:lnTo>
                <a:close/>
                <a:moveTo>
                  <a:pt x="8375869" y="1914608"/>
                </a:moveTo>
                <a:lnTo>
                  <a:pt x="8385779" y="1914608"/>
                </a:lnTo>
                <a:lnTo>
                  <a:pt x="8389799" y="1918647"/>
                </a:lnTo>
                <a:lnTo>
                  <a:pt x="8389799" y="1928518"/>
                </a:lnTo>
                <a:lnTo>
                  <a:pt x="8385779" y="1932557"/>
                </a:lnTo>
                <a:lnTo>
                  <a:pt x="8375869" y="1932557"/>
                </a:lnTo>
                <a:lnTo>
                  <a:pt x="8371850" y="1928518"/>
                </a:lnTo>
                <a:lnTo>
                  <a:pt x="8371850" y="1918647"/>
                </a:lnTo>
                <a:close/>
                <a:moveTo>
                  <a:pt x="9333125" y="1914608"/>
                </a:moveTo>
                <a:lnTo>
                  <a:pt x="9343036" y="1914608"/>
                </a:lnTo>
                <a:lnTo>
                  <a:pt x="9347055" y="1918646"/>
                </a:lnTo>
                <a:lnTo>
                  <a:pt x="9347055" y="1928517"/>
                </a:lnTo>
                <a:lnTo>
                  <a:pt x="9343036" y="1932557"/>
                </a:lnTo>
                <a:lnTo>
                  <a:pt x="9333125" y="1932557"/>
                </a:lnTo>
                <a:lnTo>
                  <a:pt x="9329106" y="1928517"/>
                </a:lnTo>
                <a:lnTo>
                  <a:pt x="9329106" y="1918646"/>
                </a:lnTo>
                <a:close/>
                <a:moveTo>
                  <a:pt x="9093811" y="1914608"/>
                </a:moveTo>
                <a:lnTo>
                  <a:pt x="9103722" y="1914608"/>
                </a:lnTo>
                <a:lnTo>
                  <a:pt x="9107741" y="1918646"/>
                </a:lnTo>
                <a:lnTo>
                  <a:pt x="9107741" y="1928517"/>
                </a:lnTo>
                <a:lnTo>
                  <a:pt x="9103722" y="1932557"/>
                </a:lnTo>
                <a:lnTo>
                  <a:pt x="9093811" y="1932557"/>
                </a:lnTo>
                <a:lnTo>
                  <a:pt x="9089792" y="1928517"/>
                </a:lnTo>
                <a:lnTo>
                  <a:pt x="9089792" y="1918646"/>
                </a:lnTo>
                <a:close/>
                <a:moveTo>
                  <a:pt x="8854496" y="1914608"/>
                </a:moveTo>
                <a:lnTo>
                  <a:pt x="8864407" y="1914608"/>
                </a:lnTo>
                <a:lnTo>
                  <a:pt x="8868426" y="1918646"/>
                </a:lnTo>
                <a:lnTo>
                  <a:pt x="8868426" y="1928518"/>
                </a:lnTo>
                <a:lnTo>
                  <a:pt x="8864407" y="1932557"/>
                </a:lnTo>
                <a:lnTo>
                  <a:pt x="8854496" y="1932557"/>
                </a:lnTo>
                <a:lnTo>
                  <a:pt x="8850477" y="1928518"/>
                </a:lnTo>
                <a:lnTo>
                  <a:pt x="8850477" y="1918646"/>
                </a:lnTo>
                <a:close/>
                <a:moveTo>
                  <a:pt x="8615184" y="1914608"/>
                </a:moveTo>
                <a:lnTo>
                  <a:pt x="8625095" y="1914608"/>
                </a:lnTo>
                <a:lnTo>
                  <a:pt x="8629114" y="1918646"/>
                </a:lnTo>
                <a:lnTo>
                  <a:pt x="8629114" y="1928518"/>
                </a:lnTo>
                <a:lnTo>
                  <a:pt x="8625095" y="1932557"/>
                </a:lnTo>
                <a:lnTo>
                  <a:pt x="8615184" y="1932557"/>
                </a:lnTo>
                <a:lnTo>
                  <a:pt x="8611165" y="1928518"/>
                </a:lnTo>
                <a:lnTo>
                  <a:pt x="8611165" y="1918646"/>
                </a:lnTo>
                <a:close/>
                <a:moveTo>
                  <a:pt x="9572438" y="1914590"/>
                </a:moveTo>
                <a:lnTo>
                  <a:pt x="9582349" y="1914590"/>
                </a:lnTo>
                <a:lnTo>
                  <a:pt x="9586368" y="1918629"/>
                </a:lnTo>
                <a:lnTo>
                  <a:pt x="9586368" y="1928499"/>
                </a:lnTo>
                <a:lnTo>
                  <a:pt x="9582349" y="1932538"/>
                </a:lnTo>
                <a:lnTo>
                  <a:pt x="9572438" y="1932538"/>
                </a:lnTo>
                <a:lnTo>
                  <a:pt x="9568419" y="1928499"/>
                </a:lnTo>
                <a:lnTo>
                  <a:pt x="9568419" y="1918629"/>
                </a:lnTo>
                <a:close/>
                <a:moveTo>
                  <a:pt x="243346" y="1914550"/>
                </a:moveTo>
                <a:lnTo>
                  <a:pt x="253256" y="1914550"/>
                </a:lnTo>
                <a:lnTo>
                  <a:pt x="257275" y="1918589"/>
                </a:lnTo>
                <a:lnTo>
                  <a:pt x="257275" y="1928459"/>
                </a:lnTo>
                <a:lnTo>
                  <a:pt x="253256" y="1932498"/>
                </a:lnTo>
                <a:lnTo>
                  <a:pt x="243346" y="1932498"/>
                </a:lnTo>
                <a:lnTo>
                  <a:pt x="239327" y="1928459"/>
                </a:lnTo>
                <a:lnTo>
                  <a:pt x="239327" y="1918589"/>
                </a:lnTo>
                <a:close/>
                <a:moveTo>
                  <a:pt x="4032" y="1914550"/>
                </a:moveTo>
                <a:lnTo>
                  <a:pt x="13943" y="1914550"/>
                </a:lnTo>
                <a:lnTo>
                  <a:pt x="17962" y="1918589"/>
                </a:lnTo>
                <a:lnTo>
                  <a:pt x="17962" y="1928459"/>
                </a:lnTo>
                <a:lnTo>
                  <a:pt x="13943" y="1932498"/>
                </a:lnTo>
                <a:lnTo>
                  <a:pt x="4032" y="1932498"/>
                </a:lnTo>
                <a:lnTo>
                  <a:pt x="13" y="1928459"/>
                </a:lnTo>
                <a:lnTo>
                  <a:pt x="13" y="1918589"/>
                </a:lnTo>
                <a:close/>
                <a:moveTo>
                  <a:pt x="721971" y="1914550"/>
                </a:moveTo>
                <a:lnTo>
                  <a:pt x="731882" y="1914550"/>
                </a:lnTo>
                <a:lnTo>
                  <a:pt x="735901" y="1918588"/>
                </a:lnTo>
                <a:lnTo>
                  <a:pt x="735901" y="1928459"/>
                </a:lnTo>
                <a:lnTo>
                  <a:pt x="731882" y="1932497"/>
                </a:lnTo>
                <a:lnTo>
                  <a:pt x="721971" y="1932497"/>
                </a:lnTo>
                <a:lnTo>
                  <a:pt x="717953" y="1928459"/>
                </a:lnTo>
                <a:lnTo>
                  <a:pt x="717953" y="1918588"/>
                </a:lnTo>
                <a:close/>
                <a:moveTo>
                  <a:pt x="482660" y="1914550"/>
                </a:moveTo>
                <a:lnTo>
                  <a:pt x="492570" y="1914550"/>
                </a:lnTo>
                <a:lnTo>
                  <a:pt x="496589" y="1918588"/>
                </a:lnTo>
                <a:lnTo>
                  <a:pt x="496589" y="1928459"/>
                </a:lnTo>
                <a:lnTo>
                  <a:pt x="492570" y="1932497"/>
                </a:lnTo>
                <a:lnTo>
                  <a:pt x="482660" y="1932497"/>
                </a:lnTo>
                <a:lnTo>
                  <a:pt x="478640" y="1928459"/>
                </a:lnTo>
                <a:lnTo>
                  <a:pt x="478640" y="1918588"/>
                </a:lnTo>
                <a:close/>
                <a:moveTo>
                  <a:pt x="1679215" y="1914535"/>
                </a:moveTo>
                <a:lnTo>
                  <a:pt x="1689125" y="1914535"/>
                </a:lnTo>
                <a:lnTo>
                  <a:pt x="1693144" y="1918573"/>
                </a:lnTo>
                <a:lnTo>
                  <a:pt x="1693144" y="1928444"/>
                </a:lnTo>
                <a:lnTo>
                  <a:pt x="1689125" y="1932482"/>
                </a:lnTo>
                <a:lnTo>
                  <a:pt x="1679215" y="1932482"/>
                </a:lnTo>
                <a:lnTo>
                  <a:pt x="1675195" y="1928444"/>
                </a:lnTo>
                <a:lnTo>
                  <a:pt x="1675195" y="1918573"/>
                </a:lnTo>
                <a:close/>
                <a:moveTo>
                  <a:pt x="1439897" y="1914535"/>
                </a:moveTo>
                <a:lnTo>
                  <a:pt x="1449808" y="1914535"/>
                </a:lnTo>
                <a:lnTo>
                  <a:pt x="1453827" y="1918573"/>
                </a:lnTo>
                <a:lnTo>
                  <a:pt x="1453827" y="1928444"/>
                </a:lnTo>
                <a:lnTo>
                  <a:pt x="1449808" y="1932483"/>
                </a:lnTo>
                <a:lnTo>
                  <a:pt x="1439897" y="1932483"/>
                </a:lnTo>
                <a:lnTo>
                  <a:pt x="1435879" y="1928444"/>
                </a:lnTo>
                <a:lnTo>
                  <a:pt x="1435879" y="1918573"/>
                </a:lnTo>
                <a:close/>
                <a:moveTo>
                  <a:pt x="1200582" y="1914535"/>
                </a:moveTo>
                <a:lnTo>
                  <a:pt x="1210492" y="1914535"/>
                </a:lnTo>
                <a:lnTo>
                  <a:pt x="1214511" y="1918573"/>
                </a:lnTo>
                <a:lnTo>
                  <a:pt x="1214511" y="1928444"/>
                </a:lnTo>
                <a:lnTo>
                  <a:pt x="1210492" y="1932483"/>
                </a:lnTo>
                <a:lnTo>
                  <a:pt x="1200582" y="1932483"/>
                </a:lnTo>
                <a:lnTo>
                  <a:pt x="1196563" y="1928444"/>
                </a:lnTo>
                <a:lnTo>
                  <a:pt x="1196563" y="1918573"/>
                </a:lnTo>
                <a:close/>
                <a:moveTo>
                  <a:pt x="961269" y="1914535"/>
                </a:moveTo>
                <a:lnTo>
                  <a:pt x="971179" y="1914535"/>
                </a:lnTo>
                <a:lnTo>
                  <a:pt x="975198" y="1918573"/>
                </a:lnTo>
                <a:lnTo>
                  <a:pt x="975198" y="1928444"/>
                </a:lnTo>
                <a:lnTo>
                  <a:pt x="971179" y="1932483"/>
                </a:lnTo>
                <a:lnTo>
                  <a:pt x="961269" y="1932483"/>
                </a:lnTo>
                <a:lnTo>
                  <a:pt x="957250" y="1928444"/>
                </a:lnTo>
                <a:lnTo>
                  <a:pt x="957250" y="1918573"/>
                </a:lnTo>
                <a:close/>
                <a:moveTo>
                  <a:pt x="1918513" y="1914523"/>
                </a:moveTo>
                <a:lnTo>
                  <a:pt x="1928424" y="1914523"/>
                </a:lnTo>
                <a:lnTo>
                  <a:pt x="1932443" y="1918562"/>
                </a:lnTo>
                <a:lnTo>
                  <a:pt x="1932443" y="1928432"/>
                </a:lnTo>
                <a:lnTo>
                  <a:pt x="1928424" y="1932471"/>
                </a:lnTo>
                <a:lnTo>
                  <a:pt x="1918513" y="1932471"/>
                </a:lnTo>
                <a:lnTo>
                  <a:pt x="1914494" y="1928432"/>
                </a:lnTo>
                <a:lnTo>
                  <a:pt x="1914494" y="1918562"/>
                </a:lnTo>
                <a:close/>
                <a:moveTo>
                  <a:pt x="2157821" y="1914520"/>
                </a:moveTo>
                <a:lnTo>
                  <a:pt x="2167732" y="1914520"/>
                </a:lnTo>
                <a:lnTo>
                  <a:pt x="2171751" y="1918558"/>
                </a:lnTo>
                <a:lnTo>
                  <a:pt x="2171751" y="1928428"/>
                </a:lnTo>
                <a:lnTo>
                  <a:pt x="2167732" y="1932467"/>
                </a:lnTo>
                <a:lnTo>
                  <a:pt x="2157821" y="1932467"/>
                </a:lnTo>
                <a:lnTo>
                  <a:pt x="2153803" y="1928428"/>
                </a:lnTo>
                <a:lnTo>
                  <a:pt x="2153803" y="1918558"/>
                </a:lnTo>
                <a:close/>
                <a:moveTo>
                  <a:pt x="2871737" y="1675350"/>
                </a:moveTo>
                <a:lnTo>
                  <a:pt x="2881646" y="1675350"/>
                </a:lnTo>
                <a:lnTo>
                  <a:pt x="2885666" y="1679389"/>
                </a:lnTo>
                <a:lnTo>
                  <a:pt x="2885666" y="1689260"/>
                </a:lnTo>
                <a:lnTo>
                  <a:pt x="2881646" y="1693299"/>
                </a:lnTo>
                <a:lnTo>
                  <a:pt x="2871737" y="1693299"/>
                </a:lnTo>
                <a:lnTo>
                  <a:pt x="2867717" y="1689260"/>
                </a:lnTo>
                <a:lnTo>
                  <a:pt x="2867717" y="1679389"/>
                </a:lnTo>
                <a:close/>
                <a:moveTo>
                  <a:pt x="2632423" y="1675350"/>
                </a:moveTo>
                <a:lnTo>
                  <a:pt x="2642334" y="1675350"/>
                </a:lnTo>
                <a:lnTo>
                  <a:pt x="2646352" y="1679389"/>
                </a:lnTo>
                <a:lnTo>
                  <a:pt x="2646352" y="1689260"/>
                </a:lnTo>
                <a:lnTo>
                  <a:pt x="2642334" y="1693299"/>
                </a:lnTo>
                <a:lnTo>
                  <a:pt x="2632423" y="1693299"/>
                </a:lnTo>
                <a:lnTo>
                  <a:pt x="2628404" y="1689260"/>
                </a:lnTo>
                <a:lnTo>
                  <a:pt x="2628404" y="1679389"/>
                </a:lnTo>
                <a:close/>
                <a:moveTo>
                  <a:pt x="2393104" y="1675350"/>
                </a:moveTo>
                <a:lnTo>
                  <a:pt x="2403015" y="1675350"/>
                </a:lnTo>
                <a:lnTo>
                  <a:pt x="2407034" y="1679389"/>
                </a:lnTo>
                <a:lnTo>
                  <a:pt x="2407034" y="1689260"/>
                </a:lnTo>
                <a:lnTo>
                  <a:pt x="2403015" y="1693299"/>
                </a:lnTo>
                <a:lnTo>
                  <a:pt x="2393104" y="1693299"/>
                </a:lnTo>
                <a:lnTo>
                  <a:pt x="2389087" y="1689260"/>
                </a:lnTo>
                <a:lnTo>
                  <a:pt x="2389087" y="1679389"/>
                </a:lnTo>
                <a:close/>
                <a:moveTo>
                  <a:pt x="3350359" y="1675349"/>
                </a:moveTo>
                <a:lnTo>
                  <a:pt x="3360268" y="1675349"/>
                </a:lnTo>
                <a:lnTo>
                  <a:pt x="3364287" y="1679388"/>
                </a:lnTo>
                <a:lnTo>
                  <a:pt x="3364287" y="1689260"/>
                </a:lnTo>
                <a:lnTo>
                  <a:pt x="3360268" y="1693298"/>
                </a:lnTo>
                <a:lnTo>
                  <a:pt x="3350359" y="1693298"/>
                </a:lnTo>
                <a:lnTo>
                  <a:pt x="3346340" y="1689260"/>
                </a:lnTo>
                <a:lnTo>
                  <a:pt x="3346340" y="1679388"/>
                </a:lnTo>
                <a:close/>
                <a:moveTo>
                  <a:pt x="3111048" y="1675349"/>
                </a:moveTo>
                <a:lnTo>
                  <a:pt x="3120959" y="1675349"/>
                </a:lnTo>
                <a:lnTo>
                  <a:pt x="3124977" y="1679388"/>
                </a:lnTo>
                <a:lnTo>
                  <a:pt x="3124977" y="1689260"/>
                </a:lnTo>
                <a:lnTo>
                  <a:pt x="3120959" y="1693299"/>
                </a:lnTo>
                <a:lnTo>
                  <a:pt x="3111048" y="1693299"/>
                </a:lnTo>
                <a:lnTo>
                  <a:pt x="3107029" y="1689260"/>
                </a:lnTo>
                <a:lnTo>
                  <a:pt x="3107029" y="1679388"/>
                </a:lnTo>
                <a:close/>
                <a:moveTo>
                  <a:pt x="4068297" y="1675334"/>
                </a:moveTo>
                <a:lnTo>
                  <a:pt x="4078210" y="1675334"/>
                </a:lnTo>
                <a:lnTo>
                  <a:pt x="4082229" y="1679373"/>
                </a:lnTo>
                <a:lnTo>
                  <a:pt x="4082229" y="1689243"/>
                </a:lnTo>
                <a:lnTo>
                  <a:pt x="4078210" y="1693282"/>
                </a:lnTo>
                <a:lnTo>
                  <a:pt x="4068297" y="1693282"/>
                </a:lnTo>
                <a:lnTo>
                  <a:pt x="4064278" y="1689243"/>
                </a:lnTo>
                <a:lnTo>
                  <a:pt x="4064278" y="1679373"/>
                </a:lnTo>
                <a:close/>
                <a:moveTo>
                  <a:pt x="3828990" y="1675334"/>
                </a:moveTo>
                <a:lnTo>
                  <a:pt x="3838899" y="1675334"/>
                </a:lnTo>
                <a:lnTo>
                  <a:pt x="3842917" y="1679373"/>
                </a:lnTo>
                <a:lnTo>
                  <a:pt x="3842917" y="1689243"/>
                </a:lnTo>
                <a:lnTo>
                  <a:pt x="3838899" y="1693282"/>
                </a:lnTo>
                <a:lnTo>
                  <a:pt x="3828990" y="1693282"/>
                </a:lnTo>
                <a:lnTo>
                  <a:pt x="3824971" y="1689243"/>
                </a:lnTo>
                <a:lnTo>
                  <a:pt x="3824971" y="1679373"/>
                </a:lnTo>
                <a:close/>
                <a:moveTo>
                  <a:pt x="3589676" y="1675334"/>
                </a:moveTo>
                <a:lnTo>
                  <a:pt x="3599585" y="1675334"/>
                </a:lnTo>
                <a:lnTo>
                  <a:pt x="3603604" y="1679373"/>
                </a:lnTo>
                <a:lnTo>
                  <a:pt x="3603604" y="1689243"/>
                </a:lnTo>
                <a:lnTo>
                  <a:pt x="3599585" y="1693282"/>
                </a:lnTo>
                <a:lnTo>
                  <a:pt x="3589676" y="1693282"/>
                </a:lnTo>
                <a:lnTo>
                  <a:pt x="3585657" y="1689243"/>
                </a:lnTo>
                <a:lnTo>
                  <a:pt x="3585657" y="1679373"/>
                </a:lnTo>
                <a:close/>
                <a:moveTo>
                  <a:pt x="4546929" y="1675333"/>
                </a:moveTo>
                <a:lnTo>
                  <a:pt x="4556840" y="1675333"/>
                </a:lnTo>
                <a:lnTo>
                  <a:pt x="4560859" y="1679372"/>
                </a:lnTo>
                <a:lnTo>
                  <a:pt x="4560859" y="1689243"/>
                </a:lnTo>
                <a:lnTo>
                  <a:pt x="4556840" y="1693281"/>
                </a:lnTo>
                <a:lnTo>
                  <a:pt x="4546929" y="1693281"/>
                </a:lnTo>
                <a:lnTo>
                  <a:pt x="4542910" y="1689243"/>
                </a:lnTo>
                <a:lnTo>
                  <a:pt x="4542910" y="1679372"/>
                </a:lnTo>
                <a:close/>
                <a:moveTo>
                  <a:pt x="4307612" y="1675333"/>
                </a:moveTo>
                <a:lnTo>
                  <a:pt x="4317523" y="1675333"/>
                </a:lnTo>
                <a:lnTo>
                  <a:pt x="4321543" y="1679372"/>
                </a:lnTo>
                <a:lnTo>
                  <a:pt x="4321543" y="1689243"/>
                </a:lnTo>
                <a:lnTo>
                  <a:pt x="4317523" y="1693282"/>
                </a:lnTo>
                <a:lnTo>
                  <a:pt x="4307612" y="1693282"/>
                </a:lnTo>
                <a:lnTo>
                  <a:pt x="4303595" y="1689243"/>
                </a:lnTo>
                <a:lnTo>
                  <a:pt x="4303595" y="1679372"/>
                </a:lnTo>
                <a:close/>
                <a:moveTo>
                  <a:pt x="5264784" y="1675318"/>
                </a:moveTo>
                <a:lnTo>
                  <a:pt x="5274694" y="1675318"/>
                </a:lnTo>
                <a:lnTo>
                  <a:pt x="5278713" y="1679357"/>
                </a:lnTo>
                <a:lnTo>
                  <a:pt x="5278713" y="1689227"/>
                </a:lnTo>
                <a:lnTo>
                  <a:pt x="5274694" y="1693266"/>
                </a:lnTo>
                <a:lnTo>
                  <a:pt x="5264784" y="1693266"/>
                </a:lnTo>
                <a:lnTo>
                  <a:pt x="5260765" y="1689227"/>
                </a:lnTo>
                <a:lnTo>
                  <a:pt x="5260765" y="1679357"/>
                </a:lnTo>
                <a:close/>
                <a:moveTo>
                  <a:pt x="5025470" y="1675318"/>
                </a:moveTo>
                <a:lnTo>
                  <a:pt x="5035381" y="1675318"/>
                </a:lnTo>
                <a:lnTo>
                  <a:pt x="5039400" y="1679357"/>
                </a:lnTo>
                <a:lnTo>
                  <a:pt x="5039400" y="1689227"/>
                </a:lnTo>
                <a:lnTo>
                  <a:pt x="5035381" y="1693266"/>
                </a:lnTo>
                <a:lnTo>
                  <a:pt x="5025470" y="1693266"/>
                </a:lnTo>
                <a:lnTo>
                  <a:pt x="5021451" y="1689227"/>
                </a:lnTo>
                <a:lnTo>
                  <a:pt x="5021451" y="1679357"/>
                </a:lnTo>
                <a:close/>
                <a:moveTo>
                  <a:pt x="4786241" y="1675318"/>
                </a:moveTo>
                <a:lnTo>
                  <a:pt x="4796152" y="1675318"/>
                </a:lnTo>
                <a:lnTo>
                  <a:pt x="4800171" y="1679357"/>
                </a:lnTo>
                <a:lnTo>
                  <a:pt x="4800171" y="1689227"/>
                </a:lnTo>
                <a:lnTo>
                  <a:pt x="4796152" y="1693266"/>
                </a:lnTo>
                <a:lnTo>
                  <a:pt x="4786241" y="1693266"/>
                </a:lnTo>
                <a:lnTo>
                  <a:pt x="4782224" y="1689227"/>
                </a:lnTo>
                <a:lnTo>
                  <a:pt x="4782224" y="1679357"/>
                </a:lnTo>
                <a:close/>
                <a:moveTo>
                  <a:pt x="5743412" y="1675316"/>
                </a:moveTo>
                <a:lnTo>
                  <a:pt x="5753323" y="1675316"/>
                </a:lnTo>
                <a:lnTo>
                  <a:pt x="5757342" y="1679356"/>
                </a:lnTo>
                <a:lnTo>
                  <a:pt x="5757342" y="1689227"/>
                </a:lnTo>
                <a:lnTo>
                  <a:pt x="5753323" y="1693266"/>
                </a:lnTo>
                <a:lnTo>
                  <a:pt x="5743412" y="1693266"/>
                </a:lnTo>
                <a:lnTo>
                  <a:pt x="5739393" y="1689227"/>
                </a:lnTo>
                <a:lnTo>
                  <a:pt x="5739393" y="1679356"/>
                </a:lnTo>
                <a:close/>
                <a:moveTo>
                  <a:pt x="5504099" y="1675316"/>
                </a:moveTo>
                <a:lnTo>
                  <a:pt x="5514010" y="1675316"/>
                </a:lnTo>
                <a:lnTo>
                  <a:pt x="5518029" y="1679356"/>
                </a:lnTo>
                <a:lnTo>
                  <a:pt x="5518029" y="1689227"/>
                </a:lnTo>
                <a:lnTo>
                  <a:pt x="5514010" y="1693266"/>
                </a:lnTo>
                <a:lnTo>
                  <a:pt x="5504099" y="1693266"/>
                </a:lnTo>
                <a:lnTo>
                  <a:pt x="5500080" y="1689227"/>
                </a:lnTo>
                <a:lnTo>
                  <a:pt x="5500080" y="1679356"/>
                </a:lnTo>
                <a:close/>
                <a:moveTo>
                  <a:pt x="6461356" y="1675301"/>
                </a:moveTo>
                <a:lnTo>
                  <a:pt x="6471266" y="1675301"/>
                </a:lnTo>
                <a:lnTo>
                  <a:pt x="6475285" y="1679339"/>
                </a:lnTo>
                <a:lnTo>
                  <a:pt x="6475285" y="1689210"/>
                </a:lnTo>
                <a:lnTo>
                  <a:pt x="6471266" y="1693249"/>
                </a:lnTo>
                <a:lnTo>
                  <a:pt x="6461356" y="1693249"/>
                </a:lnTo>
                <a:lnTo>
                  <a:pt x="6457337" y="1689210"/>
                </a:lnTo>
                <a:lnTo>
                  <a:pt x="6457337" y="1679339"/>
                </a:lnTo>
                <a:close/>
                <a:moveTo>
                  <a:pt x="6222042" y="1675301"/>
                </a:moveTo>
                <a:lnTo>
                  <a:pt x="6231952" y="1675301"/>
                </a:lnTo>
                <a:lnTo>
                  <a:pt x="6235971" y="1679339"/>
                </a:lnTo>
                <a:lnTo>
                  <a:pt x="6235971" y="1689211"/>
                </a:lnTo>
                <a:lnTo>
                  <a:pt x="6231952" y="1693249"/>
                </a:lnTo>
                <a:lnTo>
                  <a:pt x="6222042" y="1693249"/>
                </a:lnTo>
                <a:lnTo>
                  <a:pt x="6218023" y="1689211"/>
                </a:lnTo>
                <a:lnTo>
                  <a:pt x="6218023" y="1679339"/>
                </a:lnTo>
                <a:close/>
                <a:moveTo>
                  <a:pt x="5982729" y="1675301"/>
                </a:moveTo>
                <a:lnTo>
                  <a:pt x="5992639" y="1675301"/>
                </a:lnTo>
                <a:lnTo>
                  <a:pt x="5996658" y="1679339"/>
                </a:lnTo>
                <a:lnTo>
                  <a:pt x="5996658" y="1689211"/>
                </a:lnTo>
                <a:lnTo>
                  <a:pt x="5992639" y="1693251"/>
                </a:lnTo>
                <a:lnTo>
                  <a:pt x="5982729" y="1693251"/>
                </a:lnTo>
                <a:lnTo>
                  <a:pt x="5978710" y="1689211"/>
                </a:lnTo>
                <a:lnTo>
                  <a:pt x="5978710" y="1679339"/>
                </a:lnTo>
                <a:close/>
                <a:moveTo>
                  <a:pt x="6939983" y="1675300"/>
                </a:moveTo>
                <a:lnTo>
                  <a:pt x="6949894" y="1675300"/>
                </a:lnTo>
                <a:lnTo>
                  <a:pt x="6953913" y="1679339"/>
                </a:lnTo>
                <a:lnTo>
                  <a:pt x="6953913" y="1689210"/>
                </a:lnTo>
                <a:lnTo>
                  <a:pt x="6949894" y="1693249"/>
                </a:lnTo>
                <a:lnTo>
                  <a:pt x="6939983" y="1693249"/>
                </a:lnTo>
                <a:lnTo>
                  <a:pt x="6935964" y="1689210"/>
                </a:lnTo>
                <a:lnTo>
                  <a:pt x="6935964" y="1679339"/>
                </a:lnTo>
                <a:close/>
                <a:moveTo>
                  <a:pt x="6700670" y="1675300"/>
                </a:moveTo>
                <a:lnTo>
                  <a:pt x="6710581" y="1675300"/>
                </a:lnTo>
                <a:lnTo>
                  <a:pt x="6714600" y="1679339"/>
                </a:lnTo>
                <a:lnTo>
                  <a:pt x="6714600" y="1689210"/>
                </a:lnTo>
                <a:lnTo>
                  <a:pt x="6710581" y="1693249"/>
                </a:lnTo>
                <a:lnTo>
                  <a:pt x="6700670" y="1693249"/>
                </a:lnTo>
                <a:lnTo>
                  <a:pt x="6696651" y="1689210"/>
                </a:lnTo>
                <a:lnTo>
                  <a:pt x="6696651" y="1679339"/>
                </a:lnTo>
                <a:close/>
                <a:moveTo>
                  <a:pt x="8136553" y="1675285"/>
                </a:moveTo>
                <a:lnTo>
                  <a:pt x="8146464" y="1675285"/>
                </a:lnTo>
                <a:lnTo>
                  <a:pt x="8150483" y="1679323"/>
                </a:lnTo>
                <a:lnTo>
                  <a:pt x="8150483" y="1689193"/>
                </a:lnTo>
                <a:lnTo>
                  <a:pt x="8146464" y="1693232"/>
                </a:lnTo>
                <a:lnTo>
                  <a:pt x="8136553" y="1693232"/>
                </a:lnTo>
                <a:lnTo>
                  <a:pt x="8132534" y="1689193"/>
                </a:lnTo>
                <a:lnTo>
                  <a:pt x="8132534" y="1679323"/>
                </a:lnTo>
                <a:close/>
                <a:moveTo>
                  <a:pt x="7897241" y="1675285"/>
                </a:moveTo>
                <a:lnTo>
                  <a:pt x="7907151" y="1675285"/>
                </a:lnTo>
                <a:lnTo>
                  <a:pt x="7911170" y="1679323"/>
                </a:lnTo>
                <a:lnTo>
                  <a:pt x="7911170" y="1689193"/>
                </a:lnTo>
                <a:lnTo>
                  <a:pt x="7907151" y="1693232"/>
                </a:lnTo>
                <a:lnTo>
                  <a:pt x="7897241" y="1693232"/>
                </a:lnTo>
                <a:lnTo>
                  <a:pt x="7893222" y="1689193"/>
                </a:lnTo>
                <a:lnTo>
                  <a:pt x="7893222" y="1679323"/>
                </a:lnTo>
                <a:close/>
                <a:moveTo>
                  <a:pt x="7657926" y="1675285"/>
                </a:moveTo>
                <a:lnTo>
                  <a:pt x="7667836" y="1675285"/>
                </a:lnTo>
                <a:lnTo>
                  <a:pt x="7671855" y="1679323"/>
                </a:lnTo>
                <a:lnTo>
                  <a:pt x="7671855" y="1689193"/>
                </a:lnTo>
                <a:lnTo>
                  <a:pt x="7667836" y="1693232"/>
                </a:lnTo>
                <a:lnTo>
                  <a:pt x="7657926" y="1693232"/>
                </a:lnTo>
                <a:lnTo>
                  <a:pt x="7653906" y="1689193"/>
                </a:lnTo>
                <a:lnTo>
                  <a:pt x="7653906" y="1679323"/>
                </a:lnTo>
                <a:close/>
                <a:moveTo>
                  <a:pt x="7418611" y="1675285"/>
                </a:moveTo>
                <a:lnTo>
                  <a:pt x="7428521" y="1675285"/>
                </a:lnTo>
                <a:lnTo>
                  <a:pt x="7432540" y="1679323"/>
                </a:lnTo>
                <a:lnTo>
                  <a:pt x="7432540" y="1689195"/>
                </a:lnTo>
                <a:lnTo>
                  <a:pt x="7428521" y="1693232"/>
                </a:lnTo>
                <a:lnTo>
                  <a:pt x="7418611" y="1693232"/>
                </a:lnTo>
                <a:lnTo>
                  <a:pt x="7414592" y="1689195"/>
                </a:lnTo>
                <a:lnTo>
                  <a:pt x="7414592" y="1679323"/>
                </a:lnTo>
                <a:close/>
                <a:moveTo>
                  <a:pt x="7179298" y="1675285"/>
                </a:moveTo>
                <a:lnTo>
                  <a:pt x="7189209" y="1675285"/>
                </a:lnTo>
                <a:lnTo>
                  <a:pt x="7193228" y="1679323"/>
                </a:lnTo>
                <a:lnTo>
                  <a:pt x="7193228" y="1689195"/>
                </a:lnTo>
                <a:lnTo>
                  <a:pt x="7189209" y="1693234"/>
                </a:lnTo>
                <a:lnTo>
                  <a:pt x="7179298" y="1693234"/>
                </a:lnTo>
                <a:lnTo>
                  <a:pt x="7175279" y="1689195"/>
                </a:lnTo>
                <a:lnTo>
                  <a:pt x="7175279" y="1679323"/>
                </a:lnTo>
                <a:close/>
                <a:moveTo>
                  <a:pt x="9333125" y="1675268"/>
                </a:moveTo>
                <a:lnTo>
                  <a:pt x="9343036" y="1675268"/>
                </a:lnTo>
                <a:lnTo>
                  <a:pt x="9347055" y="1679306"/>
                </a:lnTo>
                <a:lnTo>
                  <a:pt x="9347055" y="1689177"/>
                </a:lnTo>
                <a:lnTo>
                  <a:pt x="9343036" y="1693216"/>
                </a:lnTo>
                <a:lnTo>
                  <a:pt x="9333125" y="1693216"/>
                </a:lnTo>
                <a:lnTo>
                  <a:pt x="9329106" y="1689177"/>
                </a:lnTo>
                <a:lnTo>
                  <a:pt x="9329106" y="1679306"/>
                </a:lnTo>
                <a:close/>
                <a:moveTo>
                  <a:pt x="9093811" y="1675268"/>
                </a:moveTo>
                <a:lnTo>
                  <a:pt x="9103722" y="1675268"/>
                </a:lnTo>
                <a:lnTo>
                  <a:pt x="9107741" y="1679306"/>
                </a:lnTo>
                <a:lnTo>
                  <a:pt x="9107741" y="1689177"/>
                </a:lnTo>
                <a:lnTo>
                  <a:pt x="9103722" y="1693217"/>
                </a:lnTo>
                <a:lnTo>
                  <a:pt x="9093811" y="1693217"/>
                </a:lnTo>
                <a:lnTo>
                  <a:pt x="9089792" y="1689177"/>
                </a:lnTo>
                <a:lnTo>
                  <a:pt x="9089792" y="1679306"/>
                </a:lnTo>
                <a:close/>
                <a:moveTo>
                  <a:pt x="8854496" y="1675268"/>
                </a:moveTo>
                <a:lnTo>
                  <a:pt x="8864407" y="1675268"/>
                </a:lnTo>
                <a:lnTo>
                  <a:pt x="8868426" y="1679307"/>
                </a:lnTo>
                <a:lnTo>
                  <a:pt x="8868426" y="1689177"/>
                </a:lnTo>
                <a:lnTo>
                  <a:pt x="8864407" y="1693217"/>
                </a:lnTo>
                <a:lnTo>
                  <a:pt x="8854496" y="1693217"/>
                </a:lnTo>
                <a:lnTo>
                  <a:pt x="8850477" y="1689177"/>
                </a:lnTo>
                <a:lnTo>
                  <a:pt x="8850477" y="1679307"/>
                </a:lnTo>
                <a:close/>
                <a:moveTo>
                  <a:pt x="8615184" y="1675268"/>
                </a:moveTo>
                <a:lnTo>
                  <a:pt x="8625095" y="1675268"/>
                </a:lnTo>
                <a:lnTo>
                  <a:pt x="8629114" y="1679307"/>
                </a:lnTo>
                <a:lnTo>
                  <a:pt x="8629114" y="1689178"/>
                </a:lnTo>
                <a:lnTo>
                  <a:pt x="8625095" y="1693217"/>
                </a:lnTo>
                <a:lnTo>
                  <a:pt x="8615184" y="1693217"/>
                </a:lnTo>
                <a:lnTo>
                  <a:pt x="8611165" y="1689178"/>
                </a:lnTo>
                <a:lnTo>
                  <a:pt x="8611165" y="1679307"/>
                </a:lnTo>
                <a:close/>
                <a:moveTo>
                  <a:pt x="8375869" y="1675268"/>
                </a:moveTo>
                <a:lnTo>
                  <a:pt x="8385779" y="1675268"/>
                </a:lnTo>
                <a:lnTo>
                  <a:pt x="8389799" y="1679307"/>
                </a:lnTo>
                <a:lnTo>
                  <a:pt x="8389799" y="1689178"/>
                </a:lnTo>
                <a:lnTo>
                  <a:pt x="8385779" y="1693217"/>
                </a:lnTo>
                <a:lnTo>
                  <a:pt x="8375869" y="1693217"/>
                </a:lnTo>
                <a:lnTo>
                  <a:pt x="8371850" y="1689178"/>
                </a:lnTo>
                <a:lnTo>
                  <a:pt x="8371850" y="1679307"/>
                </a:lnTo>
                <a:close/>
                <a:moveTo>
                  <a:pt x="961270" y="1675255"/>
                </a:moveTo>
                <a:lnTo>
                  <a:pt x="971180" y="1675255"/>
                </a:lnTo>
                <a:lnTo>
                  <a:pt x="975199" y="1679292"/>
                </a:lnTo>
                <a:lnTo>
                  <a:pt x="975199" y="1689163"/>
                </a:lnTo>
                <a:lnTo>
                  <a:pt x="971180" y="1693202"/>
                </a:lnTo>
                <a:lnTo>
                  <a:pt x="961270" y="1693202"/>
                </a:lnTo>
                <a:lnTo>
                  <a:pt x="957251" y="1689163"/>
                </a:lnTo>
                <a:lnTo>
                  <a:pt x="957251" y="1679292"/>
                </a:lnTo>
                <a:close/>
                <a:moveTo>
                  <a:pt x="1679215" y="1675254"/>
                </a:moveTo>
                <a:lnTo>
                  <a:pt x="1689126" y="1675254"/>
                </a:lnTo>
                <a:lnTo>
                  <a:pt x="1693145" y="1679292"/>
                </a:lnTo>
                <a:lnTo>
                  <a:pt x="1693145" y="1689163"/>
                </a:lnTo>
                <a:lnTo>
                  <a:pt x="1689126" y="1693202"/>
                </a:lnTo>
                <a:lnTo>
                  <a:pt x="1679215" y="1693202"/>
                </a:lnTo>
                <a:lnTo>
                  <a:pt x="1675196" y="1689163"/>
                </a:lnTo>
                <a:lnTo>
                  <a:pt x="1675196" y="1679292"/>
                </a:lnTo>
                <a:close/>
                <a:moveTo>
                  <a:pt x="1439898" y="1675254"/>
                </a:moveTo>
                <a:lnTo>
                  <a:pt x="1449808" y="1675254"/>
                </a:lnTo>
                <a:lnTo>
                  <a:pt x="1453828" y="1679292"/>
                </a:lnTo>
                <a:lnTo>
                  <a:pt x="1453828" y="1689163"/>
                </a:lnTo>
                <a:lnTo>
                  <a:pt x="1449808" y="1693202"/>
                </a:lnTo>
                <a:lnTo>
                  <a:pt x="1439898" y="1693202"/>
                </a:lnTo>
                <a:lnTo>
                  <a:pt x="1435880" y="1689163"/>
                </a:lnTo>
                <a:lnTo>
                  <a:pt x="1435880" y="1679292"/>
                </a:lnTo>
                <a:close/>
                <a:moveTo>
                  <a:pt x="1200583" y="1675254"/>
                </a:moveTo>
                <a:lnTo>
                  <a:pt x="1210493" y="1675254"/>
                </a:lnTo>
                <a:lnTo>
                  <a:pt x="1214511" y="1679292"/>
                </a:lnTo>
                <a:lnTo>
                  <a:pt x="1214511" y="1689163"/>
                </a:lnTo>
                <a:lnTo>
                  <a:pt x="1210493" y="1693202"/>
                </a:lnTo>
                <a:lnTo>
                  <a:pt x="1200583" y="1693202"/>
                </a:lnTo>
                <a:lnTo>
                  <a:pt x="1196564" y="1689163"/>
                </a:lnTo>
                <a:lnTo>
                  <a:pt x="1196564" y="1679292"/>
                </a:lnTo>
                <a:close/>
                <a:moveTo>
                  <a:pt x="9572438" y="1675251"/>
                </a:moveTo>
                <a:lnTo>
                  <a:pt x="9582349" y="1675251"/>
                </a:lnTo>
                <a:lnTo>
                  <a:pt x="9586368" y="1679290"/>
                </a:lnTo>
                <a:lnTo>
                  <a:pt x="9586368" y="1689161"/>
                </a:lnTo>
                <a:lnTo>
                  <a:pt x="9582349" y="1693201"/>
                </a:lnTo>
                <a:lnTo>
                  <a:pt x="9572438" y="1693201"/>
                </a:lnTo>
                <a:lnTo>
                  <a:pt x="9568419" y="1689161"/>
                </a:lnTo>
                <a:lnTo>
                  <a:pt x="9568419" y="1679290"/>
                </a:lnTo>
                <a:close/>
                <a:moveTo>
                  <a:pt x="1918514" y="1675243"/>
                </a:moveTo>
                <a:lnTo>
                  <a:pt x="1928424" y="1675243"/>
                </a:lnTo>
                <a:lnTo>
                  <a:pt x="1932443" y="1679282"/>
                </a:lnTo>
                <a:lnTo>
                  <a:pt x="1932443" y="1689153"/>
                </a:lnTo>
                <a:lnTo>
                  <a:pt x="1928424" y="1693191"/>
                </a:lnTo>
                <a:lnTo>
                  <a:pt x="1918514" y="1693191"/>
                </a:lnTo>
                <a:lnTo>
                  <a:pt x="1914494" y="1689153"/>
                </a:lnTo>
                <a:lnTo>
                  <a:pt x="1914494" y="1679282"/>
                </a:lnTo>
                <a:close/>
                <a:moveTo>
                  <a:pt x="2157821" y="1675240"/>
                </a:moveTo>
                <a:lnTo>
                  <a:pt x="2167732" y="1675240"/>
                </a:lnTo>
                <a:lnTo>
                  <a:pt x="2171751" y="1679279"/>
                </a:lnTo>
                <a:lnTo>
                  <a:pt x="2171751" y="1689149"/>
                </a:lnTo>
                <a:lnTo>
                  <a:pt x="2167732" y="1693188"/>
                </a:lnTo>
                <a:lnTo>
                  <a:pt x="2157821" y="1693188"/>
                </a:lnTo>
                <a:lnTo>
                  <a:pt x="2153803" y="1689149"/>
                </a:lnTo>
                <a:lnTo>
                  <a:pt x="2153803" y="1679279"/>
                </a:lnTo>
                <a:close/>
                <a:moveTo>
                  <a:pt x="243346" y="1675216"/>
                </a:moveTo>
                <a:lnTo>
                  <a:pt x="253257" y="1675216"/>
                </a:lnTo>
                <a:lnTo>
                  <a:pt x="257276" y="1679254"/>
                </a:lnTo>
                <a:lnTo>
                  <a:pt x="257276" y="1689125"/>
                </a:lnTo>
                <a:lnTo>
                  <a:pt x="253257" y="1693164"/>
                </a:lnTo>
                <a:lnTo>
                  <a:pt x="243346" y="1693164"/>
                </a:lnTo>
                <a:lnTo>
                  <a:pt x="239327" y="1689125"/>
                </a:lnTo>
                <a:lnTo>
                  <a:pt x="239327" y="1679254"/>
                </a:lnTo>
                <a:close/>
                <a:moveTo>
                  <a:pt x="4034" y="1675216"/>
                </a:moveTo>
                <a:lnTo>
                  <a:pt x="13943" y="1675216"/>
                </a:lnTo>
                <a:lnTo>
                  <a:pt x="17962" y="1679254"/>
                </a:lnTo>
                <a:lnTo>
                  <a:pt x="17962" y="1689125"/>
                </a:lnTo>
                <a:lnTo>
                  <a:pt x="13943" y="1693164"/>
                </a:lnTo>
                <a:lnTo>
                  <a:pt x="4034" y="1693164"/>
                </a:lnTo>
                <a:lnTo>
                  <a:pt x="14" y="1689125"/>
                </a:lnTo>
                <a:lnTo>
                  <a:pt x="14" y="1679254"/>
                </a:lnTo>
                <a:close/>
                <a:moveTo>
                  <a:pt x="721972" y="1675216"/>
                </a:moveTo>
                <a:lnTo>
                  <a:pt x="731882" y="1675216"/>
                </a:lnTo>
                <a:lnTo>
                  <a:pt x="735902" y="1679254"/>
                </a:lnTo>
                <a:lnTo>
                  <a:pt x="735902" y="1689125"/>
                </a:lnTo>
                <a:lnTo>
                  <a:pt x="731882" y="1693164"/>
                </a:lnTo>
                <a:lnTo>
                  <a:pt x="721972" y="1693164"/>
                </a:lnTo>
                <a:lnTo>
                  <a:pt x="717954" y="1689125"/>
                </a:lnTo>
                <a:lnTo>
                  <a:pt x="717954" y="1679254"/>
                </a:lnTo>
                <a:close/>
                <a:moveTo>
                  <a:pt x="482660" y="1675216"/>
                </a:moveTo>
                <a:lnTo>
                  <a:pt x="492571" y="1675216"/>
                </a:lnTo>
                <a:lnTo>
                  <a:pt x="496589" y="1679254"/>
                </a:lnTo>
                <a:lnTo>
                  <a:pt x="496589" y="1689125"/>
                </a:lnTo>
                <a:lnTo>
                  <a:pt x="492571" y="1693164"/>
                </a:lnTo>
                <a:lnTo>
                  <a:pt x="482660" y="1693164"/>
                </a:lnTo>
                <a:lnTo>
                  <a:pt x="478641" y="1689125"/>
                </a:lnTo>
                <a:lnTo>
                  <a:pt x="478641" y="1679254"/>
                </a:lnTo>
                <a:close/>
                <a:moveTo>
                  <a:pt x="2393104" y="1436001"/>
                </a:moveTo>
                <a:lnTo>
                  <a:pt x="2403015" y="1436001"/>
                </a:lnTo>
                <a:lnTo>
                  <a:pt x="2407034" y="1440038"/>
                </a:lnTo>
                <a:lnTo>
                  <a:pt x="2407034" y="1449910"/>
                </a:lnTo>
                <a:lnTo>
                  <a:pt x="2403015" y="1453949"/>
                </a:lnTo>
                <a:lnTo>
                  <a:pt x="2393104" y="1453949"/>
                </a:lnTo>
                <a:lnTo>
                  <a:pt x="2389087" y="1449910"/>
                </a:lnTo>
                <a:lnTo>
                  <a:pt x="2389087" y="1440038"/>
                </a:lnTo>
                <a:close/>
                <a:moveTo>
                  <a:pt x="3350359" y="1436000"/>
                </a:moveTo>
                <a:lnTo>
                  <a:pt x="3360268" y="1436000"/>
                </a:lnTo>
                <a:lnTo>
                  <a:pt x="3364287" y="1440038"/>
                </a:lnTo>
                <a:lnTo>
                  <a:pt x="3364287" y="1449909"/>
                </a:lnTo>
                <a:lnTo>
                  <a:pt x="3360268" y="1453949"/>
                </a:lnTo>
                <a:lnTo>
                  <a:pt x="3350359" y="1453949"/>
                </a:lnTo>
                <a:lnTo>
                  <a:pt x="3346340" y="1449909"/>
                </a:lnTo>
                <a:lnTo>
                  <a:pt x="3346340" y="1440038"/>
                </a:lnTo>
                <a:close/>
                <a:moveTo>
                  <a:pt x="3111048" y="1436000"/>
                </a:moveTo>
                <a:lnTo>
                  <a:pt x="3120959" y="1436000"/>
                </a:lnTo>
                <a:lnTo>
                  <a:pt x="3124977" y="1440038"/>
                </a:lnTo>
                <a:lnTo>
                  <a:pt x="3124977" y="1449910"/>
                </a:lnTo>
                <a:lnTo>
                  <a:pt x="3120959" y="1453949"/>
                </a:lnTo>
                <a:lnTo>
                  <a:pt x="3111048" y="1453949"/>
                </a:lnTo>
                <a:lnTo>
                  <a:pt x="3107029" y="1449910"/>
                </a:lnTo>
                <a:lnTo>
                  <a:pt x="3107029" y="1440038"/>
                </a:lnTo>
                <a:close/>
                <a:moveTo>
                  <a:pt x="2871737" y="1436000"/>
                </a:moveTo>
                <a:lnTo>
                  <a:pt x="2881646" y="1436000"/>
                </a:lnTo>
                <a:lnTo>
                  <a:pt x="2885666" y="1440038"/>
                </a:lnTo>
                <a:lnTo>
                  <a:pt x="2885666" y="1449910"/>
                </a:lnTo>
                <a:lnTo>
                  <a:pt x="2881646" y="1453949"/>
                </a:lnTo>
                <a:lnTo>
                  <a:pt x="2871737" y="1453949"/>
                </a:lnTo>
                <a:lnTo>
                  <a:pt x="2867717" y="1449910"/>
                </a:lnTo>
                <a:lnTo>
                  <a:pt x="2867717" y="1440038"/>
                </a:lnTo>
                <a:close/>
                <a:moveTo>
                  <a:pt x="2632423" y="1436000"/>
                </a:moveTo>
                <a:lnTo>
                  <a:pt x="2642334" y="1436000"/>
                </a:lnTo>
                <a:lnTo>
                  <a:pt x="2646352" y="1440038"/>
                </a:lnTo>
                <a:lnTo>
                  <a:pt x="2646352" y="1449910"/>
                </a:lnTo>
                <a:lnTo>
                  <a:pt x="2642334" y="1453949"/>
                </a:lnTo>
                <a:lnTo>
                  <a:pt x="2632423" y="1453949"/>
                </a:lnTo>
                <a:lnTo>
                  <a:pt x="2628404" y="1449910"/>
                </a:lnTo>
                <a:lnTo>
                  <a:pt x="2628404" y="1440038"/>
                </a:lnTo>
                <a:close/>
                <a:moveTo>
                  <a:pt x="3589676" y="1435986"/>
                </a:moveTo>
                <a:lnTo>
                  <a:pt x="3599585" y="1435986"/>
                </a:lnTo>
                <a:lnTo>
                  <a:pt x="3603604" y="1440024"/>
                </a:lnTo>
                <a:lnTo>
                  <a:pt x="3603604" y="1449895"/>
                </a:lnTo>
                <a:lnTo>
                  <a:pt x="3599585" y="1453934"/>
                </a:lnTo>
                <a:lnTo>
                  <a:pt x="3589676" y="1453934"/>
                </a:lnTo>
                <a:lnTo>
                  <a:pt x="3585657" y="1449895"/>
                </a:lnTo>
                <a:lnTo>
                  <a:pt x="3585657" y="1440024"/>
                </a:lnTo>
                <a:close/>
                <a:moveTo>
                  <a:pt x="4546929" y="1435986"/>
                </a:moveTo>
                <a:lnTo>
                  <a:pt x="4556840" y="1435986"/>
                </a:lnTo>
                <a:lnTo>
                  <a:pt x="4560859" y="1440024"/>
                </a:lnTo>
                <a:lnTo>
                  <a:pt x="4560859" y="1449895"/>
                </a:lnTo>
                <a:lnTo>
                  <a:pt x="4556840" y="1453934"/>
                </a:lnTo>
                <a:lnTo>
                  <a:pt x="4546929" y="1453934"/>
                </a:lnTo>
                <a:lnTo>
                  <a:pt x="4542910" y="1449895"/>
                </a:lnTo>
                <a:lnTo>
                  <a:pt x="4542910" y="1440024"/>
                </a:lnTo>
                <a:close/>
                <a:moveTo>
                  <a:pt x="4307612" y="1435986"/>
                </a:moveTo>
                <a:lnTo>
                  <a:pt x="4317523" y="1435986"/>
                </a:lnTo>
                <a:lnTo>
                  <a:pt x="4321543" y="1440024"/>
                </a:lnTo>
                <a:lnTo>
                  <a:pt x="4321543" y="1449895"/>
                </a:lnTo>
                <a:lnTo>
                  <a:pt x="4317523" y="1453934"/>
                </a:lnTo>
                <a:lnTo>
                  <a:pt x="4307612" y="1453934"/>
                </a:lnTo>
                <a:lnTo>
                  <a:pt x="4303595" y="1449895"/>
                </a:lnTo>
                <a:lnTo>
                  <a:pt x="4303595" y="1440024"/>
                </a:lnTo>
                <a:close/>
                <a:moveTo>
                  <a:pt x="4068297" y="1435986"/>
                </a:moveTo>
                <a:lnTo>
                  <a:pt x="4078210" y="1435986"/>
                </a:lnTo>
                <a:lnTo>
                  <a:pt x="4082229" y="1440024"/>
                </a:lnTo>
                <a:lnTo>
                  <a:pt x="4082229" y="1449895"/>
                </a:lnTo>
                <a:lnTo>
                  <a:pt x="4078210" y="1453934"/>
                </a:lnTo>
                <a:lnTo>
                  <a:pt x="4068297" y="1453934"/>
                </a:lnTo>
                <a:lnTo>
                  <a:pt x="4064278" y="1449895"/>
                </a:lnTo>
                <a:lnTo>
                  <a:pt x="4064278" y="1440024"/>
                </a:lnTo>
                <a:close/>
                <a:moveTo>
                  <a:pt x="3828990" y="1435986"/>
                </a:moveTo>
                <a:lnTo>
                  <a:pt x="3838899" y="1435986"/>
                </a:lnTo>
                <a:lnTo>
                  <a:pt x="3842917" y="1440024"/>
                </a:lnTo>
                <a:lnTo>
                  <a:pt x="3842917" y="1449895"/>
                </a:lnTo>
                <a:lnTo>
                  <a:pt x="3838899" y="1453934"/>
                </a:lnTo>
                <a:lnTo>
                  <a:pt x="3828990" y="1453934"/>
                </a:lnTo>
                <a:lnTo>
                  <a:pt x="3824971" y="1449895"/>
                </a:lnTo>
                <a:lnTo>
                  <a:pt x="3824971" y="1440024"/>
                </a:lnTo>
                <a:close/>
                <a:moveTo>
                  <a:pt x="4786241" y="1435972"/>
                </a:moveTo>
                <a:lnTo>
                  <a:pt x="4796152" y="1435972"/>
                </a:lnTo>
                <a:lnTo>
                  <a:pt x="4800171" y="1440010"/>
                </a:lnTo>
                <a:lnTo>
                  <a:pt x="4800171" y="1449881"/>
                </a:lnTo>
                <a:lnTo>
                  <a:pt x="4796152" y="1453920"/>
                </a:lnTo>
                <a:lnTo>
                  <a:pt x="4786241" y="1453920"/>
                </a:lnTo>
                <a:lnTo>
                  <a:pt x="4782224" y="1449881"/>
                </a:lnTo>
                <a:lnTo>
                  <a:pt x="4782224" y="1440010"/>
                </a:lnTo>
                <a:close/>
                <a:moveTo>
                  <a:pt x="5743412" y="1435971"/>
                </a:moveTo>
                <a:lnTo>
                  <a:pt x="5753323" y="1435971"/>
                </a:lnTo>
                <a:lnTo>
                  <a:pt x="5757342" y="1440010"/>
                </a:lnTo>
                <a:lnTo>
                  <a:pt x="5757342" y="1449880"/>
                </a:lnTo>
                <a:lnTo>
                  <a:pt x="5753323" y="1453919"/>
                </a:lnTo>
                <a:lnTo>
                  <a:pt x="5743412" y="1453919"/>
                </a:lnTo>
                <a:lnTo>
                  <a:pt x="5739393" y="1449880"/>
                </a:lnTo>
                <a:lnTo>
                  <a:pt x="5739393" y="1440010"/>
                </a:lnTo>
                <a:close/>
                <a:moveTo>
                  <a:pt x="5504099" y="1435971"/>
                </a:moveTo>
                <a:lnTo>
                  <a:pt x="5514010" y="1435971"/>
                </a:lnTo>
                <a:lnTo>
                  <a:pt x="5518029" y="1440010"/>
                </a:lnTo>
                <a:lnTo>
                  <a:pt x="5518029" y="1449881"/>
                </a:lnTo>
                <a:lnTo>
                  <a:pt x="5514010" y="1453919"/>
                </a:lnTo>
                <a:lnTo>
                  <a:pt x="5504099" y="1453919"/>
                </a:lnTo>
                <a:lnTo>
                  <a:pt x="5500080" y="1449881"/>
                </a:lnTo>
                <a:lnTo>
                  <a:pt x="5500080" y="1440010"/>
                </a:lnTo>
                <a:close/>
                <a:moveTo>
                  <a:pt x="5264784" y="1435971"/>
                </a:moveTo>
                <a:lnTo>
                  <a:pt x="5274694" y="1435971"/>
                </a:lnTo>
                <a:lnTo>
                  <a:pt x="5278713" y="1440010"/>
                </a:lnTo>
                <a:lnTo>
                  <a:pt x="5278713" y="1449881"/>
                </a:lnTo>
                <a:lnTo>
                  <a:pt x="5274694" y="1453920"/>
                </a:lnTo>
                <a:lnTo>
                  <a:pt x="5264784" y="1453920"/>
                </a:lnTo>
                <a:lnTo>
                  <a:pt x="5260765" y="1449881"/>
                </a:lnTo>
                <a:lnTo>
                  <a:pt x="5260765" y="1440010"/>
                </a:lnTo>
                <a:close/>
                <a:moveTo>
                  <a:pt x="5025470" y="1435971"/>
                </a:moveTo>
                <a:lnTo>
                  <a:pt x="5035381" y="1435971"/>
                </a:lnTo>
                <a:lnTo>
                  <a:pt x="5039400" y="1440010"/>
                </a:lnTo>
                <a:lnTo>
                  <a:pt x="5039400" y="1449881"/>
                </a:lnTo>
                <a:lnTo>
                  <a:pt x="5035381" y="1453920"/>
                </a:lnTo>
                <a:lnTo>
                  <a:pt x="5025470" y="1453920"/>
                </a:lnTo>
                <a:lnTo>
                  <a:pt x="5021451" y="1449881"/>
                </a:lnTo>
                <a:lnTo>
                  <a:pt x="5021451" y="1440010"/>
                </a:lnTo>
                <a:close/>
                <a:moveTo>
                  <a:pt x="5982729" y="1435958"/>
                </a:moveTo>
                <a:lnTo>
                  <a:pt x="5992639" y="1435958"/>
                </a:lnTo>
                <a:lnTo>
                  <a:pt x="5996658" y="1439995"/>
                </a:lnTo>
                <a:lnTo>
                  <a:pt x="5996658" y="1449866"/>
                </a:lnTo>
                <a:lnTo>
                  <a:pt x="5992639" y="1453905"/>
                </a:lnTo>
                <a:lnTo>
                  <a:pt x="5982729" y="1453905"/>
                </a:lnTo>
                <a:lnTo>
                  <a:pt x="5978710" y="1449866"/>
                </a:lnTo>
                <a:lnTo>
                  <a:pt x="5978710" y="1439995"/>
                </a:lnTo>
                <a:close/>
                <a:moveTo>
                  <a:pt x="6939983" y="1435956"/>
                </a:moveTo>
                <a:lnTo>
                  <a:pt x="6949894" y="1435956"/>
                </a:lnTo>
                <a:lnTo>
                  <a:pt x="6953913" y="1439995"/>
                </a:lnTo>
                <a:lnTo>
                  <a:pt x="6953913" y="1449865"/>
                </a:lnTo>
                <a:lnTo>
                  <a:pt x="6949894" y="1453905"/>
                </a:lnTo>
                <a:lnTo>
                  <a:pt x="6939983" y="1453905"/>
                </a:lnTo>
                <a:lnTo>
                  <a:pt x="6935964" y="1449865"/>
                </a:lnTo>
                <a:lnTo>
                  <a:pt x="6935964" y="1439995"/>
                </a:lnTo>
                <a:close/>
                <a:moveTo>
                  <a:pt x="6700670" y="1435956"/>
                </a:moveTo>
                <a:lnTo>
                  <a:pt x="6710581" y="1435956"/>
                </a:lnTo>
                <a:lnTo>
                  <a:pt x="6714600" y="1439995"/>
                </a:lnTo>
                <a:lnTo>
                  <a:pt x="6714600" y="1449866"/>
                </a:lnTo>
                <a:lnTo>
                  <a:pt x="6710581" y="1453905"/>
                </a:lnTo>
                <a:lnTo>
                  <a:pt x="6700670" y="1453905"/>
                </a:lnTo>
                <a:lnTo>
                  <a:pt x="6696651" y="1449866"/>
                </a:lnTo>
                <a:lnTo>
                  <a:pt x="6696651" y="1439995"/>
                </a:lnTo>
                <a:close/>
                <a:moveTo>
                  <a:pt x="6461356" y="1435956"/>
                </a:moveTo>
                <a:lnTo>
                  <a:pt x="6471266" y="1435956"/>
                </a:lnTo>
                <a:lnTo>
                  <a:pt x="6475285" y="1439995"/>
                </a:lnTo>
                <a:lnTo>
                  <a:pt x="6475285" y="1449866"/>
                </a:lnTo>
                <a:lnTo>
                  <a:pt x="6471266" y="1453905"/>
                </a:lnTo>
                <a:lnTo>
                  <a:pt x="6461356" y="1453905"/>
                </a:lnTo>
                <a:lnTo>
                  <a:pt x="6457337" y="1449866"/>
                </a:lnTo>
                <a:lnTo>
                  <a:pt x="6457337" y="1439995"/>
                </a:lnTo>
                <a:close/>
                <a:moveTo>
                  <a:pt x="6222042" y="1435956"/>
                </a:moveTo>
                <a:lnTo>
                  <a:pt x="6231952" y="1435956"/>
                </a:lnTo>
                <a:lnTo>
                  <a:pt x="6235971" y="1439995"/>
                </a:lnTo>
                <a:lnTo>
                  <a:pt x="6235971" y="1449866"/>
                </a:lnTo>
                <a:lnTo>
                  <a:pt x="6231952" y="1453905"/>
                </a:lnTo>
                <a:lnTo>
                  <a:pt x="6222042" y="1453905"/>
                </a:lnTo>
                <a:lnTo>
                  <a:pt x="6218023" y="1449866"/>
                </a:lnTo>
                <a:lnTo>
                  <a:pt x="6218023" y="1439995"/>
                </a:lnTo>
                <a:close/>
                <a:moveTo>
                  <a:pt x="7179298" y="1435943"/>
                </a:moveTo>
                <a:lnTo>
                  <a:pt x="7189209" y="1435943"/>
                </a:lnTo>
                <a:lnTo>
                  <a:pt x="7193228" y="1439981"/>
                </a:lnTo>
                <a:lnTo>
                  <a:pt x="7193228" y="1449852"/>
                </a:lnTo>
                <a:lnTo>
                  <a:pt x="7189209" y="1453891"/>
                </a:lnTo>
                <a:lnTo>
                  <a:pt x="7179298" y="1453891"/>
                </a:lnTo>
                <a:lnTo>
                  <a:pt x="7175279" y="1449852"/>
                </a:lnTo>
                <a:lnTo>
                  <a:pt x="7175279" y="1439981"/>
                </a:lnTo>
                <a:close/>
                <a:moveTo>
                  <a:pt x="8136553" y="1435943"/>
                </a:moveTo>
                <a:lnTo>
                  <a:pt x="8146464" y="1435943"/>
                </a:lnTo>
                <a:lnTo>
                  <a:pt x="8150483" y="1439980"/>
                </a:lnTo>
                <a:lnTo>
                  <a:pt x="8150483" y="1449851"/>
                </a:lnTo>
                <a:lnTo>
                  <a:pt x="8146464" y="1453890"/>
                </a:lnTo>
                <a:lnTo>
                  <a:pt x="8136553" y="1453890"/>
                </a:lnTo>
                <a:lnTo>
                  <a:pt x="8132534" y="1449851"/>
                </a:lnTo>
                <a:lnTo>
                  <a:pt x="8132534" y="1439980"/>
                </a:lnTo>
                <a:close/>
                <a:moveTo>
                  <a:pt x="7897241" y="1435943"/>
                </a:moveTo>
                <a:lnTo>
                  <a:pt x="7907151" y="1435943"/>
                </a:lnTo>
                <a:lnTo>
                  <a:pt x="7911170" y="1439980"/>
                </a:lnTo>
                <a:lnTo>
                  <a:pt x="7911170" y="1449852"/>
                </a:lnTo>
                <a:lnTo>
                  <a:pt x="7907151" y="1453890"/>
                </a:lnTo>
                <a:lnTo>
                  <a:pt x="7897241" y="1453890"/>
                </a:lnTo>
                <a:lnTo>
                  <a:pt x="7893222" y="1449852"/>
                </a:lnTo>
                <a:lnTo>
                  <a:pt x="7893222" y="1439980"/>
                </a:lnTo>
                <a:close/>
                <a:moveTo>
                  <a:pt x="7657926" y="1435943"/>
                </a:moveTo>
                <a:lnTo>
                  <a:pt x="7667836" y="1435943"/>
                </a:lnTo>
                <a:lnTo>
                  <a:pt x="7671855" y="1439980"/>
                </a:lnTo>
                <a:lnTo>
                  <a:pt x="7671855" y="1449852"/>
                </a:lnTo>
                <a:lnTo>
                  <a:pt x="7667836" y="1453891"/>
                </a:lnTo>
                <a:lnTo>
                  <a:pt x="7657926" y="1453891"/>
                </a:lnTo>
                <a:lnTo>
                  <a:pt x="7653906" y="1449852"/>
                </a:lnTo>
                <a:lnTo>
                  <a:pt x="7653906" y="1439980"/>
                </a:lnTo>
                <a:close/>
                <a:moveTo>
                  <a:pt x="7418611" y="1435943"/>
                </a:moveTo>
                <a:lnTo>
                  <a:pt x="7428521" y="1435943"/>
                </a:lnTo>
                <a:lnTo>
                  <a:pt x="7432540" y="1439980"/>
                </a:lnTo>
                <a:lnTo>
                  <a:pt x="7432540" y="1449852"/>
                </a:lnTo>
                <a:lnTo>
                  <a:pt x="7428521" y="1453891"/>
                </a:lnTo>
                <a:lnTo>
                  <a:pt x="7418611" y="1453891"/>
                </a:lnTo>
                <a:lnTo>
                  <a:pt x="7414592" y="1449852"/>
                </a:lnTo>
                <a:lnTo>
                  <a:pt x="7414592" y="1439980"/>
                </a:lnTo>
                <a:close/>
                <a:moveTo>
                  <a:pt x="8375869" y="1435928"/>
                </a:moveTo>
                <a:lnTo>
                  <a:pt x="8385779" y="1435928"/>
                </a:lnTo>
                <a:lnTo>
                  <a:pt x="8389799" y="1439967"/>
                </a:lnTo>
                <a:lnTo>
                  <a:pt x="8389799" y="1449837"/>
                </a:lnTo>
                <a:lnTo>
                  <a:pt x="8385779" y="1453877"/>
                </a:lnTo>
                <a:lnTo>
                  <a:pt x="8375869" y="1453877"/>
                </a:lnTo>
                <a:lnTo>
                  <a:pt x="8371850" y="1449837"/>
                </a:lnTo>
                <a:lnTo>
                  <a:pt x="8371850" y="1439967"/>
                </a:lnTo>
                <a:close/>
                <a:moveTo>
                  <a:pt x="9333125" y="1435928"/>
                </a:moveTo>
                <a:lnTo>
                  <a:pt x="9343036" y="1435928"/>
                </a:lnTo>
                <a:lnTo>
                  <a:pt x="9347055" y="1439967"/>
                </a:lnTo>
                <a:lnTo>
                  <a:pt x="9347055" y="1449836"/>
                </a:lnTo>
                <a:lnTo>
                  <a:pt x="9343036" y="1453876"/>
                </a:lnTo>
                <a:lnTo>
                  <a:pt x="9333125" y="1453876"/>
                </a:lnTo>
                <a:lnTo>
                  <a:pt x="9329106" y="1449836"/>
                </a:lnTo>
                <a:lnTo>
                  <a:pt x="9329106" y="1439967"/>
                </a:lnTo>
                <a:close/>
                <a:moveTo>
                  <a:pt x="9093811" y="1435928"/>
                </a:moveTo>
                <a:lnTo>
                  <a:pt x="9103722" y="1435928"/>
                </a:lnTo>
                <a:lnTo>
                  <a:pt x="9107741" y="1439967"/>
                </a:lnTo>
                <a:lnTo>
                  <a:pt x="9107741" y="1449837"/>
                </a:lnTo>
                <a:lnTo>
                  <a:pt x="9103722" y="1453876"/>
                </a:lnTo>
                <a:lnTo>
                  <a:pt x="9093811" y="1453876"/>
                </a:lnTo>
                <a:lnTo>
                  <a:pt x="9089792" y="1449837"/>
                </a:lnTo>
                <a:lnTo>
                  <a:pt x="9089792" y="1439967"/>
                </a:lnTo>
                <a:close/>
                <a:moveTo>
                  <a:pt x="8854496" y="1435928"/>
                </a:moveTo>
                <a:lnTo>
                  <a:pt x="8864407" y="1435928"/>
                </a:lnTo>
                <a:lnTo>
                  <a:pt x="8868426" y="1439967"/>
                </a:lnTo>
                <a:lnTo>
                  <a:pt x="8868426" y="1449837"/>
                </a:lnTo>
                <a:lnTo>
                  <a:pt x="8864407" y="1453877"/>
                </a:lnTo>
                <a:lnTo>
                  <a:pt x="8854496" y="1453877"/>
                </a:lnTo>
                <a:lnTo>
                  <a:pt x="8850477" y="1449837"/>
                </a:lnTo>
                <a:lnTo>
                  <a:pt x="8850477" y="1439967"/>
                </a:lnTo>
                <a:close/>
                <a:moveTo>
                  <a:pt x="8615184" y="1435928"/>
                </a:moveTo>
                <a:lnTo>
                  <a:pt x="8625095" y="1435928"/>
                </a:lnTo>
                <a:lnTo>
                  <a:pt x="8629114" y="1439967"/>
                </a:lnTo>
                <a:lnTo>
                  <a:pt x="8629114" y="1449837"/>
                </a:lnTo>
                <a:lnTo>
                  <a:pt x="8625095" y="1453877"/>
                </a:lnTo>
                <a:lnTo>
                  <a:pt x="8615184" y="1453877"/>
                </a:lnTo>
                <a:lnTo>
                  <a:pt x="8611165" y="1449837"/>
                </a:lnTo>
                <a:lnTo>
                  <a:pt x="8611165" y="1439967"/>
                </a:lnTo>
                <a:close/>
                <a:moveTo>
                  <a:pt x="1679216" y="1435922"/>
                </a:moveTo>
                <a:lnTo>
                  <a:pt x="1689126" y="1435922"/>
                </a:lnTo>
                <a:lnTo>
                  <a:pt x="1693146" y="1439960"/>
                </a:lnTo>
                <a:lnTo>
                  <a:pt x="1693146" y="1449831"/>
                </a:lnTo>
                <a:lnTo>
                  <a:pt x="1689126" y="1453870"/>
                </a:lnTo>
                <a:lnTo>
                  <a:pt x="1679216" y="1453870"/>
                </a:lnTo>
                <a:lnTo>
                  <a:pt x="1675198" y="1449831"/>
                </a:lnTo>
                <a:lnTo>
                  <a:pt x="1675198" y="1439960"/>
                </a:lnTo>
                <a:close/>
                <a:moveTo>
                  <a:pt x="1439900" y="1435922"/>
                </a:moveTo>
                <a:lnTo>
                  <a:pt x="1449810" y="1435922"/>
                </a:lnTo>
                <a:lnTo>
                  <a:pt x="1453828" y="1439960"/>
                </a:lnTo>
                <a:lnTo>
                  <a:pt x="1453828" y="1449831"/>
                </a:lnTo>
                <a:lnTo>
                  <a:pt x="1449810" y="1453870"/>
                </a:lnTo>
                <a:lnTo>
                  <a:pt x="1439900" y="1453870"/>
                </a:lnTo>
                <a:lnTo>
                  <a:pt x="1435880" y="1449831"/>
                </a:lnTo>
                <a:lnTo>
                  <a:pt x="1435880" y="1439960"/>
                </a:lnTo>
                <a:close/>
                <a:moveTo>
                  <a:pt x="1200583" y="1435922"/>
                </a:moveTo>
                <a:lnTo>
                  <a:pt x="1210493" y="1435922"/>
                </a:lnTo>
                <a:lnTo>
                  <a:pt x="1214512" y="1439960"/>
                </a:lnTo>
                <a:lnTo>
                  <a:pt x="1214512" y="1449831"/>
                </a:lnTo>
                <a:lnTo>
                  <a:pt x="1210493" y="1453870"/>
                </a:lnTo>
                <a:lnTo>
                  <a:pt x="1200583" y="1453870"/>
                </a:lnTo>
                <a:lnTo>
                  <a:pt x="1196564" y="1449831"/>
                </a:lnTo>
                <a:lnTo>
                  <a:pt x="1196564" y="1439960"/>
                </a:lnTo>
                <a:close/>
                <a:moveTo>
                  <a:pt x="961270" y="1435922"/>
                </a:moveTo>
                <a:lnTo>
                  <a:pt x="971181" y="1435922"/>
                </a:lnTo>
                <a:lnTo>
                  <a:pt x="975200" y="1439960"/>
                </a:lnTo>
                <a:lnTo>
                  <a:pt x="975200" y="1449831"/>
                </a:lnTo>
                <a:lnTo>
                  <a:pt x="971181" y="1453870"/>
                </a:lnTo>
                <a:lnTo>
                  <a:pt x="961270" y="1453870"/>
                </a:lnTo>
                <a:lnTo>
                  <a:pt x="957252" y="1449831"/>
                </a:lnTo>
                <a:lnTo>
                  <a:pt x="957252" y="1439960"/>
                </a:lnTo>
                <a:close/>
                <a:moveTo>
                  <a:pt x="9572438" y="1435914"/>
                </a:moveTo>
                <a:lnTo>
                  <a:pt x="9582349" y="1435914"/>
                </a:lnTo>
                <a:lnTo>
                  <a:pt x="9586368" y="1439952"/>
                </a:lnTo>
                <a:lnTo>
                  <a:pt x="9586368" y="1449823"/>
                </a:lnTo>
                <a:lnTo>
                  <a:pt x="9582349" y="1453862"/>
                </a:lnTo>
                <a:lnTo>
                  <a:pt x="9572438" y="1453862"/>
                </a:lnTo>
                <a:lnTo>
                  <a:pt x="9568419" y="1449823"/>
                </a:lnTo>
                <a:lnTo>
                  <a:pt x="9568419" y="1439952"/>
                </a:lnTo>
                <a:close/>
                <a:moveTo>
                  <a:pt x="1918514" y="1435912"/>
                </a:moveTo>
                <a:lnTo>
                  <a:pt x="1928424" y="1435912"/>
                </a:lnTo>
                <a:lnTo>
                  <a:pt x="1932443" y="1439950"/>
                </a:lnTo>
                <a:lnTo>
                  <a:pt x="1932443" y="1449821"/>
                </a:lnTo>
                <a:lnTo>
                  <a:pt x="1928424" y="1453860"/>
                </a:lnTo>
                <a:lnTo>
                  <a:pt x="1918514" y="1453860"/>
                </a:lnTo>
                <a:lnTo>
                  <a:pt x="1914494" y="1449821"/>
                </a:lnTo>
                <a:lnTo>
                  <a:pt x="1914494" y="1439950"/>
                </a:lnTo>
                <a:close/>
                <a:moveTo>
                  <a:pt x="2157823" y="1435909"/>
                </a:moveTo>
                <a:lnTo>
                  <a:pt x="2167733" y="1435909"/>
                </a:lnTo>
                <a:lnTo>
                  <a:pt x="2171751" y="1439947"/>
                </a:lnTo>
                <a:lnTo>
                  <a:pt x="2171751" y="1449818"/>
                </a:lnTo>
                <a:lnTo>
                  <a:pt x="2167733" y="1453857"/>
                </a:lnTo>
                <a:lnTo>
                  <a:pt x="2157823" y="1453857"/>
                </a:lnTo>
                <a:lnTo>
                  <a:pt x="2153803" y="1449818"/>
                </a:lnTo>
                <a:lnTo>
                  <a:pt x="2153803" y="1439947"/>
                </a:lnTo>
                <a:close/>
                <a:moveTo>
                  <a:pt x="243347" y="1435883"/>
                </a:moveTo>
                <a:lnTo>
                  <a:pt x="253257" y="1435883"/>
                </a:lnTo>
                <a:lnTo>
                  <a:pt x="257276" y="1439920"/>
                </a:lnTo>
                <a:lnTo>
                  <a:pt x="257276" y="1449791"/>
                </a:lnTo>
                <a:lnTo>
                  <a:pt x="253257" y="1453830"/>
                </a:lnTo>
                <a:lnTo>
                  <a:pt x="243347" y="1453830"/>
                </a:lnTo>
                <a:lnTo>
                  <a:pt x="239328" y="1449791"/>
                </a:lnTo>
                <a:lnTo>
                  <a:pt x="239328" y="1439920"/>
                </a:lnTo>
                <a:close/>
                <a:moveTo>
                  <a:pt x="4034" y="1435883"/>
                </a:moveTo>
                <a:lnTo>
                  <a:pt x="13944" y="1435883"/>
                </a:lnTo>
                <a:lnTo>
                  <a:pt x="17964" y="1439920"/>
                </a:lnTo>
                <a:lnTo>
                  <a:pt x="17964" y="1449791"/>
                </a:lnTo>
                <a:lnTo>
                  <a:pt x="13944" y="1453830"/>
                </a:lnTo>
                <a:lnTo>
                  <a:pt x="4034" y="1453830"/>
                </a:lnTo>
                <a:lnTo>
                  <a:pt x="15" y="1449791"/>
                </a:lnTo>
                <a:lnTo>
                  <a:pt x="15" y="1439920"/>
                </a:lnTo>
                <a:close/>
                <a:moveTo>
                  <a:pt x="721973" y="1435882"/>
                </a:moveTo>
                <a:lnTo>
                  <a:pt x="731883" y="1435882"/>
                </a:lnTo>
                <a:lnTo>
                  <a:pt x="735902" y="1439920"/>
                </a:lnTo>
                <a:lnTo>
                  <a:pt x="735902" y="1449791"/>
                </a:lnTo>
                <a:lnTo>
                  <a:pt x="731883" y="1453830"/>
                </a:lnTo>
                <a:lnTo>
                  <a:pt x="721973" y="1453830"/>
                </a:lnTo>
                <a:lnTo>
                  <a:pt x="717954" y="1449791"/>
                </a:lnTo>
                <a:lnTo>
                  <a:pt x="717954" y="1439920"/>
                </a:lnTo>
                <a:close/>
                <a:moveTo>
                  <a:pt x="482661" y="1435882"/>
                </a:moveTo>
                <a:lnTo>
                  <a:pt x="492571" y="1435882"/>
                </a:lnTo>
                <a:lnTo>
                  <a:pt x="496590" y="1439920"/>
                </a:lnTo>
                <a:lnTo>
                  <a:pt x="496590" y="1449791"/>
                </a:lnTo>
                <a:lnTo>
                  <a:pt x="492571" y="1453830"/>
                </a:lnTo>
                <a:lnTo>
                  <a:pt x="482661" y="1453830"/>
                </a:lnTo>
                <a:lnTo>
                  <a:pt x="478642" y="1449791"/>
                </a:lnTo>
                <a:lnTo>
                  <a:pt x="478642" y="1439920"/>
                </a:lnTo>
                <a:close/>
                <a:moveTo>
                  <a:pt x="3350359" y="1196701"/>
                </a:moveTo>
                <a:lnTo>
                  <a:pt x="3360268" y="1196701"/>
                </a:lnTo>
                <a:lnTo>
                  <a:pt x="3364287" y="1200738"/>
                </a:lnTo>
                <a:lnTo>
                  <a:pt x="3364287" y="1210610"/>
                </a:lnTo>
                <a:lnTo>
                  <a:pt x="3360268" y="1214650"/>
                </a:lnTo>
                <a:lnTo>
                  <a:pt x="3350359" y="1214650"/>
                </a:lnTo>
                <a:lnTo>
                  <a:pt x="3346340" y="1210610"/>
                </a:lnTo>
                <a:lnTo>
                  <a:pt x="3346340" y="1200738"/>
                </a:lnTo>
                <a:close/>
                <a:moveTo>
                  <a:pt x="3111048" y="1196701"/>
                </a:moveTo>
                <a:lnTo>
                  <a:pt x="3120959" y="1196701"/>
                </a:lnTo>
                <a:lnTo>
                  <a:pt x="3124977" y="1200738"/>
                </a:lnTo>
                <a:lnTo>
                  <a:pt x="3124977" y="1210610"/>
                </a:lnTo>
                <a:lnTo>
                  <a:pt x="3120959" y="1214650"/>
                </a:lnTo>
                <a:lnTo>
                  <a:pt x="3111048" y="1214650"/>
                </a:lnTo>
                <a:lnTo>
                  <a:pt x="3107029" y="1210610"/>
                </a:lnTo>
                <a:lnTo>
                  <a:pt x="3107029" y="1200738"/>
                </a:lnTo>
                <a:close/>
                <a:moveTo>
                  <a:pt x="2871737" y="1196701"/>
                </a:moveTo>
                <a:lnTo>
                  <a:pt x="2881646" y="1196701"/>
                </a:lnTo>
                <a:lnTo>
                  <a:pt x="2885666" y="1200738"/>
                </a:lnTo>
                <a:lnTo>
                  <a:pt x="2885666" y="1210610"/>
                </a:lnTo>
                <a:lnTo>
                  <a:pt x="2881646" y="1214650"/>
                </a:lnTo>
                <a:lnTo>
                  <a:pt x="2871737" y="1214650"/>
                </a:lnTo>
                <a:lnTo>
                  <a:pt x="2867717" y="1210610"/>
                </a:lnTo>
                <a:lnTo>
                  <a:pt x="2867717" y="1200738"/>
                </a:lnTo>
                <a:close/>
                <a:moveTo>
                  <a:pt x="2632423" y="1196701"/>
                </a:moveTo>
                <a:lnTo>
                  <a:pt x="2642334" y="1196701"/>
                </a:lnTo>
                <a:lnTo>
                  <a:pt x="2646352" y="1200740"/>
                </a:lnTo>
                <a:lnTo>
                  <a:pt x="2646352" y="1210610"/>
                </a:lnTo>
                <a:lnTo>
                  <a:pt x="2642334" y="1214650"/>
                </a:lnTo>
                <a:lnTo>
                  <a:pt x="2632423" y="1214650"/>
                </a:lnTo>
                <a:lnTo>
                  <a:pt x="2628404" y="1210610"/>
                </a:lnTo>
                <a:lnTo>
                  <a:pt x="2628404" y="1200740"/>
                </a:lnTo>
                <a:close/>
                <a:moveTo>
                  <a:pt x="2393104" y="1196701"/>
                </a:moveTo>
                <a:lnTo>
                  <a:pt x="2403015" y="1196701"/>
                </a:lnTo>
                <a:lnTo>
                  <a:pt x="2407034" y="1200740"/>
                </a:lnTo>
                <a:lnTo>
                  <a:pt x="2407034" y="1210610"/>
                </a:lnTo>
                <a:lnTo>
                  <a:pt x="2403015" y="1214650"/>
                </a:lnTo>
                <a:lnTo>
                  <a:pt x="2393104" y="1214650"/>
                </a:lnTo>
                <a:lnTo>
                  <a:pt x="2389087" y="1210610"/>
                </a:lnTo>
                <a:lnTo>
                  <a:pt x="2389087" y="1200740"/>
                </a:lnTo>
                <a:close/>
                <a:moveTo>
                  <a:pt x="4546929" y="1196689"/>
                </a:moveTo>
                <a:lnTo>
                  <a:pt x="4556840" y="1196689"/>
                </a:lnTo>
                <a:lnTo>
                  <a:pt x="4560859" y="1200726"/>
                </a:lnTo>
                <a:lnTo>
                  <a:pt x="4560859" y="1210598"/>
                </a:lnTo>
                <a:lnTo>
                  <a:pt x="4556840" y="1214637"/>
                </a:lnTo>
                <a:lnTo>
                  <a:pt x="4546929" y="1214637"/>
                </a:lnTo>
                <a:lnTo>
                  <a:pt x="4542910" y="1210598"/>
                </a:lnTo>
                <a:lnTo>
                  <a:pt x="4542910" y="1200726"/>
                </a:lnTo>
                <a:close/>
                <a:moveTo>
                  <a:pt x="4307612" y="1196689"/>
                </a:moveTo>
                <a:lnTo>
                  <a:pt x="4317523" y="1196689"/>
                </a:lnTo>
                <a:lnTo>
                  <a:pt x="4321543" y="1200726"/>
                </a:lnTo>
                <a:lnTo>
                  <a:pt x="4321543" y="1210598"/>
                </a:lnTo>
                <a:lnTo>
                  <a:pt x="4317523" y="1214637"/>
                </a:lnTo>
                <a:lnTo>
                  <a:pt x="4307612" y="1214637"/>
                </a:lnTo>
                <a:lnTo>
                  <a:pt x="4303595" y="1210598"/>
                </a:lnTo>
                <a:lnTo>
                  <a:pt x="4303595" y="1200726"/>
                </a:lnTo>
                <a:close/>
                <a:moveTo>
                  <a:pt x="4068297" y="1196689"/>
                </a:moveTo>
                <a:lnTo>
                  <a:pt x="4078210" y="1196689"/>
                </a:lnTo>
                <a:lnTo>
                  <a:pt x="4082229" y="1200726"/>
                </a:lnTo>
                <a:lnTo>
                  <a:pt x="4082229" y="1210598"/>
                </a:lnTo>
                <a:lnTo>
                  <a:pt x="4078210" y="1214637"/>
                </a:lnTo>
                <a:lnTo>
                  <a:pt x="4068297" y="1214637"/>
                </a:lnTo>
                <a:lnTo>
                  <a:pt x="4064278" y="1210598"/>
                </a:lnTo>
                <a:lnTo>
                  <a:pt x="4064278" y="1200726"/>
                </a:lnTo>
                <a:close/>
                <a:moveTo>
                  <a:pt x="3828990" y="1196689"/>
                </a:moveTo>
                <a:lnTo>
                  <a:pt x="3838899" y="1196689"/>
                </a:lnTo>
                <a:lnTo>
                  <a:pt x="3842917" y="1200728"/>
                </a:lnTo>
                <a:lnTo>
                  <a:pt x="3842917" y="1210598"/>
                </a:lnTo>
                <a:lnTo>
                  <a:pt x="3838899" y="1214637"/>
                </a:lnTo>
                <a:lnTo>
                  <a:pt x="3828990" y="1214637"/>
                </a:lnTo>
                <a:lnTo>
                  <a:pt x="3824971" y="1210598"/>
                </a:lnTo>
                <a:lnTo>
                  <a:pt x="3824971" y="1200728"/>
                </a:lnTo>
                <a:close/>
                <a:moveTo>
                  <a:pt x="3589676" y="1196689"/>
                </a:moveTo>
                <a:lnTo>
                  <a:pt x="3599585" y="1196689"/>
                </a:lnTo>
                <a:lnTo>
                  <a:pt x="3603604" y="1200728"/>
                </a:lnTo>
                <a:lnTo>
                  <a:pt x="3603604" y="1210598"/>
                </a:lnTo>
                <a:lnTo>
                  <a:pt x="3599585" y="1214637"/>
                </a:lnTo>
                <a:lnTo>
                  <a:pt x="3589676" y="1214637"/>
                </a:lnTo>
                <a:lnTo>
                  <a:pt x="3585657" y="1210598"/>
                </a:lnTo>
                <a:lnTo>
                  <a:pt x="3585657" y="1200728"/>
                </a:lnTo>
                <a:close/>
                <a:moveTo>
                  <a:pt x="5743412" y="1196676"/>
                </a:moveTo>
                <a:lnTo>
                  <a:pt x="5753323" y="1196676"/>
                </a:lnTo>
                <a:lnTo>
                  <a:pt x="5757342" y="1200714"/>
                </a:lnTo>
                <a:lnTo>
                  <a:pt x="5757342" y="1210586"/>
                </a:lnTo>
                <a:lnTo>
                  <a:pt x="5753323" y="1214625"/>
                </a:lnTo>
                <a:lnTo>
                  <a:pt x="5743412" y="1214625"/>
                </a:lnTo>
                <a:lnTo>
                  <a:pt x="5739393" y="1210586"/>
                </a:lnTo>
                <a:lnTo>
                  <a:pt x="5739393" y="1200714"/>
                </a:lnTo>
                <a:close/>
                <a:moveTo>
                  <a:pt x="5504099" y="1196676"/>
                </a:moveTo>
                <a:lnTo>
                  <a:pt x="5514010" y="1196676"/>
                </a:lnTo>
                <a:lnTo>
                  <a:pt x="5518029" y="1200714"/>
                </a:lnTo>
                <a:lnTo>
                  <a:pt x="5518029" y="1210586"/>
                </a:lnTo>
                <a:lnTo>
                  <a:pt x="5514010" y="1214625"/>
                </a:lnTo>
                <a:lnTo>
                  <a:pt x="5504099" y="1214625"/>
                </a:lnTo>
                <a:lnTo>
                  <a:pt x="5500080" y="1210586"/>
                </a:lnTo>
                <a:lnTo>
                  <a:pt x="5500080" y="1200714"/>
                </a:lnTo>
                <a:close/>
                <a:moveTo>
                  <a:pt x="5264784" y="1196676"/>
                </a:moveTo>
                <a:lnTo>
                  <a:pt x="5274694" y="1196676"/>
                </a:lnTo>
                <a:lnTo>
                  <a:pt x="5278713" y="1200714"/>
                </a:lnTo>
                <a:lnTo>
                  <a:pt x="5278713" y="1210586"/>
                </a:lnTo>
                <a:lnTo>
                  <a:pt x="5274694" y="1214625"/>
                </a:lnTo>
                <a:lnTo>
                  <a:pt x="5264784" y="1214625"/>
                </a:lnTo>
                <a:lnTo>
                  <a:pt x="5260765" y="1210586"/>
                </a:lnTo>
                <a:lnTo>
                  <a:pt x="5260765" y="1200714"/>
                </a:lnTo>
                <a:close/>
                <a:moveTo>
                  <a:pt x="5025470" y="1196676"/>
                </a:moveTo>
                <a:lnTo>
                  <a:pt x="5035381" y="1196676"/>
                </a:lnTo>
                <a:lnTo>
                  <a:pt x="5039400" y="1200715"/>
                </a:lnTo>
                <a:lnTo>
                  <a:pt x="5039400" y="1210586"/>
                </a:lnTo>
                <a:lnTo>
                  <a:pt x="5035381" y="1214625"/>
                </a:lnTo>
                <a:lnTo>
                  <a:pt x="5025470" y="1214625"/>
                </a:lnTo>
                <a:lnTo>
                  <a:pt x="5021451" y="1210586"/>
                </a:lnTo>
                <a:lnTo>
                  <a:pt x="5021451" y="1200715"/>
                </a:lnTo>
                <a:close/>
                <a:moveTo>
                  <a:pt x="4786241" y="1196676"/>
                </a:moveTo>
                <a:lnTo>
                  <a:pt x="4796152" y="1196676"/>
                </a:lnTo>
                <a:lnTo>
                  <a:pt x="4800171" y="1200715"/>
                </a:lnTo>
                <a:lnTo>
                  <a:pt x="4800171" y="1210586"/>
                </a:lnTo>
                <a:lnTo>
                  <a:pt x="4796152" y="1214625"/>
                </a:lnTo>
                <a:lnTo>
                  <a:pt x="4786241" y="1214625"/>
                </a:lnTo>
                <a:lnTo>
                  <a:pt x="4782224" y="1210586"/>
                </a:lnTo>
                <a:lnTo>
                  <a:pt x="4782224" y="1200715"/>
                </a:lnTo>
                <a:close/>
                <a:moveTo>
                  <a:pt x="6222042" y="1196664"/>
                </a:moveTo>
                <a:lnTo>
                  <a:pt x="6231952" y="1196664"/>
                </a:lnTo>
                <a:lnTo>
                  <a:pt x="6235971" y="1200703"/>
                </a:lnTo>
                <a:lnTo>
                  <a:pt x="6235971" y="1210573"/>
                </a:lnTo>
                <a:lnTo>
                  <a:pt x="6231952" y="1214612"/>
                </a:lnTo>
                <a:lnTo>
                  <a:pt x="6222042" y="1214612"/>
                </a:lnTo>
                <a:lnTo>
                  <a:pt x="6218023" y="1210573"/>
                </a:lnTo>
                <a:lnTo>
                  <a:pt x="6218023" y="1200703"/>
                </a:lnTo>
                <a:close/>
                <a:moveTo>
                  <a:pt x="5982729" y="1196664"/>
                </a:moveTo>
                <a:lnTo>
                  <a:pt x="5992639" y="1196664"/>
                </a:lnTo>
                <a:lnTo>
                  <a:pt x="5996658" y="1200703"/>
                </a:lnTo>
                <a:lnTo>
                  <a:pt x="5996658" y="1210573"/>
                </a:lnTo>
                <a:lnTo>
                  <a:pt x="5992639" y="1214612"/>
                </a:lnTo>
                <a:lnTo>
                  <a:pt x="5982729" y="1214612"/>
                </a:lnTo>
                <a:lnTo>
                  <a:pt x="5978710" y="1210573"/>
                </a:lnTo>
                <a:lnTo>
                  <a:pt x="5978710" y="1200703"/>
                </a:lnTo>
                <a:close/>
                <a:moveTo>
                  <a:pt x="6939983" y="1196664"/>
                </a:moveTo>
                <a:lnTo>
                  <a:pt x="6949894" y="1196664"/>
                </a:lnTo>
                <a:lnTo>
                  <a:pt x="6953913" y="1200702"/>
                </a:lnTo>
                <a:lnTo>
                  <a:pt x="6953913" y="1210573"/>
                </a:lnTo>
                <a:lnTo>
                  <a:pt x="6949894" y="1214612"/>
                </a:lnTo>
                <a:lnTo>
                  <a:pt x="6939983" y="1214612"/>
                </a:lnTo>
                <a:lnTo>
                  <a:pt x="6935964" y="1210573"/>
                </a:lnTo>
                <a:lnTo>
                  <a:pt x="6935964" y="1200702"/>
                </a:lnTo>
                <a:close/>
                <a:moveTo>
                  <a:pt x="6700670" y="1196664"/>
                </a:moveTo>
                <a:lnTo>
                  <a:pt x="6710581" y="1196664"/>
                </a:lnTo>
                <a:lnTo>
                  <a:pt x="6714600" y="1200702"/>
                </a:lnTo>
                <a:lnTo>
                  <a:pt x="6714600" y="1210573"/>
                </a:lnTo>
                <a:lnTo>
                  <a:pt x="6710581" y="1214612"/>
                </a:lnTo>
                <a:lnTo>
                  <a:pt x="6700670" y="1214612"/>
                </a:lnTo>
                <a:lnTo>
                  <a:pt x="6696651" y="1210573"/>
                </a:lnTo>
                <a:lnTo>
                  <a:pt x="6696651" y="1200702"/>
                </a:lnTo>
                <a:close/>
                <a:moveTo>
                  <a:pt x="6461356" y="1196664"/>
                </a:moveTo>
                <a:lnTo>
                  <a:pt x="6471266" y="1196664"/>
                </a:lnTo>
                <a:lnTo>
                  <a:pt x="6475285" y="1200702"/>
                </a:lnTo>
                <a:lnTo>
                  <a:pt x="6475285" y="1210573"/>
                </a:lnTo>
                <a:lnTo>
                  <a:pt x="6471266" y="1214612"/>
                </a:lnTo>
                <a:lnTo>
                  <a:pt x="6461356" y="1214612"/>
                </a:lnTo>
                <a:lnTo>
                  <a:pt x="6457337" y="1210573"/>
                </a:lnTo>
                <a:lnTo>
                  <a:pt x="6457337" y="1200702"/>
                </a:lnTo>
                <a:close/>
                <a:moveTo>
                  <a:pt x="7418611" y="1196652"/>
                </a:moveTo>
                <a:lnTo>
                  <a:pt x="7428521" y="1196652"/>
                </a:lnTo>
                <a:lnTo>
                  <a:pt x="7432540" y="1200690"/>
                </a:lnTo>
                <a:lnTo>
                  <a:pt x="7432540" y="1210561"/>
                </a:lnTo>
                <a:lnTo>
                  <a:pt x="7428521" y="1214600"/>
                </a:lnTo>
                <a:lnTo>
                  <a:pt x="7418611" y="1214600"/>
                </a:lnTo>
                <a:lnTo>
                  <a:pt x="7414592" y="1210561"/>
                </a:lnTo>
                <a:lnTo>
                  <a:pt x="7414592" y="1200690"/>
                </a:lnTo>
                <a:close/>
                <a:moveTo>
                  <a:pt x="7179298" y="1196652"/>
                </a:moveTo>
                <a:lnTo>
                  <a:pt x="7189209" y="1196652"/>
                </a:lnTo>
                <a:lnTo>
                  <a:pt x="7193228" y="1200690"/>
                </a:lnTo>
                <a:lnTo>
                  <a:pt x="7193228" y="1210561"/>
                </a:lnTo>
                <a:lnTo>
                  <a:pt x="7189209" y="1214600"/>
                </a:lnTo>
                <a:lnTo>
                  <a:pt x="7179298" y="1214600"/>
                </a:lnTo>
                <a:lnTo>
                  <a:pt x="7175279" y="1210561"/>
                </a:lnTo>
                <a:lnTo>
                  <a:pt x="7175279" y="1200690"/>
                </a:lnTo>
                <a:close/>
                <a:moveTo>
                  <a:pt x="8136553" y="1196651"/>
                </a:moveTo>
                <a:lnTo>
                  <a:pt x="8146464" y="1196651"/>
                </a:lnTo>
                <a:lnTo>
                  <a:pt x="8150483" y="1200689"/>
                </a:lnTo>
                <a:lnTo>
                  <a:pt x="8150483" y="1210561"/>
                </a:lnTo>
                <a:lnTo>
                  <a:pt x="8146464" y="1214600"/>
                </a:lnTo>
                <a:lnTo>
                  <a:pt x="8136553" y="1214600"/>
                </a:lnTo>
                <a:lnTo>
                  <a:pt x="8132534" y="1210561"/>
                </a:lnTo>
                <a:lnTo>
                  <a:pt x="8132534" y="1200689"/>
                </a:lnTo>
                <a:close/>
                <a:moveTo>
                  <a:pt x="7897241" y="1196651"/>
                </a:moveTo>
                <a:lnTo>
                  <a:pt x="7907151" y="1196651"/>
                </a:lnTo>
                <a:lnTo>
                  <a:pt x="7911170" y="1200689"/>
                </a:lnTo>
                <a:lnTo>
                  <a:pt x="7911170" y="1210561"/>
                </a:lnTo>
                <a:lnTo>
                  <a:pt x="7907151" y="1214600"/>
                </a:lnTo>
                <a:lnTo>
                  <a:pt x="7897241" y="1214600"/>
                </a:lnTo>
                <a:lnTo>
                  <a:pt x="7893222" y="1210561"/>
                </a:lnTo>
                <a:lnTo>
                  <a:pt x="7893222" y="1200689"/>
                </a:lnTo>
                <a:close/>
                <a:moveTo>
                  <a:pt x="7657926" y="1196651"/>
                </a:moveTo>
                <a:lnTo>
                  <a:pt x="7667836" y="1196651"/>
                </a:lnTo>
                <a:lnTo>
                  <a:pt x="7671855" y="1200689"/>
                </a:lnTo>
                <a:lnTo>
                  <a:pt x="7671855" y="1210561"/>
                </a:lnTo>
                <a:lnTo>
                  <a:pt x="7667836" y="1214600"/>
                </a:lnTo>
                <a:lnTo>
                  <a:pt x="7657926" y="1214600"/>
                </a:lnTo>
                <a:lnTo>
                  <a:pt x="7653906" y="1210561"/>
                </a:lnTo>
                <a:lnTo>
                  <a:pt x="7653906" y="1200689"/>
                </a:lnTo>
                <a:close/>
                <a:moveTo>
                  <a:pt x="8615184" y="1196639"/>
                </a:moveTo>
                <a:lnTo>
                  <a:pt x="8625095" y="1196639"/>
                </a:lnTo>
                <a:lnTo>
                  <a:pt x="8629114" y="1200678"/>
                </a:lnTo>
                <a:lnTo>
                  <a:pt x="8629114" y="1210548"/>
                </a:lnTo>
                <a:lnTo>
                  <a:pt x="8625095" y="1214587"/>
                </a:lnTo>
                <a:lnTo>
                  <a:pt x="8615184" y="1214587"/>
                </a:lnTo>
                <a:lnTo>
                  <a:pt x="8611165" y="1210548"/>
                </a:lnTo>
                <a:lnTo>
                  <a:pt x="8611165" y="1200678"/>
                </a:lnTo>
                <a:close/>
                <a:moveTo>
                  <a:pt x="8375869" y="1196639"/>
                </a:moveTo>
                <a:lnTo>
                  <a:pt x="8385779" y="1196639"/>
                </a:lnTo>
                <a:lnTo>
                  <a:pt x="8389799" y="1200678"/>
                </a:lnTo>
                <a:lnTo>
                  <a:pt x="8389799" y="1210549"/>
                </a:lnTo>
                <a:lnTo>
                  <a:pt x="8385779" y="1214587"/>
                </a:lnTo>
                <a:lnTo>
                  <a:pt x="8375869" y="1214587"/>
                </a:lnTo>
                <a:lnTo>
                  <a:pt x="8371850" y="1210549"/>
                </a:lnTo>
                <a:lnTo>
                  <a:pt x="8371850" y="1200678"/>
                </a:lnTo>
                <a:close/>
                <a:moveTo>
                  <a:pt x="9333125" y="1196639"/>
                </a:moveTo>
                <a:lnTo>
                  <a:pt x="9343036" y="1196639"/>
                </a:lnTo>
                <a:lnTo>
                  <a:pt x="9347055" y="1200677"/>
                </a:lnTo>
                <a:lnTo>
                  <a:pt x="9347055" y="1210548"/>
                </a:lnTo>
                <a:lnTo>
                  <a:pt x="9343036" y="1214587"/>
                </a:lnTo>
                <a:lnTo>
                  <a:pt x="9333125" y="1214587"/>
                </a:lnTo>
                <a:lnTo>
                  <a:pt x="9329106" y="1210548"/>
                </a:lnTo>
                <a:lnTo>
                  <a:pt x="9329106" y="1200677"/>
                </a:lnTo>
                <a:close/>
                <a:moveTo>
                  <a:pt x="9093811" y="1196639"/>
                </a:moveTo>
                <a:lnTo>
                  <a:pt x="9103722" y="1196639"/>
                </a:lnTo>
                <a:lnTo>
                  <a:pt x="9107741" y="1200677"/>
                </a:lnTo>
                <a:lnTo>
                  <a:pt x="9107741" y="1210548"/>
                </a:lnTo>
                <a:lnTo>
                  <a:pt x="9103722" y="1214587"/>
                </a:lnTo>
                <a:lnTo>
                  <a:pt x="9093811" y="1214587"/>
                </a:lnTo>
                <a:lnTo>
                  <a:pt x="9089792" y="1210548"/>
                </a:lnTo>
                <a:lnTo>
                  <a:pt x="9089792" y="1200677"/>
                </a:lnTo>
                <a:close/>
                <a:moveTo>
                  <a:pt x="8854496" y="1196639"/>
                </a:moveTo>
                <a:lnTo>
                  <a:pt x="8864407" y="1196639"/>
                </a:lnTo>
                <a:lnTo>
                  <a:pt x="8868426" y="1200677"/>
                </a:lnTo>
                <a:lnTo>
                  <a:pt x="8868426" y="1210548"/>
                </a:lnTo>
                <a:lnTo>
                  <a:pt x="8864407" y="1214587"/>
                </a:lnTo>
                <a:lnTo>
                  <a:pt x="8854496" y="1214587"/>
                </a:lnTo>
                <a:lnTo>
                  <a:pt x="8850477" y="1210548"/>
                </a:lnTo>
                <a:lnTo>
                  <a:pt x="8850477" y="1200677"/>
                </a:lnTo>
                <a:close/>
                <a:moveTo>
                  <a:pt x="9572438" y="1196627"/>
                </a:moveTo>
                <a:lnTo>
                  <a:pt x="9582349" y="1196627"/>
                </a:lnTo>
                <a:lnTo>
                  <a:pt x="9586368" y="1200665"/>
                </a:lnTo>
                <a:lnTo>
                  <a:pt x="9586368" y="1210536"/>
                </a:lnTo>
                <a:lnTo>
                  <a:pt x="9582349" y="1214575"/>
                </a:lnTo>
                <a:lnTo>
                  <a:pt x="9572438" y="1214575"/>
                </a:lnTo>
                <a:lnTo>
                  <a:pt x="9568419" y="1210536"/>
                </a:lnTo>
                <a:lnTo>
                  <a:pt x="9568419" y="1200665"/>
                </a:lnTo>
                <a:close/>
                <a:moveTo>
                  <a:pt x="4035" y="1196600"/>
                </a:moveTo>
                <a:lnTo>
                  <a:pt x="13945" y="1196600"/>
                </a:lnTo>
                <a:lnTo>
                  <a:pt x="17964" y="1200638"/>
                </a:lnTo>
                <a:lnTo>
                  <a:pt x="17964" y="1210509"/>
                </a:lnTo>
                <a:lnTo>
                  <a:pt x="13945" y="1214548"/>
                </a:lnTo>
                <a:lnTo>
                  <a:pt x="4035" y="1214548"/>
                </a:lnTo>
                <a:lnTo>
                  <a:pt x="16" y="1210509"/>
                </a:lnTo>
                <a:lnTo>
                  <a:pt x="16" y="1200638"/>
                </a:lnTo>
                <a:close/>
                <a:moveTo>
                  <a:pt x="721974" y="1196599"/>
                </a:moveTo>
                <a:lnTo>
                  <a:pt x="731884" y="1196599"/>
                </a:lnTo>
                <a:lnTo>
                  <a:pt x="735903" y="1200638"/>
                </a:lnTo>
                <a:lnTo>
                  <a:pt x="735903" y="1210509"/>
                </a:lnTo>
                <a:lnTo>
                  <a:pt x="731884" y="1214547"/>
                </a:lnTo>
                <a:lnTo>
                  <a:pt x="721974" y="1214547"/>
                </a:lnTo>
                <a:lnTo>
                  <a:pt x="717955" y="1210509"/>
                </a:lnTo>
                <a:lnTo>
                  <a:pt x="717955" y="1200638"/>
                </a:lnTo>
                <a:close/>
                <a:moveTo>
                  <a:pt x="482661" y="1196599"/>
                </a:moveTo>
                <a:lnTo>
                  <a:pt x="492572" y="1196599"/>
                </a:lnTo>
                <a:lnTo>
                  <a:pt x="496591" y="1200638"/>
                </a:lnTo>
                <a:lnTo>
                  <a:pt x="496591" y="1210509"/>
                </a:lnTo>
                <a:lnTo>
                  <a:pt x="492572" y="1214548"/>
                </a:lnTo>
                <a:lnTo>
                  <a:pt x="482661" y="1214548"/>
                </a:lnTo>
                <a:lnTo>
                  <a:pt x="478642" y="1210509"/>
                </a:lnTo>
                <a:lnTo>
                  <a:pt x="478642" y="1200638"/>
                </a:lnTo>
                <a:close/>
                <a:moveTo>
                  <a:pt x="243348" y="1196599"/>
                </a:moveTo>
                <a:lnTo>
                  <a:pt x="253258" y="1196599"/>
                </a:lnTo>
                <a:lnTo>
                  <a:pt x="257278" y="1200638"/>
                </a:lnTo>
                <a:lnTo>
                  <a:pt x="257278" y="1210509"/>
                </a:lnTo>
                <a:lnTo>
                  <a:pt x="253258" y="1214548"/>
                </a:lnTo>
                <a:lnTo>
                  <a:pt x="243348" y="1214548"/>
                </a:lnTo>
                <a:lnTo>
                  <a:pt x="239329" y="1210509"/>
                </a:lnTo>
                <a:lnTo>
                  <a:pt x="239329" y="1200638"/>
                </a:lnTo>
                <a:close/>
                <a:moveTo>
                  <a:pt x="1439900" y="1196589"/>
                </a:moveTo>
                <a:lnTo>
                  <a:pt x="1449810" y="1196589"/>
                </a:lnTo>
                <a:lnTo>
                  <a:pt x="1453829" y="1200628"/>
                </a:lnTo>
                <a:lnTo>
                  <a:pt x="1453829" y="1210498"/>
                </a:lnTo>
                <a:lnTo>
                  <a:pt x="1449810" y="1214537"/>
                </a:lnTo>
                <a:lnTo>
                  <a:pt x="1439900" y="1214537"/>
                </a:lnTo>
                <a:lnTo>
                  <a:pt x="1435881" y="1210498"/>
                </a:lnTo>
                <a:lnTo>
                  <a:pt x="1435881" y="1200628"/>
                </a:lnTo>
                <a:close/>
                <a:moveTo>
                  <a:pt x="1200584" y="1196589"/>
                </a:moveTo>
                <a:lnTo>
                  <a:pt x="1210494" y="1196589"/>
                </a:lnTo>
                <a:lnTo>
                  <a:pt x="1214512" y="1200628"/>
                </a:lnTo>
                <a:lnTo>
                  <a:pt x="1214512" y="1210498"/>
                </a:lnTo>
                <a:lnTo>
                  <a:pt x="1210494" y="1214537"/>
                </a:lnTo>
                <a:lnTo>
                  <a:pt x="1200584" y="1214537"/>
                </a:lnTo>
                <a:lnTo>
                  <a:pt x="1196565" y="1210498"/>
                </a:lnTo>
                <a:lnTo>
                  <a:pt x="1196565" y="1200628"/>
                </a:lnTo>
                <a:close/>
                <a:moveTo>
                  <a:pt x="961271" y="1196589"/>
                </a:moveTo>
                <a:lnTo>
                  <a:pt x="971181" y="1196589"/>
                </a:lnTo>
                <a:lnTo>
                  <a:pt x="975200" y="1200628"/>
                </a:lnTo>
                <a:lnTo>
                  <a:pt x="975200" y="1210499"/>
                </a:lnTo>
                <a:lnTo>
                  <a:pt x="971181" y="1214537"/>
                </a:lnTo>
                <a:lnTo>
                  <a:pt x="961271" y="1214537"/>
                </a:lnTo>
                <a:lnTo>
                  <a:pt x="957253" y="1210499"/>
                </a:lnTo>
                <a:lnTo>
                  <a:pt x="957253" y="1200628"/>
                </a:lnTo>
                <a:close/>
                <a:moveTo>
                  <a:pt x="1679217" y="1196589"/>
                </a:moveTo>
                <a:lnTo>
                  <a:pt x="1689127" y="1196589"/>
                </a:lnTo>
                <a:lnTo>
                  <a:pt x="1693146" y="1200627"/>
                </a:lnTo>
                <a:lnTo>
                  <a:pt x="1693146" y="1210498"/>
                </a:lnTo>
                <a:lnTo>
                  <a:pt x="1689127" y="1214537"/>
                </a:lnTo>
                <a:lnTo>
                  <a:pt x="1679217" y="1214537"/>
                </a:lnTo>
                <a:lnTo>
                  <a:pt x="1675198" y="1210498"/>
                </a:lnTo>
                <a:lnTo>
                  <a:pt x="1675198" y="1200627"/>
                </a:lnTo>
                <a:close/>
                <a:moveTo>
                  <a:pt x="1918514" y="1196581"/>
                </a:moveTo>
                <a:lnTo>
                  <a:pt x="1928424" y="1196581"/>
                </a:lnTo>
                <a:lnTo>
                  <a:pt x="1932443" y="1200619"/>
                </a:lnTo>
                <a:lnTo>
                  <a:pt x="1932443" y="1210489"/>
                </a:lnTo>
                <a:lnTo>
                  <a:pt x="1928424" y="1214528"/>
                </a:lnTo>
                <a:lnTo>
                  <a:pt x="1918514" y="1214528"/>
                </a:lnTo>
                <a:lnTo>
                  <a:pt x="1914495" y="1210489"/>
                </a:lnTo>
                <a:lnTo>
                  <a:pt x="1914495" y="1200619"/>
                </a:lnTo>
                <a:close/>
                <a:moveTo>
                  <a:pt x="2157823" y="1196578"/>
                </a:moveTo>
                <a:lnTo>
                  <a:pt x="2167733" y="1196578"/>
                </a:lnTo>
                <a:lnTo>
                  <a:pt x="2171751" y="1200617"/>
                </a:lnTo>
                <a:lnTo>
                  <a:pt x="2171751" y="1210488"/>
                </a:lnTo>
                <a:lnTo>
                  <a:pt x="2167733" y="1214526"/>
                </a:lnTo>
                <a:lnTo>
                  <a:pt x="2157823" y="1214526"/>
                </a:lnTo>
                <a:lnTo>
                  <a:pt x="2153803" y="1210488"/>
                </a:lnTo>
                <a:lnTo>
                  <a:pt x="2153803" y="1200617"/>
                </a:lnTo>
                <a:close/>
                <a:moveTo>
                  <a:pt x="3350359" y="957358"/>
                </a:moveTo>
                <a:lnTo>
                  <a:pt x="3360268" y="957358"/>
                </a:lnTo>
                <a:lnTo>
                  <a:pt x="3364287" y="961396"/>
                </a:lnTo>
                <a:lnTo>
                  <a:pt x="3364287" y="971266"/>
                </a:lnTo>
                <a:lnTo>
                  <a:pt x="3360268" y="975304"/>
                </a:lnTo>
                <a:lnTo>
                  <a:pt x="3350359" y="975304"/>
                </a:lnTo>
                <a:lnTo>
                  <a:pt x="3346340" y="971266"/>
                </a:lnTo>
                <a:lnTo>
                  <a:pt x="3346340" y="961396"/>
                </a:lnTo>
                <a:close/>
                <a:moveTo>
                  <a:pt x="3111048" y="957358"/>
                </a:moveTo>
                <a:lnTo>
                  <a:pt x="3120959" y="957358"/>
                </a:lnTo>
                <a:lnTo>
                  <a:pt x="3124977" y="961396"/>
                </a:lnTo>
                <a:lnTo>
                  <a:pt x="3124977" y="971266"/>
                </a:lnTo>
                <a:lnTo>
                  <a:pt x="3120959" y="975304"/>
                </a:lnTo>
                <a:lnTo>
                  <a:pt x="3111048" y="975304"/>
                </a:lnTo>
                <a:lnTo>
                  <a:pt x="3107029" y="971266"/>
                </a:lnTo>
                <a:lnTo>
                  <a:pt x="3107029" y="961396"/>
                </a:lnTo>
                <a:close/>
                <a:moveTo>
                  <a:pt x="2871737" y="957358"/>
                </a:moveTo>
                <a:lnTo>
                  <a:pt x="2881646" y="957358"/>
                </a:lnTo>
                <a:lnTo>
                  <a:pt x="2885666" y="961396"/>
                </a:lnTo>
                <a:lnTo>
                  <a:pt x="2885666" y="971266"/>
                </a:lnTo>
                <a:lnTo>
                  <a:pt x="2881646" y="975304"/>
                </a:lnTo>
                <a:lnTo>
                  <a:pt x="2871737" y="975304"/>
                </a:lnTo>
                <a:lnTo>
                  <a:pt x="2867717" y="971266"/>
                </a:lnTo>
                <a:lnTo>
                  <a:pt x="2867717" y="961396"/>
                </a:lnTo>
                <a:close/>
                <a:moveTo>
                  <a:pt x="2632423" y="957358"/>
                </a:moveTo>
                <a:lnTo>
                  <a:pt x="2642334" y="957358"/>
                </a:lnTo>
                <a:lnTo>
                  <a:pt x="2646352" y="961396"/>
                </a:lnTo>
                <a:lnTo>
                  <a:pt x="2646352" y="971266"/>
                </a:lnTo>
                <a:lnTo>
                  <a:pt x="2642334" y="975305"/>
                </a:lnTo>
                <a:lnTo>
                  <a:pt x="2632423" y="975305"/>
                </a:lnTo>
                <a:lnTo>
                  <a:pt x="2628404" y="971266"/>
                </a:lnTo>
                <a:lnTo>
                  <a:pt x="2628404" y="961396"/>
                </a:lnTo>
                <a:close/>
                <a:moveTo>
                  <a:pt x="2393104" y="957358"/>
                </a:moveTo>
                <a:lnTo>
                  <a:pt x="2403015" y="957358"/>
                </a:lnTo>
                <a:lnTo>
                  <a:pt x="2407034" y="961396"/>
                </a:lnTo>
                <a:lnTo>
                  <a:pt x="2407034" y="971266"/>
                </a:lnTo>
                <a:lnTo>
                  <a:pt x="2403015" y="975305"/>
                </a:lnTo>
                <a:lnTo>
                  <a:pt x="2393104" y="975305"/>
                </a:lnTo>
                <a:lnTo>
                  <a:pt x="2389087" y="971266"/>
                </a:lnTo>
                <a:lnTo>
                  <a:pt x="2389087" y="961396"/>
                </a:lnTo>
                <a:close/>
                <a:moveTo>
                  <a:pt x="4546929" y="957347"/>
                </a:moveTo>
                <a:lnTo>
                  <a:pt x="4556840" y="957347"/>
                </a:lnTo>
                <a:lnTo>
                  <a:pt x="4560859" y="961385"/>
                </a:lnTo>
                <a:lnTo>
                  <a:pt x="4560859" y="971255"/>
                </a:lnTo>
                <a:lnTo>
                  <a:pt x="4556840" y="975293"/>
                </a:lnTo>
                <a:lnTo>
                  <a:pt x="4546929" y="975293"/>
                </a:lnTo>
                <a:lnTo>
                  <a:pt x="4542910" y="971255"/>
                </a:lnTo>
                <a:lnTo>
                  <a:pt x="4542910" y="961385"/>
                </a:lnTo>
                <a:close/>
                <a:moveTo>
                  <a:pt x="4307612" y="957347"/>
                </a:moveTo>
                <a:lnTo>
                  <a:pt x="4317523" y="957347"/>
                </a:lnTo>
                <a:lnTo>
                  <a:pt x="4321543" y="961385"/>
                </a:lnTo>
                <a:lnTo>
                  <a:pt x="4321543" y="971255"/>
                </a:lnTo>
                <a:lnTo>
                  <a:pt x="4317523" y="975293"/>
                </a:lnTo>
                <a:lnTo>
                  <a:pt x="4307612" y="975293"/>
                </a:lnTo>
                <a:lnTo>
                  <a:pt x="4303595" y="971255"/>
                </a:lnTo>
                <a:lnTo>
                  <a:pt x="4303595" y="961385"/>
                </a:lnTo>
                <a:close/>
                <a:moveTo>
                  <a:pt x="4068297" y="957347"/>
                </a:moveTo>
                <a:lnTo>
                  <a:pt x="4078210" y="957347"/>
                </a:lnTo>
                <a:lnTo>
                  <a:pt x="4082229" y="961385"/>
                </a:lnTo>
                <a:lnTo>
                  <a:pt x="4082229" y="971255"/>
                </a:lnTo>
                <a:lnTo>
                  <a:pt x="4078210" y="975293"/>
                </a:lnTo>
                <a:lnTo>
                  <a:pt x="4068297" y="975293"/>
                </a:lnTo>
                <a:lnTo>
                  <a:pt x="4064278" y="971255"/>
                </a:lnTo>
                <a:lnTo>
                  <a:pt x="4064278" y="961385"/>
                </a:lnTo>
                <a:close/>
                <a:moveTo>
                  <a:pt x="3828990" y="957347"/>
                </a:moveTo>
                <a:lnTo>
                  <a:pt x="3838899" y="957347"/>
                </a:lnTo>
                <a:lnTo>
                  <a:pt x="3842917" y="961385"/>
                </a:lnTo>
                <a:lnTo>
                  <a:pt x="3842917" y="971255"/>
                </a:lnTo>
                <a:lnTo>
                  <a:pt x="3838899" y="975293"/>
                </a:lnTo>
                <a:lnTo>
                  <a:pt x="3828990" y="975293"/>
                </a:lnTo>
                <a:lnTo>
                  <a:pt x="3824971" y="971255"/>
                </a:lnTo>
                <a:lnTo>
                  <a:pt x="3824971" y="961385"/>
                </a:lnTo>
                <a:close/>
                <a:moveTo>
                  <a:pt x="3589676" y="957347"/>
                </a:moveTo>
                <a:lnTo>
                  <a:pt x="3599585" y="957347"/>
                </a:lnTo>
                <a:lnTo>
                  <a:pt x="3603604" y="961385"/>
                </a:lnTo>
                <a:lnTo>
                  <a:pt x="3603604" y="971255"/>
                </a:lnTo>
                <a:lnTo>
                  <a:pt x="3599585" y="975293"/>
                </a:lnTo>
                <a:lnTo>
                  <a:pt x="3589676" y="975293"/>
                </a:lnTo>
                <a:lnTo>
                  <a:pt x="3585657" y="971255"/>
                </a:lnTo>
                <a:lnTo>
                  <a:pt x="3585657" y="961385"/>
                </a:lnTo>
                <a:close/>
                <a:moveTo>
                  <a:pt x="5743412" y="957335"/>
                </a:moveTo>
                <a:lnTo>
                  <a:pt x="5753323" y="957335"/>
                </a:lnTo>
                <a:lnTo>
                  <a:pt x="5757342" y="961373"/>
                </a:lnTo>
                <a:lnTo>
                  <a:pt x="5757342" y="971244"/>
                </a:lnTo>
                <a:lnTo>
                  <a:pt x="5753323" y="975282"/>
                </a:lnTo>
                <a:lnTo>
                  <a:pt x="5743412" y="975282"/>
                </a:lnTo>
                <a:lnTo>
                  <a:pt x="5739393" y="971244"/>
                </a:lnTo>
                <a:lnTo>
                  <a:pt x="5739393" y="961373"/>
                </a:lnTo>
                <a:close/>
                <a:moveTo>
                  <a:pt x="5504099" y="957335"/>
                </a:moveTo>
                <a:lnTo>
                  <a:pt x="5514010" y="957335"/>
                </a:lnTo>
                <a:lnTo>
                  <a:pt x="5518029" y="961373"/>
                </a:lnTo>
                <a:lnTo>
                  <a:pt x="5518029" y="971244"/>
                </a:lnTo>
                <a:lnTo>
                  <a:pt x="5514010" y="975282"/>
                </a:lnTo>
                <a:lnTo>
                  <a:pt x="5504099" y="975282"/>
                </a:lnTo>
                <a:lnTo>
                  <a:pt x="5500080" y="971244"/>
                </a:lnTo>
                <a:lnTo>
                  <a:pt x="5500080" y="961373"/>
                </a:lnTo>
                <a:close/>
                <a:moveTo>
                  <a:pt x="5264784" y="957335"/>
                </a:moveTo>
                <a:lnTo>
                  <a:pt x="5274694" y="957335"/>
                </a:lnTo>
                <a:lnTo>
                  <a:pt x="5278713" y="961373"/>
                </a:lnTo>
                <a:lnTo>
                  <a:pt x="5278713" y="971244"/>
                </a:lnTo>
                <a:lnTo>
                  <a:pt x="5274694" y="975282"/>
                </a:lnTo>
                <a:lnTo>
                  <a:pt x="5264784" y="975282"/>
                </a:lnTo>
                <a:lnTo>
                  <a:pt x="5260765" y="971244"/>
                </a:lnTo>
                <a:lnTo>
                  <a:pt x="5260765" y="961373"/>
                </a:lnTo>
                <a:close/>
                <a:moveTo>
                  <a:pt x="5025470" y="957335"/>
                </a:moveTo>
                <a:lnTo>
                  <a:pt x="5035381" y="957335"/>
                </a:lnTo>
                <a:lnTo>
                  <a:pt x="5039400" y="961373"/>
                </a:lnTo>
                <a:lnTo>
                  <a:pt x="5039400" y="971244"/>
                </a:lnTo>
                <a:lnTo>
                  <a:pt x="5035381" y="975283"/>
                </a:lnTo>
                <a:lnTo>
                  <a:pt x="5025470" y="975283"/>
                </a:lnTo>
                <a:lnTo>
                  <a:pt x="5021451" y="971244"/>
                </a:lnTo>
                <a:lnTo>
                  <a:pt x="5021451" y="961373"/>
                </a:lnTo>
                <a:close/>
                <a:moveTo>
                  <a:pt x="4786241" y="957335"/>
                </a:moveTo>
                <a:lnTo>
                  <a:pt x="4796152" y="957335"/>
                </a:lnTo>
                <a:lnTo>
                  <a:pt x="4800171" y="961374"/>
                </a:lnTo>
                <a:lnTo>
                  <a:pt x="4800171" y="971244"/>
                </a:lnTo>
                <a:lnTo>
                  <a:pt x="4796152" y="975283"/>
                </a:lnTo>
                <a:lnTo>
                  <a:pt x="4786241" y="975283"/>
                </a:lnTo>
                <a:lnTo>
                  <a:pt x="4782224" y="971244"/>
                </a:lnTo>
                <a:lnTo>
                  <a:pt x="4782224" y="961374"/>
                </a:lnTo>
                <a:close/>
                <a:moveTo>
                  <a:pt x="6939983" y="957324"/>
                </a:moveTo>
                <a:lnTo>
                  <a:pt x="6949894" y="957324"/>
                </a:lnTo>
                <a:lnTo>
                  <a:pt x="6953913" y="961363"/>
                </a:lnTo>
                <a:lnTo>
                  <a:pt x="6953913" y="971232"/>
                </a:lnTo>
                <a:lnTo>
                  <a:pt x="6949894" y="975271"/>
                </a:lnTo>
                <a:lnTo>
                  <a:pt x="6939983" y="975271"/>
                </a:lnTo>
                <a:lnTo>
                  <a:pt x="6935964" y="971232"/>
                </a:lnTo>
                <a:lnTo>
                  <a:pt x="6935964" y="961363"/>
                </a:lnTo>
                <a:close/>
                <a:moveTo>
                  <a:pt x="6700670" y="957324"/>
                </a:moveTo>
                <a:lnTo>
                  <a:pt x="6710581" y="957324"/>
                </a:lnTo>
                <a:lnTo>
                  <a:pt x="6714600" y="961363"/>
                </a:lnTo>
                <a:lnTo>
                  <a:pt x="6714600" y="971232"/>
                </a:lnTo>
                <a:lnTo>
                  <a:pt x="6710581" y="975271"/>
                </a:lnTo>
                <a:lnTo>
                  <a:pt x="6700670" y="975271"/>
                </a:lnTo>
                <a:lnTo>
                  <a:pt x="6696651" y="971232"/>
                </a:lnTo>
                <a:lnTo>
                  <a:pt x="6696651" y="961363"/>
                </a:lnTo>
                <a:close/>
                <a:moveTo>
                  <a:pt x="6461356" y="957324"/>
                </a:moveTo>
                <a:lnTo>
                  <a:pt x="6471266" y="957324"/>
                </a:lnTo>
                <a:lnTo>
                  <a:pt x="6475285" y="961363"/>
                </a:lnTo>
                <a:lnTo>
                  <a:pt x="6475285" y="971232"/>
                </a:lnTo>
                <a:lnTo>
                  <a:pt x="6471266" y="975271"/>
                </a:lnTo>
                <a:lnTo>
                  <a:pt x="6461356" y="975271"/>
                </a:lnTo>
                <a:lnTo>
                  <a:pt x="6457337" y="971232"/>
                </a:lnTo>
                <a:lnTo>
                  <a:pt x="6457337" y="961363"/>
                </a:lnTo>
                <a:close/>
                <a:moveTo>
                  <a:pt x="6222042" y="957324"/>
                </a:moveTo>
                <a:lnTo>
                  <a:pt x="6231952" y="957324"/>
                </a:lnTo>
                <a:lnTo>
                  <a:pt x="6235971" y="961363"/>
                </a:lnTo>
                <a:lnTo>
                  <a:pt x="6235971" y="971232"/>
                </a:lnTo>
                <a:lnTo>
                  <a:pt x="6231952" y="975271"/>
                </a:lnTo>
                <a:lnTo>
                  <a:pt x="6222042" y="975271"/>
                </a:lnTo>
                <a:lnTo>
                  <a:pt x="6218023" y="971232"/>
                </a:lnTo>
                <a:lnTo>
                  <a:pt x="6218023" y="961363"/>
                </a:lnTo>
                <a:close/>
                <a:moveTo>
                  <a:pt x="5982729" y="957324"/>
                </a:moveTo>
                <a:lnTo>
                  <a:pt x="5992639" y="957324"/>
                </a:lnTo>
                <a:lnTo>
                  <a:pt x="5996658" y="961363"/>
                </a:lnTo>
                <a:lnTo>
                  <a:pt x="5996658" y="971232"/>
                </a:lnTo>
                <a:lnTo>
                  <a:pt x="5992639" y="975271"/>
                </a:lnTo>
                <a:lnTo>
                  <a:pt x="5982729" y="975271"/>
                </a:lnTo>
                <a:lnTo>
                  <a:pt x="5978710" y="971232"/>
                </a:lnTo>
                <a:lnTo>
                  <a:pt x="5978710" y="961363"/>
                </a:lnTo>
                <a:close/>
                <a:moveTo>
                  <a:pt x="8136553" y="957313"/>
                </a:moveTo>
                <a:lnTo>
                  <a:pt x="8146464" y="957313"/>
                </a:lnTo>
                <a:lnTo>
                  <a:pt x="8150483" y="961351"/>
                </a:lnTo>
                <a:lnTo>
                  <a:pt x="8150483" y="971222"/>
                </a:lnTo>
                <a:lnTo>
                  <a:pt x="8146464" y="975260"/>
                </a:lnTo>
                <a:lnTo>
                  <a:pt x="8136553" y="975260"/>
                </a:lnTo>
                <a:lnTo>
                  <a:pt x="8132534" y="971222"/>
                </a:lnTo>
                <a:lnTo>
                  <a:pt x="8132534" y="961351"/>
                </a:lnTo>
                <a:close/>
                <a:moveTo>
                  <a:pt x="7897241" y="957313"/>
                </a:moveTo>
                <a:lnTo>
                  <a:pt x="7907151" y="957313"/>
                </a:lnTo>
                <a:lnTo>
                  <a:pt x="7911170" y="961351"/>
                </a:lnTo>
                <a:lnTo>
                  <a:pt x="7911170" y="971222"/>
                </a:lnTo>
                <a:lnTo>
                  <a:pt x="7907151" y="975260"/>
                </a:lnTo>
                <a:lnTo>
                  <a:pt x="7897241" y="975260"/>
                </a:lnTo>
                <a:lnTo>
                  <a:pt x="7893222" y="971222"/>
                </a:lnTo>
                <a:lnTo>
                  <a:pt x="7893222" y="961351"/>
                </a:lnTo>
                <a:close/>
                <a:moveTo>
                  <a:pt x="7657926" y="957313"/>
                </a:moveTo>
                <a:lnTo>
                  <a:pt x="7667836" y="957313"/>
                </a:lnTo>
                <a:lnTo>
                  <a:pt x="7671855" y="961351"/>
                </a:lnTo>
                <a:lnTo>
                  <a:pt x="7671855" y="971222"/>
                </a:lnTo>
                <a:lnTo>
                  <a:pt x="7667836" y="975260"/>
                </a:lnTo>
                <a:lnTo>
                  <a:pt x="7657926" y="975260"/>
                </a:lnTo>
                <a:lnTo>
                  <a:pt x="7653906" y="971222"/>
                </a:lnTo>
                <a:lnTo>
                  <a:pt x="7653906" y="961351"/>
                </a:lnTo>
                <a:close/>
                <a:moveTo>
                  <a:pt x="7418611" y="957313"/>
                </a:moveTo>
                <a:lnTo>
                  <a:pt x="7428521" y="957313"/>
                </a:lnTo>
                <a:lnTo>
                  <a:pt x="7432540" y="961351"/>
                </a:lnTo>
                <a:lnTo>
                  <a:pt x="7432540" y="971222"/>
                </a:lnTo>
                <a:lnTo>
                  <a:pt x="7428521" y="975260"/>
                </a:lnTo>
                <a:lnTo>
                  <a:pt x="7418611" y="975260"/>
                </a:lnTo>
                <a:lnTo>
                  <a:pt x="7414592" y="971222"/>
                </a:lnTo>
                <a:lnTo>
                  <a:pt x="7414592" y="961351"/>
                </a:lnTo>
                <a:close/>
                <a:moveTo>
                  <a:pt x="7179298" y="957313"/>
                </a:moveTo>
                <a:lnTo>
                  <a:pt x="7189209" y="957313"/>
                </a:lnTo>
                <a:lnTo>
                  <a:pt x="7193228" y="961351"/>
                </a:lnTo>
                <a:lnTo>
                  <a:pt x="7193228" y="971222"/>
                </a:lnTo>
                <a:lnTo>
                  <a:pt x="7189209" y="975260"/>
                </a:lnTo>
                <a:lnTo>
                  <a:pt x="7179298" y="975260"/>
                </a:lnTo>
                <a:lnTo>
                  <a:pt x="7175279" y="971222"/>
                </a:lnTo>
                <a:lnTo>
                  <a:pt x="7175279" y="961351"/>
                </a:lnTo>
                <a:close/>
                <a:moveTo>
                  <a:pt x="1679217" y="957309"/>
                </a:moveTo>
                <a:lnTo>
                  <a:pt x="1689128" y="957309"/>
                </a:lnTo>
                <a:lnTo>
                  <a:pt x="1693147" y="961347"/>
                </a:lnTo>
                <a:lnTo>
                  <a:pt x="1693147" y="971217"/>
                </a:lnTo>
                <a:lnTo>
                  <a:pt x="1689128" y="975256"/>
                </a:lnTo>
                <a:lnTo>
                  <a:pt x="1679217" y="975256"/>
                </a:lnTo>
                <a:lnTo>
                  <a:pt x="1675199" y="971217"/>
                </a:lnTo>
                <a:lnTo>
                  <a:pt x="1675199" y="961347"/>
                </a:lnTo>
                <a:close/>
                <a:moveTo>
                  <a:pt x="1439901" y="957309"/>
                </a:moveTo>
                <a:lnTo>
                  <a:pt x="1449811" y="957309"/>
                </a:lnTo>
                <a:lnTo>
                  <a:pt x="1453829" y="961347"/>
                </a:lnTo>
                <a:lnTo>
                  <a:pt x="1453829" y="971217"/>
                </a:lnTo>
                <a:lnTo>
                  <a:pt x="1449811" y="975256"/>
                </a:lnTo>
                <a:lnTo>
                  <a:pt x="1439901" y="975256"/>
                </a:lnTo>
                <a:lnTo>
                  <a:pt x="1435881" y="971217"/>
                </a:lnTo>
                <a:lnTo>
                  <a:pt x="1435881" y="961347"/>
                </a:lnTo>
                <a:close/>
                <a:moveTo>
                  <a:pt x="1200584" y="957309"/>
                </a:moveTo>
                <a:lnTo>
                  <a:pt x="1210495" y="957309"/>
                </a:lnTo>
                <a:lnTo>
                  <a:pt x="1214513" y="961347"/>
                </a:lnTo>
                <a:lnTo>
                  <a:pt x="1214513" y="971217"/>
                </a:lnTo>
                <a:lnTo>
                  <a:pt x="1210495" y="975256"/>
                </a:lnTo>
                <a:lnTo>
                  <a:pt x="1200584" y="975256"/>
                </a:lnTo>
                <a:lnTo>
                  <a:pt x="1196566" y="971217"/>
                </a:lnTo>
                <a:lnTo>
                  <a:pt x="1196566" y="961347"/>
                </a:lnTo>
                <a:close/>
                <a:moveTo>
                  <a:pt x="961271" y="957309"/>
                </a:moveTo>
                <a:lnTo>
                  <a:pt x="971182" y="957309"/>
                </a:lnTo>
                <a:lnTo>
                  <a:pt x="975201" y="961347"/>
                </a:lnTo>
                <a:lnTo>
                  <a:pt x="975201" y="971218"/>
                </a:lnTo>
                <a:lnTo>
                  <a:pt x="971182" y="975256"/>
                </a:lnTo>
                <a:lnTo>
                  <a:pt x="961271" y="975256"/>
                </a:lnTo>
                <a:lnTo>
                  <a:pt x="957253" y="971218"/>
                </a:lnTo>
                <a:lnTo>
                  <a:pt x="957253" y="961347"/>
                </a:lnTo>
                <a:close/>
                <a:moveTo>
                  <a:pt x="9333125" y="957302"/>
                </a:moveTo>
                <a:lnTo>
                  <a:pt x="9343036" y="957302"/>
                </a:lnTo>
                <a:lnTo>
                  <a:pt x="9347055" y="961340"/>
                </a:lnTo>
                <a:lnTo>
                  <a:pt x="9347055" y="971210"/>
                </a:lnTo>
                <a:lnTo>
                  <a:pt x="9343036" y="975249"/>
                </a:lnTo>
                <a:lnTo>
                  <a:pt x="9333125" y="975249"/>
                </a:lnTo>
                <a:lnTo>
                  <a:pt x="9329106" y="971210"/>
                </a:lnTo>
                <a:lnTo>
                  <a:pt x="9329106" y="961340"/>
                </a:lnTo>
                <a:close/>
                <a:moveTo>
                  <a:pt x="9093811" y="957302"/>
                </a:moveTo>
                <a:lnTo>
                  <a:pt x="9103722" y="957302"/>
                </a:lnTo>
                <a:lnTo>
                  <a:pt x="9107741" y="961340"/>
                </a:lnTo>
                <a:lnTo>
                  <a:pt x="9107741" y="971210"/>
                </a:lnTo>
                <a:lnTo>
                  <a:pt x="9103722" y="975249"/>
                </a:lnTo>
                <a:lnTo>
                  <a:pt x="9093811" y="975249"/>
                </a:lnTo>
                <a:lnTo>
                  <a:pt x="9089792" y="971210"/>
                </a:lnTo>
                <a:lnTo>
                  <a:pt x="9089792" y="961340"/>
                </a:lnTo>
                <a:close/>
                <a:moveTo>
                  <a:pt x="8854496" y="957302"/>
                </a:moveTo>
                <a:lnTo>
                  <a:pt x="8864407" y="957302"/>
                </a:lnTo>
                <a:lnTo>
                  <a:pt x="8868426" y="961340"/>
                </a:lnTo>
                <a:lnTo>
                  <a:pt x="8868426" y="971210"/>
                </a:lnTo>
                <a:lnTo>
                  <a:pt x="8864407" y="975249"/>
                </a:lnTo>
                <a:lnTo>
                  <a:pt x="8854496" y="975249"/>
                </a:lnTo>
                <a:lnTo>
                  <a:pt x="8850477" y="971210"/>
                </a:lnTo>
                <a:lnTo>
                  <a:pt x="8850477" y="961340"/>
                </a:lnTo>
                <a:close/>
                <a:moveTo>
                  <a:pt x="8615184" y="957302"/>
                </a:moveTo>
                <a:lnTo>
                  <a:pt x="8625095" y="957302"/>
                </a:lnTo>
                <a:lnTo>
                  <a:pt x="8629114" y="961340"/>
                </a:lnTo>
                <a:lnTo>
                  <a:pt x="8629114" y="971210"/>
                </a:lnTo>
                <a:lnTo>
                  <a:pt x="8625095" y="975249"/>
                </a:lnTo>
                <a:lnTo>
                  <a:pt x="8615184" y="975249"/>
                </a:lnTo>
                <a:lnTo>
                  <a:pt x="8611165" y="971210"/>
                </a:lnTo>
                <a:lnTo>
                  <a:pt x="8611165" y="961340"/>
                </a:lnTo>
                <a:close/>
                <a:moveTo>
                  <a:pt x="8375869" y="957302"/>
                </a:moveTo>
                <a:lnTo>
                  <a:pt x="8385779" y="957302"/>
                </a:lnTo>
                <a:lnTo>
                  <a:pt x="8389799" y="961340"/>
                </a:lnTo>
                <a:lnTo>
                  <a:pt x="8389799" y="971210"/>
                </a:lnTo>
                <a:lnTo>
                  <a:pt x="8385779" y="975249"/>
                </a:lnTo>
                <a:lnTo>
                  <a:pt x="8375869" y="975249"/>
                </a:lnTo>
                <a:lnTo>
                  <a:pt x="8371850" y="971210"/>
                </a:lnTo>
                <a:lnTo>
                  <a:pt x="8371850" y="961340"/>
                </a:lnTo>
                <a:close/>
                <a:moveTo>
                  <a:pt x="1918514" y="957301"/>
                </a:moveTo>
                <a:lnTo>
                  <a:pt x="1928424" y="957301"/>
                </a:lnTo>
                <a:lnTo>
                  <a:pt x="1932444" y="961339"/>
                </a:lnTo>
                <a:lnTo>
                  <a:pt x="1932444" y="971210"/>
                </a:lnTo>
                <a:lnTo>
                  <a:pt x="1928424" y="975249"/>
                </a:lnTo>
                <a:lnTo>
                  <a:pt x="1918514" y="975249"/>
                </a:lnTo>
                <a:lnTo>
                  <a:pt x="1914495" y="971210"/>
                </a:lnTo>
                <a:lnTo>
                  <a:pt x="1914495" y="961339"/>
                </a:lnTo>
                <a:close/>
                <a:moveTo>
                  <a:pt x="2157823" y="957299"/>
                </a:moveTo>
                <a:lnTo>
                  <a:pt x="2167733" y="957299"/>
                </a:lnTo>
                <a:lnTo>
                  <a:pt x="2171751" y="961337"/>
                </a:lnTo>
                <a:lnTo>
                  <a:pt x="2171751" y="971207"/>
                </a:lnTo>
                <a:lnTo>
                  <a:pt x="2167733" y="975246"/>
                </a:lnTo>
                <a:lnTo>
                  <a:pt x="2157823" y="975246"/>
                </a:lnTo>
                <a:lnTo>
                  <a:pt x="2153804" y="971207"/>
                </a:lnTo>
                <a:lnTo>
                  <a:pt x="2153804" y="961337"/>
                </a:lnTo>
                <a:close/>
                <a:moveTo>
                  <a:pt x="9572438" y="957291"/>
                </a:moveTo>
                <a:lnTo>
                  <a:pt x="9582349" y="957291"/>
                </a:lnTo>
                <a:lnTo>
                  <a:pt x="9586368" y="961329"/>
                </a:lnTo>
                <a:lnTo>
                  <a:pt x="9586368" y="971199"/>
                </a:lnTo>
                <a:lnTo>
                  <a:pt x="9582349" y="975238"/>
                </a:lnTo>
                <a:lnTo>
                  <a:pt x="9572438" y="975238"/>
                </a:lnTo>
                <a:lnTo>
                  <a:pt x="9568419" y="971199"/>
                </a:lnTo>
                <a:lnTo>
                  <a:pt x="9568419" y="961329"/>
                </a:lnTo>
                <a:close/>
                <a:moveTo>
                  <a:pt x="721974" y="957266"/>
                </a:moveTo>
                <a:lnTo>
                  <a:pt x="731884" y="957266"/>
                </a:lnTo>
                <a:lnTo>
                  <a:pt x="735903" y="961305"/>
                </a:lnTo>
                <a:lnTo>
                  <a:pt x="735903" y="971175"/>
                </a:lnTo>
                <a:lnTo>
                  <a:pt x="731884" y="975214"/>
                </a:lnTo>
                <a:lnTo>
                  <a:pt x="721974" y="975214"/>
                </a:lnTo>
                <a:lnTo>
                  <a:pt x="717956" y="971175"/>
                </a:lnTo>
                <a:lnTo>
                  <a:pt x="717956" y="961305"/>
                </a:lnTo>
                <a:close/>
                <a:moveTo>
                  <a:pt x="482662" y="957266"/>
                </a:moveTo>
                <a:lnTo>
                  <a:pt x="492572" y="957266"/>
                </a:lnTo>
                <a:lnTo>
                  <a:pt x="496591" y="961305"/>
                </a:lnTo>
                <a:lnTo>
                  <a:pt x="496591" y="971175"/>
                </a:lnTo>
                <a:lnTo>
                  <a:pt x="492572" y="975214"/>
                </a:lnTo>
                <a:lnTo>
                  <a:pt x="482662" y="975214"/>
                </a:lnTo>
                <a:lnTo>
                  <a:pt x="478643" y="971175"/>
                </a:lnTo>
                <a:lnTo>
                  <a:pt x="478643" y="961305"/>
                </a:lnTo>
                <a:close/>
                <a:moveTo>
                  <a:pt x="243349" y="957266"/>
                </a:moveTo>
                <a:lnTo>
                  <a:pt x="253259" y="957266"/>
                </a:lnTo>
                <a:lnTo>
                  <a:pt x="257278" y="961305"/>
                </a:lnTo>
                <a:lnTo>
                  <a:pt x="257278" y="971175"/>
                </a:lnTo>
                <a:lnTo>
                  <a:pt x="253259" y="975214"/>
                </a:lnTo>
                <a:lnTo>
                  <a:pt x="243349" y="975214"/>
                </a:lnTo>
                <a:lnTo>
                  <a:pt x="239330" y="971175"/>
                </a:lnTo>
                <a:lnTo>
                  <a:pt x="239330" y="961305"/>
                </a:lnTo>
                <a:close/>
                <a:moveTo>
                  <a:pt x="4036" y="957266"/>
                </a:moveTo>
                <a:lnTo>
                  <a:pt x="13946" y="957266"/>
                </a:lnTo>
                <a:lnTo>
                  <a:pt x="17965" y="961305"/>
                </a:lnTo>
                <a:lnTo>
                  <a:pt x="17965" y="971176"/>
                </a:lnTo>
                <a:lnTo>
                  <a:pt x="13946" y="975214"/>
                </a:lnTo>
                <a:lnTo>
                  <a:pt x="4036" y="975214"/>
                </a:lnTo>
                <a:lnTo>
                  <a:pt x="16" y="971176"/>
                </a:lnTo>
                <a:lnTo>
                  <a:pt x="16" y="961305"/>
                </a:lnTo>
                <a:close/>
                <a:moveTo>
                  <a:pt x="3350359" y="718040"/>
                </a:moveTo>
                <a:lnTo>
                  <a:pt x="3360268" y="718040"/>
                </a:lnTo>
                <a:lnTo>
                  <a:pt x="3364287" y="722078"/>
                </a:lnTo>
                <a:lnTo>
                  <a:pt x="3364287" y="731948"/>
                </a:lnTo>
                <a:lnTo>
                  <a:pt x="3360268" y="735987"/>
                </a:lnTo>
                <a:lnTo>
                  <a:pt x="3350359" y="735987"/>
                </a:lnTo>
                <a:lnTo>
                  <a:pt x="3346340" y="731948"/>
                </a:lnTo>
                <a:lnTo>
                  <a:pt x="3346340" y="722078"/>
                </a:lnTo>
                <a:close/>
                <a:moveTo>
                  <a:pt x="3111048" y="718040"/>
                </a:moveTo>
                <a:lnTo>
                  <a:pt x="3120959" y="718040"/>
                </a:lnTo>
                <a:lnTo>
                  <a:pt x="3124977" y="722078"/>
                </a:lnTo>
                <a:lnTo>
                  <a:pt x="3124977" y="731949"/>
                </a:lnTo>
                <a:lnTo>
                  <a:pt x="3120959" y="735987"/>
                </a:lnTo>
                <a:lnTo>
                  <a:pt x="3111048" y="735987"/>
                </a:lnTo>
                <a:lnTo>
                  <a:pt x="3107029" y="731949"/>
                </a:lnTo>
                <a:lnTo>
                  <a:pt x="3107029" y="722078"/>
                </a:lnTo>
                <a:close/>
                <a:moveTo>
                  <a:pt x="2871737" y="718040"/>
                </a:moveTo>
                <a:lnTo>
                  <a:pt x="2881646" y="718040"/>
                </a:lnTo>
                <a:lnTo>
                  <a:pt x="2885666" y="722078"/>
                </a:lnTo>
                <a:lnTo>
                  <a:pt x="2885666" y="731949"/>
                </a:lnTo>
                <a:lnTo>
                  <a:pt x="2881646" y="735987"/>
                </a:lnTo>
                <a:lnTo>
                  <a:pt x="2871737" y="735987"/>
                </a:lnTo>
                <a:lnTo>
                  <a:pt x="2867717" y="731949"/>
                </a:lnTo>
                <a:lnTo>
                  <a:pt x="2867717" y="722078"/>
                </a:lnTo>
                <a:close/>
                <a:moveTo>
                  <a:pt x="2632423" y="718040"/>
                </a:moveTo>
                <a:lnTo>
                  <a:pt x="2642334" y="718040"/>
                </a:lnTo>
                <a:lnTo>
                  <a:pt x="2646352" y="722078"/>
                </a:lnTo>
                <a:lnTo>
                  <a:pt x="2646352" y="731949"/>
                </a:lnTo>
                <a:lnTo>
                  <a:pt x="2642334" y="735988"/>
                </a:lnTo>
                <a:lnTo>
                  <a:pt x="2632423" y="735988"/>
                </a:lnTo>
                <a:lnTo>
                  <a:pt x="2628404" y="731949"/>
                </a:lnTo>
                <a:lnTo>
                  <a:pt x="2628404" y="722078"/>
                </a:lnTo>
                <a:close/>
                <a:moveTo>
                  <a:pt x="2393104" y="718040"/>
                </a:moveTo>
                <a:lnTo>
                  <a:pt x="2403015" y="718040"/>
                </a:lnTo>
                <a:lnTo>
                  <a:pt x="2407034" y="722078"/>
                </a:lnTo>
                <a:lnTo>
                  <a:pt x="2407034" y="731949"/>
                </a:lnTo>
                <a:lnTo>
                  <a:pt x="2403015" y="735988"/>
                </a:lnTo>
                <a:lnTo>
                  <a:pt x="2393104" y="735988"/>
                </a:lnTo>
                <a:lnTo>
                  <a:pt x="2389087" y="731949"/>
                </a:lnTo>
                <a:lnTo>
                  <a:pt x="2389087" y="722078"/>
                </a:lnTo>
                <a:close/>
                <a:moveTo>
                  <a:pt x="4546929" y="718028"/>
                </a:moveTo>
                <a:lnTo>
                  <a:pt x="4556840" y="718028"/>
                </a:lnTo>
                <a:lnTo>
                  <a:pt x="4560859" y="722066"/>
                </a:lnTo>
                <a:lnTo>
                  <a:pt x="4560859" y="731935"/>
                </a:lnTo>
                <a:lnTo>
                  <a:pt x="4556840" y="735975"/>
                </a:lnTo>
                <a:lnTo>
                  <a:pt x="4546929" y="735975"/>
                </a:lnTo>
                <a:lnTo>
                  <a:pt x="4542910" y="731935"/>
                </a:lnTo>
                <a:lnTo>
                  <a:pt x="4542910" y="722066"/>
                </a:lnTo>
                <a:close/>
                <a:moveTo>
                  <a:pt x="4307612" y="718028"/>
                </a:moveTo>
                <a:lnTo>
                  <a:pt x="4317523" y="718028"/>
                </a:lnTo>
                <a:lnTo>
                  <a:pt x="4321543" y="722066"/>
                </a:lnTo>
                <a:lnTo>
                  <a:pt x="4321543" y="731936"/>
                </a:lnTo>
                <a:lnTo>
                  <a:pt x="4317523" y="735975"/>
                </a:lnTo>
                <a:lnTo>
                  <a:pt x="4307612" y="735975"/>
                </a:lnTo>
                <a:lnTo>
                  <a:pt x="4303595" y="731936"/>
                </a:lnTo>
                <a:lnTo>
                  <a:pt x="4303595" y="722066"/>
                </a:lnTo>
                <a:close/>
                <a:moveTo>
                  <a:pt x="4068297" y="718028"/>
                </a:moveTo>
                <a:lnTo>
                  <a:pt x="4078210" y="718028"/>
                </a:lnTo>
                <a:lnTo>
                  <a:pt x="4082229" y="722066"/>
                </a:lnTo>
                <a:lnTo>
                  <a:pt x="4082229" y="731936"/>
                </a:lnTo>
                <a:lnTo>
                  <a:pt x="4078210" y="735975"/>
                </a:lnTo>
                <a:lnTo>
                  <a:pt x="4068297" y="735975"/>
                </a:lnTo>
                <a:lnTo>
                  <a:pt x="4064278" y="731936"/>
                </a:lnTo>
                <a:lnTo>
                  <a:pt x="4064278" y="722066"/>
                </a:lnTo>
                <a:close/>
                <a:moveTo>
                  <a:pt x="3828990" y="718028"/>
                </a:moveTo>
                <a:lnTo>
                  <a:pt x="3838899" y="718028"/>
                </a:lnTo>
                <a:lnTo>
                  <a:pt x="3842917" y="722066"/>
                </a:lnTo>
                <a:lnTo>
                  <a:pt x="3842917" y="731936"/>
                </a:lnTo>
                <a:lnTo>
                  <a:pt x="3838899" y="735975"/>
                </a:lnTo>
                <a:lnTo>
                  <a:pt x="3828990" y="735975"/>
                </a:lnTo>
                <a:lnTo>
                  <a:pt x="3824971" y="731936"/>
                </a:lnTo>
                <a:lnTo>
                  <a:pt x="3824971" y="722066"/>
                </a:lnTo>
                <a:close/>
                <a:moveTo>
                  <a:pt x="3589676" y="718028"/>
                </a:moveTo>
                <a:lnTo>
                  <a:pt x="3599585" y="718028"/>
                </a:lnTo>
                <a:lnTo>
                  <a:pt x="3603604" y="722066"/>
                </a:lnTo>
                <a:lnTo>
                  <a:pt x="3603604" y="731936"/>
                </a:lnTo>
                <a:lnTo>
                  <a:pt x="3599585" y="735975"/>
                </a:lnTo>
                <a:lnTo>
                  <a:pt x="3589676" y="735975"/>
                </a:lnTo>
                <a:lnTo>
                  <a:pt x="3585657" y="731936"/>
                </a:lnTo>
                <a:lnTo>
                  <a:pt x="3585657" y="722066"/>
                </a:lnTo>
                <a:close/>
                <a:moveTo>
                  <a:pt x="5743412" y="718015"/>
                </a:moveTo>
                <a:lnTo>
                  <a:pt x="5753323" y="718015"/>
                </a:lnTo>
                <a:lnTo>
                  <a:pt x="5757342" y="722053"/>
                </a:lnTo>
                <a:lnTo>
                  <a:pt x="5757342" y="731924"/>
                </a:lnTo>
                <a:lnTo>
                  <a:pt x="5753323" y="735963"/>
                </a:lnTo>
                <a:lnTo>
                  <a:pt x="5743412" y="735963"/>
                </a:lnTo>
                <a:lnTo>
                  <a:pt x="5739393" y="731924"/>
                </a:lnTo>
                <a:lnTo>
                  <a:pt x="5739393" y="722053"/>
                </a:lnTo>
                <a:close/>
                <a:moveTo>
                  <a:pt x="5504099" y="718015"/>
                </a:moveTo>
                <a:lnTo>
                  <a:pt x="5514010" y="718015"/>
                </a:lnTo>
                <a:lnTo>
                  <a:pt x="5518029" y="722053"/>
                </a:lnTo>
                <a:lnTo>
                  <a:pt x="5518029" y="731924"/>
                </a:lnTo>
                <a:lnTo>
                  <a:pt x="5514010" y="735963"/>
                </a:lnTo>
                <a:lnTo>
                  <a:pt x="5504099" y="735963"/>
                </a:lnTo>
                <a:lnTo>
                  <a:pt x="5500080" y="731924"/>
                </a:lnTo>
                <a:lnTo>
                  <a:pt x="5500080" y="722053"/>
                </a:lnTo>
                <a:close/>
                <a:moveTo>
                  <a:pt x="5264784" y="718015"/>
                </a:moveTo>
                <a:lnTo>
                  <a:pt x="5274694" y="718015"/>
                </a:lnTo>
                <a:lnTo>
                  <a:pt x="5278713" y="722053"/>
                </a:lnTo>
                <a:lnTo>
                  <a:pt x="5278713" y="731924"/>
                </a:lnTo>
                <a:lnTo>
                  <a:pt x="5274694" y="735963"/>
                </a:lnTo>
                <a:lnTo>
                  <a:pt x="5264784" y="735963"/>
                </a:lnTo>
                <a:lnTo>
                  <a:pt x="5260765" y="731924"/>
                </a:lnTo>
                <a:lnTo>
                  <a:pt x="5260765" y="722053"/>
                </a:lnTo>
                <a:close/>
                <a:moveTo>
                  <a:pt x="5025470" y="718015"/>
                </a:moveTo>
                <a:lnTo>
                  <a:pt x="5035381" y="718015"/>
                </a:lnTo>
                <a:lnTo>
                  <a:pt x="5039400" y="722053"/>
                </a:lnTo>
                <a:lnTo>
                  <a:pt x="5039400" y="731924"/>
                </a:lnTo>
                <a:lnTo>
                  <a:pt x="5035381" y="735963"/>
                </a:lnTo>
                <a:lnTo>
                  <a:pt x="5025470" y="735963"/>
                </a:lnTo>
                <a:lnTo>
                  <a:pt x="5021451" y="731924"/>
                </a:lnTo>
                <a:lnTo>
                  <a:pt x="5021451" y="722053"/>
                </a:lnTo>
                <a:close/>
                <a:moveTo>
                  <a:pt x="4786241" y="718015"/>
                </a:moveTo>
                <a:lnTo>
                  <a:pt x="4796152" y="718015"/>
                </a:lnTo>
                <a:lnTo>
                  <a:pt x="4800171" y="722053"/>
                </a:lnTo>
                <a:lnTo>
                  <a:pt x="4800171" y="731924"/>
                </a:lnTo>
                <a:lnTo>
                  <a:pt x="4796152" y="735963"/>
                </a:lnTo>
                <a:lnTo>
                  <a:pt x="4786241" y="735963"/>
                </a:lnTo>
                <a:lnTo>
                  <a:pt x="4782224" y="731924"/>
                </a:lnTo>
                <a:lnTo>
                  <a:pt x="4782224" y="722053"/>
                </a:lnTo>
                <a:close/>
                <a:moveTo>
                  <a:pt x="6939983" y="718003"/>
                </a:moveTo>
                <a:lnTo>
                  <a:pt x="6949894" y="718003"/>
                </a:lnTo>
                <a:lnTo>
                  <a:pt x="6953913" y="722041"/>
                </a:lnTo>
                <a:lnTo>
                  <a:pt x="6953913" y="731911"/>
                </a:lnTo>
                <a:lnTo>
                  <a:pt x="6949894" y="735950"/>
                </a:lnTo>
                <a:lnTo>
                  <a:pt x="6939983" y="735950"/>
                </a:lnTo>
                <a:lnTo>
                  <a:pt x="6935964" y="731911"/>
                </a:lnTo>
                <a:lnTo>
                  <a:pt x="6935964" y="722041"/>
                </a:lnTo>
                <a:close/>
                <a:moveTo>
                  <a:pt x="6700670" y="718003"/>
                </a:moveTo>
                <a:lnTo>
                  <a:pt x="6710581" y="718003"/>
                </a:lnTo>
                <a:lnTo>
                  <a:pt x="6714600" y="722041"/>
                </a:lnTo>
                <a:lnTo>
                  <a:pt x="6714600" y="731912"/>
                </a:lnTo>
                <a:lnTo>
                  <a:pt x="6710581" y="735950"/>
                </a:lnTo>
                <a:lnTo>
                  <a:pt x="6700670" y="735950"/>
                </a:lnTo>
                <a:lnTo>
                  <a:pt x="6696651" y="731912"/>
                </a:lnTo>
                <a:lnTo>
                  <a:pt x="6696651" y="722041"/>
                </a:lnTo>
                <a:close/>
                <a:moveTo>
                  <a:pt x="6461356" y="718003"/>
                </a:moveTo>
                <a:lnTo>
                  <a:pt x="6471266" y="718003"/>
                </a:lnTo>
                <a:lnTo>
                  <a:pt x="6475285" y="722041"/>
                </a:lnTo>
                <a:lnTo>
                  <a:pt x="6475285" y="731912"/>
                </a:lnTo>
                <a:lnTo>
                  <a:pt x="6471266" y="735950"/>
                </a:lnTo>
                <a:lnTo>
                  <a:pt x="6461356" y="735950"/>
                </a:lnTo>
                <a:lnTo>
                  <a:pt x="6457337" y="731912"/>
                </a:lnTo>
                <a:lnTo>
                  <a:pt x="6457337" y="722041"/>
                </a:lnTo>
                <a:close/>
                <a:moveTo>
                  <a:pt x="6222042" y="718003"/>
                </a:moveTo>
                <a:lnTo>
                  <a:pt x="6231952" y="718003"/>
                </a:lnTo>
                <a:lnTo>
                  <a:pt x="6235971" y="722041"/>
                </a:lnTo>
                <a:lnTo>
                  <a:pt x="6235971" y="731912"/>
                </a:lnTo>
                <a:lnTo>
                  <a:pt x="6231952" y="735951"/>
                </a:lnTo>
                <a:lnTo>
                  <a:pt x="6222042" y="735951"/>
                </a:lnTo>
                <a:lnTo>
                  <a:pt x="6218023" y="731912"/>
                </a:lnTo>
                <a:lnTo>
                  <a:pt x="6218023" y="722041"/>
                </a:lnTo>
                <a:close/>
                <a:moveTo>
                  <a:pt x="5982729" y="718003"/>
                </a:moveTo>
                <a:lnTo>
                  <a:pt x="5992639" y="718003"/>
                </a:lnTo>
                <a:lnTo>
                  <a:pt x="5996658" y="722041"/>
                </a:lnTo>
                <a:lnTo>
                  <a:pt x="5996658" y="731912"/>
                </a:lnTo>
                <a:lnTo>
                  <a:pt x="5992639" y="735951"/>
                </a:lnTo>
                <a:lnTo>
                  <a:pt x="5982729" y="735951"/>
                </a:lnTo>
                <a:lnTo>
                  <a:pt x="5978710" y="731912"/>
                </a:lnTo>
                <a:lnTo>
                  <a:pt x="5978710" y="722041"/>
                </a:lnTo>
                <a:close/>
                <a:moveTo>
                  <a:pt x="8136553" y="717990"/>
                </a:moveTo>
                <a:lnTo>
                  <a:pt x="8146464" y="717990"/>
                </a:lnTo>
                <a:lnTo>
                  <a:pt x="8150483" y="722028"/>
                </a:lnTo>
                <a:lnTo>
                  <a:pt x="8150483" y="731899"/>
                </a:lnTo>
                <a:lnTo>
                  <a:pt x="8146464" y="735938"/>
                </a:lnTo>
                <a:lnTo>
                  <a:pt x="8136553" y="735938"/>
                </a:lnTo>
                <a:lnTo>
                  <a:pt x="8132534" y="731899"/>
                </a:lnTo>
                <a:lnTo>
                  <a:pt x="8132534" y="722028"/>
                </a:lnTo>
                <a:close/>
                <a:moveTo>
                  <a:pt x="7897241" y="717990"/>
                </a:moveTo>
                <a:lnTo>
                  <a:pt x="7907151" y="717990"/>
                </a:lnTo>
                <a:lnTo>
                  <a:pt x="7911170" y="722029"/>
                </a:lnTo>
                <a:lnTo>
                  <a:pt x="7911170" y="731899"/>
                </a:lnTo>
                <a:lnTo>
                  <a:pt x="7907151" y="735938"/>
                </a:lnTo>
                <a:lnTo>
                  <a:pt x="7897241" y="735938"/>
                </a:lnTo>
                <a:lnTo>
                  <a:pt x="7893222" y="731899"/>
                </a:lnTo>
                <a:lnTo>
                  <a:pt x="7893222" y="722029"/>
                </a:lnTo>
                <a:close/>
                <a:moveTo>
                  <a:pt x="7657926" y="717990"/>
                </a:moveTo>
                <a:lnTo>
                  <a:pt x="7667836" y="717990"/>
                </a:lnTo>
                <a:lnTo>
                  <a:pt x="7671855" y="722029"/>
                </a:lnTo>
                <a:lnTo>
                  <a:pt x="7671855" y="731899"/>
                </a:lnTo>
                <a:lnTo>
                  <a:pt x="7667836" y="735938"/>
                </a:lnTo>
                <a:lnTo>
                  <a:pt x="7657926" y="735938"/>
                </a:lnTo>
                <a:lnTo>
                  <a:pt x="7653906" y="731899"/>
                </a:lnTo>
                <a:lnTo>
                  <a:pt x="7653906" y="722029"/>
                </a:lnTo>
                <a:close/>
                <a:moveTo>
                  <a:pt x="7418611" y="717990"/>
                </a:moveTo>
                <a:lnTo>
                  <a:pt x="7428521" y="717990"/>
                </a:lnTo>
                <a:lnTo>
                  <a:pt x="7432540" y="722029"/>
                </a:lnTo>
                <a:lnTo>
                  <a:pt x="7432540" y="731899"/>
                </a:lnTo>
                <a:lnTo>
                  <a:pt x="7428521" y="735938"/>
                </a:lnTo>
                <a:lnTo>
                  <a:pt x="7418611" y="735938"/>
                </a:lnTo>
                <a:lnTo>
                  <a:pt x="7414592" y="731899"/>
                </a:lnTo>
                <a:lnTo>
                  <a:pt x="7414592" y="722029"/>
                </a:lnTo>
                <a:close/>
                <a:moveTo>
                  <a:pt x="7179298" y="717990"/>
                </a:moveTo>
                <a:lnTo>
                  <a:pt x="7189209" y="717990"/>
                </a:lnTo>
                <a:lnTo>
                  <a:pt x="7193228" y="722029"/>
                </a:lnTo>
                <a:lnTo>
                  <a:pt x="7193228" y="731899"/>
                </a:lnTo>
                <a:lnTo>
                  <a:pt x="7189209" y="735938"/>
                </a:lnTo>
                <a:lnTo>
                  <a:pt x="7179298" y="735938"/>
                </a:lnTo>
                <a:lnTo>
                  <a:pt x="7175279" y="731899"/>
                </a:lnTo>
                <a:lnTo>
                  <a:pt x="7175279" y="722029"/>
                </a:lnTo>
                <a:close/>
                <a:moveTo>
                  <a:pt x="961272" y="717980"/>
                </a:moveTo>
                <a:lnTo>
                  <a:pt x="971182" y="717980"/>
                </a:lnTo>
                <a:lnTo>
                  <a:pt x="975202" y="722018"/>
                </a:lnTo>
                <a:lnTo>
                  <a:pt x="975202" y="731889"/>
                </a:lnTo>
                <a:lnTo>
                  <a:pt x="971182" y="735928"/>
                </a:lnTo>
                <a:lnTo>
                  <a:pt x="961272" y="735928"/>
                </a:lnTo>
                <a:lnTo>
                  <a:pt x="957254" y="731889"/>
                </a:lnTo>
                <a:lnTo>
                  <a:pt x="957254" y="722018"/>
                </a:lnTo>
                <a:close/>
                <a:moveTo>
                  <a:pt x="1679219" y="717979"/>
                </a:moveTo>
                <a:lnTo>
                  <a:pt x="1689128" y="717979"/>
                </a:lnTo>
                <a:lnTo>
                  <a:pt x="1693149" y="722018"/>
                </a:lnTo>
                <a:lnTo>
                  <a:pt x="1693149" y="731889"/>
                </a:lnTo>
                <a:lnTo>
                  <a:pt x="1689128" y="735927"/>
                </a:lnTo>
                <a:lnTo>
                  <a:pt x="1679219" y="735927"/>
                </a:lnTo>
                <a:lnTo>
                  <a:pt x="1675200" y="731889"/>
                </a:lnTo>
                <a:lnTo>
                  <a:pt x="1675200" y="722018"/>
                </a:lnTo>
                <a:close/>
                <a:moveTo>
                  <a:pt x="1439901" y="717979"/>
                </a:moveTo>
                <a:lnTo>
                  <a:pt x="1449811" y="717979"/>
                </a:lnTo>
                <a:lnTo>
                  <a:pt x="1453831" y="722018"/>
                </a:lnTo>
                <a:lnTo>
                  <a:pt x="1453831" y="731889"/>
                </a:lnTo>
                <a:lnTo>
                  <a:pt x="1449811" y="735927"/>
                </a:lnTo>
                <a:lnTo>
                  <a:pt x="1439901" y="735927"/>
                </a:lnTo>
                <a:lnTo>
                  <a:pt x="1435883" y="731889"/>
                </a:lnTo>
                <a:lnTo>
                  <a:pt x="1435883" y="722018"/>
                </a:lnTo>
                <a:close/>
                <a:moveTo>
                  <a:pt x="1200585" y="717979"/>
                </a:moveTo>
                <a:lnTo>
                  <a:pt x="1210495" y="717979"/>
                </a:lnTo>
                <a:lnTo>
                  <a:pt x="1214513" y="722018"/>
                </a:lnTo>
                <a:lnTo>
                  <a:pt x="1214513" y="731889"/>
                </a:lnTo>
                <a:lnTo>
                  <a:pt x="1210495" y="735927"/>
                </a:lnTo>
                <a:lnTo>
                  <a:pt x="1200585" y="735927"/>
                </a:lnTo>
                <a:lnTo>
                  <a:pt x="1196566" y="731889"/>
                </a:lnTo>
                <a:lnTo>
                  <a:pt x="1196566" y="722018"/>
                </a:lnTo>
                <a:close/>
                <a:moveTo>
                  <a:pt x="9333125" y="717978"/>
                </a:moveTo>
                <a:lnTo>
                  <a:pt x="9343036" y="717978"/>
                </a:lnTo>
                <a:lnTo>
                  <a:pt x="9347055" y="722016"/>
                </a:lnTo>
                <a:lnTo>
                  <a:pt x="9347055" y="731887"/>
                </a:lnTo>
                <a:lnTo>
                  <a:pt x="9343036" y="735926"/>
                </a:lnTo>
                <a:lnTo>
                  <a:pt x="9333125" y="735926"/>
                </a:lnTo>
                <a:lnTo>
                  <a:pt x="9329106" y="731887"/>
                </a:lnTo>
                <a:lnTo>
                  <a:pt x="9329106" y="722016"/>
                </a:lnTo>
                <a:close/>
                <a:moveTo>
                  <a:pt x="9093811" y="717978"/>
                </a:moveTo>
                <a:lnTo>
                  <a:pt x="9103722" y="717978"/>
                </a:lnTo>
                <a:lnTo>
                  <a:pt x="9107741" y="722016"/>
                </a:lnTo>
                <a:lnTo>
                  <a:pt x="9107741" y="731887"/>
                </a:lnTo>
                <a:lnTo>
                  <a:pt x="9103722" y="735926"/>
                </a:lnTo>
                <a:lnTo>
                  <a:pt x="9093811" y="735926"/>
                </a:lnTo>
                <a:lnTo>
                  <a:pt x="9089792" y="731887"/>
                </a:lnTo>
                <a:lnTo>
                  <a:pt x="9089792" y="722016"/>
                </a:lnTo>
                <a:close/>
                <a:moveTo>
                  <a:pt x="8854496" y="717978"/>
                </a:moveTo>
                <a:lnTo>
                  <a:pt x="8864407" y="717978"/>
                </a:lnTo>
                <a:lnTo>
                  <a:pt x="8868426" y="722016"/>
                </a:lnTo>
                <a:lnTo>
                  <a:pt x="8868426" y="731887"/>
                </a:lnTo>
                <a:lnTo>
                  <a:pt x="8864407" y="735926"/>
                </a:lnTo>
                <a:lnTo>
                  <a:pt x="8854496" y="735926"/>
                </a:lnTo>
                <a:lnTo>
                  <a:pt x="8850477" y="731887"/>
                </a:lnTo>
                <a:lnTo>
                  <a:pt x="8850477" y="722016"/>
                </a:lnTo>
                <a:close/>
                <a:moveTo>
                  <a:pt x="8615184" y="717978"/>
                </a:moveTo>
                <a:lnTo>
                  <a:pt x="8625095" y="717978"/>
                </a:lnTo>
                <a:lnTo>
                  <a:pt x="8629114" y="722016"/>
                </a:lnTo>
                <a:lnTo>
                  <a:pt x="8629114" y="731887"/>
                </a:lnTo>
                <a:lnTo>
                  <a:pt x="8625095" y="735926"/>
                </a:lnTo>
                <a:lnTo>
                  <a:pt x="8615184" y="735926"/>
                </a:lnTo>
                <a:lnTo>
                  <a:pt x="8611165" y="731887"/>
                </a:lnTo>
                <a:lnTo>
                  <a:pt x="8611165" y="722016"/>
                </a:lnTo>
                <a:close/>
                <a:moveTo>
                  <a:pt x="8375869" y="717978"/>
                </a:moveTo>
                <a:lnTo>
                  <a:pt x="8385779" y="717978"/>
                </a:lnTo>
                <a:lnTo>
                  <a:pt x="8389799" y="722016"/>
                </a:lnTo>
                <a:lnTo>
                  <a:pt x="8389799" y="731887"/>
                </a:lnTo>
                <a:lnTo>
                  <a:pt x="8385779" y="735926"/>
                </a:lnTo>
                <a:lnTo>
                  <a:pt x="8375869" y="735926"/>
                </a:lnTo>
                <a:lnTo>
                  <a:pt x="8371850" y="731887"/>
                </a:lnTo>
                <a:lnTo>
                  <a:pt x="8371850" y="722016"/>
                </a:lnTo>
                <a:close/>
                <a:moveTo>
                  <a:pt x="1918514" y="717970"/>
                </a:moveTo>
                <a:lnTo>
                  <a:pt x="1928424" y="717970"/>
                </a:lnTo>
                <a:lnTo>
                  <a:pt x="1932444" y="722009"/>
                </a:lnTo>
                <a:lnTo>
                  <a:pt x="1932444" y="731879"/>
                </a:lnTo>
                <a:lnTo>
                  <a:pt x="1928424" y="735918"/>
                </a:lnTo>
                <a:lnTo>
                  <a:pt x="1918514" y="735918"/>
                </a:lnTo>
                <a:lnTo>
                  <a:pt x="1914495" y="731879"/>
                </a:lnTo>
                <a:lnTo>
                  <a:pt x="1914495" y="722009"/>
                </a:lnTo>
                <a:close/>
                <a:moveTo>
                  <a:pt x="2157823" y="717968"/>
                </a:moveTo>
                <a:lnTo>
                  <a:pt x="2167733" y="717968"/>
                </a:lnTo>
                <a:lnTo>
                  <a:pt x="2171753" y="722006"/>
                </a:lnTo>
                <a:lnTo>
                  <a:pt x="2171753" y="731877"/>
                </a:lnTo>
                <a:lnTo>
                  <a:pt x="2167733" y="735916"/>
                </a:lnTo>
                <a:lnTo>
                  <a:pt x="2157823" y="735916"/>
                </a:lnTo>
                <a:lnTo>
                  <a:pt x="2153804" y="731877"/>
                </a:lnTo>
                <a:lnTo>
                  <a:pt x="2153804" y="722006"/>
                </a:lnTo>
                <a:close/>
                <a:moveTo>
                  <a:pt x="9572438" y="717966"/>
                </a:moveTo>
                <a:lnTo>
                  <a:pt x="9582349" y="717966"/>
                </a:lnTo>
                <a:lnTo>
                  <a:pt x="9586368" y="722004"/>
                </a:lnTo>
                <a:lnTo>
                  <a:pt x="9586368" y="731875"/>
                </a:lnTo>
                <a:lnTo>
                  <a:pt x="9582349" y="735914"/>
                </a:lnTo>
                <a:lnTo>
                  <a:pt x="9572438" y="735914"/>
                </a:lnTo>
                <a:lnTo>
                  <a:pt x="9568419" y="731875"/>
                </a:lnTo>
                <a:lnTo>
                  <a:pt x="9568419" y="722004"/>
                </a:lnTo>
                <a:close/>
                <a:moveTo>
                  <a:pt x="243349" y="717939"/>
                </a:moveTo>
                <a:lnTo>
                  <a:pt x="253260" y="717939"/>
                </a:lnTo>
                <a:lnTo>
                  <a:pt x="257279" y="721977"/>
                </a:lnTo>
                <a:lnTo>
                  <a:pt x="257279" y="731847"/>
                </a:lnTo>
                <a:lnTo>
                  <a:pt x="253260" y="735886"/>
                </a:lnTo>
                <a:lnTo>
                  <a:pt x="243349" y="735886"/>
                </a:lnTo>
                <a:lnTo>
                  <a:pt x="239330" y="731847"/>
                </a:lnTo>
                <a:lnTo>
                  <a:pt x="239330" y="721977"/>
                </a:lnTo>
                <a:close/>
                <a:moveTo>
                  <a:pt x="4036" y="717939"/>
                </a:moveTo>
                <a:lnTo>
                  <a:pt x="13947" y="717939"/>
                </a:lnTo>
                <a:lnTo>
                  <a:pt x="17965" y="721978"/>
                </a:lnTo>
                <a:lnTo>
                  <a:pt x="17965" y="731848"/>
                </a:lnTo>
                <a:lnTo>
                  <a:pt x="13947" y="735886"/>
                </a:lnTo>
                <a:lnTo>
                  <a:pt x="4036" y="735886"/>
                </a:lnTo>
                <a:lnTo>
                  <a:pt x="17" y="731848"/>
                </a:lnTo>
                <a:lnTo>
                  <a:pt x="17" y="721978"/>
                </a:lnTo>
                <a:close/>
                <a:moveTo>
                  <a:pt x="721975" y="717939"/>
                </a:moveTo>
                <a:lnTo>
                  <a:pt x="731885" y="717939"/>
                </a:lnTo>
                <a:lnTo>
                  <a:pt x="735904" y="721977"/>
                </a:lnTo>
                <a:lnTo>
                  <a:pt x="735904" y="731847"/>
                </a:lnTo>
                <a:lnTo>
                  <a:pt x="731885" y="735886"/>
                </a:lnTo>
                <a:lnTo>
                  <a:pt x="721975" y="735886"/>
                </a:lnTo>
                <a:lnTo>
                  <a:pt x="717956" y="731847"/>
                </a:lnTo>
                <a:lnTo>
                  <a:pt x="717956" y="721977"/>
                </a:lnTo>
                <a:close/>
                <a:moveTo>
                  <a:pt x="482663" y="717939"/>
                </a:moveTo>
                <a:lnTo>
                  <a:pt x="492573" y="717939"/>
                </a:lnTo>
                <a:lnTo>
                  <a:pt x="496593" y="721977"/>
                </a:lnTo>
                <a:lnTo>
                  <a:pt x="496593" y="731847"/>
                </a:lnTo>
                <a:lnTo>
                  <a:pt x="492573" y="735886"/>
                </a:lnTo>
                <a:lnTo>
                  <a:pt x="482663" y="735886"/>
                </a:lnTo>
                <a:lnTo>
                  <a:pt x="478643" y="731847"/>
                </a:lnTo>
                <a:lnTo>
                  <a:pt x="478643" y="721977"/>
                </a:lnTo>
                <a:close/>
                <a:moveTo>
                  <a:pt x="3350359" y="478760"/>
                </a:moveTo>
                <a:lnTo>
                  <a:pt x="3360268" y="478760"/>
                </a:lnTo>
                <a:lnTo>
                  <a:pt x="3364287" y="482801"/>
                </a:lnTo>
                <a:lnTo>
                  <a:pt x="3364287" y="492670"/>
                </a:lnTo>
                <a:lnTo>
                  <a:pt x="3360268" y="496707"/>
                </a:lnTo>
                <a:lnTo>
                  <a:pt x="3350359" y="496707"/>
                </a:lnTo>
                <a:lnTo>
                  <a:pt x="3346340" y="492670"/>
                </a:lnTo>
                <a:lnTo>
                  <a:pt x="3346340" y="482801"/>
                </a:lnTo>
                <a:close/>
                <a:moveTo>
                  <a:pt x="3111048" y="478760"/>
                </a:moveTo>
                <a:lnTo>
                  <a:pt x="3120959" y="478760"/>
                </a:lnTo>
                <a:lnTo>
                  <a:pt x="3124977" y="482801"/>
                </a:lnTo>
                <a:lnTo>
                  <a:pt x="3124977" y="492670"/>
                </a:lnTo>
                <a:lnTo>
                  <a:pt x="3120959" y="496707"/>
                </a:lnTo>
                <a:lnTo>
                  <a:pt x="3111048" y="496707"/>
                </a:lnTo>
                <a:lnTo>
                  <a:pt x="3107029" y="492670"/>
                </a:lnTo>
                <a:lnTo>
                  <a:pt x="3107029" y="482801"/>
                </a:lnTo>
                <a:close/>
                <a:moveTo>
                  <a:pt x="2871737" y="478760"/>
                </a:moveTo>
                <a:lnTo>
                  <a:pt x="2881646" y="478760"/>
                </a:lnTo>
                <a:lnTo>
                  <a:pt x="2885666" y="482801"/>
                </a:lnTo>
                <a:lnTo>
                  <a:pt x="2885666" y="492670"/>
                </a:lnTo>
                <a:lnTo>
                  <a:pt x="2881646" y="496707"/>
                </a:lnTo>
                <a:lnTo>
                  <a:pt x="2871737" y="496707"/>
                </a:lnTo>
                <a:lnTo>
                  <a:pt x="2867717" y="492670"/>
                </a:lnTo>
                <a:lnTo>
                  <a:pt x="2867717" y="482801"/>
                </a:lnTo>
                <a:close/>
                <a:moveTo>
                  <a:pt x="2632423" y="478760"/>
                </a:moveTo>
                <a:lnTo>
                  <a:pt x="2642334" y="478760"/>
                </a:lnTo>
                <a:lnTo>
                  <a:pt x="2646352" y="482801"/>
                </a:lnTo>
                <a:lnTo>
                  <a:pt x="2646352" y="492670"/>
                </a:lnTo>
                <a:lnTo>
                  <a:pt x="2642334" y="496707"/>
                </a:lnTo>
                <a:lnTo>
                  <a:pt x="2632423" y="496707"/>
                </a:lnTo>
                <a:lnTo>
                  <a:pt x="2628404" y="492670"/>
                </a:lnTo>
                <a:lnTo>
                  <a:pt x="2628404" y="482801"/>
                </a:lnTo>
                <a:close/>
                <a:moveTo>
                  <a:pt x="2393104" y="478760"/>
                </a:moveTo>
                <a:lnTo>
                  <a:pt x="2403015" y="478760"/>
                </a:lnTo>
                <a:lnTo>
                  <a:pt x="2407034" y="482801"/>
                </a:lnTo>
                <a:lnTo>
                  <a:pt x="2407034" y="492670"/>
                </a:lnTo>
                <a:lnTo>
                  <a:pt x="2403015" y="496707"/>
                </a:lnTo>
                <a:lnTo>
                  <a:pt x="2393104" y="496707"/>
                </a:lnTo>
                <a:lnTo>
                  <a:pt x="2389087" y="492670"/>
                </a:lnTo>
                <a:lnTo>
                  <a:pt x="2389087" y="482801"/>
                </a:lnTo>
                <a:close/>
                <a:moveTo>
                  <a:pt x="4546929" y="478748"/>
                </a:moveTo>
                <a:lnTo>
                  <a:pt x="4556840" y="478748"/>
                </a:lnTo>
                <a:lnTo>
                  <a:pt x="4560859" y="482789"/>
                </a:lnTo>
                <a:lnTo>
                  <a:pt x="4560859" y="492657"/>
                </a:lnTo>
                <a:lnTo>
                  <a:pt x="4556840" y="496695"/>
                </a:lnTo>
                <a:lnTo>
                  <a:pt x="4546929" y="496695"/>
                </a:lnTo>
                <a:lnTo>
                  <a:pt x="4542910" y="492657"/>
                </a:lnTo>
                <a:lnTo>
                  <a:pt x="4542910" y="482789"/>
                </a:lnTo>
                <a:close/>
                <a:moveTo>
                  <a:pt x="4307612" y="478748"/>
                </a:moveTo>
                <a:lnTo>
                  <a:pt x="4317523" y="478748"/>
                </a:lnTo>
                <a:lnTo>
                  <a:pt x="4321543" y="482789"/>
                </a:lnTo>
                <a:lnTo>
                  <a:pt x="4321543" y="492657"/>
                </a:lnTo>
                <a:lnTo>
                  <a:pt x="4317523" y="496695"/>
                </a:lnTo>
                <a:lnTo>
                  <a:pt x="4307612" y="496695"/>
                </a:lnTo>
                <a:lnTo>
                  <a:pt x="4303595" y="492657"/>
                </a:lnTo>
                <a:lnTo>
                  <a:pt x="4303595" y="482789"/>
                </a:lnTo>
                <a:close/>
                <a:moveTo>
                  <a:pt x="4068297" y="478748"/>
                </a:moveTo>
                <a:lnTo>
                  <a:pt x="4078210" y="478748"/>
                </a:lnTo>
                <a:lnTo>
                  <a:pt x="4082229" y="482789"/>
                </a:lnTo>
                <a:lnTo>
                  <a:pt x="4082229" y="492657"/>
                </a:lnTo>
                <a:lnTo>
                  <a:pt x="4078210" y="496695"/>
                </a:lnTo>
                <a:lnTo>
                  <a:pt x="4068297" y="496695"/>
                </a:lnTo>
                <a:lnTo>
                  <a:pt x="4064278" y="492657"/>
                </a:lnTo>
                <a:lnTo>
                  <a:pt x="4064278" y="482789"/>
                </a:lnTo>
                <a:close/>
                <a:moveTo>
                  <a:pt x="3828990" y="478748"/>
                </a:moveTo>
                <a:lnTo>
                  <a:pt x="3838899" y="478748"/>
                </a:lnTo>
                <a:lnTo>
                  <a:pt x="3842917" y="482789"/>
                </a:lnTo>
                <a:lnTo>
                  <a:pt x="3842917" y="492657"/>
                </a:lnTo>
                <a:lnTo>
                  <a:pt x="3838899" y="496695"/>
                </a:lnTo>
                <a:lnTo>
                  <a:pt x="3828990" y="496695"/>
                </a:lnTo>
                <a:lnTo>
                  <a:pt x="3824971" y="492657"/>
                </a:lnTo>
                <a:lnTo>
                  <a:pt x="3824971" y="482789"/>
                </a:lnTo>
                <a:close/>
                <a:moveTo>
                  <a:pt x="3589676" y="478748"/>
                </a:moveTo>
                <a:lnTo>
                  <a:pt x="3599585" y="478748"/>
                </a:lnTo>
                <a:lnTo>
                  <a:pt x="3603604" y="482789"/>
                </a:lnTo>
                <a:lnTo>
                  <a:pt x="3603604" y="492657"/>
                </a:lnTo>
                <a:lnTo>
                  <a:pt x="3599585" y="496695"/>
                </a:lnTo>
                <a:lnTo>
                  <a:pt x="3589676" y="496695"/>
                </a:lnTo>
                <a:lnTo>
                  <a:pt x="3585657" y="492657"/>
                </a:lnTo>
                <a:lnTo>
                  <a:pt x="3585657" y="482789"/>
                </a:lnTo>
                <a:close/>
                <a:moveTo>
                  <a:pt x="5743412" y="478736"/>
                </a:moveTo>
                <a:lnTo>
                  <a:pt x="5753323" y="478736"/>
                </a:lnTo>
                <a:lnTo>
                  <a:pt x="5757342" y="482776"/>
                </a:lnTo>
                <a:lnTo>
                  <a:pt x="5757342" y="492645"/>
                </a:lnTo>
                <a:lnTo>
                  <a:pt x="5753323" y="496683"/>
                </a:lnTo>
                <a:lnTo>
                  <a:pt x="5743412" y="496683"/>
                </a:lnTo>
                <a:lnTo>
                  <a:pt x="5739393" y="492645"/>
                </a:lnTo>
                <a:lnTo>
                  <a:pt x="5739393" y="482776"/>
                </a:lnTo>
                <a:close/>
                <a:moveTo>
                  <a:pt x="5504099" y="478736"/>
                </a:moveTo>
                <a:lnTo>
                  <a:pt x="5514010" y="478736"/>
                </a:lnTo>
                <a:lnTo>
                  <a:pt x="5518029" y="482776"/>
                </a:lnTo>
                <a:lnTo>
                  <a:pt x="5518029" y="492645"/>
                </a:lnTo>
                <a:lnTo>
                  <a:pt x="5514010" y="496683"/>
                </a:lnTo>
                <a:lnTo>
                  <a:pt x="5504099" y="496683"/>
                </a:lnTo>
                <a:lnTo>
                  <a:pt x="5500080" y="492645"/>
                </a:lnTo>
                <a:lnTo>
                  <a:pt x="5500080" y="482776"/>
                </a:lnTo>
                <a:close/>
                <a:moveTo>
                  <a:pt x="5264784" y="478736"/>
                </a:moveTo>
                <a:lnTo>
                  <a:pt x="5274694" y="478736"/>
                </a:lnTo>
                <a:lnTo>
                  <a:pt x="5278713" y="482776"/>
                </a:lnTo>
                <a:lnTo>
                  <a:pt x="5278713" y="492645"/>
                </a:lnTo>
                <a:lnTo>
                  <a:pt x="5274694" y="496683"/>
                </a:lnTo>
                <a:lnTo>
                  <a:pt x="5264784" y="496683"/>
                </a:lnTo>
                <a:lnTo>
                  <a:pt x="5260765" y="492645"/>
                </a:lnTo>
                <a:lnTo>
                  <a:pt x="5260765" y="482776"/>
                </a:lnTo>
                <a:close/>
                <a:moveTo>
                  <a:pt x="5025470" y="478736"/>
                </a:moveTo>
                <a:lnTo>
                  <a:pt x="5035381" y="478736"/>
                </a:lnTo>
                <a:lnTo>
                  <a:pt x="5039400" y="482776"/>
                </a:lnTo>
                <a:lnTo>
                  <a:pt x="5039400" y="492645"/>
                </a:lnTo>
                <a:lnTo>
                  <a:pt x="5035381" y="496683"/>
                </a:lnTo>
                <a:lnTo>
                  <a:pt x="5025470" y="496683"/>
                </a:lnTo>
                <a:lnTo>
                  <a:pt x="5021451" y="492645"/>
                </a:lnTo>
                <a:lnTo>
                  <a:pt x="5021451" y="482776"/>
                </a:lnTo>
                <a:close/>
                <a:moveTo>
                  <a:pt x="4786241" y="478736"/>
                </a:moveTo>
                <a:lnTo>
                  <a:pt x="4796152" y="478736"/>
                </a:lnTo>
                <a:lnTo>
                  <a:pt x="4800171" y="482776"/>
                </a:lnTo>
                <a:lnTo>
                  <a:pt x="4800171" y="492645"/>
                </a:lnTo>
                <a:lnTo>
                  <a:pt x="4796152" y="496683"/>
                </a:lnTo>
                <a:lnTo>
                  <a:pt x="4786241" y="496683"/>
                </a:lnTo>
                <a:lnTo>
                  <a:pt x="4782224" y="492645"/>
                </a:lnTo>
                <a:lnTo>
                  <a:pt x="4782224" y="482776"/>
                </a:lnTo>
                <a:close/>
                <a:moveTo>
                  <a:pt x="6939983" y="478724"/>
                </a:moveTo>
                <a:lnTo>
                  <a:pt x="6949894" y="478724"/>
                </a:lnTo>
                <a:lnTo>
                  <a:pt x="6953913" y="482764"/>
                </a:lnTo>
                <a:lnTo>
                  <a:pt x="6953913" y="492633"/>
                </a:lnTo>
                <a:lnTo>
                  <a:pt x="6949894" y="496671"/>
                </a:lnTo>
                <a:lnTo>
                  <a:pt x="6939983" y="496671"/>
                </a:lnTo>
                <a:lnTo>
                  <a:pt x="6935964" y="492633"/>
                </a:lnTo>
                <a:lnTo>
                  <a:pt x="6935964" y="482764"/>
                </a:lnTo>
                <a:close/>
                <a:moveTo>
                  <a:pt x="6700670" y="478724"/>
                </a:moveTo>
                <a:lnTo>
                  <a:pt x="6710581" y="478724"/>
                </a:lnTo>
                <a:lnTo>
                  <a:pt x="6714600" y="482764"/>
                </a:lnTo>
                <a:lnTo>
                  <a:pt x="6714600" y="492633"/>
                </a:lnTo>
                <a:lnTo>
                  <a:pt x="6710581" y="496671"/>
                </a:lnTo>
                <a:lnTo>
                  <a:pt x="6700670" y="496671"/>
                </a:lnTo>
                <a:lnTo>
                  <a:pt x="6696651" y="492633"/>
                </a:lnTo>
                <a:lnTo>
                  <a:pt x="6696651" y="482764"/>
                </a:lnTo>
                <a:close/>
                <a:moveTo>
                  <a:pt x="6461356" y="478724"/>
                </a:moveTo>
                <a:lnTo>
                  <a:pt x="6471266" y="478724"/>
                </a:lnTo>
                <a:lnTo>
                  <a:pt x="6475285" y="482764"/>
                </a:lnTo>
                <a:lnTo>
                  <a:pt x="6475285" y="492633"/>
                </a:lnTo>
                <a:lnTo>
                  <a:pt x="6471266" y="496671"/>
                </a:lnTo>
                <a:lnTo>
                  <a:pt x="6461356" y="496671"/>
                </a:lnTo>
                <a:lnTo>
                  <a:pt x="6457337" y="492633"/>
                </a:lnTo>
                <a:lnTo>
                  <a:pt x="6457337" y="482764"/>
                </a:lnTo>
                <a:close/>
                <a:moveTo>
                  <a:pt x="6222042" y="478724"/>
                </a:moveTo>
                <a:lnTo>
                  <a:pt x="6231952" y="478724"/>
                </a:lnTo>
                <a:lnTo>
                  <a:pt x="6235971" y="482764"/>
                </a:lnTo>
                <a:lnTo>
                  <a:pt x="6235971" y="492633"/>
                </a:lnTo>
                <a:lnTo>
                  <a:pt x="6231952" y="496671"/>
                </a:lnTo>
                <a:lnTo>
                  <a:pt x="6222042" y="496671"/>
                </a:lnTo>
                <a:lnTo>
                  <a:pt x="6218023" y="492633"/>
                </a:lnTo>
                <a:lnTo>
                  <a:pt x="6218023" y="482764"/>
                </a:lnTo>
                <a:close/>
                <a:moveTo>
                  <a:pt x="5982729" y="478724"/>
                </a:moveTo>
                <a:lnTo>
                  <a:pt x="5992639" y="478724"/>
                </a:lnTo>
                <a:lnTo>
                  <a:pt x="5996658" y="482764"/>
                </a:lnTo>
                <a:lnTo>
                  <a:pt x="5996658" y="492633"/>
                </a:lnTo>
                <a:lnTo>
                  <a:pt x="5992639" y="496671"/>
                </a:lnTo>
                <a:lnTo>
                  <a:pt x="5982729" y="496671"/>
                </a:lnTo>
                <a:lnTo>
                  <a:pt x="5978710" y="492633"/>
                </a:lnTo>
                <a:lnTo>
                  <a:pt x="5978710" y="482764"/>
                </a:lnTo>
                <a:close/>
                <a:moveTo>
                  <a:pt x="7897241" y="478712"/>
                </a:moveTo>
                <a:lnTo>
                  <a:pt x="7907151" y="478712"/>
                </a:lnTo>
                <a:lnTo>
                  <a:pt x="7911170" y="482751"/>
                </a:lnTo>
                <a:lnTo>
                  <a:pt x="7911170" y="492620"/>
                </a:lnTo>
                <a:lnTo>
                  <a:pt x="7907151" y="496658"/>
                </a:lnTo>
                <a:lnTo>
                  <a:pt x="7897241" y="496658"/>
                </a:lnTo>
                <a:lnTo>
                  <a:pt x="7893222" y="492620"/>
                </a:lnTo>
                <a:lnTo>
                  <a:pt x="7893222" y="482751"/>
                </a:lnTo>
                <a:close/>
                <a:moveTo>
                  <a:pt x="7657926" y="478712"/>
                </a:moveTo>
                <a:lnTo>
                  <a:pt x="7667836" y="478712"/>
                </a:lnTo>
                <a:lnTo>
                  <a:pt x="7671855" y="482751"/>
                </a:lnTo>
                <a:lnTo>
                  <a:pt x="7671855" y="492620"/>
                </a:lnTo>
                <a:lnTo>
                  <a:pt x="7667836" y="496659"/>
                </a:lnTo>
                <a:lnTo>
                  <a:pt x="7657926" y="496659"/>
                </a:lnTo>
                <a:lnTo>
                  <a:pt x="7653906" y="492620"/>
                </a:lnTo>
                <a:lnTo>
                  <a:pt x="7653906" y="482751"/>
                </a:lnTo>
                <a:close/>
                <a:moveTo>
                  <a:pt x="7418611" y="478712"/>
                </a:moveTo>
                <a:lnTo>
                  <a:pt x="7428521" y="478712"/>
                </a:lnTo>
                <a:lnTo>
                  <a:pt x="7432540" y="482751"/>
                </a:lnTo>
                <a:lnTo>
                  <a:pt x="7432540" y="492620"/>
                </a:lnTo>
                <a:lnTo>
                  <a:pt x="7428521" y="496659"/>
                </a:lnTo>
                <a:lnTo>
                  <a:pt x="7418611" y="496659"/>
                </a:lnTo>
                <a:lnTo>
                  <a:pt x="7414592" y="492620"/>
                </a:lnTo>
                <a:lnTo>
                  <a:pt x="7414592" y="482751"/>
                </a:lnTo>
                <a:close/>
                <a:moveTo>
                  <a:pt x="7179298" y="478712"/>
                </a:moveTo>
                <a:lnTo>
                  <a:pt x="7189209" y="478712"/>
                </a:lnTo>
                <a:lnTo>
                  <a:pt x="7193228" y="482751"/>
                </a:lnTo>
                <a:lnTo>
                  <a:pt x="7193228" y="492620"/>
                </a:lnTo>
                <a:lnTo>
                  <a:pt x="7189209" y="496659"/>
                </a:lnTo>
                <a:lnTo>
                  <a:pt x="7179298" y="496659"/>
                </a:lnTo>
                <a:lnTo>
                  <a:pt x="7175279" y="492620"/>
                </a:lnTo>
                <a:lnTo>
                  <a:pt x="7175279" y="482751"/>
                </a:lnTo>
                <a:close/>
                <a:moveTo>
                  <a:pt x="8136553" y="478711"/>
                </a:moveTo>
                <a:lnTo>
                  <a:pt x="8146464" y="478711"/>
                </a:lnTo>
                <a:lnTo>
                  <a:pt x="8150483" y="482751"/>
                </a:lnTo>
                <a:lnTo>
                  <a:pt x="8150483" y="492620"/>
                </a:lnTo>
                <a:lnTo>
                  <a:pt x="8146464" y="496658"/>
                </a:lnTo>
                <a:lnTo>
                  <a:pt x="8136553" y="496658"/>
                </a:lnTo>
                <a:lnTo>
                  <a:pt x="8132534" y="492620"/>
                </a:lnTo>
                <a:lnTo>
                  <a:pt x="8132534" y="482751"/>
                </a:lnTo>
                <a:close/>
                <a:moveTo>
                  <a:pt x="9093811" y="478699"/>
                </a:moveTo>
                <a:lnTo>
                  <a:pt x="9103722" y="478699"/>
                </a:lnTo>
                <a:lnTo>
                  <a:pt x="9107741" y="482738"/>
                </a:lnTo>
                <a:lnTo>
                  <a:pt x="9107741" y="492608"/>
                </a:lnTo>
                <a:lnTo>
                  <a:pt x="9103722" y="496646"/>
                </a:lnTo>
                <a:lnTo>
                  <a:pt x="9093811" y="496646"/>
                </a:lnTo>
                <a:lnTo>
                  <a:pt x="9089792" y="492608"/>
                </a:lnTo>
                <a:lnTo>
                  <a:pt x="9089792" y="482738"/>
                </a:lnTo>
                <a:close/>
                <a:moveTo>
                  <a:pt x="8854496" y="478699"/>
                </a:moveTo>
                <a:lnTo>
                  <a:pt x="8864407" y="478699"/>
                </a:lnTo>
                <a:lnTo>
                  <a:pt x="8868426" y="482738"/>
                </a:lnTo>
                <a:lnTo>
                  <a:pt x="8868426" y="492608"/>
                </a:lnTo>
                <a:lnTo>
                  <a:pt x="8864407" y="496647"/>
                </a:lnTo>
                <a:lnTo>
                  <a:pt x="8854496" y="496647"/>
                </a:lnTo>
                <a:lnTo>
                  <a:pt x="8850477" y="492608"/>
                </a:lnTo>
                <a:lnTo>
                  <a:pt x="8850477" y="482738"/>
                </a:lnTo>
                <a:close/>
                <a:moveTo>
                  <a:pt x="8615184" y="478699"/>
                </a:moveTo>
                <a:lnTo>
                  <a:pt x="8625095" y="478699"/>
                </a:lnTo>
                <a:lnTo>
                  <a:pt x="8629114" y="482739"/>
                </a:lnTo>
                <a:lnTo>
                  <a:pt x="8629114" y="492608"/>
                </a:lnTo>
                <a:lnTo>
                  <a:pt x="8625095" y="496647"/>
                </a:lnTo>
                <a:lnTo>
                  <a:pt x="8615184" y="496647"/>
                </a:lnTo>
                <a:lnTo>
                  <a:pt x="8611165" y="492608"/>
                </a:lnTo>
                <a:lnTo>
                  <a:pt x="8611165" y="482739"/>
                </a:lnTo>
                <a:close/>
                <a:moveTo>
                  <a:pt x="8375869" y="478699"/>
                </a:moveTo>
                <a:lnTo>
                  <a:pt x="8385779" y="478699"/>
                </a:lnTo>
                <a:lnTo>
                  <a:pt x="8389799" y="482739"/>
                </a:lnTo>
                <a:lnTo>
                  <a:pt x="8389799" y="492608"/>
                </a:lnTo>
                <a:lnTo>
                  <a:pt x="8385779" y="496647"/>
                </a:lnTo>
                <a:lnTo>
                  <a:pt x="8375869" y="496647"/>
                </a:lnTo>
                <a:lnTo>
                  <a:pt x="8371850" y="492608"/>
                </a:lnTo>
                <a:lnTo>
                  <a:pt x="8371850" y="482739"/>
                </a:lnTo>
                <a:close/>
                <a:moveTo>
                  <a:pt x="9333125" y="478698"/>
                </a:moveTo>
                <a:lnTo>
                  <a:pt x="9343036" y="478698"/>
                </a:lnTo>
                <a:lnTo>
                  <a:pt x="9347055" y="482738"/>
                </a:lnTo>
                <a:lnTo>
                  <a:pt x="9347055" y="492608"/>
                </a:lnTo>
                <a:lnTo>
                  <a:pt x="9343036" y="496646"/>
                </a:lnTo>
                <a:lnTo>
                  <a:pt x="9333125" y="496646"/>
                </a:lnTo>
                <a:lnTo>
                  <a:pt x="9329106" y="492608"/>
                </a:lnTo>
                <a:lnTo>
                  <a:pt x="9329106" y="482738"/>
                </a:lnTo>
                <a:close/>
                <a:moveTo>
                  <a:pt x="9572438" y="478687"/>
                </a:moveTo>
                <a:lnTo>
                  <a:pt x="9582349" y="478687"/>
                </a:lnTo>
                <a:lnTo>
                  <a:pt x="9586368" y="482726"/>
                </a:lnTo>
                <a:lnTo>
                  <a:pt x="9586368" y="492596"/>
                </a:lnTo>
                <a:lnTo>
                  <a:pt x="9582349" y="496634"/>
                </a:lnTo>
                <a:lnTo>
                  <a:pt x="9572438" y="496634"/>
                </a:lnTo>
                <a:lnTo>
                  <a:pt x="9568419" y="492596"/>
                </a:lnTo>
                <a:lnTo>
                  <a:pt x="9568419" y="482726"/>
                </a:lnTo>
                <a:close/>
                <a:moveTo>
                  <a:pt x="721976" y="478660"/>
                </a:moveTo>
                <a:lnTo>
                  <a:pt x="731886" y="478660"/>
                </a:lnTo>
                <a:lnTo>
                  <a:pt x="735905" y="482698"/>
                </a:lnTo>
                <a:lnTo>
                  <a:pt x="735905" y="492569"/>
                </a:lnTo>
                <a:lnTo>
                  <a:pt x="731886" y="496608"/>
                </a:lnTo>
                <a:lnTo>
                  <a:pt x="721976" y="496608"/>
                </a:lnTo>
                <a:lnTo>
                  <a:pt x="717957" y="492569"/>
                </a:lnTo>
                <a:lnTo>
                  <a:pt x="717957" y="482698"/>
                </a:lnTo>
                <a:close/>
                <a:moveTo>
                  <a:pt x="482664" y="478660"/>
                </a:moveTo>
                <a:lnTo>
                  <a:pt x="492574" y="478660"/>
                </a:lnTo>
                <a:lnTo>
                  <a:pt x="496593" y="482698"/>
                </a:lnTo>
                <a:lnTo>
                  <a:pt x="496593" y="492569"/>
                </a:lnTo>
                <a:lnTo>
                  <a:pt x="492574" y="496608"/>
                </a:lnTo>
                <a:lnTo>
                  <a:pt x="482664" y="496608"/>
                </a:lnTo>
                <a:lnTo>
                  <a:pt x="478645" y="492569"/>
                </a:lnTo>
                <a:lnTo>
                  <a:pt x="478645" y="482698"/>
                </a:lnTo>
                <a:close/>
                <a:moveTo>
                  <a:pt x="243350" y="478660"/>
                </a:moveTo>
                <a:lnTo>
                  <a:pt x="253260" y="478660"/>
                </a:lnTo>
                <a:lnTo>
                  <a:pt x="257279" y="482698"/>
                </a:lnTo>
                <a:lnTo>
                  <a:pt x="257279" y="492569"/>
                </a:lnTo>
                <a:lnTo>
                  <a:pt x="253260" y="496608"/>
                </a:lnTo>
                <a:lnTo>
                  <a:pt x="243350" y="496608"/>
                </a:lnTo>
                <a:lnTo>
                  <a:pt x="239331" y="492569"/>
                </a:lnTo>
                <a:lnTo>
                  <a:pt x="239331" y="482698"/>
                </a:lnTo>
                <a:close/>
                <a:moveTo>
                  <a:pt x="4037" y="478660"/>
                </a:moveTo>
                <a:lnTo>
                  <a:pt x="13947" y="478660"/>
                </a:lnTo>
                <a:lnTo>
                  <a:pt x="17966" y="482698"/>
                </a:lnTo>
                <a:lnTo>
                  <a:pt x="17966" y="492569"/>
                </a:lnTo>
                <a:lnTo>
                  <a:pt x="13947" y="496608"/>
                </a:lnTo>
                <a:lnTo>
                  <a:pt x="4037" y="496608"/>
                </a:lnTo>
                <a:lnTo>
                  <a:pt x="18" y="492569"/>
                </a:lnTo>
                <a:lnTo>
                  <a:pt x="18" y="482698"/>
                </a:lnTo>
                <a:close/>
                <a:moveTo>
                  <a:pt x="1679220" y="478650"/>
                </a:moveTo>
                <a:lnTo>
                  <a:pt x="1689130" y="478650"/>
                </a:lnTo>
                <a:lnTo>
                  <a:pt x="1693149" y="482688"/>
                </a:lnTo>
                <a:lnTo>
                  <a:pt x="1693149" y="492559"/>
                </a:lnTo>
                <a:lnTo>
                  <a:pt x="1689130" y="496598"/>
                </a:lnTo>
                <a:lnTo>
                  <a:pt x="1679220" y="496598"/>
                </a:lnTo>
                <a:lnTo>
                  <a:pt x="1675200" y="492559"/>
                </a:lnTo>
                <a:lnTo>
                  <a:pt x="1675200" y="482688"/>
                </a:lnTo>
                <a:close/>
                <a:moveTo>
                  <a:pt x="1439902" y="478650"/>
                </a:moveTo>
                <a:lnTo>
                  <a:pt x="1449812" y="478650"/>
                </a:lnTo>
                <a:lnTo>
                  <a:pt x="1453831" y="482688"/>
                </a:lnTo>
                <a:lnTo>
                  <a:pt x="1453831" y="492559"/>
                </a:lnTo>
                <a:lnTo>
                  <a:pt x="1449812" y="496598"/>
                </a:lnTo>
                <a:lnTo>
                  <a:pt x="1439902" y="496598"/>
                </a:lnTo>
                <a:lnTo>
                  <a:pt x="1435883" y="492559"/>
                </a:lnTo>
                <a:lnTo>
                  <a:pt x="1435883" y="482688"/>
                </a:lnTo>
                <a:close/>
                <a:moveTo>
                  <a:pt x="1200585" y="478650"/>
                </a:moveTo>
                <a:lnTo>
                  <a:pt x="1210496" y="478650"/>
                </a:lnTo>
                <a:lnTo>
                  <a:pt x="1214515" y="482689"/>
                </a:lnTo>
                <a:lnTo>
                  <a:pt x="1214515" y="492559"/>
                </a:lnTo>
                <a:lnTo>
                  <a:pt x="1210496" y="496598"/>
                </a:lnTo>
                <a:lnTo>
                  <a:pt x="1200585" y="496598"/>
                </a:lnTo>
                <a:lnTo>
                  <a:pt x="1196567" y="492559"/>
                </a:lnTo>
                <a:lnTo>
                  <a:pt x="1196567" y="482689"/>
                </a:lnTo>
                <a:close/>
                <a:moveTo>
                  <a:pt x="961273" y="478650"/>
                </a:moveTo>
                <a:lnTo>
                  <a:pt x="971183" y="478650"/>
                </a:lnTo>
                <a:lnTo>
                  <a:pt x="975202" y="482689"/>
                </a:lnTo>
                <a:lnTo>
                  <a:pt x="975202" y="492559"/>
                </a:lnTo>
                <a:lnTo>
                  <a:pt x="971183" y="496598"/>
                </a:lnTo>
                <a:lnTo>
                  <a:pt x="961273" y="496598"/>
                </a:lnTo>
                <a:lnTo>
                  <a:pt x="957254" y="492559"/>
                </a:lnTo>
                <a:lnTo>
                  <a:pt x="957254" y="482689"/>
                </a:lnTo>
                <a:close/>
                <a:moveTo>
                  <a:pt x="1918515" y="478641"/>
                </a:moveTo>
                <a:lnTo>
                  <a:pt x="1928425" y="478641"/>
                </a:lnTo>
                <a:lnTo>
                  <a:pt x="1932444" y="482679"/>
                </a:lnTo>
                <a:lnTo>
                  <a:pt x="1932444" y="492550"/>
                </a:lnTo>
                <a:lnTo>
                  <a:pt x="1928425" y="496589"/>
                </a:lnTo>
                <a:lnTo>
                  <a:pt x="1918515" y="496589"/>
                </a:lnTo>
                <a:lnTo>
                  <a:pt x="1914495" y="492550"/>
                </a:lnTo>
                <a:lnTo>
                  <a:pt x="1914495" y="482679"/>
                </a:lnTo>
                <a:close/>
                <a:moveTo>
                  <a:pt x="2157823" y="478638"/>
                </a:moveTo>
                <a:lnTo>
                  <a:pt x="2167734" y="478638"/>
                </a:lnTo>
                <a:lnTo>
                  <a:pt x="2171753" y="482677"/>
                </a:lnTo>
                <a:lnTo>
                  <a:pt x="2171753" y="492548"/>
                </a:lnTo>
                <a:lnTo>
                  <a:pt x="2167734" y="496587"/>
                </a:lnTo>
                <a:lnTo>
                  <a:pt x="2157823" y="496587"/>
                </a:lnTo>
                <a:lnTo>
                  <a:pt x="2153804" y="492548"/>
                </a:lnTo>
                <a:lnTo>
                  <a:pt x="2153804" y="482677"/>
                </a:lnTo>
                <a:close/>
                <a:moveTo>
                  <a:pt x="2632423" y="239432"/>
                </a:moveTo>
                <a:lnTo>
                  <a:pt x="2642334" y="239432"/>
                </a:lnTo>
                <a:lnTo>
                  <a:pt x="2646352" y="243470"/>
                </a:lnTo>
                <a:lnTo>
                  <a:pt x="2646352" y="253341"/>
                </a:lnTo>
                <a:lnTo>
                  <a:pt x="2642334" y="257380"/>
                </a:lnTo>
                <a:lnTo>
                  <a:pt x="2632423" y="257380"/>
                </a:lnTo>
                <a:lnTo>
                  <a:pt x="2628404" y="253341"/>
                </a:lnTo>
                <a:lnTo>
                  <a:pt x="2628404" y="243470"/>
                </a:lnTo>
                <a:close/>
                <a:moveTo>
                  <a:pt x="2393104" y="239432"/>
                </a:moveTo>
                <a:lnTo>
                  <a:pt x="2403015" y="239432"/>
                </a:lnTo>
                <a:lnTo>
                  <a:pt x="2407034" y="243470"/>
                </a:lnTo>
                <a:lnTo>
                  <a:pt x="2407034" y="253341"/>
                </a:lnTo>
                <a:lnTo>
                  <a:pt x="2403015" y="257380"/>
                </a:lnTo>
                <a:lnTo>
                  <a:pt x="2393104" y="257380"/>
                </a:lnTo>
                <a:lnTo>
                  <a:pt x="2389087" y="253341"/>
                </a:lnTo>
                <a:lnTo>
                  <a:pt x="2389087" y="243470"/>
                </a:lnTo>
                <a:close/>
                <a:moveTo>
                  <a:pt x="3350359" y="239432"/>
                </a:moveTo>
                <a:lnTo>
                  <a:pt x="3360268" y="239432"/>
                </a:lnTo>
                <a:lnTo>
                  <a:pt x="3364287" y="243470"/>
                </a:lnTo>
                <a:lnTo>
                  <a:pt x="3364287" y="253341"/>
                </a:lnTo>
                <a:lnTo>
                  <a:pt x="3360268" y="257380"/>
                </a:lnTo>
                <a:lnTo>
                  <a:pt x="3350359" y="257380"/>
                </a:lnTo>
                <a:lnTo>
                  <a:pt x="3346340" y="253341"/>
                </a:lnTo>
                <a:lnTo>
                  <a:pt x="3346340" y="243470"/>
                </a:lnTo>
                <a:close/>
                <a:moveTo>
                  <a:pt x="3111048" y="239432"/>
                </a:moveTo>
                <a:lnTo>
                  <a:pt x="3120959" y="239432"/>
                </a:lnTo>
                <a:lnTo>
                  <a:pt x="3124977" y="243470"/>
                </a:lnTo>
                <a:lnTo>
                  <a:pt x="3124977" y="253341"/>
                </a:lnTo>
                <a:lnTo>
                  <a:pt x="3120959" y="257380"/>
                </a:lnTo>
                <a:lnTo>
                  <a:pt x="3111048" y="257380"/>
                </a:lnTo>
                <a:lnTo>
                  <a:pt x="3107029" y="253341"/>
                </a:lnTo>
                <a:lnTo>
                  <a:pt x="3107029" y="243470"/>
                </a:lnTo>
                <a:close/>
                <a:moveTo>
                  <a:pt x="2871737" y="239432"/>
                </a:moveTo>
                <a:lnTo>
                  <a:pt x="2881646" y="239432"/>
                </a:lnTo>
                <a:lnTo>
                  <a:pt x="2885666" y="243470"/>
                </a:lnTo>
                <a:lnTo>
                  <a:pt x="2885666" y="253341"/>
                </a:lnTo>
                <a:lnTo>
                  <a:pt x="2881646" y="257380"/>
                </a:lnTo>
                <a:lnTo>
                  <a:pt x="2871737" y="257380"/>
                </a:lnTo>
                <a:lnTo>
                  <a:pt x="2867717" y="253341"/>
                </a:lnTo>
                <a:lnTo>
                  <a:pt x="2867717" y="243470"/>
                </a:lnTo>
                <a:close/>
                <a:moveTo>
                  <a:pt x="3828990" y="239420"/>
                </a:moveTo>
                <a:lnTo>
                  <a:pt x="3838899" y="239420"/>
                </a:lnTo>
                <a:lnTo>
                  <a:pt x="3842917" y="243457"/>
                </a:lnTo>
                <a:lnTo>
                  <a:pt x="3842917" y="253328"/>
                </a:lnTo>
                <a:lnTo>
                  <a:pt x="3838899" y="257367"/>
                </a:lnTo>
                <a:lnTo>
                  <a:pt x="3828990" y="257367"/>
                </a:lnTo>
                <a:lnTo>
                  <a:pt x="3824971" y="253328"/>
                </a:lnTo>
                <a:lnTo>
                  <a:pt x="3824971" y="243457"/>
                </a:lnTo>
                <a:close/>
                <a:moveTo>
                  <a:pt x="3589676" y="239420"/>
                </a:moveTo>
                <a:lnTo>
                  <a:pt x="3599585" y="239420"/>
                </a:lnTo>
                <a:lnTo>
                  <a:pt x="3603604" y="243457"/>
                </a:lnTo>
                <a:lnTo>
                  <a:pt x="3603604" y="253328"/>
                </a:lnTo>
                <a:lnTo>
                  <a:pt x="3599585" y="257367"/>
                </a:lnTo>
                <a:lnTo>
                  <a:pt x="3589676" y="257367"/>
                </a:lnTo>
                <a:lnTo>
                  <a:pt x="3585657" y="253328"/>
                </a:lnTo>
                <a:lnTo>
                  <a:pt x="3585657" y="243457"/>
                </a:lnTo>
                <a:close/>
                <a:moveTo>
                  <a:pt x="4546929" y="239419"/>
                </a:moveTo>
                <a:lnTo>
                  <a:pt x="4556840" y="239419"/>
                </a:lnTo>
                <a:lnTo>
                  <a:pt x="4560859" y="243457"/>
                </a:lnTo>
                <a:lnTo>
                  <a:pt x="4560859" y="253328"/>
                </a:lnTo>
                <a:lnTo>
                  <a:pt x="4556840" y="257367"/>
                </a:lnTo>
                <a:lnTo>
                  <a:pt x="4546929" y="257367"/>
                </a:lnTo>
                <a:lnTo>
                  <a:pt x="4542910" y="253328"/>
                </a:lnTo>
                <a:lnTo>
                  <a:pt x="4542910" y="243457"/>
                </a:lnTo>
                <a:close/>
                <a:moveTo>
                  <a:pt x="4307612" y="239419"/>
                </a:moveTo>
                <a:lnTo>
                  <a:pt x="4317523" y="239419"/>
                </a:lnTo>
                <a:lnTo>
                  <a:pt x="4321543" y="243457"/>
                </a:lnTo>
                <a:lnTo>
                  <a:pt x="4321543" y="253328"/>
                </a:lnTo>
                <a:lnTo>
                  <a:pt x="4317523" y="257367"/>
                </a:lnTo>
                <a:lnTo>
                  <a:pt x="4307612" y="257367"/>
                </a:lnTo>
                <a:lnTo>
                  <a:pt x="4303595" y="253328"/>
                </a:lnTo>
                <a:lnTo>
                  <a:pt x="4303595" y="243457"/>
                </a:lnTo>
                <a:close/>
                <a:moveTo>
                  <a:pt x="4068297" y="239419"/>
                </a:moveTo>
                <a:lnTo>
                  <a:pt x="4078210" y="239419"/>
                </a:lnTo>
                <a:lnTo>
                  <a:pt x="4082229" y="243457"/>
                </a:lnTo>
                <a:lnTo>
                  <a:pt x="4082229" y="253328"/>
                </a:lnTo>
                <a:lnTo>
                  <a:pt x="4078210" y="257367"/>
                </a:lnTo>
                <a:lnTo>
                  <a:pt x="4068297" y="257367"/>
                </a:lnTo>
                <a:lnTo>
                  <a:pt x="4064278" y="253328"/>
                </a:lnTo>
                <a:lnTo>
                  <a:pt x="4064278" y="243457"/>
                </a:lnTo>
                <a:close/>
                <a:moveTo>
                  <a:pt x="5025470" y="239407"/>
                </a:moveTo>
                <a:lnTo>
                  <a:pt x="5035381" y="239407"/>
                </a:lnTo>
                <a:lnTo>
                  <a:pt x="5039400" y="243445"/>
                </a:lnTo>
                <a:lnTo>
                  <a:pt x="5039400" y="253316"/>
                </a:lnTo>
                <a:lnTo>
                  <a:pt x="5035381" y="257355"/>
                </a:lnTo>
                <a:lnTo>
                  <a:pt x="5025470" y="257355"/>
                </a:lnTo>
                <a:lnTo>
                  <a:pt x="5021451" y="253316"/>
                </a:lnTo>
                <a:lnTo>
                  <a:pt x="5021451" y="243445"/>
                </a:lnTo>
                <a:close/>
                <a:moveTo>
                  <a:pt x="4786241" y="239407"/>
                </a:moveTo>
                <a:lnTo>
                  <a:pt x="4796152" y="239407"/>
                </a:lnTo>
                <a:lnTo>
                  <a:pt x="4800171" y="243445"/>
                </a:lnTo>
                <a:lnTo>
                  <a:pt x="4800171" y="253316"/>
                </a:lnTo>
                <a:lnTo>
                  <a:pt x="4796152" y="257355"/>
                </a:lnTo>
                <a:lnTo>
                  <a:pt x="4786241" y="257355"/>
                </a:lnTo>
                <a:lnTo>
                  <a:pt x="4782224" y="253316"/>
                </a:lnTo>
                <a:lnTo>
                  <a:pt x="4782224" y="243445"/>
                </a:lnTo>
                <a:close/>
                <a:moveTo>
                  <a:pt x="5743412" y="239407"/>
                </a:moveTo>
                <a:lnTo>
                  <a:pt x="5753323" y="239407"/>
                </a:lnTo>
                <a:lnTo>
                  <a:pt x="5757342" y="243445"/>
                </a:lnTo>
                <a:lnTo>
                  <a:pt x="5757342" y="253316"/>
                </a:lnTo>
                <a:lnTo>
                  <a:pt x="5753323" y="257355"/>
                </a:lnTo>
                <a:lnTo>
                  <a:pt x="5743412" y="257355"/>
                </a:lnTo>
                <a:lnTo>
                  <a:pt x="5739393" y="253316"/>
                </a:lnTo>
                <a:lnTo>
                  <a:pt x="5739393" y="243445"/>
                </a:lnTo>
                <a:close/>
                <a:moveTo>
                  <a:pt x="5504099" y="239407"/>
                </a:moveTo>
                <a:lnTo>
                  <a:pt x="5514010" y="239407"/>
                </a:lnTo>
                <a:lnTo>
                  <a:pt x="5518029" y="243445"/>
                </a:lnTo>
                <a:lnTo>
                  <a:pt x="5518029" y="253316"/>
                </a:lnTo>
                <a:lnTo>
                  <a:pt x="5514010" y="257355"/>
                </a:lnTo>
                <a:lnTo>
                  <a:pt x="5504099" y="257355"/>
                </a:lnTo>
                <a:lnTo>
                  <a:pt x="5500080" y="253316"/>
                </a:lnTo>
                <a:lnTo>
                  <a:pt x="5500080" y="243445"/>
                </a:lnTo>
                <a:close/>
                <a:moveTo>
                  <a:pt x="5264784" y="239407"/>
                </a:moveTo>
                <a:lnTo>
                  <a:pt x="5274694" y="239407"/>
                </a:lnTo>
                <a:lnTo>
                  <a:pt x="5278713" y="243445"/>
                </a:lnTo>
                <a:lnTo>
                  <a:pt x="5278713" y="253316"/>
                </a:lnTo>
                <a:lnTo>
                  <a:pt x="5274694" y="257355"/>
                </a:lnTo>
                <a:lnTo>
                  <a:pt x="5264784" y="257355"/>
                </a:lnTo>
                <a:lnTo>
                  <a:pt x="5260765" y="253316"/>
                </a:lnTo>
                <a:lnTo>
                  <a:pt x="5260765" y="243445"/>
                </a:lnTo>
                <a:close/>
                <a:moveTo>
                  <a:pt x="6222042" y="239395"/>
                </a:moveTo>
                <a:lnTo>
                  <a:pt x="6231952" y="239395"/>
                </a:lnTo>
                <a:lnTo>
                  <a:pt x="6235971" y="243432"/>
                </a:lnTo>
                <a:lnTo>
                  <a:pt x="6235971" y="253303"/>
                </a:lnTo>
                <a:lnTo>
                  <a:pt x="6231952" y="257342"/>
                </a:lnTo>
                <a:lnTo>
                  <a:pt x="6222042" y="257342"/>
                </a:lnTo>
                <a:lnTo>
                  <a:pt x="6218023" y="253303"/>
                </a:lnTo>
                <a:lnTo>
                  <a:pt x="6218023" y="243432"/>
                </a:lnTo>
                <a:close/>
                <a:moveTo>
                  <a:pt x="5982729" y="239395"/>
                </a:moveTo>
                <a:lnTo>
                  <a:pt x="5992639" y="239395"/>
                </a:lnTo>
                <a:lnTo>
                  <a:pt x="5996658" y="243433"/>
                </a:lnTo>
                <a:lnTo>
                  <a:pt x="5996658" y="253303"/>
                </a:lnTo>
                <a:lnTo>
                  <a:pt x="5992639" y="257342"/>
                </a:lnTo>
                <a:lnTo>
                  <a:pt x="5982729" y="257342"/>
                </a:lnTo>
                <a:lnTo>
                  <a:pt x="5978710" y="253303"/>
                </a:lnTo>
                <a:lnTo>
                  <a:pt x="5978710" y="243433"/>
                </a:lnTo>
                <a:close/>
                <a:moveTo>
                  <a:pt x="6939983" y="239394"/>
                </a:moveTo>
                <a:lnTo>
                  <a:pt x="6949894" y="239394"/>
                </a:lnTo>
                <a:lnTo>
                  <a:pt x="6953913" y="243432"/>
                </a:lnTo>
                <a:lnTo>
                  <a:pt x="6953913" y="253303"/>
                </a:lnTo>
                <a:lnTo>
                  <a:pt x="6949894" y="257342"/>
                </a:lnTo>
                <a:lnTo>
                  <a:pt x="6939983" y="257342"/>
                </a:lnTo>
                <a:lnTo>
                  <a:pt x="6935964" y="253303"/>
                </a:lnTo>
                <a:lnTo>
                  <a:pt x="6935964" y="243432"/>
                </a:lnTo>
                <a:close/>
                <a:moveTo>
                  <a:pt x="6700670" y="239394"/>
                </a:moveTo>
                <a:lnTo>
                  <a:pt x="6710581" y="239394"/>
                </a:lnTo>
                <a:lnTo>
                  <a:pt x="6714600" y="243432"/>
                </a:lnTo>
                <a:lnTo>
                  <a:pt x="6714600" y="253303"/>
                </a:lnTo>
                <a:lnTo>
                  <a:pt x="6710581" y="257342"/>
                </a:lnTo>
                <a:lnTo>
                  <a:pt x="6700670" y="257342"/>
                </a:lnTo>
                <a:lnTo>
                  <a:pt x="6696651" y="253303"/>
                </a:lnTo>
                <a:lnTo>
                  <a:pt x="6696651" y="243432"/>
                </a:lnTo>
                <a:close/>
                <a:moveTo>
                  <a:pt x="6461356" y="239394"/>
                </a:moveTo>
                <a:lnTo>
                  <a:pt x="6471266" y="239394"/>
                </a:lnTo>
                <a:lnTo>
                  <a:pt x="6475285" y="243432"/>
                </a:lnTo>
                <a:lnTo>
                  <a:pt x="6475285" y="253303"/>
                </a:lnTo>
                <a:lnTo>
                  <a:pt x="6471266" y="257342"/>
                </a:lnTo>
                <a:lnTo>
                  <a:pt x="6461356" y="257342"/>
                </a:lnTo>
                <a:lnTo>
                  <a:pt x="6457337" y="253303"/>
                </a:lnTo>
                <a:lnTo>
                  <a:pt x="6457337" y="243432"/>
                </a:lnTo>
                <a:close/>
                <a:moveTo>
                  <a:pt x="7418611" y="239382"/>
                </a:moveTo>
                <a:lnTo>
                  <a:pt x="7428521" y="239382"/>
                </a:lnTo>
                <a:lnTo>
                  <a:pt x="7432540" y="243420"/>
                </a:lnTo>
                <a:lnTo>
                  <a:pt x="7432540" y="253291"/>
                </a:lnTo>
                <a:lnTo>
                  <a:pt x="7428521" y="257330"/>
                </a:lnTo>
                <a:lnTo>
                  <a:pt x="7418611" y="257330"/>
                </a:lnTo>
                <a:lnTo>
                  <a:pt x="7414592" y="253291"/>
                </a:lnTo>
                <a:lnTo>
                  <a:pt x="7414592" y="243420"/>
                </a:lnTo>
                <a:close/>
                <a:moveTo>
                  <a:pt x="7179298" y="239382"/>
                </a:moveTo>
                <a:lnTo>
                  <a:pt x="7189209" y="239382"/>
                </a:lnTo>
                <a:lnTo>
                  <a:pt x="7193228" y="243421"/>
                </a:lnTo>
                <a:lnTo>
                  <a:pt x="7193228" y="253292"/>
                </a:lnTo>
                <a:lnTo>
                  <a:pt x="7189209" y="257330"/>
                </a:lnTo>
                <a:lnTo>
                  <a:pt x="7179298" y="257330"/>
                </a:lnTo>
                <a:lnTo>
                  <a:pt x="7175279" y="253292"/>
                </a:lnTo>
                <a:lnTo>
                  <a:pt x="7175279" y="243421"/>
                </a:lnTo>
                <a:close/>
                <a:moveTo>
                  <a:pt x="8136553" y="239382"/>
                </a:moveTo>
                <a:lnTo>
                  <a:pt x="8146464" y="239382"/>
                </a:lnTo>
                <a:lnTo>
                  <a:pt x="8150483" y="243420"/>
                </a:lnTo>
                <a:lnTo>
                  <a:pt x="8150483" y="253291"/>
                </a:lnTo>
                <a:lnTo>
                  <a:pt x="8146464" y="257330"/>
                </a:lnTo>
                <a:lnTo>
                  <a:pt x="8136553" y="257330"/>
                </a:lnTo>
                <a:lnTo>
                  <a:pt x="8132534" y="253291"/>
                </a:lnTo>
                <a:lnTo>
                  <a:pt x="8132534" y="243420"/>
                </a:lnTo>
                <a:close/>
                <a:moveTo>
                  <a:pt x="7897241" y="239382"/>
                </a:moveTo>
                <a:lnTo>
                  <a:pt x="7907151" y="239382"/>
                </a:lnTo>
                <a:lnTo>
                  <a:pt x="7911170" y="243420"/>
                </a:lnTo>
                <a:lnTo>
                  <a:pt x="7911170" y="253291"/>
                </a:lnTo>
                <a:lnTo>
                  <a:pt x="7907151" y="257330"/>
                </a:lnTo>
                <a:lnTo>
                  <a:pt x="7897241" y="257330"/>
                </a:lnTo>
                <a:lnTo>
                  <a:pt x="7893222" y="253291"/>
                </a:lnTo>
                <a:lnTo>
                  <a:pt x="7893222" y="243420"/>
                </a:lnTo>
                <a:close/>
                <a:moveTo>
                  <a:pt x="7657926" y="239382"/>
                </a:moveTo>
                <a:lnTo>
                  <a:pt x="7667836" y="239382"/>
                </a:lnTo>
                <a:lnTo>
                  <a:pt x="7671855" y="243420"/>
                </a:lnTo>
                <a:lnTo>
                  <a:pt x="7671855" y="253291"/>
                </a:lnTo>
                <a:lnTo>
                  <a:pt x="7667836" y="257330"/>
                </a:lnTo>
                <a:lnTo>
                  <a:pt x="7657926" y="257330"/>
                </a:lnTo>
                <a:lnTo>
                  <a:pt x="7653906" y="253291"/>
                </a:lnTo>
                <a:lnTo>
                  <a:pt x="7653906" y="243420"/>
                </a:lnTo>
                <a:close/>
                <a:moveTo>
                  <a:pt x="1679220" y="239371"/>
                </a:moveTo>
                <a:lnTo>
                  <a:pt x="1689131" y="239371"/>
                </a:lnTo>
                <a:lnTo>
                  <a:pt x="1693150" y="243409"/>
                </a:lnTo>
                <a:lnTo>
                  <a:pt x="1693150" y="253280"/>
                </a:lnTo>
                <a:lnTo>
                  <a:pt x="1689131" y="257319"/>
                </a:lnTo>
                <a:lnTo>
                  <a:pt x="1679220" y="257319"/>
                </a:lnTo>
                <a:lnTo>
                  <a:pt x="1675202" y="253280"/>
                </a:lnTo>
                <a:lnTo>
                  <a:pt x="1675202" y="243409"/>
                </a:lnTo>
                <a:close/>
                <a:moveTo>
                  <a:pt x="1439902" y="239371"/>
                </a:moveTo>
                <a:lnTo>
                  <a:pt x="1449813" y="239371"/>
                </a:lnTo>
                <a:lnTo>
                  <a:pt x="1453832" y="243409"/>
                </a:lnTo>
                <a:lnTo>
                  <a:pt x="1453832" y="253280"/>
                </a:lnTo>
                <a:lnTo>
                  <a:pt x="1449813" y="257319"/>
                </a:lnTo>
                <a:lnTo>
                  <a:pt x="1439902" y="257319"/>
                </a:lnTo>
                <a:lnTo>
                  <a:pt x="1435884" y="253280"/>
                </a:lnTo>
                <a:lnTo>
                  <a:pt x="1435884" y="243409"/>
                </a:lnTo>
                <a:close/>
                <a:moveTo>
                  <a:pt x="1200587" y="239371"/>
                </a:moveTo>
                <a:lnTo>
                  <a:pt x="1210496" y="239371"/>
                </a:lnTo>
                <a:lnTo>
                  <a:pt x="1214515" y="243409"/>
                </a:lnTo>
                <a:lnTo>
                  <a:pt x="1214515" y="253280"/>
                </a:lnTo>
                <a:lnTo>
                  <a:pt x="1210496" y="257319"/>
                </a:lnTo>
                <a:lnTo>
                  <a:pt x="1200587" y="257319"/>
                </a:lnTo>
                <a:lnTo>
                  <a:pt x="1196567" y="253280"/>
                </a:lnTo>
                <a:lnTo>
                  <a:pt x="1196567" y="243409"/>
                </a:lnTo>
                <a:close/>
                <a:moveTo>
                  <a:pt x="961273" y="239371"/>
                </a:moveTo>
                <a:lnTo>
                  <a:pt x="971184" y="239371"/>
                </a:lnTo>
                <a:lnTo>
                  <a:pt x="975203" y="243409"/>
                </a:lnTo>
                <a:lnTo>
                  <a:pt x="975203" y="253280"/>
                </a:lnTo>
                <a:lnTo>
                  <a:pt x="971184" y="257319"/>
                </a:lnTo>
                <a:lnTo>
                  <a:pt x="961273" y="257319"/>
                </a:lnTo>
                <a:lnTo>
                  <a:pt x="957255" y="253280"/>
                </a:lnTo>
                <a:lnTo>
                  <a:pt x="957255" y="243409"/>
                </a:lnTo>
                <a:close/>
                <a:moveTo>
                  <a:pt x="8615184" y="239370"/>
                </a:moveTo>
                <a:lnTo>
                  <a:pt x="8625095" y="239370"/>
                </a:lnTo>
                <a:lnTo>
                  <a:pt x="8629114" y="243408"/>
                </a:lnTo>
                <a:lnTo>
                  <a:pt x="8629114" y="253278"/>
                </a:lnTo>
                <a:lnTo>
                  <a:pt x="8625095" y="257317"/>
                </a:lnTo>
                <a:lnTo>
                  <a:pt x="8615184" y="257317"/>
                </a:lnTo>
                <a:lnTo>
                  <a:pt x="8611165" y="253278"/>
                </a:lnTo>
                <a:lnTo>
                  <a:pt x="8611165" y="243408"/>
                </a:lnTo>
                <a:close/>
                <a:moveTo>
                  <a:pt x="8375869" y="239370"/>
                </a:moveTo>
                <a:lnTo>
                  <a:pt x="8385779" y="239370"/>
                </a:lnTo>
                <a:lnTo>
                  <a:pt x="8389799" y="243408"/>
                </a:lnTo>
                <a:lnTo>
                  <a:pt x="8389799" y="253279"/>
                </a:lnTo>
                <a:lnTo>
                  <a:pt x="8385779" y="257318"/>
                </a:lnTo>
                <a:lnTo>
                  <a:pt x="8375869" y="257318"/>
                </a:lnTo>
                <a:lnTo>
                  <a:pt x="8371850" y="253279"/>
                </a:lnTo>
                <a:lnTo>
                  <a:pt x="8371850" y="243408"/>
                </a:lnTo>
                <a:close/>
                <a:moveTo>
                  <a:pt x="9333125" y="239369"/>
                </a:moveTo>
                <a:lnTo>
                  <a:pt x="9343036" y="239369"/>
                </a:lnTo>
                <a:lnTo>
                  <a:pt x="9347055" y="243407"/>
                </a:lnTo>
                <a:lnTo>
                  <a:pt x="9347055" y="253278"/>
                </a:lnTo>
                <a:lnTo>
                  <a:pt x="9343036" y="257317"/>
                </a:lnTo>
                <a:lnTo>
                  <a:pt x="9333125" y="257317"/>
                </a:lnTo>
                <a:lnTo>
                  <a:pt x="9329106" y="253278"/>
                </a:lnTo>
                <a:lnTo>
                  <a:pt x="9329106" y="243407"/>
                </a:lnTo>
                <a:close/>
                <a:moveTo>
                  <a:pt x="9093811" y="239369"/>
                </a:moveTo>
                <a:lnTo>
                  <a:pt x="9103722" y="239369"/>
                </a:lnTo>
                <a:lnTo>
                  <a:pt x="9107741" y="243407"/>
                </a:lnTo>
                <a:lnTo>
                  <a:pt x="9107741" y="253278"/>
                </a:lnTo>
                <a:lnTo>
                  <a:pt x="9103722" y="257317"/>
                </a:lnTo>
                <a:lnTo>
                  <a:pt x="9093811" y="257317"/>
                </a:lnTo>
                <a:lnTo>
                  <a:pt x="9089792" y="253278"/>
                </a:lnTo>
                <a:lnTo>
                  <a:pt x="9089792" y="243407"/>
                </a:lnTo>
                <a:close/>
                <a:moveTo>
                  <a:pt x="8854496" y="239369"/>
                </a:moveTo>
                <a:lnTo>
                  <a:pt x="8864407" y="239369"/>
                </a:lnTo>
                <a:lnTo>
                  <a:pt x="8868426" y="243407"/>
                </a:lnTo>
                <a:lnTo>
                  <a:pt x="8868426" y="253278"/>
                </a:lnTo>
                <a:lnTo>
                  <a:pt x="8864407" y="257317"/>
                </a:lnTo>
                <a:lnTo>
                  <a:pt x="8854496" y="257317"/>
                </a:lnTo>
                <a:lnTo>
                  <a:pt x="8850477" y="253278"/>
                </a:lnTo>
                <a:lnTo>
                  <a:pt x="8850477" y="243407"/>
                </a:lnTo>
                <a:close/>
                <a:moveTo>
                  <a:pt x="1918515" y="239361"/>
                </a:moveTo>
                <a:lnTo>
                  <a:pt x="1928425" y="239361"/>
                </a:lnTo>
                <a:lnTo>
                  <a:pt x="1932444" y="243400"/>
                </a:lnTo>
                <a:lnTo>
                  <a:pt x="1932444" y="253271"/>
                </a:lnTo>
                <a:lnTo>
                  <a:pt x="1928425" y="257310"/>
                </a:lnTo>
                <a:lnTo>
                  <a:pt x="1918515" y="257310"/>
                </a:lnTo>
                <a:lnTo>
                  <a:pt x="1914495" y="253271"/>
                </a:lnTo>
                <a:lnTo>
                  <a:pt x="1914495" y="243400"/>
                </a:lnTo>
                <a:close/>
                <a:moveTo>
                  <a:pt x="2157824" y="239359"/>
                </a:moveTo>
                <a:lnTo>
                  <a:pt x="2167734" y="239359"/>
                </a:lnTo>
                <a:lnTo>
                  <a:pt x="2171753" y="243397"/>
                </a:lnTo>
                <a:lnTo>
                  <a:pt x="2171753" y="253268"/>
                </a:lnTo>
                <a:lnTo>
                  <a:pt x="2167734" y="257307"/>
                </a:lnTo>
                <a:lnTo>
                  <a:pt x="2157824" y="257307"/>
                </a:lnTo>
                <a:lnTo>
                  <a:pt x="2153804" y="253268"/>
                </a:lnTo>
                <a:lnTo>
                  <a:pt x="2153804" y="243397"/>
                </a:lnTo>
                <a:close/>
                <a:moveTo>
                  <a:pt x="9572438" y="239357"/>
                </a:moveTo>
                <a:lnTo>
                  <a:pt x="9582349" y="239357"/>
                </a:lnTo>
                <a:lnTo>
                  <a:pt x="9586368" y="243395"/>
                </a:lnTo>
                <a:lnTo>
                  <a:pt x="9586368" y="253267"/>
                </a:lnTo>
                <a:lnTo>
                  <a:pt x="9582349" y="257306"/>
                </a:lnTo>
                <a:lnTo>
                  <a:pt x="9572438" y="257306"/>
                </a:lnTo>
                <a:lnTo>
                  <a:pt x="9568419" y="253267"/>
                </a:lnTo>
                <a:lnTo>
                  <a:pt x="9568419" y="243395"/>
                </a:lnTo>
                <a:close/>
                <a:moveTo>
                  <a:pt x="721976" y="239330"/>
                </a:moveTo>
                <a:lnTo>
                  <a:pt x="731887" y="239330"/>
                </a:lnTo>
                <a:lnTo>
                  <a:pt x="735906" y="243368"/>
                </a:lnTo>
                <a:lnTo>
                  <a:pt x="735906" y="253239"/>
                </a:lnTo>
                <a:lnTo>
                  <a:pt x="731887" y="257278"/>
                </a:lnTo>
                <a:lnTo>
                  <a:pt x="721976" y="257278"/>
                </a:lnTo>
                <a:lnTo>
                  <a:pt x="717958" y="253239"/>
                </a:lnTo>
                <a:lnTo>
                  <a:pt x="717958" y="243368"/>
                </a:lnTo>
                <a:close/>
                <a:moveTo>
                  <a:pt x="482664" y="239330"/>
                </a:moveTo>
                <a:lnTo>
                  <a:pt x="492575" y="239330"/>
                </a:lnTo>
                <a:lnTo>
                  <a:pt x="496594" y="243368"/>
                </a:lnTo>
                <a:lnTo>
                  <a:pt x="496594" y="253239"/>
                </a:lnTo>
                <a:lnTo>
                  <a:pt x="492575" y="257278"/>
                </a:lnTo>
                <a:lnTo>
                  <a:pt x="482664" y="257278"/>
                </a:lnTo>
                <a:lnTo>
                  <a:pt x="478645" y="253239"/>
                </a:lnTo>
                <a:lnTo>
                  <a:pt x="478645" y="243368"/>
                </a:lnTo>
                <a:close/>
                <a:moveTo>
                  <a:pt x="243350" y="239330"/>
                </a:moveTo>
                <a:lnTo>
                  <a:pt x="253261" y="239330"/>
                </a:lnTo>
                <a:lnTo>
                  <a:pt x="257280" y="243368"/>
                </a:lnTo>
                <a:lnTo>
                  <a:pt x="257280" y="253239"/>
                </a:lnTo>
                <a:lnTo>
                  <a:pt x="253261" y="257278"/>
                </a:lnTo>
                <a:lnTo>
                  <a:pt x="243350" y="257278"/>
                </a:lnTo>
                <a:lnTo>
                  <a:pt x="239332" y="253239"/>
                </a:lnTo>
                <a:lnTo>
                  <a:pt x="239332" y="243368"/>
                </a:lnTo>
                <a:close/>
                <a:moveTo>
                  <a:pt x="4037" y="239330"/>
                </a:moveTo>
                <a:lnTo>
                  <a:pt x="13948" y="239330"/>
                </a:lnTo>
                <a:lnTo>
                  <a:pt x="17967" y="243368"/>
                </a:lnTo>
                <a:lnTo>
                  <a:pt x="17967" y="253239"/>
                </a:lnTo>
                <a:lnTo>
                  <a:pt x="13948" y="257278"/>
                </a:lnTo>
                <a:lnTo>
                  <a:pt x="4037" y="257278"/>
                </a:lnTo>
                <a:lnTo>
                  <a:pt x="18" y="253239"/>
                </a:lnTo>
                <a:lnTo>
                  <a:pt x="18" y="243368"/>
                </a:lnTo>
                <a:close/>
                <a:moveTo>
                  <a:pt x="3111048" y="106"/>
                </a:moveTo>
                <a:lnTo>
                  <a:pt x="3120959" y="106"/>
                </a:lnTo>
                <a:lnTo>
                  <a:pt x="3124977" y="4144"/>
                </a:lnTo>
                <a:lnTo>
                  <a:pt x="3124977" y="14015"/>
                </a:lnTo>
                <a:lnTo>
                  <a:pt x="3120959" y="18054"/>
                </a:lnTo>
                <a:lnTo>
                  <a:pt x="3111048" y="18054"/>
                </a:lnTo>
                <a:lnTo>
                  <a:pt x="3107029" y="14015"/>
                </a:lnTo>
                <a:lnTo>
                  <a:pt x="3107029" y="4144"/>
                </a:lnTo>
                <a:close/>
                <a:moveTo>
                  <a:pt x="2871737" y="106"/>
                </a:moveTo>
                <a:lnTo>
                  <a:pt x="2881646" y="106"/>
                </a:lnTo>
                <a:lnTo>
                  <a:pt x="2885666" y="4145"/>
                </a:lnTo>
                <a:lnTo>
                  <a:pt x="2885666" y="14015"/>
                </a:lnTo>
                <a:lnTo>
                  <a:pt x="2881646" y="18054"/>
                </a:lnTo>
                <a:lnTo>
                  <a:pt x="2871737" y="18054"/>
                </a:lnTo>
                <a:lnTo>
                  <a:pt x="2867717" y="14015"/>
                </a:lnTo>
                <a:lnTo>
                  <a:pt x="2867717" y="4145"/>
                </a:lnTo>
                <a:close/>
                <a:moveTo>
                  <a:pt x="2632423" y="106"/>
                </a:moveTo>
                <a:lnTo>
                  <a:pt x="2642334" y="106"/>
                </a:lnTo>
                <a:lnTo>
                  <a:pt x="2646352" y="4145"/>
                </a:lnTo>
                <a:lnTo>
                  <a:pt x="2646352" y="14016"/>
                </a:lnTo>
                <a:lnTo>
                  <a:pt x="2642334" y="18055"/>
                </a:lnTo>
                <a:lnTo>
                  <a:pt x="2632423" y="18055"/>
                </a:lnTo>
                <a:lnTo>
                  <a:pt x="2628404" y="14016"/>
                </a:lnTo>
                <a:lnTo>
                  <a:pt x="2628404" y="4145"/>
                </a:lnTo>
                <a:close/>
                <a:moveTo>
                  <a:pt x="2393104" y="106"/>
                </a:moveTo>
                <a:lnTo>
                  <a:pt x="2403015" y="106"/>
                </a:lnTo>
                <a:lnTo>
                  <a:pt x="2407034" y="4145"/>
                </a:lnTo>
                <a:lnTo>
                  <a:pt x="2407034" y="14016"/>
                </a:lnTo>
                <a:lnTo>
                  <a:pt x="2403015" y="18055"/>
                </a:lnTo>
                <a:lnTo>
                  <a:pt x="2393104" y="18055"/>
                </a:lnTo>
                <a:lnTo>
                  <a:pt x="2389087" y="14016"/>
                </a:lnTo>
                <a:lnTo>
                  <a:pt x="2389087" y="4145"/>
                </a:lnTo>
                <a:close/>
                <a:moveTo>
                  <a:pt x="3350359" y="106"/>
                </a:moveTo>
                <a:lnTo>
                  <a:pt x="3360268" y="106"/>
                </a:lnTo>
                <a:lnTo>
                  <a:pt x="3364287" y="4144"/>
                </a:lnTo>
                <a:lnTo>
                  <a:pt x="3364287" y="14015"/>
                </a:lnTo>
                <a:lnTo>
                  <a:pt x="3360268" y="18054"/>
                </a:lnTo>
                <a:lnTo>
                  <a:pt x="3350359" y="18054"/>
                </a:lnTo>
                <a:lnTo>
                  <a:pt x="3346340" y="14015"/>
                </a:lnTo>
                <a:lnTo>
                  <a:pt x="3346340" y="4144"/>
                </a:lnTo>
                <a:close/>
                <a:moveTo>
                  <a:pt x="4546929" y="93"/>
                </a:moveTo>
                <a:lnTo>
                  <a:pt x="4556840" y="93"/>
                </a:lnTo>
                <a:lnTo>
                  <a:pt x="4560859" y="4132"/>
                </a:lnTo>
                <a:lnTo>
                  <a:pt x="4560859" y="14002"/>
                </a:lnTo>
                <a:lnTo>
                  <a:pt x="4556840" y="18041"/>
                </a:lnTo>
                <a:lnTo>
                  <a:pt x="4546929" y="18041"/>
                </a:lnTo>
                <a:lnTo>
                  <a:pt x="4542910" y="14002"/>
                </a:lnTo>
                <a:lnTo>
                  <a:pt x="4542910" y="4132"/>
                </a:lnTo>
                <a:close/>
                <a:moveTo>
                  <a:pt x="4307612" y="93"/>
                </a:moveTo>
                <a:lnTo>
                  <a:pt x="4317523" y="93"/>
                </a:lnTo>
                <a:lnTo>
                  <a:pt x="4321543" y="4132"/>
                </a:lnTo>
                <a:lnTo>
                  <a:pt x="4321543" y="14003"/>
                </a:lnTo>
                <a:lnTo>
                  <a:pt x="4317523" y="18042"/>
                </a:lnTo>
                <a:lnTo>
                  <a:pt x="4307612" y="18042"/>
                </a:lnTo>
                <a:lnTo>
                  <a:pt x="4303595" y="14003"/>
                </a:lnTo>
                <a:lnTo>
                  <a:pt x="4303595" y="4132"/>
                </a:lnTo>
                <a:close/>
                <a:moveTo>
                  <a:pt x="4068297" y="93"/>
                </a:moveTo>
                <a:lnTo>
                  <a:pt x="4078210" y="93"/>
                </a:lnTo>
                <a:lnTo>
                  <a:pt x="4082229" y="4132"/>
                </a:lnTo>
                <a:lnTo>
                  <a:pt x="4082229" y="14003"/>
                </a:lnTo>
                <a:lnTo>
                  <a:pt x="4078210" y="18042"/>
                </a:lnTo>
                <a:lnTo>
                  <a:pt x="4068297" y="18042"/>
                </a:lnTo>
                <a:lnTo>
                  <a:pt x="4064278" y="14003"/>
                </a:lnTo>
                <a:lnTo>
                  <a:pt x="4064278" y="4132"/>
                </a:lnTo>
                <a:close/>
                <a:moveTo>
                  <a:pt x="3828990" y="93"/>
                </a:moveTo>
                <a:lnTo>
                  <a:pt x="3838899" y="93"/>
                </a:lnTo>
                <a:lnTo>
                  <a:pt x="3842917" y="4132"/>
                </a:lnTo>
                <a:lnTo>
                  <a:pt x="3842917" y="14003"/>
                </a:lnTo>
                <a:lnTo>
                  <a:pt x="3838899" y="18042"/>
                </a:lnTo>
                <a:lnTo>
                  <a:pt x="3828990" y="18042"/>
                </a:lnTo>
                <a:lnTo>
                  <a:pt x="3824971" y="14003"/>
                </a:lnTo>
                <a:lnTo>
                  <a:pt x="3824971" y="4132"/>
                </a:lnTo>
                <a:close/>
                <a:moveTo>
                  <a:pt x="3589676" y="93"/>
                </a:moveTo>
                <a:lnTo>
                  <a:pt x="3599585" y="93"/>
                </a:lnTo>
                <a:lnTo>
                  <a:pt x="3603604" y="4132"/>
                </a:lnTo>
                <a:lnTo>
                  <a:pt x="3603604" y="14003"/>
                </a:lnTo>
                <a:lnTo>
                  <a:pt x="3599585" y="18042"/>
                </a:lnTo>
                <a:lnTo>
                  <a:pt x="3589676" y="18042"/>
                </a:lnTo>
                <a:lnTo>
                  <a:pt x="3585657" y="14003"/>
                </a:lnTo>
                <a:lnTo>
                  <a:pt x="3585657" y="4132"/>
                </a:lnTo>
                <a:close/>
                <a:moveTo>
                  <a:pt x="4786241" y="81"/>
                </a:moveTo>
                <a:lnTo>
                  <a:pt x="4796152" y="81"/>
                </a:lnTo>
                <a:lnTo>
                  <a:pt x="4800171" y="4119"/>
                </a:lnTo>
                <a:lnTo>
                  <a:pt x="4800171" y="13990"/>
                </a:lnTo>
                <a:lnTo>
                  <a:pt x="4796152" y="18029"/>
                </a:lnTo>
                <a:lnTo>
                  <a:pt x="4786241" y="18029"/>
                </a:lnTo>
                <a:lnTo>
                  <a:pt x="4782224" y="13990"/>
                </a:lnTo>
                <a:lnTo>
                  <a:pt x="4782224" y="4119"/>
                </a:lnTo>
                <a:close/>
                <a:moveTo>
                  <a:pt x="5743412" y="80"/>
                </a:moveTo>
                <a:lnTo>
                  <a:pt x="5753323" y="80"/>
                </a:lnTo>
                <a:lnTo>
                  <a:pt x="5757342" y="4119"/>
                </a:lnTo>
                <a:lnTo>
                  <a:pt x="5757342" y="13990"/>
                </a:lnTo>
                <a:lnTo>
                  <a:pt x="5753323" y="18029"/>
                </a:lnTo>
                <a:lnTo>
                  <a:pt x="5743412" y="18029"/>
                </a:lnTo>
                <a:lnTo>
                  <a:pt x="5739393" y="13990"/>
                </a:lnTo>
                <a:lnTo>
                  <a:pt x="5739393" y="4119"/>
                </a:lnTo>
                <a:close/>
                <a:moveTo>
                  <a:pt x="5504099" y="80"/>
                </a:moveTo>
                <a:lnTo>
                  <a:pt x="5514010" y="80"/>
                </a:lnTo>
                <a:lnTo>
                  <a:pt x="5518029" y="4119"/>
                </a:lnTo>
                <a:lnTo>
                  <a:pt x="5518029" y="13990"/>
                </a:lnTo>
                <a:lnTo>
                  <a:pt x="5514010" y="18029"/>
                </a:lnTo>
                <a:lnTo>
                  <a:pt x="5504099" y="18029"/>
                </a:lnTo>
                <a:lnTo>
                  <a:pt x="5500080" y="13990"/>
                </a:lnTo>
                <a:lnTo>
                  <a:pt x="5500080" y="4119"/>
                </a:lnTo>
                <a:close/>
                <a:moveTo>
                  <a:pt x="5264784" y="80"/>
                </a:moveTo>
                <a:lnTo>
                  <a:pt x="5274694" y="80"/>
                </a:lnTo>
                <a:lnTo>
                  <a:pt x="5278713" y="4119"/>
                </a:lnTo>
                <a:lnTo>
                  <a:pt x="5278713" y="13990"/>
                </a:lnTo>
                <a:lnTo>
                  <a:pt x="5274694" y="18029"/>
                </a:lnTo>
                <a:lnTo>
                  <a:pt x="5264784" y="18029"/>
                </a:lnTo>
                <a:lnTo>
                  <a:pt x="5260765" y="13990"/>
                </a:lnTo>
                <a:lnTo>
                  <a:pt x="5260765" y="4119"/>
                </a:lnTo>
                <a:close/>
                <a:moveTo>
                  <a:pt x="5025470" y="80"/>
                </a:moveTo>
                <a:lnTo>
                  <a:pt x="5035381" y="80"/>
                </a:lnTo>
                <a:lnTo>
                  <a:pt x="5039400" y="4119"/>
                </a:lnTo>
                <a:lnTo>
                  <a:pt x="5039400" y="13990"/>
                </a:lnTo>
                <a:lnTo>
                  <a:pt x="5035381" y="18029"/>
                </a:lnTo>
                <a:lnTo>
                  <a:pt x="5025470" y="18029"/>
                </a:lnTo>
                <a:lnTo>
                  <a:pt x="5021451" y="13990"/>
                </a:lnTo>
                <a:lnTo>
                  <a:pt x="5021451" y="4119"/>
                </a:lnTo>
                <a:close/>
                <a:moveTo>
                  <a:pt x="6461356" y="68"/>
                </a:moveTo>
                <a:lnTo>
                  <a:pt x="6471266" y="68"/>
                </a:lnTo>
                <a:lnTo>
                  <a:pt x="6475285" y="4106"/>
                </a:lnTo>
                <a:lnTo>
                  <a:pt x="6475285" y="13976"/>
                </a:lnTo>
                <a:lnTo>
                  <a:pt x="6471266" y="18015"/>
                </a:lnTo>
                <a:lnTo>
                  <a:pt x="6461356" y="18015"/>
                </a:lnTo>
                <a:lnTo>
                  <a:pt x="6457337" y="13976"/>
                </a:lnTo>
                <a:lnTo>
                  <a:pt x="6457337" y="4106"/>
                </a:lnTo>
                <a:close/>
                <a:moveTo>
                  <a:pt x="6222042" y="68"/>
                </a:moveTo>
                <a:lnTo>
                  <a:pt x="6231952" y="68"/>
                </a:lnTo>
                <a:lnTo>
                  <a:pt x="6235971" y="4106"/>
                </a:lnTo>
                <a:lnTo>
                  <a:pt x="6235971" y="13977"/>
                </a:lnTo>
                <a:lnTo>
                  <a:pt x="6231952" y="18016"/>
                </a:lnTo>
                <a:lnTo>
                  <a:pt x="6222042" y="18016"/>
                </a:lnTo>
                <a:lnTo>
                  <a:pt x="6218023" y="13977"/>
                </a:lnTo>
                <a:lnTo>
                  <a:pt x="6218023" y="4106"/>
                </a:lnTo>
                <a:close/>
                <a:moveTo>
                  <a:pt x="5982729" y="68"/>
                </a:moveTo>
                <a:lnTo>
                  <a:pt x="5992639" y="68"/>
                </a:lnTo>
                <a:lnTo>
                  <a:pt x="5996658" y="4106"/>
                </a:lnTo>
                <a:lnTo>
                  <a:pt x="5996658" y="13977"/>
                </a:lnTo>
                <a:lnTo>
                  <a:pt x="5992639" y="18016"/>
                </a:lnTo>
                <a:lnTo>
                  <a:pt x="5982729" y="18016"/>
                </a:lnTo>
                <a:lnTo>
                  <a:pt x="5978710" y="13977"/>
                </a:lnTo>
                <a:lnTo>
                  <a:pt x="5978710" y="4106"/>
                </a:lnTo>
                <a:close/>
                <a:moveTo>
                  <a:pt x="6939983" y="67"/>
                </a:moveTo>
                <a:lnTo>
                  <a:pt x="6949894" y="67"/>
                </a:lnTo>
                <a:lnTo>
                  <a:pt x="6953913" y="4105"/>
                </a:lnTo>
                <a:lnTo>
                  <a:pt x="6953913" y="13976"/>
                </a:lnTo>
                <a:lnTo>
                  <a:pt x="6949894" y="18015"/>
                </a:lnTo>
                <a:lnTo>
                  <a:pt x="6939983" y="18015"/>
                </a:lnTo>
                <a:lnTo>
                  <a:pt x="6935964" y="13976"/>
                </a:lnTo>
                <a:lnTo>
                  <a:pt x="6935964" y="4105"/>
                </a:lnTo>
                <a:close/>
                <a:moveTo>
                  <a:pt x="6700670" y="67"/>
                </a:moveTo>
                <a:lnTo>
                  <a:pt x="6710581" y="67"/>
                </a:lnTo>
                <a:lnTo>
                  <a:pt x="6714600" y="4105"/>
                </a:lnTo>
                <a:lnTo>
                  <a:pt x="6714600" y="13976"/>
                </a:lnTo>
                <a:lnTo>
                  <a:pt x="6710581" y="18015"/>
                </a:lnTo>
                <a:lnTo>
                  <a:pt x="6700670" y="18015"/>
                </a:lnTo>
                <a:lnTo>
                  <a:pt x="6696651" y="13976"/>
                </a:lnTo>
                <a:lnTo>
                  <a:pt x="6696651" y="4105"/>
                </a:lnTo>
                <a:close/>
                <a:moveTo>
                  <a:pt x="8136553" y="54"/>
                </a:moveTo>
                <a:lnTo>
                  <a:pt x="8146464" y="54"/>
                </a:lnTo>
                <a:lnTo>
                  <a:pt x="8150483" y="4093"/>
                </a:lnTo>
                <a:lnTo>
                  <a:pt x="8150483" y="13963"/>
                </a:lnTo>
                <a:lnTo>
                  <a:pt x="8146464" y="18002"/>
                </a:lnTo>
                <a:lnTo>
                  <a:pt x="8136553" y="18002"/>
                </a:lnTo>
                <a:lnTo>
                  <a:pt x="8132534" y="13963"/>
                </a:lnTo>
                <a:lnTo>
                  <a:pt x="8132534" y="4093"/>
                </a:lnTo>
                <a:close/>
                <a:moveTo>
                  <a:pt x="7897241" y="54"/>
                </a:moveTo>
                <a:lnTo>
                  <a:pt x="7907151" y="54"/>
                </a:lnTo>
                <a:lnTo>
                  <a:pt x="7911170" y="4093"/>
                </a:lnTo>
                <a:lnTo>
                  <a:pt x="7911170" y="13964"/>
                </a:lnTo>
                <a:lnTo>
                  <a:pt x="7907151" y="18003"/>
                </a:lnTo>
                <a:lnTo>
                  <a:pt x="7897241" y="18003"/>
                </a:lnTo>
                <a:lnTo>
                  <a:pt x="7893222" y="13964"/>
                </a:lnTo>
                <a:lnTo>
                  <a:pt x="7893222" y="4093"/>
                </a:lnTo>
                <a:close/>
                <a:moveTo>
                  <a:pt x="7657926" y="54"/>
                </a:moveTo>
                <a:lnTo>
                  <a:pt x="7667836" y="54"/>
                </a:lnTo>
                <a:lnTo>
                  <a:pt x="7671855" y="4093"/>
                </a:lnTo>
                <a:lnTo>
                  <a:pt x="7671855" y="13964"/>
                </a:lnTo>
                <a:lnTo>
                  <a:pt x="7667836" y="18003"/>
                </a:lnTo>
                <a:lnTo>
                  <a:pt x="7657926" y="18003"/>
                </a:lnTo>
                <a:lnTo>
                  <a:pt x="7653906" y="13964"/>
                </a:lnTo>
                <a:lnTo>
                  <a:pt x="7653906" y="4093"/>
                </a:lnTo>
                <a:close/>
                <a:moveTo>
                  <a:pt x="7418611" y="54"/>
                </a:moveTo>
                <a:lnTo>
                  <a:pt x="7428521" y="54"/>
                </a:lnTo>
                <a:lnTo>
                  <a:pt x="7432540" y="4093"/>
                </a:lnTo>
                <a:lnTo>
                  <a:pt x="7432540" y="13964"/>
                </a:lnTo>
                <a:lnTo>
                  <a:pt x="7428521" y="18003"/>
                </a:lnTo>
                <a:lnTo>
                  <a:pt x="7418611" y="18003"/>
                </a:lnTo>
                <a:lnTo>
                  <a:pt x="7414592" y="13964"/>
                </a:lnTo>
                <a:lnTo>
                  <a:pt x="7414592" y="4093"/>
                </a:lnTo>
                <a:close/>
                <a:moveTo>
                  <a:pt x="7179298" y="54"/>
                </a:moveTo>
                <a:lnTo>
                  <a:pt x="7189209" y="54"/>
                </a:lnTo>
                <a:lnTo>
                  <a:pt x="7193228" y="4093"/>
                </a:lnTo>
                <a:lnTo>
                  <a:pt x="7193228" y="13964"/>
                </a:lnTo>
                <a:lnTo>
                  <a:pt x="7189209" y="18003"/>
                </a:lnTo>
                <a:lnTo>
                  <a:pt x="7179298" y="18003"/>
                </a:lnTo>
                <a:lnTo>
                  <a:pt x="7175279" y="13964"/>
                </a:lnTo>
                <a:lnTo>
                  <a:pt x="7175279" y="4093"/>
                </a:lnTo>
                <a:close/>
                <a:moveTo>
                  <a:pt x="8375869" y="42"/>
                </a:moveTo>
                <a:lnTo>
                  <a:pt x="8385779" y="42"/>
                </a:lnTo>
                <a:lnTo>
                  <a:pt x="8389799" y="4080"/>
                </a:lnTo>
                <a:lnTo>
                  <a:pt x="8389799" y="13951"/>
                </a:lnTo>
                <a:lnTo>
                  <a:pt x="8385779" y="17990"/>
                </a:lnTo>
                <a:lnTo>
                  <a:pt x="8375869" y="17990"/>
                </a:lnTo>
                <a:lnTo>
                  <a:pt x="8371850" y="13951"/>
                </a:lnTo>
                <a:lnTo>
                  <a:pt x="8371850" y="4080"/>
                </a:lnTo>
                <a:close/>
                <a:moveTo>
                  <a:pt x="9333125" y="41"/>
                </a:moveTo>
                <a:lnTo>
                  <a:pt x="9343036" y="41"/>
                </a:lnTo>
                <a:lnTo>
                  <a:pt x="9347055" y="4080"/>
                </a:lnTo>
                <a:lnTo>
                  <a:pt x="9347055" y="13951"/>
                </a:lnTo>
                <a:lnTo>
                  <a:pt x="9343036" y="17990"/>
                </a:lnTo>
                <a:lnTo>
                  <a:pt x="9333125" y="17990"/>
                </a:lnTo>
                <a:lnTo>
                  <a:pt x="9329106" y="13951"/>
                </a:lnTo>
                <a:lnTo>
                  <a:pt x="9329106" y="4080"/>
                </a:lnTo>
                <a:close/>
                <a:moveTo>
                  <a:pt x="9093811" y="41"/>
                </a:moveTo>
                <a:lnTo>
                  <a:pt x="9103722" y="41"/>
                </a:lnTo>
                <a:lnTo>
                  <a:pt x="9107741" y="4080"/>
                </a:lnTo>
                <a:lnTo>
                  <a:pt x="9107741" y="13951"/>
                </a:lnTo>
                <a:lnTo>
                  <a:pt x="9103722" y="17990"/>
                </a:lnTo>
                <a:lnTo>
                  <a:pt x="9093811" y="17990"/>
                </a:lnTo>
                <a:lnTo>
                  <a:pt x="9089792" y="13951"/>
                </a:lnTo>
                <a:lnTo>
                  <a:pt x="9089792" y="4080"/>
                </a:lnTo>
                <a:close/>
                <a:moveTo>
                  <a:pt x="8854496" y="41"/>
                </a:moveTo>
                <a:lnTo>
                  <a:pt x="8864407" y="41"/>
                </a:lnTo>
                <a:lnTo>
                  <a:pt x="8868426" y="4080"/>
                </a:lnTo>
                <a:lnTo>
                  <a:pt x="8868426" y="13951"/>
                </a:lnTo>
                <a:lnTo>
                  <a:pt x="8864407" y="17990"/>
                </a:lnTo>
                <a:lnTo>
                  <a:pt x="8854496" y="17990"/>
                </a:lnTo>
                <a:lnTo>
                  <a:pt x="8850477" y="13951"/>
                </a:lnTo>
                <a:lnTo>
                  <a:pt x="8850477" y="4080"/>
                </a:lnTo>
                <a:close/>
                <a:moveTo>
                  <a:pt x="8615184" y="41"/>
                </a:moveTo>
                <a:lnTo>
                  <a:pt x="8625095" y="41"/>
                </a:lnTo>
                <a:lnTo>
                  <a:pt x="8629114" y="4080"/>
                </a:lnTo>
                <a:lnTo>
                  <a:pt x="8629114" y="13951"/>
                </a:lnTo>
                <a:lnTo>
                  <a:pt x="8625095" y="17990"/>
                </a:lnTo>
                <a:lnTo>
                  <a:pt x="8615184" y="17990"/>
                </a:lnTo>
                <a:lnTo>
                  <a:pt x="8611165" y="13951"/>
                </a:lnTo>
                <a:lnTo>
                  <a:pt x="8611165" y="4080"/>
                </a:lnTo>
                <a:close/>
                <a:moveTo>
                  <a:pt x="961275" y="41"/>
                </a:moveTo>
                <a:lnTo>
                  <a:pt x="971184" y="41"/>
                </a:lnTo>
                <a:lnTo>
                  <a:pt x="975204" y="4080"/>
                </a:lnTo>
                <a:lnTo>
                  <a:pt x="975204" y="13951"/>
                </a:lnTo>
                <a:lnTo>
                  <a:pt x="971184" y="17990"/>
                </a:lnTo>
                <a:lnTo>
                  <a:pt x="961275" y="17990"/>
                </a:lnTo>
                <a:lnTo>
                  <a:pt x="957256" y="13951"/>
                </a:lnTo>
                <a:lnTo>
                  <a:pt x="957256" y="4080"/>
                </a:lnTo>
                <a:close/>
                <a:moveTo>
                  <a:pt x="1679221" y="41"/>
                </a:moveTo>
                <a:lnTo>
                  <a:pt x="1689131" y="41"/>
                </a:lnTo>
                <a:lnTo>
                  <a:pt x="1693151" y="4079"/>
                </a:lnTo>
                <a:lnTo>
                  <a:pt x="1693151" y="13950"/>
                </a:lnTo>
                <a:lnTo>
                  <a:pt x="1689131" y="17989"/>
                </a:lnTo>
                <a:lnTo>
                  <a:pt x="1679221" y="17989"/>
                </a:lnTo>
                <a:lnTo>
                  <a:pt x="1675203" y="13950"/>
                </a:lnTo>
                <a:lnTo>
                  <a:pt x="1675203" y="4079"/>
                </a:lnTo>
                <a:close/>
                <a:moveTo>
                  <a:pt x="1439904" y="41"/>
                </a:moveTo>
                <a:lnTo>
                  <a:pt x="1449813" y="41"/>
                </a:lnTo>
                <a:lnTo>
                  <a:pt x="1453833" y="4079"/>
                </a:lnTo>
                <a:lnTo>
                  <a:pt x="1453833" y="13950"/>
                </a:lnTo>
                <a:lnTo>
                  <a:pt x="1449813" y="17989"/>
                </a:lnTo>
                <a:lnTo>
                  <a:pt x="1439904" y="17989"/>
                </a:lnTo>
                <a:lnTo>
                  <a:pt x="1435885" y="13950"/>
                </a:lnTo>
                <a:lnTo>
                  <a:pt x="1435885" y="4079"/>
                </a:lnTo>
                <a:close/>
                <a:moveTo>
                  <a:pt x="1200587" y="41"/>
                </a:moveTo>
                <a:lnTo>
                  <a:pt x="1210497" y="41"/>
                </a:lnTo>
                <a:lnTo>
                  <a:pt x="1214516" y="4080"/>
                </a:lnTo>
                <a:lnTo>
                  <a:pt x="1214516" y="13951"/>
                </a:lnTo>
                <a:lnTo>
                  <a:pt x="1210497" y="17989"/>
                </a:lnTo>
                <a:lnTo>
                  <a:pt x="1200587" y="17989"/>
                </a:lnTo>
                <a:lnTo>
                  <a:pt x="1196568" y="13951"/>
                </a:lnTo>
                <a:lnTo>
                  <a:pt x="1196568" y="4080"/>
                </a:lnTo>
                <a:close/>
                <a:moveTo>
                  <a:pt x="1918515" y="31"/>
                </a:moveTo>
                <a:lnTo>
                  <a:pt x="1928425" y="31"/>
                </a:lnTo>
                <a:lnTo>
                  <a:pt x="1932444" y="4069"/>
                </a:lnTo>
                <a:lnTo>
                  <a:pt x="1932444" y="13940"/>
                </a:lnTo>
                <a:lnTo>
                  <a:pt x="1928425" y="17979"/>
                </a:lnTo>
                <a:lnTo>
                  <a:pt x="1918515" y="17979"/>
                </a:lnTo>
                <a:lnTo>
                  <a:pt x="1914497" y="13940"/>
                </a:lnTo>
                <a:lnTo>
                  <a:pt x="1914497" y="4069"/>
                </a:lnTo>
                <a:close/>
                <a:moveTo>
                  <a:pt x="9572438" y="29"/>
                </a:moveTo>
                <a:lnTo>
                  <a:pt x="9582349" y="29"/>
                </a:lnTo>
                <a:lnTo>
                  <a:pt x="9586368" y="4067"/>
                </a:lnTo>
                <a:lnTo>
                  <a:pt x="9586368" y="13938"/>
                </a:lnTo>
                <a:lnTo>
                  <a:pt x="9582349" y="17977"/>
                </a:lnTo>
                <a:lnTo>
                  <a:pt x="9572438" y="17977"/>
                </a:lnTo>
                <a:lnTo>
                  <a:pt x="9568419" y="13938"/>
                </a:lnTo>
                <a:lnTo>
                  <a:pt x="9568419" y="4067"/>
                </a:lnTo>
                <a:close/>
                <a:moveTo>
                  <a:pt x="2157824" y="28"/>
                </a:moveTo>
                <a:lnTo>
                  <a:pt x="2167734" y="28"/>
                </a:lnTo>
                <a:lnTo>
                  <a:pt x="2171753" y="4067"/>
                </a:lnTo>
                <a:lnTo>
                  <a:pt x="2171753" y="13938"/>
                </a:lnTo>
                <a:lnTo>
                  <a:pt x="2167734" y="17977"/>
                </a:lnTo>
                <a:lnTo>
                  <a:pt x="2157824" y="17977"/>
                </a:lnTo>
                <a:lnTo>
                  <a:pt x="2153804" y="13938"/>
                </a:lnTo>
                <a:lnTo>
                  <a:pt x="2153804" y="4067"/>
                </a:lnTo>
                <a:close/>
                <a:moveTo>
                  <a:pt x="721977" y="0"/>
                </a:moveTo>
                <a:lnTo>
                  <a:pt x="731887" y="0"/>
                </a:lnTo>
                <a:lnTo>
                  <a:pt x="735906" y="4039"/>
                </a:lnTo>
                <a:lnTo>
                  <a:pt x="735906" y="13910"/>
                </a:lnTo>
                <a:lnTo>
                  <a:pt x="731887" y="17949"/>
                </a:lnTo>
                <a:lnTo>
                  <a:pt x="721977" y="17949"/>
                </a:lnTo>
                <a:lnTo>
                  <a:pt x="717959" y="13910"/>
                </a:lnTo>
                <a:lnTo>
                  <a:pt x="717959" y="4039"/>
                </a:lnTo>
                <a:close/>
                <a:moveTo>
                  <a:pt x="482665" y="0"/>
                </a:moveTo>
                <a:lnTo>
                  <a:pt x="492575" y="0"/>
                </a:lnTo>
                <a:lnTo>
                  <a:pt x="496594" y="4039"/>
                </a:lnTo>
                <a:lnTo>
                  <a:pt x="496594" y="13910"/>
                </a:lnTo>
                <a:lnTo>
                  <a:pt x="492575" y="17949"/>
                </a:lnTo>
                <a:lnTo>
                  <a:pt x="482665" y="17949"/>
                </a:lnTo>
                <a:lnTo>
                  <a:pt x="478646" y="13910"/>
                </a:lnTo>
                <a:lnTo>
                  <a:pt x="478646" y="4039"/>
                </a:lnTo>
                <a:close/>
                <a:moveTo>
                  <a:pt x="243351" y="0"/>
                </a:moveTo>
                <a:lnTo>
                  <a:pt x="253261" y="0"/>
                </a:lnTo>
                <a:lnTo>
                  <a:pt x="257281" y="4039"/>
                </a:lnTo>
                <a:lnTo>
                  <a:pt x="257281" y="13910"/>
                </a:lnTo>
                <a:lnTo>
                  <a:pt x="253261" y="17949"/>
                </a:lnTo>
                <a:lnTo>
                  <a:pt x="243351" y="17949"/>
                </a:lnTo>
                <a:lnTo>
                  <a:pt x="239332" y="13910"/>
                </a:lnTo>
                <a:lnTo>
                  <a:pt x="239332" y="4039"/>
                </a:lnTo>
                <a:close/>
                <a:moveTo>
                  <a:pt x="4039" y="0"/>
                </a:moveTo>
                <a:lnTo>
                  <a:pt x="13948" y="0"/>
                </a:lnTo>
                <a:lnTo>
                  <a:pt x="17967" y="4039"/>
                </a:lnTo>
                <a:lnTo>
                  <a:pt x="17967" y="13910"/>
                </a:lnTo>
                <a:lnTo>
                  <a:pt x="13948" y="17949"/>
                </a:lnTo>
                <a:lnTo>
                  <a:pt x="4039" y="17949"/>
                </a:lnTo>
                <a:lnTo>
                  <a:pt x="19" y="13910"/>
                </a:lnTo>
                <a:lnTo>
                  <a:pt x="19" y="4039"/>
                </a:lnTo>
                <a:close/>
              </a:path>
            </a:pathLst>
          </a:custGeom>
          <a:solidFill>
            <a:schemeClr val="tx1">
              <a:lumMod val="40000"/>
              <a:lumOff val="60000"/>
              <a:alpha val="29998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lang="en-GB" dirty="0">
              <a:solidFill>
                <a:srgbClr val="1F2023"/>
              </a:solidFill>
            </a:endParaRPr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23350E22-3120-4C9B-920B-CE4162372EA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BBFB4DBE-D07C-489B-8B4D-FD1318588B3E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0986CB7-056C-4078-AA30-E257B98473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876" y="269876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A03F66CC-3EA1-46EC-B7C3-3CFF80CE5B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346FEE7-F58C-4653-875F-20F2C6EEB8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20274E-E286-4C44-906F-81F4B3D49E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138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23350E22-3120-4C9B-920B-CE4162372EA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BBFB4DBE-D07C-489B-8B4D-FD1318588B3E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F746A38-ADBE-4B99-A0FF-A026AF761359}"/>
              </a:ext>
            </a:extLst>
          </p:cNvPr>
          <p:cNvSpPr/>
          <p:nvPr userDrawn="1"/>
        </p:nvSpPr>
        <p:spPr>
          <a:xfrm>
            <a:off x="0" y="0"/>
            <a:ext cx="3276600" cy="685800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en-GB" sz="1100" noProof="0" dirty="0" err="1">
              <a:solidFill>
                <a:srgbClr val="2F363B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DD6108D-EB2B-49D1-BF3F-6212EF679FC6}"/>
              </a:ext>
            </a:extLst>
          </p:cNvPr>
          <p:cNvSpPr/>
          <p:nvPr userDrawn="1"/>
        </p:nvSpPr>
        <p:spPr>
          <a:xfrm>
            <a:off x="0" y="1397000"/>
            <a:ext cx="8510016" cy="5461000"/>
          </a:xfrm>
          <a:prstGeom prst="rect">
            <a:avLst/>
          </a:prstGeom>
          <a:solidFill>
            <a:srgbClr val="F3F2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16" name="object 5">
            <a:extLst>
              <a:ext uri="{FF2B5EF4-FFF2-40B4-BE49-F238E27FC236}">
                <a16:creationId xmlns:a16="http://schemas.microsoft.com/office/drawing/2014/main" id="{51ABF881-B85C-4C84-B59E-DABB5EF2BB04}"/>
              </a:ext>
            </a:extLst>
          </p:cNvPr>
          <p:cNvSpPr txBox="1">
            <a:spLocks/>
          </p:cNvSpPr>
          <p:nvPr userDrawn="1"/>
        </p:nvSpPr>
        <p:spPr>
          <a:xfrm>
            <a:off x="843921" y="1963932"/>
            <a:ext cx="4178177" cy="1016327"/>
          </a:xfrm>
          <a:prstGeom prst="rect">
            <a:avLst/>
          </a:prstGeom>
        </p:spPr>
        <p:txBody>
          <a:bodyPr vert="horz" wrap="square" lIns="0" tIns="11516" rIns="0" bIns="0" rtlCol="0">
            <a:spAutoFit/>
          </a:bodyPr>
          <a:lstStyle>
            <a:lvl1pPr>
              <a:defRPr sz="9000" b="0" i="0">
                <a:solidFill>
                  <a:srgbClr val="231E21"/>
                </a:solidFill>
                <a:latin typeface="Arial Regular"/>
                <a:ea typeface="+mj-ea"/>
                <a:cs typeface="Arial Regular"/>
              </a:defRPr>
            </a:lvl1pPr>
          </a:lstStyle>
          <a:p>
            <a:pPr marL="11516">
              <a:spcBef>
                <a:spcPts val="91"/>
              </a:spcBef>
            </a:pPr>
            <a:endParaRPr lang="en-GB" sz="7254" kern="0" dirty="0">
              <a:latin typeface="Impact" panose="020B0806030902050204" pitchFamily="34" charset="0"/>
              <a:ea typeface="Grotzec More Condensed" charset="0"/>
              <a:cs typeface="Grotzec More Condensed" charset="0"/>
            </a:endParaRPr>
          </a:p>
        </p:txBody>
      </p:sp>
      <p:sp>
        <p:nvSpPr>
          <p:cNvPr id="19" name="object 9">
            <a:extLst>
              <a:ext uri="{FF2B5EF4-FFF2-40B4-BE49-F238E27FC236}">
                <a16:creationId xmlns:a16="http://schemas.microsoft.com/office/drawing/2014/main" id="{EB533D22-278D-4D48-8B21-DB708D705C81}"/>
              </a:ext>
            </a:extLst>
          </p:cNvPr>
          <p:cNvSpPr txBox="1"/>
          <p:nvPr/>
        </p:nvSpPr>
        <p:spPr>
          <a:xfrm>
            <a:off x="948280" y="3265354"/>
            <a:ext cx="977258" cy="23984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GB" sz="1632" b="1" spc="41" dirty="0">
                <a:solidFill>
                  <a:srgbClr val="30373B"/>
                </a:solidFill>
                <a:latin typeface="+mj-lt"/>
                <a:cs typeface="Trebuchet MS"/>
              </a:rPr>
              <a:t>Conta</a:t>
            </a:r>
            <a:r>
              <a:rPr lang="en-GB" sz="1632" b="1" spc="27" dirty="0">
                <a:solidFill>
                  <a:srgbClr val="30373B"/>
                </a:solidFill>
                <a:latin typeface="+mj-lt"/>
                <a:cs typeface="Trebuchet MS"/>
              </a:rPr>
              <a:t>c</a:t>
            </a:r>
            <a:r>
              <a:rPr lang="en-GB" sz="1632" b="1" spc="-23" dirty="0">
                <a:solidFill>
                  <a:srgbClr val="30373B"/>
                </a:solidFill>
                <a:latin typeface="+mj-lt"/>
                <a:cs typeface="Trebuchet MS"/>
              </a:rPr>
              <a:t>t</a:t>
            </a:r>
            <a:endParaRPr lang="en-GB" sz="1632" b="1" dirty="0">
              <a:solidFill>
                <a:srgbClr val="30373B"/>
              </a:solidFill>
              <a:latin typeface="+mj-lt"/>
              <a:cs typeface="Trebuchet M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18D7EB-A920-491A-A8EB-D7FAD4435608}"/>
              </a:ext>
            </a:extLst>
          </p:cNvPr>
          <p:cNvCxnSpPr>
            <a:cxnSpLocks/>
          </p:cNvCxnSpPr>
          <p:nvPr/>
        </p:nvCxnSpPr>
        <p:spPr>
          <a:xfrm>
            <a:off x="2143448" y="3284404"/>
            <a:ext cx="0" cy="668732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753CC225-3E09-4B00-B858-336FCB07C3F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916856" y="2125769"/>
            <a:ext cx="4818062" cy="867598"/>
          </a:xfrm>
          <a:noFill/>
        </p:spPr>
        <p:txBody>
          <a:bodyPr lIns="0" tIns="0" rIns="0"/>
          <a:lstStyle>
            <a:lvl1pPr>
              <a:defRPr sz="7200" cap="all" baseline="0">
                <a:solidFill>
                  <a:srgbClr val="30373B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AD493141-6163-4B9F-BB64-266DC978A3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76475" y="3350048"/>
            <a:ext cx="4551577" cy="555412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>
                <a:solidFill>
                  <a:srgbClr val="30373B"/>
                </a:solidFill>
              </a:defRPr>
            </a:lvl1pPr>
          </a:lstStyle>
          <a:p>
            <a:pPr lvl="0"/>
            <a:r>
              <a:rPr lang="en-GB" dirty="0"/>
              <a:t>Name</a:t>
            </a:r>
          </a:p>
          <a:p>
            <a:pPr lvl="0"/>
            <a:r>
              <a:rPr lang="en-GB" dirty="0"/>
              <a:t>Phone</a:t>
            </a:r>
          </a:p>
          <a:p>
            <a:pPr lvl="0"/>
            <a:r>
              <a:rPr lang="en-GB" dirty="0"/>
              <a:t>Email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627D054-E733-4AF4-96A8-BC1F94E35A96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8861146" y="788544"/>
            <a:ext cx="1258889" cy="287891"/>
          </a:xfrm>
          <a:custGeom>
            <a:avLst/>
            <a:gdLst>
              <a:gd name="connsiteX0" fmla="*/ 6778122 w 9905999"/>
              <a:gd name="connsiteY0" fmla="*/ 2222531 h 2265361"/>
              <a:gd name="connsiteX1" fmla="*/ 7135812 w 9905999"/>
              <a:gd name="connsiteY1" fmla="*/ 2222531 h 2265361"/>
              <a:gd name="connsiteX2" fmla="*/ 7135812 w 9905999"/>
              <a:gd name="connsiteY2" fmla="*/ 2265361 h 2265361"/>
              <a:gd name="connsiteX3" fmla="*/ 6778122 w 9905999"/>
              <a:gd name="connsiteY3" fmla="*/ 2265361 h 2265361"/>
              <a:gd name="connsiteX4" fmla="*/ 6778122 w 9905999"/>
              <a:gd name="connsiteY4" fmla="*/ 2222531 h 2265361"/>
              <a:gd name="connsiteX5" fmla="*/ 6449676 w 9905999"/>
              <a:gd name="connsiteY5" fmla="*/ 1769427 h 2265361"/>
              <a:gd name="connsiteX6" fmla="*/ 6449676 w 9905999"/>
              <a:gd name="connsiteY6" fmla="*/ 1965546 h 2265361"/>
              <a:gd name="connsiteX7" fmla="*/ 6575655 w 9905999"/>
              <a:gd name="connsiteY7" fmla="*/ 1965546 h 2265361"/>
              <a:gd name="connsiteX8" fmla="*/ 6679138 w 9905999"/>
              <a:gd name="connsiteY8" fmla="*/ 1864105 h 2265361"/>
              <a:gd name="connsiteX9" fmla="*/ 6575655 w 9905999"/>
              <a:gd name="connsiteY9" fmla="*/ 1769427 h 2265361"/>
              <a:gd name="connsiteX10" fmla="*/ 6449676 w 9905999"/>
              <a:gd name="connsiteY10" fmla="*/ 1769427 h 2265361"/>
              <a:gd name="connsiteX11" fmla="*/ 5021164 w 9905999"/>
              <a:gd name="connsiteY11" fmla="*/ 1769427 h 2265361"/>
              <a:gd name="connsiteX12" fmla="*/ 5021164 w 9905999"/>
              <a:gd name="connsiteY12" fmla="*/ 1949767 h 2265361"/>
              <a:gd name="connsiteX13" fmla="*/ 5158391 w 9905999"/>
              <a:gd name="connsiteY13" fmla="*/ 1949767 h 2265361"/>
              <a:gd name="connsiteX14" fmla="*/ 5261874 w 9905999"/>
              <a:gd name="connsiteY14" fmla="*/ 1859597 h 2265361"/>
              <a:gd name="connsiteX15" fmla="*/ 5158391 w 9905999"/>
              <a:gd name="connsiteY15" fmla="*/ 1769427 h 2265361"/>
              <a:gd name="connsiteX16" fmla="*/ 5021164 w 9905999"/>
              <a:gd name="connsiteY16" fmla="*/ 1769427 h 2265361"/>
              <a:gd name="connsiteX17" fmla="*/ 5597068 w 9905999"/>
              <a:gd name="connsiteY17" fmla="*/ 1762664 h 2265361"/>
              <a:gd name="connsiteX18" fmla="*/ 5504834 w 9905999"/>
              <a:gd name="connsiteY18" fmla="*/ 1800986 h 2265361"/>
              <a:gd name="connsiteX19" fmla="*/ 5459841 w 9905999"/>
              <a:gd name="connsiteY19" fmla="*/ 1967800 h 2265361"/>
              <a:gd name="connsiteX20" fmla="*/ 5504834 w 9905999"/>
              <a:gd name="connsiteY20" fmla="*/ 2132361 h 2265361"/>
              <a:gd name="connsiteX21" fmla="*/ 5597068 w 9905999"/>
              <a:gd name="connsiteY21" fmla="*/ 2170683 h 2265361"/>
              <a:gd name="connsiteX22" fmla="*/ 5691552 w 9905999"/>
              <a:gd name="connsiteY22" fmla="*/ 2132361 h 2265361"/>
              <a:gd name="connsiteX23" fmla="*/ 5734295 w 9905999"/>
              <a:gd name="connsiteY23" fmla="*/ 1967800 h 2265361"/>
              <a:gd name="connsiteX24" fmla="*/ 5691552 w 9905999"/>
              <a:gd name="connsiteY24" fmla="*/ 1800986 h 2265361"/>
              <a:gd name="connsiteX25" fmla="*/ 5597068 w 9905999"/>
              <a:gd name="connsiteY25" fmla="*/ 1762664 h 2265361"/>
              <a:gd name="connsiteX26" fmla="*/ 654642 w 9905999"/>
              <a:gd name="connsiteY26" fmla="*/ 1762664 h 2265361"/>
              <a:gd name="connsiteX27" fmla="*/ 560157 w 9905999"/>
              <a:gd name="connsiteY27" fmla="*/ 1800986 h 2265361"/>
              <a:gd name="connsiteX28" fmla="*/ 517414 w 9905999"/>
              <a:gd name="connsiteY28" fmla="*/ 1967800 h 2265361"/>
              <a:gd name="connsiteX29" fmla="*/ 560157 w 9905999"/>
              <a:gd name="connsiteY29" fmla="*/ 2132361 h 2265361"/>
              <a:gd name="connsiteX30" fmla="*/ 654642 w 9905999"/>
              <a:gd name="connsiteY30" fmla="*/ 2170683 h 2265361"/>
              <a:gd name="connsiteX31" fmla="*/ 746876 w 9905999"/>
              <a:gd name="connsiteY31" fmla="*/ 2132361 h 2265361"/>
              <a:gd name="connsiteX32" fmla="*/ 791868 w 9905999"/>
              <a:gd name="connsiteY32" fmla="*/ 1967800 h 2265361"/>
              <a:gd name="connsiteX33" fmla="*/ 746876 w 9905999"/>
              <a:gd name="connsiteY33" fmla="*/ 1800986 h 2265361"/>
              <a:gd name="connsiteX34" fmla="*/ 654642 w 9905999"/>
              <a:gd name="connsiteY34" fmla="*/ 1762664 h 2265361"/>
              <a:gd name="connsiteX35" fmla="*/ 6386687 w 9905999"/>
              <a:gd name="connsiteY35" fmla="*/ 1710816 h 2265361"/>
              <a:gd name="connsiteX36" fmla="*/ 6575655 w 9905999"/>
              <a:gd name="connsiteY36" fmla="*/ 1710816 h 2265361"/>
              <a:gd name="connsiteX37" fmla="*/ 6706134 w 9905999"/>
              <a:gd name="connsiteY37" fmla="*/ 1755901 h 2265361"/>
              <a:gd name="connsiteX38" fmla="*/ 6744377 w 9905999"/>
              <a:gd name="connsiteY38" fmla="*/ 1864105 h 2265361"/>
              <a:gd name="connsiteX39" fmla="*/ 6701634 w 9905999"/>
              <a:gd name="connsiteY39" fmla="*/ 1981326 h 2265361"/>
              <a:gd name="connsiteX40" fmla="*/ 6577905 w 9905999"/>
              <a:gd name="connsiteY40" fmla="*/ 2024157 h 2265361"/>
              <a:gd name="connsiteX41" fmla="*/ 6449676 w 9905999"/>
              <a:gd name="connsiteY41" fmla="*/ 2024157 h 2265361"/>
              <a:gd name="connsiteX42" fmla="*/ 6449676 w 9905999"/>
              <a:gd name="connsiteY42" fmla="*/ 2222531 h 2265361"/>
              <a:gd name="connsiteX43" fmla="*/ 6386687 w 9905999"/>
              <a:gd name="connsiteY43" fmla="*/ 2222531 h 2265361"/>
              <a:gd name="connsiteX44" fmla="*/ 6386687 w 9905999"/>
              <a:gd name="connsiteY44" fmla="*/ 1710816 h 2265361"/>
              <a:gd name="connsiteX45" fmla="*/ 5889520 w 9905999"/>
              <a:gd name="connsiteY45" fmla="*/ 1710816 h 2265361"/>
              <a:gd name="connsiteX46" fmla="*/ 5954759 w 9905999"/>
              <a:gd name="connsiteY46" fmla="*/ 1710816 h 2265361"/>
              <a:gd name="connsiteX47" fmla="*/ 5954759 w 9905999"/>
              <a:gd name="connsiteY47" fmla="*/ 2035428 h 2265361"/>
              <a:gd name="connsiteX48" fmla="*/ 6076239 w 9905999"/>
              <a:gd name="connsiteY48" fmla="*/ 2172937 h 2265361"/>
              <a:gd name="connsiteX49" fmla="*/ 6199968 w 9905999"/>
              <a:gd name="connsiteY49" fmla="*/ 2035428 h 2265361"/>
              <a:gd name="connsiteX50" fmla="*/ 6199968 w 9905999"/>
              <a:gd name="connsiteY50" fmla="*/ 1710816 h 2265361"/>
              <a:gd name="connsiteX51" fmla="*/ 6262957 w 9905999"/>
              <a:gd name="connsiteY51" fmla="*/ 1710816 h 2265361"/>
              <a:gd name="connsiteX52" fmla="*/ 6262957 w 9905999"/>
              <a:gd name="connsiteY52" fmla="*/ 2035428 h 2265361"/>
              <a:gd name="connsiteX53" fmla="*/ 6076239 w 9905999"/>
              <a:gd name="connsiteY53" fmla="*/ 2231547 h 2265361"/>
              <a:gd name="connsiteX54" fmla="*/ 5889520 w 9905999"/>
              <a:gd name="connsiteY54" fmla="*/ 2035428 h 2265361"/>
              <a:gd name="connsiteX55" fmla="*/ 5889520 w 9905999"/>
              <a:gd name="connsiteY55" fmla="*/ 1710816 h 2265361"/>
              <a:gd name="connsiteX56" fmla="*/ 4958174 w 9905999"/>
              <a:gd name="connsiteY56" fmla="*/ 1710816 h 2265361"/>
              <a:gd name="connsiteX57" fmla="*/ 5158391 w 9905999"/>
              <a:gd name="connsiteY57" fmla="*/ 1710816 h 2265361"/>
              <a:gd name="connsiteX58" fmla="*/ 5288869 w 9905999"/>
              <a:gd name="connsiteY58" fmla="*/ 1755901 h 2265361"/>
              <a:gd name="connsiteX59" fmla="*/ 5329363 w 9905999"/>
              <a:gd name="connsiteY59" fmla="*/ 1859597 h 2265361"/>
              <a:gd name="connsiteX60" fmla="*/ 5288869 w 9905999"/>
              <a:gd name="connsiteY60" fmla="*/ 1961038 h 2265361"/>
              <a:gd name="connsiteX61" fmla="*/ 5228130 w 9905999"/>
              <a:gd name="connsiteY61" fmla="*/ 1997106 h 2265361"/>
              <a:gd name="connsiteX62" fmla="*/ 5331612 w 9905999"/>
              <a:gd name="connsiteY62" fmla="*/ 2222531 h 2265361"/>
              <a:gd name="connsiteX63" fmla="*/ 5259624 w 9905999"/>
              <a:gd name="connsiteY63" fmla="*/ 2222531 h 2265361"/>
              <a:gd name="connsiteX64" fmla="*/ 5162890 w 9905999"/>
              <a:gd name="connsiteY64" fmla="*/ 2010631 h 2265361"/>
              <a:gd name="connsiteX65" fmla="*/ 5021164 w 9905999"/>
              <a:gd name="connsiteY65" fmla="*/ 2010631 h 2265361"/>
              <a:gd name="connsiteX66" fmla="*/ 5021164 w 9905999"/>
              <a:gd name="connsiteY66" fmla="*/ 2222531 h 2265361"/>
              <a:gd name="connsiteX67" fmla="*/ 4958174 w 9905999"/>
              <a:gd name="connsiteY67" fmla="*/ 2222531 h 2265361"/>
              <a:gd name="connsiteX68" fmla="*/ 4958174 w 9905999"/>
              <a:gd name="connsiteY68" fmla="*/ 1710816 h 2265361"/>
              <a:gd name="connsiteX69" fmla="*/ 3309199 w 9905999"/>
              <a:gd name="connsiteY69" fmla="*/ 1710816 h 2265361"/>
              <a:gd name="connsiteX70" fmla="*/ 3381187 w 9905999"/>
              <a:gd name="connsiteY70" fmla="*/ 1710816 h 2265361"/>
              <a:gd name="connsiteX71" fmla="*/ 3633145 w 9905999"/>
              <a:gd name="connsiteY71" fmla="*/ 2123344 h 2265361"/>
              <a:gd name="connsiteX72" fmla="*/ 3633145 w 9905999"/>
              <a:gd name="connsiteY72" fmla="*/ 1710816 h 2265361"/>
              <a:gd name="connsiteX73" fmla="*/ 3693885 w 9905999"/>
              <a:gd name="connsiteY73" fmla="*/ 1710816 h 2265361"/>
              <a:gd name="connsiteX74" fmla="*/ 3693885 w 9905999"/>
              <a:gd name="connsiteY74" fmla="*/ 2222531 h 2265361"/>
              <a:gd name="connsiteX75" fmla="*/ 3621897 w 9905999"/>
              <a:gd name="connsiteY75" fmla="*/ 2222531 h 2265361"/>
              <a:gd name="connsiteX76" fmla="*/ 3372188 w 9905999"/>
              <a:gd name="connsiteY76" fmla="*/ 1810003 h 2265361"/>
              <a:gd name="connsiteX77" fmla="*/ 3372188 w 9905999"/>
              <a:gd name="connsiteY77" fmla="*/ 2222531 h 2265361"/>
              <a:gd name="connsiteX78" fmla="*/ 3309199 w 9905999"/>
              <a:gd name="connsiteY78" fmla="*/ 2222531 h 2265361"/>
              <a:gd name="connsiteX79" fmla="*/ 3309199 w 9905999"/>
              <a:gd name="connsiteY79" fmla="*/ 1710816 h 2265361"/>
              <a:gd name="connsiteX80" fmla="*/ 3106732 w 9905999"/>
              <a:gd name="connsiteY80" fmla="*/ 1710816 h 2265361"/>
              <a:gd name="connsiteX81" fmla="*/ 3171971 w 9905999"/>
              <a:gd name="connsiteY81" fmla="*/ 1710816 h 2265361"/>
              <a:gd name="connsiteX82" fmla="*/ 3171971 w 9905999"/>
              <a:gd name="connsiteY82" fmla="*/ 2222531 h 2265361"/>
              <a:gd name="connsiteX83" fmla="*/ 3106732 w 9905999"/>
              <a:gd name="connsiteY83" fmla="*/ 2222531 h 2265361"/>
              <a:gd name="connsiteX84" fmla="*/ 3106732 w 9905999"/>
              <a:gd name="connsiteY84" fmla="*/ 1710816 h 2265361"/>
              <a:gd name="connsiteX85" fmla="*/ 2663557 w 9905999"/>
              <a:gd name="connsiteY85" fmla="*/ 1710816 h 2265361"/>
              <a:gd name="connsiteX86" fmla="*/ 3032495 w 9905999"/>
              <a:gd name="connsiteY86" fmla="*/ 1710816 h 2265361"/>
              <a:gd name="connsiteX87" fmla="*/ 3032495 w 9905999"/>
              <a:gd name="connsiteY87" fmla="*/ 1769427 h 2265361"/>
              <a:gd name="connsiteX88" fmla="*/ 2879521 w 9905999"/>
              <a:gd name="connsiteY88" fmla="*/ 1769427 h 2265361"/>
              <a:gd name="connsiteX89" fmla="*/ 2879521 w 9905999"/>
              <a:gd name="connsiteY89" fmla="*/ 2222531 h 2265361"/>
              <a:gd name="connsiteX90" fmla="*/ 2814282 w 9905999"/>
              <a:gd name="connsiteY90" fmla="*/ 2222531 h 2265361"/>
              <a:gd name="connsiteX91" fmla="*/ 2814282 w 9905999"/>
              <a:gd name="connsiteY91" fmla="*/ 1769427 h 2265361"/>
              <a:gd name="connsiteX92" fmla="*/ 2663557 w 9905999"/>
              <a:gd name="connsiteY92" fmla="*/ 1769427 h 2265361"/>
              <a:gd name="connsiteX93" fmla="*/ 2663557 w 9905999"/>
              <a:gd name="connsiteY93" fmla="*/ 1710816 h 2265361"/>
              <a:gd name="connsiteX94" fmla="*/ 2416099 w 9905999"/>
              <a:gd name="connsiteY94" fmla="*/ 1710816 h 2265361"/>
              <a:gd name="connsiteX95" fmla="*/ 2481338 w 9905999"/>
              <a:gd name="connsiteY95" fmla="*/ 1710816 h 2265361"/>
              <a:gd name="connsiteX96" fmla="*/ 2481338 w 9905999"/>
              <a:gd name="connsiteY96" fmla="*/ 2163920 h 2265361"/>
              <a:gd name="connsiteX97" fmla="*/ 2726547 w 9905999"/>
              <a:gd name="connsiteY97" fmla="*/ 2163920 h 2265361"/>
              <a:gd name="connsiteX98" fmla="*/ 2726547 w 9905999"/>
              <a:gd name="connsiteY98" fmla="*/ 2222531 h 2265361"/>
              <a:gd name="connsiteX99" fmla="*/ 2416099 w 9905999"/>
              <a:gd name="connsiteY99" fmla="*/ 2222531 h 2265361"/>
              <a:gd name="connsiteX100" fmla="*/ 2416099 w 9905999"/>
              <a:gd name="connsiteY100" fmla="*/ 1710816 h 2265361"/>
              <a:gd name="connsiteX101" fmla="*/ 1918931 w 9905999"/>
              <a:gd name="connsiteY101" fmla="*/ 1710816 h 2265361"/>
              <a:gd name="connsiteX102" fmla="*/ 1984171 w 9905999"/>
              <a:gd name="connsiteY102" fmla="*/ 1710816 h 2265361"/>
              <a:gd name="connsiteX103" fmla="*/ 1984171 w 9905999"/>
              <a:gd name="connsiteY103" fmla="*/ 2035428 h 2265361"/>
              <a:gd name="connsiteX104" fmla="*/ 2105651 w 9905999"/>
              <a:gd name="connsiteY104" fmla="*/ 2172937 h 2265361"/>
              <a:gd name="connsiteX105" fmla="*/ 2229380 w 9905999"/>
              <a:gd name="connsiteY105" fmla="*/ 2035428 h 2265361"/>
              <a:gd name="connsiteX106" fmla="*/ 2229380 w 9905999"/>
              <a:gd name="connsiteY106" fmla="*/ 1710816 h 2265361"/>
              <a:gd name="connsiteX107" fmla="*/ 2292369 w 9905999"/>
              <a:gd name="connsiteY107" fmla="*/ 1710816 h 2265361"/>
              <a:gd name="connsiteX108" fmla="*/ 2292369 w 9905999"/>
              <a:gd name="connsiteY108" fmla="*/ 2035428 h 2265361"/>
              <a:gd name="connsiteX109" fmla="*/ 2105651 w 9905999"/>
              <a:gd name="connsiteY109" fmla="*/ 2231547 h 2265361"/>
              <a:gd name="connsiteX110" fmla="*/ 1918931 w 9905999"/>
              <a:gd name="connsiteY110" fmla="*/ 2035428 h 2265361"/>
              <a:gd name="connsiteX111" fmla="*/ 1918931 w 9905999"/>
              <a:gd name="connsiteY111" fmla="*/ 1710816 h 2265361"/>
              <a:gd name="connsiteX112" fmla="*/ 960591 w 9905999"/>
              <a:gd name="connsiteY112" fmla="*/ 1710816 h 2265361"/>
              <a:gd name="connsiteX113" fmla="*/ 1032578 w 9905999"/>
              <a:gd name="connsiteY113" fmla="*/ 1710816 h 2265361"/>
              <a:gd name="connsiteX114" fmla="*/ 1284537 w 9905999"/>
              <a:gd name="connsiteY114" fmla="*/ 2123344 h 2265361"/>
              <a:gd name="connsiteX115" fmla="*/ 1284537 w 9905999"/>
              <a:gd name="connsiteY115" fmla="*/ 1710816 h 2265361"/>
              <a:gd name="connsiteX116" fmla="*/ 1345276 w 9905999"/>
              <a:gd name="connsiteY116" fmla="*/ 1710816 h 2265361"/>
              <a:gd name="connsiteX117" fmla="*/ 1345276 w 9905999"/>
              <a:gd name="connsiteY117" fmla="*/ 2222531 h 2265361"/>
              <a:gd name="connsiteX118" fmla="*/ 1273289 w 9905999"/>
              <a:gd name="connsiteY118" fmla="*/ 2222531 h 2265361"/>
              <a:gd name="connsiteX119" fmla="*/ 1023580 w 9905999"/>
              <a:gd name="connsiteY119" fmla="*/ 1810003 h 2265361"/>
              <a:gd name="connsiteX120" fmla="*/ 1023580 w 9905999"/>
              <a:gd name="connsiteY120" fmla="*/ 2222531 h 2265361"/>
              <a:gd name="connsiteX121" fmla="*/ 960591 w 9905999"/>
              <a:gd name="connsiteY121" fmla="*/ 2222531 h 2265361"/>
              <a:gd name="connsiteX122" fmla="*/ 960591 w 9905999"/>
              <a:gd name="connsiteY122" fmla="*/ 1710816 h 2265361"/>
              <a:gd name="connsiteX123" fmla="*/ 5597068 w 9905999"/>
              <a:gd name="connsiteY123" fmla="*/ 1701799 h 2265361"/>
              <a:gd name="connsiteX124" fmla="*/ 5736545 w 9905999"/>
              <a:gd name="connsiteY124" fmla="*/ 1755901 h 2265361"/>
              <a:gd name="connsiteX125" fmla="*/ 5801784 w 9905999"/>
              <a:gd name="connsiteY125" fmla="*/ 1967800 h 2265361"/>
              <a:gd name="connsiteX126" fmla="*/ 5736545 w 9905999"/>
              <a:gd name="connsiteY126" fmla="*/ 2177446 h 2265361"/>
              <a:gd name="connsiteX127" fmla="*/ 5597068 w 9905999"/>
              <a:gd name="connsiteY127" fmla="*/ 2233802 h 2265361"/>
              <a:gd name="connsiteX128" fmla="*/ 5459841 w 9905999"/>
              <a:gd name="connsiteY128" fmla="*/ 2177446 h 2265361"/>
              <a:gd name="connsiteX129" fmla="*/ 5394602 w 9905999"/>
              <a:gd name="connsiteY129" fmla="*/ 1967800 h 2265361"/>
              <a:gd name="connsiteX130" fmla="*/ 5459841 w 9905999"/>
              <a:gd name="connsiteY130" fmla="*/ 1755901 h 2265361"/>
              <a:gd name="connsiteX131" fmla="*/ 5597068 w 9905999"/>
              <a:gd name="connsiteY131" fmla="*/ 1701799 h 2265361"/>
              <a:gd name="connsiteX132" fmla="*/ 4645477 w 9905999"/>
              <a:gd name="connsiteY132" fmla="*/ 1701799 h 2265361"/>
              <a:gd name="connsiteX133" fmla="*/ 4791702 w 9905999"/>
              <a:gd name="connsiteY133" fmla="*/ 1758155 h 2265361"/>
              <a:gd name="connsiteX134" fmla="*/ 4834445 w 9905999"/>
              <a:gd name="connsiteY134" fmla="*/ 1859597 h 2265361"/>
              <a:gd name="connsiteX135" fmla="*/ 4766956 w 9905999"/>
              <a:gd name="connsiteY135" fmla="*/ 1859597 h 2265361"/>
              <a:gd name="connsiteX136" fmla="*/ 4744460 w 9905999"/>
              <a:gd name="connsiteY136" fmla="*/ 1803240 h 2265361"/>
              <a:gd name="connsiteX137" fmla="*/ 4645477 w 9905999"/>
              <a:gd name="connsiteY137" fmla="*/ 1762664 h 2265361"/>
              <a:gd name="connsiteX138" fmla="*/ 4550992 w 9905999"/>
              <a:gd name="connsiteY138" fmla="*/ 1800986 h 2265361"/>
              <a:gd name="connsiteX139" fmla="*/ 4506000 w 9905999"/>
              <a:gd name="connsiteY139" fmla="*/ 1967800 h 2265361"/>
              <a:gd name="connsiteX140" fmla="*/ 4553242 w 9905999"/>
              <a:gd name="connsiteY140" fmla="*/ 2134615 h 2265361"/>
              <a:gd name="connsiteX141" fmla="*/ 4645477 w 9905999"/>
              <a:gd name="connsiteY141" fmla="*/ 2172937 h 2265361"/>
              <a:gd name="connsiteX142" fmla="*/ 4737711 w 9905999"/>
              <a:gd name="connsiteY142" fmla="*/ 2136869 h 2265361"/>
              <a:gd name="connsiteX143" fmla="*/ 4780454 w 9905999"/>
              <a:gd name="connsiteY143" fmla="*/ 2006123 h 2265361"/>
              <a:gd name="connsiteX144" fmla="*/ 4645477 w 9905999"/>
              <a:gd name="connsiteY144" fmla="*/ 2006123 h 2265361"/>
              <a:gd name="connsiteX145" fmla="*/ 4645477 w 9905999"/>
              <a:gd name="connsiteY145" fmla="*/ 1947512 h 2265361"/>
              <a:gd name="connsiteX146" fmla="*/ 4838944 w 9905999"/>
              <a:gd name="connsiteY146" fmla="*/ 1947512 h 2265361"/>
              <a:gd name="connsiteX147" fmla="*/ 4838944 w 9905999"/>
              <a:gd name="connsiteY147" fmla="*/ 2222531 h 2265361"/>
              <a:gd name="connsiteX148" fmla="*/ 4793952 w 9905999"/>
              <a:gd name="connsiteY148" fmla="*/ 2222531 h 2265361"/>
              <a:gd name="connsiteX149" fmla="*/ 4782704 w 9905999"/>
              <a:gd name="connsiteY149" fmla="*/ 2161666 h 2265361"/>
              <a:gd name="connsiteX150" fmla="*/ 4645477 w 9905999"/>
              <a:gd name="connsiteY150" fmla="*/ 2233802 h 2265361"/>
              <a:gd name="connsiteX151" fmla="*/ 4506000 w 9905999"/>
              <a:gd name="connsiteY151" fmla="*/ 2179700 h 2265361"/>
              <a:gd name="connsiteX152" fmla="*/ 4440761 w 9905999"/>
              <a:gd name="connsiteY152" fmla="*/ 1967800 h 2265361"/>
              <a:gd name="connsiteX153" fmla="*/ 4506000 w 9905999"/>
              <a:gd name="connsiteY153" fmla="*/ 1755901 h 2265361"/>
              <a:gd name="connsiteX154" fmla="*/ 4645477 w 9905999"/>
              <a:gd name="connsiteY154" fmla="*/ 1701799 h 2265361"/>
              <a:gd name="connsiteX155" fmla="*/ 4002083 w 9905999"/>
              <a:gd name="connsiteY155" fmla="*/ 1701799 h 2265361"/>
              <a:gd name="connsiteX156" fmla="*/ 4148309 w 9905999"/>
              <a:gd name="connsiteY156" fmla="*/ 1758155 h 2265361"/>
              <a:gd name="connsiteX157" fmla="*/ 4193302 w 9905999"/>
              <a:gd name="connsiteY157" fmla="*/ 1859597 h 2265361"/>
              <a:gd name="connsiteX158" fmla="*/ 4125813 w 9905999"/>
              <a:gd name="connsiteY158" fmla="*/ 1859597 h 2265361"/>
              <a:gd name="connsiteX159" fmla="*/ 4103317 w 9905999"/>
              <a:gd name="connsiteY159" fmla="*/ 1803240 h 2265361"/>
              <a:gd name="connsiteX160" fmla="*/ 4002083 w 9905999"/>
              <a:gd name="connsiteY160" fmla="*/ 1762664 h 2265361"/>
              <a:gd name="connsiteX161" fmla="*/ 3909849 w 9905999"/>
              <a:gd name="connsiteY161" fmla="*/ 1800986 h 2265361"/>
              <a:gd name="connsiteX162" fmla="*/ 3864856 w 9905999"/>
              <a:gd name="connsiteY162" fmla="*/ 1967800 h 2265361"/>
              <a:gd name="connsiteX163" fmla="*/ 3909849 w 9905999"/>
              <a:gd name="connsiteY163" fmla="*/ 2134615 h 2265361"/>
              <a:gd name="connsiteX164" fmla="*/ 4002083 w 9905999"/>
              <a:gd name="connsiteY164" fmla="*/ 2172937 h 2265361"/>
              <a:gd name="connsiteX165" fmla="*/ 4094318 w 9905999"/>
              <a:gd name="connsiteY165" fmla="*/ 2136869 h 2265361"/>
              <a:gd name="connsiteX166" fmla="*/ 4139311 w 9905999"/>
              <a:gd name="connsiteY166" fmla="*/ 2006123 h 2265361"/>
              <a:gd name="connsiteX167" fmla="*/ 4002083 w 9905999"/>
              <a:gd name="connsiteY167" fmla="*/ 2006123 h 2265361"/>
              <a:gd name="connsiteX168" fmla="*/ 4002083 w 9905999"/>
              <a:gd name="connsiteY168" fmla="*/ 1947512 h 2265361"/>
              <a:gd name="connsiteX169" fmla="*/ 4197801 w 9905999"/>
              <a:gd name="connsiteY169" fmla="*/ 1947512 h 2265361"/>
              <a:gd name="connsiteX170" fmla="*/ 4197801 w 9905999"/>
              <a:gd name="connsiteY170" fmla="*/ 2222531 h 2265361"/>
              <a:gd name="connsiteX171" fmla="*/ 4152808 w 9905999"/>
              <a:gd name="connsiteY171" fmla="*/ 2222531 h 2265361"/>
              <a:gd name="connsiteX172" fmla="*/ 4141560 w 9905999"/>
              <a:gd name="connsiteY172" fmla="*/ 2161666 h 2265361"/>
              <a:gd name="connsiteX173" fmla="*/ 4002083 w 9905999"/>
              <a:gd name="connsiteY173" fmla="*/ 2233802 h 2265361"/>
              <a:gd name="connsiteX174" fmla="*/ 3864856 w 9905999"/>
              <a:gd name="connsiteY174" fmla="*/ 2179700 h 2265361"/>
              <a:gd name="connsiteX175" fmla="*/ 3797367 w 9905999"/>
              <a:gd name="connsiteY175" fmla="*/ 1967800 h 2265361"/>
              <a:gd name="connsiteX176" fmla="*/ 3864856 w 9905999"/>
              <a:gd name="connsiteY176" fmla="*/ 1755901 h 2265361"/>
              <a:gd name="connsiteX177" fmla="*/ 4002083 w 9905999"/>
              <a:gd name="connsiteY177" fmla="*/ 1701799 h 2265361"/>
              <a:gd name="connsiteX178" fmla="*/ 1642228 w 9905999"/>
              <a:gd name="connsiteY178" fmla="*/ 1701799 h 2265361"/>
              <a:gd name="connsiteX179" fmla="*/ 1774955 w 9905999"/>
              <a:gd name="connsiteY179" fmla="*/ 1749138 h 2265361"/>
              <a:gd name="connsiteX180" fmla="*/ 1824447 w 9905999"/>
              <a:gd name="connsiteY180" fmla="*/ 1859597 h 2265361"/>
              <a:gd name="connsiteX181" fmla="*/ 1756958 w 9905999"/>
              <a:gd name="connsiteY181" fmla="*/ 1859597 h 2265361"/>
              <a:gd name="connsiteX182" fmla="*/ 1732212 w 9905999"/>
              <a:gd name="connsiteY182" fmla="*/ 1796478 h 2265361"/>
              <a:gd name="connsiteX183" fmla="*/ 1639978 w 9905999"/>
              <a:gd name="connsiteY183" fmla="*/ 1760410 h 2265361"/>
              <a:gd name="connsiteX184" fmla="*/ 1549993 w 9905999"/>
              <a:gd name="connsiteY184" fmla="*/ 1796478 h 2265361"/>
              <a:gd name="connsiteX185" fmla="*/ 1529746 w 9905999"/>
              <a:gd name="connsiteY185" fmla="*/ 1850580 h 2265361"/>
              <a:gd name="connsiteX186" fmla="*/ 1606234 w 9905999"/>
              <a:gd name="connsiteY186" fmla="*/ 1922716 h 2265361"/>
              <a:gd name="connsiteX187" fmla="*/ 1691719 w 9905999"/>
              <a:gd name="connsiteY187" fmla="*/ 1936241 h 2265361"/>
              <a:gd name="connsiteX188" fmla="*/ 1833445 w 9905999"/>
              <a:gd name="connsiteY188" fmla="*/ 2082767 h 2265361"/>
              <a:gd name="connsiteX189" fmla="*/ 1790703 w 9905999"/>
              <a:gd name="connsiteY189" fmla="*/ 2181954 h 2265361"/>
              <a:gd name="connsiteX190" fmla="*/ 1644477 w 9905999"/>
              <a:gd name="connsiteY190" fmla="*/ 2231547 h 2265361"/>
              <a:gd name="connsiteX191" fmla="*/ 1498251 w 9905999"/>
              <a:gd name="connsiteY191" fmla="*/ 2184208 h 2265361"/>
              <a:gd name="connsiteX192" fmla="*/ 1444260 w 9905999"/>
              <a:gd name="connsiteY192" fmla="*/ 2060225 h 2265361"/>
              <a:gd name="connsiteX193" fmla="*/ 1509499 w 9905999"/>
              <a:gd name="connsiteY193" fmla="*/ 2060225 h 2265361"/>
              <a:gd name="connsiteX194" fmla="*/ 1545494 w 9905999"/>
              <a:gd name="connsiteY194" fmla="*/ 2141378 h 2265361"/>
              <a:gd name="connsiteX195" fmla="*/ 1644477 w 9905999"/>
              <a:gd name="connsiteY195" fmla="*/ 2172937 h 2265361"/>
              <a:gd name="connsiteX196" fmla="*/ 1738962 w 9905999"/>
              <a:gd name="connsiteY196" fmla="*/ 2143632 h 2265361"/>
              <a:gd name="connsiteX197" fmla="*/ 1765956 w 9905999"/>
              <a:gd name="connsiteY197" fmla="*/ 2082767 h 2265361"/>
              <a:gd name="connsiteX198" fmla="*/ 1680471 w 9905999"/>
              <a:gd name="connsiteY198" fmla="*/ 2001614 h 2265361"/>
              <a:gd name="connsiteX199" fmla="*/ 1599484 w 9905999"/>
              <a:gd name="connsiteY199" fmla="*/ 1988089 h 2265361"/>
              <a:gd name="connsiteX200" fmla="*/ 1462257 w 9905999"/>
              <a:gd name="connsiteY200" fmla="*/ 1852834 h 2265361"/>
              <a:gd name="connsiteX201" fmla="*/ 1507249 w 9905999"/>
              <a:gd name="connsiteY201" fmla="*/ 1751393 h 2265361"/>
              <a:gd name="connsiteX202" fmla="*/ 1642228 w 9905999"/>
              <a:gd name="connsiteY202" fmla="*/ 1701799 h 2265361"/>
              <a:gd name="connsiteX203" fmla="*/ 654642 w 9905999"/>
              <a:gd name="connsiteY203" fmla="*/ 1701799 h 2265361"/>
              <a:gd name="connsiteX204" fmla="*/ 791868 w 9905999"/>
              <a:gd name="connsiteY204" fmla="*/ 1755901 h 2265361"/>
              <a:gd name="connsiteX205" fmla="*/ 857108 w 9905999"/>
              <a:gd name="connsiteY205" fmla="*/ 1967800 h 2265361"/>
              <a:gd name="connsiteX206" fmla="*/ 791868 w 9905999"/>
              <a:gd name="connsiteY206" fmla="*/ 2177446 h 2265361"/>
              <a:gd name="connsiteX207" fmla="*/ 654642 w 9905999"/>
              <a:gd name="connsiteY207" fmla="*/ 2233802 h 2265361"/>
              <a:gd name="connsiteX208" fmla="*/ 515164 w 9905999"/>
              <a:gd name="connsiteY208" fmla="*/ 2177446 h 2265361"/>
              <a:gd name="connsiteX209" fmla="*/ 449925 w 9905999"/>
              <a:gd name="connsiteY209" fmla="*/ 1967800 h 2265361"/>
              <a:gd name="connsiteX210" fmla="*/ 515164 w 9905999"/>
              <a:gd name="connsiteY210" fmla="*/ 1755901 h 2265361"/>
              <a:gd name="connsiteX211" fmla="*/ 654642 w 9905999"/>
              <a:gd name="connsiteY211" fmla="*/ 1701799 h 2265361"/>
              <a:gd name="connsiteX212" fmla="*/ 202466 w 9905999"/>
              <a:gd name="connsiteY212" fmla="*/ 1701799 h 2265361"/>
              <a:gd name="connsiteX213" fmla="*/ 339693 w 9905999"/>
              <a:gd name="connsiteY213" fmla="*/ 1753647 h 2265361"/>
              <a:gd name="connsiteX214" fmla="*/ 389185 w 9905999"/>
              <a:gd name="connsiteY214" fmla="*/ 1870868 h 2265361"/>
              <a:gd name="connsiteX215" fmla="*/ 323946 w 9905999"/>
              <a:gd name="connsiteY215" fmla="*/ 1870868 h 2265361"/>
              <a:gd name="connsiteX216" fmla="*/ 294701 w 9905999"/>
              <a:gd name="connsiteY216" fmla="*/ 1798732 h 2265361"/>
              <a:gd name="connsiteX217" fmla="*/ 202466 w 9905999"/>
              <a:gd name="connsiteY217" fmla="*/ 1762664 h 2265361"/>
              <a:gd name="connsiteX218" fmla="*/ 110232 w 9905999"/>
              <a:gd name="connsiteY218" fmla="*/ 1800986 h 2265361"/>
              <a:gd name="connsiteX219" fmla="*/ 67489 w 9905999"/>
              <a:gd name="connsiteY219" fmla="*/ 1967800 h 2265361"/>
              <a:gd name="connsiteX220" fmla="*/ 110232 w 9905999"/>
              <a:gd name="connsiteY220" fmla="*/ 2132361 h 2265361"/>
              <a:gd name="connsiteX221" fmla="*/ 202466 w 9905999"/>
              <a:gd name="connsiteY221" fmla="*/ 2172937 h 2265361"/>
              <a:gd name="connsiteX222" fmla="*/ 296951 w 9905999"/>
              <a:gd name="connsiteY222" fmla="*/ 2132361 h 2265361"/>
              <a:gd name="connsiteX223" fmla="*/ 323946 w 9905999"/>
              <a:gd name="connsiteY223" fmla="*/ 2060225 h 2265361"/>
              <a:gd name="connsiteX224" fmla="*/ 391435 w 9905999"/>
              <a:gd name="connsiteY224" fmla="*/ 2060225 h 2265361"/>
              <a:gd name="connsiteX225" fmla="*/ 339693 w 9905999"/>
              <a:gd name="connsiteY225" fmla="*/ 2177446 h 2265361"/>
              <a:gd name="connsiteX226" fmla="*/ 202466 w 9905999"/>
              <a:gd name="connsiteY226" fmla="*/ 2233802 h 2265361"/>
              <a:gd name="connsiteX227" fmla="*/ 65239 w 9905999"/>
              <a:gd name="connsiteY227" fmla="*/ 2177446 h 2265361"/>
              <a:gd name="connsiteX228" fmla="*/ 0 w 9905999"/>
              <a:gd name="connsiteY228" fmla="*/ 1967800 h 2265361"/>
              <a:gd name="connsiteX229" fmla="*/ 65239 w 9905999"/>
              <a:gd name="connsiteY229" fmla="*/ 1755901 h 2265361"/>
              <a:gd name="connsiteX230" fmla="*/ 202466 w 9905999"/>
              <a:gd name="connsiteY230" fmla="*/ 1701799 h 2265361"/>
              <a:gd name="connsiteX231" fmla="*/ 2227389 w 9905999"/>
              <a:gd name="connsiteY231" fmla="*/ 214047 h 2265361"/>
              <a:gd name="connsiteX232" fmla="*/ 2227389 w 9905999"/>
              <a:gd name="connsiteY232" fmla="*/ 574548 h 2265361"/>
              <a:gd name="connsiteX233" fmla="*/ 2456649 w 9905999"/>
              <a:gd name="connsiteY233" fmla="*/ 574548 h 2265361"/>
              <a:gd name="connsiteX234" fmla="*/ 2654442 w 9905999"/>
              <a:gd name="connsiteY234" fmla="*/ 394298 h 2265361"/>
              <a:gd name="connsiteX235" fmla="*/ 2456649 w 9905999"/>
              <a:gd name="connsiteY235" fmla="*/ 214047 h 2265361"/>
              <a:gd name="connsiteX236" fmla="*/ 2227389 w 9905999"/>
              <a:gd name="connsiteY236" fmla="*/ 214047 h 2265361"/>
              <a:gd name="connsiteX237" fmla="*/ 8961436 w 9905999"/>
              <a:gd name="connsiteY237" fmla="*/ 0 h 2265361"/>
              <a:gd name="connsiteX238" fmla="*/ 9905999 w 9905999"/>
              <a:gd name="connsiteY238" fmla="*/ 0 h 2265361"/>
              <a:gd name="connsiteX239" fmla="*/ 9905999 w 9905999"/>
              <a:gd name="connsiteY239" fmla="*/ 225425 h 2265361"/>
              <a:gd name="connsiteX240" fmla="*/ 9555161 w 9905999"/>
              <a:gd name="connsiteY240" fmla="*/ 225425 h 2265361"/>
              <a:gd name="connsiteX241" fmla="*/ 9555161 w 9905999"/>
              <a:gd name="connsiteY241" fmla="*/ 1214437 h 2265361"/>
              <a:gd name="connsiteX242" fmla="*/ 9315449 w 9905999"/>
              <a:gd name="connsiteY242" fmla="*/ 1214437 h 2265361"/>
              <a:gd name="connsiteX243" fmla="*/ 9315449 w 9905999"/>
              <a:gd name="connsiteY243" fmla="*/ 225425 h 2265361"/>
              <a:gd name="connsiteX244" fmla="*/ 8961436 w 9905999"/>
              <a:gd name="connsiteY244" fmla="*/ 225425 h 2265361"/>
              <a:gd name="connsiteX245" fmla="*/ 7785099 w 9905999"/>
              <a:gd name="connsiteY245" fmla="*/ 0 h 2265361"/>
              <a:gd name="connsiteX246" fmla="*/ 8035924 w 9905999"/>
              <a:gd name="connsiteY246" fmla="*/ 0 h 2265361"/>
              <a:gd name="connsiteX247" fmla="*/ 8037512 w 9905999"/>
              <a:gd name="connsiteY247" fmla="*/ 3175 h 2265361"/>
              <a:gd name="connsiteX248" fmla="*/ 8523286 w 9905999"/>
              <a:gd name="connsiteY248" fmla="*/ 774700 h 2265361"/>
              <a:gd name="connsiteX249" fmla="*/ 8523286 w 9905999"/>
              <a:gd name="connsiteY249" fmla="*/ 0 h 2265361"/>
              <a:gd name="connsiteX250" fmla="*/ 8759824 w 9905999"/>
              <a:gd name="connsiteY250" fmla="*/ 0 h 2265361"/>
              <a:gd name="connsiteX251" fmla="*/ 8759824 w 9905999"/>
              <a:gd name="connsiteY251" fmla="*/ 1214437 h 2265361"/>
              <a:gd name="connsiteX252" fmla="*/ 8518524 w 9905999"/>
              <a:gd name="connsiteY252" fmla="*/ 1214437 h 2265361"/>
              <a:gd name="connsiteX253" fmla="*/ 8024812 w 9905999"/>
              <a:gd name="connsiteY253" fmla="*/ 425450 h 2265361"/>
              <a:gd name="connsiteX254" fmla="*/ 8024812 w 9905999"/>
              <a:gd name="connsiteY254" fmla="*/ 1214437 h 2265361"/>
              <a:gd name="connsiteX255" fmla="*/ 7785099 w 9905999"/>
              <a:gd name="connsiteY255" fmla="*/ 1214437 h 2265361"/>
              <a:gd name="connsiteX256" fmla="*/ 6665911 w 9905999"/>
              <a:gd name="connsiteY256" fmla="*/ 0 h 2265361"/>
              <a:gd name="connsiteX257" fmla="*/ 7535861 w 9905999"/>
              <a:gd name="connsiteY257" fmla="*/ 0 h 2265361"/>
              <a:gd name="connsiteX258" fmla="*/ 7535861 w 9905999"/>
              <a:gd name="connsiteY258" fmla="*/ 220663 h 2265361"/>
              <a:gd name="connsiteX259" fmla="*/ 6905624 w 9905999"/>
              <a:gd name="connsiteY259" fmla="*/ 220663 h 2265361"/>
              <a:gd name="connsiteX260" fmla="*/ 6905624 w 9905999"/>
              <a:gd name="connsiteY260" fmla="*/ 473075 h 2265361"/>
              <a:gd name="connsiteX261" fmla="*/ 7459661 w 9905999"/>
              <a:gd name="connsiteY261" fmla="*/ 473075 h 2265361"/>
              <a:gd name="connsiteX262" fmla="*/ 7459661 w 9905999"/>
              <a:gd name="connsiteY262" fmla="*/ 690562 h 2265361"/>
              <a:gd name="connsiteX263" fmla="*/ 6905624 w 9905999"/>
              <a:gd name="connsiteY263" fmla="*/ 690562 h 2265361"/>
              <a:gd name="connsiteX264" fmla="*/ 6905624 w 9905999"/>
              <a:gd name="connsiteY264" fmla="*/ 993775 h 2265361"/>
              <a:gd name="connsiteX265" fmla="*/ 7535861 w 9905999"/>
              <a:gd name="connsiteY265" fmla="*/ 993775 h 2265361"/>
              <a:gd name="connsiteX266" fmla="*/ 7535861 w 9905999"/>
              <a:gd name="connsiteY266" fmla="*/ 1214437 h 2265361"/>
              <a:gd name="connsiteX267" fmla="*/ 6665911 w 9905999"/>
              <a:gd name="connsiteY267" fmla="*/ 1214437 h 2265361"/>
              <a:gd name="connsiteX268" fmla="*/ 5221286 w 9905999"/>
              <a:gd name="connsiteY268" fmla="*/ 0 h 2265361"/>
              <a:gd name="connsiteX269" fmla="*/ 5534024 w 9905999"/>
              <a:gd name="connsiteY269" fmla="*/ 0 h 2265361"/>
              <a:gd name="connsiteX270" fmla="*/ 5835649 w 9905999"/>
              <a:gd name="connsiteY270" fmla="*/ 823912 h 2265361"/>
              <a:gd name="connsiteX271" fmla="*/ 6142037 w 9905999"/>
              <a:gd name="connsiteY271" fmla="*/ 0 h 2265361"/>
              <a:gd name="connsiteX272" fmla="*/ 6438899 w 9905999"/>
              <a:gd name="connsiteY272" fmla="*/ 0 h 2265361"/>
              <a:gd name="connsiteX273" fmla="*/ 6438899 w 9905999"/>
              <a:gd name="connsiteY273" fmla="*/ 1214437 h 2265361"/>
              <a:gd name="connsiteX274" fmla="*/ 6203949 w 9905999"/>
              <a:gd name="connsiteY274" fmla="*/ 1214437 h 2265361"/>
              <a:gd name="connsiteX275" fmla="*/ 6203949 w 9905999"/>
              <a:gd name="connsiteY275" fmla="*/ 419100 h 2265361"/>
              <a:gd name="connsiteX276" fmla="*/ 5916612 w 9905999"/>
              <a:gd name="connsiteY276" fmla="*/ 1196975 h 2265361"/>
              <a:gd name="connsiteX277" fmla="*/ 5740399 w 9905999"/>
              <a:gd name="connsiteY277" fmla="*/ 1196975 h 2265361"/>
              <a:gd name="connsiteX278" fmla="*/ 5454649 w 9905999"/>
              <a:gd name="connsiteY278" fmla="*/ 409575 h 2265361"/>
              <a:gd name="connsiteX279" fmla="*/ 5454649 w 9905999"/>
              <a:gd name="connsiteY279" fmla="*/ 1214437 h 2265361"/>
              <a:gd name="connsiteX280" fmla="*/ 5221286 w 9905999"/>
              <a:gd name="connsiteY280" fmla="*/ 1214437 h 2265361"/>
              <a:gd name="connsiteX281" fmla="*/ 4098924 w 9905999"/>
              <a:gd name="connsiteY281" fmla="*/ 0 h 2265361"/>
              <a:gd name="connsiteX282" fmla="*/ 4968874 w 9905999"/>
              <a:gd name="connsiteY282" fmla="*/ 0 h 2265361"/>
              <a:gd name="connsiteX283" fmla="*/ 4968874 w 9905999"/>
              <a:gd name="connsiteY283" fmla="*/ 220663 h 2265361"/>
              <a:gd name="connsiteX284" fmla="*/ 4340224 w 9905999"/>
              <a:gd name="connsiteY284" fmla="*/ 220663 h 2265361"/>
              <a:gd name="connsiteX285" fmla="*/ 4340224 w 9905999"/>
              <a:gd name="connsiteY285" fmla="*/ 473075 h 2265361"/>
              <a:gd name="connsiteX286" fmla="*/ 4895849 w 9905999"/>
              <a:gd name="connsiteY286" fmla="*/ 473075 h 2265361"/>
              <a:gd name="connsiteX287" fmla="*/ 4895849 w 9905999"/>
              <a:gd name="connsiteY287" fmla="*/ 690562 h 2265361"/>
              <a:gd name="connsiteX288" fmla="*/ 4340224 w 9905999"/>
              <a:gd name="connsiteY288" fmla="*/ 690562 h 2265361"/>
              <a:gd name="connsiteX289" fmla="*/ 4340224 w 9905999"/>
              <a:gd name="connsiteY289" fmla="*/ 993775 h 2265361"/>
              <a:gd name="connsiteX290" fmla="*/ 4968874 w 9905999"/>
              <a:gd name="connsiteY290" fmla="*/ 993775 h 2265361"/>
              <a:gd name="connsiteX291" fmla="*/ 4968874 w 9905999"/>
              <a:gd name="connsiteY291" fmla="*/ 1214437 h 2265361"/>
              <a:gd name="connsiteX292" fmla="*/ 4098924 w 9905999"/>
              <a:gd name="connsiteY292" fmla="*/ 1214437 h 2265361"/>
              <a:gd name="connsiteX293" fmla="*/ 3079749 w 9905999"/>
              <a:gd name="connsiteY293" fmla="*/ 0 h 2265361"/>
              <a:gd name="connsiteX294" fmla="*/ 3321049 w 9905999"/>
              <a:gd name="connsiteY294" fmla="*/ 0 h 2265361"/>
              <a:gd name="connsiteX295" fmla="*/ 3321049 w 9905999"/>
              <a:gd name="connsiteY295" fmla="*/ 984250 h 2265361"/>
              <a:gd name="connsiteX296" fmla="*/ 3871912 w 9905999"/>
              <a:gd name="connsiteY296" fmla="*/ 984250 h 2265361"/>
              <a:gd name="connsiteX297" fmla="*/ 3871912 w 9905999"/>
              <a:gd name="connsiteY297" fmla="*/ 1214437 h 2265361"/>
              <a:gd name="connsiteX298" fmla="*/ 3079749 w 9905999"/>
              <a:gd name="connsiteY298" fmla="*/ 1214437 h 2265361"/>
              <a:gd name="connsiteX299" fmla="*/ 1989138 w 9905999"/>
              <a:gd name="connsiteY299" fmla="*/ 0 h 2265361"/>
              <a:gd name="connsiteX300" fmla="*/ 2465639 w 9905999"/>
              <a:gd name="connsiteY300" fmla="*/ 0 h 2265361"/>
              <a:gd name="connsiteX301" fmla="*/ 2897188 w 9905999"/>
              <a:gd name="connsiteY301" fmla="*/ 392045 h 2265361"/>
              <a:gd name="connsiteX302" fmla="*/ 2465639 w 9905999"/>
              <a:gd name="connsiteY302" fmla="*/ 786342 h 2265361"/>
              <a:gd name="connsiteX303" fmla="*/ 2227389 w 9905999"/>
              <a:gd name="connsiteY303" fmla="*/ 786342 h 2265361"/>
              <a:gd name="connsiteX304" fmla="*/ 2227389 w 9905999"/>
              <a:gd name="connsiteY304" fmla="*/ 1214437 h 2265361"/>
              <a:gd name="connsiteX305" fmla="*/ 1989138 w 9905999"/>
              <a:gd name="connsiteY305" fmla="*/ 1214437 h 2265361"/>
              <a:gd name="connsiteX306" fmla="*/ 1989138 w 9905999"/>
              <a:gd name="connsiteY306" fmla="*/ 0 h 2265361"/>
              <a:gd name="connsiteX307" fmla="*/ 520699 w 9905999"/>
              <a:gd name="connsiteY307" fmla="*/ 0 h 2265361"/>
              <a:gd name="connsiteX308" fmla="*/ 833436 w 9905999"/>
              <a:gd name="connsiteY308" fmla="*/ 0 h 2265361"/>
              <a:gd name="connsiteX309" fmla="*/ 1135061 w 9905999"/>
              <a:gd name="connsiteY309" fmla="*/ 823912 h 2265361"/>
              <a:gd name="connsiteX310" fmla="*/ 1439862 w 9905999"/>
              <a:gd name="connsiteY310" fmla="*/ 0 h 2265361"/>
              <a:gd name="connsiteX311" fmla="*/ 1736724 w 9905999"/>
              <a:gd name="connsiteY311" fmla="*/ 0 h 2265361"/>
              <a:gd name="connsiteX312" fmla="*/ 1736724 w 9905999"/>
              <a:gd name="connsiteY312" fmla="*/ 1214437 h 2265361"/>
              <a:gd name="connsiteX313" fmla="*/ 1503362 w 9905999"/>
              <a:gd name="connsiteY313" fmla="*/ 1214437 h 2265361"/>
              <a:gd name="connsiteX314" fmla="*/ 1503362 w 9905999"/>
              <a:gd name="connsiteY314" fmla="*/ 419100 h 2265361"/>
              <a:gd name="connsiteX315" fmla="*/ 1216024 w 9905999"/>
              <a:gd name="connsiteY315" fmla="*/ 1196975 h 2265361"/>
              <a:gd name="connsiteX316" fmla="*/ 1039812 w 9905999"/>
              <a:gd name="connsiteY316" fmla="*/ 1196975 h 2265361"/>
              <a:gd name="connsiteX317" fmla="*/ 754062 w 9905999"/>
              <a:gd name="connsiteY317" fmla="*/ 409575 h 2265361"/>
              <a:gd name="connsiteX318" fmla="*/ 754062 w 9905999"/>
              <a:gd name="connsiteY318" fmla="*/ 1214437 h 2265361"/>
              <a:gd name="connsiteX319" fmla="*/ 520699 w 9905999"/>
              <a:gd name="connsiteY319" fmla="*/ 1214437 h 2265361"/>
              <a:gd name="connsiteX320" fmla="*/ 25400 w 9905999"/>
              <a:gd name="connsiteY320" fmla="*/ 0 h 2265361"/>
              <a:gd name="connsiteX321" fmla="*/ 268288 w 9905999"/>
              <a:gd name="connsiteY321" fmla="*/ 0 h 2265361"/>
              <a:gd name="connsiteX322" fmla="*/ 268288 w 9905999"/>
              <a:gd name="connsiteY322" fmla="*/ 1214437 h 2265361"/>
              <a:gd name="connsiteX323" fmla="*/ 25400 w 9905999"/>
              <a:gd name="connsiteY323" fmla="*/ 1214437 h 226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</a:cxnLst>
            <a:rect l="l" t="t" r="r" b="b"/>
            <a:pathLst>
              <a:path w="9905999" h="2265361">
                <a:moveTo>
                  <a:pt x="6778122" y="2222531"/>
                </a:moveTo>
                <a:cubicBezTo>
                  <a:pt x="6778122" y="2222531"/>
                  <a:pt x="6778122" y="2222531"/>
                  <a:pt x="7135812" y="2222531"/>
                </a:cubicBezTo>
                <a:lnTo>
                  <a:pt x="7135812" y="2265361"/>
                </a:lnTo>
                <a:cubicBezTo>
                  <a:pt x="7135812" y="2265361"/>
                  <a:pt x="7135812" y="2265361"/>
                  <a:pt x="6778122" y="2265361"/>
                </a:cubicBezTo>
                <a:cubicBezTo>
                  <a:pt x="6778122" y="2265361"/>
                  <a:pt x="6778122" y="2265361"/>
                  <a:pt x="6778122" y="2222531"/>
                </a:cubicBezTo>
                <a:close/>
                <a:moveTo>
                  <a:pt x="6449676" y="1769427"/>
                </a:moveTo>
                <a:cubicBezTo>
                  <a:pt x="6449676" y="1769427"/>
                  <a:pt x="6449676" y="1769427"/>
                  <a:pt x="6449676" y="1965546"/>
                </a:cubicBezTo>
                <a:cubicBezTo>
                  <a:pt x="6449676" y="1965546"/>
                  <a:pt x="6449676" y="1965546"/>
                  <a:pt x="6575655" y="1965546"/>
                </a:cubicBezTo>
                <a:cubicBezTo>
                  <a:pt x="6643144" y="1965546"/>
                  <a:pt x="6679138" y="1933987"/>
                  <a:pt x="6679138" y="1864105"/>
                </a:cubicBezTo>
                <a:cubicBezTo>
                  <a:pt x="6679138" y="1800986"/>
                  <a:pt x="6638645" y="1769427"/>
                  <a:pt x="6575655" y="1769427"/>
                </a:cubicBezTo>
                <a:cubicBezTo>
                  <a:pt x="6575655" y="1769427"/>
                  <a:pt x="6575655" y="1769427"/>
                  <a:pt x="6449676" y="1769427"/>
                </a:cubicBezTo>
                <a:close/>
                <a:moveTo>
                  <a:pt x="5021164" y="1769427"/>
                </a:moveTo>
                <a:cubicBezTo>
                  <a:pt x="5021164" y="1769427"/>
                  <a:pt x="5021164" y="1769427"/>
                  <a:pt x="5021164" y="1949767"/>
                </a:cubicBezTo>
                <a:cubicBezTo>
                  <a:pt x="5021164" y="1949767"/>
                  <a:pt x="5021164" y="1949767"/>
                  <a:pt x="5158391" y="1949767"/>
                </a:cubicBezTo>
                <a:cubicBezTo>
                  <a:pt x="5219131" y="1949767"/>
                  <a:pt x="5261874" y="1924970"/>
                  <a:pt x="5261874" y="1859597"/>
                </a:cubicBezTo>
                <a:cubicBezTo>
                  <a:pt x="5261874" y="1794223"/>
                  <a:pt x="5219131" y="1769427"/>
                  <a:pt x="5158391" y="1769427"/>
                </a:cubicBezTo>
                <a:cubicBezTo>
                  <a:pt x="5158391" y="1769427"/>
                  <a:pt x="5158391" y="1769427"/>
                  <a:pt x="5021164" y="1769427"/>
                </a:cubicBezTo>
                <a:close/>
                <a:moveTo>
                  <a:pt x="5597068" y="1762664"/>
                </a:moveTo>
                <a:cubicBezTo>
                  <a:pt x="5563324" y="1762664"/>
                  <a:pt x="5529579" y="1776189"/>
                  <a:pt x="5504834" y="1800986"/>
                </a:cubicBezTo>
                <a:cubicBezTo>
                  <a:pt x="5462091" y="1843817"/>
                  <a:pt x="5459841" y="1913699"/>
                  <a:pt x="5459841" y="1967800"/>
                </a:cubicBezTo>
                <a:cubicBezTo>
                  <a:pt x="5459841" y="2019648"/>
                  <a:pt x="5462091" y="2089530"/>
                  <a:pt x="5504834" y="2132361"/>
                </a:cubicBezTo>
                <a:cubicBezTo>
                  <a:pt x="5529579" y="2159412"/>
                  <a:pt x="5563324" y="2170683"/>
                  <a:pt x="5597068" y="2170683"/>
                </a:cubicBezTo>
                <a:cubicBezTo>
                  <a:pt x="5633062" y="2170683"/>
                  <a:pt x="5666807" y="2159412"/>
                  <a:pt x="5691552" y="2132361"/>
                </a:cubicBezTo>
                <a:cubicBezTo>
                  <a:pt x="5732046" y="2089530"/>
                  <a:pt x="5734295" y="2019648"/>
                  <a:pt x="5734295" y="1967800"/>
                </a:cubicBezTo>
                <a:cubicBezTo>
                  <a:pt x="5734295" y="1913699"/>
                  <a:pt x="5732046" y="1843817"/>
                  <a:pt x="5691552" y="1800986"/>
                </a:cubicBezTo>
                <a:cubicBezTo>
                  <a:pt x="5666807" y="1776189"/>
                  <a:pt x="5633062" y="1762664"/>
                  <a:pt x="5597068" y="1762664"/>
                </a:cubicBezTo>
                <a:close/>
                <a:moveTo>
                  <a:pt x="654642" y="1762664"/>
                </a:moveTo>
                <a:cubicBezTo>
                  <a:pt x="618647" y="1762664"/>
                  <a:pt x="584903" y="1776189"/>
                  <a:pt x="560157" y="1800986"/>
                </a:cubicBezTo>
                <a:cubicBezTo>
                  <a:pt x="519664" y="1843817"/>
                  <a:pt x="517414" y="1913699"/>
                  <a:pt x="517414" y="1967800"/>
                </a:cubicBezTo>
                <a:cubicBezTo>
                  <a:pt x="517414" y="2019648"/>
                  <a:pt x="519664" y="2089530"/>
                  <a:pt x="560157" y="2132361"/>
                </a:cubicBezTo>
                <a:cubicBezTo>
                  <a:pt x="584903" y="2159412"/>
                  <a:pt x="618647" y="2170683"/>
                  <a:pt x="654642" y="2170683"/>
                </a:cubicBezTo>
                <a:cubicBezTo>
                  <a:pt x="688386" y="2170683"/>
                  <a:pt x="722130" y="2159412"/>
                  <a:pt x="746876" y="2132361"/>
                </a:cubicBezTo>
                <a:cubicBezTo>
                  <a:pt x="789619" y="2089530"/>
                  <a:pt x="791868" y="2019648"/>
                  <a:pt x="791868" y="1967800"/>
                </a:cubicBezTo>
                <a:cubicBezTo>
                  <a:pt x="791868" y="1913699"/>
                  <a:pt x="789619" y="1843817"/>
                  <a:pt x="746876" y="1800986"/>
                </a:cubicBezTo>
                <a:cubicBezTo>
                  <a:pt x="722130" y="1776189"/>
                  <a:pt x="688386" y="1762664"/>
                  <a:pt x="654642" y="1762664"/>
                </a:cubicBezTo>
                <a:close/>
                <a:moveTo>
                  <a:pt x="6386687" y="1710816"/>
                </a:moveTo>
                <a:cubicBezTo>
                  <a:pt x="6386687" y="1710816"/>
                  <a:pt x="6386687" y="1710816"/>
                  <a:pt x="6575655" y="1710816"/>
                </a:cubicBezTo>
                <a:cubicBezTo>
                  <a:pt x="6636395" y="1710816"/>
                  <a:pt x="6679138" y="1726596"/>
                  <a:pt x="6706134" y="1755901"/>
                </a:cubicBezTo>
                <a:cubicBezTo>
                  <a:pt x="6730880" y="1782952"/>
                  <a:pt x="6744377" y="1821274"/>
                  <a:pt x="6744377" y="1864105"/>
                </a:cubicBezTo>
                <a:cubicBezTo>
                  <a:pt x="6744377" y="1915953"/>
                  <a:pt x="6730880" y="1954275"/>
                  <a:pt x="6701634" y="1981326"/>
                </a:cubicBezTo>
                <a:cubicBezTo>
                  <a:pt x="6674639" y="2008377"/>
                  <a:pt x="6634146" y="2024157"/>
                  <a:pt x="6577905" y="2024157"/>
                </a:cubicBezTo>
                <a:cubicBezTo>
                  <a:pt x="6577905" y="2024157"/>
                  <a:pt x="6577905" y="2024157"/>
                  <a:pt x="6449676" y="2024157"/>
                </a:cubicBezTo>
                <a:cubicBezTo>
                  <a:pt x="6449676" y="2024157"/>
                  <a:pt x="6449676" y="2024157"/>
                  <a:pt x="6449676" y="2222531"/>
                </a:cubicBezTo>
                <a:cubicBezTo>
                  <a:pt x="6449676" y="2222531"/>
                  <a:pt x="6449676" y="2222531"/>
                  <a:pt x="6386687" y="2222531"/>
                </a:cubicBezTo>
                <a:cubicBezTo>
                  <a:pt x="6386687" y="2222531"/>
                  <a:pt x="6386687" y="2222531"/>
                  <a:pt x="6386687" y="1710816"/>
                </a:cubicBezTo>
                <a:close/>
                <a:moveTo>
                  <a:pt x="5889520" y="1710816"/>
                </a:moveTo>
                <a:cubicBezTo>
                  <a:pt x="5889520" y="1710816"/>
                  <a:pt x="5889520" y="1710816"/>
                  <a:pt x="5954759" y="1710816"/>
                </a:cubicBezTo>
                <a:cubicBezTo>
                  <a:pt x="5954759" y="1710816"/>
                  <a:pt x="5954759" y="1710816"/>
                  <a:pt x="5954759" y="2035428"/>
                </a:cubicBezTo>
                <a:cubicBezTo>
                  <a:pt x="5954759" y="2118835"/>
                  <a:pt x="5988503" y="2172937"/>
                  <a:pt x="6076239" y="2172937"/>
                </a:cubicBezTo>
                <a:cubicBezTo>
                  <a:pt x="6166224" y="2172937"/>
                  <a:pt x="6199968" y="2118835"/>
                  <a:pt x="6199968" y="2035428"/>
                </a:cubicBezTo>
                <a:cubicBezTo>
                  <a:pt x="6199968" y="2035428"/>
                  <a:pt x="6199968" y="2035428"/>
                  <a:pt x="6199968" y="1710816"/>
                </a:cubicBezTo>
                <a:cubicBezTo>
                  <a:pt x="6199968" y="1710816"/>
                  <a:pt x="6199968" y="1710816"/>
                  <a:pt x="6262957" y="1710816"/>
                </a:cubicBezTo>
                <a:cubicBezTo>
                  <a:pt x="6262957" y="1710816"/>
                  <a:pt x="6262957" y="1710816"/>
                  <a:pt x="6262957" y="2035428"/>
                </a:cubicBezTo>
                <a:cubicBezTo>
                  <a:pt x="6262957" y="2163920"/>
                  <a:pt x="6190969" y="2231547"/>
                  <a:pt x="6076239" y="2231547"/>
                </a:cubicBezTo>
                <a:cubicBezTo>
                  <a:pt x="5961508" y="2231547"/>
                  <a:pt x="5889520" y="2163920"/>
                  <a:pt x="5889520" y="2035428"/>
                </a:cubicBezTo>
                <a:cubicBezTo>
                  <a:pt x="5889520" y="2035428"/>
                  <a:pt x="5889520" y="2035428"/>
                  <a:pt x="5889520" y="1710816"/>
                </a:cubicBezTo>
                <a:close/>
                <a:moveTo>
                  <a:pt x="4958174" y="1710816"/>
                </a:moveTo>
                <a:cubicBezTo>
                  <a:pt x="4958174" y="1710816"/>
                  <a:pt x="4958174" y="1710816"/>
                  <a:pt x="5158391" y="1710816"/>
                </a:cubicBezTo>
                <a:cubicBezTo>
                  <a:pt x="5219131" y="1710816"/>
                  <a:pt x="5259624" y="1726596"/>
                  <a:pt x="5288869" y="1755901"/>
                </a:cubicBezTo>
                <a:cubicBezTo>
                  <a:pt x="5313615" y="1782952"/>
                  <a:pt x="5329363" y="1814512"/>
                  <a:pt x="5329363" y="1859597"/>
                </a:cubicBezTo>
                <a:cubicBezTo>
                  <a:pt x="5329363" y="1904682"/>
                  <a:pt x="5313615" y="1936241"/>
                  <a:pt x="5288869" y="1961038"/>
                </a:cubicBezTo>
                <a:cubicBezTo>
                  <a:pt x="5275372" y="1976817"/>
                  <a:pt x="5252875" y="1990343"/>
                  <a:pt x="5228130" y="1997106"/>
                </a:cubicBezTo>
                <a:cubicBezTo>
                  <a:pt x="5228130" y="1997106"/>
                  <a:pt x="5228130" y="1997106"/>
                  <a:pt x="5331612" y="2222531"/>
                </a:cubicBezTo>
                <a:lnTo>
                  <a:pt x="5259624" y="2222531"/>
                </a:lnTo>
                <a:cubicBezTo>
                  <a:pt x="5259624" y="2222531"/>
                  <a:pt x="5259624" y="2222531"/>
                  <a:pt x="5162890" y="2010631"/>
                </a:cubicBezTo>
                <a:cubicBezTo>
                  <a:pt x="5162890" y="2010631"/>
                  <a:pt x="5162890" y="2010631"/>
                  <a:pt x="5021164" y="2010631"/>
                </a:cubicBezTo>
                <a:cubicBezTo>
                  <a:pt x="5021164" y="2010631"/>
                  <a:pt x="5021164" y="2010631"/>
                  <a:pt x="5021164" y="2222531"/>
                </a:cubicBezTo>
                <a:cubicBezTo>
                  <a:pt x="5021164" y="2222531"/>
                  <a:pt x="5021164" y="2222531"/>
                  <a:pt x="4958174" y="2222531"/>
                </a:cubicBezTo>
                <a:cubicBezTo>
                  <a:pt x="4958174" y="2222531"/>
                  <a:pt x="4958174" y="2222531"/>
                  <a:pt x="4958174" y="1710816"/>
                </a:cubicBezTo>
                <a:close/>
                <a:moveTo>
                  <a:pt x="3309199" y="1710816"/>
                </a:moveTo>
                <a:cubicBezTo>
                  <a:pt x="3309199" y="1710816"/>
                  <a:pt x="3309199" y="1710816"/>
                  <a:pt x="3381187" y="1710816"/>
                </a:cubicBezTo>
                <a:cubicBezTo>
                  <a:pt x="3381187" y="1710816"/>
                  <a:pt x="3381187" y="1710816"/>
                  <a:pt x="3633145" y="2123344"/>
                </a:cubicBezTo>
                <a:cubicBezTo>
                  <a:pt x="3633145" y="2123344"/>
                  <a:pt x="3633145" y="2123344"/>
                  <a:pt x="3633145" y="1710816"/>
                </a:cubicBezTo>
                <a:cubicBezTo>
                  <a:pt x="3633145" y="1710816"/>
                  <a:pt x="3633145" y="1710816"/>
                  <a:pt x="3693885" y="1710816"/>
                </a:cubicBezTo>
                <a:cubicBezTo>
                  <a:pt x="3693885" y="1710816"/>
                  <a:pt x="3693885" y="1710816"/>
                  <a:pt x="3693885" y="2222531"/>
                </a:cubicBezTo>
                <a:lnTo>
                  <a:pt x="3621897" y="2222531"/>
                </a:lnTo>
                <a:cubicBezTo>
                  <a:pt x="3621897" y="2222531"/>
                  <a:pt x="3621897" y="2222531"/>
                  <a:pt x="3372188" y="1810003"/>
                </a:cubicBezTo>
                <a:cubicBezTo>
                  <a:pt x="3372188" y="1810003"/>
                  <a:pt x="3372188" y="1810003"/>
                  <a:pt x="3372188" y="2222531"/>
                </a:cubicBezTo>
                <a:cubicBezTo>
                  <a:pt x="3372188" y="2222531"/>
                  <a:pt x="3372188" y="2222531"/>
                  <a:pt x="3309199" y="2222531"/>
                </a:cubicBezTo>
                <a:cubicBezTo>
                  <a:pt x="3309199" y="2222531"/>
                  <a:pt x="3309199" y="2222531"/>
                  <a:pt x="3309199" y="1710816"/>
                </a:cubicBezTo>
                <a:close/>
                <a:moveTo>
                  <a:pt x="3106732" y="1710816"/>
                </a:moveTo>
                <a:cubicBezTo>
                  <a:pt x="3106732" y="1710816"/>
                  <a:pt x="3106732" y="1710816"/>
                  <a:pt x="3171971" y="1710816"/>
                </a:cubicBezTo>
                <a:lnTo>
                  <a:pt x="3171971" y="2222531"/>
                </a:lnTo>
                <a:cubicBezTo>
                  <a:pt x="3171971" y="2222531"/>
                  <a:pt x="3171971" y="2222531"/>
                  <a:pt x="3106732" y="2222531"/>
                </a:cubicBezTo>
                <a:cubicBezTo>
                  <a:pt x="3106732" y="2222531"/>
                  <a:pt x="3106732" y="2222531"/>
                  <a:pt x="3106732" y="1710816"/>
                </a:cubicBezTo>
                <a:close/>
                <a:moveTo>
                  <a:pt x="2663557" y="1710816"/>
                </a:moveTo>
                <a:cubicBezTo>
                  <a:pt x="2663557" y="1710816"/>
                  <a:pt x="2663557" y="1710816"/>
                  <a:pt x="3032495" y="1710816"/>
                </a:cubicBezTo>
                <a:cubicBezTo>
                  <a:pt x="3032495" y="1710816"/>
                  <a:pt x="3032495" y="1710816"/>
                  <a:pt x="3032495" y="1769427"/>
                </a:cubicBezTo>
                <a:lnTo>
                  <a:pt x="2879521" y="1769427"/>
                </a:lnTo>
                <a:cubicBezTo>
                  <a:pt x="2879521" y="1769427"/>
                  <a:pt x="2879521" y="1769427"/>
                  <a:pt x="2879521" y="2222531"/>
                </a:cubicBezTo>
                <a:cubicBezTo>
                  <a:pt x="2879521" y="2222531"/>
                  <a:pt x="2879521" y="2222531"/>
                  <a:pt x="2814282" y="2222531"/>
                </a:cubicBezTo>
                <a:cubicBezTo>
                  <a:pt x="2814282" y="2222531"/>
                  <a:pt x="2814282" y="2222531"/>
                  <a:pt x="2814282" y="1769427"/>
                </a:cubicBezTo>
                <a:cubicBezTo>
                  <a:pt x="2814282" y="1769427"/>
                  <a:pt x="2814282" y="1769427"/>
                  <a:pt x="2663557" y="1769427"/>
                </a:cubicBezTo>
                <a:cubicBezTo>
                  <a:pt x="2663557" y="1769427"/>
                  <a:pt x="2663557" y="1769427"/>
                  <a:pt x="2663557" y="1710816"/>
                </a:cubicBezTo>
                <a:close/>
                <a:moveTo>
                  <a:pt x="2416099" y="1710816"/>
                </a:moveTo>
                <a:cubicBezTo>
                  <a:pt x="2416099" y="1710816"/>
                  <a:pt x="2416099" y="1710816"/>
                  <a:pt x="2481338" y="1710816"/>
                </a:cubicBezTo>
                <a:cubicBezTo>
                  <a:pt x="2481338" y="1710816"/>
                  <a:pt x="2481338" y="1710816"/>
                  <a:pt x="2481338" y="2163920"/>
                </a:cubicBezTo>
                <a:cubicBezTo>
                  <a:pt x="2481338" y="2163920"/>
                  <a:pt x="2481338" y="2163920"/>
                  <a:pt x="2726547" y="2163920"/>
                </a:cubicBezTo>
                <a:cubicBezTo>
                  <a:pt x="2726547" y="2163920"/>
                  <a:pt x="2726547" y="2163920"/>
                  <a:pt x="2726547" y="2222531"/>
                </a:cubicBezTo>
                <a:lnTo>
                  <a:pt x="2416099" y="2222531"/>
                </a:lnTo>
                <a:cubicBezTo>
                  <a:pt x="2416099" y="2222531"/>
                  <a:pt x="2416099" y="2222531"/>
                  <a:pt x="2416099" y="1710816"/>
                </a:cubicBezTo>
                <a:close/>
                <a:moveTo>
                  <a:pt x="1918931" y="1710816"/>
                </a:moveTo>
                <a:cubicBezTo>
                  <a:pt x="1918931" y="1710816"/>
                  <a:pt x="1918931" y="1710816"/>
                  <a:pt x="1984171" y="1710816"/>
                </a:cubicBezTo>
                <a:cubicBezTo>
                  <a:pt x="1984171" y="1710816"/>
                  <a:pt x="1984171" y="1710816"/>
                  <a:pt x="1984171" y="2035428"/>
                </a:cubicBezTo>
                <a:cubicBezTo>
                  <a:pt x="1984171" y="2118835"/>
                  <a:pt x="2017916" y="2172937"/>
                  <a:pt x="2105651" y="2172937"/>
                </a:cubicBezTo>
                <a:cubicBezTo>
                  <a:pt x="2195636" y="2172937"/>
                  <a:pt x="2229380" y="2118835"/>
                  <a:pt x="2229380" y="2035428"/>
                </a:cubicBezTo>
                <a:cubicBezTo>
                  <a:pt x="2229380" y="2035428"/>
                  <a:pt x="2229380" y="2035428"/>
                  <a:pt x="2229380" y="1710816"/>
                </a:cubicBezTo>
                <a:cubicBezTo>
                  <a:pt x="2229380" y="1710816"/>
                  <a:pt x="2229380" y="1710816"/>
                  <a:pt x="2292369" y="1710816"/>
                </a:cubicBezTo>
                <a:cubicBezTo>
                  <a:pt x="2292369" y="1710816"/>
                  <a:pt x="2292369" y="1710816"/>
                  <a:pt x="2292369" y="2035428"/>
                </a:cubicBezTo>
                <a:cubicBezTo>
                  <a:pt x="2292369" y="2163920"/>
                  <a:pt x="2220382" y="2231547"/>
                  <a:pt x="2105651" y="2231547"/>
                </a:cubicBezTo>
                <a:cubicBezTo>
                  <a:pt x="1990920" y="2231547"/>
                  <a:pt x="1918931" y="2163920"/>
                  <a:pt x="1918931" y="2035428"/>
                </a:cubicBezTo>
                <a:cubicBezTo>
                  <a:pt x="1918931" y="2035428"/>
                  <a:pt x="1918931" y="2035428"/>
                  <a:pt x="1918931" y="1710816"/>
                </a:cubicBezTo>
                <a:close/>
                <a:moveTo>
                  <a:pt x="960591" y="1710816"/>
                </a:moveTo>
                <a:cubicBezTo>
                  <a:pt x="960591" y="1710816"/>
                  <a:pt x="960591" y="1710816"/>
                  <a:pt x="1032578" y="1710816"/>
                </a:cubicBezTo>
                <a:cubicBezTo>
                  <a:pt x="1032578" y="1710816"/>
                  <a:pt x="1032578" y="1710816"/>
                  <a:pt x="1284537" y="2123344"/>
                </a:cubicBezTo>
                <a:cubicBezTo>
                  <a:pt x="1284537" y="2123344"/>
                  <a:pt x="1284537" y="2123344"/>
                  <a:pt x="1284537" y="1710816"/>
                </a:cubicBezTo>
                <a:cubicBezTo>
                  <a:pt x="1284537" y="1710816"/>
                  <a:pt x="1284537" y="1710816"/>
                  <a:pt x="1345276" y="1710816"/>
                </a:cubicBezTo>
                <a:cubicBezTo>
                  <a:pt x="1345276" y="1710816"/>
                  <a:pt x="1345276" y="1710816"/>
                  <a:pt x="1345276" y="2222531"/>
                </a:cubicBezTo>
                <a:lnTo>
                  <a:pt x="1273289" y="2222531"/>
                </a:lnTo>
                <a:cubicBezTo>
                  <a:pt x="1273289" y="2222531"/>
                  <a:pt x="1273289" y="2222531"/>
                  <a:pt x="1023580" y="1810003"/>
                </a:cubicBezTo>
                <a:cubicBezTo>
                  <a:pt x="1023580" y="1810003"/>
                  <a:pt x="1023580" y="1810003"/>
                  <a:pt x="1023580" y="2222531"/>
                </a:cubicBezTo>
                <a:cubicBezTo>
                  <a:pt x="1023580" y="2222531"/>
                  <a:pt x="1023580" y="2222531"/>
                  <a:pt x="960591" y="2222531"/>
                </a:cubicBezTo>
                <a:cubicBezTo>
                  <a:pt x="960591" y="2222531"/>
                  <a:pt x="960591" y="2222531"/>
                  <a:pt x="960591" y="1710816"/>
                </a:cubicBezTo>
                <a:close/>
                <a:moveTo>
                  <a:pt x="5597068" y="1701799"/>
                </a:moveTo>
                <a:cubicBezTo>
                  <a:pt x="5648810" y="1701799"/>
                  <a:pt x="5698301" y="1719833"/>
                  <a:pt x="5736545" y="1755901"/>
                </a:cubicBezTo>
                <a:cubicBezTo>
                  <a:pt x="5790536" y="1810003"/>
                  <a:pt x="5801784" y="1884393"/>
                  <a:pt x="5801784" y="1967800"/>
                </a:cubicBezTo>
                <a:cubicBezTo>
                  <a:pt x="5801784" y="2048953"/>
                  <a:pt x="5790536" y="2123344"/>
                  <a:pt x="5736545" y="2177446"/>
                </a:cubicBezTo>
                <a:cubicBezTo>
                  <a:pt x="5698301" y="2213514"/>
                  <a:pt x="5648810" y="2233802"/>
                  <a:pt x="5597068" y="2233802"/>
                </a:cubicBezTo>
                <a:cubicBezTo>
                  <a:pt x="5547576" y="2233802"/>
                  <a:pt x="5495835" y="2213514"/>
                  <a:pt x="5459841" y="2177446"/>
                </a:cubicBezTo>
                <a:cubicBezTo>
                  <a:pt x="5403600" y="2123344"/>
                  <a:pt x="5394602" y="2048953"/>
                  <a:pt x="5394602" y="1967800"/>
                </a:cubicBezTo>
                <a:cubicBezTo>
                  <a:pt x="5394602" y="1884393"/>
                  <a:pt x="5403600" y="1810003"/>
                  <a:pt x="5459841" y="1755901"/>
                </a:cubicBezTo>
                <a:cubicBezTo>
                  <a:pt x="5495835" y="1719833"/>
                  <a:pt x="5547576" y="1701799"/>
                  <a:pt x="5597068" y="1701799"/>
                </a:cubicBezTo>
                <a:close/>
                <a:moveTo>
                  <a:pt x="4645477" y="1701799"/>
                </a:moveTo>
                <a:cubicBezTo>
                  <a:pt x="4701717" y="1701799"/>
                  <a:pt x="4755708" y="1722087"/>
                  <a:pt x="4791702" y="1758155"/>
                </a:cubicBezTo>
                <a:cubicBezTo>
                  <a:pt x="4816448" y="1785206"/>
                  <a:pt x="4832195" y="1816766"/>
                  <a:pt x="4834445" y="1859597"/>
                </a:cubicBezTo>
                <a:cubicBezTo>
                  <a:pt x="4834445" y="1859597"/>
                  <a:pt x="4834445" y="1859597"/>
                  <a:pt x="4766956" y="1859597"/>
                </a:cubicBezTo>
                <a:cubicBezTo>
                  <a:pt x="4764707" y="1834800"/>
                  <a:pt x="4757958" y="1819020"/>
                  <a:pt x="4744460" y="1803240"/>
                </a:cubicBezTo>
                <a:cubicBezTo>
                  <a:pt x="4721964" y="1773935"/>
                  <a:pt x="4685970" y="1762664"/>
                  <a:pt x="4645477" y="1762664"/>
                </a:cubicBezTo>
                <a:cubicBezTo>
                  <a:pt x="4609482" y="1762664"/>
                  <a:pt x="4575738" y="1776189"/>
                  <a:pt x="4550992" y="1800986"/>
                </a:cubicBezTo>
                <a:cubicBezTo>
                  <a:pt x="4510499" y="1843817"/>
                  <a:pt x="4506000" y="1913699"/>
                  <a:pt x="4506000" y="1967800"/>
                </a:cubicBezTo>
                <a:cubicBezTo>
                  <a:pt x="4506000" y="2017394"/>
                  <a:pt x="4510499" y="2091784"/>
                  <a:pt x="4553242" y="2134615"/>
                </a:cubicBezTo>
                <a:cubicBezTo>
                  <a:pt x="4577988" y="2161666"/>
                  <a:pt x="4609482" y="2172937"/>
                  <a:pt x="4645477" y="2172937"/>
                </a:cubicBezTo>
                <a:cubicBezTo>
                  <a:pt x="4681471" y="2172937"/>
                  <a:pt x="4715215" y="2159412"/>
                  <a:pt x="4737711" y="2136869"/>
                </a:cubicBezTo>
                <a:cubicBezTo>
                  <a:pt x="4771456" y="2103055"/>
                  <a:pt x="4780454" y="2053462"/>
                  <a:pt x="4780454" y="2006123"/>
                </a:cubicBezTo>
                <a:cubicBezTo>
                  <a:pt x="4780454" y="2006123"/>
                  <a:pt x="4780454" y="2006123"/>
                  <a:pt x="4645477" y="2006123"/>
                </a:cubicBezTo>
                <a:cubicBezTo>
                  <a:pt x="4645477" y="2006123"/>
                  <a:pt x="4645477" y="2006123"/>
                  <a:pt x="4645477" y="1947512"/>
                </a:cubicBezTo>
                <a:cubicBezTo>
                  <a:pt x="4645477" y="1947512"/>
                  <a:pt x="4645477" y="1947512"/>
                  <a:pt x="4838944" y="1947512"/>
                </a:cubicBezTo>
                <a:cubicBezTo>
                  <a:pt x="4838944" y="1947512"/>
                  <a:pt x="4838944" y="1947512"/>
                  <a:pt x="4838944" y="2222531"/>
                </a:cubicBezTo>
                <a:lnTo>
                  <a:pt x="4793952" y="2222531"/>
                </a:lnTo>
                <a:cubicBezTo>
                  <a:pt x="4793952" y="2222531"/>
                  <a:pt x="4793952" y="2222531"/>
                  <a:pt x="4782704" y="2161666"/>
                </a:cubicBezTo>
                <a:cubicBezTo>
                  <a:pt x="4757958" y="2204497"/>
                  <a:pt x="4701717" y="2233802"/>
                  <a:pt x="4645477" y="2233802"/>
                </a:cubicBezTo>
                <a:cubicBezTo>
                  <a:pt x="4593735" y="2233802"/>
                  <a:pt x="4544243" y="2215768"/>
                  <a:pt x="4506000" y="2179700"/>
                </a:cubicBezTo>
                <a:cubicBezTo>
                  <a:pt x="4454258" y="2130106"/>
                  <a:pt x="4440761" y="2057970"/>
                  <a:pt x="4440761" y="1967800"/>
                </a:cubicBezTo>
                <a:cubicBezTo>
                  <a:pt x="4440761" y="1884393"/>
                  <a:pt x="4452009" y="1810003"/>
                  <a:pt x="4506000" y="1755901"/>
                </a:cubicBezTo>
                <a:cubicBezTo>
                  <a:pt x="4544243" y="1719833"/>
                  <a:pt x="4593735" y="1701799"/>
                  <a:pt x="4645477" y="1701799"/>
                </a:cubicBezTo>
                <a:close/>
                <a:moveTo>
                  <a:pt x="4002083" y="1701799"/>
                </a:moveTo>
                <a:cubicBezTo>
                  <a:pt x="4060574" y="1701799"/>
                  <a:pt x="4112315" y="1722087"/>
                  <a:pt x="4148309" y="1758155"/>
                </a:cubicBezTo>
                <a:cubicBezTo>
                  <a:pt x="4173055" y="1785206"/>
                  <a:pt x="4191052" y="1816766"/>
                  <a:pt x="4193302" y="1859597"/>
                </a:cubicBezTo>
                <a:cubicBezTo>
                  <a:pt x="4193302" y="1859597"/>
                  <a:pt x="4193302" y="1859597"/>
                  <a:pt x="4125813" y="1859597"/>
                </a:cubicBezTo>
                <a:cubicBezTo>
                  <a:pt x="4123563" y="1834800"/>
                  <a:pt x="4114565" y="1819020"/>
                  <a:pt x="4103317" y="1803240"/>
                </a:cubicBezTo>
                <a:cubicBezTo>
                  <a:pt x="4078571" y="1773935"/>
                  <a:pt x="4044826" y="1762664"/>
                  <a:pt x="4002083" y="1762664"/>
                </a:cubicBezTo>
                <a:cubicBezTo>
                  <a:pt x="3968339" y="1762664"/>
                  <a:pt x="3934595" y="1776189"/>
                  <a:pt x="3909849" y="1800986"/>
                </a:cubicBezTo>
                <a:cubicBezTo>
                  <a:pt x="3867106" y="1843817"/>
                  <a:pt x="3864856" y="1913699"/>
                  <a:pt x="3864856" y="1967800"/>
                </a:cubicBezTo>
                <a:cubicBezTo>
                  <a:pt x="3864856" y="2017394"/>
                  <a:pt x="3867106" y="2091784"/>
                  <a:pt x="3909849" y="2134615"/>
                </a:cubicBezTo>
                <a:cubicBezTo>
                  <a:pt x="3934595" y="2161666"/>
                  <a:pt x="3968339" y="2172937"/>
                  <a:pt x="4002083" y="2172937"/>
                </a:cubicBezTo>
                <a:cubicBezTo>
                  <a:pt x="4038077" y="2172937"/>
                  <a:pt x="4071822" y="2159412"/>
                  <a:pt x="4094318" y="2136869"/>
                </a:cubicBezTo>
                <a:cubicBezTo>
                  <a:pt x="4130312" y="2103055"/>
                  <a:pt x="4139311" y="2053462"/>
                  <a:pt x="4139311" y="2006123"/>
                </a:cubicBezTo>
                <a:cubicBezTo>
                  <a:pt x="4139311" y="2006123"/>
                  <a:pt x="4139311" y="2006123"/>
                  <a:pt x="4002083" y="2006123"/>
                </a:cubicBezTo>
                <a:cubicBezTo>
                  <a:pt x="4002083" y="2006123"/>
                  <a:pt x="4002083" y="2006123"/>
                  <a:pt x="4002083" y="1947512"/>
                </a:cubicBezTo>
                <a:cubicBezTo>
                  <a:pt x="4002083" y="1947512"/>
                  <a:pt x="4002083" y="1947512"/>
                  <a:pt x="4197801" y="1947512"/>
                </a:cubicBezTo>
                <a:cubicBezTo>
                  <a:pt x="4197801" y="1947512"/>
                  <a:pt x="4197801" y="1947512"/>
                  <a:pt x="4197801" y="2222531"/>
                </a:cubicBezTo>
                <a:lnTo>
                  <a:pt x="4152808" y="2222531"/>
                </a:lnTo>
                <a:cubicBezTo>
                  <a:pt x="4152808" y="2222531"/>
                  <a:pt x="4152808" y="2222531"/>
                  <a:pt x="4141560" y="2161666"/>
                </a:cubicBezTo>
                <a:cubicBezTo>
                  <a:pt x="4116814" y="2204497"/>
                  <a:pt x="4060574" y="2233802"/>
                  <a:pt x="4002083" y="2233802"/>
                </a:cubicBezTo>
                <a:cubicBezTo>
                  <a:pt x="3950342" y="2233802"/>
                  <a:pt x="3900850" y="2215768"/>
                  <a:pt x="3864856" y="2179700"/>
                </a:cubicBezTo>
                <a:cubicBezTo>
                  <a:pt x="3813115" y="2130106"/>
                  <a:pt x="3797367" y="2057970"/>
                  <a:pt x="3797367" y="1967800"/>
                </a:cubicBezTo>
                <a:cubicBezTo>
                  <a:pt x="3797367" y="1884393"/>
                  <a:pt x="3808616" y="1810003"/>
                  <a:pt x="3864856" y="1755901"/>
                </a:cubicBezTo>
                <a:cubicBezTo>
                  <a:pt x="3900850" y="1719833"/>
                  <a:pt x="3950342" y="1701799"/>
                  <a:pt x="4002083" y="1701799"/>
                </a:cubicBezTo>
                <a:close/>
                <a:moveTo>
                  <a:pt x="1642228" y="1701799"/>
                </a:moveTo>
                <a:cubicBezTo>
                  <a:pt x="1691719" y="1701799"/>
                  <a:pt x="1741211" y="1717579"/>
                  <a:pt x="1774955" y="1749138"/>
                </a:cubicBezTo>
                <a:cubicBezTo>
                  <a:pt x="1806450" y="1780698"/>
                  <a:pt x="1822198" y="1816766"/>
                  <a:pt x="1824447" y="1859597"/>
                </a:cubicBezTo>
                <a:cubicBezTo>
                  <a:pt x="1824447" y="1859597"/>
                  <a:pt x="1824447" y="1859597"/>
                  <a:pt x="1756958" y="1859597"/>
                </a:cubicBezTo>
                <a:cubicBezTo>
                  <a:pt x="1754708" y="1834800"/>
                  <a:pt x="1745710" y="1812257"/>
                  <a:pt x="1732212" y="1796478"/>
                </a:cubicBezTo>
                <a:cubicBezTo>
                  <a:pt x="1711966" y="1773935"/>
                  <a:pt x="1680471" y="1760410"/>
                  <a:pt x="1639978" y="1760410"/>
                </a:cubicBezTo>
                <a:cubicBezTo>
                  <a:pt x="1603983" y="1760410"/>
                  <a:pt x="1572489" y="1769427"/>
                  <a:pt x="1549993" y="1796478"/>
                </a:cubicBezTo>
                <a:cubicBezTo>
                  <a:pt x="1536494" y="1810003"/>
                  <a:pt x="1529746" y="1828037"/>
                  <a:pt x="1529746" y="1850580"/>
                </a:cubicBezTo>
                <a:cubicBezTo>
                  <a:pt x="1529746" y="1897919"/>
                  <a:pt x="1567989" y="1918207"/>
                  <a:pt x="1606234" y="1922716"/>
                </a:cubicBezTo>
                <a:cubicBezTo>
                  <a:pt x="1635478" y="1927224"/>
                  <a:pt x="1662474" y="1931733"/>
                  <a:pt x="1691719" y="1936241"/>
                </a:cubicBezTo>
                <a:cubicBezTo>
                  <a:pt x="1774955" y="1949767"/>
                  <a:pt x="1833445" y="2001614"/>
                  <a:pt x="1833445" y="2082767"/>
                </a:cubicBezTo>
                <a:cubicBezTo>
                  <a:pt x="1833445" y="2125598"/>
                  <a:pt x="1815448" y="2157157"/>
                  <a:pt x="1790703" y="2181954"/>
                </a:cubicBezTo>
                <a:cubicBezTo>
                  <a:pt x="1754708" y="2215768"/>
                  <a:pt x="1698468" y="2231547"/>
                  <a:pt x="1644477" y="2231547"/>
                </a:cubicBezTo>
                <a:cubicBezTo>
                  <a:pt x="1581488" y="2231547"/>
                  <a:pt x="1531996" y="2215768"/>
                  <a:pt x="1498251" y="2184208"/>
                </a:cubicBezTo>
                <a:cubicBezTo>
                  <a:pt x="1466757" y="2152649"/>
                  <a:pt x="1444260" y="2109818"/>
                  <a:pt x="1444260" y="2060225"/>
                </a:cubicBezTo>
                <a:cubicBezTo>
                  <a:pt x="1444260" y="2060225"/>
                  <a:pt x="1444260" y="2060225"/>
                  <a:pt x="1509499" y="2060225"/>
                </a:cubicBezTo>
                <a:cubicBezTo>
                  <a:pt x="1509499" y="2091784"/>
                  <a:pt x="1525247" y="2121089"/>
                  <a:pt x="1545494" y="2141378"/>
                </a:cubicBezTo>
                <a:cubicBezTo>
                  <a:pt x="1570239" y="2163920"/>
                  <a:pt x="1608483" y="2172937"/>
                  <a:pt x="1644477" y="2172937"/>
                </a:cubicBezTo>
                <a:cubicBezTo>
                  <a:pt x="1682720" y="2172937"/>
                  <a:pt x="1716465" y="2166174"/>
                  <a:pt x="1738962" y="2143632"/>
                </a:cubicBezTo>
                <a:cubicBezTo>
                  <a:pt x="1754708" y="2130106"/>
                  <a:pt x="1765956" y="2109818"/>
                  <a:pt x="1765956" y="2082767"/>
                </a:cubicBezTo>
                <a:cubicBezTo>
                  <a:pt x="1765956" y="2044445"/>
                  <a:pt x="1741211" y="2010631"/>
                  <a:pt x="1680471" y="2001614"/>
                </a:cubicBezTo>
                <a:cubicBezTo>
                  <a:pt x="1680471" y="2001614"/>
                  <a:pt x="1680471" y="2001614"/>
                  <a:pt x="1599484" y="1988089"/>
                </a:cubicBezTo>
                <a:cubicBezTo>
                  <a:pt x="1522997" y="1976817"/>
                  <a:pt x="1462257" y="1933987"/>
                  <a:pt x="1462257" y="1852834"/>
                </a:cubicBezTo>
                <a:cubicBezTo>
                  <a:pt x="1462257" y="1814512"/>
                  <a:pt x="1480254" y="1778444"/>
                  <a:pt x="1507249" y="1751393"/>
                </a:cubicBezTo>
                <a:cubicBezTo>
                  <a:pt x="1543244" y="1717579"/>
                  <a:pt x="1588236" y="1701799"/>
                  <a:pt x="1642228" y="1701799"/>
                </a:cubicBezTo>
                <a:close/>
                <a:moveTo>
                  <a:pt x="654642" y="1701799"/>
                </a:moveTo>
                <a:cubicBezTo>
                  <a:pt x="704133" y="1701799"/>
                  <a:pt x="755874" y="1719833"/>
                  <a:pt x="791868" y="1755901"/>
                </a:cubicBezTo>
                <a:cubicBezTo>
                  <a:pt x="848110" y="1810003"/>
                  <a:pt x="857108" y="1884393"/>
                  <a:pt x="857108" y="1967800"/>
                </a:cubicBezTo>
                <a:cubicBezTo>
                  <a:pt x="857108" y="2048953"/>
                  <a:pt x="848110" y="2123344"/>
                  <a:pt x="791868" y="2177446"/>
                </a:cubicBezTo>
                <a:cubicBezTo>
                  <a:pt x="755874" y="2213514"/>
                  <a:pt x="704133" y="2233802"/>
                  <a:pt x="654642" y="2233802"/>
                </a:cubicBezTo>
                <a:cubicBezTo>
                  <a:pt x="602900" y="2233802"/>
                  <a:pt x="553408" y="2213514"/>
                  <a:pt x="515164" y="2177446"/>
                </a:cubicBezTo>
                <a:cubicBezTo>
                  <a:pt x="461173" y="2123344"/>
                  <a:pt x="449925" y="2048953"/>
                  <a:pt x="449925" y="1967800"/>
                </a:cubicBezTo>
                <a:cubicBezTo>
                  <a:pt x="449925" y="1884393"/>
                  <a:pt x="461173" y="1810003"/>
                  <a:pt x="515164" y="1755901"/>
                </a:cubicBezTo>
                <a:cubicBezTo>
                  <a:pt x="553408" y="1719833"/>
                  <a:pt x="602900" y="1701799"/>
                  <a:pt x="654642" y="1701799"/>
                </a:cubicBezTo>
                <a:close/>
                <a:moveTo>
                  <a:pt x="202466" y="1701799"/>
                </a:moveTo>
                <a:cubicBezTo>
                  <a:pt x="258707" y="1701799"/>
                  <a:pt x="308199" y="1722087"/>
                  <a:pt x="339693" y="1753647"/>
                </a:cubicBezTo>
                <a:cubicBezTo>
                  <a:pt x="368939" y="1782952"/>
                  <a:pt x="386936" y="1823529"/>
                  <a:pt x="389185" y="1870868"/>
                </a:cubicBezTo>
                <a:cubicBezTo>
                  <a:pt x="389185" y="1870868"/>
                  <a:pt x="389185" y="1870868"/>
                  <a:pt x="323946" y="1870868"/>
                </a:cubicBezTo>
                <a:cubicBezTo>
                  <a:pt x="321697" y="1841563"/>
                  <a:pt x="312698" y="1819020"/>
                  <a:pt x="294701" y="1798732"/>
                </a:cubicBezTo>
                <a:cubicBezTo>
                  <a:pt x="274454" y="1776189"/>
                  <a:pt x="240710" y="1762664"/>
                  <a:pt x="202466" y="1762664"/>
                </a:cubicBezTo>
                <a:cubicBezTo>
                  <a:pt x="168722" y="1762664"/>
                  <a:pt x="134978" y="1776189"/>
                  <a:pt x="110232" y="1800986"/>
                </a:cubicBezTo>
                <a:cubicBezTo>
                  <a:pt x="67489" y="1843817"/>
                  <a:pt x="67489" y="1913699"/>
                  <a:pt x="67489" y="1967800"/>
                </a:cubicBezTo>
                <a:cubicBezTo>
                  <a:pt x="67489" y="2019648"/>
                  <a:pt x="67489" y="2089530"/>
                  <a:pt x="110232" y="2132361"/>
                </a:cubicBezTo>
                <a:cubicBezTo>
                  <a:pt x="134978" y="2159412"/>
                  <a:pt x="168722" y="2172937"/>
                  <a:pt x="202466" y="2172937"/>
                </a:cubicBezTo>
                <a:cubicBezTo>
                  <a:pt x="240710" y="2172937"/>
                  <a:pt x="276704" y="2154903"/>
                  <a:pt x="296951" y="2132361"/>
                </a:cubicBezTo>
                <a:cubicBezTo>
                  <a:pt x="312698" y="2114327"/>
                  <a:pt x="323946" y="2087276"/>
                  <a:pt x="323946" y="2060225"/>
                </a:cubicBezTo>
                <a:cubicBezTo>
                  <a:pt x="323946" y="2060225"/>
                  <a:pt x="323946" y="2060225"/>
                  <a:pt x="391435" y="2060225"/>
                </a:cubicBezTo>
                <a:cubicBezTo>
                  <a:pt x="389185" y="2107564"/>
                  <a:pt x="368939" y="2148140"/>
                  <a:pt x="339693" y="2177446"/>
                </a:cubicBezTo>
                <a:cubicBezTo>
                  <a:pt x="308199" y="2209005"/>
                  <a:pt x="258707" y="2233802"/>
                  <a:pt x="202466" y="2233802"/>
                </a:cubicBezTo>
                <a:cubicBezTo>
                  <a:pt x="150725" y="2233802"/>
                  <a:pt x="101233" y="2213514"/>
                  <a:pt x="65239" y="2177446"/>
                </a:cubicBezTo>
                <a:cubicBezTo>
                  <a:pt x="8999" y="2123344"/>
                  <a:pt x="0" y="2048953"/>
                  <a:pt x="0" y="1967800"/>
                </a:cubicBezTo>
                <a:cubicBezTo>
                  <a:pt x="0" y="1884393"/>
                  <a:pt x="8999" y="1810003"/>
                  <a:pt x="65239" y="1755901"/>
                </a:cubicBezTo>
                <a:cubicBezTo>
                  <a:pt x="101233" y="1719833"/>
                  <a:pt x="150725" y="1701799"/>
                  <a:pt x="202466" y="1701799"/>
                </a:cubicBezTo>
                <a:close/>
                <a:moveTo>
                  <a:pt x="2227389" y="214047"/>
                </a:moveTo>
                <a:cubicBezTo>
                  <a:pt x="2227389" y="214047"/>
                  <a:pt x="2227389" y="214047"/>
                  <a:pt x="2227389" y="574548"/>
                </a:cubicBezTo>
                <a:cubicBezTo>
                  <a:pt x="2227389" y="574548"/>
                  <a:pt x="2227389" y="574548"/>
                  <a:pt x="2456649" y="574548"/>
                </a:cubicBezTo>
                <a:cubicBezTo>
                  <a:pt x="2584765" y="574548"/>
                  <a:pt x="2654442" y="509207"/>
                  <a:pt x="2654442" y="394298"/>
                </a:cubicBezTo>
                <a:cubicBezTo>
                  <a:pt x="2654442" y="277135"/>
                  <a:pt x="2584765" y="214047"/>
                  <a:pt x="2456649" y="214047"/>
                </a:cubicBezTo>
                <a:cubicBezTo>
                  <a:pt x="2456649" y="214047"/>
                  <a:pt x="2456649" y="214047"/>
                  <a:pt x="2227389" y="214047"/>
                </a:cubicBezTo>
                <a:close/>
                <a:moveTo>
                  <a:pt x="8961436" y="0"/>
                </a:moveTo>
                <a:lnTo>
                  <a:pt x="9905999" y="0"/>
                </a:lnTo>
                <a:lnTo>
                  <a:pt x="9905999" y="225425"/>
                </a:lnTo>
                <a:lnTo>
                  <a:pt x="9555161" y="225425"/>
                </a:lnTo>
                <a:lnTo>
                  <a:pt x="9555161" y="1214437"/>
                </a:lnTo>
                <a:lnTo>
                  <a:pt x="9315449" y="1214437"/>
                </a:lnTo>
                <a:lnTo>
                  <a:pt x="9315449" y="225425"/>
                </a:lnTo>
                <a:lnTo>
                  <a:pt x="8961436" y="225425"/>
                </a:lnTo>
                <a:close/>
                <a:moveTo>
                  <a:pt x="7785099" y="0"/>
                </a:moveTo>
                <a:lnTo>
                  <a:pt x="8035924" y="0"/>
                </a:lnTo>
                <a:lnTo>
                  <a:pt x="8037512" y="3175"/>
                </a:lnTo>
                <a:lnTo>
                  <a:pt x="8523286" y="774700"/>
                </a:lnTo>
                <a:lnTo>
                  <a:pt x="8523286" y="0"/>
                </a:lnTo>
                <a:lnTo>
                  <a:pt x="8759824" y="0"/>
                </a:lnTo>
                <a:lnTo>
                  <a:pt x="8759824" y="1214437"/>
                </a:lnTo>
                <a:lnTo>
                  <a:pt x="8518524" y="1214437"/>
                </a:lnTo>
                <a:lnTo>
                  <a:pt x="8024812" y="425450"/>
                </a:lnTo>
                <a:lnTo>
                  <a:pt x="8024812" y="1214437"/>
                </a:lnTo>
                <a:lnTo>
                  <a:pt x="7785099" y="1214437"/>
                </a:lnTo>
                <a:close/>
                <a:moveTo>
                  <a:pt x="6665911" y="0"/>
                </a:moveTo>
                <a:lnTo>
                  <a:pt x="7535861" y="0"/>
                </a:lnTo>
                <a:lnTo>
                  <a:pt x="7535861" y="220663"/>
                </a:lnTo>
                <a:lnTo>
                  <a:pt x="6905624" y="220663"/>
                </a:lnTo>
                <a:lnTo>
                  <a:pt x="6905624" y="473075"/>
                </a:lnTo>
                <a:lnTo>
                  <a:pt x="7459661" y="473075"/>
                </a:lnTo>
                <a:lnTo>
                  <a:pt x="7459661" y="690562"/>
                </a:lnTo>
                <a:lnTo>
                  <a:pt x="6905624" y="690562"/>
                </a:lnTo>
                <a:lnTo>
                  <a:pt x="6905624" y="993775"/>
                </a:lnTo>
                <a:lnTo>
                  <a:pt x="7535861" y="993775"/>
                </a:lnTo>
                <a:lnTo>
                  <a:pt x="7535861" y="1214437"/>
                </a:lnTo>
                <a:lnTo>
                  <a:pt x="6665911" y="1214437"/>
                </a:lnTo>
                <a:close/>
                <a:moveTo>
                  <a:pt x="5221286" y="0"/>
                </a:moveTo>
                <a:lnTo>
                  <a:pt x="5534024" y="0"/>
                </a:lnTo>
                <a:lnTo>
                  <a:pt x="5835649" y="823912"/>
                </a:lnTo>
                <a:lnTo>
                  <a:pt x="6142037" y="0"/>
                </a:lnTo>
                <a:lnTo>
                  <a:pt x="6438899" y="0"/>
                </a:lnTo>
                <a:lnTo>
                  <a:pt x="6438899" y="1214437"/>
                </a:lnTo>
                <a:lnTo>
                  <a:pt x="6203949" y="1214437"/>
                </a:lnTo>
                <a:lnTo>
                  <a:pt x="6203949" y="419100"/>
                </a:lnTo>
                <a:lnTo>
                  <a:pt x="5916612" y="1196975"/>
                </a:lnTo>
                <a:lnTo>
                  <a:pt x="5740399" y="1196975"/>
                </a:lnTo>
                <a:lnTo>
                  <a:pt x="5454649" y="409575"/>
                </a:lnTo>
                <a:lnTo>
                  <a:pt x="5454649" y="1214437"/>
                </a:lnTo>
                <a:lnTo>
                  <a:pt x="5221286" y="1214437"/>
                </a:lnTo>
                <a:close/>
                <a:moveTo>
                  <a:pt x="4098924" y="0"/>
                </a:moveTo>
                <a:lnTo>
                  <a:pt x="4968874" y="0"/>
                </a:lnTo>
                <a:lnTo>
                  <a:pt x="4968874" y="220663"/>
                </a:lnTo>
                <a:lnTo>
                  <a:pt x="4340224" y="220663"/>
                </a:lnTo>
                <a:lnTo>
                  <a:pt x="4340224" y="473075"/>
                </a:lnTo>
                <a:lnTo>
                  <a:pt x="4895849" y="473075"/>
                </a:lnTo>
                <a:lnTo>
                  <a:pt x="4895849" y="690562"/>
                </a:lnTo>
                <a:lnTo>
                  <a:pt x="4340224" y="690562"/>
                </a:lnTo>
                <a:lnTo>
                  <a:pt x="4340224" y="993775"/>
                </a:lnTo>
                <a:lnTo>
                  <a:pt x="4968874" y="993775"/>
                </a:lnTo>
                <a:lnTo>
                  <a:pt x="4968874" y="1214437"/>
                </a:lnTo>
                <a:lnTo>
                  <a:pt x="4098924" y="1214437"/>
                </a:lnTo>
                <a:close/>
                <a:moveTo>
                  <a:pt x="3079749" y="0"/>
                </a:moveTo>
                <a:lnTo>
                  <a:pt x="3321049" y="0"/>
                </a:lnTo>
                <a:lnTo>
                  <a:pt x="3321049" y="984250"/>
                </a:lnTo>
                <a:lnTo>
                  <a:pt x="3871912" y="984250"/>
                </a:lnTo>
                <a:lnTo>
                  <a:pt x="3871912" y="1214437"/>
                </a:lnTo>
                <a:lnTo>
                  <a:pt x="3079749" y="1214437"/>
                </a:lnTo>
                <a:close/>
                <a:moveTo>
                  <a:pt x="1989138" y="0"/>
                </a:moveTo>
                <a:cubicBezTo>
                  <a:pt x="1989138" y="0"/>
                  <a:pt x="1989138" y="0"/>
                  <a:pt x="2465639" y="0"/>
                </a:cubicBezTo>
                <a:cubicBezTo>
                  <a:pt x="2735357" y="0"/>
                  <a:pt x="2897188" y="146454"/>
                  <a:pt x="2897188" y="392045"/>
                </a:cubicBezTo>
                <a:cubicBezTo>
                  <a:pt x="2897188" y="639889"/>
                  <a:pt x="2735357" y="786342"/>
                  <a:pt x="2465639" y="786342"/>
                </a:cubicBezTo>
                <a:cubicBezTo>
                  <a:pt x="2465639" y="786342"/>
                  <a:pt x="2465639" y="786342"/>
                  <a:pt x="2227389" y="786342"/>
                </a:cubicBezTo>
                <a:cubicBezTo>
                  <a:pt x="2227389" y="786342"/>
                  <a:pt x="2227389" y="786342"/>
                  <a:pt x="2227389" y="1214437"/>
                </a:cubicBezTo>
                <a:cubicBezTo>
                  <a:pt x="2227389" y="1214437"/>
                  <a:pt x="2227389" y="1214437"/>
                  <a:pt x="1989138" y="1214437"/>
                </a:cubicBezTo>
                <a:cubicBezTo>
                  <a:pt x="1989138" y="1214437"/>
                  <a:pt x="1989138" y="1214437"/>
                  <a:pt x="1989138" y="0"/>
                </a:cubicBezTo>
                <a:close/>
                <a:moveTo>
                  <a:pt x="520699" y="0"/>
                </a:moveTo>
                <a:lnTo>
                  <a:pt x="833436" y="0"/>
                </a:lnTo>
                <a:lnTo>
                  <a:pt x="1135061" y="823912"/>
                </a:lnTo>
                <a:lnTo>
                  <a:pt x="1439862" y="0"/>
                </a:lnTo>
                <a:lnTo>
                  <a:pt x="1736724" y="0"/>
                </a:lnTo>
                <a:lnTo>
                  <a:pt x="1736724" y="1214437"/>
                </a:lnTo>
                <a:lnTo>
                  <a:pt x="1503362" y="1214437"/>
                </a:lnTo>
                <a:lnTo>
                  <a:pt x="1503362" y="419100"/>
                </a:lnTo>
                <a:lnTo>
                  <a:pt x="1216024" y="1196975"/>
                </a:lnTo>
                <a:lnTo>
                  <a:pt x="1039812" y="1196975"/>
                </a:lnTo>
                <a:lnTo>
                  <a:pt x="754062" y="409575"/>
                </a:lnTo>
                <a:lnTo>
                  <a:pt x="754062" y="1214437"/>
                </a:lnTo>
                <a:lnTo>
                  <a:pt x="520699" y="1214437"/>
                </a:lnTo>
                <a:close/>
                <a:moveTo>
                  <a:pt x="25400" y="0"/>
                </a:moveTo>
                <a:lnTo>
                  <a:pt x="268288" y="0"/>
                </a:lnTo>
                <a:lnTo>
                  <a:pt x="268288" y="1214437"/>
                </a:lnTo>
                <a:lnTo>
                  <a:pt x="25400" y="12144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>
                <a:solidFill>
                  <a:srgbClr val="1F2023"/>
                </a:solidFill>
              </a:rPr>
              <a:t> </a:t>
            </a:r>
            <a:endParaRPr lang="en-GB" dirty="0">
              <a:solidFill>
                <a:srgbClr val="1F2023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5917C81-1CE5-4076-B4C6-1928E494EF3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9378179" y="6496424"/>
            <a:ext cx="256359" cy="112086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9810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case_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3C5E530-08C3-4F11-A2C6-6DF1463198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3C5E530-08C3-4F11-A2C6-6DF1463198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C39504E-4D73-4AF2-88D2-BD5DC83852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5000" b="0" i="0" baseline="0" noProof="0" dirty="0" err="1">
              <a:solidFill>
                <a:srgbClr val="2F363B"/>
              </a:solidFill>
              <a:latin typeface="Impact" panose="020B0806030902050204" pitchFamily="34" charset="0"/>
              <a:ea typeface="+mj-ea"/>
              <a:cs typeface="+mj-cs"/>
              <a:sym typeface="Impact" panose="020B0806030902050204" pitchFamily="34" charset="0"/>
            </a:endParaRP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C4CFC32D-2211-4E39-9B91-7B77BE0D101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9906001" cy="6858000"/>
          </a:xfrm>
          <a:solidFill>
            <a:srgbClr val="B8BBBD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a-DK" dirty="0"/>
            </a:lvl1pPr>
          </a:lstStyle>
          <a:p>
            <a:pPr lvl="0" algn="ctr">
              <a:buNone/>
            </a:pPr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051" y="1092150"/>
            <a:ext cx="3855558" cy="1384995"/>
          </a:xfrm>
          <a:noFill/>
        </p:spPr>
        <p:txBody>
          <a:bodyPr lIns="0" tIns="0" rIns="0">
            <a:spAutoFit/>
          </a:bodyPr>
          <a:lstStyle>
            <a:lvl1pPr>
              <a:defRPr sz="50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0FAE2377-E2B0-4140-9CCB-1BC962EBB0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3B622D86-972D-43A8-8E81-B3E0ACF379F0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492679-67E2-4950-9788-4A68EBA6BB0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4051" y="2740083"/>
            <a:ext cx="3422650" cy="1516063"/>
          </a:xfrm>
        </p:spPr>
        <p:txBody>
          <a:bodyPr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AA90BC2-6F20-46DE-9028-4D06826A69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051" y="276200"/>
            <a:ext cx="900000" cy="269875"/>
          </a:xfrm>
          <a:blipFill>
            <a:blip r:embed="rId6"/>
            <a:stretch>
              <a:fillRect/>
            </a:stretch>
          </a:blipFill>
        </p:spPr>
        <p:txBody>
          <a:bodyPr rIns="0" anchor="ctr" anchorCtr="0"/>
          <a:lstStyle>
            <a:lvl1pPr algn="l">
              <a:defRPr sz="100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0CCBDCEE-CA39-4882-B9E1-3A14FEFED0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79736" y="303045"/>
            <a:ext cx="154800" cy="349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BC1B5BD-E52D-4EA5-952B-536D2C6C40A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9378179" y="6496424"/>
            <a:ext cx="256359" cy="1120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Box 33">
            <a:extLst>
              <a:ext uri="{FF2B5EF4-FFF2-40B4-BE49-F238E27FC236}">
                <a16:creationId xmlns:a16="http://schemas.microsoft.com/office/drawing/2014/main" id="{AC198211-3431-4E8B-B6DA-E674381C3A43}"/>
              </a:ext>
            </a:extLst>
          </p:cNvPr>
          <p:cNvSpPr txBox="1"/>
          <p:nvPr userDrawn="1"/>
        </p:nvSpPr>
        <p:spPr>
          <a:xfrm>
            <a:off x="10107046" y="0"/>
            <a:ext cx="1570400" cy="2129402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none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UcPeriod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0" indent="0" algn="l" defTabSz="742950" rtl="0" eaLnBrk="1" latinLnBrk="0" hangingPunct="1">
              <a:lnSpc>
                <a:spcPct val="8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4800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800" b="1" dirty="0">
                <a:solidFill>
                  <a:schemeClr val="tx1"/>
                </a:solidFill>
                <a:sym typeface="Arial" panose="020B0604020202020204" pitchFamily="34" charset="0"/>
              </a:rPr>
              <a:t>CASE DATA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For internal use only – delete before sharing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Clien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Maconomy projec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ndustry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Keywords: xx, xx,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Year(s): 20xx – 20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mplement contact person: xx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8163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case_lo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E4694B-A434-48B1-A431-0432E4744F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7939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E4694B-A434-48B1-A431-0432E4744F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C3A9516-8834-4484-A04E-ECB695CB65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noProof="0" dirty="0" err="1">
              <a:solidFill>
                <a:srgbClr val="2F363B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749152A0-09EC-4CDD-A991-4F69E37FE88A}"/>
              </a:ext>
            </a:extLst>
          </p:cNvPr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EEEB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D8A034-05A2-458D-8D7A-81B7EFBAEA9F}"/>
              </a:ext>
            </a:extLst>
          </p:cNvPr>
          <p:cNvSpPr txBox="1"/>
          <p:nvPr userDrawn="1"/>
        </p:nvSpPr>
        <p:spPr>
          <a:xfrm>
            <a:off x="6532418" y="-1"/>
            <a:ext cx="3373582" cy="3543301"/>
          </a:xfrm>
          <a:prstGeom prst="rect">
            <a:avLst/>
          </a:prstGeom>
          <a:solidFill>
            <a:srgbClr val="E4B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-144000">
              <a:lnSpc>
                <a:spcPct val="93000"/>
              </a:lnSpc>
              <a:spcAft>
                <a:spcPts val="0"/>
              </a:spcAft>
              <a:buSzPct val="100000"/>
              <a:buNone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1pPr>
            <a:lvl2pPr marL="0" lvl="1" indent="0">
              <a:lnSpc>
                <a:spcPct val="93000"/>
              </a:lnSpc>
              <a:spcAft>
                <a:spcPts val="0"/>
              </a:spcAft>
              <a:buSzPct val="100000"/>
              <a:buChar char="​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2pPr>
            <a:lvl3pPr marL="139303" lvl="2" indent="-139303">
              <a:lnSpc>
                <a:spcPct val="93000"/>
              </a:lnSpc>
              <a:spcAft>
                <a:spcPts val="0"/>
              </a:spcAft>
              <a:buSzPct val="100000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3pPr>
            <a:lvl4pPr marL="185738" lvl="3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rabicPeriod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4pPr>
            <a:lvl5pPr marL="185738" lvl="4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lphaUcPeriod"/>
              <a:defRPr sz="1100" b="0">
                <a:solidFill>
                  <a:srgbClr val="2F363B"/>
                </a:solidFill>
                <a:latin typeface="Arial" panose="020B0604020202020204" pitchFamily="34" charset="0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buNone/>
            </a:pPr>
            <a:endParaRPr lang="en-GB">
              <a:solidFill>
                <a:srgbClr val="30373B"/>
              </a:solidFill>
              <a:sym typeface="Arial" panose="020B0604020202020204" pitchFamily="34" charset="0"/>
            </a:endParaRP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96EDC17A-116C-4E16-A3DE-2E5F4B894B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317911" y="1308"/>
            <a:ext cx="3889058" cy="3108288"/>
          </a:xfrm>
          <a:solidFill>
            <a:srgbClr val="B8BBBD"/>
          </a:solidFill>
        </p:spPr>
        <p:txBody>
          <a:bodyPr rIns="0" anchor="ctr" anchorCtr="0"/>
          <a:lstStyle>
            <a:lvl1pPr marL="0" indent="0" algn="ctr">
              <a:buNone/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1B800F5-D353-40A2-B9C9-A29ACB613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070" y="2746979"/>
            <a:ext cx="4320000" cy="886397"/>
          </a:xfrm>
        </p:spPr>
        <p:txBody>
          <a:bodyPr anchor="b" anchorCtr="0">
            <a:spAutoFit/>
          </a:bodyPr>
          <a:lstStyle>
            <a:lvl1pPr>
              <a:defRPr sz="3200">
                <a:solidFill>
                  <a:srgbClr val="1F202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C3A81CD-98C4-40D0-925F-38C84421F36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3430AAB-5902-4654-B9FA-AE29404FCE66}"/>
              </a:ext>
            </a:extLst>
          </p:cNvPr>
          <p:cNvCxnSpPr>
            <a:cxnSpLocks/>
          </p:cNvCxnSpPr>
          <p:nvPr userDrawn="1"/>
        </p:nvCxnSpPr>
        <p:spPr>
          <a:xfrm>
            <a:off x="275070" y="4497744"/>
            <a:ext cx="4320000" cy="0"/>
          </a:xfrm>
          <a:prstGeom prst="line">
            <a:avLst/>
          </a:prstGeom>
          <a:ln w="12700">
            <a:solidFill>
              <a:srgbClr val="30373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F61116-2B80-4AA8-A5DE-F43ACEFB4AD3}"/>
              </a:ext>
            </a:extLst>
          </p:cNvPr>
          <p:cNvCxnSpPr>
            <a:cxnSpLocks/>
          </p:cNvCxnSpPr>
          <p:nvPr userDrawn="1"/>
        </p:nvCxnSpPr>
        <p:spPr>
          <a:xfrm>
            <a:off x="5319136" y="4497744"/>
            <a:ext cx="4319999" cy="0"/>
          </a:xfrm>
          <a:prstGeom prst="line">
            <a:avLst/>
          </a:prstGeom>
          <a:ln w="12700">
            <a:solidFill>
              <a:srgbClr val="30373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71737B9-DDE3-4847-BCBB-79FA9187C04F}"/>
              </a:ext>
            </a:extLst>
          </p:cNvPr>
          <p:cNvSpPr/>
          <p:nvPr userDrawn="1"/>
        </p:nvSpPr>
        <p:spPr>
          <a:xfrm>
            <a:off x="275070" y="4251232"/>
            <a:ext cx="1077218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30373B"/>
                </a:solidFill>
              </a:rPr>
              <a:t>THE PROJECT</a:t>
            </a:r>
            <a:endParaRPr lang="en-GB" dirty="0">
              <a:solidFill>
                <a:srgbClr val="30373B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9512485-4193-4DA1-A713-E51426E48AB3}"/>
              </a:ext>
            </a:extLst>
          </p:cNvPr>
          <p:cNvSpPr/>
          <p:nvPr userDrawn="1"/>
        </p:nvSpPr>
        <p:spPr>
          <a:xfrm>
            <a:off x="5317911" y="4251232"/>
            <a:ext cx="929550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30373B"/>
                </a:solidFill>
              </a:rPr>
              <a:t>THE IMPACT</a:t>
            </a:r>
            <a:endParaRPr lang="en-GB" dirty="0">
              <a:solidFill>
                <a:srgbClr val="30373B"/>
              </a:solidFill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FD457679-0CD8-436B-B224-B5039179B05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75070" y="4648330"/>
            <a:ext cx="4320000" cy="1663569"/>
          </a:xfrm>
        </p:spPr>
        <p:txBody>
          <a:bodyPr/>
          <a:lstStyle>
            <a:lvl1pPr>
              <a:buFontTx/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0122C995-A46A-47E3-BD5A-37630113CBD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19136" y="4648330"/>
            <a:ext cx="4320000" cy="1663569"/>
          </a:xfrm>
        </p:spPr>
        <p:txBody>
          <a:bodyPr/>
          <a:lstStyle>
            <a:lvl1pPr>
              <a:buFontTx/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B717F-572C-4701-890C-5980AFA4B1FF}"/>
              </a:ext>
            </a:extLst>
          </p:cNvPr>
          <p:cNvSpPr/>
          <p:nvPr userDrawn="1"/>
        </p:nvSpPr>
        <p:spPr>
          <a:xfrm>
            <a:off x="275070" y="1511114"/>
            <a:ext cx="34785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0"/>
              </a:spcAft>
            </a:pPr>
            <a:r>
              <a:rPr lang="en-GB" dirty="0">
                <a:solidFill>
                  <a:srgbClr val="1F2023"/>
                </a:solidFill>
              </a:rPr>
              <a:t>CAS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A1B773-9A80-408D-977C-08C207C654E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C55FEAD9-E0C4-4E4E-9EEC-4F3E52446BC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5317630-8701-4B49-BF3D-3DA5BE3CE466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1D797A1B-1250-4702-BA87-713DE7B4184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Footer</a:t>
            </a:r>
            <a:endParaRPr lang="en-GB" dirty="0"/>
          </a:p>
        </p:txBody>
      </p:sp>
      <p:sp>
        <p:nvSpPr>
          <p:cNvPr id="26" name="TextBox 33">
            <a:extLst>
              <a:ext uri="{FF2B5EF4-FFF2-40B4-BE49-F238E27FC236}">
                <a16:creationId xmlns:a16="http://schemas.microsoft.com/office/drawing/2014/main" id="{16A48703-285C-4AA2-973D-4D322ECF524F}"/>
              </a:ext>
            </a:extLst>
          </p:cNvPr>
          <p:cNvSpPr txBox="1"/>
          <p:nvPr userDrawn="1"/>
        </p:nvSpPr>
        <p:spPr>
          <a:xfrm>
            <a:off x="10107046" y="0"/>
            <a:ext cx="1570400" cy="2129402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none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UcPeriod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0" indent="0" algn="l" defTabSz="742950" rtl="0" eaLnBrk="1" latinLnBrk="0" hangingPunct="1">
              <a:lnSpc>
                <a:spcPct val="8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4800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800" b="1" dirty="0">
                <a:solidFill>
                  <a:schemeClr val="tx1"/>
                </a:solidFill>
                <a:sym typeface="Arial" panose="020B0604020202020204" pitchFamily="34" charset="0"/>
              </a:rPr>
              <a:t>CASE DATA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For internal use only – delete before sharing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Clien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Maconomy projec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ndustry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Keywords: xx, xx,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Year(s): 20xx – 20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mplement contact person: xx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1104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 case_lo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E4694B-A434-48B1-A431-0432E4744F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E4694B-A434-48B1-A431-0432E4744F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C3A9516-8834-4484-A04E-ECB695CB65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noProof="0" dirty="0" err="1">
              <a:solidFill>
                <a:srgbClr val="2F363B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749152A0-09EC-4CDD-A991-4F69E37FE88A}"/>
              </a:ext>
            </a:extLst>
          </p:cNvPr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EEEB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D8A034-05A2-458D-8D7A-81B7EFBAEA9F}"/>
              </a:ext>
            </a:extLst>
          </p:cNvPr>
          <p:cNvSpPr txBox="1"/>
          <p:nvPr userDrawn="1"/>
        </p:nvSpPr>
        <p:spPr>
          <a:xfrm>
            <a:off x="6532418" y="-1"/>
            <a:ext cx="3373582" cy="3543301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-144000">
              <a:lnSpc>
                <a:spcPct val="93000"/>
              </a:lnSpc>
              <a:spcAft>
                <a:spcPts val="0"/>
              </a:spcAft>
              <a:buSzPct val="100000"/>
              <a:buNone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1pPr>
            <a:lvl2pPr marL="0" lvl="1" indent="0">
              <a:lnSpc>
                <a:spcPct val="93000"/>
              </a:lnSpc>
              <a:spcAft>
                <a:spcPts val="0"/>
              </a:spcAft>
              <a:buSzPct val="100000"/>
              <a:buChar char="​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2pPr>
            <a:lvl3pPr marL="139303" lvl="2" indent="-139303">
              <a:lnSpc>
                <a:spcPct val="93000"/>
              </a:lnSpc>
              <a:spcAft>
                <a:spcPts val="0"/>
              </a:spcAft>
              <a:buSzPct val="100000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3pPr>
            <a:lvl4pPr marL="185738" lvl="3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rabicPeriod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4pPr>
            <a:lvl5pPr marL="185738" lvl="4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lphaUcPeriod"/>
              <a:defRPr sz="1100" b="0">
                <a:solidFill>
                  <a:srgbClr val="2F363B"/>
                </a:solidFill>
                <a:latin typeface="Arial" panose="020B0604020202020204" pitchFamily="34" charset="0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buNone/>
            </a:pPr>
            <a:endParaRPr lang="en-GB">
              <a:solidFill>
                <a:srgbClr val="30373B"/>
              </a:solidFill>
              <a:sym typeface="Arial" panose="020B0604020202020204" pitchFamily="34" charset="0"/>
            </a:endParaRP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96EDC17A-116C-4E16-A3DE-2E5F4B894B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317911" y="1308"/>
            <a:ext cx="3889058" cy="3108288"/>
          </a:xfrm>
          <a:solidFill>
            <a:srgbClr val="B8BBBD"/>
          </a:solidFill>
        </p:spPr>
        <p:txBody>
          <a:bodyPr rIns="0" anchor="ctr" anchorCtr="0"/>
          <a:lstStyle>
            <a:lvl1pPr marL="0" indent="0" algn="ctr">
              <a:buNone/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1B800F5-D353-40A2-B9C9-A29ACB613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070" y="2746979"/>
            <a:ext cx="4320000" cy="886397"/>
          </a:xfrm>
        </p:spPr>
        <p:txBody>
          <a:bodyPr anchor="b" anchorCtr="0">
            <a:spAutoFit/>
          </a:bodyPr>
          <a:lstStyle>
            <a:lvl1pPr>
              <a:defRPr sz="3200">
                <a:solidFill>
                  <a:srgbClr val="1F202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C3A81CD-98C4-40D0-925F-38C84421F36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3430AAB-5902-4654-B9FA-AE29404FCE66}"/>
              </a:ext>
            </a:extLst>
          </p:cNvPr>
          <p:cNvCxnSpPr>
            <a:cxnSpLocks/>
          </p:cNvCxnSpPr>
          <p:nvPr userDrawn="1"/>
        </p:nvCxnSpPr>
        <p:spPr>
          <a:xfrm>
            <a:off x="275070" y="4497744"/>
            <a:ext cx="4320000" cy="0"/>
          </a:xfrm>
          <a:prstGeom prst="line">
            <a:avLst/>
          </a:prstGeom>
          <a:ln w="12700">
            <a:solidFill>
              <a:srgbClr val="30373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F61116-2B80-4AA8-A5DE-F43ACEFB4AD3}"/>
              </a:ext>
            </a:extLst>
          </p:cNvPr>
          <p:cNvCxnSpPr>
            <a:cxnSpLocks/>
          </p:cNvCxnSpPr>
          <p:nvPr userDrawn="1"/>
        </p:nvCxnSpPr>
        <p:spPr>
          <a:xfrm>
            <a:off x="5319136" y="4497744"/>
            <a:ext cx="4319999" cy="0"/>
          </a:xfrm>
          <a:prstGeom prst="line">
            <a:avLst/>
          </a:prstGeom>
          <a:ln w="12700">
            <a:solidFill>
              <a:srgbClr val="30373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71737B9-DDE3-4847-BCBB-79FA9187C04F}"/>
              </a:ext>
            </a:extLst>
          </p:cNvPr>
          <p:cNvSpPr/>
          <p:nvPr userDrawn="1"/>
        </p:nvSpPr>
        <p:spPr>
          <a:xfrm>
            <a:off x="275070" y="4251232"/>
            <a:ext cx="1077218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30373B"/>
                </a:solidFill>
              </a:rPr>
              <a:t>THE PROJECT</a:t>
            </a:r>
            <a:endParaRPr lang="en-GB" dirty="0">
              <a:solidFill>
                <a:srgbClr val="30373B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9512485-4193-4DA1-A713-E51426E48AB3}"/>
              </a:ext>
            </a:extLst>
          </p:cNvPr>
          <p:cNvSpPr/>
          <p:nvPr userDrawn="1"/>
        </p:nvSpPr>
        <p:spPr>
          <a:xfrm>
            <a:off x="5317911" y="4251232"/>
            <a:ext cx="929550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30373B"/>
                </a:solidFill>
              </a:rPr>
              <a:t>THE IMPACT</a:t>
            </a:r>
            <a:endParaRPr lang="en-GB" dirty="0">
              <a:solidFill>
                <a:srgbClr val="30373B"/>
              </a:solidFill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FD457679-0CD8-436B-B224-B5039179B05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75070" y="4648330"/>
            <a:ext cx="4320000" cy="1663569"/>
          </a:xfrm>
        </p:spPr>
        <p:txBody>
          <a:bodyPr/>
          <a:lstStyle>
            <a:lvl1pPr>
              <a:buFontTx/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0122C995-A46A-47E3-BD5A-37630113CBD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19136" y="4648330"/>
            <a:ext cx="4320000" cy="1663569"/>
          </a:xfrm>
        </p:spPr>
        <p:txBody>
          <a:bodyPr/>
          <a:lstStyle>
            <a:lvl1pPr>
              <a:buFontTx/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B717F-572C-4701-890C-5980AFA4B1FF}"/>
              </a:ext>
            </a:extLst>
          </p:cNvPr>
          <p:cNvSpPr/>
          <p:nvPr userDrawn="1"/>
        </p:nvSpPr>
        <p:spPr>
          <a:xfrm>
            <a:off x="275070" y="1511114"/>
            <a:ext cx="34785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0"/>
              </a:spcAft>
            </a:pPr>
            <a:r>
              <a:rPr lang="en-GB" dirty="0">
                <a:solidFill>
                  <a:srgbClr val="1F2023"/>
                </a:solidFill>
              </a:rPr>
              <a:t>CAS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A324BC-5AFF-4259-9509-3AB7B2AAC62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Box 33">
            <a:extLst>
              <a:ext uri="{FF2B5EF4-FFF2-40B4-BE49-F238E27FC236}">
                <a16:creationId xmlns:a16="http://schemas.microsoft.com/office/drawing/2014/main" id="{5AE06631-AC75-4EE4-B524-F8EFE6C15DB9}"/>
              </a:ext>
            </a:extLst>
          </p:cNvPr>
          <p:cNvSpPr txBox="1"/>
          <p:nvPr userDrawn="1"/>
        </p:nvSpPr>
        <p:spPr>
          <a:xfrm>
            <a:off x="10107046" y="0"/>
            <a:ext cx="1570400" cy="2129402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none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UcPeriod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0" indent="0" algn="l" defTabSz="742950" rtl="0" eaLnBrk="1" latinLnBrk="0" hangingPunct="1">
              <a:lnSpc>
                <a:spcPct val="8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4800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800" b="1" dirty="0">
                <a:solidFill>
                  <a:schemeClr val="tx1"/>
                </a:solidFill>
                <a:sym typeface="Arial" panose="020B0604020202020204" pitchFamily="34" charset="0"/>
              </a:rPr>
              <a:t>CASE DATA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For internal use only – delete before sharing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Clien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Maconomy projec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ndustry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Keywords: xx, xx,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Year(s): 20xx – 20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mplement contact person: xx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962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ogo Image Dar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468EEBBF-213D-4D68-A9CE-7CE68854BF37}"/>
              </a:ext>
            </a:extLst>
          </p:cNvPr>
          <p:cNvSpPr/>
          <p:nvPr userDrawn="1"/>
        </p:nvSpPr>
        <p:spPr>
          <a:xfrm>
            <a:off x="2767292" y="0"/>
            <a:ext cx="7138708" cy="6858000"/>
          </a:xfrm>
          <a:prstGeom prst="rect">
            <a:avLst/>
          </a:prstGeom>
          <a:solidFill>
            <a:srgbClr val="E2DED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929087-DD0C-46A9-A049-79CBB8A516FF}"/>
              </a:ext>
            </a:extLst>
          </p:cNvPr>
          <p:cNvSpPr/>
          <p:nvPr userDrawn="1"/>
        </p:nvSpPr>
        <p:spPr>
          <a:xfrm>
            <a:off x="0" y="1192710"/>
            <a:ext cx="8554911" cy="5665290"/>
          </a:xfrm>
          <a:prstGeom prst="rect">
            <a:avLst/>
          </a:prstGeom>
          <a:solidFill>
            <a:srgbClr val="303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/>
            <a:endParaRPr lang="en-GB" sz="1000" noProof="0" dirty="0">
              <a:solidFill>
                <a:srgbClr val="2F363B"/>
              </a:solidFill>
            </a:endParaRP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32CBD7CE-0C91-4290-9606-0942684C465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83518" y="2114551"/>
            <a:ext cx="3493808" cy="4743450"/>
          </a:xfrm>
          <a:solidFill>
            <a:srgbClr val="F3F2F0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a-DK" dirty="0"/>
            </a:lvl1pPr>
          </a:lstStyle>
          <a:p>
            <a:pPr lvl="0" algn="ctr">
              <a:buNone/>
            </a:pPr>
            <a:r>
              <a:rPr lang="en-GB" dirty="0"/>
              <a:t>Click icon to add pictur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28390A0B-0148-4E4A-997F-3FF133263F3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69875" y="5359204"/>
            <a:ext cx="2816225" cy="970159"/>
          </a:xfrm>
        </p:spPr>
        <p:txBody>
          <a:bodyPr rIns="36000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975">
                <a:solidFill>
                  <a:srgbClr val="F8F5E7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rgbClr val="2F363B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F7B5D086-4293-476B-B8D0-257542C6E7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5" y="6329363"/>
            <a:ext cx="2816226" cy="268287"/>
          </a:xfrm>
        </p:spPr>
        <p:txBody>
          <a:bodyPr rIns="0" anchor="b" anchorCtr="0"/>
          <a:lstStyle>
            <a:lvl1pPr>
              <a:defRPr sz="900">
                <a:solidFill>
                  <a:srgbClr val="F8F5E7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38211AF6-4BE0-4A99-8CF3-C8D588F5D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2256" y="2114551"/>
            <a:ext cx="4818063" cy="2976366"/>
          </a:xfrm>
        </p:spPr>
        <p:txBody>
          <a:bodyPr anchor="t" anchorCtr="0">
            <a:noAutofit/>
          </a:bodyPr>
          <a:lstStyle>
            <a:lvl1pPr algn="l">
              <a:lnSpc>
                <a:spcPct val="83000"/>
              </a:lnSpc>
              <a:defRPr sz="6000" cap="all" baseline="0">
                <a:solidFill>
                  <a:srgbClr val="F8F5E7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4CB8047-8AE5-4556-9F42-1F69C5AB3EC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8861146" y="788544"/>
            <a:ext cx="1258889" cy="287891"/>
          </a:xfrm>
          <a:custGeom>
            <a:avLst/>
            <a:gdLst>
              <a:gd name="connsiteX0" fmla="*/ 6778122 w 9905999"/>
              <a:gd name="connsiteY0" fmla="*/ 2222531 h 2265361"/>
              <a:gd name="connsiteX1" fmla="*/ 7135812 w 9905999"/>
              <a:gd name="connsiteY1" fmla="*/ 2222531 h 2265361"/>
              <a:gd name="connsiteX2" fmla="*/ 7135812 w 9905999"/>
              <a:gd name="connsiteY2" fmla="*/ 2265361 h 2265361"/>
              <a:gd name="connsiteX3" fmla="*/ 6778122 w 9905999"/>
              <a:gd name="connsiteY3" fmla="*/ 2265361 h 2265361"/>
              <a:gd name="connsiteX4" fmla="*/ 6778122 w 9905999"/>
              <a:gd name="connsiteY4" fmla="*/ 2222531 h 2265361"/>
              <a:gd name="connsiteX5" fmla="*/ 6449676 w 9905999"/>
              <a:gd name="connsiteY5" fmla="*/ 1769427 h 2265361"/>
              <a:gd name="connsiteX6" fmla="*/ 6449676 w 9905999"/>
              <a:gd name="connsiteY6" fmla="*/ 1965546 h 2265361"/>
              <a:gd name="connsiteX7" fmla="*/ 6575655 w 9905999"/>
              <a:gd name="connsiteY7" fmla="*/ 1965546 h 2265361"/>
              <a:gd name="connsiteX8" fmla="*/ 6679138 w 9905999"/>
              <a:gd name="connsiteY8" fmla="*/ 1864105 h 2265361"/>
              <a:gd name="connsiteX9" fmla="*/ 6575655 w 9905999"/>
              <a:gd name="connsiteY9" fmla="*/ 1769427 h 2265361"/>
              <a:gd name="connsiteX10" fmla="*/ 6449676 w 9905999"/>
              <a:gd name="connsiteY10" fmla="*/ 1769427 h 2265361"/>
              <a:gd name="connsiteX11" fmla="*/ 5021164 w 9905999"/>
              <a:gd name="connsiteY11" fmla="*/ 1769427 h 2265361"/>
              <a:gd name="connsiteX12" fmla="*/ 5021164 w 9905999"/>
              <a:gd name="connsiteY12" fmla="*/ 1949767 h 2265361"/>
              <a:gd name="connsiteX13" fmla="*/ 5158391 w 9905999"/>
              <a:gd name="connsiteY13" fmla="*/ 1949767 h 2265361"/>
              <a:gd name="connsiteX14" fmla="*/ 5261874 w 9905999"/>
              <a:gd name="connsiteY14" fmla="*/ 1859597 h 2265361"/>
              <a:gd name="connsiteX15" fmla="*/ 5158391 w 9905999"/>
              <a:gd name="connsiteY15" fmla="*/ 1769427 h 2265361"/>
              <a:gd name="connsiteX16" fmla="*/ 5021164 w 9905999"/>
              <a:gd name="connsiteY16" fmla="*/ 1769427 h 2265361"/>
              <a:gd name="connsiteX17" fmla="*/ 5597068 w 9905999"/>
              <a:gd name="connsiteY17" fmla="*/ 1762664 h 2265361"/>
              <a:gd name="connsiteX18" fmla="*/ 5504834 w 9905999"/>
              <a:gd name="connsiteY18" fmla="*/ 1800986 h 2265361"/>
              <a:gd name="connsiteX19" fmla="*/ 5459841 w 9905999"/>
              <a:gd name="connsiteY19" fmla="*/ 1967800 h 2265361"/>
              <a:gd name="connsiteX20" fmla="*/ 5504834 w 9905999"/>
              <a:gd name="connsiteY20" fmla="*/ 2132361 h 2265361"/>
              <a:gd name="connsiteX21" fmla="*/ 5597068 w 9905999"/>
              <a:gd name="connsiteY21" fmla="*/ 2170683 h 2265361"/>
              <a:gd name="connsiteX22" fmla="*/ 5691552 w 9905999"/>
              <a:gd name="connsiteY22" fmla="*/ 2132361 h 2265361"/>
              <a:gd name="connsiteX23" fmla="*/ 5734295 w 9905999"/>
              <a:gd name="connsiteY23" fmla="*/ 1967800 h 2265361"/>
              <a:gd name="connsiteX24" fmla="*/ 5691552 w 9905999"/>
              <a:gd name="connsiteY24" fmla="*/ 1800986 h 2265361"/>
              <a:gd name="connsiteX25" fmla="*/ 5597068 w 9905999"/>
              <a:gd name="connsiteY25" fmla="*/ 1762664 h 2265361"/>
              <a:gd name="connsiteX26" fmla="*/ 654642 w 9905999"/>
              <a:gd name="connsiteY26" fmla="*/ 1762664 h 2265361"/>
              <a:gd name="connsiteX27" fmla="*/ 560157 w 9905999"/>
              <a:gd name="connsiteY27" fmla="*/ 1800986 h 2265361"/>
              <a:gd name="connsiteX28" fmla="*/ 517414 w 9905999"/>
              <a:gd name="connsiteY28" fmla="*/ 1967800 h 2265361"/>
              <a:gd name="connsiteX29" fmla="*/ 560157 w 9905999"/>
              <a:gd name="connsiteY29" fmla="*/ 2132361 h 2265361"/>
              <a:gd name="connsiteX30" fmla="*/ 654642 w 9905999"/>
              <a:gd name="connsiteY30" fmla="*/ 2170683 h 2265361"/>
              <a:gd name="connsiteX31" fmla="*/ 746876 w 9905999"/>
              <a:gd name="connsiteY31" fmla="*/ 2132361 h 2265361"/>
              <a:gd name="connsiteX32" fmla="*/ 791868 w 9905999"/>
              <a:gd name="connsiteY32" fmla="*/ 1967800 h 2265361"/>
              <a:gd name="connsiteX33" fmla="*/ 746876 w 9905999"/>
              <a:gd name="connsiteY33" fmla="*/ 1800986 h 2265361"/>
              <a:gd name="connsiteX34" fmla="*/ 654642 w 9905999"/>
              <a:gd name="connsiteY34" fmla="*/ 1762664 h 2265361"/>
              <a:gd name="connsiteX35" fmla="*/ 6386687 w 9905999"/>
              <a:gd name="connsiteY35" fmla="*/ 1710816 h 2265361"/>
              <a:gd name="connsiteX36" fmla="*/ 6575655 w 9905999"/>
              <a:gd name="connsiteY36" fmla="*/ 1710816 h 2265361"/>
              <a:gd name="connsiteX37" fmla="*/ 6706134 w 9905999"/>
              <a:gd name="connsiteY37" fmla="*/ 1755901 h 2265361"/>
              <a:gd name="connsiteX38" fmla="*/ 6744377 w 9905999"/>
              <a:gd name="connsiteY38" fmla="*/ 1864105 h 2265361"/>
              <a:gd name="connsiteX39" fmla="*/ 6701634 w 9905999"/>
              <a:gd name="connsiteY39" fmla="*/ 1981326 h 2265361"/>
              <a:gd name="connsiteX40" fmla="*/ 6577905 w 9905999"/>
              <a:gd name="connsiteY40" fmla="*/ 2024157 h 2265361"/>
              <a:gd name="connsiteX41" fmla="*/ 6449676 w 9905999"/>
              <a:gd name="connsiteY41" fmla="*/ 2024157 h 2265361"/>
              <a:gd name="connsiteX42" fmla="*/ 6449676 w 9905999"/>
              <a:gd name="connsiteY42" fmla="*/ 2222531 h 2265361"/>
              <a:gd name="connsiteX43" fmla="*/ 6386687 w 9905999"/>
              <a:gd name="connsiteY43" fmla="*/ 2222531 h 2265361"/>
              <a:gd name="connsiteX44" fmla="*/ 6386687 w 9905999"/>
              <a:gd name="connsiteY44" fmla="*/ 1710816 h 2265361"/>
              <a:gd name="connsiteX45" fmla="*/ 5889520 w 9905999"/>
              <a:gd name="connsiteY45" fmla="*/ 1710816 h 2265361"/>
              <a:gd name="connsiteX46" fmla="*/ 5954759 w 9905999"/>
              <a:gd name="connsiteY46" fmla="*/ 1710816 h 2265361"/>
              <a:gd name="connsiteX47" fmla="*/ 5954759 w 9905999"/>
              <a:gd name="connsiteY47" fmla="*/ 2035428 h 2265361"/>
              <a:gd name="connsiteX48" fmla="*/ 6076239 w 9905999"/>
              <a:gd name="connsiteY48" fmla="*/ 2172937 h 2265361"/>
              <a:gd name="connsiteX49" fmla="*/ 6199968 w 9905999"/>
              <a:gd name="connsiteY49" fmla="*/ 2035428 h 2265361"/>
              <a:gd name="connsiteX50" fmla="*/ 6199968 w 9905999"/>
              <a:gd name="connsiteY50" fmla="*/ 1710816 h 2265361"/>
              <a:gd name="connsiteX51" fmla="*/ 6262957 w 9905999"/>
              <a:gd name="connsiteY51" fmla="*/ 1710816 h 2265361"/>
              <a:gd name="connsiteX52" fmla="*/ 6262957 w 9905999"/>
              <a:gd name="connsiteY52" fmla="*/ 2035428 h 2265361"/>
              <a:gd name="connsiteX53" fmla="*/ 6076239 w 9905999"/>
              <a:gd name="connsiteY53" fmla="*/ 2231547 h 2265361"/>
              <a:gd name="connsiteX54" fmla="*/ 5889520 w 9905999"/>
              <a:gd name="connsiteY54" fmla="*/ 2035428 h 2265361"/>
              <a:gd name="connsiteX55" fmla="*/ 5889520 w 9905999"/>
              <a:gd name="connsiteY55" fmla="*/ 1710816 h 2265361"/>
              <a:gd name="connsiteX56" fmla="*/ 4958174 w 9905999"/>
              <a:gd name="connsiteY56" fmla="*/ 1710816 h 2265361"/>
              <a:gd name="connsiteX57" fmla="*/ 5158391 w 9905999"/>
              <a:gd name="connsiteY57" fmla="*/ 1710816 h 2265361"/>
              <a:gd name="connsiteX58" fmla="*/ 5288869 w 9905999"/>
              <a:gd name="connsiteY58" fmla="*/ 1755901 h 2265361"/>
              <a:gd name="connsiteX59" fmla="*/ 5329363 w 9905999"/>
              <a:gd name="connsiteY59" fmla="*/ 1859597 h 2265361"/>
              <a:gd name="connsiteX60" fmla="*/ 5288869 w 9905999"/>
              <a:gd name="connsiteY60" fmla="*/ 1961038 h 2265361"/>
              <a:gd name="connsiteX61" fmla="*/ 5228130 w 9905999"/>
              <a:gd name="connsiteY61" fmla="*/ 1997106 h 2265361"/>
              <a:gd name="connsiteX62" fmla="*/ 5331612 w 9905999"/>
              <a:gd name="connsiteY62" fmla="*/ 2222531 h 2265361"/>
              <a:gd name="connsiteX63" fmla="*/ 5259624 w 9905999"/>
              <a:gd name="connsiteY63" fmla="*/ 2222531 h 2265361"/>
              <a:gd name="connsiteX64" fmla="*/ 5162890 w 9905999"/>
              <a:gd name="connsiteY64" fmla="*/ 2010631 h 2265361"/>
              <a:gd name="connsiteX65" fmla="*/ 5021164 w 9905999"/>
              <a:gd name="connsiteY65" fmla="*/ 2010631 h 2265361"/>
              <a:gd name="connsiteX66" fmla="*/ 5021164 w 9905999"/>
              <a:gd name="connsiteY66" fmla="*/ 2222531 h 2265361"/>
              <a:gd name="connsiteX67" fmla="*/ 4958174 w 9905999"/>
              <a:gd name="connsiteY67" fmla="*/ 2222531 h 2265361"/>
              <a:gd name="connsiteX68" fmla="*/ 4958174 w 9905999"/>
              <a:gd name="connsiteY68" fmla="*/ 1710816 h 2265361"/>
              <a:gd name="connsiteX69" fmla="*/ 3309199 w 9905999"/>
              <a:gd name="connsiteY69" fmla="*/ 1710816 h 2265361"/>
              <a:gd name="connsiteX70" fmla="*/ 3381187 w 9905999"/>
              <a:gd name="connsiteY70" fmla="*/ 1710816 h 2265361"/>
              <a:gd name="connsiteX71" fmla="*/ 3633145 w 9905999"/>
              <a:gd name="connsiteY71" fmla="*/ 2123344 h 2265361"/>
              <a:gd name="connsiteX72" fmla="*/ 3633145 w 9905999"/>
              <a:gd name="connsiteY72" fmla="*/ 1710816 h 2265361"/>
              <a:gd name="connsiteX73" fmla="*/ 3693885 w 9905999"/>
              <a:gd name="connsiteY73" fmla="*/ 1710816 h 2265361"/>
              <a:gd name="connsiteX74" fmla="*/ 3693885 w 9905999"/>
              <a:gd name="connsiteY74" fmla="*/ 2222531 h 2265361"/>
              <a:gd name="connsiteX75" fmla="*/ 3621897 w 9905999"/>
              <a:gd name="connsiteY75" fmla="*/ 2222531 h 2265361"/>
              <a:gd name="connsiteX76" fmla="*/ 3372188 w 9905999"/>
              <a:gd name="connsiteY76" fmla="*/ 1810003 h 2265361"/>
              <a:gd name="connsiteX77" fmla="*/ 3372188 w 9905999"/>
              <a:gd name="connsiteY77" fmla="*/ 2222531 h 2265361"/>
              <a:gd name="connsiteX78" fmla="*/ 3309199 w 9905999"/>
              <a:gd name="connsiteY78" fmla="*/ 2222531 h 2265361"/>
              <a:gd name="connsiteX79" fmla="*/ 3309199 w 9905999"/>
              <a:gd name="connsiteY79" fmla="*/ 1710816 h 2265361"/>
              <a:gd name="connsiteX80" fmla="*/ 3106732 w 9905999"/>
              <a:gd name="connsiteY80" fmla="*/ 1710816 h 2265361"/>
              <a:gd name="connsiteX81" fmla="*/ 3171971 w 9905999"/>
              <a:gd name="connsiteY81" fmla="*/ 1710816 h 2265361"/>
              <a:gd name="connsiteX82" fmla="*/ 3171971 w 9905999"/>
              <a:gd name="connsiteY82" fmla="*/ 2222531 h 2265361"/>
              <a:gd name="connsiteX83" fmla="*/ 3106732 w 9905999"/>
              <a:gd name="connsiteY83" fmla="*/ 2222531 h 2265361"/>
              <a:gd name="connsiteX84" fmla="*/ 3106732 w 9905999"/>
              <a:gd name="connsiteY84" fmla="*/ 1710816 h 2265361"/>
              <a:gd name="connsiteX85" fmla="*/ 2663557 w 9905999"/>
              <a:gd name="connsiteY85" fmla="*/ 1710816 h 2265361"/>
              <a:gd name="connsiteX86" fmla="*/ 3032495 w 9905999"/>
              <a:gd name="connsiteY86" fmla="*/ 1710816 h 2265361"/>
              <a:gd name="connsiteX87" fmla="*/ 3032495 w 9905999"/>
              <a:gd name="connsiteY87" fmla="*/ 1769427 h 2265361"/>
              <a:gd name="connsiteX88" fmla="*/ 2879521 w 9905999"/>
              <a:gd name="connsiteY88" fmla="*/ 1769427 h 2265361"/>
              <a:gd name="connsiteX89" fmla="*/ 2879521 w 9905999"/>
              <a:gd name="connsiteY89" fmla="*/ 2222531 h 2265361"/>
              <a:gd name="connsiteX90" fmla="*/ 2814282 w 9905999"/>
              <a:gd name="connsiteY90" fmla="*/ 2222531 h 2265361"/>
              <a:gd name="connsiteX91" fmla="*/ 2814282 w 9905999"/>
              <a:gd name="connsiteY91" fmla="*/ 1769427 h 2265361"/>
              <a:gd name="connsiteX92" fmla="*/ 2663557 w 9905999"/>
              <a:gd name="connsiteY92" fmla="*/ 1769427 h 2265361"/>
              <a:gd name="connsiteX93" fmla="*/ 2663557 w 9905999"/>
              <a:gd name="connsiteY93" fmla="*/ 1710816 h 2265361"/>
              <a:gd name="connsiteX94" fmla="*/ 2416099 w 9905999"/>
              <a:gd name="connsiteY94" fmla="*/ 1710816 h 2265361"/>
              <a:gd name="connsiteX95" fmla="*/ 2481338 w 9905999"/>
              <a:gd name="connsiteY95" fmla="*/ 1710816 h 2265361"/>
              <a:gd name="connsiteX96" fmla="*/ 2481338 w 9905999"/>
              <a:gd name="connsiteY96" fmla="*/ 2163920 h 2265361"/>
              <a:gd name="connsiteX97" fmla="*/ 2726547 w 9905999"/>
              <a:gd name="connsiteY97" fmla="*/ 2163920 h 2265361"/>
              <a:gd name="connsiteX98" fmla="*/ 2726547 w 9905999"/>
              <a:gd name="connsiteY98" fmla="*/ 2222531 h 2265361"/>
              <a:gd name="connsiteX99" fmla="*/ 2416099 w 9905999"/>
              <a:gd name="connsiteY99" fmla="*/ 2222531 h 2265361"/>
              <a:gd name="connsiteX100" fmla="*/ 2416099 w 9905999"/>
              <a:gd name="connsiteY100" fmla="*/ 1710816 h 2265361"/>
              <a:gd name="connsiteX101" fmla="*/ 1918931 w 9905999"/>
              <a:gd name="connsiteY101" fmla="*/ 1710816 h 2265361"/>
              <a:gd name="connsiteX102" fmla="*/ 1984171 w 9905999"/>
              <a:gd name="connsiteY102" fmla="*/ 1710816 h 2265361"/>
              <a:gd name="connsiteX103" fmla="*/ 1984171 w 9905999"/>
              <a:gd name="connsiteY103" fmla="*/ 2035428 h 2265361"/>
              <a:gd name="connsiteX104" fmla="*/ 2105651 w 9905999"/>
              <a:gd name="connsiteY104" fmla="*/ 2172937 h 2265361"/>
              <a:gd name="connsiteX105" fmla="*/ 2229380 w 9905999"/>
              <a:gd name="connsiteY105" fmla="*/ 2035428 h 2265361"/>
              <a:gd name="connsiteX106" fmla="*/ 2229380 w 9905999"/>
              <a:gd name="connsiteY106" fmla="*/ 1710816 h 2265361"/>
              <a:gd name="connsiteX107" fmla="*/ 2292369 w 9905999"/>
              <a:gd name="connsiteY107" fmla="*/ 1710816 h 2265361"/>
              <a:gd name="connsiteX108" fmla="*/ 2292369 w 9905999"/>
              <a:gd name="connsiteY108" fmla="*/ 2035428 h 2265361"/>
              <a:gd name="connsiteX109" fmla="*/ 2105651 w 9905999"/>
              <a:gd name="connsiteY109" fmla="*/ 2231547 h 2265361"/>
              <a:gd name="connsiteX110" fmla="*/ 1918931 w 9905999"/>
              <a:gd name="connsiteY110" fmla="*/ 2035428 h 2265361"/>
              <a:gd name="connsiteX111" fmla="*/ 1918931 w 9905999"/>
              <a:gd name="connsiteY111" fmla="*/ 1710816 h 2265361"/>
              <a:gd name="connsiteX112" fmla="*/ 960591 w 9905999"/>
              <a:gd name="connsiteY112" fmla="*/ 1710816 h 2265361"/>
              <a:gd name="connsiteX113" fmla="*/ 1032578 w 9905999"/>
              <a:gd name="connsiteY113" fmla="*/ 1710816 h 2265361"/>
              <a:gd name="connsiteX114" fmla="*/ 1284537 w 9905999"/>
              <a:gd name="connsiteY114" fmla="*/ 2123344 h 2265361"/>
              <a:gd name="connsiteX115" fmla="*/ 1284537 w 9905999"/>
              <a:gd name="connsiteY115" fmla="*/ 1710816 h 2265361"/>
              <a:gd name="connsiteX116" fmla="*/ 1345276 w 9905999"/>
              <a:gd name="connsiteY116" fmla="*/ 1710816 h 2265361"/>
              <a:gd name="connsiteX117" fmla="*/ 1345276 w 9905999"/>
              <a:gd name="connsiteY117" fmla="*/ 2222531 h 2265361"/>
              <a:gd name="connsiteX118" fmla="*/ 1273289 w 9905999"/>
              <a:gd name="connsiteY118" fmla="*/ 2222531 h 2265361"/>
              <a:gd name="connsiteX119" fmla="*/ 1023580 w 9905999"/>
              <a:gd name="connsiteY119" fmla="*/ 1810003 h 2265361"/>
              <a:gd name="connsiteX120" fmla="*/ 1023580 w 9905999"/>
              <a:gd name="connsiteY120" fmla="*/ 2222531 h 2265361"/>
              <a:gd name="connsiteX121" fmla="*/ 960591 w 9905999"/>
              <a:gd name="connsiteY121" fmla="*/ 2222531 h 2265361"/>
              <a:gd name="connsiteX122" fmla="*/ 960591 w 9905999"/>
              <a:gd name="connsiteY122" fmla="*/ 1710816 h 2265361"/>
              <a:gd name="connsiteX123" fmla="*/ 5597068 w 9905999"/>
              <a:gd name="connsiteY123" fmla="*/ 1701799 h 2265361"/>
              <a:gd name="connsiteX124" fmla="*/ 5736545 w 9905999"/>
              <a:gd name="connsiteY124" fmla="*/ 1755901 h 2265361"/>
              <a:gd name="connsiteX125" fmla="*/ 5801784 w 9905999"/>
              <a:gd name="connsiteY125" fmla="*/ 1967800 h 2265361"/>
              <a:gd name="connsiteX126" fmla="*/ 5736545 w 9905999"/>
              <a:gd name="connsiteY126" fmla="*/ 2177446 h 2265361"/>
              <a:gd name="connsiteX127" fmla="*/ 5597068 w 9905999"/>
              <a:gd name="connsiteY127" fmla="*/ 2233802 h 2265361"/>
              <a:gd name="connsiteX128" fmla="*/ 5459841 w 9905999"/>
              <a:gd name="connsiteY128" fmla="*/ 2177446 h 2265361"/>
              <a:gd name="connsiteX129" fmla="*/ 5394602 w 9905999"/>
              <a:gd name="connsiteY129" fmla="*/ 1967800 h 2265361"/>
              <a:gd name="connsiteX130" fmla="*/ 5459841 w 9905999"/>
              <a:gd name="connsiteY130" fmla="*/ 1755901 h 2265361"/>
              <a:gd name="connsiteX131" fmla="*/ 5597068 w 9905999"/>
              <a:gd name="connsiteY131" fmla="*/ 1701799 h 2265361"/>
              <a:gd name="connsiteX132" fmla="*/ 4645477 w 9905999"/>
              <a:gd name="connsiteY132" fmla="*/ 1701799 h 2265361"/>
              <a:gd name="connsiteX133" fmla="*/ 4791702 w 9905999"/>
              <a:gd name="connsiteY133" fmla="*/ 1758155 h 2265361"/>
              <a:gd name="connsiteX134" fmla="*/ 4834445 w 9905999"/>
              <a:gd name="connsiteY134" fmla="*/ 1859597 h 2265361"/>
              <a:gd name="connsiteX135" fmla="*/ 4766956 w 9905999"/>
              <a:gd name="connsiteY135" fmla="*/ 1859597 h 2265361"/>
              <a:gd name="connsiteX136" fmla="*/ 4744460 w 9905999"/>
              <a:gd name="connsiteY136" fmla="*/ 1803240 h 2265361"/>
              <a:gd name="connsiteX137" fmla="*/ 4645477 w 9905999"/>
              <a:gd name="connsiteY137" fmla="*/ 1762664 h 2265361"/>
              <a:gd name="connsiteX138" fmla="*/ 4550992 w 9905999"/>
              <a:gd name="connsiteY138" fmla="*/ 1800986 h 2265361"/>
              <a:gd name="connsiteX139" fmla="*/ 4506000 w 9905999"/>
              <a:gd name="connsiteY139" fmla="*/ 1967800 h 2265361"/>
              <a:gd name="connsiteX140" fmla="*/ 4553242 w 9905999"/>
              <a:gd name="connsiteY140" fmla="*/ 2134615 h 2265361"/>
              <a:gd name="connsiteX141" fmla="*/ 4645477 w 9905999"/>
              <a:gd name="connsiteY141" fmla="*/ 2172937 h 2265361"/>
              <a:gd name="connsiteX142" fmla="*/ 4737711 w 9905999"/>
              <a:gd name="connsiteY142" fmla="*/ 2136869 h 2265361"/>
              <a:gd name="connsiteX143" fmla="*/ 4780454 w 9905999"/>
              <a:gd name="connsiteY143" fmla="*/ 2006123 h 2265361"/>
              <a:gd name="connsiteX144" fmla="*/ 4645477 w 9905999"/>
              <a:gd name="connsiteY144" fmla="*/ 2006123 h 2265361"/>
              <a:gd name="connsiteX145" fmla="*/ 4645477 w 9905999"/>
              <a:gd name="connsiteY145" fmla="*/ 1947512 h 2265361"/>
              <a:gd name="connsiteX146" fmla="*/ 4838944 w 9905999"/>
              <a:gd name="connsiteY146" fmla="*/ 1947512 h 2265361"/>
              <a:gd name="connsiteX147" fmla="*/ 4838944 w 9905999"/>
              <a:gd name="connsiteY147" fmla="*/ 2222531 h 2265361"/>
              <a:gd name="connsiteX148" fmla="*/ 4793952 w 9905999"/>
              <a:gd name="connsiteY148" fmla="*/ 2222531 h 2265361"/>
              <a:gd name="connsiteX149" fmla="*/ 4782704 w 9905999"/>
              <a:gd name="connsiteY149" fmla="*/ 2161666 h 2265361"/>
              <a:gd name="connsiteX150" fmla="*/ 4645477 w 9905999"/>
              <a:gd name="connsiteY150" fmla="*/ 2233802 h 2265361"/>
              <a:gd name="connsiteX151" fmla="*/ 4506000 w 9905999"/>
              <a:gd name="connsiteY151" fmla="*/ 2179700 h 2265361"/>
              <a:gd name="connsiteX152" fmla="*/ 4440761 w 9905999"/>
              <a:gd name="connsiteY152" fmla="*/ 1967800 h 2265361"/>
              <a:gd name="connsiteX153" fmla="*/ 4506000 w 9905999"/>
              <a:gd name="connsiteY153" fmla="*/ 1755901 h 2265361"/>
              <a:gd name="connsiteX154" fmla="*/ 4645477 w 9905999"/>
              <a:gd name="connsiteY154" fmla="*/ 1701799 h 2265361"/>
              <a:gd name="connsiteX155" fmla="*/ 4002083 w 9905999"/>
              <a:gd name="connsiteY155" fmla="*/ 1701799 h 2265361"/>
              <a:gd name="connsiteX156" fmla="*/ 4148309 w 9905999"/>
              <a:gd name="connsiteY156" fmla="*/ 1758155 h 2265361"/>
              <a:gd name="connsiteX157" fmla="*/ 4193302 w 9905999"/>
              <a:gd name="connsiteY157" fmla="*/ 1859597 h 2265361"/>
              <a:gd name="connsiteX158" fmla="*/ 4125813 w 9905999"/>
              <a:gd name="connsiteY158" fmla="*/ 1859597 h 2265361"/>
              <a:gd name="connsiteX159" fmla="*/ 4103317 w 9905999"/>
              <a:gd name="connsiteY159" fmla="*/ 1803240 h 2265361"/>
              <a:gd name="connsiteX160" fmla="*/ 4002083 w 9905999"/>
              <a:gd name="connsiteY160" fmla="*/ 1762664 h 2265361"/>
              <a:gd name="connsiteX161" fmla="*/ 3909849 w 9905999"/>
              <a:gd name="connsiteY161" fmla="*/ 1800986 h 2265361"/>
              <a:gd name="connsiteX162" fmla="*/ 3864856 w 9905999"/>
              <a:gd name="connsiteY162" fmla="*/ 1967800 h 2265361"/>
              <a:gd name="connsiteX163" fmla="*/ 3909849 w 9905999"/>
              <a:gd name="connsiteY163" fmla="*/ 2134615 h 2265361"/>
              <a:gd name="connsiteX164" fmla="*/ 4002083 w 9905999"/>
              <a:gd name="connsiteY164" fmla="*/ 2172937 h 2265361"/>
              <a:gd name="connsiteX165" fmla="*/ 4094318 w 9905999"/>
              <a:gd name="connsiteY165" fmla="*/ 2136869 h 2265361"/>
              <a:gd name="connsiteX166" fmla="*/ 4139311 w 9905999"/>
              <a:gd name="connsiteY166" fmla="*/ 2006123 h 2265361"/>
              <a:gd name="connsiteX167" fmla="*/ 4002083 w 9905999"/>
              <a:gd name="connsiteY167" fmla="*/ 2006123 h 2265361"/>
              <a:gd name="connsiteX168" fmla="*/ 4002083 w 9905999"/>
              <a:gd name="connsiteY168" fmla="*/ 1947512 h 2265361"/>
              <a:gd name="connsiteX169" fmla="*/ 4197801 w 9905999"/>
              <a:gd name="connsiteY169" fmla="*/ 1947512 h 2265361"/>
              <a:gd name="connsiteX170" fmla="*/ 4197801 w 9905999"/>
              <a:gd name="connsiteY170" fmla="*/ 2222531 h 2265361"/>
              <a:gd name="connsiteX171" fmla="*/ 4152808 w 9905999"/>
              <a:gd name="connsiteY171" fmla="*/ 2222531 h 2265361"/>
              <a:gd name="connsiteX172" fmla="*/ 4141560 w 9905999"/>
              <a:gd name="connsiteY172" fmla="*/ 2161666 h 2265361"/>
              <a:gd name="connsiteX173" fmla="*/ 4002083 w 9905999"/>
              <a:gd name="connsiteY173" fmla="*/ 2233802 h 2265361"/>
              <a:gd name="connsiteX174" fmla="*/ 3864856 w 9905999"/>
              <a:gd name="connsiteY174" fmla="*/ 2179700 h 2265361"/>
              <a:gd name="connsiteX175" fmla="*/ 3797367 w 9905999"/>
              <a:gd name="connsiteY175" fmla="*/ 1967800 h 2265361"/>
              <a:gd name="connsiteX176" fmla="*/ 3864856 w 9905999"/>
              <a:gd name="connsiteY176" fmla="*/ 1755901 h 2265361"/>
              <a:gd name="connsiteX177" fmla="*/ 4002083 w 9905999"/>
              <a:gd name="connsiteY177" fmla="*/ 1701799 h 2265361"/>
              <a:gd name="connsiteX178" fmla="*/ 1642228 w 9905999"/>
              <a:gd name="connsiteY178" fmla="*/ 1701799 h 2265361"/>
              <a:gd name="connsiteX179" fmla="*/ 1774955 w 9905999"/>
              <a:gd name="connsiteY179" fmla="*/ 1749138 h 2265361"/>
              <a:gd name="connsiteX180" fmla="*/ 1824447 w 9905999"/>
              <a:gd name="connsiteY180" fmla="*/ 1859597 h 2265361"/>
              <a:gd name="connsiteX181" fmla="*/ 1756958 w 9905999"/>
              <a:gd name="connsiteY181" fmla="*/ 1859597 h 2265361"/>
              <a:gd name="connsiteX182" fmla="*/ 1732212 w 9905999"/>
              <a:gd name="connsiteY182" fmla="*/ 1796478 h 2265361"/>
              <a:gd name="connsiteX183" fmla="*/ 1639978 w 9905999"/>
              <a:gd name="connsiteY183" fmla="*/ 1760410 h 2265361"/>
              <a:gd name="connsiteX184" fmla="*/ 1549993 w 9905999"/>
              <a:gd name="connsiteY184" fmla="*/ 1796478 h 2265361"/>
              <a:gd name="connsiteX185" fmla="*/ 1529746 w 9905999"/>
              <a:gd name="connsiteY185" fmla="*/ 1850580 h 2265361"/>
              <a:gd name="connsiteX186" fmla="*/ 1606234 w 9905999"/>
              <a:gd name="connsiteY186" fmla="*/ 1922716 h 2265361"/>
              <a:gd name="connsiteX187" fmla="*/ 1691719 w 9905999"/>
              <a:gd name="connsiteY187" fmla="*/ 1936241 h 2265361"/>
              <a:gd name="connsiteX188" fmla="*/ 1833445 w 9905999"/>
              <a:gd name="connsiteY188" fmla="*/ 2082767 h 2265361"/>
              <a:gd name="connsiteX189" fmla="*/ 1790703 w 9905999"/>
              <a:gd name="connsiteY189" fmla="*/ 2181954 h 2265361"/>
              <a:gd name="connsiteX190" fmla="*/ 1644477 w 9905999"/>
              <a:gd name="connsiteY190" fmla="*/ 2231547 h 2265361"/>
              <a:gd name="connsiteX191" fmla="*/ 1498251 w 9905999"/>
              <a:gd name="connsiteY191" fmla="*/ 2184208 h 2265361"/>
              <a:gd name="connsiteX192" fmla="*/ 1444260 w 9905999"/>
              <a:gd name="connsiteY192" fmla="*/ 2060225 h 2265361"/>
              <a:gd name="connsiteX193" fmla="*/ 1509499 w 9905999"/>
              <a:gd name="connsiteY193" fmla="*/ 2060225 h 2265361"/>
              <a:gd name="connsiteX194" fmla="*/ 1545494 w 9905999"/>
              <a:gd name="connsiteY194" fmla="*/ 2141378 h 2265361"/>
              <a:gd name="connsiteX195" fmla="*/ 1644477 w 9905999"/>
              <a:gd name="connsiteY195" fmla="*/ 2172937 h 2265361"/>
              <a:gd name="connsiteX196" fmla="*/ 1738962 w 9905999"/>
              <a:gd name="connsiteY196" fmla="*/ 2143632 h 2265361"/>
              <a:gd name="connsiteX197" fmla="*/ 1765956 w 9905999"/>
              <a:gd name="connsiteY197" fmla="*/ 2082767 h 2265361"/>
              <a:gd name="connsiteX198" fmla="*/ 1680471 w 9905999"/>
              <a:gd name="connsiteY198" fmla="*/ 2001614 h 2265361"/>
              <a:gd name="connsiteX199" fmla="*/ 1599484 w 9905999"/>
              <a:gd name="connsiteY199" fmla="*/ 1988089 h 2265361"/>
              <a:gd name="connsiteX200" fmla="*/ 1462257 w 9905999"/>
              <a:gd name="connsiteY200" fmla="*/ 1852834 h 2265361"/>
              <a:gd name="connsiteX201" fmla="*/ 1507249 w 9905999"/>
              <a:gd name="connsiteY201" fmla="*/ 1751393 h 2265361"/>
              <a:gd name="connsiteX202" fmla="*/ 1642228 w 9905999"/>
              <a:gd name="connsiteY202" fmla="*/ 1701799 h 2265361"/>
              <a:gd name="connsiteX203" fmla="*/ 654642 w 9905999"/>
              <a:gd name="connsiteY203" fmla="*/ 1701799 h 2265361"/>
              <a:gd name="connsiteX204" fmla="*/ 791868 w 9905999"/>
              <a:gd name="connsiteY204" fmla="*/ 1755901 h 2265361"/>
              <a:gd name="connsiteX205" fmla="*/ 857108 w 9905999"/>
              <a:gd name="connsiteY205" fmla="*/ 1967800 h 2265361"/>
              <a:gd name="connsiteX206" fmla="*/ 791868 w 9905999"/>
              <a:gd name="connsiteY206" fmla="*/ 2177446 h 2265361"/>
              <a:gd name="connsiteX207" fmla="*/ 654642 w 9905999"/>
              <a:gd name="connsiteY207" fmla="*/ 2233802 h 2265361"/>
              <a:gd name="connsiteX208" fmla="*/ 515164 w 9905999"/>
              <a:gd name="connsiteY208" fmla="*/ 2177446 h 2265361"/>
              <a:gd name="connsiteX209" fmla="*/ 449925 w 9905999"/>
              <a:gd name="connsiteY209" fmla="*/ 1967800 h 2265361"/>
              <a:gd name="connsiteX210" fmla="*/ 515164 w 9905999"/>
              <a:gd name="connsiteY210" fmla="*/ 1755901 h 2265361"/>
              <a:gd name="connsiteX211" fmla="*/ 654642 w 9905999"/>
              <a:gd name="connsiteY211" fmla="*/ 1701799 h 2265361"/>
              <a:gd name="connsiteX212" fmla="*/ 202466 w 9905999"/>
              <a:gd name="connsiteY212" fmla="*/ 1701799 h 2265361"/>
              <a:gd name="connsiteX213" fmla="*/ 339693 w 9905999"/>
              <a:gd name="connsiteY213" fmla="*/ 1753647 h 2265361"/>
              <a:gd name="connsiteX214" fmla="*/ 389185 w 9905999"/>
              <a:gd name="connsiteY214" fmla="*/ 1870868 h 2265361"/>
              <a:gd name="connsiteX215" fmla="*/ 323946 w 9905999"/>
              <a:gd name="connsiteY215" fmla="*/ 1870868 h 2265361"/>
              <a:gd name="connsiteX216" fmla="*/ 294701 w 9905999"/>
              <a:gd name="connsiteY216" fmla="*/ 1798732 h 2265361"/>
              <a:gd name="connsiteX217" fmla="*/ 202466 w 9905999"/>
              <a:gd name="connsiteY217" fmla="*/ 1762664 h 2265361"/>
              <a:gd name="connsiteX218" fmla="*/ 110232 w 9905999"/>
              <a:gd name="connsiteY218" fmla="*/ 1800986 h 2265361"/>
              <a:gd name="connsiteX219" fmla="*/ 67489 w 9905999"/>
              <a:gd name="connsiteY219" fmla="*/ 1967800 h 2265361"/>
              <a:gd name="connsiteX220" fmla="*/ 110232 w 9905999"/>
              <a:gd name="connsiteY220" fmla="*/ 2132361 h 2265361"/>
              <a:gd name="connsiteX221" fmla="*/ 202466 w 9905999"/>
              <a:gd name="connsiteY221" fmla="*/ 2172937 h 2265361"/>
              <a:gd name="connsiteX222" fmla="*/ 296951 w 9905999"/>
              <a:gd name="connsiteY222" fmla="*/ 2132361 h 2265361"/>
              <a:gd name="connsiteX223" fmla="*/ 323946 w 9905999"/>
              <a:gd name="connsiteY223" fmla="*/ 2060225 h 2265361"/>
              <a:gd name="connsiteX224" fmla="*/ 391435 w 9905999"/>
              <a:gd name="connsiteY224" fmla="*/ 2060225 h 2265361"/>
              <a:gd name="connsiteX225" fmla="*/ 339693 w 9905999"/>
              <a:gd name="connsiteY225" fmla="*/ 2177446 h 2265361"/>
              <a:gd name="connsiteX226" fmla="*/ 202466 w 9905999"/>
              <a:gd name="connsiteY226" fmla="*/ 2233802 h 2265361"/>
              <a:gd name="connsiteX227" fmla="*/ 65239 w 9905999"/>
              <a:gd name="connsiteY227" fmla="*/ 2177446 h 2265361"/>
              <a:gd name="connsiteX228" fmla="*/ 0 w 9905999"/>
              <a:gd name="connsiteY228" fmla="*/ 1967800 h 2265361"/>
              <a:gd name="connsiteX229" fmla="*/ 65239 w 9905999"/>
              <a:gd name="connsiteY229" fmla="*/ 1755901 h 2265361"/>
              <a:gd name="connsiteX230" fmla="*/ 202466 w 9905999"/>
              <a:gd name="connsiteY230" fmla="*/ 1701799 h 2265361"/>
              <a:gd name="connsiteX231" fmla="*/ 2227389 w 9905999"/>
              <a:gd name="connsiteY231" fmla="*/ 214047 h 2265361"/>
              <a:gd name="connsiteX232" fmla="*/ 2227389 w 9905999"/>
              <a:gd name="connsiteY232" fmla="*/ 574548 h 2265361"/>
              <a:gd name="connsiteX233" fmla="*/ 2456649 w 9905999"/>
              <a:gd name="connsiteY233" fmla="*/ 574548 h 2265361"/>
              <a:gd name="connsiteX234" fmla="*/ 2654442 w 9905999"/>
              <a:gd name="connsiteY234" fmla="*/ 394298 h 2265361"/>
              <a:gd name="connsiteX235" fmla="*/ 2456649 w 9905999"/>
              <a:gd name="connsiteY235" fmla="*/ 214047 h 2265361"/>
              <a:gd name="connsiteX236" fmla="*/ 2227389 w 9905999"/>
              <a:gd name="connsiteY236" fmla="*/ 214047 h 2265361"/>
              <a:gd name="connsiteX237" fmla="*/ 8961436 w 9905999"/>
              <a:gd name="connsiteY237" fmla="*/ 0 h 2265361"/>
              <a:gd name="connsiteX238" fmla="*/ 9905999 w 9905999"/>
              <a:gd name="connsiteY238" fmla="*/ 0 h 2265361"/>
              <a:gd name="connsiteX239" fmla="*/ 9905999 w 9905999"/>
              <a:gd name="connsiteY239" fmla="*/ 225425 h 2265361"/>
              <a:gd name="connsiteX240" fmla="*/ 9555161 w 9905999"/>
              <a:gd name="connsiteY240" fmla="*/ 225425 h 2265361"/>
              <a:gd name="connsiteX241" fmla="*/ 9555161 w 9905999"/>
              <a:gd name="connsiteY241" fmla="*/ 1214437 h 2265361"/>
              <a:gd name="connsiteX242" fmla="*/ 9315449 w 9905999"/>
              <a:gd name="connsiteY242" fmla="*/ 1214437 h 2265361"/>
              <a:gd name="connsiteX243" fmla="*/ 9315449 w 9905999"/>
              <a:gd name="connsiteY243" fmla="*/ 225425 h 2265361"/>
              <a:gd name="connsiteX244" fmla="*/ 8961436 w 9905999"/>
              <a:gd name="connsiteY244" fmla="*/ 225425 h 2265361"/>
              <a:gd name="connsiteX245" fmla="*/ 7785099 w 9905999"/>
              <a:gd name="connsiteY245" fmla="*/ 0 h 2265361"/>
              <a:gd name="connsiteX246" fmla="*/ 8035924 w 9905999"/>
              <a:gd name="connsiteY246" fmla="*/ 0 h 2265361"/>
              <a:gd name="connsiteX247" fmla="*/ 8037512 w 9905999"/>
              <a:gd name="connsiteY247" fmla="*/ 3175 h 2265361"/>
              <a:gd name="connsiteX248" fmla="*/ 8523286 w 9905999"/>
              <a:gd name="connsiteY248" fmla="*/ 774700 h 2265361"/>
              <a:gd name="connsiteX249" fmla="*/ 8523286 w 9905999"/>
              <a:gd name="connsiteY249" fmla="*/ 0 h 2265361"/>
              <a:gd name="connsiteX250" fmla="*/ 8759824 w 9905999"/>
              <a:gd name="connsiteY250" fmla="*/ 0 h 2265361"/>
              <a:gd name="connsiteX251" fmla="*/ 8759824 w 9905999"/>
              <a:gd name="connsiteY251" fmla="*/ 1214437 h 2265361"/>
              <a:gd name="connsiteX252" fmla="*/ 8518524 w 9905999"/>
              <a:gd name="connsiteY252" fmla="*/ 1214437 h 2265361"/>
              <a:gd name="connsiteX253" fmla="*/ 8024812 w 9905999"/>
              <a:gd name="connsiteY253" fmla="*/ 425450 h 2265361"/>
              <a:gd name="connsiteX254" fmla="*/ 8024812 w 9905999"/>
              <a:gd name="connsiteY254" fmla="*/ 1214437 h 2265361"/>
              <a:gd name="connsiteX255" fmla="*/ 7785099 w 9905999"/>
              <a:gd name="connsiteY255" fmla="*/ 1214437 h 2265361"/>
              <a:gd name="connsiteX256" fmla="*/ 6665911 w 9905999"/>
              <a:gd name="connsiteY256" fmla="*/ 0 h 2265361"/>
              <a:gd name="connsiteX257" fmla="*/ 7535861 w 9905999"/>
              <a:gd name="connsiteY257" fmla="*/ 0 h 2265361"/>
              <a:gd name="connsiteX258" fmla="*/ 7535861 w 9905999"/>
              <a:gd name="connsiteY258" fmla="*/ 220663 h 2265361"/>
              <a:gd name="connsiteX259" fmla="*/ 6905624 w 9905999"/>
              <a:gd name="connsiteY259" fmla="*/ 220663 h 2265361"/>
              <a:gd name="connsiteX260" fmla="*/ 6905624 w 9905999"/>
              <a:gd name="connsiteY260" fmla="*/ 473075 h 2265361"/>
              <a:gd name="connsiteX261" fmla="*/ 7459661 w 9905999"/>
              <a:gd name="connsiteY261" fmla="*/ 473075 h 2265361"/>
              <a:gd name="connsiteX262" fmla="*/ 7459661 w 9905999"/>
              <a:gd name="connsiteY262" fmla="*/ 690562 h 2265361"/>
              <a:gd name="connsiteX263" fmla="*/ 6905624 w 9905999"/>
              <a:gd name="connsiteY263" fmla="*/ 690562 h 2265361"/>
              <a:gd name="connsiteX264" fmla="*/ 6905624 w 9905999"/>
              <a:gd name="connsiteY264" fmla="*/ 993775 h 2265361"/>
              <a:gd name="connsiteX265" fmla="*/ 7535861 w 9905999"/>
              <a:gd name="connsiteY265" fmla="*/ 993775 h 2265361"/>
              <a:gd name="connsiteX266" fmla="*/ 7535861 w 9905999"/>
              <a:gd name="connsiteY266" fmla="*/ 1214437 h 2265361"/>
              <a:gd name="connsiteX267" fmla="*/ 6665911 w 9905999"/>
              <a:gd name="connsiteY267" fmla="*/ 1214437 h 2265361"/>
              <a:gd name="connsiteX268" fmla="*/ 5221286 w 9905999"/>
              <a:gd name="connsiteY268" fmla="*/ 0 h 2265361"/>
              <a:gd name="connsiteX269" fmla="*/ 5534024 w 9905999"/>
              <a:gd name="connsiteY269" fmla="*/ 0 h 2265361"/>
              <a:gd name="connsiteX270" fmla="*/ 5835649 w 9905999"/>
              <a:gd name="connsiteY270" fmla="*/ 823912 h 2265361"/>
              <a:gd name="connsiteX271" fmla="*/ 6142037 w 9905999"/>
              <a:gd name="connsiteY271" fmla="*/ 0 h 2265361"/>
              <a:gd name="connsiteX272" fmla="*/ 6438899 w 9905999"/>
              <a:gd name="connsiteY272" fmla="*/ 0 h 2265361"/>
              <a:gd name="connsiteX273" fmla="*/ 6438899 w 9905999"/>
              <a:gd name="connsiteY273" fmla="*/ 1214437 h 2265361"/>
              <a:gd name="connsiteX274" fmla="*/ 6203949 w 9905999"/>
              <a:gd name="connsiteY274" fmla="*/ 1214437 h 2265361"/>
              <a:gd name="connsiteX275" fmla="*/ 6203949 w 9905999"/>
              <a:gd name="connsiteY275" fmla="*/ 419100 h 2265361"/>
              <a:gd name="connsiteX276" fmla="*/ 5916612 w 9905999"/>
              <a:gd name="connsiteY276" fmla="*/ 1196975 h 2265361"/>
              <a:gd name="connsiteX277" fmla="*/ 5740399 w 9905999"/>
              <a:gd name="connsiteY277" fmla="*/ 1196975 h 2265361"/>
              <a:gd name="connsiteX278" fmla="*/ 5454649 w 9905999"/>
              <a:gd name="connsiteY278" fmla="*/ 409575 h 2265361"/>
              <a:gd name="connsiteX279" fmla="*/ 5454649 w 9905999"/>
              <a:gd name="connsiteY279" fmla="*/ 1214437 h 2265361"/>
              <a:gd name="connsiteX280" fmla="*/ 5221286 w 9905999"/>
              <a:gd name="connsiteY280" fmla="*/ 1214437 h 2265361"/>
              <a:gd name="connsiteX281" fmla="*/ 4098924 w 9905999"/>
              <a:gd name="connsiteY281" fmla="*/ 0 h 2265361"/>
              <a:gd name="connsiteX282" fmla="*/ 4968874 w 9905999"/>
              <a:gd name="connsiteY282" fmla="*/ 0 h 2265361"/>
              <a:gd name="connsiteX283" fmla="*/ 4968874 w 9905999"/>
              <a:gd name="connsiteY283" fmla="*/ 220663 h 2265361"/>
              <a:gd name="connsiteX284" fmla="*/ 4340224 w 9905999"/>
              <a:gd name="connsiteY284" fmla="*/ 220663 h 2265361"/>
              <a:gd name="connsiteX285" fmla="*/ 4340224 w 9905999"/>
              <a:gd name="connsiteY285" fmla="*/ 473075 h 2265361"/>
              <a:gd name="connsiteX286" fmla="*/ 4895849 w 9905999"/>
              <a:gd name="connsiteY286" fmla="*/ 473075 h 2265361"/>
              <a:gd name="connsiteX287" fmla="*/ 4895849 w 9905999"/>
              <a:gd name="connsiteY287" fmla="*/ 690562 h 2265361"/>
              <a:gd name="connsiteX288" fmla="*/ 4340224 w 9905999"/>
              <a:gd name="connsiteY288" fmla="*/ 690562 h 2265361"/>
              <a:gd name="connsiteX289" fmla="*/ 4340224 w 9905999"/>
              <a:gd name="connsiteY289" fmla="*/ 993775 h 2265361"/>
              <a:gd name="connsiteX290" fmla="*/ 4968874 w 9905999"/>
              <a:gd name="connsiteY290" fmla="*/ 993775 h 2265361"/>
              <a:gd name="connsiteX291" fmla="*/ 4968874 w 9905999"/>
              <a:gd name="connsiteY291" fmla="*/ 1214437 h 2265361"/>
              <a:gd name="connsiteX292" fmla="*/ 4098924 w 9905999"/>
              <a:gd name="connsiteY292" fmla="*/ 1214437 h 2265361"/>
              <a:gd name="connsiteX293" fmla="*/ 3079749 w 9905999"/>
              <a:gd name="connsiteY293" fmla="*/ 0 h 2265361"/>
              <a:gd name="connsiteX294" fmla="*/ 3321049 w 9905999"/>
              <a:gd name="connsiteY294" fmla="*/ 0 h 2265361"/>
              <a:gd name="connsiteX295" fmla="*/ 3321049 w 9905999"/>
              <a:gd name="connsiteY295" fmla="*/ 984250 h 2265361"/>
              <a:gd name="connsiteX296" fmla="*/ 3871912 w 9905999"/>
              <a:gd name="connsiteY296" fmla="*/ 984250 h 2265361"/>
              <a:gd name="connsiteX297" fmla="*/ 3871912 w 9905999"/>
              <a:gd name="connsiteY297" fmla="*/ 1214437 h 2265361"/>
              <a:gd name="connsiteX298" fmla="*/ 3079749 w 9905999"/>
              <a:gd name="connsiteY298" fmla="*/ 1214437 h 2265361"/>
              <a:gd name="connsiteX299" fmla="*/ 1989138 w 9905999"/>
              <a:gd name="connsiteY299" fmla="*/ 0 h 2265361"/>
              <a:gd name="connsiteX300" fmla="*/ 2465639 w 9905999"/>
              <a:gd name="connsiteY300" fmla="*/ 0 h 2265361"/>
              <a:gd name="connsiteX301" fmla="*/ 2897188 w 9905999"/>
              <a:gd name="connsiteY301" fmla="*/ 392045 h 2265361"/>
              <a:gd name="connsiteX302" fmla="*/ 2465639 w 9905999"/>
              <a:gd name="connsiteY302" fmla="*/ 786342 h 2265361"/>
              <a:gd name="connsiteX303" fmla="*/ 2227389 w 9905999"/>
              <a:gd name="connsiteY303" fmla="*/ 786342 h 2265361"/>
              <a:gd name="connsiteX304" fmla="*/ 2227389 w 9905999"/>
              <a:gd name="connsiteY304" fmla="*/ 1214437 h 2265361"/>
              <a:gd name="connsiteX305" fmla="*/ 1989138 w 9905999"/>
              <a:gd name="connsiteY305" fmla="*/ 1214437 h 2265361"/>
              <a:gd name="connsiteX306" fmla="*/ 1989138 w 9905999"/>
              <a:gd name="connsiteY306" fmla="*/ 0 h 2265361"/>
              <a:gd name="connsiteX307" fmla="*/ 520699 w 9905999"/>
              <a:gd name="connsiteY307" fmla="*/ 0 h 2265361"/>
              <a:gd name="connsiteX308" fmla="*/ 833436 w 9905999"/>
              <a:gd name="connsiteY308" fmla="*/ 0 h 2265361"/>
              <a:gd name="connsiteX309" fmla="*/ 1135061 w 9905999"/>
              <a:gd name="connsiteY309" fmla="*/ 823912 h 2265361"/>
              <a:gd name="connsiteX310" fmla="*/ 1439862 w 9905999"/>
              <a:gd name="connsiteY310" fmla="*/ 0 h 2265361"/>
              <a:gd name="connsiteX311" fmla="*/ 1736724 w 9905999"/>
              <a:gd name="connsiteY311" fmla="*/ 0 h 2265361"/>
              <a:gd name="connsiteX312" fmla="*/ 1736724 w 9905999"/>
              <a:gd name="connsiteY312" fmla="*/ 1214437 h 2265361"/>
              <a:gd name="connsiteX313" fmla="*/ 1503362 w 9905999"/>
              <a:gd name="connsiteY313" fmla="*/ 1214437 h 2265361"/>
              <a:gd name="connsiteX314" fmla="*/ 1503362 w 9905999"/>
              <a:gd name="connsiteY314" fmla="*/ 419100 h 2265361"/>
              <a:gd name="connsiteX315" fmla="*/ 1216024 w 9905999"/>
              <a:gd name="connsiteY315" fmla="*/ 1196975 h 2265361"/>
              <a:gd name="connsiteX316" fmla="*/ 1039812 w 9905999"/>
              <a:gd name="connsiteY316" fmla="*/ 1196975 h 2265361"/>
              <a:gd name="connsiteX317" fmla="*/ 754062 w 9905999"/>
              <a:gd name="connsiteY317" fmla="*/ 409575 h 2265361"/>
              <a:gd name="connsiteX318" fmla="*/ 754062 w 9905999"/>
              <a:gd name="connsiteY318" fmla="*/ 1214437 h 2265361"/>
              <a:gd name="connsiteX319" fmla="*/ 520699 w 9905999"/>
              <a:gd name="connsiteY319" fmla="*/ 1214437 h 2265361"/>
              <a:gd name="connsiteX320" fmla="*/ 25400 w 9905999"/>
              <a:gd name="connsiteY320" fmla="*/ 0 h 2265361"/>
              <a:gd name="connsiteX321" fmla="*/ 268288 w 9905999"/>
              <a:gd name="connsiteY321" fmla="*/ 0 h 2265361"/>
              <a:gd name="connsiteX322" fmla="*/ 268288 w 9905999"/>
              <a:gd name="connsiteY322" fmla="*/ 1214437 h 2265361"/>
              <a:gd name="connsiteX323" fmla="*/ 25400 w 9905999"/>
              <a:gd name="connsiteY323" fmla="*/ 1214437 h 226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</a:cxnLst>
            <a:rect l="l" t="t" r="r" b="b"/>
            <a:pathLst>
              <a:path w="9905999" h="2265361">
                <a:moveTo>
                  <a:pt x="6778122" y="2222531"/>
                </a:moveTo>
                <a:cubicBezTo>
                  <a:pt x="6778122" y="2222531"/>
                  <a:pt x="6778122" y="2222531"/>
                  <a:pt x="7135812" y="2222531"/>
                </a:cubicBezTo>
                <a:lnTo>
                  <a:pt x="7135812" y="2265361"/>
                </a:lnTo>
                <a:cubicBezTo>
                  <a:pt x="7135812" y="2265361"/>
                  <a:pt x="7135812" y="2265361"/>
                  <a:pt x="6778122" y="2265361"/>
                </a:cubicBezTo>
                <a:cubicBezTo>
                  <a:pt x="6778122" y="2265361"/>
                  <a:pt x="6778122" y="2265361"/>
                  <a:pt x="6778122" y="2222531"/>
                </a:cubicBezTo>
                <a:close/>
                <a:moveTo>
                  <a:pt x="6449676" y="1769427"/>
                </a:moveTo>
                <a:cubicBezTo>
                  <a:pt x="6449676" y="1769427"/>
                  <a:pt x="6449676" y="1769427"/>
                  <a:pt x="6449676" y="1965546"/>
                </a:cubicBezTo>
                <a:cubicBezTo>
                  <a:pt x="6449676" y="1965546"/>
                  <a:pt x="6449676" y="1965546"/>
                  <a:pt x="6575655" y="1965546"/>
                </a:cubicBezTo>
                <a:cubicBezTo>
                  <a:pt x="6643144" y="1965546"/>
                  <a:pt x="6679138" y="1933987"/>
                  <a:pt x="6679138" y="1864105"/>
                </a:cubicBezTo>
                <a:cubicBezTo>
                  <a:pt x="6679138" y="1800986"/>
                  <a:pt x="6638645" y="1769427"/>
                  <a:pt x="6575655" y="1769427"/>
                </a:cubicBezTo>
                <a:cubicBezTo>
                  <a:pt x="6575655" y="1769427"/>
                  <a:pt x="6575655" y="1769427"/>
                  <a:pt x="6449676" y="1769427"/>
                </a:cubicBezTo>
                <a:close/>
                <a:moveTo>
                  <a:pt x="5021164" y="1769427"/>
                </a:moveTo>
                <a:cubicBezTo>
                  <a:pt x="5021164" y="1769427"/>
                  <a:pt x="5021164" y="1769427"/>
                  <a:pt x="5021164" y="1949767"/>
                </a:cubicBezTo>
                <a:cubicBezTo>
                  <a:pt x="5021164" y="1949767"/>
                  <a:pt x="5021164" y="1949767"/>
                  <a:pt x="5158391" y="1949767"/>
                </a:cubicBezTo>
                <a:cubicBezTo>
                  <a:pt x="5219131" y="1949767"/>
                  <a:pt x="5261874" y="1924970"/>
                  <a:pt x="5261874" y="1859597"/>
                </a:cubicBezTo>
                <a:cubicBezTo>
                  <a:pt x="5261874" y="1794223"/>
                  <a:pt x="5219131" y="1769427"/>
                  <a:pt x="5158391" y="1769427"/>
                </a:cubicBezTo>
                <a:cubicBezTo>
                  <a:pt x="5158391" y="1769427"/>
                  <a:pt x="5158391" y="1769427"/>
                  <a:pt x="5021164" y="1769427"/>
                </a:cubicBezTo>
                <a:close/>
                <a:moveTo>
                  <a:pt x="5597068" y="1762664"/>
                </a:moveTo>
                <a:cubicBezTo>
                  <a:pt x="5563324" y="1762664"/>
                  <a:pt x="5529579" y="1776189"/>
                  <a:pt x="5504834" y="1800986"/>
                </a:cubicBezTo>
                <a:cubicBezTo>
                  <a:pt x="5462091" y="1843817"/>
                  <a:pt x="5459841" y="1913699"/>
                  <a:pt x="5459841" y="1967800"/>
                </a:cubicBezTo>
                <a:cubicBezTo>
                  <a:pt x="5459841" y="2019648"/>
                  <a:pt x="5462091" y="2089530"/>
                  <a:pt x="5504834" y="2132361"/>
                </a:cubicBezTo>
                <a:cubicBezTo>
                  <a:pt x="5529579" y="2159412"/>
                  <a:pt x="5563324" y="2170683"/>
                  <a:pt x="5597068" y="2170683"/>
                </a:cubicBezTo>
                <a:cubicBezTo>
                  <a:pt x="5633062" y="2170683"/>
                  <a:pt x="5666807" y="2159412"/>
                  <a:pt x="5691552" y="2132361"/>
                </a:cubicBezTo>
                <a:cubicBezTo>
                  <a:pt x="5732046" y="2089530"/>
                  <a:pt x="5734295" y="2019648"/>
                  <a:pt x="5734295" y="1967800"/>
                </a:cubicBezTo>
                <a:cubicBezTo>
                  <a:pt x="5734295" y="1913699"/>
                  <a:pt x="5732046" y="1843817"/>
                  <a:pt x="5691552" y="1800986"/>
                </a:cubicBezTo>
                <a:cubicBezTo>
                  <a:pt x="5666807" y="1776189"/>
                  <a:pt x="5633062" y="1762664"/>
                  <a:pt x="5597068" y="1762664"/>
                </a:cubicBezTo>
                <a:close/>
                <a:moveTo>
                  <a:pt x="654642" y="1762664"/>
                </a:moveTo>
                <a:cubicBezTo>
                  <a:pt x="618647" y="1762664"/>
                  <a:pt x="584903" y="1776189"/>
                  <a:pt x="560157" y="1800986"/>
                </a:cubicBezTo>
                <a:cubicBezTo>
                  <a:pt x="519664" y="1843817"/>
                  <a:pt x="517414" y="1913699"/>
                  <a:pt x="517414" y="1967800"/>
                </a:cubicBezTo>
                <a:cubicBezTo>
                  <a:pt x="517414" y="2019648"/>
                  <a:pt x="519664" y="2089530"/>
                  <a:pt x="560157" y="2132361"/>
                </a:cubicBezTo>
                <a:cubicBezTo>
                  <a:pt x="584903" y="2159412"/>
                  <a:pt x="618647" y="2170683"/>
                  <a:pt x="654642" y="2170683"/>
                </a:cubicBezTo>
                <a:cubicBezTo>
                  <a:pt x="688386" y="2170683"/>
                  <a:pt x="722130" y="2159412"/>
                  <a:pt x="746876" y="2132361"/>
                </a:cubicBezTo>
                <a:cubicBezTo>
                  <a:pt x="789619" y="2089530"/>
                  <a:pt x="791868" y="2019648"/>
                  <a:pt x="791868" y="1967800"/>
                </a:cubicBezTo>
                <a:cubicBezTo>
                  <a:pt x="791868" y="1913699"/>
                  <a:pt x="789619" y="1843817"/>
                  <a:pt x="746876" y="1800986"/>
                </a:cubicBezTo>
                <a:cubicBezTo>
                  <a:pt x="722130" y="1776189"/>
                  <a:pt x="688386" y="1762664"/>
                  <a:pt x="654642" y="1762664"/>
                </a:cubicBezTo>
                <a:close/>
                <a:moveTo>
                  <a:pt x="6386687" y="1710816"/>
                </a:moveTo>
                <a:cubicBezTo>
                  <a:pt x="6386687" y="1710816"/>
                  <a:pt x="6386687" y="1710816"/>
                  <a:pt x="6575655" y="1710816"/>
                </a:cubicBezTo>
                <a:cubicBezTo>
                  <a:pt x="6636395" y="1710816"/>
                  <a:pt x="6679138" y="1726596"/>
                  <a:pt x="6706134" y="1755901"/>
                </a:cubicBezTo>
                <a:cubicBezTo>
                  <a:pt x="6730880" y="1782952"/>
                  <a:pt x="6744377" y="1821274"/>
                  <a:pt x="6744377" y="1864105"/>
                </a:cubicBezTo>
                <a:cubicBezTo>
                  <a:pt x="6744377" y="1915953"/>
                  <a:pt x="6730880" y="1954275"/>
                  <a:pt x="6701634" y="1981326"/>
                </a:cubicBezTo>
                <a:cubicBezTo>
                  <a:pt x="6674639" y="2008377"/>
                  <a:pt x="6634146" y="2024157"/>
                  <a:pt x="6577905" y="2024157"/>
                </a:cubicBezTo>
                <a:cubicBezTo>
                  <a:pt x="6577905" y="2024157"/>
                  <a:pt x="6577905" y="2024157"/>
                  <a:pt x="6449676" y="2024157"/>
                </a:cubicBezTo>
                <a:cubicBezTo>
                  <a:pt x="6449676" y="2024157"/>
                  <a:pt x="6449676" y="2024157"/>
                  <a:pt x="6449676" y="2222531"/>
                </a:cubicBezTo>
                <a:cubicBezTo>
                  <a:pt x="6449676" y="2222531"/>
                  <a:pt x="6449676" y="2222531"/>
                  <a:pt x="6386687" y="2222531"/>
                </a:cubicBezTo>
                <a:cubicBezTo>
                  <a:pt x="6386687" y="2222531"/>
                  <a:pt x="6386687" y="2222531"/>
                  <a:pt x="6386687" y="1710816"/>
                </a:cubicBezTo>
                <a:close/>
                <a:moveTo>
                  <a:pt x="5889520" y="1710816"/>
                </a:moveTo>
                <a:cubicBezTo>
                  <a:pt x="5889520" y="1710816"/>
                  <a:pt x="5889520" y="1710816"/>
                  <a:pt x="5954759" y="1710816"/>
                </a:cubicBezTo>
                <a:cubicBezTo>
                  <a:pt x="5954759" y="1710816"/>
                  <a:pt x="5954759" y="1710816"/>
                  <a:pt x="5954759" y="2035428"/>
                </a:cubicBezTo>
                <a:cubicBezTo>
                  <a:pt x="5954759" y="2118835"/>
                  <a:pt x="5988503" y="2172937"/>
                  <a:pt x="6076239" y="2172937"/>
                </a:cubicBezTo>
                <a:cubicBezTo>
                  <a:pt x="6166224" y="2172937"/>
                  <a:pt x="6199968" y="2118835"/>
                  <a:pt x="6199968" y="2035428"/>
                </a:cubicBezTo>
                <a:cubicBezTo>
                  <a:pt x="6199968" y="2035428"/>
                  <a:pt x="6199968" y="2035428"/>
                  <a:pt x="6199968" y="1710816"/>
                </a:cubicBezTo>
                <a:cubicBezTo>
                  <a:pt x="6199968" y="1710816"/>
                  <a:pt x="6199968" y="1710816"/>
                  <a:pt x="6262957" y="1710816"/>
                </a:cubicBezTo>
                <a:cubicBezTo>
                  <a:pt x="6262957" y="1710816"/>
                  <a:pt x="6262957" y="1710816"/>
                  <a:pt x="6262957" y="2035428"/>
                </a:cubicBezTo>
                <a:cubicBezTo>
                  <a:pt x="6262957" y="2163920"/>
                  <a:pt x="6190969" y="2231547"/>
                  <a:pt x="6076239" y="2231547"/>
                </a:cubicBezTo>
                <a:cubicBezTo>
                  <a:pt x="5961508" y="2231547"/>
                  <a:pt x="5889520" y="2163920"/>
                  <a:pt x="5889520" y="2035428"/>
                </a:cubicBezTo>
                <a:cubicBezTo>
                  <a:pt x="5889520" y="2035428"/>
                  <a:pt x="5889520" y="2035428"/>
                  <a:pt x="5889520" y="1710816"/>
                </a:cubicBezTo>
                <a:close/>
                <a:moveTo>
                  <a:pt x="4958174" y="1710816"/>
                </a:moveTo>
                <a:cubicBezTo>
                  <a:pt x="4958174" y="1710816"/>
                  <a:pt x="4958174" y="1710816"/>
                  <a:pt x="5158391" y="1710816"/>
                </a:cubicBezTo>
                <a:cubicBezTo>
                  <a:pt x="5219131" y="1710816"/>
                  <a:pt x="5259624" y="1726596"/>
                  <a:pt x="5288869" y="1755901"/>
                </a:cubicBezTo>
                <a:cubicBezTo>
                  <a:pt x="5313615" y="1782952"/>
                  <a:pt x="5329363" y="1814512"/>
                  <a:pt x="5329363" y="1859597"/>
                </a:cubicBezTo>
                <a:cubicBezTo>
                  <a:pt x="5329363" y="1904682"/>
                  <a:pt x="5313615" y="1936241"/>
                  <a:pt x="5288869" y="1961038"/>
                </a:cubicBezTo>
                <a:cubicBezTo>
                  <a:pt x="5275372" y="1976817"/>
                  <a:pt x="5252875" y="1990343"/>
                  <a:pt x="5228130" y="1997106"/>
                </a:cubicBezTo>
                <a:cubicBezTo>
                  <a:pt x="5228130" y="1997106"/>
                  <a:pt x="5228130" y="1997106"/>
                  <a:pt x="5331612" y="2222531"/>
                </a:cubicBezTo>
                <a:lnTo>
                  <a:pt x="5259624" y="2222531"/>
                </a:lnTo>
                <a:cubicBezTo>
                  <a:pt x="5259624" y="2222531"/>
                  <a:pt x="5259624" y="2222531"/>
                  <a:pt x="5162890" y="2010631"/>
                </a:cubicBezTo>
                <a:cubicBezTo>
                  <a:pt x="5162890" y="2010631"/>
                  <a:pt x="5162890" y="2010631"/>
                  <a:pt x="5021164" y="2010631"/>
                </a:cubicBezTo>
                <a:cubicBezTo>
                  <a:pt x="5021164" y="2010631"/>
                  <a:pt x="5021164" y="2010631"/>
                  <a:pt x="5021164" y="2222531"/>
                </a:cubicBezTo>
                <a:cubicBezTo>
                  <a:pt x="5021164" y="2222531"/>
                  <a:pt x="5021164" y="2222531"/>
                  <a:pt x="4958174" y="2222531"/>
                </a:cubicBezTo>
                <a:cubicBezTo>
                  <a:pt x="4958174" y="2222531"/>
                  <a:pt x="4958174" y="2222531"/>
                  <a:pt x="4958174" y="1710816"/>
                </a:cubicBezTo>
                <a:close/>
                <a:moveTo>
                  <a:pt x="3309199" y="1710816"/>
                </a:moveTo>
                <a:cubicBezTo>
                  <a:pt x="3309199" y="1710816"/>
                  <a:pt x="3309199" y="1710816"/>
                  <a:pt x="3381187" y="1710816"/>
                </a:cubicBezTo>
                <a:cubicBezTo>
                  <a:pt x="3381187" y="1710816"/>
                  <a:pt x="3381187" y="1710816"/>
                  <a:pt x="3633145" y="2123344"/>
                </a:cubicBezTo>
                <a:cubicBezTo>
                  <a:pt x="3633145" y="2123344"/>
                  <a:pt x="3633145" y="2123344"/>
                  <a:pt x="3633145" y="1710816"/>
                </a:cubicBezTo>
                <a:cubicBezTo>
                  <a:pt x="3633145" y="1710816"/>
                  <a:pt x="3633145" y="1710816"/>
                  <a:pt x="3693885" y="1710816"/>
                </a:cubicBezTo>
                <a:cubicBezTo>
                  <a:pt x="3693885" y="1710816"/>
                  <a:pt x="3693885" y="1710816"/>
                  <a:pt x="3693885" y="2222531"/>
                </a:cubicBezTo>
                <a:lnTo>
                  <a:pt x="3621897" y="2222531"/>
                </a:lnTo>
                <a:cubicBezTo>
                  <a:pt x="3621897" y="2222531"/>
                  <a:pt x="3621897" y="2222531"/>
                  <a:pt x="3372188" y="1810003"/>
                </a:cubicBezTo>
                <a:cubicBezTo>
                  <a:pt x="3372188" y="1810003"/>
                  <a:pt x="3372188" y="1810003"/>
                  <a:pt x="3372188" y="2222531"/>
                </a:cubicBezTo>
                <a:cubicBezTo>
                  <a:pt x="3372188" y="2222531"/>
                  <a:pt x="3372188" y="2222531"/>
                  <a:pt x="3309199" y="2222531"/>
                </a:cubicBezTo>
                <a:cubicBezTo>
                  <a:pt x="3309199" y="2222531"/>
                  <a:pt x="3309199" y="2222531"/>
                  <a:pt x="3309199" y="1710816"/>
                </a:cubicBezTo>
                <a:close/>
                <a:moveTo>
                  <a:pt x="3106732" y="1710816"/>
                </a:moveTo>
                <a:cubicBezTo>
                  <a:pt x="3106732" y="1710816"/>
                  <a:pt x="3106732" y="1710816"/>
                  <a:pt x="3171971" y="1710816"/>
                </a:cubicBezTo>
                <a:lnTo>
                  <a:pt x="3171971" y="2222531"/>
                </a:lnTo>
                <a:cubicBezTo>
                  <a:pt x="3171971" y="2222531"/>
                  <a:pt x="3171971" y="2222531"/>
                  <a:pt x="3106732" y="2222531"/>
                </a:cubicBezTo>
                <a:cubicBezTo>
                  <a:pt x="3106732" y="2222531"/>
                  <a:pt x="3106732" y="2222531"/>
                  <a:pt x="3106732" y="1710816"/>
                </a:cubicBezTo>
                <a:close/>
                <a:moveTo>
                  <a:pt x="2663557" y="1710816"/>
                </a:moveTo>
                <a:cubicBezTo>
                  <a:pt x="2663557" y="1710816"/>
                  <a:pt x="2663557" y="1710816"/>
                  <a:pt x="3032495" y="1710816"/>
                </a:cubicBezTo>
                <a:cubicBezTo>
                  <a:pt x="3032495" y="1710816"/>
                  <a:pt x="3032495" y="1710816"/>
                  <a:pt x="3032495" y="1769427"/>
                </a:cubicBezTo>
                <a:lnTo>
                  <a:pt x="2879521" y="1769427"/>
                </a:lnTo>
                <a:cubicBezTo>
                  <a:pt x="2879521" y="1769427"/>
                  <a:pt x="2879521" y="1769427"/>
                  <a:pt x="2879521" y="2222531"/>
                </a:cubicBezTo>
                <a:cubicBezTo>
                  <a:pt x="2879521" y="2222531"/>
                  <a:pt x="2879521" y="2222531"/>
                  <a:pt x="2814282" y="2222531"/>
                </a:cubicBezTo>
                <a:cubicBezTo>
                  <a:pt x="2814282" y="2222531"/>
                  <a:pt x="2814282" y="2222531"/>
                  <a:pt x="2814282" y="1769427"/>
                </a:cubicBezTo>
                <a:cubicBezTo>
                  <a:pt x="2814282" y="1769427"/>
                  <a:pt x="2814282" y="1769427"/>
                  <a:pt x="2663557" y="1769427"/>
                </a:cubicBezTo>
                <a:cubicBezTo>
                  <a:pt x="2663557" y="1769427"/>
                  <a:pt x="2663557" y="1769427"/>
                  <a:pt x="2663557" y="1710816"/>
                </a:cubicBezTo>
                <a:close/>
                <a:moveTo>
                  <a:pt x="2416099" y="1710816"/>
                </a:moveTo>
                <a:cubicBezTo>
                  <a:pt x="2416099" y="1710816"/>
                  <a:pt x="2416099" y="1710816"/>
                  <a:pt x="2481338" y="1710816"/>
                </a:cubicBezTo>
                <a:cubicBezTo>
                  <a:pt x="2481338" y="1710816"/>
                  <a:pt x="2481338" y="1710816"/>
                  <a:pt x="2481338" y="2163920"/>
                </a:cubicBezTo>
                <a:cubicBezTo>
                  <a:pt x="2481338" y="2163920"/>
                  <a:pt x="2481338" y="2163920"/>
                  <a:pt x="2726547" y="2163920"/>
                </a:cubicBezTo>
                <a:cubicBezTo>
                  <a:pt x="2726547" y="2163920"/>
                  <a:pt x="2726547" y="2163920"/>
                  <a:pt x="2726547" y="2222531"/>
                </a:cubicBezTo>
                <a:lnTo>
                  <a:pt x="2416099" y="2222531"/>
                </a:lnTo>
                <a:cubicBezTo>
                  <a:pt x="2416099" y="2222531"/>
                  <a:pt x="2416099" y="2222531"/>
                  <a:pt x="2416099" y="1710816"/>
                </a:cubicBezTo>
                <a:close/>
                <a:moveTo>
                  <a:pt x="1918931" y="1710816"/>
                </a:moveTo>
                <a:cubicBezTo>
                  <a:pt x="1918931" y="1710816"/>
                  <a:pt x="1918931" y="1710816"/>
                  <a:pt x="1984171" y="1710816"/>
                </a:cubicBezTo>
                <a:cubicBezTo>
                  <a:pt x="1984171" y="1710816"/>
                  <a:pt x="1984171" y="1710816"/>
                  <a:pt x="1984171" y="2035428"/>
                </a:cubicBezTo>
                <a:cubicBezTo>
                  <a:pt x="1984171" y="2118835"/>
                  <a:pt x="2017916" y="2172937"/>
                  <a:pt x="2105651" y="2172937"/>
                </a:cubicBezTo>
                <a:cubicBezTo>
                  <a:pt x="2195636" y="2172937"/>
                  <a:pt x="2229380" y="2118835"/>
                  <a:pt x="2229380" y="2035428"/>
                </a:cubicBezTo>
                <a:cubicBezTo>
                  <a:pt x="2229380" y="2035428"/>
                  <a:pt x="2229380" y="2035428"/>
                  <a:pt x="2229380" y="1710816"/>
                </a:cubicBezTo>
                <a:cubicBezTo>
                  <a:pt x="2229380" y="1710816"/>
                  <a:pt x="2229380" y="1710816"/>
                  <a:pt x="2292369" y="1710816"/>
                </a:cubicBezTo>
                <a:cubicBezTo>
                  <a:pt x="2292369" y="1710816"/>
                  <a:pt x="2292369" y="1710816"/>
                  <a:pt x="2292369" y="2035428"/>
                </a:cubicBezTo>
                <a:cubicBezTo>
                  <a:pt x="2292369" y="2163920"/>
                  <a:pt x="2220382" y="2231547"/>
                  <a:pt x="2105651" y="2231547"/>
                </a:cubicBezTo>
                <a:cubicBezTo>
                  <a:pt x="1990920" y="2231547"/>
                  <a:pt x="1918931" y="2163920"/>
                  <a:pt x="1918931" y="2035428"/>
                </a:cubicBezTo>
                <a:cubicBezTo>
                  <a:pt x="1918931" y="2035428"/>
                  <a:pt x="1918931" y="2035428"/>
                  <a:pt x="1918931" y="1710816"/>
                </a:cubicBezTo>
                <a:close/>
                <a:moveTo>
                  <a:pt x="960591" y="1710816"/>
                </a:moveTo>
                <a:cubicBezTo>
                  <a:pt x="960591" y="1710816"/>
                  <a:pt x="960591" y="1710816"/>
                  <a:pt x="1032578" y="1710816"/>
                </a:cubicBezTo>
                <a:cubicBezTo>
                  <a:pt x="1032578" y="1710816"/>
                  <a:pt x="1032578" y="1710816"/>
                  <a:pt x="1284537" y="2123344"/>
                </a:cubicBezTo>
                <a:cubicBezTo>
                  <a:pt x="1284537" y="2123344"/>
                  <a:pt x="1284537" y="2123344"/>
                  <a:pt x="1284537" y="1710816"/>
                </a:cubicBezTo>
                <a:cubicBezTo>
                  <a:pt x="1284537" y="1710816"/>
                  <a:pt x="1284537" y="1710816"/>
                  <a:pt x="1345276" y="1710816"/>
                </a:cubicBezTo>
                <a:cubicBezTo>
                  <a:pt x="1345276" y="1710816"/>
                  <a:pt x="1345276" y="1710816"/>
                  <a:pt x="1345276" y="2222531"/>
                </a:cubicBezTo>
                <a:lnTo>
                  <a:pt x="1273289" y="2222531"/>
                </a:lnTo>
                <a:cubicBezTo>
                  <a:pt x="1273289" y="2222531"/>
                  <a:pt x="1273289" y="2222531"/>
                  <a:pt x="1023580" y="1810003"/>
                </a:cubicBezTo>
                <a:cubicBezTo>
                  <a:pt x="1023580" y="1810003"/>
                  <a:pt x="1023580" y="1810003"/>
                  <a:pt x="1023580" y="2222531"/>
                </a:cubicBezTo>
                <a:cubicBezTo>
                  <a:pt x="1023580" y="2222531"/>
                  <a:pt x="1023580" y="2222531"/>
                  <a:pt x="960591" y="2222531"/>
                </a:cubicBezTo>
                <a:cubicBezTo>
                  <a:pt x="960591" y="2222531"/>
                  <a:pt x="960591" y="2222531"/>
                  <a:pt x="960591" y="1710816"/>
                </a:cubicBezTo>
                <a:close/>
                <a:moveTo>
                  <a:pt x="5597068" y="1701799"/>
                </a:moveTo>
                <a:cubicBezTo>
                  <a:pt x="5648810" y="1701799"/>
                  <a:pt x="5698301" y="1719833"/>
                  <a:pt x="5736545" y="1755901"/>
                </a:cubicBezTo>
                <a:cubicBezTo>
                  <a:pt x="5790536" y="1810003"/>
                  <a:pt x="5801784" y="1884393"/>
                  <a:pt x="5801784" y="1967800"/>
                </a:cubicBezTo>
                <a:cubicBezTo>
                  <a:pt x="5801784" y="2048953"/>
                  <a:pt x="5790536" y="2123344"/>
                  <a:pt x="5736545" y="2177446"/>
                </a:cubicBezTo>
                <a:cubicBezTo>
                  <a:pt x="5698301" y="2213514"/>
                  <a:pt x="5648810" y="2233802"/>
                  <a:pt x="5597068" y="2233802"/>
                </a:cubicBezTo>
                <a:cubicBezTo>
                  <a:pt x="5547576" y="2233802"/>
                  <a:pt x="5495835" y="2213514"/>
                  <a:pt x="5459841" y="2177446"/>
                </a:cubicBezTo>
                <a:cubicBezTo>
                  <a:pt x="5403600" y="2123344"/>
                  <a:pt x="5394602" y="2048953"/>
                  <a:pt x="5394602" y="1967800"/>
                </a:cubicBezTo>
                <a:cubicBezTo>
                  <a:pt x="5394602" y="1884393"/>
                  <a:pt x="5403600" y="1810003"/>
                  <a:pt x="5459841" y="1755901"/>
                </a:cubicBezTo>
                <a:cubicBezTo>
                  <a:pt x="5495835" y="1719833"/>
                  <a:pt x="5547576" y="1701799"/>
                  <a:pt x="5597068" y="1701799"/>
                </a:cubicBezTo>
                <a:close/>
                <a:moveTo>
                  <a:pt x="4645477" y="1701799"/>
                </a:moveTo>
                <a:cubicBezTo>
                  <a:pt x="4701717" y="1701799"/>
                  <a:pt x="4755708" y="1722087"/>
                  <a:pt x="4791702" y="1758155"/>
                </a:cubicBezTo>
                <a:cubicBezTo>
                  <a:pt x="4816448" y="1785206"/>
                  <a:pt x="4832195" y="1816766"/>
                  <a:pt x="4834445" y="1859597"/>
                </a:cubicBezTo>
                <a:cubicBezTo>
                  <a:pt x="4834445" y="1859597"/>
                  <a:pt x="4834445" y="1859597"/>
                  <a:pt x="4766956" y="1859597"/>
                </a:cubicBezTo>
                <a:cubicBezTo>
                  <a:pt x="4764707" y="1834800"/>
                  <a:pt x="4757958" y="1819020"/>
                  <a:pt x="4744460" y="1803240"/>
                </a:cubicBezTo>
                <a:cubicBezTo>
                  <a:pt x="4721964" y="1773935"/>
                  <a:pt x="4685970" y="1762664"/>
                  <a:pt x="4645477" y="1762664"/>
                </a:cubicBezTo>
                <a:cubicBezTo>
                  <a:pt x="4609482" y="1762664"/>
                  <a:pt x="4575738" y="1776189"/>
                  <a:pt x="4550992" y="1800986"/>
                </a:cubicBezTo>
                <a:cubicBezTo>
                  <a:pt x="4510499" y="1843817"/>
                  <a:pt x="4506000" y="1913699"/>
                  <a:pt x="4506000" y="1967800"/>
                </a:cubicBezTo>
                <a:cubicBezTo>
                  <a:pt x="4506000" y="2017394"/>
                  <a:pt x="4510499" y="2091784"/>
                  <a:pt x="4553242" y="2134615"/>
                </a:cubicBezTo>
                <a:cubicBezTo>
                  <a:pt x="4577988" y="2161666"/>
                  <a:pt x="4609482" y="2172937"/>
                  <a:pt x="4645477" y="2172937"/>
                </a:cubicBezTo>
                <a:cubicBezTo>
                  <a:pt x="4681471" y="2172937"/>
                  <a:pt x="4715215" y="2159412"/>
                  <a:pt x="4737711" y="2136869"/>
                </a:cubicBezTo>
                <a:cubicBezTo>
                  <a:pt x="4771456" y="2103055"/>
                  <a:pt x="4780454" y="2053462"/>
                  <a:pt x="4780454" y="2006123"/>
                </a:cubicBezTo>
                <a:cubicBezTo>
                  <a:pt x="4780454" y="2006123"/>
                  <a:pt x="4780454" y="2006123"/>
                  <a:pt x="4645477" y="2006123"/>
                </a:cubicBezTo>
                <a:cubicBezTo>
                  <a:pt x="4645477" y="2006123"/>
                  <a:pt x="4645477" y="2006123"/>
                  <a:pt x="4645477" y="1947512"/>
                </a:cubicBezTo>
                <a:cubicBezTo>
                  <a:pt x="4645477" y="1947512"/>
                  <a:pt x="4645477" y="1947512"/>
                  <a:pt x="4838944" y="1947512"/>
                </a:cubicBezTo>
                <a:cubicBezTo>
                  <a:pt x="4838944" y="1947512"/>
                  <a:pt x="4838944" y="1947512"/>
                  <a:pt x="4838944" y="2222531"/>
                </a:cubicBezTo>
                <a:lnTo>
                  <a:pt x="4793952" y="2222531"/>
                </a:lnTo>
                <a:cubicBezTo>
                  <a:pt x="4793952" y="2222531"/>
                  <a:pt x="4793952" y="2222531"/>
                  <a:pt x="4782704" y="2161666"/>
                </a:cubicBezTo>
                <a:cubicBezTo>
                  <a:pt x="4757958" y="2204497"/>
                  <a:pt x="4701717" y="2233802"/>
                  <a:pt x="4645477" y="2233802"/>
                </a:cubicBezTo>
                <a:cubicBezTo>
                  <a:pt x="4593735" y="2233802"/>
                  <a:pt x="4544243" y="2215768"/>
                  <a:pt x="4506000" y="2179700"/>
                </a:cubicBezTo>
                <a:cubicBezTo>
                  <a:pt x="4454258" y="2130106"/>
                  <a:pt x="4440761" y="2057970"/>
                  <a:pt x="4440761" y="1967800"/>
                </a:cubicBezTo>
                <a:cubicBezTo>
                  <a:pt x="4440761" y="1884393"/>
                  <a:pt x="4452009" y="1810003"/>
                  <a:pt x="4506000" y="1755901"/>
                </a:cubicBezTo>
                <a:cubicBezTo>
                  <a:pt x="4544243" y="1719833"/>
                  <a:pt x="4593735" y="1701799"/>
                  <a:pt x="4645477" y="1701799"/>
                </a:cubicBezTo>
                <a:close/>
                <a:moveTo>
                  <a:pt x="4002083" y="1701799"/>
                </a:moveTo>
                <a:cubicBezTo>
                  <a:pt x="4060574" y="1701799"/>
                  <a:pt x="4112315" y="1722087"/>
                  <a:pt x="4148309" y="1758155"/>
                </a:cubicBezTo>
                <a:cubicBezTo>
                  <a:pt x="4173055" y="1785206"/>
                  <a:pt x="4191052" y="1816766"/>
                  <a:pt x="4193302" y="1859597"/>
                </a:cubicBezTo>
                <a:cubicBezTo>
                  <a:pt x="4193302" y="1859597"/>
                  <a:pt x="4193302" y="1859597"/>
                  <a:pt x="4125813" y="1859597"/>
                </a:cubicBezTo>
                <a:cubicBezTo>
                  <a:pt x="4123563" y="1834800"/>
                  <a:pt x="4114565" y="1819020"/>
                  <a:pt x="4103317" y="1803240"/>
                </a:cubicBezTo>
                <a:cubicBezTo>
                  <a:pt x="4078571" y="1773935"/>
                  <a:pt x="4044826" y="1762664"/>
                  <a:pt x="4002083" y="1762664"/>
                </a:cubicBezTo>
                <a:cubicBezTo>
                  <a:pt x="3968339" y="1762664"/>
                  <a:pt x="3934595" y="1776189"/>
                  <a:pt x="3909849" y="1800986"/>
                </a:cubicBezTo>
                <a:cubicBezTo>
                  <a:pt x="3867106" y="1843817"/>
                  <a:pt x="3864856" y="1913699"/>
                  <a:pt x="3864856" y="1967800"/>
                </a:cubicBezTo>
                <a:cubicBezTo>
                  <a:pt x="3864856" y="2017394"/>
                  <a:pt x="3867106" y="2091784"/>
                  <a:pt x="3909849" y="2134615"/>
                </a:cubicBezTo>
                <a:cubicBezTo>
                  <a:pt x="3934595" y="2161666"/>
                  <a:pt x="3968339" y="2172937"/>
                  <a:pt x="4002083" y="2172937"/>
                </a:cubicBezTo>
                <a:cubicBezTo>
                  <a:pt x="4038077" y="2172937"/>
                  <a:pt x="4071822" y="2159412"/>
                  <a:pt x="4094318" y="2136869"/>
                </a:cubicBezTo>
                <a:cubicBezTo>
                  <a:pt x="4130312" y="2103055"/>
                  <a:pt x="4139311" y="2053462"/>
                  <a:pt x="4139311" y="2006123"/>
                </a:cubicBezTo>
                <a:cubicBezTo>
                  <a:pt x="4139311" y="2006123"/>
                  <a:pt x="4139311" y="2006123"/>
                  <a:pt x="4002083" y="2006123"/>
                </a:cubicBezTo>
                <a:cubicBezTo>
                  <a:pt x="4002083" y="2006123"/>
                  <a:pt x="4002083" y="2006123"/>
                  <a:pt x="4002083" y="1947512"/>
                </a:cubicBezTo>
                <a:cubicBezTo>
                  <a:pt x="4002083" y="1947512"/>
                  <a:pt x="4002083" y="1947512"/>
                  <a:pt x="4197801" y="1947512"/>
                </a:cubicBezTo>
                <a:cubicBezTo>
                  <a:pt x="4197801" y="1947512"/>
                  <a:pt x="4197801" y="1947512"/>
                  <a:pt x="4197801" y="2222531"/>
                </a:cubicBezTo>
                <a:lnTo>
                  <a:pt x="4152808" y="2222531"/>
                </a:lnTo>
                <a:cubicBezTo>
                  <a:pt x="4152808" y="2222531"/>
                  <a:pt x="4152808" y="2222531"/>
                  <a:pt x="4141560" y="2161666"/>
                </a:cubicBezTo>
                <a:cubicBezTo>
                  <a:pt x="4116814" y="2204497"/>
                  <a:pt x="4060574" y="2233802"/>
                  <a:pt x="4002083" y="2233802"/>
                </a:cubicBezTo>
                <a:cubicBezTo>
                  <a:pt x="3950342" y="2233802"/>
                  <a:pt x="3900850" y="2215768"/>
                  <a:pt x="3864856" y="2179700"/>
                </a:cubicBezTo>
                <a:cubicBezTo>
                  <a:pt x="3813115" y="2130106"/>
                  <a:pt x="3797367" y="2057970"/>
                  <a:pt x="3797367" y="1967800"/>
                </a:cubicBezTo>
                <a:cubicBezTo>
                  <a:pt x="3797367" y="1884393"/>
                  <a:pt x="3808616" y="1810003"/>
                  <a:pt x="3864856" y="1755901"/>
                </a:cubicBezTo>
                <a:cubicBezTo>
                  <a:pt x="3900850" y="1719833"/>
                  <a:pt x="3950342" y="1701799"/>
                  <a:pt x="4002083" y="1701799"/>
                </a:cubicBezTo>
                <a:close/>
                <a:moveTo>
                  <a:pt x="1642228" y="1701799"/>
                </a:moveTo>
                <a:cubicBezTo>
                  <a:pt x="1691719" y="1701799"/>
                  <a:pt x="1741211" y="1717579"/>
                  <a:pt x="1774955" y="1749138"/>
                </a:cubicBezTo>
                <a:cubicBezTo>
                  <a:pt x="1806450" y="1780698"/>
                  <a:pt x="1822198" y="1816766"/>
                  <a:pt x="1824447" y="1859597"/>
                </a:cubicBezTo>
                <a:cubicBezTo>
                  <a:pt x="1824447" y="1859597"/>
                  <a:pt x="1824447" y="1859597"/>
                  <a:pt x="1756958" y="1859597"/>
                </a:cubicBezTo>
                <a:cubicBezTo>
                  <a:pt x="1754708" y="1834800"/>
                  <a:pt x="1745710" y="1812257"/>
                  <a:pt x="1732212" y="1796478"/>
                </a:cubicBezTo>
                <a:cubicBezTo>
                  <a:pt x="1711966" y="1773935"/>
                  <a:pt x="1680471" y="1760410"/>
                  <a:pt x="1639978" y="1760410"/>
                </a:cubicBezTo>
                <a:cubicBezTo>
                  <a:pt x="1603983" y="1760410"/>
                  <a:pt x="1572489" y="1769427"/>
                  <a:pt x="1549993" y="1796478"/>
                </a:cubicBezTo>
                <a:cubicBezTo>
                  <a:pt x="1536494" y="1810003"/>
                  <a:pt x="1529746" y="1828037"/>
                  <a:pt x="1529746" y="1850580"/>
                </a:cubicBezTo>
                <a:cubicBezTo>
                  <a:pt x="1529746" y="1897919"/>
                  <a:pt x="1567989" y="1918207"/>
                  <a:pt x="1606234" y="1922716"/>
                </a:cubicBezTo>
                <a:cubicBezTo>
                  <a:pt x="1635478" y="1927224"/>
                  <a:pt x="1662474" y="1931733"/>
                  <a:pt x="1691719" y="1936241"/>
                </a:cubicBezTo>
                <a:cubicBezTo>
                  <a:pt x="1774955" y="1949767"/>
                  <a:pt x="1833445" y="2001614"/>
                  <a:pt x="1833445" y="2082767"/>
                </a:cubicBezTo>
                <a:cubicBezTo>
                  <a:pt x="1833445" y="2125598"/>
                  <a:pt x="1815448" y="2157157"/>
                  <a:pt x="1790703" y="2181954"/>
                </a:cubicBezTo>
                <a:cubicBezTo>
                  <a:pt x="1754708" y="2215768"/>
                  <a:pt x="1698468" y="2231547"/>
                  <a:pt x="1644477" y="2231547"/>
                </a:cubicBezTo>
                <a:cubicBezTo>
                  <a:pt x="1581488" y="2231547"/>
                  <a:pt x="1531996" y="2215768"/>
                  <a:pt x="1498251" y="2184208"/>
                </a:cubicBezTo>
                <a:cubicBezTo>
                  <a:pt x="1466757" y="2152649"/>
                  <a:pt x="1444260" y="2109818"/>
                  <a:pt x="1444260" y="2060225"/>
                </a:cubicBezTo>
                <a:cubicBezTo>
                  <a:pt x="1444260" y="2060225"/>
                  <a:pt x="1444260" y="2060225"/>
                  <a:pt x="1509499" y="2060225"/>
                </a:cubicBezTo>
                <a:cubicBezTo>
                  <a:pt x="1509499" y="2091784"/>
                  <a:pt x="1525247" y="2121089"/>
                  <a:pt x="1545494" y="2141378"/>
                </a:cubicBezTo>
                <a:cubicBezTo>
                  <a:pt x="1570239" y="2163920"/>
                  <a:pt x="1608483" y="2172937"/>
                  <a:pt x="1644477" y="2172937"/>
                </a:cubicBezTo>
                <a:cubicBezTo>
                  <a:pt x="1682720" y="2172937"/>
                  <a:pt x="1716465" y="2166174"/>
                  <a:pt x="1738962" y="2143632"/>
                </a:cubicBezTo>
                <a:cubicBezTo>
                  <a:pt x="1754708" y="2130106"/>
                  <a:pt x="1765956" y="2109818"/>
                  <a:pt x="1765956" y="2082767"/>
                </a:cubicBezTo>
                <a:cubicBezTo>
                  <a:pt x="1765956" y="2044445"/>
                  <a:pt x="1741211" y="2010631"/>
                  <a:pt x="1680471" y="2001614"/>
                </a:cubicBezTo>
                <a:cubicBezTo>
                  <a:pt x="1680471" y="2001614"/>
                  <a:pt x="1680471" y="2001614"/>
                  <a:pt x="1599484" y="1988089"/>
                </a:cubicBezTo>
                <a:cubicBezTo>
                  <a:pt x="1522997" y="1976817"/>
                  <a:pt x="1462257" y="1933987"/>
                  <a:pt x="1462257" y="1852834"/>
                </a:cubicBezTo>
                <a:cubicBezTo>
                  <a:pt x="1462257" y="1814512"/>
                  <a:pt x="1480254" y="1778444"/>
                  <a:pt x="1507249" y="1751393"/>
                </a:cubicBezTo>
                <a:cubicBezTo>
                  <a:pt x="1543244" y="1717579"/>
                  <a:pt x="1588236" y="1701799"/>
                  <a:pt x="1642228" y="1701799"/>
                </a:cubicBezTo>
                <a:close/>
                <a:moveTo>
                  <a:pt x="654642" y="1701799"/>
                </a:moveTo>
                <a:cubicBezTo>
                  <a:pt x="704133" y="1701799"/>
                  <a:pt x="755874" y="1719833"/>
                  <a:pt x="791868" y="1755901"/>
                </a:cubicBezTo>
                <a:cubicBezTo>
                  <a:pt x="848110" y="1810003"/>
                  <a:pt x="857108" y="1884393"/>
                  <a:pt x="857108" y="1967800"/>
                </a:cubicBezTo>
                <a:cubicBezTo>
                  <a:pt x="857108" y="2048953"/>
                  <a:pt x="848110" y="2123344"/>
                  <a:pt x="791868" y="2177446"/>
                </a:cubicBezTo>
                <a:cubicBezTo>
                  <a:pt x="755874" y="2213514"/>
                  <a:pt x="704133" y="2233802"/>
                  <a:pt x="654642" y="2233802"/>
                </a:cubicBezTo>
                <a:cubicBezTo>
                  <a:pt x="602900" y="2233802"/>
                  <a:pt x="553408" y="2213514"/>
                  <a:pt x="515164" y="2177446"/>
                </a:cubicBezTo>
                <a:cubicBezTo>
                  <a:pt x="461173" y="2123344"/>
                  <a:pt x="449925" y="2048953"/>
                  <a:pt x="449925" y="1967800"/>
                </a:cubicBezTo>
                <a:cubicBezTo>
                  <a:pt x="449925" y="1884393"/>
                  <a:pt x="461173" y="1810003"/>
                  <a:pt x="515164" y="1755901"/>
                </a:cubicBezTo>
                <a:cubicBezTo>
                  <a:pt x="553408" y="1719833"/>
                  <a:pt x="602900" y="1701799"/>
                  <a:pt x="654642" y="1701799"/>
                </a:cubicBezTo>
                <a:close/>
                <a:moveTo>
                  <a:pt x="202466" y="1701799"/>
                </a:moveTo>
                <a:cubicBezTo>
                  <a:pt x="258707" y="1701799"/>
                  <a:pt x="308199" y="1722087"/>
                  <a:pt x="339693" y="1753647"/>
                </a:cubicBezTo>
                <a:cubicBezTo>
                  <a:pt x="368939" y="1782952"/>
                  <a:pt x="386936" y="1823529"/>
                  <a:pt x="389185" y="1870868"/>
                </a:cubicBezTo>
                <a:cubicBezTo>
                  <a:pt x="389185" y="1870868"/>
                  <a:pt x="389185" y="1870868"/>
                  <a:pt x="323946" y="1870868"/>
                </a:cubicBezTo>
                <a:cubicBezTo>
                  <a:pt x="321697" y="1841563"/>
                  <a:pt x="312698" y="1819020"/>
                  <a:pt x="294701" y="1798732"/>
                </a:cubicBezTo>
                <a:cubicBezTo>
                  <a:pt x="274454" y="1776189"/>
                  <a:pt x="240710" y="1762664"/>
                  <a:pt x="202466" y="1762664"/>
                </a:cubicBezTo>
                <a:cubicBezTo>
                  <a:pt x="168722" y="1762664"/>
                  <a:pt x="134978" y="1776189"/>
                  <a:pt x="110232" y="1800986"/>
                </a:cubicBezTo>
                <a:cubicBezTo>
                  <a:pt x="67489" y="1843817"/>
                  <a:pt x="67489" y="1913699"/>
                  <a:pt x="67489" y="1967800"/>
                </a:cubicBezTo>
                <a:cubicBezTo>
                  <a:pt x="67489" y="2019648"/>
                  <a:pt x="67489" y="2089530"/>
                  <a:pt x="110232" y="2132361"/>
                </a:cubicBezTo>
                <a:cubicBezTo>
                  <a:pt x="134978" y="2159412"/>
                  <a:pt x="168722" y="2172937"/>
                  <a:pt x="202466" y="2172937"/>
                </a:cubicBezTo>
                <a:cubicBezTo>
                  <a:pt x="240710" y="2172937"/>
                  <a:pt x="276704" y="2154903"/>
                  <a:pt x="296951" y="2132361"/>
                </a:cubicBezTo>
                <a:cubicBezTo>
                  <a:pt x="312698" y="2114327"/>
                  <a:pt x="323946" y="2087276"/>
                  <a:pt x="323946" y="2060225"/>
                </a:cubicBezTo>
                <a:cubicBezTo>
                  <a:pt x="323946" y="2060225"/>
                  <a:pt x="323946" y="2060225"/>
                  <a:pt x="391435" y="2060225"/>
                </a:cubicBezTo>
                <a:cubicBezTo>
                  <a:pt x="389185" y="2107564"/>
                  <a:pt x="368939" y="2148140"/>
                  <a:pt x="339693" y="2177446"/>
                </a:cubicBezTo>
                <a:cubicBezTo>
                  <a:pt x="308199" y="2209005"/>
                  <a:pt x="258707" y="2233802"/>
                  <a:pt x="202466" y="2233802"/>
                </a:cubicBezTo>
                <a:cubicBezTo>
                  <a:pt x="150725" y="2233802"/>
                  <a:pt x="101233" y="2213514"/>
                  <a:pt x="65239" y="2177446"/>
                </a:cubicBezTo>
                <a:cubicBezTo>
                  <a:pt x="8999" y="2123344"/>
                  <a:pt x="0" y="2048953"/>
                  <a:pt x="0" y="1967800"/>
                </a:cubicBezTo>
                <a:cubicBezTo>
                  <a:pt x="0" y="1884393"/>
                  <a:pt x="8999" y="1810003"/>
                  <a:pt x="65239" y="1755901"/>
                </a:cubicBezTo>
                <a:cubicBezTo>
                  <a:pt x="101233" y="1719833"/>
                  <a:pt x="150725" y="1701799"/>
                  <a:pt x="202466" y="1701799"/>
                </a:cubicBezTo>
                <a:close/>
                <a:moveTo>
                  <a:pt x="2227389" y="214047"/>
                </a:moveTo>
                <a:cubicBezTo>
                  <a:pt x="2227389" y="214047"/>
                  <a:pt x="2227389" y="214047"/>
                  <a:pt x="2227389" y="574548"/>
                </a:cubicBezTo>
                <a:cubicBezTo>
                  <a:pt x="2227389" y="574548"/>
                  <a:pt x="2227389" y="574548"/>
                  <a:pt x="2456649" y="574548"/>
                </a:cubicBezTo>
                <a:cubicBezTo>
                  <a:pt x="2584765" y="574548"/>
                  <a:pt x="2654442" y="509207"/>
                  <a:pt x="2654442" y="394298"/>
                </a:cubicBezTo>
                <a:cubicBezTo>
                  <a:pt x="2654442" y="277135"/>
                  <a:pt x="2584765" y="214047"/>
                  <a:pt x="2456649" y="214047"/>
                </a:cubicBezTo>
                <a:cubicBezTo>
                  <a:pt x="2456649" y="214047"/>
                  <a:pt x="2456649" y="214047"/>
                  <a:pt x="2227389" y="214047"/>
                </a:cubicBezTo>
                <a:close/>
                <a:moveTo>
                  <a:pt x="8961436" y="0"/>
                </a:moveTo>
                <a:lnTo>
                  <a:pt x="9905999" y="0"/>
                </a:lnTo>
                <a:lnTo>
                  <a:pt x="9905999" y="225425"/>
                </a:lnTo>
                <a:lnTo>
                  <a:pt x="9555161" y="225425"/>
                </a:lnTo>
                <a:lnTo>
                  <a:pt x="9555161" y="1214437"/>
                </a:lnTo>
                <a:lnTo>
                  <a:pt x="9315449" y="1214437"/>
                </a:lnTo>
                <a:lnTo>
                  <a:pt x="9315449" y="225425"/>
                </a:lnTo>
                <a:lnTo>
                  <a:pt x="8961436" y="225425"/>
                </a:lnTo>
                <a:close/>
                <a:moveTo>
                  <a:pt x="7785099" y="0"/>
                </a:moveTo>
                <a:lnTo>
                  <a:pt x="8035924" y="0"/>
                </a:lnTo>
                <a:lnTo>
                  <a:pt x="8037512" y="3175"/>
                </a:lnTo>
                <a:lnTo>
                  <a:pt x="8523286" y="774700"/>
                </a:lnTo>
                <a:lnTo>
                  <a:pt x="8523286" y="0"/>
                </a:lnTo>
                <a:lnTo>
                  <a:pt x="8759824" y="0"/>
                </a:lnTo>
                <a:lnTo>
                  <a:pt x="8759824" y="1214437"/>
                </a:lnTo>
                <a:lnTo>
                  <a:pt x="8518524" y="1214437"/>
                </a:lnTo>
                <a:lnTo>
                  <a:pt x="8024812" y="425450"/>
                </a:lnTo>
                <a:lnTo>
                  <a:pt x="8024812" y="1214437"/>
                </a:lnTo>
                <a:lnTo>
                  <a:pt x="7785099" y="1214437"/>
                </a:lnTo>
                <a:close/>
                <a:moveTo>
                  <a:pt x="6665911" y="0"/>
                </a:moveTo>
                <a:lnTo>
                  <a:pt x="7535861" y="0"/>
                </a:lnTo>
                <a:lnTo>
                  <a:pt x="7535861" y="220663"/>
                </a:lnTo>
                <a:lnTo>
                  <a:pt x="6905624" y="220663"/>
                </a:lnTo>
                <a:lnTo>
                  <a:pt x="6905624" y="473075"/>
                </a:lnTo>
                <a:lnTo>
                  <a:pt x="7459661" y="473075"/>
                </a:lnTo>
                <a:lnTo>
                  <a:pt x="7459661" y="690562"/>
                </a:lnTo>
                <a:lnTo>
                  <a:pt x="6905624" y="690562"/>
                </a:lnTo>
                <a:lnTo>
                  <a:pt x="6905624" y="993775"/>
                </a:lnTo>
                <a:lnTo>
                  <a:pt x="7535861" y="993775"/>
                </a:lnTo>
                <a:lnTo>
                  <a:pt x="7535861" y="1214437"/>
                </a:lnTo>
                <a:lnTo>
                  <a:pt x="6665911" y="1214437"/>
                </a:lnTo>
                <a:close/>
                <a:moveTo>
                  <a:pt x="5221286" y="0"/>
                </a:moveTo>
                <a:lnTo>
                  <a:pt x="5534024" y="0"/>
                </a:lnTo>
                <a:lnTo>
                  <a:pt x="5835649" y="823912"/>
                </a:lnTo>
                <a:lnTo>
                  <a:pt x="6142037" y="0"/>
                </a:lnTo>
                <a:lnTo>
                  <a:pt x="6438899" y="0"/>
                </a:lnTo>
                <a:lnTo>
                  <a:pt x="6438899" y="1214437"/>
                </a:lnTo>
                <a:lnTo>
                  <a:pt x="6203949" y="1214437"/>
                </a:lnTo>
                <a:lnTo>
                  <a:pt x="6203949" y="419100"/>
                </a:lnTo>
                <a:lnTo>
                  <a:pt x="5916612" y="1196975"/>
                </a:lnTo>
                <a:lnTo>
                  <a:pt x="5740399" y="1196975"/>
                </a:lnTo>
                <a:lnTo>
                  <a:pt x="5454649" y="409575"/>
                </a:lnTo>
                <a:lnTo>
                  <a:pt x="5454649" y="1214437"/>
                </a:lnTo>
                <a:lnTo>
                  <a:pt x="5221286" y="1214437"/>
                </a:lnTo>
                <a:close/>
                <a:moveTo>
                  <a:pt x="4098924" y="0"/>
                </a:moveTo>
                <a:lnTo>
                  <a:pt x="4968874" y="0"/>
                </a:lnTo>
                <a:lnTo>
                  <a:pt x="4968874" y="220663"/>
                </a:lnTo>
                <a:lnTo>
                  <a:pt x="4340224" y="220663"/>
                </a:lnTo>
                <a:lnTo>
                  <a:pt x="4340224" y="473075"/>
                </a:lnTo>
                <a:lnTo>
                  <a:pt x="4895849" y="473075"/>
                </a:lnTo>
                <a:lnTo>
                  <a:pt x="4895849" y="690562"/>
                </a:lnTo>
                <a:lnTo>
                  <a:pt x="4340224" y="690562"/>
                </a:lnTo>
                <a:lnTo>
                  <a:pt x="4340224" y="993775"/>
                </a:lnTo>
                <a:lnTo>
                  <a:pt x="4968874" y="993775"/>
                </a:lnTo>
                <a:lnTo>
                  <a:pt x="4968874" y="1214437"/>
                </a:lnTo>
                <a:lnTo>
                  <a:pt x="4098924" y="1214437"/>
                </a:lnTo>
                <a:close/>
                <a:moveTo>
                  <a:pt x="3079749" y="0"/>
                </a:moveTo>
                <a:lnTo>
                  <a:pt x="3321049" y="0"/>
                </a:lnTo>
                <a:lnTo>
                  <a:pt x="3321049" y="984250"/>
                </a:lnTo>
                <a:lnTo>
                  <a:pt x="3871912" y="984250"/>
                </a:lnTo>
                <a:lnTo>
                  <a:pt x="3871912" y="1214437"/>
                </a:lnTo>
                <a:lnTo>
                  <a:pt x="3079749" y="1214437"/>
                </a:lnTo>
                <a:close/>
                <a:moveTo>
                  <a:pt x="1989138" y="0"/>
                </a:moveTo>
                <a:cubicBezTo>
                  <a:pt x="1989138" y="0"/>
                  <a:pt x="1989138" y="0"/>
                  <a:pt x="2465639" y="0"/>
                </a:cubicBezTo>
                <a:cubicBezTo>
                  <a:pt x="2735357" y="0"/>
                  <a:pt x="2897188" y="146454"/>
                  <a:pt x="2897188" y="392045"/>
                </a:cubicBezTo>
                <a:cubicBezTo>
                  <a:pt x="2897188" y="639889"/>
                  <a:pt x="2735357" y="786342"/>
                  <a:pt x="2465639" y="786342"/>
                </a:cubicBezTo>
                <a:cubicBezTo>
                  <a:pt x="2465639" y="786342"/>
                  <a:pt x="2465639" y="786342"/>
                  <a:pt x="2227389" y="786342"/>
                </a:cubicBezTo>
                <a:cubicBezTo>
                  <a:pt x="2227389" y="786342"/>
                  <a:pt x="2227389" y="786342"/>
                  <a:pt x="2227389" y="1214437"/>
                </a:cubicBezTo>
                <a:cubicBezTo>
                  <a:pt x="2227389" y="1214437"/>
                  <a:pt x="2227389" y="1214437"/>
                  <a:pt x="1989138" y="1214437"/>
                </a:cubicBezTo>
                <a:cubicBezTo>
                  <a:pt x="1989138" y="1214437"/>
                  <a:pt x="1989138" y="1214437"/>
                  <a:pt x="1989138" y="0"/>
                </a:cubicBezTo>
                <a:close/>
                <a:moveTo>
                  <a:pt x="520699" y="0"/>
                </a:moveTo>
                <a:lnTo>
                  <a:pt x="833436" y="0"/>
                </a:lnTo>
                <a:lnTo>
                  <a:pt x="1135061" y="823912"/>
                </a:lnTo>
                <a:lnTo>
                  <a:pt x="1439862" y="0"/>
                </a:lnTo>
                <a:lnTo>
                  <a:pt x="1736724" y="0"/>
                </a:lnTo>
                <a:lnTo>
                  <a:pt x="1736724" y="1214437"/>
                </a:lnTo>
                <a:lnTo>
                  <a:pt x="1503362" y="1214437"/>
                </a:lnTo>
                <a:lnTo>
                  <a:pt x="1503362" y="419100"/>
                </a:lnTo>
                <a:lnTo>
                  <a:pt x="1216024" y="1196975"/>
                </a:lnTo>
                <a:lnTo>
                  <a:pt x="1039812" y="1196975"/>
                </a:lnTo>
                <a:lnTo>
                  <a:pt x="754062" y="409575"/>
                </a:lnTo>
                <a:lnTo>
                  <a:pt x="754062" y="1214437"/>
                </a:lnTo>
                <a:lnTo>
                  <a:pt x="520699" y="1214437"/>
                </a:lnTo>
                <a:close/>
                <a:moveTo>
                  <a:pt x="25400" y="0"/>
                </a:moveTo>
                <a:lnTo>
                  <a:pt x="268288" y="0"/>
                </a:lnTo>
                <a:lnTo>
                  <a:pt x="268288" y="1214437"/>
                </a:lnTo>
                <a:lnTo>
                  <a:pt x="25400" y="12144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14" name="Date_GeneralDate" hidden="1">
            <a:extLst>
              <a:ext uri="{FF2B5EF4-FFF2-40B4-BE49-F238E27FC236}">
                <a16:creationId xmlns:a16="http://schemas.microsoft.com/office/drawing/2014/main" id="{55525B1C-6481-4457-B735-0C98074326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4438EF80-A956-4E54-A62F-2B235644D3EB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5" name="FLD_PresentationTitle" hidden="1">
            <a:extLst>
              <a:ext uri="{FF2B5EF4-FFF2-40B4-BE49-F238E27FC236}">
                <a16:creationId xmlns:a16="http://schemas.microsoft.com/office/drawing/2014/main" id="{E36D8C65-C021-4FD2-B069-8166D08EEA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 algn="l">
              <a:defRPr sz="100">
                <a:noFill/>
              </a:defRPr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20" name="Slide Number Placeholder 5" hidden="1">
            <a:extLst>
              <a:ext uri="{FF2B5EF4-FFF2-40B4-BE49-F238E27FC236}">
                <a16:creationId xmlns:a16="http://schemas.microsoft.com/office/drawing/2014/main" id="{C7761D58-7419-42EE-B8DE-E33E494380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678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ce case_lo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E4694B-A434-48B1-A431-0432E4744F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E4694B-A434-48B1-A431-0432E4744F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C3A9516-8834-4484-A04E-ECB695CB65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noProof="0" dirty="0" err="1">
              <a:solidFill>
                <a:srgbClr val="2F363B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749152A0-09EC-4CDD-A991-4F69E37FE88A}"/>
              </a:ext>
            </a:extLst>
          </p:cNvPr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EEEB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D8A034-05A2-458D-8D7A-81B7EFBAEA9F}"/>
              </a:ext>
            </a:extLst>
          </p:cNvPr>
          <p:cNvSpPr txBox="1"/>
          <p:nvPr userDrawn="1"/>
        </p:nvSpPr>
        <p:spPr>
          <a:xfrm>
            <a:off x="6532418" y="-1"/>
            <a:ext cx="3373582" cy="3543301"/>
          </a:xfrm>
          <a:prstGeom prst="rect">
            <a:avLst/>
          </a:prstGeom>
          <a:solidFill>
            <a:srgbClr val="595F6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-144000">
              <a:lnSpc>
                <a:spcPct val="93000"/>
              </a:lnSpc>
              <a:spcAft>
                <a:spcPts val="0"/>
              </a:spcAft>
              <a:buSzPct val="100000"/>
              <a:buNone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1pPr>
            <a:lvl2pPr marL="0" lvl="1" indent="0">
              <a:lnSpc>
                <a:spcPct val="93000"/>
              </a:lnSpc>
              <a:spcAft>
                <a:spcPts val="0"/>
              </a:spcAft>
              <a:buSzPct val="100000"/>
              <a:buChar char="​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2pPr>
            <a:lvl3pPr marL="139303" lvl="2" indent="-139303">
              <a:lnSpc>
                <a:spcPct val="93000"/>
              </a:lnSpc>
              <a:spcAft>
                <a:spcPts val="0"/>
              </a:spcAft>
              <a:buSzPct val="100000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3pPr>
            <a:lvl4pPr marL="185738" lvl="3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rabicPeriod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4pPr>
            <a:lvl5pPr marL="185738" lvl="4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lphaUcPeriod"/>
              <a:defRPr sz="1100" b="0">
                <a:solidFill>
                  <a:srgbClr val="2F363B"/>
                </a:solidFill>
                <a:latin typeface="Arial" panose="020B0604020202020204" pitchFamily="34" charset="0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buNone/>
            </a:pPr>
            <a:endParaRPr lang="en-GB">
              <a:solidFill>
                <a:srgbClr val="30373B"/>
              </a:solidFill>
              <a:sym typeface="Arial" panose="020B0604020202020204" pitchFamily="34" charset="0"/>
            </a:endParaRP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96EDC17A-116C-4E16-A3DE-2E5F4B894B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317911" y="1308"/>
            <a:ext cx="3889058" cy="3108288"/>
          </a:xfrm>
          <a:solidFill>
            <a:srgbClr val="B8BBBD"/>
          </a:solidFill>
        </p:spPr>
        <p:txBody>
          <a:bodyPr rIns="0" anchor="ctr" anchorCtr="0"/>
          <a:lstStyle>
            <a:lvl1pPr marL="0" indent="0" algn="ctr">
              <a:buNone/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1B800F5-D353-40A2-B9C9-A29ACB613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070" y="2746979"/>
            <a:ext cx="4320000" cy="886397"/>
          </a:xfrm>
        </p:spPr>
        <p:txBody>
          <a:bodyPr anchor="b" anchorCtr="0">
            <a:spAutoFit/>
          </a:bodyPr>
          <a:lstStyle>
            <a:lvl1pPr>
              <a:defRPr sz="3200">
                <a:solidFill>
                  <a:srgbClr val="1F202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3430AAB-5902-4654-B9FA-AE29404FCE66}"/>
              </a:ext>
            </a:extLst>
          </p:cNvPr>
          <p:cNvCxnSpPr>
            <a:cxnSpLocks/>
          </p:cNvCxnSpPr>
          <p:nvPr userDrawn="1"/>
        </p:nvCxnSpPr>
        <p:spPr>
          <a:xfrm>
            <a:off x="275070" y="4497744"/>
            <a:ext cx="4320000" cy="0"/>
          </a:xfrm>
          <a:prstGeom prst="line">
            <a:avLst/>
          </a:prstGeom>
          <a:ln w="12700">
            <a:solidFill>
              <a:srgbClr val="30373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F61116-2B80-4AA8-A5DE-F43ACEFB4AD3}"/>
              </a:ext>
            </a:extLst>
          </p:cNvPr>
          <p:cNvCxnSpPr>
            <a:cxnSpLocks/>
          </p:cNvCxnSpPr>
          <p:nvPr userDrawn="1"/>
        </p:nvCxnSpPr>
        <p:spPr>
          <a:xfrm>
            <a:off x="5319136" y="4497744"/>
            <a:ext cx="4319999" cy="0"/>
          </a:xfrm>
          <a:prstGeom prst="line">
            <a:avLst/>
          </a:prstGeom>
          <a:ln w="12700">
            <a:solidFill>
              <a:srgbClr val="30373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71737B9-DDE3-4847-BCBB-79FA9187C04F}"/>
              </a:ext>
            </a:extLst>
          </p:cNvPr>
          <p:cNvSpPr/>
          <p:nvPr userDrawn="1"/>
        </p:nvSpPr>
        <p:spPr>
          <a:xfrm>
            <a:off x="275070" y="4251232"/>
            <a:ext cx="1077218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30373B"/>
                </a:solidFill>
              </a:rPr>
              <a:t>THE PROJECT</a:t>
            </a:r>
            <a:endParaRPr lang="en-GB" dirty="0">
              <a:solidFill>
                <a:srgbClr val="30373B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9512485-4193-4DA1-A713-E51426E48AB3}"/>
              </a:ext>
            </a:extLst>
          </p:cNvPr>
          <p:cNvSpPr/>
          <p:nvPr userDrawn="1"/>
        </p:nvSpPr>
        <p:spPr>
          <a:xfrm>
            <a:off x="5317911" y="4251232"/>
            <a:ext cx="929550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30373B"/>
                </a:solidFill>
              </a:rPr>
              <a:t>THE IMPACT</a:t>
            </a:r>
            <a:endParaRPr lang="en-GB" dirty="0">
              <a:solidFill>
                <a:srgbClr val="30373B"/>
              </a:solidFill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FD457679-0CD8-436B-B224-B5039179B05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75070" y="4648330"/>
            <a:ext cx="4320000" cy="1663569"/>
          </a:xfrm>
        </p:spPr>
        <p:txBody>
          <a:bodyPr/>
          <a:lstStyle>
            <a:lvl1pPr>
              <a:buFontTx/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0122C995-A46A-47E3-BD5A-37630113CBD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19136" y="4648330"/>
            <a:ext cx="4320000" cy="1663569"/>
          </a:xfrm>
        </p:spPr>
        <p:txBody>
          <a:bodyPr/>
          <a:lstStyle>
            <a:lvl1pPr>
              <a:buFontTx/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B717F-572C-4701-890C-5980AFA4B1FF}"/>
              </a:ext>
            </a:extLst>
          </p:cNvPr>
          <p:cNvSpPr/>
          <p:nvPr userDrawn="1"/>
        </p:nvSpPr>
        <p:spPr>
          <a:xfrm>
            <a:off x="275070" y="1511114"/>
            <a:ext cx="34785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0"/>
              </a:spcAft>
            </a:pPr>
            <a:r>
              <a:rPr lang="en-GB" dirty="0">
                <a:solidFill>
                  <a:srgbClr val="1F2023"/>
                </a:solidFill>
              </a:rPr>
              <a:t>CASE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87FD700C-F5D8-47A6-B075-E7C3777BFD2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BA9385-3277-4A03-8C15-57A5D2485A5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676A9557-0521-4D63-9104-F44D76841FF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5317630-8701-4B49-BF3D-3DA5BE3CE466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C0E1CEF2-4F80-4706-AE63-0C7E8A7402D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Footer</a:t>
            </a:r>
            <a:endParaRPr lang="en-GB" dirty="0"/>
          </a:p>
        </p:txBody>
      </p:sp>
      <p:sp>
        <p:nvSpPr>
          <p:cNvPr id="26" name="TextBox 33">
            <a:extLst>
              <a:ext uri="{FF2B5EF4-FFF2-40B4-BE49-F238E27FC236}">
                <a16:creationId xmlns:a16="http://schemas.microsoft.com/office/drawing/2014/main" id="{A5525994-7183-4EB3-80FB-FB6FA3A2CF42}"/>
              </a:ext>
            </a:extLst>
          </p:cNvPr>
          <p:cNvSpPr txBox="1"/>
          <p:nvPr userDrawn="1"/>
        </p:nvSpPr>
        <p:spPr>
          <a:xfrm>
            <a:off x="10107046" y="0"/>
            <a:ext cx="1570400" cy="2129402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none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UcPeriod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0" indent="0" algn="l" defTabSz="742950" rtl="0" eaLnBrk="1" latinLnBrk="0" hangingPunct="1">
              <a:lnSpc>
                <a:spcPct val="8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4800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800" b="1" dirty="0">
                <a:solidFill>
                  <a:schemeClr val="tx1"/>
                </a:solidFill>
                <a:sym typeface="Arial" panose="020B0604020202020204" pitchFamily="34" charset="0"/>
              </a:rPr>
              <a:t>CASE DATA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For internal use only – delete before sharing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Clien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Maconomy projec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ndustry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Keywords: xx, xx,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Year(s): 20xx – 20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mplement contact person: xx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8306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case_long text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E4694B-A434-48B1-A431-0432E4744F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9166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E4694B-A434-48B1-A431-0432E4744F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C3A9516-8834-4484-A04E-ECB695CB65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noProof="0" dirty="0" err="1">
              <a:solidFill>
                <a:srgbClr val="2F363B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C949A49-8B74-4770-82C7-FB3B75548D7F}"/>
              </a:ext>
            </a:extLst>
          </p:cNvPr>
          <p:cNvSpPr/>
          <p:nvPr userDrawn="1"/>
        </p:nvSpPr>
        <p:spPr>
          <a:xfrm>
            <a:off x="0" y="1"/>
            <a:ext cx="9906000" cy="6857999"/>
          </a:xfrm>
          <a:prstGeom prst="rect">
            <a:avLst/>
          </a:prstGeom>
          <a:solidFill>
            <a:srgbClr val="30373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1F20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D8A034-05A2-458D-8D7A-81B7EFBAEA9F}"/>
              </a:ext>
            </a:extLst>
          </p:cNvPr>
          <p:cNvSpPr txBox="1"/>
          <p:nvPr userDrawn="1"/>
        </p:nvSpPr>
        <p:spPr>
          <a:xfrm>
            <a:off x="6532418" y="-1"/>
            <a:ext cx="3373582" cy="3543301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-144000">
              <a:lnSpc>
                <a:spcPct val="93000"/>
              </a:lnSpc>
              <a:spcAft>
                <a:spcPts val="0"/>
              </a:spcAft>
              <a:buSzPct val="100000"/>
              <a:buNone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1pPr>
            <a:lvl2pPr marL="0" lvl="1" indent="0">
              <a:lnSpc>
                <a:spcPct val="93000"/>
              </a:lnSpc>
              <a:spcAft>
                <a:spcPts val="0"/>
              </a:spcAft>
              <a:buSzPct val="100000"/>
              <a:buChar char="​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2pPr>
            <a:lvl3pPr marL="139303" lvl="2" indent="-139303">
              <a:lnSpc>
                <a:spcPct val="93000"/>
              </a:lnSpc>
              <a:spcAft>
                <a:spcPts val="0"/>
              </a:spcAft>
              <a:buSzPct val="100000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3pPr>
            <a:lvl4pPr marL="185738" lvl="3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rabicPeriod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4pPr>
            <a:lvl5pPr marL="185738" lvl="4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lphaUcPeriod"/>
              <a:defRPr sz="1100" b="0">
                <a:solidFill>
                  <a:srgbClr val="2F363B"/>
                </a:solidFill>
                <a:latin typeface="Arial" panose="020B0604020202020204" pitchFamily="34" charset="0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buNone/>
            </a:pPr>
            <a:endParaRPr lang="en-GB">
              <a:solidFill>
                <a:srgbClr val="30373B"/>
              </a:solidFill>
              <a:sym typeface="Arial" panose="020B0604020202020204" pitchFamily="34" charset="0"/>
            </a:endParaRP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96EDC17A-116C-4E16-A3DE-2E5F4B894B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317911" y="1308"/>
            <a:ext cx="3889058" cy="3108288"/>
          </a:xfrm>
          <a:solidFill>
            <a:srgbClr val="B8BBBD"/>
          </a:solidFill>
        </p:spPr>
        <p:txBody>
          <a:bodyPr rIns="0" anchor="ctr" anchorCtr="0"/>
          <a:lstStyle>
            <a:lvl1pPr marL="0" indent="0" algn="ctr">
              <a:buNone/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1B800F5-D353-40A2-B9C9-A29ACB613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070" y="2746979"/>
            <a:ext cx="4320000" cy="886397"/>
          </a:xfrm>
        </p:spPr>
        <p:txBody>
          <a:bodyPr anchor="b" anchorCtr="0">
            <a:spAutoFit/>
          </a:bodyPr>
          <a:lstStyle>
            <a:lvl1pPr>
              <a:defRPr sz="3200">
                <a:solidFill>
                  <a:srgbClr val="F8F5E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C3A81CD-98C4-40D0-925F-38C84421F36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3430AAB-5902-4654-B9FA-AE29404FCE66}"/>
              </a:ext>
            </a:extLst>
          </p:cNvPr>
          <p:cNvCxnSpPr>
            <a:cxnSpLocks/>
          </p:cNvCxnSpPr>
          <p:nvPr userDrawn="1"/>
        </p:nvCxnSpPr>
        <p:spPr>
          <a:xfrm>
            <a:off x="275070" y="4497744"/>
            <a:ext cx="4320000" cy="0"/>
          </a:xfrm>
          <a:prstGeom prst="line">
            <a:avLst/>
          </a:prstGeom>
          <a:ln w="12700">
            <a:solidFill>
              <a:srgbClr val="F8F5E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F61116-2B80-4AA8-A5DE-F43ACEFB4AD3}"/>
              </a:ext>
            </a:extLst>
          </p:cNvPr>
          <p:cNvCxnSpPr>
            <a:cxnSpLocks/>
          </p:cNvCxnSpPr>
          <p:nvPr userDrawn="1"/>
        </p:nvCxnSpPr>
        <p:spPr>
          <a:xfrm>
            <a:off x="5319136" y="4497744"/>
            <a:ext cx="4319999" cy="0"/>
          </a:xfrm>
          <a:prstGeom prst="line">
            <a:avLst/>
          </a:prstGeom>
          <a:ln w="12700">
            <a:solidFill>
              <a:srgbClr val="F8F5E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71737B9-DDE3-4847-BCBB-79FA9187C04F}"/>
              </a:ext>
            </a:extLst>
          </p:cNvPr>
          <p:cNvSpPr/>
          <p:nvPr userDrawn="1"/>
        </p:nvSpPr>
        <p:spPr>
          <a:xfrm>
            <a:off x="275070" y="4251232"/>
            <a:ext cx="1077218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F8F5E7"/>
                </a:solidFill>
              </a:rPr>
              <a:t>THE PROJECT</a:t>
            </a:r>
            <a:endParaRPr lang="en-GB" dirty="0">
              <a:solidFill>
                <a:srgbClr val="F8F5E7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9512485-4193-4DA1-A713-E51426E48AB3}"/>
              </a:ext>
            </a:extLst>
          </p:cNvPr>
          <p:cNvSpPr/>
          <p:nvPr userDrawn="1"/>
        </p:nvSpPr>
        <p:spPr>
          <a:xfrm>
            <a:off x="5317911" y="4251232"/>
            <a:ext cx="929550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F8F5E7"/>
                </a:solidFill>
              </a:rPr>
              <a:t>THE IMPACT</a:t>
            </a:r>
            <a:endParaRPr lang="en-GB" dirty="0">
              <a:solidFill>
                <a:srgbClr val="F8F5E7"/>
              </a:solidFill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E258190-5654-4F09-866D-DF25973386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75070" y="4643414"/>
            <a:ext cx="4319588" cy="1668485"/>
          </a:xfrm>
        </p:spPr>
        <p:txBody>
          <a:bodyPr/>
          <a:lstStyle>
            <a:lvl1pPr>
              <a:buFontTx/>
              <a:buNone/>
              <a:defRPr sz="1000">
                <a:solidFill>
                  <a:srgbClr val="F8F5E7"/>
                </a:solidFill>
              </a:defRPr>
            </a:lvl1pPr>
            <a:lvl2pPr>
              <a:defRPr sz="1000">
                <a:solidFill>
                  <a:srgbClr val="F8F5E7"/>
                </a:solidFill>
              </a:defRPr>
            </a:lvl2pPr>
            <a:lvl3pPr>
              <a:defRPr sz="1000">
                <a:solidFill>
                  <a:srgbClr val="F8F5E7"/>
                </a:solidFill>
              </a:defRPr>
            </a:lvl3pPr>
            <a:lvl4pPr>
              <a:defRPr sz="1000">
                <a:solidFill>
                  <a:srgbClr val="F8F5E7"/>
                </a:solidFill>
              </a:defRPr>
            </a:lvl4pPr>
            <a:lvl5pPr>
              <a:defRPr sz="1000">
                <a:solidFill>
                  <a:srgbClr val="F8F5E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307552BF-22B2-4AC0-889F-4545B1A418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19136" y="4643414"/>
            <a:ext cx="4320000" cy="1668485"/>
          </a:xfrm>
        </p:spPr>
        <p:txBody>
          <a:bodyPr/>
          <a:lstStyle>
            <a:lvl1pPr>
              <a:buFontTx/>
              <a:buNone/>
              <a:defRPr sz="1000">
                <a:solidFill>
                  <a:srgbClr val="F8F5E7"/>
                </a:solidFill>
              </a:defRPr>
            </a:lvl1pPr>
            <a:lvl2pPr>
              <a:defRPr sz="1000">
                <a:solidFill>
                  <a:srgbClr val="F8F5E7"/>
                </a:solidFill>
              </a:defRPr>
            </a:lvl2pPr>
            <a:lvl3pPr>
              <a:defRPr sz="1000">
                <a:solidFill>
                  <a:srgbClr val="F8F5E7"/>
                </a:solidFill>
              </a:defRPr>
            </a:lvl3pPr>
            <a:lvl4pPr>
              <a:defRPr sz="1000">
                <a:solidFill>
                  <a:srgbClr val="F8F5E7"/>
                </a:solidFill>
              </a:defRPr>
            </a:lvl4pPr>
            <a:lvl5pPr>
              <a:defRPr sz="1000">
                <a:solidFill>
                  <a:srgbClr val="F8F5E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D39F5F7-9774-4481-86BE-3C43D975F2D6}"/>
              </a:ext>
            </a:extLst>
          </p:cNvPr>
          <p:cNvSpPr/>
          <p:nvPr userDrawn="1"/>
        </p:nvSpPr>
        <p:spPr>
          <a:xfrm>
            <a:off x="275070" y="1511114"/>
            <a:ext cx="34785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0"/>
              </a:spcAft>
            </a:pPr>
            <a:r>
              <a:rPr lang="en-GB" dirty="0">
                <a:solidFill>
                  <a:schemeClr val="bg1"/>
                </a:solidFill>
              </a:rPr>
              <a:t>CAS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E6C0587-AEC9-45F5-AFD6-9863CFF3EAC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1" name="TextBox 33">
            <a:extLst>
              <a:ext uri="{FF2B5EF4-FFF2-40B4-BE49-F238E27FC236}">
                <a16:creationId xmlns:a16="http://schemas.microsoft.com/office/drawing/2014/main" id="{DC80D7DE-7F0F-4C98-AC15-01F67C78C406}"/>
              </a:ext>
            </a:extLst>
          </p:cNvPr>
          <p:cNvSpPr txBox="1"/>
          <p:nvPr userDrawn="1"/>
        </p:nvSpPr>
        <p:spPr>
          <a:xfrm>
            <a:off x="10107046" y="0"/>
            <a:ext cx="1570400" cy="2129402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none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UcPeriod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0" indent="0" algn="l" defTabSz="742950" rtl="0" eaLnBrk="1" latinLnBrk="0" hangingPunct="1">
              <a:lnSpc>
                <a:spcPct val="8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4800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800" b="1" dirty="0">
                <a:solidFill>
                  <a:schemeClr val="tx1"/>
                </a:solidFill>
                <a:sym typeface="Arial" panose="020B0604020202020204" pitchFamily="34" charset="0"/>
              </a:rPr>
              <a:t>CASE DATA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For internal use only – delete before sharing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Clien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Maconomy projec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ndustry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Keywords: xx, xx,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Year(s): 20xx – 20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mplement contact person: xx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258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ce case_long text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5C949A49-8B74-4770-82C7-FB3B75548D7F}"/>
              </a:ext>
            </a:extLst>
          </p:cNvPr>
          <p:cNvSpPr/>
          <p:nvPr userDrawn="1"/>
        </p:nvSpPr>
        <p:spPr>
          <a:xfrm>
            <a:off x="0" y="1"/>
            <a:ext cx="9906000" cy="6857999"/>
          </a:xfrm>
          <a:prstGeom prst="rect">
            <a:avLst/>
          </a:prstGeom>
          <a:solidFill>
            <a:srgbClr val="30373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1F20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D8A034-05A2-458D-8D7A-81B7EFBAEA9F}"/>
              </a:ext>
            </a:extLst>
          </p:cNvPr>
          <p:cNvSpPr txBox="1"/>
          <p:nvPr userDrawn="1"/>
        </p:nvSpPr>
        <p:spPr>
          <a:xfrm>
            <a:off x="6532418" y="-1"/>
            <a:ext cx="3373582" cy="3543301"/>
          </a:xfrm>
          <a:prstGeom prst="rect">
            <a:avLst/>
          </a:prstGeom>
          <a:solidFill>
            <a:srgbClr val="893E4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-144000">
              <a:lnSpc>
                <a:spcPct val="93000"/>
              </a:lnSpc>
              <a:spcAft>
                <a:spcPts val="0"/>
              </a:spcAft>
              <a:buSzPct val="100000"/>
              <a:buNone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1pPr>
            <a:lvl2pPr marL="0" lvl="1" indent="0">
              <a:lnSpc>
                <a:spcPct val="93000"/>
              </a:lnSpc>
              <a:spcAft>
                <a:spcPts val="0"/>
              </a:spcAft>
              <a:buSzPct val="100000"/>
              <a:buChar char="​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2pPr>
            <a:lvl3pPr marL="139303" lvl="2" indent="-139303">
              <a:lnSpc>
                <a:spcPct val="93000"/>
              </a:lnSpc>
              <a:spcAft>
                <a:spcPts val="0"/>
              </a:spcAft>
              <a:buSzPct val="100000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3pPr>
            <a:lvl4pPr marL="185738" lvl="3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rabicPeriod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4pPr>
            <a:lvl5pPr marL="185738" lvl="4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lphaUcPeriod"/>
              <a:defRPr sz="1100" b="0">
                <a:solidFill>
                  <a:srgbClr val="2F363B"/>
                </a:solidFill>
                <a:latin typeface="Arial" panose="020B0604020202020204" pitchFamily="34" charset="0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buNone/>
            </a:pPr>
            <a:endParaRPr lang="en-GB">
              <a:solidFill>
                <a:srgbClr val="30373B"/>
              </a:solidFill>
              <a:sym typeface="Arial" panose="020B0604020202020204" pitchFamily="34" charset="0"/>
            </a:endParaRP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96EDC17A-116C-4E16-A3DE-2E5F4B894B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317911" y="1308"/>
            <a:ext cx="3889058" cy="3108288"/>
          </a:xfrm>
          <a:solidFill>
            <a:srgbClr val="B8BBBD"/>
          </a:solidFill>
        </p:spPr>
        <p:txBody>
          <a:bodyPr rIns="0" anchor="ctr" anchorCtr="0"/>
          <a:lstStyle>
            <a:lvl1pPr marL="0" indent="0" algn="ctr">
              <a:buNone/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1B800F5-D353-40A2-B9C9-A29ACB613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070" y="2746979"/>
            <a:ext cx="4320000" cy="886397"/>
          </a:xfrm>
        </p:spPr>
        <p:txBody>
          <a:bodyPr anchor="b" anchorCtr="0">
            <a:spAutoFit/>
          </a:bodyPr>
          <a:lstStyle>
            <a:lvl1pPr>
              <a:defRPr sz="3200">
                <a:solidFill>
                  <a:srgbClr val="F8F5E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C3A81CD-98C4-40D0-925F-38C84421F367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3430AAB-5902-4654-B9FA-AE29404FCE66}"/>
              </a:ext>
            </a:extLst>
          </p:cNvPr>
          <p:cNvCxnSpPr>
            <a:cxnSpLocks/>
          </p:cNvCxnSpPr>
          <p:nvPr userDrawn="1"/>
        </p:nvCxnSpPr>
        <p:spPr>
          <a:xfrm>
            <a:off x="275070" y="4497744"/>
            <a:ext cx="4320000" cy="0"/>
          </a:xfrm>
          <a:prstGeom prst="line">
            <a:avLst/>
          </a:prstGeom>
          <a:ln w="12700">
            <a:solidFill>
              <a:srgbClr val="F8F5E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F61116-2B80-4AA8-A5DE-F43ACEFB4AD3}"/>
              </a:ext>
            </a:extLst>
          </p:cNvPr>
          <p:cNvCxnSpPr>
            <a:cxnSpLocks/>
          </p:cNvCxnSpPr>
          <p:nvPr userDrawn="1"/>
        </p:nvCxnSpPr>
        <p:spPr>
          <a:xfrm>
            <a:off x="5319136" y="4497744"/>
            <a:ext cx="4319999" cy="0"/>
          </a:xfrm>
          <a:prstGeom prst="line">
            <a:avLst/>
          </a:prstGeom>
          <a:ln w="12700">
            <a:solidFill>
              <a:srgbClr val="F8F5E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71737B9-DDE3-4847-BCBB-79FA9187C04F}"/>
              </a:ext>
            </a:extLst>
          </p:cNvPr>
          <p:cNvSpPr/>
          <p:nvPr userDrawn="1"/>
        </p:nvSpPr>
        <p:spPr>
          <a:xfrm>
            <a:off x="275070" y="4251232"/>
            <a:ext cx="1077218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F8F5E7"/>
                </a:solidFill>
              </a:rPr>
              <a:t>THE PROJECT</a:t>
            </a:r>
            <a:endParaRPr lang="en-GB" dirty="0">
              <a:solidFill>
                <a:srgbClr val="F8F5E7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9512485-4193-4DA1-A713-E51426E48AB3}"/>
              </a:ext>
            </a:extLst>
          </p:cNvPr>
          <p:cNvSpPr/>
          <p:nvPr userDrawn="1"/>
        </p:nvSpPr>
        <p:spPr>
          <a:xfrm>
            <a:off x="5317911" y="4251232"/>
            <a:ext cx="929550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F8F5E7"/>
                </a:solidFill>
              </a:rPr>
              <a:t>THE IMPACT</a:t>
            </a:r>
            <a:endParaRPr lang="en-GB" dirty="0">
              <a:solidFill>
                <a:srgbClr val="F8F5E7"/>
              </a:solidFill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E258190-5654-4F09-866D-DF25973386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75070" y="4643414"/>
            <a:ext cx="4319588" cy="1668485"/>
          </a:xfrm>
        </p:spPr>
        <p:txBody>
          <a:bodyPr/>
          <a:lstStyle>
            <a:lvl1pPr>
              <a:buFontTx/>
              <a:buNone/>
              <a:defRPr sz="1000">
                <a:solidFill>
                  <a:srgbClr val="F8F5E7"/>
                </a:solidFill>
              </a:defRPr>
            </a:lvl1pPr>
            <a:lvl2pPr>
              <a:defRPr sz="1000">
                <a:solidFill>
                  <a:srgbClr val="F8F5E7"/>
                </a:solidFill>
              </a:defRPr>
            </a:lvl2pPr>
            <a:lvl3pPr>
              <a:defRPr sz="1000">
                <a:solidFill>
                  <a:srgbClr val="F8F5E7"/>
                </a:solidFill>
              </a:defRPr>
            </a:lvl3pPr>
            <a:lvl4pPr>
              <a:defRPr sz="1000">
                <a:solidFill>
                  <a:srgbClr val="F8F5E7"/>
                </a:solidFill>
              </a:defRPr>
            </a:lvl4pPr>
            <a:lvl5pPr>
              <a:defRPr sz="1000">
                <a:solidFill>
                  <a:srgbClr val="F8F5E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307552BF-22B2-4AC0-889F-4545B1A418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19136" y="4643414"/>
            <a:ext cx="4320000" cy="1668485"/>
          </a:xfrm>
        </p:spPr>
        <p:txBody>
          <a:bodyPr/>
          <a:lstStyle>
            <a:lvl1pPr>
              <a:buFontTx/>
              <a:buNone/>
              <a:defRPr sz="1000">
                <a:solidFill>
                  <a:srgbClr val="F8F5E7"/>
                </a:solidFill>
              </a:defRPr>
            </a:lvl1pPr>
            <a:lvl2pPr>
              <a:defRPr sz="1000">
                <a:solidFill>
                  <a:srgbClr val="F8F5E7"/>
                </a:solidFill>
              </a:defRPr>
            </a:lvl2pPr>
            <a:lvl3pPr>
              <a:defRPr sz="1000">
                <a:solidFill>
                  <a:srgbClr val="F8F5E7"/>
                </a:solidFill>
              </a:defRPr>
            </a:lvl3pPr>
            <a:lvl4pPr>
              <a:defRPr sz="1000">
                <a:solidFill>
                  <a:srgbClr val="F8F5E7"/>
                </a:solidFill>
              </a:defRPr>
            </a:lvl4pPr>
            <a:lvl5pPr>
              <a:defRPr sz="1000">
                <a:solidFill>
                  <a:srgbClr val="F8F5E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D39F5F7-9774-4481-86BE-3C43D975F2D6}"/>
              </a:ext>
            </a:extLst>
          </p:cNvPr>
          <p:cNvSpPr/>
          <p:nvPr userDrawn="1"/>
        </p:nvSpPr>
        <p:spPr>
          <a:xfrm>
            <a:off x="275070" y="1511114"/>
            <a:ext cx="34785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0"/>
              </a:spcAft>
            </a:pPr>
            <a:r>
              <a:rPr lang="en-GB" dirty="0">
                <a:solidFill>
                  <a:schemeClr val="bg1"/>
                </a:solidFill>
              </a:rPr>
              <a:t>CAS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02AAA1-FECE-4B6C-9784-CDD7EF78AC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BCE50D5C-BAC4-4FCE-9028-0D797DC8256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5317630-8701-4B49-BF3D-3DA5BE3CE466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39F4068E-E362-489D-A634-D49ABE2508E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Footer</a:t>
            </a:r>
            <a:endParaRPr lang="en-GB" dirty="0"/>
          </a:p>
        </p:txBody>
      </p:sp>
      <p:sp>
        <p:nvSpPr>
          <p:cNvPr id="21" name="TextBox 33">
            <a:extLst>
              <a:ext uri="{FF2B5EF4-FFF2-40B4-BE49-F238E27FC236}">
                <a16:creationId xmlns:a16="http://schemas.microsoft.com/office/drawing/2014/main" id="{9064EA47-C43C-43CA-8985-663D50D487C7}"/>
              </a:ext>
            </a:extLst>
          </p:cNvPr>
          <p:cNvSpPr txBox="1"/>
          <p:nvPr userDrawn="1"/>
        </p:nvSpPr>
        <p:spPr>
          <a:xfrm>
            <a:off x="10107046" y="0"/>
            <a:ext cx="1570400" cy="2129402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none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UcPeriod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0" indent="0" algn="l" defTabSz="742950" rtl="0" eaLnBrk="1" latinLnBrk="0" hangingPunct="1">
              <a:lnSpc>
                <a:spcPct val="8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4800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800" b="1" dirty="0">
                <a:solidFill>
                  <a:schemeClr val="tx1"/>
                </a:solidFill>
                <a:sym typeface="Arial" panose="020B0604020202020204" pitchFamily="34" charset="0"/>
              </a:rPr>
              <a:t>CASE DATA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For internal use only – delete before sharing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Clien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Maconomy projec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ndustry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Keywords: xx, xx,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Year(s): 20xx – 20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mplement contact person: xx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96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 case_long text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E4694B-A434-48B1-A431-0432E4744F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E4694B-A434-48B1-A431-0432E4744F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C3A9516-8834-4484-A04E-ECB695CB65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noProof="0" dirty="0" err="1">
              <a:solidFill>
                <a:srgbClr val="2F363B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C949A49-8B74-4770-82C7-FB3B75548D7F}"/>
              </a:ext>
            </a:extLst>
          </p:cNvPr>
          <p:cNvSpPr/>
          <p:nvPr userDrawn="1"/>
        </p:nvSpPr>
        <p:spPr>
          <a:xfrm>
            <a:off x="0" y="1"/>
            <a:ext cx="9906000" cy="6857999"/>
          </a:xfrm>
          <a:prstGeom prst="rect">
            <a:avLst/>
          </a:prstGeom>
          <a:solidFill>
            <a:srgbClr val="30373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1F20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D8A034-05A2-458D-8D7A-81B7EFBAEA9F}"/>
              </a:ext>
            </a:extLst>
          </p:cNvPr>
          <p:cNvSpPr txBox="1"/>
          <p:nvPr userDrawn="1"/>
        </p:nvSpPr>
        <p:spPr>
          <a:xfrm>
            <a:off x="6532418" y="-1"/>
            <a:ext cx="3373582" cy="3543301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-144000">
              <a:lnSpc>
                <a:spcPct val="93000"/>
              </a:lnSpc>
              <a:spcAft>
                <a:spcPts val="0"/>
              </a:spcAft>
              <a:buSzPct val="100000"/>
              <a:buNone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1pPr>
            <a:lvl2pPr marL="0" lvl="1" indent="0">
              <a:lnSpc>
                <a:spcPct val="93000"/>
              </a:lnSpc>
              <a:spcAft>
                <a:spcPts val="0"/>
              </a:spcAft>
              <a:buSzPct val="100000"/>
              <a:buChar char="​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2pPr>
            <a:lvl3pPr marL="139303" lvl="2" indent="-139303">
              <a:lnSpc>
                <a:spcPct val="93000"/>
              </a:lnSpc>
              <a:spcAft>
                <a:spcPts val="0"/>
              </a:spcAft>
              <a:buSzPct val="100000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3pPr>
            <a:lvl4pPr marL="185738" lvl="3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rabicPeriod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4pPr>
            <a:lvl5pPr marL="185738" lvl="4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lphaUcPeriod"/>
              <a:defRPr sz="1100" b="0">
                <a:solidFill>
                  <a:srgbClr val="2F363B"/>
                </a:solidFill>
                <a:latin typeface="Arial" panose="020B0604020202020204" pitchFamily="34" charset="0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buNone/>
            </a:pPr>
            <a:endParaRPr lang="en-GB">
              <a:solidFill>
                <a:srgbClr val="30373B"/>
              </a:solidFill>
              <a:sym typeface="Arial" panose="020B0604020202020204" pitchFamily="34" charset="0"/>
            </a:endParaRP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96EDC17A-116C-4E16-A3DE-2E5F4B894B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317911" y="1308"/>
            <a:ext cx="3889058" cy="3108288"/>
          </a:xfrm>
          <a:solidFill>
            <a:srgbClr val="B8BBBD"/>
          </a:solidFill>
        </p:spPr>
        <p:txBody>
          <a:bodyPr rIns="0" anchor="ctr" anchorCtr="0"/>
          <a:lstStyle>
            <a:lvl1pPr marL="0" indent="0" algn="ctr">
              <a:buNone/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1B800F5-D353-40A2-B9C9-A29ACB613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070" y="2746979"/>
            <a:ext cx="4320000" cy="886397"/>
          </a:xfrm>
        </p:spPr>
        <p:txBody>
          <a:bodyPr anchor="b" anchorCtr="0">
            <a:spAutoFit/>
          </a:bodyPr>
          <a:lstStyle>
            <a:lvl1pPr>
              <a:defRPr sz="3200">
                <a:solidFill>
                  <a:srgbClr val="F8F5E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C3A81CD-98C4-40D0-925F-38C84421F36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3430AAB-5902-4654-B9FA-AE29404FCE66}"/>
              </a:ext>
            </a:extLst>
          </p:cNvPr>
          <p:cNvCxnSpPr>
            <a:cxnSpLocks/>
          </p:cNvCxnSpPr>
          <p:nvPr userDrawn="1"/>
        </p:nvCxnSpPr>
        <p:spPr>
          <a:xfrm>
            <a:off x="275070" y="4497744"/>
            <a:ext cx="4320000" cy="0"/>
          </a:xfrm>
          <a:prstGeom prst="line">
            <a:avLst/>
          </a:prstGeom>
          <a:ln w="12700">
            <a:solidFill>
              <a:srgbClr val="F8F5E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F61116-2B80-4AA8-A5DE-F43ACEFB4AD3}"/>
              </a:ext>
            </a:extLst>
          </p:cNvPr>
          <p:cNvCxnSpPr>
            <a:cxnSpLocks/>
          </p:cNvCxnSpPr>
          <p:nvPr userDrawn="1"/>
        </p:nvCxnSpPr>
        <p:spPr>
          <a:xfrm>
            <a:off x="5319136" y="4497744"/>
            <a:ext cx="4319999" cy="0"/>
          </a:xfrm>
          <a:prstGeom prst="line">
            <a:avLst/>
          </a:prstGeom>
          <a:ln w="12700">
            <a:solidFill>
              <a:srgbClr val="F8F5E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71737B9-DDE3-4847-BCBB-79FA9187C04F}"/>
              </a:ext>
            </a:extLst>
          </p:cNvPr>
          <p:cNvSpPr/>
          <p:nvPr userDrawn="1"/>
        </p:nvSpPr>
        <p:spPr>
          <a:xfrm>
            <a:off x="275070" y="4251232"/>
            <a:ext cx="1077218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F8F5E7"/>
                </a:solidFill>
              </a:rPr>
              <a:t>THE PROJECT</a:t>
            </a:r>
            <a:endParaRPr lang="en-GB" dirty="0">
              <a:solidFill>
                <a:srgbClr val="F8F5E7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9512485-4193-4DA1-A713-E51426E48AB3}"/>
              </a:ext>
            </a:extLst>
          </p:cNvPr>
          <p:cNvSpPr/>
          <p:nvPr userDrawn="1"/>
        </p:nvSpPr>
        <p:spPr>
          <a:xfrm>
            <a:off x="5317911" y="4251232"/>
            <a:ext cx="929550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F8F5E7"/>
                </a:solidFill>
              </a:rPr>
              <a:t>THE IMPACT</a:t>
            </a:r>
            <a:endParaRPr lang="en-GB" dirty="0">
              <a:solidFill>
                <a:srgbClr val="F8F5E7"/>
              </a:solidFill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E258190-5654-4F09-866D-DF25973386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75070" y="4643414"/>
            <a:ext cx="4319588" cy="1668485"/>
          </a:xfrm>
        </p:spPr>
        <p:txBody>
          <a:bodyPr/>
          <a:lstStyle>
            <a:lvl1pPr>
              <a:buFontTx/>
              <a:buNone/>
              <a:defRPr sz="1000">
                <a:solidFill>
                  <a:srgbClr val="F8F5E7"/>
                </a:solidFill>
              </a:defRPr>
            </a:lvl1pPr>
            <a:lvl2pPr>
              <a:defRPr sz="1000">
                <a:solidFill>
                  <a:srgbClr val="F8F5E7"/>
                </a:solidFill>
              </a:defRPr>
            </a:lvl2pPr>
            <a:lvl3pPr>
              <a:defRPr sz="1000">
                <a:solidFill>
                  <a:srgbClr val="F8F5E7"/>
                </a:solidFill>
              </a:defRPr>
            </a:lvl3pPr>
            <a:lvl4pPr>
              <a:defRPr sz="1000">
                <a:solidFill>
                  <a:srgbClr val="F8F5E7"/>
                </a:solidFill>
              </a:defRPr>
            </a:lvl4pPr>
            <a:lvl5pPr>
              <a:defRPr sz="1000">
                <a:solidFill>
                  <a:srgbClr val="F8F5E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307552BF-22B2-4AC0-889F-4545B1A418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19136" y="4643414"/>
            <a:ext cx="4320000" cy="1668485"/>
          </a:xfrm>
        </p:spPr>
        <p:txBody>
          <a:bodyPr/>
          <a:lstStyle>
            <a:lvl1pPr>
              <a:buFontTx/>
              <a:buNone/>
              <a:defRPr sz="1000">
                <a:solidFill>
                  <a:srgbClr val="F8F5E7"/>
                </a:solidFill>
              </a:defRPr>
            </a:lvl1pPr>
            <a:lvl2pPr>
              <a:defRPr sz="1000">
                <a:solidFill>
                  <a:srgbClr val="F8F5E7"/>
                </a:solidFill>
              </a:defRPr>
            </a:lvl2pPr>
            <a:lvl3pPr>
              <a:defRPr sz="1000">
                <a:solidFill>
                  <a:srgbClr val="F8F5E7"/>
                </a:solidFill>
              </a:defRPr>
            </a:lvl3pPr>
            <a:lvl4pPr>
              <a:defRPr sz="1000">
                <a:solidFill>
                  <a:srgbClr val="F8F5E7"/>
                </a:solidFill>
              </a:defRPr>
            </a:lvl4pPr>
            <a:lvl5pPr>
              <a:defRPr sz="1000">
                <a:solidFill>
                  <a:srgbClr val="F8F5E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D39F5F7-9774-4481-86BE-3C43D975F2D6}"/>
              </a:ext>
            </a:extLst>
          </p:cNvPr>
          <p:cNvSpPr/>
          <p:nvPr userDrawn="1"/>
        </p:nvSpPr>
        <p:spPr>
          <a:xfrm>
            <a:off x="275070" y="1511114"/>
            <a:ext cx="34785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0"/>
              </a:spcAft>
            </a:pPr>
            <a:r>
              <a:rPr lang="en-GB" dirty="0">
                <a:solidFill>
                  <a:schemeClr val="bg1"/>
                </a:solidFill>
              </a:rPr>
              <a:t>CAS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2F3F3725-09F2-493F-B1F6-677F9254A98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Date Placeholder 8" hidden="1">
            <a:extLst>
              <a:ext uri="{FF2B5EF4-FFF2-40B4-BE49-F238E27FC236}">
                <a16:creationId xmlns:a16="http://schemas.microsoft.com/office/drawing/2014/main" id="{5404BE8D-AE5A-46FA-AE62-EA7B11A6E33D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5317630-8701-4B49-BF3D-3DA5BE3CE466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5D23A5B9-DBF2-46B4-814A-26CF3CA8B62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Footer</a:t>
            </a:r>
            <a:endParaRPr lang="en-GB" dirty="0"/>
          </a:p>
        </p:txBody>
      </p:sp>
      <p:sp>
        <p:nvSpPr>
          <p:cNvPr id="27" name="TextBox 33">
            <a:extLst>
              <a:ext uri="{FF2B5EF4-FFF2-40B4-BE49-F238E27FC236}">
                <a16:creationId xmlns:a16="http://schemas.microsoft.com/office/drawing/2014/main" id="{EFEBE689-7BB7-4A1C-874A-96F7609AFCDE}"/>
              </a:ext>
            </a:extLst>
          </p:cNvPr>
          <p:cNvSpPr txBox="1"/>
          <p:nvPr userDrawn="1"/>
        </p:nvSpPr>
        <p:spPr>
          <a:xfrm>
            <a:off x="10107046" y="0"/>
            <a:ext cx="1570400" cy="2129402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none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UcPeriod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0" indent="0" algn="l" defTabSz="742950" rtl="0" eaLnBrk="1" latinLnBrk="0" hangingPunct="1">
              <a:lnSpc>
                <a:spcPct val="8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4800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800" b="1" dirty="0">
                <a:solidFill>
                  <a:schemeClr val="tx1"/>
                </a:solidFill>
                <a:sym typeface="Arial" panose="020B0604020202020204" pitchFamily="34" charset="0"/>
              </a:rPr>
              <a:t>CASE DATA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For internal use only – delete before sharing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Clien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Maconomy projec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ndustry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Keywords: xx, xx,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Year(s): 20xx – 20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mplement contact person: xx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9107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y cover -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55546BB0-F964-4CFA-A631-C62781668FE0}"/>
              </a:ext>
            </a:extLst>
          </p:cNvPr>
          <p:cNvSpPr txBox="1"/>
          <p:nvPr userDrawn="1"/>
        </p:nvSpPr>
        <p:spPr>
          <a:xfrm>
            <a:off x="0" y="3081297"/>
            <a:ext cx="9632951" cy="3776703"/>
          </a:xfrm>
          <a:prstGeom prst="rect">
            <a:avLst/>
          </a:prstGeom>
          <a:solidFill>
            <a:srgbClr val="303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100">
                <a:solidFill>
                  <a:srgbClr val="2F363B"/>
                </a:solidFill>
              </a:defRPr>
            </a:lvl1pPr>
            <a:lvl2pPr marL="0" lvl="1" indent="0">
              <a:buSzPct val="100000"/>
              <a:buChar char="​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buNone/>
            </a:pPr>
            <a:endParaRPr lang="de-DE">
              <a:sym typeface="Arial" panose="020B0604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2BB08A-2585-4258-863F-4190206A12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73988" y="4573689"/>
            <a:ext cx="1857375" cy="198438"/>
          </a:xfrm>
        </p:spPr>
        <p:txBody>
          <a:bodyPr lIns="270000" rIns="270000" anchor="ctr" anchorCtr="0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anuary 2020</a:t>
            </a:r>
            <a:endParaRPr lang="da-DK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ACF0EDF-0F93-47FA-9F31-B4F92E7C9C1E}"/>
              </a:ext>
            </a:extLst>
          </p:cNvPr>
          <p:cNvGrpSpPr/>
          <p:nvPr userDrawn="1"/>
        </p:nvGrpSpPr>
        <p:grpSpPr>
          <a:xfrm>
            <a:off x="269874" y="0"/>
            <a:ext cx="9636126" cy="6608510"/>
            <a:chOff x="269874" y="0"/>
            <a:chExt cx="9636126" cy="6608510"/>
          </a:xfrm>
        </p:grpSpPr>
        <p:sp>
          <p:nvSpPr>
            <p:cNvPr id="20" name="Freeform: Shape 4">
              <a:extLst>
                <a:ext uri="{FF2B5EF4-FFF2-40B4-BE49-F238E27FC236}">
                  <a16:creationId xmlns:a16="http://schemas.microsoft.com/office/drawing/2014/main" id="{14EE2482-2706-4328-878D-41690870F632}"/>
                </a:ext>
              </a:extLst>
            </p:cNvPr>
            <p:cNvSpPr/>
            <p:nvPr userDrawn="1"/>
          </p:nvSpPr>
          <p:spPr>
            <a:xfrm>
              <a:off x="269874" y="280735"/>
              <a:ext cx="9364663" cy="6327775"/>
            </a:xfrm>
            <a:custGeom>
              <a:avLst/>
              <a:gdLst>
                <a:gd name="connsiteX0" fmla="*/ 2157895 w 9586368"/>
                <a:gd name="connsiteY0" fmla="*/ 6461491 h 6479439"/>
                <a:gd name="connsiteX1" fmla="*/ 2167802 w 9586368"/>
                <a:gd name="connsiteY1" fmla="*/ 6461491 h 6479439"/>
                <a:gd name="connsiteX2" fmla="*/ 2171820 w 9586368"/>
                <a:gd name="connsiteY2" fmla="*/ 6465529 h 6479439"/>
                <a:gd name="connsiteX3" fmla="*/ 2171820 w 9586368"/>
                <a:gd name="connsiteY3" fmla="*/ 6475400 h 6479439"/>
                <a:gd name="connsiteX4" fmla="*/ 2167802 w 9586368"/>
                <a:gd name="connsiteY4" fmla="*/ 6479439 h 6479439"/>
                <a:gd name="connsiteX5" fmla="*/ 2157895 w 9586368"/>
                <a:gd name="connsiteY5" fmla="*/ 6479439 h 6479439"/>
                <a:gd name="connsiteX6" fmla="*/ 2153871 w 9586368"/>
                <a:gd name="connsiteY6" fmla="*/ 6475400 h 6479439"/>
                <a:gd name="connsiteX7" fmla="*/ 2153871 w 9586368"/>
                <a:gd name="connsiteY7" fmla="*/ 6465529 h 6479439"/>
                <a:gd name="connsiteX8" fmla="*/ 1918509 w 9586368"/>
                <a:gd name="connsiteY8" fmla="*/ 6461491 h 6479439"/>
                <a:gd name="connsiteX9" fmla="*/ 1928419 w 9586368"/>
                <a:gd name="connsiteY9" fmla="*/ 6461491 h 6479439"/>
                <a:gd name="connsiteX10" fmla="*/ 1932437 w 9586368"/>
                <a:gd name="connsiteY10" fmla="*/ 6465529 h 6479439"/>
                <a:gd name="connsiteX11" fmla="*/ 1932437 w 9586368"/>
                <a:gd name="connsiteY11" fmla="*/ 6475400 h 6479439"/>
                <a:gd name="connsiteX12" fmla="*/ 1928419 w 9586368"/>
                <a:gd name="connsiteY12" fmla="*/ 6479439 h 6479439"/>
                <a:gd name="connsiteX13" fmla="*/ 1918509 w 9586368"/>
                <a:gd name="connsiteY13" fmla="*/ 6479439 h 6479439"/>
                <a:gd name="connsiteX14" fmla="*/ 1914490 w 9586368"/>
                <a:gd name="connsiteY14" fmla="*/ 6475400 h 6479439"/>
                <a:gd name="connsiteX15" fmla="*/ 1914490 w 9586368"/>
                <a:gd name="connsiteY15" fmla="*/ 6465529 h 6479439"/>
                <a:gd name="connsiteX16" fmla="*/ 1679200 w 9586368"/>
                <a:gd name="connsiteY16" fmla="*/ 6461491 h 6479439"/>
                <a:gd name="connsiteX17" fmla="*/ 1689110 w 9586368"/>
                <a:gd name="connsiteY17" fmla="*/ 6461491 h 6479439"/>
                <a:gd name="connsiteX18" fmla="*/ 1693128 w 9586368"/>
                <a:gd name="connsiteY18" fmla="*/ 6465529 h 6479439"/>
                <a:gd name="connsiteX19" fmla="*/ 1693128 w 9586368"/>
                <a:gd name="connsiteY19" fmla="*/ 6475400 h 6479439"/>
                <a:gd name="connsiteX20" fmla="*/ 1689110 w 9586368"/>
                <a:gd name="connsiteY20" fmla="*/ 6479439 h 6479439"/>
                <a:gd name="connsiteX21" fmla="*/ 1679200 w 9586368"/>
                <a:gd name="connsiteY21" fmla="*/ 6479439 h 6479439"/>
                <a:gd name="connsiteX22" fmla="*/ 1675180 w 9586368"/>
                <a:gd name="connsiteY22" fmla="*/ 6475400 h 6479439"/>
                <a:gd name="connsiteX23" fmla="*/ 1675180 w 9586368"/>
                <a:gd name="connsiteY23" fmla="*/ 6465529 h 6479439"/>
                <a:gd name="connsiteX24" fmla="*/ 1439885 w 9586368"/>
                <a:gd name="connsiteY24" fmla="*/ 6461491 h 6479439"/>
                <a:gd name="connsiteX25" fmla="*/ 1449795 w 9586368"/>
                <a:gd name="connsiteY25" fmla="*/ 6461491 h 6479439"/>
                <a:gd name="connsiteX26" fmla="*/ 1453813 w 9586368"/>
                <a:gd name="connsiteY26" fmla="*/ 6465529 h 6479439"/>
                <a:gd name="connsiteX27" fmla="*/ 1453813 w 9586368"/>
                <a:gd name="connsiteY27" fmla="*/ 6475400 h 6479439"/>
                <a:gd name="connsiteX28" fmla="*/ 1449795 w 9586368"/>
                <a:gd name="connsiteY28" fmla="*/ 6479439 h 6479439"/>
                <a:gd name="connsiteX29" fmla="*/ 1439885 w 9586368"/>
                <a:gd name="connsiteY29" fmla="*/ 6479439 h 6479439"/>
                <a:gd name="connsiteX30" fmla="*/ 1435865 w 9586368"/>
                <a:gd name="connsiteY30" fmla="*/ 6475400 h 6479439"/>
                <a:gd name="connsiteX31" fmla="*/ 1435865 w 9586368"/>
                <a:gd name="connsiteY31" fmla="*/ 6465529 h 6479439"/>
                <a:gd name="connsiteX32" fmla="*/ 1200570 w 9586368"/>
                <a:gd name="connsiteY32" fmla="*/ 6461491 h 6479439"/>
                <a:gd name="connsiteX33" fmla="*/ 1210480 w 9586368"/>
                <a:gd name="connsiteY33" fmla="*/ 6461491 h 6479439"/>
                <a:gd name="connsiteX34" fmla="*/ 1214498 w 9586368"/>
                <a:gd name="connsiteY34" fmla="*/ 6465529 h 6479439"/>
                <a:gd name="connsiteX35" fmla="*/ 1214498 w 9586368"/>
                <a:gd name="connsiteY35" fmla="*/ 6475400 h 6479439"/>
                <a:gd name="connsiteX36" fmla="*/ 1210480 w 9586368"/>
                <a:gd name="connsiteY36" fmla="*/ 6479439 h 6479439"/>
                <a:gd name="connsiteX37" fmla="*/ 1200570 w 9586368"/>
                <a:gd name="connsiteY37" fmla="*/ 6479439 h 6479439"/>
                <a:gd name="connsiteX38" fmla="*/ 1196551 w 9586368"/>
                <a:gd name="connsiteY38" fmla="*/ 6475400 h 6479439"/>
                <a:gd name="connsiteX39" fmla="*/ 1196551 w 9586368"/>
                <a:gd name="connsiteY39" fmla="*/ 6465529 h 6479439"/>
                <a:gd name="connsiteX40" fmla="*/ 961257 w 9586368"/>
                <a:gd name="connsiteY40" fmla="*/ 6461491 h 6479439"/>
                <a:gd name="connsiteX41" fmla="*/ 971167 w 9586368"/>
                <a:gd name="connsiteY41" fmla="*/ 6461491 h 6479439"/>
                <a:gd name="connsiteX42" fmla="*/ 975186 w 9586368"/>
                <a:gd name="connsiteY42" fmla="*/ 6465529 h 6479439"/>
                <a:gd name="connsiteX43" fmla="*/ 975186 w 9586368"/>
                <a:gd name="connsiteY43" fmla="*/ 6475400 h 6479439"/>
                <a:gd name="connsiteX44" fmla="*/ 971167 w 9586368"/>
                <a:gd name="connsiteY44" fmla="*/ 6479439 h 6479439"/>
                <a:gd name="connsiteX45" fmla="*/ 961257 w 9586368"/>
                <a:gd name="connsiteY45" fmla="*/ 6479439 h 6479439"/>
                <a:gd name="connsiteX46" fmla="*/ 957238 w 9586368"/>
                <a:gd name="connsiteY46" fmla="*/ 6475400 h 6479439"/>
                <a:gd name="connsiteX47" fmla="*/ 957238 w 9586368"/>
                <a:gd name="connsiteY47" fmla="*/ 6465529 h 6479439"/>
                <a:gd name="connsiteX48" fmla="*/ 9572438 w 9586368"/>
                <a:gd name="connsiteY48" fmla="*/ 6461440 h 6479439"/>
                <a:gd name="connsiteX49" fmla="*/ 9582349 w 9586368"/>
                <a:gd name="connsiteY49" fmla="*/ 6461440 h 6479439"/>
                <a:gd name="connsiteX50" fmla="*/ 9586368 w 9586368"/>
                <a:gd name="connsiteY50" fmla="*/ 6465478 h 6479439"/>
                <a:gd name="connsiteX51" fmla="*/ 9586368 w 9586368"/>
                <a:gd name="connsiteY51" fmla="*/ 6475349 h 6479439"/>
                <a:gd name="connsiteX52" fmla="*/ 9582349 w 9586368"/>
                <a:gd name="connsiteY52" fmla="*/ 6479388 h 6479439"/>
                <a:gd name="connsiteX53" fmla="*/ 9572438 w 9586368"/>
                <a:gd name="connsiteY53" fmla="*/ 6479388 h 6479439"/>
                <a:gd name="connsiteX54" fmla="*/ 9568419 w 9586368"/>
                <a:gd name="connsiteY54" fmla="*/ 6475349 h 6479439"/>
                <a:gd name="connsiteX55" fmla="*/ 9568419 w 9586368"/>
                <a:gd name="connsiteY55" fmla="*/ 6465478 h 6479439"/>
                <a:gd name="connsiteX56" fmla="*/ 9333125 w 9586368"/>
                <a:gd name="connsiteY56" fmla="*/ 6461440 h 6479439"/>
                <a:gd name="connsiteX57" fmla="*/ 9343036 w 9586368"/>
                <a:gd name="connsiteY57" fmla="*/ 6461440 h 6479439"/>
                <a:gd name="connsiteX58" fmla="*/ 9347055 w 9586368"/>
                <a:gd name="connsiteY58" fmla="*/ 6465478 h 6479439"/>
                <a:gd name="connsiteX59" fmla="*/ 9347055 w 9586368"/>
                <a:gd name="connsiteY59" fmla="*/ 6475349 h 6479439"/>
                <a:gd name="connsiteX60" fmla="*/ 9343036 w 9586368"/>
                <a:gd name="connsiteY60" fmla="*/ 6479388 h 6479439"/>
                <a:gd name="connsiteX61" fmla="*/ 9333125 w 9586368"/>
                <a:gd name="connsiteY61" fmla="*/ 6479388 h 6479439"/>
                <a:gd name="connsiteX62" fmla="*/ 9329106 w 9586368"/>
                <a:gd name="connsiteY62" fmla="*/ 6475349 h 6479439"/>
                <a:gd name="connsiteX63" fmla="*/ 9329106 w 9586368"/>
                <a:gd name="connsiteY63" fmla="*/ 6465478 h 6479439"/>
                <a:gd name="connsiteX64" fmla="*/ 9093811 w 9586368"/>
                <a:gd name="connsiteY64" fmla="*/ 6461440 h 6479439"/>
                <a:gd name="connsiteX65" fmla="*/ 9103722 w 9586368"/>
                <a:gd name="connsiteY65" fmla="*/ 6461440 h 6479439"/>
                <a:gd name="connsiteX66" fmla="*/ 9107741 w 9586368"/>
                <a:gd name="connsiteY66" fmla="*/ 6465478 h 6479439"/>
                <a:gd name="connsiteX67" fmla="*/ 9107741 w 9586368"/>
                <a:gd name="connsiteY67" fmla="*/ 6475349 h 6479439"/>
                <a:gd name="connsiteX68" fmla="*/ 9103722 w 9586368"/>
                <a:gd name="connsiteY68" fmla="*/ 6479388 h 6479439"/>
                <a:gd name="connsiteX69" fmla="*/ 9093811 w 9586368"/>
                <a:gd name="connsiteY69" fmla="*/ 6479388 h 6479439"/>
                <a:gd name="connsiteX70" fmla="*/ 9089792 w 9586368"/>
                <a:gd name="connsiteY70" fmla="*/ 6475349 h 6479439"/>
                <a:gd name="connsiteX71" fmla="*/ 9089792 w 9586368"/>
                <a:gd name="connsiteY71" fmla="*/ 6465478 h 6479439"/>
                <a:gd name="connsiteX72" fmla="*/ 8854496 w 9586368"/>
                <a:gd name="connsiteY72" fmla="*/ 6461440 h 6479439"/>
                <a:gd name="connsiteX73" fmla="*/ 8864407 w 9586368"/>
                <a:gd name="connsiteY73" fmla="*/ 6461440 h 6479439"/>
                <a:gd name="connsiteX74" fmla="*/ 8868426 w 9586368"/>
                <a:gd name="connsiteY74" fmla="*/ 6465478 h 6479439"/>
                <a:gd name="connsiteX75" fmla="*/ 8868426 w 9586368"/>
                <a:gd name="connsiteY75" fmla="*/ 6475349 h 6479439"/>
                <a:gd name="connsiteX76" fmla="*/ 8864407 w 9586368"/>
                <a:gd name="connsiteY76" fmla="*/ 6479388 h 6479439"/>
                <a:gd name="connsiteX77" fmla="*/ 8854496 w 9586368"/>
                <a:gd name="connsiteY77" fmla="*/ 6479388 h 6479439"/>
                <a:gd name="connsiteX78" fmla="*/ 8850477 w 9586368"/>
                <a:gd name="connsiteY78" fmla="*/ 6475349 h 6479439"/>
                <a:gd name="connsiteX79" fmla="*/ 8850477 w 9586368"/>
                <a:gd name="connsiteY79" fmla="*/ 6465478 h 6479439"/>
                <a:gd name="connsiteX80" fmla="*/ 8615184 w 9586368"/>
                <a:gd name="connsiteY80" fmla="*/ 6461440 h 6479439"/>
                <a:gd name="connsiteX81" fmla="*/ 8625095 w 9586368"/>
                <a:gd name="connsiteY81" fmla="*/ 6461440 h 6479439"/>
                <a:gd name="connsiteX82" fmla="*/ 8629114 w 9586368"/>
                <a:gd name="connsiteY82" fmla="*/ 6465478 h 6479439"/>
                <a:gd name="connsiteX83" fmla="*/ 8629114 w 9586368"/>
                <a:gd name="connsiteY83" fmla="*/ 6475349 h 6479439"/>
                <a:gd name="connsiteX84" fmla="*/ 8625095 w 9586368"/>
                <a:gd name="connsiteY84" fmla="*/ 6479388 h 6479439"/>
                <a:gd name="connsiteX85" fmla="*/ 8615184 w 9586368"/>
                <a:gd name="connsiteY85" fmla="*/ 6479388 h 6479439"/>
                <a:gd name="connsiteX86" fmla="*/ 8611165 w 9586368"/>
                <a:gd name="connsiteY86" fmla="*/ 6475349 h 6479439"/>
                <a:gd name="connsiteX87" fmla="*/ 8611165 w 9586368"/>
                <a:gd name="connsiteY87" fmla="*/ 6465478 h 6479439"/>
                <a:gd name="connsiteX88" fmla="*/ 8375869 w 9586368"/>
                <a:gd name="connsiteY88" fmla="*/ 6461440 h 6479439"/>
                <a:gd name="connsiteX89" fmla="*/ 8385779 w 9586368"/>
                <a:gd name="connsiteY89" fmla="*/ 6461440 h 6479439"/>
                <a:gd name="connsiteX90" fmla="*/ 8389799 w 9586368"/>
                <a:gd name="connsiteY90" fmla="*/ 6465478 h 6479439"/>
                <a:gd name="connsiteX91" fmla="*/ 8389799 w 9586368"/>
                <a:gd name="connsiteY91" fmla="*/ 6475349 h 6479439"/>
                <a:gd name="connsiteX92" fmla="*/ 8385779 w 9586368"/>
                <a:gd name="connsiteY92" fmla="*/ 6479388 h 6479439"/>
                <a:gd name="connsiteX93" fmla="*/ 8375869 w 9586368"/>
                <a:gd name="connsiteY93" fmla="*/ 6479388 h 6479439"/>
                <a:gd name="connsiteX94" fmla="*/ 8371850 w 9586368"/>
                <a:gd name="connsiteY94" fmla="*/ 6475349 h 6479439"/>
                <a:gd name="connsiteX95" fmla="*/ 8371850 w 9586368"/>
                <a:gd name="connsiteY95" fmla="*/ 6465478 h 6479439"/>
                <a:gd name="connsiteX96" fmla="*/ 8136553 w 9586368"/>
                <a:gd name="connsiteY96" fmla="*/ 6461440 h 6479439"/>
                <a:gd name="connsiteX97" fmla="*/ 8146464 w 9586368"/>
                <a:gd name="connsiteY97" fmla="*/ 6461440 h 6479439"/>
                <a:gd name="connsiteX98" fmla="*/ 8150483 w 9586368"/>
                <a:gd name="connsiteY98" fmla="*/ 6465478 h 6479439"/>
                <a:gd name="connsiteX99" fmla="*/ 8150483 w 9586368"/>
                <a:gd name="connsiteY99" fmla="*/ 6475349 h 6479439"/>
                <a:gd name="connsiteX100" fmla="*/ 8146464 w 9586368"/>
                <a:gd name="connsiteY100" fmla="*/ 6479388 h 6479439"/>
                <a:gd name="connsiteX101" fmla="*/ 8136553 w 9586368"/>
                <a:gd name="connsiteY101" fmla="*/ 6479388 h 6479439"/>
                <a:gd name="connsiteX102" fmla="*/ 8132534 w 9586368"/>
                <a:gd name="connsiteY102" fmla="*/ 6475349 h 6479439"/>
                <a:gd name="connsiteX103" fmla="*/ 8132534 w 9586368"/>
                <a:gd name="connsiteY103" fmla="*/ 6465478 h 6479439"/>
                <a:gd name="connsiteX104" fmla="*/ 7897241 w 9586368"/>
                <a:gd name="connsiteY104" fmla="*/ 6461440 h 6479439"/>
                <a:gd name="connsiteX105" fmla="*/ 7907151 w 9586368"/>
                <a:gd name="connsiteY105" fmla="*/ 6461440 h 6479439"/>
                <a:gd name="connsiteX106" fmla="*/ 7911170 w 9586368"/>
                <a:gd name="connsiteY106" fmla="*/ 6465478 h 6479439"/>
                <a:gd name="connsiteX107" fmla="*/ 7911170 w 9586368"/>
                <a:gd name="connsiteY107" fmla="*/ 6475349 h 6479439"/>
                <a:gd name="connsiteX108" fmla="*/ 7907151 w 9586368"/>
                <a:gd name="connsiteY108" fmla="*/ 6479388 h 6479439"/>
                <a:gd name="connsiteX109" fmla="*/ 7897241 w 9586368"/>
                <a:gd name="connsiteY109" fmla="*/ 6479388 h 6479439"/>
                <a:gd name="connsiteX110" fmla="*/ 7893222 w 9586368"/>
                <a:gd name="connsiteY110" fmla="*/ 6475349 h 6479439"/>
                <a:gd name="connsiteX111" fmla="*/ 7893222 w 9586368"/>
                <a:gd name="connsiteY111" fmla="*/ 6465478 h 6479439"/>
                <a:gd name="connsiteX112" fmla="*/ 7657926 w 9586368"/>
                <a:gd name="connsiteY112" fmla="*/ 6461440 h 6479439"/>
                <a:gd name="connsiteX113" fmla="*/ 7667836 w 9586368"/>
                <a:gd name="connsiteY113" fmla="*/ 6461440 h 6479439"/>
                <a:gd name="connsiteX114" fmla="*/ 7671855 w 9586368"/>
                <a:gd name="connsiteY114" fmla="*/ 6465478 h 6479439"/>
                <a:gd name="connsiteX115" fmla="*/ 7671855 w 9586368"/>
                <a:gd name="connsiteY115" fmla="*/ 6475349 h 6479439"/>
                <a:gd name="connsiteX116" fmla="*/ 7667836 w 9586368"/>
                <a:gd name="connsiteY116" fmla="*/ 6479388 h 6479439"/>
                <a:gd name="connsiteX117" fmla="*/ 7657926 w 9586368"/>
                <a:gd name="connsiteY117" fmla="*/ 6479388 h 6479439"/>
                <a:gd name="connsiteX118" fmla="*/ 7653906 w 9586368"/>
                <a:gd name="connsiteY118" fmla="*/ 6475349 h 6479439"/>
                <a:gd name="connsiteX119" fmla="*/ 7653906 w 9586368"/>
                <a:gd name="connsiteY119" fmla="*/ 6465478 h 6479439"/>
                <a:gd name="connsiteX120" fmla="*/ 7418611 w 9586368"/>
                <a:gd name="connsiteY120" fmla="*/ 6461440 h 6479439"/>
                <a:gd name="connsiteX121" fmla="*/ 7428521 w 9586368"/>
                <a:gd name="connsiteY121" fmla="*/ 6461440 h 6479439"/>
                <a:gd name="connsiteX122" fmla="*/ 7432540 w 9586368"/>
                <a:gd name="connsiteY122" fmla="*/ 6465478 h 6479439"/>
                <a:gd name="connsiteX123" fmla="*/ 7432540 w 9586368"/>
                <a:gd name="connsiteY123" fmla="*/ 6475349 h 6479439"/>
                <a:gd name="connsiteX124" fmla="*/ 7428521 w 9586368"/>
                <a:gd name="connsiteY124" fmla="*/ 6479388 h 6479439"/>
                <a:gd name="connsiteX125" fmla="*/ 7418611 w 9586368"/>
                <a:gd name="connsiteY125" fmla="*/ 6479388 h 6479439"/>
                <a:gd name="connsiteX126" fmla="*/ 7414592 w 9586368"/>
                <a:gd name="connsiteY126" fmla="*/ 6475349 h 6479439"/>
                <a:gd name="connsiteX127" fmla="*/ 7414592 w 9586368"/>
                <a:gd name="connsiteY127" fmla="*/ 6465478 h 6479439"/>
                <a:gd name="connsiteX128" fmla="*/ 7179298 w 9586368"/>
                <a:gd name="connsiteY128" fmla="*/ 6461440 h 6479439"/>
                <a:gd name="connsiteX129" fmla="*/ 7189209 w 9586368"/>
                <a:gd name="connsiteY129" fmla="*/ 6461440 h 6479439"/>
                <a:gd name="connsiteX130" fmla="*/ 7193228 w 9586368"/>
                <a:gd name="connsiteY130" fmla="*/ 6465478 h 6479439"/>
                <a:gd name="connsiteX131" fmla="*/ 7193228 w 9586368"/>
                <a:gd name="connsiteY131" fmla="*/ 6475349 h 6479439"/>
                <a:gd name="connsiteX132" fmla="*/ 7189209 w 9586368"/>
                <a:gd name="connsiteY132" fmla="*/ 6479388 h 6479439"/>
                <a:gd name="connsiteX133" fmla="*/ 7179298 w 9586368"/>
                <a:gd name="connsiteY133" fmla="*/ 6479388 h 6479439"/>
                <a:gd name="connsiteX134" fmla="*/ 7175279 w 9586368"/>
                <a:gd name="connsiteY134" fmla="*/ 6475349 h 6479439"/>
                <a:gd name="connsiteX135" fmla="*/ 7175279 w 9586368"/>
                <a:gd name="connsiteY135" fmla="*/ 6465478 h 6479439"/>
                <a:gd name="connsiteX136" fmla="*/ 6939983 w 9586368"/>
                <a:gd name="connsiteY136" fmla="*/ 6461440 h 6479439"/>
                <a:gd name="connsiteX137" fmla="*/ 6949894 w 9586368"/>
                <a:gd name="connsiteY137" fmla="*/ 6461440 h 6479439"/>
                <a:gd name="connsiteX138" fmla="*/ 6953913 w 9586368"/>
                <a:gd name="connsiteY138" fmla="*/ 6465478 h 6479439"/>
                <a:gd name="connsiteX139" fmla="*/ 6953913 w 9586368"/>
                <a:gd name="connsiteY139" fmla="*/ 6475349 h 6479439"/>
                <a:gd name="connsiteX140" fmla="*/ 6949894 w 9586368"/>
                <a:gd name="connsiteY140" fmla="*/ 6479388 h 6479439"/>
                <a:gd name="connsiteX141" fmla="*/ 6939983 w 9586368"/>
                <a:gd name="connsiteY141" fmla="*/ 6479388 h 6479439"/>
                <a:gd name="connsiteX142" fmla="*/ 6935964 w 9586368"/>
                <a:gd name="connsiteY142" fmla="*/ 6475349 h 6479439"/>
                <a:gd name="connsiteX143" fmla="*/ 6935964 w 9586368"/>
                <a:gd name="connsiteY143" fmla="*/ 6465478 h 6479439"/>
                <a:gd name="connsiteX144" fmla="*/ 6700670 w 9586368"/>
                <a:gd name="connsiteY144" fmla="*/ 6461440 h 6479439"/>
                <a:gd name="connsiteX145" fmla="*/ 6710581 w 9586368"/>
                <a:gd name="connsiteY145" fmla="*/ 6461440 h 6479439"/>
                <a:gd name="connsiteX146" fmla="*/ 6714600 w 9586368"/>
                <a:gd name="connsiteY146" fmla="*/ 6465478 h 6479439"/>
                <a:gd name="connsiteX147" fmla="*/ 6714600 w 9586368"/>
                <a:gd name="connsiteY147" fmla="*/ 6475349 h 6479439"/>
                <a:gd name="connsiteX148" fmla="*/ 6710581 w 9586368"/>
                <a:gd name="connsiteY148" fmla="*/ 6479388 h 6479439"/>
                <a:gd name="connsiteX149" fmla="*/ 6700670 w 9586368"/>
                <a:gd name="connsiteY149" fmla="*/ 6479388 h 6479439"/>
                <a:gd name="connsiteX150" fmla="*/ 6696651 w 9586368"/>
                <a:gd name="connsiteY150" fmla="*/ 6475349 h 6479439"/>
                <a:gd name="connsiteX151" fmla="*/ 6696651 w 9586368"/>
                <a:gd name="connsiteY151" fmla="*/ 6465478 h 6479439"/>
                <a:gd name="connsiteX152" fmla="*/ 6461356 w 9586368"/>
                <a:gd name="connsiteY152" fmla="*/ 6461440 h 6479439"/>
                <a:gd name="connsiteX153" fmla="*/ 6471266 w 9586368"/>
                <a:gd name="connsiteY153" fmla="*/ 6461440 h 6479439"/>
                <a:gd name="connsiteX154" fmla="*/ 6475285 w 9586368"/>
                <a:gd name="connsiteY154" fmla="*/ 6465478 h 6479439"/>
                <a:gd name="connsiteX155" fmla="*/ 6475285 w 9586368"/>
                <a:gd name="connsiteY155" fmla="*/ 6475349 h 6479439"/>
                <a:gd name="connsiteX156" fmla="*/ 6471266 w 9586368"/>
                <a:gd name="connsiteY156" fmla="*/ 6479388 h 6479439"/>
                <a:gd name="connsiteX157" fmla="*/ 6461356 w 9586368"/>
                <a:gd name="connsiteY157" fmla="*/ 6479388 h 6479439"/>
                <a:gd name="connsiteX158" fmla="*/ 6457337 w 9586368"/>
                <a:gd name="connsiteY158" fmla="*/ 6475349 h 6479439"/>
                <a:gd name="connsiteX159" fmla="*/ 6457337 w 9586368"/>
                <a:gd name="connsiteY159" fmla="*/ 6465478 h 6479439"/>
                <a:gd name="connsiteX160" fmla="*/ 6222042 w 9586368"/>
                <a:gd name="connsiteY160" fmla="*/ 6461440 h 6479439"/>
                <a:gd name="connsiteX161" fmla="*/ 6231952 w 9586368"/>
                <a:gd name="connsiteY161" fmla="*/ 6461440 h 6479439"/>
                <a:gd name="connsiteX162" fmla="*/ 6235971 w 9586368"/>
                <a:gd name="connsiteY162" fmla="*/ 6465478 h 6479439"/>
                <a:gd name="connsiteX163" fmla="*/ 6235971 w 9586368"/>
                <a:gd name="connsiteY163" fmla="*/ 6475349 h 6479439"/>
                <a:gd name="connsiteX164" fmla="*/ 6231952 w 9586368"/>
                <a:gd name="connsiteY164" fmla="*/ 6479388 h 6479439"/>
                <a:gd name="connsiteX165" fmla="*/ 6222042 w 9586368"/>
                <a:gd name="connsiteY165" fmla="*/ 6479388 h 6479439"/>
                <a:gd name="connsiteX166" fmla="*/ 6218023 w 9586368"/>
                <a:gd name="connsiteY166" fmla="*/ 6475349 h 6479439"/>
                <a:gd name="connsiteX167" fmla="*/ 6218023 w 9586368"/>
                <a:gd name="connsiteY167" fmla="*/ 6465478 h 6479439"/>
                <a:gd name="connsiteX168" fmla="*/ 5982729 w 9586368"/>
                <a:gd name="connsiteY168" fmla="*/ 6461440 h 6479439"/>
                <a:gd name="connsiteX169" fmla="*/ 5992639 w 9586368"/>
                <a:gd name="connsiteY169" fmla="*/ 6461440 h 6479439"/>
                <a:gd name="connsiteX170" fmla="*/ 5996658 w 9586368"/>
                <a:gd name="connsiteY170" fmla="*/ 6465478 h 6479439"/>
                <a:gd name="connsiteX171" fmla="*/ 5996658 w 9586368"/>
                <a:gd name="connsiteY171" fmla="*/ 6475349 h 6479439"/>
                <a:gd name="connsiteX172" fmla="*/ 5992639 w 9586368"/>
                <a:gd name="connsiteY172" fmla="*/ 6479388 h 6479439"/>
                <a:gd name="connsiteX173" fmla="*/ 5982729 w 9586368"/>
                <a:gd name="connsiteY173" fmla="*/ 6479388 h 6479439"/>
                <a:gd name="connsiteX174" fmla="*/ 5978710 w 9586368"/>
                <a:gd name="connsiteY174" fmla="*/ 6475349 h 6479439"/>
                <a:gd name="connsiteX175" fmla="*/ 5978710 w 9586368"/>
                <a:gd name="connsiteY175" fmla="*/ 6465478 h 6479439"/>
                <a:gd name="connsiteX176" fmla="*/ 5743412 w 9586368"/>
                <a:gd name="connsiteY176" fmla="*/ 6461440 h 6479439"/>
                <a:gd name="connsiteX177" fmla="*/ 5753323 w 9586368"/>
                <a:gd name="connsiteY177" fmla="*/ 6461440 h 6479439"/>
                <a:gd name="connsiteX178" fmla="*/ 5757342 w 9586368"/>
                <a:gd name="connsiteY178" fmla="*/ 6465478 h 6479439"/>
                <a:gd name="connsiteX179" fmla="*/ 5757342 w 9586368"/>
                <a:gd name="connsiteY179" fmla="*/ 6475349 h 6479439"/>
                <a:gd name="connsiteX180" fmla="*/ 5753323 w 9586368"/>
                <a:gd name="connsiteY180" fmla="*/ 6479388 h 6479439"/>
                <a:gd name="connsiteX181" fmla="*/ 5743412 w 9586368"/>
                <a:gd name="connsiteY181" fmla="*/ 6479388 h 6479439"/>
                <a:gd name="connsiteX182" fmla="*/ 5739393 w 9586368"/>
                <a:gd name="connsiteY182" fmla="*/ 6475349 h 6479439"/>
                <a:gd name="connsiteX183" fmla="*/ 5739393 w 9586368"/>
                <a:gd name="connsiteY183" fmla="*/ 6465478 h 6479439"/>
                <a:gd name="connsiteX184" fmla="*/ 5504099 w 9586368"/>
                <a:gd name="connsiteY184" fmla="*/ 6461440 h 6479439"/>
                <a:gd name="connsiteX185" fmla="*/ 5514010 w 9586368"/>
                <a:gd name="connsiteY185" fmla="*/ 6461440 h 6479439"/>
                <a:gd name="connsiteX186" fmla="*/ 5518029 w 9586368"/>
                <a:gd name="connsiteY186" fmla="*/ 6465478 h 6479439"/>
                <a:gd name="connsiteX187" fmla="*/ 5518029 w 9586368"/>
                <a:gd name="connsiteY187" fmla="*/ 6475349 h 6479439"/>
                <a:gd name="connsiteX188" fmla="*/ 5514010 w 9586368"/>
                <a:gd name="connsiteY188" fmla="*/ 6479388 h 6479439"/>
                <a:gd name="connsiteX189" fmla="*/ 5504099 w 9586368"/>
                <a:gd name="connsiteY189" fmla="*/ 6479388 h 6479439"/>
                <a:gd name="connsiteX190" fmla="*/ 5500080 w 9586368"/>
                <a:gd name="connsiteY190" fmla="*/ 6475349 h 6479439"/>
                <a:gd name="connsiteX191" fmla="*/ 5500080 w 9586368"/>
                <a:gd name="connsiteY191" fmla="*/ 6465478 h 6479439"/>
                <a:gd name="connsiteX192" fmla="*/ 5264784 w 9586368"/>
                <a:gd name="connsiteY192" fmla="*/ 6461440 h 6479439"/>
                <a:gd name="connsiteX193" fmla="*/ 5274694 w 9586368"/>
                <a:gd name="connsiteY193" fmla="*/ 6461440 h 6479439"/>
                <a:gd name="connsiteX194" fmla="*/ 5278713 w 9586368"/>
                <a:gd name="connsiteY194" fmla="*/ 6465478 h 6479439"/>
                <a:gd name="connsiteX195" fmla="*/ 5278713 w 9586368"/>
                <a:gd name="connsiteY195" fmla="*/ 6475349 h 6479439"/>
                <a:gd name="connsiteX196" fmla="*/ 5274694 w 9586368"/>
                <a:gd name="connsiteY196" fmla="*/ 6479388 h 6479439"/>
                <a:gd name="connsiteX197" fmla="*/ 5264784 w 9586368"/>
                <a:gd name="connsiteY197" fmla="*/ 6479388 h 6479439"/>
                <a:gd name="connsiteX198" fmla="*/ 5260765 w 9586368"/>
                <a:gd name="connsiteY198" fmla="*/ 6475349 h 6479439"/>
                <a:gd name="connsiteX199" fmla="*/ 5260765 w 9586368"/>
                <a:gd name="connsiteY199" fmla="*/ 6465478 h 6479439"/>
                <a:gd name="connsiteX200" fmla="*/ 5025470 w 9586368"/>
                <a:gd name="connsiteY200" fmla="*/ 6461440 h 6479439"/>
                <a:gd name="connsiteX201" fmla="*/ 5035381 w 9586368"/>
                <a:gd name="connsiteY201" fmla="*/ 6461440 h 6479439"/>
                <a:gd name="connsiteX202" fmla="*/ 5039400 w 9586368"/>
                <a:gd name="connsiteY202" fmla="*/ 6465478 h 6479439"/>
                <a:gd name="connsiteX203" fmla="*/ 5039400 w 9586368"/>
                <a:gd name="connsiteY203" fmla="*/ 6475349 h 6479439"/>
                <a:gd name="connsiteX204" fmla="*/ 5035381 w 9586368"/>
                <a:gd name="connsiteY204" fmla="*/ 6479388 h 6479439"/>
                <a:gd name="connsiteX205" fmla="*/ 5025470 w 9586368"/>
                <a:gd name="connsiteY205" fmla="*/ 6479388 h 6479439"/>
                <a:gd name="connsiteX206" fmla="*/ 5021451 w 9586368"/>
                <a:gd name="connsiteY206" fmla="*/ 6475349 h 6479439"/>
                <a:gd name="connsiteX207" fmla="*/ 5021451 w 9586368"/>
                <a:gd name="connsiteY207" fmla="*/ 6465478 h 6479439"/>
                <a:gd name="connsiteX208" fmla="*/ 4786241 w 9586368"/>
                <a:gd name="connsiteY208" fmla="*/ 6461440 h 6479439"/>
                <a:gd name="connsiteX209" fmla="*/ 4796152 w 9586368"/>
                <a:gd name="connsiteY209" fmla="*/ 6461440 h 6479439"/>
                <a:gd name="connsiteX210" fmla="*/ 4800171 w 9586368"/>
                <a:gd name="connsiteY210" fmla="*/ 6465478 h 6479439"/>
                <a:gd name="connsiteX211" fmla="*/ 4800171 w 9586368"/>
                <a:gd name="connsiteY211" fmla="*/ 6475349 h 6479439"/>
                <a:gd name="connsiteX212" fmla="*/ 4796152 w 9586368"/>
                <a:gd name="connsiteY212" fmla="*/ 6479388 h 6479439"/>
                <a:gd name="connsiteX213" fmla="*/ 4786241 w 9586368"/>
                <a:gd name="connsiteY213" fmla="*/ 6479388 h 6479439"/>
                <a:gd name="connsiteX214" fmla="*/ 4782224 w 9586368"/>
                <a:gd name="connsiteY214" fmla="*/ 6475349 h 6479439"/>
                <a:gd name="connsiteX215" fmla="*/ 4782224 w 9586368"/>
                <a:gd name="connsiteY215" fmla="*/ 6465478 h 6479439"/>
                <a:gd name="connsiteX216" fmla="*/ 4546929 w 9586368"/>
                <a:gd name="connsiteY216" fmla="*/ 6461440 h 6479439"/>
                <a:gd name="connsiteX217" fmla="*/ 4556840 w 9586368"/>
                <a:gd name="connsiteY217" fmla="*/ 6461440 h 6479439"/>
                <a:gd name="connsiteX218" fmla="*/ 4560859 w 9586368"/>
                <a:gd name="connsiteY218" fmla="*/ 6465478 h 6479439"/>
                <a:gd name="connsiteX219" fmla="*/ 4560859 w 9586368"/>
                <a:gd name="connsiteY219" fmla="*/ 6475349 h 6479439"/>
                <a:gd name="connsiteX220" fmla="*/ 4556840 w 9586368"/>
                <a:gd name="connsiteY220" fmla="*/ 6479388 h 6479439"/>
                <a:gd name="connsiteX221" fmla="*/ 4546929 w 9586368"/>
                <a:gd name="connsiteY221" fmla="*/ 6479388 h 6479439"/>
                <a:gd name="connsiteX222" fmla="*/ 4542910 w 9586368"/>
                <a:gd name="connsiteY222" fmla="*/ 6475349 h 6479439"/>
                <a:gd name="connsiteX223" fmla="*/ 4542910 w 9586368"/>
                <a:gd name="connsiteY223" fmla="*/ 6465478 h 6479439"/>
                <a:gd name="connsiteX224" fmla="*/ 4307612 w 9586368"/>
                <a:gd name="connsiteY224" fmla="*/ 6461440 h 6479439"/>
                <a:gd name="connsiteX225" fmla="*/ 4317523 w 9586368"/>
                <a:gd name="connsiteY225" fmla="*/ 6461440 h 6479439"/>
                <a:gd name="connsiteX226" fmla="*/ 4321543 w 9586368"/>
                <a:gd name="connsiteY226" fmla="*/ 6465478 h 6479439"/>
                <a:gd name="connsiteX227" fmla="*/ 4321543 w 9586368"/>
                <a:gd name="connsiteY227" fmla="*/ 6475349 h 6479439"/>
                <a:gd name="connsiteX228" fmla="*/ 4317523 w 9586368"/>
                <a:gd name="connsiteY228" fmla="*/ 6479388 h 6479439"/>
                <a:gd name="connsiteX229" fmla="*/ 4307612 w 9586368"/>
                <a:gd name="connsiteY229" fmla="*/ 6479388 h 6479439"/>
                <a:gd name="connsiteX230" fmla="*/ 4303595 w 9586368"/>
                <a:gd name="connsiteY230" fmla="*/ 6475349 h 6479439"/>
                <a:gd name="connsiteX231" fmla="*/ 4303595 w 9586368"/>
                <a:gd name="connsiteY231" fmla="*/ 6465478 h 6479439"/>
                <a:gd name="connsiteX232" fmla="*/ 4068297 w 9586368"/>
                <a:gd name="connsiteY232" fmla="*/ 6461440 h 6479439"/>
                <a:gd name="connsiteX233" fmla="*/ 4078210 w 9586368"/>
                <a:gd name="connsiteY233" fmla="*/ 6461440 h 6479439"/>
                <a:gd name="connsiteX234" fmla="*/ 4082229 w 9586368"/>
                <a:gd name="connsiteY234" fmla="*/ 6465478 h 6479439"/>
                <a:gd name="connsiteX235" fmla="*/ 4082229 w 9586368"/>
                <a:gd name="connsiteY235" fmla="*/ 6475349 h 6479439"/>
                <a:gd name="connsiteX236" fmla="*/ 4078210 w 9586368"/>
                <a:gd name="connsiteY236" fmla="*/ 6479388 h 6479439"/>
                <a:gd name="connsiteX237" fmla="*/ 4068297 w 9586368"/>
                <a:gd name="connsiteY237" fmla="*/ 6479388 h 6479439"/>
                <a:gd name="connsiteX238" fmla="*/ 4064278 w 9586368"/>
                <a:gd name="connsiteY238" fmla="*/ 6475349 h 6479439"/>
                <a:gd name="connsiteX239" fmla="*/ 4064278 w 9586368"/>
                <a:gd name="connsiteY239" fmla="*/ 6465478 h 6479439"/>
                <a:gd name="connsiteX240" fmla="*/ 3828990 w 9586368"/>
                <a:gd name="connsiteY240" fmla="*/ 6461440 h 6479439"/>
                <a:gd name="connsiteX241" fmla="*/ 3838899 w 9586368"/>
                <a:gd name="connsiteY241" fmla="*/ 6461440 h 6479439"/>
                <a:gd name="connsiteX242" fmla="*/ 3842917 w 9586368"/>
                <a:gd name="connsiteY242" fmla="*/ 6465478 h 6479439"/>
                <a:gd name="connsiteX243" fmla="*/ 3842917 w 9586368"/>
                <a:gd name="connsiteY243" fmla="*/ 6475349 h 6479439"/>
                <a:gd name="connsiteX244" fmla="*/ 3838899 w 9586368"/>
                <a:gd name="connsiteY244" fmla="*/ 6479388 h 6479439"/>
                <a:gd name="connsiteX245" fmla="*/ 3828990 w 9586368"/>
                <a:gd name="connsiteY245" fmla="*/ 6479388 h 6479439"/>
                <a:gd name="connsiteX246" fmla="*/ 3824971 w 9586368"/>
                <a:gd name="connsiteY246" fmla="*/ 6475349 h 6479439"/>
                <a:gd name="connsiteX247" fmla="*/ 3824971 w 9586368"/>
                <a:gd name="connsiteY247" fmla="*/ 6465478 h 6479439"/>
                <a:gd name="connsiteX248" fmla="*/ 3589676 w 9586368"/>
                <a:gd name="connsiteY248" fmla="*/ 6461440 h 6479439"/>
                <a:gd name="connsiteX249" fmla="*/ 3599585 w 9586368"/>
                <a:gd name="connsiteY249" fmla="*/ 6461440 h 6479439"/>
                <a:gd name="connsiteX250" fmla="*/ 3603604 w 9586368"/>
                <a:gd name="connsiteY250" fmla="*/ 6465478 h 6479439"/>
                <a:gd name="connsiteX251" fmla="*/ 3603604 w 9586368"/>
                <a:gd name="connsiteY251" fmla="*/ 6475349 h 6479439"/>
                <a:gd name="connsiteX252" fmla="*/ 3599585 w 9586368"/>
                <a:gd name="connsiteY252" fmla="*/ 6479388 h 6479439"/>
                <a:gd name="connsiteX253" fmla="*/ 3589676 w 9586368"/>
                <a:gd name="connsiteY253" fmla="*/ 6479388 h 6479439"/>
                <a:gd name="connsiteX254" fmla="*/ 3585657 w 9586368"/>
                <a:gd name="connsiteY254" fmla="*/ 6475349 h 6479439"/>
                <a:gd name="connsiteX255" fmla="*/ 3585657 w 9586368"/>
                <a:gd name="connsiteY255" fmla="*/ 6465478 h 6479439"/>
                <a:gd name="connsiteX256" fmla="*/ 3350359 w 9586368"/>
                <a:gd name="connsiteY256" fmla="*/ 6461440 h 6479439"/>
                <a:gd name="connsiteX257" fmla="*/ 3360268 w 9586368"/>
                <a:gd name="connsiteY257" fmla="*/ 6461440 h 6479439"/>
                <a:gd name="connsiteX258" fmla="*/ 3364287 w 9586368"/>
                <a:gd name="connsiteY258" fmla="*/ 6465478 h 6479439"/>
                <a:gd name="connsiteX259" fmla="*/ 3364287 w 9586368"/>
                <a:gd name="connsiteY259" fmla="*/ 6475349 h 6479439"/>
                <a:gd name="connsiteX260" fmla="*/ 3360268 w 9586368"/>
                <a:gd name="connsiteY260" fmla="*/ 6479388 h 6479439"/>
                <a:gd name="connsiteX261" fmla="*/ 3350359 w 9586368"/>
                <a:gd name="connsiteY261" fmla="*/ 6479388 h 6479439"/>
                <a:gd name="connsiteX262" fmla="*/ 3346340 w 9586368"/>
                <a:gd name="connsiteY262" fmla="*/ 6475349 h 6479439"/>
                <a:gd name="connsiteX263" fmla="*/ 3346340 w 9586368"/>
                <a:gd name="connsiteY263" fmla="*/ 6465478 h 6479439"/>
                <a:gd name="connsiteX264" fmla="*/ 3111048 w 9586368"/>
                <a:gd name="connsiteY264" fmla="*/ 6461440 h 6479439"/>
                <a:gd name="connsiteX265" fmla="*/ 3120959 w 9586368"/>
                <a:gd name="connsiteY265" fmla="*/ 6461440 h 6479439"/>
                <a:gd name="connsiteX266" fmla="*/ 3124977 w 9586368"/>
                <a:gd name="connsiteY266" fmla="*/ 6465478 h 6479439"/>
                <a:gd name="connsiteX267" fmla="*/ 3124977 w 9586368"/>
                <a:gd name="connsiteY267" fmla="*/ 6475349 h 6479439"/>
                <a:gd name="connsiteX268" fmla="*/ 3120959 w 9586368"/>
                <a:gd name="connsiteY268" fmla="*/ 6479388 h 6479439"/>
                <a:gd name="connsiteX269" fmla="*/ 3111048 w 9586368"/>
                <a:gd name="connsiteY269" fmla="*/ 6479388 h 6479439"/>
                <a:gd name="connsiteX270" fmla="*/ 3107029 w 9586368"/>
                <a:gd name="connsiteY270" fmla="*/ 6475349 h 6479439"/>
                <a:gd name="connsiteX271" fmla="*/ 3107029 w 9586368"/>
                <a:gd name="connsiteY271" fmla="*/ 6465478 h 6479439"/>
                <a:gd name="connsiteX272" fmla="*/ 2871737 w 9586368"/>
                <a:gd name="connsiteY272" fmla="*/ 6461440 h 6479439"/>
                <a:gd name="connsiteX273" fmla="*/ 2881646 w 9586368"/>
                <a:gd name="connsiteY273" fmla="*/ 6461440 h 6479439"/>
                <a:gd name="connsiteX274" fmla="*/ 2885666 w 9586368"/>
                <a:gd name="connsiteY274" fmla="*/ 6465478 h 6479439"/>
                <a:gd name="connsiteX275" fmla="*/ 2885666 w 9586368"/>
                <a:gd name="connsiteY275" fmla="*/ 6475349 h 6479439"/>
                <a:gd name="connsiteX276" fmla="*/ 2881646 w 9586368"/>
                <a:gd name="connsiteY276" fmla="*/ 6479388 h 6479439"/>
                <a:gd name="connsiteX277" fmla="*/ 2871737 w 9586368"/>
                <a:gd name="connsiteY277" fmla="*/ 6479388 h 6479439"/>
                <a:gd name="connsiteX278" fmla="*/ 2867717 w 9586368"/>
                <a:gd name="connsiteY278" fmla="*/ 6475349 h 6479439"/>
                <a:gd name="connsiteX279" fmla="*/ 2867717 w 9586368"/>
                <a:gd name="connsiteY279" fmla="*/ 6465478 h 6479439"/>
                <a:gd name="connsiteX280" fmla="*/ 2632423 w 9586368"/>
                <a:gd name="connsiteY280" fmla="*/ 6461440 h 6479439"/>
                <a:gd name="connsiteX281" fmla="*/ 2642334 w 9586368"/>
                <a:gd name="connsiteY281" fmla="*/ 6461440 h 6479439"/>
                <a:gd name="connsiteX282" fmla="*/ 2646352 w 9586368"/>
                <a:gd name="connsiteY282" fmla="*/ 6465478 h 6479439"/>
                <a:gd name="connsiteX283" fmla="*/ 2646352 w 9586368"/>
                <a:gd name="connsiteY283" fmla="*/ 6475349 h 6479439"/>
                <a:gd name="connsiteX284" fmla="*/ 2642334 w 9586368"/>
                <a:gd name="connsiteY284" fmla="*/ 6479388 h 6479439"/>
                <a:gd name="connsiteX285" fmla="*/ 2632423 w 9586368"/>
                <a:gd name="connsiteY285" fmla="*/ 6479388 h 6479439"/>
                <a:gd name="connsiteX286" fmla="*/ 2628404 w 9586368"/>
                <a:gd name="connsiteY286" fmla="*/ 6475349 h 6479439"/>
                <a:gd name="connsiteX287" fmla="*/ 2628404 w 9586368"/>
                <a:gd name="connsiteY287" fmla="*/ 6465478 h 6479439"/>
                <a:gd name="connsiteX288" fmla="*/ 2393104 w 9586368"/>
                <a:gd name="connsiteY288" fmla="*/ 6461440 h 6479439"/>
                <a:gd name="connsiteX289" fmla="*/ 2403015 w 9586368"/>
                <a:gd name="connsiteY289" fmla="*/ 6461440 h 6479439"/>
                <a:gd name="connsiteX290" fmla="*/ 2407034 w 9586368"/>
                <a:gd name="connsiteY290" fmla="*/ 6465478 h 6479439"/>
                <a:gd name="connsiteX291" fmla="*/ 2407034 w 9586368"/>
                <a:gd name="connsiteY291" fmla="*/ 6475349 h 6479439"/>
                <a:gd name="connsiteX292" fmla="*/ 2403015 w 9586368"/>
                <a:gd name="connsiteY292" fmla="*/ 6479388 h 6479439"/>
                <a:gd name="connsiteX293" fmla="*/ 2393104 w 9586368"/>
                <a:gd name="connsiteY293" fmla="*/ 6479388 h 6479439"/>
                <a:gd name="connsiteX294" fmla="*/ 2389087 w 9586368"/>
                <a:gd name="connsiteY294" fmla="*/ 6475349 h 6479439"/>
                <a:gd name="connsiteX295" fmla="*/ 2389087 w 9586368"/>
                <a:gd name="connsiteY295" fmla="*/ 6465478 h 6479439"/>
                <a:gd name="connsiteX296" fmla="*/ 721958 w 9586368"/>
                <a:gd name="connsiteY296" fmla="*/ 6461440 h 6479439"/>
                <a:gd name="connsiteX297" fmla="*/ 731868 w 9586368"/>
                <a:gd name="connsiteY297" fmla="*/ 6461440 h 6479439"/>
                <a:gd name="connsiteX298" fmla="*/ 735887 w 9586368"/>
                <a:gd name="connsiteY298" fmla="*/ 6465478 h 6479439"/>
                <a:gd name="connsiteX299" fmla="*/ 735887 w 9586368"/>
                <a:gd name="connsiteY299" fmla="*/ 6475349 h 6479439"/>
                <a:gd name="connsiteX300" fmla="*/ 731868 w 9586368"/>
                <a:gd name="connsiteY300" fmla="*/ 6479388 h 6479439"/>
                <a:gd name="connsiteX301" fmla="*/ 721958 w 9586368"/>
                <a:gd name="connsiteY301" fmla="*/ 6479388 h 6479439"/>
                <a:gd name="connsiteX302" fmla="*/ 717939 w 9586368"/>
                <a:gd name="connsiteY302" fmla="*/ 6475349 h 6479439"/>
                <a:gd name="connsiteX303" fmla="*/ 717939 w 9586368"/>
                <a:gd name="connsiteY303" fmla="*/ 6465478 h 6479439"/>
                <a:gd name="connsiteX304" fmla="*/ 482646 w 9586368"/>
                <a:gd name="connsiteY304" fmla="*/ 6461440 h 6479439"/>
                <a:gd name="connsiteX305" fmla="*/ 492556 w 9586368"/>
                <a:gd name="connsiteY305" fmla="*/ 6461440 h 6479439"/>
                <a:gd name="connsiteX306" fmla="*/ 496575 w 9586368"/>
                <a:gd name="connsiteY306" fmla="*/ 6465478 h 6479439"/>
                <a:gd name="connsiteX307" fmla="*/ 496575 w 9586368"/>
                <a:gd name="connsiteY307" fmla="*/ 6475349 h 6479439"/>
                <a:gd name="connsiteX308" fmla="*/ 492556 w 9586368"/>
                <a:gd name="connsiteY308" fmla="*/ 6479388 h 6479439"/>
                <a:gd name="connsiteX309" fmla="*/ 482646 w 9586368"/>
                <a:gd name="connsiteY309" fmla="*/ 6479388 h 6479439"/>
                <a:gd name="connsiteX310" fmla="*/ 478627 w 9586368"/>
                <a:gd name="connsiteY310" fmla="*/ 6475349 h 6479439"/>
                <a:gd name="connsiteX311" fmla="*/ 478627 w 9586368"/>
                <a:gd name="connsiteY311" fmla="*/ 6465478 h 6479439"/>
                <a:gd name="connsiteX312" fmla="*/ 243332 w 9586368"/>
                <a:gd name="connsiteY312" fmla="*/ 6461440 h 6479439"/>
                <a:gd name="connsiteX313" fmla="*/ 253242 w 9586368"/>
                <a:gd name="connsiteY313" fmla="*/ 6461440 h 6479439"/>
                <a:gd name="connsiteX314" fmla="*/ 257261 w 9586368"/>
                <a:gd name="connsiteY314" fmla="*/ 6465478 h 6479439"/>
                <a:gd name="connsiteX315" fmla="*/ 257261 w 9586368"/>
                <a:gd name="connsiteY315" fmla="*/ 6475349 h 6479439"/>
                <a:gd name="connsiteX316" fmla="*/ 253242 w 9586368"/>
                <a:gd name="connsiteY316" fmla="*/ 6479388 h 6479439"/>
                <a:gd name="connsiteX317" fmla="*/ 243332 w 9586368"/>
                <a:gd name="connsiteY317" fmla="*/ 6479388 h 6479439"/>
                <a:gd name="connsiteX318" fmla="*/ 239313 w 9586368"/>
                <a:gd name="connsiteY318" fmla="*/ 6475349 h 6479439"/>
                <a:gd name="connsiteX319" fmla="*/ 239313 w 9586368"/>
                <a:gd name="connsiteY319" fmla="*/ 6465478 h 6479439"/>
                <a:gd name="connsiteX320" fmla="*/ 4019 w 9586368"/>
                <a:gd name="connsiteY320" fmla="*/ 6461440 h 6479439"/>
                <a:gd name="connsiteX321" fmla="*/ 13929 w 9586368"/>
                <a:gd name="connsiteY321" fmla="*/ 6461440 h 6479439"/>
                <a:gd name="connsiteX322" fmla="*/ 17949 w 9586368"/>
                <a:gd name="connsiteY322" fmla="*/ 6465478 h 6479439"/>
                <a:gd name="connsiteX323" fmla="*/ 17949 w 9586368"/>
                <a:gd name="connsiteY323" fmla="*/ 6475349 h 6479439"/>
                <a:gd name="connsiteX324" fmla="*/ 13929 w 9586368"/>
                <a:gd name="connsiteY324" fmla="*/ 6479388 h 6479439"/>
                <a:gd name="connsiteX325" fmla="*/ 4019 w 9586368"/>
                <a:gd name="connsiteY325" fmla="*/ 6479388 h 6479439"/>
                <a:gd name="connsiteX326" fmla="*/ 0 w 9586368"/>
                <a:gd name="connsiteY326" fmla="*/ 6475349 h 6479439"/>
                <a:gd name="connsiteX327" fmla="*/ 0 w 9586368"/>
                <a:gd name="connsiteY327" fmla="*/ 6465478 h 6479439"/>
                <a:gd name="connsiteX328" fmla="*/ 9572438 w 9586368"/>
                <a:gd name="connsiteY328" fmla="*/ 6222160 h 6479439"/>
                <a:gd name="connsiteX329" fmla="*/ 9582349 w 9586368"/>
                <a:gd name="connsiteY329" fmla="*/ 6222160 h 6479439"/>
                <a:gd name="connsiteX330" fmla="*/ 9586368 w 9586368"/>
                <a:gd name="connsiteY330" fmla="*/ 6226198 h 6479439"/>
                <a:gd name="connsiteX331" fmla="*/ 9586368 w 9586368"/>
                <a:gd name="connsiteY331" fmla="*/ 6236069 h 6479439"/>
                <a:gd name="connsiteX332" fmla="*/ 9582349 w 9586368"/>
                <a:gd name="connsiteY332" fmla="*/ 6240109 h 6479439"/>
                <a:gd name="connsiteX333" fmla="*/ 9572438 w 9586368"/>
                <a:gd name="connsiteY333" fmla="*/ 6240109 h 6479439"/>
                <a:gd name="connsiteX334" fmla="*/ 9568419 w 9586368"/>
                <a:gd name="connsiteY334" fmla="*/ 6236069 h 6479439"/>
                <a:gd name="connsiteX335" fmla="*/ 9568419 w 9586368"/>
                <a:gd name="connsiteY335" fmla="*/ 6226198 h 6479439"/>
                <a:gd name="connsiteX336" fmla="*/ 9333125 w 9586368"/>
                <a:gd name="connsiteY336" fmla="*/ 6222160 h 6479439"/>
                <a:gd name="connsiteX337" fmla="*/ 9343036 w 9586368"/>
                <a:gd name="connsiteY337" fmla="*/ 6222160 h 6479439"/>
                <a:gd name="connsiteX338" fmla="*/ 9347055 w 9586368"/>
                <a:gd name="connsiteY338" fmla="*/ 6226198 h 6479439"/>
                <a:gd name="connsiteX339" fmla="*/ 9347055 w 9586368"/>
                <a:gd name="connsiteY339" fmla="*/ 6236069 h 6479439"/>
                <a:gd name="connsiteX340" fmla="*/ 9343036 w 9586368"/>
                <a:gd name="connsiteY340" fmla="*/ 6240109 h 6479439"/>
                <a:gd name="connsiteX341" fmla="*/ 9333125 w 9586368"/>
                <a:gd name="connsiteY341" fmla="*/ 6240109 h 6479439"/>
                <a:gd name="connsiteX342" fmla="*/ 9329106 w 9586368"/>
                <a:gd name="connsiteY342" fmla="*/ 6236069 h 6479439"/>
                <a:gd name="connsiteX343" fmla="*/ 9329106 w 9586368"/>
                <a:gd name="connsiteY343" fmla="*/ 6226198 h 6479439"/>
                <a:gd name="connsiteX344" fmla="*/ 9093811 w 9586368"/>
                <a:gd name="connsiteY344" fmla="*/ 6222160 h 6479439"/>
                <a:gd name="connsiteX345" fmla="*/ 9103722 w 9586368"/>
                <a:gd name="connsiteY345" fmla="*/ 6222160 h 6479439"/>
                <a:gd name="connsiteX346" fmla="*/ 9107741 w 9586368"/>
                <a:gd name="connsiteY346" fmla="*/ 6226198 h 6479439"/>
                <a:gd name="connsiteX347" fmla="*/ 9107741 w 9586368"/>
                <a:gd name="connsiteY347" fmla="*/ 6236069 h 6479439"/>
                <a:gd name="connsiteX348" fmla="*/ 9103722 w 9586368"/>
                <a:gd name="connsiteY348" fmla="*/ 6240109 h 6479439"/>
                <a:gd name="connsiteX349" fmla="*/ 9093811 w 9586368"/>
                <a:gd name="connsiteY349" fmla="*/ 6240109 h 6479439"/>
                <a:gd name="connsiteX350" fmla="*/ 9089792 w 9586368"/>
                <a:gd name="connsiteY350" fmla="*/ 6236069 h 6479439"/>
                <a:gd name="connsiteX351" fmla="*/ 9089792 w 9586368"/>
                <a:gd name="connsiteY351" fmla="*/ 6226198 h 6479439"/>
                <a:gd name="connsiteX352" fmla="*/ 8854496 w 9586368"/>
                <a:gd name="connsiteY352" fmla="*/ 6222160 h 6479439"/>
                <a:gd name="connsiteX353" fmla="*/ 8864407 w 9586368"/>
                <a:gd name="connsiteY353" fmla="*/ 6222160 h 6479439"/>
                <a:gd name="connsiteX354" fmla="*/ 8868426 w 9586368"/>
                <a:gd name="connsiteY354" fmla="*/ 6226198 h 6479439"/>
                <a:gd name="connsiteX355" fmla="*/ 8868426 w 9586368"/>
                <a:gd name="connsiteY355" fmla="*/ 6236069 h 6479439"/>
                <a:gd name="connsiteX356" fmla="*/ 8864407 w 9586368"/>
                <a:gd name="connsiteY356" fmla="*/ 6240109 h 6479439"/>
                <a:gd name="connsiteX357" fmla="*/ 8854496 w 9586368"/>
                <a:gd name="connsiteY357" fmla="*/ 6240109 h 6479439"/>
                <a:gd name="connsiteX358" fmla="*/ 8850477 w 9586368"/>
                <a:gd name="connsiteY358" fmla="*/ 6236069 h 6479439"/>
                <a:gd name="connsiteX359" fmla="*/ 8850477 w 9586368"/>
                <a:gd name="connsiteY359" fmla="*/ 6226198 h 6479439"/>
                <a:gd name="connsiteX360" fmla="*/ 8615184 w 9586368"/>
                <a:gd name="connsiteY360" fmla="*/ 6222160 h 6479439"/>
                <a:gd name="connsiteX361" fmla="*/ 8625095 w 9586368"/>
                <a:gd name="connsiteY361" fmla="*/ 6222160 h 6479439"/>
                <a:gd name="connsiteX362" fmla="*/ 8629114 w 9586368"/>
                <a:gd name="connsiteY362" fmla="*/ 6226198 h 6479439"/>
                <a:gd name="connsiteX363" fmla="*/ 8629114 w 9586368"/>
                <a:gd name="connsiteY363" fmla="*/ 6236069 h 6479439"/>
                <a:gd name="connsiteX364" fmla="*/ 8625095 w 9586368"/>
                <a:gd name="connsiteY364" fmla="*/ 6240109 h 6479439"/>
                <a:gd name="connsiteX365" fmla="*/ 8615184 w 9586368"/>
                <a:gd name="connsiteY365" fmla="*/ 6240109 h 6479439"/>
                <a:gd name="connsiteX366" fmla="*/ 8611165 w 9586368"/>
                <a:gd name="connsiteY366" fmla="*/ 6236069 h 6479439"/>
                <a:gd name="connsiteX367" fmla="*/ 8611165 w 9586368"/>
                <a:gd name="connsiteY367" fmla="*/ 6226198 h 6479439"/>
                <a:gd name="connsiteX368" fmla="*/ 8375869 w 9586368"/>
                <a:gd name="connsiteY368" fmla="*/ 6222160 h 6479439"/>
                <a:gd name="connsiteX369" fmla="*/ 8385779 w 9586368"/>
                <a:gd name="connsiteY369" fmla="*/ 6222160 h 6479439"/>
                <a:gd name="connsiteX370" fmla="*/ 8389799 w 9586368"/>
                <a:gd name="connsiteY370" fmla="*/ 6226198 h 6479439"/>
                <a:gd name="connsiteX371" fmla="*/ 8389799 w 9586368"/>
                <a:gd name="connsiteY371" fmla="*/ 6236069 h 6479439"/>
                <a:gd name="connsiteX372" fmla="*/ 8385779 w 9586368"/>
                <a:gd name="connsiteY372" fmla="*/ 6240109 h 6479439"/>
                <a:gd name="connsiteX373" fmla="*/ 8375869 w 9586368"/>
                <a:gd name="connsiteY373" fmla="*/ 6240109 h 6479439"/>
                <a:gd name="connsiteX374" fmla="*/ 8371850 w 9586368"/>
                <a:gd name="connsiteY374" fmla="*/ 6236069 h 6479439"/>
                <a:gd name="connsiteX375" fmla="*/ 8371850 w 9586368"/>
                <a:gd name="connsiteY375" fmla="*/ 6226198 h 6479439"/>
                <a:gd name="connsiteX376" fmla="*/ 8136553 w 9586368"/>
                <a:gd name="connsiteY376" fmla="*/ 6222160 h 6479439"/>
                <a:gd name="connsiteX377" fmla="*/ 8146464 w 9586368"/>
                <a:gd name="connsiteY377" fmla="*/ 6222160 h 6479439"/>
                <a:gd name="connsiteX378" fmla="*/ 8150483 w 9586368"/>
                <a:gd name="connsiteY378" fmla="*/ 6226198 h 6479439"/>
                <a:gd name="connsiteX379" fmla="*/ 8150483 w 9586368"/>
                <a:gd name="connsiteY379" fmla="*/ 6236069 h 6479439"/>
                <a:gd name="connsiteX380" fmla="*/ 8146464 w 9586368"/>
                <a:gd name="connsiteY380" fmla="*/ 6240109 h 6479439"/>
                <a:gd name="connsiteX381" fmla="*/ 8136553 w 9586368"/>
                <a:gd name="connsiteY381" fmla="*/ 6240109 h 6479439"/>
                <a:gd name="connsiteX382" fmla="*/ 8132534 w 9586368"/>
                <a:gd name="connsiteY382" fmla="*/ 6236069 h 6479439"/>
                <a:gd name="connsiteX383" fmla="*/ 8132534 w 9586368"/>
                <a:gd name="connsiteY383" fmla="*/ 6226198 h 6479439"/>
                <a:gd name="connsiteX384" fmla="*/ 7897241 w 9586368"/>
                <a:gd name="connsiteY384" fmla="*/ 6222160 h 6479439"/>
                <a:gd name="connsiteX385" fmla="*/ 7907151 w 9586368"/>
                <a:gd name="connsiteY385" fmla="*/ 6222160 h 6479439"/>
                <a:gd name="connsiteX386" fmla="*/ 7911170 w 9586368"/>
                <a:gd name="connsiteY386" fmla="*/ 6226198 h 6479439"/>
                <a:gd name="connsiteX387" fmla="*/ 7911170 w 9586368"/>
                <a:gd name="connsiteY387" fmla="*/ 6236069 h 6479439"/>
                <a:gd name="connsiteX388" fmla="*/ 7907151 w 9586368"/>
                <a:gd name="connsiteY388" fmla="*/ 6240109 h 6479439"/>
                <a:gd name="connsiteX389" fmla="*/ 7897241 w 9586368"/>
                <a:gd name="connsiteY389" fmla="*/ 6240109 h 6479439"/>
                <a:gd name="connsiteX390" fmla="*/ 7893222 w 9586368"/>
                <a:gd name="connsiteY390" fmla="*/ 6236069 h 6479439"/>
                <a:gd name="connsiteX391" fmla="*/ 7893222 w 9586368"/>
                <a:gd name="connsiteY391" fmla="*/ 6226198 h 6479439"/>
                <a:gd name="connsiteX392" fmla="*/ 7657926 w 9586368"/>
                <a:gd name="connsiteY392" fmla="*/ 6222160 h 6479439"/>
                <a:gd name="connsiteX393" fmla="*/ 7667836 w 9586368"/>
                <a:gd name="connsiteY393" fmla="*/ 6222160 h 6479439"/>
                <a:gd name="connsiteX394" fmla="*/ 7671855 w 9586368"/>
                <a:gd name="connsiteY394" fmla="*/ 6226198 h 6479439"/>
                <a:gd name="connsiteX395" fmla="*/ 7671855 w 9586368"/>
                <a:gd name="connsiteY395" fmla="*/ 6236069 h 6479439"/>
                <a:gd name="connsiteX396" fmla="*/ 7667836 w 9586368"/>
                <a:gd name="connsiteY396" fmla="*/ 6240109 h 6479439"/>
                <a:gd name="connsiteX397" fmla="*/ 7657926 w 9586368"/>
                <a:gd name="connsiteY397" fmla="*/ 6240109 h 6479439"/>
                <a:gd name="connsiteX398" fmla="*/ 7653906 w 9586368"/>
                <a:gd name="connsiteY398" fmla="*/ 6236069 h 6479439"/>
                <a:gd name="connsiteX399" fmla="*/ 7653906 w 9586368"/>
                <a:gd name="connsiteY399" fmla="*/ 6226198 h 6479439"/>
                <a:gd name="connsiteX400" fmla="*/ 7418611 w 9586368"/>
                <a:gd name="connsiteY400" fmla="*/ 6222160 h 6479439"/>
                <a:gd name="connsiteX401" fmla="*/ 7428521 w 9586368"/>
                <a:gd name="connsiteY401" fmla="*/ 6222160 h 6479439"/>
                <a:gd name="connsiteX402" fmla="*/ 7432540 w 9586368"/>
                <a:gd name="connsiteY402" fmla="*/ 6226198 h 6479439"/>
                <a:gd name="connsiteX403" fmla="*/ 7432540 w 9586368"/>
                <a:gd name="connsiteY403" fmla="*/ 6236069 h 6479439"/>
                <a:gd name="connsiteX404" fmla="*/ 7428521 w 9586368"/>
                <a:gd name="connsiteY404" fmla="*/ 6240109 h 6479439"/>
                <a:gd name="connsiteX405" fmla="*/ 7418611 w 9586368"/>
                <a:gd name="connsiteY405" fmla="*/ 6240109 h 6479439"/>
                <a:gd name="connsiteX406" fmla="*/ 7414592 w 9586368"/>
                <a:gd name="connsiteY406" fmla="*/ 6236069 h 6479439"/>
                <a:gd name="connsiteX407" fmla="*/ 7414592 w 9586368"/>
                <a:gd name="connsiteY407" fmla="*/ 6226198 h 6479439"/>
                <a:gd name="connsiteX408" fmla="*/ 7179298 w 9586368"/>
                <a:gd name="connsiteY408" fmla="*/ 6222160 h 6479439"/>
                <a:gd name="connsiteX409" fmla="*/ 7189209 w 9586368"/>
                <a:gd name="connsiteY409" fmla="*/ 6222160 h 6479439"/>
                <a:gd name="connsiteX410" fmla="*/ 7193228 w 9586368"/>
                <a:gd name="connsiteY410" fmla="*/ 6226198 h 6479439"/>
                <a:gd name="connsiteX411" fmla="*/ 7193228 w 9586368"/>
                <a:gd name="connsiteY411" fmla="*/ 6236069 h 6479439"/>
                <a:gd name="connsiteX412" fmla="*/ 7189209 w 9586368"/>
                <a:gd name="connsiteY412" fmla="*/ 6240109 h 6479439"/>
                <a:gd name="connsiteX413" fmla="*/ 7179298 w 9586368"/>
                <a:gd name="connsiteY413" fmla="*/ 6240109 h 6479439"/>
                <a:gd name="connsiteX414" fmla="*/ 7175279 w 9586368"/>
                <a:gd name="connsiteY414" fmla="*/ 6236069 h 6479439"/>
                <a:gd name="connsiteX415" fmla="*/ 7175279 w 9586368"/>
                <a:gd name="connsiteY415" fmla="*/ 6226198 h 6479439"/>
                <a:gd name="connsiteX416" fmla="*/ 6939983 w 9586368"/>
                <a:gd name="connsiteY416" fmla="*/ 6222160 h 6479439"/>
                <a:gd name="connsiteX417" fmla="*/ 6949894 w 9586368"/>
                <a:gd name="connsiteY417" fmla="*/ 6222160 h 6479439"/>
                <a:gd name="connsiteX418" fmla="*/ 6953913 w 9586368"/>
                <a:gd name="connsiteY418" fmla="*/ 6226198 h 6479439"/>
                <a:gd name="connsiteX419" fmla="*/ 6953913 w 9586368"/>
                <a:gd name="connsiteY419" fmla="*/ 6236069 h 6479439"/>
                <a:gd name="connsiteX420" fmla="*/ 6949894 w 9586368"/>
                <a:gd name="connsiteY420" fmla="*/ 6240109 h 6479439"/>
                <a:gd name="connsiteX421" fmla="*/ 6939983 w 9586368"/>
                <a:gd name="connsiteY421" fmla="*/ 6240109 h 6479439"/>
                <a:gd name="connsiteX422" fmla="*/ 6935964 w 9586368"/>
                <a:gd name="connsiteY422" fmla="*/ 6236069 h 6479439"/>
                <a:gd name="connsiteX423" fmla="*/ 6935964 w 9586368"/>
                <a:gd name="connsiteY423" fmla="*/ 6226198 h 6479439"/>
                <a:gd name="connsiteX424" fmla="*/ 6700670 w 9586368"/>
                <a:gd name="connsiteY424" fmla="*/ 6222160 h 6479439"/>
                <a:gd name="connsiteX425" fmla="*/ 6710581 w 9586368"/>
                <a:gd name="connsiteY425" fmla="*/ 6222160 h 6479439"/>
                <a:gd name="connsiteX426" fmla="*/ 6714600 w 9586368"/>
                <a:gd name="connsiteY426" fmla="*/ 6226198 h 6479439"/>
                <a:gd name="connsiteX427" fmla="*/ 6714600 w 9586368"/>
                <a:gd name="connsiteY427" fmla="*/ 6236069 h 6479439"/>
                <a:gd name="connsiteX428" fmla="*/ 6710581 w 9586368"/>
                <a:gd name="connsiteY428" fmla="*/ 6240109 h 6479439"/>
                <a:gd name="connsiteX429" fmla="*/ 6700670 w 9586368"/>
                <a:gd name="connsiteY429" fmla="*/ 6240109 h 6479439"/>
                <a:gd name="connsiteX430" fmla="*/ 6696651 w 9586368"/>
                <a:gd name="connsiteY430" fmla="*/ 6236069 h 6479439"/>
                <a:gd name="connsiteX431" fmla="*/ 6696651 w 9586368"/>
                <a:gd name="connsiteY431" fmla="*/ 6226198 h 6479439"/>
                <a:gd name="connsiteX432" fmla="*/ 6461356 w 9586368"/>
                <a:gd name="connsiteY432" fmla="*/ 6222160 h 6479439"/>
                <a:gd name="connsiteX433" fmla="*/ 6471266 w 9586368"/>
                <a:gd name="connsiteY433" fmla="*/ 6222160 h 6479439"/>
                <a:gd name="connsiteX434" fmla="*/ 6475285 w 9586368"/>
                <a:gd name="connsiteY434" fmla="*/ 6226198 h 6479439"/>
                <a:gd name="connsiteX435" fmla="*/ 6475285 w 9586368"/>
                <a:gd name="connsiteY435" fmla="*/ 6236069 h 6479439"/>
                <a:gd name="connsiteX436" fmla="*/ 6471266 w 9586368"/>
                <a:gd name="connsiteY436" fmla="*/ 6240109 h 6479439"/>
                <a:gd name="connsiteX437" fmla="*/ 6461356 w 9586368"/>
                <a:gd name="connsiteY437" fmla="*/ 6240109 h 6479439"/>
                <a:gd name="connsiteX438" fmla="*/ 6457337 w 9586368"/>
                <a:gd name="connsiteY438" fmla="*/ 6236069 h 6479439"/>
                <a:gd name="connsiteX439" fmla="*/ 6457337 w 9586368"/>
                <a:gd name="connsiteY439" fmla="*/ 6226198 h 6479439"/>
                <a:gd name="connsiteX440" fmla="*/ 6222042 w 9586368"/>
                <a:gd name="connsiteY440" fmla="*/ 6222160 h 6479439"/>
                <a:gd name="connsiteX441" fmla="*/ 6231952 w 9586368"/>
                <a:gd name="connsiteY441" fmla="*/ 6222160 h 6479439"/>
                <a:gd name="connsiteX442" fmla="*/ 6235971 w 9586368"/>
                <a:gd name="connsiteY442" fmla="*/ 6226198 h 6479439"/>
                <a:gd name="connsiteX443" fmla="*/ 6235971 w 9586368"/>
                <a:gd name="connsiteY443" fmla="*/ 6236069 h 6479439"/>
                <a:gd name="connsiteX444" fmla="*/ 6231952 w 9586368"/>
                <a:gd name="connsiteY444" fmla="*/ 6240109 h 6479439"/>
                <a:gd name="connsiteX445" fmla="*/ 6222042 w 9586368"/>
                <a:gd name="connsiteY445" fmla="*/ 6240109 h 6479439"/>
                <a:gd name="connsiteX446" fmla="*/ 6218023 w 9586368"/>
                <a:gd name="connsiteY446" fmla="*/ 6236069 h 6479439"/>
                <a:gd name="connsiteX447" fmla="*/ 6218023 w 9586368"/>
                <a:gd name="connsiteY447" fmla="*/ 6226198 h 6479439"/>
                <a:gd name="connsiteX448" fmla="*/ 5982729 w 9586368"/>
                <a:gd name="connsiteY448" fmla="*/ 6222160 h 6479439"/>
                <a:gd name="connsiteX449" fmla="*/ 5992639 w 9586368"/>
                <a:gd name="connsiteY449" fmla="*/ 6222160 h 6479439"/>
                <a:gd name="connsiteX450" fmla="*/ 5996658 w 9586368"/>
                <a:gd name="connsiteY450" fmla="*/ 6226198 h 6479439"/>
                <a:gd name="connsiteX451" fmla="*/ 5996658 w 9586368"/>
                <a:gd name="connsiteY451" fmla="*/ 6236069 h 6479439"/>
                <a:gd name="connsiteX452" fmla="*/ 5992639 w 9586368"/>
                <a:gd name="connsiteY452" fmla="*/ 6240109 h 6479439"/>
                <a:gd name="connsiteX453" fmla="*/ 5982729 w 9586368"/>
                <a:gd name="connsiteY453" fmla="*/ 6240109 h 6479439"/>
                <a:gd name="connsiteX454" fmla="*/ 5978710 w 9586368"/>
                <a:gd name="connsiteY454" fmla="*/ 6236069 h 6479439"/>
                <a:gd name="connsiteX455" fmla="*/ 5978710 w 9586368"/>
                <a:gd name="connsiteY455" fmla="*/ 6226198 h 6479439"/>
                <a:gd name="connsiteX456" fmla="*/ 5743412 w 9586368"/>
                <a:gd name="connsiteY456" fmla="*/ 6222160 h 6479439"/>
                <a:gd name="connsiteX457" fmla="*/ 5753323 w 9586368"/>
                <a:gd name="connsiteY457" fmla="*/ 6222160 h 6479439"/>
                <a:gd name="connsiteX458" fmla="*/ 5757342 w 9586368"/>
                <a:gd name="connsiteY458" fmla="*/ 6226198 h 6479439"/>
                <a:gd name="connsiteX459" fmla="*/ 5757342 w 9586368"/>
                <a:gd name="connsiteY459" fmla="*/ 6236069 h 6479439"/>
                <a:gd name="connsiteX460" fmla="*/ 5753323 w 9586368"/>
                <a:gd name="connsiteY460" fmla="*/ 6240109 h 6479439"/>
                <a:gd name="connsiteX461" fmla="*/ 5743412 w 9586368"/>
                <a:gd name="connsiteY461" fmla="*/ 6240109 h 6479439"/>
                <a:gd name="connsiteX462" fmla="*/ 5739393 w 9586368"/>
                <a:gd name="connsiteY462" fmla="*/ 6236069 h 6479439"/>
                <a:gd name="connsiteX463" fmla="*/ 5739393 w 9586368"/>
                <a:gd name="connsiteY463" fmla="*/ 6226198 h 6479439"/>
                <a:gd name="connsiteX464" fmla="*/ 5504099 w 9586368"/>
                <a:gd name="connsiteY464" fmla="*/ 6222160 h 6479439"/>
                <a:gd name="connsiteX465" fmla="*/ 5514010 w 9586368"/>
                <a:gd name="connsiteY465" fmla="*/ 6222160 h 6479439"/>
                <a:gd name="connsiteX466" fmla="*/ 5518029 w 9586368"/>
                <a:gd name="connsiteY466" fmla="*/ 6226198 h 6479439"/>
                <a:gd name="connsiteX467" fmla="*/ 5518029 w 9586368"/>
                <a:gd name="connsiteY467" fmla="*/ 6236069 h 6479439"/>
                <a:gd name="connsiteX468" fmla="*/ 5514010 w 9586368"/>
                <a:gd name="connsiteY468" fmla="*/ 6240109 h 6479439"/>
                <a:gd name="connsiteX469" fmla="*/ 5504099 w 9586368"/>
                <a:gd name="connsiteY469" fmla="*/ 6240109 h 6479439"/>
                <a:gd name="connsiteX470" fmla="*/ 5500080 w 9586368"/>
                <a:gd name="connsiteY470" fmla="*/ 6236069 h 6479439"/>
                <a:gd name="connsiteX471" fmla="*/ 5500080 w 9586368"/>
                <a:gd name="connsiteY471" fmla="*/ 6226198 h 6479439"/>
                <a:gd name="connsiteX472" fmla="*/ 5264784 w 9586368"/>
                <a:gd name="connsiteY472" fmla="*/ 6222160 h 6479439"/>
                <a:gd name="connsiteX473" fmla="*/ 5274694 w 9586368"/>
                <a:gd name="connsiteY473" fmla="*/ 6222160 h 6479439"/>
                <a:gd name="connsiteX474" fmla="*/ 5278713 w 9586368"/>
                <a:gd name="connsiteY474" fmla="*/ 6226198 h 6479439"/>
                <a:gd name="connsiteX475" fmla="*/ 5278713 w 9586368"/>
                <a:gd name="connsiteY475" fmla="*/ 6236069 h 6479439"/>
                <a:gd name="connsiteX476" fmla="*/ 5274694 w 9586368"/>
                <a:gd name="connsiteY476" fmla="*/ 6240109 h 6479439"/>
                <a:gd name="connsiteX477" fmla="*/ 5264784 w 9586368"/>
                <a:gd name="connsiteY477" fmla="*/ 6240109 h 6479439"/>
                <a:gd name="connsiteX478" fmla="*/ 5260765 w 9586368"/>
                <a:gd name="connsiteY478" fmla="*/ 6236069 h 6479439"/>
                <a:gd name="connsiteX479" fmla="*/ 5260765 w 9586368"/>
                <a:gd name="connsiteY479" fmla="*/ 6226198 h 6479439"/>
                <a:gd name="connsiteX480" fmla="*/ 5025470 w 9586368"/>
                <a:gd name="connsiteY480" fmla="*/ 6222160 h 6479439"/>
                <a:gd name="connsiteX481" fmla="*/ 5035381 w 9586368"/>
                <a:gd name="connsiteY481" fmla="*/ 6222160 h 6479439"/>
                <a:gd name="connsiteX482" fmla="*/ 5039400 w 9586368"/>
                <a:gd name="connsiteY482" fmla="*/ 6226198 h 6479439"/>
                <a:gd name="connsiteX483" fmla="*/ 5039400 w 9586368"/>
                <a:gd name="connsiteY483" fmla="*/ 6236069 h 6479439"/>
                <a:gd name="connsiteX484" fmla="*/ 5035381 w 9586368"/>
                <a:gd name="connsiteY484" fmla="*/ 6240109 h 6479439"/>
                <a:gd name="connsiteX485" fmla="*/ 5025470 w 9586368"/>
                <a:gd name="connsiteY485" fmla="*/ 6240109 h 6479439"/>
                <a:gd name="connsiteX486" fmla="*/ 5021451 w 9586368"/>
                <a:gd name="connsiteY486" fmla="*/ 6236069 h 6479439"/>
                <a:gd name="connsiteX487" fmla="*/ 5021451 w 9586368"/>
                <a:gd name="connsiteY487" fmla="*/ 6226198 h 6479439"/>
                <a:gd name="connsiteX488" fmla="*/ 4786241 w 9586368"/>
                <a:gd name="connsiteY488" fmla="*/ 6222160 h 6479439"/>
                <a:gd name="connsiteX489" fmla="*/ 4796152 w 9586368"/>
                <a:gd name="connsiteY489" fmla="*/ 6222160 h 6479439"/>
                <a:gd name="connsiteX490" fmla="*/ 4800171 w 9586368"/>
                <a:gd name="connsiteY490" fmla="*/ 6226198 h 6479439"/>
                <a:gd name="connsiteX491" fmla="*/ 4800171 w 9586368"/>
                <a:gd name="connsiteY491" fmla="*/ 6236069 h 6479439"/>
                <a:gd name="connsiteX492" fmla="*/ 4796152 w 9586368"/>
                <a:gd name="connsiteY492" fmla="*/ 6240109 h 6479439"/>
                <a:gd name="connsiteX493" fmla="*/ 4786241 w 9586368"/>
                <a:gd name="connsiteY493" fmla="*/ 6240109 h 6479439"/>
                <a:gd name="connsiteX494" fmla="*/ 4782224 w 9586368"/>
                <a:gd name="connsiteY494" fmla="*/ 6236069 h 6479439"/>
                <a:gd name="connsiteX495" fmla="*/ 4782224 w 9586368"/>
                <a:gd name="connsiteY495" fmla="*/ 6226198 h 6479439"/>
                <a:gd name="connsiteX496" fmla="*/ 4546929 w 9586368"/>
                <a:gd name="connsiteY496" fmla="*/ 6222160 h 6479439"/>
                <a:gd name="connsiteX497" fmla="*/ 4556840 w 9586368"/>
                <a:gd name="connsiteY497" fmla="*/ 6222160 h 6479439"/>
                <a:gd name="connsiteX498" fmla="*/ 4560859 w 9586368"/>
                <a:gd name="connsiteY498" fmla="*/ 6226198 h 6479439"/>
                <a:gd name="connsiteX499" fmla="*/ 4560859 w 9586368"/>
                <a:gd name="connsiteY499" fmla="*/ 6236069 h 6479439"/>
                <a:gd name="connsiteX500" fmla="*/ 4556840 w 9586368"/>
                <a:gd name="connsiteY500" fmla="*/ 6240109 h 6479439"/>
                <a:gd name="connsiteX501" fmla="*/ 4546929 w 9586368"/>
                <a:gd name="connsiteY501" fmla="*/ 6240109 h 6479439"/>
                <a:gd name="connsiteX502" fmla="*/ 4542910 w 9586368"/>
                <a:gd name="connsiteY502" fmla="*/ 6236069 h 6479439"/>
                <a:gd name="connsiteX503" fmla="*/ 4542910 w 9586368"/>
                <a:gd name="connsiteY503" fmla="*/ 6226198 h 6479439"/>
                <a:gd name="connsiteX504" fmla="*/ 4307612 w 9586368"/>
                <a:gd name="connsiteY504" fmla="*/ 6222160 h 6479439"/>
                <a:gd name="connsiteX505" fmla="*/ 4317523 w 9586368"/>
                <a:gd name="connsiteY505" fmla="*/ 6222160 h 6479439"/>
                <a:gd name="connsiteX506" fmla="*/ 4321543 w 9586368"/>
                <a:gd name="connsiteY506" fmla="*/ 6226198 h 6479439"/>
                <a:gd name="connsiteX507" fmla="*/ 4321543 w 9586368"/>
                <a:gd name="connsiteY507" fmla="*/ 6236069 h 6479439"/>
                <a:gd name="connsiteX508" fmla="*/ 4317523 w 9586368"/>
                <a:gd name="connsiteY508" fmla="*/ 6240109 h 6479439"/>
                <a:gd name="connsiteX509" fmla="*/ 4307612 w 9586368"/>
                <a:gd name="connsiteY509" fmla="*/ 6240109 h 6479439"/>
                <a:gd name="connsiteX510" fmla="*/ 4303595 w 9586368"/>
                <a:gd name="connsiteY510" fmla="*/ 6236069 h 6479439"/>
                <a:gd name="connsiteX511" fmla="*/ 4303595 w 9586368"/>
                <a:gd name="connsiteY511" fmla="*/ 6226198 h 6479439"/>
                <a:gd name="connsiteX512" fmla="*/ 4068297 w 9586368"/>
                <a:gd name="connsiteY512" fmla="*/ 6222160 h 6479439"/>
                <a:gd name="connsiteX513" fmla="*/ 4078210 w 9586368"/>
                <a:gd name="connsiteY513" fmla="*/ 6222160 h 6479439"/>
                <a:gd name="connsiteX514" fmla="*/ 4082229 w 9586368"/>
                <a:gd name="connsiteY514" fmla="*/ 6226198 h 6479439"/>
                <a:gd name="connsiteX515" fmla="*/ 4082229 w 9586368"/>
                <a:gd name="connsiteY515" fmla="*/ 6236069 h 6479439"/>
                <a:gd name="connsiteX516" fmla="*/ 4078210 w 9586368"/>
                <a:gd name="connsiteY516" fmla="*/ 6240109 h 6479439"/>
                <a:gd name="connsiteX517" fmla="*/ 4068297 w 9586368"/>
                <a:gd name="connsiteY517" fmla="*/ 6240109 h 6479439"/>
                <a:gd name="connsiteX518" fmla="*/ 4064278 w 9586368"/>
                <a:gd name="connsiteY518" fmla="*/ 6236069 h 6479439"/>
                <a:gd name="connsiteX519" fmla="*/ 4064278 w 9586368"/>
                <a:gd name="connsiteY519" fmla="*/ 6226198 h 6479439"/>
                <a:gd name="connsiteX520" fmla="*/ 3828990 w 9586368"/>
                <a:gd name="connsiteY520" fmla="*/ 6222160 h 6479439"/>
                <a:gd name="connsiteX521" fmla="*/ 3838899 w 9586368"/>
                <a:gd name="connsiteY521" fmla="*/ 6222160 h 6479439"/>
                <a:gd name="connsiteX522" fmla="*/ 3842917 w 9586368"/>
                <a:gd name="connsiteY522" fmla="*/ 6226198 h 6479439"/>
                <a:gd name="connsiteX523" fmla="*/ 3842917 w 9586368"/>
                <a:gd name="connsiteY523" fmla="*/ 6236069 h 6479439"/>
                <a:gd name="connsiteX524" fmla="*/ 3838899 w 9586368"/>
                <a:gd name="connsiteY524" fmla="*/ 6240109 h 6479439"/>
                <a:gd name="connsiteX525" fmla="*/ 3828990 w 9586368"/>
                <a:gd name="connsiteY525" fmla="*/ 6240109 h 6479439"/>
                <a:gd name="connsiteX526" fmla="*/ 3824971 w 9586368"/>
                <a:gd name="connsiteY526" fmla="*/ 6236069 h 6479439"/>
                <a:gd name="connsiteX527" fmla="*/ 3824971 w 9586368"/>
                <a:gd name="connsiteY527" fmla="*/ 6226198 h 6479439"/>
                <a:gd name="connsiteX528" fmla="*/ 3589676 w 9586368"/>
                <a:gd name="connsiteY528" fmla="*/ 6222160 h 6479439"/>
                <a:gd name="connsiteX529" fmla="*/ 3599585 w 9586368"/>
                <a:gd name="connsiteY529" fmla="*/ 6222160 h 6479439"/>
                <a:gd name="connsiteX530" fmla="*/ 3603604 w 9586368"/>
                <a:gd name="connsiteY530" fmla="*/ 6226198 h 6479439"/>
                <a:gd name="connsiteX531" fmla="*/ 3603604 w 9586368"/>
                <a:gd name="connsiteY531" fmla="*/ 6236069 h 6479439"/>
                <a:gd name="connsiteX532" fmla="*/ 3599585 w 9586368"/>
                <a:gd name="connsiteY532" fmla="*/ 6240109 h 6479439"/>
                <a:gd name="connsiteX533" fmla="*/ 3589676 w 9586368"/>
                <a:gd name="connsiteY533" fmla="*/ 6240109 h 6479439"/>
                <a:gd name="connsiteX534" fmla="*/ 3585657 w 9586368"/>
                <a:gd name="connsiteY534" fmla="*/ 6236069 h 6479439"/>
                <a:gd name="connsiteX535" fmla="*/ 3585657 w 9586368"/>
                <a:gd name="connsiteY535" fmla="*/ 6226198 h 6479439"/>
                <a:gd name="connsiteX536" fmla="*/ 3350359 w 9586368"/>
                <a:gd name="connsiteY536" fmla="*/ 6222160 h 6479439"/>
                <a:gd name="connsiteX537" fmla="*/ 3360268 w 9586368"/>
                <a:gd name="connsiteY537" fmla="*/ 6222160 h 6479439"/>
                <a:gd name="connsiteX538" fmla="*/ 3364287 w 9586368"/>
                <a:gd name="connsiteY538" fmla="*/ 6226198 h 6479439"/>
                <a:gd name="connsiteX539" fmla="*/ 3364287 w 9586368"/>
                <a:gd name="connsiteY539" fmla="*/ 6236069 h 6479439"/>
                <a:gd name="connsiteX540" fmla="*/ 3360268 w 9586368"/>
                <a:gd name="connsiteY540" fmla="*/ 6240109 h 6479439"/>
                <a:gd name="connsiteX541" fmla="*/ 3350359 w 9586368"/>
                <a:gd name="connsiteY541" fmla="*/ 6240109 h 6479439"/>
                <a:gd name="connsiteX542" fmla="*/ 3346340 w 9586368"/>
                <a:gd name="connsiteY542" fmla="*/ 6236069 h 6479439"/>
                <a:gd name="connsiteX543" fmla="*/ 3346340 w 9586368"/>
                <a:gd name="connsiteY543" fmla="*/ 6226198 h 6479439"/>
                <a:gd name="connsiteX544" fmla="*/ 3111048 w 9586368"/>
                <a:gd name="connsiteY544" fmla="*/ 6222160 h 6479439"/>
                <a:gd name="connsiteX545" fmla="*/ 3120959 w 9586368"/>
                <a:gd name="connsiteY545" fmla="*/ 6222160 h 6479439"/>
                <a:gd name="connsiteX546" fmla="*/ 3124977 w 9586368"/>
                <a:gd name="connsiteY546" fmla="*/ 6226198 h 6479439"/>
                <a:gd name="connsiteX547" fmla="*/ 3124977 w 9586368"/>
                <a:gd name="connsiteY547" fmla="*/ 6236069 h 6479439"/>
                <a:gd name="connsiteX548" fmla="*/ 3120959 w 9586368"/>
                <a:gd name="connsiteY548" fmla="*/ 6240109 h 6479439"/>
                <a:gd name="connsiteX549" fmla="*/ 3111048 w 9586368"/>
                <a:gd name="connsiteY549" fmla="*/ 6240109 h 6479439"/>
                <a:gd name="connsiteX550" fmla="*/ 3107029 w 9586368"/>
                <a:gd name="connsiteY550" fmla="*/ 6236069 h 6479439"/>
                <a:gd name="connsiteX551" fmla="*/ 3107029 w 9586368"/>
                <a:gd name="connsiteY551" fmla="*/ 6226198 h 6479439"/>
                <a:gd name="connsiteX552" fmla="*/ 2871737 w 9586368"/>
                <a:gd name="connsiteY552" fmla="*/ 6222160 h 6479439"/>
                <a:gd name="connsiteX553" fmla="*/ 2881646 w 9586368"/>
                <a:gd name="connsiteY553" fmla="*/ 6222160 h 6479439"/>
                <a:gd name="connsiteX554" fmla="*/ 2885666 w 9586368"/>
                <a:gd name="connsiteY554" fmla="*/ 6226198 h 6479439"/>
                <a:gd name="connsiteX555" fmla="*/ 2885666 w 9586368"/>
                <a:gd name="connsiteY555" fmla="*/ 6236069 h 6479439"/>
                <a:gd name="connsiteX556" fmla="*/ 2881646 w 9586368"/>
                <a:gd name="connsiteY556" fmla="*/ 6240109 h 6479439"/>
                <a:gd name="connsiteX557" fmla="*/ 2871737 w 9586368"/>
                <a:gd name="connsiteY557" fmla="*/ 6240109 h 6479439"/>
                <a:gd name="connsiteX558" fmla="*/ 2867717 w 9586368"/>
                <a:gd name="connsiteY558" fmla="*/ 6236069 h 6479439"/>
                <a:gd name="connsiteX559" fmla="*/ 2867717 w 9586368"/>
                <a:gd name="connsiteY559" fmla="*/ 6226198 h 6479439"/>
                <a:gd name="connsiteX560" fmla="*/ 2632423 w 9586368"/>
                <a:gd name="connsiteY560" fmla="*/ 6222160 h 6479439"/>
                <a:gd name="connsiteX561" fmla="*/ 2642334 w 9586368"/>
                <a:gd name="connsiteY561" fmla="*/ 6222160 h 6479439"/>
                <a:gd name="connsiteX562" fmla="*/ 2646352 w 9586368"/>
                <a:gd name="connsiteY562" fmla="*/ 6226198 h 6479439"/>
                <a:gd name="connsiteX563" fmla="*/ 2646352 w 9586368"/>
                <a:gd name="connsiteY563" fmla="*/ 6236069 h 6479439"/>
                <a:gd name="connsiteX564" fmla="*/ 2642334 w 9586368"/>
                <a:gd name="connsiteY564" fmla="*/ 6240109 h 6479439"/>
                <a:gd name="connsiteX565" fmla="*/ 2632423 w 9586368"/>
                <a:gd name="connsiteY565" fmla="*/ 6240109 h 6479439"/>
                <a:gd name="connsiteX566" fmla="*/ 2628404 w 9586368"/>
                <a:gd name="connsiteY566" fmla="*/ 6236069 h 6479439"/>
                <a:gd name="connsiteX567" fmla="*/ 2628404 w 9586368"/>
                <a:gd name="connsiteY567" fmla="*/ 6226198 h 6479439"/>
                <a:gd name="connsiteX568" fmla="*/ 2393104 w 9586368"/>
                <a:gd name="connsiteY568" fmla="*/ 6222160 h 6479439"/>
                <a:gd name="connsiteX569" fmla="*/ 2403015 w 9586368"/>
                <a:gd name="connsiteY569" fmla="*/ 6222160 h 6479439"/>
                <a:gd name="connsiteX570" fmla="*/ 2407034 w 9586368"/>
                <a:gd name="connsiteY570" fmla="*/ 6226198 h 6479439"/>
                <a:gd name="connsiteX571" fmla="*/ 2407034 w 9586368"/>
                <a:gd name="connsiteY571" fmla="*/ 6236069 h 6479439"/>
                <a:gd name="connsiteX572" fmla="*/ 2403015 w 9586368"/>
                <a:gd name="connsiteY572" fmla="*/ 6240109 h 6479439"/>
                <a:gd name="connsiteX573" fmla="*/ 2393104 w 9586368"/>
                <a:gd name="connsiteY573" fmla="*/ 6240109 h 6479439"/>
                <a:gd name="connsiteX574" fmla="*/ 2389087 w 9586368"/>
                <a:gd name="connsiteY574" fmla="*/ 6236069 h 6479439"/>
                <a:gd name="connsiteX575" fmla="*/ 2389087 w 9586368"/>
                <a:gd name="connsiteY575" fmla="*/ 6226198 h 6479439"/>
                <a:gd name="connsiteX576" fmla="*/ 2157818 w 9586368"/>
                <a:gd name="connsiteY576" fmla="*/ 6222160 h 6479439"/>
                <a:gd name="connsiteX577" fmla="*/ 2167728 w 9586368"/>
                <a:gd name="connsiteY577" fmla="*/ 6222160 h 6479439"/>
                <a:gd name="connsiteX578" fmla="*/ 2171746 w 9586368"/>
                <a:gd name="connsiteY578" fmla="*/ 6226198 h 6479439"/>
                <a:gd name="connsiteX579" fmla="*/ 2171746 w 9586368"/>
                <a:gd name="connsiteY579" fmla="*/ 6236069 h 6479439"/>
                <a:gd name="connsiteX580" fmla="*/ 2167728 w 9586368"/>
                <a:gd name="connsiteY580" fmla="*/ 6240109 h 6479439"/>
                <a:gd name="connsiteX581" fmla="*/ 2157818 w 9586368"/>
                <a:gd name="connsiteY581" fmla="*/ 6240109 h 6479439"/>
                <a:gd name="connsiteX582" fmla="*/ 2153799 w 9586368"/>
                <a:gd name="connsiteY582" fmla="*/ 6236069 h 6479439"/>
                <a:gd name="connsiteX583" fmla="*/ 2153799 w 9586368"/>
                <a:gd name="connsiteY583" fmla="*/ 6226198 h 6479439"/>
                <a:gd name="connsiteX584" fmla="*/ 1918509 w 9586368"/>
                <a:gd name="connsiteY584" fmla="*/ 6222160 h 6479439"/>
                <a:gd name="connsiteX585" fmla="*/ 1928419 w 9586368"/>
                <a:gd name="connsiteY585" fmla="*/ 6222160 h 6479439"/>
                <a:gd name="connsiteX586" fmla="*/ 1932438 w 9586368"/>
                <a:gd name="connsiteY586" fmla="*/ 6226198 h 6479439"/>
                <a:gd name="connsiteX587" fmla="*/ 1932438 w 9586368"/>
                <a:gd name="connsiteY587" fmla="*/ 6236069 h 6479439"/>
                <a:gd name="connsiteX588" fmla="*/ 1928419 w 9586368"/>
                <a:gd name="connsiteY588" fmla="*/ 6240109 h 6479439"/>
                <a:gd name="connsiteX589" fmla="*/ 1918509 w 9586368"/>
                <a:gd name="connsiteY589" fmla="*/ 6240109 h 6479439"/>
                <a:gd name="connsiteX590" fmla="*/ 1914490 w 9586368"/>
                <a:gd name="connsiteY590" fmla="*/ 6236069 h 6479439"/>
                <a:gd name="connsiteX591" fmla="*/ 1914490 w 9586368"/>
                <a:gd name="connsiteY591" fmla="*/ 6226198 h 6479439"/>
                <a:gd name="connsiteX592" fmla="*/ 1679200 w 9586368"/>
                <a:gd name="connsiteY592" fmla="*/ 6222160 h 6479439"/>
                <a:gd name="connsiteX593" fmla="*/ 1689110 w 9586368"/>
                <a:gd name="connsiteY593" fmla="*/ 6222160 h 6479439"/>
                <a:gd name="connsiteX594" fmla="*/ 1693129 w 9586368"/>
                <a:gd name="connsiteY594" fmla="*/ 6226198 h 6479439"/>
                <a:gd name="connsiteX595" fmla="*/ 1693129 w 9586368"/>
                <a:gd name="connsiteY595" fmla="*/ 6236069 h 6479439"/>
                <a:gd name="connsiteX596" fmla="*/ 1689110 w 9586368"/>
                <a:gd name="connsiteY596" fmla="*/ 6240109 h 6479439"/>
                <a:gd name="connsiteX597" fmla="*/ 1679200 w 9586368"/>
                <a:gd name="connsiteY597" fmla="*/ 6240109 h 6479439"/>
                <a:gd name="connsiteX598" fmla="*/ 1675182 w 9586368"/>
                <a:gd name="connsiteY598" fmla="*/ 6236069 h 6479439"/>
                <a:gd name="connsiteX599" fmla="*/ 1675182 w 9586368"/>
                <a:gd name="connsiteY599" fmla="*/ 6226198 h 6479439"/>
                <a:gd name="connsiteX600" fmla="*/ 1439885 w 9586368"/>
                <a:gd name="connsiteY600" fmla="*/ 6222160 h 6479439"/>
                <a:gd name="connsiteX601" fmla="*/ 1449795 w 9586368"/>
                <a:gd name="connsiteY601" fmla="*/ 6222160 h 6479439"/>
                <a:gd name="connsiteX602" fmla="*/ 1453814 w 9586368"/>
                <a:gd name="connsiteY602" fmla="*/ 6226198 h 6479439"/>
                <a:gd name="connsiteX603" fmla="*/ 1453814 w 9586368"/>
                <a:gd name="connsiteY603" fmla="*/ 6236069 h 6479439"/>
                <a:gd name="connsiteX604" fmla="*/ 1449795 w 9586368"/>
                <a:gd name="connsiteY604" fmla="*/ 6240109 h 6479439"/>
                <a:gd name="connsiteX605" fmla="*/ 1439885 w 9586368"/>
                <a:gd name="connsiteY605" fmla="*/ 6240109 h 6479439"/>
                <a:gd name="connsiteX606" fmla="*/ 1435866 w 9586368"/>
                <a:gd name="connsiteY606" fmla="*/ 6236069 h 6479439"/>
                <a:gd name="connsiteX607" fmla="*/ 1435866 w 9586368"/>
                <a:gd name="connsiteY607" fmla="*/ 6226198 h 6479439"/>
                <a:gd name="connsiteX608" fmla="*/ 1200570 w 9586368"/>
                <a:gd name="connsiteY608" fmla="*/ 6222160 h 6479439"/>
                <a:gd name="connsiteX609" fmla="*/ 1210481 w 9586368"/>
                <a:gd name="connsiteY609" fmla="*/ 6222160 h 6479439"/>
                <a:gd name="connsiteX610" fmla="*/ 1214499 w 9586368"/>
                <a:gd name="connsiteY610" fmla="*/ 6226198 h 6479439"/>
                <a:gd name="connsiteX611" fmla="*/ 1214499 w 9586368"/>
                <a:gd name="connsiteY611" fmla="*/ 6236069 h 6479439"/>
                <a:gd name="connsiteX612" fmla="*/ 1210481 w 9586368"/>
                <a:gd name="connsiteY612" fmla="*/ 6240109 h 6479439"/>
                <a:gd name="connsiteX613" fmla="*/ 1200570 w 9586368"/>
                <a:gd name="connsiteY613" fmla="*/ 6240109 h 6479439"/>
                <a:gd name="connsiteX614" fmla="*/ 1196551 w 9586368"/>
                <a:gd name="connsiteY614" fmla="*/ 6236069 h 6479439"/>
                <a:gd name="connsiteX615" fmla="*/ 1196551 w 9586368"/>
                <a:gd name="connsiteY615" fmla="*/ 6226198 h 6479439"/>
                <a:gd name="connsiteX616" fmla="*/ 961258 w 9586368"/>
                <a:gd name="connsiteY616" fmla="*/ 6222160 h 6479439"/>
                <a:gd name="connsiteX617" fmla="*/ 971167 w 9586368"/>
                <a:gd name="connsiteY617" fmla="*/ 6222160 h 6479439"/>
                <a:gd name="connsiteX618" fmla="*/ 975186 w 9586368"/>
                <a:gd name="connsiteY618" fmla="*/ 6226198 h 6479439"/>
                <a:gd name="connsiteX619" fmla="*/ 975186 w 9586368"/>
                <a:gd name="connsiteY619" fmla="*/ 6236069 h 6479439"/>
                <a:gd name="connsiteX620" fmla="*/ 971167 w 9586368"/>
                <a:gd name="connsiteY620" fmla="*/ 6240109 h 6479439"/>
                <a:gd name="connsiteX621" fmla="*/ 961258 w 9586368"/>
                <a:gd name="connsiteY621" fmla="*/ 6240109 h 6479439"/>
                <a:gd name="connsiteX622" fmla="*/ 957239 w 9586368"/>
                <a:gd name="connsiteY622" fmla="*/ 6236069 h 6479439"/>
                <a:gd name="connsiteX623" fmla="*/ 957239 w 9586368"/>
                <a:gd name="connsiteY623" fmla="*/ 6226198 h 6479439"/>
                <a:gd name="connsiteX624" fmla="*/ 721959 w 9586368"/>
                <a:gd name="connsiteY624" fmla="*/ 6222160 h 6479439"/>
                <a:gd name="connsiteX625" fmla="*/ 731869 w 9586368"/>
                <a:gd name="connsiteY625" fmla="*/ 6222160 h 6479439"/>
                <a:gd name="connsiteX626" fmla="*/ 735888 w 9586368"/>
                <a:gd name="connsiteY626" fmla="*/ 6226198 h 6479439"/>
                <a:gd name="connsiteX627" fmla="*/ 735888 w 9586368"/>
                <a:gd name="connsiteY627" fmla="*/ 6236069 h 6479439"/>
                <a:gd name="connsiteX628" fmla="*/ 731869 w 9586368"/>
                <a:gd name="connsiteY628" fmla="*/ 6240109 h 6479439"/>
                <a:gd name="connsiteX629" fmla="*/ 721959 w 9586368"/>
                <a:gd name="connsiteY629" fmla="*/ 6240109 h 6479439"/>
                <a:gd name="connsiteX630" fmla="*/ 717940 w 9586368"/>
                <a:gd name="connsiteY630" fmla="*/ 6236069 h 6479439"/>
                <a:gd name="connsiteX631" fmla="*/ 717940 w 9586368"/>
                <a:gd name="connsiteY631" fmla="*/ 6226198 h 6479439"/>
                <a:gd name="connsiteX632" fmla="*/ 482646 w 9586368"/>
                <a:gd name="connsiteY632" fmla="*/ 6222160 h 6479439"/>
                <a:gd name="connsiteX633" fmla="*/ 492557 w 9586368"/>
                <a:gd name="connsiteY633" fmla="*/ 6222160 h 6479439"/>
                <a:gd name="connsiteX634" fmla="*/ 496576 w 9586368"/>
                <a:gd name="connsiteY634" fmla="*/ 6226198 h 6479439"/>
                <a:gd name="connsiteX635" fmla="*/ 496576 w 9586368"/>
                <a:gd name="connsiteY635" fmla="*/ 6236069 h 6479439"/>
                <a:gd name="connsiteX636" fmla="*/ 492557 w 9586368"/>
                <a:gd name="connsiteY636" fmla="*/ 6240109 h 6479439"/>
                <a:gd name="connsiteX637" fmla="*/ 482646 w 9586368"/>
                <a:gd name="connsiteY637" fmla="*/ 6240109 h 6479439"/>
                <a:gd name="connsiteX638" fmla="*/ 478627 w 9586368"/>
                <a:gd name="connsiteY638" fmla="*/ 6236069 h 6479439"/>
                <a:gd name="connsiteX639" fmla="*/ 478627 w 9586368"/>
                <a:gd name="connsiteY639" fmla="*/ 6226198 h 6479439"/>
                <a:gd name="connsiteX640" fmla="*/ 243333 w 9586368"/>
                <a:gd name="connsiteY640" fmla="*/ 6222160 h 6479439"/>
                <a:gd name="connsiteX641" fmla="*/ 253243 w 9586368"/>
                <a:gd name="connsiteY641" fmla="*/ 6222160 h 6479439"/>
                <a:gd name="connsiteX642" fmla="*/ 257263 w 9586368"/>
                <a:gd name="connsiteY642" fmla="*/ 6226198 h 6479439"/>
                <a:gd name="connsiteX643" fmla="*/ 257263 w 9586368"/>
                <a:gd name="connsiteY643" fmla="*/ 6236069 h 6479439"/>
                <a:gd name="connsiteX644" fmla="*/ 253243 w 9586368"/>
                <a:gd name="connsiteY644" fmla="*/ 6240109 h 6479439"/>
                <a:gd name="connsiteX645" fmla="*/ 243333 w 9586368"/>
                <a:gd name="connsiteY645" fmla="*/ 6240109 h 6479439"/>
                <a:gd name="connsiteX646" fmla="*/ 239314 w 9586368"/>
                <a:gd name="connsiteY646" fmla="*/ 6236069 h 6479439"/>
                <a:gd name="connsiteX647" fmla="*/ 239314 w 9586368"/>
                <a:gd name="connsiteY647" fmla="*/ 6226198 h 6479439"/>
                <a:gd name="connsiteX648" fmla="*/ 4020 w 9586368"/>
                <a:gd name="connsiteY648" fmla="*/ 6222160 h 6479439"/>
                <a:gd name="connsiteX649" fmla="*/ 13930 w 9586368"/>
                <a:gd name="connsiteY649" fmla="*/ 6222160 h 6479439"/>
                <a:gd name="connsiteX650" fmla="*/ 17949 w 9586368"/>
                <a:gd name="connsiteY650" fmla="*/ 6226198 h 6479439"/>
                <a:gd name="connsiteX651" fmla="*/ 17949 w 9586368"/>
                <a:gd name="connsiteY651" fmla="*/ 6236069 h 6479439"/>
                <a:gd name="connsiteX652" fmla="*/ 13930 w 9586368"/>
                <a:gd name="connsiteY652" fmla="*/ 6240109 h 6479439"/>
                <a:gd name="connsiteX653" fmla="*/ 4020 w 9586368"/>
                <a:gd name="connsiteY653" fmla="*/ 6240109 h 6479439"/>
                <a:gd name="connsiteX654" fmla="*/ 1 w 9586368"/>
                <a:gd name="connsiteY654" fmla="*/ 6236069 h 6479439"/>
                <a:gd name="connsiteX655" fmla="*/ 1 w 9586368"/>
                <a:gd name="connsiteY655" fmla="*/ 6226198 h 6479439"/>
                <a:gd name="connsiteX656" fmla="*/ 2157818 w 9586368"/>
                <a:gd name="connsiteY656" fmla="*/ 5982881 h 6479439"/>
                <a:gd name="connsiteX657" fmla="*/ 2167728 w 9586368"/>
                <a:gd name="connsiteY657" fmla="*/ 5982881 h 6479439"/>
                <a:gd name="connsiteX658" fmla="*/ 2171747 w 9586368"/>
                <a:gd name="connsiteY658" fmla="*/ 5986919 h 6479439"/>
                <a:gd name="connsiteX659" fmla="*/ 2171747 w 9586368"/>
                <a:gd name="connsiteY659" fmla="*/ 5996790 h 6479439"/>
                <a:gd name="connsiteX660" fmla="*/ 2167728 w 9586368"/>
                <a:gd name="connsiteY660" fmla="*/ 6000829 h 6479439"/>
                <a:gd name="connsiteX661" fmla="*/ 2157818 w 9586368"/>
                <a:gd name="connsiteY661" fmla="*/ 6000829 h 6479439"/>
                <a:gd name="connsiteX662" fmla="*/ 2153799 w 9586368"/>
                <a:gd name="connsiteY662" fmla="*/ 5996790 h 6479439"/>
                <a:gd name="connsiteX663" fmla="*/ 2153799 w 9586368"/>
                <a:gd name="connsiteY663" fmla="*/ 5986919 h 6479439"/>
                <a:gd name="connsiteX664" fmla="*/ 1918509 w 9586368"/>
                <a:gd name="connsiteY664" fmla="*/ 5982881 h 6479439"/>
                <a:gd name="connsiteX665" fmla="*/ 1928420 w 9586368"/>
                <a:gd name="connsiteY665" fmla="*/ 5982881 h 6479439"/>
                <a:gd name="connsiteX666" fmla="*/ 1932438 w 9586368"/>
                <a:gd name="connsiteY666" fmla="*/ 5986919 h 6479439"/>
                <a:gd name="connsiteX667" fmla="*/ 1932438 w 9586368"/>
                <a:gd name="connsiteY667" fmla="*/ 5996790 h 6479439"/>
                <a:gd name="connsiteX668" fmla="*/ 1928420 w 9586368"/>
                <a:gd name="connsiteY668" fmla="*/ 6000829 h 6479439"/>
                <a:gd name="connsiteX669" fmla="*/ 1918509 w 9586368"/>
                <a:gd name="connsiteY669" fmla="*/ 6000829 h 6479439"/>
                <a:gd name="connsiteX670" fmla="*/ 1914490 w 9586368"/>
                <a:gd name="connsiteY670" fmla="*/ 5996790 h 6479439"/>
                <a:gd name="connsiteX671" fmla="*/ 1914490 w 9586368"/>
                <a:gd name="connsiteY671" fmla="*/ 5986919 h 6479439"/>
                <a:gd name="connsiteX672" fmla="*/ 1679201 w 9586368"/>
                <a:gd name="connsiteY672" fmla="*/ 5982881 h 6479439"/>
                <a:gd name="connsiteX673" fmla="*/ 1689111 w 9586368"/>
                <a:gd name="connsiteY673" fmla="*/ 5982881 h 6479439"/>
                <a:gd name="connsiteX674" fmla="*/ 1693129 w 9586368"/>
                <a:gd name="connsiteY674" fmla="*/ 5986919 h 6479439"/>
                <a:gd name="connsiteX675" fmla="*/ 1693129 w 9586368"/>
                <a:gd name="connsiteY675" fmla="*/ 5996790 h 6479439"/>
                <a:gd name="connsiteX676" fmla="*/ 1689111 w 9586368"/>
                <a:gd name="connsiteY676" fmla="*/ 6000829 h 6479439"/>
                <a:gd name="connsiteX677" fmla="*/ 1679201 w 9586368"/>
                <a:gd name="connsiteY677" fmla="*/ 6000829 h 6479439"/>
                <a:gd name="connsiteX678" fmla="*/ 1675182 w 9586368"/>
                <a:gd name="connsiteY678" fmla="*/ 5996790 h 6479439"/>
                <a:gd name="connsiteX679" fmla="*/ 1675182 w 9586368"/>
                <a:gd name="connsiteY679" fmla="*/ 5986919 h 6479439"/>
                <a:gd name="connsiteX680" fmla="*/ 1439886 w 9586368"/>
                <a:gd name="connsiteY680" fmla="*/ 5982881 h 6479439"/>
                <a:gd name="connsiteX681" fmla="*/ 1449796 w 9586368"/>
                <a:gd name="connsiteY681" fmla="*/ 5982881 h 6479439"/>
                <a:gd name="connsiteX682" fmla="*/ 1453814 w 9586368"/>
                <a:gd name="connsiteY682" fmla="*/ 5986919 h 6479439"/>
                <a:gd name="connsiteX683" fmla="*/ 1453814 w 9586368"/>
                <a:gd name="connsiteY683" fmla="*/ 5996790 h 6479439"/>
                <a:gd name="connsiteX684" fmla="*/ 1449796 w 9586368"/>
                <a:gd name="connsiteY684" fmla="*/ 6000829 h 6479439"/>
                <a:gd name="connsiteX685" fmla="*/ 1439886 w 9586368"/>
                <a:gd name="connsiteY685" fmla="*/ 6000829 h 6479439"/>
                <a:gd name="connsiteX686" fmla="*/ 1435866 w 9586368"/>
                <a:gd name="connsiteY686" fmla="*/ 5996790 h 6479439"/>
                <a:gd name="connsiteX687" fmla="*/ 1435866 w 9586368"/>
                <a:gd name="connsiteY687" fmla="*/ 5986919 h 6479439"/>
                <a:gd name="connsiteX688" fmla="*/ 1200571 w 9586368"/>
                <a:gd name="connsiteY688" fmla="*/ 5982881 h 6479439"/>
                <a:gd name="connsiteX689" fmla="*/ 1210481 w 9586368"/>
                <a:gd name="connsiteY689" fmla="*/ 5982881 h 6479439"/>
                <a:gd name="connsiteX690" fmla="*/ 1214500 w 9586368"/>
                <a:gd name="connsiteY690" fmla="*/ 5986919 h 6479439"/>
                <a:gd name="connsiteX691" fmla="*/ 1214500 w 9586368"/>
                <a:gd name="connsiteY691" fmla="*/ 5996790 h 6479439"/>
                <a:gd name="connsiteX692" fmla="*/ 1210481 w 9586368"/>
                <a:gd name="connsiteY692" fmla="*/ 6000829 h 6479439"/>
                <a:gd name="connsiteX693" fmla="*/ 1200571 w 9586368"/>
                <a:gd name="connsiteY693" fmla="*/ 6000829 h 6479439"/>
                <a:gd name="connsiteX694" fmla="*/ 1196553 w 9586368"/>
                <a:gd name="connsiteY694" fmla="*/ 5996790 h 6479439"/>
                <a:gd name="connsiteX695" fmla="*/ 1196553 w 9586368"/>
                <a:gd name="connsiteY695" fmla="*/ 5986919 h 6479439"/>
                <a:gd name="connsiteX696" fmla="*/ 961258 w 9586368"/>
                <a:gd name="connsiteY696" fmla="*/ 5982881 h 6479439"/>
                <a:gd name="connsiteX697" fmla="*/ 971168 w 9586368"/>
                <a:gd name="connsiteY697" fmla="*/ 5982881 h 6479439"/>
                <a:gd name="connsiteX698" fmla="*/ 975187 w 9586368"/>
                <a:gd name="connsiteY698" fmla="*/ 5986919 h 6479439"/>
                <a:gd name="connsiteX699" fmla="*/ 975187 w 9586368"/>
                <a:gd name="connsiteY699" fmla="*/ 5996790 h 6479439"/>
                <a:gd name="connsiteX700" fmla="*/ 971168 w 9586368"/>
                <a:gd name="connsiteY700" fmla="*/ 6000829 h 6479439"/>
                <a:gd name="connsiteX701" fmla="*/ 961258 w 9586368"/>
                <a:gd name="connsiteY701" fmla="*/ 6000829 h 6479439"/>
                <a:gd name="connsiteX702" fmla="*/ 957239 w 9586368"/>
                <a:gd name="connsiteY702" fmla="*/ 5996790 h 6479439"/>
                <a:gd name="connsiteX703" fmla="*/ 957239 w 9586368"/>
                <a:gd name="connsiteY703" fmla="*/ 5986919 h 6479439"/>
                <a:gd name="connsiteX704" fmla="*/ 9572438 w 9586368"/>
                <a:gd name="connsiteY704" fmla="*/ 5982829 h 6479439"/>
                <a:gd name="connsiteX705" fmla="*/ 9582349 w 9586368"/>
                <a:gd name="connsiteY705" fmla="*/ 5982829 h 6479439"/>
                <a:gd name="connsiteX706" fmla="*/ 9586368 w 9586368"/>
                <a:gd name="connsiteY706" fmla="*/ 5986868 h 6479439"/>
                <a:gd name="connsiteX707" fmla="*/ 9586368 w 9586368"/>
                <a:gd name="connsiteY707" fmla="*/ 5996739 h 6479439"/>
                <a:gd name="connsiteX708" fmla="*/ 9582349 w 9586368"/>
                <a:gd name="connsiteY708" fmla="*/ 6000778 h 6479439"/>
                <a:gd name="connsiteX709" fmla="*/ 9572438 w 9586368"/>
                <a:gd name="connsiteY709" fmla="*/ 6000778 h 6479439"/>
                <a:gd name="connsiteX710" fmla="*/ 9568419 w 9586368"/>
                <a:gd name="connsiteY710" fmla="*/ 5996739 h 6479439"/>
                <a:gd name="connsiteX711" fmla="*/ 9568419 w 9586368"/>
                <a:gd name="connsiteY711" fmla="*/ 5986868 h 6479439"/>
                <a:gd name="connsiteX712" fmla="*/ 9333125 w 9586368"/>
                <a:gd name="connsiteY712" fmla="*/ 5982829 h 6479439"/>
                <a:gd name="connsiteX713" fmla="*/ 9343036 w 9586368"/>
                <a:gd name="connsiteY713" fmla="*/ 5982829 h 6479439"/>
                <a:gd name="connsiteX714" fmla="*/ 9347055 w 9586368"/>
                <a:gd name="connsiteY714" fmla="*/ 5986868 h 6479439"/>
                <a:gd name="connsiteX715" fmla="*/ 9347055 w 9586368"/>
                <a:gd name="connsiteY715" fmla="*/ 5996739 h 6479439"/>
                <a:gd name="connsiteX716" fmla="*/ 9343036 w 9586368"/>
                <a:gd name="connsiteY716" fmla="*/ 6000778 h 6479439"/>
                <a:gd name="connsiteX717" fmla="*/ 9333125 w 9586368"/>
                <a:gd name="connsiteY717" fmla="*/ 6000778 h 6479439"/>
                <a:gd name="connsiteX718" fmla="*/ 9329106 w 9586368"/>
                <a:gd name="connsiteY718" fmla="*/ 5996739 h 6479439"/>
                <a:gd name="connsiteX719" fmla="*/ 9329106 w 9586368"/>
                <a:gd name="connsiteY719" fmla="*/ 5986868 h 6479439"/>
                <a:gd name="connsiteX720" fmla="*/ 9093811 w 9586368"/>
                <a:gd name="connsiteY720" fmla="*/ 5982829 h 6479439"/>
                <a:gd name="connsiteX721" fmla="*/ 9103722 w 9586368"/>
                <a:gd name="connsiteY721" fmla="*/ 5982829 h 6479439"/>
                <a:gd name="connsiteX722" fmla="*/ 9107741 w 9586368"/>
                <a:gd name="connsiteY722" fmla="*/ 5986868 h 6479439"/>
                <a:gd name="connsiteX723" fmla="*/ 9107741 w 9586368"/>
                <a:gd name="connsiteY723" fmla="*/ 5996739 h 6479439"/>
                <a:gd name="connsiteX724" fmla="*/ 9103722 w 9586368"/>
                <a:gd name="connsiteY724" fmla="*/ 6000778 h 6479439"/>
                <a:gd name="connsiteX725" fmla="*/ 9093811 w 9586368"/>
                <a:gd name="connsiteY725" fmla="*/ 6000778 h 6479439"/>
                <a:gd name="connsiteX726" fmla="*/ 9089792 w 9586368"/>
                <a:gd name="connsiteY726" fmla="*/ 5996739 h 6479439"/>
                <a:gd name="connsiteX727" fmla="*/ 9089792 w 9586368"/>
                <a:gd name="connsiteY727" fmla="*/ 5986868 h 6479439"/>
                <a:gd name="connsiteX728" fmla="*/ 8854496 w 9586368"/>
                <a:gd name="connsiteY728" fmla="*/ 5982829 h 6479439"/>
                <a:gd name="connsiteX729" fmla="*/ 8864407 w 9586368"/>
                <a:gd name="connsiteY729" fmla="*/ 5982829 h 6479439"/>
                <a:gd name="connsiteX730" fmla="*/ 8868426 w 9586368"/>
                <a:gd name="connsiteY730" fmla="*/ 5986868 h 6479439"/>
                <a:gd name="connsiteX731" fmla="*/ 8868426 w 9586368"/>
                <a:gd name="connsiteY731" fmla="*/ 5996739 h 6479439"/>
                <a:gd name="connsiteX732" fmla="*/ 8864407 w 9586368"/>
                <a:gd name="connsiteY732" fmla="*/ 6000778 h 6479439"/>
                <a:gd name="connsiteX733" fmla="*/ 8854496 w 9586368"/>
                <a:gd name="connsiteY733" fmla="*/ 6000778 h 6479439"/>
                <a:gd name="connsiteX734" fmla="*/ 8850477 w 9586368"/>
                <a:gd name="connsiteY734" fmla="*/ 5996739 h 6479439"/>
                <a:gd name="connsiteX735" fmla="*/ 8850477 w 9586368"/>
                <a:gd name="connsiteY735" fmla="*/ 5986868 h 6479439"/>
                <a:gd name="connsiteX736" fmla="*/ 8615184 w 9586368"/>
                <a:gd name="connsiteY736" fmla="*/ 5982829 h 6479439"/>
                <a:gd name="connsiteX737" fmla="*/ 8625095 w 9586368"/>
                <a:gd name="connsiteY737" fmla="*/ 5982829 h 6479439"/>
                <a:gd name="connsiteX738" fmla="*/ 8629114 w 9586368"/>
                <a:gd name="connsiteY738" fmla="*/ 5986868 h 6479439"/>
                <a:gd name="connsiteX739" fmla="*/ 8629114 w 9586368"/>
                <a:gd name="connsiteY739" fmla="*/ 5996739 h 6479439"/>
                <a:gd name="connsiteX740" fmla="*/ 8625095 w 9586368"/>
                <a:gd name="connsiteY740" fmla="*/ 6000778 h 6479439"/>
                <a:gd name="connsiteX741" fmla="*/ 8615184 w 9586368"/>
                <a:gd name="connsiteY741" fmla="*/ 6000778 h 6479439"/>
                <a:gd name="connsiteX742" fmla="*/ 8611165 w 9586368"/>
                <a:gd name="connsiteY742" fmla="*/ 5996739 h 6479439"/>
                <a:gd name="connsiteX743" fmla="*/ 8611165 w 9586368"/>
                <a:gd name="connsiteY743" fmla="*/ 5986868 h 6479439"/>
                <a:gd name="connsiteX744" fmla="*/ 8375869 w 9586368"/>
                <a:gd name="connsiteY744" fmla="*/ 5982829 h 6479439"/>
                <a:gd name="connsiteX745" fmla="*/ 8385779 w 9586368"/>
                <a:gd name="connsiteY745" fmla="*/ 5982829 h 6479439"/>
                <a:gd name="connsiteX746" fmla="*/ 8389799 w 9586368"/>
                <a:gd name="connsiteY746" fmla="*/ 5986868 h 6479439"/>
                <a:gd name="connsiteX747" fmla="*/ 8389799 w 9586368"/>
                <a:gd name="connsiteY747" fmla="*/ 5996739 h 6479439"/>
                <a:gd name="connsiteX748" fmla="*/ 8385779 w 9586368"/>
                <a:gd name="connsiteY748" fmla="*/ 6000778 h 6479439"/>
                <a:gd name="connsiteX749" fmla="*/ 8375869 w 9586368"/>
                <a:gd name="connsiteY749" fmla="*/ 6000778 h 6479439"/>
                <a:gd name="connsiteX750" fmla="*/ 8371850 w 9586368"/>
                <a:gd name="connsiteY750" fmla="*/ 5996739 h 6479439"/>
                <a:gd name="connsiteX751" fmla="*/ 8371850 w 9586368"/>
                <a:gd name="connsiteY751" fmla="*/ 5986868 h 6479439"/>
                <a:gd name="connsiteX752" fmla="*/ 8136553 w 9586368"/>
                <a:gd name="connsiteY752" fmla="*/ 5982829 h 6479439"/>
                <a:gd name="connsiteX753" fmla="*/ 8146464 w 9586368"/>
                <a:gd name="connsiteY753" fmla="*/ 5982829 h 6479439"/>
                <a:gd name="connsiteX754" fmla="*/ 8150483 w 9586368"/>
                <a:gd name="connsiteY754" fmla="*/ 5986868 h 6479439"/>
                <a:gd name="connsiteX755" fmla="*/ 8150483 w 9586368"/>
                <a:gd name="connsiteY755" fmla="*/ 5996739 h 6479439"/>
                <a:gd name="connsiteX756" fmla="*/ 8146464 w 9586368"/>
                <a:gd name="connsiteY756" fmla="*/ 6000778 h 6479439"/>
                <a:gd name="connsiteX757" fmla="*/ 8136553 w 9586368"/>
                <a:gd name="connsiteY757" fmla="*/ 6000778 h 6479439"/>
                <a:gd name="connsiteX758" fmla="*/ 8132534 w 9586368"/>
                <a:gd name="connsiteY758" fmla="*/ 5996739 h 6479439"/>
                <a:gd name="connsiteX759" fmla="*/ 8132534 w 9586368"/>
                <a:gd name="connsiteY759" fmla="*/ 5986868 h 6479439"/>
                <a:gd name="connsiteX760" fmla="*/ 7897241 w 9586368"/>
                <a:gd name="connsiteY760" fmla="*/ 5982829 h 6479439"/>
                <a:gd name="connsiteX761" fmla="*/ 7907151 w 9586368"/>
                <a:gd name="connsiteY761" fmla="*/ 5982829 h 6479439"/>
                <a:gd name="connsiteX762" fmla="*/ 7911170 w 9586368"/>
                <a:gd name="connsiteY762" fmla="*/ 5986868 h 6479439"/>
                <a:gd name="connsiteX763" fmla="*/ 7911170 w 9586368"/>
                <a:gd name="connsiteY763" fmla="*/ 5996739 h 6479439"/>
                <a:gd name="connsiteX764" fmla="*/ 7907151 w 9586368"/>
                <a:gd name="connsiteY764" fmla="*/ 6000778 h 6479439"/>
                <a:gd name="connsiteX765" fmla="*/ 7897241 w 9586368"/>
                <a:gd name="connsiteY765" fmla="*/ 6000778 h 6479439"/>
                <a:gd name="connsiteX766" fmla="*/ 7893222 w 9586368"/>
                <a:gd name="connsiteY766" fmla="*/ 5996739 h 6479439"/>
                <a:gd name="connsiteX767" fmla="*/ 7893222 w 9586368"/>
                <a:gd name="connsiteY767" fmla="*/ 5986868 h 6479439"/>
                <a:gd name="connsiteX768" fmla="*/ 7657926 w 9586368"/>
                <a:gd name="connsiteY768" fmla="*/ 5982829 h 6479439"/>
                <a:gd name="connsiteX769" fmla="*/ 7667836 w 9586368"/>
                <a:gd name="connsiteY769" fmla="*/ 5982829 h 6479439"/>
                <a:gd name="connsiteX770" fmla="*/ 7671855 w 9586368"/>
                <a:gd name="connsiteY770" fmla="*/ 5986868 h 6479439"/>
                <a:gd name="connsiteX771" fmla="*/ 7671855 w 9586368"/>
                <a:gd name="connsiteY771" fmla="*/ 5996739 h 6479439"/>
                <a:gd name="connsiteX772" fmla="*/ 7667836 w 9586368"/>
                <a:gd name="connsiteY772" fmla="*/ 6000778 h 6479439"/>
                <a:gd name="connsiteX773" fmla="*/ 7657926 w 9586368"/>
                <a:gd name="connsiteY773" fmla="*/ 6000778 h 6479439"/>
                <a:gd name="connsiteX774" fmla="*/ 7653906 w 9586368"/>
                <a:gd name="connsiteY774" fmla="*/ 5996739 h 6479439"/>
                <a:gd name="connsiteX775" fmla="*/ 7653906 w 9586368"/>
                <a:gd name="connsiteY775" fmla="*/ 5986868 h 6479439"/>
                <a:gd name="connsiteX776" fmla="*/ 7418611 w 9586368"/>
                <a:gd name="connsiteY776" fmla="*/ 5982829 h 6479439"/>
                <a:gd name="connsiteX777" fmla="*/ 7428521 w 9586368"/>
                <a:gd name="connsiteY777" fmla="*/ 5982829 h 6479439"/>
                <a:gd name="connsiteX778" fmla="*/ 7432540 w 9586368"/>
                <a:gd name="connsiteY778" fmla="*/ 5986868 h 6479439"/>
                <a:gd name="connsiteX779" fmla="*/ 7432540 w 9586368"/>
                <a:gd name="connsiteY779" fmla="*/ 5996739 h 6479439"/>
                <a:gd name="connsiteX780" fmla="*/ 7428521 w 9586368"/>
                <a:gd name="connsiteY780" fmla="*/ 6000778 h 6479439"/>
                <a:gd name="connsiteX781" fmla="*/ 7418611 w 9586368"/>
                <a:gd name="connsiteY781" fmla="*/ 6000778 h 6479439"/>
                <a:gd name="connsiteX782" fmla="*/ 7414592 w 9586368"/>
                <a:gd name="connsiteY782" fmla="*/ 5996739 h 6479439"/>
                <a:gd name="connsiteX783" fmla="*/ 7414592 w 9586368"/>
                <a:gd name="connsiteY783" fmla="*/ 5986868 h 6479439"/>
                <a:gd name="connsiteX784" fmla="*/ 7179298 w 9586368"/>
                <a:gd name="connsiteY784" fmla="*/ 5982829 h 6479439"/>
                <a:gd name="connsiteX785" fmla="*/ 7189209 w 9586368"/>
                <a:gd name="connsiteY785" fmla="*/ 5982829 h 6479439"/>
                <a:gd name="connsiteX786" fmla="*/ 7193228 w 9586368"/>
                <a:gd name="connsiteY786" fmla="*/ 5986868 h 6479439"/>
                <a:gd name="connsiteX787" fmla="*/ 7193228 w 9586368"/>
                <a:gd name="connsiteY787" fmla="*/ 5996739 h 6479439"/>
                <a:gd name="connsiteX788" fmla="*/ 7189209 w 9586368"/>
                <a:gd name="connsiteY788" fmla="*/ 6000778 h 6479439"/>
                <a:gd name="connsiteX789" fmla="*/ 7179298 w 9586368"/>
                <a:gd name="connsiteY789" fmla="*/ 6000778 h 6479439"/>
                <a:gd name="connsiteX790" fmla="*/ 7175279 w 9586368"/>
                <a:gd name="connsiteY790" fmla="*/ 5996739 h 6479439"/>
                <a:gd name="connsiteX791" fmla="*/ 7175279 w 9586368"/>
                <a:gd name="connsiteY791" fmla="*/ 5986868 h 6479439"/>
                <a:gd name="connsiteX792" fmla="*/ 6939983 w 9586368"/>
                <a:gd name="connsiteY792" fmla="*/ 5982829 h 6479439"/>
                <a:gd name="connsiteX793" fmla="*/ 6949894 w 9586368"/>
                <a:gd name="connsiteY793" fmla="*/ 5982829 h 6479439"/>
                <a:gd name="connsiteX794" fmla="*/ 6953913 w 9586368"/>
                <a:gd name="connsiteY794" fmla="*/ 5986868 h 6479439"/>
                <a:gd name="connsiteX795" fmla="*/ 6953913 w 9586368"/>
                <a:gd name="connsiteY795" fmla="*/ 5996739 h 6479439"/>
                <a:gd name="connsiteX796" fmla="*/ 6949894 w 9586368"/>
                <a:gd name="connsiteY796" fmla="*/ 6000778 h 6479439"/>
                <a:gd name="connsiteX797" fmla="*/ 6939983 w 9586368"/>
                <a:gd name="connsiteY797" fmla="*/ 6000778 h 6479439"/>
                <a:gd name="connsiteX798" fmla="*/ 6935964 w 9586368"/>
                <a:gd name="connsiteY798" fmla="*/ 5996739 h 6479439"/>
                <a:gd name="connsiteX799" fmla="*/ 6935964 w 9586368"/>
                <a:gd name="connsiteY799" fmla="*/ 5986868 h 6479439"/>
                <a:gd name="connsiteX800" fmla="*/ 6700670 w 9586368"/>
                <a:gd name="connsiteY800" fmla="*/ 5982829 h 6479439"/>
                <a:gd name="connsiteX801" fmla="*/ 6710581 w 9586368"/>
                <a:gd name="connsiteY801" fmla="*/ 5982829 h 6479439"/>
                <a:gd name="connsiteX802" fmla="*/ 6714600 w 9586368"/>
                <a:gd name="connsiteY802" fmla="*/ 5986868 h 6479439"/>
                <a:gd name="connsiteX803" fmla="*/ 6714600 w 9586368"/>
                <a:gd name="connsiteY803" fmla="*/ 5996739 h 6479439"/>
                <a:gd name="connsiteX804" fmla="*/ 6710581 w 9586368"/>
                <a:gd name="connsiteY804" fmla="*/ 6000778 h 6479439"/>
                <a:gd name="connsiteX805" fmla="*/ 6700670 w 9586368"/>
                <a:gd name="connsiteY805" fmla="*/ 6000778 h 6479439"/>
                <a:gd name="connsiteX806" fmla="*/ 6696651 w 9586368"/>
                <a:gd name="connsiteY806" fmla="*/ 5996739 h 6479439"/>
                <a:gd name="connsiteX807" fmla="*/ 6696651 w 9586368"/>
                <a:gd name="connsiteY807" fmla="*/ 5986868 h 6479439"/>
                <a:gd name="connsiteX808" fmla="*/ 6461356 w 9586368"/>
                <a:gd name="connsiteY808" fmla="*/ 5982829 h 6479439"/>
                <a:gd name="connsiteX809" fmla="*/ 6471266 w 9586368"/>
                <a:gd name="connsiteY809" fmla="*/ 5982829 h 6479439"/>
                <a:gd name="connsiteX810" fmla="*/ 6475285 w 9586368"/>
                <a:gd name="connsiteY810" fmla="*/ 5986868 h 6479439"/>
                <a:gd name="connsiteX811" fmla="*/ 6475285 w 9586368"/>
                <a:gd name="connsiteY811" fmla="*/ 5996739 h 6479439"/>
                <a:gd name="connsiteX812" fmla="*/ 6471266 w 9586368"/>
                <a:gd name="connsiteY812" fmla="*/ 6000778 h 6479439"/>
                <a:gd name="connsiteX813" fmla="*/ 6461356 w 9586368"/>
                <a:gd name="connsiteY813" fmla="*/ 6000778 h 6479439"/>
                <a:gd name="connsiteX814" fmla="*/ 6457337 w 9586368"/>
                <a:gd name="connsiteY814" fmla="*/ 5996739 h 6479439"/>
                <a:gd name="connsiteX815" fmla="*/ 6457337 w 9586368"/>
                <a:gd name="connsiteY815" fmla="*/ 5986868 h 6479439"/>
                <a:gd name="connsiteX816" fmla="*/ 6222042 w 9586368"/>
                <a:gd name="connsiteY816" fmla="*/ 5982829 h 6479439"/>
                <a:gd name="connsiteX817" fmla="*/ 6231952 w 9586368"/>
                <a:gd name="connsiteY817" fmla="*/ 5982829 h 6479439"/>
                <a:gd name="connsiteX818" fmla="*/ 6235971 w 9586368"/>
                <a:gd name="connsiteY818" fmla="*/ 5986868 h 6479439"/>
                <a:gd name="connsiteX819" fmla="*/ 6235971 w 9586368"/>
                <a:gd name="connsiteY819" fmla="*/ 5996739 h 6479439"/>
                <a:gd name="connsiteX820" fmla="*/ 6231952 w 9586368"/>
                <a:gd name="connsiteY820" fmla="*/ 6000778 h 6479439"/>
                <a:gd name="connsiteX821" fmla="*/ 6222042 w 9586368"/>
                <a:gd name="connsiteY821" fmla="*/ 6000778 h 6479439"/>
                <a:gd name="connsiteX822" fmla="*/ 6218023 w 9586368"/>
                <a:gd name="connsiteY822" fmla="*/ 5996739 h 6479439"/>
                <a:gd name="connsiteX823" fmla="*/ 6218023 w 9586368"/>
                <a:gd name="connsiteY823" fmla="*/ 5986868 h 6479439"/>
                <a:gd name="connsiteX824" fmla="*/ 5982729 w 9586368"/>
                <a:gd name="connsiteY824" fmla="*/ 5982829 h 6479439"/>
                <a:gd name="connsiteX825" fmla="*/ 5992639 w 9586368"/>
                <a:gd name="connsiteY825" fmla="*/ 5982829 h 6479439"/>
                <a:gd name="connsiteX826" fmla="*/ 5996658 w 9586368"/>
                <a:gd name="connsiteY826" fmla="*/ 5986868 h 6479439"/>
                <a:gd name="connsiteX827" fmla="*/ 5996658 w 9586368"/>
                <a:gd name="connsiteY827" fmla="*/ 5996739 h 6479439"/>
                <a:gd name="connsiteX828" fmla="*/ 5992639 w 9586368"/>
                <a:gd name="connsiteY828" fmla="*/ 6000778 h 6479439"/>
                <a:gd name="connsiteX829" fmla="*/ 5982729 w 9586368"/>
                <a:gd name="connsiteY829" fmla="*/ 6000778 h 6479439"/>
                <a:gd name="connsiteX830" fmla="*/ 5978710 w 9586368"/>
                <a:gd name="connsiteY830" fmla="*/ 5996739 h 6479439"/>
                <a:gd name="connsiteX831" fmla="*/ 5978710 w 9586368"/>
                <a:gd name="connsiteY831" fmla="*/ 5986868 h 6479439"/>
                <a:gd name="connsiteX832" fmla="*/ 5743412 w 9586368"/>
                <a:gd name="connsiteY832" fmla="*/ 5982829 h 6479439"/>
                <a:gd name="connsiteX833" fmla="*/ 5753323 w 9586368"/>
                <a:gd name="connsiteY833" fmla="*/ 5982829 h 6479439"/>
                <a:gd name="connsiteX834" fmla="*/ 5757342 w 9586368"/>
                <a:gd name="connsiteY834" fmla="*/ 5986868 h 6479439"/>
                <a:gd name="connsiteX835" fmla="*/ 5757342 w 9586368"/>
                <a:gd name="connsiteY835" fmla="*/ 5996739 h 6479439"/>
                <a:gd name="connsiteX836" fmla="*/ 5753323 w 9586368"/>
                <a:gd name="connsiteY836" fmla="*/ 6000778 h 6479439"/>
                <a:gd name="connsiteX837" fmla="*/ 5743412 w 9586368"/>
                <a:gd name="connsiteY837" fmla="*/ 6000778 h 6479439"/>
                <a:gd name="connsiteX838" fmla="*/ 5739393 w 9586368"/>
                <a:gd name="connsiteY838" fmla="*/ 5996739 h 6479439"/>
                <a:gd name="connsiteX839" fmla="*/ 5739393 w 9586368"/>
                <a:gd name="connsiteY839" fmla="*/ 5986868 h 6479439"/>
                <a:gd name="connsiteX840" fmla="*/ 5504099 w 9586368"/>
                <a:gd name="connsiteY840" fmla="*/ 5982829 h 6479439"/>
                <a:gd name="connsiteX841" fmla="*/ 5514010 w 9586368"/>
                <a:gd name="connsiteY841" fmla="*/ 5982829 h 6479439"/>
                <a:gd name="connsiteX842" fmla="*/ 5518029 w 9586368"/>
                <a:gd name="connsiteY842" fmla="*/ 5986868 h 6479439"/>
                <a:gd name="connsiteX843" fmla="*/ 5518029 w 9586368"/>
                <a:gd name="connsiteY843" fmla="*/ 5996739 h 6479439"/>
                <a:gd name="connsiteX844" fmla="*/ 5514010 w 9586368"/>
                <a:gd name="connsiteY844" fmla="*/ 6000778 h 6479439"/>
                <a:gd name="connsiteX845" fmla="*/ 5504099 w 9586368"/>
                <a:gd name="connsiteY845" fmla="*/ 6000778 h 6479439"/>
                <a:gd name="connsiteX846" fmla="*/ 5500080 w 9586368"/>
                <a:gd name="connsiteY846" fmla="*/ 5996739 h 6479439"/>
                <a:gd name="connsiteX847" fmla="*/ 5500080 w 9586368"/>
                <a:gd name="connsiteY847" fmla="*/ 5986868 h 6479439"/>
                <a:gd name="connsiteX848" fmla="*/ 5264784 w 9586368"/>
                <a:gd name="connsiteY848" fmla="*/ 5982829 h 6479439"/>
                <a:gd name="connsiteX849" fmla="*/ 5274694 w 9586368"/>
                <a:gd name="connsiteY849" fmla="*/ 5982829 h 6479439"/>
                <a:gd name="connsiteX850" fmla="*/ 5278713 w 9586368"/>
                <a:gd name="connsiteY850" fmla="*/ 5986868 h 6479439"/>
                <a:gd name="connsiteX851" fmla="*/ 5278713 w 9586368"/>
                <a:gd name="connsiteY851" fmla="*/ 5996739 h 6479439"/>
                <a:gd name="connsiteX852" fmla="*/ 5274694 w 9586368"/>
                <a:gd name="connsiteY852" fmla="*/ 6000778 h 6479439"/>
                <a:gd name="connsiteX853" fmla="*/ 5264784 w 9586368"/>
                <a:gd name="connsiteY853" fmla="*/ 6000778 h 6479439"/>
                <a:gd name="connsiteX854" fmla="*/ 5260765 w 9586368"/>
                <a:gd name="connsiteY854" fmla="*/ 5996739 h 6479439"/>
                <a:gd name="connsiteX855" fmla="*/ 5260765 w 9586368"/>
                <a:gd name="connsiteY855" fmla="*/ 5986868 h 6479439"/>
                <a:gd name="connsiteX856" fmla="*/ 5025470 w 9586368"/>
                <a:gd name="connsiteY856" fmla="*/ 5982829 h 6479439"/>
                <a:gd name="connsiteX857" fmla="*/ 5035381 w 9586368"/>
                <a:gd name="connsiteY857" fmla="*/ 5982829 h 6479439"/>
                <a:gd name="connsiteX858" fmla="*/ 5039400 w 9586368"/>
                <a:gd name="connsiteY858" fmla="*/ 5986868 h 6479439"/>
                <a:gd name="connsiteX859" fmla="*/ 5039400 w 9586368"/>
                <a:gd name="connsiteY859" fmla="*/ 5996739 h 6479439"/>
                <a:gd name="connsiteX860" fmla="*/ 5035381 w 9586368"/>
                <a:gd name="connsiteY860" fmla="*/ 6000778 h 6479439"/>
                <a:gd name="connsiteX861" fmla="*/ 5025470 w 9586368"/>
                <a:gd name="connsiteY861" fmla="*/ 6000778 h 6479439"/>
                <a:gd name="connsiteX862" fmla="*/ 5021451 w 9586368"/>
                <a:gd name="connsiteY862" fmla="*/ 5996739 h 6479439"/>
                <a:gd name="connsiteX863" fmla="*/ 5021451 w 9586368"/>
                <a:gd name="connsiteY863" fmla="*/ 5986868 h 6479439"/>
                <a:gd name="connsiteX864" fmla="*/ 4786241 w 9586368"/>
                <a:gd name="connsiteY864" fmla="*/ 5982829 h 6479439"/>
                <a:gd name="connsiteX865" fmla="*/ 4796152 w 9586368"/>
                <a:gd name="connsiteY865" fmla="*/ 5982829 h 6479439"/>
                <a:gd name="connsiteX866" fmla="*/ 4800171 w 9586368"/>
                <a:gd name="connsiteY866" fmla="*/ 5986868 h 6479439"/>
                <a:gd name="connsiteX867" fmla="*/ 4800171 w 9586368"/>
                <a:gd name="connsiteY867" fmla="*/ 5996739 h 6479439"/>
                <a:gd name="connsiteX868" fmla="*/ 4796152 w 9586368"/>
                <a:gd name="connsiteY868" fmla="*/ 6000778 h 6479439"/>
                <a:gd name="connsiteX869" fmla="*/ 4786241 w 9586368"/>
                <a:gd name="connsiteY869" fmla="*/ 6000778 h 6479439"/>
                <a:gd name="connsiteX870" fmla="*/ 4782224 w 9586368"/>
                <a:gd name="connsiteY870" fmla="*/ 5996739 h 6479439"/>
                <a:gd name="connsiteX871" fmla="*/ 4782224 w 9586368"/>
                <a:gd name="connsiteY871" fmla="*/ 5986868 h 6479439"/>
                <a:gd name="connsiteX872" fmla="*/ 4546929 w 9586368"/>
                <a:gd name="connsiteY872" fmla="*/ 5982829 h 6479439"/>
                <a:gd name="connsiteX873" fmla="*/ 4556840 w 9586368"/>
                <a:gd name="connsiteY873" fmla="*/ 5982829 h 6479439"/>
                <a:gd name="connsiteX874" fmla="*/ 4560859 w 9586368"/>
                <a:gd name="connsiteY874" fmla="*/ 5986868 h 6479439"/>
                <a:gd name="connsiteX875" fmla="*/ 4560859 w 9586368"/>
                <a:gd name="connsiteY875" fmla="*/ 5996739 h 6479439"/>
                <a:gd name="connsiteX876" fmla="*/ 4556840 w 9586368"/>
                <a:gd name="connsiteY876" fmla="*/ 6000778 h 6479439"/>
                <a:gd name="connsiteX877" fmla="*/ 4546929 w 9586368"/>
                <a:gd name="connsiteY877" fmla="*/ 6000778 h 6479439"/>
                <a:gd name="connsiteX878" fmla="*/ 4542910 w 9586368"/>
                <a:gd name="connsiteY878" fmla="*/ 5996739 h 6479439"/>
                <a:gd name="connsiteX879" fmla="*/ 4542910 w 9586368"/>
                <a:gd name="connsiteY879" fmla="*/ 5986868 h 6479439"/>
                <a:gd name="connsiteX880" fmla="*/ 4307612 w 9586368"/>
                <a:gd name="connsiteY880" fmla="*/ 5982829 h 6479439"/>
                <a:gd name="connsiteX881" fmla="*/ 4317523 w 9586368"/>
                <a:gd name="connsiteY881" fmla="*/ 5982829 h 6479439"/>
                <a:gd name="connsiteX882" fmla="*/ 4321543 w 9586368"/>
                <a:gd name="connsiteY882" fmla="*/ 5986868 h 6479439"/>
                <a:gd name="connsiteX883" fmla="*/ 4321543 w 9586368"/>
                <a:gd name="connsiteY883" fmla="*/ 5996739 h 6479439"/>
                <a:gd name="connsiteX884" fmla="*/ 4317523 w 9586368"/>
                <a:gd name="connsiteY884" fmla="*/ 6000778 h 6479439"/>
                <a:gd name="connsiteX885" fmla="*/ 4307612 w 9586368"/>
                <a:gd name="connsiteY885" fmla="*/ 6000778 h 6479439"/>
                <a:gd name="connsiteX886" fmla="*/ 4303595 w 9586368"/>
                <a:gd name="connsiteY886" fmla="*/ 5996739 h 6479439"/>
                <a:gd name="connsiteX887" fmla="*/ 4303595 w 9586368"/>
                <a:gd name="connsiteY887" fmla="*/ 5986868 h 6479439"/>
                <a:gd name="connsiteX888" fmla="*/ 4068297 w 9586368"/>
                <a:gd name="connsiteY888" fmla="*/ 5982829 h 6479439"/>
                <a:gd name="connsiteX889" fmla="*/ 4078210 w 9586368"/>
                <a:gd name="connsiteY889" fmla="*/ 5982829 h 6479439"/>
                <a:gd name="connsiteX890" fmla="*/ 4082229 w 9586368"/>
                <a:gd name="connsiteY890" fmla="*/ 5986868 h 6479439"/>
                <a:gd name="connsiteX891" fmla="*/ 4082229 w 9586368"/>
                <a:gd name="connsiteY891" fmla="*/ 5996739 h 6479439"/>
                <a:gd name="connsiteX892" fmla="*/ 4078210 w 9586368"/>
                <a:gd name="connsiteY892" fmla="*/ 6000778 h 6479439"/>
                <a:gd name="connsiteX893" fmla="*/ 4068297 w 9586368"/>
                <a:gd name="connsiteY893" fmla="*/ 6000778 h 6479439"/>
                <a:gd name="connsiteX894" fmla="*/ 4064278 w 9586368"/>
                <a:gd name="connsiteY894" fmla="*/ 5996739 h 6479439"/>
                <a:gd name="connsiteX895" fmla="*/ 4064278 w 9586368"/>
                <a:gd name="connsiteY895" fmla="*/ 5986868 h 6479439"/>
                <a:gd name="connsiteX896" fmla="*/ 3828990 w 9586368"/>
                <a:gd name="connsiteY896" fmla="*/ 5982829 h 6479439"/>
                <a:gd name="connsiteX897" fmla="*/ 3838899 w 9586368"/>
                <a:gd name="connsiteY897" fmla="*/ 5982829 h 6479439"/>
                <a:gd name="connsiteX898" fmla="*/ 3842917 w 9586368"/>
                <a:gd name="connsiteY898" fmla="*/ 5986868 h 6479439"/>
                <a:gd name="connsiteX899" fmla="*/ 3842917 w 9586368"/>
                <a:gd name="connsiteY899" fmla="*/ 5996739 h 6479439"/>
                <a:gd name="connsiteX900" fmla="*/ 3838899 w 9586368"/>
                <a:gd name="connsiteY900" fmla="*/ 6000778 h 6479439"/>
                <a:gd name="connsiteX901" fmla="*/ 3828990 w 9586368"/>
                <a:gd name="connsiteY901" fmla="*/ 6000778 h 6479439"/>
                <a:gd name="connsiteX902" fmla="*/ 3824971 w 9586368"/>
                <a:gd name="connsiteY902" fmla="*/ 5996739 h 6479439"/>
                <a:gd name="connsiteX903" fmla="*/ 3824971 w 9586368"/>
                <a:gd name="connsiteY903" fmla="*/ 5986868 h 6479439"/>
                <a:gd name="connsiteX904" fmla="*/ 3589676 w 9586368"/>
                <a:gd name="connsiteY904" fmla="*/ 5982829 h 6479439"/>
                <a:gd name="connsiteX905" fmla="*/ 3599585 w 9586368"/>
                <a:gd name="connsiteY905" fmla="*/ 5982829 h 6479439"/>
                <a:gd name="connsiteX906" fmla="*/ 3603604 w 9586368"/>
                <a:gd name="connsiteY906" fmla="*/ 5986868 h 6479439"/>
                <a:gd name="connsiteX907" fmla="*/ 3603604 w 9586368"/>
                <a:gd name="connsiteY907" fmla="*/ 5996739 h 6479439"/>
                <a:gd name="connsiteX908" fmla="*/ 3599585 w 9586368"/>
                <a:gd name="connsiteY908" fmla="*/ 6000778 h 6479439"/>
                <a:gd name="connsiteX909" fmla="*/ 3589676 w 9586368"/>
                <a:gd name="connsiteY909" fmla="*/ 6000778 h 6479439"/>
                <a:gd name="connsiteX910" fmla="*/ 3585657 w 9586368"/>
                <a:gd name="connsiteY910" fmla="*/ 5996739 h 6479439"/>
                <a:gd name="connsiteX911" fmla="*/ 3585657 w 9586368"/>
                <a:gd name="connsiteY911" fmla="*/ 5986868 h 6479439"/>
                <a:gd name="connsiteX912" fmla="*/ 3350359 w 9586368"/>
                <a:gd name="connsiteY912" fmla="*/ 5982829 h 6479439"/>
                <a:gd name="connsiteX913" fmla="*/ 3360268 w 9586368"/>
                <a:gd name="connsiteY913" fmla="*/ 5982829 h 6479439"/>
                <a:gd name="connsiteX914" fmla="*/ 3364287 w 9586368"/>
                <a:gd name="connsiteY914" fmla="*/ 5986868 h 6479439"/>
                <a:gd name="connsiteX915" fmla="*/ 3364287 w 9586368"/>
                <a:gd name="connsiteY915" fmla="*/ 5996739 h 6479439"/>
                <a:gd name="connsiteX916" fmla="*/ 3360268 w 9586368"/>
                <a:gd name="connsiteY916" fmla="*/ 6000778 h 6479439"/>
                <a:gd name="connsiteX917" fmla="*/ 3350359 w 9586368"/>
                <a:gd name="connsiteY917" fmla="*/ 6000778 h 6479439"/>
                <a:gd name="connsiteX918" fmla="*/ 3346340 w 9586368"/>
                <a:gd name="connsiteY918" fmla="*/ 5996739 h 6479439"/>
                <a:gd name="connsiteX919" fmla="*/ 3346340 w 9586368"/>
                <a:gd name="connsiteY919" fmla="*/ 5986868 h 6479439"/>
                <a:gd name="connsiteX920" fmla="*/ 3111048 w 9586368"/>
                <a:gd name="connsiteY920" fmla="*/ 5982829 h 6479439"/>
                <a:gd name="connsiteX921" fmla="*/ 3120959 w 9586368"/>
                <a:gd name="connsiteY921" fmla="*/ 5982829 h 6479439"/>
                <a:gd name="connsiteX922" fmla="*/ 3124977 w 9586368"/>
                <a:gd name="connsiteY922" fmla="*/ 5986868 h 6479439"/>
                <a:gd name="connsiteX923" fmla="*/ 3124977 w 9586368"/>
                <a:gd name="connsiteY923" fmla="*/ 5996739 h 6479439"/>
                <a:gd name="connsiteX924" fmla="*/ 3120959 w 9586368"/>
                <a:gd name="connsiteY924" fmla="*/ 6000778 h 6479439"/>
                <a:gd name="connsiteX925" fmla="*/ 3111048 w 9586368"/>
                <a:gd name="connsiteY925" fmla="*/ 6000778 h 6479439"/>
                <a:gd name="connsiteX926" fmla="*/ 3107029 w 9586368"/>
                <a:gd name="connsiteY926" fmla="*/ 5996739 h 6479439"/>
                <a:gd name="connsiteX927" fmla="*/ 3107029 w 9586368"/>
                <a:gd name="connsiteY927" fmla="*/ 5986868 h 6479439"/>
                <a:gd name="connsiteX928" fmla="*/ 2871737 w 9586368"/>
                <a:gd name="connsiteY928" fmla="*/ 5982829 h 6479439"/>
                <a:gd name="connsiteX929" fmla="*/ 2881646 w 9586368"/>
                <a:gd name="connsiteY929" fmla="*/ 5982829 h 6479439"/>
                <a:gd name="connsiteX930" fmla="*/ 2885666 w 9586368"/>
                <a:gd name="connsiteY930" fmla="*/ 5986868 h 6479439"/>
                <a:gd name="connsiteX931" fmla="*/ 2885666 w 9586368"/>
                <a:gd name="connsiteY931" fmla="*/ 5996739 h 6479439"/>
                <a:gd name="connsiteX932" fmla="*/ 2881646 w 9586368"/>
                <a:gd name="connsiteY932" fmla="*/ 6000778 h 6479439"/>
                <a:gd name="connsiteX933" fmla="*/ 2871737 w 9586368"/>
                <a:gd name="connsiteY933" fmla="*/ 6000778 h 6479439"/>
                <a:gd name="connsiteX934" fmla="*/ 2867717 w 9586368"/>
                <a:gd name="connsiteY934" fmla="*/ 5996739 h 6479439"/>
                <a:gd name="connsiteX935" fmla="*/ 2867717 w 9586368"/>
                <a:gd name="connsiteY935" fmla="*/ 5986868 h 6479439"/>
                <a:gd name="connsiteX936" fmla="*/ 2632423 w 9586368"/>
                <a:gd name="connsiteY936" fmla="*/ 5982829 h 6479439"/>
                <a:gd name="connsiteX937" fmla="*/ 2642334 w 9586368"/>
                <a:gd name="connsiteY937" fmla="*/ 5982829 h 6479439"/>
                <a:gd name="connsiteX938" fmla="*/ 2646352 w 9586368"/>
                <a:gd name="connsiteY938" fmla="*/ 5986868 h 6479439"/>
                <a:gd name="connsiteX939" fmla="*/ 2646352 w 9586368"/>
                <a:gd name="connsiteY939" fmla="*/ 5996739 h 6479439"/>
                <a:gd name="connsiteX940" fmla="*/ 2642334 w 9586368"/>
                <a:gd name="connsiteY940" fmla="*/ 6000778 h 6479439"/>
                <a:gd name="connsiteX941" fmla="*/ 2632423 w 9586368"/>
                <a:gd name="connsiteY941" fmla="*/ 6000778 h 6479439"/>
                <a:gd name="connsiteX942" fmla="*/ 2628404 w 9586368"/>
                <a:gd name="connsiteY942" fmla="*/ 5996739 h 6479439"/>
                <a:gd name="connsiteX943" fmla="*/ 2628404 w 9586368"/>
                <a:gd name="connsiteY943" fmla="*/ 5986868 h 6479439"/>
                <a:gd name="connsiteX944" fmla="*/ 2393104 w 9586368"/>
                <a:gd name="connsiteY944" fmla="*/ 5982829 h 6479439"/>
                <a:gd name="connsiteX945" fmla="*/ 2403015 w 9586368"/>
                <a:gd name="connsiteY945" fmla="*/ 5982829 h 6479439"/>
                <a:gd name="connsiteX946" fmla="*/ 2407034 w 9586368"/>
                <a:gd name="connsiteY946" fmla="*/ 5986868 h 6479439"/>
                <a:gd name="connsiteX947" fmla="*/ 2407034 w 9586368"/>
                <a:gd name="connsiteY947" fmla="*/ 5996739 h 6479439"/>
                <a:gd name="connsiteX948" fmla="*/ 2403015 w 9586368"/>
                <a:gd name="connsiteY948" fmla="*/ 6000778 h 6479439"/>
                <a:gd name="connsiteX949" fmla="*/ 2393104 w 9586368"/>
                <a:gd name="connsiteY949" fmla="*/ 6000778 h 6479439"/>
                <a:gd name="connsiteX950" fmla="*/ 2389087 w 9586368"/>
                <a:gd name="connsiteY950" fmla="*/ 5996739 h 6479439"/>
                <a:gd name="connsiteX951" fmla="*/ 2389087 w 9586368"/>
                <a:gd name="connsiteY951" fmla="*/ 5986868 h 6479439"/>
                <a:gd name="connsiteX952" fmla="*/ 721960 w 9586368"/>
                <a:gd name="connsiteY952" fmla="*/ 5982829 h 6479439"/>
                <a:gd name="connsiteX953" fmla="*/ 731869 w 9586368"/>
                <a:gd name="connsiteY953" fmla="*/ 5982829 h 6479439"/>
                <a:gd name="connsiteX954" fmla="*/ 735888 w 9586368"/>
                <a:gd name="connsiteY954" fmla="*/ 5986868 h 6479439"/>
                <a:gd name="connsiteX955" fmla="*/ 735888 w 9586368"/>
                <a:gd name="connsiteY955" fmla="*/ 5996739 h 6479439"/>
                <a:gd name="connsiteX956" fmla="*/ 731869 w 9586368"/>
                <a:gd name="connsiteY956" fmla="*/ 6000778 h 6479439"/>
                <a:gd name="connsiteX957" fmla="*/ 721960 w 9586368"/>
                <a:gd name="connsiteY957" fmla="*/ 6000778 h 6479439"/>
                <a:gd name="connsiteX958" fmla="*/ 717940 w 9586368"/>
                <a:gd name="connsiteY958" fmla="*/ 5996739 h 6479439"/>
                <a:gd name="connsiteX959" fmla="*/ 717940 w 9586368"/>
                <a:gd name="connsiteY959" fmla="*/ 5986868 h 6479439"/>
                <a:gd name="connsiteX960" fmla="*/ 482647 w 9586368"/>
                <a:gd name="connsiteY960" fmla="*/ 5982829 h 6479439"/>
                <a:gd name="connsiteX961" fmla="*/ 492557 w 9586368"/>
                <a:gd name="connsiteY961" fmla="*/ 5982829 h 6479439"/>
                <a:gd name="connsiteX962" fmla="*/ 496576 w 9586368"/>
                <a:gd name="connsiteY962" fmla="*/ 5986868 h 6479439"/>
                <a:gd name="connsiteX963" fmla="*/ 496576 w 9586368"/>
                <a:gd name="connsiteY963" fmla="*/ 5996739 h 6479439"/>
                <a:gd name="connsiteX964" fmla="*/ 492557 w 9586368"/>
                <a:gd name="connsiteY964" fmla="*/ 6000778 h 6479439"/>
                <a:gd name="connsiteX965" fmla="*/ 482647 w 9586368"/>
                <a:gd name="connsiteY965" fmla="*/ 6000778 h 6479439"/>
                <a:gd name="connsiteX966" fmla="*/ 478628 w 9586368"/>
                <a:gd name="connsiteY966" fmla="*/ 5996739 h 6479439"/>
                <a:gd name="connsiteX967" fmla="*/ 478628 w 9586368"/>
                <a:gd name="connsiteY967" fmla="*/ 5986868 h 6479439"/>
                <a:gd name="connsiteX968" fmla="*/ 243334 w 9586368"/>
                <a:gd name="connsiteY968" fmla="*/ 5982829 h 6479439"/>
                <a:gd name="connsiteX969" fmla="*/ 253244 w 9586368"/>
                <a:gd name="connsiteY969" fmla="*/ 5982829 h 6479439"/>
                <a:gd name="connsiteX970" fmla="*/ 257263 w 9586368"/>
                <a:gd name="connsiteY970" fmla="*/ 5986868 h 6479439"/>
                <a:gd name="connsiteX971" fmla="*/ 257263 w 9586368"/>
                <a:gd name="connsiteY971" fmla="*/ 5996739 h 6479439"/>
                <a:gd name="connsiteX972" fmla="*/ 253244 w 9586368"/>
                <a:gd name="connsiteY972" fmla="*/ 6000778 h 6479439"/>
                <a:gd name="connsiteX973" fmla="*/ 243334 w 9586368"/>
                <a:gd name="connsiteY973" fmla="*/ 6000778 h 6479439"/>
                <a:gd name="connsiteX974" fmla="*/ 239315 w 9586368"/>
                <a:gd name="connsiteY974" fmla="*/ 5996739 h 6479439"/>
                <a:gd name="connsiteX975" fmla="*/ 239315 w 9586368"/>
                <a:gd name="connsiteY975" fmla="*/ 5986868 h 6479439"/>
                <a:gd name="connsiteX976" fmla="*/ 4021 w 9586368"/>
                <a:gd name="connsiteY976" fmla="*/ 5982829 h 6479439"/>
                <a:gd name="connsiteX977" fmla="*/ 13931 w 9586368"/>
                <a:gd name="connsiteY977" fmla="*/ 5982829 h 6479439"/>
                <a:gd name="connsiteX978" fmla="*/ 17950 w 9586368"/>
                <a:gd name="connsiteY978" fmla="*/ 5986868 h 6479439"/>
                <a:gd name="connsiteX979" fmla="*/ 17950 w 9586368"/>
                <a:gd name="connsiteY979" fmla="*/ 5996739 h 6479439"/>
                <a:gd name="connsiteX980" fmla="*/ 13931 w 9586368"/>
                <a:gd name="connsiteY980" fmla="*/ 6000778 h 6479439"/>
                <a:gd name="connsiteX981" fmla="*/ 4021 w 9586368"/>
                <a:gd name="connsiteY981" fmla="*/ 6000778 h 6479439"/>
                <a:gd name="connsiteX982" fmla="*/ 1 w 9586368"/>
                <a:gd name="connsiteY982" fmla="*/ 5996739 h 6479439"/>
                <a:gd name="connsiteX983" fmla="*/ 1 w 9586368"/>
                <a:gd name="connsiteY983" fmla="*/ 5986868 h 6479439"/>
                <a:gd name="connsiteX984" fmla="*/ 2157818 w 9586368"/>
                <a:gd name="connsiteY984" fmla="*/ 5743551 h 6479439"/>
                <a:gd name="connsiteX985" fmla="*/ 2167728 w 9586368"/>
                <a:gd name="connsiteY985" fmla="*/ 5743551 h 6479439"/>
                <a:gd name="connsiteX986" fmla="*/ 2171747 w 9586368"/>
                <a:gd name="connsiteY986" fmla="*/ 5747589 h 6479439"/>
                <a:gd name="connsiteX987" fmla="*/ 2171747 w 9586368"/>
                <a:gd name="connsiteY987" fmla="*/ 5757460 h 6479439"/>
                <a:gd name="connsiteX988" fmla="*/ 2167728 w 9586368"/>
                <a:gd name="connsiteY988" fmla="*/ 5761499 h 6479439"/>
                <a:gd name="connsiteX989" fmla="*/ 2157818 w 9586368"/>
                <a:gd name="connsiteY989" fmla="*/ 5761499 h 6479439"/>
                <a:gd name="connsiteX990" fmla="*/ 2153799 w 9586368"/>
                <a:gd name="connsiteY990" fmla="*/ 5757460 h 6479439"/>
                <a:gd name="connsiteX991" fmla="*/ 2153799 w 9586368"/>
                <a:gd name="connsiteY991" fmla="*/ 5747589 h 6479439"/>
                <a:gd name="connsiteX992" fmla="*/ 1918510 w 9586368"/>
                <a:gd name="connsiteY992" fmla="*/ 5743551 h 6479439"/>
                <a:gd name="connsiteX993" fmla="*/ 1928420 w 9586368"/>
                <a:gd name="connsiteY993" fmla="*/ 5743551 h 6479439"/>
                <a:gd name="connsiteX994" fmla="*/ 1932438 w 9586368"/>
                <a:gd name="connsiteY994" fmla="*/ 5747589 h 6479439"/>
                <a:gd name="connsiteX995" fmla="*/ 1932438 w 9586368"/>
                <a:gd name="connsiteY995" fmla="*/ 5757460 h 6479439"/>
                <a:gd name="connsiteX996" fmla="*/ 1928420 w 9586368"/>
                <a:gd name="connsiteY996" fmla="*/ 5761499 h 6479439"/>
                <a:gd name="connsiteX997" fmla="*/ 1918510 w 9586368"/>
                <a:gd name="connsiteY997" fmla="*/ 5761499 h 6479439"/>
                <a:gd name="connsiteX998" fmla="*/ 1914490 w 9586368"/>
                <a:gd name="connsiteY998" fmla="*/ 5757460 h 6479439"/>
                <a:gd name="connsiteX999" fmla="*/ 1914490 w 9586368"/>
                <a:gd name="connsiteY999" fmla="*/ 5747589 h 6479439"/>
                <a:gd name="connsiteX1000" fmla="*/ 1679201 w 9586368"/>
                <a:gd name="connsiteY1000" fmla="*/ 5743551 h 6479439"/>
                <a:gd name="connsiteX1001" fmla="*/ 1689112 w 9586368"/>
                <a:gd name="connsiteY1001" fmla="*/ 5743551 h 6479439"/>
                <a:gd name="connsiteX1002" fmla="*/ 1693131 w 9586368"/>
                <a:gd name="connsiteY1002" fmla="*/ 5747589 h 6479439"/>
                <a:gd name="connsiteX1003" fmla="*/ 1693131 w 9586368"/>
                <a:gd name="connsiteY1003" fmla="*/ 5757460 h 6479439"/>
                <a:gd name="connsiteX1004" fmla="*/ 1689112 w 9586368"/>
                <a:gd name="connsiteY1004" fmla="*/ 5761499 h 6479439"/>
                <a:gd name="connsiteX1005" fmla="*/ 1679201 w 9586368"/>
                <a:gd name="connsiteY1005" fmla="*/ 5761499 h 6479439"/>
                <a:gd name="connsiteX1006" fmla="*/ 1675183 w 9586368"/>
                <a:gd name="connsiteY1006" fmla="*/ 5757460 h 6479439"/>
                <a:gd name="connsiteX1007" fmla="*/ 1675183 w 9586368"/>
                <a:gd name="connsiteY1007" fmla="*/ 5747589 h 6479439"/>
                <a:gd name="connsiteX1008" fmla="*/ 1439886 w 9586368"/>
                <a:gd name="connsiteY1008" fmla="*/ 5743551 h 6479439"/>
                <a:gd name="connsiteX1009" fmla="*/ 1449797 w 9586368"/>
                <a:gd name="connsiteY1009" fmla="*/ 5743551 h 6479439"/>
                <a:gd name="connsiteX1010" fmla="*/ 1453815 w 9586368"/>
                <a:gd name="connsiteY1010" fmla="*/ 5747589 h 6479439"/>
                <a:gd name="connsiteX1011" fmla="*/ 1453815 w 9586368"/>
                <a:gd name="connsiteY1011" fmla="*/ 5757460 h 6479439"/>
                <a:gd name="connsiteX1012" fmla="*/ 1449797 w 9586368"/>
                <a:gd name="connsiteY1012" fmla="*/ 5761499 h 6479439"/>
                <a:gd name="connsiteX1013" fmla="*/ 1439886 w 9586368"/>
                <a:gd name="connsiteY1013" fmla="*/ 5761499 h 6479439"/>
                <a:gd name="connsiteX1014" fmla="*/ 1435868 w 9586368"/>
                <a:gd name="connsiteY1014" fmla="*/ 5757460 h 6479439"/>
                <a:gd name="connsiteX1015" fmla="*/ 1435868 w 9586368"/>
                <a:gd name="connsiteY1015" fmla="*/ 5747589 h 6479439"/>
                <a:gd name="connsiteX1016" fmla="*/ 1200572 w 9586368"/>
                <a:gd name="connsiteY1016" fmla="*/ 5743551 h 6479439"/>
                <a:gd name="connsiteX1017" fmla="*/ 1210482 w 9586368"/>
                <a:gd name="connsiteY1017" fmla="*/ 5743551 h 6479439"/>
                <a:gd name="connsiteX1018" fmla="*/ 1214500 w 9586368"/>
                <a:gd name="connsiteY1018" fmla="*/ 5747589 h 6479439"/>
                <a:gd name="connsiteX1019" fmla="*/ 1214500 w 9586368"/>
                <a:gd name="connsiteY1019" fmla="*/ 5757460 h 6479439"/>
                <a:gd name="connsiteX1020" fmla="*/ 1210482 w 9586368"/>
                <a:gd name="connsiteY1020" fmla="*/ 5761499 h 6479439"/>
                <a:gd name="connsiteX1021" fmla="*/ 1200572 w 9586368"/>
                <a:gd name="connsiteY1021" fmla="*/ 5761499 h 6479439"/>
                <a:gd name="connsiteX1022" fmla="*/ 1196553 w 9586368"/>
                <a:gd name="connsiteY1022" fmla="*/ 5757460 h 6479439"/>
                <a:gd name="connsiteX1023" fmla="*/ 1196553 w 9586368"/>
                <a:gd name="connsiteY1023" fmla="*/ 5747589 h 6479439"/>
                <a:gd name="connsiteX1024" fmla="*/ 961259 w 9586368"/>
                <a:gd name="connsiteY1024" fmla="*/ 5743551 h 6479439"/>
                <a:gd name="connsiteX1025" fmla="*/ 971169 w 9586368"/>
                <a:gd name="connsiteY1025" fmla="*/ 5743551 h 6479439"/>
                <a:gd name="connsiteX1026" fmla="*/ 975188 w 9586368"/>
                <a:gd name="connsiteY1026" fmla="*/ 5747589 h 6479439"/>
                <a:gd name="connsiteX1027" fmla="*/ 975188 w 9586368"/>
                <a:gd name="connsiteY1027" fmla="*/ 5757460 h 6479439"/>
                <a:gd name="connsiteX1028" fmla="*/ 971169 w 9586368"/>
                <a:gd name="connsiteY1028" fmla="*/ 5761499 h 6479439"/>
                <a:gd name="connsiteX1029" fmla="*/ 961259 w 9586368"/>
                <a:gd name="connsiteY1029" fmla="*/ 5761499 h 6479439"/>
                <a:gd name="connsiteX1030" fmla="*/ 957240 w 9586368"/>
                <a:gd name="connsiteY1030" fmla="*/ 5757460 h 6479439"/>
                <a:gd name="connsiteX1031" fmla="*/ 957240 w 9586368"/>
                <a:gd name="connsiteY1031" fmla="*/ 5747589 h 6479439"/>
                <a:gd name="connsiteX1032" fmla="*/ 9572438 w 9586368"/>
                <a:gd name="connsiteY1032" fmla="*/ 5743499 h 6479439"/>
                <a:gd name="connsiteX1033" fmla="*/ 9582349 w 9586368"/>
                <a:gd name="connsiteY1033" fmla="*/ 5743499 h 6479439"/>
                <a:gd name="connsiteX1034" fmla="*/ 9586368 w 9586368"/>
                <a:gd name="connsiteY1034" fmla="*/ 5747537 h 6479439"/>
                <a:gd name="connsiteX1035" fmla="*/ 9586368 w 9586368"/>
                <a:gd name="connsiteY1035" fmla="*/ 5757408 h 6479439"/>
                <a:gd name="connsiteX1036" fmla="*/ 9582349 w 9586368"/>
                <a:gd name="connsiteY1036" fmla="*/ 5761447 h 6479439"/>
                <a:gd name="connsiteX1037" fmla="*/ 9572438 w 9586368"/>
                <a:gd name="connsiteY1037" fmla="*/ 5761447 h 6479439"/>
                <a:gd name="connsiteX1038" fmla="*/ 9568419 w 9586368"/>
                <a:gd name="connsiteY1038" fmla="*/ 5757408 h 6479439"/>
                <a:gd name="connsiteX1039" fmla="*/ 9568419 w 9586368"/>
                <a:gd name="connsiteY1039" fmla="*/ 5747537 h 6479439"/>
                <a:gd name="connsiteX1040" fmla="*/ 9333125 w 9586368"/>
                <a:gd name="connsiteY1040" fmla="*/ 5743499 h 6479439"/>
                <a:gd name="connsiteX1041" fmla="*/ 9343036 w 9586368"/>
                <a:gd name="connsiteY1041" fmla="*/ 5743499 h 6479439"/>
                <a:gd name="connsiteX1042" fmla="*/ 9347055 w 9586368"/>
                <a:gd name="connsiteY1042" fmla="*/ 5747537 h 6479439"/>
                <a:gd name="connsiteX1043" fmla="*/ 9347055 w 9586368"/>
                <a:gd name="connsiteY1043" fmla="*/ 5757408 h 6479439"/>
                <a:gd name="connsiteX1044" fmla="*/ 9343036 w 9586368"/>
                <a:gd name="connsiteY1044" fmla="*/ 5761447 h 6479439"/>
                <a:gd name="connsiteX1045" fmla="*/ 9333125 w 9586368"/>
                <a:gd name="connsiteY1045" fmla="*/ 5761447 h 6479439"/>
                <a:gd name="connsiteX1046" fmla="*/ 9329106 w 9586368"/>
                <a:gd name="connsiteY1046" fmla="*/ 5757408 h 6479439"/>
                <a:gd name="connsiteX1047" fmla="*/ 9329106 w 9586368"/>
                <a:gd name="connsiteY1047" fmla="*/ 5747537 h 6479439"/>
                <a:gd name="connsiteX1048" fmla="*/ 9093811 w 9586368"/>
                <a:gd name="connsiteY1048" fmla="*/ 5743499 h 6479439"/>
                <a:gd name="connsiteX1049" fmla="*/ 9103722 w 9586368"/>
                <a:gd name="connsiteY1049" fmla="*/ 5743499 h 6479439"/>
                <a:gd name="connsiteX1050" fmla="*/ 9107741 w 9586368"/>
                <a:gd name="connsiteY1050" fmla="*/ 5747537 h 6479439"/>
                <a:gd name="connsiteX1051" fmla="*/ 9107741 w 9586368"/>
                <a:gd name="connsiteY1051" fmla="*/ 5757408 h 6479439"/>
                <a:gd name="connsiteX1052" fmla="*/ 9103722 w 9586368"/>
                <a:gd name="connsiteY1052" fmla="*/ 5761447 h 6479439"/>
                <a:gd name="connsiteX1053" fmla="*/ 9093811 w 9586368"/>
                <a:gd name="connsiteY1053" fmla="*/ 5761447 h 6479439"/>
                <a:gd name="connsiteX1054" fmla="*/ 9089792 w 9586368"/>
                <a:gd name="connsiteY1054" fmla="*/ 5757408 h 6479439"/>
                <a:gd name="connsiteX1055" fmla="*/ 9089792 w 9586368"/>
                <a:gd name="connsiteY1055" fmla="*/ 5747537 h 6479439"/>
                <a:gd name="connsiteX1056" fmla="*/ 8854496 w 9586368"/>
                <a:gd name="connsiteY1056" fmla="*/ 5743499 h 6479439"/>
                <a:gd name="connsiteX1057" fmla="*/ 8864407 w 9586368"/>
                <a:gd name="connsiteY1057" fmla="*/ 5743499 h 6479439"/>
                <a:gd name="connsiteX1058" fmla="*/ 8868426 w 9586368"/>
                <a:gd name="connsiteY1058" fmla="*/ 5747537 h 6479439"/>
                <a:gd name="connsiteX1059" fmla="*/ 8868426 w 9586368"/>
                <a:gd name="connsiteY1059" fmla="*/ 5757408 h 6479439"/>
                <a:gd name="connsiteX1060" fmla="*/ 8864407 w 9586368"/>
                <a:gd name="connsiteY1060" fmla="*/ 5761447 h 6479439"/>
                <a:gd name="connsiteX1061" fmla="*/ 8854496 w 9586368"/>
                <a:gd name="connsiteY1061" fmla="*/ 5761447 h 6479439"/>
                <a:gd name="connsiteX1062" fmla="*/ 8850477 w 9586368"/>
                <a:gd name="connsiteY1062" fmla="*/ 5757408 h 6479439"/>
                <a:gd name="connsiteX1063" fmla="*/ 8850477 w 9586368"/>
                <a:gd name="connsiteY1063" fmla="*/ 5747537 h 6479439"/>
                <a:gd name="connsiteX1064" fmla="*/ 8615184 w 9586368"/>
                <a:gd name="connsiteY1064" fmla="*/ 5743499 h 6479439"/>
                <a:gd name="connsiteX1065" fmla="*/ 8625095 w 9586368"/>
                <a:gd name="connsiteY1065" fmla="*/ 5743499 h 6479439"/>
                <a:gd name="connsiteX1066" fmla="*/ 8629114 w 9586368"/>
                <a:gd name="connsiteY1066" fmla="*/ 5747537 h 6479439"/>
                <a:gd name="connsiteX1067" fmla="*/ 8629114 w 9586368"/>
                <a:gd name="connsiteY1067" fmla="*/ 5757408 h 6479439"/>
                <a:gd name="connsiteX1068" fmla="*/ 8625095 w 9586368"/>
                <a:gd name="connsiteY1068" fmla="*/ 5761447 h 6479439"/>
                <a:gd name="connsiteX1069" fmla="*/ 8615184 w 9586368"/>
                <a:gd name="connsiteY1069" fmla="*/ 5761447 h 6479439"/>
                <a:gd name="connsiteX1070" fmla="*/ 8611165 w 9586368"/>
                <a:gd name="connsiteY1070" fmla="*/ 5757408 h 6479439"/>
                <a:gd name="connsiteX1071" fmla="*/ 8611165 w 9586368"/>
                <a:gd name="connsiteY1071" fmla="*/ 5747537 h 6479439"/>
                <a:gd name="connsiteX1072" fmla="*/ 8375869 w 9586368"/>
                <a:gd name="connsiteY1072" fmla="*/ 5743499 h 6479439"/>
                <a:gd name="connsiteX1073" fmla="*/ 8385779 w 9586368"/>
                <a:gd name="connsiteY1073" fmla="*/ 5743499 h 6479439"/>
                <a:gd name="connsiteX1074" fmla="*/ 8389799 w 9586368"/>
                <a:gd name="connsiteY1074" fmla="*/ 5747537 h 6479439"/>
                <a:gd name="connsiteX1075" fmla="*/ 8389799 w 9586368"/>
                <a:gd name="connsiteY1075" fmla="*/ 5757408 h 6479439"/>
                <a:gd name="connsiteX1076" fmla="*/ 8385779 w 9586368"/>
                <a:gd name="connsiteY1076" fmla="*/ 5761447 h 6479439"/>
                <a:gd name="connsiteX1077" fmla="*/ 8375869 w 9586368"/>
                <a:gd name="connsiteY1077" fmla="*/ 5761447 h 6479439"/>
                <a:gd name="connsiteX1078" fmla="*/ 8371850 w 9586368"/>
                <a:gd name="connsiteY1078" fmla="*/ 5757408 h 6479439"/>
                <a:gd name="connsiteX1079" fmla="*/ 8371850 w 9586368"/>
                <a:gd name="connsiteY1079" fmla="*/ 5747537 h 6479439"/>
                <a:gd name="connsiteX1080" fmla="*/ 8136553 w 9586368"/>
                <a:gd name="connsiteY1080" fmla="*/ 5743499 h 6479439"/>
                <a:gd name="connsiteX1081" fmla="*/ 8146464 w 9586368"/>
                <a:gd name="connsiteY1081" fmla="*/ 5743499 h 6479439"/>
                <a:gd name="connsiteX1082" fmla="*/ 8150483 w 9586368"/>
                <a:gd name="connsiteY1082" fmla="*/ 5747537 h 6479439"/>
                <a:gd name="connsiteX1083" fmla="*/ 8150483 w 9586368"/>
                <a:gd name="connsiteY1083" fmla="*/ 5757408 h 6479439"/>
                <a:gd name="connsiteX1084" fmla="*/ 8146464 w 9586368"/>
                <a:gd name="connsiteY1084" fmla="*/ 5761447 h 6479439"/>
                <a:gd name="connsiteX1085" fmla="*/ 8136553 w 9586368"/>
                <a:gd name="connsiteY1085" fmla="*/ 5761447 h 6479439"/>
                <a:gd name="connsiteX1086" fmla="*/ 8132534 w 9586368"/>
                <a:gd name="connsiteY1086" fmla="*/ 5757408 h 6479439"/>
                <a:gd name="connsiteX1087" fmla="*/ 8132534 w 9586368"/>
                <a:gd name="connsiteY1087" fmla="*/ 5747537 h 6479439"/>
                <a:gd name="connsiteX1088" fmla="*/ 7897241 w 9586368"/>
                <a:gd name="connsiteY1088" fmla="*/ 5743499 h 6479439"/>
                <a:gd name="connsiteX1089" fmla="*/ 7907151 w 9586368"/>
                <a:gd name="connsiteY1089" fmla="*/ 5743499 h 6479439"/>
                <a:gd name="connsiteX1090" fmla="*/ 7911170 w 9586368"/>
                <a:gd name="connsiteY1090" fmla="*/ 5747537 h 6479439"/>
                <a:gd name="connsiteX1091" fmla="*/ 7911170 w 9586368"/>
                <a:gd name="connsiteY1091" fmla="*/ 5757408 h 6479439"/>
                <a:gd name="connsiteX1092" fmla="*/ 7907151 w 9586368"/>
                <a:gd name="connsiteY1092" fmla="*/ 5761447 h 6479439"/>
                <a:gd name="connsiteX1093" fmla="*/ 7897241 w 9586368"/>
                <a:gd name="connsiteY1093" fmla="*/ 5761447 h 6479439"/>
                <a:gd name="connsiteX1094" fmla="*/ 7893222 w 9586368"/>
                <a:gd name="connsiteY1094" fmla="*/ 5757408 h 6479439"/>
                <a:gd name="connsiteX1095" fmla="*/ 7893222 w 9586368"/>
                <a:gd name="connsiteY1095" fmla="*/ 5747537 h 6479439"/>
                <a:gd name="connsiteX1096" fmla="*/ 7657926 w 9586368"/>
                <a:gd name="connsiteY1096" fmla="*/ 5743499 h 6479439"/>
                <a:gd name="connsiteX1097" fmla="*/ 7667836 w 9586368"/>
                <a:gd name="connsiteY1097" fmla="*/ 5743499 h 6479439"/>
                <a:gd name="connsiteX1098" fmla="*/ 7671855 w 9586368"/>
                <a:gd name="connsiteY1098" fmla="*/ 5747537 h 6479439"/>
                <a:gd name="connsiteX1099" fmla="*/ 7671855 w 9586368"/>
                <a:gd name="connsiteY1099" fmla="*/ 5757408 h 6479439"/>
                <a:gd name="connsiteX1100" fmla="*/ 7667836 w 9586368"/>
                <a:gd name="connsiteY1100" fmla="*/ 5761447 h 6479439"/>
                <a:gd name="connsiteX1101" fmla="*/ 7657926 w 9586368"/>
                <a:gd name="connsiteY1101" fmla="*/ 5761447 h 6479439"/>
                <a:gd name="connsiteX1102" fmla="*/ 7653906 w 9586368"/>
                <a:gd name="connsiteY1102" fmla="*/ 5757408 h 6479439"/>
                <a:gd name="connsiteX1103" fmla="*/ 7653906 w 9586368"/>
                <a:gd name="connsiteY1103" fmla="*/ 5747537 h 6479439"/>
                <a:gd name="connsiteX1104" fmla="*/ 7418611 w 9586368"/>
                <a:gd name="connsiteY1104" fmla="*/ 5743499 h 6479439"/>
                <a:gd name="connsiteX1105" fmla="*/ 7428521 w 9586368"/>
                <a:gd name="connsiteY1105" fmla="*/ 5743499 h 6479439"/>
                <a:gd name="connsiteX1106" fmla="*/ 7432540 w 9586368"/>
                <a:gd name="connsiteY1106" fmla="*/ 5747537 h 6479439"/>
                <a:gd name="connsiteX1107" fmla="*/ 7432540 w 9586368"/>
                <a:gd name="connsiteY1107" fmla="*/ 5757408 h 6479439"/>
                <a:gd name="connsiteX1108" fmla="*/ 7428521 w 9586368"/>
                <a:gd name="connsiteY1108" fmla="*/ 5761447 h 6479439"/>
                <a:gd name="connsiteX1109" fmla="*/ 7418611 w 9586368"/>
                <a:gd name="connsiteY1109" fmla="*/ 5761447 h 6479439"/>
                <a:gd name="connsiteX1110" fmla="*/ 7414592 w 9586368"/>
                <a:gd name="connsiteY1110" fmla="*/ 5757408 h 6479439"/>
                <a:gd name="connsiteX1111" fmla="*/ 7414592 w 9586368"/>
                <a:gd name="connsiteY1111" fmla="*/ 5747537 h 6479439"/>
                <a:gd name="connsiteX1112" fmla="*/ 7179298 w 9586368"/>
                <a:gd name="connsiteY1112" fmla="*/ 5743499 h 6479439"/>
                <a:gd name="connsiteX1113" fmla="*/ 7189209 w 9586368"/>
                <a:gd name="connsiteY1113" fmla="*/ 5743499 h 6479439"/>
                <a:gd name="connsiteX1114" fmla="*/ 7193228 w 9586368"/>
                <a:gd name="connsiteY1114" fmla="*/ 5747537 h 6479439"/>
                <a:gd name="connsiteX1115" fmla="*/ 7193228 w 9586368"/>
                <a:gd name="connsiteY1115" fmla="*/ 5757408 h 6479439"/>
                <a:gd name="connsiteX1116" fmla="*/ 7189209 w 9586368"/>
                <a:gd name="connsiteY1116" fmla="*/ 5761447 h 6479439"/>
                <a:gd name="connsiteX1117" fmla="*/ 7179298 w 9586368"/>
                <a:gd name="connsiteY1117" fmla="*/ 5761447 h 6479439"/>
                <a:gd name="connsiteX1118" fmla="*/ 7175279 w 9586368"/>
                <a:gd name="connsiteY1118" fmla="*/ 5757408 h 6479439"/>
                <a:gd name="connsiteX1119" fmla="*/ 7175279 w 9586368"/>
                <a:gd name="connsiteY1119" fmla="*/ 5747537 h 6479439"/>
                <a:gd name="connsiteX1120" fmla="*/ 6939983 w 9586368"/>
                <a:gd name="connsiteY1120" fmla="*/ 5743499 h 6479439"/>
                <a:gd name="connsiteX1121" fmla="*/ 6949894 w 9586368"/>
                <a:gd name="connsiteY1121" fmla="*/ 5743499 h 6479439"/>
                <a:gd name="connsiteX1122" fmla="*/ 6953913 w 9586368"/>
                <a:gd name="connsiteY1122" fmla="*/ 5747537 h 6479439"/>
                <a:gd name="connsiteX1123" fmla="*/ 6953913 w 9586368"/>
                <a:gd name="connsiteY1123" fmla="*/ 5757408 h 6479439"/>
                <a:gd name="connsiteX1124" fmla="*/ 6949894 w 9586368"/>
                <a:gd name="connsiteY1124" fmla="*/ 5761447 h 6479439"/>
                <a:gd name="connsiteX1125" fmla="*/ 6939983 w 9586368"/>
                <a:gd name="connsiteY1125" fmla="*/ 5761447 h 6479439"/>
                <a:gd name="connsiteX1126" fmla="*/ 6935964 w 9586368"/>
                <a:gd name="connsiteY1126" fmla="*/ 5757408 h 6479439"/>
                <a:gd name="connsiteX1127" fmla="*/ 6935964 w 9586368"/>
                <a:gd name="connsiteY1127" fmla="*/ 5747537 h 6479439"/>
                <a:gd name="connsiteX1128" fmla="*/ 6700670 w 9586368"/>
                <a:gd name="connsiteY1128" fmla="*/ 5743499 h 6479439"/>
                <a:gd name="connsiteX1129" fmla="*/ 6710581 w 9586368"/>
                <a:gd name="connsiteY1129" fmla="*/ 5743499 h 6479439"/>
                <a:gd name="connsiteX1130" fmla="*/ 6714600 w 9586368"/>
                <a:gd name="connsiteY1130" fmla="*/ 5747537 h 6479439"/>
                <a:gd name="connsiteX1131" fmla="*/ 6714600 w 9586368"/>
                <a:gd name="connsiteY1131" fmla="*/ 5757408 h 6479439"/>
                <a:gd name="connsiteX1132" fmla="*/ 6710581 w 9586368"/>
                <a:gd name="connsiteY1132" fmla="*/ 5761447 h 6479439"/>
                <a:gd name="connsiteX1133" fmla="*/ 6700670 w 9586368"/>
                <a:gd name="connsiteY1133" fmla="*/ 5761447 h 6479439"/>
                <a:gd name="connsiteX1134" fmla="*/ 6696651 w 9586368"/>
                <a:gd name="connsiteY1134" fmla="*/ 5757408 h 6479439"/>
                <a:gd name="connsiteX1135" fmla="*/ 6696651 w 9586368"/>
                <a:gd name="connsiteY1135" fmla="*/ 5747537 h 6479439"/>
                <a:gd name="connsiteX1136" fmla="*/ 6461356 w 9586368"/>
                <a:gd name="connsiteY1136" fmla="*/ 5743499 h 6479439"/>
                <a:gd name="connsiteX1137" fmla="*/ 6471266 w 9586368"/>
                <a:gd name="connsiteY1137" fmla="*/ 5743499 h 6479439"/>
                <a:gd name="connsiteX1138" fmla="*/ 6475285 w 9586368"/>
                <a:gd name="connsiteY1138" fmla="*/ 5747537 h 6479439"/>
                <a:gd name="connsiteX1139" fmla="*/ 6475285 w 9586368"/>
                <a:gd name="connsiteY1139" fmla="*/ 5757408 h 6479439"/>
                <a:gd name="connsiteX1140" fmla="*/ 6471266 w 9586368"/>
                <a:gd name="connsiteY1140" fmla="*/ 5761447 h 6479439"/>
                <a:gd name="connsiteX1141" fmla="*/ 6461356 w 9586368"/>
                <a:gd name="connsiteY1141" fmla="*/ 5761447 h 6479439"/>
                <a:gd name="connsiteX1142" fmla="*/ 6457337 w 9586368"/>
                <a:gd name="connsiteY1142" fmla="*/ 5757408 h 6479439"/>
                <a:gd name="connsiteX1143" fmla="*/ 6457337 w 9586368"/>
                <a:gd name="connsiteY1143" fmla="*/ 5747537 h 6479439"/>
                <a:gd name="connsiteX1144" fmla="*/ 6222042 w 9586368"/>
                <a:gd name="connsiteY1144" fmla="*/ 5743499 h 6479439"/>
                <a:gd name="connsiteX1145" fmla="*/ 6231952 w 9586368"/>
                <a:gd name="connsiteY1145" fmla="*/ 5743499 h 6479439"/>
                <a:gd name="connsiteX1146" fmla="*/ 6235971 w 9586368"/>
                <a:gd name="connsiteY1146" fmla="*/ 5747537 h 6479439"/>
                <a:gd name="connsiteX1147" fmla="*/ 6235971 w 9586368"/>
                <a:gd name="connsiteY1147" fmla="*/ 5757408 h 6479439"/>
                <a:gd name="connsiteX1148" fmla="*/ 6231952 w 9586368"/>
                <a:gd name="connsiteY1148" fmla="*/ 5761447 h 6479439"/>
                <a:gd name="connsiteX1149" fmla="*/ 6222042 w 9586368"/>
                <a:gd name="connsiteY1149" fmla="*/ 5761447 h 6479439"/>
                <a:gd name="connsiteX1150" fmla="*/ 6218023 w 9586368"/>
                <a:gd name="connsiteY1150" fmla="*/ 5757408 h 6479439"/>
                <a:gd name="connsiteX1151" fmla="*/ 6218023 w 9586368"/>
                <a:gd name="connsiteY1151" fmla="*/ 5747537 h 6479439"/>
                <a:gd name="connsiteX1152" fmla="*/ 5982729 w 9586368"/>
                <a:gd name="connsiteY1152" fmla="*/ 5743499 h 6479439"/>
                <a:gd name="connsiteX1153" fmla="*/ 5992639 w 9586368"/>
                <a:gd name="connsiteY1153" fmla="*/ 5743499 h 6479439"/>
                <a:gd name="connsiteX1154" fmla="*/ 5996658 w 9586368"/>
                <a:gd name="connsiteY1154" fmla="*/ 5747537 h 6479439"/>
                <a:gd name="connsiteX1155" fmla="*/ 5996658 w 9586368"/>
                <a:gd name="connsiteY1155" fmla="*/ 5757408 h 6479439"/>
                <a:gd name="connsiteX1156" fmla="*/ 5992639 w 9586368"/>
                <a:gd name="connsiteY1156" fmla="*/ 5761447 h 6479439"/>
                <a:gd name="connsiteX1157" fmla="*/ 5982729 w 9586368"/>
                <a:gd name="connsiteY1157" fmla="*/ 5761447 h 6479439"/>
                <a:gd name="connsiteX1158" fmla="*/ 5978710 w 9586368"/>
                <a:gd name="connsiteY1158" fmla="*/ 5757408 h 6479439"/>
                <a:gd name="connsiteX1159" fmla="*/ 5978710 w 9586368"/>
                <a:gd name="connsiteY1159" fmla="*/ 5747537 h 6479439"/>
                <a:gd name="connsiteX1160" fmla="*/ 5743412 w 9586368"/>
                <a:gd name="connsiteY1160" fmla="*/ 5743499 h 6479439"/>
                <a:gd name="connsiteX1161" fmla="*/ 5753323 w 9586368"/>
                <a:gd name="connsiteY1161" fmla="*/ 5743499 h 6479439"/>
                <a:gd name="connsiteX1162" fmla="*/ 5757342 w 9586368"/>
                <a:gd name="connsiteY1162" fmla="*/ 5747537 h 6479439"/>
                <a:gd name="connsiteX1163" fmla="*/ 5757342 w 9586368"/>
                <a:gd name="connsiteY1163" fmla="*/ 5757408 h 6479439"/>
                <a:gd name="connsiteX1164" fmla="*/ 5753323 w 9586368"/>
                <a:gd name="connsiteY1164" fmla="*/ 5761447 h 6479439"/>
                <a:gd name="connsiteX1165" fmla="*/ 5743412 w 9586368"/>
                <a:gd name="connsiteY1165" fmla="*/ 5761447 h 6479439"/>
                <a:gd name="connsiteX1166" fmla="*/ 5739393 w 9586368"/>
                <a:gd name="connsiteY1166" fmla="*/ 5757408 h 6479439"/>
                <a:gd name="connsiteX1167" fmla="*/ 5739393 w 9586368"/>
                <a:gd name="connsiteY1167" fmla="*/ 5747537 h 6479439"/>
                <a:gd name="connsiteX1168" fmla="*/ 5504099 w 9586368"/>
                <a:gd name="connsiteY1168" fmla="*/ 5743499 h 6479439"/>
                <a:gd name="connsiteX1169" fmla="*/ 5514010 w 9586368"/>
                <a:gd name="connsiteY1169" fmla="*/ 5743499 h 6479439"/>
                <a:gd name="connsiteX1170" fmla="*/ 5518029 w 9586368"/>
                <a:gd name="connsiteY1170" fmla="*/ 5747537 h 6479439"/>
                <a:gd name="connsiteX1171" fmla="*/ 5518029 w 9586368"/>
                <a:gd name="connsiteY1171" fmla="*/ 5757408 h 6479439"/>
                <a:gd name="connsiteX1172" fmla="*/ 5514010 w 9586368"/>
                <a:gd name="connsiteY1172" fmla="*/ 5761447 h 6479439"/>
                <a:gd name="connsiteX1173" fmla="*/ 5504099 w 9586368"/>
                <a:gd name="connsiteY1173" fmla="*/ 5761447 h 6479439"/>
                <a:gd name="connsiteX1174" fmla="*/ 5500080 w 9586368"/>
                <a:gd name="connsiteY1174" fmla="*/ 5757408 h 6479439"/>
                <a:gd name="connsiteX1175" fmla="*/ 5500080 w 9586368"/>
                <a:gd name="connsiteY1175" fmla="*/ 5747537 h 6479439"/>
                <a:gd name="connsiteX1176" fmla="*/ 5264784 w 9586368"/>
                <a:gd name="connsiteY1176" fmla="*/ 5743499 h 6479439"/>
                <a:gd name="connsiteX1177" fmla="*/ 5274694 w 9586368"/>
                <a:gd name="connsiteY1177" fmla="*/ 5743499 h 6479439"/>
                <a:gd name="connsiteX1178" fmla="*/ 5278713 w 9586368"/>
                <a:gd name="connsiteY1178" fmla="*/ 5747537 h 6479439"/>
                <a:gd name="connsiteX1179" fmla="*/ 5278713 w 9586368"/>
                <a:gd name="connsiteY1179" fmla="*/ 5757408 h 6479439"/>
                <a:gd name="connsiteX1180" fmla="*/ 5274694 w 9586368"/>
                <a:gd name="connsiteY1180" fmla="*/ 5761447 h 6479439"/>
                <a:gd name="connsiteX1181" fmla="*/ 5264784 w 9586368"/>
                <a:gd name="connsiteY1181" fmla="*/ 5761447 h 6479439"/>
                <a:gd name="connsiteX1182" fmla="*/ 5260765 w 9586368"/>
                <a:gd name="connsiteY1182" fmla="*/ 5757408 h 6479439"/>
                <a:gd name="connsiteX1183" fmla="*/ 5260765 w 9586368"/>
                <a:gd name="connsiteY1183" fmla="*/ 5747537 h 6479439"/>
                <a:gd name="connsiteX1184" fmla="*/ 5025470 w 9586368"/>
                <a:gd name="connsiteY1184" fmla="*/ 5743499 h 6479439"/>
                <a:gd name="connsiteX1185" fmla="*/ 5035381 w 9586368"/>
                <a:gd name="connsiteY1185" fmla="*/ 5743499 h 6479439"/>
                <a:gd name="connsiteX1186" fmla="*/ 5039400 w 9586368"/>
                <a:gd name="connsiteY1186" fmla="*/ 5747537 h 6479439"/>
                <a:gd name="connsiteX1187" fmla="*/ 5039400 w 9586368"/>
                <a:gd name="connsiteY1187" fmla="*/ 5757408 h 6479439"/>
                <a:gd name="connsiteX1188" fmla="*/ 5035381 w 9586368"/>
                <a:gd name="connsiteY1188" fmla="*/ 5761447 h 6479439"/>
                <a:gd name="connsiteX1189" fmla="*/ 5025470 w 9586368"/>
                <a:gd name="connsiteY1189" fmla="*/ 5761447 h 6479439"/>
                <a:gd name="connsiteX1190" fmla="*/ 5021451 w 9586368"/>
                <a:gd name="connsiteY1190" fmla="*/ 5757408 h 6479439"/>
                <a:gd name="connsiteX1191" fmla="*/ 5021451 w 9586368"/>
                <a:gd name="connsiteY1191" fmla="*/ 5747537 h 6479439"/>
                <a:gd name="connsiteX1192" fmla="*/ 4786241 w 9586368"/>
                <a:gd name="connsiteY1192" fmla="*/ 5743499 h 6479439"/>
                <a:gd name="connsiteX1193" fmla="*/ 4796152 w 9586368"/>
                <a:gd name="connsiteY1193" fmla="*/ 5743499 h 6479439"/>
                <a:gd name="connsiteX1194" fmla="*/ 4800171 w 9586368"/>
                <a:gd name="connsiteY1194" fmla="*/ 5747537 h 6479439"/>
                <a:gd name="connsiteX1195" fmla="*/ 4800171 w 9586368"/>
                <a:gd name="connsiteY1195" fmla="*/ 5757408 h 6479439"/>
                <a:gd name="connsiteX1196" fmla="*/ 4796152 w 9586368"/>
                <a:gd name="connsiteY1196" fmla="*/ 5761447 h 6479439"/>
                <a:gd name="connsiteX1197" fmla="*/ 4786241 w 9586368"/>
                <a:gd name="connsiteY1197" fmla="*/ 5761447 h 6479439"/>
                <a:gd name="connsiteX1198" fmla="*/ 4782224 w 9586368"/>
                <a:gd name="connsiteY1198" fmla="*/ 5757408 h 6479439"/>
                <a:gd name="connsiteX1199" fmla="*/ 4782224 w 9586368"/>
                <a:gd name="connsiteY1199" fmla="*/ 5747537 h 6479439"/>
                <a:gd name="connsiteX1200" fmla="*/ 4546929 w 9586368"/>
                <a:gd name="connsiteY1200" fmla="*/ 5743499 h 6479439"/>
                <a:gd name="connsiteX1201" fmla="*/ 4556840 w 9586368"/>
                <a:gd name="connsiteY1201" fmla="*/ 5743499 h 6479439"/>
                <a:gd name="connsiteX1202" fmla="*/ 4560859 w 9586368"/>
                <a:gd name="connsiteY1202" fmla="*/ 5747537 h 6479439"/>
                <a:gd name="connsiteX1203" fmla="*/ 4560859 w 9586368"/>
                <a:gd name="connsiteY1203" fmla="*/ 5757408 h 6479439"/>
                <a:gd name="connsiteX1204" fmla="*/ 4556840 w 9586368"/>
                <a:gd name="connsiteY1204" fmla="*/ 5761447 h 6479439"/>
                <a:gd name="connsiteX1205" fmla="*/ 4546929 w 9586368"/>
                <a:gd name="connsiteY1205" fmla="*/ 5761447 h 6479439"/>
                <a:gd name="connsiteX1206" fmla="*/ 4542910 w 9586368"/>
                <a:gd name="connsiteY1206" fmla="*/ 5757408 h 6479439"/>
                <a:gd name="connsiteX1207" fmla="*/ 4542910 w 9586368"/>
                <a:gd name="connsiteY1207" fmla="*/ 5747537 h 6479439"/>
                <a:gd name="connsiteX1208" fmla="*/ 4307612 w 9586368"/>
                <a:gd name="connsiteY1208" fmla="*/ 5743499 h 6479439"/>
                <a:gd name="connsiteX1209" fmla="*/ 4317523 w 9586368"/>
                <a:gd name="connsiteY1209" fmla="*/ 5743499 h 6479439"/>
                <a:gd name="connsiteX1210" fmla="*/ 4321543 w 9586368"/>
                <a:gd name="connsiteY1210" fmla="*/ 5747537 h 6479439"/>
                <a:gd name="connsiteX1211" fmla="*/ 4321543 w 9586368"/>
                <a:gd name="connsiteY1211" fmla="*/ 5757408 h 6479439"/>
                <a:gd name="connsiteX1212" fmla="*/ 4317523 w 9586368"/>
                <a:gd name="connsiteY1212" fmla="*/ 5761447 h 6479439"/>
                <a:gd name="connsiteX1213" fmla="*/ 4307612 w 9586368"/>
                <a:gd name="connsiteY1213" fmla="*/ 5761447 h 6479439"/>
                <a:gd name="connsiteX1214" fmla="*/ 4303595 w 9586368"/>
                <a:gd name="connsiteY1214" fmla="*/ 5757408 h 6479439"/>
                <a:gd name="connsiteX1215" fmla="*/ 4303595 w 9586368"/>
                <a:gd name="connsiteY1215" fmla="*/ 5747537 h 6479439"/>
                <a:gd name="connsiteX1216" fmla="*/ 4068297 w 9586368"/>
                <a:gd name="connsiteY1216" fmla="*/ 5743499 h 6479439"/>
                <a:gd name="connsiteX1217" fmla="*/ 4078210 w 9586368"/>
                <a:gd name="connsiteY1217" fmla="*/ 5743499 h 6479439"/>
                <a:gd name="connsiteX1218" fmla="*/ 4082229 w 9586368"/>
                <a:gd name="connsiteY1218" fmla="*/ 5747537 h 6479439"/>
                <a:gd name="connsiteX1219" fmla="*/ 4082229 w 9586368"/>
                <a:gd name="connsiteY1219" fmla="*/ 5757408 h 6479439"/>
                <a:gd name="connsiteX1220" fmla="*/ 4078210 w 9586368"/>
                <a:gd name="connsiteY1220" fmla="*/ 5761447 h 6479439"/>
                <a:gd name="connsiteX1221" fmla="*/ 4068297 w 9586368"/>
                <a:gd name="connsiteY1221" fmla="*/ 5761447 h 6479439"/>
                <a:gd name="connsiteX1222" fmla="*/ 4064278 w 9586368"/>
                <a:gd name="connsiteY1222" fmla="*/ 5757408 h 6479439"/>
                <a:gd name="connsiteX1223" fmla="*/ 4064278 w 9586368"/>
                <a:gd name="connsiteY1223" fmla="*/ 5747537 h 6479439"/>
                <a:gd name="connsiteX1224" fmla="*/ 3828990 w 9586368"/>
                <a:gd name="connsiteY1224" fmla="*/ 5743499 h 6479439"/>
                <a:gd name="connsiteX1225" fmla="*/ 3838899 w 9586368"/>
                <a:gd name="connsiteY1225" fmla="*/ 5743499 h 6479439"/>
                <a:gd name="connsiteX1226" fmla="*/ 3842917 w 9586368"/>
                <a:gd name="connsiteY1226" fmla="*/ 5747537 h 6479439"/>
                <a:gd name="connsiteX1227" fmla="*/ 3842917 w 9586368"/>
                <a:gd name="connsiteY1227" fmla="*/ 5757408 h 6479439"/>
                <a:gd name="connsiteX1228" fmla="*/ 3838899 w 9586368"/>
                <a:gd name="connsiteY1228" fmla="*/ 5761447 h 6479439"/>
                <a:gd name="connsiteX1229" fmla="*/ 3828990 w 9586368"/>
                <a:gd name="connsiteY1229" fmla="*/ 5761447 h 6479439"/>
                <a:gd name="connsiteX1230" fmla="*/ 3824971 w 9586368"/>
                <a:gd name="connsiteY1230" fmla="*/ 5757408 h 6479439"/>
                <a:gd name="connsiteX1231" fmla="*/ 3824971 w 9586368"/>
                <a:gd name="connsiteY1231" fmla="*/ 5747537 h 6479439"/>
                <a:gd name="connsiteX1232" fmla="*/ 3589676 w 9586368"/>
                <a:gd name="connsiteY1232" fmla="*/ 5743499 h 6479439"/>
                <a:gd name="connsiteX1233" fmla="*/ 3599585 w 9586368"/>
                <a:gd name="connsiteY1233" fmla="*/ 5743499 h 6479439"/>
                <a:gd name="connsiteX1234" fmla="*/ 3603604 w 9586368"/>
                <a:gd name="connsiteY1234" fmla="*/ 5747537 h 6479439"/>
                <a:gd name="connsiteX1235" fmla="*/ 3603604 w 9586368"/>
                <a:gd name="connsiteY1235" fmla="*/ 5757408 h 6479439"/>
                <a:gd name="connsiteX1236" fmla="*/ 3599585 w 9586368"/>
                <a:gd name="connsiteY1236" fmla="*/ 5761447 h 6479439"/>
                <a:gd name="connsiteX1237" fmla="*/ 3589676 w 9586368"/>
                <a:gd name="connsiteY1237" fmla="*/ 5761447 h 6479439"/>
                <a:gd name="connsiteX1238" fmla="*/ 3585657 w 9586368"/>
                <a:gd name="connsiteY1238" fmla="*/ 5757408 h 6479439"/>
                <a:gd name="connsiteX1239" fmla="*/ 3585657 w 9586368"/>
                <a:gd name="connsiteY1239" fmla="*/ 5747537 h 6479439"/>
                <a:gd name="connsiteX1240" fmla="*/ 3350359 w 9586368"/>
                <a:gd name="connsiteY1240" fmla="*/ 5743499 h 6479439"/>
                <a:gd name="connsiteX1241" fmla="*/ 3360268 w 9586368"/>
                <a:gd name="connsiteY1241" fmla="*/ 5743499 h 6479439"/>
                <a:gd name="connsiteX1242" fmla="*/ 3364287 w 9586368"/>
                <a:gd name="connsiteY1242" fmla="*/ 5747537 h 6479439"/>
                <a:gd name="connsiteX1243" fmla="*/ 3364287 w 9586368"/>
                <a:gd name="connsiteY1243" fmla="*/ 5757408 h 6479439"/>
                <a:gd name="connsiteX1244" fmla="*/ 3360268 w 9586368"/>
                <a:gd name="connsiteY1244" fmla="*/ 5761447 h 6479439"/>
                <a:gd name="connsiteX1245" fmla="*/ 3350359 w 9586368"/>
                <a:gd name="connsiteY1245" fmla="*/ 5761447 h 6479439"/>
                <a:gd name="connsiteX1246" fmla="*/ 3346340 w 9586368"/>
                <a:gd name="connsiteY1246" fmla="*/ 5757408 h 6479439"/>
                <a:gd name="connsiteX1247" fmla="*/ 3346340 w 9586368"/>
                <a:gd name="connsiteY1247" fmla="*/ 5747537 h 6479439"/>
                <a:gd name="connsiteX1248" fmla="*/ 3111048 w 9586368"/>
                <a:gd name="connsiteY1248" fmla="*/ 5743499 h 6479439"/>
                <a:gd name="connsiteX1249" fmla="*/ 3120959 w 9586368"/>
                <a:gd name="connsiteY1249" fmla="*/ 5743499 h 6479439"/>
                <a:gd name="connsiteX1250" fmla="*/ 3124977 w 9586368"/>
                <a:gd name="connsiteY1250" fmla="*/ 5747537 h 6479439"/>
                <a:gd name="connsiteX1251" fmla="*/ 3124977 w 9586368"/>
                <a:gd name="connsiteY1251" fmla="*/ 5757408 h 6479439"/>
                <a:gd name="connsiteX1252" fmla="*/ 3120959 w 9586368"/>
                <a:gd name="connsiteY1252" fmla="*/ 5761447 h 6479439"/>
                <a:gd name="connsiteX1253" fmla="*/ 3111048 w 9586368"/>
                <a:gd name="connsiteY1253" fmla="*/ 5761447 h 6479439"/>
                <a:gd name="connsiteX1254" fmla="*/ 3107029 w 9586368"/>
                <a:gd name="connsiteY1254" fmla="*/ 5757408 h 6479439"/>
                <a:gd name="connsiteX1255" fmla="*/ 3107029 w 9586368"/>
                <a:gd name="connsiteY1255" fmla="*/ 5747537 h 6479439"/>
                <a:gd name="connsiteX1256" fmla="*/ 2871737 w 9586368"/>
                <a:gd name="connsiteY1256" fmla="*/ 5743499 h 6479439"/>
                <a:gd name="connsiteX1257" fmla="*/ 2881646 w 9586368"/>
                <a:gd name="connsiteY1257" fmla="*/ 5743499 h 6479439"/>
                <a:gd name="connsiteX1258" fmla="*/ 2885666 w 9586368"/>
                <a:gd name="connsiteY1258" fmla="*/ 5747537 h 6479439"/>
                <a:gd name="connsiteX1259" fmla="*/ 2885666 w 9586368"/>
                <a:gd name="connsiteY1259" fmla="*/ 5757408 h 6479439"/>
                <a:gd name="connsiteX1260" fmla="*/ 2881646 w 9586368"/>
                <a:gd name="connsiteY1260" fmla="*/ 5761447 h 6479439"/>
                <a:gd name="connsiteX1261" fmla="*/ 2871737 w 9586368"/>
                <a:gd name="connsiteY1261" fmla="*/ 5761447 h 6479439"/>
                <a:gd name="connsiteX1262" fmla="*/ 2867717 w 9586368"/>
                <a:gd name="connsiteY1262" fmla="*/ 5757408 h 6479439"/>
                <a:gd name="connsiteX1263" fmla="*/ 2867717 w 9586368"/>
                <a:gd name="connsiteY1263" fmla="*/ 5747537 h 6479439"/>
                <a:gd name="connsiteX1264" fmla="*/ 2632423 w 9586368"/>
                <a:gd name="connsiteY1264" fmla="*/ 5743499 h 6479439"/>
                <a:gd name="connsiteX1265" fmla="*/ 2642334 w 9586368"/>
                <a:gd name="connsiteY1265" fmla="*/ 5743499 h 6479439"/>
                <a:gd name="connsiteX1266" fmla="*/ 2646352 w 9586368"/>
                <a:gd name="connsiteY1266" fmla="*/ 5747537 h 6479439"/>
                <a:gd name="connsiteX1267" fmla="*/ 2646352 w 9586368"/>
                <a:gd name="connsiteY1267" fmla="*/ 5757408 h 6479439"/>
                <a:gd name="connsiteX1268" fmla="*/ 2642334 w 9586368"/>
                <a:gd name="connsiteY1268" fmla="*/ 5761447 h 6479439"/>
                <a:gd name="connsiteX1269" fmla="*/ 2632423 w 9586368"/>
                <a:gd name="connsiteY1269" fmla="*/ 5761447 h 6479439"/>
                <a:gd name="connsiteX1270" fmla="*/ 2628404 w 9586368"/>
                <a:gd name="connsiteY1270" fmla="*/ 5757408 h 6479439"/>
                <a:gd name="connsiteX1271" fmla="*/ 2628404 w 9586368"/>
                <a:gd name="connsiteY1271" fmla="*/ 5747537 h 6479439"/>
                <a:gd name="connsiteX1272" fmla="*/ 2393104 w 9586368"/>
                <a:gd name="connsiteY1272" fmla="*/ 5743499 h 6479439"/>
                <a:gd name="connsiteX1273" fmla="*/ 2403015 w 9586368"/>
                <a:gd name="connsiteY1273" fmla="*/ 5743499 h 6479439"/>
                <a:gd name="connsiteX1274" fmla="*/ 2407034 w 9586368"/>
                <a:gd name="connsiteY1274" fmla="*/ 5747537 h 6479439"/>
                <a:gd name="connsiteX1275" fmla="*/ 2407034 w 9586368"/>
                <a:gd name="connsiteY1275" fmla="*/ 5757408 h 6479439"/>
                <a:gd name="connsiteX1276" fmla="*/ 2403015 w 9586368"/>
                <a:gd name="connsiteY1276" fmla="*/ 5761447 h 6479439"/>
                <a:gd name="connsiteX1277" fmla="*/ 2393104 w 9586368"/>
                <a:gd name="connsiteY1277" fmla="*/ 5761447 h 6479439"/>
                <a:gd name="connsiteX1278" fmla="*/ 2389087 w 9586368"/>
                <a:gd name="connsiteY1278" fmla="*/ 5757408 h 6479439"/>
                <a:gd name="connsiteX1279" fmla="*/ 2389087 w 9586368"/>
                <a:gd name="connsiteY1279" fmla="*/ 5747537 h 6479439"/>
                <a:gd name="connsiteX1280" fmla="*/ 721960 w 9586368"/>
                <a:gd name="connsiteY1280" fmla="*/ 5743499 h 6479439"/>
                <a:gd name="connsiteX1281" fmla="*/ 731871 w 9586368"/>
                <a:gd name="connsiteY1281" fmla="*/ 5743499 h 6479439"/>
                <a:gd name="connsiteX1282" fmla="*/ 735889 w 9586368"/>
                <a:gd name="connsiteY1282" fmla="*/ 5747537 h 6479439"/>
                <a:gd name="connsiteX1283" fmla="*/ 735889 w 9586368"/>
                <a:gd name="connsiteY1283" fmla="*/ 5757408 h 6479439"/>
                <a:gd name="connsiteX1284" fmla="*/ 731871 w 9586368"/>
                <a:gd name="connsiteY1284" fmla="*/ 5761447 h 6479439"/>
                <a:gd name="connsiteX1285" fmla="*/ 721960 w 9586368"/>
                <a:gd name="connsiteY1285" fmla="*/ 5761447 h 6479439"/>
                <a:gd name="connsiteX1286" fmla="*/ 717941 w 9586368"/>
                <a:gd name="connsiteY1286" fmla="*/ 5757408 h 6479439"/>
                <a:gd name="connsiteX1287" fmla="*/ 717941 w 9586368"/>
                <a:gd name="connsiteY1287" fmla="*/ 5747537 h 6479439"/>
                <a:gd name="connsiteX1288" fmla="*/ 482648 w 9586368"/>
                <a:gd name="connsiteY1288" fmla="*/ 5743499 h 6479439"/>
                <a:gd name="connsiteX1289" fmla="*/ 492558 w 9586368"/>
                <a:gd name="connsiteY1289" fmla="*/ 5743499 h 6479439"/>
                <a:gd name="connsiteX1290" fmla="*/ 496578 w 9586368"/>
                <a:gd name="connsiteY1290" fmla="*/ 5747537 h 6479439"/>
                <a:gd name="connsiteX1291" fmla="*/ 496578 w 9586368"/>
                <a:gd name="connsiteY1291" fmla="*/ 5757408 h 6479439"/>
                <a:gd name="connsiteX1292" fmla="*/ 492558 w 9586368"/>
                <a:gd name="connsiteY1292" fmla="*/ 5761447 h 6479439"/>
                <a:gd name="connsiteX1293" fmla="*/ 482648 w 9586368"/>
                <a:gd name="connsiteY1293" fmla="*/ 5761447 h 6479439"/>
                <a:gd name="connsiteX1294" fmla="*/ 478629 w 9586368"/>
                <a:gd name="connsiteY1294" fmla="*/ 5757408 h 6479439"/>
                <a:gd name="connsiteX1295" fmla="*/ 478629 w 9586368"/>
                <a:gd name="connsiteY1295" fmla="*/ 5747537 h 6479439"/>
                <a:gd name="connsiteX1296" fmla="*/ 243334 w 9586368"/>
                <a:gd name="connsiteY1296" fmla="*/ 5743499 h 6479439"/>
                <a:gd name="connsiteX1297" fmla="*/ 253245 w 9586368"/>
                <a:gd name="connsiteY1297" fmla="*/ 5743499 h 6479439"/>
                <a:gd name="connsiteX1298" fmla="*/ 257264 w 9586368"/>
                <a:gd name="connsiteY1298" fmla="*/ 5747537 h 6479439"/>
                <a:gd name="connsiteX1299" fmla="*/ 257264 w 9586368"/>
                <a:gd name="connsiteY1299" fmla="*/ 5757408 h 6479439"/>
                <a:gd name="connsiteX1300" fmla="*/ 253245 w 9586368"/>
                <a:gd name="connsiteY1300" fmla="*/ 5761447 h 6479439"/>
                <a:gd name="connsiteX1301" fmla="*/ 243334 w 9586368"/>
                <a:gd name="connsiteY1301" fmla="*/ 5761447 h 6479439"/>
                <a:gd name="connsiteX1302" fmla="*/ 239315 w 9586368"/>
                <a:gd name="connsiteY1302" fmla="*/ 5757408 h 6479439"/>
                <a:gd name="connsiteX1303" fmla="*/ 239315 w 9586368"/>
                <a:gd name="connsiteY1303" fmla="*/ 5747537 h 6479439"/>
                <a:gd name="connsiteX1304" fmla="*/ 4021 w 9586368"/>
                <a:gd name="connsiteY1304" fmla="*/ 5743499 h 6479439"/>
                <a:gd name="connsiteX1305" fmla="*/ 13932 w 9586368"/>
                <a:gd name="connsiteY1305" fmla="*/ 5743499 h 6479439"/>
                <a:gd name="connsiteX1306" fmla="*/ 17950 w 9586368"/>
                <a:gd name="connsiteY1306" fmla="*/ 5747537 h 6479439"/>
                <a:gd name="connsiteX1307" fmla="*/ 17950 w 9586368"/>
                <a:gd name="connsiteY1307" fmla="*/ 5757408 h 6479439"/>
                <a:gd name="connsiteX1308" fmla="*/ 13932 w 9586368"/>
                <a:gd name="connsiteY1308" fmla="*/ 5761447 h 6479439"/>
                <a:gd name="connsiteX1309" fmla="*/ 4021 w 9586368"/>
                <a:gd name="connsiteY1309" fmla="*/ 5761447 h 6479439"/>
                <a:gd name="connsiteX1310" fmla="*/ 2 w 9586368"/>
                <a:gd name="connsiteY1310" fmla="*/ 5757408 h 6479439"/>
                <a:gd name="connsiteX1311" fmla="*/ 2 w 9586368"/>
                <a:gd name="connsiteY1311" fmla="*/ 5747537 h 6479439"/>
                <a:gd name="connsiteX1312" fmla="*/ 9572438 w 9586368"/>
                <a:gd name="connsiteY1312" fmla="*/ 5504220 h 6479439"/>
                <a:gd name="connsiteX1313" fmla="*/ 9582349 w 9586368"/>
                <a:gd name="connsiteY1313" fmla="*/ 5504220 h 6479439"/>
                <a:gd name="connsiteX1314" fmla="*/ 9586368 w 9586368"/>
                <a:gd name="connsiteY1314" fmla="*/ 5508258 h 6479439"/>
                <a:gd name="connsiteX1315" fmla="*/ 9586368 w 9586368"/>
                <a:gd name="connsiteY1315" fmla="*/ 5518129 h 6479439"/>
                <a:gd name="connsiteX1316" fmla="*/ 9582349 w 9586368"/>
                <a:gd name="connsiteY1316" fmla="*/ 5522168 h 6479439"/>
                <a:gd name="connsiteX1317" fmla="*/ 9572438 w 9586368"/>
                <a:gd name="connsiteY1317" fmla="*/ 5522168 h 6479439"/>
                <a:gd name="connsiteX1318" fmla="*/ 9568419 w 9586368"/>
                <a:gd name="connsiteY1318" fmla="*/ 5518129 h 6479439"/>
                <a:gd name="connsiteX1319" fmla="*/ 9568419 w 9586368"/>
                <a:gd name="connsiteY1319" fmla="*/ 5508258 h 6479439"/>
                <a:gd name="connsiteX1320" fmla="*/ 9333125 w 9586368"/>
                <a:gd name="connsiteY1320" fmla="*/ 5504220 h 6479439"/>
                <a:gd name="connsiteX1321" fmla="*/ 9343036 w 9586368"/>
                <a:gd name="connsiteY1321" fmla="*/ 5504220 h 6479439"/>
                <a:gd name="connsiteX1322" fmla="*/ 9347055 w 9586368"/>
                <a:gd name="connsiteY1322" fmla="*/ 5508258 h 6479439"/>
                <a:gd name="connsiteX1323" fmla="*/ 9347055 w 9586368"/>
                <a:gd name="connsiteY1323" fmla="*/ 5518129 h 6479439"/>
                <a:gd name="connsiteX1324" fmla="*/ 9343036 w 9586368"/>
                <a:gd name="connsiteY1324" fmla="*/ 5522168 h 6479439"/>
                <a:gd name="connsiteX1325" fmla="*/ 9333125 w 9586368"/>
                <a:gd name="connsiteY1325" fmla="*/ 5522168 h 6479439"/>
                <a:gd name="connsiteX1326" fmla="*/ 9329106 w 9586368"/>
                <a:gd name="connsiteY1326" fmla="*/ 5518129 h 6479439"/>
                <a:gd name="connsiteX1327" fmla="*/ 9329106 w 9586368"/>
                <a:gd name="connsiteY1327" fmla="*/ 5508258 h 6479439"/>
                <a:gd name="connsiteX1328" fmla="*/ 9093811 w 9586368"/>
                <a:gd name="connsiteY1328" fmla="*/ 5504220 h 6479439"/>
                <a:gd name="connsiteX1329" fmla="*/ 9103722 w 9586368"/>
                <a:gd name="connsiteY1329" fmla="*/ 5504220 h 6479439"/>
                <a:gd name="connsiteX1330" fmla="*/ 9107741 w 9586368"/>
                <a:gd name="connsiteY1330" fmla="*/ 5508258 h 6479439"/>
                <a:gd name="connsiteX1331" fmla="*/ 9107741 w 9586368"/>
                <a:gd name="connsiteY1331" fmla="*/ 5518129 h 6479439"/>
                <a:gd name="connsiteX1332" fmla="*/ 9103722 w 9586368"/>
                <a:gd name="connsiteY1332" fmla="*/ 5522168 h 6479439"/>
                <a:gd name="connsiteX1333" fmla="*/ 9093811 w 9586368"/>
                <a:gd name="connsiteY1333" fmla="*/ 5522168 h 6479439"/>
                <a:gd name="connsiteX1334" fmla="*/ 9089792 w 9586368"/>
                <a:gd name="connsiteY1334" fmla="*/ 5518129 h 6479439"/>
                <a:gd name="connsiteX1335" fmla="*/ 9089792 w 9586368"/>
                <a:gd name="connsiteY1335" fmla="*/ 5508258 h 6479439"/>
                <a:gd name="connsiteX1336" fmla="*/ 8854496 w 9586368"/>
                <a:gd name="connsiteY1336" fmla="*/ 5504220 h 6479439"/>
                <a:gd name="connsiteX1337" fmla="*/ 8864407 w 9586368"/>
                <a:gd name="connsiteY1337" fmla="*/ 5504220 h 6479439"/>
                <a:gd name="connsiteX1338" fmla="*/ 8868426 w 9586368"/>
                <a:gd name="connsiteY1338" fmla="*/ 5508258 h 6479439"/>
                <a:gd name="connsiteX1339" fmla="*/ 8868426 w 9586368"/>
                <a:gd name="connsiteY1339" fmla="*/ 5518129 h 6479439"/>
                <a:gd name="connsiteX1340" fmla="*/ 8864407 w 9586368"/>
                <a:gd name="connsiteY1340" fmla="*/ 5522168 h 6479439"/>
                <a:gd name="connsiteX1341" fmla="*/ 8854496 w 9586368"/>
                <a:gd name="connsiteY1341" fmla="*/ 5522168 h 6479439"/>
                <a:gd name="connsiteX1342" fmla="*/ 8850477 w 9586368"/>
                <a:gd name="connsiteY1342" fmla="*/ 5518129 h 6479439"/>
                <a:gd name="connsiteX1343" fmla="*/ 8850477 w 9586368"/>
                <a:gd name="connsiteY1343" fmla="*/ 5508258 h 6479439"/>
                <a:gd name="connsiteX1344" fmla="*/ 8615184 w 9586368"/>
                <a:gd name="connsiteY1344" fmla="*/ 5504220 h 6479439"/>
                <a:gd name="connsiteX1345" fmla="*/ 8625095 w 9586368"/>
                <a:gd name="connsiteY1345" fmla="*/ 5504220 h 6479439"/>
                <a:gd name="connsiteX1346" fmla="*/ 8629114 w 9586368"/>
                <a:gd name="connsiteY1346" fmla="*/ 5508258 h 6479439"/>
                <a:gd name="connsiteX1347" fmla="*/ 8629114 w 9586368"/>
                <a:gd name="connsiteY1347" fmla="*/ 5518129 h 6479439"/>
                <a:gd name="connsiteX1348" fmla="*/ 8625095 w 9586368"/>
                <a:gd name="connsiteY1348" fmla="*/ 5522168 h 6479439"/>
                <a:gd name="connsiteX1349" fmla="*/ 8615184 w 9586368"/>
                <a:gd name="connsiteY1349" fmla="*/ 5522168 h 6479439"/>
                <a:gd name="connsiteX1350" fmla="*/ 8611165 w 9586368"/>
                <a:gd name="connsiteY1350" fmla="*/ 5518129 h 6479439"/>
                <a:gd name="connsiteX1351" fmla="*/ 8611165 w 9586368"/>
                <a:gd name="connsiteY1351" fmla="*/ 5508258 h 6479439"/>
                <a:gd name="connsiteX1352" fmla="*/ 8375869 w 9586368"/>
                <a:gd name="connsiteY1352" fmla="*/ 5504220 h 6479439"/>
                <a:gd name="connsiteX1353" fmla="*/ 8385779 w 9586368"/>
                <a:gd name="connsiteY1353" fmla="*/ 5504220 h 6479439"/>
                <a:gd name="connsiteX1354" fmla="*/ 8389799 w 9586368"/>
                <a:gd name="connsiteY1354" fmla="*/ 5508258 h 6479439"/>
                <a:gd name="connsiteX1355" fmla="*/ 8389799 w 9586368"/>
                <a:gd name="connsiteY1355" fmla="*/ 5518129 h 6479439"/>
                <a:gd name="connsiteX1356" fmla="*/ 8385779 w 9586368"/>
                <a:gd name="connsiteY1356" fmla="*/ 5522168 h 6479439"/>
                <a:gd name="connsiteX1357" fmla="*/ 8375869 w 9586368"/>
                <a:gd name="connsiteY1357" fmla="*/ 5522168 h 6479439"/>
                <a:gd name="connsiteX1358" fmla="*/ 8371850 w 9586368"/>
                <a:gd name="connsiteY1358" fmla="*/ 5518129 h 6479439"/>
                <a:gd name="connsiteX1359" fmla="*/ 8371850 w 9586368"/>
                <a:gd name="connsiteY1359" fmla="*/ 5508258 h 6479439"/>
                <a:gd name="connsiteX1360" fmla="*/ 8136553 w 9586368"/>
                <a:gd name="connsiteY1360" fmla="*/ 5504220 h 6479439"/>
                <a:gd name="connsiteX1361" fmla="*/ 8146464 w 9586368"/>
                <a:gd name="connsiteY1361" fmla="*/ 5504220 h 6479439"/>
                <a:gd name="connsiteX1362" fmla="*/ 8150483 w 9586368"/>
                <a:gd name="connsiteY1362" fmla="*/ 5508258 h 6479439"/>
                <a:gd name="connsiteX1363" fmla="*/ 8150483 w 9586368"/>
                <a:gd name="connsiteY1363" fmla="*/ 5518129 h 6479439"/>
                <a:gd name="connsiteX1364" fmla="*/ 8146464 w 9586368"/>
                <a:gd name="connsiteY1364" fmla="*/ 5522168 h 6479439"/>
                <a:gd name="connsiteX1365" fmla="*/ 8136553 w 9586368"/>
                <a:gd name="connsiteY1365" fmla="*/ 5522168 h 6479439"/>
                <a:gd name="connsiteX1366" fmla="*/ 8132534 w 9586368"/>
                <a:gd name="connsiteY1366" fmla="*/ 5518129 h 6479439"/>
                <a:gd name="connsiteX1367" fmla="*/ 8132534 w 9586368"/>
                <a:gd name="connsiteY1367" fmla="*/ 5508258 h 6479439"/>
                <a:gd name="connsiteX1368" fmla="*/ 7897241 w 9586368"/>
                <a:gd name="connsiteY1368" fmla="*/ 5504220 h 6479439"/>
                <a:gd name="connsiteX1369" fmla="*/ 7907151 w 9586368"/>
                <a:gd name="connsiteY1369" fmla="*/ 5504220 h 6479439"/>
                <a:gd name="connsiteX1370" fmla="*/ 7911170 w 9586368"/>
                <a:gd name="connsiteY1370" fmla="*/ 5508258 h 6479439"/>
                <a:gd name="connsiteX1371" fmla="*/ 7911170 w 9586368"/>
                <a:gd name="connsiteY1371" fmla="*/ 5518129 h 6479439"/>
                <a:gd name="connsiteX1372" fmla="*/ 7907151 w 9586368"/>
                <a:gd name="connsiteY1372" fmla="*/ 5522168 h 6479439"/>
                <a:gd name="connsiteX1373" fmla="*/ 7897241 w 9586368"/>
                <a:gd name="connsiteY1373" fmla="*/ 5522168 h 6479439"/>
                <a:gd name="connsiteX1374" fmla="*/ 7893222 w 9586368"/>
                <a:gd name="connsiteY1374" fmla="*/ 5518129 h 6479439"/>
                <a:gd name="connsiteX1375" fmla="*/ 7893222 w 9586368"/>
                <a:gd name="connsiteY1375" fmla="*/ 5508258 h 6479439"/>
                <a:gd name="connsiteX1376" fmla="*/ 7657926 w 9586368"/>
                <a:gd name="connsiteY1376" fmla="*/ 5504220 h 6479439"/>
                <a:gd name="connsiteX1377" fmla="*/ 7667836 w 9586368"/>
                <a:gd name="connsiteY1377" fmla="*/ 5504220 h 6479439"/>
                <a:gd name="connsiteX1378" fmla="*/ 7671855 w 9586368"/>
                <a:gd name="connsiteY1378" fmla="*/ 5508258 h 6479439"/>
                <a:gd name="connsiteX1379" fmla="*/ 7671855 w 9586368"/>
                <a:gd name="connsiteY1379" fmla="*/ 5518129 h 6479439"/>
                <a:gd name="connsiteX1380" fmla="*/ 7667836 w 9586368"/>
                <a:gd name="connsiteY1380" fmla="*/ 5522168 h 6479439"/>
                <a:gd name="connsiteX1381" fmla="*/ 7657926 w 9586368"/>
                <a:gd name="connsiteY1381" fmla="*/ 5522168 h 6479439"/>
                <a:gd name="connsiteX1382" fmla="*/ 7653906 w 9586368"/>
                <a:gd name="connsiteY1382" fmla="*/ 5518129 h 6479439"/>
                <a:gd name="connsiteX1383" fmla="*/ 7653906 w 9586368"/>
                <a:gd name="connsiteY1383" fmla="*/ 5508258 h 6479439"/>
                <a:gd name="connsiteX1384" fmla="*/ 7418611 w 9586368"/>
                <a:gd name="connsiteY1384" fmla="*/ 5504220 h 6479439"/>
                <a:gd name="connsiteX1385" fmla="*/ 7428521 w 9586368"/>
                <a:gd name="connsiteY1385" fmla="*/ 5504220 h 6479439"/>
                <a:gd name="connsiteX1386" fmla="*/ 7432540 w 9586368"/>
                <a:gd name="connsiteY1386" fmla="*/ 5508258 h 6479439"/>
                <a:gd name="connsiteX1387" fmla="*/ 7432540 w 9586368"/>
                <a:gd name="connsiteY1387" fmla="*/ 5518129 h 6479439"/>
                <a:gd name="connsiteX1388" fmla="*/ 7428521 w 9586368"/>
                <a:gd name="connsiteY1388" fmla="*/ 5522168 h 6479439"/>
                <a:gd name="connsiteX1389" fmla="*/ 7418611 w 9586368"/>
                <a:gd name="connsiteY1389" fmla="*/ 5522168 h 6479439"/>
                <a:gd name="connsiteX1390" fmla="*/ 7414592 w 9586368"/>
                <a:gd name="connsiteY1390" fmla="*/ 5518129 h 6479439"/>
                <a:gd name="connsiteX1391" fmla="*/ 7414592 w 9586368"/>
                <a:gd name="connsiteY1391" fmla="*/ 5508258 h 6479439"/>
                <a:gd name="connsiteX1392" fmla="*/ 7179298 w 9586368"/>
                <a:gd name="connsiteY1392" fmla="*/ 5504220 h 6479439"/>
                <a:gd name="connsiteX1393" fmla="*/ 7189209 w 9586368"/>
                <a:gd name="connsiteY1393" fmla="*/ 5504220 h 6479439"/>
                <a:gd name="connsiteX1394" fmla="*/ 7193228 w 9586368"/>
                <a:gd name="connsiteY1394" fmla="*/ 5508258 h 6479439"/>
                <a:gd name="connsiteX1395" fmla="*/ 7193228 w 9586368"/>
                <a:gd name="connsiteY1395" fmla="*/ 5518129 h 6479439"/>
                <a:gd name="connsiteX1396" fmla="*/ 7189209 w 9586368"/>
                <a:gd name="connsiteY1396" fmla="*/ 5522168 h 6479439"/>
                <a:gd name="connsiteX1397" fmla="*/ 7179298 w 9586368"/>
                <a:gd name="connsiteY1397" fmla="*/ 5522168 h 6479439"/>
                <a:gd name="connsiteX1398" fmla="*/ 7175279 w 9586368"/>
                <a:gd name="connsiteY1398" fmla="*/ 5518129 h 6479439"/>
                <a:gd name="connsiteX1399" fmla="*/ 7175279 w 9586368"/>
                <a:gd name="connsiteY1399" fmla="*/ 5508258 h 6479439"/>
                <a:gd name="connsiteX1400" fmla="*/ 6939983 w 9586368"/>
                <a:gd name="connsiteY1400" fmla="*/ 5504220 h 6479439"/>
                <a:gd name="connsiteX1401" fmla="*/ 6949894 w 9586368"/>
                <a:gd name="connsiteY1401" fmla="*/ 5504220 h 6479439"/>
                <a:gd name="connsiteX1402" fmla="*/ 6953913 w 9586368"/>
                <a:gd name="connsiteY1402" fmla="*/ 5508258 h 6479439"/>
                <a:gd name="connsiteX1403" fmla="*/ 6953913 w 9586368"/>
                <a:gd name="connsiteY1403" fmla="*/ 5518129 h 6479439"/>
                <a:gd name="connsiteX1404" fmla="*/ 6949894 w 9586368"/>
                <a:gd name="connsiteY1404" fmla="*/ 5522168 h 6479439"/>
                <a:gd name="connsiteX1405" fmla="*/ 6939983 w 9586368"/>
                <a:gd name="connsiteY1405" fmla="*/ 5522168 h 6479439"/>
                <a:gd name="connsiteX1406" fmla="*/ 6935964 w 9586368"/>
                <a:gd name="connsiteY1406" fmla="*/ 5518129 h 6479439"/>
                <a:gd name="connsiteX1407" fmla="*/ 6935964 w 9586368"/>
                <a:gd name="connsiteY1407" fmla="*/ 5508258 h 6479439"/>
                <a:gd name="connsiteX1408" fmla="*/ 6700670 w 9586368"/>
                <a:gd name="connsiteY1408" fmla="*/ 5504220 h 6479439"/>
                <a:gd name="connsiteX1409" fmla="*/ 6710581 w 9586368"/>
                <a:gd name="connsiteY1409" fmla="*/ 5504220 h 6479439"/>
                <a:gd name="connsiteX1410" fmla="*/ 6714600 w 9586368"/>
                <a:gd name="connsiteY1410" fmla="*/ 5508258 h 6479439"/>
                <a:gd name="connsiteX1411" fmla="*/ 6714600 w 9586368"/>
                <a:gd name="connsiteY1411" fmla="*/ 5518129 h 6479439"/>
                <a:gd name="connsiteX1412" fmla="*/ 6710581 w 9586368"/>
                <a:gd name="connsiteY1412" fmla="*/ 5522168 h 6479439"/>
                <a:gd name="connsiteX1413" fmla="*/ 6700670 w 9586368"/>
                <a:gd name="connsiteY1413" fmla="*/ 5522168 h 6479439"/>
                <a:gd name="connsiteX1414" fmla="*/ 6696651 w 9586368"/>
                <a:gd name="connsiteY1414" fmla="*/ 5518129 h 6479439"/>
                <a:gd name="connsiteX1415" fmla="*/ 6696651 w 9586368"/>
                <a:gd name="connsiteY1415" fmla="*/ 5508258 h 6479439"/>
                <a:gd name="connsiteX1416" fmla="*/ 6461356 w 9586368"/>
                <a:gd name="connsiteY1416" fmla="*/ 5504220 h 6479439"/>
                <a:gd name="connsiteX1417" fmla="*/ 6471266 w 9586368"/>
                <a:gd name="connsiteY1417" fmla="*/ 5504220 h 6479439"/>
                <a:gd name="connsiteX1418" fmla="*/ 6475285 w 9586368"/>
                <a:gd name="connsiteY1418" fmla="*/ 5508258 h 6479439"/>
                <a:gd name="connsiteX1419" fmla="*/ 6475285 w 9586368"/>
                <a:gd name="connsiteY1419" fmla="*/ 5518129 h 6479439"/>
                <a:gd name="connsiteX1420" fmla="*/ 6471266 w 9586368"/>
                <a:gd name="connsiteY1420" fmla="*/ 5522168 h 6479439"/>
                <a:gd name="connsiteX1421" fmla="*/ 6461356 w 9586368"/>
                <a:gd name="connsiteY1421" fmla="*/ 5522168 h 6479439"/>
                <a:gd name="connsiteX1422" fmla="*/ 6457337 w 9586368"/>
                <a:gd name="connsiteY1422" fmla="*/ 5518129 h 6479439"/>
                <a:gd name="connsiteX1423" fmla="*/ 6457337 w 9586368"/>
                <a:gd name="connsiteY1423" fmla="*/ 5508258 h 6479439"/>
                <a:gd name="connsiteX1424" fmla="*/ 6222042 w 9586368"/>
                <a:gd name="connsiteY1424" fmla="*/ 5504220 h 6479439"/>
                <a:gd name="connsiteX1425" fmla="*/ 6231952 w 9586368"/>
                <a:gd name="connsiteY1425" fmla="*/ 5504220 h 6479439"/>
                <a:gd name="connsiteX1426" fmla="*/ 6235971 w 9586368"/>
                <a:gd name="connsiteY1426" fmla="*/ 5508258 h 6479439"/>
                <a:gd name="connsiteX1427" fmla="*/ 6235971 w 9586368"/>
                <a:gd name="connsiteY1427" fmla="*/ 5518129 h 6479439"/>
                <a:gd name="connsiteX1428" fmla="*/ 6231952 w 9586368"/>
                <a:gd name="connsiteY1428" fmla="*/ 5522168 h 6479439"/>
                <a:gd name="connsiteX1429" fmla="*/ 6222042 w 9586368"/>
                <a:gd name="connsiteY1429" fmla="*/ 5522168 h 6479439"/>
                <a:gd name="connsiteX1430" fmla="*/ 6218023 w 9586368"/>
                <a:gd name="connsiteY1430" fmla="*/ 5518129 h 6479439"/>
                <a:gd name="connsiteX1431" fmla="*/ 6218023 w 9586368"/>
                <a:gd name="connsiteY1431" fmla="*/ 5508258 h 6479439"/>
                <a:gd name="connsiteX1432" fmla="*/ 5982729 w 9586368"/>
                <a:gd name="connsiteY1432" fmla="*/ 5504220 h 6479439"/>
                <a:gd name="connsiteX1433" fmla="*/ 5992639 w 9586368"/>
                <a:gd name="connsiteY1433" fmla="*/ 5504220 h 6479439"/>
                <a:gd name="connsiteX1434" fmla="*/ 5996658 w 9586368"/>
                <a:gd name="connsiteY1434" fmla="*/ 5508258 h 6479439"/>
                <a:gd name="connsiteX1435" fmla="*/ 5996658 w 9586368"/>
                <a:gd name="connsiteY1435" fmla="*/ 5518129 h 6479439"/>
                <a:gd name="connsiteX1436" fmla="*/ 5992639 w 9586368"/>
                <a:gd name="connsiteY1436" fmla="*/ 5522168 h 6479439"/>
                <a:gd name="connsiteX1437" fmla="*/ 5982729 w 9586368"/>
                <a:gd name="connsiteY1437" fmla="*/ 5522168 h 6479439"/>
                <a:gd name="connsiteX1438" fmla="*/ 5978710 w 9586368"/>
                <a:gd name="connsiteY1438" fmla="*/ 5518129 h 6479439"/>
                <a:gd name="connsiteX1439" fmla="*/ 5978710 w 9586368"/>
                <a:gd name="connsiteY1439" fmla="*/ 5508258 h 6479439"/>
                <a:gd name="connsiteX1440" fmla="*/ 5743412 w 9586368"/>
                <a:gd name="connsiteY1440" fmla="*/ 5504220 h 6479439"/>
                <a:gd name="connsiteX1441" fmla="*/ 5753323 w 9586368"/>
                <a:gd name="connsiteY1441" fmla="*/ 5504220 h 6479439"/>
                <a:gd name="connsiteX1442" fmla="*/ 5757342 w 9586368"/>
                <a:gd name="connsiteY1442" fmla="*/ 5508258 h 6479439"/>
                <a:gd name="connsiteX1443" fmla="*/ 5757342 w 9586368"/>
                <a:gd name="connsiteY1443" fmla="*/ 5518129 h 6479439"/>
                <a:gd name="connsiteX1444" fmla="*/ 5753323 w 9586368"/>
                <a:gd name="connsiteY1444" fmla="*/ 5522168 h 6479439"/>
                <a:gd name="connsiteX1445" fmla="*/ 5743412 w 9586368"/>
                <a:gd name="connsiteY1445" fmla="*/ 5522168 h 6479439"/>
                <a:gd name="connsiteX1446" fmla="*/ 5739393 w 9586368"/>
                <a:gd name="connsiteY1446" fmla="*/ 5518129 h 6479439"/>
                <a:gd name="connsiteX1447" fmla="*/ 5739393 w 9586368"/>
                <a:gd name="connsiteY1447" fmla="*/ 5508258 h 6479439"/>
                <a:gd name="connsiteX1448" fmla="*/ 5504099 w 9586368"/>
                <a:gd name="connsiteY1448" fmla="*/ 5504220 h 6479439"/>
                <a:gd name="connsiteX1449" fmla="*/ 5514010 w 9586368"/>
                <a:gd name="connsiteY1449" fmla="*/ 5504220 h 6479439"/>
                <a:gd name="connsiteX1450" fmla="*/ 5518029 w 9586368"/>
                <a:gd name="connsiteY1450" fmla="*/ 5508258 h 6479439"/>
                <a:gd name="connsiteX1451" fmla="*/ 5518029 w 9586368"/>
                <a:gd name="connsiteY1451" fmla="*/ 5518129 h 6479439"/>
                <a:gd name="connsiteX1452" fmla="*/ 5514010 w 9586368"/>
                <a:gd name="connsiteY1452" fmla="*/ 5522168 h 6479439"/>
                <a:gd name="connsiteX1453" fmla="*/ 5504099 w 9586368"/>
                <a:gd name="connsiteY1453" fmla="*/ 5522168 h 6479439"/>
                <a:gd name="connsiteX1454" fmla="*/ 5500080 w 9586368"/>
                <a:gd name="connsiteY1454" fmla="*/ 5518129 h 6479439"/>
                <a:gd name="connsiteX1455" fmla="*/ 5500080 w 9586368"/>
                <a:gd name="connsiteY1455" fmla="*/ 5508258 h 6479439"/>
                <a:gd name="connsiteX1456" fmla="*/ 5264784 w 9586368"/>
                <a:gd name="connsiteY1456" fmla="*/ 5504220 h 6479439"/>
                <a:gd name="connsiteX1457" fmla="*/ 5274694 w 9586368"/>
                <a:gd name="connsiteY1457" fmla="*/ 5504220 h 6479439"/>
                <a:gd name="connsiteX1458" fmla="*/ 5278713 w 9586368"/>
                <a:gd name="connsiteY1458" fmla="*/ 5508258 h 6479439"/>
                <a:gd name="connsiteX1459" fmla="*/ 5278713 w 9586368"/>
                <a:gd name="connsiteY1459" fmla="*/ 5518129 h 6479439"/>
                <a:gd name="connsiteX1460" fmla="*/ 5274694 w 9586368"/>
                <a:gd name="connsiteY1460" fmla="*/ 5522168 h 6479439"/>
                <a:gd name="connsiteX1461" fmla="*/ 5264784 w 9586368"/>
                <a:gd name="connsiteY1461" fmla="*/ 5522168 h 6479439"/>
                <a:gd name="connsiteX1462" fmla="*/ 5260765 w 9586368"/>
                <a:gd name="connsiteY1462" fmla="*/ 5518129 h 6479439"/>
                <a:gd name="connsiteX1463" fmla="*/ 5260765 w 9586368"/>
                <a:gd name="connsiteY1463" fmla="*/ 5508258 h 6479439"/>
                <a:gd name="connsiteX1464" fmla="*/ 5025470 w 9586368"/>
                <a:gd name="connsiteY1464" fmla="*/ 5504220 h 6479439"/>
                <a:gd name="connsiteX1465" fmla="*/ 5035381 w 9586368"/>
                <a:gd name="connsiteY1465" fmla="*/ 5504220 h 6479439"/>
                <a:gd name="connsiteX1466" fmla="*/ 5039400 w 9586368"/>
                <a:gd name="connsiteY1466" fmla="*/ 5508258 h 6479439"/>
                <a:gd name="connsiteX1467" fmla="*/ 5039400 w 9586368"/>
                <a:gd name="connsiteY1467" fmla="*/ 5518129 h 6479439"/>
                <a:gd name="connsiteX1468" fmla="*/ 5035381 w 9586368"/>
                <a:gd name="connsiteY1468" fmla="*/ 5522168 h 6479439"/>
                <a:gd name="connsiteX1469" fmla="*/ 5025470 w 9586368"/>
                <a:gd name="connsiteY1469" fmla="*/ 5522168 h 6479439"/>
                <a:gd name="connsiteX1470" fmla="*/ 5021451 w 9586368"/>
                <a:gd name="connsiteY1470" fmla="*/ 5518129 h 6479439"/>
                <a:gd name="connsiteX1471" fmla="*/ 5021451 w 9586368"/>
                <a:gd name="connsiteY1471" fmla="*/ 5508258 h 6479439"/>
                <a:gd name="connsiteX1472" fmla="*/ 4786241 w 9586368"/>
                <a:gd name="connsiteY1472" fmla="*/ 5504220 h 6479439"/>
                <a:gd name="connsiteX1473" fmla="*/ 4796152 w 9586368"/>
                <a:gd name="connsiteY1473" fmla="*/ 5504220 h 6479439"/>
                <a:gd name="connsiteX1474" fmla="*/ 4800171 w 9586368"/>
                <a:gd name="connsiteY1474" fmla="*/ 5508258 h 6479439"/>
                <a:gd name="connsiteX1475" fmla="*/ 4800171 w 9586368"/>
                <a:gd name="connsiteY1475" fmla="*/ 5518129 h 6479439"/>
                <a:gd name="connsiteX1476" fmla="*/ 4796152 w 9586368"/>
                <a:gd name="connsiteY1476" fmla="*/ 5522168 h 6479439"/>
                <a:gd name="connsiteX1477" fmla="*/ 4786241 w 9586368"/>
                <a:gd name="connsiteY1477" fmla="*/ 5522168 h 6479439"/>
                <a:gd name="connsiteX1478" fmla="*/ 4782224 w 9586368"/>
                <a:gd name="connsiteY1478" fmla="*/ 5518129 h 6479439"/>
                <a:gd name="connsiteX1479" fmla="*/ 4782224 w 9586368"/>
                <a:gd name="connsiteY1479" fmla="*/ 5508258 h 6479439"/>
                <a:gd name="connsiteX1480" fmla="*/ 4546929 w 9586368"/>
                <a:gd name="connsiteY1480" fmla="*/ 5504220 h 6479439"/>
                <a:gd name="connsiteX1481" fmla="*/ 4556840 w 9586368"/>
                <a:gd name="connsiteY1481" fmla="*/ 5504220 h 6479439"/>
                <a:gd name="connsiteX1482" fmla="*/ 4560859 w 9586368"/>
                <a:gd name="connsiteY1482" fmla="*/ 5508258 h 6479439"/>
                <a:gd name="connsiteX1483" fmla="*/ 4560859 w 9586368"/>
                <a:gd name="connsiteY1483" fmla="*/ 5518129 h 6479439"/>
                <a:gd name="connsiteX1484" fmla="*/ 4556840 w 9586368"/>
                <a:gd name="connsiteY1484" fmla="*/ 5522168 h 6479439"/>
                <a:gd name="connsiteX1485" fmla="*/ 4546929 w 9586368"/>
                <a:gd name="connsiteY1485" fmla="*/ 5522168 h 6479439"/>
                <a:gd name="connsiteX1486" fmla="*/ 4542910 w 9586368"/>
                <a:gd name="connsiteY1486" fmla="*/ 5518129 h 6479439"/>
                <a:gd name="connsiteX1487" fmla="*/ 4542910 w 9586368"/>
                <a:gd name="connsiteY1487" fmla="*/ 5508258 h 6479439"/>
                <a:gd name="connsiteX1488" fmla="*/ 4307612 w 9586368"/>
                <a:gd name="connsiteY1488" fmla="*/ 5504220 h 6479439"/>
                <a:gd name="connsiteX1489" fmla="*/ 4317523 w 9586368"/>
                <a:gd name="connsiteY1489" fmla="*/ 5504220 h 6479439"/>
                <a:gd name="connsiteX1490" fmla="*/ 4321543 w 9586368"/>
                <a:gd name="connsiteY1490" fmla="*/ 5508258 h 6479439"/>
                <a:gd name="connsiteX1491" fmla="*/ 4321543 w 9586368"/>
                <a:gd name="connsiteY1491" fmla="*/ 5518129 h 6479439"/>
                <a:gd name="connsiteX1492" fmla="*/ 4317523 w 9586368"/>
                <a:gd name="connsiteY1492" fmla="*/ 5522168 h 6479439"/>
                <a:gd name="connsiteX1493" fmla="*/ 4307612 w 9586368"/>
                <a:gd name="connsiteY1493" fmla="*/ 5522168 h 6479439"/>
                <a:gd name="connsiteX1494" fmla="*/ 4303595 w 9586368"/>
                <a:gd name="connsiteY1494" fmla="*/ 5518129 h 6479439"/>
                <a:gd name="connsiteX1495" fmla="*/ 4303595 w 9586368"/>
                <a:gd name="connsiteY1495" fmla="*/ 5508258 h 6479439"/>
                <a:gd name="connsiteX1496" fmla="*/ 4068297 w 9586368"/>
                <a:gd name="connsiteY1496" fmla="*/ 5504220 h 6479439"/>
                <a:gd name="connsiteX1497" fmla="*/ 4078210 w 9586368"/>
                <a:gd name="connsiteY1497" fmla="*/ 5504220 h 6479439"/>
                <a:gd name="connsiteX1498" fmla="*/ 4082229 w 9586368"/>
                <a:gd name="connsiteY1498" fmla="*/ 5508258 h 6479439"/>
                <a:gd name="connsiteX1499" fmla="*/ 4082229 w 9586368"/>
                <a:gd name="connsiteY1499" fmla="*/ 5518129 h 6479439"/>
                <a:gd name="connsiteX1500" fmla="*/ 4078210 w 9586368"/>
                <a:gd name="connsiteY1500" fmla="*/ 5522168 h 6479439"/>
                <a:gd name="connsiteX1501" fmla="*/ 4068297 w 9586368"/>
                <a:gd name="connsiteY1501" fmla="*/ 5522168 h 6479439"/>
                <a:gd name="connsiteX1502" fmla="*/ 4064278 w 9586368"/>
                <a:gd name="connsiteY1502" fmla="*/ 5518129 h 6479439"/>
                <a:gd name="connsiteX1503" fmla="*/ 4064278 w 9586368"/>
                <a:gd name="connsiteY1503" fmla="*/ 5508258 h 6479439"/>
                <a:gd name="connsiteX1504" fmla="*/ 3828990 w 9586368"/>
                <a:gd name="connsiteY1504" fmla="*/ 5504220 h 6479439"/>
                <a:gd name="connsiteX1505" fmla="*/ 3838899 w 9586368"/>
                <a:gd name="connsiteY1505" fmla="*/ 5504220 h 6479439"/>
                <a:gd name="connsiteX1506" fmla="*/ 3842917 w 9586368"/>
                <a:gd name="connsiteY1506" fmla="*/ 5508258 h 6479439"/>
                <a:gd name="connsiteX1507" fmla="*/ 3842917 w 9586368"/>
                <a:gd name="connsiteY1507" fmla="*/ 5518129 h 6479439"/>
                <a:gd name="connsiteX1508" fmla="*/ 3838899 w 9586368"/>
                <a:gd name="connsiteY1508" fmla="*/ 5522168 h 6479439"/>
                <a:gd name="connsiteX1509" fmla="*/ 3828990 w 9586368"/>
                <a:gd name="connsiteY1509" fmla="*/ 5522168 h 6479439"/>
                <a:gd name="connsiteX1510" fmla="*/ 3824971 w 9586368"/>
                <a:gd name="connsiteY1510" fmla="*/ 5518129 h 6479439"/>
                <a:gd name="connsiteX1511" fmla="*/ 3824971 w 9586368"/>
                <a:gd name="connsiteY1511" fmla="*/ 5508258 h 6479439"/>
                <a:gd name="connsiteX1512" fmla="*/ 3589676 w 9586368"/>
                <a:gd name="connsiteY1512" fmla="*/ 5504220 h 6479439"/>
                <a:gd name="connsiteX1513" fmla="*/ 3599585 w 9586368"/>
                <a:gd name="connsiteY1513" fmla="*/ 5504220 h 6479439"/>
                <a:gd name="connsiteX1514" fmla="*/ 3603604 w 9586368"/>
                <a:gd name="connsiteY1514" fmla="*/ 5508258 h 6479439"/>
                <a:gd name="connsiteX1515" fmla="*/ 3603604 w 9586368"/>
                <a:gd name="connsiteY1515" fmla="*/ 5518129 h 6479439"/>
                <a:gd name="connsiteX1516" fmla="*/ 3599585 w 9586368"/>
                <a:gd name="connsiteY1516" fmla="*/ 5522168 h 6479439"/>
                <a:gd name="connsiteX1517" fmla="*/ 3589676 w 9586368"/>
                <a:gd name="connsiteY1517" fmla="*/ 5522168 h 6479439"/>
                <a:gd name="connsiteX1518" fmla="*/ 3585657 w 9586368"/>
                <a:gd name="connsiteY1518" fmla="*/ 5518129 h 6479439"/>
                <a:gd name="connsiteX1519" fmla="*/ 3585657 w 9586368"/>
                <a:gd name="connsiteY1519" fmla="*/ 5508258 h 6479439"/>
                <a:gd name="connsiteX1520" fmla="*/ 3350359 w 9586368"/>
                <a:gd name="connsiteY1520" fmla="*/ 5504220 h 6479439"/>
                <a:gd name="connsiteX1521" fmla="*/ 3360268 w 9586368"/>
                <a:gd name="connsiteY1521" fmla="*/ 5504220 h 6479439"/>
                <a:gd name="connsiteX1522" fmla="*/ 3364287 w 9586368"/>
                <a:gd name="connsiteY1522" fmla="*/ 5508258 h 6479439"/>
                <a:gd name="connsiteX1523" fmla="*/ 3364287 w 9586368"/>
                <a:gd name="connsiteY1523" fmla="*/ 5518129 h 6479439"/>
                <a:gd name="connsiteX1524" fmla="*/ 3360268 w 9586368"/>
                <a:gd name="connsiteY1524" fmla="*/ 5522168 h 6479439"/>
                <a:gd name="connsiteX1525" fmla="*/ 3350359 w 9586368"/>
                <a:gd name="connsiteY1525" fmla="*/ 5522168 h 6479439"/>
                <a:gd name="connsiteX1526" fmla="*/ 3346340 w 9586368"/>
                <a:gd name="connsiteY1526" fmla="*/ 5518129 h 6479439"/>
                <a:gd name="connsiteX1527" fmla="*/ 3346340 w 9586368"/>
                <a:gd name="connsiteY1527" fmla="*/ 5508258 h 6479439"/>
                <a:gd name="connsiteX1528" fmla="*/ 3111048 w 9586368"/>
                <a:gd name="connsiteY1528" fmla="*/ 5504220 h 6479439"/>
                <a:gd name="connsiteX1529" fmla="*/ 3120959 w 9586368"/>
                <a:gd name="connsiteY1529" fmla="*/ 5504220 h 6479439"/>
                <a:gd name="connsiteX1530" fmla="*/ 3124977 w 9586368"/>
                <a:gd name="connsiteY1530" fmla="*/ 5508258 h 6479439"/>
                <a:gd name="connsiteX1531" fmla="*/ 3124977 w 9586368"/>
                <a:gd name="connsiteY1531" fmla="*/ 5518129 h 6479439"/>
                <a:gd name="connsiteX1532" fmla="*/ 3120959 w 9586368"/>
                <a:gd name="connsiteY1532" fmla="*/ 5522168 h 6479439"/>
                <a:gd name="connsiteX1533" fmla="*/ 3111048 w 9586368"/>
                <a:gd name="connsiteY1533" fmla="*/ 5522168 h 6479439"/>
                <a:gd name="connsiteX1534" fmla="*/ 3107029 w 9586368"/>
                <a:gd name="connsiteY1534" fmla="*/ 5518129 h 6479439"/>
                <a:gd name="connsiteX1535" fmla="*/ 3107029 w 9586368"/>
                <a:gd name="connsiteY1535" fmla="*/ 5508258 h 6479439"/>
                <a:gd name="connsiteX1536" fmla="*/ 2871737 w 9586368"/>
                <a:gd name="connsiteY1536" fmla="*/ 5504220 h 6479439"/>
                <a:gd name="connsiteX1537" fmla="*/ 2881646 w 9586368"/>
                <a:gd name="connsiteY1537" fmla="*/ 5504220 h 6479439"/>
                <a:gd name="connsiteX1538" fmla="*/ 2885666 w 9586368"/>
                <a:gd name="connsiteY1538" fmla="*/ 5508258 h 6479439"/>
                <a:gd name="connsiteX1539" fmla="*/ 2885666 w 9586368"/>
                <a:gd name="connsiteY1539" fmla="*/ 5518129 h 6479439"/>
                <a:gd name="connsiteX1540" fmla="*/ 2881646 w 9586368"/>
                <a:gd name="connsiteY1540" fmla="*/ 5522168 h 6479439"/>
                <a:gd name="connsiteX1541" fmla="*/ 2871737 w 9586368"/>
                <a:gd name="connsiteY1541" fmla="*/ 5522168 h 6479439"/>
                <a:gd name="connsiteX1542" fmla="*/ 2867717 w 9586368"/>
                <a:gd name="connsiteY1542" fmla="*/ 5518129 h 6479439"/>
                <a:gd name="connsiteX1543" fmla="*/ 2867717 w 9586368"/>
                <a:gd name="connsiteY1543" fmla="*/ 5508258 h 6479439"/>
                <a:gd name="connsiteX1544" fmla="*/ 2632423 w 9586368"/>
                <a:gd name="connsiteY1544" fmla="*/ 5504220 h 6479439"/>
                <a:gd name="connsiteX1545" fmla="*/ 2642334 w 9586368"/>
                <a:gd name="connsiteY1545" fmla="*/ 5504220 h 6479439"/>
                <a:gd name="connsiteX1546" fmla="*/ 2646352 w 9586368"/>
                <a:gd name="connsiteY1546" fmla="*/ 5508258 h 6479439"/>
                <a:gd name="connsiteX1547" fmla="*/ 2646352 w 9586368"/>
                <a:gd name="connsiteY1547" fmla="*/ 5518129 h 6479439"/>
                <a:gd name="connsiteX1548" fmla="*/ 2642334 w 9586368"/>
                <a:gd name="connsiteY1548" fmla="*/ 5522168 h 6479439"/>
                <a:gd name="connsiteX1549" fmla="*/ 2632423 w 9586368"/>
                <a:gd name="connsiteY1549" fmla="*/ 5522168 h 6479439"/>
                <a:gd name="connsiteX1550" fmla="*/ 2628404 w 9586368"/>
                <a:gd name="connsiteY1550" fmla="*/ 5518129 h 6479439"/>
                <a:gd name="connsiteX1551" fmla="*/ 2628404 w 9586368"/>
                <a:gd name="connsiteY1551" fmla="*/ 5508258 h 6479439"/>
                <a:gd name="connsiteX1552" fmla="*/ 2393104 w 9586368"/>
                <a:gd name="connsiteY1552" fmla="*/ 5504220 h 6479439"/>
                <a:gd name="connsiteX1553" fmla="*/ 2403015 w 9586368"/>
                <a:gd name="connsiteY1553" fmla="*/ 5504220 h 6479439"/>
                <a:gd name="connsiteX1554" fmla="*/ 2407034 w 9586368"/>
                <a:gd name="connsiteY1554" fmla="*/ 5508258 h 6479439"/>
                <a:gd name="connsiteX1555" fmla="*/ 2407034 w 9586368"/>
                <a:gd name="connsiteY1555" fmla="*/ 5518129 h 6479439"/>
                <a:gd name="connsiteX1556" fmla="*/ 2403015 w 9586368"/>
                <a:gd name="connsiteY1556" fmla="*/ 5522168 h 6479439"/>
                <a:gd name="connsiteX1557" fmla="*/ 2393104 w 9586368"/>
                <a:gd name="connsiteY1557" fmla="*/ 5522168 h 6479439"/>
                <a:gd name="connsiteX1558" fmla="*/ 2389087 w 9586368"/>
                <a:gd name="connsiteY1558" fmla="*/ 5518129 h 6479439"/>
                <a:gd name="connsiteX1559" fmla="*/ 2389087 w 9586368"/>
                <a:gd name="connsiteY1559" fmla="*/ 5508258 h 6479439"/>
                <a:gd name="connsiteX1560" fmla="*/ 2157818 w 9586368"/>
                <a:gd name="connsiteY1560" fmla="*/ 5504220 h 6479439"/>
                <a:gd name="connsiteX1561" fmla="*/ 2167728 w 9586368"/>
                <a:gd name="connsiteY1561" fmla="*/ 5504220 h 6479439"/>
                <a:gd name="connsiteX1562" fmla="*/ 2171748 w 9586368"/>
                <a:gd name="connsiteY1562" fmla="*/ 5508258 h 6479439"/>
                <a:gd name="connsiteX1563" fmla="*/ 2171748 w 9586368"/>
                <a:gd name="connsiteY1563" fmla="*/ 5518129 h 6479439"/>
                <a:gd name="connsiteX1564" fmla="*/ 2167728 w 9586368"/>
                <a:gd name="connsiteY1564" fmla="*/ 5522168 h 6479439"/>
                <a:gd name="connsiteX1565" fmla="*/ 2157818 w 9586368"/>
                <a:gd name="connsiteY1565" fmla="*/ 5522168 h 6479439"/>
                <a:gd name="connsiteX1566" fmla="*/ 2153799 w 9586368"/>
                <a:gd name="connsiteY1566" fmla="*/ 5518129 h 6479439"/>
                <a:gd name="connsiteX1567" fmla="*/ 2153799 w 9586368"/>
                <a:gd name="connsiteY1567" fmla="*/ 5508258 h 6479439"/>
                <a:gd name="connsiteX1568" fmla="*/ 1918510 w 9586368"/>
                <a:gd name="connsiteY1568" fmla="*/ 5504220 h 6479439"/>
                <a:gd name="connsiteX1569" fmla="*/ 1928420 w 9586368"/>
                <a:gd name="connsiteY1569" fmla="*/ 5504220 h 6479439"/>
                <a:gd name="connsiteX1570" fmla="*/ 1932438 w 9586368"/>
                <a:gd name="connsiteY1570" fmla="*/ 5508258 h 6479439"/>
                <a:gd name="connsiteX1571" fmla="*/ 1932438 w 9586368"/>
                <a:gd name="connsiteY1571" fmla="*/ 5518129 h 6479439"/>
                <a:gd name="connsiteX1572" fmla="*/ 1928420 w 9586368"/>
                <a:gd name="connsiteY1572" fmla="*/ 5522168 h 6479439"/>
                <a:gd name="connsiteX1573" fmla="*/ 1918510 w 9586368"/>
                <a:gd name="connsiteY1573" fmla="*/ 5522168 h 6479439"/>
                <a:gd name="connsiteX1574" fmla="*/ 1914490 w 9586368"/>
                <a:gd name="connsiteY1574" fmla="*/ 5518129 h 6479439"/>
                <a:gd name="connsiteX1575" fmla="*/ 1914490 w 9586368"/>
                <a:gd name="connsiteY1575" fmla="*/ 5508258 h 6479439"/>
                <a:gd name="connsiteX1576" fmla="*/ 1679202 w 9586368"/>
                <a:gd name="connsiteY1576" fmla="*/ 5504220 h 6479439"/>
                <a:gd name="connsiteX1577" fmla="*/ 1689112 w 9586368"/>
                <a:gd name="connsiteY1577" fmla="*/ 5504220 h 6479439"/>
                <a:gd name="connsiteX1578" fmla="*/ 1693132 w 9586368"/>
                <a:gd name="connsiteY1578" fmla="*/ 5508258 h 6479439"/>
                <a:gd name="connsiteX1579" fmla="*/ 1693132 w 9586368"/>
                <a:gd name="connsiteY1579" fmla="*/ 5518129 h 6479439"/>
                <a:gd name="connsiteX1580" fmla="*/ 1689112 w 9586368"/>
                <a:gd name="connsiteY1580" fmla="*/ 5522168 h 6479439"/>
                <a:gd name="connsiteX1581" fmla="*/ 1679202 w 9586368"/>
                <a:gd name="connsiteY1581" fmla="*/ 5522168 h 6479439"/>
                <a:gd name="connsiteX1582" fmla="*/ 1675184 w 9586368"/>
                <a:gd name="connsiteY1582" fmla="*/ 5518129 h 6479439"/>
                <a:gd name="connsiteX1583" fmla="*/ 1675184 w 9586368"/>
                <a:gd name="connsiteY1583" fmla="*/ 5508258 h 6479439"/>
                <a:gd name="connsiteX1584" fmla="*/ 1439887 w 9586368"/>
                <a:gd name="connsiteY1584" fmla="*/ 5504220 h 6479439"/>
                <a:gd name="connsiteX1585" fmla="*/ 1449797 w 9586368"/>
                <a:gd name="connsiteY1585" fmla="*/ 5504220 h 6479439"/>
                <a:gd name="connsiteX1586" fmla="*/ 1453815 w 9586368"/>
                <a:gd name="connsiteY1586" fmla="*/ 5508258 h 6479439"/>
                <a:gd name="connsiteX1587" fmla="*/ 1453815 w 9586368"/>
                <a:gd name="connsiteY1587" fmla="*/ 5518129 h 6479439"/>
                <a:gd name="connsiteX1588" fmla="*/ 1449797 w 9586368"/>
                <a:gd name="connsiteY1588" fmla="*/ 5522168 h 6479439"/>
                <a:gd name="connsiteX1589" fmla="*/ 1439887 w 9586368"/>
                <a:gd name="connsiteY1589" fmla="*/ 5522168 h 6479439"/>
                <a:gd name="connsiteX1590" fmla="*/ 1435869 w 9586368"/>
                <a:gd name="connsiteY1590" fmla="*/ 5518129 h 6479439"/>
                <a:gd name="connsiteX1591" fmla="*/ 1435869 w 9586368"/>
                <a:gd name="connsiteY1591" fmla="*/ 5508258 h 6479439"/>
                <a:gd name="connsiteX1592" fmla="*/ 1200572 w 9586368"/>
                <a:gd name="connsiteY1592" fmla="*/ 5504220 h 6479439"/>
                <a:gd name="connsiteX1593" fmla="*/ 1210483 w 9586368"/>
                <a:gd name="connsiteY1593" fmla="*/ 5504220 h 6479439"/>
                <a:gd name="connsiteX1594" fmla="*/ 1214501 w 9586368"/>
                <a:gd name="connsiteY1594" fmla="*/ 5508258 h 6479439"/>
                <a:gd name="connsiteX1595" fmla="*/ 1214501 w 9586368"/>
                <a:gd name="connsiteY1595" fmla="*/ 5518129 h 6479439"/>
                <a:gd name="connsiteX1596" fmla="*/ 1210483 w 9586368"/>
                <a:gd name="connsiteY1596" fmla="*/ 5522168 h 6479439"/>
                <a:gd name="connsiteX1597" fmla="*/ 1200572 w 9586368"/>
                <a:gd name="connsiteY1597" fmla="*/ 5522168 h 6479439"/>
                <a:gd name="connsiteX1598" fmla="*/ 1196554 w 9586368"/>
                <a:gd name="connsiteY1598" fmla="*/ 5518129 h 6479439"/>
                <a:gd name="connsiteX1599" fmla="*/ 1196554 w 9586368"/>
                <a:gd name="connsiteY1599" fmla="*/ 5508258 h 6479439"/>
                <a:gd name="connsiteX1600" fmla="*/ 961260 w 9586368"/>
                <a:gd name="connsiteY1600" fmla="*/ 5504220 h 6479439"/>
                <a:gd name="connsiteX1601" fmla="*/ 971169 w 9586368"/>
                <a:gd name="connsiteY1601" fmla="*/ 5504220 h 6479439"/>
                <a:gd name="connsiteX1602" fmla="*/ 975189 w 9586368"/>
                <a:gd name="connsiteY1602" fmla="*/ 5508258 h 6479439"/>
                <a:gd name="connsiteX1603" fmla="*/ 975189 w 9586368"/>
                <a:gd name="connsiteY1603" fmla="*/ 5518129 h 6479439"/>
                <a:gd name="connsiteX1604" fmla="*/ 971169 w 9586368"/>
                <a:gd name="connsiteY1604" fmla="*/ 5522168 h 6479439"/>
                <a:gd name="connsiteX1605" fmla="*/ 961260 w 9586368"/>
                <a:gd name="connsiteY1605" fmla="*/ 5522168 h 6479439"/>
                <a:gd name="connsiteX1606" fmla="*/ 957241 w 9586368"/>
                <a:gd name="connsiteY1606" fmla="*/ 5518129 h 6479439"/>
                <a:gd name="connsiteX1607" fmla="*/ 957241 w 9586368"/>
                <a:gd name="connsiteY1607" fmla="*/ 5508258 h 6479439"/>
                <a:gd name="connsiteX1608" fmla="*/ 721961 w 9586368"/>
                <a:gd name="connsiteY1608" fmla="*/ 5504220 h 6479439"/>
                <a:gd name="connsiteX1609" fmla="*/ 731871 w 9586368"/>
                <a:gd name="connsiteY1609" fmla="*/ 5504220 h 6479439"/>
                <a:gd name="connsiteX1610" fmla="*/ 735890 w 9586368"/>
                <a:gd name="connsiteY1610" fmla="*/ 5508258 h 6479439"/>
                <a:gd name="connsiteX1611" fmla="*/ 735890 w 9586368"/>
                <a:gd name="connsiteY1611" fmla="*/ 5518129 h 6479439"/>
                <a:gd name="connsiteX1612" fmla="*/ 731871 w 9586368"/>
                <a:gd name="connsiteY1612" fmla="*/ 5522168 h 6479439"/>
                <a:gd name="connsiteX1613" fmla="*/ 721961 w 9586368"/>
                <a:gd name="connsiteY1613" fmla="*/ 5522168 h 6479439"/>
                <a:gd name="connsiteX1614" fmla="*/ 717942 w 9586368"/>
                <a:gd name="connsiteY1614" fmla="*/ 5518129 h 6479439"/>
                <a:gd name="connsiteX1615" fmla="*/ 717942 w 9586368"/>
                <a:gd name="connsiteY1615" fmla="*/ 5508258 h 6479439"/>
                <a:gd name="connsiteX1616" fmla="*/ 482649 w 9586368"/>
                <a:gd name="connsiteY1616" fmla="*/ 5504220 h 6479439"/>
                <a:gd name="connsiteX1617" fmla="*/ 492559 w 9586368"/>
                <a:gd name="connsiteY1617" fmla="*/ 5504220 h 6479439"/>
                <a:gd name="connsiteX1618" fmla="*/ 496578 w 9586368"/>
                <a:gd name="connsiteY1618" fmla="*/ 5508258 h 6479439"/>
                <a:gd name="connsiteX1619" fmla="*/ 496578 w 9586368"/>
                <a:gd name="connsiteY1619" fmla="*/ 5518129 h 6479439"/>
                <a:gd name="connsiteX1620" fmla="*/ 492559 w 9586368"/>
                <a:gd name="connsiteY1620" fmla="*/ 5522168 h 6479439"/>
                <a:gd name="connsiteX1621" fmla="*/ 482649 w 9586368"/>
                <a:gd name="connsiteY1621" fmla="*/ 5522168 h 6479439"/>
                <a:gd name="connsiteX1622" fmla="*/ 478630 w 9586368"/>
                <a:gd name="connsiteY1622" fmla="*/ 5518129 h 6479439"/>
                <a:gd name="connsiteX1623" fmla="*/ 478630 w 9586368"/>
                <a:gd name="connsiteY1623" fmla="*/ 5508258 h 6479439"/>
                <a:gd name="connsiteX1624" fmla="*/ 243335 w 9586368"/>
                <a:gd name="connsiteY1624" fmla="*/ 5504220 h 6479439"/>
                <a:gd name="connsiteX1625" fmla="*/ 253245 w 9586368"/>
                <a:gd name="connsiteY1625" fmla="*/ 5504220 h 6479439"/>
                <a:gd name="connsiteX1626" fmla="*/ 257264 w 9586368"/>
                <a:gd name="connsiteY1626" fmla="*/ 5508258 h 6479439"/>
                <a:gd name="connsiteX1627" fmla="*/ 257264 w 9586368"/>
                <a:gd name="connsiteY1627" fmla="*/ 5518129 h 6479439"/>
                <a:gd name="connsiteX1628" fmla="*/ 253245 w 9586368"/>
                <a:gd name="connsiteY1628" fmla="*/ 5522168 h 6479439"/>
                <a:gd name="connsiteX1629" fmla="*/ 243335 w 9586368"/>
                <a:gd name="connsiteY1629" fmla="*/ 5522168 h 6479439"/>
                <a:gd name="connsiteX1630" fmla="*/ 239316 w 9586368"/>
                <a:gd name="connsiteY1630" fmla="*/ 5518129 h 6479439"/>
                <a:gd name="connsiteX1631" fmla="*/ 239316 w 9586368"/>
                <a:gd name="connsiteY1631" fmla="*/ 5508258 h 6479439"/>
                <a:gd name="connsiteX1632" fmla="*/ 4022 w 9586368"/>
                <a:gd name="connsiteY1632" fmla="*/ 5504220 h 6479439"/>
                <a:gd name="connsiteX1633" fmla="*/ 13932 w 9586368"/>
                <a:gd name="connsiteY1633" fmla="*/ 5504220 h 6479439"/>
                <a:gd name="connsiteX1634" fmla="*/ 17951 w 9586368"/>
                <a:gd name="connsiteY1634" fmla="*/ 5508258 h 6479439"/>
                <a:gd name="connsiteX1635" fmla="*/ 17951 w 9586368"/>
                <a:gd name="connsiteY1635" fmla="*/ 5518129 h 6479439"/>
                <a:gd name="connsiteX1636" fmla="*/ 13932 w 9586368"/>
                <a:gd name="connsiteY1636" fmla="*/ 5522168 h 6479439"/>
                <a:gd name="connsiteX1637" fmla="*/ 4022 w 9586368"/>
                <a:gd name="connsiteY1637" fmla="*/ 5522168 h 6479439"/>
                <a:gd name="connsiteX1638" fmla="*/ 3 w 9586368"/>
                <a:gd name="connsiteY1638" fmla="*/ 5518129 h 6479439"/>
                <a:gd name="connsiteX1639" fmla="*/ 3 w 9586368"/>
                <a:gd name="connsiteY1639" fmla="*/ 5508258 h 6479439"/>
                <a:gd name="connsiteX1640" fmla="*/ 2157818 w 9586368"/>
                <a:gd name="connsiteY1640" fmla="*/ 5264940 h 6479439"/>
                <a:gd name="connsiteX1641" fmla="*/ 2167729 w 9586368"/>
                <a:gd name="connsiteY1641" fmla="*/ 5264940 h 6479439"/>
                <a:gd name="connsiteX1642" fmla="*/ 2171748 w 9586368"/>
                <a:gd name="connsiteY1642" fmla="*/ 5268978 h 6479439"/>
                <a:gd name="connsiteX1643" fmla="*/ 2171748 w 9586368"/>
                <a:gd name="connsiteY1643" fmla="*/ 5278849 h 6479439"/>
                <a:gd name="connsiteX1644" fmla="*/ 2167729 w 9586368"/>
                <a:gd name="connsiteY1644" fmla="*/ 5282888 h 6479439"/>
                <a:gd name="connsiteX1645" fmla="*/ 2157818 w 9586368"/>
                <a:gd name="connsiteY1645" fmla="*/ 5282888 h 6479439"/>
                <a:gd name="connsiteX1646" fmla="*/ 2153799 w 9586368"/>
                <a:gd name="connsiteY1646" fmla="*/ 5278849 h 6479439"/>
                <a:gd name="connsiteX1647" fmla="*/ 2153799 w 9586368"/>
                <a:gd name="connsiteY1647" fmla="*/ 5268978 h 6479439"/>
                <a:gd name="connsiteX1648" fmla="*/ 1918510 w 9586368"/>
                <a:gd name="connsiteY1648" fmla="*/ 5264940 h 6479439"/>
                <a:gd name="connsiteX1649" fmla="*/ 1928420 w 9586368"/>
                <a:gd name="connsiteY1649" fmla="*/ 5264940 h 6479439"/>
                <a:gd name="connsiteX1650" fmla="*/ 1932438 w 9586368"/>
                <a:gd name="connsiteY1650" fmla="*/ 5268978 h 6479439"/>
                <a:gd name="connsiteX1651" fmla="*/ 1932438 w 9586368"/>
                <a:gd name="connsiteY1651" fmla="*/ 5278849 h 6479439"/>
                <a:gd name="connsiteX1652" fmla="*/ 1928420 w 9586368"/>
                <a:gd name="connsiteY1652" fmla="*/ 5282888 h 6479439"/>
                <a:gd name="connsiteX1653" fmla="*/ 1918510 w 9586368"/>
                <a:gd name="connsiteY1653" fmla="*/ 5282888 h 6479439"/>
                <a:gd name="connsiteX1654" fmla="*/ 1914492 w 9586368"/>
                <a:gd name="connsiteY1654" fmla="*/ 5278849 h 6479439"/>
                <a:gd name="connsiteX1655" fmla="*/ 1914492 w 9586368"/>
                <a:gd name="connsiteY1655" fmla="*/ 5268978 h 6479439"/>
                <a:gd name="connsiteX1656" fmla="*/ 1679204 w 9586368"/>
                <a:gd name="connsiteY1656" fmla="*/ 5264940 h 6479439"/>
                <a:gd name="connsiteX1657" fmla="*/ 1689113 w 9586368"/>
                <a:gd name="connsiteY1657" fmla="*/ 5264940 h 6479439"/>
                <a:gd name="connsiteX1658" fmla="*/ 1693132 w 9586368"/>
                <a:gd name="connsiteY1658" fmla="*/ 5268978 h 6479439"/>
                <a:gd name="connsiteX1659" fmla="*/ 1693132 w 9586368"/>
                <a:gd name="connsiteY1659" fmla="*/ 5278849 h 6479439"/>
                <a:gd name="connsiteX1660" fmla="*/ 1689113 w 9586368"/>
                <a:gd name="connsiteY1660" fmla="*/ 5282888 h 6479439"/>
                <a:gd name="connsiteX1661" fmla="*/ 1679204 w 9586368"/>
                <a:gd name="connsiteY1661" fmla="*/ 5282888 h 6479439"/>
                <a:gd name="connsiteX1662" fmla="*/ 1675184 w 9586368"/>
                <a:gd name="connsiteY1662" fmla="*/ 5278849 h 6479439"/>
                <a:gd name="connsiteX1663" fmla="*/ 1675184 w 9586368"/>
                <a:gd name="connsiteY1663" fmla="*/ 5268978 h 6479439"/>
                <a:gd name="connsiteX1664" fmla="*/ 1439889 w 9586368"/>
                <a:gd name="connsiteY1664" fmla="*/ 5264940 h 6479439"/>
                <a:gd name="connsiteX1665" fmla="*/ 1449798 w 9586368"/>
                <a:gd name="connsiteY1665" fmla="*/ 5264940 h 6479439"/>
                <a:gd name="connsiteX1666" fmla="*/ 1453817 w 9586368"/>
                <a:gd name="connsiteY1666" fmla="*/ 5268978 h 6479439"/>
                <a:gd name="connsiteX1667" fmla="*/ 1453817 w 9586368"/>
                <a:gd name="connsiteY1667" fmla="*/ 5278849 h 6479439"/>
                <a:gd name="connsiteX1668" fmla="*/ 1449798 w 9586368"/>
                <a:gd name="connsiteY1668" fmla="*/ 5282888 h 6479439"/>
                <a:gd name="connsiteX1669" fmla="*/ 1439889 w 9586368"/>
                <a:gd name="connsiteY1669" fmla="*/ 5282888 h 6479439"/>
                <a:gd name="connsiteX1670" fmla="*/ 1435869 w 9586368"/>
                <a:gd name="connsiteY1670" fmla="*/ 5278849 h 6479439"/>
                <a:gd name="connsiteX1671" fmla="*/ 1435869 w 9586368"/>
                <a:gd name="connsiteY1671" fmla="*/ 5268978 h 6479439"/>
                <a:gd name="connsiteX1672" fmla="*/ 1200573 w 9586368"/>
                <a:gd name="connsiteY1672" fmla="*/ 5264940 h 6479439"/>
                <a:gd name="connsiteX1673" fmla="*/ 1210483 w 9586368"/>
                <a:gd name="connsiteY1673" fmla="*/ 5264940 h 6479439"/>
                <a:gd name="connsiteX1674" fmla="*/ 1214502 w 9586368"/>
                <a:gd name="connsiteY1674" fmla="*/ 5268978 h 6479439"/>
                <a:gd name="connsiteX1675" fmla="*/ 1214502 w 9586368"/>
                <a:gd name="connsiteY1675" fmla="*/ 5278849 h 6479439"/>
                <a:gd name="connsiteX1676" fmla="*/ 1210483 w 9586368"/>
                <a:gd name="connsiteY1676" fmla="*/ 5282888 h 6479439"/>
                <a:gd name="connsiteX1677" fmla="*/ 1200573 w 9586368"/>
                <a:gd name="connsiteY1677" fmla="*/ 5282888 h 6479439"/>
                <a:gd name="connsiteX1678" fmla="*/ 1196554 w 9586368"/>
                <a:gd name="connsiteY1678" fmla="*/ 5278849 h 6479439"/>
                <a:gd name="connsiteX1679" fmla="*/ 1196554 w 9586368"/>
                <a:gd name="connsiteY1679" fmla="*/ 5268978 h 6479439"/>
                <a:gd name="connsiteX1680" fmla="*/ 961260 w 9586368"/>
                <a:gd name="connsiteY1680" fmla="*/ 5264940 h 6479439"/>
                <a:gd name="connsiteX1681" fmla="*/ 971171 w 9586368"/>
                <a:gd name="connsiteY1681" fmla="*/ 5264940 h 6479439"/>
                <a:gd name="connsiteX1682" fmla="*/ 975189 w 9586368"/>
                <a:gd name="connsiteY1682" fmla="*/ 5268978 h 6479439"/>
                <a:gd name="connsiteX1683" fmla="*/ 975189 w 9586368"/>
                <a:gd name="connsiteY1683" fmla="*/ 5278849 h 6479439"/>
                <a:gd name="connsiteX1684" fmla="*/ 971171 w 9586368"/>
                <a:gd name="connsiteY1684" fmla="*/ 5282888 h 6479439"/>
                <a:gd name="connsiteX1685" fmla="*/ 961260 w 9586368"/>
                <a:gd name="connsiteY1685" fmla="*/ 5282888 h 6479439"/>
                <a:gd name="connsiteX1686" fmla="*/ 957241 w 9586368"/>
                <a:gd name="connsiteY1686" fmla="*/ 5278849 h 6479439"/>
                <a:gd name="connsiteX1687" fmla="*/ 957241 w 9586368"/>
                <a:gd name="connsiteY1687" fmla="*/ 5268978 h 6479439"/>
                <a:gd name="connsiteX1688" fmla="*/ 9572438 w 9586368"/>
                <a:gd name="connsiteY1688" fmla="*/ 5264889 h 6479439"/>
                <a:gd name="connsiteX1689" fmla="*/ 9582349 w 9586368"/>
                <a:gd name="connsiteY1689" fmla="*/ 5264889 h 6479439"/>
                <a:gd name="connsiteX1690" fmla="*/ 9586368 w 9586368"/>
                <a:gd name="connsiteY1690" fmla="*/ 5268928 h 6479439"/>
                <a:gd name="connsiteX1691" fmla="*/ 9586368 w 9586368"/>
                <a:gd name="connsiteY1691" fmla="*/ 5278799 h 6479439"/>
                <a:gd name="connsiteX1692" fmla="*/ 9582349 w 9586368"/>
                <a:gd name="connsiteY1692" fmla="*/ 5282838 h 6479439"/>
                <a:gd name="connsiteX1693" fmla="*/ 9572438 w 9586368"/>
                <a:gd name="connsiteY1693" fmla="*/ 5282838 h 6479439"/>
                <a:gd name="connsiteX1694" fmla="*/ 9568419 w 9586368"/>
                <a:gd name="connsiteY1694" fmla="*/ 5278799 h 6479439"/>
                <a:gd name="connsiteX1695" fmla="*/ 9568419 w 9586368"/>
                <a:gd name="connsiteY1695" fmla="*/ 5268928 h 6479439"/>
                <a:gd name="connsiteX1696" fmla="*/ 9333125 w 9586368"/>
                <a:gd name="connsiteY1696" fmla="*/ 5264889 h 6479439"/>
                <a:gd name="connsiteX1697" fmla="*/ 9343036 w 9586368"/>
                <a:gd name="connsiteY1697" fmla="*/ 5264889 h 6479439"/>
                <a:gd name="connsiteX1698" fmla="*/ 9347055 w 9586368"/>
                <a:gd name="connsiteY1698" fmla="*/ 5268928 h 6479439"/>
                <a:gd name="connsiteX1699" fmla="*/ 9347055 w 9586368"/>
                <a:gd name="connsiteY1699" fmla="*/ 5278799 h 6479439"/>
                <a:gd name="connsiteX1700" fmla="*/ 9343036 w 9586368"/>
                <a:gd name="connsiteY1700" fmla="*/ 5282838 h 6479439"/>
                <a:gd name="connsiteX1701" fmla="*/ 9333125 w 9586368"/>
                <a:gd name="connsiteY1701" fmla="*/ 5282838 h 6479439"/>
                <a:gd name="connsiteX1702" fmla="*/ 9329106 w 9586368"/>
                <a:gd name="connsiteY1702" fmla="*/ 5278799 h 6479439"/>
                <a:gd name="connsiteX1703" fmla="*/ 9329106 w 9586368"/>
                <a:gd name="connsiteY1703" fmla="*/ 5268928 h 6479439"/>
                <a:gd name="connsiteX1704" fmla="*/ 9093811 w 9586368"/>
                <a:gd name="connsiteY1704" fmla="*/ 5264889 h 6479439"/>
                <a:gd name="connsiteX1705" fmla="*/ 9103722 w 9586368"/>
                <a:gd name="connsiteY1705" fmla="*/ 5264889 h 6479439"/>
                <a:gd name="connsiteX1706" fmla="*/ 9107741 w 9586368"/>
                <a:gd name="connsiteY1706" fmla="*/ 5268928 h 6479439"/>
                <a:gd name="connsiteX1707" fmla="*/ 9107741 w 9586368"/>
                <a:gd name="connsiteY1707" fmla="*/ 5278799 h 6479439"/>
                <a:gd name="connsiteX1708" fmla="*/ 9103722 w 9586368"/>
                <a:gd name="connsiteY1708" fmla="*/ 5282838 h 6479439"/>
                <a:gd name="connsiteX1709" fmla="*/ 9093811 w 9586368"/>
                <a:gd name="connsiteY1709" fmla="*/ 5282838 h 6479439"/>
                <a:gd name="connsiteX1710" fmla="*/ 9089792 w 9586368"/>
                <a:gd name="connsiteY1710" fmla="*/ 5278799 h 6479439"/>
                <a:gd name="connsiteX1711" fmla="*/ 9089792 w 9586368"/>
                <a:gd name="connsiteY1711" fmla="*/ 5268928 h 6479439"/>
                <a:gd name="connsiteX1712" fmla="*/ 8854496 w 9586368"/>
                <a:gd name="connsiteY1712" fmla="*/ 5264889 h 6479439"/>
                <a:gd name="connsiteX1713" fmla="*/ 8864407 w 9586368"/>
                <a:gd name="connsiteY1713" fmla="*/ 5264889 h 6479439"/>
                <a:gd name="connsiteX1714" fmla="*/ 8868426 w 9586368"/>
                <a:gd name="connsiteY1714" fmla="*/ 5268928 h 6479439"/>
                <a:gd name="connsiteX1715" fmla="*/ 8868426 w 9586368"/>
                <a:gd name="connsiteY1715" fmla="*/ 5278799 h 6479439"/>
                <a:gd name="connsiteX1716" fmla="*/ 8864407 w 9586368"/>
                <a:gd name="connsiteY1716" fmla="*/ 5282838 h 6479439"/>
                <a:gd name="connsiteX1717" fmla="*/ 8854496 w 9586368"/>
                <a:gd name="connsiteY1717" fmla="*/ 5282838 h 6479439"/>
                <a:gd name="connsiteX1718" fmla="*/ 8850477 w 9586368"/>
                <a:gd name="connsiteY1718" fmla="*/ 5278799 h 6479439"/>
                <a:gd name="connsiteX1719" fmla="*/ 8850477 w 9586368"/>
                <a:gd name="connsiteY1719" fmla="*/ 5268928 h 6479439"/>
                <a:gd name="connsiteX1720" fmla="*/ 8615184 w 9586368"/>
                <a:gd name="connsiteY1720" fmla="*/ 5264889 h 6479439"/>
                <a:gd name="connsiteX1721" fmla="*/ 8625095 w 9586368"/>
                <a:gd name="connsiteY1721" fmla="*/ 5264889 h 6479439"/>
                <a:gd name="connsiteX1722" fmla="*/ 8629114 w 9586368"/>
                <a:gd name="connsiteY1722" fmla="*/ 5268928 h 6479439"/>
                <a:gd name="connsiteX1723" fmla="*/ 8629114 w 9586368"/>
                <a:gd name="connsiteY1723" fmla="*/ 5278799 h 6479439"/>
                <a:gd name="connsiteX1724" fmla="*/ 8625095 w 9586368"/>
                <a:gd name="connsiteY1724" fmla="*/ 5282838 h 6479439"/>
                <a:gd name="connsiteX1725" fmla="*/ 8615184 w 9586368"/>
                <a:gd name="connsiteY1725" fmla="*/ 5282838 h 6479439"/>
                <a:gd name="connsiteX1726" fmla="*/ 8611165 w 9586368"/>
                <a:gd name="connsiteY1726" fmla="*/ 5278799 h 6479439"/>
                <a:gd name="connsiteX1727" fmla="*/ 8611165 w 9586368"/>
                <a:gd name="connsiteY1727" fmla="*/ 5268928 h 6479439"/>
                <a:gd name="connsiteX1728" fmla="*/ 8375869 w 9586368"/>
                <a:gd name="connsiteY1728" fmla="*/ 5264889 h 6479439"/>
                <a:gd name="connsiteX1729" fmla="*/ 8385779 w 9586368"/>
                <a:gd name="connsiteY1729" fmla="*/ 5264889 h 6479439"/>
                <a:gd name="connsiteX1730" fmla="*/ 8389799 w 9586368"/>
                <a:gd name="connsiteY1730" fmla="*/ 5268928 h 6479439"/>
                <a:gd name="connsiteX1731" fmla="*/ 8389799 w 9586368"/>
                <a:gd name="connsiteY1731" fmla="*/ 5278799 h 6479439"/>
                <a:gd name="connsiteX1732" fmla="*/ 8385779 w 9586368"/>
                <a:gd name="connsiteY1732" fmla="*/ 5282838 h 6479439"/>
                <a:gd name="connsiteX1733" fmla="*/ 8375869 w 9586368"/>
                <a:gd name="connsiteY1733" fmla="*/ 5282838 h 6479439"/>
                <a:gd name="connsiteX1734" fmla="*/ 8371850 w 9586368"/>
                <a:gd name="connsiteY1734" fmla="*/ 5278799 h 6479439"/>
                <a:gd name="connsiteX1735" fmla="*/ 8371850 w 9586368"/>
                <a:gd name="connsiteY1735" fmla="*/ 5268928 h 6479439"/>
                <a:gd name="connsiteX1736" fmla="*/ 8136553 w 9586368"/>
                <a:gd name="connsiteY1736" fmla="*/ 5264889 h 6479439"/>
                <a:gd name="connsiteX1737" fmla="*/ 8146464 w 9586368"/>
                <a:gd name="connsiteY1737" fmla="*/ 5264889 h 6479439"/>
                <a:gd name="connsiteX1738" fmla="*/ 8150483 w 9586368"/>
                <a:gd name="connsiteY1738" fmla="*/ 5268928 h 6479439"/>
                <a:gd name="connsiteX1739" fmla="*/ 8150483 w 9586368"/>
                <a:gd name="connsiteY1739" fmla="*/ 5278799 h 6479439"/>
                <a:gd name="connsiteX1740" fmla="*/ 8146464 w 9586368"/>
                <a:gd name="connsiteY1740" fmla="*/ 5282838 h 6479439"/>
                <a:gd name="connsiteX1741" fmla="*/ 8136553 w 9586368"/>
                <a:gd name="connsiteY1741" fmla="*/ 5282838 h 6479439"/>
                <a:gd name="connsiteX1742" fmla="*/ 8132534 w 9586368"/>
                <a:gd name="connsiteY1742" fmla="*/ 5278799 h 6479439"/>
                <a:gd name="connsiteX1743" fmla="*/ 8132534 w 9586368"/>
                <a:gd name="connsiteY1743" fmla="*/ 5268928 h 6479439"/>
                <a:gd name="connsiteX1744" fmla="*/ 7897241 w 9586368"/>
                <a:gd name="connsiteY1744" fmla="*/ 5264889 h 6479439"/>
                <a:gd name="connsiteX1745" fmla="*/ 7907151 w 9586368"/>
                <a:gd name="connsiteY1745" fmla="*/ 5264889 h 6479439"/>
                <a:gd name="connsiteX1746" fmla="*/ 7911170 w 9586368"/>
                <a:gd name="connsiteY1746" fmla="*/ 5268928 h 6479439"/>
                <a:gd name="connsiteX1747" fmla="*/ 7911170 w 9586368"/>
                <a:gd name="connsiteY1747" fmla="*/ 5278799 h 6479439"/>
                <a:gd name="connsiteX1748" fmla="*/ 7907151 w 9586368"/>
                <a:gd name="connsiteY1748" fmla="*/ 5282838 h 6479439"/>
                <a:gd name="connsiteX1749" fmla="*/ 7897241 w 9586368"/>
                <a:gd name="connsiteY1749" fmla="*/ 5282838 h 6479439"/>
                <a:gd name="connsiteX1750" fmla="*/ 7893222 w 9586368"/>
                <a:gd name="connsiteY1750" fmla="*/ 5278799 h 6479439"/>
                <a:gd name="connsiteX1751" fmla="*/ 7893222 w 9586368"/>
                <a:gd name="connsiteY1751" fmla="*/ 5268928 h 6479439"/>
                <a:gd name="connsiteX1752" fmla="*/ 7657926 w 9586368"/>
                <a:gd name="connsiteY1752" fmla="*/ 5264889 h 6479439"/>
                <a:gd name="connsiteX1753" fmla="*/ 7667836 w 9586368"/>
                <a:gd name="connsiteY1753" fmla="*/ 5264889 h 6479439"/>
                <a:gd name="connsiteX1754" fmla="*/ 7671855 w 9586368"/>
                <a:gd name="connsiteY1754" fmla="*/ 5268928 h 6479439"/>
                <a:gd name="connsiteX1755" fmla="*/ 7671855 w 9586368"/>
                <a:gd name="connsiteY1755" fmla="*/ 5278799 h 6479439"/>
                <a:gd name="connsiteX1756" fmla="*/ 7667836 w 9586368"/>
                <a:gd name="connsiteY1756" fmla="*/ 5282838 h 6479439"/>
                <a:gd name="connsiteX1757" fmla="*/ 7657926 w 9586368"/>
                <a:gd name="connsiteY1757" fmla="*/ 5282838 h 6479439"/>
                <a:gd name="connsiteX1758" fmla="*/ 7653906 w 9586368"/>
                <a:gd name="connsiteY1758" fmla="*/ 5278799 h 6479439"/>
                <a:gd name="connsiteX1759" fmla="*/ 7653906 w 9586368"/>
                <a:gd name="connsiteY1759" fmla="*/ 5268928 h 6479439"/>
                <a:gd name="connsiteX1760" fmla="*/ 7418611 w 9586368"/>
                <a:gd name="connsiteY1760" fmla="*/ 5264889 h 6479439"/>
                <a:gd name="connsiteX1761" fmla="*/ 7428521 w 9586368"/>
                <a:gd name="connsiteY1761" fmla="*/ 5264889 h 6479439"/>
                <a:gd name="connsiteX1762" fmla="*/ 7432540 w 9586368"/>
                <a:gd name="connsiteY1762" fmla="*/ 5268928 h 6479439"/>
                <a:gd name="connsiteX1763" fmla="*/ 7432540 w 9586368"/>
                <a:gd name="connsiteY1763" fmla="*/ 5278799 h 6479439"/>
                <a:gd name="connsiteX1764" fmla="*/ 7428521 w 9586368"/>
                <a:gd name="connsiteY1764" fmla="*/ 5282838 h 6479439"/>
                <a:gd name="connsiteX1765" fmla="*/ 7418611 w 9586368"/>
                <a:gd name="connsiteY1765" fmla="*/ 5282838 h 6479439"/>
                <a:gd name="connsiteX1766" fmla="*/ 7414592 w 9586368"/>
                <a:gd name="connsiteY1766" fmla="*/ 5278799 h 6479439"/>
                <a:gd name="connsiteX1767" fmla="*/ 7414592 w 9586368"/>
                <a:gd name="connsiteY1767" fmla="*/ 5268928 h 6479439"/>
                <a:gd name="connsiteX1768" fmla="*/ 7179298 w 9586368"/>
                <a:gd name="connsiteY1768" fmla="*/ 5264889 h 6479439"/>
                <a:gd name="connsiteX1769" fmla="*/ 7189209 w 9586368"/>
                <a:gd name="connsiteY1769" fmla="*/ 5264889 h 6479439"/>
                <a:gd name="connsiteX1770" fmla="*/ 7193228 w 9586368"/>
                <a:gd name="connsiteY1770" fmla="*/ 5268928 h 6479439"/>
                <a:gd name="connsiteX1771" fmla="*/ 7193228 w 9586368"/>
                <a:gd name="connsiteY1771" fmla="*/ 5278799 h 6479439"/>
                <a:gd name="connsiteX1772" fmla="*/ 7189209 w 9586368"/>
                <a:gd name="connsiteY1772" fmla="*/ 5282838 h 6479439"/>
                <a:gd name="connsiteX1773" fmla="*/ 7179298 w 9586368"/>
                <a:gd name="connsiteY1773" fmla="*/ 5282838 h 6479439"/>
                <a:gd name="connsiteX1774" fmla="*/ 7175279 w 9586368"/>
                <a:gd name="connsiteY1774" fmla="*/ 5278799 h 6479439"/>
                <a:gd name="connsiteX1775" fmla="*/ 7175279 w 9586368"/>
                <a:gd name="connsiteY1775" fmla="*/ 5268928 h 6479439"/>
                <a:gd name="connsiteX1776" fmla="*/ 6939983 w 9586368"/>
                <a:gd name="connsiteY1776" fmla="*/ 5264889 h 6479439"/>
                <a:gd name="connsiteX1777" fmla="*/ 6949894 w 9586368"/>
                <a:gd name="connsiteY1777" fmla="*/ 5264889 h 6479439"/>
                <a:gd name="connsiteX1778" fmla="*/ 6953913 w 9586368"/>
                <a:gd name="connsiteY1778" fmla="*/ 5268928 h 6479439"/>
                <a:gd name="connsiteX1779" fmla="*/ 6953913 w 9586368"/>
                <a:gd name="connsiteY1779" fmla="*/ 5278799 h 6479439"/>
                <a:gd name="connsiteX1780" fmla="*/ 6949894 w 9586368"/>
                <a:gd name="connsiteY1780" fmla="*/ 5282838 h 6479439"/>
                <a:gd name="connsiteX1781" fmla="*/ 6939983 w 9586368"/>
                <a:gd name="connsiteY1781" fmla="*/ 5282838 h 6479439"/>
                <a:gd name="connsiteX1782" fmla="*/ 6935964 w 9586368"/>
                <a:gd name="connsiteY1782" fmla="*/ 5278799 h 6479439"/>
                <a:gd name="connsiteX1783" fmla="*/ 6935964 w 9586368"/>
                <a:gd name="connsiteY1783" fmla="*/ 5268928 h 6479439"/>
                <a:gd name="connsiteX1784" fmla="*/ 6700670 w 9586368"/>
                <a:gd name="connsiteY1784" fmla="*/ 5264889 h 6479439"/>
                <a:gd name="connsiteX1785" fmla="*/ 6710581 w 9586368"/>
                <a:gd name="connsiteY1785" fmla="*/ 5264889 h 6479439"/>
                <a:gd name="connsiteX1786" fmla="*/ 6714600 w 9586368"/>
                <a:gd name="connsiteY1786" fmla="*/ 5268928 h 6479439"/>
                <a:gd name="connsiteX1787" fmla="*/ 6714600 w 9586368"/>
                <a:gd name="connsiteY1787" fmla="*/ 5278799 h 6479439"/>
                <a:gd name="connsiteX1788" fmla="*/ 6710581 w 9586368"/>
                <a:gd name="connsiteY1788" fmla="*/ 5282838 h 6479439"/>
                <a:gd name="connsiteX1789" fmla="*/ 6700670 w 9586368"/>
                <a:gd name="connsiteY1789" fmla="*/ 5282838 h 6479439"/>
                <a:gd name="connsiteX1790" fmla="*/ 6696651 w 9586368"/>
                <a:gd name="connsiteY1790" fmla="*/ 5278799 h 6479439"/>
                <a:gd name="connsiteX1791" fmla="*/ 6696651 w 9586368"/>
                <a:gd name="connsiteY1791" fmla="*/ 5268928 h 6479439"/>
                <a:gd name="connsiteX1792" fmla="*/ 6461356 w 9586368"/>
                <a:gd name="connsiteY1792" fmla="*/ 5264889 h 6479439"/>
                <a:gd name="connsiteX1793" fmla="*/ 6471266 w 9586368"/>
                <a:gd name="connsiteY1793" fmla="*/ 5264889 h 6479439"/>
                <a:gd name="connsiteX1794" fmla="*/ 6475285 w 9586368"/>
                <a:gd name="connsiteY1794" fmla="*/ 5268928 h 6479439"/>
                <a:gd name="connsiteX1795" fmla="*/ 6475285 w 9586368"/>
                <a:gd name="connsiteY1795" fmla="*/ 5278799 h 6479439"/>
                <a:gd name="connsiteX1796" fmla="*/ 6471266 w 9586368"/>
                <a:gd name="connsiteY1796" fmla="*/ 5282838 h 6479439"/>
                <a:gd name="connsiteX1797" fmla="*/ 6461356 w 9586368"/>
                <a:gd name="connsiteY1797" fmla="*/ 5282838 h 6479439"/>
                <a:gd name="connsiteX1798" fmla="*/ 6457337 w 9586368"/>
                <a:gd name="connsiteY1798" fmla="*/ 5278799 h 6479439"/>
                <a:gd name="connsiteX1799" fmla="*/ 6457337 w 9586368"/>
                <a:gd name="connsiteY1799" fmla="*/ 5268928 h 6479439"/>
                <a:gd name="connsiteX1800" fmla="*/ 6222042 w 9586368"/>
                <a:gd name="connsiteY1800" fmla="*/ 5264889 h 6479439"/>
                <a:gd name="connsiteX1801" fmla="*/ 6231952 w 9586368"/>
                <a:gd name="connsiteY1801" fmla="*/ 5264889 h 6479439"/>
                <a:gd name="connsiteX1802" fmla="*/ 6235971 w 9586368"/>
                <a:gd name="connsiteY1802" fmla="*/ 5268928 h 6479439"/>
                <a:gd name="connsiteX1803" fmla="*/ 6235971 w 9586368"/>
                <a:gd name="connsiteY1803" fmla="*/ 5278799 h 6479439"/>
                <a:gd name="connsiteX1804" fmla="*/ 6231952 w 9586368"/>
                <a:gd name="connsiteY1804" fmla="*/ 5282838 h 6479439"/>
                <a:gd name="connsiteX1805" fmla="*/ 6222042 w 9586368"/>
                <a:gd name="connsiteY1805" fmla="*/ 5282838 h 6479439"/>
                <a:gd name="connsiteX1806" fmla="*/ 6218023 w 9586368"/>
                <a:gd name="connsiteY1806" fmla="*/ 5278799 h 6479439"/>
                <a:gd name="connsiteX1807" fmla="*/ 6218023 w 9586368"/>
                <a:gd name="connsiteY1807" fmla="*/ 5268928 h 6479439"/>
                <a:gd name="connsiteX1808" fmla="*/ 5982729 w 9586368"/>
                <a:gd name="connsiteY1808" fmla="*/ 5264889 h 6479439"/>
                <a:gd name="connsiteX1809" fmla="*/ 5992639 w 9586368"/>
                <a:gd name="connsiteY1809" fmla="*/ 5264889 h 6479439"/>
                <a:gd name="connsiteX1810" fmla="*/ 5996658 w 9586368"/>
                <a:gd name="connsiteY1810" fmla="*/ 5268928 h 6479439"/>
                <a:gd name="connsiteX1811" fmla="*/ 5996658 w 9586368"/>
                <a:gd name="connsiteY1811" fmla="*/ 5278799 h 6479439"/>
                <a:gd name="connsiteX1812" fmla="*/ 5992639 w 9586368"/>
                <a:gd name="connsiteY1812" fmla="*/ 5282838 h 6479439"/>
                <a:gd name="connsiteX1813" fmla="*/ 5982729 w 9586368"/>
                <a:gd name="connsiteY1813" fmla="*/ 5282838 h 6479439"/>
                <a:gd name="connsiteX1814" fmla="*/ 5978710 w 9586368"/>
                <a:gd name="connsiteY1814" fmla="*/ 5278799 h 6479439"/>
                <a:gd name="connsiteX1815" fmla="*/ 5978710 w 9586368"/>
                <a:gd name="connsiteY1815" fmla="*/ 5268928 h 6479439"/>
                <a:gd name="connsiteX1816" fmla="*/ 5743412 w 9586368"/>
                <a:gd name="connsiteY1816" fmla="*/ 5264889 h 6479439"/>
                <a:gd name="connsiteX1817" fmla="*/ 5753323 w 9586368"/>
                <a:gd name="connsiteY1817" fmla="*/ 5264889 h 6479439"/>
                <a:gd name="connsiteX1818" fmla="*/ 5757342 w 9586368"/>
                <a:gd name="connsiteY1818" fmla="*/ 5268928 h 6479439"/>
                <a:gd name="connsiteX1819" fmla="*/ 5757342 w 9586368"/>
                <a:gd name="connsiteY1819" fmla="*/ 5278799 h 6479439"/>
                <a:gd name="connsiteX1820" fmla="*/ 5753323 w 9586368"/>
                <a:gd name="connsiteY1820" fmla="*/ 5282838 h 6479439"/>
                <a:gd name="connsiteX1821" fmla="*/ 5743412 w 9586368"/>
                <a:gd name="connsiteY1821" fmla="*/ 5282838 h 6479439"/>
                <a:gd name="connsiteX1822" fmla="*/ 5739393 w 9586368"/>
                <a:gd name="connsiteY1822" fmla="*/ 5278799 h 6479439"/>
                <a:gd name="connsiteX1823" fmla="*/ 5739393 w 9586368"/>
                <a:gd name="connsiteY1823" fmla="*/ 5268928 h 6479439"/>
                <a:gd name="connsiteX1824" fmla="*/ 5504099 w 9586368"/>
                <a:gd name="connsiteY1824" fmla="*/ 5264889 h 6479439"/>
                <a:gd name="connsiteX1825" fmla="*/ 5514010 w 9586368"/>
                <a:gd name="connsiteY1825" fmla="*/ 5264889 h 6479439"/>
                <a:gd name="connsiteX1826" fmla="*/ 5518029 w 9586368"/>
                <a:gd name="connsiteY1826" fmla="*/ 5268928 h 6479439"/>
                <a:gd name="connsiteX1827" fmla="*/ 5518029 w 9586368"/>
                <a:gd name="connsiteY1827" fmla="*/ 5278799 h 6479439"/>
                <a:gd name="connsiteX1828" fmla="*/ 5514010 w 9586368"/>
                <a:gd name="connsiteY1828" fmla="*/ 5282838 h 6479439"/>
                <a:gd name="connsiteX1829" fmla="*/ 5504099 w 9586368"/>
                <a:gd name="connsiteY1829" fmla="*/ 5282838 h 6479439"/>
                <a:gd name="connsiteX1830" fmla="*/ 5500080 w 9586368"/>
                <a:gd name="connsiteY1830" fmla="*/ 5278799 h 6479439"/>
                <a:gd name="connsiteX1831" fmla="*/ 5500080 w 9586368"/>
                <a:gd name="connsiteY1831" fmla="*/ 5268928 h 6479439"/>
                <a:gd name="connsiteX1832" fmla="*/ 5264784 w 9586368"/>
                <a:gd name="connsiteY1832" fmla="*/ 5264889 h 6479439"/>
                <a:gd name="connsiteX1833" fmla="*/ 5274694 w 9586368"/>
                <a:gd name="connsiteY1833" fmla="*/ 5264889 h 6479439"/>
                <a:gd name="connsiteX1834" fmla="*/ 5278713 w 9586368"/>
                <a:gd name="connsiteY1834" fmla="*/ 5268928 h 6479439"/>
                <a:gd name="connsiteX1835" fmla="*/ 5278713 w 9586368"/>
                <a:gd name="connsiteY1835" fmla="*/ 5278799 h 6479439"/>
                <a:gd name="connsiteX1836" fmla="*/ 5274694 w 9586368"/>
                <a:gd name="connsiteY1836" fmla="*/ 5282838 h 6479439"/>
                <a:gd name="connsiteX1837" fmla="*/ 5264784 w 9586368"/>
                <a:gd name="connsiteY1837" fmla="*/ 5282838 h 6479439"/>
                <a:gd name="connsiteX1838" fmla="*/ 5260765 w 9586368"/>
                <a:gd name="connsiteY1838" fmla="*/ 5278799 h 6479439"/>
                <a:gd name="connsiteX1839" fmla="*/ 5260765 w 9586368"/>
                <a:gd name="connsiteY1839" fmla="*/ 5268928 h 6479439"/>
                <a:gd name="connsiteX1840" fmla="*/ 5025470 w 9586368"/>
                <a:gd name="connsiteY1840" fmla="*/ 5264889 h 6479439"/>
                <a:gd name="connsiteX1841" fmla="*/ 5035381 w 9586368"/>
                <a:gd name="connsiteY1841" fmla="*/ 5264889 h 6479439"/>
                <a:gd name="connsiteX1842" fmla="*/ 5039400 w 9586368"/>
                <a:gd name="connsiteY1842" fmla="*/ 5268928 h 6479439"/>
                <a:gd name="connsiteX1843" fmla="*/ 5039400 w 9586368"/>
                <a:gd name="connsiteY1843" fmla="*/ 5278799 h 6479439"/>
                <a:gd name="connsiteX1844" fmla="*/ 5035381 w 9586368"/>
                <a:gd name="connsiteY1844" fmla="*/ 5282838 h 6479439"/>
                <a:gd name="connsiteX1845" fmla="*/ 5025470 w 9586368"/>
                <a:gd name="connsiteY1845" fmla="*/ 5282838 h 6479439"/>
                <a:gd name="connsiteX1846" fmla="*/ 5021451 w 9586368"/>
                <a:gd name="connsiteY1846" fmla="*/ 5278799 h 6479439"/>
                <a:gd name="connsiteX1847" fmla="*/ 5021451 w 9586368"/>
                <a:gd name="connsiteY1847" fmla="*/ 5268928 h 6479439"/>
                <a:gd name="connsiteX1848" fmla="*/ 4786241 w 9586368"/>
                <a:gd name="connsiteY1848" fmla="*/ 5264889 h 6479439"/>
                <a:gd name="connsiteX1849" fmla="*/ 4796152 w 9586368"/>
                <a:gd name="connsiteY1849" fmla="*/ 5264889 h 6479439"/>
                <a:gd name="connsiteX1850" fmla="*/ 4800171 w 9586368"/>
                <a:gd name="connsiteY1850" fmla="*/ 5268928 h 6479439"/>
                <a:gd name="connsiteX1851" fmla="*/ 4800171 w 9586368"/>
                <a:gd name="connsiteY1851" fmla="*/ 5278799 h 6479439"/>
                <a:gd name="connsiteX1852" fmla="*/ 4796152 w 9586368"/>
                <a:gd name="connsiteY1852" fmla="*/ 5282838 h 6479439"/>
                <a:gd name="connsiteX1853" fmla="*/ 4786241 w 9586368"/>
                <a:gd name="connsiteY1853" fmla="*/ 5282838 h 6479439"/>
                <a:gd name="connsiteX1854" fmla="*/ 4782224 w 9586368"/>
                <a:gd name="connsiteY1854" fmla="*/ 5278799 h 6479439"/>
                <a:gd name="connsiteX1855" fmla="*/ 4782224 w 9586368"/>
                <a:gd name="connsiteY1855" fmla="*/ 5268928 h 6479439"/>
                <a:gd name="connsiteX1856" fmla="*/ 4546929 w 9586368"/>
                <a:gd name="connsiteY1856" fmla="*/ 5264889 h 6479439"/>
                <a:gd name="connsiteX1857" fmla="*/ 4556840 w 9586368"/>
                <a:gd name="connsiteY1857" fmla="*/ 5264889 h 6479439"/>
                <a:gd name="connsiteX1858" fmla="*/ 4560859 w 9586368"/>
                <a:gd name="connsiteY1858" fmla="*/ 5268928 h 6479439"/>
                <a:gd name="connsiteX1859" fmla="*/ 4560859 w 9586368"/>
                <a:gd name="connsiteY1859" fmla="*/ 5278799 h 6479439"/>
                <a:gd name="connsiteX1860" fmla="*/ 4556840 w 9586368"/>
                <a:gd name="connsiteY1860" fmla="*/ 5282838 h 6479439"/>
                <a:gd name="connsiteX1861" fmla="*/ 4546929 w 9586368"/>
                <a:gd name="connsiteY1861" fmla="*/ 5282838 h 6479439"/>
                <a:gd name="connsiteX1862" fmla="*/ 4542910 w 9586368"/>
                <a:gd name="connsiteY1862" fmla="*/ 5278799 h 6479439"/>
                <a:gd name="connsiteX1863" fmla="*/ 4542910 w 9586368"/>
                <a:gd name="connsiteY1863" fmla="*/ 5268928 h 6479439"/>
                <a:gd name="connsiteX1864" fmla="*/ 4307612 w 9586368"/>
                <a:gd name="connsiteY1864" fmla="*/ 5264889 h 6479439"/>
                <a:gd name="connsiteX1865" fmla="*/ 4317523 w 9586368"/>
                <a:gd name="connsiteY1865" fmla="*/ 5264889 h 6479439"/>
                <a:gd name="connsiteX1866" fmla="*/ 4321543 w 9586368"/>
                <a:gd name="connsiteY1866" fmla="*/ 5268928 h 6479439"/>
                <a:gd name="connsiteX1867" fmla="*/ 4321543 w 9586368"/>
                <a:gd name="connsiteY1867" fmla="*/ 5278799 h 6479439"/>
                <a:gd name="connsiteX1868" fmla="*/ 4317523 w 9586368"/>
                <a:gd name="connsiteY1868" fmla="*/ 5282838 h 6479439"/>
                <a:gd name="connsiteX1869" fmla="*/ 4307612 w 9586368"/>
                <a:gd name="connsiteY1869" fmla="*/ 5282838 h 6479439"/>
                <a:gd name="connsiteX1870" fmla="*/ 4303595 w 9586368"/>
                <a:gd name="connsiteY1870" fmla="*/ 5278799 h 6479439"/>
                <a:gd name="connsiteX1871" fmla="*/ 4303595 w 9586368"/>
                <a:gd name="connsiteY1871" fmla="*/ 5268928 h 6479439"/>
                <a:gd name="connsiteX1872" fmla="*/ 4068297 w 9586368"/>
                <a:gd name="connsiteY1872" fmla="*/ 5264889 h 6479439"/>
                <a:gd name="connsiteX1873" fmla="*/ 4078210 w 9586368"/>
                <a:gd name="connsiteY1873" fmla="*/ 5264889 h 6479439"/>
                <a:gd name="connsiteX1874" fmla="*/ 4082229 w 9586368"/>
                <a:gd name="connsiteY1874" fmla="*/ 5268928 h 6479439"/>
                <a:gd name="connsiteX1875" fmla="*/ 4082229 w 9586368"/>
                <a:gd name="connsiteY1875" fmla="*/ 5278799 h 6479439"/>
                <a:gd name="connsiteX1876" fmla="*/ 4078210 w 9586368"/>
                <a:gd name="connsiteY1876" fmla="*/ 5282838 h 6479439"/>
                <a:gd name="connsiteX1877" fmla="*/ 4068297 w 9586368"/>
                <a:gd name="connsiteY1877" fmla="*/ 5282838 h 6479439"/>
                <a:gd name="connsiteX1878" fmla="*/ 4064278 w 9586368"/>
                <a:gd name="connsiteY1878" fmla="*/ 5278799 h 6479439"/>
                <a:gd name="connsiteX1879" fmla="*/ 4064278 w 9586368"/>
                <a:gd name="connsiteY1879" fmla="*/ 5268928 h 6479439"/>
                <a:gd name="connsiteX1880" fmla="*/ 3828990 w 9586368"/>
                <a:gd name="connsiteY1880" fmla="*/ 5264889 h 6479439"/>
                <a:gd name="connsiteX1881" fmla="*/ 3838899 w 9586368"/>
                <a:gd name="connsiteY1881" fmla="*/ 5264889 h 6479439"/>
                <a:gd name="connsiteX1882" fmla="*/ 3842917 w 9586368"/>
                <a:gd name="connsiteY1882" fmla="*/ 5268928 h 6479439"/>
                <a:gd name="connsiteX1883" fmla="*/ 3842917 w 9586368"/>
                <a:gd name="connsiteY1883" fmla="*/ 5278799 h 6479439"/>
                <a:gd name="connsiteX1884" fmla="*/ 3838899 w 9586368"/>
                <a:gd name="connsiteY1884" fmla="*/ 5282838 h 6479439"/>
                <a:gd name="connsiteX1885" fmla="*/ 3828990 w 9586368"/>
                <a:gd name="connsiteY1885" fmla="*/ 5282838 h 6479439"/>
                <a:gd name="connsiteX1886" fmla="*/ 3824971 w 9586368"/>
                <a:gd name="connsiteY1886" fmla="*/ 5278799 h 6479439"/>
                <a:gd name="connsiteX1887" fmla="*/ 3824971 w 9586368"/>
                <a:gd name="connsiteY1887" fmla="*/ 5268928 h 6479439"/>
                <a:gd name="connsiteX1888" fmla="*/ 3589676 w 9586368"/>
                <a:gd name="connsiteY1888" fmla="*/ 5264889 h 6479439"/>
                <a:gd name="connsiteX1889" fmla="*/ 3599585 w 9586368"/>
                <a:gd name="connsiteY1889" fmla="*/ 5264889 h 6479439"/>
                <a:gd name="connsiteX1890" fmla="*/ 3603604 w 9586368"/>
                <a:gd name="connsiteY1890" fmla="*/ 5268928 h 6479439"/>
                <a:gd name="connsiteX1891" fmla="*/ 3603604 w 9586368"/>
                <a:gd name="connsiteY1891" fmla="*/ 5278799 h 6479439"/>
                <a:gd name="connsiteX1892" fmla="*/ 3599585 w 9586368"/>
                <a:gd name="connsiteY1892" fmla="*/ 5282838 h 6479439"/>
                <a:gd name="connsiteX1893" fmla="*/ 3589676 w 9586368"/>
                <a:gd name="connsiteY1893" fmla="*/ 5282838 h 6479439"/>
                <a:gd name="connsiteX1894" fmla="*/ 3585657 w 9586368"/>
                <a:gd name="connsiteY1894" fmla="*/ 5278799 h 6479439"/>
                <a:gd name="connsiteX1895" fmla="*/ 3585657 w 9586368"/>
                <a:gd name="connsiteY1895" fmla="*/ 5268928 h 6479439"/>
                <a:gd name="connsiteX1896" fmla="*/ 3350359 w 9586368"/>
                <a:gd name="connsiteY1896" fmla="*/ 5264889 h 6479439"/>
                <a:gd name="connsiteX1897" fmla="*/ 3360268 w 9586368"/>
                <a:gd name="connsiteY1897" fmla="*/ 5264889 h 6479439"/>
                <a:gd name="connsiteX1898" fmla="*/ 3364287 w 9586368"/>
                <a:gd name="connsiteY1898" fmla="*/ 5268928 h 6479439"/>
                <a:gd name="connsiteX1899" fmla="*/ 3364287 w 9586368"/>
                <a:gd name="connsiteY1899" fmla="*/ 5278799 h 6479439"/>
                <a:gd name="connsiteX1900" fmla="*/ 3360268 w 9586368"/>
                <a:gd name="connsiteY1900" fmla="*/ 5282838 h 6479439"/>
                <a:gd name="connsiteX1901" fmla="*/ 3350359 w 9586368"/>
                <a:gd name="connsiteY1901" fmla="*/ 5282838 h 6479439"/>
                <a:gd name="connsiteX1902" fmla="*/ 3346340 w 9586368"/>
                <a:gd name="connsiteY1902" fmla="*/ 5278799 h 6479439"/>
                <a:gd name="connsiteX1903" fmla="*/ 3346340 w 9586368"/>
                <a:gd name="connsiteY1903" fmla="*/ 5268928 h 6479439"/>
                <a:gd name="connsiteX1904" fmla="*/ 3111048 w 9586368"/>
                <a:gd name="connsiteY1904" fmla="*/ 5264889 h 6479439"/>
                <a:gd name="connsiteX1905" fmla="*/ 3120959 w 9586368"/>
                <a:gd name="connsiteY1905" fmla="*/ 5264889 h 6479439"/>
                <a:gd name="connsiteX1906" fmla="*/ 3124977 w 9586368"/>
                <a:gd name="connsiteY1906" fmla="*/ 5268928 h 6479439"/>
                <a:gd name="connsiteX1907" fmla="*/ 3124977 w 9586368"/>
                <a:gd name="connsiteY1907" fmla="*/ 5278799 h 6479439"/>
                <a:gd name="connsiteX1908" fmla="*/ 3120959 w 9586368"/>
                <a:gd name="connsiteY1908" fmla="*/ 5282838 h 6479439"/>
                <a:gd name="connsiteX1909" fmla="*/ 3111048 w 9586368"/>
                <a:gd name="connsiteY1909" fmla="*/ 5282838 h 6479439"/>
                <a:gd name="connsiteX1910" fmla="*/ 3107029 w 9586368"/>
                <a:gd name="connsiteY1910" fmla="*/ 5278799 h 6479439"/>
                <a:gd name="connsiteX1911" fmla="*/ 3107029 w 9586368"/>
                <a:gd name="connsiteY1911" fmla="*/ 5268928 h 6479439"/>
                <a:gd name="connsiteX1912" fmla="*/ 2871737 w 9586368"/>
                <a:gd name="connsiteY1912" fmla="*/ 5264889 h 6479439"/>
                <a:gd name="connsiteX1913" fmla="*/ 2881646 w 9586368"/>
                <a:gd name="connsiteY1913" fmla="*/ 5264889 h 6479439"/>
                <a:gd name="connsiteX1914" fmla="*/ 2885666 w 9586368"/>
                <a:gd name="connsiteY1914" fmla="*/ 5268928 h 6479439"/>
                <a:gd name="connsiteX1915" fmla="*/ 2885666 w 9586368"/>
                <a:gd name="connsiteY1915" fmla="*/ 5278799 h 6479439"/>
                <a:gd name="connsiteX1916" fmla="*/ 2881646 w 9586368"/>
                <a:gd name="connsiteY1916" fmla="*/ 5282838 h 6479439"/>
                <a:gd name="connsiteX1917" fmla="*/ 2871737 w 9586368"/>
                <a:gd name="connsiteY1917" fmla="*/ 5282838 h 6479439"/>
                <a:gd name="connsiteX1918" fmla="*/ 2867717 w 9586368"/>
                <a:gd name="connsiteY1918" fmla="*/ 5278799 h 6479439"/>
                <a:gd name="connsiteX1919" fmla="*/ 2867717 w 9586368"/>
                <a:gd name="connsiteY1919" fmla="*/ 5268928 h 6479439"/>
                <a:gd name="connsiteX1920" fmla="*/ 2632423 w 9586368"/>
                <a:gd name="connsiteY1920" fmla="*/ 5264889 h 6479439"/>
                <a:gd name="connsiteX1921" fmla="*/ 2642334 w 9586368"/>
                <a:gd name="connsiteY1921" fmla="*/ 5264889 h 6479439"/>
                <a:gd name="connsiteX1922" fmla="*/ 2646352 w 9586368"/>
                <a:gd name="connsiteY1922" fmla="*/ 5268928 h 6479439"/>
                <a:gd name="connsiteX1923" fmla="*/ 2646352 w 9586368"/>
                <a:gd name="connsiteY1923" fmla="*/ 5278799 h 6479439"/>
                <a:gd name="connsiteX1924" fmla="*/ 2642334 w 9586368"/>
                <a:gd name="connsiteY1924" fmla="*/ 5282838 h 6479439"/>
                <a:gd name="connsiteX1925" fmla="*/ 2632423 w 9586368"/>
                <a:gd name="connsiteY1925" fmla="*/ 5282838 h 6479439"/>
                <a:gd name="connsiteX1926" fmla="*/ 2628404 w 9586368"/>
                <a:gd name="connsiteY1926" fmla="*/ 5278799 h 6479439"/>
                <a:gd name="connsiteX1927" fmla="*/ 2628404 w 9586368"/>
                <a:gd name="connsiteY1927" fmla="*/ 5268928 h 6479439"/>
                <a:gd name="connsiteX1928" fmla="*/ 2393104 w 9586368"/>
                <a:gd name="connsiteY1928" fmla="*/ 5264889 h 6479439"/>
                <a:gd name="connsiteX1929" fmla="*/ 2403015 w 9586368"/>
                <a:gd name="connsiteY1929" fmla="*/ 5264889 h 6479439"/>
                <a:gd name="connsiteX1930" fmla="*/ 2407034 w 9586368"/>
                <a:gd name="connsiteY1930" fmla="*/ 5268928 h 6479439"/>
                <a:gd name="connsiteX1931" fmla="*/ 2407034 w 9586368"/>
                <a:gd name="connsiteY1931" fmla="*/ 5278799 h 6479439"/>
                <a:gd name="connsiteX1932" fmla="*/ 2403015 w 9586368"/>
                <a:gd name="connsiteY1932" fmla="*/ 5282838 h 6479439"/>
                <a:gd name="connsiteX1933" fmla="*/ 2393104 w 9586368"/>
                <a:gd name="connsiteY1933" fmla="*/ 5282838 h 6479439"/>
                <a:gd name="connsiteX1934" fmla="*/ 2389087 w 9586368"/>
                <a:gd name="connsiteY1934" fmla="*/ 5278799 h 6479439"/>
                <a:gd name="connsiteX1935" fmla="*/ 2389087 w 9586368"/>
                <a:gd name="connsiteY1935" fmla="*/ 5268928 h 6479439"/>
                <a:gd name="connsiteX1936" fmla="*/ 721961 w 9586368"/>
                <a:gd name="connsiteY1936" fmla="*/ 5264889 h 6479439"/>
                <a:gd name="connsiteX1937" fmla="*/ 731872 w 9586368"/>
                <a:gd name="connsiteY1937" fmla="*/ 5264889 h 6479439"/>
                <a:gd name="connsiteX1938" fmla="*/ 735891 w 9586368"/>
                <a:gd name="connsiteY1938" fmla="*/ 5268928 h 6479439"/>
                <a:gd name="connsiteX1939" fmla="*/ 735891 w 9586368"/>
                <a:gd name="connsiteY1939" fmla="*/ 5278799 h 6479439"/>
                <a:gd name="connsiteX1940" fmla="*/ 731872 w 9586368"/>
                <a:gd name="connsiteY1940" fmla="*/ 5282838 h 6479439"/>
                <a:gd name="connsiteX1941" fmla="*/ 721961 w 9586368"/>
                <a:gd name="connsiteY1941" fmla="*/ 5282838 h 6479439"/>
                <a:gd name="connsiteX1942" fmla="*/ 717943 w 9586368"/>
                <a:gd name="connsiteY1942" fmla="*/ 5278799 h 6479439"/>
                <a:gd name="connsiteX1943" fmla="*/ 717943 w 9586368"/>
                <a:gd name="connsiteY1943" fmla="*/ 5268928 h 6479439"/>
                <a:gd name="connsiteX1944" fmla="*/ 482649 w 9586368"/>
                <a:gd name="connsiteY1944" fmla="*/ 5264889 h 6479439"/>
                <a:gd name="connsiteX1945" fmla="*/ 492560 w 9586368"/>
                <a:gd name="connsiteY1945" fmla="*/ 5264889 h 6479439"/>
                <a:gd name="connsiteX1946" fmla="*/ 496579 w 9586368"/>
                <a:gd name="connsiteY1946" fmla="*/ 5268928 h 6479439"/>
                <a:gd name="connsiteX1947" fmla="*/ 496579 w 9586368"/>
                <a:gd name="connsiteY1947" fmla="*/ 5278799 h 6479439"/>
                <a:gd name="connsiteX1948" fmla="*/ 492560 w 9586368"/>
                <a:gd name="connsiteY1948" fmla="*/ 5282838 h 6479439"/>
                <a:gd name="connsiteX1949" fmla="*/ 482649 w 9586368"/>
                <a:gd name="connsiteY1949" fmla="*/ 5282838 h 6479439"/>
                <a:gd name="connsiteX1950" fmla="*/ 478630 w 9586368"/>
                <a:gd name="connsiteY1950" fmla="*/ 5278799 h 6479439"/>
                <a:gd name="connsiteX1951" fmla="*/ 478630 w 9586368"/>
                <a:gd name="connsiteY1951" fmla="*/ 5268928 h 6479439"/>
                <a:gd name="connsiteX1952" fmla="*/ 243336 w 9586368"/>
                <a:gd name="connsiteY1952" fmla="*/ 5264889 h 6479439"/>
                <a:gd name="connsiteX1953" fmla="*/ 253246 w 9586368"/>
                <a:gd name="connsiteY1953" fmla="*/ 5264889 h 6479439"/>
                <a:gd name="connsiteX1954" fmla="*/ 257265 w 9586368"/>
                <a:gd name="connsiteY1954" fmla="*/ 5268928 h 6479439"/>
                <a:gd name="connsiteX1955" fmla="*/ 257265 w 9586368"/>
                <a:gd name="connsiteY1955" fmla="*/ 5278799 h 6479439"/>
                <a:gd name="connsiteX1956" fmla="*/ 253246 w 9586368"/>
                <a:gd name="connsiteY1956" fmla="*/ 5282838 h 6479439"/>
                <a:gd name="connsiteX1957" fmla="*/ 243336 w 9586368"/>
                <a:gd name="connsiteY1957" fmla="*/ 5282838 h 6479439"/>
                <a:gd name="connsiteX1958" fmla="*/ 239317 w 9586368"/>
                <a:gd name="connsiteY1958" fmla="*/ 5278799 h 6479439"/>
                <a:gd name="connsiteX1959" fmla="*/ 239317 w 9586368"/>
                <a:gd name="connsiteY1959" fmla="*/ 5268928 h 6479439"/>
                <a:gd name="connsiteX1960" fmla="*/ 4022 w 9586368"/>
                <a:gd name="connsiteY1960" fmla="*/ 5264889 h 6479439"/>
                <a:gd name="connsiteX1961" fmla="*/ 13933 w 9586368"/>
                <a:gd name="connsiteY1961" fmla="*/ 5264889 h 6479439"/>
                <a:gd name="connsiteX1962" fmla="*/ 17952 w 9586368"/>
                <a:gd name="connsiteY1962" fmla="*/ 5268928 h 6479439"/>
                <a:gd name="connsiteX1963" fmla="*/ 17952 w 9586368"/>
                <a:gd name="connsiteY1963" fmla="*/ 5278799 h 6479439"/>
                <a:gd name="connsiteX1964" fmla="*/ 13933 w 9586368"/>
                <a:gd name="connsiteY1964" fmla="*/ 5282838 h 6479439"/>
                <a:gd name="connsiteX1965" fmla="*/ 4022 w 9586368"/>
                <a:gd name="connsiteY1965" fmla="*/ 5282838 h 6479439"/>
                <a:gd name="connsiteX1966" fmla="*/ 3 w 9586368"/>
                <a:gd name="connsiteY1966" fmla="*/ 5278799 h 6479439"/>
                <a:gd name="connsiteX1967" fmla="*/ 3 w 9586368"/>
                <a:gd name="connsiteY1967" fmla="*/ 5268928 h 6479439"/>
                <a:gd name="connsiteX1968" fmla="*/ 2157819 w 9586368"/>
                <a:gd name="connsiteY1968" fmla="*/ 5025610 h 6479439"/>
                <a:gd name="connsiteX1969" fmla="*/ 2167729 w 9586368"/>
                <a:gd name="connsiteY1969" fmla="*/ 5025610 h 6479439"/>
                <a:gd name="connsiteX1970" fmla="*/ 2171748 w 9586368"/>
                <a:gd name="connsiteY1970" fmla="*/ 5029648 h 6479439"/>
                <a:gd name="connsiteX1971" fmla="*/ 2171748 w 9586368"/>
                <a:gd name="connsiteY1971" fmla="*/ 5039519 h 6479439"/>
                <a:gd name="connsiteX1972" fmla="*/ 2167729 w 9586368"/>
                <a:gd name="connsiteY1972" fmla="*/ 5043558 h 6479439"/>
                <a:gd name="connsiteX1973" fmla="*/ 2157819 w 9586368"/>
                <a:gd name="connsiteY1973" fmla="*/ 5043558 h 6479439"/>
                <a:gd name="connsiteX1974" fmla="*/ 2153800 w 9586368"/>
                <a:gd name="connsiteY1974" fmla="*/ 5039519 h 6479439"/>
                <a:gd name="connsiteX1975" fmla="*/ 2153800 w 9586368"/>
                <a:gd name="connsiteY1975" fmla="*/ 5029648 h 6479439"/>
                <a:gd name="connsiteX1976" fmla="*/ 1918510 w 9586368"/>
                <a:gd name="connsiteY1976" fmla="*/ 5025610 h 6479439"/>
                <a:gd name="connsiteX1977" fmla="*/ 1928420 w 9586368"/>
                <a:gd name="connsiteY1977" fmla="*/ 5025610 h 6479439"/>
                <a:gd name="connsiteX1978" fmla="*/ 1932440 w 9586368"/>
                <a:gd name="connsiteY1978" fmla="*/ 5029648 h 6479439"/>
                <a:gd name="connsiteX1979" fmla="*/ 1932440 w 9586368"/>
                <a:gd name="connsiteY1979" fmla="*/ 5039519 h 6479439"/>
                <a:gd name="connsiteX1980" fmla="*/ 1928420 w 9586368"/>
                <a:gd name="connsiteY1980" fmla="*/ 5043558 h 6479439"/>
                <a:gd name="connsiteX1981" fmla="*/ 1918510 w 9586368"/>
                <a:gd name="connsiteY1981" fmla="*/ 5043558 h 6479439"/>
                <a:gd name="connsiteX1982" fmla="*/ 1914492 w 9586368"/>
                <a:gd name="connsiteY1982" fmla="*/ 5039519 h 6479439"/>
                <a:gd name="connsiteX1983" fmla="*/ 1914492 w 9586368"/>
                <a:gd name="connsiteY1983" fmla="*/ 5029648 h 6479439"/>
                <a:gd name="connsiteX1984" fmla="*/ 1679204 w 9586368"/>
                <a:gd name="connsiteY1984" fmla="*/ 5025610 h 6479439"/>
                <a:gd name="connsiteX1985" fmla="*/ 1689115 w 9586368"/>
                <a:gd name="connsiteY1985" fmla="*/ 5025610 h 6479439"/>
                <a:gd name="connsiteX1986" fmla="*/ 1693133 w 9586368"/>
                <a:gd name="connsiteY1986" fmla="*/ 5029648 h 6479439"/>
                <a:gd name="connsiteX1987" fmla="*/ 1693133 w 9586368"/>
                <a:gd name="connsiteY1987" fmla="*/ 5039519 h 6479439"/>
                <a:gd name="connsiteX1988" fmla="*/ 1689115 w 9586368"/>
                <a:gd name="connsiteY1988" fmla="*/ 5043558 h 6479439"/>
                <a:gd name="connsiteX1989" fmla="*/ 1679204 w 9586368"/>
                <a:gd name="connsiteY1989" fmla="*/ 5043558 h 6479439"/>
                <a:gd name="connsiteX1990" fmla="*/ 1675185 w 9586368"/>
                <a:gd name="connsiteY1990" fmla="*/ 5039519 h 6479439"/>
                <a:gd name="connsiteX1991" fmla="*/ 1675185 w 9586368"/>
                <a:gd name="connsiteY1991" fmla="*/ 5029648 h 6479439"/>
                <a:gd name="connsiteX1992" fmla="*/ 1439889 w 9586368"/>
                <a:gd name="connsiteY1992" fmla="*/ 5025610 h 6479439"/>
                <a:gd name="connsiteX1993" fmla="*/ 1449798 w 9586368"/>
                <a:gd name="connsiteY1993" fmla="*/ 5025610 h 6479439"/>
                <a:gd name="connsiteX1994" fmla="*/ 1453818 w 9586368"/>
                <a:gd name="connsiteY1994" fmla="*/ 5029648 h 6479439"/>
                <a:gd name="connsiteX1995" fmla="*/ 1453818 w 9586368"/>
                <a:gd name="connsiteY1995" fmla="*/ 5039519 h 6479439"/>
                <a:gd name="connsiteX1996" fmla="*/ 1449798 w 9586368"/>
                <a:gd name="connsiteY1996" fmla="*/ 5043558 h 6479439"/>
                <a:gd name="connsiteX1997" fmla="*/ 1439889 w 9586368"/>
                <a:gd name="connsiteY1997" fmla="*/ 5043558 h 6479439"/>
                <a:gd name="connsiteX1998" fmla="*/ 1435870 w 9586368"/>
                <a:gd name="connsiteY1998" fmla="*/ 5039519 h 6479439"/>
                <a:gd name="connsiteX1999" fmla="*/ 1435870 w 9586368"/>
                <a:gd name="connsiteY1999" fmla="*/ 5029648 h 6479439"/>
                <a:gd name="connsiteX2000" fmla="*/ 1200573 w 9586368"/>
                <a:gd name="connsiteY2000" fmla="*/ 5025610 h 6479439"/>
                <a:gd name="connsiteX2001" fmla="*/ 1210484 w 9586368"/>
                <a:gd name="connsiteY2001" fmla="*/ 5025610 h 6479439"/>
                <a:gd name="connsiteX2002" fmla="*/ 1214502 w 9586368"/>
                <a:gd name="connsiteY2002" fmla="*/ 5029648 h 6479439"/>
                <a:gd name="connsiteX2003" fmla="*/ 1214502 w 9586368"/>
                <a:gd name="connsiteY2003" fmla="*/ 5039519 h 6479439"/>
                <a:gd name="connsiteX2004" fmla="*/ 1210484 w 9586368"/>
                <a:gd name="connsiteY2004" fmla="*/ 5043558 h 6479439"/>
                <a:gd name="connsiteX2005" fmla="*/ 1200573 w 9586368"/>
                <a:gd name="connsiteY2005" fmla="*/ 5043558 h 6479439"/>
                <a:gd name="connsiteX2006" fmla="*/ 1196555 w 9586368"/>
                <a:gd name="connsiteY2006" fmla="*/ 5039519 h 6479439"/>
                <a:gd name="connsiteX2007" fmla="*/ 1196555 w 9586368"/>
                <a:gd name="connsiteY2007" fmla="*/ 5029648 h 6479439"/>
                <a:gd name="connsiteX2008" fmla="*/ 961261 w 9586368"/>
                <a:gd name="connsiteY2008" fmla="*/ 5025610 h 6479439"/>
                <a:gd name="connsiteX2009" fmla="*/ 971171 w 9586368"/>
                <a:gd name="connsiteY2009" fmla="*/ 5025610 h 6479439"/>
                <a:gd name="connsiteX2010" fmla="*/ 975190 w 9586368"/>
                <a:gd name="connsiteY2010" fmla="*/ 5029648 h 6479439"/>
                <a:gd name="connsiteX2011" fmla="*/ 975190 w 9586368"/>
                <a:gd name="connsiteY2011" fmla="*/ 5039519 h 6479439"/>
                <a:gd name="connsiteX2012" fmla="*/ 971171 w 9586368"/>
                <a:gd name="connsiteY2012" fmla="*/ 5043558 h 6479439"/>
                <a:gd name="connsiteX2013" fmla="*/ 961261 w 9586368"/>
                <a:gd name="connsiteY2013" fmla="*/ 5043558 h 6479439"/>
                <a:gd name="connsiteX2014" fmla="*/ 957242 w 9586368"/>
                <a:gd name="connsiteY2014" fmla="*/ 5039519 h 6479439"/>
                <a:gd name="connsiteX2015" fmla="*/ 957242 w 9586368"/>
                <a:gd name="connsiteY2015" fmla="*/ 5029648 h 6479439"/>
                <a:gd name="connsiteX2016" fmla="*/ 9572438 w 9586368"/>
                <a:gd name="connsiteY2016" fmla="*/ 5025558 h 6479439"/>
                <a:gd name="connsiteX2017" fmla="*/ 9582349 w 9586368"/>
                <a:gd name="connsiteY2017" fmla="*/ 5025558 h 6479439"/>
                <a:gd name="connsiteX2018" fmla="*/ 9586368 w 9586368"/>
                <a:gd name="connsiteY2018" fmla="*/ 5029597 h 6479439"/>
                <a:gd name="connsiteX2019" fmla="*/ 9586368 w 9586368"/>
                <a:gd name="connsiteY2019" fmla="*/ 5039468 h 6479439"/>
                <a:gd name="connsiteX2020" fmla="*/ 9582349 w 9586368"/>
                <a:gd name="connsiteY2020" fmla="*/ 5043507 h 6479439"/>
                <a:gd name="connsiteX2021" fmla="*/ 9572438 w 9586368"/>
                <a:gd name="connsiteY2021" fmla="*/ 5043507 h 6479439"/>
                <a:gd name="connsiteX2022" fmla="*/ 9568419 w 9586368"/>
                <a:gd name="connsiteY2022" fmla="*/ 5039468 h 6479439"/>
                <a:gd name="connsiteX2023" fmla="*/ 9568419 w 9586368"/>
                <a:gd name="connsiteY2023" fmla="*/ 5029597 h 6479439"/>
                <a:gd name="connsiteX2024" fmla="*/ 9333125 w 9586368"/>
                <a:gd name="connsiteY2024" fmla="*/ 5025558 h 6479439"/>
                <a:gd name="connsiteX2025" fmla="*/ 9343036 w 9586368"/>
                <a:gd name="connsiteY2025" fmla="*/ 5025558 h 6479439"/>
                <a:gd name="connsiteX2026" fmla="*/ 9347055 w 9586368"/>
                <a:gd name="connsiteY2026" fmla="*/ 5029597 h 6479439"/>
                <a:gd name="connsiteX2027" fmla="*/ 9347055 w 9586368"/>
                <a:gd name="connsiteY2027" fmla="*/ 5039468 h 6479439"/>
                <a:gd name="connsiteX2028" fmla="*/ 9343036 w 9586368"/>
                <a:gd name="connsiteY2028" fmla="*/ 5043507 h 6479439"/>
                <a:gd name="connsiteX2029" fmla="*/ 9333125 w 9586368"/>
                <a:gd name="connsiteY2029" fmla="*/ 5043507 h 6479439"/>
                <a:gd name="connsiteX2030" fmla="*/ 9329106 w 9586368"/>
                <a:gd name="connsiteY2030" fmla="*/ 5039468 h 6479439"/>
                <a:gd name="connsiteX2031" fmla="*/ 9329106 w 9586368"/>
                <a:gd name="connsiteY2031" fmla="*/ 5029597 h 6479439"/>
                <a:gd name="connsiteX2032" fmla="*/ 9093811 w 9586368"/>
                <a:gd name="connsiteY2032" fmla="*/ 5025558 h 6479439"/>
                <a:gd name="connsiteX2033" fmla="*/ 9103722 w 9586368"/>
                <a:gd name="connsiteY2033" fmla="*/ 5025558 h 6479439"/>
                <a:gd name="connsiteX2034" fmla="*/ 9107741 w 9586368"/>
                <a:gd name="connsiteY2034" fmla="*/ 5029597 h 6479439"/>
                <a:gd name="connsiteX2035" fmla="*/ 9107741 w 9586368"/>
                <a:gd name="connsiteY2035" fmla="*/ 5039468 h 6479439"/>
                <a:gd name="connsiteX2036" fmla="*/ 9103722 w 9586368"/>
                <a:gd name="connsiteY2036" fmla="*/ 5043507 h 6479439"/>
                <a:gd name="connsiteX2037" fmla="*/ 9093811 w 9586368"/>
                <a:gd name="connsiteY2037" fmla="*/ 5043507 h 6479439"/>
                <a:gd name="connsiteX2038" fmla="*/ 9089792 w 9586368"/>
                <a:gd name="connsiteY2038" fmla="*/ 5039468 h 6479439"/>
                <a:gd name="connsiteX2039" fmla="*/ 9089792 w 9586368"/>
                <a:gd name="connsiteY2039" fmla="*/ 5029597 h 6479439"/>
                <a:gd name="connsiteX2040" fmla="*/ 8854496 w 9586368"/>
                <a:gd name="connsiteY2040" fmla="*/ 5025558 h 6479439"/>
                <a:gd name="connsiteX2041" fmla="*/ 8864407 w 9586368"/>
                <a:gd name="connsiteY2041" fmla="*/ 5025558 h 6479439"/>
                <a:gd name="connsiteX2042" fmla="*/ 8868426 w 9586368"/>
                <a:gd name="connsiteY2042" fmla="*/ 5029597 h 6479439"/>
                <a:gd name="connsiteX2043" fmla="*/ 8868426 w 9586368"/>
                <a:gd name="connsiteY2043" fmla="*/ 5039468 h 6479439"/>
                <a:gd name="connsiteX2044" fmla="*/ 8864407 w 9586368"/>
                <a:gd name="connsiteY2044" fmla="*/ 5043507 h 6479439"/>
                <a:gd name="connsiteX2045" fmla="*/ 8854496 w 9586368"/>
                <a:gd name="connsiteY2045" fmla="*/ 5043507 h 6479439"/>
                <a:gd name="connsiteX2046" fmla="*/ 8850477 w 9586368"/>
                <a:gd name="connsiteY2046" fmla="*/ 5039468 h 6479439"/>
                <a:gd name="connsiteX2047" fmla="*/ 8850477 w 9586368"/>
                <a:gd name="connsiteY2047" fmla="*/ 5029597 h 6479439"/>
                <a:gd name="connsiteX2048" fmla="*/ 8615184 w 9586368"/>
                <a:gd name="connsiteY2048" fmla="*/ 5025558 h 6479439"/>
                <a:gd name="connsiteX2049" fmla="*/ 8625095 w 9586368"/>
                <a:gd name="connsiteY2049" fmla="*/ 5025558 h 6479439"/>
                <a:gd name="connsiteX2050" fmla="*/ 8629114 w 9586368"/>
                <a:gd name="connsiteY2050" fmla="*/ 5029597 h 6479439"/>
                <a:gd name="connsiteX2051" fmla="*/ 8629114 w 9586368"/>
                <a:gd name="connsiteY2051" fmla="*/ 5039468 h 6479439"/>
                <a:gd name="connsiteX2052" fmla="*/ 8625095 w 9586368"/>
                <a:gd name="connsiteY2052" fmla="*/ 5043507 h 6479439"/>
                <a:gd name="connsiteX2053" fmla="*/ 8615184 w 9586368"/>
                <a:gd name="connsiteY2053" fmla="*/ 5043507 h 6479439"/>
                <a:gd name="connsiteX2054" fmla="*/ 8611165 w 9586368"/>
                <a:gd name="connsiteY2054" fmla="*/ 5039468 h 6479439"/>
                <a:gd name="connsiteX2055" fmla="*/ 8611165 w 9586368"/>
                <a:gd name="connsiteY2055" fmla="*/ 5029597 h 6479439"/>
                <a:gd name="connsiteX2056" fmla="*/ 8375869 w 9586368"/>
                <a:gd name="connsiteY2056" fmla="*/ 5025558 h 6479439"/>
                <a:gd name="connsiteX2057" fmla="*/ 8385779 w 9586368"/>
                <a:gd name="connsiteY2057" fmla="*/ 5025558 h 6479439"/>
                <a:gd name="connsiteX2058" fmla="*/ 8389799 w 9586368"/>
                <a:gd name="connsiteY2058" fmla="*/ 5029597 h 6479439"/>
                <a:gd name="connsiteX2059" fmla="*/ 8389799 w 9586368"/>
                <a:gd name="connsiteY2059" fmla="*/ 5039468 h 6479439"/>
                <a:gd name="connsiteX2060" fmla="*/ 8385779 w 9586368"/>
                <a:gd name="connsiteY2060" fmla="*/ 5043507 h 6479439"/>
                <a:gd name="connsiteX2061" fmla="*/ 8375869 w 9586368"/>
                <a:gd name="connsiteY2061" fmla="*/ 5043507 h 6479439"/>
                <a:gd name="connsiteX2062" fmla="*/ 8371850 w 9586368"/>
                <a:gd name="connsiteY2062" fmla="*/ 5039468 h 6479439"/>
                <a:gd name="connsiteX2063" fmla="*/ 8371850 w 9586368"/>
                <a:gd name="connsiteY2063" fmla="*/ 5029597 h 6479439"/>
                <a:gd name="connsiteX2064" fmla="*/ 8136553 w 9586368"/>
                <a:gd name="connsiteY2064" fmla="*/ 5025558 h 6479439"/>
                <a:gd name="connsiteX2065" fmla="*/ 8146464 w 9586368"/>
                <a:gd name="connsiteY2065" fmla="*/ 5025558 h 6479439"/>
                <a:gd name="connsiteX2066" fmla="*/ 8150483 w 9586368"/>
                <a:gd name="connsiteY2066" fmla="*/ 5029597 h 6479439"/>
                <a:gd name="connsiteX2067" fmla="*/ 8150483 w 9586368"/>
                <a:gd name="connsiteY2067" fmla="*/ 5039468 h 6479439"/>
                <a:gd name="connsiteX2068" fmla="*/ 8146464 w 9586368"/>
                <a:gd name="connsiteY2068" fmla="*/ 5043507 h 6479439"/>
                <a:gd name="connsiteX2069" fmla="*/ 8136553 w 9586368"/>
                <a:gd name="connsiteY2069" fmla="*/ 5043507 h 6479439"/>
                <a:gd name="connsiteX2070" fmla="*/ 8132534 w 9586368"/>
                <a:gd name="connsiteY2070" fmla="*/ 5039468 h 6479439"/>
                <a:gd name="connsiteX2071" fmla="*/ 8132534 w 9586368"/>
                <a:gd name="connsiteY2071" fmla="*/ 5029597 h 6479439"/>
                <a:gd name="connsiteX2072" fmla="*/ 7897241 w 9586368"/>
                <a:gd name="connsiteY2072" fmla="*/ 5025558 h 6479439"/>
                <a:gd name="connsiteX2073" fmla="*/ 7907151 w 9586368"/>
                <a:gd name="connsiteY2073" fmla="*/ 5025558 h 6479439"/>
                <a:gd name="connsiteX2074" fmla="*/ 7911170 w 9586368"/>
                <a:gd name="connsiteY2074" fmla="*/ 5029597 h 6479439"/>
                <a:gd name="connsiteX2075" fmla="*/ 7911170 w 9586368"/>
                <a:gd name="connsiteY2075" fmla="*/ 5039468 h 6479439"/>
                <a:gd name="connsiteX2076" fmla="*/ 7907151 w 9586368"/>
                <a:gd name="connsiteY2076" fmla="*/ 5043507 h 6479439"/>
                <a:gd name="connsiteX2077" fmla="*/ 7897241 w 9586368"/>
                <a:gd name="connsiteY2077" fmla="*/ 5043507 h 6479439"/>
                <a:gd name="connsiteX2078" fmla="*/ 7893222 w 9586368"/>
                <a:gd name="connsiteY2078" fmla="*/ 5039468 h 6479439"/>
                <a:gd name="connsiteX2079" fmla="*/ 7893222 w 9586368"/>
                <a:gd name="connsiteY2079" fmla="*/ 5029597 h 6479439"/>
                <a:gd name="connsiteX2080" fmla="*/ 7657926 w 9586368"/>
                <a:gd name="connsiteY2080" fmla="*/ 5025558 h 6479439"/>
                <a:gd name="connsiteX2081" fmla="*/ 7667836 w 9586368"/>
                <a:gd name="connsiteY2081" fmla="*/ 5025558 h 6479439"/>
                <a:gd name="connsiteX2082" fmla="*/ 7671855 w 9586368"/>
                <a:gd name="connsiteY2082" fmla="*/ 5029597 h 6479439"/>
                <a:gd name="connsiteX2083" fmla="*/ 7671855 w 9586368"/>
                <a:gd name="connsiteY2083" fmla="*/ 5039468 h 6479439"/>
                <a:gd name="connsiteX2084" fmla="*/ 7667836 w 9586368"/>
                <a:gd name="connsiteY2084" fmla="*/ 5043507 h 6479439"/>
                <a:gd name="connsiteX2085" fmla="*/ 7657926 w 9586368"/>
                <a:gd name="connsiteY2085" fmla="*/ 5043507 h 6479439"/>
                <a:gd name="connsiteX2086" fmla="*/ 7653906 w 9586368"/>
                <a:gd name="connsiteY2086" fmla="*/ 5039468 h 6479439"/>
                <a:gd name="connsiteX2087" fmla="*/ 7653906 w 9586368"/>
                <a:gd name="connsiteY2087" fmla="*/ 5029597 h 6479439"/>
                <a:gd name="connsiteX2088" fmla="*/ 7418611 w 9586368"/>
                <a:gd name="connsiteY2088" fmla="*/ 5025558 h 6479439"/>
                <a:gd name="connsiteX2089" fmla="*/ 7428521 w 9586368"/>
                <a:gd name="connsiteY2089" fmla="*/ 5025558 h 6479439"/>
                <a:gd name="connsiteX2090" fmla="*/ 7432540 w 9586368"/>
                <a:gd name="connsiteY2090" fmla="*/ 5029597 h 6479439"/>
                <a:gd name="connsiteX2091" fmla="*/ 7432540 w 9586368"/>
                <a:gd name="connsiteY2091" fmla="*/ 5039468 h 6479439"/>
                <a:gd name="connsiteX2092" fmla="*/ 7428521 w 9586368"/>
                <a:gd name="connsiteY2092" fmla="*/ 5043507 h 6479439"/>
                <a:gd name="connsiteX2093" fmla="*/ 7418611 w 9586368"/>
                <a:gd name="connsiteY2093" fmla="*/ 5043507 h 6479439"/>
                <a:gd name="connsiteX2094" fmla="*/ 7414592 w 9586368"/>
                <a:gd name="connsiteY2094" fmla="*/ 5039468 h 6479439"/>
                <a:gd name="connsiteX2095" fmla="*/ 7414592 w 9586368"/>
                <a:gd name="connsiteY2095" fmla="*/ 5029597 h 6479439"/>
                <a:gd name="connsiteX2096" fmla="*/ 7179298 w 9586368"/>
                <a:gd name="connsiteY2096" fmla="*/ 5025558 h 6479439"/>
                <a:gd name="connsiteX2097" fmla="*/ 7189209 w 9586368"/>
                <a:gd name="connsiteY2097" fmla="*/ 5025558 h 6479439"/>
                <a:gd name="connsiteX2098" fmla="*/ 7193228 w 9586368"/>
                <a:gd name="connsiteY2098" fmla="*/ 5029597 h 6479439"/>
                <a:gd name="connsiteX2099" fmla="*/ 7193228 w 9586368"/>
                <a:gd name="connsiteY2099" fmla="*/ 5039468 h 6479439"/>
                <a:gd name="connsiteX2100" fmla="*/ 7189209 w 9586368"/>
                <a:gd name="connsiteY2100" fmla="*/ 5043507 h 6479439"/>
                <a:gd name="connsiteX2101" fmla="*/ 7179298 w 9586368"/>
                <a:gd name="connsiteY2101" fmla="*/ 5043507 h 6479439"/>
                <a:gd name="connsiteX2102" fmla="*/ 7175279 w 9586368"/>
                <a:gd name="connsiteY2102" fmla="*/ 5039468 h 6479439"/>
                <a:gd name="connsiteX2103" fmla="*/ 7175279 w 9586368"/>
                <a:gd name="connsiteY2103" fmla="*/ 5029597 h 6479439"/>
                <a:gd name="connsiteX2104" fmla="*/ 6939983 w 9586368"/>
                <a:gd name="connsiteY2104" fmla="*/ 5025558 h 6479439"/>
                <a:gd name="connsiteX2105" fmla="*/ 6949894 w 9586368"/>
                <a:gd name="connsiteY2105" fmla="*/ 5025558 h 6479439"/>
                <a:gd name="connsiteX2106" fmla="*/ 6953913 w 9586368"/>
                <a:gd name="connsiteY2106" fmla="*/ 5029597 h 6479439"/>
                <a:gd name="connsiteX2107" fmla="*/ 6953913 w 9586368"/>
                <a:gd name="connsiteY2107" fmla="*/ 5039468 h 6479439"/>
                <a:gd name="connsiteX2108" fmla="*/ 6949894 w 9586368"/>
                <a:gd name="connsiteY2108" fmla="*/ 5043507 h 6479439"/>
                <a:gd name="connsiteX2109" fmla="*/ 6939983 w 9586368"/>
                <a:gd name="connsiteY2109" fmla="*/ 5043507 h 6479439"/>
                <a:gd name="connsiteX2110" fmla="*/ 6935964 w 9586368"/>
                <a:gd name="connsiteY2110" fmla="*/ 5039468 h 6479439"/>
                <a:gd name="connsiteX2111" fmla="*/ 6935964 w 9586368"/>
                <a:gd name="connsiteY2111" fmla="*/ 5029597 h 6479439"/>
                <a:gd name="connsiteX2112" fmla="*/ 6700670 w 9586368"/>
                <a:gd name="connsiteY2112" fmla="*/ 5025558 h 6479439"/>
                <a:gd name="connsiteX2113" fmla="*/ 6710581 w 9586368"/>
                <a:gd name="connsiteY2113" fmla="*/ 5025558 h 6479439"/>
                <a:gd name="connsiteX2114" fmla="*/ 6714600 w 9586368"/>
                <a:gd name="connsiteY2114" fmla="*/ 5029597 h 6479439"/>
                <a:gd name="connsiteX2115" fmla="*/ 6714600 w 9586368"/>
                <a:gd name="connsiteY2115" fmla="*/ 5039468 h 6479439"/>
                <a:gd name="connsiteX2116" fmla="*/ 6710581 w 9586368"/>
                <a:gd name="connsiteY2116" fmla="*/ 5043507 h 6479439"/>
                <a:gd name="connsiteX2117" fmla="*/ 6700670 w 9586368"/>
                <a:gd name="connsiteY2117" fmla="*/ 5043507 h 6479439"/>
                <a:gd name="connsiteX2118" fmla="*/ 6696651 w 9586368"/>
                <a:gd name="connsiteY2118" fmla="*/ 5039468 h 6479439"/>
                <a:gd name="connsiteX2119" fmla="*/ 6696651 w 9586368"/>
                <a:gd name="connsiteY2119" fmla="*/ 5029597 h 6479439"/>
                <a:gd name="connsiteX2120" fmla="*/ 6461356 w 9586368"/>
                <a:gd name="connsiteY2120" fmla="*/ 5025558 h 6479439"/>
                <a:gd name="connsiteX2121" fmla="*/ 6471266 w 9586368"/>
                <a:gd name="connsiteY2121" fmla="*/ 5025558 h 6479439"/>
                <a:gd name="connsiteX2122" fmla="*/ 6475285 w 9586368"/>
                <a:gd name="connsiteY2122" fmla="*/ 5029597 h 6479439"/>
                <a:gd name="connsiteX2123" fmla="*/ 6475285 w 9586368"/>
                <a:gd name="connsiteY2123" fmla="*/ 5039468 h 6479439"/>
                <a:gd name="connsiteX2124" fmla="*/ 6471266 w 9586368"/>
                <a:gd name="connsiteY2124" fmla="*/ 5043507 h 6479439"/>
                <a:gd name="connsiteX2125" fmla="*/ 6461356 w 9586368"/>
                <a:gd name="connsiteY2125" fmla="*/ 5043507 h 6479439"/>
                <a:gd name="connsiteX2126" fmla="*/ 6457337 w 9586368"/>
                <a:gd name="connsiteY2126" fmla="*/ 5039468 h 6479439"/>
                <a:gd name="connsiteX2127" fmla="*/ 6457337 w 9586368"/>
                <a:gd name="connsiteY2127" fmla="*/ 5029597 h 6479439"/>
                <a:gd name="connsiteX2128" fmla="*/ 6222042 w 9586368"/>
                <a:gd name="connsiteY2128" fmla="*/ 5025558 h 6479439"/>
                <a:gd name="connsiteX2129" fmla="*/ 6231952 w 9586368"/>
                <a:gd name="connsiteY2129" fmla="*/ 5025558 h 6479439"/>
                <a:gd name="connsiteX2130" fmla="*/ 6235971 w 9586368"/>
                <a:gd name="connsiteY2130" fmla="*/ 5029597 h 6479439"/>
                <a:gd name="connsiteX2131" fmla="*/ 6235971 w 9586368"/>
                <a:gd name="connsiteY2131" fmla="*/ 5039468 h 6479439"/>
                <a:gd name="connsiteX2132" fmla="*/ 6231952 w 9586368"/>
                <a:gd name="connsiteY2132" fmla="*/ 5043507 h 6479439"/>
                <a:gd name="connsiteX2133" fmla="*/ 6222042 w 9586368"/>
                <a:gd name="connsiteY2133" fmla="*/ 5043507 h 6479439"/>
                <a:gd name="connsiteX2134" fmla="*/ 6218023 w 9586368"/>
                <a:gd name="connsiteY2134" fmla="*/ 5039468 h 6479439"/>
                <a:gd name="connsiteX2135" fmla="*/ 6218023 w 9586368"/>
                <a:gd name="connsiteY2135" fmla="*/ 5029597 h 6479439"/>
                <a:gd name="connsiteX2136" fmla="*/ 5982729 w 9586368"/>
                <a:gd name="connsiteY2136" fmla="*/ 5025558 h 6479439"/>
                <a:gd name="connsiteX2137" fmla="*/ 5992639 w 9586368"/>
                <a:gd name="connsiteY2137" fmla="*/ 5025558 h 6479439"/>
                <a:gd name="connsiteX2138" fmla="*/ 5996658 w 9586368"/>
                <a:gd name="connsiteY2138" fmla="*/ 5029597 h 6479439"/>
                <a:gd name="connsiteX2139" fmla="*/ 5996658 w 9586368"/>
                <a:gd name="connsiteY2139" fmla="*/ 5039468 h 6479439"/>
                <a:gd name="connsiteX2140" fmla="*/ 5992639 w 9586368"/>
                <a:gd name="connsiteY2140" fmla="*/ 5043507 h 6479439"/>
                <a:gd name="connsiteX2141" fmla="*/ 5982729 w 9586368"/>
                <a:gd name="connsiteY2141" fmla="*/ 5043507 h 6479439"/>
                <a:gd name="connsiteX2142" fmla="*/ 5978710 w 9586368"/>
                <a:gd name="connsiteY2142" fmla="*/ 5039468 h 6479439"/>
                <a:gd name="connsiteX2143" fmla="*/ 5978710 w 9586368"/>
                <a:gd name="connsiteY2143" fmla="*/ 5029597 h 6479439"/>
                <a:gd name="connsiteX2144" fmla="*/ 5743412 w 9586368"/>
                <a:gd name="connsiteY2144" fmla="*/ 5025558 h 6479439"/>
                <a:gd name="connsiteX2145" fmla="*/ 5753323 w 9586368"/>
                <a:gd name="connsiteY2145" fmla="*/ 5025558 h 6479439"/>
                <a:gd name="connsiteX2146" fmla="*/ 5757342 w 9586368"/>
                <a:gd name="connsiteY2146" fmla="*/ 5029597 h 6479439"/>
                <a:gd name="connsiteX2147" fmla="*/ 5757342 w 9586368"/>
                <a:gd name="connsiteY2147" fmla="*/ 5039468 h 6479439"/>
                <a:gd name="connsiteX2148" fmla="*/ 5753323 w 9586368"/>
                <a:gd name="connsiteY2148" fmla="*/ 5043507 h 6479439"/>
                <a:gd name="connsiteX2149" fmla="*/ 5743412 w 9586368"/>
                <a:gd name="connsiteY2149" fmla="*/ 5043507 h 6479439"/>
                <a:gd name="connsiteX2150" fmla="*/ 5739393 w 9586368"/>
                <a:gd name="connsiteY2150" fmla="*/ 5039468 h 6479439"/>
                <a:gd name="connsiteX2151" fmla="*/ 5739393 w 9586368"/>
                <a:gd name="connsiteY2151" fmla="*/ 5029597 h 6479439"/>
                <a:gd name="connsiteX2152" fmla="*/ 5504099 w 9586368"/>
                <a:gd name="connsiteY2152" fmla="*/ 5025558 h 6479439"/>
                <a:gd name="connsiteX2153" fmla="*/ 5514010 w 9586368"/>
                <a:gd name="connsiteY2153" fmla="*/ 5025558 h 6479439"/>
                <a:gd name="connsiteX2154" fmla="*/ 5518029 w 9586368"/>
                <a:gd name="connsiteY2154" fmla="*/ 5029597 h 6479439"/>
                <a:gd name="connsiteX2155" fmla="*/ 5518029 w 9586368"/>
                <a:gd name="connsiteY2155" fmla="*/ 5039468 h 6479439"/>
                <a:gd name="connsiteX2156" fmla="*/ 5514010 w 9586368"/>
                <a:gd name="connsiteY2156" fmla="*/ 5043507 h 6479439"/>
                <a:gd name="connsiteX2157" fmla="*/ 5504099 w 9586368"/>
                <a:gd name="connsiteY2157" fmla="*/ 5043507 h 6479439"/>
                <a:gd name="connsiteX2158" fmla="*/ 5500080 w 9586368"/>
                <a:gd name="connsiteY2158" fmla="*/ 5039468 h 6479439"/>
                <a:gd name="connsiteX2159" fmla="*/ 5500080 w 9586368"/>
                <a:gd name="connsiteY2159" fmla="*/ 5029597 h 6479439"/>
                <a:gd name="connsiteX2160" fmla="*/ 5264784 w 9586368"/>
                <a:gd name="connsiteY2160" fmla="*/ 5025558 h 6479439"/>
                <a:gd name="connsiteX2161" fmla="*/ 5274694 w 9586368"/>
                <a:gd name="connsiteY2161" fmla="*/ 5025558 h 6479439"/>
                <a:gd name="connsiteX2162" fmla="*/ 5278713 w 9586368"/>
                <a:gd name="connsiteY2162" fmla="*/ 5029597 h 6479439"/>
                <a:gd name="connsiteX2163" fmla="*/ 5278713 w 9586368"/>
                <a:gd name="connsiteY2163" fmla="*/ 5039468 h 6479439"/>
                <a:gd name="connsiteX2164" fmla="*/ 5274694 w 9586368"/>
                <a:gd name="connsiteY2164" fmla="*/ 5043507 h 6479439"/>
                <a:gd name="connsiteX2165" fmla="*/ 5264784 w 9586368"/>
                <a:gd name="connsiteY2165" fmla="*/ 5043507 h 6479439"/>
                <a:gd name="connsiteX2166" fmla="*/ 5260765 w 9586368"/>
                <a:gd name="connsiteY2166" fmla="*/ 5039468 h 6479439"/>
                <a:gd name="connsiteX2167" fmla="*/ 5260765 w 9586368"/>
                <a:gd name="connsiteY2167" fmla="*/ 5029597 h 6479439"/>
                <a:gd name="connsiteX2168" fmla="*/ 5025470 w 9586368"/>
                <a:gd name="connsiteY2168" fmla="*/ 5025558 h 6479439"/>
                <a:gd name="connsiteX2169" fmla="*/ 5035381 w 9586368"/>
                <a:gd name="connsiteY2169" fmla="*/ 5025558 h 6479439"/>
                <a:gd name="connsiteX2170" fmla="*/ 5039400 w 9586368"/>
                <a:gd name="connsiteY2170" fmla="*/ 5029597 h 6479439"/>
                <a:gd name="connsiteX2171" fmla="*/ 5039400 w 9586368"/>
                <a:gd name="connsiteY2171" fmla="*/ 5039468 h 6479439"/>
                <a:gd name="connsiteX2172" fmla="*/ 5035381 w 9586368"/>
                <a:gd name="connsiteY2172" fmla="*/ 5043507 h 6479439"/>
                <a:gd name="connsiteX2173" fmla="*/ 5025470 w 9586368"/>
                <a:gd name="connsiteY2173" fmla="*/ 5043507 h 6479439"/>
                <a:gd name="connsiteX2174" fmla="*/ 5021451 w 9586368"/>
                <a:gd name="connsiteY2174" fmla="*/ 5039468 h 6479439"/>
                <a:gd name="connsiteX2175" fmla="*/ 5021451 w 9586368"/>
                <a:gd name="connsiteY2175" fmla="*/ 5029597 h 6479439"/>
                <a:gd name="connsiteX2176" fmla="*/ 4786241 w 9586368"/>
                <a:gd name="connsiteY2176" fmla="*/ 5025558 h 6479439"/>
                <a:gd name="connsiteX2177" fmla="*/ 4796152 w 9586368"/>
                <a:gd name="connsiteY2177" fmla="*/ 5025558 h 6479439"/>
                <a:gd name="connsiteX2178" fmla="*/ 4800171 w 9586368"/>
                <a:gd name="connsiteY2178" fmla="*/ 5029597 h 6479439"/>
                <a:gd name="connsiteX2179" fmla="*/ 4800171 w 9586368"/>
                <a:gd name="connsiteY2179" fmla="*/ 5039468 h 6479439"/>
                <a:gd name="connsiteX2180" fmla="*/ 4796152 w 9586368"/>
                <a:gd name="connsiteY2180" fmla="*/ 5043507 h 6479439"/>
                <a:gd name="connsiteX2181" fmla="*/ 4786241 w 9586368"/>
                <a:gd name="connsiteY2181" fmla="*/ 5043507 h 6479439"/>
                <a:gd name="connsiteX2182" fmla="*/ 4782224 w 9586368"/>
                <a:gd name="connsiteY2182" fmla="*/ 5039468 h 6479439"/>
                <a:gd name="connsiteX2183" fmla="*/ 4782224 w 9586368"/>
                <a:gd name="connsiteY2183" fmla="*/ 5029597 h 6479439"/>
                <a:gd name="connsiteX2184" fmla="*/ 4546929 w 9586368"/>
                <a:gd name="connsiteY2184" fmla="*/ 5025558 h 6479439"/>
                <a:gd name="connsiteX2185" fmla="*/ 4556840 w 9586368"/>
                <a:gd name="connsiteY2185" fmla="*/ 5025558 h 6479439"/>
                <a:gd name="connsiteX2186" fmla="*/ 4560859 w 9586368"/>
                <a:gd name="connsiteY2186" fmla="*/ 5029597 h 6479439"/>
                <a:gd name="connsiteX2187" fmla="*/ 4560859 w 9586368"/>
                <a:gd name="connsiteY2187" fmla="*/ 5039468 h 6479439"/>
                <a:gd name="connsiteX2188" fmla="*/ 4556840 w 9586368"/>
                <a:gd name="connsiteY2188" fmla="*/ 5043507 h 6479439"/>
                <a:gd name="connsiteX2189" fmla="*/ 4546929 w 9586368"/>
                <a:gd name="connsiteY2189" fmla="*/ 5043507 h 6479439"/>
                <a:gd name="connsiteX2190" fmla="*/ 4542910 w 9586368"/>
                <a:gd name="connsiteY2190" fmla="*/ 5039468 h 6479439"/>
                <a:gd name="connsiteX2191" fmla="*/ 4542910 w 9586368"/>
                <a:gd name="connsiteY2191" fmla="*/ 5029597 h 6479439"/>
                <a:gd name="connsiteX2192" fmla="*/ 4307612 w 9586368"/>
                <a:gd name="connsiteY2192" fmla="*/ 5025558 h 6479439"/>
                <a:gd name="connsiteX2193" fmla="*/ 4317523 w 9586368"/>
                <a:gd name="connsiteY2193" fmla="*/ 5025558 h 6479439"/>
                <a:gd name="connsiteX2194" fmla="*/ 4321543 w 9586368"/>
                <a:gd name="connsiteY2194" fmla="*/ 5029597 h 6479439"/>
                <a:gd name="connsiteX2195" fmla="*/ 4321543 w 9586368"/>
                <a:gd name="connsiteY2195" fmla="*/ 5039468 h 6479439"/>
                <a:gd name="connsiteX2196" fmla="*/ 4317523 w 9586368"/>
                <a:gd name="connsiteY2196" fmla="*/ 5043507 h 6479439"/>
                <a:gd name="connsiteX2197" fmla="*/ 4307612 w 9586368"/>
                <a:gd name="connsiteY2197" fmla="*/ 5043507 h 6479439"/>
                <a:gd name="connsiteX2198" fmla="*/ 4303595 w 9586368"/>
                <a:gd name="connsiteY2198" fmla="*/ 5039468 h 6479439"/>
                <a:gd name="connsiteX2199" fmla="*/ 4303595 w 9586368"/>
                <a:gd name="connsiteY2199" fmla="*/ 5029597 h 6479439"/>
                <a:gd name="connsiteX2200" fmla="*/ 4068297 w 9586368"/>
                <a:gd name="connsiteY2200" fmla="*/ 5025558 h 6479439"/>
                <a:gd name="connsiteX2201" fmla="*/ 4078210 w 9586368"/>
                <a:gd name="connsiteY2201" fmla="*/ 5025558 h 6479439"/>
                <a:gd name="connsiteX2202" fmla="*/ 4082229 w 9586368"/>
                <a:gd name="connsiteY2202" fmla="*/ 5029597 h 6479439"/>
                <a:gd name="connsiteX2203" fmla="*/ 4082229 w 9586368"/>
                <a:gd name="connsiteY2203" fmla="*/ 5039468 h 6479439"/>
                <a:gd name="connsiteX2204" fmla="*/ 4078210 w 9586368"/>
                <a:gd name="connsiteY2204" fmla="*/ 5043507 h 6479439"/>
                <a:gd name="connsiteX2205" fmla="*/ 4068297 w 9586368"/>
                <a:gd name="connsiteY2205" fmla="*/ 5043507 h 6479439"/>
                <a:gd name="connsiteX2206" fmla="*/ 4064278 w 9586368"/>
                <a:gd name="connsiteY2206" fmla="*/ 5039468 h 6479439"/>
                <a:gd name="connsiteX2207" fmla="*/ 4064278 w 9586368"/>
                <a:gd name="connsiteY2207" fmla="*/ 5029597 h 6479439"/>
                <a:gd name="connsiteX2208" fmla="*/ 3828990 w 9586368"/>
                <a:gd name="connsiteY2208" fmla="*/ 5025558 h 6479439"/>
                <a:gd name="connsiteX2209" fmla="*/ 3838899 w 9586368"/>
                <a:gd name="connsiteY2209" fmla="*/ 5025558 h 6479439"/>
                <a:gd name="connsiteX2210" fmla="*/ 3842917 w 9586368"/>
                <a:gd name="connsiteY2210" fmla="*/ 5029597 h 6479439"/>
                <a:gd name="connsiteX2211" fmla="*/ 3842917 w 9586368"/>
                <a:gd name="connsiteY2211" fmla="*/ 5039468 h 6479439"/>
                <a:gd name="connsiteX2212" fmla="*/ 3838899 w 9586368"/>
                <a:gd name="connsiteY2212" fmla="*/ 5043507 h 6479439"/>
                <a:gd name="connsiteX2213" fmla="*/ 3828990 w 9586368"/>
                <a:gd name="connsiteY2213" fmla="*/ 5043507 h 6479439"/>
                <a:gd name="connsiteX2214" fmla="*/ 3824971 w 9586368"/>
                <a:gd name="connsiteY2214" fmla="*/ 5039468 h 6479439"/>
                <a:gd name="connsiteX2215" fmla="*/ 3824971 w 9586368"/>
                <a:gd name="connsiteY2215" fmla="*/ 5029597 h 6479439"/>
                <a:gd name="connsiteX2216" fmla="*/ 3589676 w 9586368"/>
                <a:gd name="connsiteY2216" fmla="*/ 5025558 h 6479439"/>
                <a:gd name="connsiteX2217" fmla="*/ 3599585 w 9586368"/>
                <a:gd name="connsiteY2217" fmla="*/ 5025558 h 6479439"/>
                <a:gd name="connsiteX2218" fmla="*/ 3603604 w 9586368"/>
                <a:gd name="connsiteY2218" fmla="*/ 5029597 h 6479439"/>
                <a:gd name="connsiteX2219" fmla="*/ 3603604 w 9586368"/>
                <a:gd name="connsiteY2219" fmla="*/ 5039468 h 6479439"/>
                <a:gd name="connsiteX2220" fmla="*/ 3599585 w 9586368"/>
                <a:gd name="connsiteY2220" fmla="*/ 5043507 h 6479439"/>
                <a:gd name="connsiteX2221" fmla="*/ 3589676 w 9586368"/>
                <a:gd name="connsiteY2221" fmla="*/ 5043507 h 6479439"/>
                <a:gd name="connsiteX2222" fmla="*/ 3585657 w 9586368"/>
                <a:gd name="connsiteY2222" fmla="*/ 5039468 h 6479439"/>
                <a:gd name="connsiteX2223" fmla="*/ 3585657 w 9586368"/>
                <a:gd name="connsiteY2223" fmla="*/ 5029597 h 6479439"/>
                <a:gd name="connsiteX2224" fmla="*/ 3350359 w 9586368"/>
                <a:gd name="connsiteY2224" fmla="*/ 5025558 h 6479439"/>
                <a:gd name="connsiteX2225" fmla="*/ 3360268 w 9586368"/>
                <a:gd name="connsiteY2225" fmla="*/ 5025558 h 6479439"/>
                <a:gd name="connsiteX2226" fmla="*/ 3364287 w 9586368"/>
                <a:gd name="connsiteY2226" fmla="*/ 5029597 h 6479439"/>
                <a:gd name="connsiteX2227" fmla="*/ 3364287 w 9586368"/>
                <a:gd name="connsiteY2227" fmla="*/ 5039468 h 6479439"/>
                <a:gd name="connsiteX2228" fmla="*/ 3360268 w 9586368"/>
                <a:gd name="connsiteY2228" fmla="*/ 5043507 h 6479439"/>
                <a:gd name="connsiteX2229" fmla="*/ 3350359 w 9586368"/>
                <a:gd name="connsiteY2229" fmla="*/ 5043507 h 6479439"/>
                <a:gd name="connsiteX2230" fmla="*/ 3346340 w 9586368"/>
                <a:gd name="connsiteY2230" fmla="*/ 5039468 h 6479439"/>
                <a:gd name="connsiteX2231" fmla="*/ 3346340 w 9586368"/>
                <a:gd name="connsiteY2231" fmla="*/ 5029597 h 6479439"/>
                <a:gd name="connsiteX2232" fmla="*/ 3111048 w 9586368"/>
                <a:gd name="connsiteY2232" fmla="*/ 5025558 h 6479439"/>
                <a:gd name="connsiteX2233" fmla="*/ 3120959 w 9586368"/>
                <a:gd name="connsiteY2233" fmla="*/ 5025558 h 6479439"/>
                <a:gd name="connsiteX2234" fmla="*/ 3124977 w 9586368"/>
                <a:gd name="connsiteY2234" fmla="*/ 5029597 h 6479439"/>
                <a:gd name="connsiteX2235" fmla="*/ 3124977 w 9586368"/>
                <a:gd name="connsiteY2235" fmla="*/ 5039468 h 6479439"/>
                <a:gd name="connsiteX2236" fmla="*/ 3120959 w 9586368"/>
                <a:gd name="connsiteY2236" fmla="*/ 5043507 h 6479439"/>
                <a:gd name="connsiteX2237" fmla="*/ 3111048 w 9586368"/>
                <a:gd name="connsiteY2237" fmla="*/ 5043507 h 6479439"/>
                <a:gd name="connsiteX2238" fmla="*/ 3107029 w 9586368"/>
                <a:gd name="connsiteY2238" fmla="*/ 5039468 h 6479439"/>
                <a:gd name="connsiteX2239" fmla="*/ 3107029 w 9586368"/>
                <a:gd name="connsiteY2239" fmla="*/ 5029597 h 6479439"/>
                <a:gd name="connsiteX2240" fmla="*/ 2871737 w 9586368"/>
                <a:gd name="connsiteY2240" fmla="*/ 5025558 h 6479439"/>
                <a:gd name="connsiteX2241" fmla="*/ 2881646 w 9586368"/>
                <a:gd name="connsiteY2241" fmla="*/ 5025558 h 6479439"/>
                <a:gd name="connsiteX2242" fmla="*/ 2885666 w 9586368"/>
                <a:gd name="connsiteY2242" fmla="*/ 5029597 h 6479439"/>
                <a:gd name="connsiteX2243" fmla="*/ 2885666 w 9586368"/>
                <a:gd name="connsiteY2243" fmla="*/ 5039468 h 6479439"/>
                <a:gd name="connsiteX2244" fmla="*/ 2881646 w 9586368"/>
                <a:gd name="connsiteY2244" fmla="*/ 5043507 h 6479439"/>
                <a:gd name="connsiteX2245" fmla="*/ 2871737 w 9586368"/>
                <a:gd name="connsiteY2245" fmla="*/ 5043507 h 6479439"/>
                <a:gd name="connsiteX2246" fmla="*/ 2867717 w 9586368"/>
                <a:gd name="connsiteY2246" fmla="*/ 5039468 h 6479439"/>
                <a:gd name="connsiteX2247" fmla="*/ 2867717 w 9586368"/>
                <a:gd name="connsiteY2247" fmla="*/ 5029597 h 6479439"/>
                <a:gd name="connsiteX2248" fmla="*/ 2632423 w 9586368"/>
                <a:gd name="connsiteY2248" fmla="*/ 5025558 h 6479439"/>
                <a:gd name="connsiteX2249" fmla="*/ 2642334 w 9586368"/>
                <a:gd name="connsiteY2249" fmla="*/ 5025558 h 6479439"/>
                <a:gd name="connsiteX2250" fmla="*/ 2646352 w 9586368"/>
                <a:gd name="connsiteY2250" fmla="*/ 5029597 h 6479439"/>
                <a:gd name="connsiteX2251" fmla="*/ 2646352 w 9586368"/>
                <a:gd name="connsiteY2251" fmla="*/ 5039468 h 6479439"/>
                <a:gd name="connsiteX2252" fmla="*/ 2642334 w 9586368"/>
                <a:gd name="connsiteY2252" fmla="*/ 5043507 h 6479439"/>
                <a:gd name="connsiteX2253" fmla="*/ 2632423 w 9586368"/>
                <a:gd name="connsiteY2253" fmla="*/ 5043507 h 6479439"/>
                <a:gd name="connsiteX2254" fmla="*/ 2628404 w 9586368"/>
                <a:gd name="connsiteY2254" fmla="*/ 5039468 h 6479439"/>
                <a:gd name="connsiteX2255" fmla="*/ 2628404 w 9586368"/>
                <a:gd name="connsiteY2255" fmla="*/ 5029597 h 6479439"/>
                <a:gd name="connsiteX2256" fmla="*/ 2393104 w 9586368"/>
                <a:gd name="connsiteY2256" fmla="*/ 5025558 h 6479439"/>
                <a:gd name="connsiteX2257" fmla="*/ 2403015 w 9586368"/>
                <a:gd name="connsiteY2257" fmla="*/ 5025558 h 6479439"/>
                <a:gd name="connsiteX2258" fmla="*/ 2407034 w 9586368"/>
                <a:gd name="connsiteY2258" fmla="*/ 5029597 h 6479439"/>
                <a:gd name="connsiteX2259" fmla="*/ 2407034 w 9586368"/>
                <a:gd name="connsiteY2259" fmla="*/ 5039468 h 6479439"/>
                <a:gd name="connsiteX2260" fmla="*/ 2403015 w 9586368"/>
                <a:gd name="connsiteY2260" fmla="*/ 5043507 h 6479439"/>
                <a:gd name="connsiteX2261" fmla="*/ 2393104 w 9586368"/>
                <a:gd name="connsiteY2261" fmla="*/ 5043507 h 6479439"/>
                <a:gd name="connsiteX2262" fmla="*/ 2389087 w 9586368"/>
                <a:gd name="connsiteY2262" fmla="*/ 5039468 h 6479439"/>
                <a:gd name="connsiteX2263" fmla="*/ 2389087 w 9586368"/>
                <a:gd name="connsiteY2263" fmla="*/ 5029597 h 6479439"/>
                <a:gd name="connsiteX2264" fmla="*/ 721962 w 9586368"/>
                <a:gd name="connsiteY2264" fmla="*/ 5025558 h 6479439"/>
                <a:gd name="connsiteX2265" fmla="*/ 731872 w 9586368"/>
                <a:gd name="connsiteY2265" fmla="*/ 5025558 h 6479439"/>
                <a:gd name="connsiteX2266" fmla="*/ 735891 w 9586368"/>
                <a:gd name="connsiteY2266" fmla="*/ 5029597 h 6479439"/>
                <a:gd name="connsiteX2267" fmla="*/ 735891 w 9586368"/>
                <a:gd name="connsiteY2267" fmla="*/ 5039468 h 6479439"/>
                <a:gd name="connsiteX2268" fmla="*/ 731872 w 9586368"/>
                <a:gd name="connsiteY2268" fmla="*/ 5043507 h 6479439"/>
                <a:gd name="connsiteX2269" fmla="*/ 721962 w 9586368"/>
                <a:gd name="connsiteY2269" fmla="*/ 5043507 h 6479439"/>
                <a:gd name="connsiteX2270" fmla="*/ 717944 w 9586368"/>
                <a:gd name="connsiteY2270" fmla="*/ 5039468 h 6479439"/>
                <a:gd name="connsiteX2271" fmla="*/ 717944 w 9586368"/>
                <a:gd name="connsiteY2271" fmla="*/ 5029597 h 6479439"/>
                <a:gd name="connsiteX2272" fmla="*/ 482650 w 9586368"/>
                <a:gd name="connsiteY2272" fmla="*/ 5025558 h 6479439"/>
                <a:gd name="connsiteX2273" fmla="*/ 492560 w 9586368"/>
                <a:gd name="connsiteY2273" fmla="*/ 5025558 h 6479439"/>
                <a:gd name="connsiteX2274" fmla="*/ 496580 w 9586368"/>
                <a:gd name="connsiteY2274" fmla="*/ 5029597 h 6479439"/>
                <a:gd name="connsiteX2275" fmla="*/ 496580 w 9586368"/>
                <a:gd name="connsiteY2275" fmla="*/ 5039468 h 6479439"/>
                <a:gd name="connsiteX2276" fmla="*/ 492560 w 9586368"/>
                <a:gd name="connsiteY2276" fmla="*/ 5043507 h 6479439"/>
                <a:gd name="connsiteX2277" fmla="*/ 482650 w 9586368"/>
                <a:gd name="connsiteY2277" fmla="*/ 5043507 h 6479439"/>
                <a:gd name="connsiteX2278" fmla="*/ 478631 w 9586368"/>
                <a:gd name="connsiteY2278" fmla="*/ 5039468 h 6479439"/>
                <a:gd name="connsiteX2279" fmla="*/ 478631 w 9586368"/>
                <a:gd name="connsiteY2279" fmla="*/ 5029597 h 6479439"/>
                <a:gd name="connsiteX2280" fmla="*/ 243336 w 9586368"/>
                <a:gd name="connsiteY2280" fmla="*/ 5025558 h 6479439"/>
                <a:gd name="connsiteX2281" fmla="*/ 253247 w 9586368"/>
                <a:gd name="connsiteY2281" fmla="*/ 5025558 h 6479439"/>
                <a:gd name="connsiteX2282" fmla="*/ 257266 w 9586368"/>
                <a:gd name="connsiteY2282" fmla="*/ 5029597 h 6479439"/>
                <a:gd name="connsiteX2283" fmla="*/ 257266 w 9586368"/>
                <a:gd name="connsiteY2283" fmla="*/ 5039468 h 6479439"/>
                <a:gd name="connsiteX2284" fmla="*/ 253247 w 9586368"/>
                <a:gd name="connsiteY2284" fmla="*/ 5043507 h 6479439"/>
                <a:gd name="connsiteX2285" fmla="*/ 243336 w 9586368"/>
                <a:gd name="connsiteY2285" fmla="*/ 5043507 h 6479439"/>
                <a:gd name="connsiteX2286" fmla="*/ 239317 w 9586368"/>
                <a:gd name="connsiteY2286" fmla="*/ 5039468 h 6479439"/>
                <a:gd name="connsiteX2287" fmla="*/ 239317 w 9586368"/>
                <a:gd name="connsiteY2287" fmla="*/ 5029597 h 6479439"/>
                <a:gd name="connsiteX2288" fmla="*/ 4024 w 9586368"/>
                <a:gd name="connsiteY2288" fmla="*/ 5025558 h 6479439"/>
                <a:gd name="connsiteX2289" fmla="*/ 13933 w 9586368"/>
                <a:gd name="connsiteY2289" fmla="*/ 5025558 h 6479439"/>
                <a:gd name="connsiteX2290" fmla="*/ 17952 w 9586368"/>
                <a:gd name="connsiteY2290" fmla="*/ 5029597 h 6479439"/>
                <a:gd name="connsiteX2291" fmla="*/ 17952 w 9586368"/>
                <a:gd name="connsiteY2291" fmla="*/ 5039468 h 6479439"/>
                <a:gd name="connsiteX2292" fmla="*/ 13933 w 9586368"/>
                <a:gd name="connsiteY2292" fmla="*/ 5043507 h 6479439"/>
                <a:gd name="connsiteX2293" fmla="*/ 4024 w 9586368"/>
                <a:gd name="connsiteY2293" fmla="*/ 5043507 h 6479439"/>
                <a:gd name="connsiteX2294" fmla="*/ 4 w 9586368"/>
                <a:gd name="connsiteY2294" fmla="*/ 5039468 h 6479439"/>
                <a:gd name="connsiteX2295" fmla="*/ 4 w 9586368"/>
                <a:gd name="connsiteY2295" fmla="*/ 5029597 h 6479439"/>
                <a:gd name="connsiteX2296" fmla="*/ 9572438 w 9586368"/>
                <a:gd name="connsiteY2296" fmla="*/ 4786279 h 6479439"/>
                <a:gd name="connsiteX2297" fmla="*/ 9582349 w 9586368"/>
                <a:gd name="connsiteY2297" fmla="*/ 4786279 h 6479439"/>
                <a:gd name="connsiteX2298" fmla="*/ 9586368 w 9586368"/>
                <a:gd name="connsiteY2298" fmla="*/ 4790317 h 6479439"/>
                <a:gd name="connsiteX2299" fmla="*/ 9586368 w 9586368"/>
                <a:gd name="connsiteY2299" fmla="*/ 4800188 h 6479439"/>
                <a:gd name="connsiteX2300" fmla="*/ 9582349 w 9586368"/>
                <a:gd name="connsiteY2300" fmla="*/ 4804227 h 6479439"/>
                <a:gd name="connsiteX2301" fmla="*/ 9572438 w 9586368"/>
                <a:gd name="connsiteY2301" fmla="*/ 4804227 h 6479439"/>
                <a:gd name="connsiteX2302" fmla="*/ 9568419 w 9586368"/>
                <a:gd name="connsiteY2302" fmla="*/ 4800188 h 6479439"/>
                <a:gd name="connsiteX2303" fmla="*/ 9568419 w 9586368"/>
                <a:gd name="connsiteY2303" fmla="*/ 4790317 h 6479439"/>
                <a:gd name="connsiteX2304" fmla="*/ 9333125 w 9586368"/>
                <a:gd name="connsiteY2304" fmla="*/ 4786279 h 6479439"/>
                <a:gd name="connsiteX2305" fmla="*/ 9343036 w 9586368"/>
                <a:gd name="connsiteY2305" fmla="*/ 4786279 h 6479439"/>
                <a:gd name="connsiteX2306" fmla="*/ 9347055 w 9586368"/>
                <a:gd name="connsiteY2306" fmla="*/ 4790317 h 6479439"/>
                <a:gd name="connsiteX2307" fmla="*/ 9347055 w 9586368"/>
                <a:gd name="connsiteY2307" fmla="*/ 4800188 h 6479439"/>
                <a:gd name="connsiteX2308" fmla="*/ 9343036 w 9586368"/>
                <a:gd name="connsiteY2308" fmla="*/ 4804227 h 6479439"/>
                <a:gd name="connsiteX2309" fmla="*/ 9333125 w 9586368"/>
                <a:gd name="connsiteY2309" fmla="*/ 4804227 h 6479439"/>
                <a:gd name="connsiteX2310" fmla="*/ 9329106 w 9586368"/>
                <a:gd name="connsiteY2310" fmla="*/ 4800188 h 6479439"/>
                <a:gd name="connsiteX2311" fmla="*/ 9329106 w 9586368"/>
                <a:gd name="connsiteY2311" fmla="*/ 4790317 h 6479439"/>
                <a:gd name="connsiteX2312" fmla="*/ 9093811 w 9586368"/>
                <a:gd name="connsiteY2312" fmla="*/ 4786279 h 6479439"/>
                <a:gd name="connsiteX2313" fmla="*/ 9103722 w 9586368"/>
                <a:gd name="connsiteY2313" fmla="*/ 4786279 h 6479439"/>
                <a:gd name="connsiteX2314" fmla="*/ 9107741 w 9586368"/>
                <a:gd name="connsiteY2314" fmla="*/ 4790317 h 6479439"/>
                <a:gd name="connsiteX2315" fmla="*/ 9107741 w 9586368"/>
                <a:gd name="connsiteY2315" fmla="*/ 4800188 h 6479439"/>
                <a:gd name="connsiteX2316" fmla="*/ 9103722 w 9586368"/>
                <a:gd name="connsiteY2316" fmla="*/ 4804227 h 6479439"/>
                <a:gd name="connsiteX2317" fmla="*/ 9093811 w 9586368"/>
                <a:gd name="connsiteY2317" fmla="*/ 4804227 h 6479439"/>
                <a:gd name="connsiteX2318" fmla="*/ 9089792 w 9586368"/>
                <a:gd name="connsiteY2318" fmla="*/ 4800188 h 6479439"/>
                <a:gd name="connsiteX2319" fmla="*/ 9089792 w 9586368"/>
                <a:gd name="connsiteY2319" fmla="*/ 4790317 h 6479439"/>
                <a:gd name="connsiteX2320" fmla="*/ 8854496 w 9586368"/>
                <a:gd name="connsiteY2320" fmla="*/ 4786279 h 6479439"/>
                <a:gd name="connsiteX2321" fmla="*/ 8864407 w 9586368"/>
                <a:gd name="connsiteY2321" fmla="*/ 4786279 h 6479439"/>
                <a:gd name="connsiteX2322" fmla="*/ 8868426 w 9586368"/>
                <a:gd name="connsiteY2322" fmla="*/ 4790317 h 6479439"/>
                <a:gd name="connsiteX2323" fmla="*/ 8868426 w 9586368"/>
                <a:gd name="connsiteY2323" fmla="*/ 4800188 h 6479439"/>
                <a:gd name="connsiteX2324" fmla="*/ 8864407 w 9586368"/>
                <a:gd name="connsiteY2324" fmla="*/ 4804227 h 6479439"/>
                <a:gd name="connsiteX2325" fmla="*/ 8854496 w 9586368"/>
                <a:gd name="connsiteY2325" fmla="*/ 4804227 h 6479439"/>
                <a:gd name="connsiteX2326" fmla="*/ 8850477 w 9586368"/>
                <a:gd name="connsiteY2326" fmla="*/ 4800188 h 6479439"/>
                <a:gd name="connsiteX2327" fmla="*/ 8850477 w 9586368"/>
                <a:gd name="connsiteY2327" fmla="*/ 4790317 h 6479439"/>
                <a:gd name="connsiteX2328" fmla="*/ 8615184 w 9586368"/>
                <a:gd name="connsiteY2328" fmla="*/ 4786279 h 6479439"/>
                <a:gd name="connsiteX2329" fmla="*/ 8625095 w 9586368"/>
                <a:gd name="connsiteY2329" fmla="*/ 4786279 h 6479439"/>
                <a:gd name="connsiteX2330" fmla="*/ 8629114 w 9586368"/>
                <a:gd name="connsiteY2330" fmla="*/ 4790317 h 6479439"/>
                <a:gd name="connsiteX2331" fmla="*/ 8629114 w 9586368"/>
                <a:gd name="connsiteY2331" fmla="*/ 4800188 h 6479439"/>
                <a:gd name="connsiteX2332" fmla="*/ 8625095 w 9586368"/>
                <a:gd name="connsiteY2332" fmla="*/ 4804227 h 6479439"/>
                <a:gd name="connsiteX2333" fmla="*/ 8615184 w 9586368"/>
                <a:gd name="connsiteY2333" fmla="*/ 4804227 h 6479439"/>
                <a:gd name="connsiteX2334" fmla="*/ 8611165 w 9586368"/>
                <a:gd name="connsiteY2334" fmla="*/ 4800188 h 6479439"/>
                <a:gd name="connsiteX2335" fmla="*/ 8611165 w 9586368"/>
                <a:gd name="connsiteY2335" fmla="*/ 4790317 h 6479439"/>
                <a:gd name="connsiteX2336" fmla="*/ 8375869 w 9586368"/>
                <a:gd name="connsiteY2336" fmla="*/ 4786279 h 6479439"/>
                <a:gd name="connsiteX2337" fmla="*/ 8385779 w 9586368"/>
                <a:gd name="connsiteY2337" fmla="*/ 4786279 h 6479439"/>
                <a:gd name="connsiteX2338" fmla="*/ 8389799 w 9586368"/>
                <a:gd name="connsiteY2338" fmla="*/ 4790317 h 6479439"/>
                <a:gd name="connsiteX2339" fmla="*/ 8389799 w 9586368"/>
                <a:gd name="connsiteY2339" fmla="*/ 4800188 h 6479439"/>
                <a:gd name="connsiteX2340" fmla="*/ 8385779 w 9586368"/>
                <a:gd name="connsiteY2340" fmla="*/ 4804227 h 6479439"/>
                <a:gd name="connsiteX2341" fmla="*/ 8375869 w 9586368"/>
                <a:gd name="connsiteY2341" fmla="*/ 4804227 h 6479439"/>
                <a:gd name="connsiteX2342" fmla="*/ 8371850 w 9586368"/>
                <a:gd name="connsiteY2342" fmla="*/ 4800188 h 6479439"/>
                <a:gd name="connsiteX2343" fmla="*/ 8371850 w 9586368"/>
                <a:gd name="connsiteY2343" fmla="*/ 4790317 h 6479439"/>
                <a:gd name="connsiteX2344" fmla="*/ 8136553 w 9586368"/>
                <a:gd name="connsiteY2344" fmla="*/ 4786279 h 6479439"/>
                <a:gd name="connsiteX2345" fmla="*/ 8146464 w 9586368"/>
                <a:gd name="connsiteY2345" fmla="*/ 4786279 h 6479439"/>
                <a:gd name="connsiteX2346" fmla="*/ 8150483 w 9586368"/>
                <a:gd name="connsiteY2346" fmla="*/ 4790317 h 6479439"/>
                <a:gd name="connsiteX2347" fmla="*/ 8150483 w 9586368"/>
                <a:gd name="connsiteY2347" fmla="*/ 4800188 h 6479439"/>
                <a:gd name="connsiteX2348" fmla="*/ 8146464 w 9586368"/>
                <a:gd name="connsiteY2348" fmla="*/ 4804227 h 6479439"/>
                <a:gd name="connsiteX2349" fmla="*/ 8136553 w 9586368"/>
                <a:gd name="connsiteY2349" fmla="*/ 4804227 h 6479439"/>
                <a:gd name="connsiteX2350" fmla="*/ 8132534 w 9586368"/>
                <a:gd name="connsiteY2350" fmla="*/ 4800188 h 6479439"/>
                <a:gd name="connsiteX2351" fmla="*/ 8132534 w 9586368"/>
                <a:gd name="connsiteY2351" fmla="*/ 4790317 h 6479439"/>
                <a:gd name="connsiteX2352" fmla="*/ 7897241 w 9586368"/>
                <a:gd name="connsiteY2352" fmla="*/ 4786279 h 6479439"/>
                <a:gd name="connsiteX2353" fmla="*/ 7907151 w 9586368"/>
                <a:gd name="connsiteY2353" fmla="*/ 4786279 h 6479439"/>
                <a:gd name="connsiteX2354" fmla="*/ 7911170 w 9586368"/>
                <a:gd name="connsiteY2354" fmla="*/ 4790317 h 6479439"/>
                <a:gd name="connsiteX2355" fmla="*/ 7911170 w 9586368"/>
                <a:gd name="connsiteY2355" fmla="*/ 4800188 h 6479439"/>
                <a:gd name="connsiteX2356" fmla="*/ 7907151 w 9586368"/>
                <a:gd name="connsiteY2356" fmla="*/ 4804227 h 6479439"/>
                <a:gd name="connsiteX2357" fmla="*/ 7897241 w 9586368"/>
                <a:gd name="connsiteY2357" fmla="*/ 4804227 h 6479439"/>
                <a:gd name="connsiteX2358" fmla="*/ 7893222 w 9586368"/>
                <a:gd name="connsiteY2358" fmla="*/ 4800188 h 6479439"/>
                <a:gd name="connsiteX2359" fmla="*/ 7893222 w 9586368"/>
                <a:gd name="connsiteY2359" fmla="*/ 4790317 h 6479439"/>
                <a:gd name="connsiteX2360" fmla="*/ 7657926 w 9586368"/>
                <a:gd name="connsiteY2360" fmla="*/ 4786279 h 6479439"/>
                <a:gd name="connsiteX2361" fmla="*/ 7667836 w 9586368"/>
                <a:gd name="connsiteY2361" fmla="*/ 4786279 h 6479439"/>
                <a:gd name="connsiteX2362" fmla="*/ 7671855 w 9586368"/>
                <a:gd name="connsiteY2362" fmla="*/ 4790317 h 6479439"/>
                <a:gd name="connsiteX2363" fmla="*/ 7671855 w 9586368"/>
                <a:gd name="connsiteY2363" fmla="*/ 4800188 h 6479439"/>
                <a:gd name="connsiteX2364" fmla="*/ 7667836 w 9586368"/>
                <a:gd name="connsiteY2364" fmla="*/ 4804227 h 6479439"/>
                <a:gd name="connsiteX2365" fmla="*/ 7657926 w 9586368"/>
                <a:gd name="connsiteY2365" fmla="*/ 4804227 h 6479439"/>
                <a:gd name="connsiteX2366" fmla="*/ 7653906 w 9586368"/>
                <a:gd name="connsiteY2366" fmla="*/ 4800188 h 6479439"/>
                <a:gd name="connsiteX2367" fmla="*/ 7653906 w 9586368"/>
                <a:gd name="connsiteY2367" fmla="*/ 4790317 h 6479439"/>
                <a:gd name="connsiteX2368" fmla="*/ 7418611 w 9586368"/>
                <a:gd name="connsiteY2368" fmla="*/ 4786279 h 6479439"/>
                <a:gd name="connsiteX2369" fmla="*/ 7428521 w 9586368"/>
                <a:gd name="connsiteY2369" fmla="*/ 4786279 h 6479439"/>
                <a:gd name="connsiteX2370" fmla="*/ 7432540 w 9586368"/>
                <a:gd name="connsiteY2370" fmla="*/ 4790317 h 6479439"/>
                <a:gd name="connsiteX2371" fmla="*/ 7432540 w 9586368"/>
                <a:gd name="connsiteY2371" fmla="*/ 4800188 h 6479439"/>
                <a:gd name="connsiteX2372" fmla="*/ 7428521 w 9586368"/>
                <a:gd name="connsiteY2372" fmla="*/ 4804227 h 6479439"/>
                <a:gd name="connsiteX2373" fmla="*/ 7418611 w 9586368"/>
                <a:gd name="connsiteY2373" fmla="*/ 4804227 h 6479439"/>
                <a:gd name="connsiteX2374" fmla="*/ 7414592 w 9586368"/>
                <a:gd name="connsiteY2374" fmla="*/ 4800188 h 6479439"/>
                <a:gd name="connsiteX2375" fmla="*/ 7414592 w 9586368"/>
                <a:gd name="connsiteY2375" fmla="*/ 4790317 h 6479439"/>
                <a:gd name="connsiteX2376" fmla="*/ 7179298 w 9586368"/>
                <a:gd name="connsiteY2376" fmla="*/ 4786279 h 6479439"/>
                <a:gd name="connsiteX2377" fmla="*/ 7189209 w 9586368"/>
                <a:gd name="connsiteY2377" fmla="*/ 4786279 h 6479439"/>
                <a:gd name="connsiteX2378" fmla="*/ 7193228 w 9586368"/>
                <a:gd name="connsiteY2378" fmla="*/ 4790317 h 6479439"/>
                <a:gd name="connsiteX2379" fmla="*/ 7193228 w 9586368"/>
                <a:gd name="connsiteY2379" fmla="*/ 4800188 h 6479439"/>
                <a:gd name="connsiteX2380" fmla="*/ 7189209 w 9586368"/>
                <a:gd name="connsiteY2380" fmla="*/ 4804227 h 6479439"/>
                <a:gd name="connsiteX2381" fmla="*/ 7179298 w 9586368"/>
                <a:gd name="connsiteY2381" fmla="*/ 4804227 h 6479439"/>
                <a:gd name="connsiteX2382" fmla="*/ 7175279 w 9586368"/>
                <a:gd name="connsiteY2382" fmla="*/ 4800188 h 6479439"/>
                <a:gd name="connsiteX2383" fmla="*/ 7175279 w 9586368"/>
                <a:gd name="connsiteY2383" fmla="*/ 4790317 h 6479439"/>
                <a:gd name="connsiteX2384" fmla="*/ 6939983 w 9586368"/>
                <a:gd name="connsiteY2384" fmla="*/ 4786279 h 6479439"/>
                <a:gd name="connsiteX2385" fmla="*/ 6949894 w 9586368"/>
                <a:gd name="connsiteY2385" fmla="*/ 4786279 h 6479439"/>
                <a:gd name="connsiteX2386" fmla="*/ 6953913 w 9586368"/>
                <a:gd name="connsiteY2386" fmla="*/ 4790317 h 6479439"/>
                <a:gd name="connsiteX2387" fmla="*/ 6953913 w 9586368"/>
                <a:gd name="connsiteY2387" fmla="*/ 4800188 h 6479439"/>
                <a:gd name="connsiteX2388" fmla="*/ 6949894 w 9586368"/>
                <a:gd name="connsiteY2388" fmla="*/ 4804227 h 6479439"/>
                <a:gd name="connsiteX2389" fmla="*/ 6939983 w 9586368"/>
                <a:gd name="connsiteY2389" fmla="*/ 4804227 h 6479439"/>
                <a:gd name="connsiteX2390" fmla="*/ 6935964 w 9586368"/>
                <a:gd name="connsiteY2390" fmla="*/ 4800188 h 6479439"/>
                <a:gd name="connsiteX2391" fmla="*/ 6935964 w 9586368"/>
                <a:gd name="connsiteY2391" fmla="*/ 4790317 h 6479439"/>
                <a:gd name="connsiteX2392" fmla="*/ 6700670 w 9586368"/>
                <a:gd name="connsiteY2392" fmla="*/ 4786279 h 6479439"/>
                <a:gd name="connsiteX2393" fmla="*/ 6710581 w 9586368"/>
                <a:gd name="connsiteY2393" fmla="*/ 4786279 h 6479439"/>
                <a:gd name="connsiteX2394" fmla="*/ 6714600 w 9586368"/>
                <a:gd name="connsiteY2394" fmla="*/ 4790317 h 6479439"/>
                <a:gd name="connsiteX2395" fmla="*/ 6714600 w 9586368"/>
                <a:gd name="connsiteY2395" fmla="*/ 4800188 h 6479439"/>
                <a:gd name="connsiteX2396" fmla="*/ 6710581 w 9586368"/>
                <a:gd name="connsiteY2396" fmla="*/ 4804227 h 6479439"/>
                <a:gd name="connsiteX2397" fmla="*/ 6700670 w 9586368"/>
                <a:gd name="connsiteY2397" fmla="*/ 4804227 h 6479439"/>
                <a:gd name="connsiteX2398" fmla="*/ 6696651 w 9586368"/>
                <a:gd name="connsiteY2398" fmla="*/ 4800188 h 6479439"/>
                <a:gd name="connsiteX2399" fmla="*/ 6696651 w 9586368"/>
                <a:gd name="connsiteY2399" fmla="*/ 4790317 h 6479439"/>
                <a:gd name="connsiteX2400" fmla="*/ 6461356 w 9586368"/>
                <a:gd name="connsiteY2400" fmla="*/ 4786279 h 6479439"/>
                <a:gd name="connsiteX2401" fmla="*/ 6471266 w 9586368"/>
                <a:gd name="connsiteY2401" fmla="*/ 4786279 h 6479439"/>
                <a:gd name="connsiteX2402" fmla="*/ 6475285 w 9586368"/>
                <a:gd name="connsiteY2402" fmla="*/ 4790317 h 6479439"/>
                <a:gd name="connsiteX2403" fmla="*/ 6475285 w 9586368"/>
                <a:gd name="connsiteY2403" fmla="*/ 4800188 h 6479439"/>
                <a:gd name="connsiteX2404" fmla="*/ 6471266 w 9586368"/>
                <a:gd name="connsiteY2404" fmla="*/ 4804227 h 6479439"/>
                <a:gd name="connsiteX2405" fmla="*/ 6461356 w 9586368"/>
                <a:gd name="connsiteY2405" fmla="*/ 4804227 h 6479439"/>
                <a:gd name="connsiteX2406" fmla="*/ 6457337 w 9586368"/>
                <a:gd name="connsiteY2406" fmla="*/ 4800188 h 6479439"/>
                <a:gd name="connsiteX2407" fmla="*/ 6457337 w 9586368"/>
                <a:gd name="connsiteY2407" fmla="*/ 4790317 h 6479439"/>
                <a:gd name="connsiteX2408" fmla="*/ 6222042 w 9586368"/>
                <a:gd name="connsiteY2408" fmla="*/ 4786279 h 6479439"/>
                <a:gd name="connsiteX2409" fmla="*/ 6231952 w 9586368"/>
                <a:gd name="connsiteY2409" fmla="*/ 4786279 h 6479439"/>
                <a:gd name="connsiteX2410" fmla="*/ 6235971 w 9586368"/>
                <a:gd name="connsiteY2410" fmla="*/ 4790317 h 6479439"/>
                <a:gd name="connsiteX2411" fmla="*/ 6235971 w 9586368"/>
                <a:gd name="connsiteY2411" fmla="*/ 4800188 h 6479439"/>
                <a:gd name="connsiteX2412" fmla="*/ 6231952 w 9586368"/>
                <a:gd name="connsiteY2412" fmla="*/ 4804227 h 6479439"/>
                <a:gd name="connsiteX2413" fmla="*/ 6222042 w 9586368"/>
                <a:gd name="connsiteY2413" fmla="*/ 4804227 h 6479439"/>
                <a:gd name="connsiteX2414" fmla="*/ 6218023 w 9586368"/>
                <a:gd name="connsiteY2414" fmla="*/ 4800188 h 6479439"/>
                <a:gd name="connsiteX2415" fmla="*/ 6218023 w 9586368"/>
                <a:gd name="connsiteY2415" fmla="*/ 4790317 h 6479439"/>
                <a:gd name="connsiteX2416" fmla="*/ 5982729 w 9586368"/>
                <a:gd name="connsiteY2416" fmla="*/ 4786279 h 6479439"/>
                <a:gd name="connsiteX2417" fmla="*/ 5992639 w 9586368"/>
                <a:gd name="connsiteY2417" fmla="*/ 4786279 h 6479439"/>
                <a:gd name="connsiteX2418" fmla="*/ 5996658 w 9586368"/>
                <a:gd name="connsiteY2418" fmla="*/ 4790317 h 6479439"/>
                <a:gd name="connsiteX2419" fmla="*/ 5996658 w 9586368"/>
                <a:gd name="connsiteY2419" fmla="*/ 4800188 h 6479439"/>
                <a:gd name="connsiteX2420" fmla="*/ 5992639 w 9586368"/>
                <a:gd name="connsiteY2420" fmla="*/ 4804227 h 6479439"/>
                <a:gd name="connsiteX2421" fmla="*/ 5982729 w 9586368"/>
                <a:gd name="connsiteY2421" fmla="*/ 4804227 h 6479439"/>
                <a:gd name="connsiteX2422" fmla="*/ 5978710 w 9586368"/>
                <a:gd name="connsiteY2422" fmla="*/ 4800188 h 6479439"/>
                <a:gd name="connsiteX2423" fmla="*/ 5978710 w 9586368"/>
                <a:gd name="connsiteY2423" fmla="*/ 4790317 h 6479439"/>
                <a:gd name="connsiteX2424" fmla="*/ 5743412 w 9586368"/>
                <a:gd name="connsiteY2424" fmla="*/ 4786279 h 6479439"/>
                <a:gd name="connsiteX2425" fmla="*/ 5753323 w 9586368"/>
                <a:gd name="connsiteY2425" fmla="*/ 4786279 h 6479439"/>
                <a:gd name="connsiteX2426" fmla="*/ 5757342 w 9586368"/>
                <a:gd name="connsiteY2426" fmla="*/ 4790317 h 6479439"/>
                <a:gd name="connsiteX2427" fmla="*/ 5757342 w 9586368"/>
                <a:gd name="connsiteY2427" fmla="*/ 4800188 h 6479439"/>
                <a:gd name="connsiteX2428" fmla="*/ 5753323 w 9586368"/>
                <a:gd name="connsiteY2428" fmla="*/ 4804227 h 6479439"/>
                <a:gd name="connsiteX2429" fmla="*/ 5743412 w 9586368"/>
                <a:gd name="connsiteY2429" fmla="*/ 4804227 h 6479439"/>
                <a:gd name="connsiteX2430" fmla="*/ 5739393 w 9586368"/>
                <a:gd name="connsiteY2430" fmla="*/ 4800188 h 6479439"/>
                <a:gd name="connsiteX2431" fmla="*/ 5739393 w 9586368"/>
                <a:gd name="connsiteY2431" fmla="*/ 4790317 h 6479439"/>
                <a:gd name="connsiteX2432" fmla="*/ 5504099 w 9586368"/>
                <a:gd name="connsiteY2432" fmla="*/ 4786279 h 6479439"/>
                <a:gd name="connsiteX2433" fmla="*/ 5514010 w 9586368"/>
                <a:gd name="connsiteY2433" fmla="*/ 4786279 h 6479439"/>
                <a:gd name="connsiteX2434" fmla="*/ 5518029 w 9586368"/>
                <a:gd name="connsiteY2434" fmla="*/ 4790317 h 6479439"/>
                <a:gd name="connsiteX2435" fmla="*/ 5518029 w 9586368"/>
                <a:gd name="connsiteY2435" fmla="*/ 4800188 h 6479439"/>
                <a:gd name="connsiteX2436" fmla="*/ 5514010 w 9586368"/>
                <a:gd name="connsiteY2436" fmla="*/ 4804227 h 6479439"/>
                <a:gd name="connsiteX2437" fmla="*/ 5504099 w 9586368"/>
                <a:gd name="connsiteY2437" fmla="*/ 4804227 h 6479439"/>
                <a:gd name="connsiteX2438" fmla="*/ 5500080 w 9586368"/>
                <a:gd name="connsiteY2438" fmla="*/ 4800188 h 6479439"/>
                <a:gd name="connsiteX2439" fmla="*/ 5500080 w 9586368"/>
                <a:gd name="connsiteY2439" fmla="*/ 4790317 h 6479439"/>
                <a:gd name="connsiteX2440" fmla="*/ 5264784 w 9586368"/>
                <a:gd name="connsiteY2440" fmla="*/ 4786279 h 6479439"/>
                <a:gd name="connsiteX2441" fmla="*/ 5274694 w 9586368"/>
                <a:gd name="connsiteY2441" fmla="*/ 4786279 h 6479439"/>
                <a:gd name="connsiteX2442" fmla="*/ 5278713 w 9586368"/>
                <a:gd name="connsiteY2442" fmla="*/ 4790317 h 6479439"/>
                <a:gd name="connsiteX2443" fmla="*/ 5278713 w 9586368"/>
                <a:gd name="connsiteY2443" fmla="*/ 4800188 h 6479439"/>
                <a:gd name="connsiteX2444" fmla="*/ 5274694 w 9586368"/>
                <a:gd name="connsiteY2444" fmla="*/ 4804227 h 6479439"/>
                <a:gd name="connsiteX2445" fmla="*/ 5264784 w 9586368"/>
                <a:gd name="connsiteY2445" fmla="*/ 4804227 h 6479439"/>
                <a:gd name="connsiteX2446" fmla="*/ 5260765 w 9586368"/>
                <a:gd name="connsiteY2446" fmla="*/ 4800188 h 6479439"/>
                <a:gd name="connsiteX2447" fmla="*/ 5260765 w 9586368"/>
                <a:gd name="connsiteY2447" fmla="*/ 4790317 h 6479439"/>
                <a:gd name="connsiteX2448" fmla="*/ 5025470 w 9586368"/>
                <a:gd name="connsiteY2448" fmla="*/ 4786279 h 6479439"/>
                <a:gd name="connsiteX2449" fmla="*/ 5035381 w 9586368"/>
                <a:gd name="connsiteY2449" fmla="*/ 4786279 h 6479439"/>
                <a:gd name="connsiteX2450" fmla="*/ 5039400 w 9586368"/>
                <a:gd name="connsiteY2450" fmla="*/ 4790317 h 6479439"/>
                <a:gd name="connsiteX2451" fmla="*/ 5039400 w 9586368"/>
                <a:gd name="connsiteY2451" fmla="*/ 4800188 h 6479439"/>
                <a:gd name="connsiteX2452" fmla="*/ 5035381 w 9586368"/>
                <a:gd name="connsiteY2452" fmla="*/ 4804227 h 6479439"/>
                <a:gd name="connsiteX2453" fmla="*/ 5025470 w 9586368"/>
                <a:gd name="connsiteY2453" fmla="*/ 4804227 h 6479439"/>
                <a:gd name="connsiteX2454" fmla="*/ 5021451 w 9586368"/>
                <a:gd name="connsiteY2454" fmla="*/ 4800188 h 6479439"/>
                <a:gd name="connsiteX2455" fmla="*/ 5021451 w 9586368"/>
                <a:gd name="connsiteY2455" fmla="*/ 4790317 h 6479439"/>
                <a:gd name="connsiteX2456" fmla="*/ 4786241 w 9586368"/>
                <a:gd name="connsiteY2456" fmla="*/ 4786279 h 6479439"/>
                <a:gd name="connsiteX2457" fmla="*/ 4796152 w 9586368"/>
                <a:gd name="connsiteY2457" fmla="*/ 4786279 h 6479439"/>
                <a:gd name="connsiteX2458" fmla="*/ 4800171 w 9586368"/>
                <a:gd name="connsiteY2458" fmla="*/ 4790317 h 6479439"/>
                <a:gd name="connsiteX2459" fmla="*/ 4800171 w 9586368"/>
                <a:gd name="connsiteY2459" fmla="*/ 4800188 h 6479439"/>
                <a:gd name="connsiteX2460" fmla="*/ 4796152 w 9586368"/>
                <a:gd name="connsiteY2460" fmla="*/ 4804227 h 6479439"/>
                <a:gd name="connsiteX2461" fmla="*/ 4786241 w 9586368"/>
                <a:gd name="connsiteY2461" fmla="*/ 4804227 h 6479439"/>
                <a:gd name="connsiteX2462" fmla="*/ 4782224 w 9586368"/>
                <a:gd name="connsiteY2462" fmla="*/ 4800188 h 6479439"/>
                <a:gd name="connsiteX2463" fmla="*/ 4782224 w 9586368"/>
                <a:gd name="connsiteY2463" fmla="*/ 4790317 h 6479439"/>
                <a:gd name="connsiteX2464" fmla="*/ 4546929 w 9586368"/>
                <a:gd name="connsiteY2464" fmla="*/ 4786279 h 6479439"/>
                <a:gd name="connsiteX2465" fmla="*/ 4556840 w 9586368"/>
                <a:gd name="connsiteY2465" fmla="*/ 4786279 h 6479439"/>
                <a:gd name="connsiteX2466" fmla="*/ 4560859 w 9586368"/>
                <a:gd name="connsiteY2466" fmla="*/ 4790317 h 6479439"/>
                <a:gd name="connsiteX2467" fmla="*/ 4560859 w 9586368"/>
                <a:gd name="connsiteY2467" fmla="*/ 4800188 h 6479439"/>
                <a:gd name="connsiteX2468" fmla="*/ 4556840 w 9586368"/>
                <a:gd name="connsiteY2468" fmla="*/ 4804227 h 6479439"/>
                <a:gd name="connsiteX2469" fmla="*/ 4546929 w 9586368"/>
                <a:gd name="connsiteY2469" fmla="*/ 4804227 h 6479439"/>
                <a:gd name="connsiteX2470" fmla="*/ 4542910 w 9586368"/>
                <a:gd name="connsiteY2470" fmla="*/ 4800188 h 6479439"/>
                <a:gd name="connsiteX2471" fmla="*/ 4542910 w 9586368"/>
                <a:gd name="connsiteY2471" fmla="*/ 4790317 h 6479439"/>
                <a:gd name="connsiteX2472" fmla="*/ 4307612 w 9586368"/>
                <a:gd name="connsiteY2472" fmla="*/ 4786279 h 6479439"/>
                <a:gd name="connsiteX2473" fmla="*/ 4317523 w 9586368"/>
                <a:gd name="connsiteY2473" fmla="*/ 4786279 h 6479439"/>
                <a:gd name="connsiteX2474" fmla="*/ 4321543 w 9586368"/>
                <a:gd name="connsiteY2474" fmla="*/ 4790317 h 6479439"/>
                <a:gd name="connsiteX2475" fmla="*/ 4321543 w 9586368"/>
                <a:gd name="connsiteY2475" fmla="*/ 4800188 h 6479439"/>
                <a:gd name="connsiteX2476" fmla="*/ 4317523 w 9586368"/>
                <a:gd name="connsiteY2476" fmla="*/ 4804227 h 6479439"/>
                <a:gd name="connsiteX2477" fmla="*/ 4307612 w 9586368"/>
                <a:gd name="connsiteY2477" fmla="*/ 4804227 h 6479439"/>
                <a:gd name="connsiteX2478" fmla="*/ 4303595 w 9586368"/>
                <a:gd name="connsiteY2478" fmla="*/ 4800188 h 6479439"/>
                <a:gd name="connsiteX2479" fmla="*/ 4303595 w 9586368"/>
                <a:gd name="connsiteY2479" fmla="*/ 4790317 h 6479439"/>
                <a:gd name="connsiteX2480" fmla="*/ 4068297 w 9586368"/>
                <a:gd name="connsiteY2480" fmla="*/ 4786279 h 6479439"/>
                <a:gd name="connsiteX2481" fmla="*/ 4078210 w 9586368"/>
                <a:gd name="connsiteY2481" fmla="*/ 4786279 h 6479439"/>
                <a:gd name="connsiteX2482" fmla="*/ 4082229 w 9586368"/>
                <a:gd name="connsiteY2482" fmla="*/ 4790317 h 6479439"/>
                <a:gd name="connsiteX2483" fmla="*/ 4082229 w 9586368"/>
                <a:gd name="connsiteY2483" fmla="*/ 4800188 h 6479439"/>
                <a:gd name="connsiteX2484" fmla="*/ 4078210 w 9586368"/>
                <a:gd name="connsiteY2484" fmla="*/ 4804227 h 6479439"/>
                <a:gd name="connsiteX2485" fmla="*/ 4068297 w 9586368"/>
                <a:gd name="connsiteY2485" fmla="*/ 4804227 h 6479439"/>
                <a:gd name="connsiteX2486" fmla="*/ 4064278 w 9586368"/>
                <a:gd name="connsiteY2486" fmla="*/ 4800188 h 6479439"/>
                <a:gd name="connsiteX2487" fmla="*/ 4064278 w 9586368"/>
                <a:gd name="connsiteY2487" fmla="*/ 4790317 h 6479439"/>
                <a:gd name="connsiteX2488" fmla="*/ 3828990 w 9586368"/>
                <a:gd name="connsiteY2488" fmla="*/ 4786279 h 6479439"/>
                <a:gd name="connsiteX2489" fmla="*/ 3838899 w 9586368"/>
                <a:gd name="connsiteY2489" fmla="*/ 4786279 h 6479439"/>
                <a:gd name="connsiteX2490" fmla="*/ 3842917 w 9586368"/>
                <a:gd name="connsiteY2490" fmla="*/ 4790317 h 6479439"/>
                <a:gd name="connsiteX2491" fmla="*/ 3842917 w 9586368"/>
                <a:gd name="connsiteY2491" fmla="*/ 4800188 h 6479439"/>
                <a:gd name="connsiteX2492" fmla="*/ 3838899 w 9586368"/>
                <a:gd name="connsiteY2492" fmla="*/ 4804227 h 6479439"/>
                <a:gd name="connsiteX2493" fmla="*/ 3828990 w 9586368"/>
                <a:gd name="connsiteY2493" fmla="*/ 4804227 h 6479439"/>
                <a:gd name="connsiteX2494" fmla="*/ 3824971 w 9586368"/>
                <a:gd name="connsiteY2494" fmla="*/ 4800188 h 6479439"/>
                <a:gd name="connsiteX2495" fmla="*/ 3824971 w 9586368"/>
                <a:gd name="connsiteY2495" fmla="*/ 4790317 h 6479439"/>
                <a:gd name="connsiteX2496" fmla="*/ 3589676 w 9586368"/>
                <a:gd name="connsiteY2496" fmla="*/ 4786279 h 6479439"/>
                <a:gd name="connsiteX2497" fmla="*/ 3599585 w 9586368"/>
                <a:gd name="connsiteY2497" fmla="*/ 4786279 h 6479439"/>
                <a:gd name="connsiteX2498" fmla="*/ 3603604 w 9586368"/>
                <a:gd name="connsiteY2498" fmla="*/ 4790317 h 6479439"/>
                <a:gd name="connsiteX2499" fmla="*/ 3603604 w 9586368"/>
                <a:gd name="connsiteY2499" fmla="*/ 4800188 h 6479439"/>
                <a:gd name="connsiteX2500" fmla="*/ 3599585 w 9586368"/>
                <a:gd name="connsiteY2500" fmla="*/ 4804227 h 6479439"/>
                <a:gd name="connsiteX2501" fmla="*/ 3589676 w 9586368"/>
                <a:gd name="connsiteY2501" fmla="*/ 4804227 h 6479439"/>
                <a:gd name="connsiteX2502" fmla="*/ 3585657 w 9586368"/>
                <a:gd name="connsiteY2502" fmla="*/ 4800188 h 6479439"/>
                <a:gd name="connsiteX2503" fmla="*/ 3585657 w 9586368"/>
                <a:gd name="connsiteY2503" fmla="*/ 4790317 h 6479439"/>
                <a:gd name="connsiteX2504" fmla="*/ 3350359 w 9586368"/>
                <a:gd name="connsiteY2504" fmla="*/ 4786279 h 6479439"/>
                <a:gd name="connsiteX2505" fmla="*/ 3360268 w 9586368"/>
                <a:gd name="connsiteY2505" fmla="*/ 4786279 h 6479439"/>
                <a:gd name="connsiteX2506" fmla="*/ 3364287 w 9586368"/>
                <a:gd name="connsiteY2506" fmla="*/ 4790317 h 6479439"/>
                <a:gd name="connsiteX2507" fmla="*/ 3364287 w 9586368"/>
                <a:gd name="connsiteY2507" fmla="*/ 4800188 h 6479439"/>
                <a:gd name="connsiteX2508" fmla="*/ 3360268 w 9586368"/>
                <a:gd name="connsiteY2508" fmla="*/ 4804227 h 6479439"/>
                <a:gd name="connsiteX2509" fmla="*/ 3350359 w 9586368"/>
                <a:gd name="connsiteY2509" fmla="*/ 4804227 h 6479439"/>
                <a:gd name="connsiteX2510" fmla="*/ 3346340 w 9586368"/>
                <a:gd name="connsiteY2510" fmla="*/ 4800188 h 6479439"/>
                <a:gd name="connsiteX2511" fmla="*/ 3346340 w 9586368"/>
                <a:gd name="connsiteY2511" fmla="*/ 4790317 h 6479439"/>
                <a:gd name="connsiteX2512" fmla="*/ 3111048 w 9586368"/>
                <a:gd name="connsiteY2512" fmla="*/ 4786279 h 6479439"/>
                <a:gd name="connsiteX2513" fmla="*/ 3120959 w 9586368"/>
                <a:gd name="connsiteY2513" fmla="*/ 4786279 h 6479439"/>
                <a:gd name="connsiteX2514" fmla="*/ 3124977 w 9586368"/>
                <a:gd name="connsiteY2514" fmla="*/ 4790317 h 6479439"/>
                <a:gd name="connsiteX2515" fmla="*/ 3124977 w 9586368"/>
                <a:gd name="connsiteY2515" fmla="*/ 4800188 h 6479439"/>
                <a:gd name="connsiteX2516" fmla="*/ 3120959 w 9586368"/>
                <a:gd name="connsiteY2516" fmla="*/ 4804227 h 6479439"/>
                <a:gd name="connsiteX2517" fmla="*/ 3111048 w 9586368"/>
                <a:gd name="connsiteY2517" fmla="*/ 4804227 h 6479439"/>
                <a:gd name="connsiteX2518" fmla="*/ 3107029 w 9586368"/>
                <a:gd name="connsiteY2518" fmla="*/ 4800188 h 6479439"/>
                <a:gd name="connsiteX2519" fmla="*/ 3107029 w 9586368"/>
                <a:gd name="connsiteY2519" fmla="*/ 4790317 h 6479439"/>
                <a:gd name="connsiteX2520" fmla="*/ 2871737 w 9586368"/>
                <a:gd name="connsiteY2520" fmla="*/ 4786279 h 6479439"/>
                <a:gd name="connsiteX2521" fmla="*/ 2881646 w 9586368"/>
                <a:gd name="connsiteY2521" fmla="*/ 4786279 h 6479439"/>
                <a:gd name="connsiteX2522" fmla="*/ 2885666 w 9586368"/>
                <a:gd name="connsiteY2522" fmla="*/ 4790317 h 6479439"/>
                <a:gd name="connsiteX2523" fmla="*/ 2885666 w 9586368"/>
                <a:gd name="connsiteY2523" fmla="*/ 4800188 h 6479439"/>
                <a:gd name="connsiteX2524" fmla="*/ 2881646 w 9586368"/>
                <a:gd name="connsiteY2524" fmla="*/ 4804227 h 6479439"/>
                <a:gd name="connsiteX2525" fmla="*/ 2871737 w 9586368"/>
                <a:gd name="connsiteY2525" fmla="*/ 4804227 h 6479439"/>
                <a:gd name="connsiteX2526" fmla="*/ 2867717 w 9586368"/>
                <a:gd name="connsiteY2526" fmla="*/ 4800188 h 6479439"/>
                <a:gd name="connsiteX2527" fmla="*/ 2867717 w 9586368"/>
                <a:gd name="connsiteY2527" fmla="*/ 4790317 h 6479439"/>
                <a:gd name="connsiteX2528" fmla="*/ 2632423 w 9586368"/>
                <a:gd name="connsiteY2528" fmla="*/ 4786279 h 6479439"/>
                <a:gd name="connsiteX2529" fmla="*/ 2642334 w 9586368"/>
                <a:gd name="connsiteY2529" fmla="*/ 4786279 h 6479439"/>
                <a:gd name="connsiteX2530" fmla="*/ 2646352 w 9586368"/>
                <a:gd name="connsiteY2530" fmla="*/ 4790317 h 6479439"/>
                <a:gd name="connsiteX2531" fmla="*/ 2646352 w 9586368"/>
                <a:gd name="connsiteY2531" fmla="*/ 4800188 h 6479439"/>
                <a:gd name="connsiteX2532" fmla="*/ 2642334 w 9586368"/>
                <a:gd name="connsiteY2532" fmla="*/ 4804227 h 6479439"/>
                <a:gd name="connsiteX2533" fmla="*/ 2632423 w 9586368"/>
                <a:gd name="connsiteY2533" fmla="*/ 4804227 h 6479439"/>
                <a:gd name="connsiteX2534" fmla="*/ 2628404 w 9586368"/>
                <a:gd name="connsiteY2534" fmla="*/ 4800188 h 6479439"/>
                <a:gd name="connsiteX2535" fmla="*/ 2628404 w 9586368"/>
                <a:gd name="connsiteY2535" fmla="*/ 4790317 h 6479439"/>
                <a:gd name="connsiteX2536" fmla="*/ 2393104 w 9586368"/>
                <a:gd name="connsiteY2536" fmla="*/ 4786279 h 6479439"/>
                <a:gd name="connsiteX2537" fmla="*/ 2403015 w 9586368"/>
                <a:gd name="connsiteY2537" fmla="*/ 4786279 h 6479439"/>
                <a:gd name="connsiteX2538" fmla="*/ 2407034 w 9586368"/>
                <a:gd name="connsiteY2538" fmla="*/ 4790317 h 6479439"/>
                <a:gd name="connsiteX2539" fmla="*/ 2407034 w 9586368"/>
                <a:gd name="connsiteY2539" fmla="*/ 4800188 h 6479439"/>
                <a:gd name="connsiteX2540" fmla="*/ 2403015 w 9586368"/>
                <a:gd name="connsiteY2540" fmla="*/ 4804227 h 6479439"/>
                <a:gd name="connsiteX2541" fmla="*/ 2393104 w 9586368"/>
                <a:gd name="connsiteY2541" fmla="*/ 4804227 h 6479439"/>
                <a:gd name="connsiteX2542" fmla="*/ 2389087 w 9586368"/>
                <a:gd name="connsiteY2542" fmla="*/ 4800188 h 6479439"/>
                <a:gd name="connsiteX2543" fmla="*/ 2389087 w 9586368"/>
                <a:gd name="connsiteY2543" fmla="*/ 4790317 h 6479439"/>
                <a:gd name="connsiteX2544" fmla="*/ 2157819 w 9586368"/>
                <a:gd name="connsiteY2544" fmla="*/ 4786279 h 6479439"/>
                <a:gd name="connsiteX2545" fmla="*/ 2167729 w 9586368"/>
                <a:gd name="connsiteY2545" fmla="*/ 4786279 h 6479439"/>
                <a:gd name="connsiteX2546" fmla="*/ 2171748 w 9586368"/>
                <a:gd name="connsiteY2546" fmla="*/ 4790317 h 6479439"/>
                <a:gd name="connsiteX2547" fmla="*/ 2171748 w 9586368"/>
                <a:gd name="connsiteY2547" fmla="*/ 4800188 h 6479439"/>
                <a:gd name="connsiteX2548" fmla="*/ 2167729 w 9586368"/>
                <a:gd name="connsiteY2548" fmla="*/ 4804227 h 6479439"/>
                <a:gd name="connsiteX2549" fmla="*/ 2157819 w 9586368"/>
                <a:gd name="connsiteY2549" fmla="*/ 4804227 h 6479439"/>
                <a:gd name="connsiteX2550" fmla="*/ 2153800 w 9586368"/>
                <a:gd name="connsiteY2550" fmla="*/ 4800188 h 6479439"/>
                <a:gd name="connsiteX2551" fmla="*/ 2153800 w 9586368"/>
                <a:gd name="connsiteY2551" fmla="*/ 4790317 h 6479439"/>
                <a:gd name="connsiteX2552" fmla="*/ 1918510 w 9586368"/>
                <a:gd name="connsiteY2552" fmla="*/ 4786279 h 6479439"/>
                <a:gd name="connsiteX2553" fmla="*/ 1928420 w 9586368"/>
                <a:gd name="connsiteY2553" fmla="*/ 4786279 h 6479439"/>
                <a:gd name="connsiteX2554" fmla="*/ 1932440 w 9586368"/>
                <a:gd name="connsiteY2554" fmla="*/ 4790317 h 6479439"/>
                <a:gd name="connsiteX2555" fmla="*/ 1932440 w 9586368"/>
                <a:gd name="connsiteY2555" fmla="*/ 4800188 h 6479439"/>
                <a:gd name="connsiteX2556" fmla="*/ 1928420 w 9586368"/>
                <a:gd name="connsiteY2556" fmla="*/ 4804227 h 6479439"/>
                <a:gd name="connsiteX2557" fmla="*/ 1918510 w 9586368"/>
                <a:gd name="connsiteY2557" fmla="*/ 4804227 h 6479439"/>
                <a:gd name="connsiteX2558" fmla="*/ 1914492 w 9586368"/>
                <a:gd name="connsiteY2558" fmla="*/ 4800188 h 6479439"/>
                <a:gd name="connsiteX2559" fmla="*/ 1914492 w 9586368"/>
                <a:gd name="connsiteY2559" fmla="*/ 4790317 h 6479439"/>
                <a:gd name="connsiteX2560" fmla="*/ 1679205 w 9586368"/>
                <a:gd name="connsiteY2560" fmla="*/ 4786279 h 6479439"/>
                <a:gd name="connsiteX2561" fmla="*/ 1689115 w 9586368"/>
                <a:gd name="connsiteY2561" fmla="*/ 4786279 h 6479439"/>
                <a:gd name="connsiteX2562" fmla="*/ 1693134 w 9586368"/>
                <a:gd name="connsiteY2562" fmla="*/ 4790317 h 6479439"/>
                <a:gd name="connsiteX2563" fmla="*/ 1693134 w 9586368"/>
                <a:gd name="connsiteY2563" fmla="*/ 4800188 h 6479439"/>
                <a:gd name="connsiteX2564" fmla="*/ 1689115 w 9586368"/>
                <a:gd name="connsiteY2564" fmla="*/ 4804227 h 6479439"/>
                <a:gd name="connsiteX2565" fmla="*/ 1679205 w 9586368"/>
                <a:gd name="connsiteY2565" fmla="*/ 4804227 h 6479439"/>
                <a:gd name="connsiteX2566" fmla="*/ 1675187 w 9586368"/>
                <a:gd name="connsiteY2566" fmla="*/ 4800188 h 6479439"/>
                <a:gd name="connsiteX2567" fmla="*/ 1675187 w 9586368"/>
                <a:gd name="connsiteY2567" fmla="*/ 4790317 h 6479439"/>
                <a:gd name="connsiteX2568" fmla="*/ 1439890 w 9586368"/>
                <a:gd name="connsiteY2568" fmla="*/ 4786279 h 6479439"/>
                <a:gd name="connsiteX2569" fmla="*/ 1449800 w 9586368"/>
                <a:gd name="connsiteY2569" fmla="*/ 4786279 h 6479439"/>
                <a:gd name="connsiteX2570" fmla="*/ 1453818 w 9586368"/>
                <a:gd name="connsiteY2570" fmla="*/ 4790317 h 6479439"/>
                <a:gd name="connsiteX2571" fmla="*/ 1453818 w 9586368"/>
                <a:gd name="connsiteY2571" fmla="*/ 4800188 h 6479439"/>
                <a:gd name="connsiteX2572" fmla="*/ 1449800 w 9586368"/>
                <a:gd name="connsiteY2572" fmla="*/ 4804227 h 6479439"/>
                <a:gd name="connsiteX2573" fmla="*/ 1439890 w 9586368"/>
                <a:gd name="connsiteY2573" fmla="*/ 4804227 h 6479439"/>
                <a:gd name="connsiteX2574" fmla="*/ 1435870 w 9586368"/>
                <a:gd name="connsiteY2574" fmla="*/ 4800188 h 6479439"/>
                <a:gd name="connsiteX2575" fmla="*/ 1435870 w 9586368"/>
                <a:gd name="connsiteY2575" fmla="*/ 4790317 h 6479439"/>
                <a:gd name="connsiteX2576" fmla="*/ 1200574 w 9586368"/>
                <a:gd name="connsiteY2576" fmla="*/ 4786279 h 6479439"/>
                <a:gd name="connsiteX2577" fmla="*/ 1210484 w 9586368"/>
                <a:gd name="connsiteY2577" fmla="*/ 4786279 h 6479439"/>
                <a:gd name="connsiteX2578" fmla="*/ 1214503 w 9586368"/>
                <a:gd name="connsiteY2578" fmla="*/ 4790317 h 6479439"/>
                <a:gd name="connsiteX2579" fmla="*/ 1214503 w 9586368"/>
                <a:gd name="connsiteY2579" fmla="*/ 4800188 h 6479439"/>
                <a:gd name="connsiteX2580" fmla="*/ 1210484 w 9586368"/>
                <a:gd name="connsiteY2580" fmla="*/ 4804227 h 6479439"/>
                <a:gd name="connsiteX2581" fmla="*/ 1200574 w 9586368"/>
                <a:gd name="connsiteY2581" fmla="*/ 4804227 h 6479439"/>
                <a:gd name="connsiteX2582" fmla="*/ 1196555 w 9586368"/>
                <a:gd name="connsiteY2582" fmla="*/ 4800188 h 6479439"/>
                <a:gd name="connsiteX2583" fmla="*/ 1196555 w 9586368"/>
                <a:gd name="connsiteY2583" fmla="*/ 4790317 h 6479439"/>
                <a:gd name="connsiteX2584" fmla="*/ 961262 w 9586368"/>
                <a:gd name="connsiteY2584" fmla="*/ 4786279 h 6479439"/>
                <a:gd name="connsiteX2585" fmla="*/ 971172 w 9586368"/>
                <a:gd name="connsiteY2585" fmla="*/ 4786279 h 6479439"/>
                <a:gd name="connsiteX2586" fmla="*/ 975190 w 9586368"/>
                <a:gd name="connsiteY2586" fmla="*/ 4790317 h 6479439"/>
                <a:gd name="connsiteX2587" fmla="*/ 975190 w 9586368"/>
                <a:gd name="connsiteY2587" fmla="*/ 4800188 h 6479439"/>
                <a:gd name="connsiteX2588" fmla="*/ 971172 w 9586368"/>
                <a:gd name="connsiteY2588" fmla="*/ 4804227 h 6479439"/>
                <a:gd name="connsiteX2589" fmla="*/ 961262 w 9586368"/>
                <a:gd name="connsiteY2589" fmla="*/ 4804227 h 6479439"/>
                <a:gd name="connsiteX2590" fmla="*/ 957242 w 9586368"/>
                <a:gd name="connsiteY2590" fmla="*/ 4800188 h 6479439"/>
                <a:gd name="connsiteX2591" fmla="*/ 957242 w 9586368"/>
                <a:gd name="connsiteY2591" fmla="*/ 4790317 h 6479439"/>
                <a:gd name="connsiteX2592" fmla="*/ 721963 w 9586368"/>
                <a:gd name="connsiteY2592" fmla="*/ 4786279 h 6479439"/>
                <a:gd name="connsiteX2593" fmla="*/ 731873 w 9586368"/>
                <a:gd name="connsiteY2593" fmla="*/ 4786279 h 6479439"/>
                <a:gd name="connsiteX2594" fmla="*/ 735892 w 9586368"/>
                <a:gd name="connsiteY2594" fmla="*/ 4790317 h 6479439"/>
                <a:gd name="connsiteX2595" fmla="*/ 735892 w 9586368"/>
                <a:gd name="connsiteY2595" fmla="*/ 4800188 h 6479439"/>
                <a:gd name="connsiteX2596" fmla="*/ 731873 w 9586368"/>
                <a:gd name="connsiteY2596" fmla="*/ 4804227 h 6479439"/>
                <a:gd name="connsiteX2597" fmla="*/ 721963 w 9586368"/>
                <a:gd name="connsiteY2597" fmla="*/ 4804227 h 6479439"/>
                <a:gd name="connsiteX2598" fmla="*/ 717944 w 9586368"/>
                <a:gd name="connsiteY2598" fmla="*/ 4800188 h 6479439"/>
                <a:gd name="connsiteX2599" fmla="*/ 717944 w 9586368"/>
                <a:gd name="connsiteY2599" fmla="*/ 4790317 h 6479439"/>
                <a:gd name="connsiteX2600" fmla="*/ 482651 w 9586368"/>
                <a:gd name="connsiteY2600" fmla="*/ 4786279 h 6479439"/>
                <a:gd name="connsiteX2601" fmla="*/ 492561 w 9586368"/>
                <a:gd name="connsiteY2601" fmla="*/ 4786279 h 6479439"/>
                <a:gd name="connsiteX2602" fmla="*/ 496580 w 9586368"/>
                <a:gd name="connsiteY2602" fmla="*/ 4790317 h 6479439"/>
                <a:gd name="connsiteX2603" fmla="*/ 496580 w 9586368"/>
                <a:gd name="connsiteY2603" fmla="*/ 4800188 h 6479439"/>
                <a:gd name="connsiteX2604" fmla="*/ 492561 w 9586368"/>
                <a:gd name="connsiteY2604" fmla="*/ 4804227 h 6479439"/>
                <a:gd name="connsiteX2605" fmla="*/ 482651 w 9586368"/>
                <a:gd name="connsiteY2605" fmla="*/ 4804227 h 6479439"/>
                <a:gd name="connsiteX2606" fmla="*/ 478632 w 9586368"/>
                <a:gd name="connsiteY2606" fmla="*/ 4800188 h 6479439"/>
                <a:gd name="connsiteX2607" fmla="*/ 478632 w 9586368"/>
                <a:gd name="connsiteY2607" fmla="*/ 4790317 h 6479439"/>
                <a:gd name="connsiteX2608" fmla="*/ 243338 w 9586368"/>
                <a:gd name="connsiteY2608" fmla="*/ 4786279 h 6479439"/>
                <a:gd name="connsiteX2609" fmla="*/ 253247 w 9586368"/>
                <a:gd name="connsiteY2609" fmla="*/ 4786279 h 6479439"/>
                <a:gd name="connsiteX2610" fmla="*/ 257266 w 9586368"/>
                <a:gd name="connsiteY2610" fmla="*/ 4790317 h 6479439"/>
                <a:gd name="connsiteX2611" fmla="*/ 257266 w 9586368"/>
                <a:gd name="connsiteY2611" fmla="*/ 4800188 h 6479439"/>
                <a:gd name="connsiteX2612" fmla="*/ 253247 w 9586368"/>
                <a:gd name="connsiteY2612" fmla="*/ 4804227 h 6479439"/>
                <a:gd name="connsiteX2613" fmla="*/ 243338 w 9586368"/>
                <a:gd name="connsiteY2613" fmla="*/ 4804227 h 6479439"/>
                <a:gd name="connsiteX2614" fmla="*/ 239318 w 9586368"/>
                <a:gd name="connsiteY2614" fmla="*/ 4800188 h 6479439"/>
                <a:gd name="connsiteX2615" fmla="*/ 239318 w 9586368"/>
                <a:gd name="connsiteY2615" fmla="*/ 4790317 h 6479439"/>
                <a:gd name="connsiteX2616" fmla="*/ 4024 w 9586368"/>
                <a:gd name="connsiteY2616" fmla="*/ 4786279 h 6479439"/>
                <a:gd name="connsiteX2617" fmla="*/ 13934 w 9586368"/>
                <a:gd name="connsiteY2617" fmla="*/ 4786279 h 6479439"/>
                <a:gd name="connsiteX2618" fmla="*/ 17954 w 9586368"/>
                <a:gd name="connsiteY2618" fmla="*/ 4790317 h 6479439"/>
                <a:gd name="connsiteX2619" fmla="*/ 17954 w 9586368"/>
                <a:gd name="connsiteY2619" fmla="*/ 4800188 h 6479439"/>
                <a:gd name="connsiteX2620" fmla="*/ 13934 w 9586368"/>
                <a:gd name="connsiteY2620" fmla="*/ 4804227 h 6479439"/>
                <a:gd name="connsiteX2621" fmla="*/ 4024 w 9586368"/>
                <a:gd name="connsiteY2621" fmla="*/ 4804227 h 6479439"/>
                <a:gd name="connsiteX2622" fmla="*/ 5 w 9586368"/>
                <a:gd name="connsiteY2622" fmla="*/ 4800188 h 6479439"/>
                <a:gd name="connsiteX2623" fmla="*/ 5 w 9586368"/>
                <a:gd name="connsiteY2623" fmla="*/ 4790317 h 6479439"/>
                <a:gd name="connsiteX2624" fmla="*/ 2157819 w 9586368"/>
                <a:gd name="connsiteY2624" fmla="*/ 4546999 h 6479439"/>
                <a:gd name="connsiteX2625" fmla="*/ 2167729 w 9586368"/>
                <a:gd name="connsiteY2625" fmla="*/ 4546999 h 6479439"/>
                <a:gd name="connsiteX2626" fmla="*/ 2171748 w 9586368"/>
                <a:gd name="connsiteY2626" fmla="*/ 4551038 h 6479439"/>
                <a:gd name="connsiteX2627" fmla="*/ 2171748 w 9586368"/>
                <a:gd name="connsiteY2627" fmla="*/ 4560909 h 6479439"/>
                <a:gd name="connsiteX2628" fmla="*/ 2167729 w 9586368"/>
                <a:gd name="connsiteY2628" fmla="*/ 4564948 h 6479439"/>
                <a:gd name="connsiteX2629" fmla="*/ 2157819 w 9586368"/>
                <a:gd name="connsiteY2629" fmla="*/ 4564948 h 6479439"/>
                <a:gd name="connsiteX2630" fmla="*/ 2153801 w 9586368"/>
                <a:gd name="connsiteY2630" fmla="*/ 4560909 h 6479439"/>
                <a:gd name="connsiteX2631" fmla="*/ 2153801 w 9586368"/>
                <a:gd name="connsiteY2631" fmla="*/ 4551038 h 6479439"/>
                <a:gd name="connsiteX2632" fmla="*/ 1918510 w 9586368"/>
                <a:gd name="connsiteY2632" fmla="*/ 4546999 h 6479439"/>
                <a:gd name="connsiteX2633" fmla="*/ 1928421 w 9586368"/>
                <a:gd name="connsiteY2633" fmla="*/ 4546999 h 6479439"/>
                <a:gd name="connsiteX2634" fmla="*/ 1932440 w 9586368"/>
                <a:gd name="connsiteY2634" fmla="*/ 4551038 h 6479439"/>
                <a:gd name="connsiteX2635" fmla="*/ 1932440 w 9586368"/>
                <a:gd name="connsiteY2635" fmla="*/ 4560909 h 6479439"/>
                <a:gd name="connsiteX2636" fmla="*/ 1928421 w 9586368"/>
                <a:gd name="connsiteY2636" fmla="*/ 4564948 h 6479439"/>
                <a:gd name="connsiteX2637" fmla="*/ 1918510 w 9586368"/>
                <a:gd name="connsiteY2637" fmla="*/ 4564948 h 6479439"/>
                <a:gd name="connsiteX2638" fmla="*/ 1914492 w 9586368"/>
                <a:gd name="connsiteY2638" fmla="*/ 4560909 h 6479439"/>
                <a:gd name="connsiteX2639" fmla="*/ 1914492 w 9586368"/>
                <a:gd name="connsiteY2639" fmla="*/ 4551038 h 6479439"/>
                <a:gd name="connsiteX2640" fmla="*/ 1679206 w 9586368"/>
                <a:gd name="connsiteY2640" fmla="*/ 4546999 h 6479439"/>
                <a:gd name="connsiteX2641" fmla="*/ 1689116 w 9586368"/>
                <a:gd name="connsiteY2641" fmla="*/ 4546999 h 6479439"/>
                <a:gd name="connsiteX2642" fmla="*/ 1693134 w 9586368"/>
                <a:gd name="connsiteY2642" fmla="*/ 4551038 h 6479439"/>
                <a:gd name="connsiteX2643" fmla="*/ 1693134 w 9586368"/>
                <a:gd name="connsiteY2643" fmla="*/ 4560909 h 6479439"/>
                <a:gd name="connsiteX2644" fmla="*/ 1689116 w 9586368"/>
                <a:gd name="connsiteY2644" fmla="*/ 4564948 h 6479439"/>
                <a:gd name="connsiteX2645" fmla="*/ 1679206 w 9586368"/>
                <a:gd name="connsiteY2645" fmla="*/ 4564948 h 6479439"/>
                <a:gd name="connsiteX2646" fmla="*/ 1675187 w 9586368"/>
                <a:gd name="connsiteY2646" fmla="*/ 4560909 h 6479439"/>
                <a:gd name="connsiteX2647" fmla="*/ 1675187 w 9586368"/>
                <a:gd name="connsiteY2647" fmla="*/ 4551038 h 6479439"/>
                <a:gd name="connsiteX2648" fmla="*/ 1439890 w 9586368"/>
                <a:gd name="connsiteY2648" fmla="*/ 4546999 h 6479439"/>
                <a:gd name="connsiteX2649" fmla="*/ 1449800 w 9586368"/>
                <a:gd name="connsiteY2649" fmla="*/ 4546999 h 6479439"/>
                <a:gd name="connsiteX2650" fmla="*/ 1453819 w 9586368"/>
                <a:gd name="connsiteY2650" fmla="*/ 4551038 h 6479439"/>
                <a:gd name="connsiteX2651" fmla="*/ 1453819 w 9586368"/>
                <a:gd name="connsiteY2651" fmla="*/ 4560909 h 6479439"/>
                <a:gd name="connsiteX2652" fmla="*/ 1449800 w 9586368"/>
                <a:gd name="connsiteY2652" fmla="*/ 4564948 h 6479439"/>
                <a:gd name="connsiteX2653" fmla="*/ 1439890 w 9586368"/>
                <a:gd name="connsiteY2653" fmla="*/ 4564948 h 6479439"/>
                <a:gd name="connsiteX2654" fmla="*/ 1435871 w 9586368"/>
                <a:gd name="connsiteY2654" fmla="*/ 4560909 h 6479439"/>
                <a:gd name="connsiteX2655" fmla="*/ 1435871 w 9586368"/>
                <a:gd name="connsiteY2655" fmla="*/ 4551038 h 6479439"/>
                <a:gd name="connsiteX2656" fmla="*/ 1200575 w 9586368"/>
                <a:gd name="connsiteY2656" fmla="*/ 4546999 h 6479439"/>
                <a:gd name="connsiteX2657" fmla="*/ 1210485 w 9586368"/>
                <a:gd name="connsiteY2657" fmla="*/ 4546999 h 6479439"/>
                <a:gd name="connsiteX2658" fmla="*/ 1214504 w 9586368"/>
                <a:gd name="connsiteY2658" fmla="*/ 4551038 h 6479439"/>
                <a:gd name="connsiteX2659" fmla="*/ 1214504 w 9586368"/>
                <a:gd name="connsiteY2659" fmla="*/ 4560909 h 6479439"/>
                <a:gd name="connsiteX2660" fmla="*/ 1210485 w 9586368"/>
                <a:gd name="connsiteY2660" fmla="*/ 4564948 h 6479439"/>
                <a:gd name="connsiteX2661" fmla="*/ 1200575 w 9586368"/>
                <a:gd name="connsiteY2661" fmla="*/ 4564948 h 6479439"/>
                <a:gd name="connsiteX2662" fmla="*/ 1196556 w 9586368"/>
                <a:gd name="connsiteY2662" fmla="*/ 4560909 h 6479439"/>
                <a:gd name="connsiteX2663" fmla="*/ 1196556 w 9586368"/>
                <a:gd name="connsiteY2663" fmla="*/ 4551038 h 6479439"/>
                <a:gd name="connsiteX2664" fmla="*/ 961262 w 9586368"/>
                <a:gd name="connsiteY2664" fmla="*/ 4546999 h 6479439"/>
                <a:gd name="connsiteX2665" fmla="*/ 971172 w 9586368"/>
                <a:gd name="connsiteY2665" fmla="*/ 4546999 h 6479439"/>
                <a:gd name="connsiteX2666" fmla="*/ 975191 w 9586368"/>
                <a:gd name="connsiteY2666" fmla="*/ 4551038 h 6479439"/>
                <a:gd name="connsiteX2667" fmla="*/ 975191 w 9586368"/>
                <a:gd name="connsiteY2667" fmla="*/ 4560909 h 6479439"/>
                <a:gd name="connsiteX2668" fmla="*/ 971172 w 9586368"/>
                <a:gd name="connsiteY2668" fmla="*/ 4564948 h 6479439"/>
                <a:gd name="connsiteX2669" fmla="*/ 961262 w 9586368"/>
                <a:gd name="connsiteY2669" fmla="*/ 4564948 h 6479439"/>
                <a:gd name="connsiteX2670" fmla="*/ 957243 w 9586368"/>
                <a:gd name="connsiteY2670" fmla="*/ 4560909 h 6479439"/>
                <a:gd name="connsiteX2671" fmla="*/ 957243 w 9586368"/>
                <a:gd name="connsiteY2671" fmla="*/ 4551038 h 6479439"/>
                <a:gd name="connsiteX2672" fmla="*/ 9572438 w 9586368"/>
                <a:gd name="connsiteY2672" fmla="*/ 4546948 h 6479439"/>
                <a:gd name="connsiteX2673" fmla="*/ 9582349 w 9586368"/>
                <a:gd name="connsiteY2673" fmla="*/ 4546948 h 6479439"/>
                <a:gd name="connsiteX2674" fmla="*/ 9586368 w 9586368"/>
                <a:gd name="connsiteY2674" fmla="*/ 4550987 h 6479439"/>
                <a:gd name="connsiteX2675" fmla="*/ 9586368 w 9586368"/>
                <a:gd name="connsiteY2675" fmla="*/ 4560858 h 6479439"/>
                <a:gd name="connsiteX2676" fmla="*/ 9582349 w 9586368"/>
                <a:gd name="connsiteY2676" fmla="*/ 4564897 h 6479439"/>
                <a:gd name="connsiteX2677" fmla="*/ 9572438 w 9586368"/>
                <a:gd name="connsiteY2677" fmla="*/ 4564897 h 6479439"/>
                <a:gd name="connsiteX2678" fmla="*/ 9568419 w 9586368"/>
                <a:gd name="connsiteY2678" fmla="*/ 4560858 h 6479439"/>
                <a:gd name="connsiteX2679" fmla="*/ 9568419 w 9586368"/>
                <a:gd name="connsiteY2679" fmla="*/ 4550987 h 6479439"/>
                <a:gd name="connsiteX2680" fmla="*/ 9333125 w 9586368"/>
                <a:gd name="connsiteY2680" fmla="*/ 4546948 h 6479439"/>
                <a:gd name="connsiteX2681" fmla="*/ 9343036 w 9586368"/>
                <a:gd name="connsiteY2681" fmla="*/ 4546948 h 6479439"/>
                <a:gd name="connsiteX2682" fmla="*/ 9347055 w 9586368"/>
                <a:gd name="connsiteY2682" fmla="*/ 4550987 h 6479439"/>
                <a:gd name="connsiteX2683" fmla="*/ 9347055 w 9586368"/>
                <a:gd name="connsiteY2683" fmla="*/ 4560858 h 6479439"/>
                <a:gd name="connsiteX2684" fmla="*/ 9343036 w 9586368"/>
                <a:gd name="connsiteY2684" fmla="*/ 4564897 h 6479439"/>
                <a:gd name="connsiteX2685" fmla="*/ 9333125 w 9586368"/>
                <a:gd name="connsiteY2685" fmla="*/ 4564897 h 6479439"/>
                <a:gd name="connsiteX2686" fmla="*/ 9329106 w 9586368"/>
                <a:gd name="connsiteY2686" fmla="*/ 4560858 h 6479439"/>
                <a:gd name="connsiteX2687" fmla="*/ 9329106 w 9586368"/>
                <a:gd name="connsiteY2687" fmla="*/ 4550987 h 6479439"/>
                <a:gd name="connsiteX2688" fmla="*/ 9093811 w 9586368"/>
                <a:gd name="connsiteY2688" fmla="*/ 4546948 h 6479439"/>
                <a:gd name="connsiteX2689" fmla="*/ 9103722 w 9586368"/>
                <a:gd name="connsiteY2689" fmla="*/ 4546948 h 6479439"/>
                <a:gd name="connsiteX2690" fmla="*/ 9107741 w 9586368"/>
                <a:gd name="connsiteY2690" fmla="*/ 4550987 h 6479439"/>
                <a:gd name="connsiteX2691" fmla="*/ 9107741 w 9586368"/>
                <a:gd name="connsiteY2691" fmla="*/ 4560858 h 6479439"/>
                <a:gd name="connsiteX2692" fmla="*/ 9103722 w 9586368"/>
                <a:gd name="connsiteY2692" fmla="*/ 4564897 h 6479439"/>
                <a:gd name="connsiteX2693" fmla="*/ 9093811 w 9586368"/>
                <a:gd name="connsiteY2693" fmla="*/ 4564897 h 6479439"/>
                <a:gd name="connsiteX2694" fmla="*/ 9089792 w 9586368"/>
                <a:gd name="connsiteY2694" fmla="*/ 4560858 h 6479439"/>
                <a:gd name="connsiteX2695" fmla="*/ 9089792 w 9586368"/>
                <a:gd name="connsiteY2695" fmla="*/ 4550987 h 6479439"/>
                <a:gd name="connsiteX2696" fmla="*/ 8854496 w 9586368"/>
                <a:gd name="connsiteY2696" fmla="*/ 4546948 h 6479439"/>
                <a:gd name="connsiteX2697" fmla="*/ 8864407 w 9586368"/>
                <a:gd name="connsiteY2697" fmla="*/ 4546948 h 6479439"/>
                <a:gd name="connsiteX2698" fmla="*/ 8868426 w 9586368"/>
                <a:gd name="connsiteY2698" fmla="*/ 4550987 h 6479439"/>
                <a:gd name="connsiteX2699" fmla="*/ 8868426 w 9586368"/>
                <a:gd name="connsiteY2699" fmla="*/ 4560858 h 6479439"/>
                <a:gd name="connsiteX2700" fmla="*/ 8864407 w 9586368"/>
                <a:gd name="connsiteY2700" fmla="*/ 4564897 h 6479439"/>
                <a:gd name="connsiteX2701" fmla="*/ 8854496 w 9586368"/>
                <a:gd name="connsiteY2701" fmla="*/ 4564897 h 6479439"/>
                <a:gd name="connsiteX2702" fmla="*/ 8850477 w 9586368"/>
                <a:gd name="connsiteY2702" fmla="*/ 4560858 h 6479439"/>
                <a:gd name="connsiteX2703" fmla="*/ 8850477 w 9586368"/>
                <a:gd name="connsiteY2703" fmla="*/ 4550987 h 6479439"/>
                <a:gd name="connsiteX2704" fmla="*/ 8615184 w 9586368"/>
                <a:gd name="connsiteY2704" fmla="*/ 4546948 h 6479439"/>
                <a:gd name="connsiteX2705" fmla="*/ 8625095 w 9586368"/>
                <a:gd name="connsiteY2705" fmla="*/ 4546948 h 6479439"/>
                <a:gd name="connsiteX2706" fmla="*/ 8629114 w 9586368"/>
                <a:gd name="connsiteY2706" fmla="*/ 4550987 h 6479439"/>
                <a:gd name="connsiteX2707" fmla="*/ 8629114 w 9586368"/>
                <a:gd name="connsiteY2707" fmla="*/ 4560858 h 6479439"/>
                <a:gd name="connsiteX2708" fmla="*/ 8625095 w 9586368"/>
                <a:gd name="connsiteY2708" fmla="*/ 4564897 h 6479439"/>
                <a:gd name="connsiteX2709" fmla="*/ 8615184 w 9586368"/>
                <a:gd name="connsiteY2709" fmla="*/ 4564897 h 6479439"/>
                <a:gd name="connsiteX2710" fmla="*/ 8611165 w 9586368"/>
                <a:gd name="connsiteY2710" fmla="*/ 4560858 h 6479439"/>
                <a:gd name="connsiteX2711" fmla="*/ 8611165 w 9586368"/>
                <a:gd name="connsiteY2711" fmla="*/ 4550987 h 6479439"/>
                <a:gd name="connsiteX2712" fmla="*/ 8375869 w 9586368"/>
                <a:gd name="connsiteY2712" fmla="*/ 4546948 h 6479439"/>
                <a:gd name="connsiteX2713" fmla="*/ 8385779 w 9586368"/>
                <a:gd name="connsiteY2713" fmla="*/ 4546948 h 6479439"/>
                <a:gd name="connsiteX2714" fmla="*/ 8389799 w 9586368"/>
                <a:gd name="connsiteY2714" fmla="*/ 4550987 h 6479439"/>
                <a:gd name="connsiteX2715" fmla="*/ 8389799 w 9586368"/>
                <a:gd name="connsiteY2715" fmla="*/ 4560858 h 6479439"/>
                <a:gd name="connsiteX2716" fmla="*/ 8385779 w 9586368"/>
                <a:gd name="connsiteY2716" fmla="*/ 4564897 h 6479439"/>
                <a:gd name="connsiteX2717" fmla="*/ 8375869 w 9586368"/>
                <a:gd name="connsiteY2717" fmla="*/ 4564897 h 6479439"/>
                <a:gd name="connsiteX2718" fmla="*/ 8371850 w 9586368"/>
                <a:gd name="connsiteY2718" fmla="*/ 4560858 h 6479439"/>
                <a:gd name="connsiteX2719" fmla="*/ 8371850 w 9586368"/>
                <a:gd name="connsiteY2719" fmla="*/ 4550987 h 6479439"/>
                <a:gd name="connsiteX2720" fmla="*/ 8136553 w 9586368"/>
                <a:gd name="connsiteY2720" fmla="*/ 4546948 h 6479439"/>
                <a:gd name="connsiteX2721" fmla="*/ 8146464 w 9586368"/>
                <a:gd name="connsiteY2721" fmla="*/ 4546948 h 6479439"/>
                <a:gd name="connsiteX2722" fmla="*/ 8150483 w 9586368"/>
                <a:gd name="connsiteY2722" fmla="*/ 4550987 h 6479439"/>
                <a:gd name="connsiteX2723" fmla="*/ 8150483 w 9586368"/>
                <a:gd name="connsiteY2723" fmla="*/ 4560858 h 6479439"/>
                <a:gd name="connsiteX2724" fmla="*/ 8146464 w 9586368"/>
                <a:gd name="connsiteY2724" fmla="*/ 4564897 h 6479439"/>
                <a:gd name="connsiteX2725" fmla="*/ 8136553 w 9586368"/>
                <a:gd name="connsiteY2725" fmla="*/ 4564897 h 6479439"/>
                <a:gd name="connsiteX2726" fmla="*/ 8132534 w 9586368"/>
                <a:gd name="connsiteY2726" fmla="*/ 4560858 h 6479439"/>
                <a:gd name="connsiteX2727" fmla="*/ 8132534 w 9586368"/>
                <a:gd name="connsiteY2727" fmla="*/ 4550987 h 6479439"/>
                <a:gd name="connsiteX2728" fmla="*/ 7897241 w 9586368"/>
                <a:gd name="connsiteY2728" fmla="*/ 4546948 h 6479439"/>
                <a:gd name="connsiteX2729" fmla="*/ 7907151 w 9586368"/>
                <a:gd name="connsiteY2729" fmla="*/ 4546948 h 6479439"/>
                <a:gd name="connsiteX2730" fmla="*/ 7911170 w 9586368"/>
                <a:gd name="connsiteY2730" fmla="*/ 4550987 h 6479439"/>
                <a:gd name="connsiteX2731" fmla="*/ 7911170 w 9586368"/>
                <a:gd name="connsiteY2731" fmla="*/ 4560858 h 6479439"/>
                <a:gd name="connsiteX2732" fmla="*/ 7907151 w 9586368"/>
                <a:gd name="connsiteY2732" fmla="*/ 4564897 h 6479439"/>
                <a:gd name="connsiteX2733" fmla="*/ 7897241 w 9586368"/>
                <a:gd name="connsiteY2733" fmla="*/ 4564897 h 6479439"/>
                <a:gd name="connsiteX2734" fmla="*/ 7893222 w 9586368"/>
                <a:gd name="connsiteY2734" fmla="*/ 4560858 h 6479439"/>
                <a:gd name="connsiteX2735" fmla="*/ 7893222 w 9586368"/>
                <a:gd name="connsiteY2735" fmla="*/ 4550987 h 6479439"/>
                <a:gd name="connsiteX2736" fmla="*/ 7657926 w 9586368"/>
                <a:gd name="connsiteY2736" fmla="*/ 4546948 h 6479439"/>
                <a:gd name="connsiteX2737" fmla="*/ 7667836 w 9586368"/>
                <a:gd name="connsiteY2737" fmla="*/ 4546948 h 6479439"/>
                <a:gd name="connsiteX2738" fmla="*/ 7671855 w 9586368"/>
                <a:gd name="connsiteY2738" fmla="*/ 4550987 h 6479439"/>
                <a:gd name="connsiteX2739" fmla="*/ 7671855 w 9586368"/>
                <a:gd name="connsiteY2739" fmla="*/ 4560858 h 6479439"/>
                <a:gd name="connsiteX2740" fmla="*/ 7667836 w 9586368"/>
                <a:gd name="connsiteY2740" fmla="*/ 4564897 h 6479439"/>
                <a:gd name="connsiteX2741" fmla="*/ 7657926 w 9586368"/>
                <a:gd name="connsiteY2741" fmla="*/ 4564897 h 6479439"/>
                <a:gd name="connsiteX2742" fmla="*/ 7653906 w 9586368"/>
                <a:gd name="connsiteY2742" fmla="*/ 4560858 h 6479439"/>
                <a:gd name="connsiteX2743" fmla="*/ 7653906 w 9586368"/>
                <a:gd name="connsiteY2743" fmla="*/ 4550987 h 6479439"/>
                <a:gd name="connsiteX2744" fmla="*/ 7418611 w 9586368"/>
                <a:gd name="connsiteY2744" fmla="*/ 4546948 h 6479439"/>
                <a:gd name="connsiteX2745" fmla="*/ 7428521 w 9586368"/>
                <a:gd name="connsiteY2745" fmla="*/ 4546948 h 6479439"/>
                <a:gd name="connsiteX2746" fmla="*/ 7432540 w 9586368"/>
                <a:gd name="connsiteY2746" fmla="*/ 4550987 h 6479439"/>
                <a:gd name="connsiteX2747" fmla="*/ 7432540 w 9586368"/>
                <a:gd name="connsiteY2747" fmla="*/ 4560858 h 6479439"/>
                <a:gd name="connsiteX2748" fmla="*/ 7428521 w 9586368"/>
                <a:gd name="connsiteY2748" fmla="*/ 4564897 h 6479439"/>
                <a:gd name="connsiteX2749" fmla="*/ 7418611 w 9586368"/>
                <a:gd name="connsiteY2749" fmla="*/ 4564897 h 6479439"/>
                <a:gd name="connsiteX2750" fmla="*/ 7414592 w 9586368"/>
                <a:gd name="connsiteY2750" fmla="*/ 4560858 h 6479439"/>
                <a:gd name="connsiteX2751" fmla="*/ 7414592 w 9586368"/>
                <a:gd name="connsiteY2751" fmla="*/ 4550987 h 6479439"/>
                <a:gd name="connsiteX2752" fmla="*/ 7179298 w 9586368"/>
                <a:gd name="connsiteY2752" fmla="*/ 4546948 h 6479439"/>
                <a:gd name="connsiteX2753" fmla="*/ 7189209 w 9586368"/>
                <a:gd name="connsiteY2753" fmla="*/ 4546948 h 6479439"/>
                <a:gd name="connsiteX2754" fmla="*/ 7193228 w 9586368"/>
                <a:gd name="connsiteY2754" fmla="*/ 4550987 h 6479439"/>
                <a:gd name="connsiteX2755" fmla="*/ 7193228 w 9586368"/>
                <a:gd name="connsiteY2755" fmla="*/ 4560858 h 6479439"/>
                <a:gd name="connsiteX2756" fmla="*/ 7189209 w 9586368"/>
                <a:gd name="connsiteY2756" fmla="*/ 4564897 h 6479439"/>
                <a:gd name="connsiteX2757" fmla="*/ 7179298 w 9586368"/>
                <a:gd name="connsiteY2757" fmla="*/ 4564897 h 6479439"/>
                <a:gd name="connsiteX2758" fmla="*/ 7175279 w 9586368"/>
                <a:gd name="connsiteY2758" fmla="*/ 4560858 h 6479439"/>
                <a:gd name="connsiteX2759" fmla="*/ 7175279 w 9586368"/>
                <a:gd name="connsiteY2759" fmla="*/ 4550987 h 6479439"/>
                <a:gd name="connsiteX2760" fmla="*/ 6939983 w 9586368"/>
                <a:gd name="connsiteY2760" fmla="*/ 4546948 h 6479439"/>
                <a:gd name="connsiteX2761" fmla="*/ 6949894 w 9586368"/>
                <a:gd name="connsiteY2761" fmla="*/ 4546948 h 6479439"/>
                <a:gd name="connsiteX2762" fmla="*/ 6953913 w 9586368"/>
                <a:gd name="connsiteY2762" fmla="*/ 4550987 h 6479439"/>
                <a:gd name="connsiteX2763" fmla="*/ 6953913 w 9586368"/>
                <a:gd name="connsiteY2763" fmla="*/ 4560858 h 6479439"/>
                <a:gd name="connsiteX2764" fmla="*/ 6949894 w 9586368"/>
                <a:gd name="connsiteY2764" fmla="*/ 4564897 h 6479439"/>
                <a:gd name="connsiteX2765" fmla="*/ 6939983 w 9586368"/>
                <a:gd name="connsiteY2765" fmla="*/ 4564897 h 6479439"/>
                <a:gd name="connsiteX2766" fmla="*/ 6935964 w 9586368"/>
                <a:gd name="connsiteY2766" fmla="*/ 4560858 h 6479439"/>
                <a:gd name="connsiteX2767" fmla="*/ 6935964 w 9586368"/>
                <a:gd name="connsiteY2767" fmla="*/ 4550987 h 6479439"/>
                <a:gd name="connsiteX2768" fmla="*/ 6700670 w 9586368"/>
                <a:gd name="connsiteY2768" fmla="*/ 4546948 h 6479439"/>
                <a:gd name="connsiteX2769" fmla="*/ 6710581 w 9586368"/>
                <a:gd name="connsiteY2769" fmla="*/ 4546948 h 6479439"/>
                <a:gd name="connsiteX2770" fmla="*/ 6714600 w 9586368"/>
                <a:gd name="connsiteY2770" fmla="*/ 4550987 h 6479439"/>
                <a:gd name="connsiteX2771" fmla="*/ 6714600 w 9586368"/>
                <a:gd name="connsiteY2771" fmla="*/ 4560858 h 6479439"/>
                <a:gd name="connsiteX2772" fmla="*/ 6710581 w 9586368"/>
                <a:gd name="connsiteY2772" fmla="*/ 4564897 h 6479439"/>
                <a:gd name="connsiteX2773" fmla="*/ 6700670 w 9586368"/>
                <a:gd name="connsiteY2773" fmla="*/ 4564897 h 6479439"/>
                <a:gd name="connsiteX2774" fmla="*/ 6696651 w 9586368"/>
                <a:gd name="connsiteY2774" fmla="*/ 4560858 h 6479439"/>
                <a:gd name="connsiteX2775" fmla="*/ 6696651 w 9586368"/>
                <a:gd name="connsiteY2775" fmla="*/ 4550987 h 6479439"/>
                <a:gd name="connsiteX2776" fmla="*/ 6461356 w 9586368"/>
                <a:gd name="connsiteY2776" fmla="*/ 4546948 h 6479439"/>
                <a:gd name="connsiteX2777" fmla="*/ 6471266 w 9586368"/>
                <a:gd name="connsiteY2777" fmla="*/ 4546948 h 6479439"/>
                <a:gd name="connsiteX2778" fmla="*/ 6475285 w 9586368"/>
                <a:gd name="connsiteY2778" fmla="*/ 4550987 h 6479439"/>
                <a:gd name="connsiteX2779" fmla="*/ 6475285 w 9586368"/>
                <a:gd name="connsiteY2779" fmla="*/ 4560858 h 6479439"/>
                <a:gd name="connsiteX2780" fmla="*/ 6471266 w 9586368"/>
                <a:gd name="connsiteY2780" fmla="*/ 4564897 h 6479439"/>
                <a:gd name="connsiteX2781" fmla="*/ 6461356 w 9586368"/>
                <a:gd name="connsiteY2781" fmla="*/ 4564897 h 6479439"/>
                <a:gd name="connsiteX2782" fmla="*/ 6457337 w 9586368"/>
                <a:gd name="connsiteY2782" fmla="*/ 4560858 h 6479439"/>
                <a:gd name="connsiteX2783" fmla="*/ 6457337 w 9586368"/>
                <a:gd name="connsiteY2783" fmla="*/ 4550987 h 6479439"/>
                <a:gd name="connsiteX2784" fmla="*/ 6222042 w 9586368"/>
                <a:gd name="connsiteY2784" fmla="*/ 4546948 h 6479439"/>
                <a:gd name="connsiteX2785" fmla="*/ 6231952 w 9586368"/>
                <a:gd name="connsiteY2785" fmla="*/ 4546948 h 6479439"/>
                <a:gd name="connsiteX2786" fmla="*/ 6235971 w 9586368"/>
                <a:gd name="connsiteY2786" fmla="*/ 4550987 h 6479439"/>
                <a:gd name="connsiteX2787" fmla="*/ 6235971 w 9586368"/>
                <a:gd name="connsiteY2787" fmla="*/ 4560858 h 6479439"/>
                <a:gd name="connsiteX2788" fmla="*/ 6231952 w 9586368"/>
                <a:gd name="connsiteY2788" fmla="*/ 4564897 h 6479439"/>
                <a:gd name="connsiteX2789" fmla="*/ 6222042 w 9586368"/>
                <a:gd name="connsiteY2789" fmla="*/ 4564897 h 6479439"/>
                <a:gd name="connsiteX2790" fmla="*/ 6218023 w 9586368"/>
                <a:gd name="connsiteY2790" fmla="*/ 4560858 h 6479439"/>
                <a:gd name="connsiteX2791" fmla="*/ 6218023 w 9586368"/>
                <a:gd name="connsiteY2791" fmla="*/ 4550987 h 6479439"/>
                <a:gd name="connsiteX2792" fmla="*/ 5982729 w 9586368"/>
                <a:gd name="connsiteY2792" fmla="*/ 4546948 h 6479439"/>
                <a:gd name="connsiteX2793" fmla="*/ 5992639 w 9586368"/>
                <a:gd name="connsiteY2793" fmla="*/ 4546948 h 6479439"/>
                <a:gd name="connsiteX2794" fmla="*/ 5996658 w 9586368"/>
                <a:gd name="connsiteY2794" fmla="*/ 4550987 h 6479439"/>
                <a:gd name="connsiteX2795" fmla="*/ 5996658 w 9586368"/>
                <a:gd name="connsiteY2795" fmla="*/ 4560858 h 6479439"/>
                <a:gd name="connsiteX2796" fmla="*/ 5992639 w 9586368"/>
                <a:gd name="connsiteY2796" fmla="*/ 4564897 h 6479439"/>
                <a:gd name="connsiteX2797" fmla="*/ 5982729 w 9586368"/>
                <a:gd name="connsiteY2797" fmla="*/ 4564897 h 6479439"/>
                <a:gd name="connsiteX2798" fmla="*/ 5978710 w 9586368"/>
                <a:gd name="connsiteY2798" fmla="*/ 4560858 h 6479439"/>
                <a:gd name="connsiteX2799" fmla="*/ 5978710 w 9586368"/>
                <a:gd name="connsiteY2799" fmla="*/ 4550987 h 6479439"/>
                <a:gd name="connsiteX2800" fmla="*/ 5743412 w 9586368"/>
                <a:gd name="connsiteY2800" fmla="*/ 4546948 h 6479439"/>
                <a:gd name="connsiteX2801" fmla="*/ 5753323 w 9586368"/>
                <a:gd name="connsiteY2801" fmla="*/ 4546948 h 6479439"/>
                <a:gd name="connsiteX2802" fmla="*/ 5757342 w 9586368"/>
                <a:gd name="connsiteY2802" fmla="*/ 4550987 h 6479439"/>
                <a:gd name="connsiteX2803" fmla="*/ 5757342 w 9586368"/>
                <a:gd name="connsiteY2803" fmla="*/ 4560858 h 6479439"/>
                <a:gd name="connsiteX2804" fmla="*/ 5753323 w 9586368"/>
                <a:gd name="connsiteY2804" fmla="*/ 4564897 h 6479439"/>
                <a:gd name="connsiteX2805" fmla="*/ 5743412 w 9586368"/>
                <a:gd name="connsiteY2805" fmla="*/ 4564897 h 6479439"/>
                <a:gd name="connsiteX2806" fmla="*/ 5739393 w 9586368"/>
                <a:gd name="connsiteY2806" fmla="*/ 4560858 h 6479439"/>
                <a:gd name="connsiteX2807" fmla="*/ 5739393 w 9586368"/>
                <a:gd name="connsiteY2807" fmla="*/ 4550987 h 6479439"/>
                <a:gd name="connsiteX2808" fmla="*/ 5504099 w 9586368"/>
                <a:gd name="connsiteY2808" fmla="*/ 4546948 h 6479439"/>
                <a:gd name="connsiteX2809" fmla="*/ 5514010 w 9586368"/>
                <a:gd name="connsiteY2809" fmla="*/ 4546948 h 6479439"/>
                <a:gd name="connsiteX2810" fmla="*/ 5518029 w 9586368"/>
                <a:gd name="connsiteY2810" fmla="*/ 4550987 h 6479439"/>
                <a:gd name="connsiteX2811" fmla="*/ 5518029 w 9586368"/>
                <a:gd name="connsiteY2811" fmla="*/ 4560858 h 6479439"/>
                <a:gd name="connsiteX2812" fmla="*/ 5514010 w 9586368"/>
                <a:gd name="connsiteY2812" fmla="*/ 4564897 h 6479439"/>
                <a:gd name="connsiteX2813" fmla="*/ 5504099 w 9586368"/>
                <a:gd name="connsiteY2813" fmla="*/ 4564897 h 6479439"/>
                <a:gd name="connsiteX2814" fmla="*/ 5500080 w 9586368"/>
                <a:gd name="connsiteY2814" fmla="*/ 4560858 h 6479439"/>
                <a:gd name="connsiteX2815" fmla="*/ 5500080 w 9586368"/>
                <a:gd name="connsiteY2815" fmla="*/ 4550987 h 6479439"/>
                <a:gd name="connsiteX2816" fmla="*/ 5264784 w 9586368"/>
                <a:gd name="connsiteY2816" fmla="*/ 4546948 h 6479439"/>
                <a:gd name="connsiteX2817" fmla="*/ 5274694 w 9586368"/>
                <a:gd name="connsiteY2817" fmla="*/ 4546948 h 6479439"/>
                <a:gd name="connsiteX2818" fmla="*/ 5278713 w 9586368"/>
                <a:gd name="connsiteY2818" fmla="*/ 4550987 h 6479439"/>
                <a:gd name="connsiteX2819" fmla="*/ 5278713 w 9586368"/>
                <a:gd name="connsiteY2819" fmla="*/ 4560858 h 6479439"/>
                <a:gd name="connsiteX2820" fmla="*/ 5274694 w 9586368"/>
                <a:gd name="connsiteY2820" fmla="*/ 4564897 h 6479439"/>
                <a:gd name="connsiteX2821" fmla="*/ 5264784 w 9586368"/>
                <a:gd name="connsiteY2821" fmla="*/ 4564897 h 6479439"/>
                <a:gd name="connsiteX2822" fmla="*/ 5260765 w 9586368"/>
                <a:gd name="connsiteY2822" fmla="*/ 4560858 h 6479439"/>
                <a:gd name="connsiteX2823" fmla="*/ 5260765 w 9586368"/>
                <a:gd name="connsiteY2823" fmla="*/ 4550987 h 6479439"/>
                <a:gd name="connsiteX2824" fmla="*/ 5025470 w 9586368"/>
                <a:gd name="connsiteY2824" fmla="*/ 4546948 h 6479439"/>
                <a:gd name="connsiteX2825" fmla="*/ 5035381 w 9586368"/>
                <a:gd name="connsiteY2825" fmla="*/ 4546948 h 6479439"/>
                <a:gd name="connsiteX2826" fmla="*/ 5039400 w 9586368"/>
                <a:gd name="connsiteY2826" fmla="*/ 4550987 h 6479439"/>
                <a:gd name="connsiteX2827" fmla="*/ 5039400 w 9586368"/>
                <a:gd name="connsiteY2827" fmla="*/ 4560858 h 6479439"/>
                <a:gd name="connsiteX2828" fmla="*/ 5035381 w 9586368"/>
                <a:gd name="connsiteY2828" fmla="*/ 4564897 h 6479439"/>
                <a:gd name="connsiteX2829" fmla="*/ 5025470 w 9586368"/>
                <a:gd name="connsiteY2829" fmla="*/ 4564897 h 6479439"/>
                <a:gd name="connsiteX2830" fmla="*/ 5021451 w 9586368"/>
                <a:gd name="connsiteY2830" fmla="*/ 4560858 h 6479439"/>
                <a:gd name="connsiteX2831" fmla="*/ 5021451 w 9586368"/>
                <a:gd name="connsiteY2831" fmla="*/ 4550987 h 6479439"/>
                <a:gd name="connsiteX2832" fmla="*/ 4786241 w 9586368"/>
                <a:gd name="connsiteY2832" fmla="*/ 4546948 h 6479439"/>
                <a:gd name="connsiteX2833" fmla="*/ 4796152 w 9586368"/>
                <a:gd name="connsiteY2833" fmla="*/ 4546948 h 6479439"/>
                <a:gd name="connsiteX2834" fmla="*/ 4800171 w 9586368"/>
                <a:gd name="connsiteY2834" fmla="*/ 4550987 h 6479439"/>
                <a:gd name="connsiteX2835" fmla="*/ 4800171 w 9586368"/>
                <a:gd name="connsiteY2835" fmla="*/ 4560858 h 6479439"/>
                <a:gd name="connsiteX2836" fmla="*/ 4796152 w 9586368"/>
                <a:gd name="connsiteY2836" fmla="*/ 4564897 h 6479439"/>
                <a:gd name="connsiteX2837" fmla="*/ 4786241 w 9586368"/>
                <a:gd name="connsiteY2837" fmla="*/ 4564897 h 6479439"/>
                <a:gd name="connsiteX2838" fmla="*/ 4782224 w 9586368"/>
                <a:gd name="connsiteY2838" fmla="*/ 4560858 h 6479439"/>
                <a:gd name="connsiteX2839" fmla="*/ 4782224 w 9586368"/>
                <a:gd name="connsiteY2839" fmla="*/ 4550987 h 6479439"/>
                <a:gd name="connsiteX2840" fmla="*/ 4546929 w 9586368"/>
                <a:gd name="connsiteY2840" fmla="*/ 4546948 h 6479439"/>
                <a:gd name="connsiteX2841" fmla="*/ 4556840 w 9586368"/>
                <a:gd name="connsiteY2841" fmla="*/ 4546948 h 6479439"/>
                <a:gd name="connsiteX2842" fmla="*/ 4560859 w 9586368"/>
                <a:gd name="connsiteY2842" fmla="*/ 4550987 h 6479439"/>
                <a:gd name="connsiteX2843" fmla="*/ 4560859 w 9586368"/>
                <a:gd name="connsiteY2843" fmla="*/ 4560858 h 6479439"/>
                <a:gd name="connsiteX2844" fmla="*/ 4556840 w 9586368"/>
                <a:gd name="connsiteY2844" fmla="*/ 4564897 h 6479439"/>
                <a:gd name="connsiteX2845" fmla="*/ 4546929 w 9586368"/>
                <a:gd name="connsiteY2845" fmla="*/ 4564897 h 6479439"/>
                <a:gd name="connsiteX2846" fmla="*/ 4542910 w 9586368"/>
                <a:gd name="connsiteY2846" fmla="*/ 4560858 h 6479439"/>
                <a:gd name="connsiteX2847" fmla="*/ 4542910 w 9586368"/>
                <a:gd name="connsiteY2847" fmla="*/ 4550987 h 6479439"/>
                <a:gd name="connsiteX2848" fmla="*/ 4307612 w 9586368"/>
                <a:gd name="connsiteY2848" fmla="*/ 4546948 h 6479439"/>
                <a:gd name="connsiteX2849" fmla="*/ 4317523 w 9586368"/>
                <a:gd name="connsiteY2849" fmla="*/ 4546948 h 6479439"/>
                <a:gd name="connsiteX2850" fmla="*/ 4321543 w 9586368"/>
                <a:gd name="connsiteY2850" fmla="*/ 4550987 h 6479439"/>
                <a:gd name="connsiteX2851" fmla="*/ 4321543 w 9586368"/>
                <a:gd name="connsiteY2851" fmla="*/ 4560858 h 6479439"/>
                <a:gd name="connsiteX2852" fmla="*/ 4317523 w 9586368"/>
                <a:gd name="connsiteY2852" fmla="*/ 4564897 h 6479439"/>
                <a:gd name="connsiteX2853" fmla="*/ 4307612 w 9586368"/>
                <a:gd name="connsiteY2853" fmla="*/ 4564897 h 6479439"/>
                <a:gd name="connsiteX2854" fmla="*/ 4303595 w 9586368"/>
                <a:gd name="connsiteY2854" fmla="*/ 4560858 h 6479439"/>
                <a:gd name="connsiteX2855" fmla="*/ 4303595 w 9586368"/>
                <a:gd name="connsiteY2855" fmla="*/ 4550987 h 6479439"/>
                <a:gd name="connsiteX2856" fmla="*/ 4068297 w 9586368"/>
                <a:gd name="connsiteY2856" fmla="*/ 4546948 h 6479439"/>
                <a:gd name="connsiteX2857" fmla="*/ 4078210 w 9586368"/>
                <a:gd name="connsiteY2857" fmla="*/ 4546948 h 6479439"/>
                <a:gd name="connsiteX2858" fmla="*/ 4082229 w 9586368"/>
                <a:gd name="connsiteY2858" fmla="*/ 4550987 h 6479439"/>
                <a:gd name="connsiteX2859" fmla="*/ 4082229 w 9586368"/>
                <a:gd name="connsiteY2859" fmla="*/ 4560858 h 6479439"/>
                <a:gd name="connsiteX2860" fmla="*/ 4078210 w 9586368"/>
                <a:gd name="connsiteY2860" fmla="*/ 4564897 h 6479439"/>
                <a:gd name="connsiteX2861" fmla="*/ 4068297 w 9586368"/>
                <a:gd name="connsiteY2861" fmla="*/ 4564897 h 6479439"/>
                <a:gd name="connsiteX2862" fmla="*/ 4064278 w 9586368"/>
                <a:gd name="connsiteY2862" fmla="*/ 4560858 h 6479439"/>
                <a:gd name="connsiteX2863" fmla="*/ 4064278 w 9586368"/>
                <a:gd name="connsiteY2863" fmla="*/ 4550987 h 6479439"/>
                <a:gd name="connsiteX2864" fmla="*/ 3828990 w 9586368"/>
                <a:gd name="connsiteY2864" fmla="*/ 4546948 h 6479439"/>
                <a:gd name="connsiteX2865" fmla="*/ 3838899 w 9586368"/>
                <a:gd name="connsiteY2865" fmla="*/ 4546948 h 6479439"/>
                <a:gd name="connsiteX2866" fmla="*/ 3842917 w 9586368"/>
                <a:gd name="connsiteY2866" fmla="*/ 4550987 h 6479439"/>
                <a:gd name="connsiteX2867" fmla="*/ 3842917 w 9586368"/>
                <a:gd name="connsiteY2867" fmla="*/ 4560858 h 6479439"/>
                <a:gd name="connsiteX2868" fmla="*/ 3838899 w 9586368"/>
                <a:gd name="connsiteY2868" fmla="*/ 4564897 h 6479439"/>
                <a:gd name="connsiteX2869" fmla="*/ 3828990 w 9586368"/>
                <a:gd name="connsiteY2869" fmla="*/ 4564897 h 6479439"/>
                <a:gd name="connsiteX2870" fmla="*/ 3824971 w 9586368"/>
                <a:gd name="connsiteY2870" fmla="*/ 4560858 h 6479439"/>
                <a:gd name="connsiteX2871" fmla="*/ 3824971 w 9586368"/>
                <a:gd name="connsiteY2871" fmla="*/ 4550987 h 6479439"/>
                <a:gd name="connsiteX2872" fmla="*/ 3589676 w 9586368"/>
                <a:gd name="connsiteY2872" fmla="*/ 4546948 h 6479439"/>
                <a:gd name="connsiteX2873" fmla="*/ 3599585 w 9586368"/>
                <a:gd name="connsiteY2873" fmla="*/ 4546948 h 6479439"/>
                <a:gd name="connsiteX2874" fmla="*/ 3603604 w 9586368"/>
                <a:gd name="connsiteY2874" fmla="*/ 4550987 h 6479439"/>
                <a:gd name="connsiteX2875" fmla="*/ 3603604 w 9586368"/>
                <a:gd name="connsiteY2875" fmla="*/ 4560858 h 6479439"/>
                <a:gd name="connsiteX2876" fmla="*/ 3599585 w 9586368"/>
                <a:gd name="connsiteY2876" fmla="*/ 4564897 h 6479439"/>
                <a:gd name="connsiteX2877" fmla="*/ 3589676 w 9586368"/>
                <a:gd name="connsiteY2877" fmla="*/ 4564897 h 6479439"/>
                <a:gd name="connsiteX2878" fmla="*/ 3585657 w 9586368"/>
                <a:gd name="connsiteY2878" fmla="*/ 4560858 h 6479439"/>
                <a:gd name="connsiteX2879" fmla="*/ 3585657 w 9586368"/>
                <a:gd name="connsiteY2879" fmla="*/ 4550987 h 6479439"/>
                <a:gd name="connsiteX2880" fmla="*/ 3350359 w 9586368"/>
                <a:gd name="connsiteY2880" fmla="*/ 4546948 h 6479439"/>
                <a:gd name="connsiteX2881" fmla="*/ 3360268 w 9586368"/>
                <a:gd name="connsiteY2881" fmla="*/ 4546948 h 6479439"/>
                <a:gd name="connsiteX2882" fmla="*/ 3364287 w 9586368"/>
                <a:gd name="connsiteY2882" fmla="*/ 4550987 h 6479439"/>
                <a:gd name="connsiteX2883" fmla="*/ 3364287 w 9586368"/>
                <a:gd name="connsiteY2883" fmla="*/ 4560858 h 6479439"/>
                <a:gd name="connsiteX2884" fmla="*/ 3360268 w 9586368"/>
                <a:gd name="connsiteY2884" fmla="*/ 4564897 h 6479439"/>
                <a:gd name="connsiteX2885" fmla="*/ 3350359 w 9586368"/>
                <a:gd name="connsiteY2885" fmla="*/ 4564897 h 6479439"/>
                <a:gd name="connsiteX2886" fmla="*/ 3346340 w 9586368"/>
                <a:gd name="connsiteY2886" fmla="*/ 4560858 h 6479439"/>
                <a:gd name="connsiteX2887" fmla="*/ 3346340 w 9586368"/>
                <a:gd name="connsiteY2887" fmla="*/ 4550987 h 6479439"/>
                <a:gd name="connsiteX2888" fmla="*/ 3111048 w 9586368"/>
                <a:gd name="connsiteY2888" fmla="*/ 4546948 h 6479439"/>
                <a:gd name="connsiteX2889" fmla="*/ 3120959 w 9586368"/>
                <a:gd name="connsiteY2889" fmla="*/ 4546948 h 6479439"/>
                <a:gd name="connsiteX2890" fmla="*/ 3124977 w 9586368"/>
                <a:gd name="connsiteY2890" fmla="*/ 4550987 h 6479439"/>
                <a:gd name="connsiteX2891" fmla="*/ 3124977 w 9586368"/>
                <a:gd name="connsiteY2891" fmla="*/ 4560858 h 6479439"/>
                <a:gd name="connsiteX2892" fmla="*/ 3120959 w 9586368"/>
                <a:gd name="connsiteY2892" fmla="*/ 4564897 h 6479439"/>
                <a:gd name="connsiteX2893" fmla="*/ 3111048 w 9586368"/>
                <a:gd name="connsiteY2893" fmla="*/ 4564897 h 6479439"/>
                <a:gd name="connsiteX2894" fmla="*/ 3107029 w 9586368"/>
                <a:gd name="connsiteY2894" fmla="*/ 4560858 h 6479439"/>
                <a:gd name="connsiteX2895" fmla="*/ 3107029 w 9586368"/>
                <a:gd name="connsiteY2895" fmla="*/ 4550987 h 6479439"/>
                <a:gd name="connsiteX2896" fmla="*/ 2871737 w 9586368"/>
                <a:gd name="connsiteY2896" fmla="*/ 4546948 h 6479439"/>
                <a:gd name="connsiteX2897" fmla="*/ 2881646 w 9586368"/>
                <a:gd name="connsiteY2897" fmla="*/ 4546948 h 6479439"/>
                <a:gd name="connsiteX2898" fmla="*/ 2885666 w 9586368"/>
                <a:gd name="connsiteY2898" fmla="*/ 4550987 h 6479439"/>
                <a:gd name="connsiteX2899" fmla="*/ 2885666 w 9586368"/>
                <a:gd name="connsiteY2899" fmla="*/ 4560858 h 6479439"/>
                <a:gd name="connsiteX2900" fmla="*/ 2881646 w 9586368"/>
                <a:gd name="connsiteY2900" fmla="*/ 4564897 h 6479439"/>
                <a:gd name="connsiteX2901" fmla="*/ 2871737 w 9586368"/>
                <a:gd name="connsiteY2901" fmla="*/ 4564897 h 6479439"/>
                <a:gd name="connsiteX2902" fmla="*/ 2867717 w 9586368"/>
                <a:gd name="connsiteY2902" fmla="*/ 4560858 h 6479439"/>
                <a:gd name="connsiteX2903" fmla="*/ 2867717 w 9586368"/>
                <a:gd name="connsiteY2903" fmla="*/ 4550987 h 6479439"/>
                <a:gd name="connsiteX2904" fmla="*/ 2632423 w 9586368"/>
                <a:gd name="connsiteY2904" fmla="*/ 4546948 h 6479439"/>
                <a:gd name="connsiteX2905" fmla="*/ 2642334 w 9586368"/>
                <a:gd name="connsiteY2905" fmla="*/ 4546948 h 6479439"/>
                <a:gd name="connsiteX2906" fmla="*/ 2646352 w 9586368"/>
                <a:gd name="connsiteY2906" fmla="*/ 4550987 h 6479439"/>
                <a:gd name="connsiteX2907" fmla="*/ 2646352 w 9586368"/>
                <a:gd name="connsiteY2907" fmla="*/ 4560858 h 6479439"/>
                <a:gd name="connsiteX2908" fmla="*/ 2642334 w 9586368"/>
                <a:gd name="connsiteY2908" fmla="*/ 4564897 h 6479439"/>
                <a:gd name="connsiteX2909" fmla="*/ 2632423 w 9586368"/>
                <a:gd name="connsiteY2909" fmla="*/ 4564897 h 6479439"/>
                <a:gd name="connsiteX2910" fmla="*/ 2628404 w 9586368"/>
                <a:gd name="connsiteY2910" fmla="*/ 4560858 h 6479439"/>
                <a:gd name="connsiteX2911" fmla="*/ 2628404 w 9586368"/>
                <a:gd name="connsiteY2911" fmla="*/ 4550987 h 6479439"/>
                <a:gd name="connsiteX2912" fmla="*/ 2393104 w 9586368"/>
                <a:gd name="connsiteY2912" fmla="*/ 4546948 h 6479439"/>
                <a:gd name="connsiteX2913" fmla="*/ 2403015 w 9586368"/>
                <a:gd name="connsiteY2913" fmla="*/ 4546948 h 6479439"/>
                <a:gd name="connsiteX2914" fmla="*/ 2407034 w 9586368"/>
                <a:gd name="connsiteY2914" fmla="*/ 4550987 h 6479439"/>
                <a:gd name="connsiteX2915" fmla="*/ 2407034 w 9586368"/>
                <a:gd name="connsiteY2915" fmla="*/ 4560858 h 6479439"/>
                <a:gd name="connsiteX2916" fmla="*/ 2403015 w 9586368"/>
                <a:gd name="connsiteY2916" fmla="*/ 4564897 h 6479439"/>
                <a:gd name="connsiteX2917" fmla="*/ 2393104 w 9586368"/>
                <a:gd name="connsiteY2917" fmla="*/ 4564897 h 6479439"/>
                <a:gd name="connsiteX2918" fmla="*/ 2389087 w 9586368"/>
                <a:gd name="connsiteY2918" fmla="*/ 4560858 h 6479439"/>
                <a:gd name="connsiteX2919" fmla="*/ 2389087 w 9586368"/>
                <a:gd name="connsiteY2919" fmla="*/ 4550987 h 6479439"/>
                <a:gd name="connsiteX2920" fmla="*/ 721964 w 9586368"/>
                <a:gd name="connsiteY2920" fmla="*/ 4546948 h 6479439"/>
                <a:gd name="connsiteX2921" fmla="*/ 731874 w 9586368"/>
                <a:gd name="connsiteY2921" fmla="*/ 4546948 h 6479439"/>
                <a:gd name="connsiteX2922" fmla="*/ 735893 w 9586368"/>
                <a:gd name="connsiteY2922" fmla="*/ 4550987 h 6479439"/>
                <a:gd name="connsiteX2923" fmla="*/ 735893 w 9586368"/>
                <a:gd name="connsiteY2923" fmla="*/ 4560858 h 6479439"/>
                <a:gd name="connsiteX2924" fmla="*/ 731874 w 9586368"/>
                <a:gd name="connsiteY2924" fmla="*/ 4564897 h 6479439"/>
                <a:gd name="connsiteX2925" fmla="*/ 721964 w 9586368"/>
                <a:gd name="connsiteY2925" fmla="*/ 4564897 h 6479439"/>
                <a:gd name="connsiteX2926" fmla="*/ 717945 w 9586368"/>
                <a:gd name="connsiteY2926" fmla="*/ 4560858 h 6479439"/>
                <a:gd name="connsiteX2927" fmla="*/ 717945 w 9586368"/>
                <a:gd name="connsiteY2927" fmla="*/ 4550987 h 6479439"/>
                <a:gd name="connsiteX2928" fmla="*/ 482651 w 9586368"/>
                <a:gd name="connsiteY2928" fmla="*/ 4546948 h 6479439"/>
                <a:gd name="connsiteX2929" fmla="*/ 492562 w 9586368"/>
                <a:gd name="connsiteY2929" fmla="*/ 4546948 h 6479439"/>
                <a:gd name="connsiteX2930" fmla="*/ 496581 w 9586368"/>
                <a:gd name="connsiteY2930" fmla="*/ 4550987 h 6479439"/>
                <a:gd name="connsiteX2931" fmla="*/ 496581 w 9586368"/>
                <a:gd name="connsiteY2931" fmla="*/ 4560858 h 6479439"/>
                <a:gd name="connsiteX2932" fmla="*/ 492562 w 9586368"/>
                <a:gd name="connsiteY2932" fmla="*/ 4564897 h 6479439"/>
                <a:gd name="connsiteX2933" fmla="*/ 482651 w 9586368"/>
                <a:gd name="connsiteY2933" fmla="*/ 4564897 h 6479439"/>
                <a:gd name="connsiteX2934" fmla="*/ 478632 w 9586368"/>
                <a:gd name="connsiteY2934" fmla="*/ 4560858 h 6479439"/>
                <a:gd name="connsiteX2935" fmla="*/ 478632 w 9586368"/>
                <a:gd name="connsiteY2935" fmla="*/ 4550987 h 6479439"/>
                <a:gd name="connsiteX2936" fmla="*/ 243338 w 9586368"/>
                <a:gd name="connsiteY2936" fmla="*/ 4546948 h 6479439"/>
                <a:gd name="connsiteX2937" fmla="*/ 253248 w 9586368"/>
                <a:gd name="connsiteY2937" fmla="*/ 4546948 h 6479439"/>
                <a:gd name="connsiteX2938" fmla="*/ 257267 w 9586368"/>
                <a:gd name="connsiteY2938" fmla="*/ 4550987 h 6479439"/>
                <a:gd name="connsiteX2939" fmla="*/ 257267 w 9586368"/>
                <a:gd name="connsiteY2939" fmla="*/ 4560858 h 6479439"/>
                <a:gd name="connsiteX2940" fmla="*/ 253248 w 9586368"/>
                <a:gd name="connsiteY2940" fmla="*/ 4564897 h 6479439"/>
                <a:gd name="connsiteX2941" fmla="*/ 243338 w 9586368"/>
                <a:gd name="connsiteY2941" fmla="*/ 4564897 h 6479439"/>
                <a:gd name="connsiteX2942" fmla="*/ 239319 w 9586368"/>
                <a:gd name="connsiteY2942" fmla="*/ 4560858 h 6479439"/>
                <a:gd name="connsiteX2943" fmla="*/ 239319 w 9586368"/>
                <a:gd name="connsiteY2943" fmla="*/ 4550987 h 6479439"/>
                <a:gd name="connsiteX2944" fmla="*/ 4025 w 9586368"/>
                <a:gd name="connsiteY2944" fmla="*/ 4546948 h 6479439"/>
                <a:gd name="connsiteX2945" fmla="*/ 13935 w 9586368"/>
                <a:gd name="connsiteY2945" fmla="*/ 4546948 h 6479439"/>
                <a:gd name="connsiteX2946" fmla="*/ 17954 w 9586368"/>
                <a:gd name="connsiteY2946" fmla="*/ 4550987 h 6479439"/>
                <a:gd name="connsiteX2947" fmla="*/ 17954 w 9586368"/>
                <a:gd name="connsiteY2947" fmla="*/ 4560858 h 6479439"/>
                <a:gd name="connsiteX2948" fmla="*/ 13935 w 9586368"/>
                <a:gd name="connsiteY2948" fmla="*/ 4564897 h 6479439"/>
                <a:gd name="connsiteX2949" fmla="*/ 4025 w 9586368"/>
                <a:gd name="connsiteY2949" fmla="*/ 4564897 h 6479439"/>
                <a:gd name="connsiteX2950" fmla="*/ 6 w 9586368"/>
                <a:gd name="connsiteY2950" fmla="*/ 4560858 h 6479439"/>
                <a:gd name="connsiteX2951" fmla="*/ 6 w 9586368"/>
                <a:gd name="connsiteY2951" fmla="*/ 4550987 h 6479439"/>
                <a:gd name="connsiteX2952" fmla="*/ 2157819 w 9586368"/>
                <a:gd name="connsiteY2952" fmla="*/ 4307669 h 6479439"/>
                <a:gd name="connsiteX2953" fmla="*/ 2167729 w 9586368"/>
                <a:gd name="connsiteY2953" fmla="*/ 4307669 h 6479439"/>
                <a:gd name="connsiteX2954" fmla="*/ 2171749 w 9586368"/>
                <a:gd name="connsiteY2954" fmla="*/ 4311708 h 6479439"/>
                <a:gd name="connsiteX2955" fmla="*/ 2171749 w 9586368"/>
                <a:gd name="connsiteY2955" fmla="*/ 4321579 h 6479439"/>
                <a:gd name="connsiteX2956" fmla="*/ 2167729 w 9586368"/>
                <a:gd name="connsiteY2956" fmla="*/ 4325618 h 6479439"/>
                <a:gd name="connsiteX2957" fmla="*/ 2157819 w 9586368"/>
                <a:gd name="connsiteY2957" fmla="*/ 4325618 h 6479439"/>
                <a:gd name="connsiteX2958" fmla="*/ 2153801 w 9586368"/>
                <a:gd name="connsiteY2958" fmla="*/ 4321579 h 6479439"/>
                <a:gd name="connsiteX2959" fmla="*/ 2153801 w 9586368"/>
                <a:gd name="connsiteY2959" fmla="*/ 4311708 h 6479439"/>
                <a:gd name="connsiteX2960" fmla="*/ 1918511 w 9586368"/>
                <a:gd name="connsiteY2960" fmla="*/ 4307669 h 6479439"/>
                <a:gd name="connsiteX2961" fmla="*/ 1928421 w 9586368"/>
                <a:gd name="connsiteY2961" fmla="*/ 4307669 h 6479439"/>
                <a:gd name="connsiteX2962" fmla="*/ 1932440 w 9586368"/>
                <a:gd name="connsiteY2962" fmla="*/ 4311708 h 6479439"/>
                <a:gd name="connsiteX2963" fmla="*/ 1932440 w 9586368"/>
                <a:gd name="connsiteY2963" fmla="*/ 4321579 h 6479439"/>
                <a:gd name="connsiteX2964" fmla="*/ 1928421 w 9586368"/>
                <a:gd name="connsiteY2964" fmla="*/ 4325618 h 6479439"/>
                <a:gd name="connsiteX2965" fmla="*/ 1918511 w 9586368"/>
                <a:gd name="connsiteY2965" fmla="*/ 4325618 h 6479439"/>
                <a:gd name="connsiteX2966" fmla="*/ 1914492 w 9586368"/>
                <a:gd name="connsiteY2966" fmla="*/ 4321579 h 6479439"/>
                <a:gd name="connsiteX2967" fmla="*/ 1914492 w 9586368"/>
                <a:gd name="connsiteY2967" fmla="*/ 4311708 h 6479439"/>
                <a:gd name="connsiteX2968" fmla="*/ 1679206 w 9586368"/>
                <a:gd name="connsiteY2968" fmla="*/ 4307669 h 6479439"/>
                <a:gd name="connsiteX2969" fmla="*/ 1689117 w 9586368"/>
                <a:gd name="connsiteY2969" fmla="*/ 4307669 h 6479439"/>
                <a:gd name="connsiteX2970" fmla="*/ 1693136 w 9586368"/>
                <a:gd name="connsiteY2970" fmla="*/ 4311708 h 6479439"/>
                <a:gd name="connsiteX2971" fmla="*/ 1693136 w 9586368"/>
                <a:gd name="connsiteY2971" fmla="*/ 4321579 h 6479439"/>
                <a:gd name="connsiteX2972" fmla="*/ 1689117 w 9586368"/>
                <a:gd name="connsiteY2972" fmla="*/ 4325618 h 6479439"/>
                <a:gd name="connsiteX2973" fmla="*/ 1679206 w 9586368"/>
                <a:gd name="connsiteY2973" fmla="*/ 4325618 h 6479439"/>
                <a:gd name="connsiteX2974" fmla="*/ 1675188 w 9586368"/>
                <a:gd name="connsiteY2974" fmla="*/ 4321579 h 6479439"/>
                <a:gd name="connsiteX2975" fmla="*/ 1675188 w 9586368"/>
                <a:gd name="connsiteY2975" fmla="*/ 4311708 h 6479439"/>
                <a:gd name="connsiteX2976" fmla="*/ 1439891 w 9586368"/>
                <a:gd name="connsiteY2976" fmla="*/ 4307669 h 6479439"/>
                <a:gd name="connsiteX2977" fmla="*/ 1449801 w 9586368"/>
                <a:gd name="connsiteY2977" fmla="*/ 4307669 h 6479439"/>
                <a:gd name="connsiteX2978" fmla="*/ 1453819 w 9586368"/>
                <a:gd name="connsiteY2978" fmla="*/ 4311708 h 6479439"/>
                <a:gd name="connsiteX2979" fmla="*/ 1453819 w 9586368"/>
                <a:gd name="connsiteY2979" fmla="*/ 4321579 h 6479439"/>
                <a:gd name="connsiteX2980" fmla="*/ 1449801 w 9586368"/>
                <a:gd name="connsiteY2980" fmla="*/ 4325618 h 6479439"/>
                <a:gd name="connsiteX2981" fmla="*/ 1439891 w 9586368"/>
                <a:gd name="connsiteY2981" fmla="*/ 4325618 h 6479439"/>
                <a:gd name="connsiteX2982" fmla="*/ 1435871 w 9586368"/>
                <a:gd name="connsiteY2982" fmla="*/ 4321579 h 6479439"/>
                <a:gd name="connsiteX2983" fmla="*/ 1435871 w 9586368"/>
                <a:gd name="connsiteY2983" fmla="*/ 4311708 h 6479439"/>
                <a:gd name="connsiteX2984" fmla="*/ 1200575 w 9586368"/>
                <a:gd name="connsiteY2984" fmla="*/ 4307669 h 6479439"/>
                <a:gd name="connsiteX2985" fmla="*/ 1210486 w 9586368"/>
                <a:gd name="connsiteY2985" fmla="*/ 4307669 h 6479439"/>
                <a:gd name="connsiteX2986" fmla="*/ 1214505 w 9586368"/>
                <a:gd name="connsiteY2986" fmla="*/ 4311708 h 6479439"/>
                <a:gd name="connsiteX2987" fmla="*/ 1214505 w 9586368"/>
                <a:gd name="connsiteY2987" fmla="*/ 4321579 h 6479439"/>
                <a:gd name="connsiteX2988" fmla="*/ 1210486 w 9586368"/>
                <a:gd name="connsiteY2988" fmla="*/ 4325618 h 6479439"/>
                <a:gd name="connsiteX2989" fmla="*/ 1200575 w 9586368"/>
                <a:gd name="connsiteY2989" fmla="*/ 4325618 h 6479439"/>
                <a:gd name="connsiteX2990" fmla="*/ 1196556 w 9586368"/>
                <a:gd name="connsiteY2990" fmla="*/ 4321579 h 6479439"/>
                <a:gd name="connsiteX2991" fmla="*/ 1196556 w 9586368"/>
                <a:gd name="connsiteY2991" fmla="*/ 4311708 h 6479439"/>
                <a:gd name="connsiteX2992" fmla="*/ 961263 w 9586368"/>
                <a:gd name="connsiteY2992" fmla="*/ 4307669 h 6479439"/>
                <a:gd name="connsiteX2993" fmla="*/ 971173 w 9586368"/>
                <a:gd name="connsiteY2993" fmla="*/ 4307669 h 6479439"/>
                <a:gd name="connsiteX2994" fmla="*/ 975191 w 9586368"/>
                <a:gd name="connsiteY2994" fmla="*/ 4311708 h 6479439"/>
                <a:gd name="connsiteX2995" fmla="*/ 975191 w 9586368"/>
                <a:gd name="connsiteY2995" fmla="*/ 4321579 h 6479439"/>
                <a:gd name="connsiteX2996" fmla="*/ 971173 w 9586368"/>
                <a:gd name="connsiteY2996" fmla="*/ 4325618 h 6479439"/>
                <a:gd name="connsiteX2997" fmla="*/ 961263 w 9586368"/>
                <a:gd name="connsiteY2997" fmla="*/ 4325618 h 6479439"/>
                <a:gd name="connsiteX2998" fmla="*/ 957244 w 9586368"/>
                <a:gd name="connsiteY2998" fmla="*/ 4321579 h 6479439"/>
                <a:gd name="connsiteX2999" fmla="*/ 957244 w 9586368"/>
                <a:gd name="connsiteY2999" fmla="*/ 4311708 h 6479439"/>
                <a:gd name="connsiteX3000" fmla="*/ 9572438 w 9586368"/>
                <a:gd name="connsiteY3000" fmla="*/ 4307617 h 6479439"/>
                <a:gd name="connsiteX3001" fmla="*/ 9582349 w 9586368"/>
                <a:gd name="connsiteY3001" fmla="*/ 4307617 h 6479439"/>
                <a:gd name="connsiteX3002" fmla="*/ 9586368 w 9586368"/>
                <a:gd name="connsiteY3002" fmla="*/ 4311656 h 6479439"/>
                <a:gd name="connsiteX3003" fmla="*/ 9586368 w 9586368"/>
                <a:gd name="connsiteY3003" fmla="*/ 4321527 h 6479439"/>
                <a:gd name="connsiteX3004" fmla="*/ 9582349 w 9586368"/>
                <a:gd name="connsiteY3004" fmla="*/ 4325566 h 6479439"/>
                <a:gd name="connsiteX3005" fmla="*/ 9572438 w 9586368"/>
                <a:gd name="connsiteY3005" fmla="*/ 4325566 h 6479439"/>
                <a:gd name="connsiteX3006" fmla="*/ 9568419 w 9586368"/>
                <a:gd name="connsiteY3006" fmla="*/ 4321527 h 6479439"/>
                <a:gd name="connsiteX3007" fmla="*/ 9568419 w 9586368"/>
                <a:gd name="connsiteY3007" fmla="*/ 4311656 h 6479439"/>
                <a:gd name="connsiteX3008" fmla="*/ 9333125 w 9586368"/>
                <a:gd name="connsiteY3008" fmla="*/ 4307617 h 6479439"/>
                <a:gd name="connsiteX3009" fmla="*/ 9343036 w 9586368"/>
                <a:gd name="connsiteY3009" fmla="*/ 4307617 h 6479439"/>
                <a:gd name="connsiteX3010" fmla="*/ 9347055 w 9586368"/>
                <a:gd name="connsiteY3010" fmla="*/ 4311656 h 6479439"/>
                <a:gd name="connsiteX3011" fmla="*/ 9347055 w 9586368"/>
                <a:gd name="connsiteY3011" fmla="*/ 4321527 h 6479439"/>
                <a:gd name="connsiteX3012" fmla="*/ 9343036 w 9586368"/>
                <a:gd name="connsiteY3012" fmla="*/ 4325566 h 6479439"/>
                <a:gd name="connsiteX3013" fmla="*/ 9333125 w 9586368"/>
                <a:gd name="connsiteY3013" fmla="*/ 4325566 h 6479439"/>
                <a:gd name="connsiteX3014" fmla="*/ 9329106 w 9586368"/>
                <a:gd name="connsiteY3014" fmla="*/ 4321527 h 6479439"/>
                <a:gd name="connsiteX3015" fmla="*/ 9329106 w 9586368"/>
                <a:gd name="connsiteY3015" fmla="*/ 4311656 h 6479439"/>
                <a:gd name="connsiteX3016" fmla="*/ 9093811 w 9586368"/>
                <a:gd name="connsiteY3016" fmla="*/ 4307617 h 6479439"/>
                <a:gd name="connsiteX3017" fmla="*/ 9103722 w 9586368"/>
                <a:gd name="connsiteY3017" fmla="*/ 4307617 h 6479439"/>
                <a:gd name="connsiteX3018" fmla="*/ 9107741 w 9586368"/>
                <a:gd name="connsiteY3018" fmla="*/ 4311656 h 6479439"/>
                <a:gd name="connsiteX3019" fmla="*/ 9107741 w 9586368"/>
                <a:gd name="connsiteY3019" fmla="*/ 4321527 h 6479439"/>
                <a:gd name="connsiteX3020" fmla="*/ 9103722 w 9586368"/>
                <a:gd name="connsiteY3020" fmla="*/ 4325566 h 6479439"/>
                <a:gd name="connsiteX3021" fmla="*/ 9093811 w 9586368"/>
                <a:gd name="connsiteY3021" fmla="*/ 4325566 h 6479439"/>
                <a:gd name="connsiteX3022" fmla="*/ 9089792 w 9586368"/>
                <a:gd name="connsiteY3022" fmla="*/ 4321527 h 6479439"/>
                <a:gd name="connsiteX3023" fmla="*/ 9089792 w 9586368"/>
                <a:gd name="connsiteY3023" fmla="*/ 4311656 h 6479439"/>
                <a:gd name="connsiteX3024" fmla="*/ 8854496 w 9586368"/>
                <a:gd name="connsiteY3024" fmla="*/ 4307617 h 6479439"/>
                <a:gd name="connsiteX3025" fmla="*/ 8864407 w 9586368"/>
                <a:gd name="connsiteY3025" fmla="*/ 4307617 h 6479439"/>
                <a:gd name="connsiteX3026" fmla="*/ 8868426 w 9586368"/>
                <a:gd name="connsiteY3026" fmla="*/ 4311656 h 6479439"/>
                <a:gd name="connsiteX3027" fmla="*/ 8868426 w 9586368"/>
                <a:gd name="connsiteY3027" fmla="*/ 4321527 h 6479439"/>
                <a:gd name="connsiteX3028" fmla="*/ 8864407 w 9586368"/>
                <a:gd name="connsiteY3028" fmla="*/ 4325566 h 6479439"/>
                <a:gd name="connsiteX3029" fmla="*/ 8854496 w 9586368"/>
                <a:gd name="connsiteY3029" fmla="*/ 4325566 h 6479439"/>
                <a:gd name="connsiteX3030" fmla="*/ 8850477 w 9586368"/>
                <a:gd name="connsiteY3030" fmla="*/ 4321527 h 6479439"/>
                <a:gd name="connsiteX3031" fmla="*/ 8850477 w 9586368"/>
                <a:gd name="connsiteY3031" fmla="*/ 4311656 h 6479439"/>
                <a:gd name="connsiteX3032" fmla="*/ 8615184 w 9586368"/>
                <a:gd name="connsiteY3032" fmla="*/ 4307617 h 6479439"/>
                <a:gd name="connsiteX3033" fmla="*/ 8625095 w 9586368"/>
                <a:gd name="connsiteY3033" fmla="*/ 4307617 h 6479439"/>
                <a:gd name="connsiteX3034" fmla="*/ 8629114 w 9586368"/>
                <a:gd name="connsiteY3034" fmla="*/ 4311656 h 6479439"/>
                <a:gd name="connsiteX3035" fmla="*/ 8629114 w 9586368"/>
                <a:gd name="connsiteY3035" fmla="*/ 4321527 h 6479439"/>
                <a:gd name="connsiteX3036" fmla="*/ 8625095 w 9586368"/>
                <a:gd name="connsiteY3036" fmla="*/ 4325566 h 6479439"/>
                <a:gd name="connsiteX3037" fmla="*/ 8615184 w 9586368"/>
                <a:gd name="connsiteY3037" fmla="*/ 4325566 h 6479439"/>
                <a:gd name="connsiteX3038" fmla="*/ 8611165 w 9586368"/>
                <a:gd name="connsiteY3038" fmla="*/ 4321527 h 6479439"/>
                <a:gd name="connsiteX3039" fmla="*/ 8611165 w 9586368"/>
                <a:gd name="connsiteY3039" fmla="*/ 4311656 h 6479439"/>
                <a:gd name="connsiteX3040" fmla="*/ 8375869 w 9586368"/>
                <a:gd name="connsiteY3040" fmla="*/ 4307617 h 6479439"/>
                <a:gd name="connsiteX3041" fmla="*/ 8385779 w 9586368"/>
                <a:gd name="connsiteY3041" fmla="*/ 4307617 h 6479439"/>
                <a:gd name="connsiteX3042" fmla="*/ 8389799 w 9586368"/>
                <a:gd name="connsiteY3042" fmla="*/ 4311656 h 6479439"/>
                <a:gd name="connsiteX3043" fmla="*/ 8389799 w 9586368"/>
                <a:gd name="connsiteY3043" fmla="*/ 4321527 h 6479439"/>
                <a:gd name="connsiteX3044" fmla="*/ 8385779 w 9586368"/>
                <a:gd name="connsiteY3044" fmla="*/ 4325566 h 6479439"/>
                <a:gd name="connsiteX3045" fmla="*/ 8375869 w 9586368"/>
                <a:gd name="connsiteY3045" fmla="*/ 4325566 h 6479439"/>
                <a:gd name="connsiteX3046" fmla="*/ 8371850 w 9586368"/>
                <a:gd name="connsiteY3046" fmla="*/ 4321527 h 6479439"/>
                <a:gd name="connsiteX3047" fmla="*/ 8371850 w 9586368"/>
                <a:gd name="connsiteY3047" fmla="*/ 4311656 h 6479439"/>
                <a:gd name="connsiteX3048" fmla="*/ 8136553 w 9586368"/>
                <a:gd name="connsiteY3048" fmla="*/ 4307617 h 6479439"/>
                <a:gd name="connsiteX3049" fmla="*/ 8146464 w 9586368"/>
                <a:gd name="connsiteY3049" fmla="*/ 4307617 h 6479439"/>
                <a:gd name="connsiteX3050" fmla="*/ 8150483 w 9586368"/>
                <a:gd name="connsiteY3050" fmla="*/ 4311656 h 6479439"/>
                <a:gd name="connsiteX3051" fmla="*/ 8150483 w 9586368"/>
                <a:gd name="connsiteY3051" fmla="*/ 4321527 h 6479439"/>
                <a:gd name="connsiteX3052" fmla="*/ 8146464 w 9586368"/>
                <a:gd name="connsiteY3052" fmla="*/ 4325566 h 6479439"/>
                <a:gd name="connsiteX3053" fmla="*/ 8136553 w 9586368"/>
                <a:gd name="connsiteY3053" fmla="*/ 4325566 h 6479439"/>
                <a:gd name="connsiteX3054" fmla="*/ 8132534 w 9586368"/>
                <a:gd name="connsiteY3054" fmla="*/ 4321527 h 6479439"/>
                <a:gd name="connsiteX3055" fmla="*/ 8132534 w 9586368"/>
                <a:gd name="connsiteY3055" fmla="*/ 4311656 h 6479439"/>
                <a:gd name="connsiteX3056" fmla="*/ 7897241 w 9586368"/>
                <a:gd name="connsiteY3056" fmla="*/ 4307617 h 6479439"/>
                <a:gd name="connsiteX3057" fmla="*/ 7907151 w 9586368"/>
                <a:gd name="connsiteY3057" fmla="*/ 4307617 h 6479439"/>
                <a:gd name="connsiteX3058" fmla="*/ 7911170 w 9586368"/>
                <a:gd name="connsiteY3058" fmla="*/ 4311656 h 6479439"/>
                <a:gd name="connsiteX3059" fmla="*/ 7911170 w 9586368"/>
                <a:gd name="connsiteY3059" fmla="*/ 4321527 h 6479439"/>
                <a:gd name="connsiteX3060" fmla="*/ 7907151 w 9586368"/>
                <a:gd name="connsiteY3060" fmla="*/ 4325566 h 6479439"/>
                <a:gd name="connsiteX3061" fmla="*/ 7897241 w 9586368"/>
                <a:gd name="connsiteY3061" fmla="*/ 4325566 h 6479439"/>
                <a:gd name="connsiteX3062" fmla="*/ 7893222 w 9586368"/>
                <a:gd name="connsiteY3062" fmla="*/ 4321527 h 6479439"/>
                <a:gd name="connsiteX3063" fmla="*/ 7893222 w 9586368"/>
                <a:gd name="connsiteY3063" fmla="*/ 4311656 h 6479439"/>
                <a:gd name="connsiteX3064" fmla="*/ 7657926 w 9586368"/>
                <a:gd name="connsiteY3064" fmla="*/ 4307617 h 6479439"/>
                <a:gd name="connsiteX3065" fmla="*/ 7667836 w 9586368"/>
                <a:gd name="connsiteY3065" fmla="*/ 4307617 h 6479439"/>
                <a:gd name="connsiteX3066" fmla="*/ 7671855 w 9586368"/>
                <a:gd name="connsiteY3066" fmla="*/ 4311656 h 6479439"/>
                <a:gd name="connsiteX3067" fmla="*/ 7671855 w 9586368"/>
                <a:gd name="connsiteY3067" fmla="*/ 4321527 h 6479439"/>
                <a:gd name="connsiteX3068" fmla="*/ 7667836 w 9586368"/>
                <a:gd name="connsiteY3068" fmla="*/ 4325566 h 6479439"/>
                <a:gd name="connsiteX3069" fmla="*/ 7657926 w 9586368"/>
                <a:gd name="connsiteY3069" fmla="*/ 4325566 h 6479439"/>
                <a:gd name="connsiteX3070" fmla="*/ 7653906 w 9586368"/>
                <a:gd name="connsiteY3070" fmla="*/ 4321527 h 6479439"/>
                <a:gd name="connsiteX3071" fmla="*/ 7653906 w 9586368"/>
                <a:gd name="connsiteY3071" fmla="*/ 4311656 h 6479439"/>
                <a:gd name="connsiteX3072" fmla="*/ 7418611 w 9586368"/>
                <a:gd name="connsiteY3072" fmla="*/ 4307617 h 6479439"/>
                <a:gd name="connsiteX3073" fmla="*/ 7428521 w 9586368"/>
                <a:gd name="connsiteY3073" fmla="*/ 4307617 h 6479439"/>
                <a:gd name="connsiteX3074" fmla="*/ 7432540 w 9586368"/>
                <a:gd name="connsiteY3074" fmla="*/ 4311656 h 6479439"/>
                <a:gd name="connsiteX3075" fmla="*/ 7432540 w 9586368"/>
                <a:gd name="connsiteY3075" fmla="*/ 4321527 h 6479439"/>
                <a:gd name="connsiteX3076" fmla="*/ 7428521 w 9586368"/>
                <a:gd name="connsiteY3076" fmla="*/ 4325566 h 6479439"/>
                <a:gd name="connsiteX3077" fmla="*/ 7418611 w 9586368"/>
                <a:gd name="connsiteY3077" fmla="*/ 4325566 h 6479439"/>
                <a:gd name="connsiteX3078" fmla="*/ 7414592 w 9586368"/>
                <a:gd name="connsiteY3078" fmla="*/ 4321527 h 6479439"/>
                <a:gd name="connsiteX3079" fmla="*/ 7414592 w 9586368"/>
                <a:gd name="connsiteY3079" fmla="*/ 4311656 h 6479439"/>
                <a:gd name="connsiteX3080" fmla="*/ 7179298 w 9586368"/>
                <a:gd name="connsiteY3080" fmla="*/ 4307617 h 6479439"/>
                <a:gd name="connsiteX3081" fmla="*/ 7189209 w 9586368"/>
                <a:gd name="connsiteY3081" fmla="*/ 4307617 h 6479439"/>
                <a:gd name="connsiteX3082" fmla="*/ 7193228 w 9586368"/>
                <a:gd name="connsiteY3082" fmla="*/ 4311656 h 6479439"/>
                <a:gd name="connsiteX3083" fmla="*/ 7193228 w 9586368"/>
                <a:gd name="connsiteY3083" fmla="*/ 4321527 h 6479439"/>
                <a:gd name="connsiteX3084" fmla="*/ 7189209 w 9586368"/>
                <a:gd name="connsiteY3084" fmla="*/ 4325566 h 6479439"/>
                <a:gd name="connsiteX3085" fmla="*/ 7179298 w 9586368"/>
                <a:gd name="connsiteY3085" fmla="*/ 4325566 h 6479439"/>
                <a:gd name="connsiteX3086" fmla="*/ 7175279 w 9586368"/>
                <a:gd name="connsiteY3086" fmla="*/ 4321527 h 6479439"/>
                <a:gd name="connsiteX3087" fmla="*/ 7175279 w 9586368"/>
                <a:gd name="connsiteY3087" fmla="*/ 4311656 h 6479439"/>
                <a:gd name="connsiteX3088" fmla="*/ 6939983 w 9586368"/>
                <a:gd name="connsiteY3088" fmla="*/ 4307617 h 6479439"/>
                <a:gd name="connsiteX3089" fmla="*/ 6949894 w 9586368"/>
                <a:gd name="connsiteY3089" fmla="*/ 4307617 h 6479439"/>
                <a:gd name="connsiteX3090" fmla="*/ 6953913 w 9586368"/>
                <a:gd name="connsiteY3090" fmla="*/ 4311656 h 6479439"/>
                <a:gd name="connsiteX3091" fmla="*/ 6953913 w 9586368"/>
                <a:gd name="connsiteY3091" fmla="*/ 4321527 h 6479439"/>
                <a:gd name="connsiteX3092" fmla="*/ 6949894 w 9586368"/>
                <a:gd name="connsiteY3092" fmla="*/ 4325566 h 6479439"/>
                <a:gd name="connsiteX3093" fmla="*/ 6939983 w 9586368"/>
                <a:gd name="connsiteY3093" fmla="*/ 4325566 h 6479439"/>
                <a:gd name="connsiteX3094" fmla="*/ 6935964 w 9586368"/>
                <a:gd name="connsiteY3094" fmla="*/ 4321527 h 6479439"/>
                <a:gd name="connsiteX3095" fmla="*/ 6935964 w 9586368"/>
                <a:gd name="connsiteY3095" fmla="*/ 4311656 h 6479439"/>
                <a:gd name="connsiteX3096" fmla="*/ 6700670 w 9586368"/>
                <a:gd name="connsiteY3096" fmla="*/ 4307617 h 6479439"/>
                <a:gd name="connsiteX3097" fmla="*/ 6710581 w 9586368"/>
                <a:gd name="connsiteY3097" fmla="*/ 4307617 h 6479439"/>
                <a:gd name="connsiteX3098" fmla="*/ 6714600 w 9586368"/>
                <a:gd name="connsiteY3098" fmla="*/ 4311656 h 6479439"/>
                <a:gd name="connsiteX3099" fmla="*/ 6714600 w 9586368"/>
                <a:gd name="connsiteY3099" fmla="*/ 4321527 h 6479439"/>
                <a:gd name="connsiteX3100" fmla="*/ 6710581 w 9586368"/>
                <a:gd name="connsiteY3100" fmla="*/ 4325566 h 6479439"/>
                <a:gd name="connsiteX3101" fmla="*/ 6700670 w 9586368"/>
                <a:gd name="connsiteY3101" fmla="*/ 4325566 h 6479439"/>
                <a:gd name="connsiteX3102" fmla="*/ 6696651 w 9586368"/>
                <a:gd name="connsiteY3102" fmla="*/ 4321527 h 6479439"/>
                <a:gd name="connsiteX3103" fmla="*/ 6696651 w 9586368"/>
                <a:gd name="connsiteY3103" fmla="*/ 4311656 h 6479439"/>
                <a:gd name="connsiteX3104" fmla="*/ 6461356 w 9586368"/>
                <a:gd name="connsiteY3104" fmla="*/ 4307617 h 6479439"/>
                <a:gd name="connsiteX3105" fmla="*/ 6471266 w 9586368"/>
                <a:gd name="connsiteY3105" fmla="*/ 4307617 h 6479439"/>
                <a:gd name="connsiteX3106" fmla="*/ 6475285 w 9586368"/>
                <a:gd name="connsiteY3106" fmla="*/ 4311656 h 6479439"/>
                <a:gd name="connsiteX3107" fmla="*/ 6475285 w 9586368"/>
                <a:gd name="connsiteY3107" fmla="*/ 4321527 h 6479439"/>
                <a:gd name="connsiteX3108" fmla="*/ 6471266 w 9586368"/>
                <a:gd name="connsiteY3108" fmla="*/ 4325566 h 6479439"/>
                <a:gd name="connsiteX3109" fmla="*/ 6461356 w 9586368"/>
                <a:gd name="connsiteY3109" fmla="*/ 4325566 h 6479439"/>
                <a:gd name="connsiteX3110" fmla="*/ 6457337 w 9586368"/>
                <a:gd name="connsiteY3110" fmla="*/ 4321527 h 6479439"/>
                <a:gd name="connsiteX3111" fmla="*/ 6457337 w 9586368"/>
                <a:gd name="connsiteY3111" fmla="*/ 4311656 h 6479439"/>
                <a:gd name="connsiteX3112" fmla="*/ 6222042 w 9586368"/>
                <a:gd name="connsiteY3112" fmla="*/ 4307617 h 6479439"/>
                <a:gd name="connsiteX3113" fmla="*/ 6231952 w 9586368"/>
                <a:gd name="connsiteY3113" fmla="*/ 4307617 h 6479439"/>
                <a:gd name="connsiteX3114" fmla="*/ 6235971 w 9586368"/>
                <a:gd name="connsiteY3114" fmla="*/ 4311656 h 6479439"/>
                <a:gd name="connsiteX3115" fmla="*/ 6235971 w 9586368"/>
                <a:gd name="connsiteY3115" fmla="*/ 4321527 h 6479439"/>
                <a:gd name="connsiteX3116" fmla="*/ 6231952 w 9586368"/>
                <a:gd name="connsiteY3116" fmla="*/ 4325566 h 6479439"/>
                <a:gd name="connsiteX3117" fmla="*/ 6222042 w 9586368"/>
                <a:gd name="connsiteY3117" fmla="*/ 4325566 h 6479439"/>
                <a:gd name="connsiteX3118" fmla="*/ 6218023 w 9586368"/>
                <a:gd name="connsiteY3118" fmla="*/ 4321527 h 6479439"/>
                <a:gd name="connsiteX3119" fmla="*/ 6218023 w 9586368"/>
                <a:gd name="connsiteY3119" fmla="*/ 4311656 h 6479439"/>
                <a:gd name="connsiteX3120" fmla="*/ 5982729 w 9586368"/>
                <a:gd name="connsiteY3120" fmla="*/ 4307617 h 6479439"/>
                <a:gd name="connsiteX3121" fmla="*/ 5992639 w 9586368"/>
                <a:gd name="connsiteY3121" fmla="*/ 4307617 h 6479439"/>
                <a:gd name="connsiteX3122" fmla="*/ 5996658 w 9586368"/>
                <a:gd name="connsiteY3122" fmla="*/ 4311656 h 6479439"/>
                <a:gd name="connsiteX3123" fmla="*/ 5996658 w 9586368"/>
                <a:gd name="connsiteY3123" fmla="*/ 4321527 h 6479439"/>
                <a:gd name="connsiteX3124" fmla="*/ 5992639 w 9586368"/>
                <a:gd name="connsiteY3124" fmla="*/ 4325566 h 6479439"/>
                <a:gd name="connsiteX3125" fmla="*/ 5982729 w 9586368"/>
                <a:gd name="connsiteY3125" fmla="*/ 4325566 h 6479439"/>
                <a:gd name="connsiteX3126" fmla="*/ 5978710 w 9586368"/>
                <a:gd name="connsiteY3126" fmla="*/ 4321527 h 6479439"/>
                <a:gd name="connsiteX3127" fmla="*/ 5978710 w 9586368"/>
                <a:gd name="connsiteY3127" fmla="*/ 4311656 h 6479439"/>
                <a:gd name="connsiteX3128" fmla="*/ 5743412 w 9586368"/>
                <a:gd name="connsiteY3128" fmla="*/ 4307617 h 6479439"/>
                <a:gd name="connsiteX3129" fmla="*/ 5753323 w 9586368"/>
                <a:gd name="connsiteY3129" fmla="*/ 4307617 h 6479439"/>
                <a:gd name="connsiteX3130" fmla="*/ 5757342 w 9586368"/>
                <a:gd name="connsiteY3130" fmla="*/ 4311656 h 6479439"/>
                <a:gd name="connsiteX3131" fmla="*/ 5757342 w 9586368"/>
                <a:gd name="connsiteY3131" fmla="*/ 4321527 h 6479439"/>
                <a:gd name="connsiteX3132" fmla="*/ 5753323 w 9586368"/>
                <a:gd name="connsiteY3132" fmla="*/ 4325566 h 6479439"/>
                <a:gd name="connsiteX3133" fmla="*/ 5743412 w 9586368"/>
                <a:gd name="connsiteY3133" fmla="*/ 4325566 h 6479439"/>
                <a:gd name="connsiteX3134" fmla="*/ 5739393 w 9586368"/>
                <a:gd name="connsiteY3134" fmla="*/ 4321527 h 6479439"/>
                <a:gd name="connsiteX3135" fmla="*/ 5739393 w 9586368"/>
                <a:gd name="connsiteY3135" fmla="*/ 4311656 h 6479439"/>
                <a:gd name="connsiteX3136" fmla="*/ 5504099 w 9586368"/>
                <a:gd name="connsiteY3136" fmla="*/ 4307617 h 6479439"/>
                <a:gd name="connsiteX3137" fmla="*/ 5514010 w 9586368"/>
                <a:gd name="connsiteY3137" fmla="*/ 4307617 h 6479439"/>
                <a:gd name="connsiteX3138" fmla="*/ 5518029 w 9586368"/>
                <a:gd name="connsiteY3138" fmla="*/ 4311656 h 6479439"/>
                <a:gd name="connsiteX3139" fmla="*/ 5518029 w 9586368"/>
                <a:gd name="connsiteY3139" fmla="*/ 4321527 h 6479439"/>
                <a:gd name="connsiteX3140" fmla="*/ 5514010 w 9586368"/>
                <a:gd name="connsiteY3140" fmla="*/ 4325566 h 6479439"/>
                <a:gd name="connsiteX3141" fmla="*/ 5504099 w 9586368"/>
                <a:gd name="connsiteY3141" fmla="*/ 4325566 h 6479439"/>
                <a:gd name="connsiteX3142" fmla="*/ 5500080 w 9586368"/>
                <a:gd name="connsiteY3142" fmla="*/ 4321527 h 6479439"/>
                <a:gd name="connsiteX3143" fmla="*/ 5500080 w 9586368"/>
                <a:gd name="connsiteY3143" fmla="*/ 4311656 h 6479439"/>
                <a:gd name="connsiteX3144" fmla="*/ 5264784 w 9586368"/>
                <a:gd name="connsiteY3144" fmla="*/ 4307617 h 6479439"/>
                <a:gd name="connsiteX3145" fmla="*/ 5274694 w 9586368"/>
                <a:gd name="connsiteY3145" fmla="*/ 4307617 h 6479439"/>
                <a:gd name="connsiteX3146" fmla="*/ 5278713 w 9586368"/>
                <a:gd name="connsiteY3146" fmla="*/ 4311656 h 6479439"/>
                <a:gd name="connsiteX3147" fmla="*/ 5278713 w 9586368"/>
                <a:gd name="connsiteY3147" fmla="*/ 4321527 h 6479439"/>
                <a:gd name="connsiteX3148" fmla="*/ 5274694 w 9586368"/>
                <a:gd name="connsiteY3148" fmla="*/ 4325566 h 6479439"/>
                <a:gd name="connsiteX3149" fmla="*/ 5264784 w 9586368"/>
                <a:gd name="connsiteY3149" fmla="*/ 4325566 h 6479439"/>
                <a:gd name="connsiteX3150" fmla="*/ 5260765 w 9586368"/>
                <a:gd name="connsiteY3150" fmla="*/ 4321527 h 6479439"/>
                <a:gd name="connsiteX3151" fmla="*/ 5260765 w 9586368"/>
                <a:gd name="connsiteY3151" fmla="*/ 4311656 h 6479439"/>
                <a:gd name="connsiteX3152" fmla="*/ 5025470 w 9586368"/>
                <a:gd name="connsiteY3152" fmla="*/ 4307617 h 6479439"/>
                <a:gd name="connsiteX3153" fmla="*/ 5035381 w 9586368"/>
                <a:gd name="connsiteY3153" fmla="*/ 4307617 h 6479439"/>
                <a:gd name="connsiteX3154" fmla="*/ 5039400 w 9586368"/>
                <a:gd name="connsiteY3154" fmla="*/ 4311656 h 6479439"/>
                <a:gd name="connsiteX3155" fmla="*/ 5039400 w 9586368"/>
                <a:gd name="connsiteY3155" fmla="*/ 4321527 h 6479439"/>
                <a:gd name="connsiteX3156" fmla="*/ 5035381 w 9586368"/>
                <a:gd name="connsiteY3156" fmla="*/ 4325566 h 6479439"/>
                <a:gd name="connsiteX3157" fmla="*/ 5025470 w 9586368"/>
                <a:gd name="connsiteY3157" fmla="*/ 4325566 h 6479439"/>
                <a:gd name="connsiteX3158" fmla="*/ 5021451 w 9586368"/>
                <a:gd name="connsiteY3158" fmla="*/ 4321527 h 6479439"/>
                <a:gd name="connsiteX3159" fmla="*/ 5021451 w 9586368"/>
                <a:gd name="connsiteY3159" fmla="*/ 4311656 h 6479439"/>
                <a:gd name="connsiteX3160" fmla="*/ 4786241 w 9586368"/>
                <a:gd name="connsiteY3160" fmla="*/ 4307617 h 6479439"/>
                <a:gd name="connsiteX3161" fmla="*/ 4796152 w 9586368"/>
                <a:gd name="connsiteY3161" fmla="*/ 4307617 h 6479439"/>
                <a:gd name="connsiteX3162" fmla="*/ 4800171 w 9586368"/>
                <a:gd name="connsiteY3162" fmla="*/ 4311656 h 6479439"/>
                <a:gd name="connsiteX3163" fmla="*/ 4800171 w 9586368"/>
                <a:gd name="connsiteY3163" fmla="*/ 4321527 h 6479439"/>
                <a:gd name="connsiteX3164" fmla="*/ 4796152 w 9586368"/>
                <a:gd name="connsiteY3164" fmla="*/ 4325566 h 6479439"/>
                <a:gd name="connsiteX3165" fmla="*/ 4786241 w 9586368"/>
                <a:gd name="connsiteY3165" fmla="*/ 4325566 h 6479439"/>
                <a:gd name="connsiteX3166" fmla="*/ 4782224 w 9586368"/>
                <a:gd name="connsiteY3166" fmla="*/ 4321527 h 6479439"/>
                <a:gd name="connsiteX3167" fmla="*/ 4782224 w 9586368"/>
                <a:gd name="connsiteY3167" fmla="*/ 4311656 h 6479439"/>
                <a:gd name="connsiteX3168" fmla="*/ 4546929 w 9586368"/>
                <a:gd name="connsiteY3168" fmla="*/ 4307617 h 6479439"/>
                <a:gd name="connsiteX3169" fmla="*/ 4556840 w 9586368"/>
                <a:gd name="connsiteY3169" fmla="*/ 4307617 h 6479439"/>
                <a:gd name="connsiteX3170" fmla="*/ 4560859 w 9586368"/>
                <a:gd name="connsiteY3170" fmla="*/ 4311656 h 6479439"/>
                <a:gd name="connsiteX3171" fmla="*/ 4560859 w 9586368"/>
                <a:gd name="connsiteY3171" fmla="*/ 4321527 h 6479439"/>
                <a:gd name="connsiteX3172" fmla="*/ 4556840 w 9586368"/>
                <a:gd name="connsiteY3172" fmla="*/ 4325566 h 6479439"/>
                <a:gd name="connsiteX3173" fmla="*/ 4546929 w 9586368"/>
                <a:gd name="connsiteY3173" fmla="*/ 4325566 h 6479439"/>
                <a:gd name="connsiteX3174" fmla="*/ 4542910 w 9586368"/>
                <a:gd name="connsiteY3174" fmla="*/ 4321527 h 6479439"/>
                <a:gd name="connsiteX3175" fmla="*/ 4542910 w 9586368"/>
                <a:gd name="connsiteY3175" fmla="*/ 4311656 h 6479439"/>
                <a:gd name="connsiteX3176" fmla="*/ 4307612 w 9586368"/>
                <a:gd name="connsiteY3176" fmla="*/ 4307617 h 6479439"/>
                <a:gd name="connsiteX3177" fmla="*/ 4317523 w 9586368"/>
                <a:gd name="connsiteY3177" fmla="*/ 4307617 h 6479439"/>
                <a:gd name="connsiteX3178" fmla="*/ 4321543 w 9586368"/>
                <a:gd name="connsiteY3178" fmla="*/ 4311656 h 6479439"/>
                <a:gd name="connsiteX3179" fmla="*/ 4321543 w 9586368"/>
                <a:gd name="connsiteY3179" fmla="*/ 4321527 h 6479439"/>
                <a:gd name="connsiteX3180" fmla="*/ 4317523 w 9586368"/>
                <a:gd name="connsiteY3180" fmla="*/ 4325566 h 6479439"/>
                <a:gd name="connsiteX3181" fmla="*/ 4307612 w 9586368"/>
                <a:gd name="connsiteY3181" fmla="*/ 4325566 h 6479439"/>
                <a:gd name="connsiteX3182" fmla="*/ 4303595 w 9586368"/>
                <a:gd name="connsiteY3182" fmla="*/ 4321527 h 6479439"/>
                <a:gd name="connsiteX3183" fmla="*/ 4303595 w 9586368"/>
                <a:gd name="connsiteY3183" fmla="*/ 4311656 h 6479439"/>
                <a:gd name="connsiteX3184" fmla="*/ 4068297 w 9586368"/>
                <a:gd name="connsiteY3184" fmla="*/ 4307617 h 6479439"/>
                <a:gd name="connsiteX3185" fmla="*/ 4078210 w 9586368"/>
                <a:gd name="connsiteY3185" fmla="*/ 4307617 h 6479439"/>
                <a:gd name="connsiteX3186" fmla="*/ 4082229 w 9586368"/>
                <a:gd name="connsiteY3186" fmla="*/ 4311656 h 6479439"/>
                <a:gd name="connsiteX3187" fmla="*/ 4082229 w 9586368"/>
                <a:gd name="connsiteY3187" fmla="*/ 4321527 h 6479439"/>
                <a:gd name="connsiteX3188" fmla="*/ 4078210 w 9586368"/>
                <a:gd name="connsiteY3188" fmla="*/ 4325566 h 6479439"/>
                <a:gd name="connsiteX3189" fmla="*/ 4068297 w 9586368"/>
                <a:gd name="connsiteY3189" fmla="*/ 4325566 h 6479439"/>
                <a:gd name="connsiteX3190" fmla="*/ 4064278 w 9586368"/>
                <a:gd name="connsiteY3190" fmla="*/ 4321527 h 6479439"/>
                <a:gd name="connsiteX3191" fmla="*/ 4064278 w 9586368"/>
                <a:gd name="connsiteY3191" fmla="*/ 4311656 h 6479439"/>
                <a:gd name="connsiteX3192" fmla="*/ 3828990 w 9586368"/>
                <a:gd name="connsiteY3192" fmla="*/ 4307617 h 6479439"/>
                <a:gd name="connsiteX3193" fmla="*/ 3838899 w 9586368"/>
                <a:gd name="connsiteY3193" fmla="*/ 4307617 h 6479439"/>
                <a:gd name="connsiteX3194" fmla="*/ 3842917 w 9586368"/>
                <a:gd name="connsiteY3194" fmla="*/ 4311656 h 6479439"/>
                <a:gd name="connsiteX3195" fmla="*/ 3842917 w 9586368"/>
                <a:gd name="connsiteY3195" fmla="*/ 4321527 h 6479439"/>
                <a:gd name="connsiteX3196" fmla="*/ 3838899 w 9586368"/>
                <a:gd name="connsiteY3196" fmla="*/ 4325566 h 6479439"/>
                <a:gd name="connsiteX3197" fmla="*/ 3828990 w 9586368"/>
                <a:gd name="connsiteY3197" fmla="*/ 4325566 h 6479439"/>
                <a:gd name="connsiteX3198" fmla="*/ 3824971 w 9586368"/>
                <a:gd name="connsiteY3198" fmla="*/ 4321527 h 6479439"/>
                <a:gd name="connsiteX3199" fmla="*/ 3824971 w 9586368"/>
                <a:gd name="connsiteY3199" fmla="*/ 4311656 h 6479439"/>
                <a:gd name="connsiteX3200" fmla="*/ 3589676 w 9586368"/>
                <a:gd name="connsiteY3200" fmla="*/ 4307617 h 6479439"/>
                <a:gd name="connsiteX3201" fmla="*/ 3599585 w 9586368"/>
                <a:gd name="connsiteY3201" fmla="*/ 4307617 h 6479439"/>
                <a:gd name="connsiteX3202" fmla="*/ 3603604 w 9586368"/>
                <a:gd name="connsiteY3202" fmla="*/ 4311656 h 6479439"/>
                <a:gd name="connsiteX3203" fmla="*/ 3603604 w 9586368"/>
                <a:gd name="connsiteY3203" fmla="*/ 4321527 h 6479439"/>
                <a:gd name="connsiteX3204" fmla="*/ 3599585 w 9586368"/>
                <a:gd name="connsiteY3204" fmla="*/ 4325566 h 6479439"/>
                <a:gd name="connsiteX3205" fmla="*/ 3589676 w 9586368"/>
                <a:gd name="connsiteY3205" fmla="*/ 4325566 h 6479439"/>
                <a:gd name="connsiteX3206" fmla="*/ 3585657 w 9586368"/>
                <a:gd name="connsiteY3206" fmla="*/ 4321527 h 6479439"/>
                <a:gd name="connsiteX3207" fmla="*/ 3585657 w 9586368"/>
                <a:gd name="connsiteY3207" fmla="*/ 4311656 h 6479439"/>
                <a:gd name="connsiteX3208" fmla="*/ 3350359 w 9586368"/>
                <a:gd name="connsiteY3208" fmla="*/ 4307617 h 6479439"/>
                <a:gd name="connsiteX3209" fmla="*/ 3360268 w 9586368"/>
                <a:gd name="connsiteY3209" fmla="*/ 4307617 h 6479439"/>
                <a:gd name="connsiteX3210" fmla="*/ 3364287 w 9586368"/>
                <a:gd name="connsiteY3210" fmla="*/ 4311656 h 6479439"/>
                <a:gd name="connsiteX3211" fmla="*/ 3364287 w 9586368"/>
                <a:gd name="connsiteY3211" fmla="*/ 4321527 h 6479439"/>
                <a:gd name="connsiteX3212" fmla="*/ 3360268 w 9586368"/>
                <a:gd name="connsiteY3212" fmla="*/ 4325566 h 6479439"/>
                <a:gd name="connsiteX3213" fmla="*/ 3350359 w 9586368"/>
                <a:gd name="connsiteY3213" fmla="*/ 4325566 h 6479439"/>
                <a:gd name="connsiteX3214" fmla="*/ 3346340 w 9586368"/>
                <a:gd name="connsiteY3214" fmla="*/ 4321527 h 6479439"/>
                <a:gd name="connsiteX3215" fmla="*/ 3346340 w 9586368"/>
                <a:gd name="connsiteY3215" fmla="*/ 4311656 h 6479439"/>
                <a:gd name="connsiteX3216" fmla="*/ 3111048 w 9586368"/>
                <a:gd name="connsiteY3216" fmla="*/ 4307617 h 6479439"/>
                <a:gd name="connsiteX3217" fmla="*/ 3120959 w 9586368"/>
                <a:gd name="connsiteY3217" fmla="*/ 4307617 h 6479439"/>
                <a:gd name="connsiteX3218" fmla="*/ 3124977 w 9586368"/>
                <a:gd name="connsiteY3218" fmla="*/ 4311656 h 6479439"/>
                <a:gd name="connsiteX3219" fmla="*/ 3124977 w 9586368"/>
                <a:gd name="connsiteY3219" fmla="*/ 4321527 h 6479439"/>
                <a:gd name="connsiteX3220" fmla="*/ 3120959 w 9586368"/>
                <a:gd name="connsiteY3220" fmla="*/ 4325566 h 6479439"/>
                <a:gd name="connsiteX3221" fmla="*/ 3111048 w 9586368"/>
                <a:gd name="connsiteY3221" fmla="*/ 4325566 h 6479439"/>
                <a:gd name="connsiteX3222" fmla="*/ 3107029 w 9586368"/>
                <a:gd name="connsiteY3222" fmla="*/ 4321527 h 6479439"/>
                <a:gd name="connsiteX3223" fmla="*/ 3107029 w 9586368"/>
                <a:gd name="connsiteY3223" fmla="*/ 4311656 h 6479439"/>
                <a:gd name="connsiteX3224" fmla="*/ 2871737 w 9586368"/>
                <a:gd name="connsiteY3224" fmla="*/ 4307617 h 6479439"/>
                <a:gd name="connsiteX3225" fmla="*/ 2881646 w 9586368"/>
                <a:gd name="connsiteY3225" fmla="*/ 4307617 h 6479439"/>
                <a:gd name="connsiteX3226" fmla="*/ 2885666 w 9586368"/>
                <a:gd name="connsiteY3226" fmla="*/ 4311656 h 6479439"/>
                <a:gd name="connsiteX3227" fmla="*/ 2885666 w 9586368"/>
                <a:gd name="connsiteY3227" fmla="*/ 4321527 h 6479439"/>
                <a:gd name="connsiteX3228" fmla="*/ 2881646 w 9586368"/>
                <a:gd name="connsiteY3228" fmla="*/ 4325566 h 6479439"/>
                <a:gd name="connsiteX3229" fmla="*/ 2871737 w 9586368"/>
                <a:gd name="connsiteY3229" fmla="*/ 4325566 h 6479439"/>
                <a:gd name="connsiteX3230" fmla="*/ 2867717 w 9586368"/>
                <a:gd name="connsiteY3230" fmla="*/ 4321527 h 6479439"/>
                <a:gd name="connsiteX3231" fmla="*/ 2867717 w 9586368"/>
                <a:gd name="connsiteY3231" fmla="*/ 4311656 h 6479439"/>
                <a:gd name="connsiteX3232" fmla="*/ 2632423 w 9586368"/>
                <a:gd name="connsiteY3232" fmla="*/ 4307617 h 6479439"/>
                <a:gd name="connsiteX3233" fmla="*/ 2642334 w 9586368"/>
                <a:gd name="connsiteY3233" fmla="*/ 4307617 h 6479439"/>
                <a:gd name="connsiteX3234" fmla="*/ 2646352 w 9586368"/>
                <a:gd name="connsiteY3234" fmla="*/ 4311656 h 6479439"/>
                <a:gd name="connsiteX3235" fmla="*/ 2646352 w 9586368"/>
                <a:gd name="connsiteY3235" fmla="*/ 4321527 h 6479439"/>
                <a:gd name="connsiteX3236" fmla="*/ 2642334 w 9586368"/>
                <a:gd name="connsiteY3236" fmla="*/ 4325566 h 6479439"/>
                <a:gd name="connsiteX3237" fmla="*/ 2632423 w 9586368"/>
                <a:gd name="connsiteY3237" fmla="*/ 4325566 h 6479439"/>
                <a:gd name="connsiteX3238" fmla="*/ 2628404 w 9586368"/>
                <a:gd name="connsiteY3238" fmla="*/ 4321527 h 6479439"/>
                <a:gd name="connsiteX3239" fmla="*/ 2628404 w 9586368"/>
                <a:gd name="connsiteY3239" fmla="*/ 4311656 h 6479439"/>
                <a:gd name="connsiteX3240" fmla="*/ 2393104 w 9586368"/>
                <a:gd name="connsiteY3240" fmla="*/ 4307617 h 6479439"/>
                <a:gd name="connsiteX3241" fmla="*/ 2403015 w 9586368"/>
                <a:gd name="connsiteY3241" fmla="*/ 4307617 h 6479439"/>
                <a:gd name="connsiteX3242" fmla="*/ 2407034 w 9586368"/>
                <a:gd name="connsiteY3242" fmla="*/ 4311656 h 6479439"/>
                <a:gd name="connsiteX3243" fmla="*/ 2407034 w 9586368"/>
                <a:gd name="connsiteY3243" fmla="*/ 4321527 h 6479439"/>
                <a:gd name="connsiteX3244" fmla="*/ 2403015 w 9586368"/>
                <a:gd name="connsiteY3244" fmla="*/ 4325566 h 6479439"/>
                <a:gd name="connsiteX3245" fmla="*/ 2393104 w 9586368"/>
                <a:gd name="connsiteY3245" fmla="*/ 4325566 h 6479439"/>
                <a:gd name="connsiteX3246" fmla="*/ 2389087 w 9586368"/>
                <a:gd name="connsiteY3246" fmla="*/ 4321527 h 6479439"/>
                <a:gd name="connsiteX3247" fmla="*/ 2389087 w 9586368"/>
                <a:gd name="connsiteY3247" fmla="*/ 4311656 h 6479439"/>
                <a:gd name="connsiteX3248" fmla="*/ 721965 w 9586368"/>
                <a:gd name="connsiteY3248" fmla="*/ 4307617 h 6479439"/>
                <a:gd name="connsiteX3249" fmla="*/ 731874 w 9586368"/>
                <a:gd name="connsiteY3249" fmla="*/ 4307617 h 6479439"/>
                <a:gd name="connsiteX3250" fmla="*/ 735893 w 9586368"/>
                <a:gd name="connsiteY3250" fmla="*/ 4311656 h 6479439"/>
                <a:gd name="connsiteX3251" fmla="*/ 735893 w 9586368"/>
                <a:gd name="connsiteY3251" fmla="*/ 4321527 h 6479439"/>
                <a:gd name="connsiteX3252" fmla="*/ 731874 w 9586368"/>
                <a:gd name="connsiteY3252" fmla="*/ 4325566 h 6479439"/>
                <a:gd name="connsiteX3253" fmla="*/ 721965 w 9586368"/>
                <a:gd name="connsiteY3253" fmla="*/ 4325566 h 6479439"/>
                <a:gd name="connsiteX3254" fmla="*/ 717945 w 9586368"/>
                <a:gd name="connsiteY3254" fmla="*/ 4321527 h 6479439"/>
                <a:gd name="connsiteX3255" fmla="*/ 717945 w 9586368"/>
                <a:gd name="connsiteY3255" fmla="*/ 4311656 h 6479439"/>
                <a:gd name="connsiteX3256" fmla="*/ 482652 w 9586368"/>
                <a:gd name="connsiteY3256" fmla="*/ 4307617 h 6479439"/>
                <a:gd name="connsiteX3257" fmla="*/ 492562 w 9586368"/>
                <a:gd name="connsiteY3257" fmla="*/ 4307617 h 6479439"/>
                <a:gd name="connsiteX3258" fmla="*/ 496581 w 9586368"/>
                <a:gd name="connsiteY3258" fmla="*/ 4311656 h 6479439"/>
                <a:gd name="connsiteX3259" fmla="*/ 496581 w 9586368"/>
                <a:gd name="connsiteY3259" fmla="*/ 4321527 h 6479439"/>
                <a:gd name="connsiteX3260" fmla="*/ 492562 w 9586368"/>
                <a:gd name="connsiteY3260" fmla="*/ 4325566 h 6479439"/>
                <a:gd name="connsiteX3261" fmla="*/ 482652 w 9586368"/>
                <a:gd name="connsiteY3261" fmla="*/ 4325566 h 6479439"/>
                <a:gd name="connsiteX3262" fmla="*/ 478633 w 9586368"/>
                <a:gd name="connsiteY3262" fmla="*/ 4321527 h 6479439"/>
                <a:gd name="connsiteX3263" fmla="*/ 478633 w 9586368"/>
                <a:gd name="connsiteY3263" fmla="*/ 4311656 h 6479439"/>
                <a:gd name="connsiteX3264" fmla="*/ 243339 w 9586368"/>
                <a:gd name="connsiteY3264" fmla="*/ 4307617 h 6479439"/>
                <a:gd name="connsiteX3265" fmla="*/ 253249 w 9586368"/>
                <a:gd name="connsiteY3265" fmla="*/ 4307617 h 6479439"/>
                <a:gd name="connsiteX3266" fmla="*/ 257268 w 9586368"/>
                <a:gd name="connsiteY3266" fmla="*/ 4311656 h 6479439"/>
                <a:gd name="connsiteX3267" fmla="*/ 257268 w 9586368"/>
                <a:gd name="connsiteY3267" fmla="*/ 4321527 h 6479439"/>
                <a:gd name="connsiteX3268" fmla="*/ 253249 w 9586368"/>
                <a:gd name="connsiteY3268" fmla="*/ 4325566 h 6479439"/>
                <a:gd name="connsiteX3269" fmla="*/ 243339 w 9586368"/>
                <a:gd name="connsiteY3269" fmla="*/ 4325566 h 6479439"/>
                <a:gd name="connsiteX3270" fmla="*/ 239320 w 9586368"/>
                <a:gd name="connsiteY3270" fmla="*/ 4321527 h 6479439"/>
                <a:gd name="connsiteX3271" fmla="*/ 239320 w 9586368"/>
                <a:gd name="connsiteY3271" fmla="*/ 4311656 h 6479439"/>
                <a:gd name="connsiteX3272" fmla="*/ 4025 w 9586368"/>
                <a:gd name="connsiteY3272" fmla="*/ 4307617 h 6479439"/>
                <a:gd name="connsiteX3273" fmla="*/ 13936 w 9586368"/>
                <a:gd name="connsiteY3273" fmla="*/ 4307617 h 6479439"/>
                <a:gd name="connsiteX3274" fmla="*/ 17955 w 9586368"/>
                <a:gd name="connsiteY3274" fmla="*/ 4311656 h 6479439"/>
                <a:gd name="connsiteX3275" fmla="*/ 17955 w 9586368"/>
                <a:gd name="connsiteY3275" fmla="*/ 4321527 h 6479439"/>
                <a:gd name="connsiteX3276" fmla="*/ 13936 w 9586368"/>
                <a:gd name="connsiteY3276" fmla="*/ 4325566 h 6479439"/>
                <a:gd name="connsiteX3277" fmla="*/ 4025 w 9586368"/>
                <a:gd name="connsiteY3277" fmla="*/ 4325566 h 6479439"/>
                <a:gd name="connsiteX3278" fmla="*/ 7 w 9586368"/>
                <a:gd name="connsiteY3278" fmla="*/ 4321527 h 6479439"/>
                <a:gd name="connsiteX3279" fmla="*/ 7 w 9586368"/>
                <a:gd name="connsiteY3279" fmla="*/ 4311656 h 6479439"/>
                <a:gd name="connsiteX3280" fmla="*/ 9572438 w 9586368"/>
                <a:gd name="connsiteY3280" fmla="*/ 4068339 h 6479439"/>
                <a:gd name="connsiteX3281" fmla="*/ 9582349 w 9586368"/>
                <a:gd name="connsiteY3281" fmla="*/ 4068339 h 6479439"/>
                <a:gd name="connsiteX3282" fmla="*/ 9586368 w 9586368"/>
                <a:gd name="connsiteY3282" fmla="*/ 4072377 h 6479439"/>
                <a:gd name="connsiteX3283" fmla="*/ 9586368 w 9586368"/>
                <a:gd name="connsiteY3283" fmla="*/ 4082248 h 6479439"/>
                <a:gd name="connsiteX3284" fmla="*/ 9582349 w 9586368"/>
                <a:gd name="connsiteY3284" fmla="*/ 4086287 h 6479439"/>
                <a:gd name="connsiteX3285" fmla="*/ 9572438 w 9586368"/>
                <a:gd name="connsiteY3285" fmla="*/ 4086287 h 6479439"/>
                <a:gd name="connsiteX3286" fmla="*/ 9568419 w 9586368"/>
                <a:gd name="connsiteY3286" fmla="*/ 4082248 h 6479439"/>
                <a:gd name="connsiteX3287" fmla="*/ 9568419 w 9586368"/>
                <a:gd name="connsiteY3287" fmla="*/ 4072377 h 6479439"/>
                <a:gd name="connsiteX3288" fmla="*/ 9333125 w 9586368"/>
                <a:gd name="connsiteY3288" fmla="*/ 4068339 h 6479439"/>
                <a:gd name="connsiteX3289" fmla="*/ 9343036 w 9586368"/>
                <a:gd name="connsiteY3289" fmla="*/ 4068339 h 6479439"/>
                <a:gd name="connsiteX3290" fmla="*/ 9347055 w 9586368"/>
                <a:gd name="connsiteY3290" fmla="*/ 4072377 h 6479439"/>
                <a:gd name="connsiteX3291" fmla="*/ 9347055 w 9586368"/>
                <a:gd name="connsiteY3291" fmla="*/ 4082248 h 6479439"/>
                <a:gd name="connsiteX3292" fmla="*/ 9343036 w 9586368"/>
                <a:gd name="connsiteY3292" fmla="*/ 4086287 h 6479439"/>
                <a:gd name="connsiteX3293" fmla="*/ 9333125 w 9586368"/>
                <a:gd name="connsiteY3293" fmla="*/ 4086287 h 6479439"/>
                <a:gd name="connsiteX3294" fmla="*/ 9329106 w 9586368"/>
                <a:gd name="connsiteY3294" fmla="*/ 4082248 h 6479439"/>
                <a:gd name="connsiteX3295" fmla="*/ 9329106 w 9586368"/>
                <a:gd name="connsiteY3295" fmla="*/ 4072377 h 6479439"/>
                <a:gd name="connsiteX3296" fmla="*/ 9093811 w 9586368"/>
                <a:gd name="connsiteY3296" fmla="*/ 4068339 h 6479439"/>
                <a:gd name="connsiteX3297" fmla="*/ 9103722 w 9586368"/>
                <a:gd name="connsiteY3297" fmla="*/ 4068339 h 6479439"/>
                <a:gd name="connsiteX3298" fmla="*/ 9107741 w 9586368"/>
                <a:gd name="connsiteY3298" fmla="*/ 4072377 h 6479439"/>
                <a:gd name="connsiteX3299" fmla="*/ 9107741 w 9586368"/>
                <a:gd name="connsiteY3299" fmla="*/ 4082248 h 6479439"/>
                <a:gd name="connsiteX3300" fmla="*/ 9103722 w 9586368"/>
                <a:gd name="connsiteY3300" fmla="*/ 4086287 h 6479439"/>
                <a:gd name="connsiteX3301" fmla="*/ 9093811 w 9586368"/>
                <a:gd name="connsiteY3301" fmla="*/ 4086287 h 6479439"/>
                <a:gd name="connsiteX3302" fmla="*/ 9089792 w 9586368"/>
                <a:gd name="connsiteY3302" fmla="*/ 4082248 h 6479439"/>
                <a:gd name="connsiteX3303" fmla="*/ 9089792 w 9586368"/>
                <a:gd name="connsiteY3303" fmla="*/ 4072377 h 6479439"/>
                <a:gd name="connsiteX3304" fmla="*/ 8854496 w 9586368"/>
                <a:gd name="connsiteY3304" fmla="*/ 4068339 h 6479439"/>
                <a:gd name="connsiteX3305" fmla="*/ 8864407 w 9586368"/>
                <a:gd name="connsiteY3305" fmla="*/ 4068339 h 6479439"/>
                <a:gd name="connsiteX3306" fmla="*/ 8868426 w 9586368"/>
                <a:gd name="connsiteY3306" fmla="*/ 4072377 h 6479439"/>
                <a:gd name="connsiteX3307" fmla="*/ 8868426 w 9586368"/>
                <a:gd name="connsiteY3307" fmla="*/ 4082248 h 6479439"/>
                <a:gd name="connsiteX3308" fmla="*/ 8864407 w 9586368"/>
                <a:gd name="connsiteY3308" fmla="*/ 4086287 h 6479439"/>
                <a:gd name="connsiteX3309" fmla="*/ 8854496 w 9586368"/>
                <a:gd name="connsiteY3309" fmla="*/ 4086287 h 6479439"/>
                <a:gd name="connsiteX3310" fmla="*/ 8850477 w 9586368"/>
                <a:gd name="connsiteY3310" fmla="*/ 4082248 h 6479439"/>
                <a:gd name="connsiteX3311" fmla="*/ 8850477 w 9586368"/>
                <a:gd name="connsiteY3311" fmla="*/ 4072377 h 6479439"/>
                <a:gd name="connsiteX3312" fmla="*/ 8615184 w 9586368"/>
                <a:gd name="connsiteY3312" fmla="*/ 4068339 h 6479439"/>
                <a:gd name="connsiteX3313" fmla="*/ 8625095 w 9586368"/>
                <a:gd name="connsiteY3313" fmla="*/ 4068339 h 6479439"/>
                <a:gd name="connsiteX3314" fmla="*/ 8629114 w 9586368"/>
                <a:gd name="connsiteY3314" fmla="*/ 4072377 h 6479439"/>
                <a:gd name="connsiteX3315" fmla="*/ 8629114 w 9586368"/>
                <a:gd name="connsiteY3315" fmla="*/ 4082248 h 6479439"/>
                <a:gd name="connsiteX3316" fmla="*/ 8625095 w 9586368"/>
                <a:gd name="connsiteY3316" fmla="*/ 4086287 h 6479439"/>
                <a:gd name="connsiteX3317" fmla="*/ 8615184 w 9586368"/>
                <a:gd name="connsiteY3317" fmla="*/ 4086287 h 6479439"/>
                <a:gd name="connsiteX3318" fmla="*/ 8611165 w 9586368"/>
                <a:gd name="connsiteY3318" fmla="*/ 4082248 h 6479439"/>
                <a:gd name="connsiteX3319" fmla="*/ 8611165 w 9586368"/>
                <a:gd name="connsiteY3319" fmla="*/ 4072377 h 6479439"/>
                <a:gd name="connsiteX3320" fmla="*/ 8375869 w 9586368"/>
                <a:gd name="connsiteY3320" fmla="*/ 4068339 h 6479439"/>
                <a:gd name="connsiteX3321" fmla="*/ 8385779 w 9586368"/>
                <a:gd name="connsiteY3321" fmla="*/ 4068339 h 6479439"/>
                <a:gd name="connsiteX3322" fmla="*/ 8389799 w 9586368"/>
                <a:gd name="connsiteY3322" fmla="*/ 4072377 h 6479439"/>
                <a:gd name="connsiteX3323" fmla="*/ 8389799 w 9586368"/>
                <a:gd name="connsiteY3323" fmla="*/ 4082248 h 6479439"/>
                <a:gd name="connsiteX3324" fmla="*/ 8385779 w 9586368"/>
                <a:gd name="connsiteY3324" fmla="*/ 4086287 h 6479439"/>
                <a:gd name="connsiteX3325" fmla="*/ 8375869 w 9586368"/>
                <a:gd name="connsiteY3325" fmla="*/ 4086287 h 6479439"/>
                <a:gd name="connsiteX3326" fmla="*/ 8371850 w 9586368"/>
                <a:gd name="connsiteY3326" fmla="*/ 4082248 h 6479439"/>
                <a:gd name="connsiteX3327" fmla="*/ 8371850 w 9586368"/>
                <a:gd name="connsiteY3327" fmla="*/ 4072377 h 6479439"/>
                <a:gd name="connsiteX3328" fmla="*/ 8136553 w 9586368"/>
                <a:gd name="connsiteY3328" fmla="*/ 4068339 h 6479439"/>
                <a:gd name="connsiteX3329" fmla="*/ 8146464 w 9586368"/>
                <a:gd name="connsiteY3329" fmla="*/ 4068339 h 6479439"/>
                <a:gd name="connsiteX3330" fmla="*/ 8150483 w 9586368"/>
                <a:gd name="connsiteY3330" fmla="*/ 4072377 h 6479439"/>
                <a:gd name="connsiteX3331" fmla="*/ 8150483 w 9586368"/>
                <a:gd name="connsiteY3331" fmla="*/ 4082248 h 6479439"/>
                <a:gd name="connsiteX3332" fmla="*/ 8146464 w 9586368"/>
                <a:gd name="connsiteY3332" fmla="*/ 4086287 h 6479439"/>
                <a:gd name="connsiteX3333" fmla="*/ 8136553 w 9586368"/>
                <a:gd name="connsiteY3333" fmla="*/ 4086287 h 6479439"/>
                <a:gd name="connsiteX3334" fmla="*/ 8132534 w 9586368"/>
                <a:gd name="connsiteY3334" fmla="*/ 4082248 h 6479439"/>
                <a:gd name="connsiteX3335" fmla="*/ 8132534 w 9586368"/>
                <a:gd name="connsiteY3335" fmla="*/ 4072377 h 6479439"/>
                <a:gd name="connsiteX3336" fmla="*/ 7897241 w 9586368"/>
                <a:gd name="connsiteY3336" fmla="*/ 4068339 h 6479439"/>
                <a:gd name="connsiteX3337" fmla="*/ 7907151 w 9586368"/>
                <a:gd name="connsiteY3337" fmla="*/ 4068339 h 6479439"/>
                <a:gd name="connsiteX3338" fmla="*/ 7911170 w 9586368"/>
                <a:gd name="connsiteY3338" fmla="*/ 4072377 h 6479439"/>
                <a:gd name="connsiteX3339" fmla="*/ 7911170 w 9586368"/>
                <a:gd name="connsiteY3339" fmla="*/ 4082248 h 6479439"/>
                <a:gd name="connsiteX3340" fmla="*/ 7907151 w 9586368"/>
                <a:gd name="connsiteY3340" fmla="*/ 4086287 h 6479439"/>
                <a:gd name="connsiteX3341" fmla="*/ 7897241 w 9586368"/>
                <a:gd name="connsiteY3341" fmla="*/ 4086287 h 6479439"/>
                <a:gd name="connsiteX3342" fmla="*/ 7893222 w 9586368"/>
                <a:gd name="connsiteY3342" fmla="*/ 4082248 h 6479439"/>
                <a:gd name="connsiteX3343" fmla="*/ 7893222 w 9586368"/>
                <a:gd name="connsiteY3343" fmla="*/ 4072377 h 6479439"/>
                <a:gd name="connsiteX3344" fmla="*/ 7657926 w 9586368"/>
                <a:gd name="connsiteY3344" fmla="*/ 4068339 h 6479439"/>
                <a:gd name="connsiteX3345" fmla="*/ 7667836 w 9586368"/>
                <a:gd name="connsiteY3345" fmla="*/ 4068339 h 6479439"/>
                <a:gd name="connsiteX3346" fmla="*/ 7671855 w 9586368"/>
                <a:gd name="connsiteY3346" fmla="*/ 4072377 h 6479439"/>
                <a:gd name="connsiteX3347" fmla="*/ 7671855 w 9586368"/>
                <a:gd name="connsiteY3347" fmla="*/ 4082248 h 6479439"/>
                <a:gd name="connsiteX3348" fmla="*/ 7667836 w 9586368"/>
                <a:gd name="connsiteY3348" fmla="*/ 4086287 h 6479439"/>
                <a:gd name="connsiteX3349" fmla="*/ 7657926 w 9586368"/>
                <a:gd name="connsiteY3349" fmla="*/ 4086287 h 6479439"/>
                <a:gd name="connsiteX3350" fmla="*/ 7653906 w 9586368"/>
                <a:gd name="connsiteY3350" fmla="*/ 4082248 h 6479439"/>
                <a:gd name="connsiteX3351" fmla="*/ 7653906 w 9586368"/>
                <a:gd name="connsiteY3351" fmla="*/ 4072377 h 6479439"/>
                <a:gd name="connsiteX3352" fmla="*/ 7418611 w 9586368"/>
                <a:gd name="connsiteY3352" fmla="*/ 4068339 h 6479439"/>
                <a:gd name="connsiteX3353" fmla="*/ 7428521 w 9586368"/>
                <a:gd name="connsiteY3353" fmla="*/ 4068339 h 6479439"/>
                <a:gd name="connsiteX3354" fmla="*/ 7432540 w 9586368"/>
                <a:gd name="connsiteY3354" fmla="*/ 4072377 h 6479439"/>
                <a:gd name="connsiteX3355" fmla="*/ 7432540 w 9586368"/>
                <a:gd name="connsiteY3355" fmla="*/ 4082248 h 6479439"/>
                <a:gd name="connsiteX3356" fmla="*/ 7428521 w 9586368"/>
                <a:gd name="connsiteY3356" fmla="*/ 4086287 h 6479439"/>
                <a:gd name="connsiteX3357" fmla="*/ 7418611 w 9586368"/>
                <a:gd name="connsiteY3357" fmla="*/ 4086287 h 6479439"/>
                <a:gd name="connsiteX3358" fmla="*/ 7414592 w 9586368"/>
                <a:gd name="connsiteY3358" fmla="*/ 4082248 h 6479439"/>
                <a:gd name="connsiteX3359" fmla="*/ 7414592 w 9586368"/>
                <a:gd name="connsiteY3359" fmla="*/ 4072377 h 6479439"/>
                <a:gd name="connsiteX3360" fmla="*/ 7179298 w 9586368"/>
                <a:gd name="connsiteY3360" fmla="*/ 4068339 h 6479439"/>
                <a:gd name="connsiteX3361" fmla="*/ 7189209 w 9586368"/>
                <a:gd name="connsiteY3361" fmla="*/ 4068339 h 6479439"/>
                <a:gd name="connsiteX3362" fmla="*/ 7193228 w 9586368"/>
                <a:gd name="connsiteY3362" fmla="*/ 4072377 h 6479439"/>
                <a:gd name="connsiteX3363" fmla="*/ 7193228 w 9586368"/>
                <a:gd name="connsiteY3363" fmla="*/ 4082248 h 6479439"/>
                <a:gd name="connsiteX3364" fmla="*/ 7189209 w 9586368"/>
                <a:gd name="connsiteY3364" fmla="*/ 4086287 h 6479439"/>
                <a:gd name="connsiteX3365" fmla="*/ 7179298 w 9586368"/>
                <a:gd name="connsiteY3365" fmla="*/ 4086287 h 6479439"/>
                <a:gd name="connsiteX3366" fmla="*/ 7175279 w 9586368"/>
                <a:gd name="connsiteY3366" fmla="*/ 4082248 h 6479439"/>
                <a:gd name="connsiteX3367" fmla="*/ 7175279 w 9586368"/>
                <a:gd name="connsiteY3367" fmla="*/ 4072377 h 6479439"/>
                <a:gd name="connsiteX3368" fmla="*/ 6939983 w 9586368"/>
                <a:gd name="connsiteY3368" fmla="*/ 4068339 h 6479439"/>
                <a:gd name="connsiteX3369" fmla="*/ 6949894 w 9586368"/>
                <a:gd name="connsiteY3369" fmla="*/ 4068339 h 6479439"/>
                <a:gd name="connsiteX3370" fmla="*/ 6953913 w 9586368"/>
                <a:gd name="connsiteY3370" fmla="*/ 4072377 h 6479439"/>
                <a:gd name="connsiteX3371" fmla="*/ 6953913 w 9586368"/>
                <a:gd name="connsiteY3371" fmla="*/ 4082248 h 6479439"/>
                <a:gd name="connsiteX3372" fmla="*/ 6949894 w 9586368"/>
                <a:gd name="connsiteY3372" fmla="*/ 4086287 h 6479439"/>
                <a:gd name="connsiteX3373" fmla="*/ 6939983 w 9586368"/>
                <a:gd name="connsiteY3373" fmla="*/ 4086287 h 6479439"/>
                <a:gd name="connsiteX3374" fmla="*/ 6935964 w 9586368"/>
                <a:gd name="connsiteY3374" fmla="*/ 4082248 h 6479439"/>
                <a:gd name="connsiteX3375" fmla="*/ 6935964 w 9586368"/>
                <a:gd name="connsiteY3375" fmla="*/ 4072377 h 6479439"/>
                <a:gd name="connsiteX3376" fmla="*/ 6700670 w 9586368"/>
                <a:gd name="connsiteY3376" fmla="*/ 4068339 h 6479439"/>
                <a:gd name="connsiteX3377" fmla="*/ 6710581 w 9586368"/>
                <a:gd name="connsiteY3377" fmla="*/ 4068339 h 6479439"/>
                <a:gd name="connsiteX3378" fmla="*/ 6714600 w 9586368"/>
                <a:gd name="connsiteY3378" fmla="*/ 4072377 h 6479439"/>
                <a:gd name="connsiteX3379" fmla="*/ 6714600 w 9586368"/>
                <a:gd name="connsiteY3379" fmla="*/ 4082248 h 6479439"/>
                <a:gd name="connsiteX3380" fmla="*/ 6710581 w 9586368"/>
                <a:gd name="connsiteY3380" fmla="*/ 4086287 h 6479439"/>
                <a:gd name="connsiteX3381" fmla="*/ 6700670 w 9586368"/>
                <a:gd name="connsiteY3381" fmla="*/ 4086287 h 6479439"/>
                <a:gd name="connsiteX3382" fmla="*/ 6696651 w 9586368"/>
                <a:gd name="connsiteY3382" fmla="*/ 4082248 h 6479439"/>
                <a:gd name="connsiteX3383" fmla="*/ 6696651 w 9586368"/>
                <a:gd name="connsiteY3383" fmla="*/ 4072377 h 6479439"/>
                <a:gd name="connsiteX3384" fmla="*/ 6461356 w 9586368"/>
                <a:gd name="connsiteY3384" fmla="*/ 4068339 h 6479439"/>
                <a:gd name="connsiteX3385" fmla="*/ 6471266 w 9586368"/>
                <a:gd name="connsiteY3385" fmla="*/ 4068339 h 6479439"/>
                <a:gd name="connsiteX3386" fmla="*/ 6475285 w 9586368"/>
                <a:gd name="connsiteY3386" fmla="*/ 4072377 h 6479439"/>
                <a:gd name="connsiteX3387" fmla="*/ 6475285 w 9586368"/>
                <a:gd name="connsiteY3387" fmla="*/ 4082248 h 6479439"/>
                <a:gd name="connsiteX3388" fmla="*/ 6471266 w 9586368"/>
                <a:gd name="connsiteY3388" fmla="*/ 4086287 h 6479439"/>
                <a:gd name="connsiteX3389" fmla="*/ 6461356 w 9586368"/>
                <a:gd name="connsiteY3389" fmla="*/ 4086287 h 6479439"/>
                <a:gd name="connsiteX3390" fmla="*/ 6457337 w 9586368"/>
                <a:gd name="connsiteY3390" fmla="*/ 4082248 h 6479439"/>
                <a:gd name="connsiteX3391" fmla="*/ 6457337 w 9586368"/>
                <a:gd name="connsiteY3391" fmla="*/ 4072377 h 6479439"/>
                <a:gd name="connsiteX3392" fmla="*/ 6222042 w 9586368"/>
                <a:gd name="connsiteY3392" fmla="*/ 4068339 h 6479439"/>
                <a:gd name="connsiteX3393" fmla="*/ 6231952 w 9586368"/>
                <a:gd name="connsiteY3393" fmla="*/ 4068339 h 6479439"/>
                <a:gd name="connsiteX3394" fmla="*/ 6235971 w 9586368"/>
                <a:gd name="connsiteY3394" fmla="*/ 4072377 h 6479439"/>
                <a:gd name="connsiteX3395" fmla="*/ 6235971 w 9586368"/>
                <a:gd name="connsiteY3395" fmla="*/ 4082248 h 6479439"/>
                <a:gd name="connsiteX3396" fmla="*/ 6231952 w 9586368"/>
                <a:gd name="connsiteY3396" fmla="*/ 4086287 h 6479439"/>
                <a:gd name="connsiteX3397" fmla="*/ 6222042 w 9586368"/>
                <a:gd name="connsiteY3397" fmla="*/ 4086287 h 6479439"/>
                <a:gd name="connsiteX3398" fmla="*/ 6218023 w 9586368"/>
                <a:gd name="connsiteY3398" fmla="*/ 4082248 h 6479439"/>
                <a:gd name="connsiteX3399" fmla="*/ 6218023 w 9586368"/>
                <a:gd name="connsiteY3399" fmla="*/ 4072377 h 6479439"/>
                <a:gd name="connsiteX3400" fmla="*/ 5982729 w 9586368"/>
                <a:gd name="connsiteY3400" fmla="*/ 4068339 h 6479439"/>
                <a:gd name="connsiteX3401" fmla="*/ 5992639 w 9586368"/>
                <a:gd name="connsiteY3401" fmla="*/ 4068339 h 6479439"/>
                <a:gd name="connsiteX3402" fmla="*/ 5996658 w 9586368"/>
                <a:gd name="connsiteY3402" fmla="*/ 4072377 h 6479439"/>
                <a:gd name="connsiteX3403" fmla="*/ 5996658 w 9586368"/>
                <a:gd name="connsiteY3403" fmla="*/ 4082248 h 6479439"/>
                <a:gd name="connsiteX3404" fmla="*/ 5992639 w 9586368"/>
                <a:gd name="connsiteY3404" fmla="*/ 4086287 h 6479439"/>
                <a:gd name="connsiteX3405" fmla="*/ 5982729 w 9586368"/>
                <a:gd name="connsiteY3405" fmla="*/ 4086287 h 6479439"/>
                <a:gd name="connsiteX3406" fmla="*/ 5978710 w 9586368"/>
                <a:gd name="connsiteY3406" fmla="*/ 4082248 h 6479439"/>
                <a:gd name="connsiteX3407" fmla="*/ 5978710 w 9586368"/>
                <a:gd name="connsiteY3407" fmla="*/ 4072377 h 6479439"/>
                <a:gd name="connsiteX3408" fmla="*/ 5743412 w 9586368"/>
                <a:gd name="connsiteY3408" fmla="*/ 4068339 h 6479439"/>
                <a:gd name="connsiteX3409" fmla="*/ 5753323 w 9586368"/>
                <a:gd name="connsiteY3409" fmla="*/ 4068339 h 6479439"/>
                <a:gd name="connsiteX3410" fmla="*/ 5757342 w 9586368"/>
                <a:gd name="connsiteY3410" fmla="*/ 4072377 h 6479439"/>
                <a:gd name="connsiteX3411" fmla="*/ 5757342 w 9586368"/>
                <a:gd name="connsiteY3411" fmla="*/ 4082248 h 6479439"/>
                <a:gd name="connsiteX3412" fmla="*/ 5753323 w 9586368"/>
                <a:gd name="connsiteY3412" fmla="*/ 4086287 h 6479439"/>
                <a:gd name="connsiteX3413" fmla="*/ 5743412 w 9586368"/>
                <a:gd name="connsiteY3413" fmla="*/ 4086287 h 6479439"/>
                <a:gd name="connsiteX3414" fmla="*/ 5739393 w 9586368"/>
                <a:gd name="connsiteY3414" fmla="*/ 4082248 h 6479439"/>
                <a:gd name="connsiteX3415" fmla="*/ 5739393 w 9586368"/>
                <a:gd name="connsiteY3415" fmla="*/ 4072377 h 6479439"/>
                <a:gd name="connsiteX3416" fmla="*/ 5504099 w 9586368"/>
                <a:gd name="connsiteY3416" fmla="*/ 4068339 h 6479439"/>
                <a:gd name="connsiteX3417" fmla="*/ 5514010 w 9586368"/>
                <a:gd name="connsiteY3417" fmla="*/ 4068339 h 6479439"/>
                <a:gd name="connsiteX3418" fmla="*/ 5518029 w 9586368"/>
                <a:gd name="connsiteY3418" fmla="*/ 4072377 h 6479439"/>
                <a:gd name="connsiteX3419" fmla="*/ 5518029 w 9586368"/>
                <a:gd name="connsiteY3419" fmla="*/ 4082248 h 6479439"/>
                <a:gd name="connsiteX3420" fmla="*/ 5514010 w 9586368"/>
                <a:gd name="connsiteY3420" fmla="*/ 4086287 h 6479439"/>
                <a:gd name="connsiteX3421" fmla="*/ 5504099 w 9586368"/>
                <a:gd name="connsiteY3421" fmla="*/ 4086287 h 6479439"/>
                <a:gd name="connsiteX3422" fmla="*/ 5500080 w 9586368"/>
                <a:gd name="connsiteY3422" fmla="*/ 4082248 h 6479439"/>
                <a:gd name="connsiteX3423" fmla="*/ 5500080 w 9586368"/>
                <a:gd name="connsiteY3423" fmla="*/ 4072377 h 6479439"/>
                <a:gd name="connsiteX3424" fmla="*/ 5264784 w 9586368"/>
                <a:gd name="connsiteY3424" fmla="*/ 4068339 h 6479439"/>
                <a:gd name="connsiteX3425" fmla="*/ 5274694 w 9586368"/>
                <a:gd name="connsiteY3425" fmla="*/ 4068339 h 6479439"/>
                <a:gd name="connsiteX3426" fmla="*/ 5278713 w 9586368"/>
                <a:gd name="connsiteY3426" fmla="*/ 4072377 h 6479439"/>
                <a:gd name="connsiteX3427" fmla="*/ 5278713 w 9586368"/>
                <a:gd name="connsiteY3427" fmla="*/ 4082248 h 6479439"/>
                <a:gd name="connsiteX3428" fmla="*/ 5274694 w 9586368"/>
                <a:gd name="connsiteY3428" fmla="*/ 4086287 h 6479439"/>
                <a:gd name="connsiteX3429" fmla="*/ 5264784 w 9586368"/>
                <a:gd name="connsiteY3429" fmla="*/ 4086287 h 6479439"/>
                <a:gd name="connsiteX3430" fmla="*/ 5260765 w 9586368"/>
                <a:gd name="connsiteY3430" fmla="*/ 4082248 h 6479439"/>
                <a:gd name="connsiteX3431" fmla="*/ 5260765 w 9586368"/>
                <a:gd name="connsiteY3431" fmla="*/ 4072377 h 6479439"/>
                <a:gd name="connsiteX3432" fmla="*/ 5025470 w 9586368"/>
                <a:gd name="connsiteY3432" fmla="*/ 4068339 h 6479439"/>
                <a:gd name="connsiteX3433" fmla="*/ 5035381 w 9586368"/>
                <a:gd name="connsiteY3433" fmla="*/ 4068339 h 6479439"/>
                <a:gd name="connsiteX3434" fmla="*/ 5039400 w 9586368"/>
                <a:gd name="connsiteY3434" fmla="*/ 4072377 h 6479439"/>
                <a:gd name="connsiteX3435" fmla="*/ 5039400 w 9586368"/>
                <a:gd name="connsiteY3435" fmla="*/ 4082248 h 6479439"/>
                <a:gd name="connsiteX3436" fmla="*/ 5035381 w 9586368"/>
                <a:gd name="connsiteY3436" fmla="*/ 4086287 h 6479439"/>
                <a:gd name="connsiteX3437" fmla="*/ 5025470 w 9586368"/>
                <a:gd name="connsiteY3437" fmla="*/ 4086287 h 6479439"/>
                <a:gd name="connsiteX3438" fmla="*/ 5021451 w 9586368"/>
                <a:gd name="connsiteY3438" fmla="*/ 4082248 h 6479439"/>
                <a:gd name="connsiteX3439" fmla="*/ 5021451 w 9586368"/>
                <a:gd name="connsiteY3439" fmla="*/ 4072377 h 6479439"/>
                <a:gd name="connsiteX3440" fmla="*/ 4786241 w 9586368"/>
                <a:gd name="connsiteY3440" fmla="*/ 4068339 h 6479439"/>
                <a:gd name="connsiteX3441" fmla="*/ 4796152 w 9586368"/>
                <a:gd name="connsiteY3441" fmla="*/ 4068339 h 6479439"/>
                <a:gd name="connsiteX3442" fmla="*/ 4800171 w 9586368"/>
                <a:gd name="connsiteY3442" fmla="*/ 4072377 h 6479439"/>
                <a:gd name="connsiteX3443" fmla="*/ 4800171 w 9586368"/>
                <a:gd name="connsiteY3443" fmla="*/ 4082248 h 6479439"/>
                <a:gd name="connsiteX3444" fmla="*/ 4796152 w 9586368"/>
                <a:gd name="connsiteY3444" fmla="*/ 4086287 h 6479439"/>
                <a:gd name="connsiteX3445" fmla="*/ 4786241 w 9586368"/>
                <a:gd name="connsiteY3445" fmla="*/ 4086287 h 6479439"/>
                <a:gd name="connsiteX3446" fmla="*/ 4782224 w 9586368"/>
                <a:gd name="connsiteY3446" fmla="*/ 4082248 h 6479439"/>
                <a:gd name="connsiteX3447" fmla="*/ 4782224 w 9586368"/>
                <a:gd name="connsiteY3447" fmla="*/ 4072377 h 6479439"/>
                <a:gd name="connsiteX3448" fmla="*/ 4546929 w 9586368"/>
                <a:gd name="connsiteY3448" fmla="*/ 4068339 h 6479439"/>
                <a:gd name="connsiteX3449" fmla="*/ 4556840 w 9586368"/>
                <a:gd name="connsiteY3449" fmla="*/ 4068339 h 6479439"/>
                <a:gd name="connsiteX3450" fmla="*/ 4560859 w 9586368"/>
                <a:gd name="connsiteY3450" fmla="*/ 4072377 h 6479439"/>
                <a:gd name="connsiteX3451" fmla="*/ 4560859 w 9586368"/>
                <a:gd name="connsiteY3451" fmla="*/ 4082248 h 6479439"/>
                <a:gd name="connsiteX3452" fmla="*/ 4556840 w 9586368"/>
                <a:gd name="connsiteY3452" fmla="*/ 4086287 h 6479439"/>
                <a:gd name="connsiteX3453" fmla="*/ 4546929 w 9586368"/>
                <a:gd name="connsiteY3453" fmla="*/ 4086287 h 6479439"/>
                <a:gd name="connsiteX3454" fmla="*/ 4542910 w 9586368"/>
                <a:gd name="connsiteY3454" fmla="*/ 4082248 h 6479439"/>
                <a:gd name="connsiteX3455" fmla="*/ 4542910 w 9586368"/>
                <a:gd name="connsiteY3455" fmla="*/ 4072377 h 6479439"/>
                <a:gd name="connsiteX3456" fmla="*/ 4307612 w 9586368"/>
                <a:gd name="connsiteY3456" fmla="*/ 4068339 h 6479439"/>
                <a:gd name="connsiteX3457" fmla="*/ 4317523 w 9586368"/>
                <a:gd name="connsiteY3457" fmla="*/ 4068339 h 6479439"/>
                <a:gd name="connsiteX3458" fmla="*/ 4321543 w 9586368"/>
                <a:gd name="connsiteY3458" fmla="*/ 4072377 h 6479439"/>
                <a:gd name="connsiteX3459" fmla="*/ 4321543 w 9586368"/>
                <a:gd name="connsiteY3459" fmla="*/ 4082248 h 6479439"/>
                <a:gd name="connsiteX3460" fmla="*/ 4317523 w 9586368"/>
                <a:gd name="connsiteY3460" fmla="*/ 4086287 h 6479439"/>
                <a:gd name="connsiteX3461" fmla="*/ 4307612 w 9586368"/>
                <a:gd name="connsiteY3461" fmla="*/ 4086287 h 6479439"/>
                <a:gd name="connsiteX3462" fmla="*/ 4303595 w 9586368"/>
                <a:gd name="connsiteY3462" fmla="*/ 4082248 h 6479439"/>
                <a:gd name="connsiteX3463" fmla="*/ 4303595 w 9586368"/>
                <a:gd name="connsiteY3463" fmla="*/ 4072377 h 6479439"/>
                <a:gd name="connsiteX3464" fmla="*/ 4068297 w 9586368"/>
                <a:gd name="connsiteY3464" fmla="*/ 4068339 h 6479439"/>
                <a:gd name="connsiteX3465" fmla="*/ 4078210 w 9586368"/>
                <a:gd name="connsiteY3465" fmla="*/ 4068339 h 6479439"/>
                <a:gd name="connsiteX3466" fmla="*/ 4082229 w 9586368"/>
                <a:gd name="connsiteY3466" fmla="*/ 4072377 h 6479439"/>
                <a:gd name="connsiteX3467" fmla="*/ 4082229 w 9586368"/>
                <a:gd name="connsiteY3467" fmla="*/ 4082248 h 6479439"/>
                <a:gd name="connsiteX3468" fmla="*/ 4078210 w 9586368"/>
                <a:gd name="connsiteY3468" fmla="*/ 4086287 h 6479439"/>
                <a:gd name="connsiteX3469" fmla="*/ 4068297 w 9586368"/>
                <a:gd name="connsiteY3469" fmla="*/ 4086287 h 6479439"/>
                <a:gd name="connsiteX3470" fmla="*/ 4064278 w 9586368"/>
                <a:gd name="connsiteY3470" fmla="*/ 4082248 h 6479439"/>
                <a:gd name="connsiteX3471" fmla="*/ 4064278 w 9586368"/>
                <a:gd name="connsiteY3471" fmla="*/ 4072377 h 6479439"/>
                <a:gd name="connsiteX3472" fmla="*/ 3828990 w 9586368"/>
                <a:gd name="connsiteY3472" fmla="*/ 4068339 h 6479439"/>
                <a:gd name="connsiteX3473" fmla="*/ 3838899 w 9586368"/>
                <a:gd name="connsiteY3473" fmla="*/ 4068339 h 6479439"/>
                <a:gd name="connsiteX3474" fmla="*/ 3842917 w 9586368"/>
                <a:gd name="connsiteY3474" fmla="*/ 4072377 h 6479439"/>
                <a:gd name="connsiteX3475" fmla="*/ 3842917 w 9586368"/>
                <a:gd name="connsiteY3475" fmla="*/ 4082248 h 6479439"/>
                <a:gd name="connsiteX3476" fmla="*/ 3838899 w 9586368"/>
                <a:gd name="connsiteY3476" fmla="*/ 4086287 h 6479439"/>
                <a:gd name="connsiteX3477" fmla="*/ 3828990 w 9586368"/>
                <a:gd name="connsiteY3477" fmla="*/ 4086287 h 6479439"/>
                <a:gd name="connsiteX3478" fmla="*/ 3824971 w 9586368"/>
                <a:gd name="connsiteY3478" fmla="*/ 4082248 h 6479439"/>
                <a:gd name="connsiteX3479" fmla="*/ 3824971 w 9586368"/>
                <a:gd name="connsiteY3479" fmla="*/ 4072377 h 6479439"/>
                <a:gd name="connsiteX3480" fmla="*/ 3589676 w 9586368"/>
                <a:gd name="connsiteY3480" fmla="*/ 4068339 h 6479439"/>
                <a:gd name="connsiteX3481" fmla="*/ 3599585 w 9586368"/>
                <a:gd name="connsiteY3481" fmla="*/ 4068339 h 6479439"/>
                <a:gd name="connsiteX3482" fmla="*/ 3603604 w 9586368"/>
                <a:gd name="connsiteY3482" fmla="*/ 4072377 h 6479439"/>
                <a:gd name="connsiteX3483" fmla="*/ 3603604 w 9586368"/>
                <a:gd name="connsiteY3483" fmla="*/ 4082248 h 6479439"/>
                <a:gd name="connsiteX3484" fmla="*/ 3599585 w 9586368"/>
                <a:gd name="connsiteY3484" fmla="*/ 4086287 h 6479439"/>
                <a:gd name="connsiteX3485" fmla="*/ 3589676 w 9586368"/>
                <a:gd name="connsiteY3485" fmla="*/ 4086287 h 6479439"/>
                <a:gd name="connsiteX3486" fmla="*/ 3585657 w 9586368"/>
                <a:gd name="connsiteY3486" fmla="*/ 4082248 h 6479439"/>
                <a:gd name="connsiteX3487" fmla="*/ 3585657 w 9586368"/>
                <a:gd name="connsiteY3487" fmla="*/ 4072377 h 6479439"/>
                <a:gd name="connsiteX3488" fmla="*/ 3350359 w 9586368"/>
                <a:gd name="connsiteY3488" fmla="*/ 4068339 h 6479439"/>
                <a:gd name="connsiteX3489" fmla="*/ 3360268 w 9586368"/>
                <a:gd name="connsiteY3489" fmla="*/ 4068339 h 6479439"/>
                <a:gd name="connsiteX3490" fmla="*/ 3364287 w 9586368"/>
                <a:gd name="connsiteY3490" fmla="*/ 4072377 h 6479439"/>
                <a:gd name="connsiteX3491" fmla="*/ 3364287 w 9586368"/>
                <a:gd name="connsiteY3491" fmla="*/ 4082248 h 6479439"/>
                <a:gd name="connsiteX3492" fmla="*/ 3360268 w 9586368"/>
                <a:gd name="connsiteY3492" fmla="*/ 4086287 h 6479439"/>
                <a:gd name="connsiteX3493" fmla="*/ 3350359 w 9586368"/>
                <a:gd name="connsiteY3493" fmla="*/ 4086287 h 6479439"/>
                <a:gd name="connsiteX3494" fmla="*/ 3346340 w 9586368"/>
                <a:gd name="connsiteY3494" fmla="*/ 4082248 h 6479439"/>
                <a:gd name="connsiteX3495" fmla="*/ 3346340 w 9586368"/>
                <a:gd name="connsiteY3495" fmla="*/ 4072377 h 6479439"/>
                <a:gd name="connsiteX3496" fmla="*/ 3111048 w 9586368"/>
                <a:gd name="connsiteY3496" fmla="*/ 4068339 h 6479439"/>
                <a:gd name="connsiteX3497" fmla="*/ 3120959 w 9586368"/>
                <a:gd name="connsiteY3497" fmla="*/ 4068339 h 6479439"/>
                <a:gd name="connsiteX3498" fmla="*/ 3124977 w 9586368"/>
                <a:gd name="connsiteY3498" fmla="*/ 4072377 h 6479439"/>
                <a:gd name="connsiteX3499" fmla="*/ 3124977 w 9586368"/>
                <a:gd name="connsiteY3499" fmla="*/ 4082248 h 6479439"/>
                <a:gd name="connsiteX3500" fmla="*/ 3120959 w 9586368"/>
                <a:gd name="connsiteY3500" fmla="*/ 4086287 h 6479439"/>
                <a:gd name="connsiteX3501" fmla="*/ 3111048 w 9586368"/>
                <a:gd name="connsiteY3501" fmla="*/ 4086287 h 6479439"/>
                <a:gd name="connsiteX3502" fmla="*/ 3107029 w 9586368"/>
                <a:gd name="connsiteY3502" fmla="*/ 4082248 h 6479439"/>
                <a:gd name="connsiteX3503" fmla="*/ 3107029 w 9586368"/>
                <a:gd name="connsiteY3503" fmla="*/ 4072377 h 6479439"/>
                <a:gd name="connsiteX3504" fmla="*/ 2871737 w 9586368"/>
                <a:gd name="connsiteY3504" fmla="*/ 4068339 h 6479439"/>
                <a:gd name="connsiteX3505" fmla="*/ 2881646 w 9586368"/>
                <a:gd name="connsiteY3505" fmla="*/ 4068339 h 6479439"/>
                <a:gd name="connsiteX3506" fmla="*/ 2885666 w 9586368"/>
                <a:gd name="connsiteY3506" fmla="*/ 4072377 h 6479439"/>
                <a:gd name="connsiteX3507" fmla="*/ 2885666 w 9586368"/>
                <a:gd name="connsiteY3507" fmla="*/ 4082248 h 6479439"/>
                <a:gd name="connsiteX3508" fmla="*/ 2881646 w 9586368"/>
                <a:gd name="connsiteY3508" fmla="*/ 4086287 h 6479439"/>
                <a:gd name="connsiteX3509" fmla="*/ 2871737 w 9586368"/>
                <a:gd name="connsiteY3509" fmla="*/ 4086287 h 6479439"/>
                <a:gd name="connsiteX3510" fmla="*/ 2867717 w 9586368"/>
                <a:gd name="connsiteY3510" fmla="*/ 4082248 h 6479439"/>
                <a:gd name="connsiteX3511" fmla="*/ 2867717 w 9586368"/>
                <a:gd name="connsiteY3511" fmla="*/ 4072377 h 6479439"/>
                <a:gd name="connsiteX3512" fmla="*/ 2632423 w 9586368"/>
                <a:gd name="connsiteY3512" fmla="*/ 4068339 h 6479439"/>
                <a:gd name="connsiteX3513" fmla="*/ 2642334 w 9586368"/>
                <a:gd name="connsiteY3513" fmla="*/ 4068339 h 6479439"/>
                <a:gd name="connsiteX3514" fmla="*/ 2646352 w 9586368"/>
                <a:gd name="connsiteY3514" fmla="*/ 4072377 h 6479439"/>
                <a:gd name="connsiteX3515" fmla="*/ 2646352 w 9586368"/>
                <a:gd name="connsiteY3515" fmla="*/ 4082248 h 6479439"/>
                <a:gd name="connsiteX3516" fmla="*/ 2642334 w 9586368"/>
                <a:gd name="connsiteY3516" fmla="*/ 4086287 h 6479439"/>
                <a:gd name="connsiteX3517" fmla="*/ 2632423 w 9586368"/>
                <a:gd name="connsiteY3517" fmla="*/ 4086287 h 6479439"/>
                <a:gd name="connsiteX3518" fmla="*/ 2628404 w 9586368"/>
                <a:gd name="connsiteY3518" fmla="*/ 4082248 h 6479439"/>
                <a:gd name="connsiteX3519" fmla="*/ 2628404 w 9586368"/>
                <a:gd name="connsiteY3519" fmla="*/ 4072377 h 6479439"/>
                <a:gd name="connsiteX3520" fmla="*/ 2393104 w 9586368"/>
                <a:gd name="connsiteY3520" fmla="*/ 4068339 h 6479439"/>
                <a:gd name="connsiteX3521" fmla="*/ 2403015 w 9586368"/>
                <a:gd name="connsiteY3521" fmla="*/ 4068339 h 6479439"/>
                <a:gd name="connsiteX3522" fmla="*/ 2407034 w 9586368"/>
                <a:gd name="connsiteY3522" fmla="*/ 4072377 h 6479439"/>
                <a:gd name="connsiteX3523" fmla="*/ 2407034 w 9586368"/>
                <a:gd name="connsiteY3523" fmla="*/ 4082248 h 6479439"/>
                <a:gd name="connsiteX3524" fmla="*/ 2403015 w 9586368"/>
                <a:gd name="connsiteY3524" fmla="*/ 4086287 h 6479439"/>
                <a:gd name="connsiteX3525" fmla="*/ 2393104 w 9586368"/>
                <a:gd name="connsiteY3525" fmla="*/ 4086287 h 6479439"/>
                <a:gd name="connsiteX3526" fmla="*/ 2389087 w 9586368"/>
                <a:gd name="connsiteY3526" fmla="*/ 4082248 h 6479439"/>
                <a:gd name="connsiteX3527" fmla="*/ 2389087 w 9586368"/>
                <a:gd name="connsiteY3527" fmla="*/ 4072377 h 6479439"/>
                <a:gd name="connsiteX3528" fmla="*/ 2157819 w 9586368"/>
                <a:gd name="connsiteY3528" fmla="*/ 4068339 h 6479439"/>
                <a:gd name="connsiteX3529" fmla="*/ 2167729 w 9586368"/>
                <a:gd name="connsiteY3529" fmla="*/ 4068339 h 6479439"/>
                <a:gd name="connsiteX3530" fmla="*/ 2171749 w 9586368"/>
                <a:gd name="connsiteY3530" fmla="*/ 4072377 h 6479439"/>
                <a:gd name="connsiteX3531" fmla="*/ 2171749 w 9586368"/>
                <a:gd name="connsiteY3531" fmla="*/ 4082248 h 6479439"/>
                <a:gd name="connsiteX3532" fmla="*/ 2167729 w 9586368"/>
                <a:gd name="connsiteY3532" fmla="*/ 4086287 h 6479439"/>
                <a:gd name="connsiteX3533" fmla="*/ 2157819 w 9586368"/>
                <a:gd name="connsiteY3533" fmla="*/ 4086287 h 6479439"/>
                <a:gd name="connsiteX3534" fmla="*/ 2153801 w 9586368"/>
                <a:gd name="connsiteY3534" fmla="*/ 4082248 h 6479439"/>
                <a:gd name="connsiteX3535" fmla="*/ 2153801 w 9586368"/>
                <a:gd name="connsiteY3535" fmla="*/ 4072377 h 6479439"/>
                <a:gd name="connsiteX3536" fmla="*/ 1918511 w 9586368"/>
                <a:gd name="connsiteY3536" fmla="*/ 4068339 h 6479439"/>
                <a:gd name="connsiteX3537" fmla="*/ 1928421 w 9586368"/>
                <a:gd name="connsiteY3537" fmla="*/ 4068339 h 6479439"/>
                <a:gd name="connsiteX3538" fmla="*/ 1932440 w 9586368"/>
                <a:gd name="connsiteY3538" fmla="*/ 4072377 h 6479439"/>
                <a:gd name="connsiteX3539" fmla="*/ 1932440 w 9586368"/>
                <a:gd name="connsiteY3539" fmla="*/ 4082248 h 6479439"/>
                <a:gd name="connsiteX3540" fmla="*/ 1928421 w 9586368"/>
                <a:gd name="connsiteY3540" fmla="*/ 4086287 h 6479439"/>
                <a:gd name="connsiteX3541" fmla="*/ 1918511 w 9586368"/>
                <a:gd name="connsiteY3541" fmla="*/ 4086287 h 6479439"/>
                <a:gd name="connsiteX3542" fmla="*/ 1914492 w 9586368"/>
                <a:gd name="connsiteY3542" fmla="*/ 4082248 h 6479439"/>
                <a:gd name="connsiteX3543" fmla="*/ 1914492 w 9586368"/>
                <a:gd name="connsiteY3543" fmla="*/ 4072377 h 6479439"/>
                <a:gd name="connsiteX3544" fmla="*/ 1679207 w 9586368"/>
                <a:gd name="connsiteY3544" fmla="*/ 4068339 h 6479439"/>
                <a:gd name="connsiteX3545" fmla="*/ 1689117 w 9586368"/>
                <a:gd name="connsiteY3545" fmla="*/ 4068339 h 6479439"/>
                <a:gd name="connsiteX3546" fmla="*/ 1693137 w 9586368"/>
                <a:gd name="connsiteY3546" fmla="*/ 4072377 h 6479439"/>
                <a:gd name="connsiteX3547" fmla="*/ 1693137 w 9586368"/>
                <a:gd name="connsiteY3547" fmla="*/ 4082248 h 6479439"/>
                <a:gd name="connsiteX3548" fmla="*/ 1689117 w 9586368"/>
                <a:gd name="connsiteY3548" fmla="*/ 4086287 h 6479439"/>
                <a:gd name="connsiteX3549" fmla="*/ 1679207 w 9586368"/>
                <a:gd name="connsiteY3549" fmla="*/ 4086287 h 6479439"/>
                <a:gd name="connsiteX3550" fmla="*/ 1675189 w 9586368"/>
                <a:gd name="connsiteY3550" fmla="*/ 4082248 h 6479439"/>
                <a:gd name="connsiteX3551" fmla="*/ 1675189 w 9586368"/>
                <a:gd name="connsiteY3551" fmla="*/ 4072377 h 6479439"/>
                <a:gd name="connsiteX3552" fmla="*/ 1439891 w 9586368"/>
                <a:gd name="connsiteY3552" fmla="*/ 4068339 h 6479439"/>
                <a:gd name="connsiteX3553" fmla="*/ 1449802 w 9586368"/>
                <a:gd name="connsiteY3553" fmla="*/ 4068339 h 6479439"/>
                <a:gd name="connsiteX3554" fmla="*/ 1453820 w 9586368"/>
                <a:gd name="connsiteY3554" fmla="*/ 4072377 h 6479439"/>
                <a:gd name="connsiteX3555" fmla="*/ 1453820 w 9586368"/>
                <a:gd name="connsiteY3555" fmla="*/ 4082248 h 6479439"/>
                <a:gd name="connsiteX3556" fmla="*/ 1449802 w 9586368"/>
                <a:gd name="connsiteY3556" fmla="*/ 4086287 h 6479439"/>
                <a:gd name="connsiteX3557" fmla="*/ 1439891 w 9586368"/>
                <a:gd name="connsiteY3557" fmla="*/ 4086287 h 6479439"/>
                <a:gd name="connsiteX3558" fmla="*/ 1435873 w 9586368"/>
                <a:gd name="connsiteY3558" fmla="*/ 4082248 h 6479439"/>
                <a:gd name="connsiteX3559" fmla="*/ 1435873 w 9586368"/>
                <a:gd name="connsiteY3559" fmla="*/ 4072377 h 6479439"/>
                <a:gd name="connsiteX3560" fmla="*/ 1200576 w 9586368"/>
                <a:gd name="connsiteY3560" fmla="*/ 4068339 h 6479439"/>
                <a:gd name="connsiteX3561" fmla="*/ 1210486 w 9586368"/>
                <a:gd name="connsiteY3561" fmla="*/ 4068339 h 6479439"/>
                <a:gd name="connsiteX3562" fmla="*/ 1214505 w 9586368"/>
                <a:gd name="connsiteY3562" fmla="*/ 4072377 h 6479439"/>
                <a:gd name="connsiteX3563" fmla="*/ 1214505 w 9586368"/>
                <a:gd name="connsiteY3563" fmla="*/ 4082248 h 6479439"/>
                <a:gd name="connsiteX3564" fmla="*/ 1210486 w 9586368"/>
                <a:gd name="connsiteY3564" fmla="*/ 4086287 h 6479439"/>
                <a:gd name="connsiteX3565" fmla="*/ 1200576 w 9586368"/>
                <a:gd name="connsiteY3565" fmla="*/ 4086287 h 6479439"/>
                <a:gd name="connsiteX3566" fmla="*/ 1196558 w 9586368"/>
                <a:gd name="connsiteY3566" fmla="*/ 4082248 h 6479439"/>
                <a:gd name="connsiteX3567" fmla="*/ 1196558 w 9586368"/>
                <a:gd name="connsiteY3567" fmla="*/ 4072377 h 6479439"/>
                <a:gd name="connsiteX3568" fmla="*/ 961263 w 9586368"/>
                <a:gd name="connsiteY3568" fmla="*/ 4068339 h 6479439"/>
                <a:gd name="connsiteX3569" fmla="*/ 971174 w 9586368"/>
                <a:gd name="connsiteY3569" fmla="*/ 4068339 h 6479439"/>
                <a:gd name="connsiteX3570" fmla="*/ 975192 w 9586368"/>
                <a:gd name="connsiteY3570" fmla="*/ 4072377 h 6479439"/>
                <a:gd name="connsiteX3571" fmla="*/ 975192 w 9586368"/>
                <a:gd name="connsiteY3571" fmla="*/ 4082248 h 6479439"/>
                <a:gd name="connsiteX3572" fmla="*/ 971174 w 9586368"/>
                <a:gd name="connsiteY3572" fmla="*/ 4086287 h 6479439"/>
                <a:gd name="connsiteX3573" fmla="*/ 961263 w 9586368"/>
                <a:gd name="connsiteY3573" fmla="*/ 4086287 h 6479439"/>
                <a:gd name="connsiteX3574" fmla="*/ 957244 w 9586368"/>
                <a:gd name="connsiteY3574" fmla="*/ 4082248 h 6479439"/>
                <a:gd name="connsiteX3575" fmla="*/ 957244 w 9586368"/>
                <a:gd name="connsiteY3575" fmla="*/ 4072377 h 6479439"/>
                <a:gd name="connsiteX3576" fmla="*/ 721965 w 9586368"/>
                <a:gd name="connsiteY3576" fmla="*/ 4068339 h 6479439"/>
                <a:gd name="connsiteX3577" fmla="*/ 731876 w 9586368"/>
                <a:gd name="connsiteY3577" fmla="*/ 4068339 h 6479439"/>
                <a:gd name="connsiteX3578" fmla="*/ 735894 w 9586368"/>
                <a:gd name="connsiteY3578" fmla="*/ 4072377 h 6479439"/>
                <a:gd name="connsiteX3579" fmla="*/ 735894 w 9586368"/>
                <a:gd name="connsiteY3579" fmla="*/ 4082248 h 6479439"/>
                <a:gd name="connsiteX3580" fmla="*/ 731876 w 9586368"/>
                <a:gd name="connsiteY3580" fmla="*/ 4086287 h 6479439"/>
                <a:gd name="connsiteX3581" fmla="*/ 721965 w 9586368"/>
                <a:gd name="connsiteY3581" fmla="*/ 4086287 h 6479439"/>
                <a:gd name="connsiteX3582" fmla="*/ 717946 w 9586368"/>
                <a:gd name="connsiteY3582" fmla="*/ 4082248 h 6479439"/>
                <a:gd name="connsiteX3583" fmla="*/ 717946 w 9586368"/>
                <a:gd name="connsiteY3583" fmla="*/ 4072377 h 6479439"/>
                <a:gd name="connsiteX3584" fmla="*/ 482653 w 9586368"/>
                <a:gd name="connsiteY3584" fmla="*/ 4068339 h 6479439"/>
                <a:gd name="connsiteX3585" fmla="*/ 492563 w 9586368"/>
                <a:gd name="connsiteY3585" fmla="*/ 4068339 h 6479439"/>
                <a:gd name="connsiteX3586" fmla="*/ 496583 w 9586368"/>
                <a:gd name="connsiteY3586" fmla="*/ 4072377 h 6479439"/>
                <a:gd name="connsiteX3587" fmla="*/ 496583 w 9586368"/>
                <a:gd name="connsiteY3587" fmla="*/ 4082248 h 6479439"/>
                <a:gd name="connsiteX3588" fmla="*/ 492563 w 9586368"/>
                <a:gd name="connsiteY3588" fmla="*/ 4086287 h 6479439"/>
                <a:gd name="connsiteX3589" fmla="*/ 482653 w 9586368"/>
                <a:gd name="connsiteY3589" fmla="*/ 4086287 h 6479439"/>
                <a:gd name="connsiteX3590" fmla="*/ 478634 w 9586368"/>
                <a:gd name="connsiteY3590" fmla="*/ 4082248 h 6479439"/>
                <a:gd name="connsiteX3591" fmla="*/ 478634 w 9586368"/>
                <a:gd name="connsiteY3591" fmla="*/ 4072377 h 6479439"/>
                <a:gd name="connsiteX3592" fmla="*/ 243339 w 9586368"/>
                <a:gd name="connsiteY3592" fmla="*/ 4068339 h 6479439"/>
                <a:gd name="connsiteX3593" fmla="*/ 253250 w 9586368"/>
                <a:gd name="connsiteY3593" fmla="*/ 4068339 h 6479439"/>
                <a:gd name="connsiteX3594" fmla="*/ 257269 w 9586368"/>
                <a:gd name="connsiteY3594" fmla="*/ 4072377 h 6479439"/>
                <a:gd name="connsiteX3595" fmla="*/ 257269 w 9586368"/>
                <a:gd name="connsiteY3595" fmla="*/ 4082248 h 6479439"/>
                <a:gd name="connsiteX3596" fmla="*/ 253250 w 9586368"/>
                <a:gd name="connsiteY3596" fmla="*/ 4086287 h 6479439"/>
                <a:gd name="connsiteX3597" fmla="*/ 243339 w 9586368"/>
                <a:gd name="connsiteY3597" fmla="*/ 4086287 h 6479439"/>
                <a:gd name="connsiteX3598" fmla="*/ 239320 w 9586368"/>
                <a:gd name="connsiteY3598" fmla="*/ 4082248 h 6479439"/>
                <a:gd name="connsiteX3599" fmla="*/ 239320 w 9586368"/>
                <a:gd name="connsiteY3599" fmla="*/ 4072377 h 6479439"/>
                <a:gd name="connsiteX3600" fmla="*/ 4026 w 9586368"/>
                <a:gd name="connsiteY3600" fmla="*/ 4068339 h 6479439"/>
                <a:gd name="connsiteX3601" fmla="*/ 13936 w 9586368"/>
                <a:gd name="connsiteY3601" fmla="*/ 4068339 h 6479439"/>
                <a:gd name="connsiteX3602" fmla="*/ 17956 w 9586368"/>
                <a:gd name="connsiteY3602" fmla="*/ 4072377 h 6479439"/>
                <a:gd name="connsiteX3603" fmla="*/ 17956 w 9586368"/>
                <a:gd name="connsiteY3603" fmla="*/ 4082248 h 6479439"/>
                <a:gd name="connsiteX3604" fmla="*/ 13936 w 9586368"/>
                <a:gd name="connsiteY3604" fmla="*/ 4086287 h 6479439"/>
                <a:gd name="connsiteX3605" fmla="*/ 4026 w 9586368"/>
                <a:gd name="connsiteY3605" fmla="*/ 4086287 h 6479439"/>
                <a:gd name="connsiteX3606" fmla="*/ 7 w 9586368"/>
                <a:gd name="connsiteY3606" fmla="*/ 4082248 h 6479439"/>
                <a:gd name="connsiteX3607" fmla="*/ 7 w 9586368"/>
                <a:gd name="connsiteY3607" fmla="*/ 4072377 h 6479439"/>
                <a:gd name="connsiteX3608" fmla="*/ 2157820 w 9586368"/>
                <a:gd name="connsiteY3608" fmla="*/ 3829058 h 6479439"/>
                <a:gd name="connsiteX3609" fmla="*/ 2167731 w 9586368"/>
                <a:gd name="connsiteY3609" fmla="*/ 3829058 h 6479439"/>
                <a:gd name="connsiteX3610" fmla="*/ 2171749 w 9586368"/>
                <a:gd name="connsiteY3610" fmla="*/ 3833097 h 6479439"/>
                <a:gd name="connsiteX3611" fmla="*/ 2171749 w 9586368"/>
                <a:gd name="connsiteY3611" fmla="*/ 3842968 h 6479439"/>
                <a:gd name="connsiteX3612" fmla="*/ 2167731 w 9586368"/>
                <a:gd name="connsiteY3612" fmla="*/ 3847007 h 6479439"/>
                <a:gd name="connsiteX3613" fmla="*/ 2157820 w 9586368"/>
                <a:gd name="connsiteY3613" fmla="*/ 3847007 h 6479439"/>
                <a:gd name="connsiteX3614" fmla="*/ 2153801 w 9586368"/>
                <a:gd name="connsiteY3614" fmla="*/ 3842968 h 6479439"/>
                <a:gd name="connsiteX3615" fmla="*/ 2153801 w 9586368"/>
                <a:gd name="connsiteY3615" fmla="*/ 3833097 h 6479439"/>
                <a:gd name="connsiteX3616" fmla="*/ 1918511 w 9586368"/>
                <a:gd name="connsiteY3616" fmla="*/ 3829058 h 6479439"/>
                <a:gd name="connsiteX3617" fmla="*/ 1928421 w 9586368"/>
                <a:gd name="connsiteY3617" fmla="*/ 3829058 h 6479439"/>
                <a:gd name="connsiteX3618" fmla="*/ 1932440 w 9586368"/>
                <a:gd name="connsiteY3618" fmla="*/ 3833097 h 6479439"/>
                <a:gd name="connsiteX3619" fmla="*/ 1932440 w 9586368"/>
                <a:gd name="connsiteY3619" fmla="*/ 3842968 h 6479439"/>
                <a:gd name="connsiteX3620" fmla="*/ 1928421 w 9586368"/>
                <a:gd name="connsiteY3620" fmla="*/ 3847007 h 6479439"/>
                <a:gd name="connsiteX3621" fmla="*/ 1918511 w 9586368"/>
                <a:gd name="connsiteY3621" fmla="*/ 3847007 h 6479439"/>
                <a:gd name="connsiteX3622" fmla="*/ 1914493 w 9586368"/>
                <a:gd name="connsiteY3622" fmla="*/ 3842968 h 6479439"/>
                <a:gd name="connsiteX3623" fmla="*/ 1914493 w 9586368"/>
                <a:gd name="connsiteY3623" fmla="*/ 3833097 h 6479439"/>
                <a:gd name="connsiteX3624" fmla="*/ 1679209 w 9586368"/>
                <a:gd name="connsiteY3624" fmla="*/ 3829058 h 6479439"/>
                <a:gd name="connsiteX3625" fmla="*/ 1689118 w 9586368"/>
                <a:gd name="connsiteY3625" fmla="*/ 3829058 h 6479439"/>
                <a:gd name="connsiteX3626" fmla="*/ 1693137 w 9586368"/>
                <a:gd name="connsiteY3626" fmla="*/ 3833097 h 6479439"/>
                <a:gd name="connsiteX3627" fmla="*/ 1693137 w 9586368"/>
                <a:gd name="connsiteY3627" fmla="*/ 3842968 h 6479439"/>
                <a:gd name="connsiteX3628" fmla="*/ 1689118 w 9586368"/>
                <a:gd name="connsiteY3628" fmla="*/ 3847007 h 6479439"/>
                <a:gd name="connsiteX3629" fmla="*/ 1679209 w 9586368"/>
                <a:gd name="connsiteY3629" fmla="*/ 3847007 h 6479439"/>
                <a:gd name="connsiteX3630" fmla="*/ 1675189 w 9586368"/>
                <a:gd name="connsiteY3630" fmla="*/ 3842968 h 6479439"/>
                <a:gd name="connsiteX3631" fmla="*/ 1675189 w 9586368"/>
                <a:gd name="connsiteY3631" fmla="*/ 3833097 h 6479439"/>
                <a:gd name="connsiteX3632" fmla="*/ 1439892 w 9586368"/>
                <a:gd name="connsiteY3632" fmla="*/ 3829058 h 6479439"/>
                <a:gd name="connsiteX3633" fmla="*/ 1449802 w 9586368"/>
                <a:gd name="connsiteY3633" fmla="*/ 3829058 h 6479439"/>
                <a:gd name="connsiteX3634" fmla="*/ 1453820 w 9586368"/>
                <a:gd name="connsiteY3634" fmla="*/ 3833097 h 6479439"/>
                <a:gd name="connsiteX3635" fmla="*/ 1453820 w 9586368"/>
                <a:gd name="connsiteY3635" fmla="*/ 3842968 h 6479439"/>
                <a:gd name="connsiteX3636" fmla="*/ 1449802 w 9586368"/>
                <a:gd name="connsiteY3636" fmla="*/ 3847007 h 6479439"/>
                <a:gd name="connsiteX3637" fmla="*/ 1439892 w 9586368"/>
                <a:gd name="connsiteY3637" fmla="*/ 3847007 h 6479439"/>
                <a:gd name="connsiteX3638" fmla="*/ 1435874 w 9586368"/>
                <a:gd name="connsiteY3638" fmla="*/ 3842968 h 6479439"/>
                <a:gd name="connsiteX3639" fmla="*/ 1435874 w 9586368"/>
                <a:gd name="connsiteY3639" fmla="*/ 3833097 h 6479439"/>
                <a:gd name="connsiteX3640" fmla="*/ 1200577 w 9586368"/>
                <a:gd name="connsiteY3640" fmla="*/ 3829058 h 6479439"/>
                <a:gd name="connsiteX3641" fmla="*/ 1210487 w 9586368"/>
                <a:gd name="connsiteY3641" fmla="*/ 3829058 h 6479439"/>
                <a:gd name="connsiteX3642" fmla="*/ 1214506 w 9586368"/>
                <a:gd name="connsiteY3642" fmla="*/ 3833097 h 6479439"/>
                <a:gd name="connsiteX3643" fmla="*/ 1214506 w 9586368"/>
                <a:gd name="connsiteY3643" fmla="*/ 3842968 h 6479439"/>
                <a:gd name="connsiteX3644" fmla="*/ 1210487 w 9586368"/>
                <a:gd name="connsiteY3644" fmla="*/ 3847007 h 6479439"/>
                <a:gd name="connsiteX3645" fmla="*/ 1200577 w 9586368"/>
                <a:gd name="connsiteY3645" fmla="*/ 3847007 h 6479439"/>
                <a:gd name="connsiteX3646" fmla="*/ 1196558 w 9586368"/>
                <a:gd name="connsiteY3646" fmla="*/ 3842968 h 6479439"/>
                <a:gd name="connsiteX3647" fmla="*/ 1196558 w 9586368"/>
                <a:gd name="connsiteY3647" fmla="*/ 3833097 h 6479439"/>
                <a:gd name="connsiteX3648" fmla="*/ 961264 w 9586368"/>
                <a:gd name="connsiteY3648" fmla="*/ 3829058 h 6479439"/>
                <a:gd name="connsiteX3649" fmla="*/ 971174 w 9586368"/>
                <a:gd name="connsiteY3649" fmla="*/ 3829058 h 6479439"/>
                <a:gd name="connsiteX3650" fmla="*/ 975193 w 9586368"/>
                <a:gd name="connsiteY3650" fmla="*/ 3833097 h 6479439"/>
                <a:gd name="connsiteX3651" fmla="*/ 975193 w 9586368"/>
                <a:gd name="connsiteY3651" fmla="*/ 3842968 h 6479439"/>
                <a:gd name="connsiteX3652" fmla="*/ 971174 w 9586368"/>
                <a:gd name="connsiteY3652" fmla="*/ 3847007 h 6479439"/>
                <a:gd name="connsiteX3653" fmla="*/ 961264 w 9586368"/>
                <a:gd name="connsiteY3653" fmla="*/ 3847007 h 6479439"/>
                <a:gd name="connsiteX3654" fmla="*/ 957245 w 9586368"/>
                <a:gd name="connsiteY3654" fmla="*/ 3842968 h 6479439"/>
                <a:gd name="connsiteX3655" fmla="*/ 957245 w 9586368"/>
                <a:gd name="connsiteY3655" fmla="*/ 3833097 h 6479439"/>
                <a:gd name="connsiteX3656" fmla="*/ 9572438 w 9586368"/>
                <a:gd name="connsiteY3656" fmla="*/ 3829008 h 6479439"/>
                <a:gd name="connsiteX3657" fmla="*/ 9582349 w 9586368"/>
                <a:gd name="connsiteY3657" fmla="*/ 3829008 h 6479439"/>
                <a:gd name="connsiteX3658" fmla="*/ 9586368 w 9586368"/>
                <a:gd name="connsiteY3658" fmla="*/ 3833046 h 6479439"/>
                <a:gd name="connsiteX3659" fmla="*/ 9586368 w 9586368"/>
                <a:gd name="connsiteY3659" fmla="*/ 3842917 h 6479439"/>
                <a:gd name="connsiteX3660" fmla="*/ 9582349 w 9586368"/>
                <a:gd name="connsiteY3660" fmla="*/ 3846956 h 6479439"/>
                <a:gd name="connsiteX3661" fmla="*/ 9572438 w 9586368"/>
                <a:gd name="connsiteY3661" fmla="*/ 3846956 h 6479439"/>
                <a:gd name="connsiteX3662" fmla="*/ 9568419 w 9586368"/>
                <a:gd name="connsiteY3662" fmla="*/ 3842917 h 6479439"/>
                <a:gd name="connsiteX3663" fmla="*/ 9568419 w 9586368"/>
                <a:gd name="connsiteY3663" fmla="*/ 3833046 h 6479439"/>
                <a:gd name="connsiteX3664" fmla="*/ 9333125 w 9586368"/>
                <a:gd name="connsiteY3664" fmla="*/ 3829008 h 6479439"/>
                <a:gd name="connsiteX3665" fmla="*/ 9343036 w 9586368"/>
                <a:gd name="connsiteY3665" fmla="*/ 3829008 h 6479439"/>
                <a:gd name="connsiteX3666" fmla="*/ 9347055 w 9586368"/>
                <a:gd name="connsiteY3666" fmla="*/ 3833046 h 6479439"/>
                <a:gd name="connsiteX3667" fmla="*/ 9347055 w 9586368"/>
                <a:gd name="connsiteY3667" fmla="*/ 3842917 h 6479439"/>
                <a:gd name="connsiteX3668" fmla="*/ 9343036 w 9586368"/>
                <a:gd name="connsiteY3668" fmla="*/ 3846956 h 6479439"/>
                <a:gd name="connsiteX3669" fmla="*/ 9333125 w 9586368"/>
                <a:gd name="connsiteY3669" fmla="*/ 3846956 h 6479439"/>
                <a:gd name="connsiteX3670" fmla="*/ 9329106 w 9586368"/>
                <a:gd name="connsiteY3670" fmla="*/ 3842917 h 6479439"/>
                <a:gd name="connsiteX3671" fmla="*/ 9329106 w 9586368"/>
                <a:gd name="connsiteY3671" fmla="*/ 3833046 h 6479439"/>
                <a:gd name="connsiteX3672" fmla="*/ 9093811 w 9586368"/>
                <a:gd name="connsiteY3672" fmla="*/ 3829008 h 6479439"/>
                <a:gd name="connsiteX3673" fmla="*/ 9103722 w 9586368"/>
                <a:gd name="connsiteY3673" fmla="*/ 3829008 h 6479439"/>
                <a:gd name="connsiteX3674" fmla="*/ 9107741 w 9586368"/>
                <a:gd name="connsiteY3674" fmla="*/ 3833046 h 6479439"/>
                <a:gd name="connsiteX3675" fmla="*/ 9107741 w 9586368"/>
                <a:gd name="connsiteY3675" fmla="*/ 3842917 h 6479439"/>
                <a:gd name="connsiteX3676" fmla="*/ 9103722 w 9586368"/>
                <a:gd name="connsiteY3676" fmla="*/ 3846956 h 6479439"/>
                <a:gd name="connsiteX3677" fmla="*/ 9093811 w 9586368"/>
                <a:gd name="connsiteY3677" fmla="*/ 3846956 h 6479439"/>
                <a:gd name="connsiteX3678" fmla="*/ 9089792 w 9586368"/>
                <a:gd name="connsiteY3678" fmla="*/ 3842917 h 6479439"/>
                <a:gd name="connsiteX3679" fmla="*/ 9089792 w 9586368"/>
                <a:gd name="connsiteY3679" fmla="*/ 3833046 h 6479439"/>
                <a:gd name="connsiteX3680" fmla="*/ 8854496 w 9586368"/>
                <a:gd name="connsiteY3680" fmla="*/ 3829008 h 6479439"/>
                <a:gd name="connsiteX3681" fmla="*/ 8864407 w 9586368"/>
                <a:gd name="connsiteY3681" fmla="*/ 3829008 h 6479439"/>
                <a:gd name="connsiteX3682" fmla="*/ 8868426 w 9586368"/>
                <a:gd name="connsiteY3682" fmla="*/ 3833046 h 6479439"/>
                <a:gd name="connsiteX3683" fmla="*/ 8868426 w 9586368"/>
                <a:gd name="connsiteY3683" fmla="*/ 3842917 h 6479439"/>
                <a:gd name="connsiteX3684" fmla="*/ 8864407 w 9586368"/>
                <a:gd name="connsiteY3684" fmla="*/ 3846956 h 6479439"/>
                <a:gd name="connsiteX3685" fmla="*/ 8854496 w 9586368"/>
                <a:gd name="connsiteY3685" fmla="*/ 3846956 h 6479439"/>
                <a:gd name="connsiteX3686" fmla="*/ 8850477 w 9586368"/>
                <a:gd name="connsiteY3686" fmla="*/ 3842917 h 6479439"/>
                <a:gd name="connsiteX3687" fmla="*/ 8850477 w 9586368"/>
                <a:gd name="connsiteY3687" fmla="*/ 3833046 h 6479439"/>
                <a:gd name="connsiteX3688" fmla="*/ 8615184 w 9586368"/>
                <a:gd name="connsiteY3688" fmla="*/ 3829008 h 6479439"/>
                <a:gd name="connsiteX3689" fmla="*/ 8625095 w 9586368"/>
                <a:gd name="connsiteY3689" fmla="*/ 3829008 h 6479439"/>
                <a:gd name="connsiteX3690" fmla="*/ 8629114 w 9586368"/>
                <a:gd name="connsiteY3690" fmla="*/ 3833046 h 6479439"/>
                <a:gd name="connsiteX3691" fmla="*/ 8629114 w 9586368"/>
                <a:gd name="connsiteY3691" fmla="*/ 3842917 h 6479439"/>
                <a:gd name="connsiteX3692" fmla="*/ 8625095 w 9586368"/>
                <a:gd name="connsiteY3692" fmla="*/ 3846956 h 6479439"/>
                <a:gd name="connsiteX3693" fmla="*/ 8615184 w 9586368"/>
                <a:gd name="connsiteY3693" fmla="*/ 3846956 h 6479439"/>
                <a:gd name="connsiteX3694" fmla="*/ 8611165 w 9586368"/>
                <a:gd name="connsiteY3694" fmla="*/ 3842917 h 6479439"/>
                <a:gd name="connsiteX3695" fmla="*/ 8611165 w 9586368"/>
                <a:gd name="connsiteY3695" fmla="*/ 3833046 h 6479439"/>
                <a:gd name="connsiteX3696" fmla="*/ 8375869 w 9586368"/>
                <a:gd name="connsiteY3696" fmla="*/ 3829008 h 6479439"/>
                <a:gd name="connsiteX3697" fmla="*/ 8385779 w 9586368"/>
                <a:gd name="connsiteY3697" fmla="*/ 3829008 h 6479439"/>
                <a:gd name="connsiteX3698" fmla="*/ 8389799 w 9586368"/>
                <a:gd name="connsiteY3698" fmla="*/ 3833046 h 6479439"/>
                <a:gd name="connsiteX3699" fmla="*/ 8389799 w 9586368"/>
                <a:gd name="connsiteY3699" fmla="*/ 3842917 h 6479439"/>
                <a:gd name="connsiteX3700" fmla="*/ 8385779 w 9586368"/>
                <a:gd name="connsiteY3700" fmla="*/ 3846956 h 6479439"/>
                <a:gd name="connsiteX3701" fmla="*/ 8375869 w 9586368"/>
                <a:gd name="connsiteY3701" fmla="*/ 3846956 h 6479439"/>
                <a:gd name="connsiteX3702" fmla="*/ 8371850 w 9586368"/>
                <a:gd name="connsiteY3702" fmla="*/ 3842917 h 6479439"/>
                <a:gd name="connsiteX3703" fmla="*/ 8371850 w 9586368"/>
                <a:gd name="connsiteY3703" fmla="*/ 3833046 h 6479439"/>
                <a:gd name="connsiteX3704" fmla="*/ 8136553 w 9586368"/>
                <a:gd name="connsiteY3704" fmla="*/ 3829008 h 6479439"/>
                <a:gd name="connsiteX3705" fmla="*/ 8146464 w 9586368"/>
                <a:gd name="connsiteY3705" fmla="*/ 3829008 h 6479439"/>
                <a:gd name="connsiteX3706" fmla="*/ 8150483 w 9586368"/>
                <a:gd name="connsiteY3706" fmla="*/ 3833046 h 6479439"/>
                <a:gd name="connsiteX3707" fmla="*/ 8150483 w 9586368"/>
                <a:gd name="connsiteY3707" fmla="*/ 3842917 h 6479439"/>
                <a:gd name="connsiteX3708" fmla="*/ 8146464 w 9586368"/>
                <a:gd name="connsiteY3708" fmla="*/ 3846956 h 6479439"/>
                <a:gd name="connsiteX3709" fmla="*/ 8136553 w 9586368"/>
                <a:gd name="connsiteY3709" fmla="*/ 3846956 h 6479439"/>
                <a:gd name="connsiteX3710" fmla="*/ 8132534 w 9586368"/>
                <a:gd name="connsiteY3710" fmla="*/ 3842917 h 6479439"/>
                <a:gd name="connsiteX3711" fmla="*/ 8132534 w 9586368"/>
                <a:gd name="connsiteY3711" fmla="*/ 3833046 h 6479439"/>
                <a:gd name="connsiteX3712" fmla="*/ 7897241 w 9586368"/>
                <a:gd name="connsiteY3712" fmla="*/ 3829008 h 6479439"/>
                <a:gd name="connsiteX3713" fmla="*/ 7907151 w 9586368"/>
                <a:gd name="connsiteY3713" fmla="*/ 3829008 h 6479439"/>
                <a:gd name="connsiteX3714" fmla="*/ 7911170 w 9586368"/>
                <a:gd name="connsiteY3714" fmla="*/ 3833046 h 6479439"/>
                <a:gd name="connsiteX3715" fmla="*/ 7911170 w 9586368"/>
                <a:gd name="connsiteY3715" fmla="*/ 3842917 h 6479439"/>
                <a:gd name="connsiteX3716" fmla="*/ 7907151 w 9586368"/>
                <a:gd name="connsiteY3716" fmla="*/ 3846956 h 6479439"/>
                <a:gd name="connsiteX3717" fmla="*/ 7897241 w 9586368"/>
                <a:gd name="connsiteY3717" fmla="*/ 3846956 h 6479439"/>
                <a:gd name="connsiteX3718" fmla="*/ 7893222 w 9586368"/>
                <a:gd name="connsiteY3718" fmla="*/ 3842917 h 6479439"/>
                <a:gd name="connsiteX3719" fmla="*/ 7893222 w 9586368"/>
                <a:gd name="connsiteY3719" fmla="*/ 3833046 h 6479439"/>
                <a:gd name="connsiteX3720" fmla="*/ 7657926 w 9586368"/>
                <a:gd name="connsiteY3720" fmla="*/ 3829008 h 6479439"/>
                <a:gd name="connsiteX3721" fmla="*/ 7667836 w 9586368"/>
                <a:gd name="connsiteY3721" fmla="*/ 3829008 h 6479439"/>
                <a:gd name="connsiteX3722" fmla="*/ 7671855 w 9586368"/>
                <a:gd name="connsiteY3722" fmla="*/ 3833046 h 6479439"/>
                <a:gd name="connsiteX3723" fmla="*/ 7671855 w 9586368"/>
                <a:gd name="connsiteY3723" fmla="*/ 3842917 h 6479439"/>
                <a:gd name="connsiteX3724" fmla="*/ 7667836 w 9586368"/>
                <a:gd name="connsiteY3724" fmla="*/ 3846956 h 6479439"/>
                <a:gd name="connsiteX3725" fmla="*/ 7657926 w 9586368"/>
                <a:gd name="connsiteY3725" fmla="*/ 3846956 h 6479439"/>
                <a:gd name="connsiteX3726" fmla="*/ 7653906 w 9586368"/>
                <a:gd name="connsiteY3726" fmla="*/ 3842917 h 6479439"/>
                <a:gd name="connsiteX3727" fmla="*/ 7653906 w 9586368"/>
                <a:gd name="connsiteY3727" fmla="*/ 3833046 h 6479439"/>
                <a:gd name="connsiteX3728" fmla="*/ 7418611 w 9586368"/>
                <a:gd name="connsiteY3728" fmla="*/ 3829008 h 6479439"/>
                <a:gd name="connsiteX3729" fmla="*/ 7428521 w 9586368"/>
                <a:gd name="connsiteY3729" fmla="*/ 3829008 h 6479439"/>
                <a:gd name="connsiteX3730" fmla="*/ 7432540 w 9586368"/>
                <a:gd name="connsiteY3730" fmla="*/ 3833046 h 6479439"/>
                <a:gd name="connsiteX3731" fmla="*/ 7432540 w 9586368"/>
                <a:gd name="connsiteY3731" fmla="*/ 3842917 h 6479439"/>
                <a:gd name="connsiteX3732" fmla="*/ 7428521 w 9586368"/>
                <a:gd name="connsiteY3732" fmla="*/ 3846956 h 6479439"/>
                <a:gd name="connsiteX3733" fmla="*/ 7418611 w 9586368"/>
                <a:gd name="connsiteY3733" fmla="*/ 3846956 h 6479439"/>
                <a:gd name="connsiteX3734" fmla="*/ 7414592 w 9586368"/>
                <a:gd name="connsiteY3734" fmla="*/ 3842917 h 6479439"/>
                <a:gd name="connsiteX3735" fmla="*/ 7414592 w 9586368"/>
                <a:gd name="connsiteY3735" fmla="*/ 3833046 h 6479439"/>
                <a:gd name="connsiteX3736" fmla="*/ 7179298 w 9586368"/>
                <a:gd name="connsiteY3736" fmla="*/ 3829008 h 6479439"/>
                <a:gd name="connsiteX3737" fmla="*/ 7189209 w 9586368"/>
                <a:gd name="connsiteY3737" fmla="*/ 3829008 h 6479439"/>
                <a:gd name="connsiteX3738" fmla="*/ 7193228 w 9586368"/>
                <a:gd name="connsiteY3738" fmla="*/ 3833046 h 6479439"/>
                <a:gd name="connsiteX3739" fmla="*/ 7193228 w 9586368"/>
                <a:gd name="connsiteY3739" fmla="*/ 3842917 h 6479439"/>
                <a:gd name="connsiteX3740" fmla="*/ 7189209 w 9586368"/>
                <a:gd name="connsiteY3740" fmla="*/ 3846956 h 6479439"/>
                <a:gd name="connsiteX3741" fmla="*/ 7179298 w 9586368"/>
                <a:gd name="connsiteY3741" fmla="*/ 3846956 h 6479439"/>
                <a:gd name="connsiteX3742" fmla="*/ 7175279 w 9586368"/>
                <a:gd name="connsiteY3742" fmla="*/ 3842917 h 6479439"/>
                <a:gd name="connsiteX3743" fmla="*/ 7175279 w 9586368"/>
                <a:gd name="connsiteY3743" fmla="*/ 3833046 h 6479439"/>
                <a:gd name="connsiteX3744" fmla="*/ 6939983 w 9586368"/>
                <a:gd name="connsiteY3744" fmla="*/ 3829008 h 6479439"/>
                <a:gd name="connsiteX3745" fmla="*/ 6949894 w 9586368"/>
                <a:gd name="connsiteY3745" fmla="*/ 3829008 h 6479439"/>
                <a:gd name="connsiteX3746" fmla="*/ 6953913 w 9586368"/>
                <a:gd name="connsiteY3746" fmla="*/ 3833046 h 6479439"/>
                <a:gd name="connsiteX3747" fmla="*/ 6953913 w 9586368"/>
                <a:gd name="connsiteY3747" fmla="*/ 3842917 h 6479439"/>
                <a:gd name="connsiteX3748" fmla="*/ 6949894 w 9586368"/>
                <a:gd name="connsiteY3748" fmla="*/ 3846956 h 6479439"/>
                <a:gd name="connsiteX3749" fmla="*/ 6939983 w 9586368"/>
                <a:gd name="connsiteY3749" fmla="*/ 3846956 h 6479439"/>
                <a:gd name="connsiteX3750" fmla="*/ 6935964 w 9586368"/>
                <a:gd name="connsiteY3750" fmla="*/ 3842917 h 6479439"/>
                <a:gd name="connsiteX3751" fmla="*/ 6935964 w 9586368"/>
                <a:gd name="connsiteY3751" fmla="*/ 3833046 h 6479439"/>
                <a:gd name="connsiteX3752" fmla="*/ 6700670 w 9586368"/>
                <a:gd name="connsiteY3752" fmla="*/ 3829008 h 6479439"/>
                <a:gd name="connsiteX3753" fmla="*/ 6710581 w 9586368"/>
                <a:gd name="connsiteY3753" fmla="*/ 3829008 h 6479439"/>
                <a:gd name="connsiteX3754" fmla="*/ 6714600 w 9586368"/>
                <a:gd name="connsiteY3754" fmla="*/ 3833046 h 6479439"/>
                <a:gd name="connsiteX3755" fmla="*/ 6714600 w 9586368"/>
                <a:gd name="connsiteY3755" fmla="*/ 3842917 h 6479439"/>
                <a:gd name="connsiteX3756" fmla="*/ 6710581 w 9586368"/>
                <a:gd name="connsiteY3756" fmla="*/ 3846956 h 6479439"/>
                <a:gd name="connsiteX3757" fmla="*/ 6700670 w 9586368"/>
                <a:gd name="connsiteY3757" fmla="*/ 3846956 h 6479439"/>
                <a:gd name="connsiteX3758" fmla="*/ 6696651 w 9586368"/>
                <a:gd name="connsiteY3758" fmla="*/ 3842917 h 6479439"/>
                <a:gd name="connsiteX3759" fmla="*/ 6696651 w 9586368"/>
                <a:gd name="connsiteY3759" fmla="*/ 3833046 h 6479439"/>
                <a:gd name="connsiteX3760" fmla="*/ 6461356 w 9586368"/>
                <a:gd name="connsiteY3760" fmla="*/ 3829008 h 6479439"/>
                <a:gd name="connsiteX3761" fmla="*/ 6471266 w 9586368"/>
                <a:gd name="connsiteY3761" fmla="*/ 3829008 h 6479439"/>
                <a:gd name="connsiteX3762" fmla="*/ 6475285 w 9586368"/>
                <a:gd name="connsiteY3762" fmla="*/ 3833046 h 6479439"/>
                <a:gd name="connsiteX3763" fmla="*/ 6475285 w 9586368"/>
                <a:gd name="connsiteY3763" fmla="*/ 3842917 h 6479439"/>
                <a:gd name="connsiteX3764" fmla="*/ 6471266 w 9586368"/>
                <a:gd name="connsiteY3764" fmla="*/ 3846956 h 6479439"/>
                <a:gd name="connsiteX3765" fmla="*/ 6461356 w 9586368"/>
                <a:gd name="connsiteY3765" fmla="*/ 3846956 h 6479439"/>
                <a:gd name="connsiteX3766" fmla="*/ 6457337 w 9586368"/>
                <a:gd name="connsiteY3766" fmla="*/ 3842917 h 6479439"/>
                <a:gd name="connsiteX3767" fmla="*/ 6457337 w 9586368"/>
                <a:gd name="connsiteY3767" fmla="*/ 3833046 h 6479439"/>
                <a:gd name="connsiteX3768" fmla="*/ 6222042 w 9586368"/>
                <a:gd name="connsiteY3768" fmla="*/ 3829008 h 6479439"/>
                <a:gd name="connsiteX3769" fmla="*/ 6231952 w 9586368"/>
                <a:gd name="connsiteY3769" fmla="*/ 3829008 h 6479439"/>
                <a:gd name="connsiteX3770" fmla="*/ 6235971 w 9586368"/>
                <a:gd name="connsiteY3770" fmla="*/ 3833046 h 6479439"/>
                <a:gd name="connsiteX3771" fmla="*/ 6235971 w 9586368"/>
                <a:gd name="connsiteY3771" fmla="*/ 3842917 h 6479439"/>
                <a:gd name="connsiteX3772" fmla="*/ 6231952 w 9586368"/>
                <a:gd name="connsiteY3772" fmla="*/ 3846956 h 6479439"/>
                <a:gd name="connsiteX3773" fmla="*/ 6222042 w 9586368"/>
                <a:gd name="connsiteY3773" fmla="*/ 3846956 h 6479439"/>
                <a:gd name="connsiteX3774" fmla="*/ 6218023 w 9586368"/>
                <a:gd name="connsiteY3774" fmla="*/ 3842917 h 6479439"/>
                <a:gd name="connsiteX3775" fmla="*/ 6218023 w 9586368"/>
                <a:gd name="connsiteY3775" fmla="*/ 3833046 h 6479439"/>
                <a:gd name="connsiteX3776" fmla="*/ 5982729 w 9586368"/>
                <a:gd name="connsiteY3776" fmla="*/ 3829008 h 6479439"/>
                <a:gd name="connsiteX3777" fmla="*/ 5992639 w 9586368"/>
                <a:gd name="connsiteY3777" fmla="*/ 3829008 h 6479439"/>
                <a:gd name="connsiteX3778" fmla="*/ 5996658 w 9586368"/>
                <a:gd name="connsiteY3778" fmla="*/ 3833046 h 6479439"/>
                <a:gd name="connsiteX3779" fmla="*/ 5996658 w 9586368"/>
                <a:gd name="connsiteY3779" fmla="*/ 3842917 h 6479439"/>
                <a:gd name="connsiteX3780" fmla="*/ 5992639 w 9586368"/>
                <a:gd name="connsiteY3780" fmla="*/ 3846956 h 6479439"/>
                <a:gd name="connsiteX3781" fmla="*/ 5982729 w 9586368"/>
                <a:gd name="connsiteY3781" fmla="*/ 3846956 h 6479439"/>
                <a:gd name="connsiteX3782" fmla="*/ 5978710 w 9586368"/>
                <a:gd name="connsiteY3782" fmla="*/ 3842917 h 6479439"/>
                <a:gd name="connsiteX3783" fmla="*/ 5978710 w 9586368"/>
                <a:gd name="connsiteY3783" fmla="*/ 3833046 h 6479439"/>
                <a:gd name="connsiteX3784" fmla="*/ 5743412 w 9586368"/>
                <a:gd name="connsiteY3784" fmla="*/ 3829008 h 6479439"/>
                <a:gd name="connsiteX3785" fmla="*/ 5753323 w 9586368"/>
                <a:gd name="connsiteY3785" fmla="*/ 3829008 h 6479439"/>
                <a:gd name="connsiteX3786" fmla="*/ 5757342 w 9586368"/>
                <a:gd name="connsiteY3786" fmla="*/ 3833046 h 6479439"/>
                <a:gd name="connsiteX3787" fmla="*/ 5757342 w 9586368"/>
                <a:gd name="connsiteY3787" fmla="*/ 3842917 h 6479439"/>
                <a:gd name="connsiteX3788" fmla="*/ 5753323 w 9586368"/>
                <a:gd name="connsiteY3788" fmla="*/ 3846956 h 6479439"/>
                <a:gd name="connsiteX3789" fmla="*/ 5743412 w 9586368"/>
                <a:gd name="connsiteY3789" fmla="*/ 3846956 h 6479439"/>
                <a:gd name="connsiteX3790" fmla="*/ 5739393 w 9586368"/>
                <a:gd name="connsiteY3790" fmla="*/ 3842917 h 6479439"/>
                <a:gd name="connsiteX3791" fmla="*/ 5739393 w 9586368"/>
                <a:gd name="connsiteY3791" fmla="*/ 3833046 h 6479439"/>
                <a:gd name="connsiteX3792" fmla="*/ 5504099 w 9586368"/>
                <a:gd name="connsiteY3792" fmla="*/ 3829008 h 6479439"/>
                <a:gd name="connsiteX3793" fmla="*/ 5514010 w 9586368"/>
                <a:gd name="connsiteY3793" fmla="*/ 3829008 h 6479439"/>
                <a:gd name="connsiteX3794" fmla="*/ 5518029 w 9586368"/>
                <a:gd name="connsiteY3794" fmla="*/ 3833046 h 6479439"/>
                <a:gd name="connsiteX3795" fmla="*/ 5518029 w 9586368"/>
                <a:gd name="connsiteY3795" fmla="*/ 3842917 h 6479439"/>
                <a:gd name="connsiteX3796" fmla="*/ 5514010 w 9586368"/>
                <a:gd name="connsiteY3796" fmla="*/ 3846956 h 6479439"/>
                <a:gd name="connsiteX3797" fmla="*/ 5504099 w 9586368"/>
                <a:gd name="connsiteY3797" fmla="*/ 3846956 h 6479439"/>
                <a:gd name="connsiteX3798" fmla="*/ 5500080 w 9586368"/>
                <a:gd name="connsiteY3798" fmla="*/ 3842917 h 6479439"/>
                <a:gd name="connsiteX3799" fmla="*/ 5500080 w 9586368"/>
                <a:gd name="connsiteY3799" fmla="*/ 3833046 h 6479439"/>
                <a:gd name="connsiteX3800" fmla="*/ 5264784 w 9586368"/>
                <a:gd name="connsiteY3800" fmla="*/ 3829008 h 6479439"/>
                <a:gd name="connsiteX3801" fmla="*/ 5274694 w 9586368"/>
                <a:gd name="connsiteY3801" fmla="*/ 3829008 h 6479439"/>
                <a:gd name="connsiteX3802" fmla="*/ 5278713 w 9586368"/>
                <a:gd name="connsiteY3802" fmla="*/ 3833046 h 6479439"/>
                <a:gd name="connsiteX3803" fmla="*/ 5278713 w 9586368"/>
                <a:gd name="connsiteY3803" fmla="*/ 3842917 h 6479439"/>
                <a:gd name="connsiteX3804" fmla="*/ 5274694 w 9586368"/>
                <a:gd name="connsiteY3804" fmla="*/ 3846956 h 6479439"/>
                <a:gd name="connsiteX3805" fmla="*/ 5264784 w 9586368"/>
                <a:gd name="connsiteY3805" fmla="*/ 3846956 h 6479439"/>
                <a:gd name="connsiteX3806" fmla="*/ 5260765 w 9586368"/>
                <a:gd name="connsiteY3806" fmla="*/ 3842917 h 6479439"/>
                <a:gd name="connsiteX3807" fmla="*/ 5260765 w 9586368"/>
                <a:gd name="connsiteY3807" fmla="*/ 3833046 h 6479439"/>
                <a:gd name="connsiteX3808" fmla="*/ 5025470 w 9586368"/>
                <a:gd name="connsiteY3808" fmla="*/ 3829008 h 6479439"/>
                <a:gd name="connsiteX3809" fmla="*/ 5035381 w 9586368"/>
                <a:gd name="connsiteY3809" fmla="*/ 3829008 h 6479439"/>
                <a:gd name="connsiteX3810" fmla="*/ 5039400 w 9586368"/>
                <a:gd name="connsiteY3810" fmla="*/ 3833046 h 6479439"/>
                <a:gd name="connsiteX3811" fmla="*/ 5039400 w 9586368"/>
                <a:gd name="connsiteY3811" fmla="*/ 3842917 h 6479439"/>
                <a:gd name="connsiteX3812" fmla="*/ 5035381 w 9586368"/>
                <a:gd name="connsiteY3812" fmla="*/ 3846956 h 6479439"/>
                <a:gd name="connsiteX3813" fmla="*/ 5025470 w 9586368"/>
                <a:gd name="connsiteY3813" fmla="*/ 3846956 h 6479439"/>
                <a:gd name="connsiteX3814" fmla="*/ 5021451 w 9586368"/>
                <a:gd name="connsiteY3814" fmla="*/ 3842917 h 6479439"/>
                <a:gd name="connsiteX3815" fmla="*/ 5021451 w 9586368"/>
                <a:gd name="connsiteY3815" fmla="*/ 3833046 h 6479439"/>
                <a:gd name="connsiteX3816" fmla="*/ 4786241 w 9586368"/>
                <a:gd name="connsiteY3816" fmla="*/ 3829008 h 6479439"/>
                <a:gd name="connsiteX3817" fmla="*/ 4796152 w 9586368"/>
                <a:gd name="connsiteY3817" fmla="*/ 3829008 h 6479439"/>
                <a:gd name="connsiteX3818" fmla="*/ 4800171 w 9586368"/>
                <a:gd name="connsiteY3818" fmla="*/ 3833046 h 6479439"/>
                <a:gd name="connsiteX3819" fmla="*/ 4800171 w 9586368"/>
                <a:gd name="connsiteY3819" fmla="*/ 3842917 h 6479439"/>
                <a:gd name="connsiteX3820" fmla="*/ 4796152 w 9586368"/>
                <a:gd name="connsiteY3820" fmla="*/ 3846956 h 6479439"/>
                <a:gd name="connsiteX3821" fmla="*/ 4786241 w 9586368"/>
                <a:gd name="connsiteY3821" fmla="*/ 3846956 h 6479439"/>
                <a:gd name="connsiteX3822" fmla="*/ 4782224 w 9586368"/>
                <a:gd name="connsiteY3822" fmla="*/ 3842917 h 6479439"/>
                <a:gd name="connsiteX3823" fmla="*/ 4782224 w 9586368"/>
                <a:gd name="connsiteY3823" fmla="*/ 3833046 h 6479439"/>
                <a:gd name="connsiteX3824" fmla="*/ 4546929 w 9586368"/>
                <a:gd name="connsiteY3824" fmla="*/ 3829008 h 6479439"/>
                <a:gd name="connsiteX3825" fmla="*/ 4556840 w 9586368"/>
                <a:gd name="connsiteY3825" fmla="*/ 3829008 h 6479439"/>
                <a:gd name="connsiteX3826" fmla="*/ 4560859 w 9586368"/>
                <a:gd name="connsiteY3826" fmla="*/ 3833046 h 6479439"/>
                <a:gd name="connsiteX3827" fmla="*/ 4560859 w 9586368"/>
                <a:gd name="connsiteY3827" fmla="*/ 3842917 h 6479439"/>
                <a:gd name="connsiteX3828" fmla="*/ 4556840 w 9586368"/>
                <a:gd name="connsiteY3828" fmla="*/ 3846956 h 6479439"/>
                <a:gd name="connsiteX3829" fmla="*/ 4546929 w 9586368"/>
                <a:gd name="connsiteY3829" fmla="*/ 3846956 h 6479439"/>
                <a:gd name="connsiteX3830" fmla="*/ 4542910 w 9586368"/>
                <a:gd name="connsiteY3830" fmla="*/ 3842917 h 6479439"/>
                <a:gd name="connsiteX3831" fmla="*/ 4542910 w 9586368"/>
                <a:gd name="connsiteY3831" fmla="*/ 3833046 h 6479439"/>
                <a:gd name="connsiteX3832" fmla="*/ 4307612 w 9586368"/>
                <a:gd name="connsiteY3832" fmla="*/ 3829008 h 6479439"/>
                <a:gd name="connsiteX3833" fmla="*/ 4317523 w 9586368"/>
                <a:gd name="connsiteY3833" fmla="*/ 3829008 h 6479439"/>
                <a:gd name="connsiteX3834" fmla="*/ 4321543 w 9586368"/>
                <a:gd name="connsiteY3834" fmla="*/ 3833046 h 6479439"/>
                <a:gd name="connsiteX3835" fmla="*/ 4321543 w 9586368"/>
                <a:gd name="connsiteY3835" fmla="*/ 3842917 h 6479439"/>
                <a:gd name="connsiteX3836" fmla="*/ 4317523 w 9586368"/>
                <a:gd name="connsiteY3836" fmla="*/ 3846956 h 6479439"/>
                <a:gd name="connsiteX3837" fmla="*/ 4307612 w 9586368"/>
                <a:gd name="connsiteY3837" fmla="*/ 3846956 h 6479439"/>
                <a:gd name="connsiteX3838" fmla="*/ 4303595 w 9586368"/>
                <a:gd name="connsiteY3838" fmla="*/ 3842917 h 6479439"/>
                <a:gd name="connsiteX3839" fmla="*/ 4303595 w 9586368"/>
                <a:gd name="connsiteY3839" fmla="*/ 3833046 h 6479439"/>
                <a:gd name="connsiteX3840" fmla="*/ 4068297 w 9586368"/>
                <a:gd name="connsiteY3840" fmla="*/ 3829008 h 6479439"/>
                <a:gd name="connsiteX3841" fmla="*/ 4078210 w 9586368"/>
                <a:gd name="connsiteY3841" fmla="*/ 3829008 h 6479439"/>
                <a:gd name="connsiteX3842" fmla="*/ 4082229 w 9586368"/>
                <a:gd name="connsiteY3842" fmla="*/ 3833046 h 6479439"/>
                <a:gd name="connsiteX3843" fmla="*/ 4082229 w 9586368"/>
                <a:gd name="connsiteY3843" fmla="*/ 3842917 h 6479439"/>
                <a:gd name="connsiteX3844" fmla="*/ 4078210 w 9586368"/>
                <a:gd name="connsiteY3844" fmla="*/ 3846956 h 6479439"/>
                <a:gd name="connsiteX3845" fmla="*/ 4068297 w 9586368"/>
                <a:gd name="connsiteY3845" fmla="*/ 3846956 h 6479439"/>
                <a:gd name="connsiteX3846" fmla="*/ 4064278 w 9586368"/>
                <a:gd name="connsiteY3846" fmla="*/ 3842917 h 6479439"/>
                <a:gd name="connsiteX3847" fmla="*/ 4064278 w 9586368"/>
                <a:gd name="connsiteY3847" fmla="*/ 3833046 h 6479439"/>
                <a:gd name="connsiteX3848" fmla="*/ 3828990 w 9586368"/>
                <a:gd name="connsiteY3848" fmla="*/ 3829008 h 6479439"/>
                <a:gd name="connsiteX3849" fmla="*/ 3838899 w 9586368"/>
                <a:gd name="connsiteY3849" fmla="*/ 3829008 h 6479439"/>
                <a:gd name="connsiteX3850" fmla="*/ 3842917 w 9586368"/>
                <a:gd name="connsiteY3850" fmla="*/ 3833046 h 6479439"/>
                <a:gd name="connsiteX3851" fmla="*/ 3842917 w 9586368"/>
                <a:gd name="connsiteY3851" fmla="*/ 3842917 h 6479439"/>
                <a:gd name="connsiteX3852" fmla="*/ 3838899 w 9586368"/>
                <a:gd name="connsiteY3852" fmla="*/ 3846956 h 6479439"/>
                <a:gd name="connsiteX3853" fmla="*/ 3828990 w 9586368"/>
                <a:gd name="connsiteY3853" fmla="*/ 3846956 h 6479439"/>
                <a:gd name="connsiteX3854" fmla="*/ 3824971 w 9586368"/>
                <a:gd name="connsiteY3854" fmla="*/ 3842917 h 6479439"/>
                <a:gd name="connsiteX3855" fmla="*/ 3824971 w 9586368"/>
                <a:gd name="connsiteY3855" fmla="*/ 3833046 h 6479439"/>
                <a:gd name="connsiteX3856" fmla="*/ 3589676 w 9586368"/>
                <a:gd name="connsiteY3856" fmla="*/ 3829008 h 6479439"/>
                <a:gd name="connsiteX3857" fmla="*/ 3599585 w 9586368"/>
                <a:gd name="connsiteY3857" fmla="*/ 3829008 h 6479439"/>
                <a:gd name="connsiteX3858" fmla="*/ 3603604 w 9586368"/>
                <a:gd name="connsiteY3858" fmla="*/ 3833046 h 6479439"/>
                <a:gd name="connsiteX3859" fmla="*/ 3603604 w 9586368"/>
                <a:gd name="connsiteY3859" fmla="*/ 3842917 h 6479439"/>
                <a:gd name="connsiteX3860" fmla="*/ 3599585 w 9586368"/>
                <a:gd name="connsiteY3860" fmla="*/ 3846956 h 6479439"/>
                <a:gd name="connsiteX3861" fmla="*/ 3589676 w 9586368"/>
                <a:gd name="connsiteY3861" fmla="*/ 3846956 h 6479439"/>
                <a:gd name="connsiteX3862" fmla="*/ 3585657 w 9586368"/>
                <a:gd name="connsiteY3862" fmla="*/ 3842917 h 6479439"/>
                <a:gd name="connsiteX3863" fmla="*/ 3585657 w 9586368"/>
                <a:gd name="connsiteY3863" fmla="*/ 3833046 h 6479439"/>
                <a:gd name="connsiteX3864" fmla="*/ 3350359 w 9586368"/>
                <a:gd name="connsiteY3864" fmla="*/ 3829008 h 6479439"/>
                <a:gd name="connsiteX3865" fmla="*/ 3360268 w 9586368"/>
                <a:gd name="connsiteY3865" fmla="*/ 3829008 h 6479439"/>
                <a:gd name="connsiteX3866" fmla="*/ 3364287 w 9586368"/>
                <a:gd name="connsiteY3866" fmla="*/ 3833046 h 6479439"/>
                <a:gd name="connsiteX3867" fmla="*/ 3364287 w 9586368"/>
                <a:gd name="connsiteY3867" fmla="*/ 3842917 h 6479439"/>
                <a:gd name="connsiteX3868" fmla="*/ 3360268 w 9586368"/>
                <a:gd name="connsiteY3868" fmla="*/ 3846956 h 6479439"/>
                <a:gd name="connsiteX3869" fmla="*/ 3350359 w 9586368"/>
                <a:gd name="connsiteY3869" fmla="*/ 3846956 h 6479439"/>
                <a:gd name="connsiteX3870" fmla="*/ 3346340 w 9586368"/>
                <a:gd name="connsiteY3870" fmla="*/ 3842917 h 6479439"/>
                <a:gd name="connsiteX3871" fmla="*/ 3346340 w 9586368"/>
                <a:gd name="connsiteY3871" fmla="*/ 3833046 h 6479439"/>
                <a:gd name="connsiteX3872" fmla="*/ 3111048 w 9586368"/>
                <a:gd name="connsiteY3872" fmla="*/ 3829008 h 6479439"/>
                <a:gd name="connsiteX3873" fmla="*/ 3120959 w 9586368"/>
                <a:gd name="connsiteY3873" fmla="*/ 3829008 h 6479439"/>
                <a:gd name="connsiteX3874" fmla="*/ 3124977 w 9586368"/>
                <a:gd name="connsiteY3874" fmla="*/ 3833046 h 6479439"/>
                <a:gd name="connsiteX3875" fmla="*/ 3124977 w 9586368"/>
                <a:gd name="connsiteY3875" fmla="*/ 3842917 h 6479439"/>
                <a:gd name="connsiteX3876" fmla="*/ 3120959 w 9586368"/>
                <a:gd name="connsiteY3876" fmla="*/ 3846956 h 6479439"/>
                <a:gd name="connsiteX3877" fmla="*/ 3111048 w 9586368"/>
                <a:gd name="connsiteY3877" fmla="*/ 3846956 h 6479439"/>
                <a:gd name="connsiteX3878" fmla="*/ 3107029 w 9586368"/>
                <a:gd name="connsiteY3878" fmla="*/ 3842917 h 6479439"/>
                <a:gd name="connsiteX3879" fmla="*/ 3107029 w 9586368"/>
                <a:gd name="connsiteY3879" fmla="*/ 3833046 h 6479439"/>
                <a:gd name="connsiteX3880" fmla="*/ 2871737 w 9586368"/>
                <a:gd name="connsiteY3880" fmla="*/ 3829008 h 6479439"/>
                <a:gd name="connsiteX3881" fmla="*/ 2881646 w 9586368"/>
                <a:gd name="connsiteY3881" fmla="*/ 3829008 h 6479439"/>
                <a:gd name="connsiteX3882" fmla="*/ 2885666 w 9586368"/>
                <a:gd name="connsiteY3882" fmla="*/ 3833046 h 6479439"/>
                <a:gd name="connsiteX3883" fmla="*/ 2885666 w 9586368"/>
                <a:gd name="connsiteY3883" fmla="*/ 3842917 h 6479439"/>
                <a:gd name="connsiteX3884" fmla="*/ 2881646 w 9586368"/>
                <a:gd name="connsiteY3884" fmla="*/ 3846956 h 6479439"/>
                <a:gd name="connsiteX3885" fmla="*/ 2871737 w 9586368"/>
                <a:gd name="connsiteY3885" fmla="*/ 3846956 h 6479439"/>
                <a:gd name="connsiteX3886" fmla="*/ 2867717 w 9586368"/>
                <a:gd name="connsiteY3886" fmla="*/ 3842917 h 6479439"/>
                <a:gd name="connsiteX3887" fmla="*/ 2867717 w 9586368"/>
                <a:gd name="connsiteY3887" fmla="*/ 3833046 h 6479439"/>
                <a:gd name="connsiteX3888" fmla="*/ 2632423 w 9586368"/>
                <a:gd name="connsiteY3888" fmla="*/ 3829008 h 6479439"/>
                <a:gd name="connsiteX3889" fmla="*/ 2642334 w 9586368"/>
                <a:gd name="connsiteY3889" fmla="*/ 3829008 h 6479439"/>
                <a:gd name="connsiteX3890" fmla="*/ 2646352 w 9586368"/>
                <a:gd name="connsiteY3890" fmla="*/ 3833046 h 6479439"/>
                <a:gd name="connsiteX3891" fmla="*/ 2646352 w 9586368"/>
                <a:gd name="connsiteY3891" fmla="*/ 3842917 h 6479439"/>
                <a:gd name="connsiteX3892" fmla="*/ 2642334 w 9586368"/>
                <a:gd name="connsiteY3892" fmla="*/ 3846956 h 6479439"/>
                <a:gd name="connsiteX3893" fmla="*/ 2632423 w 9586368"/>
                <a:gd name="connsiteY3893" fmla="*/ 3846956 h 6479439"/>
                <a:gd name="connsiteX3894" fmla="*/ 2628404 w 9586368"/>
                <a:gd name="connsiteY3894" fmla="*/ 3842917 h 6479439"/>
                <a:gd name="connsiteX3895" fmla="*/ 2628404 w 9586368"/>
                <a:gd name="connsiteY3895" fmla="*/ 3833046 h 6479439"/>
                <a:gd name="connsiteX3896" fmla="*/ 2393104 w 9586368"/>
                <a:gd name="connsiteY3896" fmla="*/ 3829008 h 6479439"/>
                <a:gd name="connsiteX3897" fmla="*/ 2403015 w 9586368"/>
                <a:gd name="connsiteY3897" fmla="*/ 3829008 h 6479439"/>
                <a:gd name="connsiteX3898" fmla="*/ 2407034 w 9586368"/>
                <a:gd name="connsiteY3898" fmla="*/ 3833046 h 6479439"/>
                <a:gd name="connsiteX3899" fmla="*/ 2407034 w 9586368"/>
                <a:gd name="connsiteY3899" fmla="*/ 3842917 h 6479439"/>
                <a:gd name="connsiteX3900" fmla="*/ 2403015 w 9586368"/>
                <a:gd name="connsiteY3900" fmla="*/ 3846956 h 6479439"/>
                <a:gd name="connsiteX3901" fmla="*/ 2393104 w 9586368"/>
                <a:gd name="connsiteY3901" fmla="*/ 3846956 h 6479439"/>
                <a:gd name="connsiteX3902" fmla="*/ 2389087 w 9586368"/>
                <a:gd name="connsiteY3902" fmla="*/ 3842917 h 6479439"/>
                <a:gd name="connsiteX3903" fmla="*/ 2389087 w 9586368"/>
                <a:gd name="connsiteY3903" fmla="*/ 3833046 h 6479439"/>
                <a:gd name="connsiteX3904" fmla="*/ 721966 w 9586368"/>
                <a:gd name="connsiteY3904" fmla="*/ 3829008 h 6479439"/>
                <a:gd name="connsiteX3905" fmla="*/ 731876 w 9586368"/>
                <a:gd name="connsiteY3905" fmla="*/ 3829008 h 6479439"/>
                <a:gd name="connsiteX3906" fmla="*/ 735895 w 9586368"/>
                <a:gd name="connsiteY3906" fmla="*/ 3833046 h 6479439"/>
                <a:gd name="connsiteX3907" fmla="*/ 735895 w 9586368"/>
                <a:gd name="connsiteY3907" fmla="*/ 3842917 h 6479439"/>
                <a:gd name="connsiteX3908" fmla="*/ 731876 w 9586368"/>
                <a:gd name="connsiteY3908" fmla="*/ 3846956 h 6479439"/>
                <a:gd name="connsiteX3909" fmla="*/ 721966 w 9586368"/>
                <a:gd name="connsiteY3909" fmla="*/ 3846956 h 6479439"/>
                <a:gd name="connsiteX3910" fmla="*/ 717947 w 9586368"/>
                <a:gd name="connsiteY3910" fmla="*/ 3842917 h 6479439"/>
                <a:gd name="connsiteX3911" fmla="*/ 717947 w 9586368"/>
                <a:gd name="connsiteY3911" fmla="*/ 3833046 h 6479439"/>
                <a:gd name="connsiteX3912" fmla="*/ 482654 w 9586368"/>
                <a:gd name="connsiteY3912" fmla="*/ 3829008 h 6479439"/>
                <a:gd name="connsiteX3913" fmla="*/ 492564 w 9586368"/>
                <a:gd name="connsiteY3913" fmla="*/ 3829008 h 6479439"/>
                <a:gd name="connsiteX3914" fmla="*/ 496583 w 9586368"/>
                <a:gd name="connsiteY3914" fmla="*/ 3833046 h 6479439"/>
                <a:gd name="connsiteX3915" fmla="*/ 496583 w 9586368"/>
                <a:gd name="connsiteY3915" fmla="*/ 3842917 h 6479439"/>
                <a:gd name="connsiteX3916" fmla="*/ 492564 w 9586368"/>
                <a:gd name="connsiteY3916" fmla="*/ 3846956 h 6479439"/>
                <a:gd name="connsiteX3917" fmla="*/ 482654 w 9586368"/>
                <a:gd name="connsiteY3917" fmla="*/ 3846956 h 6479439"/>
                <a:gd name="connsiteX3918" fmla="*/ 478635 w 9586368"/>
                <a:gd name="connsiteY3918" fmla="*/ 3842917 h 6479439"/>
                <a:gd name="connsiteX3919" fmla="*/ 478635 w 9586368"/>
                <a:gd name="connsiteY3919" fmla="*/ 3833046 h 6479439"/>
                <a:gd name="connsiteX3920" fmla="*/ 243340 w 9586368"/>
                <a:gd name="connsiteY3920" fmla="*/ 3829008 h 6479439"/>
                <a:gd name="connsiteX3921" fmla="*/ 253250 w 9586368"/>
                <a:gd name="connsiteY3921" fmla="*/ 3829008 h 6479439"/>
                <a:gd name="connsiteX3922" fmla="*/ 257269 w 9586368"/>
                <a:gd name="connsiteY3922" fmla="*/ 3833046 h 6479439"/>
                <a:gd name="connsiteX3923" fmla="*/ 257269 w 9586368"/>
                <a:gd name="connsiteY3923" fmla="*/ 3842917 h 6479439"/>
                <a:gd name="connsiteX3924" fmla="*/ 253250 w 9586368"/>
                <a:gd name="connsiteY3924" fmla="*/ 3846956 h 6479439"/>
                <a:gd name="connsiteX3925" fmla="*/ 243340 w 9586368"/>
                <a:gd name="connsiteY3925" fmla="*/ 3846956 h 6479439"/>
                <a:gd name="connsiteX3926" fmla="*/ 239321 w 9586368"/>
                <a:gd name="connsiteY3926" fmla="*/ 3842917 h 6479439"/>
                <a:gd name="connsiteX3927" fmla="*/ 239321 w 9586368"/>
                <a:gd name="connsiteY3927" fmla="*/ 3833046 h 6479439"/>
                <a:gd name="connsiteX3928" fmla="*/ 4027 w 9586368"/>
                <a:gd name="connsiteY3928" fmla="*/ 3829008 h 6479439"/>
                <a:gd name="connsiteX3929" fmla="*/ 13937 w 9586368"/>
                <a:gd name="connsiteY3929" fmla="*/ 3829008 h 6479439"/>
                <a:gd name="connsiteX3930" fmla="*/ 17956 w 9586368"/>
                <a:gd name="connsiteY3930" fmla="*/ 3833046 h 6479439"/>
                <a:gd name="connsiteX3931" fmla="*/ 17956 w 9586368"/>
                <a:gd name="connsiteY3931" fmla="*/ 3842917 h 6479439"/>
                <a:gd name="connsiteX3932" fmla="*/ 13937 w 9586368"/>
                <a:gd name="connsiteY3932" fmla="*/ 3846956 h 6479439"/>
                <a:gd name="connsiteX3933" fmla="*/ 4027 w 9586368"/>
                <a:gd name="connsiteY3933" fmla="*/ 3846956 h 6479439"/>
                <a:gd name="connsiteX3934" fmla="*/ 8 w 9586368"/>
                <a:gd name="connsiteY3934" fmla="*/ 3842917 h 6479439"/>
                <a:gd name="connsiteX3935" fmla="*/ 8 w 9586368"/>
                <a:gd name="connsiteY3935" fmla="*/ 3833046 h 6479439"/>
                <a:gd name="connsiteX3936" fmla="*/ 2157820 w 9586368"/>
                <a:gd name="connsiteY3936" fmla="*/ 3589728 h 6479439"/>
                <a:gd name="connsiteX3937" fmla="*/ 2167731 w 9586368"/>
                <a:gd name="connsiteY3937" fmla="*/ 3589728 h 6479439"/>
                <a:gd name="connsiteX3938" fmla="*/ 2171749 w 9586368"/>
                <a:gd name="connsiteY3938" fmla="*/ 3593767 h 6479439"/>
                <a:gd name="connsiteX3939" fmla="*/ 2171749 w 9586368"/>
                <a:gd name="connsiteY3939" fmla="*/ 3603637 h 6479439"/>
                <a:gd name="connsiteX3940" fmla="*/ 2167731 w 9586368"/>
                <a:gd name="connsiteY3940" fmla="*/ 3607676 h 6479439"/>
                <a:gd name="connsiteX3941" fmla="*/ 2157820 w 9586368"/>
                <a:gd name="connsiteY3941" fmla="*/ 3607676 h 6479439"/>
                <a:gd name="connsiteX3942" fmla="*/ 2153801 w 9586368"/>
                <a:gd name="connsiteY3942" fmla="*/ 3603637 h 6479439"/>
                <a:gd name="connsiteX3943" fmla="*/ 2153801 w 9586368"/>
                <a:gd name="connsiteY3943" fmla="*/ 3593767 h 6479439"/>
                <a:gd name="connsiteX3944" fmla="*/ 1918511 w 9586368"/>
                <a:gd name="connsiteY3944" fmla="*/ 3589728 h 6479439"/>
                <a:gd name="connsiteX3945" fmla="*/ 1928421 w 9586368"/>
                <a:gd name="connsiteY3945" fmla="*/ 3589728 h 6479439"/>
                <a:gd name="connsiteX3946" fmla="*/ 1932441 w 9586368"/>
                <a:gd name="connsiteY3946" fmla="*/ 3593767 h 6479439"/>
                <a:gd name="connsiteX3947" fmla="*/ 1932441 w 9586368"/>
                <a:gd name="connsiteY3947" fmla="*/ 3603637 h 6479439"/>
                <a:gd name="connsiteX3948" fmla="*/ 1928421 w 9586368"/>
                <a:gd name="connsiteY3948" fmla="*/ 3607676 h 6479439"/>
                <a:gd name="connsiteX3949" fmla="*/ 1918511 w 9586368"/>
                <a:gd name="connsiteY3949" fmla="*/ 3607676 h 6479439"/>
                <a:gd name="connsiteX3950" fmla="*/ 1914493 w 9586368"/>
                <a:gd name="connsiteY3950" fmla="*/ 3603637 h 6479439"/>
                <a:gd name="connsiteX3951" fmla="*/ 1914493 w 9586368"/>
                <a:gd name="connsiteY3951" fmla="*/ 3593767 h 6479439"/>
                <a:gd name="connsiteX3952" fmla="*/ 1679209 w 9586368"/>
                <a:gd name="connsiteY3952" fmla="*/ 3589728 h 6479439"/>
                <a:gd name="connsiteX3953" fmla="*/ 1689118 w 9586368"/>
                <a:gd name="connsiteY3953" fmla="*/ 3589728 h 6479439"/>
                <a:gd name="connsiteX3954" fmla="*/ 1693138 w 9586368"/>
                <a:gd name="connsiteY3954" fmla="*/ 3593767 h 6479439"/>
                <a:gd name="connsiteX3955" fmla="*/ 1693138 w 9586368"/>
                <a:gd name="connsiteY3955" fmla="*/ 3603637 h 6479439"/>
                <a:gd name="connsiteX3956" fmla="*/ 1689118 w 9586368"/>
                <a:gd name="connsiteY3956" fmla="*/ 3607676 h 6479439"/>
                <a:gd name="connsiteX3957" fmla="*/ 1679209 w 9586368"/>
                <a:gd name="connsiteY3957" fmla="*/ 3607676 h 6479439"/>
                <a:gd name="connsiteX3958" fmla="*/ 1675190 w 9586368"/>
                <a:gd name="connsiteY3958" fmla="*/ 3603637 h 6479439"/>
                <a:gd name="connsiteX3959" fmla="*/ 1675190 w 9586368"/>
                <a:gd name="connsiteY3959" fmla="*/ 3593767 h 6479439"/>
                <a:gd name="connsiteX3960" fmla="*/ 1439892 w 9586368"/>
                <a:gd name="connsiteY3960" fmla="*/ 3589728 h 6479439"/>
                <a:gd name="connsiteX3961" fmla="*/ 1449803 w 9586368"/>
                <a:gd name="connsiteY3961" fmla="*/ 3589728 h 6479439"/>
                <a:gd name="connsiteX3962" fmla="*/ 1453822 w 9586368"/>
                <a:gd name="connsiteY3962" fmla="*/ 3593767 h 6479439"/>
                <a:gd name="connsiteX3963" fmla="*/ 1453822 w 9586368"/>
                <a:gd name="connsiteY3963" fmla="*/ 3603637 h 6479439"/>
                <a:gd name="connsiteX3964" fmla="*/ 1449803 w 9586368"/>
                <a:gd name="connsiteY3964" fmla="*/ 3607676 h 6479439"/>
                <a:gd name="connsiteX3965" fmla="*/ 1439892 w 9586368"/>
                <a:gd name="connsiteY3965" fmla="*/ 3607676 h 6479439"/>
                <a:gd name="connsiteX3966" fmla="*/ 1435874 w 9586368"/>
                <a:gd name="connsiteY3966" fmla="*/ 3603637 h 6479439"/>
                <a:gd name="connsiteX3967" fmla="*/ 1435874 w 9586368"/>
                <a:gd name="connsiteY3967" fmla="*/ 3593767 h 6479439"/>
                <a:gd name="connsiteX3968" fmla="*/ 1200577 w 9586368"/>
                <a:gd name="connsiteY3968" fmla="*/ 3589728 h 6479439"/>
                <a:gd name="connsiteX3969" fmla="*/ 1210488 w 9586368"/>
                <a:gd name="connsiteY3969" fmla="*/ 3589728 h 6479439"/>
                <a:gd name="connsiteX3970" fmla="*/ 1214506 w 9586368"/>
                <a:gd name="connsiteY3970" fmla="*/ 3593767 h 6479439"/>
                <a:gd name="connsiteX3971" fmla="*/ 1214506 w 9586368"/>
                <a:gd name="connsiteY3971" fmla="*/ 3603637 h 6479439"/>
                <a:gd name="connsiteX3972" fmla="*/ 1210488 w 9586368"/>
                <a:gd name="connsiteY3972" fmla="*/ 3607676 h 6479439"/>
                <a:gd name="connsiteX3973" fmla="*/ 1200577 w 9586368"/>
                <a:gd name="connsiteY3973" fmla="*/ 3607676 h 6479439"/>
                <a:gd name="connsiteX3974" fmla="*/ 1196559 w 9586368"/>
                <a:gd name="connsiteY3974" fmla="*/ 3603637 h 6479439"/>
                <a:gd name="connsiteX3975" fmla="*/ 1196559 w 9586368"/>
                <a:gd name="connsiteY3975" fmla="*/ 3593767 h 6479439"/>
                <a:gd name="connsiteX3976" fmla="*/ 961265 w 9586368"/>
                <a:gd name="connsiteY3976" fmla="*/ 3589728 h 6479439"/>
                <a:gd name="connsiteX3977" fmla="*/ 971175 w 9586368"/>
                <a:gd name="connsiteY3977" fmla="*/ 3589728 h 6479439"/>
                <a:gd name="connsiteX3978" fmla="*/ 975193 w 9586368"/>
                <a:gd name="connsiteY3978" fmla="*/ 3593767 h 6479439"/>
                <a:gd name="connsiteX3979" fmla="*/ 975193 w 9586368"/>
                <a:gd name="connsiteY3979" fmla="*/ 3603637 h 6479439"/>
                <a:gd name="connsiteX3980" fmla="*/ 971175 w 9586368"/>
                <a:gd name="connsiteY3980" fmla="*/ 3607676 h 6479439"/>
                <a:gd name="connsiteX3981" fmla="*/ 961265 w 9586368"/>
                <a:gd name="connsiteY3981" fmla="*/ 3607676 h 6479439"/>
                <a:gd name="connsiteX3982" fmla="*/ 957246 w 9586368"/>
                <a:gd name="connsiteY3982" fmla="*/ 3603637 h 6479439"/>
                <a:gd name="connsiteX3983" fmla="*/ 957246 w 9586368"/>
                <a:gd name="connsiteY3983" fmla="*/ 3593767 h 6479439"/>
                <a:gd name="connsiteX3984" fmla="*/ 9572438 w 9586368"/>
                <a:gd name="connsiteY3984" fmla="*/ 3589677 h 6479439"/>
                <a:gd name="connsiteX3985" fmla="*/ 9582349 w 9586368"/>
                <a:gd name="connsiteY3985" fmla="*/ 3589677 h 6479439"/>
                <a:gd name="connsiteX3986" fmla="*/ 9586368 w 9586368"/>
                <a:gd name="connsiteY3986" fmla="*/ 3593716 h 6479439"/>
                <a:gd name="connsiteX3987" fmla="*/ 9586368 w 9586368"/>
                <a:gd name="connsiteY3987" fmla="*/ 3603586 h 6479439"/>
                <a:gd name="connsiteX3988" fmla="*/ 9582349 w 9586368"/>
                <a:gd name="connsiteY3988" fmla="*/ 3607625 h 6479439"/>
                <a:gd name="connsiteX3989" fmla="*/ 9572438 w 9586368"/>
                <a:gd name="connsiteY3989" fmla="*/ 3607625 h 6479439"/>
                <a:gd name="connsiteX3990" fmla="*/ 9568419 w 9586368"/>
                <a:gd name="connsiteY3990" fmla="*/ 3603586 h 6479439"/>
                <a:gd name="connsiteX3991" fmla="*/ 9568419 w 9586368"/>
                <a:gd name="connsiteY3991" fmla="*/ 3593716 h 6479439"/>
                <a:gd name="connsiteX3992" fmla="*/ 9333125 w 9586368"/>
                <a:gd name="connsiteY3992" fmla="*/ 3589677 h 6479439"/>
                <a:gd name="connsiteX3993" fmla="*/ 9343036 w 9586368"/>
                <a:gd name="connsiteY3993" fmla="*/ 3589677 h 6479439"/>
                <a:gd name="connsiteX3994" fmla="*/ 9347055 w 9586368"/>
                <a:gd name="connsiteY3994" fmla="*/ 3593716 h 6479439"/>
                <a:gd name="connsiteX3995" fmla="*/ 9347055 w 9586368"/>
                <a:gd name="connsiteY3995" fmla="*/ 3603586 h 6479439"/>
                <a:gd name="connsiteX3996" fmla="*/ 9343036 w 9586368"/>
                <a:gd name="connsiteY3996" fmla="*/ 3607625 h 6479439"/>
                <a:gd name="connsiteX3997" fmla="*/ 9333125 w 9586368"/>
                <a:gd name="connsiteY3997" fmla="*/ 3607625 h 6479439"/>
                <a:gd name="connsiteX3998" fmla="*/ 9329106 w 9586368"/>
                <a:gd name="connsiteY3998" fmla="*/ 3603586 h 6479439"/>
                <a:gd name="connsiteX3999" fmla="*/ 9329106 w 9586368"/>
                <a:gd name="connsiteY3999" fmla="*/ 3593716 h 6479439"/>
                <a:gd name="connsiteX4000" fmla="*/ 9093811 w 9586368"/>
                <a:gd name="connsiteY4000" fmla="*/ 3589677 h 6479439"/>
                <a:gd name="connsiteX4001" fmla="*/ 9103722 w 9586368"/>
                <a:gd name="connsiteY4001" fmla="*/ 3589677 h 6479439"/>
                <a:gd name="connsiteX4002" fmla="*/ 9107741 w 9586368"/>
                <a:gd name="connsiteY4002" fmla="*/ 3593716 h 6479439"/>
                <a:gd name="connsiteX4003" fmla="*/ 9107741 w 9586368"/>
                <a:gd name="connsiteY4003" fmla="*/ 3603586 h 6479439"/>
                <a:gd name="connsiteX4004" fmla="*/ 9103722 w 9586368"/>
                <a:gd name="connsiteY4004" fmla="*/ 3607625 h 6479439"/>
                <a:gd name="connsiteX4005" fmla="*/ 9093811 w 9586368"/>
                <a:gd name="connsiteY4005" fmla="*/ 3607625 h 6479439"/>
                <a:gd name="connsiteX4006" fmla="*/ 9089792 w 9586368"/>
                <a:gd name="connsiteY4006" fmla="*/ 3603586 h 6479439"/>
                <a:gd name="connsiteX4007" fmla="*/ 9089792 w 9586368"/>
                <a:gd name="connsiteY4007" fmla="*/ 3593716 h 6479439"/>
                <a:gd name="connsiteX4008" fmla="*/ 8854496 w 9586368"/>
                <a:gd name="connsiteY4008" fmla="*/ 3589677 h 6479439"/>
                <a:gd name="connsiteX4009" fmla="*/ 8864407 w 9586368"/>
                <a:gd name="connsiteY4009" fmla="*/ 3589677 h 6479439"/>
                <a:gd name="connsiteX4010" fmla="*/ 8868426 w 9586368"/>
                <a:gd name="connsiteY4010" fmla="*/ 3593716 h 6479439"/>
                <a:gd name="connsiteX4011" fmla="*/ 8868426 w 9586368"/>
                <a:gd name="connsiteY4011" fmla="*/ 3603586 h 6479439"/>
                <a:gd name="connsiteX4012" fmla="*/ 8864407 w 9586368"/>
                <a:gd name="connsiteY4012" fmla="*/ 3607625 h 6479439"/>
                <a:gd name="connsiteX4013" fmla="*/ 8854496 w 9586368"/>
                <a:gd name="connsiteY4013" fmla="*/ 3607625 h 6479439"/>
                <a:gd name="connsiteX4014" fmla="*/ 8850477 w 9586368"/>
                <a:gd name="connsiteY4014" fmla="*/ 3603586 h 6479439"/>
                <a:gd name="connsiteX4015" fmla="*/ 8850477 w 9586368"/>
                <a:gd name="connsiteY4015" fmla="*/ 3593716 h 6479439"/>
                <a:gd name="connsiteX4016" fmla="*/ 8615184 w 9586368"/>
                <a:gd name="connsiteY4016" fmla="*/ 3589677 h 6479439"/>
                <a:gd name="connsiteX4017" fmla="*/ 8625095 w 9586368"/>
                <a:gd name="connsiteY4017" fmla="*/ 3589677 h 6479439"/>
                <a:gd name="connsiteX4018" fmla="*/ 8629114 w 9586368"/>
                <a:gd name="connsiteY4018" fmla="*/ 3593716 h 6479439"/>
                <a:gd name="connsiteX4019" fmla="*/ 8629114 w 9586368"/>
                <a:gd name="connsiteY4019" fmla="*/ 3603586 h 6479439"/>
                <a:gd name="connsiteX4020" fmla="*/ 8625095 w 9586368"/>
                <a:gd name="connsiteY4020" fmla="*/ 3607625 h 6479439"/>
                <a:gd name="connsiteX4021" fmla="*/ 8615184 w 9586368"/>
                <a:gd name="connsiteY4021" fmla="*/ 3607625 h 6479439"/>
                <a:gd name="connsiteX4022" fmla="*/ 8611165 w 9586368"/>
                <a:gd name="connsiteY4022" fmla="*/ 3603586 h 6479439"/>
                <a:gd name="connsiteX4023" fmla="*/ 8611165 w 9586368"/>
                <a:gd name="connsiteY4023" fmla="*/ 3593716 h 6479439"/>
                <a:gd name="connsiteX4024" fmla="*/ 8375869 w 9586368"/>
                <a:gd name="connsiteY4024" fmla="*/ 3589677 h 6479439"/>
                <a:gd name="connsiteX4025" fmla="*/ 8385779 w 9586368"/>
                <a:gd name="connsiteY4025" fmla="*/ 3589677 h 6479439"/>
                <a:gd name="connsiteX4026" fmla="*/ 8389799 w 9586368"/>
                <a:gd name="connsiteY4026" fmla="*/ 3593716 h 6479439"/>
                <a:gd name="connsiteX4027" fmla="*/ 8389799 w 9586368"/>
                <a:gd name="connsiteY4027" fmla="*/ 3603586 h 6479439"/>
                <a:gd name="connsiteX4028" fmla="*/ 8385779 w 9586368"/>
                <a:gd name="connsiteY4028" fmla="*/ 3607625 h 6479439"/>
                <a:gd name="connsiteX4029" fmla="*/ 8375869 w 9586368"/>
                <a:gd name="connsiteY4029" fmla="*/ 3607625 h 6479439"/>
                <a:gd name="connsiteX4030" fmla="*/ 8371850 w 9586368"/>
                <a:gd name="connsiteY4030" fmla="*/ 3603586 h 6479439"/>
                <a:gd name="connsiteX4031" fmla="*/ 8371850 w 9586368"/>
                <a:gd name="connsiteY4031" fmla="*/ 3593716 h 6479439"/>
                <a:gd name="connsiteX4032" fmla="*/ 8136553 w 9586368"/>
                <a:gd name="connsiteY4032" fmla="*/ 3589677 h 6479439"/>
                <a:gd name="connsiteX4033" fmla="*/ 8146464 w 9586368"/>
                <a:gd name="connsiteY4033" fmla="*/ 3589677 h 6479439"/>
                <a:gd name="connsiteX4034" fmla="*/ 8150483 w 9586368"/>
                <a:gd name="connsiteY4034" fmla="*/ 3593716 h 6479439"/>
                <a:gd name="connsiteX4035" fmla="*/ 8150483 w 9586368"/>
                <a:gd name="connsiteY4035" fmla="*/ 3603586 h 6479439"/>
                <a:gd name="connsiteX4036" fmla="*/ 8146464 w 9586368"/>
                <a:gd name="connsiteY4036" fmla="*/ 3607625 h 6479439"/>
                <a:gd name="connsiteX4037" fmla="*/ 8136553 w 9586368"/>
                <a:gd name="connsiteY4037" fmla="*/ 3607625 h 6479439"/>
                <a:gd name="connsiteX4038" fmla="*/ 8132534 w 9586368"/>
                <a:gd name="connsiteY4038" fmla="*/ 3603586 h 6479439"/>
                <a:gd name="connsiteX4039" fmla="*/ 8132534 w 9586368"/>
                <a:gd name="connsiteY4039" fmla="*/ 3593716 h 6479439"/>
                <a:gd name="connsiteX4040" fmla="*/ 7897241 w 9586368"/>
                <a:gd name="connsiteY4040" fmla="*/ 3589677 h 6479439"/>
                <a:gd name="connsiteX4041" fmla="*/ 7907151 w 9586368"/>
                <a:gd name="connsiteY4041" fmla="*/ 3589677 h 6479439"/>
                <a:gd name="connsiteX4042" fmla="*/ 7911170 w 9586368"/>
                <a:gd name="connsiteY4042" fmla="*/ 3593716 h 6479439"/>
                <a:gd name="connsiteX4043" fmla="*/ 7911170 w 9586368"/>
                <a:gd name="connsiteY4043" fmla="*/ 3603586 h 6479439"/>
                <a:gd name="connsiteX4044" fmla="*/ 7907151 w 9586368"/>
                <a:gd name="connsiteY4044" fmla="*/ 3607625 h 6479439"/>
                <a:gd name="connsiteX4045" fmla="*/ 7897241 w 9586368"/>
                <a:gd name="connsiteY4045" fmla="*/ 3607625 h 6479439"/>
                <a:gd name="connsiteX4046" fmla="*/ 7893222 w 9586368"/>
                <a:gd name="connsiteY4046" fmla="*/ 3603586 h 6479439"/>
                <a:gd name="connsiteX4047" fmla="*/ 7893222 w 9586368"/>
                <a:gd name="connsiteY4047" fmla="*/ 3593716 h 6479439"/>
                <a:gd name="connsiteX4048" fmla="*/ 7657926 w 9586368"/>
                <a:gd name="connsiteY4048" fmla="*/ 3589677 h 6479439"/>
                <a:gd name="connsiteX4049" fmla="*/ 7667836 w 9586368"/>
                <a:gd name="connsiteY4049" fmla="*/ 3589677 h 6479439"/>
                <a:gd name="connsiteX4050" fmla="*/ 7671855 w 9586368"/>
                <a:gd name="connsiteY4050" fmla="*/ 3593716 h 6479439"/>
                <a:gd name="connsiteX4051" fmla="*/ 7671855 w 9586368"/>
                <a:gd name="connsiteY4051" fmla="*/ 3603586 h 6479439"/>
                <a:gd name="connsiteX4052" fmla="*/ 7667836 w 9586368"/>
                <a:gd name="connsiteY4052" fmla="*/ 3607625 h 6479439"/>
                <a:gd name="connsiteX4053" fmla="*/ 7657926 w 9586368"/>
                <a:gd name="connsiteY4053" fmla="*/ 3607625 h 6479439"/>
                <a:gd name="connsiteX4054" fmla="*/ 7653906 w 9586368"/>
                <a:gd name="connsiteY4054" fmla="*/ 3603586 h 6479439"/>
                <a:gd name="connsiteX4055" fmla="*/ 7653906 w 9586368"/>
                <a:gd name="connsiteY4055" fmla="*/ 3593716 h 6479439"/>
                <a:gd name="connsiteX4056" fmla="*/ 7418611 w 9586368"/>
                <a:gd name="connsiteY4056" fmla="*/ 3589677 h 6479439"/>
                <a:gd name="connsiteX4057" fmla="*/ 7428521 w 9586368"/>
                <a:gd name="connsiteY4057" fmla="*/ 3589677 h 6479439"/>
                <a:gd name="connsiteX4058" fmla="*/ 7432540 w 9586368"/>
                <a:gd name="connsiteY4058" fmla="*/ 3593716 h 6479439"/>
                <a:gd name="connsiteX4059" fmla="*/ 7432540 w 9586368"/>
                <a:gd name="connsiteY4059" fmla="*/ 3603586 h 6479439"/>
                <a:gd name="connsiteX4060" fmla="*/ 7428521 w 9586368"/>
                <a:gd name="connsiteY4060" fmla="*/ 3607625 h 6479439"/>
                <a:gd name="connsiteX4061" fmla="*/ 7418611 w 9586368"/>
                <a:gd name="connsiteY4061" fmla="*/ 3607625 h 6479439"/>
                <a:gd name="connsiteX4062" fmla="*/ 7414592 w 9586368"/>
                <a:gd name="connsiteY4062" fmla="*/ 3603586 h 6479439"/>
                <a:gd name="connsiteX4063" fmla="*/ 7414592 w 9586368"/>
                <a:gd name="connsiteY4063" fmla="*/ 3593716 h 6479439"/>
                <a:gd name="connsiteX4064" fmla="*/ 7179298 w 9586368"/>
                <a:gd name="connsiteY4064" fmla="*/ 3589677 h 6479439"/>
                <a:gd name="connsiteX4065" fmla="*/ 7189209 w 9586368"/>
                <a:gd name="connsiteY4065" fmla="*/ 3589677 h 6479439"/>
                <a:gd name="connsiteX4066" fmla="*/ 7193228 w 9586368"/>
                <a:gd name="connsiteY4066" fmla="*/ 3593716 h 6479439"/>
                <a:gd name="connsiteX4067" fmla="*/ 7193228 w 9586368"/>
                <a:gd name="connsiteY4067" fmla="*/ 3603586 h 6479439"/>
                <a:gd name="connsiteX4068" fmla="*/ 7189209 w 9586368"/>
                <a:gd name="connsiteY4068" fmla="*/ 3607625 h 6479439"/>
                <a:gd name="connsiteX4069" fmla="*/ 7179298 w 9586368"/>
                <a:gd name="connsiteY4069" fmla="*/ 3607625 h 6479439"/>
                <a:gd name="connsiteX4070" fmla="*/ 7175279 w 9586368"/>
                <a:gd name="connsiteY4070" fmla="*/ 3603586 h 6479439"/>
                <a:gd name="connsiteX4071" fmla="*/ 7175279 w 9586368"/>
                <a:gd name="connsiteY4071" fmla="*/ 3593716 h 6479439"/>
                <a:gd name="connsiteX4072" fmla="*/ 6939983 w 9586368"/>
                <a:gd name="connsiteY4072" fmla="*/ 3589677 h 6479439"/>
                <a:gd name="connsiteX4073" fmla="*/ 6949894 w 9586368"/>
                <a:gd name="connsiteY4073" fmla="*/ 3589677 h 6479439"/>
                <a:gd name="connsiteX4074" fmla="*/ 6953913 w 9586368"/>
                <a:gd name="connsiteY4074" fmla="*/ 3593716 h 6479439"/>
                <a:gd name="connsiteX4075" fmla="*/ 6953913 w 9586368"/>
                <a:gd name="connsiteY4075" fmla="*/ 3603586 h 6479439"/>
                <a:gd name="connsiteX4076" fmla="*/ 6949894 w 9586368"/>
                <a:gd name="connsiteY4076" fmla="*/ 3607625 h 6479439"/>
                <a:gd name="connsiteX4077" fmla="*/ 6939983 w 9586368"/>
                <a:gd name="connsiteY4077" fmla="*/ 3607625 h 6479439"/>
                <a:gd name="connsiteX4078" fmla="*/ 6935964 w 9586368"/>
                <a:gd name="connsiteY4078" fmla="*/ 3603586 h 6479439"/>
                <a:gd name="connsiteX4079" fmla="*/ 6935964 w 9586368"/>
                <a:gd name="connsiteY4079" fmla="*/ 3593716 h 6479439"/>
                <a:gd name="connsiteX4080" fmla="*/ 6700670 w 9586368"/>
                <a:gd name="connsiteY4080" fmla="*/ 3589677 h 6479439"/>
                <a:gd name="connsiteX4081" fmla="*/ 6710581 w 9586368"/>
                <a:gd name="connsiteY4081" fmla="*/ 3589677 h 6479439"/>
                <a:gd name="connsiteX4082" fmla="*/ 6714600 w 9586368"/>
                <a:gd name="connsiteY4082" fmla="*/ 3593716 h 6479439"/>
                <a:gd name="connsiteX4083" fmla="*/ 6714600 w 9586368"/>
                <a:gd name="connsiteY4083" fmla="*/ 3603586 h 6479439"/>
                <a:gd name="connsiteX4084" fmla="*/ 6710581 w 9586368"/>
                <a:gd name="connsiteY4084" fmla="*/ 3607625 h 6479439"/>
                <a:gd name="connsiteX4085" fmla="*/ 6700670 w 9586368"/>
                <a:gd name="connsiteY4085" fmla="*/ 3607625 h 6479439"/>
                <a:gd name="connsiteX4086" fmla="*/ 6696651 w 9586368"/>
                <a:gd name="connsiteY4086" fmla="*/ 3603586 h 6479439"/>
                <a:gd name="connsiteX4087" fmla="*/ 6696651 w 9586368"/>
                <a:gd name="connsiteY4087" fmla="*/ 3593716 h 6479439"/>
                <a:gd name="connsiteX4088" fmla="*/ 6461356 w 9586368"/>
                <a:gd name="connsiteY4088" fmla="*/ 3589677 h 6479439"/>
                <a:gd name="connsiteX4089" fmla="*/ 6471266 w 9586368"/>
                <a:gd name="connsiteY4089" fmla="*/ 3589677 h 6479439"/>
                <a:gd name="connsiteX4090" fmla="*/ 6475285 w 9586368"/>
                <a:gd name="connsiteY4090" fmla="*/ 3593716 h 6479439"/>
                <a:gd name="connsiteX4091" fmla="*/ 6475285 w 9586368"/>
                <a:gd name="connsiteY4091" fmla="*/ 3603586 h 6479439"/>
                <a:gd name="connsiteX4092" fmla="*/ 6471266 w 9586368"/>
                <a:gd name="connsiteY4092" fmla="*/ 3607625 h 6479439"/>
                <a:gd name="connsiteX4093" fmla="*/ 6461356 w 9586368"/>
                <a:gd name="connsiteY4093" fmla="*/ 3607625 h 6479439"/>
                <a:gd name="connsiteX4094" fmla="*/ 6457337 w 9586368"/>
                <a:gd name="connsiteY4094" fmla="*/ 3603586 h 6479439"/>
                <a:gd name="connsiteX4095" fmla="*/ 6457337 w 9586368"/>
                <a:gd name="connsiteY4095" fmla="*/ 3593716 h 6479439"/>
                <a:gd name="connsiteX4096" fmla="*/ 6222042 w 9586368"/>
                <a:gd name="connsiteY4096" fmla="*/ 3589677 h 6479439"/>
                <a:gd name="connsiteX4097" fmla="*/ 6231952 w 9586368"/>
                <a:gd name="connsiteY4097" fmla="*/ 3589677 h 6479439"/>
                <a:gd name="connsiteX4098" fmla="*/ 6235971 w 9586368"/>
                <a:gd name="connsiteY4098" fmla="*/ 3593716 h 6479439"/>
                <a:gd name="connsiteX4099" fmla="*/ 6235971 w 9586368"/>
                <a:gd name="connsiteY4099" fmla="*/ 3603586 h 6479439"/>
                <a:gd name="connsiteX4100" fmla="*/ 6231952 w 9586368"/>
                <a:gd name="connsiteY4100" fmla="*/ 3607625 h 6479439"/>
                <a:gd name="connsiteX4101" fmla="*/ 6222042 w 9586368"/>
                <a:gd name="connsiteY4101" fmla="*/ 3607625 h 6479439"/>
                <a:gd name="connsiteX4102" fmla="*/ 6218023 w 9586368"/>
                <a:gd name="connsiteY4102" fmla="*/ 3603586 h 6479439"/>
                <a:gd name="connsiteX4103" fmla="*/ 6218023 w 9586368"/>
                <a:gd name="connsiteY4103" fmla="*/ 3593716 h 6479439"/>
                <a:gd name="connsiteX4104" fmla="*/ 5982729 w 9586368"/>
                <a:gd name="connsiteY4104" fmla="*/ 3589677 h 6479439"/>
                <a:gd name="connsiteX4105" fmla="*/ 5992639 w 9586368"/>
                <a:gd name="connsiteY4105" fmla="*/ 3589677 h 6479439"/>
                <a:gd name="connsiteX4106" fmla="*/ 5996658 w 9586368"/>
                <a:gd name="connsiteY4106" fmla="*/ 3593716 h 6479439"/>
                <a:gd name="connsiteX4107" fmla="*/ 5996658 w 9586368"/>
                <a:gd name="connsiteY4107" fmla="*/ 3603586 h 6479439"/>
                <a:gd name="connsiteX4108" fmla="*/ 5992639 w 9586368"/>
                <a:gd name="connsiteY4108" fmla="*/ 3607625 h 6479439"/>
                <a:gd name="connsiteX4109" fmla="*/ 5982729 w 9586368"/>
                <a:gd name="connsiteY4109" fmla="*/ 3607625 h 6479439"/>
                <a:gd name="connsiteX4110" fmla="*/ 5978710 w 9586368"/>
                <a:gd name="connsiteY4110" fmla="*/ 3603586 h 6479439"/>
                <a:gd name="connsiteX4111" fmla="*/ 5978710 w 9586368"/>
                <a:gd name="connsiteY4111" fmla="*/ 3593716 h 6479439"/>
                <a:gd name="connsiteX4112" fmla="*/ 5743412 w 9586368"/>
                <a:gd name="connsiteY4112" fmla="*/ 3589677 h 6479439"/>
                <a:gd name="connsiteX4113" fmla="*/ 5753323 w 9586368"/>
                <a:gd name="connsiteY4113" fmla="*/ 3589677 h 6479439"/>
                <a:gd name="connsiteX4114" fmla="*/ 5757342 w 9586368"/>
                <a:gd name="connsiteY4114" fmla="*/ 3593716 h 6479439"/>
                <a:gd name="connsiteX4115" fmla="*/ 5757342 w 9586368"/>
                <a:gd name="connsiteY4115" fmla="*/ 3603586 h 6479439"/>
                <a:gd name="connsiteX4116" fmla="*/ 5753323 w 9586368"/>
                <a:gd name="connsiteY4116" fmla="*/ 3607625 h 6479439"/>
                <a:gd name="connsiteX4117" fmla="*/ 5743412 w 9586368"/>
                <a:gd name="connsiteY4117" fmla="*/ 3607625 h 6479439"/>
                <a:gd name="connsiteX4118" fmla="*/ 5739393 w 9586368"/>
                <a:gd name="connsiteY4118" fmla="*/ 3603586 h 6479439"/>
                <a:gd name="connsiteX4119" fmla="*/ 5739393 w 9586368"/>
                <a:gd name="connsiteY4119" fmla="*/ 3593716 h 6479439"/>
                <a:gd name="connsiteX4120" fmla="*/ 5504099 w 9586368"/>
                <a:gd name="connsiteY4120" fmla="*/ 3589677 h 6479439"/>
                <a:gd name="connsiteX4121" fmla="*/ 5514010 w 9586368"/>
                <a:gd name="connsiteY4121" fmla="*/ 3589677 h 6479439"/>
                <a:gd name="connsiteX4122" fmla="*/ 5518029 w 9586368"/>
                <a:gd name="connsiteY4122" fmla="*/ 3593716 h 6479439"/>
                <a:gd name="connsiteX4123" fmla="*/ 5518029 w 9586368"/>
                <a:gd name="connsiteY4123" fmla="*/ 3603586 h 6479439"/>
                <a:gd name="connsiteX4124" fmla="*/ 5514010 w 9586368"/>
                <a:gd name="connsiteY4124" fmla="*/ 3607625 h 6479439"/>
                <a:gd name="connsiteX4125" fmla="*/ 5504099 w 9586368"/>
                <a:gd name="connsiteY4125" fmla="*/ 3607625 h 6479439"/>
                <a:gd name="connsiteX4126" fmla="*/ 5500080 w 9586368"/>
                <a:gd name="connsiteY4126" fmla="*/ 3603586 h 6479439"/>
                <a:gd name="connsiteX4127" fmla="*/ 5500080 w 9586368"/>
                <a:gd name="connsiteY4127" fmla="*/ 3593716 h 6479439"/>
                <a:gd name="connsiteX4128" fmla="*/ 5264784 w 9586368"/>
                <a:gd name="connsiteY4128" fmla="*/ 3589677 h 6479439"/>
                <a:gd name="connsiteX4129" fmla="*/ 5274694 w 9586368"/>
                <a:gd name="connsiteY4129" fmla="*/ 3589677 h 6479439"/>
                <a:gd name="connsiteX4130" fmla="*/ 5278713 w 9586368"/>
                <a:gd name="connsiteY4130" fmla="*/ 3593716 h 6479439"/>
                <a:gd name="connsiteX4131" fmla="*/ 5278713 w 9586368"/>
                <a:gd name="connsiteY4131" fmla="*/ 3603586 h 6479439"/>
                <a:gd name="connsiteX4132" fmla="*/ 5274694 w 9586368"/>
                <a:gd name="connsiteY4132" fmla="*/ 3607625 h 6479439"/>
                <a:gd name="connsiteX4133" fmla="*/ 5264784 w 9586368"/>
                <a:gd name="connsiteY4133" fmla="*/ 3607625 h 6479439"/>
                <a:gd name="connsiteX4134" fmla="*/ 5260765 w 9586368"/>
                <a:gd name="connsiteY4134" fmla="*/ 3603586 h 6479439"/>
                <a:gd name="connsiteX4135" fmla="*/ 5260765 w 9586368"/>
                <a:gd name="connsiteY4135" fmla="*/ 3593716 h 6479439"/>
                <a:gd name="connsiteX4136" fmla="*/ 5025470 w 9586368"/>
                <a:gd name="connsiteY4136" fmla="*/ 3589677 h 6479439"/>
                <a:gd name="connsiteX4137" fmla="*/ 5035381 w 9586368"/>
                <a:gd name="connsiteY4137" fmla="*/ 3589677 h 6479439"/>
                <a:gd name="connsiteX4138" fmla="*/ 5039400 w 9586368"/>
                <a:gd name="connsiteY4138" fmla="*/ 3593716 h 6479439"/>
                <a:gd name="connsiteX4139" fmla="*/ 5039400 w 9586368"/>
                <a:gd name="connsiteY4139" fmla="*/ 3603586 h 6479439"/>
                <a:gd name="connsiteX4140" fmla="*/ 5035381 w 9586368"/>
                <a:gd name="connsiteY4140" fmla="*/ 3607625 h 6479439"/>
                <a:gd name="connsiteX4141" fmla="*/ 5025470 w 9586368"/>
                <a:gd name="connsiteY4141" fmla="*/ 3607625 h 6479439"/>
                <a:gd name="connsiteX4142" fmla="*/ 5021451 w 9586368"/>
                <a:gd name="connsiteY4142" fmla="*/ 3603586 h 6479439"/>
                <a:gd name="connsiteX4143" fmla="*/ 5021451 w 9586368"/>
                <a:gd name="connsiteY4143" fmla="*/ 3593716 h 6479439"/>
                <a:gd name="connsiteX4144" fmla="*/ 4786241 w 9586368"/>
                <a:gd name="connsiteY4144" fmla="*/ 3589677 h 6479439"/>
                <a:gd name="connsiteX4145" fmla="*/ 4796152 w 9586368"/>
                <a:gd name="connsiteY4145" fmla="*/ 3589677 h 6479439"/>
                <a:gd name="connsiteX4146" fmla="*/ 4800171 w 9586368"/>
                <a:gd name="connsiteY4146" fmla="*/ 3593716 h 6479439"/>
                <a:gd name="connsiteX4147" fmla="*/ 4800171 w 9586368"/>
                <a:gd name="connsiteY4147" fmla="*/ 3603586 h 6479439"/>
                <a:gd name="connsiteX4148" fmla="*/ 4796152 w 9586368"/>
                <a:gd name="connsiteY4148" fmla="*/ 3607625 h 6479439"/>
                <a:gd name="connsiteX4149" fmla="*/ 4786241 w 9586368"/>
                <a:gd name="connsiteY4149" fmla="*/ 3607625 h 6479439"/>
                <a:gd name="connsiteX4150" fmla="*/ 4782224 w 9586368"/>
                <a:gd name="connsiteY4150" fmla="*/ 3603586 h 6479439"/>
                <a:gd name="connsiteX4151" fmla="*/ 4782224 w 9586368"/>
                <a:gd name="connsiteY4151" fmla="*/ 3593716 h 6479439"/>
                <a:gd name="connsiteX4152" fmla="*/ 4546929 w 9586368"/>
                <a:gd name="connsiteY4152" fmla="*/ 3589677 h 6479439"/>
                <a:gd name="connsiteX4153" fmla="*/ 4556840 w 9586368"/>
                <a:gd name="connsiteY4153" fmla="*/ 3589677 h 6479439"/>
                <a:gd name="connsiteX4154" fmla="*/ 4560859 w 9586368"/>
                <a:gd name="connsiteY4154" fmla="*/ 3593716 h 6479439"/>
                <a:gd name="connsiteX4155" fmla="*/ 4560859 w 9586368"/>
                <a:gd name="connsiteY4155" fmla="*/ 3603586 h 6479439"/>
                <a:gd name="connsiteX4156" fmla="*/ 4556840 w 9586368"/>
                <a:gd name="connsiteY4156" fmla="*/ 3607625 h 6479439"/>
                <a:gd name="connsiteX4157" fmla="*/ 4546929 w 9586368"/>
                <a:gd name="connsiteY4157" fmla="*/ 3607625 h 6479439"/>
                <a:gd name="connsiteX4158" fmla="*/ 4542910 w 9586368"/>
                <a:gd name="connsiteY4158" fmla="*/ 3603586 h 6479439"/>
                <a:gd name="connsiteX4159" fmla="*/ 4542910 w 9586368"/>
                <a:gd name="connsiteY4159" fmla="*/ 3593716 h 6479439"/>
                <a:gd name="connsiteX4160" fmla="*/ 4307612 w 9586368"/>
                <a:gd name="connsiteY4160" fmla="*/ 3589677 h 6479439"/>
                <a:gd name="connsiteX4161" fmla="*/ 4317523 w 9586368"/>
                <a:gd name="connsiteY4161" fmla="*/ 3589677 h 6479439"/>
                <a:gd name="connsiteX4162" fmla="*/ 4321543 w 9586368"/>
                <a:gd name="connsiteY4162" fmla="*/ 3593716 h 6479439"/>
                <a:gd name="connsiteX4163" fmla="*/ 4321543 w 9586368"/>
                <a:gd name="connsiteY4163" fmla="*/ 3603586 h 6479439"/>
                <a:gd name="connsiteX4164" fmla="*/ 4317523 w 9586368"/>
                <a:gd name="connsiteY4164" fmla="*/ 3607625 h 6479439"/>
                <a:gd name="connsiteX4165" fmla="*/ 4307612 w 9586368"/>
                <a:gd name="connsiteY4165" fmla="*/ 3607625 h 6479439"/>
                <a:gd name="connsiteX4166" fmla="*/ 4303595 w 9586368"/>
                <a:gd name="connsiteY4166" fmla="*/ 3603586 h 6479439"/>
                <a:gd name="connsiteX4167" fmla="*/ 4303595 w 9586368"/>
                <a:gd name="connsiteY4167" fmla="*/ 3593716 h 6479439"/>
                <a:gd name="connsiteX4168" fmla="*/ 4068297 w 9586368"/>
                <a:gd name="connsiteY4168" fmla="*/ 3589677 h 6479439"/>
                <a:gd name="connsiteX4169" fmla="*/ 4078210 w 9586368"/>
                <a:gd name="connsiteY4169" fmla="*/ 3589677 h 6479439"/>
                <a:gd name="connsiteX4170" fmla="*/ 4082229 w 9586368"/>
                <a:gd name="connsiteY4170" fmla="*/ 3593716 h 6479439"/>
                <a:gd name="connsiteX4171" fmla="*/ 4082229 w 9586368"/>
                <a:gd name="connsiteY4171" fmla="*/ 3603586 h 6479439"/>
                <a:gd name="connsiteX4172" fmla="*/ 4078210 w 9586368"/>
                <a:gd name="connsiteY4172" fmla="*/ 3607625 h 6479439"/>
                <a:gd name="connsiteX4173" fmla="*/ 4068297 w 9586368"/>
                <a:gd name="connsiteY4173" fmla="*/ 3607625 h 6479439"/>
                <a:gd name="connsiteX4174" fmla="*/ 4064278 w 9586368"/>
                <a:gd name="connsiteY4174" fmla="*/ 3603586 h 6479439"/>
                <a:gd name="connsiteX4175" fmla="*/ 4064278 w 9586368"/>
                <a:gd name="connsiteY4175" fmla="*/ 3593716 h 6479439"/>
                <a:gd name="connsiteX4176" fmla="*/ 3828990 w 9586368"/>
                <a:gd name="connsiteY4176" fmla="*/ 3589677 h 6479439"/>
                <a:gd name="connsiteX4177" fmla="*/ 3838899 w 9586368"/>
                <a:gd name="connsiteY4177" fmla="*/ 3589677 h 6479439"/>
                <a:gd name="connsiteX4178" fmla="*/ 3842917 w 9586368"/>
                <a:gd name="connsiteY4178" fmla="*/ 3593716 h 6479439"/>
                <a:gd name="connsiteX4179" fmla="*/ 3842917 w 9586368"/>
                <a:gd name="connsiteY4179" fmla="*/ 3603586 h 6479439"/>
                <a:gd name="connsiteX4180" fmla="*/ 3838899 w 9586368"/>
                <a:gd name="connsiteY4180" fmla="*/ 3607625 h 6479439"/>
                <a:gd name="connsiteX4181" fmla="*/ 3828990 w 9586368"/>
                <a:gd name="connsiteY4181" fmla="*/ 3607625 h 6479439"/>
                <a:gd name="connsiteX4182" fmla="*/ 3824971 w 9586368"/>
                <a:gd name="connsiteY4182" fmla="*/ 3603586 h 6479439"/>
                <a:gd name="connsiteX4183" fmla="*/ 3824971 w 9586368"/>
                <a:gd name="connsiteY4183" fmla="*/ 3593716 h 6479439"/>
                <a:gd name="connsiteX4184" fmla="*/ 3589676 w 9586368"/>
                <a:gd name="connsiteY4184" fmla="*/ 3589677 h 6479439"/>
                <a:gd name="connsiteX4185" fmla="*/ 3599585 w 9586368"/>
                <a:gd name="connsiteY4185" fmla="*/ 3589677 h 6479439"/>
                <a:gd name="connsiteX4186" fmla="*/ 3603604 w 9586368"/>
                <a:gd name="connsiteY4186" fmla="*/ 3593716 h 6479439"/>
                <a:gd name="connsiteX4187" fmla="*/ 3603604 w 9586368"/>
                <a:gd name="connsiteY4187" fmla="*/ 3603586 h 6479439"/>
                <a:gd name="connsiteX4188" fmla="*/ 3599585 w 9586368"/>
                <a:gd name="connsiteY4188" fmla="*/ 3607625 h 6479439"/>
                <a:gd name="connsiteX4189" fmla="*/ 3589676 w 9586368"/>
                <a:gd name="connsiteY4189" fmla="*/ 3607625 h 6479439"/>
                <a:gd name="connsiteX4190" fmla="*/ 3585657 w 9586368"/>
                <a:gd name="connsiteY4190" fmla="*/ 3603586 h 6479439"/>
                <a:gd name="connsiteX4191" fmla="*/ 3585657 w 9586368"/>
                <a:gd name="connsiteY4191" fmla="*/ 3593716 h 6479439"/>
                <a:gd name="connsiteX4192" fmla="*/ 3350359 w 9586368"/>
                <a:gd name="connsiteY4192" fmla="*/ 3589677 h 6479439"/>
                <a:gd name="connsiteX4193" fmla="*/ 3360268 w 9586368"/>
                <a:gd name="connsiteY4193" fmla="*/ 3589677 h 6479439"/>
                <a:gd name="connsiteX4194" fmla="*/ 3364287 w 9586368"/>
                <a:gd name="connsiteY4194" fmla="*/ 3593716 h 6479439"/>
                <a:gd name="connsiteX4195" fmla="*/ 3364287 w 9586368"/>
                <a:gd name="connsiteY4195" fmla="*/ 3603586 h 6479439"/>
                <a:gd name="connsiteX4196" fmla="*/ 3360268 w 9586368"/>
                <a:gd name="connsiteY4196" fmla="*/ 3607625 h 6479439"/>
                <a:gd name="connsiteX4197" fmla="*/ 3350359 w 9586368"/>
                <a:gd name="connsiteY4197" fmla="*/ 3607625 h 6479439"/>
                <a:gd name="connsiteX4198" fmla="*/ 3346340 w 9586368"/>
                <a:gd name="connsiteY4198" fmla="*/ 3603586 h 6479439"/>
                <a:gd name="connsiteX4199" fmla="*/ 3346340 w 9586368"/>
                <a:gd name="connsiteY4199" fmla="*/ 3593716 h 6479439"/>
                <a:gd name="connsiteX4200" fmla="*/ 3111048 w 9586368"/>
                <a:gd name="connsiteY4200" fmla="*/ 3589677 h 6479439"/>
                <a:gd name="connsiteX4201" fmla="*/ 3120959 w 9586368"/>
                <a:gd name="connsiteY4201" fmla="*/ 3589677 h 6479439"/>
                <a:gd name="connsiteX4202" fmla="*/ 3124977 w 9586368"/>
                <a:gd name="connsiteY4202" fmla="*/ 3593716 h 6479439"/>
                <a:gd name="connsiteX4203" fmla="*/ 3124977 w 9586368"/>
                <a:gd name="connsiteY4203" fmla="*/ 3603586 h 6479439"/>
                <a:gd name="connsiteX4204" fmla="*/ 3120959 w 9586368"/>
                <a:gd name="connsiteY4204" fmla="*/ 3607625 h 6479439"/>
                <a:gd name="connsiteX4205" fmla="*/ 3111048 w 9586368"/>
                <a:gd name="connsiteY4205" fmla="*/ 3607625 h 6479439"/>
                <a:gd name="connsiteX4206" fmla="*/ 3107029 w 9586368"/>
                <a:gd name="connsiteY4206" fmla="*/ 3603586 h 6479439"/>
                <a:gd name="connsiteX4207" fmla="*/ 3107029 w 9586368"/>
                <a:gd name="connsiteY4207" fmla="*/ 3593716 h 6479439"/>
                <a:gd name="connsiteX4208" fmla="*/ 2871737 w 9586368"/>
                <a:gd name="connsiteY4208" fmla="*/ 3589677 h 6479439"/>
                <a:gd name="connsiteX4209" fmla="*/ 2881646 w 9586368"/>
                <a:gd name="connsiteY4209" fmla="*/ 3589677 h 6479439"/>
                <a:gd name="connsiteX4210" fmla="*/ 2885666 w 9586368"/>
                <a:gd name="connsiteY4210" fmla="*/ 3593716 h 6479439"/>
                <a:gd name="connsiteX4211" fmla="*/ 2885666 w 9586368"/>
                <a:gd name="connsiteY4211" fmla="*/ 3603586 h 6479439"/>
                <a:gd name="connsiteX4212" fmla="*/ 2881646 w 9586368"/>
                <a:gd name="connsiteY4212" fmla="*/ 3607625 h 6479439"/>
                <a:gd name="connsiteX4213" fmla="*/ 2871737 w 9586368"/>
                <a:gd name="connsiteY4213" fmla="*/ 3607625 h 6479439"/>
                <a:gd name="connsiteX4214" fmla="*/ 2867717 w 9586368"/>
                <a:gd name="connsiteY4214" fmla="*/ 3603586 h 6479439"/>
                <a:gd name="connsiteX4215" fmla="*/ 2867717 w 9586368"/>
                <a:gd name="connsiteY4215" fmla="*/ 3593716 h 6479439"/>
                <a:gd name="connsiteX4216" fmla="*/ 2632423 w 9586368"/>
                <a:gd name="connsiteY4216" fmla="*/ 3589677 h 6479439"/>
                <a:gd name="connsiteX4217" fmla="*/ 2642334 w 9586368"/>
                <a:gd name="connsiteY4217" fmla="*/ 3589677 h 6479439"/>
                <a:gd name="connsiteX4218" fmla="*/ 2646352 w 9586368"/>
                <a:gd name="connsiteY4218" fmla="*/ 3593716 h 6479439"/>
                <a:gd name="connsiteX4219" fmla="*/ 2646352 w 9586368"/>
                <a:gd name="connsiteY4219" fmla="*/ 3603586 h 6479439"/>
                <a:gd name="connsiteX4220" fmla="*/ 2642334 w 9586368"/>
                <a:gd name="connsiteY4220" fmla="*/ 3607625 h 6479439"/>
                <a:gd name="connsiteX4221" fmla="*/ 2632423 w 9586368"/>
                <a:gd name="connsiteY4221" fmla="*/ 3607625 h 6479439"/>
                <a:gd name="connsiteX4222" fmla="*/ 2628404 w 9586368"/>
                <a:gd name="connsiteY4222" fmla="*/ 3603586 h 6479439"/>
                <a:gd name="connsiteX4223" fmla="*/ 2628404 w 9586368"/>
                <a:gd name="connsiteY4223" fmla="*/ 3593716 h 6479439"/>
                <a:gd name="connsiteX4224" fmla="*/ 2393104 w 9586368"/>
                <a:gd name="connsiteY4224" fmla="*/ 3589677 h 6479439"/>
                <a:gd name="connsiteX4225" fmla="*/ 2403015 w 9586368"/>
                <a:gd name="connsiteY4225" fmla="*/ 3589677 h 6479439"/>
                <a:gd name="connsiteX4226" fmla="*/ 2407034 w 9586368"/>
                <a:gd name="connsiteY4226" fmla="*/ 3593716 h 6479439"/>
                <a:gd name="connsiteX4227" fmla="*/ 2407034 w 9586368"/>
                <a:gd name="connsiteY4227" fmla="*/ 3603586 h 6479439"/>
                <a:gd name="connsiteX4228" fmla="*/ 2403015 w 9586368"/>
                <a:gd name="connsiteY4228" fmla="*/ 3607625 h 6479439"/>
                <a:gd name="connsiteX4229" fmla="*/ 2393104 w 9586368"/>
                <a:gd name="connsiteY4229" fmla="*/ 3607625 h 6479439"/>
                <a:gd name="connsiteX4230" fmla="*/ 2389087 w 9586368"/>
                <a:gd name="connsiteY4230" fmla="*/ 3603586 h 6479439"/>
                <a:gd name="connsiteX4231" fmla="*/ 2389087 w 9586368"/>
                <a:gd name="connsiteY4231" fmla="*/ 3593716 h 6479439"/>
                <a:gd name="connsiteX4232" fmla="*/ 721966 w 9586368"/>
                <a:gd name="connsiteY4232" fmla="*/ 3589677 h 6479439"/>
                <a:gd name="connsiteX4233" fmla="*/ 731877 w 9586368"/>
                <a:gd name="connsiteY4233" fmla="*/ 3589677 h 6479439"/>
                <a:gd name="connsiteX4234" fmla="*/ 735896 w 9586368"/>
                <a:gd name="connsiteY4234" fmla="*/ 3593716 h 6479439"/>
                <a:gd name="connsiteX4235" fmla="*/ 735896 w 9586368"/>
                <a:gd name="connsiteY4235" fmla="*/ 3603586 h 6479439"/>
                <a:gd name="connsiteX4236" fmla="*/ 731877 w 9586368"/>
                <a:gd name="connsiteY4236" fmla="*/ 3607625 h 6479439"/>
                <a:gd name="connsiteX4237" fmla="*/ 721966 w 9586368"/>
                <a:gd name="connsiteY4237" fmla="*/ 3607625 h 6479439"/>
                <a:gd name="connsiteX4238" fmla="*/ 717948 w 9586368"/>
                <a:gd name="connsiteY4238" fmla="*/ 3603586 h 6479439"/>
                <a:gd name="connsiteX4239" fmla="*/ 717948 w 9586368"/>
                <a:gd name="connsiteY4239" fmla="*/ 3593716 h 6479439"/>
                <a:gd name="connsiteX4240" fmla="*/ 482654 w 9586368"/>
                <a:gd name="connsiteY4240" fmla="*/ 3589677 h 6479439"/>
                <a:gd name="connsiteX4241" fmla="*/ 492565 w 9586368"/>
                <a:gd name="connsiteY4241" fmla="*/ 3589677 h 6479439"/>
                <a:gd name="connsiteX4242" fmla="*/ 496584 w 9586368"/>
                <a:gd name="connsiteY4242" fmla="*/ 3593716 h 6479439"/>
                <a:gd name="connsiteX4243" fmla="*/ 496584 w 9586368"/>
                <a:gd name="connsiteY4243" fmla="*/ 3603586 h 6479439"/>
                <a:gd name="connsiteX4244" fmla="*/ 492565 w 9586368"/>
                <a:gd name="connsiteY4244" fmla="*/ 3607625 h 6479439"/>
                <a:gd name="connsiteX4245" fmla="*/ 482654 w 9586368"/>
                <a:gd name="connsiteY4245" fmla="*/ 3607625 h 6479439"/>
                <a:gd name="connsiteX4246" fmla="*/ 478635 w 9586368"/>
                <a:gd name="connsiteY4246" fmla="*/ 3603586 h 6479439"/>
                <a:gd name="connsiteX4247" fmla="*/ 478635 w 9586368"/>
                <a:gd name="connsiteY4247" fmla="*/ 3593716 h 6479439"/>
                <a:gd name="connsiteX4248" fmla="*/ 243341 w 9586368"/>
                <a:gd name="connsiteY4248" fmla="*/ 3589677 h 6479439"/>
                <a:gd name="connsiteX4249" fmla="*/ 253251 w 9586368"/>
                <a:gd name="connsiteY4249" fmla="*/ 3589677 h 6479439"/>
                <a:gd name="connsiteX4250" fmla="*/ 257270 w 9586368"/>
                <a:gd name="connsiteY4250" fmla="*/ 3593716 h 6479439"/>
                <a:gd name="connsiteX4251" fmla="*/ 257270 w 9586368"/>
                <a:gd name="connsiteY4251" fmla="*/ 3603586 h 6479439"/>
                <a:gd name="connsiteX4252" fmla="*/ 253251 w 9586368"/>
                <a:gd name="connsiteY4252" fmla="*/ 3607625 h 6479439"/>
                <a:gd name="connsiteX4253" fmla="*/ 243341 w 9586368"/>
                <a:gd name="connsiteY4253" fmla="*/ 3607625 h 6479439"/>
                <a:gd name="connsiteX4254" fmla="*/ 239321 w 9586368"/>
                <a:gd name="connsiteY4254" fmla="*/ 3603586 h 6479439"/>
                <a:gd name="connsiteX4255" fmla="*/ 239321 w 9586368"/>
                <a:gd name="connsiteY4255" fmla="*/ 3593716 h 6479439"/>
                <a:gd name="connsiteX4256" fmla="*/ 4027 w 9586368"/>
                <a:gd name="connsiteY4256" fmla="*/ 3589677 h 6479439"/>
                <a:gd name="connsiteX4257" fmla="*/ 13938 w 9586368"/>
                <a:gd name="connsiteY4257" fmla="*/ 3589677 h 6479439"/>
                <a:gd name="connsiteX4258" fmla="*/ 17957 w 9586368"/>
                <a:gd name="connsiteY4258" fmla="*/ 3593716 h 6479439"/>
                <a:gd name="connsiteX4259" fmla="*/ 17957 w 9586368"/>
                <a:gd name="connsiteY4259" fmla="*/ 3603586 h 6479439"/>
                <a:gd name="connsiteX4260" fmla="*/ 13938 w 9586368"/>
                <a:gd name="connsiteY4260" fmla="*/ 3607625 h 6479439"/>
                <a:gd name="connsiteX4261" fmla="*/ 4027 w 9586368"/>
                <a:gd name="connsiteY4261" fmla="*/ 3607625 h 6479439"/>
                <a:gd name="connsiteX4262" fmla="*/ 8 w 9586368"/>
                <a:gd name="connsiteY4262" fmla="*/ 3603586 h 6479439"/>
                <a:gd name="connsiteX4263" fmla="*/ 8 w 9586368"/>
                <a:gd name="connsiteY4263" fmla="*/ 3593716 h 6479439"/>
                <a:gd name="connsiteX4264" fmla="*/ 9572438 w 9586368"/>
                <a:gd name="connsiteY4264" fmla="*/ 3350398 h 6479439"/>
                <a:gd name="connsiteX4265" fmla="*/ 9582349 w 9586368"/>
                <a:gd name="connsiteY4265" fmla="*/ 3350398 h 6479439"/>
                <a:gd name="connsiteX4266" fmla="*/ 9586368 w 9586368"/>
                <a:gd name="connsiteY4266" fmla="*/ 3354436 h 6479439"/>
                <a:gd name="connsiteX4267" fmla="*/ 9586368 w 9586368"/>
                <a:gd name="connsiteY4267" fmla="*/ 3364306 h 6479439"/>
                <a:gd name="connsiteX4268" fmla="*/ 9582349 w 9586368"/>
                <a:gd name="connsiteY4268" fmla="*/ 3368345 h 6479439"/>
                <a:gd name="connsiteX4269" fmla="*/ 9572438 w 9586368"/>
                <a:gd name="connsiteY4269" fmla="*/ 3368345 h 6479439"/>
                <a:gd name="connsiteX4270" fmla="*/ 9568419 w 9586368"/>
                <a:gd name="connsiteY4270" fmla="*/ 3364306 h 6479439"/>
                <a:gd name="connsiteX4271" fmla="*/ 9568419 w 9586368"/>
                <a:gd name="connsiteY4271" fmla="*/ 3354436 h 6479439"/>
                <a:gd name="connsiteX4272" fmla="*/ 9333125 w 9586368"/>
                <a:gd name="connsiteY4272" fmla="*/ 3350398 h 6479439"/>
                <a:gd name="connsiteX4273" fmla="*/ 9343036 w 9586368"/>
                <a:gd name="connsiteY4273" fmla="*/ 3350398 h 6479439"/>
                <a:gd name="connsiteX4274" fmla="*/ 9347055 w 9586368"/>
                <a:gd name="connsiteY4274" fmla="*/ 3354436 h 6479439"/>
                <a:gd name="connsiteX4275" fmla="*/ 9347055 w 9586368"/>
                <a:gd name="connsiteY4275" fmla="*/ 3364306 h 6479439"/>
                <a:gd name="connsiteX4276" fmla="*/ 9343036 w 9586368"/>
                <a:gd name="connsiteY4276" fmla="*/ 3368345 h 6479439"/>
                <a:gd name="connsiteX4277" fmla="*/ 9333125 w 9586368"/>
                <a:gd name="connsiteY4277" fmla="*/ 3368345 h 6479439"/>
                <a:gd name="connsiteX4278" fmla="*/ 9329106 w 9586368"/>
                <a:gd name="connsiteY4278" fmla="*/ 3364306 h 6479439"/>
                <a:gd name="connsiteX4279" fmla="*/ 9329106 w 9586368"/>
                <a:gd name="connsiteY4279" fmla="*/ 3354436 h 6479439"/>
                <a:gd name="connsiteX4280" fmla="*/ 9093811 w 9586368"/>
                <a:gd name="connsiteY4280" fmla="*/ 3350398 h 6479439"/>
                <a:gd name="connsiteX4281" fmla="*/ 9103722 w 9586368"/>
                <a:gd name="connsiteY4281" fmla="*/ 3350398 h 6479439"/>
                <a:gd name="connsiteX4282" fmla="*/ 9107741 w 9586368"/>
                <a:gd name="connsiteY4282" fmla="*/ 3354436 h 6479439"/>
                <a:gd name="connsiteX4283" fmla="*/ 9107741 w 9586368"/>
                <a:gd name="connsiteY4283" fmla="*/ 3364306 h 6479439"/>
                <a:gd name="connsiteX4284" fmla="*/ 9103722 w 9586368"/>
                <a:gd name="connsiteY4284" fmla="*/ 3368345 h 6479439"/>
                <a:gd name="connsiteX4285" fmla="*/ 9093811 w 9586368"/>
                <a:gd name="connsiteY4285" fmla="*/ 3368345 h 6479439"/>
                <a:gd name="connsiteX4286" fmla="*/ 9089792 w 9586368"/>
                <a:gd name="connsiteY4286" fmla="*/ 3364306 h 6479439"/>
                <a:gd name="connsiteX4287" fmla="*/ 9089792 w 9586368"/>
                <a:gd name="connsiteY4287" fmla="*/ 3354436 h 6479439"/>
                <a:gd name="connsiteX4288" fmla="*/ 8854496 w 9586368"/>
                <a:gd name="connsiteY4288" fmla="*/ 3350398 h 6479439"/>
                <a:gd name="connsiteX4289" fmla="*/ 8864407 w 9586368"/>
                <a:gd name="connsiteY4289" fmla="*/ 3350398 h 6479439"/>
                <a:gd name="connsiteX4290" fmla="*/ 8868426 w 9586368"/>
                <a:gd name="connsiteY4290" fmla="*/ 3354436 h 6479439"/>
                <a:gd name="connsiteX4291" fmla="*/ 8868426 w 9586368"/>
                <a:gd name="connsiteY4291" fmla="*/ 3364306 h 6479439"/>
                <a:gd name="connsiteX4292" fmla="*/ 8864407 w 9586368"/>
                <a:gd name="connsiteY4292" fmla="*/ 3368345 h 6479439"/>
                <a:gd name="connsiteX4293" fmla="*/ 8854496 w 9586368"/>
                <a:gd name="connsiteY4293" fmla="*/ 3368345 h 6479439"/>
                <a:gd name="connsiteX4294" fmla="*/ 8850477 w 9586368"/>
                <a:gd name="connsiteY4294" fmla="*/ 3364306 h 6479439"/>
                <a:gd name="connsiteX4295" fmla="*/ 8850477 w 9586368"/>
                <a:gd name="connsiteY4295" fmla="*/ 3354436 h 6479439"/>
                <a:gd name="connsiteX4296" fmla="*/ 8615184 w 9586368"/>
                <a:gd name="connsiteY4296" fmla="*/ 3350398 h 6479439"/>
                <a:gd name="connsiteX4297" fmla="*/ 8625095 w 9586368"/>
                <a:gd name="connsiteY4297" fmla="*/ 3350398 h 6479439"/>
                <a:gd name="connsiteX4298" fmla="*/ 8629114 w 9586368"/>
                <a:gd name="connsiteY4298" fmla="*/ 3354436 h 6479439"/>
                <a:gd name="connsiteX4299" fmla="*/ 8629114 w 9586368"/>
                <a:gd name="connsiteY4299" fmla="*/ 3364306 h 6479439"/>
                <a:gd name="connsiteX4300" fmla="*/ 8625095 w 9586368"/>
                <a:gd name="connsiteY4300" fmla="*/ 3368345 h 6479439"/>
                <a:gd name="connsiteX4301" fmla="*/ 8615184 w 9586368"/>
                <a:gd name="connsiteY4301" fmla="*/ 3368345 h 6479439"/>
                <a:gd name="connsiteX4302" fmla="*/ 8611165 w 9586368"/>
                <a:gd name="connsiteY4302" fmla="*/ 3364306 h 6479439"/>
                <a:gd name="connsiteX4303" fmla="*/ 8611165 w 9586368"/>
                <a:gd name="connsiteY4303" fmla="*/ 3354436 h 6479439"/>
                <a:gd name="connsiteX4304" fmla="*/ 8375869 w 9586368"/>
                <a:gd name="connsiteY4304" fmla="*/ 3350398 h 6479439"/>
                <a:gd name="connsiteX4305" fmla="*/ 8385779 w 9586368"/>
                <a:gd name="connsiteY4305" fmla="*/ 3350398 h 6479439"/>
                <a:gd name="connsiteX4306" fmla="*/ 8389799 w 9586368"/>
                <a:gd name="connsiteY4306" fmla="*/ 3354436 h 6479439"/>
                <a:gd name="connsiteX4307" fmla="*/ 8389799 w 9586368"/>
                <a:gd name="connsiteY4307" fmla="*/ 3364306 h 6479439"/>
                <a:gd name="connsiteX4308" fmla="*/ 8385779 w 9586368"/>
                <a:gd name="connsiteY4308" fmla="*/ 3368345 h 6479439"/>
                <a:gd name="connsiteX4309" fmla="*/ 8375869 w 9586368"/>
                <a:gd name="connsiteY4309" fmla="*/ 3368345 h 6479439"/>
                <a:gd name="connsiteX4310" fmla="*/ 8371850 w 9586368"/>
                <a:gd name="connsiteY4310" fmla="*/ 3364306 h 6479439"/>
                <a:gd name="connsiteX4311" fmla="*/ 8371850 w 9586368"/>
                <a:gd name="connsiteY4311" fmla="*/ 3354436 h 6479439"/>
                <a:gd name="connsiteX4312" fmla="*/ 8136553 w 9586368"/>
                <a:gd name="connsiteY4312" fmla="*/ 3350398 h 6479439"/>
                <a:gd name="connsiteX4313" fmla="*/ 8146464 w 9586368"/>
                <a:gd name="connsiteY4313" fmla="*/ 3350398 h 6479439"/>
                <a:gd name="connsiteX4314" fmla="*/ 8150483 w 9586368"/>
                <a:gd name="connsiteY4314" fmla="*/ 3354436 h 6479439"/>
                <a:gd name="connsiteX4315" fmla="*/ 8150483 w 9586368"/>
                <a:gd name="connsiteY4315" fmla="*/ 3364306 h 6479439"/>
                <a:gd name="connsiteX4316" fmla="*/ 8146464 w 9586368"/>
                <a:gd name="connsiteY4316" fmla="*/ 3368345 h 6479439"/>
                <a:gd name="connsiteX4317" fmla="*/ 8136553 w 9586368"/>
                <a:gd name="connsiteY4317" fmla="*/ 3368345 h 6479439"/>
                <a:gd name="connsiteX4318" fmla="*/ 8132534 w 9586368"/>
                <a:gd name="connsiteY4318" fmla="*/ 3364306 h 6479439"/>
                <a:gd name="connsiteX4319" fmla="*/ 8132534 w 9586368"/>
                <a:gd name="connsiteY4319" fmla="*/ 3354436 h 6479439"/>
                <a:gd name="connsiteX4320" fmla="*/ 7897241 w 9586368"/>
                <a:gd name="connsiteY4320" fmla="*/ 3350398 h 6479439"/>
                <a:gd name="connsiteX4321" fmla="*/ 7907151 w 9586368"/>
                <a:gd name="connsiteY4321" fmla="*/ 3350398 h 6479439"/>
                <a:gd name="connsiteX4322" fmla="*/ 7911170 w 9586368"/>
                <a:gd name="connsiteY4322" fmla="*/ 3354436 h 6479439"/>
                <a:gd name="connsiteX4323" fmla="*/ 7911170 w 9586368"/>
                <a:gd name="connsiteY4323" fmla="*/ 3364306 h 6479439"/>
                <a:gd name="connsiteX4324" fmla="*/ 7907151 w 9586368"/>
                <a:gd name="connsiteY4324" fmla="*/ 3368345 h 6479439"/>
                <a:gd name="connsiteX4325" fmla="*/ 7897241 w 9586368"/>
                <a:gd name="connsiteY4325" fmla="*/ 3368345 h 6479439"/>
                <a:gd name="connsiteX4326" fmla="*/ 7893222 w 9586368"/>
                <a:gd name="connsiteY4326" fmla="*/ 3364306 h 6479439"/>
                <a:gd name="connsiteX4327" fmla="*/ 7893222 w 9586368"/>
                <a:gd name="connsiteY4327" fmla="*/ 3354436 h 6479439"/>
                <a:gd name="connsiteX4328" fmla="*/ 7657926 w 9586368"/>
                <a:gd name="connsiteY4328" fmla="*/ 3350398 h 6479439"/>
                <a:gd name="connsiteX4329" fmla="*/ 7667836 w 9586368"/>
                <a:gd name="connsiteY4329" fmla="*/ 3350398 h 6479439"/>
                <a:gd name="connsiteX4330" fmla="*/ 7671855 w 9586368"/>
                <a:gd name="connsiteY4330" fmla="*/ 3354436 h 6479439"/>
                <a:gd name="connsiteX4331" fmla="*/ 7671855 w 9586368"/>
                <a:gd name="connsiteY4331" fmla="*/ 3364306 h 6479439"/>
                <a:gd name="connsiteX4332" fmla="*/ 7667836 w 9586368"/>
                <a:gd name="connsiteY4332" fmla="*/ 3368345 h 6479439"/>
                <a:gd name="connsiteX4333" fmla="*/ 7657926 w 9586368"/>
                <a:gd name="connsiteY4333" fmla="*/ 3368345 h 6479439"/>
                <a:gd name="connsiteX4334" fmla="*/ 7653906 w 9586368"/>
                <a:gd name="connsiteY4334" fmla="*/ 3364306 h 6479439"/>
                <a:gd name="connsiteX4335" fmla="*/ 7653906 w 9586368"/>
                <a:gd name="connsiteY4335" fmla="*/ 3354436 h 6479439"/>
                <a:gd name="connsiteX4336" fmla="*/ 7418611 w 9586368"/>
                <a:gd name="connsiteY4336" fmla="*/ 3350398 h 6479439"/>
                <a:gd name="connsiteX4337" fmla="*/ 7428521 w 9586368"/>
                <a:gd name="connsiteY4337" fmla="*/ 3350398 h 6479439"/>
                <a:gd name="connsiteX4338" fmla="*/ 7432540 w 9586368"/>
                <a:gd name="connsiteY4338" fmla="*/ 3354436 h 6479439"/>
                <a:gd name="connsiteX4339" fmla="*/ 7432540 w 9586368"/>
                <a:gd name="connsiteY4339" fmla="*/ 3364306 h 6479439"/>
                <a:gd name="connsiteX4340" fmla="*/ 7428521 w 9586368"/>
                <a:gd name="connsiteY4340" fmla="*/ 3368345 h 6479439"/>
                <a:gd name="connsiteX4341" fmla="*/ 7418611 w 9586368"/>
                <a:gd name="connsiteY4341" fmla="*/ 3368345 h 6479439"/>
                <a:gd name="connsiteX4342" fmla="*/ 7414592 w 9586368"/>
                <a:gd name="connsiteY4342" fmla="*/ 3364306 h 6479439"/>
                <a:gd name="connsiteX4343" fmla="*/ 7414592 w 9586368"/>
                <a:gd name="connsiteY4343" fmla="*/ 3354436 h 6479439"/>
                <a:gd name="connsiteX4344" fmla="*/ 7179298 w 9586368"/>
                <a:gd name="connsiteY4344" fmla="*/ 3350398 h 6479439"/>
                <a:gd name="connsiteX4345" fmla="*/ 7189209 w 9586368"/>
                <a:gd name="connsiteY4345" fmla="*/ 3350398 h 6479439"/>
                <a:gd name="connsiteX4346" fmla="*/ 7193228 w 9586368"/>
                <a:gd name="connsiteY4346" fmla="*/ 3354436 h 6479439"/>
                <a:gd name="connsiteX4347" fmla="*/ 7193228 w 9586368"/>
                <a:gd name="connsiteY4347" fmla="*/ 3364306 h 6479439"/>
                <a:gd name="connsiteX4348" fmla="*/ 7189209 w 9586368"/>
                <a:gd name="connsiteY4348" fmla="*/ 3368345 h 6479439"/>
                <a:gd name="connsiteX4349" fmla="*/ 7179298 w 9586368"/>
                <a:gd name="connsiteY4349" fmla="*/ 3368345 h 6479439"/>
                <a:gd name="connsiteX4350" fmla="*/ 7175279 w 9586368"/>
                <a:gd name="connsiteY4350" fmla="*/ 3364306 h 6479439"/>
                <a:gd name="connsiteX4351" fmla="*/ 7175279 w 9586368"/>
                <a:gd name="connsiteY4351" fmla="*/ 3354436 h 6479439"/>
                <a:gd name="connsiteX4352" fmla="*/ 6939983 w 9586368"/>
                <a:gd name="connsiteY4352" fmla="*/ 3350398 h 6479439"/>
                <a:gd name="connsiteX4353" fmla="*/ 6949894 w 9586368"/>
                <a:gd name="connsiteY4353" fmla="*/ 3350398 h 6479439"/>
                <a:gd name="connsiteX4354" fmla="*/ 6953913 w 9586368"/>
                <a:gd name="connsiteY4354" fmla="*/ 3354436 h 6479439"/>
                <a:gd name="connsiteX4355" fmla="*/ 6953913 w 9586368"/>
                <a:gd name="connsiteY4355" fmla="*/ 3364306 h 6479439"/>
                <a:gd name="connsiteX4356" fmla="*/ 6949894 w 9586368"/>
                <a:gd name="connsiteY4356" fmla="*/ 3368345 h 6479439"/>
                <a:gd name="connsiteX4357" fmla="*/ 6939983 w 9586368"/>
                <a:gd name="connsiteY4357" fmla="*/ 3368345 h 6479439"/>
                <a:gd name="connsiteX4358" fmla="*/ 6935964 w 9586368"/>
                <a:gd name="connsiteY4358" fmla="*/ 3364306 h 6479439"/>
                <a:gd name="connsiteX4359" fmla="*/ 6935964 w 9586368"/>
                <a:gd name="connsiteY4359" fmla="*/ 3354436 h 6479439"/>
                <a:gd name="connsiteX4360" fmla="*/ 6700670 w 9586368"/>
                <a:gd name="connsiteY4360" fmla="*/ 3350398 h 6479439"/>
                <a:gd name="connsiteX4361" fmla="*/ 6710581 w 9586368"/>
                <a:gd name="connsiteY4361" fmla="*/ 3350398 h 6479439"/>
                <a:gd name="connsiteX4362" fmla="*/ 6714600 w 9586368"/>
                <a:gd name="connsiteY4362" fmla="*/ 3354436 h 6479439"/>
                <a:gd name="connsiteX4363" fmla="*/ 6714600 w 9586368"/>
                <a:gd name="connsiteY4363" fmla="*/ 3364306 h 6479439"/>
                <a:gd name="connsiteX4364" fmla="*/ 6710581 w 9586368"/>
                <a:gd name="connsiteY4364" fmla="*/ 3368345 h 6479439"/>
                <a:gd name="connsiteX4365" fmla="*/ 6700670 w 9586368"/>
                <a:gd name="connsiteY4365" fmla="*/ 3368345 h 6479439"/>
                <a:gd name="connsiteX4366" fmla="*/ 6696651 w 9586368"/>
                <a:gd name="connsiteY4366" fmla="*/ 3364306 h 6479439"/>
                <a:gd name="connsiteX4367" fmla="*/ 6696651 w 9586368"/>
                <a:gd name="connsiteY4367" fmla="*/ 3354436 h 6479439"/>
                <a:gd name="connsiteX4368" fmla="*/ 6461356 w 9586368"/>
                <a:gd name="connsiteY4368" fmla="*/ 3350398 h 6479439"/>
                <a:gd name="connsiteX4369" fmla="*/ 6471266 w 9586368"/>
                <a:gd name="connsiteY4369" fmla="*/ 3350398 h 6479439"/>
                <a:gd name="connsiteX4370" fmla="*/ 6475285 w 9586368"/>
                <a:gd name="connsiteY4370" fmla="*/ 3354436 h 6479439"/>
                <a:gd name="connsiteX4371" fmla="*/ 6475285 w 9586368"/>
                <a:gd name="connsiteY4371" fmla="*/ 3364306 h 6479439"/>
                <a:gd name="connsiteX4372" fmla="*/ 6471266 w 9586368"/>
                <a:gd name="connsiteY4372" fmla="*/ 3368345 h 6479439"/>
                <a:gd name="connsiteX4373" fmla="*/ 6461356 w 9586368"/>
                <a:gd name="connsiteY4373" fmla="*/ 3368345 h 6479439"/>
                <a:gd name="connsiteX4374" fmla="*/ 6457337 w 9586368"/>
                <a:gd name="connsiteY4374" fmla="*/ 3364306 h 6479439"/>
                <a:gd name="connsiteX4375" fmla="*/ 6457337 w 9586368"/>
                <a:gd name="connsiteY4375" fmla="*/ 3354436 h 6479439"/>
                <a:gd name="connsiteX4376" fmla="*/ 6222042 w 9586368"/>
                <a:gd name="connsiteY4376" fmla="*/ 3350398 h 6479439"/>
                <a:gd name="connsiteX4377" fmla="*/ 6231952 w 9586368"/>
                <a:gd name="connsiteY4377" fmla="*/ 3350398 h 6479439"/>
                <a:gd name="connsiteX4378" fmla="*/ 6235971 w 9586368"/>
                <a:gd name="connsiteY4378" fmla="*/ 3354436 h 6479439"/>
                <a:gd name="connsiteX4379" fmla="*/ 6235971 w 9586368"/>
                <a:gd name="connsiteY4379" fmla="*/ 3364306 h 6479439"/>
                <a:gd name="connsiteX4380" fmla="*/ 6231952 w 9586368"/>
                <a:gd name="connsiteY4380" fmla="*/ 3368345 h 6479439"/>
                <a:gd name="connsiteX4381" fmla="*/ 6222042 w 9586368"/>
                <a:gd name="connsiteY4381" fmla="*/ 3368345 h 6479439"/>
                <a:gd name="connsiteX4382" fmla="*/ 6218023 w 9586368"/>
                <a:gd name="connsiteY4382" fmla="*/ 3364306 h 6479439"/>
                <a:gd name="connsiteX4383" fmla="*/ 6218023 w 9586368"/>
                <a:gd name="connsiteY4383" fmla="*/ 3354436 h 6479439"/>
                <a:gd name="connsiteX4384" fmla="*/ 5982729 w 9586368"/>
                <a:gd name="connsiteY4384" fmla="*/ 3350398 h 6479439"/>
                <a:gd name="connsiteX4385" fmla="*/ 5992639 w 9586368"/>
                <a:gd name="connsiteY4385" fmla="*/ 3350398 h 6479439"/>
                <a:gd name="connsiteX4386" fmla="*/ 5996658 w 9586368"/>
                <a:gd name="connsiteY4386" fmla="*/ 3354436 h 6479439"/>
                <a:gd name="connsiteX4387" fmla="*/ 5996658 w 9586368"/>
                <a:gd name="connsiteY4387" fmla="*/ 3364306 h 6479439"/>
                <a:gd name="connsiteX4388" fmla="*/ 5992639 w 9586368"/>
                <a:gd name="connsiteY4388" fmla="*/ 3368345 h 6479439"/>
                <a:gd name="connsiteX4389" fmla="*/ 5982729 w 9586368"/>
                <a:gd name="connsiteY4389" fmla="*/ 3368345 h 6479439"/>
                <a:gd name="connsiteX4390" fmla="*/ 5978710 w 9586368"/>
                <a:gd name="connsiteY4390" fmla="*/ 3364306 h 6479439"/>
                <a:gd name="connsiteX4391" fmla="*/ 5978710 w 9586368"/>
                <a:gd name="connsiteY4391" fmla="*/ 3354436 h 6479439"/>
                <a:gd name="connsiteX4392" fmla="*/ 5743412 w 9586368"/>
                <a:gd name="connsiteY4392" fmla="*/ 3350398 h 6479439"/>
                <a:gd name="connsiteX4393" fmla="*/ 5753323 w 9586368"/>
                <a:gd name="connsiteY4393" fmla="*/ 3350398 h 6479439"/>
                <a:gd name="connsiteX4394" fmla="*/ 5757342 w 9586368"/>
                <a:gd name="connsiteY4394" fmla="*/ 3354436 h 6479439"/>
                <a:gd name="connsiteX4395" fmla="*/ 5757342 w 9586368"/>
                <a:gd name="connsiteY4395" fmla="*/ 3364306 h 6479439"/>
                <a:gd name="connsiteX4396" fmla="*/ 5753323 w 9586368"/>
                <a:gd name="connsiteY4396" fmla="*/ 3368345 h 6479439"/>
                <a:gd name="connsiteX4397" fmla="*/ 5743412 w 9586368"/>
                <a:gd name="connsiteY4397" fmla="*/ 3368345 h 6479439"/>
                <a:gd name="connsiteX4398" fmla="*/ 5739393 w 9586368"/>
                <a:gd name="connsiteY4398" fmla="*/ 3364306 h 6479439"/>
                <a:gd name="connsiteX4399" fmla="*/ 5739393 w 9586368"/>
                <a:gd name="connsiteY4399" fmla="*/ 3354436 h 6479439"/>
                <a:gd name="connsiteX4400" fmla="*/ 5504099 w 9586368"/>
                <a:gd name="connsiteY4400" fmla="*/ 3350398 h 6479439"/>
                <a:gd name="connsiteX4401" fmla="*/ 5514010 w 9586368"/>
                <a:gd name="connsiteY4401" fmla="*/ 3350398 h 6479439"/>
                <a:gd name="connsiteX4402" fmla="*/ 5518029 w 9586368"/>
                <a:gd name="connsiteY4402" fmla="*/ 3354436 h 6479439"/>
                <a:gd name="connsiteX4403" fmla="*/ 5518029 w 9586368"/>
                <a:gd name="connsiteY4403" fmla="*/ 3364306 h 6479439"/>
                <a:gd name="connsiteX4404" fmla="*/ 5514010 w 9586368"/>
                <a:gd name="connsiteY4404" fmla="*/ 3368345 h 6479439"/>
                <a:gd name="connsiteX4405" fmla="*/ 5504099 w 9586368"/>
                <a:gd name="connsiteY4405" fmla="*/ 3368345 h 6479439"/>
                <a:gd name="connsiteX4406" fmla="*/ 5500080 w 9586368"/>
                <a:gd name="connsiteY4406" fmla="*/ 3364306 h 6479439"/>
                <a:gd name="connsiteX4407" fmla="*/ 5500080 w 9586368"/>
                <a:gd name="connsiteY4407" fmla="*/ 3354436 h 6479439"/>
                <a:gd name="connsiteX4408" fmla="*/ 5264784 w 9586368"/>
                <a:gd name="connsiteY4408" fmla="*/ 3350398 h 6479439"/>
                <a:gd name="connsiteX4409" fmla="*/ 5274694 w 9586368"/>
                <a:gd name="connsiteY4409" fmla="*/ 3350398 h 6479439"/>
                <a:gd name="connsiteX4410" fmla="*/ 5278713 w 9586368"/>
                <a:gd name="connsiteY4410" fmla="*/ 3354436 h 6479439"/>
                <a:gd name="connsiteX4411" fmla="*/ 5278713 w 9586368"/>
                <a:gd name="connsiteY4411" fmla="*/ 3364306 h 6479439"/>
                <a:gd name="connsiteX4412" fmla="*/ 5274694 w 9586368"/>
                <a:gd name="connsiteY4412" fmla="*/ 3368345 h 6479439"/>
                <a:gd name="connsiteX4413" fmla="*/ 5264784 w 9586368"/>
                <a:gd name="connsiteY4413" fmla="*/ 3368345 h 6479439"/>
                <a:gd name="connsiteX4414" fmla="*/ 5260765 w 9586368"/>
                <a:gd name="connsiteY4414" fmla="*/ 3364306 h 6479439"/>
                <a:gd name="connsiteX4415" fmla="*/ 5260765 w 9586368"/>
                <a:gd name="connsiteY4415" fmla="*/ 3354436 h 6479439"/>
                <a:gd name="connsiteX4416" fmla="*/ 5025470 w 9586368"/>
                <a:gd name="connsiteY4416" fmla="*/ 3350398 h 6479439"/>
                <a:gd name="connsiteX4417" fmla="*/ 5035381 w 9586368"/>
                <a:gd name="connsiteY4417" fmla="*/ 3350398 h 6479439"/>
                <a:gd name="connsiteX4418" fmla="*/ 5039400 w 9586368"/>
                <a:gd name="connsiteY4418" fmla="*/ 3354436 h 6479439"/>
                <a:gd name="connsiteX4419" fmla="*/ 5039400 w 9586368"/>
                <a:gd name="connsiteY4419" fmla="*/ 3364306 h 6479439"/>
                <a:gd name="connsiteX4420" fmla="*/ 5035381 w 9586368"/>
                <a:gd name="connsiteY4420" fmla="*/ 3368345 h 6479439"/>
                <a:gd name="connsiteX4421" fmla="*/ 5025470 w 9586368"/>
                <a:gd name="connsiteY4421" fmla="*/ 3368345 h 6479439"/>
                <a:gd name="connsiteX4422" fmla="*/ 5021451 w 9586368"/>
                <a:gd name="connsiteY4422" fmla="*/ 3364306 h 6479439"/>
                <a:gd name="connsiteX4423" fmla="*/ 5021451 w 9586368"/>
                <a:gd name="connsiteY4423" fmla="*/ 3354436 h 6479439"/>
                <a:gd name="connsiteX4424" fmla="*/ 4786241 w 9586368"/>
                <a:gd name="connsiteY4424" fmla="*/ 3350398 h 6479439"/>
                <a:gd name="connsiteX4425" fmla="*/ 4796152 w 9586368"/>
                <a:gd name="connsiteY4425" fmla="*/ 3350398 h 6479439"/>
                <a:gd name="connsiteX4426" fmla="*/ 4800171 w 9586368"/>
                <a:gd name="connsiteY4426" fmla="*/ 3354436 h 6479439"/>
                <a:gd name="connsiteX4427" fmla="*/ 4800171 w 9586368"/>
                <a:gd name="connsiteY4427" fmla="*/ 3364306 h 6479439"/>
                <a:gd name="connsiteX4428" fmla="*/ 4796152 w 9586368"/>
                <a:gd name="connsiteY4428" fmla="*/ 3368345 h 6479439"/>
                <a:gd name="connsiteX4429" fmla="*/ 4786241 w 9586368"/>
                <a:gd name="connsiteY4429" fmla="*/ 3368345 h 6479439"/>
                <a:gd name="connsiteX4430" fmla="*/ 4782224 w 9586368"/>
                <a:gd name="connsiteY4430" fmla="*/ 3364306 h 6479439"/>
                <a:gd name="connsiteX4431" fmla="*/ 4782224 w 9586368"/>
                <a:gd name="connsiteY4431" fmla="*/ 3354436 h 6479439"/>
                <a:gd name="connsiteX4432" fmla="*/ 4546929 w 9586368"/>
                <a:gd name="connsiteY4432" fmla="*/ 3350398 h 6479439"/>
                <a:gd name="connsiteX4433" fmla="*/ 4556840 w 9586368"/>
                <a:gd name="connsiteY4433" fmla="*/ 3350398 h 6479439"/>
                <a:gd name="connsiteX4434" fmla="*/ 4560859 w 9586368"/>
                <a:gd name="connsiteY4434" fmla="*/ 3354436 h 6479439"/>
                <a:gd name="connsiteX4435" fmla="*/ 4560859 w 9586368"/>
                <a:gd name="connsiteY4435" fmla="*/ 3364306 h 6479439"/>
                <a:gd name="connsiteX4436" fmla="*/ 4556840 w 9586368"/>
                <a:gd name="connsiteY4436" fmla="*/ 3368345 h 6479439"/>
                <a:gd name="connsiteX4437" fmla="*/ 4546929 w 9586368"/>
                <a:gd name="connsiteY4437" fmla="*/ 3368345 h 6479439"/>
                <a:gd name="connsiteX4438" fmla="*/ 4542910 w 9586368"/>
                <a:gd name="connsiteY4438" fmla="*/ 3364306 h 6479439"/>
                <a:gd name="connsiteX4439" fmla="*/ 4542910 w 9586368"/>
                <a:gd name="connsiteY4439" fmla="*/ 3354436 h 6479439"/>
                <a:gd name="connsiteX4440" fmla="*/ 4307612 w 9586368"/>
                <a:gd name="connsiteY4440" fmla="*/ 3350398 h 6479439"/>
                <a:gd name="connsiteX4441" fmla="*/ 4317523 w 9586368"/>
                <a:gd name="connsiteY4441" fmla="*/ 3350398 h 6479439"/>
                <a:gd name="connsiteX4442" fmla="*/ 4321543 w 9586368"/>
                <a:gd name="connsiteY4442" fmla="*/ 3354436 h 6479439"/>
                <a:gd name="connsiteX4443" fmla="*/ 4321543 w 9586368"/>
                <a:gd name="connsiteY4443" fmla="*/ 3364306 h 6479439"/>
                <a:gd name="connsiteX4444" fmla="*/ 4317523 w 9586368"/>
                <a:gd name="connsiteY4444" fmla="*/ 3368345 h 6479439"/>
                <a:gd name="connsiteX4445" fmla="*/ 4307612 w 9586368"/>
                <a:gd name="connsiteY4445" fmla="*/ 3368345 h 6479439"/>
                <a:gd name="connsiteX4446" fmla="*/ 4303595 w 9586368"/>
                <a:gd name="connsiteY4446" fmla="*/ 3364306 h 6479439"/>
                <a:gd name="connsiteX4447" fmla="*/ 4303595 w 9586368"/>
                <a:gd name="connsiteY4447" fmla="*/ 3354436 h 6479439"/>
                <a:gd name="connsiteX4448" fmla="*/ 4068297 w 9586368"/>
                <a:gd name="connsiteY4448" fmla="*/ 3350398 h 6479439"/>
                <a:gd name="connsiteX4449" fmla="*/ 4078210 w 9586368"/>
                <a:gd name="connsiteY4449" fmla="*/ 3350398 h 6479439"/>
                <a:gd name="connsiteX4450" fmla="*/ 4082229 w 9586368"/>
                <a:gd name="connsiteY4450" fmla="*/ 3354436 h 6479439"/>
                <a:gd name="connsiteX4451" fmla="*/ 4082229 w 9586368"/>
                <a:gd name="connsiteY4451" fmla="*/ 3364306 h 6479439"/>
                <a:gd name="connsiteX4452" fmla="*/ 4078210 w 9586368"/>
                <a:gd name="connsiteY4452" fmla="*/ 3368345 h 6479439"/>
                <a:gd name="connsiteX4453" fmla="*/ 4068297 w 9586368"/>
                <a:gd name="connsiteY4453" fmla="*/ 3368345 h 6479439"/>
                <a:gd name="connsiteX4454" fmla="*/ 4064278 w 9586368"/>
                <a:gd name="connsiteY4454" fmla="*/ 3364306 h 6479439"/>
                <a:gd name="connsiteX4455" fmla="*/ 4064278 w 9586368"/>
                <a:gd name="connsiteY4455" fmla="*/ 3354436 h 6479439"/>
                <a:gd name="connsiteX4456" fmla="*/ 3828990 w 9586368"/>
                <a:gd name="connsiteY4456" fmla="*/ 3350398 h 6479439"/>
                <a:gd name="connsiteX4457" fmla="*/ 3838899 w 9586368"/>
                <a:gd name="connsiteY4457" fmla="*/ 3350398 h 6479439"/>
                <a:gd name="connsiteX4458" fmla="*/ 3842917 w 9586368"/>
                <a:gd name="connsiteY4458" fmla="*/ 3354436 h 6479439"/>
                <a:gd name="connsiteX4459" fmla="*/ 3842917 w 9586368"/>
                <a:gd name="connsiteY4459" fmla="*/ 3364306 h 6479439"/>
                <a:gd name="connsiteX4460" fmla="*/ 3838899 w 9586368"/>
                <a:gd name="connsiteY4460" fmla="*/ 3368345 h 6479439"/>
                <a:gd name="connsiteX4461" fmla="*/ 3828990 w 9586368"/>
                <a:gd name="connsiteY4461" fmla="*/ 3368345 h 6479439"/>
                <a:gd name="connsiteX4462" fmla="*/ 3824971 w 9586368"/>
                <a:gd name="connsiteY4462" fmla="*/ 3364306 h 6479439"/>
                <a:gd name="connsiteX4463" fmla="*/ 3824971 w 9586368"/>
                <a:gd name="connsiteY4463" fmla="*/ 3354436 h 6479439"/>
                <a:gd name="connsiteX4464" fmla="*/ 3589676 w 9586368"/>
                <a:gd name="connsiteY4464" fmla="*/ 3350398 h 6479439"/>
                <a:gd name="connsiteX4465" fmla="*/ 3599585 w 9586368"/>
                <a:gd name="connsiteY4465" fmla="*/ 3350398 h 6479439"/>
                <a:gd name="connsiteX4466" fmla="*/ 3603604 w 9586368"/>
                <a:gd name="connsiteY4466" fmla="*/ 3354436 h 6479439"/>
                <a:gd name="connsiteX4467" fmla="*/ 3603604 w 9586368"/>
                <a:gd name="connsiteY4467" fmla="*/ 3364306 h 6479439"/>
                <a:gd name="connsiteX4468" fmla="*/ 3599585 w 9586368"/>
                <a:gd name="connsiteY4468" fmla="*/ 3368345 h 6479439"/>
                <a:gd name="connsiteX4469" fmla="*/ 3589676 w 9586368"/>
                <a:gd name="connsiteY4469" fmla="*/ 3368345 h 6479439"/>
                <a:gd name="connsiteX4470" fmla="*/ 3585657 w 9586368"/>
                <a:gd name="connsiteY4470" fmla="*/ 3364306 h 6479439"/>
                <a:gd name="connsiteX4471" fmla="*/ 3585657 w 9586368"/>
                <a:gd name="connsiteY4471" fmla="*/ 3354436 h 6479439"/>
                <a:gd name="connsiteX4472" fmla="*/ 3350359 w 9586368"/>
                <a:gd name="connsiteY4472" fmla="*/ 3350398 h 6479439"/>
                <a:gd name="connsiteX4473" fmla="*/ 3360268 w 9586368"/>
                <a:gd name="connsiteY4473" fmla="*/ 3350398 h 6479439"/>
                <a:gd name="connsiteX4474" fmla="*/ 3364287 w 9586368"/>
                <a:gd name="connsiteY4474" fmla="*/ 3354436 h 6479439"/>
                <a:gd name="connsiteX4475" fmla="*/ 3364287 w 9586368"/>
                <a:gd name="connsiteY4475" fmla="*/ 3364306 h 6479439"/>
                <a:gd name="connsiteX4476" fmla="*/ 3360268 w 9586368"/>
                <a:gd name="connsiteY4476" fmla="*/ 3368345 h 6479439"/>
                <a:gd name="connsiteX4477" fmla="*/ 3350359 w 9586368"/>
                <a:gd name="connsiteY4477" fmla="*/ 3368345 h 6479439"/>
                <a:gd name="connsiteX4478" fmla="*/ 3346340 w 9586368"/>
                <a:gd name="connsiteY4478" fmla="*/ 3364306 h 6479439"/>
                <a:gd name="connsiteX4479" fmla="*/ 3346340 w 9586368"/>
                <a:gd name="connsiteY4479" fmla="*/ 3354436 h 6479439"/>
                <a:gd name="connsiteX4480" fmla="*/ 3111048 w 9586368"/>
                <a:gd name="connsiteY4480" fmla="*/ 3350398 h 6479439"/>
                <a:gd name="connsiteX4481" fmla="*/ 3120959 w 9586368"/>
                <a:gd name="connsiteY4481" fmla="*/ 3350398 h 6479439"/>
                <a:gd name="connsiteX4482" fmla="*/ 3124977 w 9586368"/>
                <a:gd name="connsiteY4482" fmla="*/ 3354436 h 6479439"/>
                <a:gd name="connsiteX4483" fmla="*/ 3124977 w 9586368"/>
                <a:gd name="connsiteY4483" fmla="*/ 3364306 h 6479439"/>
                <a:gd name="connsiteX4484" fmla="*/ 3120959 w 9586368"/>
                <a:gd name="connsiteY4484" fmla="*/ 3368345 h 6479439"/>
                <a:gd name="connsiteX4485" fmla="*/ 3111048 w 9586368"/>
                <a:gd name="connsiteY4485" fmla="*/ 3368345 h 6479439"/>
                <a:gd name="connsiteX4486" fmla="*/ 3107029 w 9586368"/>
                <a:gd name="connsiteY4486" fmla="*/ 3364306 h 6479439"/>
                <a:gd name="connsiteX4487" fmla="*/ 3107029 w 9586368"/>
                <a:gd name="connsiteY4487" fmla="*/ 3354436 h 6479439"/>
                <a:gd name="connsiteX4488" fmla="*/ 2871737 w 9586368"/>
                <a:gd name="connsiteY4488" fmla="*/ 3350398 h 6479439"/>
                <a:gd name="connsiteX4489" fmla="*/ 2881646 w 9586368"/>
                <a:gd name="connsiteY4489" fmla="*/ 3350398 h 6479439"/>
                <a:gd name="connsiteX4490" fmla="*/ 2885666 w 9586368"/>
                <a:gd name="connsiteY4490" fmla="*/ 3354436 h 6479439"/>
                <a:gd name="connsiteX4491" fmla="*/ 2885666 w 9586368"/>
                <a:gd name="connsiteY4491" fmla="*/ 3364306 h 6479439"/>
                <a:gd name="connsiteX4492" fmla="*/ 2881646 w 9586368"/>
                <a:gd name="connsiteY4492" fmla="*/ 3368345 h 6479439"/>
                <a:gd name="connsiteX4493" fmla="*/ 2871737 w 9586368"/>
                <a:gd name="connsiteY4493" fmla="*/ 3368345 h 6479439"/>
                <a:gd name="connsiteX4494" fmla="*/ 2867717 w 9586368"/>
                <a:gd name="connsiteY4494" fmla="*/ 3364306 h 6479439"/>
                <a:gd name="connsiteX4495" fmla="*/ 2867717 w 9586368"/>
                <a:gd name="connsiteY4495" fmla="*/ 3354436 h 6479439"/>
                <a:gd name="connsiteX4496" fmla="*/ 2632423 w 9586368"/>
                <a:gd name="connsiteY4496" fmla="*/ 3350398 h 6479439"/>
                <a:gd name="connsiteX4497" fmla="*/ 2642334 w 9586368"/>
                <a:gd name="connsiteY4497" fmla="*/ 3350398 h 6479439"/>
                <a:gd name="connsiteX4498" fmla="*/ 2646352 w 9586368"/>
                <a:gd name="connsiteY4498" fmla="*/ 3354436 h 6479439"/>
                <a:gd name="connsiteX4499" fmla="*/ 2646352 w 9586368"/>
                <a:gd name="connsiteY4499" fmla="*/ 3364306 h 6479439"/>
                <a:gd name="connsiteX4500" fmla="*/ 2642334 w 9586368"/>
                <a:gd name="connsiteY4500" fmla="*/ 3368345 h 6479439"/>
                <a:gd name="connsiteX4501" fmla="*/ 2632423 w 9586368"/>
                <a:gd name="connsiteY4501" fmla="*/ 3368345 h 6479439"/>
                <a:gd name="connsiteX4502" fmla="*/ 2628404 w 9586368"/>
                <a:gd name="connsiteY4502" fmla="*/ 3364306 h 6479439"/>
                <a:gd name="connsiteX4503" fmla="*/ 2628404 w 9586368"/>
                <a:gd name="connsiteY4503" fmla="*/ 3354436 h 6479439"/>
                <a:gd name="connsiteX4504" fmla="*/ 2393104 w 9586368"/>
                <a:gd name="connsiteY4504" fmla="*/ 3350398 h 6479439"/>
                <a:gd name="connsiteX4505" fmla="*/ 2403015 w 9586368"/>
                <a:gd name="connsiteY4505" fmla="*/ 3350398 h 6479439"/>
                <a:gd name="connsiteX4506" fmla="*/ 2407034 w 9586368"/>
                <a:gd name="connsiteY4506" fmla="*/ 3354436 h 6479439"/>
                <a:gd name="connsiteX4507" fmla="*/ 2407034 w 9586368"/>
                <a:gd name="connsiteY4507" fmla="*/ 3364306 h 6479439"/>
                <a:gd name="connsiteX4508" fmla="*/ 2403015 w 9586368"/>
                <a:gd name="connsiteY4508" fmla="*/ 3368345 h 6479439"/>
                <a:gd name="connsiteX4509" fmla="*/ 2393104 w 9586368"/>
                <a:gd name="connsiteY4509" fmla="*/ 3368345 h 6479439"/>
                <a:gd name="connsiteX4510" fmla="*/ 2389087 w 9586368"/>
                <a:gd name="connsiteY4510" fmla="*/ 3364306 h 6479439"/>
                <a:gd name="connsiteX4511" fmla="*/ 2389087 w 9586368"/>
                <a:gd name="connsiteY4511" fmla="*/ 3354436 h 6479439"/>
                <a:gd name="connsiteX4512" fmla="*/ 2157820 w 9586368"/>
                <a:gd name="connsiteY4512" fmla="*/ 3350398 h 6479439"/>
                <a:gd name="connsiteX4513" fmla="*/ 2167731 w 9586368"/>
                <a:gd name="connsiteY4513" fmla="*/ 3350398 h 6479439"/>
                <a:gd name="connsiteX4514" fmla="*/ 2171749 w 9586368"/>
                <a:gd name="connsiteY4514" fmla="*/ 3354436 h 6479439"/>
                <a:gd name="connsiteX4515" fmla="*/ 2171749 w 9586368"/>
                <a:gd name="connsiteY4515" fmla="*/ 3364306 h 6479439"/>
                <a:gd name="connsiteX4516" fmla="*/ 2167731 w 9586368"/>
                <a:gd name="connsiteY4516" fmla="*/ 3368345 h 6479439"/>
                <a:gd name="connsiteX4517" fmla="*/ 2157820 w 9586368"/>
                <a:gd name="connsiteY4517" fmla="*/ 3368345 h 6479439"/>
                <a:gd name="connsiteX4518" fmla="*/ 2153802 w 9586368"/>
                <a:gd name="connsiteY4518" fmla="*/ 3364306 h 6479439"/>
                <a:gd name="connsiteX4519" fmla="*/ 2153802 w 9586368"/>
                <a:gd name="connsiteY4519" fmla="*/ 3354436 h 6479439"/>
                <a:gd name="connsiteX4520" fmla="*/ 1918511 w 9586368"/>
                <a:gd name="connsiteY4520" fmla="*/ 3350398 h 6479439"/>
                <a:gd name="connsiteX4521" fmla="*/ 1928422 w 9586368"/>
                <a:gd name="connsiteY4521" fmla="*/ 3350398 h 6479439"/>
                <a:gd name="connsiteX4522" fmla="*/ 1932441 w 9586368"/>
                <a:gd name="connsiteY4522" fmla="*/ 3354436 h 6479439"/>
                <a:gd name="connsiteX4523" fmla="*/ 1932441 w 9586368"/>
                <a:gd name="connsiteY4523" fmla="*/ 3364306 h 6479439"/>
                <a:gd name="connsiteX4524" fmla="*/ 1928422 w 9586368"/>
                <a:gd name="connsiteY4524" fmla="*/ 3368345 h 6479439"/>
                <a:gd name="connsiteX4525" fmla="*/ 1918511 w 9586368"/>
                <a:gd name="connsiteY4525" fmla="*/ 3368345 h 6479439"/>
                <a:gd name="connsiteX4526" fmla="*/ 1914493 w 9586368"/>
                <a:gd name="connsiteY4526" fmla="*/ 3364306 h 6479439"/>
                <a:gd name="connsiteX4527" fmla="*/ 1914493 w 9586368"/>
                <a:gd name="connsiteY4527" fmla="*/ 3354436 h 6479439"/>
                <a:gd name="connsiteX4528" fmla="*/ 1679210 w 9586368"/>
                <a:gd name="connsiteY4528" fmla="*/ 3350398 h 6479439"/>
                <a:gd name="connsiteX4529" fmla="*/ 1689120 w 9586368"/>
                <a:gd name="connsiteY4529" fmla="*/ 3350398 h 6479439"/>
                <a:gd name="connsiteX4530" fmla="*/ 1693138 w 9586368"/>
                <a:gd name="connsiteY4530" fmla="*/ 3354436 h 6479439"/>
                <a:gd name="connsiteX4531" fmla="*/ 1693138 w 9586368"/>
                <a:gd name="connsiteY4531" fmla="*/ 3364306 h 6479439"/>
                <a:gd name="connsiteX4532" fmla="*/ 1689120 w 9586368"/>
                <a:gd name="connsiteY4532" fmla="*/ 3368345 h 6479439"/>
                <a:gd name="connsiteX4533" fmla="*/ 1679210 w 9586368"/>
                <a:gd name="connsiteY4533" fmla="*/ 3368345 h 6479439"/>
                <a:gd name="connsiteX4534" fmla="*/ 1675191 w 9586368"/>
                <a:gd name="connsiteY4534" fmla="*/ 3364306 h 6479439"/>
                <a:gd name="connsiteX4535" fmla="*/ 1675191 w 9586368"/>
                <a:gd name="connsiteY4535" fmla="*/ 3354436 h 6479439"/>
                <a:gd name="connsiteX4536" fmla="*/ 1439893 w 9586368"/>
                <a:gd name="connsiteY4536" fmla="*/ 3350398 h 6479439"/>
                <a:gd name="connsiteX4537" fmla="*/ 1449803 w 9586368"/>
                <a:gd name="connsiteY4537" fmla="*/ 3350398 h 6479439"/>
                <a:gd name="connsiteX4538" fmla="*/ 1453823 w 9586368"/>
                <a:gd name="connsiteY4538" fmla="*/ 3354436 h 6479439"/>
                <a:gd name="connsiteX4539" fmla="*/ 1453823 w 9586368"/>
                <a:gd name="connsiteY4539" fmla="*/ 3364306 h 6479439"/>
                <a:gd name="connsiteX4540" fmla="*/ 1449803 w 9586368"/>
                <a:gd name="connsiteY4540" fmla="*/ 3368345 h 6479439"/>
                <a:gd name="connsiteX4541" fmla="*/ 1439893 w 9586368"/>
                <a:gd name="connsiteY4541" fmla="*/ 3368345 h 6479439"/>
                <a:gd name="connsiteX4542" fmla="*/ 1435875 w 9586368"/>
                <a:gd name="connsiteY4542" fmla="*/ 3364306 h 6479439"/>
                <a:gd name="connsiteX4543" fmla="*/ 1435875 w 9586368"/>
                <a:gd name="connsiteY4543" fmla="*/ 3354436 h 6479439"/>
                <a:gd name="connsiteX4544" fmla="*/ 1200578 w 9586368"/>
                <a:gd name="connsiteY4544" fmla="*/ 3350398 h 6479439"/>
                <a:gd name="connsiteX4545" fmla="*/ 1210488 w 9586368"/>
                <a:gd name="connsiteY4545" fmla="*/ 3350398 h 6479439"/>
                <a:gd name="connsiteX4546" fmla="*/ 1214507 w 9586368"/>
                <a:gd name="connsiteY4546" fmla="*/ 3354436 h 6479439"/>
                <a:gd name="connsiteX4547" fmla="*/ 1214507 w 9586368"/>
                <a:gd name="connsiteY4547" fmla="*/ 3364306 h 6479439"/>
                <a:gd name="connsiteX4548" fmla="*/ 1210488 w 9586368"/>
                <a:gd name="connsiteY4548" fmla="*/ 3368345 h 6479439"/>
                <a:gd name="connsiteX4549" fmla="*/ 1200578 w 9586368"/>
                <a:gd name="connsiteY4549" fmla="*/ 3368345 h 6479439"/>
                <a:gd name="connsiteX4550" fmla="*/ 1196559 w 9586368"/>
                <a:gd name="connsiteY4550" fmla="*/ 3364306 h 6479439"/>
                <a:gd name="connsiteX4551" fmla="*/ 1196559 w 9586368"/>
                <a:gd name="connsiteY4551" fmla="*/ 3354436 h 6479439"/>
                <a:gd name="connsiteX4552" fmla="*/ 961265 w 9586368"/>
                <a:gd name="connsiteY4552" fmla="*/ 3350398 h 6479439"/>
                <a:gd name="connsiteX4553" fmla="*/ 971176 w 9586368"/>
                <a:gd name="connsiteY4553" fmla="*/ 3350398 h 6479439"/>
                <a:gd name="connsiteX4554" fmla="*/ 975194 w 9586368"/>
                <a:gd name="connsiteY4554" fmla="*/ 3354436 h 6479439"/>
                <a:gd name="connsiteX4555" fmla="*/ 975194 w 9586368"/>
                <a:gd name="connsiteY4555" fmla="*/ 3364306 h 6479439"/>
                <a:gd name="connsiteX4556" fmla="*/ 971176 w 9586368"/>
                <a:gd name="connsiteY4556" fmla="*/ 3368345 h 6479439"/>
                <a:gd name="connsiteX4557" fmla="*/ 961265 w 9586368"/>
                <a:gd name="connsiteY4557" fmla="*/ 3368345 h 6479439"/>
                <a:gd name="connsiteX4558" fmla="*/ 957246 w 9586368"/>
                <a:gd name="connsiteY4558" fmla="*/ 3364306 h 6479439"/>
                <a:gd name="connsiteX4559" fmla="*/ 957246 w 9586368"/>
                <a:gd name="connsiteY4559" fmla="*/ 3354436 h 6479439"/>
                <a:gd name="connsiteX4560" fmla="*/ 721967 w 9586368"/>
                <a:gd name="connsiteY4560" fmla="*/ 3350398 h 6479439"/>
                <a:gd name="connsiteX4561" fmla="*/ 731877 w 9586368"/>
                <a:gd name="connsiteY4561" fmla="*/ 3350398 h 6479439"/>
                <a:gd name="connsiteX4562" fmla="*/ 735896 w 9586368"/>
                <a:gd name="connsiteY4562" fmla="*/ 3354436 h 6479439"/>
                <a:gd name="connsiteX4563" fmla="*/ 735896 w 9586368"/>
                <a:gd name="connsiteY4563" fmla="*/ 3364306 h 6479439"/>
                <a:gd name="connsiteX4564" fmla="*/ 731877 w 9586368"/>
                <a:gd name="connsiteY4564" fmla="*/ 3368345 h 6479439"/>
                <a:gd name="connsiteX4565" fmla="*/ 721967 w 9586368"/>
                <a:gd name="connsiteY4565" fmla="*/ 3368345 h 6479439"/>
                <a:gd name="connsiteX4566" fmla="*/ 717949 w 9586368"/>
                <a:gd name="connsiteY4566" fmla="*/ 3364306 h 6479439"/>
                <a:gd name="connsiteX4567" fmla="*/ 717949 w 9586368"/>
                <a:gd name="connsiteY4567" fmla="*/ 3354436 h 6479439"/>
                <a:gd name="connsiteX4568" fmla="*/ 482655 w 9586368"/>
                <a:gd name="connsiteY4568" fmla="*/ 3350398 h 6479439"/>
                <a:gd name="connsiteX4569" fmla="*/ 492565 w 9586368"/>
                <a:gd name="connsiteY4569" fmla="*/ 3350398 h 6479439"/>
                <a:gd name="connsiteX4570" fmla="*/ 496584 w 9586368"/>
                <a:gd name="connsiteY4570" fmla="*/ 3354436 h 6479439"/>
                <a:gd name="connsiteX4571" fmla="*/ 496584 w 9586368"/>
                <a:gd name="connsiteY4571" fmla="*/ 3364306 h 6479439"/>
                <a:gd name="connsiteX4572" fmla="*/ 492565 w 9586368"/>
                <a:gd name="connsiteY4572" fmla="*/ 3368345 h 6479439"/>
                <a:gd name="connsiteX4573" fmla="*/ 482655 w 9586368"/>
                <a:gd name="connsiteY4573" fmla="*/ 3368345 h 6479439"/>
                <a:gd name="connsiteX4574" fmla="*/ 478636 w 9586368"/>
                <a:gd name="connsiteY4574" fmla="*/ 3364306 h 6479439"/>
                <a:gd name="connsiteX4575" fmla="*/ 478636 w 9586368"/>
                <a:gd name="connsiteY4575" fmla="*/ 3354436 h 6479439"/>
                <a:gd name="connsiteX4576" fmla="*/ 243341 w 9586368"/>
                <a:gd name="connsiteY4576" fmla="*/ 3350398 h 6479439"/>
                <a:gd name="connsiteX4577" fmla="*/ 253252 w 9586368"/>
                <a:gd name="connsiteY4577" fmla="*/ 3350398 h 6479439"/>
                <a:gd name="connsiteX4578" fmla="*/ 257271 w 9586368"/>
                <a:gd name="connsiteY4578" fmla="*/ 3354436 h 6479439"/>
                <a:gd name="connsiteX4579" fmla="*/ 257271 w 9586368"/>
                <a:gd name="connsiteY4579" fmla="*/ 3364306 h 6479439"/>
                <a:gd name="connsiteX4580" fmla="*/ 253252 w 9586368"/>
                <a:gd name="connsiteY4580" fmla="*/ 3368345 h 6479439"/>
                <a:gd name="connsiteX4581" fmla="*/ 243341 w 9586368"/>
                <a:gd name="connsiteY4581" fmla="*/ 3368345 h 6479439"/>
                <a:gd name="connsiteX4582" fmla="*/ 239322 w 9586368"/>
                <a:gd name="connsiteY4582" fmla="*/ 3364306 h 6479439"/>
                <a:gd name="connsiteX4583" fmla="*/ 239322 w 9586368"/>
                <a:gd name="connsiteY4583" fmla="*/ 3354436 h 6479439"/>
                <a:gd name="connsiteX4584" fmla="*/ 4029 w 9586368"/>
                <a:gd name="connsiteY4584" fmla="*/ 3350398 h 6479439"/>
                <a:gd name="connsiteX4585" fmla="*/ 13938 w 9586368"/>
                <a:gd name="connsiteY4585" fmla="*/ 3350398 h 6479439"/>
                <a:gd name="connsiteX4586" fmla="*/ 17957 w 9586368"/>
                <a:gd name="connsiteY4586" fmla="*/ 3354436 h 6479439"/>
                <a:gd name="connsiteX4587" fmla="*/ 17957 w 9586368"/>
                <a:gd name="connsiteY4587" fmla="*/ 3364306 h 6479439"/>
                <a:gd name="connsiteX4588" fmla="*/ 13938 w 9586368"/>
                <a:gd name="connsiteY4588" fmla="*/ 3368345 h 6479439"/>
                <a:gd name="connsiteX4589" fmla="*/ 4029 w 9586368"/>
                <a:gd name="connsiteY4589" fmla="*/ 3368345 h 6479439"/>
                <a:gd name="connsiteX4590" fmla="*/ 9 w 9586368"/>
                <a:gd name="connsiteY4590" fmla="*/ 3364306 h 6479439"/>
                <a:gd name="connsiteX4591" fmla="*/ 9 w 9586368"/>
                <a:gd name="connsiteY4591" fmla="*/ 3354436 h 6479439"/>
                <a:gd name="connsiteX4592" fmla="*/ 2157820 w 9586368"/>
                <a:gd name="connsiteY4592" fmla="*/ 3111118 h 6479439"/>
                <a:gd name="connsiteX4593" fmla="*/ 2167731 w 9586368"/>
                <a:gd name="connsiteY4593" fmla="*/ 3111118 h 6479439"/>
                <a:gd name="connsiteX4594" fmla="*/ 2171750 w 9586368"/>
                <a:gd name="connsiteY4594" fmla="*/ 3115157 h 6479439"/>
                <a:gd name="connsiteX4595" fmla="*/ 2171750 w 9586368"/>
                <a:gd name="connsiteY4595" fmla="*/ 3125027 h 6479439"/>
                <a:gd name="connsiteX4596" fmla="*/ 2167731 w 9586368"/>
                <a:gd name="connsiteY4596" fmla="*/ 3129066 h 6479439"/>
                <a:gd name="connsiteX4597" fmla="*/ 2157820 w 9586368"/>
                <a:gd name="connsiteY4597" fmla="*/ 3129066 h 6479439"/>
                <a:gd name="connsiteX4598" fmla="*/ 2153802 w 9586368"/>
                <a:gd name="connsiteY4598" fmla="*/ 3125027 h 6479439"/>
                <a:gd name="connsiteX4599" fmla="*/ 2153802 w 9586368"/>
                <a:gd name="connsiteY4599" fmla="*/ 3115157 h 6479439"/>
                <a:gd name="connsiteX4600" fmla="*/ 1918513 w 9586368"/>
                <a:gd name="connsiteY4600" fmla="*/ 3111118 h 6479439"/>
                <a:gd name="connsiteX4601" fmla="*/ 1928422 w 9586368"/>
                <a:gd name="connsiteY4601" fmla="*/ 3111118 h 6479439"/>
                <a:gd name="connsiteX4602" fmla="*/ 1932441 w 9586368"/>
                <a:gd name="connsiteY4602" fmla="*/ 3115157 h 6479439"/>
                <a:gd name="connsiteX4603" fmla="*/ 1932441 w 9586368"/>
                <a:gd name="connsiteY4603" fmla="*/ 3125027 h 6479439"/>
                <a:gd name="connsiteX4604" fmla="*/ 1928422 w 9586368"/>
                <a:gd name="connsiteY4604" fmla="*/ 3129066 h 6479439"/>
                <a:gd name="connsiteX4605" fmla="*/ 1918513 w 9586368"/>
                <a:gd name="connsiteY4605" fmla="*/ 3129066 h 6479439"/>
                <a:gd name="connsiteX4606" fmla="*/ 1914493 w 9586368"/>
                <a:gd name="connsiteY4606" fmla="*/ 3125027 h 6479439"/>
                <a:gd name="connsiteX4607" fmla="*/ 1914493 w 9586368"/>
                <a:gd name="connsiteY4607" fmla="*/ 3115157 h 6479439"/>
                <a:gd name="connsiteX4608" fmla="*/ 1679211 w 9586368"/>
                <a:gd name="connsiteY4608" fmla="*/ 3111118 h 6479439"/>
                <a:gd name="connsiteX4609" fmla="*/ 1689121 w 9586368"/>
                <a:gd name="connsiteY4609" fmla="*/ 3111118 h 6479439"/>
                <a:gd name="connsiteX4610" fmla="*/ 1693139 w 9586368"/>
                <a:gd name="connsiteY4610" fmla="*/ 3115157 h 6479439"/>
                <a:gd name="connsiteX4611" fmla="*/ 1693139 w 9586368"/>
                <a:gd name="connsiteY4611" fmla="*/ 3125027 h 6479439"/>
                <a:gd name="connsiteX4612" fmla="*/ 1689121 w 9586368"/>
                <a:gd name="connsiteY4612" fmla="*/ 3129066 h 6479439"/>
                <a:gd name="connsiteX4613" fmla="*/ 1679211 w 9586368"/>
                <a:gd name="connsiteY4613" fmla="*/ 3129066 h 6479439"/>
                <a:gd name="connsiteX4614" fmla="*/ 1675191 w 9586368"/>
                <a:gd name="connsiteY4614" fmla="*/ 3125027 h 6479439"/>
                <a:gd name="connsiteX4615" fmla="*/ 1675191 w 9586368"/>
                <a:gd name="connsiteY4615" fmla="*/ 3115157 h 6479439"/>
                <a:gd name="connsiteX4616" fmla="*/ 1439895 w 9586368"/>
                <a:gd name="connsiteY4616" fmla="*/ 3111118 h 6479439"/>
                <a:gd name="connsiteX4617" fmla="*/ 1449805 w 9586368"/>
                <a:gd name="connsiteY4617" fmla="*/ 3111118 h 6479439"/>
                <a:gd name="connsiteX4618" fmla="*/ 1453823 w 9586368"/>
                <a:gd name="connsiteY4618" fmla="*/ 3115157 h 6479439"/>
                <a:gd name="connsiteX4619" fmla="*/ 1453823 w 9586368"/>
                <a:gd name="connsiteY4619" fmla="*/ 3125027 h 6479439"/>
                <a:gd name="connsiteX4620" fmla="*/ 1449805 w 9586368"/>
                <a:gd name="connsiteY4620" fmla="*/ 3129066 h 6479439"/>
                <a:gd name="connsiteX4621" fmla="*/ 1439895 w 9586368"/>
                <a:gd name="connsiteY4621" fmla="*/ 3129066 h 6479439"/>
                <a:gd name="connsiteX4622" fmla="*/ 1435875 w 9586368"/>
                <a:gd name="connsiteY4622" fmla="*/ 3125027 h 6479439"/>
                <a:gd name="connsiteX4623" fmla="*/ 1435875 w 9586368"/>
                <a:gd name="connsiteY4623" fmla="*/ 3115157 h 6479439"/>
                <a:gd name="connsiteX4624" fmla="*/ 1200578 w 9586368"/>
                <a:gd name="connsiteY4624" fmla="*/ 3111118 h 6479439"/>
                <a:gd name="connsiteX4625" fmla="*/ 1210489 w 9586368"/>
                <a:gd name="connsiteY4625" fmla="*/ 3111118 h 6479439"/>
                <a:gd name="connsiteX4626" fmla="*/ 1214507 w 9586368"/>
                <a:gd name="connsiteY4626" fmla="*/ 3115157 h 6479439"/>
                <a:gd name="connsiteX4627" fmla="*/ 1214507 w 9586368"/>
                <a:gd name="connsiteY4627" fmla="*/ 3125027 h 6479439"/>
                <a:gd name="connsiteX4628" fmla="*/ 1210489 w 9586368"/>
                <a:gd name="connsiteY4628" fmla="*/ 3129066 h 6479439"/>
                <a:gd name="connsiteX4629" fmla="*/ 1200578 w 9586368"/>
                <a:gd name="connsiteY4629" fmla="*/ 3129066 h 6479439"/>
                <a:gd name="connsiteX4630" fmla="*/ 1196560 w 9586368"/>
                <a:gd name="connsiteY4630" fmla="*/ 3125027 h 6479439"/>
                <a:gd name="connsiteX4631" fmla="*/ 1196560 w 9586368"/>
                <a:gd name="connsiteY4631" fmla="*/ 3115157 h 6479439"/>
                <a:gd name="connsiteX4632" fmla="*/ 961266 w 9586368"/>
                <a:gd name="connsiteY4632" fmla="*/ 3111118 h 6479439"/>
                <a:gd name="connsiteX4633" fmla="*/ 971176 w 9586368"/>
                <a:gd name="connsiteY4633" fmla="*/ 3111118 h 6479439"/>
                <a:gd name="connsiteX4634" fmla="*/ 975195 w 9586368"/>
                <a:gd name="connsiteY4634" fmla="*/ 3115157 h 6479439"/>
                <a:gd name="connsiteX4635" fmla="*/ 975195 w 9586368"/>
                <a:gd name="connsiteY4635" fmla="*/ 3125027 h 6479439"/>
                <a:gd name="connsiteX4636" fmla="*/ 971176 w 9586368"/>
                <a:gd name="connsiteY4636" fmla="*/ 3129066 h 6479439"/>
                <a:gd name="connsiteX4637" fmla="*/ 961266 w 9586368"/>
                <a:gd name="connsiteY4637" fmla="*/ 3129066 h 6479439"/>
                <a:gd name="connsiteX4638" fmla="*/ 957247 w 9586368"/>
                <a:gd name="connsiteY4638" fmla="*/ 3125027 h 6479439"/>
                <a:gd name="connsiteX4639" fmla="*/ 957247 w 9586368"/>
                <a:gd name="connsiteY4639" fmla="*/ 3115157 h 6479439"/>
                <a:gd name="connsiteX4640" fmla="*/ 9572438 w 9586368"/>
                <a:gd name="connsiteY4640" fmla="*/ 3111067 h 6479439"/>
                <a:gd name="connsiteX4641" fmla="*/ 9582349 w 9586368"/>
                <a:gd name="connsiteY4641" fmla="*/ 3111067 h 6479439"/>
                <a:gd name="connsiteX4642" fmla="*/ 9586368 w 9586368"/>
                <a:gd name="connsiteY4642" fmla="*/ 3115105 h 6479439"/>
                <a:gd name="connsiteX4643" fmla="*/ 9586368 w 9586368"/>
                <a:gd name="connsiteY4643" fmla="*/ 3124976 h 6479439"/>
                <a:gd name="connsiteX4644" fmla="*/ 9582349 w 9586368"/>
                <a:gd name="connsiteY4644" fmla="*/ 3129015 h 6479439"/>
                <a:gd name="connsiteX4645" fmla="*/ 9572438 w 9586368"/>
                <a:gd name="connsiteY4645" fmla="*/ 3129015 h 6479439"/>
                <a:gd name="connsiteX4646" fmla="*/ 9568419 w 9586368"/>
                <a:gd name="connsiteY4646" fmla="*/ 3124976 h 6479439"/>
                <a:gd name="connsiteX4647" fmla="*/ 9568419 w 9586368"/>
                <a:gd name="connsiteY4647" fmla="*/ 3115105 h 6479439"/>
                <a:gd name="connsiteX4648" fmla="*/ 9333125 w 9586368"/>
                <a:gd name="connsiteY4648" fmla="*/ 3111067 h 6479439"/>
                <a:gd name="connsiteX4649" fmla="*/ 9343036 w 9586368"/>
                <a:gd name="connsiteY4649" fmla="*/ 3111067 h 6479439"/>
                <a:gd name="connsiteX4650" fmla="*/ 9347055 w 9586368"/>
                <a:gd name="connsiteY4650" fmla="*/ 3115105 h 6479439"/>
                <a:gd name="connsiteX4651" fmla="*/ 9347055 w 9586368"/>
                <a:gd name="connsiteY4651" fmla="*/ 3124976 h 6479439"/>
                <a:gd name="connsiteX4652" fmla="*/ 9343036 w 9586368"/>
                <a:gd name="connsiteY4652" fmla="*/ 3129015 h 6479439"/>
                <a:gd name="connsiteX4653" fmla="*/ 9333125 w 9586368"/>
                <a:gd name="connsiteY4653" fmla="*/ 3129015 h 6479439"/>
                <a:gd name="connsiteX4654" fmla="*/ 9329106 w 9586368"/>
                <a:gd name="connsiteY4654" fmla="*/ 3124976 h 6479439"/>
                <a:gd name="connsiteX4655" fmla="*/ 9329106 w 9586368"/>
                <a:gd name="connsiteY4655" fmla="*/ 3115105 h 6479439"/>
                <a:gd name="connsiteX4656" fmla="*/ 9093811 w 9586368"/>
                <a:gd name="connsiteY4656" fmla="*/ 3111067 h 6479439"/>
                <a:gd name="connsiteX4657" fmla="*/ 9103722 w 9586368"/>
                <a:gd name="connsiteY4657" fmla="*/ 3111067 h 6479439"/>
                <a:gd name="connsiteX4658" fmla="*/ 9107741 w 9586368"/>
                <a:gd name="connsiteY4658" fmla="*/ 3115105 h 6479439"/>
                <a:gd name="connsiteX4659" fmla="*/ 9107741 w 9586368"/>
                <a:gd name="connsiteY4659" fmla="*/ 3124976 h 6479439"/>
                <a:gd name="connsiteX4660" fmla="*/ 9103722 w 9586368"/>
                <a:gd name="connsiteY4660" fmla="*/ 3129015 h 6479439"/>
                <a:gd name="connsiteX4661" fmla="*/ 9093811 w 9586368"/>
                <a:gd name="connsiteY4661" fmla="*/ 3129015 h 6479439"/>
                <a:gd name="connsiteX4662" fmla="*/ 9089792 w 9586368"/>
                <a:gd name="connsiteY4662" fmla="*/ 3124976 h 6479439"/>
                <a:gd name="connsiteX4663" fmla="*/ 9089792 w 9586368"/>
                <a:gd name="connsiteY4663" fmla="*/ 3115105 h 6479439"/>
                <a:gd name="connsiteX4664" fmla="*/ 8854496 w 9586368"/>
                <a:gd name="connsiteY4664" fmla="*/ 3111067 h 6479439"/>
                <a:gd name="connsiteX4665" fmla="*/ 8864407 w 9586368"/>
                <a:gd name="connsiteY4665" fmla="*/ 3111067 h 6479439"/>
                <a:gd name="connsiteX4666" fmla="*/ 8868426 w 9586368"/>
                <a:gd name="connsiteY4666" fmla="*/ 3115105 h 6479439"/>
                <a:gd name="connsiteX4667" fmla="*/ 8868426 w 9586368"/>
                <a:gd name="connsiteY4667" fmla="*/ 3124976 h 6479439"/>
                <a:gd name="connsiteX4668" fmla="*/ 8864407 w 9586368"/>
                <a:gd name="connsiteY4668" fmla="*/ 3129015 h 6479439"/>
                <a:gd name="connsiteX4669" fmla="*/ 8854496 w 9586368"/>
                <a:gd name="connsiteY4669" fmla="*/ 3129015 h 6479439"/>
                <a:gd name="connsiteX4670" fmla="*/ 8850477 w 9586368"/>
                <a:gd name="connsiteY4670" fmla="*/ 3124976 h 6479439"/>
                <a:gd name="connsiteX4671" fmla="*/ 8850477 w 9586368"/>
                <a:gd name="connsiteY4671" fmla="*/ 3115105 h 6479439"/>
                <a:gd name="connsiteX4672" fmla="*/ 8615184 w 9586368"/>
                <a:gd name="connsiteY4672" fmla="*/ 3111067 h 6479439"/>
                <a:gd name="connsiteX4673" fmla="*/ 8625095 w 9586368"/>
                <a:gd name="connsiteY4673" fmla="*/ 3111067 h 6479439"/>
                <a:gd name="connsiteX4674" fmla="*/ 8629114 w 9586368"/>
                <a:gd name="connsiteY4674" fmla="*/ 3115105 h 6479439"/>
                <a:gd name="connsiteX4675" fmla="*/ 8629114 w 9586368"/>
                <a:gd name="connsiteY4675" fmla="*/ 3124976 h 6479439"/>
                <a:gd name="connsiteX4676" fmla="*/ 8625095 w 9586368"/>
                <a:gd name="connsiteY4676" fmla="*/ 3129015 h 6479439"/>
                <a:gd name="connsiteX4677" fmla="*/ 8615184 w 9586368"/>
                <a:gd name="connsiteY4677" fmla="*/ 3129015 h 6479439"/>
                <a:gd name="connsiteX4678" fmla="*/ 8611165 w 9586368"/>
                <a:gd name="connsiteY4678" fmla="*/ 3124976 h 6479439"/>
                <a:gd name="connsiteX4679" fmla="*/ 8611165 w 9586368"/>
                <a:gd name="connsiteY4679" fmla="*/ 3115105 h 6479439"/>
                <a:gd name="connsiteX4680" fmla="*/ 8375869 w 9586368"/>
                <a:gd name="connsiteY4680" fmla="*/ 3111067 h 6479439"/>
                <a:gd name="connsiteX4681" fmla="*/ 8385779 w 9586368"/>
                <a:gd name="connsiteY4681" fmla="*/ 3111067 h 6479439"/>
                <a:gd name="connsiteX4682" fmla="*/ 8389799 w 9586368"/>
                <a:gd name="connsiteY4682" fmla="*/ 3115105 h 6479439"/>
                <a:gd name="connsiteX4683" fmla="*/ 8389799 w 9586368"/>
                <a:gd name="connsiteY4683" fmla="*/ 3124976 h 6479439"/>
                <a:gd name="connsiteX4684" fmla="*/ 8385779 w 9586368"/>
                <a:gd name="connsiteY4684" fmla="*/ 3129015 h 6479439"/>
                <a:gd name="connsiteX4685" fmla="*/ 8375869 w 9586368"/>
                <a:gd name="connsiteY4685" fmla="*/ 3129015 h 6479439"/>
                <a:gd name="connsiteX4686" fmla="*/ 8371850 w 9586368"/>
                <a:gd name="connsiteY4686" fmla="*/ 3124976 h 6479439"/>
                <a:gd name="connsiteX4687" fmla="*/ 8371850 w 9586368"/>
                <a:gd name="connsiteY4687" fmla="*/ 3115105 h 6479439"/>
                <a:gd name="connsiteX4688" fmla="*/ 8136553 w 9586368"/>
                <a:gd name="connsiteY4688" fmla="*/ 3111067 h 6479439"/>
                <a:gd name="connsiteX4689" fmla="*/ 8146464 w 9586368"/>
                <a:gd name="connsiteY4689" fmla="*/ 3111067 h 6479439"/>
                <a:gd name="connsiteX4690" fmla="*/ 8150483 w 9586368"/>
                <a:gd name="connsiteY4690" fmla="*/ 3115105 h 6479439"/>
                <a:gd name="connsiteX4691" fmla="*/ 8150483 w 9586368"/>
                <a:gd name="connsiteY4691" fmla="*/ 3124976 h 6479439"/>
                <a:gd name="connsiteX4692" fmla="*/ 8146464 w 9586368"/>
                <a:gd name="connsiteY4692" fmla="*/ 3129015 h 6479439"/>
                <a:gd name="connsiteX4693" fmla="*/ 8136553 w 9586368"/>
                <a:gd name="connsiteY4693" fmla="*/ 3129015 h 6479439"/>
                <a:gd name="connsiteX4694" fmla="*/ 8132534 w 9586368"/>
                <a:gd name="connsiteY4694" fmla="*/ 3124976 h 6479439"/>
                <a:gd name="connsiteX4695" fmla="*/ 8132534 w 9586368"/>
                <a:gd name="connsiteY4695" fmla="*/ 3115105 h 6479439"/>
                <a:gd name="connsiteX4696" fmla="*/ 7897241 w 9586368"/>
                <a:gd name="connsiteY4696" fmla="*/ 3111067 h 6479439"/>
                <a:gd name="connsiteX4697" fmla="*/ 7907151 w 9586368"/>
                <a:gd name="connsiteY4697" fmla="*/ 3111067 h 6479439"/>
                <a:gd name="connsiteX4698" fmla="*/ 7911170 w 9586368"/>
                <a:gd name="connsiteY4698" fmla="*/ 3115105 h 6479439"/>
                <a:gd name="connsiteX4699" fmla="*/ 7911170 w 9586368"/>
                <a:gd name="connsiteY4699" fmla="*/ 3124976 h 6479439"/>
                <a:gd name="connsiteX4700" fmla="*/ 7907151 w 9586368"/>
                <a:gd name="connsiteY4700" fmla="*/ 3129015 h 6479439"/>
                <a:gd name="connsiteX4701" fmla="*/ 7897241 w 9586368"/>
                <a:gd name="connsiteY4701" fmla="*/ 3129015 h 6479439"/>
                <a:gd name="connsiteX4702" fmla="*/ 7893222 w 9586368"/>
                <a:gd name="connsiteY4702" fmla="*/ 3124976 h 6479439"/>
                <a:gd name="connsiteX4703" fmla="*/ 7893222 w 9586368"/>
                <a:gd name="connsiteY4703" fmla="*/ 3115105 h 6479439"/>
                <a:gd name="connsiteX4704" fmla="*/ 7657926 w 9586368"/>
                <a:gd name="connsiteY4704" fmla="*/ 3111067 h 6479439"/>
                <a:gd name="connsiteX4705" fmla="*/ 7667836 w 9586368"/>
                <a:gd name="connsiteY4705" fmla="*/ 3111067 h 6479439"/>
                <a:gd name="connsiteX4706" fmla="*/ 7671855 w 9586368"/>
                <a:gd name="connsiteY4706" fmla="*/ 3115105 h 6479439"/>
                <a:gd name="connsiteX4707" fmla="*/ 7671855 w 9586368"/>
                <a:gd name="connsiteY4707" fmla="*/ 3124976 h 6479439"/>
                <a:gd name="connsiteX4708" fmla="*/ 7667836 w 9586368"/>
                <a:gd name="connsiteY4708" fmla="*/ 3129015 h 6479439"/>
                <a:gd name="connsiteX4709" fmla="*/ 7657926 w 9586368"/>
                <a:gd name="connsiteY4709" fmla="*/ 3129015 h 6479439"/>
                <a:gd name="connsiteX4710" fmla="*/ 7653906 w 9586368"/>
                <a:gd name="connsiteY4710" fmla="*/ 3124976 h 6479439"/>
                <a:gd name="connsiteX4711" fmla="*/ 7653906 w 9586368"/>
                <a:gd name="connsiteY4711" fmla="*/ 3115105 h 6479439"/>
                <a:gd name="connsiteX4712" fmla="*/ 7418611 w 9586368"/>
                <a:gd name="connsiteY4712" fmla="*/ 3111067 h 6479439"/>
                <a:gd name="connsiteX4713" fmla="*/ 7428521 w 9586368"/>
                <a:gd name="connsiteY4713" fmla="*/ 3111067 h 6479439"/>
                <a:gd name="connsiteX4714" fmla="*/ 7432540 w 9586368"/>
                <a:gd name="connsiteY4714" fmla="*/ 3115105 h 6479439"/>
                <a:gd name="connsiteX4715" fmla="*/ 7432540 w 9586368"/>
                <a:gd name="connsiteY4715" fmla="*/ 3124976 h 6479439"/>
                <a:gd name="connsiteX4716" fmla="*/ 7428521 w 9586368"/>
                <a:gd name="connsiteY4716" fmla="*/ 3129015 h 6479439"/>
                <a:gd name="connsiteX4717" fmla="*/ 7418611 w 9586368"/>
                <a:gd name="connsiteY4717" fmla="*/ 3129015 h 6479439"/>
                <a:gd name="connsiteX4718" fmla="*/ 7414592 w 9586368"/>
                <a:gd name="connsiteY4718" fmla="*/ 3124976 h 6479439"/>
                <a:gd name="connsiteX4719" fmla="*/ 7414592 w 9586368"/>
                <a:gd name="connsiteY4719" fmla="*/ 3115105 h 6479439"/>
                <a:gd name="connsiteX4720" fmla="*/ 7179298 w 9586368"/>
                <a:gd name="connsiteY4720" fmla="*/ 3111067 h 6479439"/>
                <a:gd name="connsiteX4721" fmla="*/ 7189209 w 9586368"/>
                <a:gd name="connsiteY4721" fmla="*/ 3111067 h 6479439"/>
                <a:gd name="connsiteX4722" fmla="*/ 7193228 w 9586368"/>
                <a:gd name="connsiteY4722" fmla="*/ 3115105 h 6479439"/>
                <a:gd name="connsiteX4723" fmla="*/ 7193228 w 9586368"/>
                <a:gd name="connsiteY4723" fmla="*/ 3124976 h 6479439"/>
                <a:gd name="connsiteX4724" fmla="*/ 7189209 w 9586368"/>
                <a:gd name="connsiteY4724" fmla="*/ 3129015 h 6479439"/>
                <a:gd name="connsiteX4725" fmla="*/ 7179298 w 9586368"/>
                <a:gd name="connsiteY4725" fmla="*/ 3129015 h 6479439"/>
                <a:gd name="connsiteX4726" fmla="*/ 7175279 w 9586368"/>
                <a:gd name="connsiteY4726" fmla="*/ 3124976 h 6479439"/>
                <a:gd name="connsiteX4727" fmla="*/ 7175279 w 9586368"/>
                <a:gd name="connsiteY4727" fmla="*/ 3115105 h 6479439"/>
                <a:gd name="connsiteX4728" fmla="*/ 6939983 w 9586368"/>
                <a:gd name="connsiteY4728" fmla="*/ 3111067 h 6479439"/>
                <a:gd name="connsiteX4729" fmla="*/ 6949894 w 9586368"/>
                <a:gd name="connsiteY4729" fmla="*/ 3111067 h 6479439"/>
                <a:gd name="connsiteX4730" fmla="*/ 6953913 w 9586368"/>
                <a:gd name="connsiteY4730" fmla="*/ 3115105 h 6479439"/>
                <a:gd name="connsiteX4731" fmla="*/ 6953913 w 9586368"/>
                <a:gd name="connsiteY4731" fmla="*/ 3124976 h 6479439"/>
                <a:gd name="connsiteX4732" fmla="*/ 6949894 w 9586368"/>
                <a:gd name="connsiteY4732" fmla="*/ 3129015 h 6479439"/>
                <a:gd name="connsiteX4733" fmla="*/ 6939983 w 9586368"/>
                <a:gd name="connsiteY4733" fmla="*/ 3129015 h 6479439"/>
                <a:gd name="connsiteX4734" fmla="*/ 6935964 w 9586368"/>
                <a:gd name="connsiteY4734" fmla="*/ 3124976 h 6479439"/>
                <a:gd name="connsiteX4735" fmla="*/ 6935964 w 9586368"/>
                <a:gd name="connsiteY4735" fmla="*/ 3115105 h 6479439"/>
                <a:gd name="connsiteX4736" fmla="*/ 6700670 w 9586368"/>
                <a:gd name="connsiteY4736" fmla="*/ 3111067 h 6479439"/>
                <a:gd name="connsiteX4737" fmla="*/ 6710581 w 9586368"/>
                <a:gd name="connsiteY4737" fmla="*/ 3111067 h 6479439"/>
                <a:gd name="connsiteX4738" fmla="*/ 6714600 w 9586368"/>
                <a:gd name="connsiteY4738" fmla="*/ 3115105 h 6479439"/>
                <a:gd name="connsiteX4739" fmla="*/ 6714600 w 9586368"/>
                <a:gd name="connsiteY4739" fmla="*/ 3124976 h 6479439"/>
                <a:gd name="connsiteX4740" fmla="*/ 6710581 w 9586368"/>
                <a:gd name="connsiteY4740" fmla="*/ 3129015 h 6479439"/>
                <a:gd name="connsiteX4741" fmla="*/ 6700670 w 9586368"/>
                <a:gd name="connsiteY4741" fmla="*/ 3129015 h 6479439"/>
                <a:gd name="connsiteX4742" fmla="*/ 6696651 w 9586368"/>
                <a:gd name="connsiteY4742" fmla="*/ 3124976 h 6479439"/>
                <a:gd name="connsiteX4743" fmla="*/ 6696651 w 9586368"/>
                <a:gd name="connsiteY4743" fmla="*/ 3115105 h 6479439"/>
                <a:gd name="connsiteX4744" fmla="*/ 6461356 w 9586368"/>
                <a:gd name="connsiteY4744" fmla="*/ 3111067 h 6479439"/>
                <a:gd name="connsiteX4745" fmla="*/ 6471266 w 9586368"/>
                <a:gd name="connsiteY4745" fmla="*/ 3111067 h 6479439"/>
                <a:gd name="connsiteX4746" fmla="*/ 6475285 w 9586368"/>
                <a:gd name="connsiteY4746" fmla="*/ 3115105 h 6479439"/>
                <a:gd name="connsiteX4747" fmla="*/ 6475285 w 9586368"/>
                <a:gd name="connsiteY4747" fmla="*/ 3124976 h 6479439"/>
                <a:gd name="connsiteX4748" fmla="*/ 6471266 w 9586368"/>
                <a:gd name="connsiteY4748" fmla="*/ 3129015 h 6479439"/>
                <a:gd name="connsiteX4749" fmla="*/ 6461356 w 9586368"/>
                <a:gd name="connsiteY4749" fmla="*/ 3129015 h 6479439"/>
                <a:gd name="connsiteX4750" fmla="*/ 6457337 w 9586368"/>
                <a:gd name="connsiteY4750" fmla="*/ 3124976 h 6479439"/>
                <a:gd name="connsiteX4751" fmla="*/ 6457337 w 9586368"/>
                <a:gd name="connsiteY4751" fmla="*/ 3115105 h 6479439"/>
                <a:gd name="connsiteX4752" fmla="*/ 6222042 w 9586368"/>
                <a:gd name="connsiteY4752" fmla="*/ 3111067 h 6479439"/>
                <a:gd name="connsiteX4753" fmla="*/ 6231952 w 9586368"/>
                <a:gd name="connsiteY4753" fmla="*/ 3111067 h 6479439"/>
                <a:gd name="connsiteX4754" fmla="*/ 6235971 w 9586368"/>
                <a:gd name="connsiteY4754" fmla="*/ 3115105 h 6479439"/>
                <a:gd name="connsiteX4755" fmla="*/ 6235971 w 9586368"/>
                <a:gd name="connsiteY4755" fmla="*/ 3124976 h 6479439"/>
                <a:gd name="connsiteX4756" fmla="*/ 6231952 w 9586368"/>
                <a:gd name="connsiteY4756" fmla="*/ 3129015 h 6479439"/>
                <a:gd name="connsiteX4757" fmla="*/ 6222042 w 9586368"/>
                <a:gd name="connsiteY4757" fmla="*/ 3129015 h 6479439"/>
                <a:gd name="connsiteX4758" fmla="*/ 6218023 w 9586368"/>
                <a:gd name="connsiteY4758" fmla="*/ 3124976 h 6479439"/>
                <a:gd name="connsiteX4759" fmla="*/ 6218023 w 9586368"/>
                <a:gd name="connsiteY4759" fmla="*/ 3115105 h 6479439"/>
                <a:gd name="connsiteX4760" fmla="*/ 5982729 w 9586368"/>
                <a:gd name="connsiteY4760" fmla="*/ 3111067 h 6479439"/>
                <a:gd name="connsiteX4761" fmla="*/ 5992639 w 9586368"/>
                <a:gd name="connsiteY4761" fmla="*/ 3111067 h 6479439"/>
                <a:gd name="connsiteX4762" fmla="*/ 5996658 w 9586368"/>
                <a:gd name="connsiteY4762" fmla="*/ 3115105 h 6479439"/>
                <a:gd name="connsiteX4763" fmla="*/ 5996658 w 9586368"/>
                <a:gd name="connsiteY4763" fmla="*/ 3124976 h 6479439"/>
                <a:gd name="connsiteX4764" fmla="*/ 5992639 w 9586368"/>
                <a:gd name="connsiteY4764" fmla="*/ 3129015 h 6479439"/>
                <a:gd name="connsiteX4765" fmla="*/ 5982729 w 9586368"/>
                <a:gd name="connsiteY4765" fmla="*/ 3129015 h 6479439"/>
                <a:gd name="connsiteX4766" fmla="*/ 5978710 w 9586368"/>
                <a:gd name="connsiteY4766" fmla="*/ 3124976 h 6479439"/>
                <a:gd name="connsiteX4767" fmla="*/ 5978710 w 9586368"/>
                <a:gd name="connsiteY4767" fmla="*/ 3115105 h 6479439"/>
                <a:gd name="connsiteX4768" fmla="*/ 5743412 w 9586368"/>
                <a:gd name="connsiteY4768" fmla="*/ 3111067 h 6479439"/>
                <a:gd name="connsiteX4769" fmla="*/ 5753323 w 9586368"/>
                <a:gd name="connsiteY4769" fmla="*/ 3111067 h 6479439"/>
                <a:gd name="connsiteX4770" fmla="*/ 5757342 w 9586368"/>
                <a:gd name="connsiteY4770" fmla="*/ 3115105 h 6479439"/>
                <a:gd name="connsiteX4771" fmla="*/ 5757342 w 9586368"/>
                <a:gd name="connsiteY4771" fmla="*/ 3124976 h 6479439"/>
                <a:gd name="connsiteX4772" fmla="*/ 5753323 w 9586368"/>
                <a:gd name="connsiteY4772" fmla="*/ 3129015 h 6479439"/>
                <a:gd name="connsiteX4773" fmla="*/ 5743412 w 9586368"/>
                <a:gd name="connsiteY4773" fmla="*/ 3129015 h 6479439"/>
                <a:gd name="connsiteX4774" fmla="*/ 5739393 w 9586368"/>
                <a:gd name="connsiteY4774" fmla="*/ 3124976 h 6479439"/>
                <a:gd name="connsiteX4775" fmla="*/ 5739393 w 9586368"/>
                <a:gd name="connsiteY4775" fmla="*/ 3115105 h 6479439"/>
                <a:gd name="connsiteX4776" fmla="*/ 5504099 w 9586368"/>
                <a:gd name="connsiteY4776" fmla="*/ 3111067 h 6479439"/>
                <a:gd name="connsiteX4777" fmla="*/ 5514010 w 9586368"/>
                <a:gd name="connsiteY4777" fmla="*/ 3111067 h 6479439"/>
                <a:gd name="connsiteX4778" fmla="*/ 5518029 w 9586368"/>
                <a:gd name="connsiteY4778" fmla="*/ 3115105 h 6479439"/>
                <a:gd name="connsiteX4779" fmla="*/ 5518029 w 9586368"/>
                <a:gd name="connsiteY4779" fmla="*/ 3124976 h 6479439"/>
                <a:gd name="connsiteX4780" fmla="*/ 5514010 w 9586368"/>
                <a:gd name="connsiteY4780" fmla="*/ 3129015 h 6479439"/>
                <a:gd name="connsiteX4781" fmla="*/ 5504099 w 9586368"/>
                <a:gd name="connsiteY4781" fmla="*/ 3129015 h 6479439"/>
                <a:gd name="connsiteX4782" fmla="*/ 5500080 w 9586368"/>
                <a:gd name="connsiteY4782" fmla="*/ 3124976 h 6479439"/>
                <a:gd name="connsiteX4783" fmla="*/ 5500080 w 9586368"/>
                <a:gd name="connsiteY4783" fmla="*/ 3115105 h 6479439"/>
                <a:gd name="connsiteX4784" fmla="*/ 5264784 w 9586368"/>
                <a:gd name="connsiteY4784" fmla="*/ 3111067 h 6479439"/>
                <a:gd name="connsiteX4785" fmla="*/ 5274694 w 9586368"/>
                <a:gd name="connsiteY4785" fmla="*/ 3111067 h 6479439"/>
                <a:gd name="connsiteX4786" fmla="*/ 5278713 w 9586368"/>
                <a:gd name="connsiteY4786" fmla="*/ 3115105 h 6479439"/>
                <a:gd name="connsiteX4787" fmla="*/ 5278713 w 9586368"/>
                <a:gd name="connsiteY4787" fmla="*/ 3124976 h 6479439"/>
                <a:gd name="connsiteX4788" fmla="*/ 5274694 w 9586368"/>
                <a:gd name="connsiteY4788" fmla="*/ 3129015 h 6479439"/>
                <a:gd name="connsiteX4789" fmla="*/ 5264784 w 9586368"/>
                <a:gd name="connsiteY4789" fmla="*/ 3129015 h 6479439"/>
                <a:gd name="connsiteX4790" fmla="*/ 5260765 w 9586368"/>
                <a:gd name="connsiteY4790" fmla="*/ 3124976 h 6479439"/>
                <a:gd name="connsiteX4791" fmla="*/ 5260765 w 9586368"/>
                <a:gd name="connsiteY4791" fmla="*/ 3115105 h 6479439"/>
                <a:gd name="connsiteX4792" fmla="*/ 5025470 w 9586368"/>
                <a:gd name="connsiteY4792" fmla="*/ 3111067 h 6479439"/>
                <a:gd name="connsiteX4793" fmla="*/ 5035381 w 9586368"/>
                <a:gd name="connsiteY4793" fmla="*/ 3111067 h 6479439"/>
                <a:gd name="connsiteX4794" fmla="*/ 5039400 w 9586368"/>
                <a:gd name="connsiteY4794" fmla="*/ 3115105 h 6479439"/>
                <a:gd name="connsiteX4795" fmla="*/ 5039400 w 9586368"/>
                <a:gd name="connsiteY4795" fmla="*/ 3124976 h 6479439"/>
                <a:gd name="connsiteX4796" fmla="*/ 5035381 w 9586368"/>
                <a:gd name="connsiteY4796" fmla="*/ 3129015 h 6479439"/>
                <a:gd name="connsiteX4797" fmla="*/ 5025470 w 9586368"/>
                <a:gd name="connsiteY4797" fmla="*/ 3129015 h 6479439"/>
                <a:gd name="connsiteX4798" fmla="*/ 5021451 w 9586368"/>
                <a:gd name="connsiteY4798" fmla="*/ 3124976 h 6479439"/>
                <a:gd name="connsiteX4799" fmla="*/ 5021451 w 9586368"/>
                <a:gd name="connsiteY4799" fmla="*/ 3115105 h 6479439"/>
                <a:gd name="connsiteX4800" fmla="*/ 4786241 w 9586368"/>
                <a:gd name="connsiteY4800" fmla="*/ 3111067 h 6479439"/>
                <a:gd name="connsiteX4801" fmla="*/ 4796152 w 9586368"/>
                <a:gd name="connsiteY4801" fmla="*/ 3111067 h 6479439"/>
                <a:gd name="connsiteX4802" fmla="*/ 4800171 w 9586368"/>
                <a:gd name="connsiteY4802" fmla="*/ 3115105 h 6479439"/>
                <a:gd name="connsiteX4803" fmla="*/ 4800171 w 9586368"/>
                <a:gd name="connsiteY4803" fmla="*/ 3124976 h 6479439"/>
                <a:gd name="connsiteX4804" fmla="*/ 4796152 w 9586368"/>
                <a:gd name="connsiteY4804" fmla="*/ 3129015 h 6479439"/>
                <a:gd name="connsiteX4805" fmla="*/ 4786241 w 9586368"/>
                <a:gd name="connsiteY4805" fmla="*/ 3129015 h 6479439"/>
                <a:gd name="connsiteX4806" fmla="*/ 4782224 w 9586368"/>
                <a:gd name="connsiteY4806" fmla="*/ 3124976 h 6479439"/>
                <a:gd name="connsiteX4807" fmla="*/ 4782224 w 9586368"/>
                <a:gd name="connsiteY4807" fmla="*/ 3115105 h 6479439"/>
                <a:gd name="connsiteX4808" fmla="*/ 4546929 w 9586368"/>
                <a:gd name="connsiteY4808" fmla="*/ 3111067 h 6479439"/>
                <a:gd name="connsiteX4809" fmla="*/ 4556840 w 9586368"/>
                <a:gd name="connsiteY4809" fmla="*/ 3111067 h 6479439"/>
                <a:gd name="connsiteX4810" fmla="*/ 4560859 w 9586368"/>
                <a:gd name="connsiteY4810" fmla="*/ 3115105 h 6479439"/>
                <a:gd name="connsiteX4811" fmla="*/ 4560859 w 9586368"/>
                <a:gd name="connsiteY4811" fmla="*/ 3124976 h 6479439"/>
                <a:gd name="connsiteX4812" fmla="*/ 4556840 w 9586368"/>
                <a:gd name="connsiteY4812" fmla="*/ 3129015 h 6479439"/>
                <a:gd name="connsiteX4813" fmla="*/ 4546929 w 9586368"/>
                <a:gd name="connsiteY4813" fmla="*/ 3129015 h 6479439"/>
                <a:gd name="connsiteX4814" fmla="*/ 4542910 w 9586368"/>
                <a:gd name="connsiteY4814" fmla="*/ 3124976 h 6479439"/>
                <a:gd name="connsiteX4815" fmla="*/ 4542910 w 9586368"/>
                <a:gd name="connsiteY4815" fmla="*/ 3115105 h 6479439"/>
                <a:gd name="connsiteX4816" fmla="*/ 4307612 w 9586368"/>
                <a:gd name="connsiteY4816" fmla="*/ 3111067 h 6479439"/>
                <a:gd name="connsiteX4817" fmla="*/ 4317523 w 9586368"/>
                <a:gd name="connsiteY4817" fmla="*/ 3111067 h 6479439"/>
                <a:gd name="connsiteX4818" fmla="*/ 4321543 w 9586368"/>
                <a:gd name="connsiteY4818" fmla="*/ 3115105 h 6479439"/>
                <a:gd name="connsiteX4819" fmla="*/ 4321543 w 9586368"/>
                <a:gd name="connsiteY4819" fmla="*/ 3124976 h 6479439"/>
                <a:gd name="connsiteX4820" fmla="*/ 4317523 w 9586368"/>
                <a:gd name="connsiteY4820" fmla="*/ 3129015 h 6479439"/>
                <a:gd name="connsiteX4821" fmla="*/ 4307612 w 9586368"/>
                <a:gd name="connsiteY4821" fmla="*/ 3129015 h 6479439"/>
                <a:gd name="connsiteX4822" fmla="*/ 4303595 w 9586368"/>
                <a:gd name="connsiteY4822" fmla="*/ 3124976 h 6479439"/>
                <a:gd name="connsiteX4823" fmla="*/ 4303595 w 9586368"/>
                <a:gd name="connsiteY4823" fmla="*/ 3115105 h 6479439"/>
                <a:gd name="connsiteX4824" fmla="*/ 4068297 w 9586368"/>
                <a:gd name="connsiteY4824" fmla="*/ 3111067 h 6479439"/>
                <a:gd name="connsiteX4825" fmla="*/ 4078210 w 9586368"/>
                <a:gd name="connsiteY4825" fmla="*/ 3111067 h 6479439"/>
                <a:gd name="connsiteX4826" fmla="*/ 4082229 w 9586368"/>
                <a:gd name="connsiteY4826" fmla="*/ 3115105 h 6479439"/>
                <a:gd name="connsiteX4827" fmla="*/ 4082229 w 9586368"/>
                <a:gd name="connsiteY4827" fmla="*/ 3124976 h 6479439"/>
                <a:gd name="connsiteX4828" fmla="*/ 4078210 w 9586368"/>
                <a:gd name="connsiteY4828" fmla="*/ 3129015 h 6479439"/>
                <a:gd name="connsiteX4829" fmla="*/ 4068297 w 9586368"/>
                <a:gd name="connsiteY4829" fmla="*/ 3129015 h 6479439"/>
                <a:gd name="connsiteX4830" fmla="*/ 4064278 w 9586368"/>
                <a:gd name="connsiteY4830" fmla="*/ 3124976 h 6479439"/>
                <a:gd name="connsiteX4831" fmla="*/ 4064278 w 9586368"/>
                <a:gd name="connsiteY4831" fmla="*/ 3115105 h 6479439"/>
                <a:gd name="connsiteX4832" fmla="*/ 3828990 w 9586368"/>
                <a:gd name="connsiteY4832" fmla="*/ 3111067 h 6479439"/>
                <a:gd name="connsiteX4833" fmla="*/ 3838899 w 9586368"/>
                <a:gd name="connsiteY4833" fmla="*/ 3111067 h 6479439"/>
                <a:gd name="connsiteX4834" fmla="*/ 3842917 w 9586368"/>
                <a:gd name="connsiteY4834" fmla="*/ 3115105 h 6479439"/>
                <a:gd name="connsiteX4835" fmla="*/ 3842917 w 9586368"/>
                <a:gd name="connsiteY4835" fmla="*/ 3124976 h 6479439"/>
                <a:gd name="connsiteX4836" fmla="*/ 3838899 w 9586368"/>
                <a:gd name="connsiteY4836" fmla="*/ 3129015 h 6479439"/>
                <a:gd name="connsiteX4837" fmla="*/ 3828990 w 9586368"/>
                <a:gd name="connsiteY4837" fmla="*/ 3129015 h 6479439"/>
                <a:gd name="connsiteX4838" fmla="*/ 3824971 w 9586368"/>
                <a:gd name="connsiteY4838" fmla="*/ 3124976 h 6479439"/>
                <a:gd name="connsiteX4839" fmla="*/ 3824971 w 9586368"/>
                <a:gd name="connsiteY4839" fmla="*/ 3115105 h 6479439"/>
                <a:gd name="connsiteX4840" fmla="*/ 3589676 w 9586368"/>
                <a:gd name="connsiteY4840" fmla="*/ 3111067 h 6479439"/>
                <a:gd name="connsiteX4841" fmla="*/ 3599585 w 9586368"/>
                <a:gd name="connsiteY4841" fmla="*/ 3111067 h 6479439"/>
                <a:gd name="connsiteX4842" fmla="*/ 3603604 w 9586368"/>
                <a:gd name="connsiteY4842" fmla="*/ 3115105 h 6479439"/>
                <a:gd name="connsiteX4843" fmla="*/ 3603604 w 9586368"/>
                <a:gd name="connsiteY4843" fmla="*/ 3124976 h 6479439"/>
                <a:gd name="connsiteX4844" fmla="*/ 3599585 w 9586368"/>
                <a:gd name="connsiteY4844" fmla="*/ 3129015 h 6479439"/>
                <a:gd name="connsiteX4845" fmla="*/ 3589676 w 9586368"/>
                <a:gd name="connsiteY4845" fmla="*/ 3129015 h 6479439"/>
                <a:gd name="connsiteX4846" fmla="*/ 3585657 w 9586368"/>
                <a:gd name="connsiteY4846" fmla="*/ 3124976 h 6479439"/>
                <a:gd name="connsiteX4847" fmla="*/ 3585657 w 9586368"/>
                <a:gd name="connsiteY4847" fmla="*/ 3115105 h 6479439"/>
                <a:gd name="connsiteX4848" fmla="*/ 3350359 w 9586368"/>
                <a:gd name="connsiteY4848" fmla="*/ 3111067 h 6479439"/>
                <a:gd name="connsiteX4849" fmla="*/ 3360268 w 9586368"/>
                <a:gd name="connsiteY4849" fmla="*/ 3111067 h 6479439"/>
                <a:gd name="connsiteX4850" fmla="*/ 3364287 w 9586368"/>
                <a:gd name="connsiteY4850" fmla="*/ 3115105 h 6479439"/>
                <a:gd name="connsiteX4851" fmla="*/ 3364287 w 9586368"/>
                <a:gd name="connsiteY4851" fmla="*/ 3124976 h 6479439"/>
                <a:gd name="connsiteX4852" fmla="*/ 3360268 w 9586368"/>
                <a:gd name="connsiteY4852" fmla="*/ 3129015 h 6479439"/>
                <a:gd name="connsiteX4853" fmla="*/ 3350359 w 9586368"/>
                <a:gd name="connsiteY4853" fmla="*/ 3129015 h 6479439"/>
                <a:gd name="connsiteX4854" fmla="*/ 3346340 w 9586368"/>
                <a:gd name="connsiteY4854" fmla="*/ 3124976 h 6479439"/>
                <a:gd name="connsiteX4855" fmla="*/ 3346340 w 9586368"/>
                <a:gd name="connsiteY4855" fmla="*/ 3115105 h 6479439"/>
                <a:gd name="connsiteX4856" fmla="*/ 3111048 w 9586368"/>
                <a:gd name="connsiteY4856" fmla="*/ 3111067 h 6479439"/>
                <a:gd name="connsiteX4857" fmla="*/ 3120959 w 9586368"/>
                <a:gd name="connsiteY4857" fmla="*/ 3111067 h 6479439"/>
                <a:gd name="connsiteX4858" fmla="*/ 3124977 w 9586368"/>
                <a:gd name="connsiteY4858" fmla="*/ 3115105 h 6479439"/>
                <a:gd name="connsiteX4859" fmla="*/ 3124977 w 9586368"/>
                <a:gd name="connsiteY4859" fmla="*/ 3124976 h 6479439"/>
                <a:gd name="connsiteX4860" fmla="*/ 3120959 w 9586368"/>
                <a:gd name="connsiteY4860" fmla="*/ 3129015 h 6479439"/>
                <a:gd name="connsiteX4861" fmla="*/ 3111048 w 9586368"/>
                <a:gd name="connsiteY4861" fmla="*/ 3129015 h 6479439"/>
                <a:gd name="connsiteX4862" fmla="*/ 3107029 w 9586368"/>
                <a:gd name="connsiteY4862" fmla="*/ 3124976 h 6479439"/>
                <a:gd name="connsiteX4863" fmla="*/ 3107029 w 9586368"/>
                <a:gd name="connsiteY4863" fmla="*/ 3115105 h 6479439"/>
                <a:gd name="connsiteX4864" fmla="*/ 2871737 w 9586368"/>
                <a:gd name="connsiteY4864" fmla="*/ 3111067 h 6479439"/>
                <a:gd name="connsiteX4865" fmla="*/ 2881646 w 9586368"/>
                <a:gd name="connsiteY4865" fmla="*/ 3111067 h 6479439"/>
                <a:gd name="connsiteX4866" fmla="*/ 2885666 w 9586368"/>
                <a:gd name="connsiteY4866" fmla="*/ 3115105 h 6479439"/>
                <a:gd name="connsiteX4867" fmla="*/ 2885666 w 9586368"/>
                <a:gd name="connsiteY4867" fmla="*/ 3124976 h 6479439"/>
                <a:gd name="connsiteX4868" fmla="*/ 2881646 w 9586368"/>
                <a:gd name="connsiteY4868" fmla="*/ 3129015 h 6479439"/>
                <a:gd name="connsiteX4869" fmla="*/ 2871737 w 9586368"/>
                <a:gd name="connsiteY4869" fmla="*/ 3129015 h 6479439"/>
                <a:gd name="connsiteX4870" fmla="*/ 2867717 w 9586368"/>
                <a:gd name="connsiteY4870" fmla="*/ 3124976 h 6479439"/>
                <a:gd name="connsiteX4871" fmla="*/ 2867717 w 9586368"/>
                <a:gd name="connsiteY4871" fmla="*/ 3115105 h 6479439"/>
                <a:gd name="connsiteX4872" fmla="*/ 2632423 w 9586368"/>
                <a:gd name="connsiteY4872" fmla="*/ 3111067 h 6479439"/>
                <a:gd name="connsiteX4873" fmla="*/ 2642334 w 9586368"/>
                <a:gd name="connsiteY4873" fmla="*/ 3111067 h 6479439"/>
                <a:gd name="connsiteX4874" fmla="*/ 2646352 w 9586368"/>
                <a:gd name="connsiteY4874" fmla="*/ 3115105 h 6479439"/>
                <a:gd name="connsiteX4875" fmla="*/ 2646352 w 9586368"/>
                <a:gd name="connsiteY4875" fmla="*/ 3124976 h 6479439"/>
                <a:gd name="connsiteX4876" fmla="*/ 2642334 w 9586368"/>
                <a:gd name="connsiteY4876" fmla="*/ 3129015 h 6479439"/>
                <a:gd name="connsiteX4877" fmla="*/ 2632423 w 9586368"/>
                <a:gd name="connsiteY4877" fmla="*/ 3129015 h 6479439"/>
                <a:gd name="connsiteX4878" fmla="*/ 2628404 w 9586368"/>
                <a:gd name="connsiteY4878" fmla="*/ 3124976 h 6479439"/>
                <a:gd name="connsiteX4879" fmla="*/ 2628404 w 9586368"/>
                <a:gd name="connsiteY4879" fmla="*/ 3115105 h 6479439"/>
                <a:gd name="connsiteX4880" fmla="*/ 2393104 w 9586368"/>
                <a:gd name="connsiteY4880" fmla="*/ 3111067 h 6479439"/>
                <a:gd name="connsiteX4881" fmla="*/ 2403015 w 9586368"/>
                <a:gd name="connsiteY4881" fmla="*/ 3111067 h 6479439"/>
                <a:gd name="connsiteX4882" fmla="*/ 2407034 w 9586368"/>
                <a:gd name="connsiteY4882" fmla="*/ 3115105 h 6479439"/>
                <a:gd name="connsiteX4883" fmla="*/ 2407034 w 9586368"/>
                <a:gd name="connsiteY4883" fmla="*/ 3124976 h 6479439"/>
                <a:gd name="connsiteX4884" fmla="*/ 2403015 w 9586368"/>
                <a:gd name="connsiteY4884" fmla="*/ 3129015 h 6479439"/>
                <a:gd name="connsiteX4885" fmla="*/ 2393104 w 9586368"/>
                <a:gd name="connsiteY4885" fmla="*/ 3129015 h 6479439"/>
                <a:gd name="connsiteX4886" fmla="*/ 2389087 w 9586368"/>
                <a:gd name="connsiteY4886" fmla="*/ 3124976 h 6479439"/>
                <a:gd name="connsiteX4887" fmla="*/ 2389087 w 9586368"/>
                <a:gd name="connsiteY4887" fmla="*/ 3115105 h 6479439"/>
                <a:gd name="connsiteX4888" fmla="*/ 721968 w 9586368"/>
                <a:gd name="connsiteY4888" fmla="*/ 3111067 h 6479439"/>
                <a:gd name="connsiteX4889" fmla="*/ 731878 w 9586368"/>
                <a:gd name="connsiteY4889" fmla="*/ 3111067 h 6479439"/>
                <a:gd name="connsiteX4890" fmla="*/ 735897 w 9586368"/>
                <a:gd name="connsiteY4890" fmla="*/ 3115105 h 6479439"/>
                <a:gd name="connsiteX4891" fmla="*/ 735897 w 9586368"/>
                <a:gd name="connsiteY4891" fmla="*/ 3124976 h 6479439"/>
                <a:gd name="connsiteX4892" fmla="*/ 731878 w 9586368"/>
                <a:gd name="connsiteY4892" fmla="*/ 3129015 h 6479439"/>
                <a:gd name="connsiteX4893" fmla="*/ 721968 w 9586368"/>
                <a:gd name="connsiteY4893" fmla="*/ 3129015 h 6479439"/>
                <a:gd name="connsiteX4894" fmla="*/ 717949 w 9586368"/>
                <a:gd name="connsiteY4894" fmla="*/ 3124976 h 6479439"/>
                <a:gd name="connsiteX4895" fmla="*/ 717949 w 9586368"/>
                <a:gd name="connsiteY4895" fmla="*/ 3115105 h 6479439"/>
                <a:gd name="connsiteX4896" fmla="*/ 482656 w 9586368"/>
                <a:gd name="connsiteY4896" fmla="*/ 3111067 h 6479439"/>
                <a:gd name="connsiteX4897" fmla="*/ 492566 w 9586368"/>
                <a:gd name="connsiteY4897" fmla="*/ 3111067 h 6479439"/>
                <a:gd name="connsiteX4898" fmla="*/ 496585 w 9586368"/>
                <a:gd name="connsiteY4898" fmla="*/ 3115105 h 6479439"/>
                <a:gd name="connsiteX4899" fmla="*/ 496585 w 9586368"/>
                <a:gd name="connsiteY4899" fmla="*/ 3124976 h 6479439"/>
                <a:gd name="connsiteX4900" fmla="*/ 492566 w 9586368"/>
                <a:gd name="connsiteY4900" fmla="*/ 3129015 h 6479439"/>
                <a:gd name="connsiteX4901" fmla="*/ 482656 w 9586368"/>
                <a:gd name="connsiteY4901" fmla="*/ 3129015 h 6479439"/>
                <a:gd name="connsiteX4902" fmla="*/ 478637 w 9586368"/>
                <a:gd name="connsiteY4902" fmla="*/ 3124976 h 6479439"/>
                <a:gd name="connsiteX4903" fmla="*/ 478637 w 9586368"/>
                <a:gd name="connsiteY4903" fmla="*/ 3115105 h 6479439"/>
                <a:gd name="connsiteX4904" fmla="*/ 243342 w 9586368"/>
                <a:gd name="connsiteY4904" fmla="*/ 3111067 h 6479439"/>
                <a:gd name="connsiteX4905" fmla="*/ 253252 w 9586368"/>
                <a:gd name="connsiteY4905" fmla="*/ 3111067 h 6479439"/>
                <a:gd name="connsiteX4906" fmla="*/ 257271 w 9586368"/>
                <a:gd name="connsiteY4906" fmla="*/ 3115105 h 6479439"/>
                <a:gd name="connsiteX4907" fmla="*/ 257271 w 9586368"/>
                <a:gd name="connsiteY4907" fmla="*/ 3124976 h 6479439"/>
                <a:gd name="connsiteX4908" fmla="*/ 253252 w 9586368"/>
                <a:gd name="connsiteY4908" fmla="*/ 3129015 h 6479439"/>
                <a:gd name="connsiteX4909" fmla="*/ 243342 w 9586368"/>
                <a:gd name="connsiteY4909" fmla="*/ 3129015 h 6479439"/>
                <a:gd name="connsiteX4910" fmla="*/ 239323 w 9586368"/>
                <a:gd name="connsiteY4910" fmla="*/ 3124976 h 6479439"/>
                <a:gd name="connsiteX4911" fmla="*/ 239323 w 9586368"/>
                <a:gd name="connsiteY4911" fmla="*/ 3115105 h 6479439"/>
                <a:gd name="connsiteX4912" fmla="*/ 4029 w 9586368"/>
                <a:gd name="connsiteY4912" fmla="*/ 3111067 h 6479439"/>
                <a:gd name="connsiteX4913" fmla="*/ 13939 w 9586368"/>
                <a:gd name="connsiteY4913" fmla="*/ 3111067 h 6479439"/>
                <a:gd name="connsiteX4914" fmla="*/ 17959 w 9586368"/>
                <a:gd name="connsiteY4914" fmla="*/ 3115105 h 6479439"/>
                <a:gd name="connsiteX4915" fmla="*/ 17959 w 9586368"/>
                <a:gd name="connsiteY4915" fmla="*/ 3124976 h 6479439"/>
                <a:gd name="connsiteX4916" fmla="*/ 13939 w 9586368"/>
                <a:gd name="connsiteY4916" fmla="*/ 3129015 h 6479439"/>
                <a:gd name="connsiteX4917" fmla="*/ 4029 w 9586368"/>
                <a:gd name="connsiteY4917" fmla="*/ 3129015 h 6479439"/>
                <a:gd name="connsiteX4918" fmla="*/ 10 w 9586368"/>
                <a:gd name="connsiteY4918" fmla="*/ 3124976 h 6479439"/>
                <a:gd name="connsiteX4919" fmla="*/ 10 w 9586368"/>
                <a:gd name="connsiteY4919" fmla="*/ 3115105 h 6479439"/>
                <a:gd name="connsiteX4920" fmla="*/ 2157820 w 9586368"/>
                <a:gd name="connsiteY4920" fmla="*/ 2871788 h 6479439"/>
                <a:gd name="connsiteX4921" fmla="*/ 2167732 w 9586368"/>
                <a:gd name="connsiteY4921" fmla="*/ 2871788 h 6479439"/>
                <a:gd name="connsiteX4922" fmla="*/ 2171750 w 9586368"/>
                <a:gd name="connsiteY4922" fmla="*/ 2875826 h 6479439"/>
                <a:gd name="connsiteX4923" fmla="*/ 2171750 w 9586368"/>
                <a:gd name="connsiteY4923" fmla="*/ 2885696 h 6479439"/>
                <a:gd name="connsiteX4924" fmla="*/ 2167732 w 9586368"/>
                <a:gd name="connsiteY4924" fmla="*/ 2889735 h 6479439"/>
                <a:gd name="connsiteX4925" fmla="*/ 2157820 w 9586368"/>
                <a:gd name="connsiteY4925" fmla="*/ 2889735 h 6479439"/>
                <a:gd name="connsiteX4926" fmla="*/ 2153802 w 9586368"/>
                <a:gd name="connsiteY4926" fmla="*/ 2885696 h 6479439"/>
                <a:gd name="connsiteX4927" fmla="*/ 2153802 w 9586368"/>
                <a:gd name="connsiteY4927" fmla="*/ 2875826 h 6479439"/>
                <a:gd name="connsiteX4928" fmla="*/ 1918513 w 9586368"/>
                <a:gd name="connsiteY4928" fmla="*/ 2871788 h 6479439"/>
                <a:gd name="connsiteX4929" fmla="*/ 1928422 w 9586368"/>
                <a:gd name="connsiteY4929" fmla="*/ 2871788 h 6479439"/>
                <a:gd name="connsiteX4930" fmla="*/ 1932441 w 9586368"/>
                <a:gd name="connsiteY4930" fmla="*/ 2875826 h 6479439"/>
                <a:gd name="connsiteX4931" fmla="*/ 1932441 w 9586368"/>
                <a:gd name="connsiteY4931" fmla="*/ 2885696 h 6479439"/>
                <a:gd name="connsiteX4932" fmla="*/ 1928422 w 9586368"/>
                <a:gd name="connsiteY4932" fmla="*/ 2889735 h 6479439"/>
                <a:gd name="connsiteX4933" fmla="*/ 1918513 w 9586368"/>
                <a:gd name="connsiteY4933" fmla="*/ 2889735 h 6479439"/>
                <a:gd name="connsiteX4934" fmla="*/ 1914493 w 9586368"/>
                <a:gd name="connsiteY4934" fmla="*/ 2885696 h 6479439"/>
                <a:gd name="connsiteX4935" fmla="*/ 1914493 w 9586368"/>
                <a:gd name="connsiteY4935" fmla="*/ 2875826 h 6479439"/>
                <a:gd name="connsiteX4936" fmla="*/ 1679211 w 9586368"/>
                <a:gd name="connsiteY4936" fmla="*/ 2871788 h 6479439"/>
                <a:gd name="connsiteX4937" fmla="*/ 1689121 w 9586368"/>
                <a:gd name="connsiteY4937" fmla="*/ 2871788 h 6479439"/>
                <a:gd name="connsiteX4938" fmla="*/ 1693141 w 9586368"/>
                <a:gd name="connsiteY4938" fmla="*/ 2875826 h 6479439"/>
                <a:gd name="connsiteX4939" fmla="*/ 1693141 w 9586368"/>
                <a:gd name="connsiteY4939" fmla="*/ 2885696 h 6479439"/>
                <a:gd name="connsiteX4940" fmla="*/ 1689121 w 9586368"/>
                <a:gd name="connsiteY4940" fmla="*/ 2889735 h 6479439"/>
                <a:gd name="connsiteX4941" fmla="*/ 1679211 w 9586368"/>
                <a:gd name="connsiteY4941" fmla="*/ 2889735 h 6479439"/>
                <a:gd name="connsiteX4942" fmla="*/ 1675193 w 9586368"/>
                <a:gd name="connsiteY4942" fmla="*/ 2885696 h 6479439"/>
                <a:gd name="connsiteX4943" fmla="*/ 1675193 w 9586368"/>
                <a:gd name="connsiteY4943" fmla="*/ 2875826 h 6479439"/>
                <a:gd name="connsiteX4944" fmla="*/ 1439895 w 9586368"/>
                <a:gd name="connsiteY4944" fmla="*/ 2871788 h 6479439"/>
                <a:gd name="connsiteX4945" fmla="*/ 1449805 w 9586368"/>
                <a:gd name="connsiteY4945" fmla="*/ 2871788 h 6479439"/>
                <a:gd name="connsiteX4946" fmla="*/ 1453824 w 9586368"/>
                <a:gd name="connsiteY4946" fmla="*/ 2875826 h 6479439"/>
                <a:gd name="connsiteX4947" fmla="*/ 1453824 w 9586368"/>
                <a:gd name="connsiteY4947" fmla="*/ 2885696 h 6479439"/>
                <a:gd name="connsiteX4948" fmla="*/ 1449805 w 9586368"/>
                <a:gd name="connsiteY4948" fmla="*/ 2889735 h 6479439"/>
                <a:gd name="connsiteX4949" fmla="*/ 1439895 w 9586368"/>
                <a:gd name="connsiteY4949" fmla="*/ 2889735 h 6479439"/>
                <a:gd name="connsiteX4950" fmla="*/ 1435876 w 9586368"/>
                <a:gd name="connsiteY4950" fmla="*/ 2885696 h 6479439"/>
                <a:gd name="connsiteX4951" fmla="*/ 1435876 w 9586368"/>
                <a:gd name="connsiteY4951" fmla="*/ 2875826 h 6479439"/>
                <a:gd name="connsiteX4952" fmla="*/ 1200579 w 9586368"/>
                <a:gd name="connsiteY4952" fmla="*/ 2871788 h 6479439"/>
                <a:gd name="connsiteX4953" fmla="*/ 1210489 w 9586368"/>
                <a:gd name="connsiteY4953" fmla="*/ 2871788 h 6479439"/>
                <a:gd name="connsiteX4954" fmla="*/ 1214509 w 9586368"/>
                <a:gd name="connsiteY4954" fmla="*/ 2875826 h 6479439"/>
                <a:gd name="connsiteX4955" fmla="*/ 1214509 w 9586368"/>
                <a:gd name="connsiteY4955" fmla="*/ 2885696 h 6479439"/>
                <a:gd name="connsiteX4956" fmla="*/ 1210489 w 9586368"/>
                <a:gd name="connsiteY4956" fmla="*/ 2889735 h 6479439"/>
                <a:gd name="connsiteX4957" fmla="*/ 1200579 w 9586368"/>
                <a:gd name="connsiteY4957" fmla="*/ 2889735 h 6479439"/>
                <a:gd name="connsiteX4958" fmla="*/ 1196560 w 9586368"/>
                <a:gd name="connsiteY4958" fmla="*/ 2885696 h 6479439"/>
                <a:gd name="connsiteX4959" fmla="*/ 1196560 w 9586368"/>
                <a:gd name="connsiteY4959" fmla="*/ 2875826 h 6479439"/>
                <a:gd name="connsiteX4960" fmla="*/ 961267 w 9586368"/>
                <a:gd name="connsiteY4960" fmla="*/ 2871788 h 6479439"/>
                <a:gd name="connsiteX4961" fmla="*/ 971177 w 9586368"/>
                <a:gd name="connsiteY4961" fmla="*/ 2871788 h 6479439"/>
                <a:gd name="connsiteX4962" fmla="*/ 975195 w 9586368"/>
                <a:gd name="connsiteY4962" fmla="*/ 2875826 h 6479439"/>
                <a:gd name="connsiteX4963" fmla="*/ 975195 w 9586368"/>
                <a:gd name="connsiteY4963" fmla="*/ 2885696 h 6479439"/>
                <a:gd name="connsiteX4964" fmla="*/ 971177 w 9586368"/>
                <a:gd name="connsiteY4964" fmla="*/ 2889735 h 6479439"/>
                <a:gd name="connsiteX4965" fmla="*/ 961267 w 9586368"/>
                <a:gd name="connsiteY4965" fmla="*/ 2889735 h 6479439"/>
                <a:gd name="connsiteX4966" fmla="*/ 957247 w 9586368"/>
                <a:gd name="connsiteY4966" fmla="*/ 2885696 h 6479439"/>
                <a:gd name="connsiteX4967" fmla="*/ 957247 w 9586368"/>
                <a:gd name="connsiteY4967" fmla="*/ 2875826 h 6479439"/>
                <a:gd name="connsiteX4968" fmla="*/ 9572438 w 9586368"/>
                <a:gd name="connsiteY4968" fmla="*/ 2871736 h 6479439"/>
                <a:gd name="connsiteX4969" fmla="*/ 9582349 w 9586368"/>
                <a:gd name="connsiteY4969" fmla="*/ 2871736 h 6479439"/>
                <a:gd name="connsiteX4970" fmla="*/ 9586368 w 9586368"/>
                <a:gd name="connsiteY4970" fmla="*/ 2875775 h 6479439"/>
                <a:gd name="connsiteX4971" fmla="*/ 9586368 w 9586368"/>
                <a:gd name="connsiteY4971" fmla="*/ 2885645 h 6479439"/>
                <a:gd name="connsiteX4972" fmla="*/ 9582349 w 9586368"/>
                <a:gd name="connsiteY4972" fmla="*/ 2889684 h 6479439"/>
                <a:gd name="connsiteX4973" fmla="*/ 9572438 w 9586368"/>
                <a:gd name="connsiteY4973" fmla="*/ 2889684 h 6479439"/>
                <a:gd name="connsiteX4974" fmla="*/ 9568419 w 9586368"/>
                <a:gd name="connsiteY4974" fmla="*/ 2885645 h 6479439"/>
                <a:gd name="connsiteX4975" fmla="*/ 9568419 w 9586368"/>
                <a:gd name="connsiteY4975" fmla="*/ 2875775 h 6479439"/>
                <a:gd name="connsiteX4976" fmla="*/ 9333125 w 9586368"/>
                <a:gd name="connsiteY4976" fmla="*/ 2871736 h 6479439"/>
                <a:gd name="connsiteX4977" fmla="*/ 9343036 w 9586368"/>
                <a:gd name="connsiteY4977" fmla="*/ 2871736 h 6479439"/>
                <a:gd name="connsiteX4978" fmla="*/ 9347055 w 9586368"/>
                <a:gd name="connsiteY4978" fmla="*/ 2875775 h 6479439"/>
                <a:gd name="connsiteX4979" fmla="*/ 9347055 w 9586368"/>
                <a:gd name="connsiteY4979" fmla="*/ 2885645 h 6479439"/>
                <a:gd name="connsiteX4980" fmla="*/ 9343036 w 9586368"/>
                <a:gd name="connsiteY4980" fmla="*/ 2889684 h 6479439"/>
                <a:gd name="connsiteX4981" fmla="*/ 9333125 w 9586368"/>
                <a:gd name="connsiteY4981" fmla="*/ 2889684 h 6479439"/>
                <a:gd name="connsiteX4982" fmla="*/ 9329106 w 9586368"/>
                <a:gd name="connsiteY4982" fmla="*/ 2885645 h 6479439"/>
                <a:gd name="connsiteX4983" fmla="*/ 9329106 w 9586368"/>
                <a:gd name="connsiteY4983" fmla="*/ 2875775 h 6479439"/>
                <a:gd name="connsiteX4984" fmla="*/ 9093811 w 9586368"/>
                <a:gd name="connsiteY4984" fmla="*/ 2871736 h 6479439"/>
                <a:gd name="connsiteX4985" fmla="*/ 9103722 w 9586368"/>
                <a:gd name="connsiteY4985" fmla="*/ 2871736 h 6479439"/>
                <a:gd name="connsiteX4986" fmla="*/ 9107741 w 9586368"/>
                <a:gd name="connsiteY4986" fmla="*/ 2875775 h 6479439"/>
                <a:gd name="connsiteX4987" fmla="*/ 9107741 w 9586368"/>
                <a:gd name="connsiteY4987" fmla="*/ 2885645 h 6479439"/>
                <a:gd name="connsiteX4988" fmla="*/ 9103722 w 9586368"/>
                <a:gd name="connsiteY4988" fmla="*/ 2889684 h 6479439"/>
                <a:gd name="connsiteX4989" fmla="*/ 9093811 w 9586368"/>
                <a:gd name="connsiteY4989" fmla="*/ 2889684 h 6479439"/>
                <a:gd name="connsiteX4990" fmla="*/ 9089792 w 9586368"/>
                <a:gd name="connsiteY4990" fmla="*/ 2885645 h 6479439"/>
                <a:gd name="connsiteX4991" fmla="*/ 9089792 w 9586368"/>
                <a:gd name="connsiteY4991" fmla="*/ 2875775 h 6479439"/>
                <a:gd name="connsiteX4992" fmla="*/ 8854496 w 9586368"/>
                <a:gd name="connsiteY4992" fmla="*/ 2871736 h 6479439"/>
                <a:gd name="connsiteX4993" fmla="*/ 8864407 w 9586368"/>
                <a:gd name="connsiteY4993" fmla="*/ 2871736 h 6479439"/>
                <a:gd name="connsiteX4994" fmla="*/ 8868426 w 9586368"/>
                <a:gd name="connsiteY4994" fmla="*/ 2875775 h 6479439"/>
                <a:gd name="connsiteX4995" fmla="*/ 8868426 w 9586368"/>
                <a:gd name="connsiteY4995" fmla="*/ 2885645 h 6479439"/>
                <a:gd name="connsiteX4996" fmla="*/ 8864407 w 9586368"/>
                <a:gd name="connsiteY4996" fmla="*/ 2889684 h 6479439"/>
                <a:gd name="connsiteX4997" fmla="*/ 8854496 w 9586368"/>
                <a:gd name="connsiteY4997" fmla="*/ 2889684 h 6479439"/>
                <a:gd name="connsiteX4998" fmla="*/ 8850477 w 9586368"/>
                <a:gd name="connsiteY4998" fmla="*/ 2885645 h 6479439"/>
                <a:gd name="connsiteX4999" fmla="*/ 8850477 w 9586368"/>
                <a:gd name="connsiteY4999" fmla="*/ 2875775 h 6479439"/>
                <a:gd name="connsiteX5000" fmla="*/ 8615184 w 9586368"/>
                <a:gd name="connsiteY5000" fmla="*/ 2871736 h 6479439"/>
                <a:gd name="connsiteX5001" fmla="*/ 8625095 w 9586368"/>
                <a:gd name="connsiteY5001" fmla="*/ 2871736 h 6479439"/>
                <a:gd name="connsiteX5002" fmla="*/ 8629114 w 9586368"/>
                <a:gd name="connsiteY5002" fmla="*/ 2875775 h 6479439"/>
                <a:gd name="connsiteX5003" fmla="*/ 8629114 w 9586368"/>
                <a:gd name="connsiteY5003" fmla="*/ 2885645 h 6479439"/>
                <a:gd name="connsiteX5004" fmla="*/ 8625095 w 9586368"/>
                <a:gd name="connsiteY5004" fmla="*/ 2889684 h 6479439"/>
                <a:gd name="connsiteX5005" fmla="*/ 8615184 w 9586368"/>
                <a:gd name="connsiteY5005" fmla="*/ 2889684 h 6479439"/>
                <a:gd name="connsiteX5006" fmla="*/ 8611165 w 9586368"/>
                <a:gd name="connsiteY5006" fmla="*/ 2885645 h 6479439"/>
                <a:gd name="connsiteX5007" fmla="*/ 8611165 w 9586368"/>
                <a:gd name="connsiteY5007" fmla="*/ 2875775 h 6479439"/>
                <a:gd name="connsiteX5008" fmla="*/ 8375869 w 9586368"/>
                <a:gd name="connsiteY5008" fmla="*/ 2871736 h 6479439"/>
                <a:gd name="connsiteX5009" fmla="*/ 8385779 w 9586368"/>
                <a:gd name="connsiteY5009" fmla="*/ 2871736 h 6479439"/>
                <a:gd name="connsiteX5010" fmla="*/ 8389799 w 9586368"/>
                <a:gd name="connsiteY5010" fmla="*/ 2875775 h 6479439"/>
                <a:gd name="connsiteX5011" fmla="*/ 8389799 w 9586368"/>
                <a:gd name="connsiteY5011" fmla="*/ 2885645 h 6479439"/>
                <a:gd name="connsiteX5012" fmla="*/ 8385779 w 9586368"/>
                <a:gd name="connsiteY5012" fmla="*/ 2889684 h 6479439"/>
                <a:gd name="connsiteX5013" fmla="*/ 8375869 w 9586368"/>
                <a:gd name="connsiteY5013" fmla="*/ 2889684 h 6479439"/>
                <a:gd name="connsiteX5014" fmla="*/ 8371850 w 9586368"/>
                <a:gd name="connsiteY5014" fmla="*/ 2885645 h 6479439"/>
                <a:gd name="connsiteX5015" fmla="*/ 8371850 w 9586368"/>
                <a:gd name="connsiteY5015" fmla="*/ 2875775 h 6479439"/>
                <a:gd name="connsiteX5016" fmla="*/ 8136553 w 9586368"/>
                <a:gd name="connsiteY5016" fmla="*/ 2871736 h 6479439"/>
                <a:gd name="connsiteX5017" fmla="*/ 8146464 w 9586368"/>
                <a:gd name="connsiteY5017" fmla="*/ 2871736 h 6479439"/>
                <a:gd name="connsiteX5018" fmla="*/ 8150483 w 9586368"/>
                <a:gd name="connsiteY5018" fmla="*/ 2875775 h 6479439"/>
                <a:gd name="connsiteX5019" fmla="*/ 8150483 w 9586368"/>
                <a:gd name="connsiteY5019" fmla="*/ 2885645 h 6479439"/>
                <a:gd name="connsiteX5020" fmla="*/ 8146464 w 9586368"/>
                <a:gd name="connsiteY5020" fmla="*/ 2889684 h 6479439"/>
                <a:gd name="connsiteX5021" fmla="*/ 8136553 w 9586368"/>
                <a:gd name="connsiteY5021" fmla="*/ 2889684 h 6479439"/>
                <a:gd name="connsiteX5022" fmla="*/ 8132534 w 9586368"/>
                <a:gd name="connsiteY5022" fmla="*/ 2885645 h 6479439"/>
                <a:gd name="connsiteX5023" fmla="*/ 8132534 w 9586368"/>
                <a:gd name="connsiteY5023" fmla="*/ 2875775 h 6479439"/>
                <a:gd name="connsiteX5024" fmla="*/ 7897241 w 9586368"/>
                <a:gd name="connsiteY5024" fmla="*/ 2871736 h 6479439"/>
                <a:gd name="connsiteX5025" fmla="*/ 7907151 w 9586368"/>
                <a:gd name="connsiteY5025" fmla="*/ 2871736 h 6479439"/>
                <a:gd name="connsiteX5026" fmla="*/ 7911170 w 9586368"/>
                <a:gd name="connsiteY5026" fmla="*/ 2875775 h 6479439"/>
                <a:gd name="connsiteX5027" fmla="*/ 7911170 w 9586368"/>
                <a:gd name="connsiteY5027" fmla="*/ 2885645 h 6479439"/>
                <a:gd name="connsiteX5028" fmla="*/ 7907151 w 9586368"/>
                <a:gd name="connsiteY5028" fmla="*/ 2889684 h 6479439"/>
                <a:gd name="connsiteX5029" fmla="*/ 7897241 w 9586368"/>
                <a:gd name="connsiteY5029" fmla="*/ 2889684 h 6479439"/>
                <a:gd name="connsiteX5030" fmla="*/ 7893222 w 9586368"/>
                <a:gd name="connsiteY5030" fmla="*/ 2885645 h 6479439"/>
                <a:gd name="connsiteX5031" fmla="*/ 7893222 w 9586368"/>
                <a:gd name="connsiteY5031" fmla="*/ 2875775 h 6479439"/>
                <a:gd name="connsiteX5032" fmla="*/ 7657926 w 9586368"/>
                <a:gd name="connsiteY5032" fmla="*/ 2871736 h 6479439"/>
                <a:gd name="connsiteX5033" fmla="*/ 7667836 w 9586368"/>
                <a:gd name="connsiteY5033" fmla="*/ 2871736 h 6479439"/>
                <a:gd name="connsiteX5034" fmla="*/ 7671855 w 9586368"/>
                <a:gd name="connsiteY5034" fmla="*/ 2875775 h 6479439"/>
                <a:gd name="connsiteX5035" fmla="*/ 7671855 w 9586368"/>
                <a:gd name="connsiteY5035" fmla="*/ 2885645 h 6479439"/>
                <a:gd name="connsiteX5036" fmla="*/ 7667836 w 9586368"/>
                <a:gd name="connsiteY5036" fmla="*/ 2889684 h 6479439"/>
                <a:gd name="connsiteX5037" fmla="*/ 7657926 w 9586368"/>
                <a:gd name="connsiteY5037" fmla="*/ 2889684 h 6479439"/>
                <a:gd name="connsiteX5038" fmla="*/ 7653906 w 9586368"/>
                <a:gd name="connsiteY5038" fmla="*/ 2885645 h 6479439"/>
                <a:gd name="connsiteX5039" fmla="*/ 7653906 w 9586368"/>
                <a:gd name="connsiteY5039" fmla="*/ 2875775 h 6479439"/>
                <a:gd name="connsiteX5040" fmla="*/ 7418611 w 9586368"/>
                <a:gd name="connsiteY5040" fmla="*/ 2871736 h 6479439"/>
                <a:gd name="connsiteX5041" fmla="*/ 7428521 w 9586368"/>
                <a:gd name="connsiteY5041" fmla="*/ 2871736 h 6479439"/>
                <a:gd name="connsiteX5042" fmla="*/ 7432540 w 9586368"/>
                <a:gd name="connsiteY5042" fmla="*/ 2875775 h 6479439"/>
                <a:gd name="connsiteX5043" fmla="*/ 7432540 w 9586368"/>
                <a:gd name="connsiteY5043" fmla="*/ 2885645 h 6479439"/>
                <a:gd name="connsiteX5044" fmla="*/ 7428521 w 9586368"/>
                <a:gd name="connsiteY5044" fmla="*/ 2889684 h 6479439"/>
                <a:gd name="connsiteX5045" fmla="*/ 7418611 w 9586368"/>
                <a:gd name="connsiteY5045" fmla="*/ 2889684 h 6479439"/>
                <a:gd name="connsiteX5046" fmla="*/ 7414592 w 9586368"/>
                <a:gd name="connsiteY5046" fmla="*/ 2885645 h 6479439"/>
                <a:gd name="connsiteX5047" fmla="*/ 7414592 w 9586368"/>
                <a:gd name="connsiteY5047" fmla="*/ 2875775 h 6479439"/>
                <a:gd name="connsiteX5048" fmla="*/ 7179298 w 9586368"/>
                <a:gd name="connsiteY5048" fmla="*/ 2871736 h 6479439"/>
                <a:gd name="connsiteX5049" fmla="*/ 7189209 w 9586368"/>
                <a:gd name="connsiteY5049" fmla="*/ 2871736 h 6479439"/>
                <a:gd name="connsiteX5050" fmla="*/ 7193228 w 9586368"/>
                <a:gd name="connsiteY5050" fmla="*/ 2875775 h 6479439"/>
                <a:gd name="connsiteX5051" fmla="*/ 7193228 w 9586368"/>
                <a:gd name="connsiteY5051" fmla="*/ 2885645 h 6479439"/>
                <a:gd name="connsiteX5052" fmla="*/ 7189209 w 9586368"/>
                <a:gd name="connsiteY5052" fmla="*/ 2889684 h 6479439"/>
                <a:gd name="connsiteX5053" fmla="*/ 7179298 w 9586368"/>
                <a:gd name="connsiteY5053" fmla="*/ 2889684 h 6479439"/>
                <a:gd name="connsiteX5054" fmla="*/ 7175279 w 9586368"/>
                <a:gd name="connsiteY5054" fmla="*/ 2885645 h 6479439"/>
                <a:gd name="connsiteX5055" fmla="*/ 7175279 w 9586368"/>
                <a:gd name="connsiteY5055" fmla="*/ 2875775 h 6479439"/>
                <a:gd name="connsiteX5056" fmla="*/ 6939983 w 9586368"/>
                <a:gd name="connsiteY5056" fmla="*/ 2871736 h 6479439"/>
                <a:gd name="connsiteX5057" fmla="*/ 6949894 w 9586368"/>
                <a:gd name="connsiteY5057" fmla="*/ 2871736 h 6479439"/>
                <a:gd name="connsiteX5058" fmla="*/ 6953913 w 9586368"/>
                <a:gd name="connsiteY5058" fmla="*/ 2875775 h 6479439"/>
                <a:gd name="connsiteX5059" fmla="*/ 6953913 w 9586368"/>
                <a:gd name="connsiteY5059" fmla="*/ 2885645 h 6479439"/>
                <a:gd name="connsiteX5060" fmla="*/ 6949894 w 9586368"/>
                <a:gd name="connsiteY5060" fmla="*/ 2889684 h 6479439"/>
                <a:gd name="connsiteX5061" fmla="*/ 6939983 w 9586368"/>
                <a:gd name="connsiteY5061" fmla="*/ 2889684 h 6479439"/>
                <a:gd name="connsiteX5062" fmla="*/ 6935964 w 9586368"/>
                <a:gd name="connsiteY5062" fmla="*/ 2885645 h 6479439"/>
                <a:gd name="connsiteX5063" fmla="*/ 6935964 w 9586368"/>
                <a:gd name="connsiteY5063" fmla="*/ 2875775 h 6479439"/>
                <a:gd name="connsiteX5064" fmla="*/ 6700670 w 9586368"/>
                <a:gd name="connsiteY5064" fmla="*/ 2871736 h 6479439"/>
                <a:gd name="connsiteX5065" fmla="*/ 6710581 w 9586368"/>
                <a:gd name="connsiteY5065" fmla="*/ 2871736 h 6479439"/>
                <a:gd name="connsiteX5066" fmla="*/ 6714600 w 9586368"/>
                <a:gd name="connsiteY5066" fmla="*/ 2875775 h 6479439"/>
                <a:gd name="connsiteX5067" fmla="*/ 6714600 w 9586368"/>
                <a:gd name="connsiteY5067" fmla="*/ 2885645 h 6479439"/>
                <a:gd name="connsiteX5068" fmla="*/ 6710581 w 9586368"/>
                <a:gd name="connsiteY5068" fmla="*/ 2889684 h 6479439"/>
                <a:gd name="connsiteX5069" fmla="*/ 6700670 w 9586368"/>
                <a:gd name="connsiteY5069" fmla="*/ 2889684 h 6479439"/>
                <a:gd name="connsiteX5070" fmla="*/ 6696651 w 9586368"/>
                <a:gd name="connsiteY5070" fmla="*/ 2885645 h 6479439"/>
                <a:gd name="connsiteX5071" fmla="*/ 6696651 w 9586368"/>
                <a:gd name="connsiteY5071" fmla="*/ 2875775 h 6479439"/>
                <a:gd name="connsiteX5072" fmla="*/ 6461356 w 9586368"/>
                <a:gd name="connsiteY5072" fmla="*/ 2871736 h 6479439"/>
                <a:gd name="connsiteX5073" fmla="*/ 6471266 w 9586368"/>
                <a:gd name="connsiteY5073" fmla="*/ 2871736 h 6479439"/>
                <a:gd name="connsiteX5074" fmla="*/ 6475285 w 9586368"/>
                <a:gd name="connsiteY5074" fmla="*/ 2875775 h 6479439"/>
                <a:gd name="connsiteX5075" fmla="*/ 6475285 w 9586368"/>
                <a:gd name="connsiteY5075" fmla="*/ 2885645 h 6479439"/>
                <a:gd name="connsiteX5076" fmla="*/ 6471266 w 9586368"/>
                <a:gd name="connsiteY5076" fmla="*/ 2889684 h 6479439"/>
                <a:gd name="connsiteX5077" fmla="*/ 6461356 w 9586368"/>
                <a:gd name="connsiteY5077" fmla="*/ 2889684 h 6479439"/>
                <a:gd name="connsiteX5078" fmla="*/ 6457337 w 9586368"/>
                <a:gd name="connsiteY5078" fmla="*/ 2885645 h 6479439"/>
                <a:gd name="connsiteX5079" fmla="*/ 6457337 w 9586368"/>
                <a:gd name="connsiteY5079" fmla="*/ 2875775 h 6479439"/>
                <a:gd name="connsiteX5080" fmla="*/ 6222042 w 9586368"/>
                <a:gd name="connsiteY5080" fmla="*/ 2871736 h 6479439"/>
                <a:gd name="connsiteX5081" fmla="*/ 6231952 w 9586368"/>
                <a:gd name="connsiteY5081" fmla="*/ 2871736 h 6479439"/>
                <a:gd name="connsiteX5082" fmla="*/ 6235971 w 9586368"/>
                <a:gd name="connsiteY5082" fmla="*/ 2875775 h 6479439"/>
                <a:gd name="connsiteX5083" fmla="*/ 6235971 w 9586368"/>
                <a:gd name="connsiteY5083" fmla="*/ 2885645 h 6479439"/>
                <a:gd name="connsiteX5084" fmla="*/ 6231952 w 9586368"/>
                <a:gd name="connsiteY5084" fmla="*/ 2889684 h 6479439"/>
                <a:gd name="connsiteX5085" fmla="*/ 6222042 w 9586368"/>
                <a:gd name="connsiteY5085" fmla="*/ 2889684 h 6479439"/>
                <a:gd name="connsiteX5086" fmla="*/ 6218023 w 9586368"/>
                <a:gd name="connsiteY5086" fmla="*/ 2885645 h 6479439"/>
                <a:gd name="connsiteX5087" fmla="*/ 6218023 w 9586368"/>
                <a:gd name="connsiteY5087" fmla="*/ 2875775 h 6479439"/>
                <a:gd name="connsiteX5088" fmla="*/ 5982729 w 9586368"/>
                <a:gd name="connsiteY5088" fmla="*/ 2871736 h 6479439"/>
                <a:gd name="connsiteX5089" fmla="*/ 5992639 w 9586368"/>
                <a:gd name="connsiteY5089" fmla="*/ 2871736 h 6479439"/>
                <a:gd name="connsiteX5090" fmla="*/ 5996658 w 9586368"/>
                <a:gd name="connsiteY5090" fmla="*/ 2875775 h 6479439"/>
                <a:gd name="connsiteX5091" fmla="*/ 5996658 w 9586368"/>
                <a:gd name="connsiteY5091" fmla="*/ 2885645 h 6479439"/>
                <a:gd name="connsiteX5092" fmla="*/ 5992639 w 9586368"/>
                <a:gd name="connsiteY5092" fmla="*/ 2889684 h 6479439"/>
                <a:gd name="connsiteX5093" fmla="*/ 5982729 w 9586368"/>
                <a:gd name="connsiteY5093" fmla="*/ 2889684 h 6479439"/>
                <a:gd name="connsiteX5094" fmla="*/ 5978710 w 9586368"/>
                <a:gd name="connsiteY5094" fmla="*/ 2885645 h 6479439"/>
                <a:gd name="connsiteX5095" fmla="*/ 5978710 w 9586368"/>
                <a:gd name="connsiteY5095" fmla="*/ 2875775 h 6479439"/>
                <a:gd name="connsiteX5096" fmla="*/ 5743412 w 9586368"/>
                <a:gd name="connsiteY5096" fmla="*/ 2871736 h 6479439"/>
                <a:gd name="connsiteX5097" fmla="*/ 5753323 w 9586368"/>
                <a:gd name="connsiteY5097" fmla="*/ 2871736 h 6479439"/>
                <a:gd name="connsiteX5098" fmla="*/ 5757342 w 9586368"/>
                <a:gd name="connsiteY5098" fmla="*/ 2875775 h 6479439"/>
                <a:gd name="connsiteX5099" fmla="*/ 5757342 w 9586368"/>
                <a:gd name="connsiteY5099" fmla="*/ 2885645 h 6479439"/>
                <a:gd name="connsiteX5100" fmla="*/ 5753323 w 9586368"/>
                <a:gd name="connsiteY5100" fmla="*/ 2889684 h 6479439"/>
                <a:gd name="connsiteX5101" fmla="*/ 5743412 w 9586368"/>
                <a:gd name="connsiteY5101" fmla="*/ 2889684 h 6479439"/>
                <a:gd name="connsiteX5102" fmla="*/ 5739393 w 9586368"/>
                <a:gd name="connsiteY5102" fmla="*/ 2885645 h 6479439"/>
                <a:gd name="connsiteX5103" fmla="*/ 5739393 w 9586368"/>
                <a:gd name="connsiteY5103" fmla="*/ 2875775 h 6479439"/>
                <a:gd name="connsiteX5104" fmla="*/ 5504099 w 9586368"/>
                <a:gd name="connsiteY5104" fmla="*/ 2871736 h 6479439"/>
                <a:gd name="connsiteX5105" fmla="*/ 5514010 w 9586368"/>
                <a:gd name="connsiteY5105" fmla="*/ 2871736 h 6479439"/>
                <a:gd name="connsiteX5106" fmla="*/ 5518029 w 9586368"/>
                <a:gd name="connsiteY5106" fmla="*/ 2875775 h 6479439"/>
                <a:gd name="connsiteX5107" fmla="*/ 5518029 w 9586368"/>
                <a:gd name="connsiteY5107" fmla="*/ 2885645 h 6479439"/>
                <a:gd name="connsiteX5108" fmla="*/ 5514010 w 9586368"/>
                <a:gd name="connsiteY5108" fmla="*/ 2889684 h 6479439"/>
                <a:gd name="connsiteX5109" fmla="*/ 5504099 w 9586368"/>
                <a:gd name="connsiteY5109" fmla="*/ 2889684 h 6479439"/>
                <a:gd name="connsiteX5110" fmla="*/ 5500080 w 9586368"/>
                <a:gd name="connsiteY5110" fmla="*/ 2885645 h 6479439"/>
                <a:gd name="connsiteX5111" fmla="*/ 5500080 w 9586368"/>
                <a:gd name="connsiteY5111" fmla="*/ 2875775 h 6479439"/>
                <a:gd name="connsiteX5112" fmla="*/ 5264784 w 9586368"/>
                <a:gd name="connsiteY5112" fmla="*/ 2871736 h 6479439"/>
                <a:gd name="connsiteX5113" fmla="*/ 5274694 w 9586368"/>
                <a:gd name="connsiteY5113" fmla="*/ 2871736 h 6479439"/>
                <a:gd name="connsiteX5114" fmla="*/ 5278713 w 9586368"/>
                <a:gd name="connsiteY5114" fmla="*/ 2875775 h 6479439"/>
                <a:gd name="connsiteX5115" fmla="*/ 5278713 w 9586368"/>
                <a:gd name="connsiteY5115" fmla="*/ 2885645 h 6479439"/>
                <a:gd name="connsiteX5116" fmla="*/ 5274694 w 9586368"/>
                <a:gd name="connsiteY5116" fmla="*/ 2889684 h 6479439"/>
                <a:gd name="connsiteX5117" fmla="*/ 5264784 w 9586368"/>
                <a:gd name="connsiteY5117" fmla="*/ 2889684 h 6479439"/>
                <a:gd name="connsiteX5118" fmla="*/ 5260765 w 9586368"/>
                <a:gd name="connsiteY5118" fmla="*/ 2885645 h 6479439"/>
                <a:gd name="connsiteX5119" fmla="*/ 5260765 w 9586368"/>
                <a:gd name="connsiteY5119" fmla="*/ 2875775 h 6479439"/>
                <a:gd name="connsiteX5120" fmla="*/ 5025470 w 9586368"/>
                <a:gd name="connsiteY5120" fmla="*/ 2871736 h 6479439"/>
                <a:gd name="connsiteX5121" fmla="*/ 5035381 w 9586368"/>
                <a:gd name="connsiteY5121" fmla="*/ 2871736 h 6479439"/>
                <a:gd name="connsiteX5122" fmla="*/ 5039400 w 9586368"/>
                <a:gd name="connsiteY5122" fmla="*/ 2875775 h 6479439"/>
                <a:gd name="connsiteX5123" fmla="*/ 5039400 w 9586368"/>
                <a:gd name="connsiteY5123" fmla="*/ 2885645 h 6479439"/>
                <a:gd name="connsiteX5124" fmla="*/ 5035381 w 9586368"/>
                <a:gd name="connsiteY5124" fmla="*/ 2889684 h 6479439"/>
                <a:gd name="connsiteX5125" fmla="*/ 5025470 w 9586368"/>
                <a:gd name="connsiteY5125" fmla="*/ 2889684 h 6479439"/>
                <a:gd name="connsiteX5126" fmla="*/ 5021451 w 9586368"/>
                <a:gd name="connsiteY5126" fmla="*/ 2885645 h 6479439"/>
                <a:gd name="connsiteX5127" fmla="*/ 5021451 w 9586368"/>
                <a:gd name="connsiteY5127" fmla="*/ 2875775 h 6479439"/>
                <a:gd name="connsiteX5128" fmla="*/ 4786241 w 9586368"/>
                <a:gd name="connsiteY5128" fmla="*/ 2871736 h 6479439"/>
                <a:gd name="connsiteX5129" fmla="*/ 4796152 w 9586368"/>
                <a:gd name="connsiteY5129" fmla="*/ 2871736 h 6479439"/>
                <a:gd name="connsiteX5130" fmla="*/ 4800171 w 9586368"/>
                <a:gd name="connsiteY5130" fmla="*/ 2875775 h 6479439"/>
                <a:gd name="connsiteX5131" fmla="*/ 4800171 w 9586368"/>
                <a:gd name="connsiteY5131" fmla="*/ 2885645 h 6479439"/>
                <a:gd name="connsiteX5132" fmla="*/ 4796152 w 9586368"/>
                <a:gd name="connsiteY5132" fmla="*/ 2889684 h 6479439"/>
                <a:gd name="connsiteX5133" fmla="*/ 4786241 w 9586368"/>
                <a:gd name="connsiteY5133" fmla="*/ 2889684 h 6479439"/>
                <a:gd name="connsiteX5134" fmla="*/ 4782224 w 9586368"/>
                <a:gd name="connsiteY5134" fmla="*/ 2885645 h 6479439"/>
                <a:gd name="connsiteX5135" fmla="*/ 4782224 w 9586368"/>
                <a:gd name="connsiteY5135" fmla="*/ 2875775 h 6479439"/>
                <a:gd name="connsiteX5136" fmla="*/ 4546929 w 9586368"/>
                <a:gd name="connsiteY5136" fmla="*/ 2871736 h 6479439"/>
                <a:gd name="connsiteX5137" fmla="*/ 4556840 w 9586368"/>
                <a:gd name="connsiteY5137" fmla="*/ 2871736 h 6479439"/>
                <a:gd name="connsiteX5138" fmla="*/ 4560859 w 9586368"/>
                <a:gd name="connsiteY5138" fmla="*/ 2875775 h 6479439"/>
                <a:gd name="connsiteX5139" fmla="*/ 4560859 w 9586368"/>
                <a:gd name="connsiteY5139" fmla="*/ 2885645 h 6479439"/>
                <a:gd name="connsiteX5140" fmla="*/ 4556840 w 9586368"/>
                <a:gd name="connsiteY5140" fmla="*/ 2889684 h 6479439"/>
                <a:gd name="connsiteX5141" fmla="*/ 4546929 w 9586368"/>
                <a:gd name="connsiteY5141" fmla="*/ 2889684 h 6479439"/>
                <a:gd name="connsiteX5142" fmla="*/ 4542910 w 9586368"/>
                <a:gd name="connsiteY5142" fmla="*/ 2885645 h 6479439"/>
                <a:gd name="connsiteX5143" fmla="*/ 4542910 w 9586368"/>
                <a:gd name="connsiteY5143" fmla="*/ 2875775 h 6479439"/>
                <a:gd name="connsiteX5144" fmla="*/ 4307612 w 9586368"/>
                <a:gd name="connsiteY5144" fmla="*/ 2871736 h 6479439"/>
                <a:gd name="connsiteX5145" fmla="*/ 4317523 w 9586368"/>
                <a:gd name="connsiteY5145" fmla="*/ 2871736 h 6479439"/>
                <a:gd name="connsiteX5146" fmla="*/ 4321543 w 9586368"/>
                <a:gd name="connsiteY5146" fmla="*/ 2875775 h 6479439"/>
                <a:gd name="connsiteX5147" fmla="*/ 4321543 w 9586368"/>
                <a:gd name="connsiteY5147" fmla="*/ 2885645 h 6479439"/>
                <a:gd name="connsiteX5148" fmla="*/ 4317523 w 9586368"/>
                <a:gd name="connsiteY5148" fmla="*/ 2889684 h 6479439"/>
                <a:gd name="connsiteX5149" fmla="*/ 4307612 w 9586368"/>
                <a:gd name="connsiteY5149" fmla="*/ 2889684 h 6479439"/>
                <a:gd name="connsiteX5150" fmla="*/ 4303595 w 9586368"/>
                <a:gd name="connsiteY5150" fmla="*/ 2885645 h 6479439"/>
                <a:gd name="connsiteX5151" fmla="*/ 4303595 w 9586368"/>
                <a:gd name="connsiteY5151" fmla="*/ 2875775 h 6479439"/>
                <a:gd name="connsiteX5152" fmla="*/ 4068297 w 9586368"/>
                <a:gd name="connsiteY5152" fmla="*/ 2871736 h 6479439"/>
                <a:gd name="connsiteX5153" fmla="*/ 4078210 w 9586368"/>
                <a:gd name="connsiteY5153" fmla="*/ 2871736 h 6479439"/>
                <a:gd name="connsiteX5154" fmla="*/ 4082229 w 9586368"/>
                <a:gd name="connsiteY5154" fmla="*/ 2875775 h 6479439"/>
                <a:gd name="connsiteX5155" fmla="*/ 4082229 w 9586368"/>
                <a:gd name="connsiteY5155" fmla="*/ 2885645 h 6479439"/>
                <a:gd name="connsiteX5156" fmla="*/ 4078210 w 9586368"/>
                <a:gd name="connsiteY5156" fmla="*/ 2889684 h 6479439"/>
                <a:gd name="connsiteX5157" fmla="*/ 4068297 w 9586368"/>
                <a:gd name="connsiteY5157" fmla="*/ 2889684 h 6479439"/>
                <a:gd name="connsiteX5158" fmla="*/ 4064278 w 9586368"/>
                <a:gd name="connsiteY5158" fmla="*/ 2885645 h 6479439"/>
                <a:gd name="connsiteX5159" fmla="*/ 4064278 w 9586368"/>
                <a:gd name="connsiteY5159" fmla="*/ 2875775 h 6479439"/>
                <a:gd name="connsiteX5160" fmla="*/ 3828990 w 9586368"/>
                <a:gd name="connsiteY5160" fmla="*/ 2871736 h 6479439"/>
                <a:gd name="connsiteX5161" fmla="*/ 3838899 w 9586368"/>
                <a:gd name="connsiteY5161" fmla="*/ 2871736 h 6479439"/>
                <a:gd name="connsiteX5162" fmla="*/ 3842917 w 9586368"/>
                <a:gd name="connsiteY5162" fmla="*/ 2875775 h 6479439"/>
                <a:gd name="connsiteX5163" fmla="*/ 3842917 w 9586368"/>
                <a:gd name="connsiteY5163" fmla="*/ 2885645 h 6479439"/>
                <a:gd name="connsiteX5164" fmla="*/ 3838899 w 9586368"/>
                <a:gd name="connsiteY5164" fmla="*/ 2889684 h 6479439"/>
                <a:gd name="connsiteX5165" fmla="*/ 3828990 w 9586368"/>
                <a:gd name="connsiteY5165" fmla="*/ 2889684 h 6479439"/>
                <a:gd name="connsiteX5166" fmla="*/ 3824971 w 9586368"/>
                <a:gd name="connsiteY5166" fmla="*/ 2885645 h 6479439"/>
                <a:gd name="connsiteX5167" fmla="*/ 3824971 w 9586368"/>
                <a:gd name="connsiteY5167" fmla="*/ 2875775 h 6479439"/>
                <a:gd name="connsiteX5168" fmla="*/ 3589676 w 9586368"/>
                <a:gd name="connsiteY5168" fmla="*/ 2871736 h 6479439"/>
                <a:gd name="connsiteX5169" fmla="*/ 3599585 w 9586368"/>
                <a:gd name="connsiteY5169" fmla="*/ 2871736 h 6479439"/>
                <a:gd name="connsiteX5170" fmla="*/ 3603604 w 9586368"/>
                <a:gd name="connsiteY5170" fmla="*/ 2875775 h 6479439"/>
                <a:gd name="connsiteX5171" fmla="*/ 3603604 w 9586368"/>
                <a:gd name="connsiteY5171" fmla="*/ 2885645 h 6479439"/>
                <a:gd name="connsiteX5172" fmla="*/ 3599585 w 9586368"/>
                <a:gd name="connsiteY5172" fmla="*/ 2889684 h 6479439"/>
                <a:gd name="connsiteX5173" fmla="*/ 3589676 w 9586368"/>
                <a:gd name="connsiteY5173" fmla="*/ 2889684 h 6479439"/>
                <a:gd name="connsiteX5174" fmla="*/ 3585657 w 9586368"/>
                <a:gd name="connsiteY5174" fmla="*/ 2885645 h 6479439"/>
                <a:gd name="connsiteX5175" fmla="*/ 3585657 w 9586368"/>
                <a:gd name="connsiteY5175" fmla="*/ 2875775 h 6479439"/>
                <a:gd name="connsiteX5176" fmla="*/ 3350359 w 9586368"/>
                <a:gd name="connsiteY5176" fmla="*/ 2871736 h 6479439"/>
                <a:gd name="connsiteX5177" fmla="*/ 3360268 w 9586368"/>
                <a:gd name="connsiteY5177" fmla="*/ 2871736 h 6479439"/>
                <a:gd name="connsiteX5178" fmla="*/ 3364287 w 9586368"/>
                <a:gd name="connsiteY5178" fmla="*/ 2875775 h 6479439"/>
                <a:gd name="connsiteX5179" fmla="*/ 3364287 w 9586368"/>
                <a:gd name="connsiteY5179" fmla="*/ 2885645 h 6479439"/>
                <a:gd name="connsiteX5180" fmla="*/ 3360268 w 9586368"/>
                <a:gd name="connsiteY5180" fmla="*/ 2889684 h 6479439"/>
                <a:gd name="connsiteX5181" fmla="*/ 3350359 w 9586368"/>
                <a:gd name="connsiteY5181" fmla="*/ 2889684 h 6479439"/>
                <a:gd name="connsiteX5182" fmla="*/ 3346340 w 9586368"/>
                <a:gd name="connsiteY5182" fmla="*/ 2885645 h 6479439"/>
                <a:gd name="connsiteX5183" fmla="*/ 3346340 w 9586368"/>
                <a:gd name="connsiteY5183" fmla="*/ 2875775 h 6479439"/>
                <a:gd name="connsiteX5184" fmla="*/ 3111048 w 9586368"/>
                <a:gd name="connsiteY5184" fmla="*/ 2871736 h 6479439"/>
                <a:gd name="connsiteX5185" fmla="*/ 3120959 w 9586368"/>
                <a:gd name="connsiteY5185" fmla="*/ 2871736 h 6479439"/>
                <a:gd name="connsiteX5186" fmla="*/ 3124977 w 9586368"/>
                <a:gd name="connsiteY5186" fmla="*/ 2875775 h 6479439"/>
                <a:gd name="connsiteX5187" fmla="*/ 3124977 w 9586368"/>
                <a:gd name="connsiteY5187" fmla="*/ 2885645 h 6479439"/>
                <a:gd name="connsiteX5188" fmla="*/ 3120959 w 9586368"/>
                <a:gd name="connsiteY5188" fmla="*/ 2889684 h 6479439"/>
                <a:gd name="connsiteX5189" fmla="*/ 3111048 w 9586368"/>
                <a:gd name="connsiteY5189" fmla="*/ 2889684 h 6479439"/>
                <a:gd name="connsiteX5190" fmla="*/ 3107029 w 9586368"/>
                <a:gd name="connsiteY5190" fmla="*/ 2885645 h 6479439"/>
                <a:gd name="connsiteX5191" fmla="*/ 3107029 w 9586368"/>
                <a:gd name="connsiteY5191" fmla="*/ 2875775 h 6479439"/>
                <a:gd name="connsiteX5192" fmla="*/ 2871737 w 9586368"/>
                <a:gd name="connsiteY5192" fmla="*/ 2871736 h 6479439"/>
                <a:gd name="connsiteX5193" fmla="*/ 2881646 w 9586368"/>
                <a:gd name="connsiteY5193" fmla="*/ 2871736 h 6479439"/>
                <a:gd name="connsiteX5194" fmla="*/ 2885666 w 9586368"/>
                <a:gd name="connsiteY5194" fmla="*/ 2875775 h 6479439"/>
                <a:gd name="connsiteX5195" fmla="*/ 2885666 w 9586368"/>
                <a:gd name="connsiteY5195" fmla="*/ 2885645 h 6479439"/>
                <a:gd name="connsiteX5196" fmla="*/ 2881646 w 9586368"/>
                <a:gd name="connsiteY5196" fmla="*/ 2889684 h 6479439"/>
                <a:gd name="connsiteX5197" fmla="*/ 2871737 w 9586368"/>
                <a:gd name="connsiteY5197" fmla="*/ 2889684 h 6479439"/>
                <a:gd name="connsiteX5198" fmla="*/ 2867717 w 9586368"/>
                <a:gd name="connsiteY5198" fmla="*/ 2885645 h 6479439"/>
                <a:gd name="connsiteX5199" fmla="*/ 2867717 w 9586368"/>
                <a:gd name="connsiteY5199" fmla="*/ 2875775 h 6479439"/>
                <a:gd name="connsiteX5200" fmla="*/ 2632423 w 9586368"/>
                <a:gd name="connsiteY5200" fmla="*/ 2871736 h 6479439"/>
                <a:gd name="connsiteX5201" fmla="*/ 2642334 w 9586368"/>
                <a:gd name="connsiteY5201" fmla="*/ 2871736 h 6479439"/>
                <a:gd name="connsiteX5202" fmla="*/ 2646352 w 9586368"/>
                <a:gd name="connsiteY5202" fmla="*/ 2875775 h 6479439"/>
                <a:gd name="connsiteX5203" fmla="*/ 2646352 w 9586368"/>
                <a:gd name="connsiteY5203" fmla="*/ 2885645 h 6479439"/>
                <a:gd name="connsiteX5204" fmla="*/ 2642334 w 9586368"/>
                <a:gd name="connsiteY5204" fmla="*/ 2889684 h 6479439"/>
                <a:gd name="connsiteX5205" fmla="*/ 2632423 w 9586368"/>
                <a:gd name="connsiteY5205" fmla="*/ 2889684 h 6479439"/>
                <a:gd name="connsiteX5206" fmla="*/ 2628404 w 9586368"/>
                <a:gd name="connsiteY5206" fmla="*/ 2885645 h 6479439"/>
                <a:gd name="connsiteX5207" fmla="*/ 2628404 w 9586368"/>
                <a:gd name="connsiteY5207" fmla="*/ 2875775 h 6479439"/>
                <a:gd name="connsiteX5208" fmla="*/ 2393104 w 9586368"/>
                <a:gd name="connsiteY5208" fmla="*/ 2871736 h 6479439"/>
                <a:gd name="connsiteX5209" fmla="*/ 2403015 w 9586368"/>
                <a:gd name="connsiteY5209" fmla="*/ 2871736 h 6479439"/>
                <a:gd name="connsiteX5210" fmla="*/ 2407034 w 9586368"/>
                <a:gd name="connsiteY5210" fmla="*/ 2875775 h 6479439"/>
                <a:gd name="connsiteX5211" fmla="*/ 2407034 w 9586368"/>
                <a:gd name="connsiteY5211" fmla="*/ 2885645 h 6479439"/>
                <a:gd name="connsiteX5212" fmla="*/ 2403015 w 9586368"/>
                <a:gd name="connsiteY5212" fmla="*/ 2889684 h 6479439"/>
                <a:gd name="connsiteX5213" fmla="*/ 2393104 w 9586368"/>
                <a:gd name="connsiteY5213" fmla="*/ 2889684 h 6479439"/>
                <a:gd name="connsiteX5214" fmla="*/ 2389087 w 9586368"/>
                <a:gd name="connsiteY5214" fmla="*/ 2885645 h 6479439"/>
                <a:gd name="connsiteX5215" fmla="*/ 2389087 w 9586368"/>
                <a:gd name="connsiteY5215" fmla="*/ 2875775 h 6479439"/>
                <a:gd name="connsiteX5216" fmla="*/ 721969 w 9586368"/>
                <a:gd name="connsiteY5216" fmla="*/ 2871736 h 6479439"/>
                <a:gd name="connsiteX5217" fmla="*/ 731879 w 9586368"/>
                <a:gd name="connsiteY5217" fmla="*/ 2871736 h 6479439"/>
                <a:gd name="connsiteX5218" fmla="*/ 735898 w 9586368"/>
                <a:gd name="connsiteY5218" fmla="*/ 2875775 h 6479439"/>
                <a:gd name="connsiteX5219" fmla="*/ 735898 w 9586368"/>
                <a:gd name="connsiteY5219" fmla="*/ 2885645 h 6479439"/>
                <a:gd name="connsiteX5220" fmla="*/ 731879 w 9586368"/>
                <a:gd name="connsiteY5220" fmla="*/ 2889684 h 6479439"/>
                <a:gd name="connsiteX5221" fmla="*/ 721969 w 9586368"/>
                <a:gd name="connsiteY5221" fmla="*/ 2889684 h 6479439"/>
                <a:gd name="connsiteX5222" fmla="*/ 717950 w 9586368"/>
                <a:gd name="connsiteY5222" fmla="*/ 2885645 h 6479439"/>
                <a:gd name="connsiteX5223" fmla="*/ 717950 w 9586368"/>
                <a:gd name="connsiteY5223" fmla="*/ 2875775 h 6479439"/>
                <a:gd name="connsiteX5224" fmla="*/ 482656 w 9586368"/>
                <a:gd name="connsiteY5224" fmla="*/ 2871736 h 6479439"/>
                <a:gd name="connsiteX5225" fmla="*/ 492567 w 9586368"/>
                <a:gd name="connsiteY5225" fmla="*/ 2871736 h 6479439"/>
                <a:gd name="connsiteX5226" fmla="*/ 496586 w 9586368"/>
                <a:gd name="connsiteY5226" fmla="*/ 2875775 h 6479439"/>
                <a:gd name="connsiteX5227" fmla="*/ 496586 w 9586368"/>
                <a:gd name="connsiteY5227" fmla="*/ 2885645 h 6479439"/>
                <a:gd name="connsiteX5228" fmla="*/ 492567 w 9586368"/>
                <a:gd name="connsiteY5228" fmla="*/ 2889684 h 6479439"/>
                <a:gd name="connsiteX5229" fmla="*/ 482656 w 9586368"/>
                <a:gd name="connsiteY5229" fmla="*/ 2889684 h 6479439"/>
                <a:gd name="connsiteX5230" fmla="*/ 478637 w 9586368"/>
                <a:gd name="connsiteY5230" fmla="*/ 2885645 h 6479439"/>
                <a:gd name="connsiteX5231" fmla="*/ 478637 w 9586368"/>
                <a:gd name="connsiteY5231" fmla="*/ 2875775 h 6479439"/>
                <a:gd name="connsiteX5232" fmla="*/ 243343 w 9586368"/>
                <a:gd name="connsiteY5232" fmla="*/ 2871736 h 6479439"/>
                <a:gd name="connsiteX5233" fmla="*/ 253253 w 9586368"/>
                <a:gd name="connsiteY5233" fmla="*/ 2871736 h 6479439"/>
                <a:gd name="connsiteX5234" fmla="*/ 257272 w 9586368"/>
                <a:gd name="connsiteY5234" fmla="*/ 2875775 h 6479439"/>
                <a:gd name="connsiteX5235" fmla="*/ 257272 w 9586368"/>
                <a:gd name="connsiteY5235" fmla="*/ 2885645 h 6479439"/>
                <a:gd name="connsiteX5236" fmla="*/ 253253 w 9586368"/>
                <a:gd name="connsiteY5236" fmla="*/ 2889684 h 6479439"/>
                <a:gd name="connsiteX5237" fmla="*/ 243343 w 9586368"/>
                <a:gd name="connsiteY5237" fmla="*/ 2889684 h 6479439"/>
                <a:gd name="connsiteX5238" fmla="*/ 239324 w 9586368"/>
                <a:gd name="connsiteY5238" fmla="*/ 2885645 h 6479439"/>
                <a:gd name="connsiteX5239" fmla="*/ 239324 w 9586368"/>
                <a:gd name="connsiteY5239" fmla="*/ 2875775 h 6479439"/>
                <a:gd name="connsiteX5240" fmla="*/ 4030 w 9586368"/>
                <a:gd name="connsiteY5240" fmla="*/ 2871736 h 6479439"/>
                <a:gd name="connsiteX5241" fmla="*/ 13940 w 9586368"/>
                <a:gd name="connsiteY5241" fmla="*/ 2871736 h 6479439"/>
                <a:gd name="connsiteX5242" fmla="*/ 17959 w 9586368"/>
                <a:gd name="connsiteY5242" fmla="*/ 2875775 h 6479439"/>
                <a:gd name="connsiteX5243" fmla="*/ 17959 w 9586368"/>
                <a:gd name="connsiteY5243" fmla="*/ 2885645 h 6479439"/>
                <a:gd name="connsiteX5244" fmla="*/ 13940 w 9586368"/>
                <a:gd name="connsiteY5244" fmla="*/ 2889684 h 6479439"/>
                <a:gd name="connsiteX5245" fmla="*/ 4030 w 9586368"/>
                <a:gd name="connsiteY5245" fmla="*/ 2889684 h 6479439"/>
                <a:gd name="connsiteX5246" fmla="*/ 11 w 9586368"/>
                <a:gd name="connsiteY5246" fmla="*/ 2885645 h 6479439"/>
                <a:gd name="connsiteX5247" fmla="*/ 11 w 9586368"/>
                <a:gd name="connsiteY5247" fmla="*/ 2875775 h 6479439"/>
                <a:gd name="connsiteX5248" fmla="*/ 9572438 w 9586368"/>
                <a:gd name="connsiteY5248" fmla="*/ 2632457 h 6479439"/>
                <a:gd name="connsiteX5249" fmla="*/ 9582349 w 9586368"/>
                <a:gd name="connsiteY5249" fmla="*/ 2632457 h 6479439"/>
                <a:gd name="connsiteX5250" fmla="*/ 9586368 w 9586368"/>
                <a:gd name="connsiteY5250" fmla="*/ 2636496 h 6479439"/>
                <a:gd name="connsiteX5251" fmla="*/ 9586368 w 9586368"/>
                <a:gd name="connsiteY5251" fmla="*/ 2646366 h 6479439"/>
                <a:gd name="connsiteX5252" fmla="*/ 9582349 w 9586368"/>
                <a:gd name="connsiteY5252" fmla="*/ 2650405 h 6479439"/>
                <a:gd name="connsiteX5253" fmla="*/ 9572438 w 9586368"/>
                <a:gd name="connsiteY5253" fmla="*/ 2650405 h 6479439"/>
                <a:gd name="connsiteX5254" fmla="*/ 9568419 w 9586368"/>
                <a:gd name="connsiteY5254" fmla="*/ 2646366 h 6479439"/>
                <a:gd name="connsiteX5255" fmla="*/ 9568419 w 9586368"/>
                <a:gd name="connsiteY5255" fmla="*/ 2636496 h 6479439"/>
                <a:gd name="connsiteX5256" fmla="*/ 9333125 w 9586368"/>
                <a:gd name="connsiteY5256" fmla="*/ 2632457 h 6479439"/>
                <a:gd name="connsiteX5257" fmla="*/ 9343036 w 9586368"/>
                <a:gd name="connsiteY5257" fmla="*/ 2632457 h 6479439"/>
                <a:gd name="connsiteX5258" fmla="*/ 9347055 w 9586368"/>
                <a:gd name="connsiteY5258" fmla="*/ 2636496 h 6479439"/>
                <a:gd name="connsiteX5259" fmla="*/ 9347055 w 9586368"/>
                <a:gd name="connsiteY5259" fmla="*/ 2646366 h 6479439"/>
                <a:gd name="connsiteX5260" fmla="*/ 9343036 w 9586368"/>
                <a:gd name="connsiteY5260" fmla="*/ 2650405 h 6479439"/>
                <a:gd name="connsiteX5261" fmla="*/ 9333125 w 9586368"/>
                <a:gd name="connsiteY5261" fmla="*/ 2650405 h 6479439"/>
                <a:gd name="connsiteX5262" fmla="*/ 9329106 w 9586368"/>
                <a:gd name="connsiteY5262" fmla="*/ 2646366 h 6479439"/>
                <a:gd name="connsiteX5263" fmla="*/ 9329106 w 9586368"/>
                <a:gd name="connsiteY5263" fmla="*/ 2636496 h 6479439"/>
                <a:gd name="connsiteX5264" fmla="*/ 9093811 w 9586368"/>
                <a:gd name="connsiteY5264" fmla="*/ 2632457 h 6479439"/>
                <a:gd name="connsiteX5265" fmla="*/ 9103722 w 9586368"/>
                <a:gd name="connsiteY5265" fmla="*/ 2632457 h 6479439"/>
                <a:gd name="connsiteX5266" fmla="*/ 9107741 w 9586368"/>
                <a:gd name="connsiteY5266" fmla="*/ 2636496 h 6479439"/>
                <a:gd name="connsiteX5267" fmla="*/ 9107741 w 9586368"/>
                <a:gd name="connsiteY5267" fmla="*/ 2646366 h 6479439"/>
                <a:gd name="connsiteX5268" fmla="*/ 9103722 w 9586368"/>
                <a:gd name="connsiteY5268" fmla="*/ 2650405 h 6479439"/>
                <a:gd name="connsiteX5269" fmla="*/ 9093811 w 9586368"/>
                <a:gd name="connsiteY5269" fmla="*/ 2650405 h 6479439"/>
                <a:gd name="connsiteX5270" fmla="*/ 9089792 w 9586368"/>
                <a:gd name="connsiteY5270" fmla="*/ 2646366 h 6479439"/>
                <a:gd name="connsiteX5271" fmla="*/ 9089792 w 9586368"/>
                <a:gd name="connsiteY5271" fmla="*/ 2636496 h 6479439"/>
                <a:gd name="connsiteX5272" fmla="*/ 8854496 w 9586368"/>
                <a:gd name="connsiteY5272" fmla="*/ 2632457 h 6479439"/>
                <a:gd name="connsiteX5273" fmla="*/ 8864407 w 9586368"/>
                <a:gd name="connsiteY5273" fmla="*/ 2632457 h 6479439"/>
                <a:gd name="connsiteX5274" fmla="*/ 8868426 w 9586368"/>
                <a:gd name="connsiteY5274" fmla="*/ 2636496 h 6479439"/>
                <a:gd name="connsiteX5275" fmla="*/ 8868426 w 9586368"/>
                <a:gd name="connsiteY5275" fmla="*/ 2646366 h 6479439"/>
                <a:gd name="connsiteX5276" fmla="*/ 8864407 w 9586368"/>
                <a:gd name="connsiteY5276" fmla="*/ 2650405 h 6479439"/>
                <a:gd name="connsiteX5277" fmla="*/ 8854496 w 9586368"/>
                <a:gd name="connsiteY5277" fmla="*/ 2650405 h 6479439"/>
                <a:gd name="connsiteX5278" fmla="*/ 8850477 w 9586368"/>
                <a:gd name="connsiteY5278" fmla="*/ 2646366 h 6479439"/>
                <a:gd name="connsiteX5279" fmla="*/ 8850477 w 9586368"/>
                <a:gd name="connsiteY5279" fmla="*/ 2636496 h 6479439"/>
                <a:gd name="connsiteX5280" fmla="*/ 8615184 w 9586368"/>
                <a:gd name="connsiteY5280" fmla="*/ 2632457 h 6479439"/>
                <a:gd name="connsiteX5281" fmla="*/ 8625095 w 9586368"/>
                <a:gd name="connsiteY5281" fmla="*/ 2632457 h 6479439"/>
                <a:gd name="connsiteX5282" fmla="*/ 8629114 w 9586368"/>
                <a:gd name="connsiteY5282" fmla="*/ 2636496 h 6479439"/>
                <a:gd name="connsiteX5283" fmla="*/ 8629114 w 9586368"/>
                <a:gd name="connsiteY5283" fmla="*/ 2646366 h 6479439"/>
                <a:gd name="connsiteX5284" fmla="*/ 8625095 w 9586368"/>
                <a:gd name="connsiteY5284" fmla="*/ 2650405 h 6479439"/>
                <a:gd name="connsiteX5285" fmla="*/ 8615184 w 9586368"/>
                <a:gd name="connsiteY5285" fmla="*/ 2650405 h 6479439"/>
                <a:gd name="connsiteX5286" fmla="*/ 8611165 w 9586368"/>
                <a:gd name="connsiteY5286" fmla="*/ 2646366 h 6479439"/>
                <a:gd name="connsiteX5287" fmla="*/ 8611165 w 9586368"/>
                <a:gd name="connsiteY5287" fmla="*/ 2636496 h 6479439"/>
                <a:gd name="connsiteX5288" fmla="*/ 8375869 w 9586368"/>
                <a:gd name="connsiteY5288" fmla="*/ 2632457 h 6479439"/>
                <a:gd name="connsiteX5289" fmla="*/ 8385779 w 9586368"/>
                <a:gd name="connsiteY5289" fmla="*/ 2632457 h 6479439"/>
                <a:gd name="connsiteX5290" fmla="*/ 8389799 w 9586368"/>
                <a:gd name="connsiteY5290" fmla="*/ 2636496 h 6479439"/>
                <a:gd name="connsiteX5291" fmla="*/ 8389799 w 9586368"/>
                <a:gd name="connsiteY5291" fmla="*/ 2646366 h 6479439"/>
                <a:gd name="connsiteX5292" fmla="*/ 8385779 w 9586368"/>
                <a:gd name="connsiteY5292" fmla="*/ 2650405 h 6479439"/>
                <a:gd name="connsiteX5293" fmla="*/ 8375869 w 9586368"/>
                <a:gd name="connsiteY5293" fmla="*/ 2650405 h 6479439"/>
                <a:gd name="connsiteX5294" fmla="*/ 8371850 w 9586368"/>
                <a:gd name="connsiteY5294" fmla="*/ 2646366 h 6479439"/>
                <a:gd name="connsiteX5295" fmla="*/ 8371850 w 9586368"/>
                <a:gd name="connsiteY5295" fmla="*/ 2636496 h 6479439"/>
                <a:gd name="connsiteX5296" fmla="*/ 8136553 w 9586368"/>
                <a:gd name="connsiteY5296" fmla="*/ 2632457 h 6479439"/>
                <a:gd name="connsiteX5297" fmla="*/ 8146464 w 9586368"/>
                <a:gd name="connsiteY5297" fmla="*/ 2632457 h 6479439"/>
                <a:gd name="connsiteX5298" fmla="*/ 8150483 w 9586368"/>
                <a:gd name="connsiteY5298" fmla="*/ 2636496 h 6479439"/>
                <a:gd name="connsiteX5299" fmla="*/ 8150483 w 9586368"/>
                <a:gd name="connsiteY5299" fmla="*/ 2646366 h 6479439"/>
                <a:gd name="connsiteX5300" fmla="*/ 8146464 w 9586368"/>
                <a:gd name="connsiteY5300" fmla="*/ 2650405 h 6479439"/>
                <a:gd name="connsiteX5301" fmla="*/ 8136553 w 9586368"/>
                <a:gd name="connsiteY5301" fmla="*/ 2650405 h 6479439"/>
                <a:gd name="connsiteX5302" fmla="*/ 8132534 w 9586368"/>
                <a:gd name="connsiteY5302" fmla="*/ 2646366 h 6479439"/>
                <a:gd name="connsiteX5303" fmla="*/ 8132534 w 9586368"/>
                <a:gd name="connsiteY5303" fmla="*/ 2636496 h 6479439"/>
                <a:gd name="connsiteX5304" fmla="*/ 7897241 w 9586368"/>
                <a:gd name="connsiteY5304" fmla="*/ 2632457 h 6479439"/>
                <a:gd name="connsiteX5305" fmla="*/ 7907151 w 9586368"/>
                <a:gd name="connsiteY5305" fmla="*/ 2632457 h 6479439"/>
                <a:gd name="connsiteX5306" fmla="*/ 7911170 w 9586368"/>
                <a:gd name="connsiteY5306" fmla="*/ 2636496 h 6479439"/>
                <a:gd name="connsiteX5307" fmla="*/ 7911170 w 9586368"/>
                <a:gd name="connsiteY5307" fmla="*/ 2646366 h 6479439"/>
                <a:gd name="connsiteX5308" fmla="*/ 7907151 w 9586368"/>
                <a:gd name="connsiteY5308" fmla="*/ 2650405 h 6479439"/>
                <a:gd name="connsiteX5309" fmla="*/ 7897241 w 9586368"/>
                <a:gd name="connsiteY5309" fmla="*/ 2650405 h 6479439"/>
                <a:gd name="connsiteX5310" fmla="*/ 7893222 w 9586368"/>
                <a:gd name="connsiteY5310" fmla="*/ 2646366 h 6479439"/>
                <a:gd name="connsiteX5311" fmla="*/ 7893222 w 9586368"/>
                <a:gd name="connsiteY5311" fmla="*/ 2636496 h 6479439"/>
                <a:gd name="connsiteX5312" fmla="*/ 7657926 w 9586368"/>
                <a:gd name="connsiteY5312" fmla="*/ 2632457 h 6479439"/>
                <a:gd name="connsiteX5313" fmla="*/ 7667836 w 9586368"/>
                <a:gd name="connsiteY5313" fmla="*/ 2632457 h 6479439"/>
                <a:gd name="connsiteX5314" fmla="*/ 7671855 w 9586368"/>
                <a:gd name="connsiteY5314" fmla="*/ 2636496 h 6479439"/>
                <a:gd name="connsiteX5315" fmla="*/ 7671855 w 9586368"/>
                <a:gd name="connsiteY5315" fmla="*/ 2646366 h 6479439"/>
                <a:gd name="connsiteX5316" fmla="*/ 7667836 w 9586368"/>
                <a:gd name="connsiteY5316" fmla="*/ 2650405 h 6479439"/>
                <a:gd name="connsiteX5317" fmla="*/ 7657926 w 9586368"/>
                <a:gd name="connsiteY5317" fmla="*/ 2650405 h 6479439"/>
                <a:gd name="connsiteX5318" fmla="*/ 7653906 w 9586368"/>
                <a:gd name="connsiteY5318" fmla="*/ 2646366 h 6479439"/>
                <a:gd name="connsiteX5319" fmla="*/ 7653906 w 9586368"/>
                <a:gd name="connsiteY5319" fmla="*/ 2636496 h 6479439"/>
                <a:gd name="connsiteX5320" fmla="*/ 7418611 w 9586368"/>
                <a:gd name="connsiteY5320" fmla="*/ 2632457 h 6479439"/>
                <a:gd name="connsiteX5321" fmla="*/ 7428521 w 9586368"/>
                <a:gd name="connsiteY5321" fmla="*/ 2632457 h 6479439"/>
                <a:gd name="connsiteX5322" fmla="*/ 7432540 w 9586368"/>
                <a:gd name="connsiteY5322" fmla="*/ 2636496 h 6479439"/>
                <a:gd name="connsiteX5323" fmla="*/ 7432540 w 9586368"/>
                <a:gd name="connsiteY5323" fmla="*/ 2646366 h 6479439"/>
                <a:gd name="connsiteX5324" fmla="*/ 7428521 w 9586368"/>
                <a:gd name="connsiteY5324" fmla="*/ 2650405 h 6479439"/>
                <a:gd name="connsiteX5325" fmla="*/ 7418611 w 9586368"/>
                <a:gd name="connsiteY5325" fmla="*/ 2650405 h 6479439"/>
                <a:gd name="connsiteX5326" fmla="*/ 7414592 w 9586368"/>
                <a:gd name="connsiteY5326" fmla="*/ 2646366 h 6479439"/>
                <a:gd name="connsiteX5327" fmla="*/ 7414592 w 9586368"/>
                <a:gd name="connsiteY5327" fmla="*/ 2636496 h 6479439"/>
                <a:gd name="connsiteX5328" fmla="*/ 7179298 w 9586368"/>
                <a:gd name="connsiteY5328" fmla="*/ 2632457 h 6479439"/>
                <a:gd name="connsiteX5329" fmla="*/ 7189209 w 9586368"/>
                <a:gd name="connsiteY5329" fmla="*/ 2632457 h 6479439"/>
                <a:gd name="connsiteX5330" fmla="*/ 7193228 w 9586368"/>
                <a:gd name="connsiteY5330" fmla="*/ 2636496 h 6479439"/>
                <a:gd name="connsiteX5331" fmla="*/ 7193228 w 9586368"/>
                <a:gd name="connsiteY5331" fmla="*/ 2646366 h 6479439"/>
                <a:gd name="connsiteX5332" fmla="*/ 7189209 w 9586368"/>
                <a:gd name="connsiteY5332" fmla="*/ 2650405 h 6479439"/>
                <a:gd name="connsiteX5333" fmla="*/ 7179298 w 9586368"/>
                <a:gd name="connsiteY5333" fmla="*/ 2650405 h 6479439"/>
                <a:gd name="connsiteX5334" fmla="*/ 7175279 w 9586368"/>
                <a:gd name="connsiteY5334" fmla="*/ 2646366 h 6479439"/>
                <a:gd name="connsiteX5335" fmla="*/ 7175279 w 9586368"/>
                <a:gd name="connsiteY5335" fmla="*/ 2636496 h 6479439"/>
                <a:gd name="connsiteX5336" fmla="*/ 6939983 w 9586368"/>
                <a:gd name="connsiteY5336" fmla="*/ 2632457 h 6479439"/>
                <a:gd name="connsiteX5337" fmla="*/ 6949894 w 9586368"/>
                <a:gd name="connsiteY5337" fmla="*/ 2632457 h 6479439"/>
                <a:gd name="connsiteX5338" fmla="*/ 6953913 w 9586368"/>
                <a:gd name="connsiteY5338" fmla="*/ 2636496 h 6479439"/>
                <a:gd name="connsiteX5339" fmla="*/ 6953913 w 9586368"/>
                <a:gd name="connsiteY5339" fmla="*/ 2646366 h 6479439"/>
                <a:gd name="connsiteX5340" fmla="*/ 6949894 w 9586368"/>
                <a:gd name="connsiteY5340" fmla="*/ 2650405 h 6479439"/>
                <a:gd name="connsiteX5341" fmla="*/ 6939983 w 9586368"/>
                <a:gd name="connsiteY5341" fmla="*/ 2650405 h 6479439"/>
                <a:gd name="connsiteX5342" fmla="*/ 6935964 w 9586368"/>
                <a:gd name="connsiteY5342" fmla="*/ 2646366 h 6479439"/>
                <a:gd name="connsiteX5343" fmla="*/ 6935964 w 9586368"/>
                <a:gd name="connsiteY5343" fmla="*/ 2636496 h 6479439"/>
                <a:gd name="connsiteX5344" fmla="*/ 6700670 w 9586368"/>
                <a:gd name="connsiteY5344" fmla="*/ 2632457 h 6479439"/>
                <a:gd name="connsiteX5345" fmla="*/ 6710581 w 9586368"/>
                <a:gd name="connsiteY5345" fmla="*/ 2632457 h 6479439"/>
                <a:gd name="connsiteX5346" fmla="*/ 6714600 w 9586368"/>
                <a:gd name="connsiteY5346" fmla="*/ 2636496 h 6479439"/>
                <a:gd name="connsiteX5347" fmla="*/ 6714600 w 9586368"/>
                <a:gd name="connsiteY5347" fmla="*/ 2646366 h 6479439"/>
                <a:gd name="connsiteX5348" fmla="*/ 6710581 w 9586368"/>
                <a:gd name="connsiteY5348" fmla="*/ 2650405 h 6479439"/>
                <a:gd name="connsiteX5349" fmla="*/ 6700670 w 9586368"/>
                <a:gd name="connsiteY5349" fmla="*/ 2650405 h 6479439"/>
                <a:gd name="connsiteX5350" fmla="*/ 6696651 w 9586368"/>
                <a:gd name="connsiteY5350" fmla="*/ 2646366 h 6479439"/>
                <a:gd name="connsiteX5351" fmla="*/ 6696651 w 9586368"/>
                <a:gd name="connsiteY5351" fmla="*/ 2636496 h 6479439"/>
                <a:gd name="connsiteX5352" fmla="*/ 6461356 w 9586368"/>
                <a:gd name="connsiteY5352" fmla="*/ 2632457 h 6479439"/>
                <a:gd name="connsiteX5353" fmla="*/ 6471266 w 9586368"/>
                <a:gd name="connsiteY5353" fmla="*/ 2632457 h 6479439"/>
                <a:gd name="connsiteX5354" fmla="*/ 6475285 w 9586368"/>
                <a:gd name="connsiteY5354" fmla="*/ 2636496 h 6479439"/>
                <a:gd name="connsiteX5355" fmla="*/ 6475285 w 9586368"/>
                <a:gd name="connsiteY5355" fmla="*/ 2646366 h 6479439"/>
                <a:gd name="connsiteX5356" fmla="*/ 6471266 w 9586368"/>
                <a:gd name="connsiteY5356" fmla="*/ 2650405 h 6479439"/>
                <a:gd name="connsiteX5357" fmla="*/ 6461356 w 9586368"/>
                <a:gd name="connsiteY5357" fmla="*/ 2650405 h 6479439"/>
                <a:gd name="connsiteX5358" fmla="*/ 6457337 w 9586368"/>
                <a:gd name="connsiteY5358" fmla="*/ 2646366 h 6479439"/>
                <a:gd name="connsiteX5359" fmla="*/ 6457337 w 9586368"/>
                <a:gd name="connsiteY5359" fmla="*/ 2636496 h 6479439"/>
                <a:gd name="connsiteX5360" fmla="*/ 6222042 w 9586368"/>
                <a:gd name="connsiteY5360" fmla="*/ 2632457 h 6479439"/>
                <a:gd name="connsiteX5361" fmla="*/ 6231952 w 9586368"/>
                <a:gd name="connsiteY5361" fmla="*/ 2632457 h 6479439"/>
                <a:gd name="connsiteX5362" fmla="*/ 6235971 w 9586368"/>
                <a:gd name="connsiteY5362" fmla="*/ 2636496 h 6479439"/>
                <a:gd name="connsiteX5363" fmla="*/ 6235971 w 9586368"/>
                <a:gd name="connsiteY5363" fmla="*/ 2646366 h 6479439"/>
                <a:gd name="connsiteX5364" fmla="*/ 6231952 w 9586368"/>
                <a:gd name="connsiteY5364" fmla="*/ 2650405 h 6479439"/>
                <a:gd name="connsiteX5365" fmla="*/ 6222042 w 9586368"/>
                <a:gd name="connsiteY5365" fmla="*/ 2650405 h 6479439"/>
                <a:gd name="connsiteX5366" fmla="*/ 6218023 w 9586368"/>
                <a:gd name="connsiteY5366" fmla="*/ 2646366 h 6479439"/>
                <a:gd name="connsiteX5367" fmla="*/ 6218023 w 9586368"/>
                <a:gd name="connsiteY5367" fmla="*/ 2636496 h 6479439"/>
                <a:gd name="connsiteX5368" fmla="*/ 5982729 w 9586368"/>
                <a:gd name="connsiteY5368" fmla="*/ 2632457 h 6479439"/>
                <a:gd name="connsiteX5369" fmla="*/ 5992639 w 9586368"/>
                <a:gd name="connsiteY5369" fmla="*/ 2632457 h 6479439"/>
                <a:gd name="connsiteX5370" fmla="*/ 5996658 w 9586368"/>
                <a:gd name="connsiteY5370" fmla="*/ 2636496 h 6479439"/>
                <a:gd name="connsiteX5371" fmla="*/ 5996658 w 9586368"/>
                <a:gd name="connsiteY5371" fmla="*/ 2646366 h 6479439"/>
                <a:gd name="connsiteX5372" fmla="*/ 5992639 w 9586368"/>
                <a:gd name="connsiteY5372" fmla="*/ 2650405 h 6479439"/>
                <a:gd name="connsiteX5373" fmla="*/ 5982729 w 9586368"/>
                <a:gd name="connsiteY5373" fmla="*/ 2650405 h 6479439"/>
                <a:gd name="connsiteX5374" fmla="*/ 5978710 w 9586368"/>
                <a:gd name="connsiteY5374" fmla="*/ 2646366 h 6479439"/>
                <a:gd name="connsiteX5375" fmla="*/ 5978710 w 9586368"/>
                <a:gd name="connsiteY5375" fmla="*/ 2636496 h 6479439"/>
                <a:gd name="connsiteX5376" fmla="*/ 5743412 w 9586368"/>
                <a:gd name="connsiteY5376" fmla="*/ 2632457 h 6479439"/>
                <a:gd name="connsiteX5377" fmla="*/ 5753323 w 9586368"/>
                <a:gd name="connsiteY5377" fmla="*/ 2632457 h 6479439"/>
                <a:gd name="connsiteX5378" fmla="*/ 5757342 w 9586368"/>
                <a:gd name="connsiteY5378" fmla="*/ 2636496 h 6479439"/>
                <a:gd name="connsiteX5379" fmla="*/ 5757342 w 9586368"/>
                <a:gd name="connsiteY5379" fmla="*/ 2646366 h 6479439"/>
                <a:gd name="connsiteX5380" fmla="*/ 5753323 w 9586368"/>
                <a:gd name="connsiteY5380" fmla="*/ 2650405 h 6479439"/>
                <a:gd name="connsiteX5381" fmla="*/ 5743412 w 9586368"/>
                <a:gd name="connsiteY5381" fmla="*/ 2650405 h 6479439"/>
                <a:gd name="connsiteX5382" fmla="*/ 5739393 w 9586368"/>
                <a:gd name="connsiteY5382" fmla="*/ 2646366 h 6479439"/>
                <a:gd name="connsiteX5383" fmla="*/ 5739393 w 9586368"/>
                <a:gd name="connsiteY5383" fmla="*/ 2636496 h 6479439"/>
                <a:gd name="connsiteX5384" fmla="*/ 5504099 w 9586368"/>
                <a:gd name="connsiteY5384" fmla="*/ 2632457 h 6479439"/>
                <a:gd name="connsiteX5385" fmla="*/ 5514010 w 9586368"/>
                <a:gd name="connsiteY5385" fmla="*/ 2632457 h 6479439"/>
                <a:gd name="connsiteX5386" fmla="*/ 5518029 w 9586368"/>
                <a:gd name="connsiteY5386" fmla="*/ 2636496 h 6479439"/>
                <a:gd name="connsiteX5387" fmla="*/ 5518029 w 9586368"/>
                <a:gd name="connsiteY5387" fmla="*/ 2646366 h 6479439"/>
                <a:gd name="connsiteX5388" fmla="*/ 5514010 w 9586368"/>
                <a:gd name="connsiteY5388" fmla="*/ 2650405 h 6479439"/>
                <a:gd name="connsiteX5389" fmla="*/ 5504099 w 9586368"/>
                <a:gd name="connsiteY5389" fmla="*/ 2650405 h 6479439"/>
                <a:gd name="connsiteX5390" fmla="*/ 5500080 w 9586368"/>
                <a:gd name="connsiteY5390" fmla="*/ 2646366 h 6479439"/>
                <a:gd name="connsiteX5391" fmla="*/ 5500080 w 9586368"/>
                <a:gd name="connsiteY5391" fmla="*/ 2636496 h 6479439"/>
                <a:gd name="connsiteX5392" fmla="*/ 5264784 w 9586368"/>
                <a:gd name="connsiteY5392" fmla="*/ 2632457 h 6479439"/>
                <a:gd name="connsiteX5393" fmla="*/ 5274694 w 9586368"/>
                <a:gd name="connsiteY5393" fmla="*/ 2632457 h 6479439"/>
                <a:gd name="connsiteX5394" fmla="*/ 5278713 w 9586368"/>
                <a:gd name="connsiteY5394" fmla="*/ 2636496 h 6479439"/>
                <a:gd name="connsiteX5395" fmla="*/ 5278713 w 9586368"/>
                <a:gd name="connsiteY5395" fmla="*/ 2646366 h 6479439"/>
                <a:gd name="connsiteX5396" fmla="*/ 5274694 w 9586368"/>
                <a:gd name="connsiteY5396" fmla="*/ 2650405 h 6479439"/>
                <a:gd name="connsiteX5397" fmla="*/ 5264784 w 9586368"/>
                <a:gd name="connsiteY5397" fmla="*/ 2650405 h 6479439"/>
                <a:gd name="connsiteX5398" fmla="*/ 5260765 w 9586368"/>
                <a:gd name="connsiteY5398" fmla="*/ 2646366 h 6479439"/>
                <a:gd name="connsiteX5399" fmla="*/ 5260765 w 9586368"/>
                <a:gd name="connsiteY5399" fmla="*/ 2636496 h 6479439"/>
                <a:gd name="connsiteX5400" fmla="*/ 5025470 w 9586368"/>
                <a:gd name="connsiteY5400" fmla="*/ 2632457 h 6479439"/>
                <a:gd name="connsiteX5401" fmla="*/ 5035381 w 9586368"/>
                <a:gd name="connsiteY5401" fmla="*/ 2632457 h 6479439"/>
                <a:gd name="connsiteX5402" fmla="*/ 5039400 w 9586368"/>
                <a:gd name="connsiteY5402" fmla="*/ 2636496 h 6479439"/>
                <a:gd name="connsiteX5403" fmla="*/ 5039400 w 9586368"/>
                <a:gd name="connsiteY5403" fmla="*/ 2646366 h 6479439"/>
                <a:gd name="connsiteX5404" fmla="*/ 5035381 w 9586368"/>
                <a:gd name="connsiteY5404" fmla="*/ 2650405 h 6479439"/>
                <a:gd name="connsiteX5405" fmla="*/ 5025470 w 9586368"/>
                <a:gd name="connsiteY5405" fmla="*/ 2650405 h 6479439"/>
                <a:gd name="connsiteX5406" fmla="*/ 5021451 w 9586368"/>
                <a:gd name="connsiteY5406" fmla="*/ 2646366 h 6479439"/>
                <a:gd name="connsiteX5407" fmla="*/ 5021451 w 9586368"/>
                <a:gd name="connsiteY5407" fmla="*/ 2636496 h 6479439"/>
                <a:gd name="connsiteX5408" fmla="*/ 4786241 w 9586368"/>
                <a:gd name="connsiteY5408" fmla="*/ 2632457 h 6479439"/>
                <a:gd name="connsiteX5409" fmla="*/ 4796152 w 9586368"/>
                <a:gd name="connsiteY5409" fmla="*/ 2632457 h 6479439"/>
                <a:gd name="connsiteX5410" fmla="*/ 4800171 w 9586368"/>
                <a:gd name="connsiteY5410" fmla="*/ 2636496 h 6479439"/>
                <a:gd name="connsiteX5411" fmla="*/ 4800171 w 9586368"/>
                <a:gd name="connsiteY5411" fmla="*/ 2646366 h 6479439"/>
                <a:gd name="connsiteX5412" fmla="*/ 4796152 w 9586368"/>
                <a:gd name="connsiteY5412" fmla="*/ 2650405 h 6479439"/>
                <a:gd name="connsiteX5413" fmla="*/ 4786241 w 9586368"/>
                <a:gd name="connsiteY5413" fmla="*/ 2650405 h 6479439"/>
                <a:gd name="connsiteX5414" fmla="*/ 4782224 w 9586368"/>
                <a:gd name="connsiteY5414" fmla="*/ 2646366 h 6479439"/>
                <a:gd name="connsiteX5415" fmla="*/ 4782224 w 9586368"/>
                <a:gd name="connsiteY5415" fmla="*/ 2636496 h 6479439"/>
                <a:gd name="connsiteX5416" fmla="*/ 4546929 w 9586368"/>
                <a:gd name="connsiteY5416" fmla="*/ 2632457 h 6479439"/>
                <a:gd name="connsiteX5417" fmla="*/ 4556840 w 9586368"/>
                <a:gd name="connsiteY5417" fmla="*/ 2632457 h 6479439"/>
                <a:gd name="connsiteX5418" fmla="*/ 4560859 w 9586368"/>
                <a:gd name="connsiteY5418" fmla="*/ 2636496 h 6479439"/>
                <a:gd name="connsiteX5419" fmla="*/ 4560859 w 9586368"/>
                <a:gd name="connsiteY5419" fmla="*/ 2646366 h 6479439"/>
                <a:gd name="connsiteX5420" fmla="*/ 4556840 w 9586368"/>
                <a:gd name="connsiteY5420" fmla="*/ 2650405 h 6479439"/>
                <a:gd name="connsiteX5421" fmla="*/ 4546929 w 9586368"/>
                <a:gd name="connsiteY5421" fmla="*/ 2650405 h 6479439"/>
                <a:gd name="connsiteX5422" fmla="*/ 4542910 w 9586368"/>
                <a:gd name="connsiteY5422" fmla="*/ 2646366 h 6479439"/>
                <a:gd name="connsiteX5423" fmla="*/ 4542910 w 9586368"/>
                <a:gd name="connsiteY5423" fmla="*/ 2636496 h 6479439"/>
                <a:gd name="connsiteX5424" fmla="*/ 4307612 w 9586368"/>
                <a:gd name="connsiteY5424" fmla="*/ 2632457 h 6479439"/>
                <a:gd name="connsiteX5425" fmla="*/ 4317523 w 9586368"/>
                <a:gd name="connsiteY5425" fmla="*/ 2632457 h 6479439"/>
                <a:gd name="connsiteX5426" fmla="*/ 4321543 w 9586368"/>
                <a:gd name="connsiteY5426" fmla="*/ 2636496 h 6479439"/>
                <a:gd name="connsiteX5427" fmla="*/ 4321543 w 9586368"/>
                <a:gd name="connsiteY5427" fmla="*/ 2646366 h 6479439"/>
                <a:gd name="connsiteX5428" fmla="*/ 4317523 w 9586368"/>
                <a:gd name="connsiteY5428" fmla="*/ 2650405 h 6479439"/>
                <a:gd name="connsiteX5429" fmla="*/ 4307612 w 9586368"/>
                <a:gd name="connsiteY5429" fmla="*/ 2650405 h 6479439"/>
                <a:gd name="connsiteX5430" fmla="*/ 4303595 w 9586368"/>
                <a:gd name="connsiteY5430" fmla="*/ 2646366 h 6479439"/>
                <a:gd name="connsiteX5431" fmla="*/ 4303595 w 9586368"/>
                <a:gd name="connsiteY5431" fmla="*/ 2636496 h 6479439"/>
                <a:gd name="connsiteX5432" fmla="*/ 4068297 w 9586368"/>
                <a:gd name="connsiteY5432" fmla="*/ 2632457 h 6479439"/>
                <a:gd name="connsiteX5433" fmla="*/ 4078210 w 9586368"/>
                <a:gd name="connsiteY5433" fmla="*/ 2632457 h 6479439"/>
                <a:gd name="connsiteX5434" fmla="*/ 4082229 w 9586368"/>
                <a:gd name="connsiteY5434" fmla="*/ 2636496 h 6479439"/>
                <a:gd name="connsiteX5435" fmla="*/ 4082229 w 9586368"/>
                <a:gd name="connsiteY5435" fmla="*/ 2646366 h 6479439"/>
                <a:gd name="connsiteX5436" fmla="*/ 4078210 w 9586368"/>
                <a:gd name="connsiteY5436" fmla="*/ 2650405 h 6479439"/>
                <a:gd name="connsiteX5437" fmla="*/ 4068297 w 9586368"/>
                <a:gd name="connsiteY5437" fmla="*/ 2650405 h 6479439"/>
                <a:gd name="connsiteX5438" fmla="*/ 4064278 w 9586368"/>
                <a:gd name="connsiteY5438" fmla="*/ 2646366 h 6479439"/>
                <a:gd name="connsiteX5439" fmla="*/ 4064278 w 9586368"/>
                <a:gd name="connsiteY5439" fmla="*/ 2636496 h 6479439"/>
                <a:gd name="connsiteX5440" fmla="*/ 3828990 w 9586368"/>
                <a:gd name="connsiteY5440" fmla="*/ 2632457 h 6479439"/>
                <a:gd name="connsiteX5441" fmla="*/ 3838899 w 9586368"/>
                <a:gd name="connsiteY5441" fmla="*/ 2632457 h 6479439"/>
                <a:gd name="connsiteX5442" fmla="*/ 3842917 w 9586368"/>
                <a:gd name="connsiteY5442" fmla="*/ 2636496 h 6479439"/>
                <a:gd name="connsiteX5443" fmla="*/ 3842917 w 9586368"/>
                <a:gd name="connsiteY5443" fmla="*/ 2646366 h 6479439"/>
                <a:gd name="connsiteX5444" fmla="*/ 3838899 w 9586368"/>
                <a:gd name="connsiteY5444" fmla="*/ 2650405 h 6479439"/>
                <a:gd name="connsiteX5445" fmla="*/ 3828990 w 9586368"/>
                <a:gd name="connsiteY5445" fmla="*/ 2650405 h 6479439"/>
                <a:gd name="connsiteX5446" fmla="*/ 3824971 w 9586368"/>
                <a:gd name="connsiteY5446" fmla="*/ 2646366 h 6479439"/>
                <a:gd name="connsiteX5447" fmla="*/ 3824971 w 9586368"/>
                <a:gd name="connsiteY5447" fmla="*/ 2636496 h 6479439"/>
                <a:gd name="connsiteX5448" fmla="*/ 3589676 w 9586368"/>
                <a:gd name="connsiteY5448" fmla="*/ 2632457 h 6479439"/>
                <a:gd name="connsiteX5449" fmla="*/ 3599585 w 9586368"/>
                <a:gd name="connsiteY5449" fmla="*/ 2632457 h 6479439"/>
                <a:gd name="connsiteX5450" fmla="*/ 3603604 w 9586368"/>
                <a:gd name="connsiteY5450" fmla="*/ 2636496 h 6479439"/>
                <a:gd name="connsiteX5451" fmla="*/ 3603604 w 9586368"/>
                <a:gd name="connsiteY5451" fmla="*/ 2646366 h 6479439"/>
                <a:gd name="connsiteX5452" fmla="*/ 3599585 w 9586368"/>
                <a:gd name="connsiteY5452" fmla="*/ 2650405 h 6479439"/>
                <a:gd name="connsiteX5453" fmla="*/ 3589676 w 9586368"/>
                <a:gd name="connsiteY5453" fmla="*/ 2650405 h 6479439"/>
                <a:gd name="connsiteX5454" fmla="*/ 3585657 w 9586368"/>
                <a:gd name="connsiteY5454" fmla="*/ 2646366 h 6479439"/>
                <a:gd name="connsiteX5455" fmla="*/ 3585657 w 9586368"/>
                <a:gd name="connsiteY5455" fmla="*/ 2636496 h 6479439"/>
                <a:gd name="connsiteX5456" fmla="*/ 3350359 w 9586368"/>
                <a:gd name="connsiteY5456" fmla="*/ 2632457 h 6479439"/>
                <a:gd name="connsiteX5457" fmla="*/ 3360268 w 9586368"/>
                <a:gd name="connsiteY5457" fmla="*/ 2632457 h 6479439"/>
                <a:gd name="connsiteX5458" fmla="*/ 3364287 w 9586368"/>
                <a:gd name="connsiteY5458" fmla="*/ 2636496 h 6479439"/>
                <a:gd name="connsiteX5459" fmla="*/ 3364287 w 9586368"/>
                <a:gd name="connsiteY5459" fmla="*/ 2646366 h 6479439"/>
                <a:gd name="connsiteX5460" fmla="*/ 3360268 w 9586368"/>
                <a:gd name="connsiteY5460" fmla="*/ 2650405 h 6479439"/>
                <a:gd name="connsiteX5461" fmla="*/ 3350359 w 9586368"/>
                <a:gd name="connsiteY5461" fmla="*/ 2650405 h 6479439"/>
                <a:gd name="connsiteX5462" fmla="*/ 3346340 w 9586368"/>
                <a:gd name="connsiteY5462" fmla="*/ 2646366 h 6479439"/>
                <a:gd name="connsiteX5463" fmla="*/ 3346340 w 9586368"/>
                <a:gd name="connsiteY5463" fmla="*/ 2636496 h 6479439"/>
                <a:gd name="connsiteX5464" fmla="*/ 3111048 w 9586368"/>
                <a:gd name="connsiteY5464" fmla="*/ 2632457 h 6479439"/>
                <a:gd name="connsiteX5465" fmla="*/ 3120959 w 9586368"/>
                <a:gd name="connsiteY5465" fmla="*/ 2632457 h 6479439"/>
                <a:gd name="connsiteX5466" fmla="*/ 3124977 w 9586368"/>
                <a:gd name="connsiteY5466" fmla="*/ 2636496 h 6479439"/>
                <a:gd name="connsiteX5467" fmla="*/ 3124977 w 9586368"/>
                <a:gd name="connsiteY5467" fmla="*/ 2646366 h 6479439"/>
                <a:gd name="connsiteX5468" fmla="*/ 3120959 w 9586368"/>
                <a:gd name="connsiteY5468" fmla="*/ 2650405 h 6479439"/>
                <a:gd name="connsiteX5469" fmla="*/ 3111048 w 9586368"/>
                <a:gd name="connsiteY5469" fmla="*/ 2650405 h 6479439"/>
                <a:gd name="connsiteX5470" fmla="*/ 3107029 w 9586368"/>
                <a:gd name="connsiteY5470" fmla="*/ 2646366 h 6479439"/>
                <a:gd name="connsiteX5471" fmla="*/ 3107029 w 9586368"/>
                <a:gd name="connsiteY5471" fmla="*/ 2636496 h 6479439"/>
                <a:gd name="connsiteX5472" fmla="*/ 2871737 w 9586368"/>
                <a:gd name="connsiteY5472" fmla="*/ 2632457 h 6479439"/>
                <a:gd name="connsiteX5473" fmla="*/ 2881646 w 9586368"/>
                <a:gd name="connsiteY5473" fmla="*/ 2632457 h 6479439"/>
                <a:gd name="connsiteX5474" fmla="*/ 2885666 w 9586368"/>
                <a:gd name="connsiteY5474" fmla="*/ 2636496 h 6479439"/>
                <a:gd name="connsiteX5475" fmla="*/ 2885666 w 9586368"/>
                <a:gd name="connsiteY5475" fmla="*/ 2646366 h 6479439"/>
                <a:gd name="connsiteX5476" fmla="*/ 2881646 w 9586368"/>
                <a:gd name="connsiteY5476" fmla="*/ 2650405 h 6479439"/>
                <a:gd name="connsiteX5477" fmla="*/ 2871737 w 9586368"/>
                <a:gd name="connsiteY5477" fmla="*/ 2650405 h 6479439"/>
                <a:gd name="connsiteX5478" fmla="*/ 2867717 w 9586368"/>
                <a:gd name="connsiteY5478" fmla="*/ 2646366 h 6479439"/>
                <a:gd name="connsiteX5479" fmla="*/ 2867717 w 9586368"/>
                <a:gd name="connsiteY5479" fmla="*/ 2636496 h 6479439"/>
                <a:gd name="connsiteX5480" fmla="*/ 2632423 w 9586368"/>
                <a:gd name="connsiteY5480" fmla="*/ 2632457 h 6479439"/>
                <a:gd name="connsiteX5481" fmla="*/ 2642334 w 9586368"/>
                <a:gd name="connsiteY5481" fmla="*/ 2632457 h 6479439"/>
                <a:gd name="connsiteX5482" fmla="*/ 2646352 w 9586368"/>
                <a:gd name="connsiteY5482" fmla="*/ 2636496 h 6479439"/>
                <a:gd name="connsiteX5483" fmla="*/ 2646352 w 9586368"/>
                <a:gd name="connsiteY5483" fmla="*/ 2646366 h 6479439"/>
                <a:gd name="connsiteX5484" fmla="*/ 2642334 w 9586368"/>
                <a:gd name="connsiteY5484" fmla="*/ 2650405 h 6479439"/>
                <a:gd name="connsiteX5485" fmla="*/ 2632423 w 9586368"/>
                <a:gd name="connsiteY5485" fmla="*/ 2650405 h 6479439"/>
                <a:gd name="connsiteX5486" fmla="*/ 2628404 w 9586368"/>
                <a:gd name="connsiteY5486" fmla="*/ 2646366 h 6479439"/>
                <a:gd name="connsiteX5487" fmla="*/ 2628404 w 9586368"/>
                <a:gd name="connsiteY5487" fmla="*/ 2636496 h 6479439"/>
                <a:gd name="connsiteX5488" fmla="*/ 2393104 w 9586368"/>
                <a:gd name="connsiteY5488" fmla="*/ 2632457 h 6479439"/>
                <a:gd name="connsiteX5489" fmla="*/ 2403015 w 9586368"/>
                <a:gd name="connsiteY5489" fmla="*/ 2632457 h 6479439"/>
                <a:gd name="connsiteX5490" fmla="*/ 2407034 w 9586368"/>
                <a:gd name="connsiteY5490" fmla="*/ 2636496 h 6479439"/>
                <a:gd name="connsiteX5491" fmla="*/ 2407034 w 9586368"/>
                <a:gd name="connsiteY5491" fmla="*/ 2646366 h 6479439"/>
                <a:gd name="connsiteX5492" fmla="*/ 2403015 w 9586368"/>
                <a:gd name="connsiteY5492" fmla="*/ 2650405 h 6479439"/>
                <a:gd name="connsiteX5493" fmla="*/ 2393104 w 9586368"/>
                <a:gd name="connsiteY5493" fmla="*/ 2650405 h 6479439"/>
                <a:gd name="connsiteX5494" fmla="*/ 2389087 w 9586368"/>
                <a:gd name="connsiteY5494" fmla="*/ 2646366 h 6479439"/>
                <a:gd name="connsiteX5495" fmla="*/ 2389087 w 9586368"/>
                <a:gd name="connsiteY5495" fmla="*/ 2636496 h 6479439"/>
                <a:gd name="connsiteX5496" fmla="*/ 2157821 w 9586368"/>
                <a:gd name="connsiteY5496" fmla="*/ 2632457 h 6479439"/>
                <a:gd name="connsiteX5497" fmla="*/ 2167732 w 9586368"/>
                <a:gd name="connsiteY5497" fmla="*/ 2632457 h 6479439"/>
                <a:gd name="connsiteX5498" fmla="*/ 2171750 w 9586368"/>
                <a:gd name="connsiteY5498" fmla="*/ 2636496 h 6479439"/>
                <a:gd name="connsiteX5499" fmla="*/ 2171750 w 9586368"/>
                <a:gd name="connsiteY5499" fmla="*/ 2646366 h 6479439"/>
                <a:gd name="connsiteX5500" fmla="*/ 2167732 w 9586368"/>
                <a:gd name="connsiteY5500" fmla="*/ 2650405 h 6479439"/>
                <a:gd name="connsiteX5501" fmla="*/ 2157821 w 9586368"/>
                <a:gd name="connsiteY5501" fmla="*/ 2650405 h 6479439"/>
                <a:gd name="connsiteX5502" fmla="*/ 2153802 w 9586368"/>
                <a:gd name="connsiteY5502" fmla="*/ 2646366 h 6479439"/>
                <a:gd name="connsiteX5503" fmla="*/ 2153802 w 9586368"/>
                <a:gd name="connsiteY5503" fmla="*/ 2636496 h 6479439"/>
                <a:gd name="connsiteX5504" fmla="*/ 1918513 w 9586368"/>
                <a:gd name="connsiteY5504" fmla="*/ 2632457 h 6479439"/>
                <a:gd name="connsiteX5505" fmla="*/ 1928422 w 9586368"/>
                <a:gd name="connsiteY5505" fmla="*/ 2632457 h 6479439"/>
                <a:gd name="connsiteX5506" fmla="*/ 1932441 w 9586368"/>
                <a:gd name="connsiteY5506" fmla="*/ 2636496 h 6479439"/>
                <a:gd name="connsiteX5507" fmla="*/ 1932441 w 9586368"/>
                <a:gd name="connsiteY5507" fmla="*/ 2646366 h 6479439"/>
                <a:gd name="connsiteX5508" fmla="*/ 1928422 w 9586368"/>
                <a:gd name="connsiteY5508" fmla="*/ 2650405 h 6479439"/>
                <a:gd name="connsiteX5509" fmla="*/ 1918513 w 9586368"/>
                <a:gd name="connsiteY5509" fmla="*/ 2650405 h 6479439"/>
                <a:gd name="connsiteX5510" fmla="*/ 1914494 w 9586368"/>
                <a:gd name="connsiteY5510" fmla="*/ 2646366 h 6479439"/>
                <a:gd name="connsiteX5511" fmla="*/ 1914494 w 9586368"/>
                <a:gd name="connsiteY5511" fmla="*/ 2636496 h 6479439"/>
                <a:gd name="connsiteX5512" fmla="*/ 1679212 w 9586368"/>
                <a:gd name="connsiteY5512" fmla="*/ 2632457 h 6479439"/>
                <a:gd name="connsiteX5513" fmla="*/ 1689122 w 9586368"/>
                <a:gd name="connsiteY5513" fmla="*/ 2632457 h 6479439"/>
                <a:gd name="connsiteX5514" fmla="*/ 1693141 w 9586368"/>
                <a:gd name="connsiteY5514" fmla="*/ 2636496 h 6479439"/>
                <a:gd name="connsiteX5515" fmla="*/ 1693141 w 9586368"/>
                <a:gd name="connsiteY5515" fmla="*/ 2646366 h 6479439"/>
                <a:gd name="connsiteX5516" fmla="*/ 1689122 w 9586368"/>
                <a:gd name="connsiteY5516" fmla="*/ 2650405 h 6479439"/>
                <a:gd name="connsiteX5517" fmla="*/ 1679212 w 9586368"/>
                <a:gd name="connsiteY5517" fmla="*/ 2650405 h 6479439"/>
                <a:gd name="connsiteX5518" fmla="*/ 1675193 w 9586368"/>
                <a:gd name="connsiteY5518" fmla="*/ 2646366 h 6479439"/>
                <a:gd name="connsiteX5519" fmla="*/ 1675193 w 9586368"/>
                <a:gd name="connsiteY5519" fmla="*/ 2636496 h 6479439"/>
                <a:gd name="connsiteX5520" fmla="*/ 1439896 w 9586368"/>
                <a:gd name="connsiteY5520" fmla="*/ 2632457 h 6479439"/>
                <a:gd name="connsiteX5521" fmla="*/ 1449806 w 9586368"/>
                <a:gd name="connsiteY5521" fmla="*/ 2632457 h 6479439"/>
                <a:gd name="connsiteX5522" fmla="*/ 1453824 w 9586368"/>
                <a:gd name="connsiteY5522" fmla="*/ 2636496 h 6479439"/>
                <a:gd name="connsiteX5523" fmla="*/ 1453824 w 9586368"/>
                <a:gd name="connsiteY5523" fmla="*/ 2646366 h 6479439"/>
                <a:gd name="connsiteX5524" fmla="*/ 1449806 w 9586368"/>
                <a:gd name="connsiteY5524" fmla="*/ 2650405 h 6479439"/>
                <a:gd name="connsiteX5525" fmla="*/ 1439896 w 9586368"/>
                <a:gd name="connsiteY5525" fmla="*/ 2650405 h 6479439"/>
                <a:gd name="connsiteX5526" fmla="*/ 1435876 w 9586368"/>
                <a:gd name="connsiteY5526" fmla="*/ 2646366 h 6479439"/>
                <a:gd name="connsiteX5527" fmla="*/ 1435876 w 9586368"/>
                <a:gd name="connsiteY5527" fmla="*/ 2636496 h 6479439"/>
                <a:gd name="connsiteX5528" fmla="*/ 1200580 w 9586368"/>
                <a:gd name="connsiteY5528" fmla="*/ 2632457 h 6479439"/>
                <a:gd name="connsiteX5529" fmla="*/ 1210490 w 9586368"/>
                <a:gd name="connsiteY5529" fmla="*/ 2632457 h 6479439"/>
                <a:gd name="connsiteX5530" fmla="*/ 1214509 w 9586368"/>
                <a:gd name="connsiteY5530" fmla="*/ 2636496 h 6479439"/>
                <a:gd name="connsiteX5531" fmla="*/ 1214509 w 9586368"/>
                <a:gd name="connsiteY5531" fmla="*/ 2646366 h 6479439"/>
                <a:gd name="connsiteX5532" fmla="*/ 1210490 w 9586368"/>
                <a:gd name="connsiteY5532" fmla="*/ 2650405 h 6479439"/>
                <a:gd name="connsiteX5533" fmla="*/ 1200580 w 9586368"/>
                <a:gd name="connsiteY5533" fmla="*/ 2650405 h 6479439"/>
                <a:gd name="connsiteX5534" fmla="*/ 1196561 w 9586368"/>
                <a:gd name="connsiteY5534" fmla="*/ 2646366 h 6479439"/>
                <a:gd name="connsiteX5535" fmla="*/ 1196561 w 9586368"/>
                <a:gd name="connsiteY5535" fmla="*/ 2636496 h 6479439"/>
                <a:gd name="connsiteX5536" fmla="*/ 961267 w 9586368"/>
                <a:gd name="connsiteY5536" fmla="*/ 2632457 h 6479439"/>
                <a:gd name="connsiteX5537" fmla="*/ 971178 w 9586368"/>
                <a:gd name="connsiteY5537" fmla="*/ 2632457 h 6479439"/>
                <a:gd name="connsiteX5538" fmla="*/ 975196 w 9586368"/>
                <a:gd name="connsiteY5538" fmla="*/ 2636496 h 6479439"/>
                <a:gd name="connsiteX5539" fmla="*/ 975196 w 9586368"/>
                <a:gd name="connsiteY5539" fmla="*/ 2646366 h 6479439"/>
                <a:gd name="connsiteX5540" fmla="*/ 971178 w 9586368"/>
                <a:gd name="connsiteY5540" fmla="*/ 2650405 h 6479439"/>
                <a:gd name="connsiteX5541" fmla="*/ 961267 w 9586368"/>
                <a:gd name="connsiteY5541" fmla="*/ 2650405 h 6479439"/>
                <a:gd name="connsiteX5542" fmla="*/ 957249 w 9586368"/>
                <a:gd name="connsiteY5542" fmla="*/ 2646366 h 6479439"/>
                <a:gd name="connsiteX5543" fmla="*/ 957249 w 9586368"/>
                <a:gd name="connsiteY5543" fmla="*/ 2636496 h 6479439"/>
                <a:gd name="connsiteX5544" fmla="*/ 721970 w 9586368"/>
                <a:gd name="connsiteY5544" fmla="*/ 2632457 h 6479439"/>
                <a:gd name="connsiteX5545" fmla="*/ 731879 w 9586368"/>
                <a:gd name="connsiteY5545" fmla="*/ 2632457 h 6479439"/>
                <a:gd name="connsiteX5546" fmla="*/ 735898 w 9586368"/>
                <a:gd name="connsiteY5546" fmla="*/ 2636496 h 6479439"/>
                <a:gd name="connsiteX5547" fmla="*/ 735898 w 9586368"/>
                <a:gd name="connsiteY5547" fmla="*/ 2646366 h 6479439"/>
                <a:gd name="connsiteX5548" fmla="*/ 731879 w 9586368"/>
                <a:gd name="connsiteY5548" fmla="*/ 2650405 h 6479439"/>
                <a:gd name="connsiteX5549" fmla="*/ 721970 w 9586368"/>
                <a:gd name="connsiteY5549" fmla="*/ 2650405 h 6479439"/>
                <a:gd name="connsiteX5550" fmla="*/ 717951 w 9586368"/>
                <a:gd name="connsiteY5550" fmla="*/ 2646366 h 6479439"/>
                <a:gd name="connsiteX5551" fmla="*/ 717951 w 9586368"/>
                <a:gd name="connsiteY5551" fmla="*/ 2636496 h 6479439"/>
                <a:gd name="connsiteX5552" fmla="*/ 482657 w 9586368"/>
                <a:gd name="connsiteY5552" fmla="*/ 2632457 h 6479439"/>
                <a:gd name="connsiteX5553" fmla="*/ 492567 w 9586368"/>
                <a:gd name="connsiteY5553" fmla="*/ 2632457 h 6479439"/>
                <a:gd name="connsiteX5554" fmla="*/ 496586 w 9586368"/>
                <a:gd name="connsiteY5554" fmla="*/ 2636496 h 6479439"/>
                <a:gd name="connsiteX5555" fmla="*/ 496586 w 9586368"/>
                <a:gd name="connsiteY5555" fmla="*/ 2646366 h 6479439"/>
                <a:gd name="connsiteX5556" fmla="*/ 492567 w 9586368"/>
                <a:gd name="connsiteY5556" fmla="*/ 2650405 h 6479439"/>
                <a:gd name="connsiteX5557" fmla="*/ 482657 w 9586368"/>
                <a:gd name="connsiteY5557" fmla="*/ 2650405 h 6479439"/>
                <a:gd name="connsiteX5558" fmla="*/ 478638 w 9586368"/>
                <a:gd name="connsiteY5558" fmla="*/ 2646366 h 6479439"/>
                <a:gd name="connsiteX5559" fmla="*/ 478638 w 9586368"/>
                <a:gd name="connsiteY5559" fmla="*/ 2636496 h 6479439"/>
                <a:gd name="connsiteX5560" fmla="*/ 243344 w 9586368"/>
                <a:gd name="connsiteY5560" fmla="*/ 2632457 h 6479439"/>
                <a:gd name="connsiteX5561" fmla="*/ 253254 w 9586368"/>
                <a:gd name="connsiteY5561" fmla="*/ 2632457 h 6479439"/>
                <a:gd name="connsiteX5562" fmla="*/ 257273 w 9586368"/>
                <a:gd name="connsiteY5562" fmla="*/ 2636496 h 6479439"/>
                <a:gd name="connsiteX5563" fmla="*/ 257273 w 9586368"/>
                <a:gd name="connsiteY5563" fmla="*/ 2646366 h 6479439"/>
                <a:gd name="connsiteX5564" fmla="*/ 253254 w 9586368"/>
                <a:gd name="connsiteY5564" fmla="*/ 2650405 h 6479439"/>
                <a:gd name="connsiteX5565" fmla="*/ 243344 w 9586368"/>
                <a:gd name="connsiteY5565" fmla="*/ 2650405 h 6479439"/>
                <a:gd name="connsiteX5566" fmla="*/ 239325 w 9586368"/>
                <a:gd name="connsiteY5566" fmla="*/ 2646366 h 6479439"/>
                <a:gd name="connsiteX5567" fmla="*/ 239325 w 9586368"/>
                <a:gd name="connsiteY5567" fmla="*/ 2636496 h 6479439"/>
                <a:gd name="connsiteX5568" fmla="*/ 4030 w 9586368"/>
                <a:gd name="connsiteY5568" fmla="*/ 2632457 h 6479439"/>
                <a:gd name="connsiteX5569" fmla="*/ 13941 w 9586368"/>
                <a:gd name="connsiteY5569" fmla="*/ 2632457 h 6479439"/>
                <a:gd name="connsiteX5570" fmla="*/ 17960 w 9586368"/>
                <a:gd name="connsiteY5570" fmla="*/ 2636496 h 6479439"/>
                <a:gd name="connsiteX5571" fmla="*/ 17960 w 9586368"/>
                <a:gd name="connsiteY5571" fmla="*/ 2646366 h 6479439"/>
                <a:gd name="connsiteX5572" fmla="*/ 13941 w 9586368"/>
                <a:gd name="connsiteY5572" fmla="*/ 2650405 h 6479439"/>
                <a:gd name="connsiteX5573" fmla="*/ 4030 w 9586368"/>
                <a:gd name="connsiteY5573" fmla="*/ 2650405 h 6479439"/>
                <a:gd name="connsiteX5574" fmla="*/ 11 w 9586368"/>
                <a:gd name="connsiteY5574" fmla="*/ 2646366 h 6479439"/>
                <a:gd name="connsiteX5575" fmla="*/ 11 w 9586368"/>
                <a:gd name="connsiteY5575" fmla="*/ 2636496 h 6479439"/>
                <a:gd name="connsiteX5576" fmla="*/ 2157821 w 9586368"/>
                <a:gd name="connsiteY5576" fmla="*/ 2393178 h 6479439"/>
                <a:gd name="connsiteX5577" fmla="*/ 2167732 w 9586368"/>
                <a:gd name="connsiteY5577" fmla="*/ 2393178 h 6479439"/>
                <a:gd name="connsiteX5578" fmla="*/ 2171750 w 9586368"/>
                <a:gd name="connsiteY5578" fmla="*/ 2397216 h 6479439"/>
                <a:gd name="connsiteX5579" fmla="*/ 2171750 w 9586368"/>
                <a:gd name="connsiteY5579" fmla="*/ 2407087 h 6479439"/>
                <a:gd name="connsiteX5580" fmla="*/ 2167732 w 9586368"/>
                <a:gd name="connsiteY5580" fmla="*/ 2411126 h 6479439"/>
                <a:gd name="connsiteX5581" fmla="*/ 2157821 w 9586368"/>
                <a:gd name="connsiteY5581" fmla="*/ 2411126 h 6479439"/>
                <a:gd name="connsiteX5582" fmla="*/ 2153802 w 9586368"/>
                <a:gd name="connsiteY5582" fmla="*/ 2407087 h 6479439"/>
                <a:gd name="connsiteX5583" fmla="*/ 2153802 w 9586368"/>
                <a:gd name="connsiteY5583" fmla="*/ 2397216 h 6479439"/>
                <a:gd name="connsiteX5584" fmla="*/ 1918513 w 9586368"/>
                <a:gd name="connsiteY5584" fmla="*/ 2393178 h 6479439"/>
                <a:gd name="connsiteX5585" fmla="*/ 1928422 w 9586368"/>
                <a:gd name="connsiteY5585" fmla="*/ 2393178 h 6479439"/>
                <a:gd name="connsiteX5586" fmla="*/ 1932443 w 9586368"/>
                <a:gd name="connsiteY5586" fmla="*/ 2397216 h 6479439"/>
                <a:gd name="connsiteX5587" fmla="*/ 1932443 w 9586368"/>
                <a:gd name="connsiteY5587" fmla="*/ 2407087 h 6479439"/>
                <a:gd name="connsiteX5588" fmla="*/ 1928422 w 9586368"/>
                <a:gd name="connsiteY5588" fmla="*/ 2411126 h 6479439"/>
                <a:gd name="connsiteX5589" fmla="*/ 1918513 w 9586368"/>
                <a:gd name="connsiteY5589" fmla="*/ 2411126 h 6479439"/>
                <a:gd name="connsiteX5590" fmla="*/ 1914494 w 9586368"/>
                <a:gd name="connsiteY5590" fmla="*/ 2407087 h 6479439"/>
                <a:gd name="connsiteX5591" fmla="*/ 1914494 w 9586368"/>
                <a:gd name="connsiteY5591" fmla="*/ 2397216 h 6479439"/>
                <a:gd name="connsiteX5592" fmla="*/ 1679212 w 9586368"/>
                <a:gd name="connsiteY5592" fmla="*/ 2393178 h 6479439"/>
                <a:gd name="connsiteX5593" fmla="*/ 1689123 w 9586368"/>
                <a:gd name="connsiteY5593" fmla="*/ 2393178 h 6479439"/>
                <a:gd name="connsiteX5594" fmla="*/ 1693142 w 9586368"/>
                <a:gd name="connsiteY5594" fmla="*/ 2397216 h 6479439"/>
                <a:gd name="connsiteX5595" fmla="*/ 1693142 w 9586368"/>
                <a:gd name="connsiteY5595" fmla="*/ 2407087 h 6479439"/>
                <a:gd name="connsiteX5596" fmla="*/ 1689123 w 9586368"/>
                <a:gd name="connsiteY5596" fmla="*/ 2411126 h 6479439"/>
                <a:gd name="connsiteX5597" fmla="*/ 1679212 w 9586368"/>
                <a:gd name="connsiteY5597" fmla="*/ 2411126 h 6479439"/>
                <a:gd name="connsiteX5598" fmla="*/ 1675194 w 9586368"/>
                <a:gd name="connsiteY5598" fmla="*/ 2407087 h 6479439"/>
                <a:gd name="connsiteX5599" fmla="*/ 1675194 w 9586368"/>
                <a:gd name="connsiteY5599" fmla="*/ 2397216 h 6479439"/>
                <a:gd name="connsiteX5600" fmla="*/ 1439896 w 9586368"/>
                <a:gd name="connsiteY5600" fmla="*/ 2393178 h 6479439"/>
                <a:gd name="connsiteX5601" fmla="*/ 1449806 w 9586368"/>
                <a:gd name="connsiteY5601" fmla="*/ 2393178 h 6479439"/>
                <a:gd name="connsiteX5602" fmla="*/ 1453826 w 9586368"/>
                <a:gd name="connsiteY5602" fmla="*/ 2397216 h 6479439"/>
                <a:gd name="connsiteX5603" fmla="*/ 1453826 w 9586368"/>
                <a:gd name="connsiteY5603" fmla="*/ 2407087 h 6479439"/>
                <a:gd name="connsiteX5604" fmla="*/ 1449806 w 9586368"/>
                <a:gd name="connsiteY5604" fmla="*/ 2411126 h 6479439"/>
                <a:gd name="connsiteX5605" fmla="*/ 1439896 w 9586368"/>
                <a:gd name="connsiteY5605" fmla="*/ 2411126 h 6479439"/>
                <a:gd name="connsiteX5606" fmla="*/ 1435878 w 9586368"/>
                <a:gd name="connsiteY5606" fmla="*/ 2407087 h 6479439"/>
                <a:gd name="connsiteX5607" fmla="*/ 1435878 w 9586368"/>
                <a:gd name="connsiteY5607" fmla="*/ 2397216 h 6479439"/>
                <a:gd name="connsiteX5608" fmla="*/ 1200580 w 9586368"/>
                <a:gd name="connsiteY5608" fmla="*/ 2393178 h 6479439"/>
                <a:gd name="connsiteX5609" fmla="*/ 1210491 w 9586368"/>
                <a:gd name="connsiteY5609" fmla="*/ 2393178 h 6479439"/>
                <a:gd name="connsiteX5610" fmla="*/ 1214510 w 9586368"/>
                <a:gd name="connsiteY5610" fmla="*/ 2397216 h 6479439"/>
                <a:gd name="connsiteX5611" fmla="*/ 1214510 w 9586368"/>
                <a:gd name="connsiteY5611" fmla="*/ 2407087 h 6479439"/>
                <a:gd name="connsiteX5612" fmla="*/ 1210491 w 9586368"/>
                <a:gd name="connsiteY5612" fmla="*/ 2411126 h 6479439"/>
                <a:gd name="connsiteX5613" fmla="*/ 1200580 w 9586368"/>
                <a:gd name="connsiteY5613" fmla="*/ 2411126 h 6479439"/>
                <a:gd name="connsiteX5614" fmla="*/ 1196562 w 9586368"/>
                <a:gd name="connsiteY5614" fmla="*/ 2407087 h 6479439"/>
                <a:gd name="connsiteX5615" fmla="*/ 1196562 w 9586368"/>
                <a:gd name="connsiteY5615" fmla="*/ 2397216 h 6479439"/>
                <a:gd name="connsiteX5616" fmla="*/ 961268 w 9586368"/>
                <a:gd name="connsiteY5616" fmla="*/ 2393178 h 6479439"/>
                <a:gd name="connsiteX5617" fmla="*/ 971178 w 9586368"/>
                <a:gd name="connsiteY5617" fmla="*/ 2393178 h 6479439"/>
                <a:gd name="connsiteX5618" fmla="*/ 975196 w 9586368"/>
                <a:gd name="connsiteY5618" fmla="*/ 2397216 h 6479439"/>
                <a:gd name="connsiteX5619" fmla="*/ 975196 w 9586368"/>
                <a:gd name="connsiteY5619" fmla="*/ 2407087 h 6479439"/>
                <a:gd name="connsiteX5620" fmla="*/ 971178 w 9586368"/>
                <a:gd name="connsiteY5620" fmla="*/ 2411126 h 6479439"/>
                <a:gd name="connsiteX5621" fmla="*/ 961268 w 9586368"/>
                <a:gd name="connsiteY5621" fmla="*/ 2411126 h 6479439"/>
                <a:gd name="connsiteX5622" fmla="*/ 957249 w 9586368"/>
                <a:gd name="connsiteY5622" fmla="*/ 2407087 h 6479439"/>
                <a:gd name="connsiteX5623" fmla="*/ 957249 w 9586368"/>
                <a:gd name="connsiteY5623" fmla="*/ 2397216 h 6479439"/>
                <a:gd name="connsiteX5624" fmla="*/ 9572438 w 9586368"/>
                <a:gd name="connsiteY5624" fmla="*/ 2393127 h 6479439"/>
                <a:gd name="connsiteX5625" fmla="*/ 9582349 w 9586368"/>
                <a:gd name="connsiteY5625" fmla="*/ 2393127 h 6479439"/>
                <a:gd name="connsiteX5626" fmla="*/ 9586368 w 9586368"/>
                <a:gd name="connsiteY5626" fmla="*/ 2397165 h 6479439"/>
                <a:gd name="connsiteX5627" fmla="*/ 9586368 w 9586368"/>
                <a:gd name="connsiteY5627" fmla="*/ 2407036 h 6479439"/>
                <a:gd name="connsiteX5628" fmla="*/ 9582349 w 9586368"/>
                <a:gd name="connsiteY5628" fmla="*/ 2411074 h 6479439"/>
                <a:gd name="connsiteX5629" fmla="*/ 9572438 w 9586368"/>
                <a:gd name="connsiteY5629" fmla="*/ 2411074 h 6479439"/>
                <a:gd name="connsiteX5630" fmla="*/ 9568419 w 9586368"/>
                <a:gd name="connsiteY5630" fmla="*/ 2407036 h 6479439"/>
                <a:gd name="connsiteX5631" fmla="*/ 9568419 w 9586368"/>
                <a:gd name="connsiteY5631" fmla="*/ 2397165 h 6479439"/>
                <a:gd name="connsiteX5632" fmla="*/ 9333125 w 9586368"/>
                <a:gd name="connsiteY5632" fmla="*/ 2393127 h 6479439"/>
                <a:gd name="connsiteX5633" fmla="*/ 9343036 w 9586368"/>
                <a:gd name="connsiteY5633" fmla="*/ 2393127 h 6479439"/>
                <a:gd name="connsiteX5634" fmla="*/ 9347055 w 9586368"/>
                <a:gd name="connsiteY5634" fmla="*/ 2397165 h 6479439"/>
                <a:gd name="connsiteX5635" fmla="*/ 9347055 w 9586368"/>
                <a:gd name="connsiteY5635" fmla="*/ 2407036 h 6479439"/>
                <a:gd name="connsiteX5636" fmla="*/ 9343036 w 9586368"/>
                <a:gd name="connsiteY5636" fmla="*/ 2411074 h 6479439"/>
                <a:gd name="connsiteX5637" fmla="*/ 9333125 w 9586368"/>
                <a:gd name="connsiteY5637" fmla="*/ 2411074 h 6479439"/>
                <a:gd name="connsiteX5638" fmla="*/ 9329106 w 9586368"/>
                <a:gd name="connsiteY5638" fmla="*/ 2407036 h 6479439"/>
                <a:gd name="connsiteX5639" fmla="*/ 9329106 w 9586368"/>
                <a:gd name="connsiteY5639" fmla="*/ 2397165 h 6479439"/>
                <a:gd name="connsiteX5640" fmla="*/ 9093811 w 9586368"/>
                <a:gd name="connsiteY5640" fmla="*/ 2393127 h 6479439"/>
                <a:gd name="connsiteX5641" fmla="*/ 9103722 w 9586368"/>
                <a:gd name="connsiteY5641" fmla="*/ 2393127 h 6479439"/>
                <a:gd name="connsiteX5642" fmla="*/ 9107741 w 9586368"/>
                <a:gd name="connsiteY5642" fmla="*/ 2397165 h 6479439"/>
                <a:gd name="connsiteX5643" fmla="*/ 9107741 w 9586368"/>
                <a:gd name="connsiteY5643" fmla="*/ 2407036 h 6479439"/>
                <a:gd name="connsiteX5644" fmla="*/ 9103722 w 9586368"/>
                <a:gd name="connsiteY5644" fmla="*/ 2411074 h 6479439"/>
                <a:gd name="connsiteX5645" fmla="*/ 9093811 w 9586368"/>
                <a:gd name="connsiteY5645" fmla="*/ 2411074 h 6479439"/>
                <a:gd name="connsiteX5646" fmla="*/ 9089792 w 9586368"/>
                <a:gd name="connsiteY5646" fmla="*/ 2407036 h 6479439"/>
                <a:gd name="connsiteX5647" fmla="*/ 9089792 w 9586368"/>
                <a:gd name="connsiteY5647" fmla="*/ 2397165 h 6479439"/>
                <a:gd name="connsiteX5648" fmla="*/ 8854496 w 9586368"/>
                <a:gd name="connsiteY5648" fmla="*/ 2393127 h 6479439"/>
                <a:gd name="connsiteX5649" fmla="*/ 8864407 w 9586368"/>
                <a:gd name="connsiteY5649" fmla="*/ 2393127 h 6479439"/>
                <a:gd name="connsiteX5650" fmla="*/ 8868426 w 9586368"/>
                <a:gd name="connsiteY5650" fmla="*/ 2397165 h 6479439"/>
                <a:gd name="connsiteX5651" fmla="*/ 8868426 w 9586368"/>
                <a:gd name="connsiteY5651" fmla="*/ 2407036 h 6479439"/>
                <a:gd name="connsiteX5652" fmla="*/ 8864407 w 9586368"/>
                <a:gd name="connsiteY5652" fmla="*/ 2411074 h 6479439"/>
                <a:gd name="connsiteX5653" fmla="*/ 8854496 w 9586368"/>
                <a:gd name="connsiteY5653" fmla="*/ 2411074 h 6479439"/>
                <a:gd name="connsiteX5654" fmla="*/ 8850477 w 9586368"/>
                <a:gd name="connsiteY5654" fmla="*/ 2407036 h 6479439"/>
                <a:gd name="connsiteX5655" fmla="*/ 8850477 w 9586368"/>
                <a:gd name="connsiteY5655" fmla="*/ 2397165 h 6479439"/>
                <a:gd name="connsiteX5656" fmla="*/ 8615184 w 9586368"/>
                <a:gd name="connsiteY5656" fmla="*/ 2393127 h 6479439"/>
                <a:gd name="connsiteX5657" fmla="*/ 8625095 w 9586368"/>
                <a:gd name="connsiteY5657" fmla="*/ 2393127 h 6479439"/>
                <a:gd name="connsiteX5658" fmla="*/ 8629114 w 9586368"/>
                <a:gd name="connsiteY5658" fmla="*/ 2397165 h 6479439"/>
                <a:gd name="connsiteX5659" fmla="*/ 8629114 w 9586368"/>
                <a:gd name="connsiteY5659" fmla="*/ 2407036 h 6479439"/>
                <a:gd name="connsiteX5660" fmla="*/ 8625095 w 9586368"/>
                <a:gd name="connsiteY5660" fmla="*/ 2411074 h 6479439"/>
                <a:gd name="connsiteX5661" fmla="*/ 8615184 w 9586368"/>
                <a:gd name="connsiteY5661" fmla="*/ 2411074 h 6479439"/>
                <a:gd name="connsiteX5662" fmla="*/ 8611165 w 9586368"/>
                <a:gd name="connsiteY5662" fmla="*/ 2407036 h 6479439"/>
                <a:gd name="connsiteX5663" fmla="*/ 8611165 w 9586368"/>
                <a:gd name="connsiteY5663" fmla="*/ 2397165 h 6479439"/>
                <a:gd name="connsiteX5664" fmla="*/ 8375869 w 9586368"/>
                <a:gd name="connsiteY5664" fmla="*/ 2393127 h 6479439"/>
                <a:gd name="connsiteX5665" fmla="*/ 8385779 w 9586368"/>
                <a:gd name="connsiteY5665" fmla="*/ 2393127 h 6479439"/>
                <a:gd name="connsiteX5666" fmla="*/ 8389799 w 9586368"/>
                <a:gd name="connsiteY5666" fmla="*/ 2397165 h 6479439"/>
                <a:gd name="connsiteX5667" fmla="*/ 8389799 w 9586368"/>
                <a:gd name="connsiteY5667" fmla="*/ 2407036 h 6479439"/>
                <a:gd name="connsiteX5668" fmla="*/ 8385779 w 9586368"/>
                <a:gd name="connsiteY5668" fmla="*/ 2411074 h 6479439"/>
                <a:gd name="connsiteX5669" fmla="*/ 8375869 w 9586368"/>
                <a:gd name="connsiteY5669" fmla="*/ 2411074 h 6479439"/>
                <a:gd name="connsiteX5670" fmla="*/ 8371850 w 9586368"/>
                <a:gd name="connsiteY5670" fmla="*/ 2407036 h 6479439"/>
                <a:gd name="connsiteX5671" fmla="*/ 8371850 w 9586368"/>
                <a:gd name="connsiteY5671" fmla="*/ 2397165 h 6479439"/>
                <a:gd name="connsiteX5672" fmla="*/ 8136553 w 9586368"/>
                <a:gd name="connsiteY5672" fmla="*/ 2393127 h 6479439"/>
                <a:gd name="connsiteX5673" fmla="*/ 8146464 w 9586368"/>
                <a:gd name="connsiteY5673" fmla="*/ 2393127 h 6479439"/>
                <a:gd name="connsiteX5674" fmla="*/ 8150483 w 9586368"/>
                <a:gd name="connsiteY5674" fmla="*/ 2397165 h 6479439"/>
                <a:gd name="connsiteX5675" fmla="*/ 8150483 w 9586368"/>
                <a:gd name="connsiteY5675" fmla="*/ 2407036 h 6479439"/>
                <a:gd name="connsiteX5676" fmla="*/ 8146464 w 9586368"/>
                <a:gd name="connsiteY5676" fmla="*/ 2411074 h 6479439"/>
                <a:gd name="connsiteX5677" fmla="*/ 8136553 w 9586368"/>
                <a:gd name="connsiteY5677" fmla="*/ 2411074 h 6479439"/>
                <a:gd name="connsiteX5678" fmla="*/ 8132534 w 9586368"/>
                <a:gd name="connsiteY5678" fmla="*/ 2407036 h 6479439"/>
                <a:gd name="connsiteX5679" fmla="*/ 8132534 w 9586368"/>
                <a:gd name="connsiteY5679" fmla="*/ 2397165 h 6479439"/>
                <a:gd name="connsiteX5680" fmla="*/ 7897241 w 9586368"/>
                <a:gd name="connsiteY5680" fmla="*/ 2393127 h 6479439"/>
                <a:gd name="connsiteX5681" fmla="*/ 7907151 w 9586368"/>
                <a:gd name="connsiteY5681" fmla="*/ 2393127 h 6479439"/>
                <a:gd name="connsiteX5682" fmla="*/ 7911170 w 9586368"/>
                <a:gd name="connsiteY5682" fmla="*/ 2397165 h 6479439"/>
                <a:gd name="connsiteX5683" fmla="*/ 7911170 w 9586368"/>
                <a:gd name="connsiteY5683" fmla="*/ 2407036 h 6479439"/>
                <a:gd name="connsiteX5684" fmla="*/ 7907151 w 9586368"/>
                <a:gd name="connsiteY5684" fmla="*/ 2411074 h 6479439"/>
                <a:gd name="connsiteX5685" fmla="*/ 7897241 w 9586368"/>
                <a:gd name="connsiteY5685" fmla="*/ 2411074 h 6479439"/>
                <a:gd name="connsiteX5686" fmla="*/ 7893222 w 9586368"/>
                <a:gd name="connsiteY5686" fmla="*/ 2407036 h 6479439"/>
                <a:gd name="connsiteX5687" fmla="*/ 7893222 w 9586368"/>
                <a:gd name="connsiteY5687" fmla="*/ 2397165 h 6479439"/>
                <a:gd name="connsiteX5688" fmla="*/ 7657926 w 9586368"/>
                <a:gd name="connsiteY5688" fmla="*/ 2393127 h 6479439"/>
                <a:gd name="connsiteX5689" fmla="*/ 7667836 w 9586368"/>
                <a:gd name="connsiteY5689" fmla="*/ 2393127 h 6479439"/>
                <a:gd name="connsiteX5690" fmla="*/ 7671855 w 9586368"/>
                <a:gd name="connsiteY5690" fmla="*/ 2397165 h 6479439"/>
                <a:gd name="connsiteX5691" fmla="*/ 7671855 w 9586368"/>
                <a:gd name="connsiteY5691" fmla="*/ 2407036 h 6479439"/>
                <a:gd name="connsiteX5692" fmla="*/ 7667836 w 9586368"/>
                <a:gd name="connsiteY5692" fmla="*/ 2411074 h 6479439"/>
                <a:gd name="connsiteX5693" fmla="*/ 7657926 w 9586368"/>
                <a:gd name="connsiteY5693" fmla="*/ 2411074 h 6479439"/>
                <a:gd name="connsiteX5694" fmla="*/ 7653906 w 9586368"/>
                <a:gd name="connsiteY5694" fmla="*/ 2407036 h 6479439"/>
                <a:gd name="connsiteX5695" fmla="*/ 7653906 w 9586368"/>
                <a:gd name="connsiteY5695" fmla="*/ 2397165 h 6479439"/>
                <a:gd name="connsiteX5696" fmla="*/ 7418611 w 9586368"/>
                <a:gd name="connsiteY5696" fmla="*/ 2393127 h 6479439"/>
                <a:gd name="connsiteX5697" fmla="*/ 7428521 w 9586368"/>
                <a:gd name="connsiteY5697" fmla="*/ 2393127 h 6479439"/>
                <a:gd name="connsiteX5698" fmla="*/ 7432540 w 9586368"/>
                <a:gd name="connsiteY5698" fmla="*/ 2397165 h 6479439"/>
                <a:gd name="connsiteX5699" fmla="*/ 7432540 w 9586368"/>
                <a:gd name="connsiteY5699" fmla="*/ 2407036 h 6479439"/>
                <a:gd name="connsiteX5700" fmla="*/ 7428521 w 9586368"/>
                <a:gd name="connsiteY5700" fmla="*/ 2411074 h 6479439"/>
                <a:gd name="connsiteX5701" fmla="*/ 7418611 w 9586368"/>
                <a:gd name="connsiteY5701" fmla="*/ 2411074 h 6479439"/>
                <a:gd name="connsiteX5702" fmla="*/ 7414592 w 9586368"/>
                <a:gd name="connsiteY5702" fmla="*/ 2407036 h 6479439"/>
                <a:gd name="connsiteX5703" fmla="*/ 7414592 w 9586368"/>
                <a:gd name="connsiteY5703" fmla="*/ 2397165 h 6479439"/>
                <a:gd name="connsiteX5704" fmla="*/ 7179298 w 9586368"/>
                <a:gd name="connsiteY5704" fmla="*/ 2393127 h 6479439"/>
                <a:gd name="connsiteX5705" fmla="*/ 7189209 w 9586368"/>
                <a:gd name="connsiteY5705" fmla="*/ 2393127 h 6479439"/>
                <a:gd name="connsiteX5706" fmla="*/ 7193228 w 9586368"/>
                <a:gd name="connsiteY5706" fmla="*/ 2397165 h 6479439"/>
                <a:gd name="connsiteX5707" fmla="*/ 7193228 w 9586368"/>
                <a:gd name="connsiteY5707" fmla="*/ 2407036 h 6479439"/>
                <a:gd name="connsiteX5708" fmla="*/ 7189209 w 9586368"/>
                <a:gd name="connsiteY5708" fmla="*/ 2411074 h 6479439"/>
                <a:gd name="connsiteX5709" fmla="*/ 7179298 w 9586368"/>
                <a:gd name="connsiteY5709" fmla="*/ 2411074 h 6479439"/>
                <a:gd name="connsiteX5710" fmla="*/ 7175279 w 9586368"/>
                <a:gd name="connsiteY5710" fmla="*/ 2407036 h 6479439"/>
                <a:gd name="connsiteX5711" fmla="*/ 7175279 w 9586368"/>
                <a:gd name="connsiteY5711" fmla="*/ 2397165 h 6479439"/>
                <a:gd name="connsiteX5712" fmla="*/ 6939983 w 9586368"/>
                <a:gd name="connsiteY5712" fmla="*/ 2393127 h 6479439"/>
                <a:gd name="connsiteX5713" fmla="*/ 6949894 w 9586368"/>
                <a:gd name="connsiteY5713" fmla="*/ 2393127 h 6479439"/>
                <a:gd name="connsiteX5714" fmla="*/ 6953913 w 9586368"/>
                <a:gd name="connsiteY5714" fmla="*/ 2397165 h 6479439"/>
                <a:gd name="connsiteX5715" fmla="*/ 6953913 w 9586368"/>
                <a:gd name="connsiteY5715" fmla="*/ 2407036 h 6479439"/>
                <a:gd name="connsiteX5716" fmla="*/ 6949894 w 9586368"/>
                <a:gd name="connsiteY5716" fmla="*/ 2411074 h 6479439"/>
                <a:gd name="connsiteX5717" fmla="*/ 6939983 w 9586368"/>
                <a:gd name="connsiteY5717" fmla="*/ 2411074 h 6479439"/>
                <a:gd name="connsiteX5718" fmla="*/ 6935964 w 9586368"/>
                <a:gd name="connsiteY5718" fmla="*/ 2407036 h 6479439"/>
                <a:gd name="connsiteX5719" fmla="*/ 6935964 w 9586368"/>
                <a:gd name="connsiteY5719" fmla="*/ 2397165 h 6479439"/>
                <a:gd name="connsiteX5720" fmla="*/ 6700670 w 9586368"/>
                <a:gd name="connsiteY5720" fmla="*/ 2393127 h 6479439"/>
                <a:gd name="connsiteX5721" fmla="*/ 6710581 w 9586368"/>
                <a:gd name="connsiteY5721" fmla="*/ 2393127 h 6479439"/>
                <a:gd name="connsiteX5722" fmla="*/ 6714600 w 9586368"/>
                <a:gd name="connsiteY5722" fmla="*/ 2397165 h 6479439"/>
                <a:gd name="connsiteX5723" fmla="*/ 6714600 w 9586368"/>
                <a:gd name="connsiteY5723" fmla="*/ 2407036 h 6479439"/>
                <a:gd name="connsiteX5724" fmla="*/ 6710581 w 9586368"/>
                <a:gd name="connsiteY5724" fmla="*/ 2411074 h 6479439"/>
                <a:gd name="connsiteX5725" fmla="*/ 6700670 w 9586368"/>
                <a:gd name="connsiteY5725" fmla="*/ 2411074 h 6479439"/>
                <a:gd name="connsiteX5726" fmla="*/ 6696651 w 9586368"/>
                <a:gd name="connsiteY5726" fmla="*/ 2407036 h 6479439"/>
                <a:gd name="connsiteX5727" fmla="*/ 6696651 w 9586368"/>
                <a:gd name="connsiteY5727" fmla="*/ 2397165 h 6479439"/>
                <a:gd name="connsiteX5728" fmla="*/ 6461356 w 9586368"/>
                <a:gd name="connsiteY5728" fmla="*/ 2393127 h 6479439"/>
                <a:gd name="connsiteX5729" fmla="*/ 6471266 w 9586368"/>
                <a:gd name="connsiteY5729" fmla="*/ 2393127 h 6479439"/>
                <a:gd name="connsiteX5730" fmla="*/ 6475285 w 9586368"/>
                <a:gd name="connsiteY5730" fmla="*/ 2397165 h 6479439"/>
                <a:gd name="connsiteX5731" fmla="*/ 6475285 w 9586368"/>
                <a:gd name="connsiteY5731" fmla="*/ 2407036 h 6479439"/>
                <a:gd name="connsiteX5732" fmla="*/ 6471266 w 9586368"/>
                <a:gd name="connsiteY5732" fmla="*/ 2411074 h 6479439"/>
                <a:gd name="connsiteX5733" fmla="*/ 6461356 w 9586368"/>
                <a:gd name="connsiteY5733" fmla="*/ 2411074 h 6479439"/>
                <a:gd name="connsiteX5734" fmla="*/ 6457337 w 9586368"/>
                <a:gd name="connsiteY5734" fmla="*/ 2407036 h 6479439"/>
                <a:gd name="connsiteX5735" fmla="*/ 6457337 w 9586368"/>
                <a:gd name="connsiteY5735" fmla="*/ 2397165 h 6479439"/>
                <a:gd name="connsiteX5736" fmla="*/ 6222042 w 9586368"/>
                <a:gd name="connsiteY5736" fmla="*/ 2393127 h 6479439"/>
                <a:gd name="connsiteX5737" fmla="*/ 6231952 w 9586368"/>
                <a:gd name="connsiteY5737" fmla="*/ 2393127 h 6479439"/>
                <a:gd name="connsiteX5738" fmla="*/ 6235971 w 9586368"/>
                <a:gd name="connsiteY5738" fmla="*/ 2397165 h 6479439"/>
                <a:gd name="connsiteX5739" fmla="*/ 6235971 w 9586368"/>
                <a:gd name="connsiteY5739" fmla="*/ 2407036 h 6479439"/>
                <a:gd name="connsiteX5740" fmla="*/ 6231952 w 9586368"/>
                <a:gd name="connsiteY5740" fmla="*/ 2411074 h 6479439"/>
                <a:gd name="connsiteX5741" fmla="*/ 6222042 w 9586368"/>
                <a:gd name="connsiteY5741" fmla="*/ 2411074 h 6479439"/>
                <a:gd name="connsiteX5742" fmla="*/ 6218023 w 9586368"/>
                <a:gd name="connsiteY5742" fmla="*/ 2407036 h 6479439"/>
                <a:gd name="connsiteX5743" fmla="*/ 6218023 w 9586368"/>
                <a:gd name="connsiteY5743" fmla="*/ 2397165 h 6479439"/>
                <a:gd name="connsiteX5744" fmla="*/ 5982729 w 9586368"/>
                <a:gd name="connsiteY5744" fmla="*/ 2393127 h 6479439"/>
                <a:gd name="connsiteX5745" fmla="*/ 5992639 w 9586368"/>
                <a:gd name="connsiteY5745" fmla="*/ 2393127 h 6479439"/>
                <a:gd name="connsiteX5746" fmla="*/ 5996658 w 9586368"/>
                <a:gd name="connsiteY5746" fmla="*/ 2397165 h 6479439"/>
                <a:gd name="connsiteX5747" fmla="*/ 5996658 w 9586368"/>
                <a:gd name="connsiteY5747" fmla="*/ 2407036 h 6479439"/>
                <a:gd name="connsiteX5748" fmla="*/ 5992639 w 9586368"/>
                <a:gd name="connsiteY5748" fmla="*/ 2411074 h 6479439"/>
                <a:gd name="connsiteX5749" fmla="*/ 5982729 w 9586368"/>
                <a:gd name="connsiteY5749" fmla="*/ 2411074 h 6479439"/>
                <a:gd name="connsiteX5750" fmla="*/ 5978710 w 9586368"/>
                <a:gd name="connsiteY5750" fmla="*/ 2407036 h 6479439"/>
                <a:gd name="connsiteX5751" fmla="*/ 5978710 w 9586368"/>
                <a:gd name="connsiteY5751" fmla="*/ 2397165 h 6479439"/>
                <a:gd name="connsiteX5752" fmla="*/ 5743412 w 9586368"/>
                <a:gd name="connsiteY5752" fmla="*/ 2393127 h 6479439"/>
                <a:gd name="connsiteX5753" fmla="*/ 5753323 w 9586368"/>
                <a:gd name="connsiteY5753" fmla="*/ 2393127 h 6479439"/>
                <a:gd name="connsiteX5754" fmla="*/ 5757342 w 9586368"/>
                <a:gd name="connsiteY5754" fmla="*/ 2397165 h 6479439"/>
                <a:gd name="connsiteX5755" fmla="*/ 5757342 w 9586368"/>
                <a:gd name="connsiteY5755" fmla="*/ 2407036 h 6479439"/>
                <a:gd name="connsiteX5756" fmla="*/ 5753323 w 9586368"/>
                <a:gd name="connsiteY5756" fmla="*/ 2411074 h 6479439"/>
                <a:gd name="connsiteX5757" fmla="*/ 5743412 w 9586368"/>
                <a:gd name="connsiteY5757" fmla="*/ 2411074 h 6479439"/>
                <a:gd name="connsiteX5758" fmla="*/ 5739393 w 9586368"/>
                <a:gd name="connsiteY5758" fmla="*/ 2407036 h 6479439"/>
                <a:gd name="connsiteX5759" fmla="*/ 5739393 w 9586368"/>
                <a:gd name="connsiteY5759" fmla="*/ 2397165 h 6479439"/>
                <a:gd name="connsiteX5760" fmla="*/ 5504099 w 9586368"/>
                <a:gd name="connsiteY5760" fmla="*/ 2393127 h 6479439"/>
                <a:gd name="connsiteX5761" fmla="*/ 5514010 w 9586368"/>
                <a:gd name="connsiteY5761" fmla="*/ 2393127 h 6479439"/>
                <a:gd name="connsiteX5762" fmla="*/ 5518029 w 9586368"/>
                <a:gd name="connsiteY5762" fmla="*/ 2397165 h 6479439"/>
                <a:gd name="connsiteX5763" fmla="*/ 5518029 w 9586368"/>
                <a:gd name="connsiteY5763" fmla="*/ 2407036 h 6479439"/>
                <a:gd name="connsiteX5764" fmla="*/ 5514010 w 9586368"/>
                <a:gd name="connsiteY5764" fmla="*/ 2411074 h 6479439"/>
                <a:gd name="connsiteX5765" fmla="*/ 5504099 w 9586368"/>
                <a:gd name="connsiteY5765" fmla="*/ 2411074 h 6479439"/>
                <a:gd name="connsiteX5766" fmla="*/ 5500080 w 9586368"/>
                <a:gd name="connsiteY5766" fmla="*/ 2407036 h 6479439"/>
                <a:gd name="connsiteX5767" fmla="*/ 5500080 w 9586368"/>
                <a:gd name="connsiteY5767" fmla="*/ 2397165 h 6479439"/>
                <a:gd name="connsiteX5768" fmla="*/ 5264784 w 9586368"/>
                <a:gd name="connsiteY5768" fmla="*/ 2393127 h 6479439"/>
                <a:gd name="connsiteX5769" fmla="*/ 5274694 w 9586368"/>
                <a:gd name="connsiteY5769" fmla="*/ 2393127 h 6479439"/>
                <a:gd name="connsiteX5770" fmla="*/ 5278713 w 9586368"/>
                <a:gd name="connsiteY5770" fmla="*/ 2397165 h 6479439"/>
                <a:gd name="connsiteX5771" fmla="*/ 5278713 w 9586368"/>
                <a:gd name="connsiteY5771" fmla="*/ 2407036 h 6479439"/>
                <a:gd name="connsiteX5772" fmla="*/ 5274694 w 9586368"/>
                <a:gd name="connsiteY5772" fmla="*/ 2411074 h 6479439"/>
                <a:gd name="connsiteX5773" fmla="*/ 5264784 w 9586368"/>
                <a:gd name="connsiteY5773" fmla="*/ 2411074 h 6479439"/>
                <a:gd name="connsiteX5774" fmla="*/ 5260765 w 9586368"/>
                <a:gd name="connsiteY5774" fmla="*/ 2407036 h 6479439"/>
                <a:gd name="connsiteX5775" fmla="*/ 5260765 w 9586368"/>
                <a:gd name="connsiteY5775" fmla="*/ 2397165 h 6479439"/>
                <a:gd name="connsiteX5776" fmla="*/ 5025470 w 9586368"/>
                <a:gd name="connsiteY5776" fmla="*/ 2393127 h 6479439"/>
                <a:gd name="connsiteX5777" fmla="*/ 5035381 w 9586368"/>
                <a:gd name="connsiteY5777" fmla="*/ 2393127 h 6479439"/>
                <a:gd name="connsiteX5778" fmla="*/ 5039400 w 9586368"/>
                <a:gd name="connsiteY5778" fmla="*/ 2397165 h 6479439"/>
                <a:gd name="connsiteX5779" fmla="*/ 5039400 w 9586368"/>
                <a:gd name="connsiteY5779" fmla="*/ 2407036 h 6479439"/>
                <a:gd name="connsiteX5780" fmla="*/ 5035381 w 9586368"/>
                <a:gd name="connsiteY5780" fmla="*/ 2411074 h 6479439"/>
                <a:gd name="connsiteX5781" fmla="*/ 5025470 w 9586368"/>
                <a:gd name="connsiteY5781" fmla="*/ 2411074 h 6479439"/>
                <a:gd name="connsiteX5782" fmla="*/ 5021451 w 9586368"/>
                <a:gd name="connsiteY5782" fmla="*/ 2407036 h 6479439"/>
                <a:gd name="connsiteX5783" fmla="*/ 5021451 w 9586368"/>
                <a:gd name="connsiteY5783" fmla="*/ 2397165 h 6479439"/>
                <a:gd name="connsiteX5784" fmla="*/ 4786241 w 9586368"/>
                <a:gd name="connsiteY5784" fmla="*/ 2393127 h 6479439"/>
                <a:gd name="connsiteX5785" fmla="*/ 4796152 w 9586368"/>
                <a:gd name="connsiteY5785" fmla="*/ 2393127 h 6479439"/>
                <a:gd name="connsiteX5786" fmla="*/ 4800171 w 9586368"/>
                <a:gd name="connsiteY5786" fmla="*/ 2397165 h 6479439"/>
                <a:gd name="connsiteX5787" fmla="*/ 4800171 w 9586368"/>
                <a:gd name="connsiteY5787" fmla="*/ 2407036 h 6479439"/>
                <a:gd name="connsiteX5788" fmla="*/ 4796152 w 9586368"/>
                <a:gd name="connsiteY5788" fmla="*/ 2411074 h 6479439"/>
                <a:gd name="connsiteX5789" fmla="*/ 4786241 w 9586368"/>
                <a:gd name="connsiteY5789" fmla="*/ 2411074 h 6479439"/>
                <a:gd name="connsiteX5790" fmla="*/ 4782224 w 9586368"/>
                <a:gd name="connsiteY5790" fmla="*/ 2407036 h 6479439"/>
                <a:gd name="connsiteX5791" fmla="*/ 4782224 w 9586368"/>
                <a:gd name="connsiteY5791" fmla="*/ 2397165 h 6479439"/>
                <a:gd name="connsiteX5792" fmla="*/ 4546929 w 9586368"/>
                <a:gd name="connsiteY5792" fmla="*/ 2393127 h 6479439"/>
                <a:gd name="connsiteX5793" fmla="*/ 4556840 w 9586368"/>
                <a:gd name="connsiteY5793" fmla="*/ 2393127 h 6479439"/>
                <a:gd name="connsiteX5794" fmla="*/ 4560859 w 9586368"/>
                <a:gd name="connsiteY5794" fmla="*/ 2397165 h 6479439"/>
                <a:gd name="connsiteX5795" fmla="*/ 4560859 w 9586368"/>
                <a:gd name="connsiteY5795" fmla="*/ 2407036 h 6479439"/>
                <a:gd name="connsiteX5796" fmla="*/ 4556840 w 9586368"/>
                <a:gd name="connsiteY5796" fmla="*/ 2411074 h 6479439"/>
                <a:gd name="connsiteX5797" fmla="*/ 4546929 w 9586368"/>
                <a:gd name="connsiteY5797" fmla="*/ 2411074 h 6479439"/>
                <a:gd name="connsiteX5798" fmla="*/ 4542910 w 9586368"/>
                <a:gd name="connsiteY5798" fmla="*/ 2407036 h 6479439"/>
                <a:gd name="connsiteX5799" fmla="*/ 4542910 w 9586368"/>
                <a:gd name="connsiteY5799" fmla="*/ 2397165 h 6479439"/>
                <a:gd name="connsiteX5800" fmla="*/ 4307612 w 9586368"/>
                <a:gd name="connsiteY5800" fmla="*/ 2393127 h 6479439"/>
                <a:gd name="connsiteX5801" fmla="*/ 4317523 w 9586368"/>
                <a:gd name="connsiteY5801" fmla="*/ 2393127 h 6479439"/>
                <a:gd name="connsiteX5802" fmla="*/ 4321543 w 9586368"/>
                <a:gd name="connsiteY5802" fmla="*/ 2397165 h 6479439"/>
                <a:gd name="connsiteX5803" fmla="*/ 4321543 w 9586368"/>
                <a:gd name="connsiteY5803" fmla="*/ 2407036 h 6479439"/>
                <a:gd name="connsiteX5804" fmla="*/ 4317523 w 9586368"/>
                <a:gd name="connsiteY5804" fmla="*/ 2411074 h 6479439"/>
                <a:gd name="connsiteX5805" fmla="*/ 4307612 w 9586368"/>
                <a:gd name="connsiteY5805" fmla="*/ 2411074 h 6479439"/>
                <a:gd name="connsiteX5806" fmla="*/ 4303595 w 9586368"/>
                <a:gd name="connsiteY5806" fmla="*/ 2407036 h 6479439"/>
                <a:gd name="connsiteX5807" fmla="*/ 4303595 w 9586368"/>
                <a:gd name="connsiteY5807" fmla="*/ 2397165 h 6479439"/>
                <a:gd name="connsiteX5808" fmla="*/ 4068297 w 9586368"/>
                <a:gd name="connsiteY5808" fmla="*/ 2393127 h 6479439"/>
                <a:gd name="connsiteX5809" fmla="*/ 4078210 w 9586368"/>
                <a:gd name="connsiteY5809" fmla="*/ 2393127 h 6479439"/>
                <a:gd name="connsiteX5810" fmla="*/ 4082229 w 9586368"/>
                <a:gd name="connsiteY5810" fmla="*/ 2397165 h 6479439"/>
                <a:gd name="connsiteX5811" fmla="*/ 4082229 w 9586368"/>
                <a:gd name="connsiteY5811" fmla="*/ 2407036 h 6479439"/>
                <a:gd name="connsiteX5812" fmla="*/ 4078210 w 9586368"/>
                <a:gd name="connsiteY5812" fmla="*/ 2411074 h 6479439"/>
                <a:gd name="connsiteX5813" fmla="*/ 4068297 w 9586368"/>
                <a:gd name="connsiteY5813" fmla="*/ 2411074 h 6479439"/>
                <a:gd name="connsiteX5814" fmla="*/ 4064278 w 9586368"/>
                <a:gd name="connsiteY5814" fmla="*/ 2407036 h 6479439"/>
                <a:gd name="connsiteX5815" fmla="*/ 4064278 w 9586368"/>
                <a:gd name="connsiteY5815" fmla="*/ 2397165 h 6479439"/>
                <a:gd name="connsiteX5816" fmla="*/ 3828990 w 9586368"/>
                <a:gd name="connsiteY5816" fmla="*/ 2393127 h 6479439"/>
                <a:gd name="connsiteX5817" fmla="*/ 3838899 w 9586368"/>
                <a:gd name="connsiteY5817" fmla="*/ 2393127 h 6479439"/>
                <a:gd name="connsiteX5818" fmla="*/ 3842917 w 9586368"/>
                <a:gd name="connsiteY5818" fmla="*/ 2397165 h 6479439"/>
                <a:gd name="connsiteX5819" fmla="*/ 3842917 w 9586368"/>
                <a:gd name="connsiteY5819" fmla="*/ 2407036 h 6479439"/>
                <a:gd name="connsiteX5820" fmla="*/ 3838899 w 9586368"/>
                <a:gd name="connsiteY5820" fmla="*/ 2411074 h 6479439"/>
                <a:gd name="connsiteX5821" fmla="*/ 3828990 w 9586368"/>
                <a:gd name="connsiteY5821" fmla="*/ 2411074 h 6479439"/>
                <a:gd name="connsiteX5822" fmla="*/ 3824971 w 9586368"/>
                <a:gd name="connsiteY5822" fmla="*/ 2407036 h 6479439"/>
                <a:gd name="connsiteX5823" fmla="*/ 3824971 w 9586368"/>
                <a:gd name="connsiteY5823" fmla="*/ 2397165 h 6479439"/>
                <a:gd name="connsiteX5824" fmla="*/ 3589676 w 9586368"/>
                <a:gd name="connsiteY5824" fmla="*/ 2393127 h 6479439"/>
                <a:gd name="connsiteX5825" fmla="*/ 3599585 w 9586368"/>
                <a:gd name="connsiteY5825" fmla="*/ 2393127 h 6479439"/>
                <a:gd name="connsiteX5826" fmla="*/ 3603604 w 9586368"/>
                <a:gd name="connsiteY5826" fmla="*/ 2397165 h 6479439"/>
                <a:gd name="connsiteX5827" fmla="*/ 3603604 w 9586368"/>
                <a:gd name="connsiteY5827" fmla="*/ 2407036 h 6479439"/>
                <a:gd name="connsiteX5828" fmla="*/ 3599585 w 9586368"/>
                <a:gd name="connsiteY5828" fmla="*/ 2411074 h 6479439"/>
                <a:gd name="connsiteX5829" fmla="*/ 3589676 w 9586368"/>
                <a:gd name="connsiteY5829" fmla="*/ 2411074 h 6479439"/>
                <a:gd name="connsiteX5830" fmla="*/ 3585657 w 9586368"/>
                <a:gd name="connsiteY5830" fmla="*/ 2407036 h 6479439"/>
                <a:gd name="connsiteX5831" fmla="*/ 3585657 w 9586368"/>
                <a:gd name="connsiteY5831" fmla="*/ 2397165 h 6479439"/>
                <a:gd name="connsiteX5832" fmla="*/ 3350359 w 9586368"/>
                <a:gd name="connsiteY5832" fmla="*/ 2393127 h 6479439"/>
                <a:gd name="connsiteX5833" fmla="*/ 3360268 w 9586368"/>
                <a:gd name="connsiteY5833" fmla="*/ 2393127 h 6479439"/>
                <a:gd name="connsiteX5834" fmla="*/ 3364287 w 9586368"/>
                <a:gd name="connsiteY5834" fmla="*/ 2397165 h 6479439"/>
                <a:gd name="connsiteX5835" fmla="*/ 3364287 w 9586368"/>
                <a:gd name="connsiteY5835" fmla="*/ 2407036 h 6479439"/>
                <a:gd name="connsiteX5836" fmla="*/ 3360268 w 9586368"/>
                <a:gd name="connsiteY5836" fmla="*/ 2411074 h 6479439"/>
                <a:gd name="connsiteX5837" fmla="*/ 3350359 w 9586368"/>
                <a:gd name="connsiteY5837" fmla="*/ 2411074 h 6479439"/>
                <a:gd name="connsiteX5838" fmla="*/ 3346340 w 9586368"/>
                <a:gd name="connsiteY5838" fmla="*/ 2407036 h 6479439"/>
                <a:gd name="connsiteX5839" fmla="*/ 3346340 w 9586368"/>
                <a:gd name="connsiteY5839" fmla="*/ 2397165 h 6479439"/>
                <a:gd name="connsiteX5840" fmla="*/ 3111048 w 9586368"/>
                <a:gd name="connsiteY5840" fmla="*/ 2393127 h 6479439"/>
                <a:gd name="connsiteX5841" fmla="*/ 3120959 w 9586368"/>
                <a:gd name="connsiteY5841" fmla="*/ 2393127 h 6479439"/>
                <a:gd name="connsiteX5842" fmla="*/ 3124977 w 9586368"/>
                <a:gd name="connsiteY5842" fmla="*/ 2397165 h 6479439"/>
                <a:gd name="connsiteX5843" fmla="*/ 3124977 w 9586368"/>
                <a:gd name="connsiteY5843" fmla="*/ 2407036 h 6479439"/>
                <a:gd name="connsiteX5844" fmla="*/ 3120959 w 9586368"/>
                <a:gd name="connsiteY5844" fmla="*/ 2411074 h 6479439"/>
                <a:gd name="connsiteX5845" fmla="*/ 3111048 w 9586368"/>
                <a:gd name="connsiteY5845" fmla="*/ 2411074 h 6479439"/>
                <a:gd name="connsiteX5846" fmla="*/ 3107029 w 9586368"/>
                <a:gd name="connsiteY5846" fmla="*/ 2407036 h 6479439"/>
                <a:gd name="connsiteX5847" fmla="*/ 3107029 w 9586368"/>
                <a:gd name="connsiteY5847" fmla="*/ 2397165 h 6479439"/>
                <a:gd name="connsiteX5848" fmla="*/ 2871737 w 9586368"/>
                <a:gd name="connsiteY5848" fmla="*/ 2393127 h 6479439"/>
                <a:gd name="connsiteX5849" fmla="*/ 2881646 w 9586368"/>
                <a:gd name="connsiteY5849" fmla="*/ 2393127 h 6479439"/>
                <a:gd name="connsiteX5850" fmla="*/ 2885666 w 9586368"/>
                <a:gd name="connsiteY5850" fmla="*/ 2397165 h 6479439"/>
                <a:gd name="connsiteX5851" fmla="*/ 2885666 w 9586368"/>
                <a:gd name="connsiteY5851" fmla="*/ 2407036 h 6479439"/>
                <a:gd name="connsiteX5852" fmla="*/ 2881646 w 9586368"/>
                <a:gd name="connsiteY5852" fmla="*/ 2411074 h 6479439"/>
                <a:gd name="connsiteX5853" fmla="*/ 2871737 w 9586368"/>
                <a:gd name="connsiteY5853" fmla="*/ 2411074 h 6479439"/>
                <a:gd name="connsiteX5854" fmla="*/ 2867717 w 9586368"/>
                <a:gd name="connsiteY5854" fmla="*/ 2407036 h 6479439"/>
                <a:gd name="connsiteX5855" fmla="*/ 2867717 w 9586368"/>
                <a:gd name="connsiteY5855" fmla="*/ 2397165 h 6479439"/>
                <a:gd name="connsiteX5856" fmla="*/ 2632423 w 9586368"/>
                <a:gd name="connsiteY5856" fmla="*/ 2393127 h 6479439"/>
                <a:gd name="connsiteX5857" fmla="*/ 2642334 w 9586368"/>
                <a:gd name="connsiteY5857" fmla="*/ 2393127 h 6479439"/>
                <a:gd name="connsiteX5858" fmla="*/ 2646352 w 9586368"/>
                <a:gd name="connsiteY5858" fmla="*/ 2397165 h 6479439"/>
                <a:gd name="connsiteX5859" fmla="*/ 2646352 w 9586368"/>
                <a:gd name="connsiteY5859" fmla="*/ 2407036 h 6479439"/>
                <a:gd name="connsiteX5860" fmla="*/ 2642334 w 9586368"/>
                <a:gd name="connsiteY5860" fmla="*/ 2411074 h 6479439"/>
                <a:gd name="connsiteX5861" fmla="*/ 2632423 w 9586368"/>
                <a:gd name="connsiteY5861" fmla="*/ 2411074 h 6479439"/>
                <a:gd name="connsiteX5862" fmla="*/ 2628404 w 9586368"/>
                <a:gd name="connsiteY5862" fmla="*/ 2407036 h 6479439"/>
                <a:gd name="connsiteX5863" fmla="*/ 2628404 w 9586368"/>
                <a:gd name="connsiteY5863" fmla="*/ 2397165 h 6479439"/>
                <a:gd name="connsiteX5864" fmla="*/ 2393104 w 9586368"/>
                <a:gd name="connsiteY5864" fmla="*/ 2393127 h 6479439"/>
                <a:gd name="connsiteX5865" fmla="*/ 2403015 w 9586368"/>
                <a:gd name="connsiteY5865" fmla="*/ 2393127 h 6479439"/>
                <a:gd name="connsiteX5866" fmla="*/ 2407034 w 9586368"/>
                <a:gd name="connsiteY5866" fmla="*/ 2397165 h 6479439"/>
                <a:gd name="connsiteX5867" fmla="*/ 2407034 w 9586368"/>
                <a:gd name="connsiteY5867" fmla="*/ 2407036 h 6479439"/>
                <a:gd name="connsiteX5868" fmla="*/ 2403015 w 9586368"/>
                <a:gd name="connsiteY5868" fmla="*/ 2411074 h 6479439"/>
                <a:gd name="connsiteX5869" fmla="*/ 2393104 w 9586368"/>
                <a:gd name="connsiteY5869" fmla="*/ 2411074 h 6479439"/>
                <a:gd name="connsiteX5870" fmla="*/ 2389087 w 9586368"/>
                <a:gd name="connsiteY5870" fmla="*/ 2407036 h 6479439"/>
                <a:gd name="connsiteX5871" fmla="*/ 2389087 w 9586368"/>
                <a:gd name="connsiteY5871" fmla="*/ 2397165 h 6479439"/>
                <a:gd name="connsiteX5872" fmla="*/ 721970 w 9586368"/>
                <a:gd name="connsiteY5872" fmla="*/ 2393127 h 6479439"/>
                <a:gd name="connsiteX5873" fmla="*/ 731881 w 9586368"/>
                <a:gd name="connsiteY5873" fmla="*/ 2393127 h 6479439"/>
                <a:gd name="connsiteX5874" fmla="*/ 735899 w 9586368"/>
                <a:gd name="connsiteY5874" fmla="*/ 2397165 h 6479439"/>
                <a:gd name="connsiteX5875" fmla="*/ 735899 w 9586368"/>
                <a:gd name="connsiteY5875" fmla="*/ 2407036 h 6479439"/>
                <a:gd name="connsiteX5876" fmla="*/ 731881 w 9586368"/>
                <a:gd name="connsiteY5876" fmla="*/ 2411074 h 6479439"/>
                <a:gd name="connsiteX5877" fmla="*/ 721970 w 9586368"/>
                <a:gd name="connsiteY5877" fmla="*/ 2411074 h 6479439"/>
                <a:gd name="connsiteX5878" fmla="*/ 717951 w 9586368"/>
                <a:gd name="connsiteY5878" fmla="*/ 2407036 h 6479439"/>
                <a:gd name="connsiteX5879" fmla="*/ 717951 w 9586368"/>
                <a:gd name="connsiteY5879" fmla="*/ 2397165 h 6479439"/>
                <a:gd name="connsiteX5880" fmla="*/ 482658 w 9586368"/>
                <a:gd name="connsiteY5880" fmla="*/ 2393127 h 6479439"/>
                <a:gd name="connsiteX5881" fmla="*/ 492568 w 9586368"/>
                <a:gd name="connsiteY5881" fmla="*/ 2393127 h 6479439"/>
                <a:gd name="connsiteX5882" fmla="*/ 496588 w 9586368"/>
                <a:gd name="connsiteY5882" fmla="*/ 2397165 h 6479439"/>
                <a:gd name="connsiteX5883" fmla="*/ 496588 w 9586368"/>
                <a:gd name="connsiteY5883" fmla="*/ 2407036 h 6479439"/>
                <a:gd name="connsiteX5884" fmla="*/ 492568 w 9586368"/>
                <a:gd name="connsiteY5884" fmla="*/ 2411074 h 6479439"/>
                <a:gd name="connsiteX5885" fmla="*/ 482658 w 9586368"/>
                <a:gd name="connsiteY5885" fmla="*/ 2411074 h 6479439"/>
                <a:gd name="connsiteX5886" fmla="*/ 478639 w 9586368"/>
                <a:gd name="connsiteY5886" fmla="*/ 2407036 h 6479439"/>
                <a:gd name="connsiteX5887" fmla="*/ 478639 w 9586368"/>
                <a:gd name="connsiteY5887" fmla="*/ 2397165 h 6479439"/>
                <a:gd name="connsiteX5888" fmla="*/ 243344 w 9586368"/>
                <a:gd name="connsiteY5888" fmla="*/ 2393127 h 6479439"/>
                <a:gd name="connsiteX5889" fmla="*/ 253255 w 9586368"/>
                <a:gd name="connsiteY5889" fmla="*/ 2393127 h 6479439"/>
                <a:gd name="connsiteX5890" fmla="*/ 257274 w 9586368"/>
                <a:gd name="connsiteY5890" fmla="*/ 2397165 h 6479439"/>
                <a:gd name="connsiteX5891" fmla="*/ 257274 w 9586368"/>
                <a:gd name="connsiteY5891" fmla="*/ 2407036 h 6479439"/>
                <a:gd name="connsiteX5892" fmla="*/ 253255 w 9586368"/>
                <a:gd name="connsiteY5892" fmla="*/ 2411074 h 6479439"/>
                <a:gd name="connsiteX5893" fmla="*/ 243344 w 9586368"/>
                <a:gd name="connsiteY5893" fmla="*/ 2411074 h 6479439"/>
                <a:gd name="connsiteX5894" fmla="*/ 239325 w 9586368"/>
                <a:gd name="connsiteY5894" fmla="*/ 2407036 h 6479439"/>
                <a:gd name="connsiteX5895" fmla="*/ 239325 w 9586368"/>
                <a:gd name="connsiteY5895" fmla="*/ 2397165 h 6479439"/>
                <a:gd name="connsiteX5896" fmla="*/ 4031 w 9586368"/>
                <a:gd name="connsiteY5896" fmla="*/ 2393127 h 6479439"/>
                <a:gd name="connsiteX5897" fmla="*/ 13941 w 9586368"/>
                <a:gd name="connsiteY5897" fmla="*/ 2393127 h 6479439"/>
                <a:gd name="connsiteX5898" fmla="*/ 17961 w 9586368"/>
                <a:gd name="connsiteY5898" fmla="*/ 2397165 h 6479439"/>
                <a:gd name="connsiteX5899" fmla="*/ 17961 w 9586368"/>
                <a:gd name="connsiteY5899" fmla="*/ 2407036 h 6479439"/>
                <a:gd name="connsiteX5900" fmla="*/ 13941 w 9586368"/>
                <a:gd name="connsiteY5900" fmla="*/ 2411074 h 6479439"/>
                <a:gd name="connsiteX5901" fmla="*/ 4031 w 9586368"/>
                <a:gd name="connsiteY5901" fmla="*/ 2411074 h 6479439"/>
                <a:gd name="connsiteX5902" fmla="*/ 12 w 9586368"/>
                <a:gd name="connsiteY5902" fmla="*/ 2407036 h 6479439"/>
                <a:gd name="connsiteX5903" fmla="*/ 12 w 9586368"/>
                <a:gd name="connsiteY5903" fmla="*/ 2397165 h 6479439"/>
                <a:gd name="connsiteX5904" fmla="*/ 3111048 w 9586368"/>
                <a:gd name="connsiteY5904" fmla="*/ 2153996 h 6479439"/>
                <a:gd name="connsiteX5905" fmla="*/ 3120959 w 9586368"/>
                <a:gd name="connsiteY5905" fmla="*/ 2153996 h 6479439"/>
                <a:gd name="connsiteX5906" fmla="*/ 3124977 w 9586368"/>
                <a:gd name="connsiteY5906" fmla="*/ 2158034 h 6479439"/>
                <a:gd name="connsiteX5907" fmla="*/ 3124977 w 9586368"/>
                <a:gd name="connsiteY5907" fmla="*/ 2167907 h 6479439"/>
                <a:gd name="connsiteX5908" fmla="*/ 3120959 w 9586368"/>
                <a:gd name="connsiteY5908" fmla="*/ 2171946 h 6479439"/>
                <a:gd name="connsiteX5909" fmla="*/ 3111048 w 9586368"/>
                <a:gd name="connsiteY5909" fmla="*/ 2171946 h 6479439"/>
                <a:gd name="connsiteX5910" fmla="*/ 3107029 w 9586368"/>
                <a:gd name="connsiteY5910" fmla="*/ 2167907 h 6479439"/>
                <a:gd name="connsiteX5911" fmla="*/ 3107029 w 9586368"/>
                <a:gd name="connsiteY5911" fmla="*/ 2158034 h 6479439"/>
                <a:gd name="connsiteX5912" fmla="*/ 2871737 w 9586368"/>
                <a:gd name="connsiteY5912" fmla="*/ 2153996 h 6479439"/>
                <a:gd name="connsiteX5913" fmla="*/ 2881646 w 9586368"/>
                <a:gd name="connsiteY5913" fmla="*/ 2153996 h 6479439"/>
                <a:gd name="connsiteX5914" fmla="*/ 2885666 w 9586368"/>
                <a:gd name="connsiteY5914" fmla="*/ 2158034 h 6479439"/>
                <a:gd name="connsiteX5915" fmla="*/ 2885666 w 9586368"/>
                <a:gd name="connsiteY5915" fmla="*/ 2167907 h 6479439"/>
                <a:gd name="connsiteX5916" fmla="*/ 2881646 w 9586368"/>
                <a:gd name="connsiteY5916" fmla="*/ 2171946 h 6479439"/>
                <a:gd name="connsiteX5917" fmla="*/ 2871737 w 9586368"/>
                <a:gd name="connsiteY5917" fmla="*/ 2171946 h 6479439"/>
                <a:gd name="connsiteX5918" fmla="*/ 2867717 w 9586368"/>
                <a:gd name="connsiteY5918" fmla="*/ 2167907 h 6479439"/>
                <a:gd name="connsiteX5919" fmla="*/ 2867717 w 9586368"/>
                <a:gd name="connsiteY5919" fmla="*/ 2158034 h 6479439"/>
                <a:gd name="connsiteX5920" fmla="*/ 2632423 w 9586368"/>
                <a:gd name="connsiteY5920" fmla="*/ 2153996 h 6479439"/>
                <a:gd name="connsiteX5921" fmla="*/ 2642334 w 9586368"/>
                <a:gd name="connsiteY5921" fmla="*/ 2153996 h 6479439"/>
                <a:gd name="connsiteX5922" fmla="*/ 2646352 w 9586368"/>
                <a:gd name="connsiteY5922" fmla="*/ 2158034 h 6479439"/>
                <a:gd name="connsiteX5923" fmla="*/ 2646352 w 9586368"/>
                <a:gd name="connsiteY5923" fmla="*/ 2167907 h 6479439"/>
                <a:gd name="connsiteX5924" fmla="*/ 2642334 w 9586368"/>
                <a:gd name="connsiteY5924" fmla="*/ 2171947 h 6479439"/>
                <a:gd name="connsiteX5925" fmla="*/ 2632423 w 9586368"/>
                <a:gd name="connsiteY5925" fmla="*/ 2171947 h 6479439"/>
                <a:gd name="connsiteX5926" fmla="*/ 2628404 w 9586368"/>
                <a:gd name="connsiteY5926" fmla="*/ 2167907 h 6479439"/>
                <a:gd name="connsiteX5927" fmla="*/ 2628404 w 9586368"/>
                <a:gd name="connsiteY5927" fmla="*/ 2158034 h 6479439"/>
                <a:gd name="connsiteX5928" fmla="*/ 2393104 w 9586368"/>
                <a:gd name="connsiteY5928" fmla="*/ 2153996 h 6479439"/>
                <a:gd name="connsiteX5929" fmla="*/ 2403015 w 9586368"/>
                <a:gd name="connsiteY5929" fmla="*/ 2153996 h 6479439"/>
                <a:gd name="connsiteX5930" fmla="*/ 2407034 w 9586368"/>
                <a:gd name="connsiteY5930" fmla="*/ 2158034 h 6479439"/>
                <a:gd name="connsiteX5931" fmla="*/ 2407034 w 9586368"/>
                <a:gd name="connsiteY5931" fmla="*/ 2167907 h 6479439"/>
                <a:gd name="connsiteX5932" fmla="*/ 2403015 w 9586368"/>
                <a:gd name="connsiteY5932" fmla="*/ 2171947 h 6479439"/>
                <a:gd name="connsiteX5933" fmla="*/ 2393104 w 9586368"/>
                <a:gd name="connsiteY5933" fmla="*/ 2171947 h 6479439"/>
                <a:gd name="connsiteX5934" fmla="*/ 2389087 w 9586368"/>
                <a:gd name="connsiteY5934" fmla="*/ 2167907 h 6479439"/>
                <a:gd name="connsiteX5935" fmla="*/ 2389087 w 9586368"/>
                <a:gd name="connsiteY5935" fmla="*/ 2158034 h 6479439"/>
                <a:gd name="connsiteX5936" fmla="*/ 3350359 w 9586368"/>
                <a:gd name="connsiteY5936" fmla="*/ 2153995 h 6479439"/>
                <a:gd name="connsiteX5937" fmla="*/ 3360268 w 9586368"/>
                <a:gd name="connsiteY5937" fmla="*/ 2153995 h 6479439"/>
                <a:gd name="connsiteX5938" fmla="*/ 3364287 w 9586368"/>
                <a:gd name="connsiteY5938" fmla="*/ 2158034 h 6479439"/>
                <a:gd name="connsiteX5939" fmla="*/ 3364287 w 9586368"/>
                <a:gd name="connsiteY5939" fmla="*/ 2167907 h 6479439"/>
                <a:gd name="connsiteX5940" fmla="*/ 3360268 w 9586368"/>
                <a:gd name="connsiteY5940" fmla="*/ 2171946 h 6479439"/>
                <a:gd name="connsiteX5941" fmla="*/ 3350359 w 9586368"/>
                <a:gd name="connsiteY5941" fmla="*/ 2171946 h 6479439"/>
                <a:gd name="connsiteX5942" fmla="*/ 3346340 w 9586368"/>
                <a:gd name="connsiteY5942" fmla="*/ 2167907 h 6479439"/>
                <a:gd name="connsiteX5943" fmla="*/ 3346340 w 9586368"/>
                <a:gd name="connsiteY5943" fmla="*/ 2158034 h 6479439"/>
                <a:gd name="connsiteX5944" fmla="*/ 4546929 w 9586368"/>
                <a:gd name="connsiteY5944" fmla="*/ 2153976 h 6479439"/>
                <a:gd name="connsiteX5945" fmla="*/ 4556840 w 9586368"/>
                <a:gd name="connsiteY5945" fmla="*/ 2153976 h 6479439"/>
                <a:gd name="connsiteX5946" fmla="*/ 4560859 w 9586368"/>
                <a:gd name="connsiteY5946" fmla="*/ 2158014 h 6479439"/>
                <a:gd name="connsiteX5947" fmla="*/ 4560859 w 9586368"/>
                <a:gd name="connsiteY5947" fmla="*/ 2167886 h 6479439"/>
                <a:gd name="connsiteX5948" fmla="*/ 4556840 w 9586368"/>
                <a:gd name="connsiteY5948" fmla="*/ 2171926 h 6479439"/>
                <a:gd name="connsiteX5949" fmla="*/ 4546929 w 9586368"/>
                <a:gd name="connsiteY5949" fmla="*/ 2171926 h 6479439"/>
                <a:gd name="connsiteX5950" fmla="*/ 4542910 w 9586368"/>
                <a:gd name="connsiteY5950" fmla="*/ 2167886 h 6479439"/>
                <a:gd name="connsiteX5951" fmla="*/ 4542910 w 9586368"/>
                <a:gd name="connsiteY5951" fmla="*/ 2158014 h 6479439"/>
                <a:gd name="connsiteX5952" fmla="*/ 4307612 w 9586368"/>
                <a:gd name="connsiteY5952" fmla="*/ 2153976 h 6479439"/>
                <a:gd name="connsiteX5953" fmla="*/ 4317523 w 9586368"/>
                <a:gd name="connsiteY5953" fmla="*/ 2153976 h 6479439"/>
                <a:gd name="connsiteX5954" fmla="*/ 4321543 w 9586368"/>
                <a:gd name="connsiteY5954" fmla="*/ 2158014 h 6479439"/>
                <a:gd name="connsiteX5955" fmla="*/ 4321543 w 9586368"/>
                <a:gd name="connsiteY5955" fmla="*/ 2167887 h 6479439"/>
                <a:gd name="connsiteX5956" fmla="*/ 4317523 w 9586368"/>
                <a:gd name="connsiteY5956" fmla="*/ 2171926 h 6479439"/>
                <a:gd name="connsiteX5957" fmla="*/ 4307612 w 9586368"/>
                <a:gd name="connsiteY5957" fmla="*/ 2171926 h 6479439"/>
                <a:gd name="connsiteX5958" fmla="*/ 4303595 w 9586368"/>
                <a:gd name="connsiteY5958" fmla="*/ 2167887 h 6479439"/>
                <a:gd name="connsiteX5959" fmla="*/ 4303595 w 9586368"/>
                <a:gd name="connsiteY5959" fmla="*/ 2158014 h 6479439"/>
                <a:gd name="connsiteX5960" fmla="*/ 4068297 w 9586368"/>
                <a:gd name="connsiteY5960" fmla="*/ 2153976 h 6479439"/>
                <a:gd name="connsiteX5961" fmla="*/ 4078210 w 9586368"/>
                <a:gd name="connsiteY5961" fmla="*/ 2153976 h 6479439"/>
                <a:gd name="connsiteX5962" fmla="*/ 4082229 w 9586368"/>
                <a:gd name="connsiteY5962" fmla="*/ 2158014 h 6479439"/>
                <a:gd name="connsiteX5963" fmla="*/ 4082229 w 9586368"/>
                <a:gd name="connsiteY5963" fmla="*/ 2167887 h 6479439"/>
                <a:gd name="connsiteX5964" fmla="*/ 4078210 w 9586368"/>
                <a:gd name="connsiteY5964" fmla="*/ 2171926 h 6479439"/>
                <a:gd name="connsiteX5965" fmla="*/ 4068297 w 9586368"/>
                <a:gd name="connsiteY5965" fmla="*/ 2171926 h 6479439"/>
                <a:gd name="connsiteX5966" fmla="*/ 4064278 w 9586368"/>
                <a:gd name="connsiteY5966" fmla="*/ 2167887 h 6479439"/>
                <a:gd name="connsiteX5967" fmla="*/ 4064278 w 9586368"/>
                <a:gd name="connsiteY5967" fmla="*/ 2158014 h 6479439"/>
                <a:gd name="connsiteX5968" fmla="*/ 3828990 w 9586368"/>
                <a:gd name="connsiteY5968" fmla="*/ 2153976 h 6479439"/>
                <a:gd name="connsiteX5969" fmla="*/ 3838899 w 9586368"/>
                <a:gd name="connsiteY5969" fmla="*/ 2153976 h 6479439"/>
                <a:gd name="connsiteX5970" fmla="*/ 3842917 w 9586368"/>
                <a:gd name="connsiteY5970" fmla="*/ 2158014 h 6479439"/>
                <a:gd name="connsiteX5971" fmla="*/ 3842917 w 9586368"/>
                <a:gd name="connsiteY5971" fmla="*/ 2167887 h 6479439"/>
                <a:gd name="connsiteX5972" fmla="*/ 3838899 w 9586368"/>
                <a:gd name="connsiteY5972" fmla="*/ 2171926 h 6479439"/>
                <a:gd name="connsiteX5973" fmla="*/ 3828990 w 9586368"/>
                <a:gd name="connsiteY5973" fmla="*/ 2171926 h 6479439"/>
                <a:gd name="connsiteX5974" fmla="*/ 3824971 w 9586368"/>
                <a:gd name="connsiteY5974" fmla="*/ 2167887 h 6479439"/>
                <a:gd name="connsiteX5975" fmla="*/ 3824971 w 9586368"/>
                <a:gd name="connsiteY5975" fmla="*/ 2158014 h 6479439"/>
                <a:gd name="connsiteX5976" fmla="*/ 3589676 w 9586368"/>
                <a:gd name="connsiteY5976" fmla="*/ 2153976 h 6479439"/>
                <a:gd name="connsiteX5977" fmla="*/ 3599585 w 9586368"/>
                <a:gd name="connsiteY5977" fmla="*/ 2153976 h 6479439"/>
                <a:gd name="connsiteX5978" fmla="*/ 3603604 w 9586368"/>
                <a:gd name="connsiteY5978" fmla="*/ 2158014 h 6479439"/>
                <a:gd name="connsiteX5979" fmla="*/ 3603604 w 9586368"/>
                <a:gd name="connsiteY5979" fmla="*/ 2167887 h 6479439"/>
                <a:gd name="connsiteX5980" fmla="*/ 3599585 w 9586368"/>
                <a:gd name="connsiteY5980" fmla="*/ 2171926 h 6479439"/>
                <a:gd name="connsiteX5981" fmla="*/ 3589676 w 9586368"/>
                <a:gd name="connsiteY5981" fmla="*/ 2171926 h 6479439"/>
                <a:gd name="connsiteX5982" fmla="*/ 3585657 w 9586368"/>
                <a:gd name="connsiteY5982" fmla="*/ 2167887 h 6479439"/>
                <a:gd name="connsiteX5983" fmla="*/ 3585657 w 9586368"/>
                <a:gd name="connsiteY5983" fmla="*/ 2158014 h 6479439"/>
                <a:gd name="connsiteX5984" fmla="*/ 5504099 w 9586368"/>
                <a:gd name="connsiteY5984" fmla="*/ 2153956 h 6479439"/>
                <a:gd name="connsiteX5985" fmla="*/ 5514010 w 9586368"/>
                <a:gd name="connsiteY5985" fmla="*/ 2153956 h 6479439"/>
                <a:gd name="connsiteX5986" fmla="*/ 5518029 w 9586368"/>
                <a:gd name="connsiteY5986" fmla="*/ 2157994 h 6479439"/>
                <a:gd name="connsiteX5987" fmla="*/ 5518029 w 9586368"/>
                <a:gd name="connsiteY5987" fmla="*/ 2167867 h 6479439"/>
                <a:gd name="connsiteX5988" fmla="*/ 5514010 w 9586368"/>
                <a:gd name="connsiteY5988" fmla="*/ 2171905 h 6479439"/>
                <a:gd name="connsiteX5989" fmla="*/ 5504099 w 9586368"/>
                <a:gd name="connsiteY5989" fmla="*/ 2171905 h 6479439"/>
                <a:gd name="connsiteX5990" fmla="*/ 5500080 w 9586368"/>
                <a:gd name="connsiteY5990" fmla="*/ 2167867 h 6479439"/>
                <a:gd name="connsiteX5991" fmla="*/ 5500080 w 9586368"/>
                <a:gd name="connsiteY5991" fmla="*/ 2157994 h 6479439"/>
                <a:gd name="connsiteX5992" fmla="*/ 5264784 w 9586368"/>
                <a:gd name="connsiteY5992" fmla="*/ 2153956 h 6479439"/>
                <a:gd name="connsiteX5993" fmla="*/ 5274694 w 9586368"/>
                <a:gd name="connsiteY5993" fmla="*/ 2153956 h 6479439"/>
                <a:gd name="connsiteX5994" fmla="*/ 5278713 w 9586368"/>
                <a:gd name="connsiteY5994" fmla="*/ 2157994 h 6479439"/>
                <a:gd name="connsiteX5995" fmla="*/ 5278713 w 9586368"/>
                <a:gd name="connsiteY5995" fmla="*/ 2167867 h 6479439"/>
                <a:gd name="connsiteX5996" fmla="*/ 5274694 w 9586368"/>
                <a:gd name="connsiteY5996" fmla="*/ 2171905 h 6479439"/>
                <a:gd name="connsiteX5997" fmla="*/ 5264784 w 9586368"/>
                <a:gd name="connsiteY5997" fmla="*/ 2171905 h 6479439"/>
                <a:gd name="connsiteX5998" fmla="*/ 5260765 w 9586368"/>
                <a:gd name="connsiteY5998" fmla="*/ 2167867 h 6479439"/>
                <a:gd name="connsiteX5999" fmla="*/ 5260765 w 9586368"/>
                <a:gd name="connsiteY5999" fmla="*/ 2157994 h 6479439"/>
                <a:gd name="connsiteX6000" fmla="*/ 5025470 w 9586368"/>
                <a:gd name="connsiteY6000" fmla="*/ 2153956 h 6479439"/>
                <a:gd name="connsiteX6001" fmla="*/ 5035381 w 9586368"/>
                <a:gd name="connsiteY6001" fmla="*/ 2153956 h 6479439"/>
                <a:gd name="connsiteX6002" fmla="*/ 5039400 w 9586368"/>
                <a:gd name="connsiteY6002" fmla="*/ 2157994 h 6479439"/>
                <a:gd name="connsiteX6003" fmla="*/ 5039400 w 9586368"/>
                <a:gd name="connsiteY6003" fmla="*/ 2167867 h 6479439"/>
                <a:gd name="connsiteX6004" fmla="*/ 5035381 w 9586368"/>
                <a:gd name="connsiteY6004" fmla="*/ 2171906 h 6479439"/>
                <a:gd name="connsiteX6005" fmla="*/ 5025470 w 9586368"/>
                <a:gd name="connsiteY6005" fmla="*/ 2171906 h 6479439"/>
                <a:gd name="connsiteX6006" fmla="*/ 5021451 w 9586368"/>
                <a:gd name="connsiteY6006" fmla="*/ 2167867 h 6479439"/>
                <a:gd name="connsiteX6007" fmla="*/ 5021451 w 9586368"/>
                <a:gd name="connsiteY6007" fmla="*/ 2157994 h 6479439"/>
                <a:gd name="connsiteX6008" fmla="*/ 4786241 w 9586368"/>
                <a:gd name="connsiteY6008" fmla="*/ 2153956 h 6479439"/>
                <a:gd name="connsiteX6009" fmla="*/ 4796152 w 9586368"/>
                <a:gd name="connsiteY6009" fmla="*/ 2153956 h 6479439"/>
                <a:gd name="connsiteX6010" fmla="*/ 4800171 w 9586368"/>
                <a:gd name="connsiteY6010" fmla="*/ 2157994 h 6479439"/>
                <a:gd name="connsiteX6011" fmla="*/ 4800171 w 9586368"/>
                <a:gd name="connsiteY6011" fmla="*/ 2167867 h 6479439"/>
                <a:gd name="connsiteX6012" fmla="*/ 4796152 w 9586368"/>
                <a:gd name="connsiteY6012" fmla="*/ 2171906 h 6479439"/>
                <a:gd name="connsiteX6013" fmla="*/ 4786241 w 9586368"/>
                <a:gd name="connsiteY6013" fmla="*/ 2171906 h 6479439"/>
                <a:gd name="connsiteX6014" fmla="*/ 4782224 w 9586368"/>
                <a:gd name="connsiteY6014" fmla="*/ 2167867 h 6479439"/>
                <a:gd name="connsiteX6015" fmla="*/ 4782224 w 9586368"/>
                <a:gd name="connsiteY6015" fmla="*/ 2157994 h 6479439"/>
                <a:gd name="connsiteX6016" fmla="*/ 5743412 w 9586368"/>
                <a:gd name="connsiteY6016" fmla="*/ 2153955 h 6479439"/>
                <a:gd name="connsiteX6017" fmla="*/ 5753323 w 9586368"/>
                <a:gd name="connsiteY6017" fmla="*/ 2153955 h 6479439"/>
                <a:gd name="connsiteX6018" fmla="*/ 5757342 w 9586368"/>
                <a:gd name="connsiteY6018" fmla="*/ 2157994 h 6479439"/>
                <a:gd name="connsiteX6019" fmla="*/ 5757342 w 9586368"/>
                <a:gd name="connsiteY6019" fmla="*/ 2167866 h 6479439"/>
                <a:gd name="connsiteX6020" fmla="*/ 5753323 w 9586368"/>
                <a:gd name="connsiteY6020" fmla="*/ 2171905 h 6479439"/>
                <a:gd name="connsiteX6021" fmla="*/ 5743412 w 9586368"/>
                <a:gd name="connsiteY6021" fmla="*/ 2171905 h 6479439"/>
                <a:gd name="connsiteX6022" fmla="*/ 5739393 w 9586368"/>
                <a:gd name="connsiteY6022" fmla="*/ 2167866 h 6479439"/>
                <a:gd name="connsiteX6023" fmla="*/ 5739393 w 9586368"/>
                <a:gd name="connsiteY6023" fmla="*/ 2157994 h 6479439"/>
                <a:gd name="connsiteX6024" fmla="*/ 6222042 w 9586368"/>
                <a:gd name="connsiteY6024" fmla="*/ 2153936 h 6479439"/>
                <a:gd name="connsiteX6025" fmla="*/ 6231952 w 9586368"/>
                <a:gd name="connsiteY6025" fmla="*/ 2153936 h 6479439"/>
                <a:gd name="connsiteX6026" fmla="*/ 6235971 w 9586368"/>
                <a:gd name="connsiteY6026" fmla="*/ 2157974 h 6479439"/>
                <a:gd name="connsiteX6027" fmla="*/ 6235971 w 9586368"/>
                <a:gd name="connsiteY6027" fmla="*/ 2167846 h 6479439"/>
                <a:gd name="connsiteX6028" fmla="*/ 6231952 w 9586368"/>
                <a:gd name="connsiteY6028" fmla="*/ 2171885 h 6479439"/>
                <a:gd name="connsiteX6029" fmla="*/ 6222042 w 9586368"/>
                <a:gd name="connsiteY6029" fmla="*/ 2171885 h 6479439"/>
                <a:gd name="connsiteX6030" fmla="*/ 6218023 w 9586368"/>
                <a:gd name="connsiteY6030" fmla="*/ 2167846 h 6479439"/>
                <a:gd name="connsiteX6031" fmla="*/ 6218023 w 9586368"/>
                <a:gd name="connsiteY6031" fmla="*/ 2157974 h 6479439"/>
                <a:gd name="connsiteX6032" fmla="*/ 5982729 w 9586368"/>
                <a:gd name="connsiteY6032" fmla="*/ 2153936 h 6479439"/>
                <a:gd name="connsiteX6033" fmla="*/ 5992639 w 9586368"/>
                <a:gd name="connsiteY6033" fmla="*/ 2153936 h 6479439"/>
                <a:gd name="connsiteX6034" fmla="*/ 5996658 w 9586368"/>
                <a:gd name="connsiteY6034" fmla="*/ 2157974 h 6479439"/>
                <a:gd name="connsiteX6035" fmla="*/ 5996658 w 9586368"/>
                <a:gd name="connsiteY6035" fmla="*/ 2167846 h 6479439"/>
                <a:gd name="connsiteX6036" fmla="*/ 5992639 w 9586368"/>
                <a:gd name="connsiteY6036" fmla="*/ 2171885 h 6479439"/>
                <a:gd name="connsiteX6037" fmla="*/ 5982729 w 9586368"/>
                <a:gd name="connsiteY6037" fmla="*/ 2171885 h 6479439"/>
                <a:gd name="connsiteX6038" fmla="*/ 5978710 w 9586368"/>
                <a:gd name="connsiteY6038" fmla="*/ 2167846 h 6479439"/>
                <a:gd name="connsiteX6039" fmla="*/ 5978710 w 9586368"/>
                <a:gd name="connsiteY6039" fmla="*/ 2157974 h 6479439"/>
                <a:gd name="connsiteX6040" fmla="*/ 6939983 w 9586368"/>
                <a:gd name="connsiteY6040" fmla="*/ 2153935 h 6479439"/>
                <a:gd name="connsiteX6041" fmla="*/ 6949894 w 9586368"/>
                <a:gd name="connsiteY6041" fmla="*/ 2153935 h 6479439"/>
                <a:gd name="connsiteX6042" fmla="*/ 6953913 w 9586368"/>
                <a:gd name="connsiteY6042" fmla="*/ 2157974 h 6479439"/>
                <a:gd name="connsiteX6043" fmla="*/ 6953913 w 9586368"/>
                <a:gd name="connsiteY6043" fmla="*/ 2167845 h 6479439"/>
                <a:gd name="connsiteX6044" fmla="*/ 6949894 w 9586368"/>
                <a:gd name="connsiteY6044" fmla="*/ 2171885 h 6479439"/>
                <a:gd name="connsiteX6045" fmla="*/ 6939983 w 9586368"/>
                <a:gd name="connsiteY6045" fmla="*/ 2171885 h 6479439"/>
                <a:gd name="connsiteX6046" fmla="*/ 6935964 w 9586368"/>
                <a:gd name="connsiteY6046" fmla="*/ 2167845 h 6479439"/>
                <a:gd name="connsiteX6047" fmla="*/ 6935964 w 9586368"/>
                <a:gd name="connsiteY6047" fmla="*/ 2157974 h 6479439"/>
                <a:gd name="connsiteX6048" fmla="*/ 6700670 w 9586368"/>
                <a:gd name="connsiteY6048" fmla="*/ 2153935 h 6479439"/>
                <a:gd name="connsiteX6049" fmla="*/ 6710581 w 9586368"/>
                <a:gd name="connsiteY6049" fmla="*/ 2153935 h 6479439"/>
                <a:gd name="connsiteX6050" fmla="*/ 6714600 w 9586368"/>
                <a:gd name="connsiteY6050" fmla="*/ 2157974 h 6479439"/>
                <a:gd name="connsiteX6051" fmla="*/ 6714600 w 9586368"/>
                <a:gd name="connsiteY6051" fmla="*/ 2167846 h 6479439"/>
                <a:gd name="connsiteX6052" fmla="*/ 6710581 w 9586368"/>
                <a:gd name="connsiteY6052" fmla="*/ 2171885 h 6479439"/>
                <a:gd name="connsiteX6053" fmla="*/ 6700670 w 9586368"/>
                <a:gd name="connsiteY6053" fmla="*/ 2171885 h 6479439"/>
                <a:gd name="connsiteX6054" fmla="*/ 6696651 w 9586368"/>
                <a:gd name="connsiteY6054" fmla="*/ 2167846 h 6479439"/>
                <a:gd name="connsiteX6055" fmla="*/ 6696651 w 9586368"/>
                <a:gd name="connsiteY6055" fmla="*/ 2157974 h 6479439"/>
                <a:gd name="connsiteX6056" fmla="*/ 6461356 w 9586368"/>
                <a:gd name="connsiteY6056" fmla="*/ 2153935 h 6479439"/>
                <a:gd name="connsiteX6057" fmla="*/ 6471266 w 9586368"/>
                <a:gd name="connsiteY6057" fmla="*/ 2153935 h 6479439"/>
                <a:gd name="connsiteX6058" fmla="*/ 6475285 w 9586368"/>
                <a:gd name="connsiteY6058" fmla="*/ 2157974 h 6479439"/>
                <a:gd name="connsiteX6059" fmla="*/ 6475285 w 9586368"/>
                <a:gd name="connsiteY6059" fmla="*/ 2167846 h 6479439"/>
                <a:gd name="connsiteX6060" fmla="*/ 6471266 w 9586368"/>
                <a:gd name="connsiteY6060" fmla="*/ 2171885 h 6479439"/>
                <a:gd name="connsiteX6061" fmla="*/ 6461356 w 9586368"/>
                <a:gd name="connsiteY6061" fmla="*/ 2171885 h 6479439"/>
                <a:gd name="connsiteX6062" fmla="*/ 6457337 w 9586368"/>
                <a:gd name="connsiteY6062" fmla="*/ 2167846 h 6479439"/>
                <a:gd name="connsiteX6063" fmla="*/ 6457337 w 9586368"/>
                <a:gd name="connsiteY6063" fmla="*/ 2157974 h 6479439"/>
                <a:gd name="connsiteX6064" fmla="*/ 7418611 w 9586368"/>
                <a:gd name="connsiteY6064" fmla="*/ 2153916 h 6479439"/>
                <a:gd name="connsiteX6065" fmla="*/ 7428521 w 9586368"/>
                <a:gd name="connsiteY6065" fmla="*/ 2153916 h 6479439"/>
                <a:gd name="connsiteX6066" fmla="*/ 7432540 w 9586368"/>
                <a:gd name="connsiteY6066" fmla="*/ 2157955 h 6479439"/>
                <a:gd name="connsiteX6067" fmla="*/ 7432540 w 9586368"/>
                <a:gd name="connsiteY6067" fmla="*/ 2167826 h 6479439"/>
                <a:gd name="connsiteX6068" fmla="*/ 7428521 w 9586368"/>
                <a:gd name="connsiteY6068" fmla="*/ 2171865 h 6479439"/>
                <a:gd name="connsiteX6069" fmla="*/ 7418611 w 9586368"/>
                <a:gd name="connsiteY6069" fmla="*/ 2171865 h 6479439"/>
                <a:gd name="connsiteX6070" fmla="*/ 7414592 w 9586368"/>
                <a:gd name="connsiteY6070" fmla="*/ 2167826 h 6479439"/>
                <a:gd name="connsiteX6071" fmla="*/ 7414592 w 9586368"/>
                <a:gd name="connsiteY6071" fmla="*/ 2157955 h 6479439"/>
                <a:gd name="connsiteX6072" fmla="*/ 7179298 w 9586368"/>
                <a:gd name="connsiteY6072" fmla="*/ 2153916 h 6479439"/>
                <a:gd name="connsiteX6073" fmla="*/ 7189209 w 9586368"/>
                <a:gd name="connsiteY6073" fmla="*/ 2153916 h 6479439"/>
                <a:gd name="connsiteX6074" fmla="*/ 7193228 w 9586368"/>
                <a:gd name="connsiteY6074" fmla="*/ 2157955 h 6479439"/>
                <a:gd name="connsiteX6075" fmla="*/ 7193228 w 9586368"/>
                <a:gd name="connsiteY6075" fmla="*/ 2167826 h 6479439"/>
                <a:gd name="connsiteX6076" fmla="*/ 7189209 w 9586368"/>
                <a:gd name="connsiteY6076" fmla="*/ 2171865 h 6479439"/>
                <a:gd name="connsiteX6077" fmla="*/ 7179298 w 9586368"/>
                <a:gd name="connsiteY6077" fmla="*/ 2171865 h 6479439"/>
                <a:gd name="connsiteX6078" fmla="*/ 7175279 w 9586368"/>
                <a:gd name="connsiteY6078" fmla="*/ 2167826 h 6479439"/>
                <a:gd name="connsiteX6079" fmla="*/ 7175279 w 9586368"/>
                <a:gd name="connsiteY6079" fmla="*/ 2157955 h 6479439"/>
                <a:gd name="connsiteX6080" fmla="*/ 8136553 w 9586368"/>
                <a:gd name="connsiteY6080" fmla="*/ 2153915 h 6479439"/>
                <a:gd name="connsiteX6081" fmla="*/ 8146464 w 9586368"/>
                <a:gd name="connsiteY6081" fmla="*/ 2153915 h 6479439"/>
                <a:gd name="connsiteX6082" fmla="*/ 8150483 w 9586368"/>
                <a:gd name="connsiteY6082" fmla="*/ 2157955 h 6479439"/>
                <a:gd name="connsiteX6083" fmla="*/ 8150483 w 9586368"/>
                <a:gd name="connsiteY6083" fmla="*/ 2167825 h 6479439"/>
                <a:gd name="connsiteX6084" fmla="*/ 8146464 w 9586368"/>
                <a:gd name="connsiteY6084" fmla="*/ 2171864 h 6479439"/>
                <a:gd name="connsiteX6085" fmla="*/ 8136553 w 9586368"/>
                <a:gd name="connsiteY6085" fmla="*/ 2171864 h 6479439"/>
                <a:gd name="connsiteX6086" fmla="*/ 8132534 w 9586368"/>
                <a:gd name="connsiteY6086" fmla="*/ 2167825 h 6479439"/>
                <a:gd name="connsiteX6087" fmla="*/ 8132534 w 9586368"/>
                <a:gd name="connsiteY6087" fmla="*/ 2157955 h 6479439"/>
                <a:gd name="connsiteX6088" fmla="*/ 7897241 w 9586368"/>
                <a:gd name="connsiteY6088" fmla="*/ 2153915 h 6479439"/>
                <a:gd name="connsiteX6089" fmla="*/ 7907151 w 9586368"/>
                <a:gd name="connsiteY6089" fmla="*/ 2153915 h 6479439"/>
                <a:gd name="connsiteX6090" fmla="*/ 7911170 w 9586368"/>
                <a:gd name="connsiteY6090" fmla="*/ 2157955 h 6479439"/>
                <a:gd name="connsiteX6091" fmla="*/ 7911170 w 9586368"/>
                <a:gd name="connsiteY6091" fmla="*/ 2167826 h 6479439"/>
                <a:gd name="connsiteX6092" fmla="*/ 7907151 w 9586368"/>
                <a:gd name="connsiteY6092" fmla="*/ 2171864 h 6479439"/>
                <a:gd name="connsiteX6093" fmla="*/ 7897241 w 9586368"/>
                <a:gd name="connsiteY6093" fmla="*/ 2171864 h 6479439"/>
                <a:gd name="connsiteX6094" fmla="*/ 7893222 w 9586368"/>
                <a:gd name="connsiteY6094" fmla="*/ 2167826 h 6479439"/>
                <a:gd name="connsiteX6095" fmla="*/ 7893222 w 9586368"/>
                <a:gd name="connsiteY6095" fmla="*/ 2157955 h 6479439"/>
                <a:gd name="connsiteX6096" fmla="*/ 7657926 w 9586368"/>
                <a:gd name="connsiteY6096" fmla="*/ 2153915 h 6479439"/>
                <a:gd name="connsiteX6097" fmla="*/ 7667836 w 9586368"/>
                <a:gd name="connsiteY6097" fmla="*/ 2153915 h 6479439"/>
                <a:gd name="connsiteX6098" fmla="*/ 7671855 w 9586368"/>
                <a:gd name="connsiteY6098" fmla="*/ 2157955 h 6479439"/>
                <a:gd name="connsiteX6099" fmla="*/ 7671855 w 9586368"/>
                <a:gd name="connsiteY6099" fmla="*/ 2167826 h 6479439"/>
                <a:gd name="connsiteX6100" fmla="*/ 7667836 w 9586368"/>
                <a:gd name="connsiteY6100" fmla="*/ 2171864 h 6479439"/>
                <a:gd name="connsiteX6101" fmla="*/ 7657926 w 9586368"/>
                <a:gd name="connsiteY6101" fmla="*/ 2171864 h 6479439"/>
                <a:gd name="connsiteX6102" fmla="*/ 7653906 w 9586368"/>
                <a:gd name="connsiteY6102" fmla="*/ 2167826 h 6479439"/>
                <a:gd name="connsiteX6103" fmla="*/ 7653906 w 9586368"/>
                <a:gd name="connsiteY6103" fmla="*/ 2157955 h 6479439"/>
                <a:gd name="connsiteX6104" fmla="*/ 8615184 w 9586368"/>
                <a:gd name="connsiteY6104" fmla="*/ 2153896 h 6479439"/>
                <a:gd name="connsiteX6105" fmla="*/ 8625095 w 9586368"/>
                <a:gd name="connsiteY6105" fmla="*/ 2153896 h 6479439"/>
                <a:gd name="connsiteX6106" fmla="*/ 8629114 w 9586368"/>
                <a:gd name="connsiteY6106" fmla="*/ 2157935 h 6479439"/>
                <a:gd name="connsiteX6107" fmla="*/ 8629114 w 9586368"/>
                <a:gd name="connsiteY6107" fmla="*/ 2167805 h 6479439"/>
                <a:gd name="connsiteX6108" fmla="*/ 8625095 w 9586368"/>
                <a:gd name="connsiteY6108" fmla="*/ 2171844 h 6479439"/>
                <a:gd name="connsiteX6109" fmla="*/ 8615184 w 9586368"/>
                <a:gd name="connsiteY6109" fmla="*/ 2171844 h 6479439"/>
                <a:gd name="connsiteX6110" fmla="*/ 8611165 w 9586368"/>
                <a:gd name="connsiteY6110" fmla="*/ 2167805 h 6479439"/>
                <a:gd name="connsiteX6111" fmla="*/ 8611165 w 9586368"/>
                <a:gd name="connsiteY6111" fmla="*/ 2157935 h 6479439"/>
                <a:gd name="connsiteX6112" fmla="*/ 8375869 w 9586368"/>
                <a:gd name="connsiteY6112" fmla="*/ 2153896 h 6479439"/>
                <a:gd name="connsiteX6113" fmla="*/ 8385779 w 9586368"/>
                <a:gd name="connsiteY6113" fmla="*/ 2153896 h 6479439"/>
                <a:gd name="connsiteX6114" fmla="*/ 8389799 w 9586368"/>
                <a:gd name="connsiteY6114" fmla="*/ 2157935 h 6479439"/>
                <a:gd name="connsiteX6115" fmla="*/ 8389799 w 9586368"/>
                <a:gd name="connsiteY6115" fmla="*/ 2167805 h 6479439"/>
                <a:gd name="connsiteX6116" fmla="*/ 8385779 w 9586368"/>
                <a:gd name="connsiteY6116" fmla="*/ 2171844 h 6479439"/>
                <a:gd name="connsiteX6117" fmla="*/ 8375869 w 9586368"/>
                <a:gd name="connsiteY6117" fmla="*/ 2171844 h 6479439"/>
                <a:gd name="connsiteX6118" fmla="*/ 8371850 w 9586368"/>
                <a:gd name="connsiteY6118" fmla="*/ 2167805 h 6479439"/>
                <a:gd name="connsiteX6119" fmla="*/ 8371850 w 9586368"/>
                <a:gd name="connsiteY6119" fmla="*/ 2157935 h 6479439"/>
                <a:gd name="connsiteX6120" fmla="*/ 9333125 w 9586368"/>
                <a:gd name="connsiteY6120" fmla="*/ 2153895 h 6479439"/>
                <a:gd name="connsiteX6121" fmla="*/ 9343036 w 9586368"/>
                <a:gd name="connsiteY6121" fmla="*/ 2153895 h 6479439"/>
                <a:gd name="connsiteX6122" fmla="*/ 9347055 w 9586368"/>
                <a:gd name="connsiteY6122" fmla="*/ 2157934 h 6479439"/>
                <a:gd name="connsiteX6123" fmla="*/ 9347055 w 9586368"/>
                <a:gd name="connsiteY6123" fmla="*/ 2167805 h 6479439"/>
                <a:gd name="connsiteX6124" fmla="*/ 9343036 w 9586368"/>
                <a:gd name="connsiteY6124" fmla="*/ 2171844 h 6479439"/>
                <a:gd name="connsiteX6125" fmla="*/ 9333125 w 9586368"/>
                <a:gd name="connsiteY6125" fmla="*/ 2171844 h 6479439"/>
                <a:gd name="connsiteX6126" fmla="*/ 9329106 w 9586368"/>
                <a:gd name="connsiteY6126" fmla="*/ 2167805 h 6479439"/>
                <a:gd name="connsiteX6127" fmla="*/ 9329106 w 9586368"/>
                <a:gd name="connsiteY6127" fmla="*/ 2157934 h 6479439"/>
                <a:gd name="connsiteX6128" fmla="*/ 9093811 w 9586368"/>
                <a:gd name="connsiteY6128" fmla="*/ 2153895 h 6479439"/>
                <a:gd name="connsiteX6129" fmla="*/ 9103722 w 9586368"/>
                <a:gd name="connsiteY6129" fmla="*/ 2153895 h 6479439"/>
                <a:gd name="connsiteX6130" fmla="*/ 9107741 w 9586368"/>
                <a:gd name="connsiteY6130" fmla="*/ 2157935 h 6479439"/>
                <a:gd name="connsiteX6131" fmla="*/ 9107741 w 9586368"/>
                <a:gd name="connsiteY6131" fmla="*/ 2167805 h 6479439"/>
                <a:gd name="connsiteX6132" fmla="*/ 9103722 w 9586368"/>
                <a:gd name="connsiteY6132" fmla="*/ 2171844 h 6479439"/>
                <a:gd name="connsiteX6133" fmla="*/ 9093811 w 9586368"/>
                <a:gd name="connsiteY6133" fmla="*/ 2171844 h 6479439"/>
                <a:gd name="connsiteX6134" fmla="*/ 9089792 w 9586368"/>
                <a:gd name="connsiteY6134" fmla="*/ 2167805 h 6479439"/>
                <a:gd name="connsiteX6135" fmla="*/ 9089792 w 9586368"/>
                <a:gd name="connsiteY6135" fmla="*/ 2157935 h 6479439"/>
                <a:gd name="connsiteX6136" fmla="*/ 8854496 w 9586368"/>
                <a:gd name="connsiteY6136" fmla="*/ 2153895 h 6479439"/>
                <a:gd name="connsiteX6137" fmla="*/ 8864407 w 9586368"/>
                <a:gd name="connsiteY6137" fmla="*/ 2153895 h 6479439"/>
                <a:gd name="connsiteX6138" fmla="*/ 8868426 w 9586368"/>
                <a:gd name="connsiteY6138" fmla="*/ 2157935 h 6479439"/>
                <a:gd name="connsiteX6139" fmla="*/ 8868426 w 9586368"/>
                <a:gd name="connsiteY6139" fmla="*/ 2167805 h 6479439"/>
                <a:gd name="connsiteX6140" fmla="*/ 8864407 w 9586368"/>
                <a:gd name="connsiteY6140" fmla="*/ 2171844 h 6479439"/>
                <a:gd name="connsiteX6141" fmla="*/ 8854496 w 9586368"/>
                <a:gd name="connsiteY6141" fmla="*/ 2171844 h 6479439"/>
                <a:gd name="connsiteX6142" fmla="*/ 8850477 w 9586368"/>
                <a:gd name="connsiteY6142" fmla="*/ 2167805 h 6479439"/>
                <a:gd name="connsiteX6143" fmla="*/ 8850477 w 9586368"/>
                <a:gd name="connsiteY6143" fmla="*/ 2157935 h 6479439"/>
                <a:gd name="connsiteX6144" fmla="*/ 9572438 w 9586368"/>
                <a:gd name="connsiteY6144" fmla="*/ 2153876 h 6479439"/>
                <a:gd name="connsiteX6145" fmla="*/ 9582349 w 9586368"/>
                <a:gd name="connsiteY6145" fmla="*/ 2153876 h 6479439"/>
                <a:gd name="connsiteX6146" fmla="*/ 9586368 w 9586368"/>
                <a:gd name="connsiteY6146" fmla="*/ 2157914 h 6479439"/>
                <a:gd name="connsiteX6147" fmla="*/ 9586368 w 9586368"/>
                <a:gd name="connsiteY6147" fmla="*/ 2167786 h 6479439"/>
                <a:gd name="connsiteX6148" fmla="*/ 9582349 w 9586368"/>
                <a:gd name="connsiteY6148" fmla="*/ 2171824 h 6479439"/>
                <a:gd name="connsiteX6149" fmla="*/ 9572438 w 9586368"/>
                <a:gd name="connsiteY6149" fmla="*/ 2171824 h 6479439"/>
                <a:gd name="connsiteX6150" fmla="*/ 9568419 w 9586368"/>
                <a:gd name="connsiteY6150" fmla="*/ 2167786 h 6479439"/>
                <a:gd name="connsiteX6151" fmla="*/ 9568419 w 9586368"/>
                <a:gd name="connsiteY6151" fmla="*/ 2157914 h 6479439"/>
                <a:gd name="connsiteX6152" fmla="*/ 1200582 w 9586368"/>
                <a:gd name="connsiteY6152" fmla="*/ 2153867 h 6479439"/>
                <a:gd name="connsiteX6153" fmla="*/ 1210491 w 9586368"/>
                <a:gd name="connsiteY6153" fmla="*/ 2153867 h 6479439"/>
                <a:gd name="connsiteX6154" fmla="*/ 1214510 w 9586368"/>
                <a:gd name="connsiteY6154" fmla="*/ 2157906 h 6479439"/>
                <a:gd name="connsiteX6155" fmla="*/ 1214510 w 9586368"/>
                <a:gd name="connsiteY6155" fmla="*/ 2167776 h 6479439"/>
                <a:gd name="connsiteX6156" fmla="*/ 1210491 w 9586368"/>
                <a:gd name="connsiteY6156" fmla="*/ 2171815 h 6479439"/>
                <a:gd name="connsiteX6157" fmla="*/ 1200582 w 9586368"/>
                <a:gd name="connsiteY6157" fmla="*/ 2171815 h 6479439"/>
                <a:gd name="connsiteX6158" fmla="*/ 1196562 w 9586368"/>
                <a:gd name="connsiteY6158" fmla="*/ 2167776 h 6479439"/>
                <a:gd name="connsiteX6159" fmla="*/ 1196562 w 9586368"/>
                <a:gd name="connsiteY6159" fmla="*/ 2157906 h 6479439"/>
                <a:gd name="connsiteX6160" fmla="*/ 961268 w 9586368"/>
                <a:gd name="connsiteY6160" fmla="*/ 2153867 h 6479439"/>
                <a:gd name="connsiteX6161" fmla="*/ 971179 w 9586368"/>
                <a:gd name="connsiteY6161" fmla="*/ 2153867 h 6479439"/>
                <a:gd name="connsiteX6162" fmla="*/ 975198 w 9586368"/>
                <a:gd name="connsiteY6162" fmla="*/ 2157906 h 6479439"/>
                <a:gd name="connsiteX6163" fmla="*/ 975198 w 9586368"/>
                <a:gd name="connsiteY6163" fmla="*/ 2167776 h 6479439"/>
                <a:gd name="connsiteX6164" fmla="*/ 971179 w 9586368"/>
                <a:gd name="connsiteY6164" fmla="*/ 2171815 h 6479439"/>
                <a:gd name="connsiteX6165" fmla="*/ 961268 w 9586368"/>
                <a:gd name="connsiteY6165" fmla="*/ 2171815 h 6479439"/>
                <a:gd name="connsiteX6166" fmla="*/ 957250 w 9586368"/>
                <a:gd name="connsiteY6166" fmla="*/ 2167776 h 6479439"/>
                <a:gd name="connsiteX6167" fmla="*/ 957250 w 9586368"/>
                <a:gd name="connsiteY6167" fmla="*/ 2157906 h 6479439"/>
                <a:gd name="connsiteX6168" fmla="*/ 1679214 w 9586368"/>
                <a:gd name="connsiteY6168" fmla="*/ 2153867 h 6479439"/>
                <a:gd name="connsiteX6169" fmla="*/ 1689123 w 9586368"/>
                <a:gd name="connsiteY6169" fmla="*/ 2153867 h 6479439"/>
                <a:gd name="connsiteX6170" fmla="*/ 1693144 w 9586368"/>
                <a:gd name="connsiteY6170" fmla="*/ 2157905 h 6479439"/>
                <a:gd name="connsiteX6171" fmla="*/ 1693144 w 9586368"/>
                <a:gd name="connsiteY6171" fmla="*/ 2167775 h 6479439"/>
                <a:gd name="connsiteX6172" fmla="*/ 1689123 w 9586368"/>
                <a:gd name="connsiteY6172" fmla="*/ 2171814 h 6479439"/>
                <a:gd name="connsiteX6173" fmla="*/ 1679214 w 9586368"/>
                <a:gd name="connsiteY6173" fmla="*/ 2171814 h 6479439"/>
                <a:gd name="connsiteX6174" fmla="*/ 1675195 w 9586368"/>
                <a:gd name="connsiteY6174" fmla="*/ 2167775 h 6479439"/>
                <a:gd name="connsiteX6175" fmla="*/ 1675195 w 9586368"/>
                <a:gd name="connsiteY6175" fmla="*/ 2157905 h 6479439"/>
                <a:gd name="connsiteX6176" fmla="*/ 1439897 w 9586368"/>
                <a:gd name="connsiteY6176" fmla="*/ 2153867 h 6479439"/>
                <a:gd name="connsiteX6177" fmla="*/ 1449807 w 9586368"/>
                <a:gd name="connsiteY6177" fmla="*/ 2153867 h 6479439"/>
                <a:gd name="connsiteX6178" fmla="*/ 1453826 w 9586368"/>
                <a:gd name="connsiteY6178" fmla="*/ 2157905 h 6479439"/>
                <a:gd name="connsiteX6179" fmla="*/ 1453826 w 9586368"/>
                <a:gd name="connsiteY6179" fmla="*/ 2167776 h 6479439"/>
                <a:gd name="connsiteX6180" fmla="*/ 1449807 w 9586368"/>
                <a:gd name="connsiteY6180" fmla="*/ 2171814 h 6479439"/>
                <a:gd name="connsiteX6181" fmla="*/ 1439897 w 9586368"/>
                <a:gd name="connsiteY6181" fmla="*/ 2171814 h 6479439"/>
                <a:gd name="connsiteX6182" fmla="*/ 1435878 w 9586368"/>
                <a:gd name="connsiteY6182" fmla="*/ 2167776 h 6479439"/>
                <a:gd name="connsiteX6183" fmla="*/ 1435878 w 9586368"/>
                <a:gd name="connsiteY6183" fmla="*/ 2157905 h 6479439"/>
                <a:gd name="connsiteX6184" fmla="*/ 1918513 w 9586368"/>
                <a:gd name="connsiteY6184" fmla="*/ 2153855 h 6479439"/>
                <a:gd name="connsiteX6185" fmla="*/ 1928422 w 9586368"/>
                <a:gd name="connsiteY6185" fmla="*/ 2153855 h 6479439"/>
                <a:gd name="connsiteX6186" fmla="*/ 1932443 w 9586368"/>
                <a:gd name="connsiteY6186" fmla="*/ 2157892 h 6479439"/>
                <a:gd name="connsiteX6187" fmla="*/ 1932443 w 9586368"/>
                <a:gd name="connsiteY6187" fmla="*/ 2167763 h 6479439"/>
                <a:gd name="connsiteX6188" fmla="*/ 1928422 w 9586368"/>
                <a:gd name="connsiteY6188" fmla="*/ 2171803 h 6479439"/>
                <a:gd name="connsiteX6189" fmla="*/ 1918513 w 9586368"/>
                <a:gd name="connsiteY6189" fmla="*/ 2171803 h 6479439"/>
                <a:gd name="connsiteX6190" fmla="*/ 1914494 w 9586368"/>
                <a:gd name="connsiteY6190" fmla="*/ 2167763 h 6479439"/>
                <a:gd name="connsiteX6191" fmla="*/ 1914494 w 9586368"/>
                <a:gd name="connsiteY6191" fmla="*/ 2157892 h 6479439"/>
                <a:gd name="connsiteX6192" fmla="*/ 2157821 w 9586368"/>
                <a:gd name="connsiteY6192" fmla="*/ 2153850 h 6479439"/>
                <a:gd name="connsiteX6193" fmla="*/ 2167732 w 9586368"/>
                <a:gd name="connsiteY6193" fmla="*/ 2153850 h 6479439"/>
                <a:gd name="connsiteX6194" fmla="*/ 2171750 w 9586368"/>
                <a:gd name="connsiteY6194" fmla="*/ 2157889 h 6479439"/>
                <a:gd name="connsiteX6195" fmla="*/ 2171750 w 9586368"/>
                <a:gd name="connsiteY6195" fmla="*/ 2167759 h 6479439"/>
                <a:gd name="connsiteX6196" fmla="*/ 2167732 w 9586368"/>
                <a:gd name="connsiteY6196" fmla="*/ 2171798 h 6479439"/>
                <a:gd name="connsiteX6197" fmla="*/ 2157821 w 9586368"/>
                <a:gd name="connsiteY6197" fmla="*/ 2171798 h 6479439"/>
                <a:gd name="connsiteX6198" fmla="*/ 2153803 w 9586368"/>
                <a:gd name="connsiteY6198" fmla="*/ 2167759 h 6479439"/>
                <a:gd name="connsiteX6199" fmla="*/ 2153803 w 9586368"/>
                <a:gd name="connsiteY6199" fmla="*/ 2157889 h 6479439"/>
                <a:gd name="connsiteX6200" fmla="*/ 4032 w 9586368"/>
                <a:gd name="connsiteY6200" fmla="*/ 2153832 h 6479439"/>
                <a:gd name="connsiteX6201" fmla="*/ 13942 w 9586368"/>
                <a:gd name="connsiteY6201" fmla="*/ 2153832 h 6479439"/>
                <a:gd name="connsiteX6202" fmla="*/ 17961 w 9586368"/>
                <a:gd name="connsiteY6202" fmla="*/ 2157870 h 6479439"/>
                <a:gd name="connsiteX6203" fmla="*/ 17961 w 9586368"/>
                <a:gd name="connsiteY6203" fmla="*/ 2167741 h 6479439"/>
                <a:gd name="connsiteX6204" fmla="*/ 13942 w 9586368"/>
                <a:gd name="connsiteY6204" fmla="*/ 2171780 h 6479439"/>
                <a:gd name="connsiteX6205" fmla="*/ 4032 w 9586368"/>
                <a:gd name="connsiteY6205" fmla="*/ 2171780 h 6479439"/>
                <a:gd name="connsiteX6206" fmla="*/ 13 w 9586368"/>
                <a:gd name="connsiteY6206" fmla="*/ 2167741 h 6479439"/>
                <a:gd name="connsiteX6207" fmla="*/ 13 w 9586368"/>
                <a:gd name="connsiteY6207" fmla="*/ 2157870 h 6479439"/>
                <a:gd name="connsiteX6208" fmla="*/ 721971 w 9586368"/>
                <a:gd name="connsiteY6208" fmla="*/ 2153832 h 6479439"/>
                <a:gd name="connsiteX6209" fmla="*/ 731881 w 9586368"/>
                <a:gd name="connsiteY6209" fmla="*/ 2153832 h 6479439"/>
                <a:gd name="connsiteX6210" fmla="*/ 735900 w 9586368"/>
                <a:gd name="connsiteY6210" fmla="*/ 2157870 h 6479439"/>
                <a:gd name="connsiteX6211" fmla="*/ 735900 w 9586368"/>
                <a:gd name="connsiteY6211" fmla="*/ 2167740 h 6479439"/>
                <a:gd name="connsiteX6212" fmla="*/ 731881 w 9586368"/>
                <a:gd name="connsiteY6212" fmla="*/ 2171780 h 6479439"/>
                <a:gd name="connsiteX6213" fmla="*/ 721971 w 9586368"/>
                <a:gd name="connsiteY6213" fmla="*/ 2171780 h 6479439"/>
                <a:gd name="connsiteX6214" fmla="*/ 717952 w 9586368"/>
                <a:gd name="connsiteY6214" fmla="*/ 2167740 h 6479439"/>
                <a:gd name="connsiteX6215" fmla="*/ 717952 w 9586368"/>
                <a:gd name="connsiteY6215" fmla="*/ 2157870 h 6479439"/>
                <a:gd name="connsiteX6216" fmla="*/ 482659 w 9586368"/>
                <a:gd name="connsiteY6216" fmla="*/ 2153832 h 6479439"/>
                <a:gd name="connsiteX6217" fmla="*/ 492569 w 9586368"/>
                <a:gd name="connsiteY6217" fmla="*/ 2153832 h 6479439"/>
                <a:gd name="connsiteX6218" fmla="*/ 496588 w 9586368"/>
                <a:gd name="connsiteY6218" fmla="*/ 2157870 h 6479439"/>
                <a:gd name="connsiteX6219" fmla="*/ 496588 w 9586368"/>
                <a:gd name="connsiteY6219" fmla="*/ 2167741 h 6479439"/>
                <a:gd name="connsiteX6220" fmla="*/ 492569 w 9586368"/>
                <a:gd name="connsiteY6220" fmla="*/ 2171780 h 6479439"/>
                <a:gd name="connsiteX6221" fmla="*/ 482659 w 9586368"/>
                <a:gd name="connsiteY6221" fmla="*/ 2171780 h 6479439"/>
                <a:gd name="connsiteX6222" fmla="*/ 478640 w 9586368"/>
                <a:gd name="connsiteY6222" fmla="*/ 2167741 h 6479439"/>
                <a:gd name="connsiteX6223" fmla="*/ 478640 w 9586368"/>
                <a:gd name="connsiteY6223" fmla="*/ 2157870 h 6479439"/>
                <a:gd name="connsiteX6224" fmla="*/ 243345 w 9586368"/>
                <a:gd name="connsiteY6224" fmla="*/ 2153832 h 6479439"/>
                <a:gd name="connsiteX6225" fmla="*/ 253255 w 9586368"/>
                <a:gd name="connsiteY6225" fmla="*/ 2153832 h 6479439"/>
                <a:gd name="connsiteX6226" fmla="*/ 257274 w 9586368"/>
                <a:gd name="connsiteY6226" fmla="*/ 2157870 h 6479439"/>
                <a:gd name="connsiteX6227" fmla="*/ 257274 w 9586368"/>
                <a:gd name="connsiteY6227" fmla="*/ 2167741 h 6479439"/>
                <a:gd name="connsiteX6228" fmla="*/ 253255 w 9586368"/>
                <a:gd name="connsiteY6228" fmla="*/ 2171780 h 6479439"/>
                <a:gd name="connsiteX6229" fmla="*/ 243345 w 9586368"/>
                <a:gd name="connsiteY6229" fmla="*/ 2171780 h 6479439"/>
                <a:gd name="connsiteX6230" fmla="*/ 239326 w 9586368"/>
                <a:gd name="connsiteY6230" fmla="*/ 2167741 h 6479439"/>
                <a:gd name="connsiteX6231" fmla="*/ 239326 w 9586368"/>
                <a:gd name="connsiteY6231" fmla="*/ 2157870 h 6479439"/>
                <a:gd name="connsiteX6232" fmla="*/ 2393104 w 9586368"/>
                <a:gd name="connsiteY6232" fmla="*/ 1914701 h 6479439"/>
                <a:gd name="connsiteX6233" fmla="*/ 2403015 w 9586368"/>
                <a:gd name="connsiteY6233" fmla="*/ 1914701 h 6479439"/>
                <a:gd name="connsiteX6234" fmla="*/ 2407034 w 9586368"/>
                <a:gd name="connsiteY6234" fmla="*/ 1918739 h 6479439"/>
                <a:gd name="connsiteX6235" fmla="*/ 2407034 w 9586368"/>
                <a:gd name="connsiteY6235" fmla="*/ 1928610 h 6479439"/>
                <a:gd name="connsiteX6236" fmla="*/ 2403015 w 9586368"/>
                <a:gd name="connsiteY6236" fmla="*/ 1932649 h 6479439"/>
                <a:gd name="connsiteX6237" fmla="*/ 2393104 w 9586368"/>
                <a:gd name="connsiteY6237" fmla="*/ 1932649 h 6479439"/>
                <a:gd name="connsiteX6238" fmla="*/ 2389087 w 9586368"/>
                <a:gd name="connsiteY6238" fmla="*/ 1928610 h 6479439"/>
                <a:gd name="connsiteX6239" fmla="*/ 2389087 w 9586368"/>
                <a:gd name="connsiteY6239" fmla="*/ 1918739 h 6479439"/>
                <a:gd name="connsiteX6240" fmla="*/ 3350359 w 9586368"/>
                <a:gd name="connsiteY6240" fmla="*/ 1914699 h 6479439"/>
                <a:gd name="connsiteX6241" fmla="*/ 3360268 w 9586368"/>
                <a:gd name="connsiteY6241" fmla="*/ 1914699 h 6479439"/>
                <a:gd name="connsiteX6242" fmla="*/ 3364287 w 9586368"/>
                <a:gd name="connsiteY6242" fmla="*/ 1918738 h 6479439"/>
                <a:gd name="connsiteX6243" fmla="*/ 3364287 w 9586368"/>
                <a:gd name="connsiteY6243" fmla="*/ 1928610 h 6479439"/>
                <a:gd name="connsiteX6244" fmla="*/ 3360268 w 9586368"/>
                <a:gd name="connsiteY6244" fmla="*/ 1932649 h 6479439"/>
                <a:gd name="connsiteX6245" fmla="*/ 3350359 w 9586368"/>
                <a:gd name="connsiteY6245" fmla="*/ 1932649 h 6479439"/>
                <a:gd name="connsiteX6246" fmla="*/ 3346340 w 9586368"/>
                <a:gd name="connsiteY6246" fmla="*/ 1928610 h 6479439"/>
                <a:gd name="connsiteX6247" fmla="*/ 3346340 w 9586368"/>
                <a:gd name="connsiteY6247" fmla="*/ 1918738 h 6479439"/>
                <a:gd name="connsiteX6248" fmla="*/ 3111048 w 9586368"/>
                <a:gd name="connsiteY6248" fmla="*/ 1914699 h 6479439"/>
                <a:gd name="connsiteX6249" fmla="*/ 3120959 w 9586368"/>
                <a:gd name="connsiteY6249" fmla="*/ 1914699 h 6479439"/>
                <a:gd name="connsiteX6250" fmla="*/ 3124977 w 9586368"/>
                <a:gd name="connsiteY6250" fmla="*/ 1918739 h 6479439"/>
                <a:gd name="connsiteX6251" fmla="*/ 3124977 w 9586368"/>
                <a:gd name="connsiteY6251" fmla="*/ 1928610 h 6479439"/>
                <a:gd name="connsiteX6252" fmla="*/ 3120959 w 9586368"/>
                <a:gd name="connsiteY6252" fmla="*/ 1932649 h 6479439"/>
                <a:gd name="connsiteX6253" fmla="*/ 3111048 w 9586368"/>
                <a:gd name="connsiteY6253" fmla="*/ 1932649 h 6479439"/>
                <a:gd name="connsiteX6254" fmla="*/ 3107029 w 9586368"/>
                <a:gd name="connsiteY6254" fmla="*/ 1928610 h 6479439"/>
                <a:gd name="connsiteX6255" fmla="*/ 3107029 w 9586368"/>
                <a:gd name="connsiteY6255" fmla="*/ 1918739 h 6479439"/>
                <a:gd name="connsiteX6256" fmla="*/ 2871737 w 9586368"/>
                <a:gd name="connsiteY6256" fmla="*/ 1914699 h 6479439"/>
                <a:gd name="connsiteX6257" fmla="*/ 2881646 w 9586368"/>
                <a:gd name="connsiteY6257" fmla="*/ 1914699 h 6479439"/>
                <a:gd name="connsiteX6258" fmla="*/ 2885666 w 9586368"/>
                <a:gd name="connsiteY6258" fmla="*/ 1918739 h 6479439"/>
                <a:gd name="connsiteX6259" fmla="*/ 2885666 w 9586368"/>
                <a:gd name="connsiteY6259" fmla="*/ 1928610 h 6479439"/>
                <a:gd name="connsiteX6260" fmla="*/ 2881646 w 9586368"/>
                <a:gd name="connsiteY6260" fmla="*/ 1932649 h 6479439"/>
                <a:gd name="connsiteX6261" fmla="*/ 2871737 w 9586368"/>
                <a:gd name="connsiteY6261" fmla="*/ 1932649 h 6479439"/>
                <a:gd name="connsiteX6262" fmla="*/ 2867717 w 9586368"/>
                <a:gd name="connsiteY6262" fmla="*/ 1928610 h 6479439"/>
                <a:gd name="connsiteX6263" fmla="*/ 2867717 w 9586368"/>
                <a:gd name="connsiteY6263" fmla="*/ 1918739 h 6479439"/>
                <a:gd name="connsiteX6264" fmla="*/ 2632423 w 9586368"/>
                <a:gd name="connsiteY6264" fmla="*/ 1914699 h 6479439"/>
                <a:gd name="connsiteX6265" fmla="*/ 2642334 w 9586368"/>
                <a:gd name="connsiteY6265" fmla="*/ 1914699 h 6479439"/>
                <a:gd name="connsiteX6266" fmla="*/ 2646352 w 9586368"/>
                <a:gd name="connsiteY6266" fmla="*/ 1918739 h 6479439"/>
                <a:gd name="connsiteX6267" fmla="*/ 2646352 w 9586368"/>
                <a:gd name="connsiteY6267" fmla="*/ 1928610 h 6479439"/>
                <a:gd name="connsiteX6268" fmla="*/ 2642334 w 9586368"/>
                <a:gd name="connsiteY6268" fmla="*/ 1932649 h 6479439"/>
                <a:gd name="connsiteX6269" fmla="*/ 2632423 w 9586368"/>
                <a:gd name="connsiteY6269" fmla="*/ 1932649 h 6479439"/>
                <a:gd name="connsiteX6270" fmla="*/ 2628404 w 9586368"/>
                <a:gd name="connsiteY6270" fmla="*/ 1928610 h 6479439"/>
                <a:gd name="connsiteX6271" fmla="*/ 2628404 w 9586368"/>
                <a:gd name="connsiteY6271" fmla="*/ 1918739 h 6479439"/>
                <a:gd name="connsiteX6272" fmla="*/ 3589676 w 9586368"/>
                <a:gd name="connsiteY6272" fmla="*/ 1914682 h 6479439"/>
                <a:gd name="connsiteX6273" fmla="*/ 3599585 w 9586368"/>
                <a:gd name="connsiteY6273" fmla="*/ 1914682 h 6479439"/>
                <a:gd name="connsiteX6274" fmla="*/ 3603604 w 9586368"/>
                <a:gd name="connsiteY6274" fmla="*/ 1918721 h 6479439"/>
                <a:gd name="connsiteX6275" fmla="*/ 3603604 w 9586368"/>
                <a:gd name="connsiteY6275" fmla="*/ 1928592 h 6479439"/>
                <a:gd name="connsiteX6276" fmla="*/ 3599585 w 9586368"/>
                <a:gd name="connsiteY6276" fmla="*/ 1932631 h 6479439"/>
                <a:gd name="connsiteX6277" fmla="*/ 3589676 w 9586368"/>
                <a:gd name="connsiteY6277" fmla="*/ 1932631 h 6479439"/>
                <a:gd name="connsiteX6278" fmla="*/ 3585657 w 9586368"/>
                <a:gd name="connsiteY6278" fmla="*/ 1928592 h 6479439"/>
                <a:gd name="connsiteX6279" fmla="*/ 3585657 w 9586368"/>
                <a:gd name="connsiteY6279" fmla="*/ 1918721 h 6479439"/>
                <a:gd name="connsiteX6280" fmla="*/ 4546929 w 9586368"/>
                <a:gd name="connsiteY6280" fmla="*/ 1914681 h 6479439"/>
                <a:gd name="connsiteX6281" fmla="*/ 4556840 w 9586368"/>
                <a:gd name="connsiteY6281" fmla="*/ 1914681 h 6479439"/>
                <a:gd name="connsiteX6282" fmla="*/ 4560859 w 9586368"/>
                <a:gd name="connsiteY6282" fmla="*/ 1918719 h 6479439"/>
                <a:gd name="connsiteX6283" fmla="*/ 4560859 w 9586368"/>
                <a:gd name="connsiteY6283" fmla="*/ 1928592 h 6479439"/>
                <a:gd name="connsiteX6284" fmla="*/ 4556840 w 9586368"/>
                <a:gd name="connsiteY6284" fmla="*/ 1932631 h 6479439"/>
                <a:gd name="connsiteX6285" fmla="*/ 4546929 w 9586368"/>
                <a:gd name="connsiteY6285" fmla="*/ 1932631 h 6479439"/>
                <a:gd name="connsiteX6286" fmla="*/ 4542910 w 9586368"/>
                <a:gd name="connsiteY6286" fmla="*/ 1928592 h 6479439"/>
                <a:gd name="connsiteX6287" fmla="*/ 4542910 w 9586368"/>
                <a:gd name="connsiteY6287" fmla="*/ 1918719 h 6479439"/>
                <a:gd name="connsiteX6288" fmla="*/ 4307612 w 9586368"/>
                <a:gd name="connsiteY6288" fmla="*/ 1914681 h 6479439"/>
                <a:gd name="connsiteX6289" fmla="*/ 4317523 w 9586368"/>
                <a:gd name="connsiteY6289" fmla="*/ 1914681 h 6479439"/>
                <a:gd name="connsiteX6290" fmla="*/ 4321543 w 9586368"/>
                <a:gd name="connsiteY6290" fmla="*/ 1918720 h 6479439"/>
                <a:gd name="connsiteX6291" fmla="*/ 4321543 w 9586368"/>
                <a:gd name="connsiteY6291" fmla="*/ 1928592 h 6479439"/>
                <a:gd name="connsiteX6292" fmla="*/ 4317523 w 9586368"/>
                <a:gd name="connsiteY6292" fmla="*/ 1932631 h 6479439"/>
                <a:gd name="connsiteX6293" fmla="*/ 4307612 w 9586368"/>
                <a:gd name="connsiteY6293" fmla="*/ 1932631 h 6479439"/>
                <a:gd name="connsiteX6294" fmla="*/ 4303595 w 9586368"/>
                <a:gd name="connsiteY6294" fmla="*/ 1928592 h 6479439"/>
                <a:gd name="connsiteX6295" fmla="*/ 4303595 w 9586368"/>
                <a:gd name="connsiteY6295" fmla="*/ 1918720 h 6479439"/>
                <a:gd name="connsiteX6296" fmla="*/ 4068297 w 9586368"/>
                <a:gd name="connsiteY6296" fmla="*/ 1914681 h 6479439"/>
                <a:gd name="connsiteX6297" fmla="*/ 4078210 w 9586368"/>
                <a:gd name="connsiteY6297" fmla="*/ 1914681 h 6479439"/>
                <a:gd name="connsiteX6298" fmla="*/ 4082229 w 9586368"/>
                <a:gd name="connsiteY6298" fmla="*/ 1918720 h 6479439"/>
                <a:gd name="connsiteX6299" fmla="*/ 4082229 w 9586368"/>
                <a:gd name="connsiteY6299" fmla="*/ 1928592 h 6479439"/>
                <a:gd name="connsiteX6300" fmla="*/ 4078210 w 9586368"/>
                <a:gd name="connsiteY6300" fmla="*/ 1932631 h 6479439"/>
                <a:gd name="connsiteX6301" fmla="*/ 4068297 w 9586368"/>
                <a:gd name="connsiteY6301" fmla="*/ 1932631 h 6479439"/>
                <a:gd name="connsiteX6302" fmla="*/ 4064278 w 9586368"/>
                <a:gd name="connsiteY6302" fmla="*/ 1928592 h 6479439"/>
                <a:gd name="connsiteX6303" fmla="*/ 4064278 w 9586368"/>
                <a:gd name="connsiteY6303" fmla="*/ 1918720 h 6479439"/>
                <a:gd name="connsiteX6304" fmla="*/ 3828990 w 9586368"/>
                <a:gd name="connsiteY6304" fmla="*/ 1914681 h 6479439"/>
                <a:gd name="connsiteX6305" fmla="*/ 3838899 w 9586368"/>
                <a:gd name="connsiteY6305" fmla="*/ 1914681 h 6479439"/>
                <a:gd name="connsiteX6306" fmla="*/ 3842917 w 9586368"/>
                <a:gd name="connsiteY6306" fmla="*/ 1918720 h 6479439"/>
                <a:gd name="connsiteX6307" fmla="*/ 3842917 w 9586368"/>
                <a:gd name="connsiteY6307" fmla="*/ 1928592 h 6479439"/>
                <a:gd name="connsiteX6308" fmla="*/ 3838899 w 9586368"/>
                <a:gd name="connsiteY6308" fmla="*/ 1932631 h 6479439"/>
                <a:gd name="connsiteX6309" fmla="*/ 3828990 w 9586368"/>
                <a:gd name="connsiteY6309" fmla="*/ 1932631 h 6479439"/>
                <a:gd name="connsiteX6310" fmla="*/ 3824971 w 9586368"/>
                <a:gd name="connsiteY6310" fmla="*/ 1928592 h 6479439"/>
                <a:gd name="connsiteX6311" fmla="*/ 3824971 w 9586368"/>
                <a:gd name="connsiteY6311" fmla="*/ 1918720 h 6479439"/>
                <a:gd name="connsiteX6312" fmla="*/ 4786241 w 9586368"/>
                <a:gd name="connsiteY6312" fmla="*/ 1914664 h 6479439"/>
                <a:gd name="connsiteX6313" fmla="*/ 4796152 w 9586368"/>
                <a:gd name="connsiteY6313" fmla="*/ 1914664 h 6479439"/>
                <a:gd name="connsiteX6314" fmla="*/ 4800171 w 9586368"/>
                <a:gd name="connsiteY6314" fmla="*/ 1918702 h 6479439"/>
                <a:gd name="connsiteX6315" fmla="*/ 4800171 w 9586368"/>
                <a:gd name="connsiteY6315" fmla="*/ 1928573 h 6479439"/>
                <a:gd name="connsiteX6316" fmla="*/ 4796152 w 9586368"/>
                <a:gd name="connsiteY6316" fmla="*/ 1932612 h 6479439"/>
                <a:gd name="connsiteX6317" fmla="*/ 4786241 w 9586368"/>
                <a:gd name="connsiteY6317" fmla="*/ 1932612 h 6479439"/>
                <a:gd name="connsiteX6318" fmla="*/ 4782224 w 9586368"/>
                <a:gd name="connsiteY6318" fmla="*/ 1928573 h 6479439"/>
                <a:gd name="connsiteX6319" fmla="*/ 4782224 w 9586368"/>
                <a:gd name="connsiteY6319" fmla="*/ 1918702 h 6479439"/>
                <a:gd name="connsiteX6320" fmla="*/ 5504099 w 9586368"/>
                <a:gd name="connsiteY6320" fmla="*/ 1914663 h 6479439"/>
                <a:gd name="connsiteX6321" fmla="*/ 5514010 w 9586368"/>
                <a:gd name="connsiteY6321" fmla="*/ 1914663 h 6479439"/>
                <a:gd name="connsiteX6322" fmla="*/ 5518029 w 9586368"/>
                <a:gd name="connsiteY6322" fmla="*/ 1918702 h 6479439"/>
                <a:gd name="connsiteX6323" fmla="*/ 5518029 w 9586368"/>
                <a:gd name="connsiteY6323" fmla="*/ 1928572 h 6479439"/>
                <a:gd name="connsiteX6324" fmla="*/ 5514010 w 9586368"/>
                <a:gd name="connsiteY6324" fmla="*/ 1932612 h 6479439"/>
                <a:gd name="connsiteX6325" fmla="*/ 5504099 w 9586368"/>
                <a:gd name="connsiteY6325" fmla="*/ 1932612 h 6479439"/>
                <a:gd name="connsiteX6326" fmla="*/ 5500080 w 9586368"/>
                <a:gd name="connsiteY6326" fmla="*/ 1928572 h 6479439"/>
                <a:gd name="connsiteX6327" fmla="*/ 5500080 w 9586368"/>
                <a:gd name="connsiteY6327" fmla="*/ 1918702 h 6479439"/>
                <a:gd name="connsiteX6328" fmla="*/ 5264784 w 9586368"/>
                <a:gd name="connsiteY6328" fmla="*/ 1914663 h 6479439"/>
                <a:gd name="connsiteX6329" fmla="*/ 5274694 w 9586368"/>
                <a:gd name="connsiteY6329" fmla="*/ 1914663 h 6479439"/>
                <a:gd name="connsiteX6330" fmla="*/ 5278713 w 9586368"/>
                <a:gd name="connsiteY6330" fmla="*/ 1918702 h 6479439"/>
                <a:gd name="connsiteX6331" fmla="*/ 5278713 w 9586368"/>
                <a:gd name="connsiteY6331" fmla="*/ 1928573 h 6479439"/>
                <a:gd name="connsiteX6332" fmla="*/ 5274694 w 9586368"/>
                <a:gd name="connsiteY6332" fmla="*/ 1932612 h 6479439"/>
                <a:gd name="connsiteX6333" fmla="*/ 5264784 w 9586368"/>
                <a:gd name="connsiteY6333" fmla="*/ 1932612 h 6479439"/>
                <a:gd name="connsiteX6334" fmla="*/ 5260765 w 9586368"/>
                <a:gd name="connsiteY6334" fmla="*/ 1928573 h 6479439"/>
                <a:gd name="connsiteX6335" fmla="*/ 5260765 w 9586368"/>
                <a:gd name="connsiteY6335" fmla="*/ 1918702 h 6479439"/>
                <a:gd name="connsiteX6336" fmla="*/ 5025470 w 9586368"/>
                <a:gd name="connsiteY6336" fmla="*/ 1914663 h 6479439"/>
                <a:gd name="connsiteX6337" fmla="*/ 5035381 w 9586368"/>
                <a:gd name="connsiteY6337" fmla="*/ 1914663 h 6479439"/>
                <a:gd name="connsiteX6338" fmla="*/ 5039400 w 9586368"/>
                <a:gd name="connsiteY6338" fmla="*/ 1918702 h 6479439"/>
                <a:gd name="connsiteX6339" fmla="*/ 5039400 w 9586368"/>
                <a:gd name="connsiteY6339" fmla="*/ 1928573 h 6479439"/>
                <a:gd name="connsiteX6340" fmla="*/ 5035381 w 9586368"/>
                <a:gd name="connsiteY6340" fmla="*/ 1932612 h 6479439"/>
                <a:gd name="connsiteX6341" fmla="*/ 5025470 w 9586368"/>
                <a:gd name="connsiteY6341" fmla="*/ 1932612 h 6479439"/>
                <a:gd name="connsiteX6342" fmla="*/ 5021451 w 9586368"/>
                <a:gd name="connsiteY6342" fmla="*/ 1928573 h 6479439"/>
                <a:gd name="connsiteX6343" fmla="*/ 5021451 w 9586368"/>
                <a:gd name="connsiteY6343" fmla="*/ 1918702 h 6479439"/>
                <a:gd name="connsiteX6344" fmla="*/ 5743412 w 9586368"/>
                <a:gd name="connsiteY6344" fmla="*/ 1914662 h 6479439"/>
                <a:gd name="connsiteX6345" fmla="*/ 5753323 w 9586368"/>
                <a:gd name="connsiteY6345" fmla="*/ 1914662 h 6479439"/>
                <a:gd name="connsiteX6346" fmla="*/ 5757342 w 9586368"/>
                <a:gd name="connsiteY6346" fmla="*/ 1918701 h 6479439"/>
                <a:gd name="connsiteX6347" fmla="*/ 5757342 w 9586368"/>
                <a:gd name="connsiteY6347" fmla="*/ 1928572 h 6479439"/>
                <a:gd name="connsiteX6348" fmla="*/ 5753323 w 9586368"/>
                <a:gd name="connsiteY6348" fmla="*/ 1932612 h 6479439"/>
                <a:gd name="connsiteX6349" fmla="*/ 5743412 w 9586368"/>
                <a:gd name="connsiteY6349" fmla="*/ 1932612 h 6479439"/>
                <a:gd name="connsiteX6350" fmla="*/ 5739393 w 9586368"/>
                <a:gd name="connsiteY6350" fmla="*/ 1928572 h 6479439"/>
                <a:gd name="connsiteX6351" fmla="*/ 5739393 w 9586368"/>
                <a:gd name="connsiteY6351" fmla="*/ 1918701 h 6479439"/>
                <a:gd name="connsiteX6352" fmla="*/ 5982729 w 9586368"/>
                <a:gd name="connsiteY6352" fmla="*/ 1914645 h 6479439"/>
                <a:gd name="connsiteX6353" fmla="*/ 5992639 w 9586368"/>
                <a:gd name="connsiteY6353" fmla="*/ 1914645 h 6479439"/>
                <a:gd name="connsiteX6354" fmla="*/ 5996658 w 9586368"/>
                <a:gd name="connsiteY6354" fmla="*/ 1918684 h 6479439"/>
                <a:gd name="connsiteX6355" fmla="*/ 5996658 w 9586368"/>
                <a:gd name="connsiteY6355" fmla="*/ 1928555 h 6479439"/>
                <a:gd name="connsiteX6356" fmla="*/ 5992639 w 9586368"/>
                <a:gd name="connsiteY6356" fmla="*/ 1932594 h 6479439"/>
                <a:gd name="connsiteX6357" fmla="*/ 5982729 w 9586368"/>
                <a:gd name="connsiteY6357" fmla="*/ 1932594 h 6479439"/>
                <a:gd name="connsiteX6358" fmla="*/ 5978710 w 9586368"/>
                <a:gd name="connsiteY6358" fmla="*/ 1928555 h 6479439"/>
                <a:gd name="connsiteX6359" fmla="*/ 5978710 w 9586368"/>
                <a:gd name="connsiteY6359" fmla="*/ 1918684 h 6479439"/>
                <a:gd name="connsiteX6360" fmla="*/ 6939983 w 9586368"/>
                <a:gd name="connsiteY6360" fmla="*/ 1914645 h 6479439"/>
                <a:gd name="connsiteX6361" fmla="*/ 6949894 w 9586368"/>
                <a:gd name="connsiteY6361" fmla="*/ 1914645 h 6479439"/>
                <a:gd name="connsiteX6362" fmla="*/ 6953913 w 9586368"/>
                <a:gd name="connsiteY6362" fmla="*/ 1918682 h 6479439"/>
                <a:gd name="connsiteX6363" fmla="*/ 6953913 w 9586368"/>
                <a:gd name="connsiteY6363" fmla="*/ 1928554 h 6479439"/>
                <a:gd name="connsiteX6364" fmla="*/ 6949894 w 9586368"/>
                <a:gd name="connsiteY6364" fmla="*/ 1932594 h 6479439"/>
                <a:gd name="connsiteX6365" fmla="*/ 6939983 w 9586368"/>
                <a:gd name="connsiteY6365" fmla="*/ 1932594 h 6479439"/>
                <a:gd name="connsiteX6366" fmla="*/ 6935964 w 9586368"/>
                <a:gd name="connsiteY6366" fmla="*/ 1928554 h 6479439"/>
                <a:gd name="connsiteX6367" fmla="*/ 6935964 w 9586368"/>
                <a:gd name="connsiteY6367" fmla="*/ 1918682 h 6479439"/>
                <a:gd name="connsiteX6368" fmla="*/ 6700670 w 9586368"/>
                <a:gd name="connsiteY6368" fmla="*/ 1914645 h 6479439"/>
                <a:gd name="connsiteX6369" fmla="*/ 6710581 w 9586368"/>
                <a:gd name="connsiteY6369" fmla="*/ 1914645 h 6479439"/>
                <a:gd name="connsiteX6370" fmla="*/ 6714600 w 9586368"/>
                <a:gd name="connsiteY6370" fmla="*/ 1918683 h 6479439"/>
                <a:gd name="connsiteX6371" fmla="*/ 6714600 w 9586368"/>
                <a:gd name="connsiteY6371" fmla="*/ 1928554 h 6479439"/>
                <a:gd name="connsiteX6372" fmla="*/ 6710581 w 9586368"/>
                <a:gd name="connsiteY6372" fmla="*/ 1932594 h 6479439"/>
                <a:gd name="connsiteX6373" fmla="*/ 6700670 w 9586368"/>
                <a:gd name="connsiteY6373" fmla="*/ 1932594 h 6479439"/>
                <a:gd name="connsiteX6374" fmla="*/ 6696651 w 9586368"/>
                <a:gd name="connsiteY6374" fmla="*/ 1928554 h 6479439"/>
                <a:gd name="connsiteX6375" fmla="*/ 6696651 w 9586368"/>
                <a:gd name="connsiteY6375" fmla="*/ 1918683 h 6479439"/>
                <a:gd name="connsiteX6376" fmla="*/ 6461356 w 9586368"/>
                <a:gd name="connsiteY6376" fmla="*/ 1914645 h 6479439"/>
                <a:gd name="connsiteX6377" fmla="*/ 6471266 w 9586368"/>
                <a:gd name="connsiteY6377" fmla="*/ 1914645 h 6479439"/>
                <a:gd name="connsiteX6378" fmla="*/ 6475285 w 9586368"/>
                <a:gd name="connsiteY6378" fmla="*/ 1918683 h 6479439"/>
                <a:gd name="connsiteX6379" fmla="*/ 6475285 w 9586368"/>
                <a:gd name="connsiteY6379" fmla="*/ 1928555 h 6479439"/>
                <a:gd name="connsiteX6380" fmla="*/ 6471266 w 9586368"/>
                <a:gd name="connsiteY6380" fmla="*/ 1932594 h 6479439"/>
                <a:gd name="connsiteX6381" fmla="*/ 6461356 w 9586368"/>
                <a:gd name="connsiteY6381" fmla="*/ 1932594 h 6479439"/>
                <a:gd name="connsiteX6382" fmla="*/ 6457337 w 9586368"/>
                <a:gd name="connsiteY6382" fmla="*/ 1928555 h 6479439"/>
                <a:gd name="connsiteX6383" fmla="*/ 6457337 w 9586368"/>
                <a:gd name="connsiteY6383" fmla="*/ 1918683 h 6479439"/>
                <a:gd name="connsiteX6384" fmla="*/ 6222042 w 9586368"/>
                <a:gd name="connsiteY6384" fmla="*/ 1914645 h 6479439"/>
                <a:gd name="connsiteX6385" fmla="*/ 6231952 w 9586368"/>
                <a:gd name="connsiteY6385" fmla="*/ 1914645 h 6479439"/>
                <a:gd name="connsiteX6386" fmla="*/ 6235971 w 9586368"/>
                <a:gd name="connsiteY6386" fmla="*/ 1918683 h 6479439"/>
                <a:gd name="connsiteX6387" fmla="*/ 6235971 w 9586368"/>
                <a:gd name="connsiteY6387" fmla="*/ 1928555 h 6479439"/>
                <a:gd name="connsiteX6388" fmla="*/ 6231952 w 9586368"/>
                <a:gd name="connsiteY6388" fmla="*/ 1932594 h 6479439"/>
                <a:gd name="connsiteX6389" fmla="*/ 6222042 w 9586368"/>
                <a:gd name="connsiteY6389" fmla="*/ 1932594 h 6479439"/>
                <a:gd name="connsiteX6390" fmla="*/ 6218023 w 9586368"/>
                <a:gd name="connsiteY6390" fmla="*/ 1928555 h 6479439"/>
                <a:gd name="connsiteX6391" fmla="*/ 6218023 w 9586368"/>
                <a:gd name="connsiteY6391" fmla="*/ 1918683 h 6479439"/>
                <a:gd name="connsiteX6392" fmla="*/ 7179298 w 9586368"/>
                <a:gd name="connsiteY6392" fmla="*/ 1914627 h 6479439"/>
                <a:gd name="connsiteX6393" fmla="*/ 7189209 w 9586368"/>
                <a:gd name="connsiteY6393" fmla="*/ 1914627 h 6479439"/>
                <a:gd name="connsiteX6394" fmla="*/ 7193228 w 9586368"/>
                <a:gd name="connsiteY6394" fmla="*/ 1918666 h 6479439"/>
                <a:gd name="connsiteX6395" fmla="*/ 7193228 w 9586368"/>
                <a:gd name="connsiteY6395" fmla="*/ 1928536 h 6479439"/>
                <a:gd name="connsiteX6396" fmla="*/ 7189209 w 9586368"/>
                <a:gd name="connsiteY6396" fmla="*/ 1932575 h 6479439"/>
                <a:gd name="connsiteX6397" fmla="*/ 7179298 w 9586368"/>
                <a:gd name="connsiteY6397" fmla="*/ 1932575 h 6479439"/>
                <a:gd name="connsiteX6398" fmla="*/ 7175279 w 9586368"/>
                <a:gd name="connsiteY6398" fmla="*/ 1928536 h 6479439"/>
                <a:gd name="connsiteX6399" fmla="*/ 7175279 w 9586368"/>
                <a:gd name="connsiteY6399" fmla="*/ 1918666 h 6479439"/>
                <a:gd name="connsiteX6400" fmla="*/ 7897241 w 9586368"/>
                <a:gd name="connsiteY6400" fmla="*/ 1914627 h 6479439"/>
                <a:gd name="connsiteX6401" fmla="*/ 7907151 w 9586368"/>
                <a:gd name="connsiteY6401" fmla="*/ 1914627 h 6479439"/>
                <a:gd name="connsiteX6402" fmla="*/ 7911170 w 9586368"/>
                <a:gd name="connsiteY6402" fmla="*/ 1918664 h 6479439"/>
                <a:gd name="connsiteX6403" fmla="*/ 7911170 w 9586368"/>
                <a:gd name="connsiteY6403" fmla="*/ 1928535 h 6479439"/>
                <a:gd name="connsiteX6404" fmla="*/ 7907151 w 9586368"/>
                <a:gd name="connsiteY6404" fmla="*/ 1932575 h 6479439"/>
                <a:gd name="connsiteX6405" fmla="*/ 7897241 w 9586368"/>
                <a:gd name="connsiteY6405" fmla="*/ 1932575 h 6479439"/>
                <a:gd name="connsiteX6406" fmla="*/ 7893222 w 9586368"/>
                <a:gd name="connsiteY6406" fmla="*/ 1928535 h 6479439"/>
                <a:gd name="connsiteX6407" fmla="*/ 7893222 w 9586368"/>
                <a:gd name="connsiteY6407" fmla="*/ 1918664 h 6479439"/>
                <a:gd name="connsiteX6408" fmla="*/ 7657926 w 9586368"/>
                <a:gd name="connsiteY6408" fmla="*/ 1914627 h 6479439"/>
                <a:gd name="connsiteX6409" fmla="*/ 7667836 w 9586368"/>
                <a:gd name="connsiteY6409" fmla="*/ 1914627 h 6479439"/>
                <a:gd name="connsiteX6410" fmla="*/ 7671855 w 9586368"/>
                <a:gd name="connsiteY6410" fmla="*/ 1918664 h 6479439"/>
                <a:gd name="connsiteX6411" fmla="*/ 7671855 w 9586368"/>
                <a:gd name="connsiteY6411" fmla="*/ 1928536 h 6479439"/>
                <a:gd name="connsiteX6412" fmla="*/ 7667836 w 9586368"/>
                <a:gd name="connsiteY6412" fmla="*/ 1932575 h 6479439"/>
                <a:gd name="connsiteX6413" fmla="*/ 7657926 w 9586368"/>
                <a:gd name="connsiteY6413" fmla="*/ 1932575 h 6479439"/>
                <a:gd name="connsiteX6414" fmla="*/ 7653906 w 9586368"/>
                <a:gd name="connsiteY6414" fmla="*/ 1928536 h 6479439"/>
                <a:gd name="connsiteX6415" fmla="*/ 7653906 w 9586368"/>
                <a:gd name="connsiteY6415" fmla="*/ 1918664 h 6479439"/>
                <a:gd name="connsiteX6416" fmla="*/ 7418611 w 9586368"/>
                <a:gd name="connsiteY6416" fmla="*/ 1914627 h 6479439"/>
                <a:gd name="connsiteX6417" fmla="*/ 7428521 w 9586368"/>
                <a:gd name="connsiteY6417" fmla="*/ 1914627 h 6479439"/>
                <a:gd name="connsiteX6418" fmla="*/ 7432540 w 9586368"/>
                <a:gd name="connsiteY6418" fmla="*/ 1918664 h 6479439"/>
                <a:gd name="connsiteX6419" fmla="*/ 7432540 w 9586368"/>
                <a:gd name="connsiteY6419" fmla="*/ 1928536 h 6479439"/>
                <a:gd name="connsiteX6420" fmla="*/ 7428521 w 9586368"/>
                <a:gd name="connsiteY6420" fmla="*/ 1932575 h 6479439"/>
                <a:gd name="connsiteX6421" fmla="*/ 7418611 w 9586368"/>
                <a:gd name="connsiteY6421" fmla="*/ 1932575 h 6479439"/>
                <a:gd name="connsiteX6422" fmla="*/ 7414592 w 9586368"/>
                <a:gd name="connsiteY6422" fmla="*/ 1928536 h 6479439"/>
                <a:gd name="connsiteX6423" fmla="*/ 7414592 w 9586368"/>
                <a:gd name="connsiteY6423" fmla="*/ 1918664 h 6479439"/>
                <a:gd name="connsiteX6424" fmla="*/ 8136553 w 9586368"/>
                <a:gd name="connsiteY6424" fmla="*/ 1914626 h 6479439"/>
                <a:gd name="connsiteX6425" fmla="*/ 8146464 w 9586368"/>
                <a:gd name="connsiteY6425" fmla="*/ 1914626 h 6479439"/>
                <a:gd name="connsiteX6426" fmla="*/ 8150483 w 9586368"/>
                <a:gd name="connsiteY6426" fmla="*/ 1918664 h 6479439"/>
                <a:gd name="connsiteX6427" fmla="*/ 8150483 w 9586368"/>
                <a:gd name="connsiteY6427" fmla="*/ 1928535 h 6479439"/>
                <a:gd name="connsiteX6428" fmla="*/ 8146464 w 9586368"/>
                <a:gd name="connsiteY6428" fmla="*/ 1932575 h 6479439"/>
                <a:gd name="connsiteX6429" fmla="*/ 8136553 w 9586368"/>
                <a:gd name="connsiteY6429" fmla="*/ 1932575 h 6479439"/>
                <a:gd name="connsiteX6430" fmla="*/ 8132534 w 9586368"/>
                <a:gd name="connsiteY6430" fmla="*/ 1928535 h 6479439"/>
                <a:gd name="connsiteX6431" fmla="*/ 8132534 w 9586368"/>
                <a:gd name="connsiteY6431" fmla="*/ 1918664 h 6479439"/>
                <a:gd name="connsiteX6432" fmla="*/ 8375869 w 9586368"/>
                <a:gd name="connsiteY6432" fmla="*/ 1914608 h 6479439"/>
                <a:gd name="connsiteX6433" fmla="*/ 8385779 w 9586368"/>
                <a:gd name="connsiteY6433" fmla="*/ 1914608 h 6479439"/>
                <a:gd name="connsiteX6434" fmla="*/ 8389799 w 9586368"/>
                <a:gd name="connsiteY6434" fmla="*/ 1918647 h 6479439"/>
                <a:gd name="connsiteX6435" fmla="*/ 8389799 w 9586368"/>
                <a:gd name="connsiteY6435" fmla="*/ 1928518 h 6479439"/>
                <a:gd name="connsiteX6436" fmla="*/ 8385779 w 9586368"/>
                <a:gd name="connsiteY6436" fmla="*/ 1932557 h 6479439"/>
                <a:gd name="connsiteX6437" fmla="*/ 8375869 w 9586368"/>
                <a:gd name="connsiteY6437" fmla="*/ 1932557 h 6479439"/>
                <a:gd name="connsiteX6438" fmla="*/ 8371850 w 9586368"/>
                <a:gd name="connsiteY6438" fmla="*/ 1928518 h 6479439"/>
                <a:gd name="connsiteX6439" fmla="*/ 8371850 w 9586368"/>
                <a:gd name="connsiteY6439" fmla="*/ 1918647 h 6479439"/>
                <a:gd name="connsiteX6440" fmla="*/ 9333125 w 9586368"/>
                <a:gd name="connsiteY6440" fmla="*/ 1914608 h 6479439"/>
                <a:gd name="connsiteX6441" fmla="*/ 9343036 w 9586368"/>
                <a:gd name="connsiteY6441" fmla="*/ 1914608 h 6479439"/>
                <a:gd name="connsiteX6442" fmla="*/ 9347055 w 9586368"/>
                <a:gd name="connsiteY6442" fmla="*/ 1918646 h 6479439"/>
                <a:gd name="connsiteX6443" fmla="*/ 9347055 w 9586368"/>
                <a:gd name="connsiteY6443" fmla="*/ 1928517 h 6479439"/>
                <a:gd name="connsiteX6444" fmla="*/ 9343036 w 9586368"/>
                <a:gd name="connsiteY6444" fmla="*/ 1932557 h 6479439"/>
                <a:gd name="connsiteX6445" fmla="*/ 9333125 w 9586368"/>
                <a:gd name="connsiteY6445" fmla="*/ 1932557 h 6479439"/>
                <a:gd name="connsiteX6446" fmla="*/ 9329106 w 9586368"/>
                <a:gd name="connsiteY6446" fmla="*/ 1928517 h 6479439"/>
                <a:gd name="connsiteX6447" fmla="*/ 9329106 w 9586368"/>
                <a:gd name="connsiteY6447" fmla="*/ 1918646 h 6479439"/>
                <a:gd name="connsiteX6448" fmla="*/ 9093811 w 9586368"/>
                <a:gd name="connsiteY6448" fmla="*/ 1914608 h 6479439"/>
                <a:gd name="connsiteX6449" fmla="*/ 9103722 w 9586368"/>
                <a:gd name="connsiteY6449" fmla="*/ 1914608 h 6479439"/>
                <a:gd name="connsiteX6450" fmla="*/ 9107741 w 9586368"/>
                <a:gd name="connsiteY6450" fmla="*/ 1918646 h 6479439"/>
                <a:gd name="connsiteX6451" fmla="*/ 9107741 w 9586368"/>
                <a:gd name="connsiteY6451" fmla="*/ 1928517 h 6479439"/>
                <a:gd name="connsiteX6452" fmla="*/ 9103722 w 9586368"/>
                <a:gd name="connsiteY6452" fmla="*/ 1932557 h 6479439"/>
                <a:gd name="connsiteX6453" fmla="*/ 9093811 w 9586368"/>
                <a:gd name="connsiteY6453" fmla="*/ 1932557 h 6479439"/>
                <a:gd name="connsiteX6454" fmla="*/ 9089792 w 9586368"/>
                <a:gd name="connsiteY6454" fmla="*/ 1928517 h 6479439"/>
                <a:gd name="connsiteX6455" fmla="*/ 9089792 w 9586368"/>
                <a:gd name="connsiteY6455" fmla="*/ 1918646 h 6479439"/>
                <a:gd name="connsiteX6456" fmla="*/ 8854496 w 9586368"/>
                <a:gd name="connsiteY6456" fmla="*/ 1914608 h 6479439"/>
                <a:gd name="connsiteX6457" fmla="*/ 8864407 w 9586368"/>
                <a:gd name="connsiteY6457" fmla="*/ 1914608 h 6479439"/>
                <a:gd name="connsiteX6458" fmla="*/ 8868426 w 9586368"/>
                <a:gd name="connsiteY6458" fmla="*/ 1918646 h 6479439"/>
                <a:gd name="connsiteX6459" fmla="*/ 8868426 w 9586368"/>
                <a:gd name="connsiteY6459" fmla="*/ 1928518 h 6479439"/>
                <a:gd name="connsiteX6460" fmla="*/ 8864407 w 9586368"/>
                <a:gd name="connsiteY6460" fmla="*/ 1932557 h 6479439"/>
                <a:gd name="connsiteX6461" fmla="*/ 8854496 w 9586368"/>
                <a:gd name="connsiteY6461" fmla="*/ 1932557 h 6479439"/>
                <a:gd name="connsiteX6462" fmla="*/ 8850477 w 9586368"/>
                <a:gd name="connsiteY6462" fmla="*/ 1928518 h 6479439"/>
                <a:gd name="connsiteX6463" fmla="*/ 8850477 w 9586368"/>
                <a:gd name="connsiteY6463" fmla="*/ 1918646 h 6479439"/>
                <a:gd name="connsiteX6464" fmla="*/ 8615184 w 9586368"/>
                <a:gd name="connsiteY6464" fmla="*/ 1914608 h 6479439"/>
                <a:gd name="connsiteX6465" fmla="*/ 8625095 w 9586368"/>
                <a:gd name="connsiteY6465" fmla="*/ 1914608 h 6479439"/>
                <a:gd name="connsiteX6466" fmla="*/ 8629114 w 9586368"/>
                <a:gd name="connsiteY6466" fmla="*/ 1918646 h 6479439"/>
                <a:gd name="connsiteX6467" fmla="*/ 8629114 w 9586368"/>
                <a:gd name="connsiteY6467" fmla="*/ 1928518 h 6479439"/>
                <a:gd name="connsiteX6468" fmla="*/ 8625095 w 9586368"/>
                <a:gd name="connsiteY6468" fmla="*/ 1932557 h 6479439"/>
                <a:gd name="connsiteX6469" fmla="*/ 8615184 w 9586368"/>
                <a:gd name="connsiteY6469" fmla="*/ 1932557 h 6479439"/>
                <a:gd name="connsiteX6470" fmla="*/ 8611165 w 9586368"/>
                <a:gd name="connsiteY6470" fmla="*/ 1928518 h 6479439"/>
                <a:gd name="connsiteX6471" fmla="*/ 8611165 w 9586368"/>
                <a:gd name="connsiteY6471" fmla="*/ 1918646 h 6479439"/>
                <a:gd name="connsiteX6472" fmla="*/ 9572438 w 9586368"/>
                <a:gd name="connsiteY6472" fmla="*/ 1914590 h 6479439"/>
                <a:gd name="connsiteX6473" fmla="*/ 9582349 w 9586368"/>
                <a:gd name="connsiteY6473" fmla="*/ 1914590 h 6479439"/>
                <a:gd name="connsiteX6474" fmla="*/ 9586368 w 9586368"/>
                <a:gd name="connsiteY6474" fmla="*/ 1918629 h 6479439"/>
                <a:gd name="connsiteX6475" fmla="*/ 9586368 w 9586368"/>
                <a:gd name="connsiteY6475" fmla="*/ 1928499 h 6479439"/>
                <a:gd name="connsiteX6476" fmla="*/ 9582349 w 9586368"/>
                <a:gd name="connsiteY6476" fmla="*/ 1932538 h 6479439"/>
                <a:gd name="connsiteX6477" fmla="*/ 9572438 w 9586368"/>
                <a:gd name="connsiteY6477" fmla="*/ 1932538 h 6479439"/>
                <a:gd name="connsiteX6478" fmla="*/ 9568419 w 9586368"/>
                <a:gd name="connsiteY6478" fmla="*/ 1928499 h 6479439"/>
                <a:gd name="connsiteX6479" fmla="*/ 9568419 w 9586368"/>
                <a:gd name="connsiteY6479" fmla="*/ 1918629 h 6479439"/>
                <a:gd name="connsiteX6480" fmla="*/ 243346 w 9586368"/>
                <a:gd name="connsiteY6480" fmla="*/ 1914550 h 6479439"/>
                <a:gd name="connsiteX6481" fmla="*/ 253256 w 9586368"/>
                <a:gd name="connsiteY6481" fmla="*/ 1914550 h 6479439"/>
                <a:gd name="connsiteX6482" fmla="*/ 257275 w 9586368"/>
                <a:gd name="connsiteY6482" fmla="*/ 1918589 h 6479439"/>
                <a:gd name="connsiteX6483" fmla="*/ 257275 w 9586368"/>
                <a:gd name="connsiteY6483" fmla="*/ 1928459 h 6479439"/>
                <a:gd name="connsiteX6484" fmla="*/ 253256 w 9586368"/>
                <a:gd name="connsiteY6484" fmla="*/ 1932498 h 6479439"/>
                <a:gd name="connsiteX6485" fmla="*/ 243346 w 9586368"/>
                <a:gd name="connsiteY6485" fmla="*/ 1932498 h 6479439"/>
                <a:gd name="connsiteX6486" fmla="*/ 239327 w 9586368"/>
                <a:gd name="connsiteY6486" fmla="*/ 1928459 h 6479439"/>
                <a:gd name="connsiteX6487" fmla="*/ 239327 w 9586368"/>
                <a:gd name="connsiteY6487" fmla="*/ 1918589 h 6479439"/>
                <a:gd name="connsiteX6488" fmla="*/ 4032 w 9586368"/>
                <a:gd name="connsiteY6488" fmla="*/ 1914550 h 6479439"/>
                <a:gd name="connsiteX6489" fmla="*/ 13943 w 9586368"/>
                <a:gd name="connsiteY6489" fmla="*/ 1914550 h 6479439"/>
                <a:gd name="connsiteX6490" fmla="*/ 17962 w 9586368"/>
                <a:gd name="connsiteY6490" fmla="*/ 1918589 h 6479439"/>
                <a:gd name="connsiteX6491" fmla="*/ 17962 w 9586368"/>
                <a:gd name="connsiteY6491" fmla="*/ 1928459 h 6479439"/>
                <a:gd name="connsiteX6492" fmla="*/ 13943 w 9586368"/>
                <a:gd name="connsiteY6492" fmla="*/ 1932498 h 6479439"/>
                <a:gd name="connsiteX6493" fmla="*/ 4032 w 9586368"/>
                <a:gd name="connsiteY6493" fmla="*/ 1932498 h 6479439"/>
                <a:gd name="connsiteX6494" fmla="*/ 13 w 9586368"/>
                <a:gd name="connsiteY6494" fmla="*/ 1928459 h 6479439"/>
                <a:gd name="connsiteX6495" fmla="*/ 13 w 9586368"/>
                <a:gd name="connsiteY6495" fmla="*/ 1918589 h 6479439"/>
                <a:gd name="connsiteX6496" fmla="*/ 721971 w 9586368"/>
                <a:gd name="connsiteY6496" fmla="*/ 1914550 h 6479439"/>
                <a:gd name="connsiteX6497" fmla="*/ 731882 w 9586368"/>
                <a:gd name="connsiteY6497" fmla="*/ 1914550 h 6479439"/>
                <a:gd name="connsiteX6498" fmla="*/ 735901 w 9586368"/>
                <a:gd name="connsiteY6498" fmla="*/ 1918588 h 6479439"/>
                <a:gd name="connsiteX6499" fmla="*/ 735901 w 9586368"/>
                <a:gd name="connsiteY6499" fmla="*/ 1928459 h 6479439"/>
                <a:gd name="connsiteX6500" fmla="*/ 731882 w 9586368"/>
                <a:gd name="connsiteY6500" fmla="*/ 1932497 h 6479439"/>
                <a:gd name="connsiteX6501" fmla="*/ 721971 w 9586368"/>
                <a:gd name="connsiteY6501" fmla="*/ 1932497 h 6479439"/>
                <a:gd name="connsiteX6502" fmla="*/ 717953 w 9586368"/>
                <a:gd name="connsiteY6502" fmla="*/ 1928459 h 6479439"/>
                <a:gd name="connsiteX6503" fmla="*/ 717953 w 9586368"/>
                <a:gd name="connsiteY6503" fmla="*/ 1918588 h 6479439"/>
                <a:gd name="connsiteX6504" fmla="*/ 482660 w 9586368"/>
                <a:gd name="connsiteY6504" fmla="*/ 1914550 h 6479439"/>
                <a:gd name="connsiteX6505" fmla="*/ 492570 w 9586368"/>
                <a:gd name="connsiteY6505" fmla="*/ 1914550 h 6479439"/>
                <a:gd name="connsiteX6506" fmla="*/ 496589 w 9586368"/>
                <a:gd name="connsiteY6506" fmla="*/ 1918588 h 6479439"/>
                <a:gd name="connsiteX6507" fmla="*/ 496589 w 9586368"/>
                <a:gd name="connsiteY6507" fmla="*/ 1928459 h 6479439"/>
                <a:gd name="connsiteX6508" fmla="*/ 492570 w 9586368"/>
                <a:gd name="connsiteY6508" fmla="*/ 1932497 h 6479439"/>
                <a:gd name="connsiteX6509" fmla="*/ 482660 w 9586368"/>
                <a:gd name="connsiteY6509" fmla="*/ 1932497 h 6479439"/>
                <a:gd name="connsiteX6510" fmla="*/ 478640 w 9586368"/>
                <a:gd name="connsiteY6510" fmla="*/ 1928459 h 6479439"/>
                <a:gd name="connsiteX6511" fmla="*/ 478640 w 9586368"/>
                <a:gd name="connsiteY6511" fmla="*/ 1918588 h 6479439"/>
                <a:gd name="connsiteX6512" fmla="*/ 1679215 w 9586368"/>
                <a:gd name="connsiteY6512" fmla="*/ 1914535 h 6479439"/>
                <a:gd name="connsiteX6513" fmla="*/ 1689125 w 9586368"/>
                <a:gd name="connsiteY6513" fmla="*/ 1914535 h 6479439"/>
                <a:gd name="connsiteX6514" fmla="*/ 1693144 w 9586368"/>
                <a:gd name="connsiteY6514" fmla="*/ 1918573 h 6479439"/>
                <a:gd name="connsiteX6515" fmla="*/ 1693144 w 9586368"/>
                <a:gd name="connsiteY6515" fmla="*/ 1928444 h 6479439"/>
                <a:gd name="connsiteX6516" fmla="*/ 1689125 w 9586368"/>
                <a:gd name="connsiteY6516" fmla="*/ 1932482 h 6479439"/>
                <a:gd name="connsiteX6517" fmla="*/ 1679215 w 9586368"/>
                <a:gd name="connsiteY6517" fmla="*/ 1932482 h 6479439"/>
                <a:gd name="connsiteX6518" fmla="*/ 1675195 w 9586368"/>
                <a:gd name="connsiteY6518" fmla="*/ 1928444 h 6479439"/>
                <a:gd name="connsiteX6519" fmla="*/ 1675195 w 9586368"/>
                <a:gd name="connsiteY6519" fmla="*/ 1918573 h 6479439"/>
                <a:gd name="connsiteX6520" fmla="*/ 1439897 w 9586368"/>
                <a:gd name="connsiteY6520" fmla="*/ 1914535 h 6479439"/>
                <a:gd name="connsiteX6521" fmla="*/ 1449808 w 9586368"/>
                <a:gd name="connsiteY6521" fmla="*/ 1914535 h 6479439"/>
                <a:gd name="connsiteX6522" fmla="*/ 1453827 w 9586368"/>
                <a:gd name="connsiteY6522" fmla="*/ 1918573 h 6479439"/>
                <a:gd name="connsiteX6523" fmla="*/ 1453827 w 9586368"/>
                <a:gd name="connsiteY6523" fmla="*/ 1928444 h 6479439"/>
                <a:gd name="connsiteX6524" fmla="*/ 1449808 w 9586368"/>
                <a:gd name="connsiteY6524" fmla="*/ 1932483 h 6479439"/>
                <a:gd name="connsiteX6525" fmla="*/ 1439897 w 9586368"/>
                <a:gd name="connsiteY6525" fmla="*/ 1932483 h 6479439"/>
                <a:gd name="connsiteX6526" fmla="*/ 1435879 w 9586368"/>
                <a:gd name="connsiteY6526" fmla="*/ 1928444 h 6479439"/>
                <a:gd name="connsiteX6527" fmla="*/ 1435879 w 9586368"/>
                <a:gd name="connsiteY6527" fmla="*/ 1918573 h 6479439"/>
                <a:gd name="connsiteX6528" fmla="*/ 1200582 w 9586368"/>
                <a:gd name="connsiteY6528" fmla="*/ 1914535 h 6479439"/>
                <a:gd name="connsiteX6529" fmla="*/ 1210492 w 9586368"/>
                <a:gd name="connsiteY6529" fmla="*/ 1914535 h 6479439"/>
                <a:gd name="connsiteX6530" fmla="*/ 1214511 w 9586368"/>
                <a:gd name="connsiteY6530" fmla="*/ 1918573 h 6479439"/>
                <a:gd name="connsiteX6531" fmla="*/ 1214511 w 9586368"/>
                <a:gd name="connsiteY6531" fmla="*/ 1928444 h 6479439"/>
                <a:gd name="connsiteX6532" fmla="*/ 1210492 w 9586368"/>
                <a:gd name="connsiteY6532" fmla="*/ 1932483 h 6479439"/>
                <a:gd name="connsiteX6533" fmla="*/ 1200582 w 9586368"/>
                <a:gd name="connsiteY6533" fmla="*/ 1932483 h 6479439"/>
                <a:gd name="connsiteX6534" fmla="*/ 1196563 w 9586368"/>
                <a:gd name="connsiteY6534" fmla="*/ 1928444 h 6479439"/>
                <a:gd name="connsiteX6535" fmla="*/ 1196563 w 9586368"/>
                <a:gd name="connsiteY6535" fmla="*/ 1918573 h 6479439"/>
                <a:gd name="connsiteX6536" fmla="*/ 961269 w 9586368"/>
                <a:gd name="connsiteY6536" fmla="*/ 1914535 h 6479439"/>
                <a:gd name="connsiteX6537" fmla="*/ 971179 w 9586368"/>
                <a:gd name="connsiteY6537" fmla="*/ 1914535 h 6479439"/>
                <a:gd name="connsiteX6538" fmla="*/ 975198 w 9586368"/>
                <a:gd name="connsiteY6538" fmla="*/ 1918573 h 6479439"/>
                <a:gd name="connsiteX6539" fmla="*/ 975198 w 9586368"/>
                <a:gd name="connsiteY6539" fmla="*/ 1928444 h 6479439"/>
                <a:gd name="connsiteX6540" fmla="*/ 971179 w 9586368"/>
                <a:gd name="connsiteY6540" fmla="*/ 1932483 h 6479439"/>
                <a:gd name="connsiteX6541" fmla="*/ 961269 w 9586368"/>
                <a:gd name="connsiteY6541" fmla="*/ 1932483 h 6479439"/>
                <a:gd name="connsiteX6542" fmla="*/ 957250 w 9586368"/>
                <a:gd name="connsiteY6542" fmla="*/ 1928444 h 6479439"/>
                <a:gd name="connsiteX6543" fmla="*/ 957250 w 9586368"/>
                <a:gd name="connsiteY6543" fmla="*/ 1918573 h 6479439"/>
                <a:gd name="connsiteX6544" fmla="*/ 1918513 w 9586368"/>
                <a:gd name="connsiteY6544" fmla="*/ 1914523 h 6479439"/>
                <a:gd name="connsiteX6545" fmla="*/ 1928424 w 9586368"/>
                <a:gd name="connsiteY6545" fmla="*/ 1914523 h 6479439"/>
                <a:gd name="connsiteX6546" fmla="*/ 1932443 w 9586368"/>
                <a:gd name="connsiteY6546" fmla="*/ 1918562 h 6479439"/>
                <a:gd name="connsiteX6547" fmla="*/ 1932443 w 9586368"/>
                <a:gd name="connsiteY6547" fmla="*/ 1928432 h 6479439"/>
                <a:gd name="connsiteX6548" fmla="*/ 1928424 w 9586368"/>
                <a:gd name="connsiteY6548" fmla="*/ 1932471 h 6479439"/>
                <a:gd name="connsiteX6549" fmla="*/ 1918513 w 9586368"/>
                <a:gd name="connsiteY6549" fmla="*/ 1932471 h 6479439"/>
                <a:gd name="connsiteX6550" fmla="*/ 1914494 w 9586368"/>
                <a:gd name="connsiteY6550" fmla="*/ 1928432 h 6479439"/>
                <a:gd name="connsiteX6551" fmla="*/ 1914494 w 9586368"/>
                <a:gd name="connsiteY6551" fmla="*/ 1918562 h 6479439"/>
                <a:gd name="connsiteX6552" fmla="*/ 2157821 w 9586368"/>
                <a:gd name="connsiteY6552" fmla="*/ 1914520 h 6479439"/>
                <a:gd name="connsiteX6553" fmla="*/ 2167732 w 9586368"/>
                <a:gd name="connsiteY6553" fmla="*/ 1914520 h 6479439"/>
                <a:gd name="connsiteX6554" fmla="*/ 2171751 w 9586368"/>
                <a:gd name="connsiteY6554" fmla="*/ 1918558 h 6479439"/>
                <a:gd name="connsiteX6555" fmla="*/ 2171751 w 9586368"/>
                <a:gd name="connsiteY6555" fmla="*/ 1928428 h 6479439"/>
                <a:gd name="connsiteX6556" fmla="*/ 2167732 w 9586368"/>
                <a:gd name="connsiteY6556" fmla="*/ 1932467 h 6479439"/>
                <a:gd name="connsiteX6557" fmla="*/ 2157821 w 9586368"/>
                <a:gd name="connsiteY6557" fmla="*/ 1932467 h 6479439"/>
                <a:gd name="connsiteX6558" fmla="*/ 2153803 w 9586368"/>
                <a:gd name="connsiteY6558" fmla="*/ 1928428 h 6479439"/>
                <a:gd name="connsiteX6559" fmla="*/ 2153803 w 9586368"/>
                <a:gd name="connsiteY6559" fmla="*/ 1918558 h 6479439"/>
                <a:gd name="connsiteX6560" fmla="*/ 2871737 w 9586368"/>
                <a:gd name="connsiteY6560" fmla="*/ 1675350 h 6479439"/>
                <a:gd name="connsiteX6561" fmla="*/ 2881646 w 9586368"/>
                <a:gd name="connsiteY6561" fmla="*/ 1675350 h 6479439"/>
                <a:gd name="connsiteX6562" fmla="*/ 2885666 w 9586368"/>
                <a:gd name="connsiteY6562" fmla="*/ 1679389 h 6479439"/>
                <a:gd name="connsiteX6563" fmla="*/ 2885666 w 9586368"/>
                <a:gd name="connsiteY6563" fmla="*/ 1689260 h 6479439"/>
                <a:gd name="connsiteX6564" fmla="*/ 2881646 w 9586368"/>
                <a:gd name="connsiteY6564" fmla="*/ 1693299 h 6479439"/>
                <a:gd name="connsiteX6565" fmla="*/ 2871737 w 9586368"/>
                <a:gd name="connsiteY6565" fmla="*/ 1693299 h 6479439"/>
                <a:gd name="connsiteX6566" fmla="*/ 2867717 w 9586368"/>
                <a:gd name="connsiteY6566" fmla="*/ 1689260 h 6479439"/>
                <a:gd name="connsiteX6567" fmla="*/ 2867717 w 9586368"/>
                <a:gd name="connsiteY6567" fmla="*/ 1679389 h 6479439"/>
                <a:gd name="connsiteX6568" fmla="*/ 2632423 w 9586368"/>
                <a:gd name="connsiteY6568" fmla="*/ 1675350 h 6479439"/>
                <a:gd name="connsiteX6569" fmla="*/ 2642334 w 9586368"/>
                <a:gd name="connsiteY6569" fmla="*/ 1675350 h 6479439"/>
                <a:gd name="connsiteX6570" fmla="*/ 2646352 w 9586368"/>
                <a:gd name="connsiteY6570" fmla="*/ 1679389 h 6479439"/>
                <a:gd name="connsiteX6571" fmla="*/ 2646352 w 9586368"/>
                <a:gd name="connsiteY6571" fmla="*/ 1689260 h 6479439"/>
                <a:gd name="connsiteX6572" fmla="*/ 2642334 w 9586368"/>
                <a:gd name="connsiteY6572" fmla="*/ 1693299 h 6479439"/>
                <a:gd name="connsiteX6573" fmla="*/ 2632423 w 9586368"/>
                <a:gd name="connsiteY6573" fmla="*/ 1693299 h 6479439"/>
                <a:gd name="connsiteX6574" fmla="*/ 2628404 w 9586368"/>
                <a:gd name="connsiteY6574" fmla="*/ 1689260 h 6479439"/>
                <a:gd name="connsiteX6575" fmla="*/ 2628404 w 9586368"/>
                <a:gd name="connsiteY6575" fmla="*/ 1679389 h 6479439"/>
                <a:gd name="connsiteX6576" fmla="*/ 2393104 w 9586368"/>
                <a:gd name="connsiteY6576" fmla="*/ 1675350 h 6479439"/>
                <a:gd name="connsiteX6577" fmla="*/ 2403015 w 9586368"/>
                <a:gd name="connsiteY6577" fmla="*/ 1675350 h 6479439"/>
                <a:gd name="connsiteX6578" fmla="*/ 2407034 w 9586368"/>
                <a:gd name="connsiteY6578" fmla="*/ 1679389 h 6479439"/>
                <a:gd name="connsiteX6579" fmla="*/ 2407034 w 9586368"/>
                <a:gd name="connsiteY6579" fmla="*/ 1689260 h 6479439"/>
                <a:gd name="connsiteX6580" fmla="*/ 2403015 w 9586368"/>
                <a:gd name="connsiteY6580" fmla="*/ 1693299 h 6479439"/>
                <a:gd name="connsiteX6581" fmla="*/ 2393104 w 9586368"/>
                <a:gd name="connsiteY6581" fmla="*/ 1693299 h 6479439"/>
                <a:gd name="connsiteX6582" fmla="*/ 2389087 w 9586368"/>
                <a:gd name="connsiteY6582" fmla="*/ 1689260 h 6479439"/>
                <a:gd name="connsiteX6583" fmla="*/ 2389087 w 9586368"/>
                <a:gd name="connsiteY6583" fmla="*/ 1679389 h 6479439"/>
                <a:gd name="connsiteX6584" fmla="*/ 3350359 w 9586368"/>
                <a:gd name="connsiteY6584" fmla="*/ 1675349 h 6479439"/>
                <a:gd name="connsiteX6585" fmla="*/ 3360268 w 9586368"/>
                <a:gd name="connsiteY6585" fmla="*/ 1675349 h 6479439"/>
                <a:gd name="connsiteX6586" fmla="*/ 3364287 w 9586368"/>
                <a:gd name="connsiteY6586" fmla="*/ 1679388 h 6479439"/>
                <a:gd name="connsiteX6587" fmla="*/ 3364287 w 9586368"/>
                <a:gd name="connsiteY6587" fmla="*/ 1689260 h 6479439"/>
                <a:gd name="connsiteX6588" fmla="*/ 3360268 w 9586368"/>
                <a:gd name="connsiteY6588" fmla="*/ 1693298 h 6479439"/>
                <a:gd name="connsiteX6589" fmla="*/ 3350359 w 9586368"/>
                <a:gd name="connsiteY6589" fmla="*/ 1693298 h 6479439"/>
                <a:gd name="connsiteX6590" fmla="*/ 3346340 w 9586368"/>
                <a:gd name="connsiteY6590" fmla="*/ 1689260 h 6479439"/>
                <a:gd name="connsiteX6591" fmla="*/ 3346340 w 9586368"/>
                <a:gd name="connsiteY6591" fmla="*/ 1679388 h 6479439"/>
                <a:gd name="connsiteX6592" fmla="*/ 3111048 w 9586368"/>
                <a:gd name="connsiteY6592" fmla="*/ 1675349 h 6479439"/>
                <a:gd name="connsiteX6593" fmla="*/ 3120959 w 9586368"/>
                <a:gd name="connsiteY6593" fmla="*/ 1675349 h 6479439"/>
                <a:gd name="connsiteX6594" fmla="*/ 3124977 w 9586368"/>
                <a:gd name="connsiteY6594" fmla="*/ 1679388 h 6479439"/>
                <a:gd name="connsiteX6595" fmla="*/ 3124977 w 9586368"/>
                <a:gd name="connsiteY6595" fmla="*/ 1689260 h 6479439"/>
                <a:gd name="connsiteX6596" fmla="*/ 3120959 w 9586368"/>
                <a:gd name="connsiteY6596" fmla="*/ 1693299 h 6479439"/>
                <a:gd name="connsiteX6597" fmla="*/ 3111048 w 9586368"/>
                <a:gd name="connsiteY6597" fmla="*/ 1693299 h 6479439"/>
                <a:gd name="connsiteX6598" fmla="*/ 3107029 w 9586368"/>
                <a:gd name="connsiteY6598" fmla="*/ 1689260 h 6479439"/>
                <a:gd name="connsiteX6599" fmla="*/ 3107029 w 9586368"/>
                <a:gd name="connsiteY6599" fmla="*/ 1679388 h 6479439"/>
                <a:gd name="connsiteX6600" fmla="*/ 4068297 w 9586368"/>
                <a:gd name="connsiteY6600" fmla="*/ 1675334 h 6479439"/>
                <a:gd name="connsiteX6601" fmla="*/ 4078210 w 9586368"/>
                <a:gd name="connsiteY6601" fmla="*/ 1675334 h 6479439"/>
                <a:gd name="connsiteX6602" fmla="*/ 4082229 w 9586368"/>
                <a:gd name="connsiteY6602" fmla="*/ 1679373 h 6479439"/>
                <a:gd name="connsiteX6603" fmla="*/ 4082229 w 9586368"/>
                <a:gd name="connsiteY6603" fmla="*/ 1689243 h 6479439"/>
                <a:gd name="connsiteX6604" fmla="*/ 4078210 w 9586368"/>
                <a:gd name="connsiteY6604" fmla="*/ 1693282 h 6479439"/>
                <a:gd name="connsiteX6605" fmla="*/ 4068297 w 9586368"/>
                <a:gd name="connsiteY6605" fmla="*/ 1693282 h 6479439"/>
                <a:gd name="connsiteX6606" fmla="*/ 4064278 w 9586368"/>
                <a:gd name="connsiteY6606" fmla="*/ 1689243 h 6479439"/>
                <a:gd name="connsiteX6607" fmla="*/ 4064278 w 9586368"/>
                <a:gd name="connsiteY6607" fmla="*/ 1679373 h 6479439"/>
                <a:gd name="connsiteX6608" fmla="*/ 3828990 w 9586368"/>
                <a:gd name="connsiteY6608" fmla="*/ 1675334 h 6479439"/>
                <a:gd name="connsiteX6609" fmla="*/ 3838899 w 9586368"/>
                <a:gd name="connsiteY6609" fmla="*/ 1675334 h 6479439"/>
                <a:gd name="connsiteX6610" fmla="*/ 3842917 w 9586368"/>
                <a:gd name="connsiteY6610" fmla="*/ 1679373 h 6479439"/>
                <a:gd name="connsiteX6611" fmla="*/ 3842917 w 9586368"/>
                <a:gd name="connsiteY6611" fmla="*/ 1689243 h 6479439"/>
                <a:gd name="connsiteX6612" fmla="*/ 3838899 w 9586368"/>
                <a:gd name="connsiteY6612" fmla="*/ 1693282 h 6479439"/>
                <a:gd name="connsiteX6613" fmla="*/ 3828990 w 9586368"/>
                <a:gd name="connsiteY6613" fmla="*/ 1693282 h 6479439"/>
                <a:gd name="connsiteX6614" fmla="*/ 3824971 w 9586368"/>
                <a:gd name="connsiteY6614" fmla="*/ 1689243 h 6479439"/>
                <a:gd name="connsiteX6615" fmla="*/ 3824971 w 9586368"/>
                <a:gd name="connsiteY6615" fmla="*/ 1679373 h 6479439"/>
                <a:gd name="connsiteX6616" fmla="*/ 3589676 w 9586368"/>
                <a:gd name="connsiteY6616" fmla="*/ 1675334 h 6479439"/>
                <a:gd name="connsiteX6617" fmla="*/ 3599585 w 9586368"/>
                <a:gd name="connsiteY6617" fmla="*/ 1675334 h 6479439"/>
                <a:gd name="connsiteX6618" fmla="*/ 3603604 w 9586368"/>
                <a:gd name="connsiteY6618" fmla="*/ 1679373 h 6479439"/>
                <a:gd name="connsiteX6619" fmla="*/ 3603604 w 9586368"/>
                <a:gd name="connsiteY6619" fmla="*/ 1689243 h 6479439"/>
                <a:gd name="connsiteX6620" fmla="*/ 3599585 w 9586368"/>
                <a:gd name="connsiteY6620" fmla="*/ 1693282 h 6479439"/>
                <a:gd name="connsiteX6621" fmla="*/ 3589676 w 9586368"/>
                <a:gd name="connsiteY6621" fmla="*/ 1693282 h 6479439"/>
                <a:gd name="connsiteX6622" fmla="*/ 3585657 w 9586368"/>
                <a:gd name="connsiteY6622" fmla="*/ 1689243 h 6479439"/>
                <a:gd name="connsiteX6623" fmla="*/ 3585657 w 9586368"/>
                <a:gd name="connsiteY6623" fmla="*/ 1679373 h 6479439"/>
                <a:gd name="connsiteX6624" fmla="*/ 4546929 w 9586368"/>
                <a:gd name="connsiteY6624" fmla="*/ 1675333 h 6479439"/>
                <a:gd name="connsiteX6625" fmla="*/ 4556840 w 9586368"/>
                <a:gd name="connsiteY6625" fmla="*/ 1675333 h 6479439"/>
                <a:gd name="connsiteX6626" fmla="*/ 4560859 w 9586368"/>
                <a:gd name="connsiteY6626" fmla="*/ 1679372 h 6479439"/>
                <a:gd name="connsiteX6627" fmla="*/ 4560859 w 9586368"/>
                <a:gd name="connsiteY6627" fmla="*/ 1689243 h 6479439"/>
                <a:gd name="connsiteX6628" fmla="*/ 4556840 w 9586368"/>
                <a:gd name="connsiteY6628" fmla="*/ 1693281 h 6479439"/>
                <a:gd name="connsiteX6629" fmla="*/ 4546929 w 9586368"/>
                <a:gd name="connsiteY6629" fmla="*/ 1693281 h 6479439"/>
                <a:gd name="connsiteX6630" fmla="*/ 4542910 w 9586368"/>
                <a:gd name="connsiteY6630" fmla="*/ 1689243 h 6479439"/>
                <a:gd name="connsiteX6631" fmla="*/ 4542910 w 9586368"/>
                <a:gd name="connsiteY6631" fmla="*/ 1679372 h 6479439"/>
                <a:gd name="connsiteX6632" fmla="*/ 4307612 w 9586368"/>
                <a:gd name="connsiteY6632" fmla="*/ 1675333 h 6479439"/>
                <a:gd name="connsiteX6633" fmla="*/ 4317523 w 9586368"/>
                <a:gd name="connsiteY6633" fmla="*/ 1675333 h 6479439"/>
                <a:gd name="connsiteX6634" fmla="*/ 4321543 w 9586368"/>
                <a:gd name="connsiteY6634" fmla="*/ 1679372 h 6479439"/>
                <a:gd name="connsiteX6635" fmla="*/ 4321543 w 9586368"/>
                <a:gd name="connsiteY6635" fmla="*/ 1689243 h 6479439"/>
                <a:gd name="connsiteX6636" fmla="*/ 4317523 w 9586368"/>
                <a:gd name="connsiteY6636" fmla="*/ 1693282 h 6479439"/>
                <a:gd name="connsiteX6637" fmla="*/ 4307612 w 9586368"/>
                <a:gd name="connsiteY6637" fmla="*/ 1693282 h 6479439"/>
                <a:gd name="connsiteX6638" fmla="*/ 4303595 w 9586368"/>
                <a:gd name="connsiteY6638" fmla="*/ 1689243 h 6479439"/>
                <a:gd name="connsiteX6639" fmla="*/ 4303595 w 9586368"/>
                <a:gd name="connsiteY6639" fmla="*/ 1679372 h 6479439"/>
                <a:gd name="connsiteX6640" fmla="*/ 5264784 w 9586368"/>
                <a:gd name="connsiteY6640" fmla="*/ 1675318 h 6479439"/>
                <a:gd name="connsiteX6641" fmla="*/ 5274694 w 9586368"/>
                <a:gd name="connsiteY6641" fmla="*/ 1675318 h 6479439"/>
                <a:gd name="connsiteX6642" fmla="*/ 5278713 w 9586368"/>
                <a:gd name="connsiteY6642" fmla="*/ 1679357 h 6479439"/>
                <a:gd name="connsiteX6643" fmla="*/ 5278713 w 9586368"/>
                <a:gd name="connsiteY6643" fmla="*/ 1689227 h 6479439"/>
                <a:gd name="connsiteX6644" fmla="*/ 5274694 w 9586368"/>
                <a:gd name="connsiteY6644" fmla="*/ 1693266 h 6479439"/>
                <a:gd name="connsiteX6645" fmla="*/ 5264784 w 9586368"/>
                <a:gd name="connsiteY6645" fmla="*/ 1693266 h 6479439"/>
                <a:gd name="connsiteX6646" fmla="*/ 5260765 w 9586368"/>
                <a:gd name="connsiteY6646" fmla="*/ 1689227 h 6479439"/>
                <a:gd name="connsiteX6647" fmla="*/ 5260765 w 9586368"/>
                <a:gd name="connsiteY6647" fmla="*/ 1679357 h 6479439"/>
                <a:gd name="connsiteX6648" fmla="*/ 5025470 w 9586368"/>
                <a:gd name="connsiteY6648" fmla="*/ 1675318 h 6479439"/>
                <a:gd name="connsiteX6649" fmla="*/ 5035381 w 9586368"/>
                <a:gd name="connsiteY6649" fmla="*/ 1675318 h 6479439"/>
                <a:gd name="connsiteX6650" fmla="*/ 5039400 w 9586368"/>
                <a:gd name="connsiteY6650" fmla="*/ 1679357 h 6479439"/>
                <a:gd name="connsiteX6651" fmla="*/ 5039400 w 9586368"/>
                <a:gd name="connsiteY6651" fmla="*/ 1689227 h 6479439"/>
                <a:gd name="connsiteX6652" fmla="*/ 5035381 w 9586368"/>
                <a:gd name="connsiteY6652" fmla="*/ 1693266 h 6479439"/>
                <a:gd name="connsiteX6653" fmla="*/ 5025470 w 9586368"/>
                <a:gd name="connsiteY6653" fmla="*/ 1693266 h 6479439"/>
                <a:gd name="connsiteX6654" fmla="*/ 5021451 w 9586368"/>
                <a:gd name="connsiteY6654" fmla="*/ 1689227 h 6479439"/>
                <a:gd name="connsiteX6655" fmla="*/ 5021451 w 9586368"/>
                <a:gd name="connsiteY6655" fmla="*/ 1679357 h 6479439"/>
                <a:gd name="connsiteX6656" fmla="*/ 4786241 w 9586368"/>
                <a:gd name="connsiteY6656" fmla="*/ 1675318 h 6479439"/>
                <a:gd name="connsiteX6657" fmla="*/ 4796152 w 9586368"/>
                <a:gd name="connsiteY6657" fmla="*/ 1675318 h 6479439"/>
                <a:gd name="connsiteX6658" fmla="*/ 4800171 w 9586368"/>
                <a:gd name="connsiteY6658" fmla="*/ 1679357 h 6479439"/>
                <a:gd name="connsiteX6659" fmla="*/ 4800171 w 9586368"/>
                <a:gd name="connsiteY6659" fmla="*/ 1689227 h 6479439"/>
                <a:gd name="connsiteX6660" fmla="*/ 4796152 w 9586368"/>
                <a:gd name="connsiteY6660" fmla="*/ 1693266 h 6479439"/>
                <a:gd name="connsiteX6661" fmla="*/ 4786241 w 9586368"/>
                <a:gd name="connsiteY6661" fmla="*/ 1693266 h 6479439"/>
                <a:gd name="connsiteX6662" fmla="*/ 4782224 w 9586368"/>
                <a:gd name="connsiteY6662" fmla="*/ 1689227 h 6479439"/>
                <a:gd name="connsiteX6663" fmla="*/ 4782224 w 9586368"/>
                <a:gd name="connsiteY6663" fmla="*/ 1679357 h 6479439"/>
                <a:gd name="connsiteX6664" fmla="*/ 5743412 w 9586368"/>
                <a:gd name="connsiteY6664" fmla="*/ 1675316 h 6479439"/>
                <a:gd name="connsiteX6665" fmla="*/ 5753323 w 9586368"/>
                <a:gd name="connsiteY6665" fmla="*/ 1675316 h 6479439"/>
                <a:gd name="connsiteX6666" fmla="*/ 5757342 w 9586368"/>
                <a:gd name="connsiteY6666" fmla="*/ 1679356 h 6479439"/>
                <a:gd name="connsiteX6667" fmla="*/ 5757342 w 9586368"/>
                <a:gd name="connsiteY6667" fmla="*/ 1689227 h 6479439"/>
                <a:gd name="connsiteX6668" fmla="*/ 5753323 w 9586368"/>
                <a:gd name="connsiteY6668" fmla="*/ 1693266 h 6479439"/>
                <a:gd name="connsiteX6669" fmla="*/ 5743412 w 9586368"/>
                <a:gd name="connsiteY6669" fmla="*/ 1693266 h 6479439"/>
                <a:gd name="connsiteX6670" fmla="*/ 5739393 w 9586368"/>
                <a:gd name="connsiteY6670" fmla="*/ 1689227 h 6479439"/>
                <a:gd name="connsiteX6671" fmla="*/ 5739393 w 9586368"/>
                <a:gd name="connsiteY6671" fmla="*/ 1679356 h 6479439"/>
                <a:gd name="connsiteX6672" fmla="*/ 5504099 w 9586368"/>
                <a:gd name="connsiteY6672" fmla="*/ 1675316 h 6479439"/>
                <a:gd name="connsiteX6673" fmla="*/ 5514010 w 9586368"/>
                <a:gd name="connsiteY6673" fmla="*/ 1675316 h 6479439"/>
                <a:gd name="connsiteX6674" fmla="*/ 5518029 w 9586368"/>
                <a:gd name="connsiteY6674" fmla="*/ 1679356 h 6479439"/>
                <a:gd name="connsiteX6675" fmla="*/ 5518029 w 9586368"/>
                <a:gd name="connsiteY6675" fmla="*/ 1689227 h 6479439"/>
                <a:gd name="connsiteX6676" fmla="*/ 5514010 w 9586368"/>
                <a:gd name="connsiteY6676" fmla="*/ 1693266 h 6479439"/>
                <a:gd name="connsiteX6677" fmla="*/ 5504099 w 9586368"/>
                <a:gd name="connsiteY6677" fmla="*/ 1693266 h 6479439"/>
                <a:gd name="connsiteX6678" fmla="*/ 5500080 w 9586368"/>
                <a:gd name="connsiteY6678" fmla="*/ 1689227 h 6479439"/>
                <a:gd name="connsiteX6679" fmla="*/ 5500080 w 9586368"/>
                <a:gd name="connsiteY6679" fmla="*/ 1679356 h 6479439"/>
                <a:gd name="connsiteX6680" fmla="*/ 6461356 w 9586368"/>
                <a:gd name="connsiteY6680" fmla="*/ 1675301 h 6479439"/>
                <a:gd name="connsiteX6681" fmla="*/ 6471266 w 9586368"/>
                <a:gd name="connsiteY6681" fmla="*/ 1675301 h 6479439"/>
                <a:gd name="connsiteX6682" fmla="*/ 6475285 w 9586368"/>
                <a:gd name="connsiteY6682" fmla="*/ 1679339 h 6479439"/>
                <a:gd name="connsiteX6683" fmla="*/ 6475285 w 9586368"/>
                <a:gd name="connsiteY6683" fmla="*/ 1689210 h 6479439"/>
                <a:gd name="connsiteX6684" fmla="*/ 6471266 w 9586368"/>
                <a:gd name="connsiteY6684" fmla="*/ 1693249 h 6479439"/>
                <a:gd name="connsiteX6685" fmla="*/ 6461356 w 9586368"/>
                <a:gd name="connsiteY6685" fmla="*/ 1693249 h 6479439"/>
                <a:gd name="connsiteX6686" fmla="*/ 6457337 w 9586368"/>
                <a:gd name="connsiteY6686" fmla="*/ 1689210 h 6479439"/>
                <a:gd name="connsiteX6687" fmla="*/ 6457337 w 9586368"/>
                <a:gd name="connsiteY6687" fmla="*/ 1679339 h 6479439"/>
                <a:gd name="connsiteX6688" fmla="*/ 6222042 w 9586368"/>
                <a:gd name="connsiteY6688" fmla="*/ 1675301 h 6479439"/>
                <a:gd name="connsiteX6689" fmla="*/ 6231952 w 9586368"/>
                <a:gd name="connsiteY6689" fmla="*/ 1675301 h 6479439"/>
                <a:gd name="connsiteX6690" fmla="*/ 6235971 w 9586368"/>
                <a:gd name="connsiteY6690" fmla="*/ 1679339 h 6479439"/>
                <a:gd name="connsiteX6691" fmla="*/ 6235971 w 9586368"/>
                <a:gd name="connsiteY6691" fmla="*/ 1689211 h 6479439"/>
                <a:gd name="connsiteX6692" fmla="*/ 6231952 w 9586368"/>
                <a:gd name="connsiteY6692" fmla="*/ 1693249 h 6479439"/>
                <a:gd name="connsiteX6693" fmla="*/ 6222042 w 9586368"/>
                <a:gd name="connsiteY6693" fmla="*/ 1693249 h 6479439"/>
                <a:gd name="connsiteX6694" fmla="*/ 6218023 w 9586368"/>
                <a:gd name="connsiteY6694" fmla="*/ 1689211 h 6479439"/>
                <a:gd name="connsiteX6695" fmla="*/ 6218023 w 9586368"/>
                <a:gd name="connsiteY6695" fmla="*/ 1679339 h 6479439"/>
                <a:gd name="connsiteX6696" fmla="*/ 5982729 w 9586368"/>
                <a:gd name="connsiteY6696" fmla="*/ 1675301 h 6479439"/>
                <a:gd name="connsiteX6697" fmla="*/ 5992639 w 9586368"/>
                <a:gd name="connsiteY6697" fmla="*/ 1675301 h 6479439"/>
                <a:gd name="connsiteX6698" fmla="*/ 5996658 w 9586368"/>
                <a:gd name="connsiteY6698" fmla="*/ 1679339 h 6479439"/>
                <a:gd name="connsiteX6699" fmla="*/ 5996658 w 9586368"/>
                <a:gd name="connsiteY6699" fmla="*/ 1689211 h 6479439"/>
                <a:gd name="connsiteX6700" fmla="*/ 5992639 w 9586368"/>
                <a:gd name="connsiteY6700" fmla="*/ 1693251 h 6479439"/>
                <a:gd name="connsiteX6701" fmla="*/ 5982729 w 9586368"/>
                <a:gd name="connsiteY6701" fmla="*/ 1693251 h 6479439"/>
                <a:gd name="connsiteX6702" fmla="*/ 5978710 w 9586368"/>
                <a:gd name="connsiteY6702" fmla="*/ 1689211 h 6479439"/>
                <a:gd name="connsiteX6703" fmla="*/ 5978710 w 9586368"/>
                <a:gd name="connsiteY6703" fmla="*/ 1679339 h 6479439"/>
                <a:gd name="connsiteX6704" fmla="*/ 6939983 w 9586368"/>
                <a:gd name="connsiteY6704" fmla="*/ 1675300 h 6479439"/>
                <a:gd name="connsiteX6705" fmla="*/ 6949894 w 9586368"/>
                <a:gd name="connsiteY6705" fmla="*/ 1675300 h 6479439"/>
                <a:gd name="connsiteX6706" fmla="*/ 6953913 w 9586368"/>
                <a:gd name="connsiteY6706" fmla="*/ 1679339 h 6479439"/>
                <a:gd name="connsiteX6707" fmla="*/ 6953913 w 9586368"/>
                <a:gd name="connsiteY6707" fmla="*/ 1689210 h 6479439"/>
                <a:gd name="connsiteX6708" fmla="*/ 6949894 w 9586368"/>
                <a:gd name="connsiteY6708" fmla="*/ 1693249 h 6479439"/>
                <a:gd name="connsiteX6709" fmla="*/ 6939983 w 9586368"/>
                <a:gd name="connsiteY6709" fmla="*/ 1693249 h 6479439"/>
                <a:gd name="connsiteX6710" fmla="*/ 6935964 w 9586368"/>
                <a:gd name="connsiteY6710" fmla="*/ 1689210 h 6479439"/>
                <a:gd name="connsiteX6711" fmla="*/ 6935964 w 9586368"/>
                <a:gd name="connsiteY6711" fmla="*/ 1679339 h 6479439"/>
                <a:gd name="connsiteX6712" fmla="*/ 6700670 w 9586368"/>
                <a:gd name="connsiteY6712" fmla="*/ 1675300 h 6479439"/>
                <a:gd name="connsiteX6713" fmla="*/ 6710581 w 9586368"/>
                <a:gd name="connsiteY6713" fmla="*/ 1675300 h 6479439"/>
                <a:gd name="connsiteX6714" fmla="*/ 6714600 w 9586368"/>
                <a:gd name="connsiteY6714" fmla="*/ 1679339 h 6479439"/>
                <a:gd name="connsiteX6715" fmla="*/ 6714600 w 9586368"/>
                <a:gd name="connsiteY6715" fmla="*/ 1689210 h 6479439"/>
                <a:gd name="connsiteX6716" fmla="*/ 6710581 w 9586368"/>
                <a:gd name="connsiteY6716" fmla="*/ 1693249 h 6479439"/>
                <a:gd name="connsiteX6717" fmla="*/ 6700670 w 9586368"/>
                <a:gd name="connsiteY6717" fmla="*/ 1693249 h 6479439"/>
                <a:gd name="connsiteX6718" fmla="*/ 6696651 w 9586368"/>
                <a:gd name="connsiteY6718" fmla="*/ 1689210 h 6479439"/>
                <a:gd name="connsiteX6719" fmla="*/ 6696651 w 9586368"/>
                <a:gd name="connsiteY6719" fmla="*/ 1679339 h 6479439"/>
                <a:gd name="connsiteX6720" fmla="*/ 8136553 w 9586368"/>
                <a:gd name="connsiteY6720" fmla="*/ 1675285 h 6479439"/>
                <a:gd name="connsiteX6721" fmla="*/ 8146464 w 9586368"/>
                <a:gd name="connsiteY6721" fmla="*/ 1675285 h 6479439"/>
                <a:gd name="connsiteX6722" fmla="*/ 8150483 w 9586368"/>
                <a:gd name="connsiteY6722" fmla="*/ 1679323 h 6479439"/>
                <a:gd name="connsiteX6723" fmla="*/ 8150483 w 9586368"/>
                <a:gd name="connsiteY6723" fmla="*/ 1689193 h 6479439"/>
                <a:gd name="connsiteX6724" fmla="*/ 8146464 w 9586368"/>
                <a:gd name="connsiteY6724" fmla="*/ 1693232 h 6479439"/>
                <a:gd name="connsiteX6725" fmla="*/ 8136553 w 9586368"/>
                <a:gd name="connsiteY6725" fmla="*/ 1693232 h 6479439"/>
                <a:gd name="connsiteX6726" fmla="*/ 8132534 w 9586368"/>
                <a:gd name="connsiteY6726" fmla="*/ 1689193 h 6479439"/>
                <a:gd name="connsiteX6727" fmla="*/ 8132534 w 9586368"/>
                <a:gd name="connsiteY6727" fmla="*/ 1679323 h 6479439"/>
                <a:gd name="connsiteX6728" fmla="*/ 7897241 w 9586368"/>
                <a:gd name="connsiteY6728" fmla="*/ 1675285 h 6479439"/>
                <a:gd name="connsiteX6729" fmla="*/ 7907151 w 9586368"/>
                <a:gd name="connsiteY6729" fmla="*/ 1675285 h 6479439"/>
                <a:gd name="connsiteX6730" fmla="*/ 7911170 w 9586368"/>
                <a:gd name="connsiteY6730" fmla="*/ 1679323 h 6479439"/>
                <a:gd name="connsiteX6731" fmla="*/ 7911170 w 9586368"/>
                <a:gd name="connsiteY6731" fmla="*/ 1689193 h 6479439"/>
                <a:gd name="connsiteX6732" fmla="*/ 7907151 w 9586368"/>
                <a:gd name="connsiteY6732" fmla="*/ 1693232 h 6479439"/>
                <a:gd name="connsiteX6733" fmla="*/ 7897241 w 9586368"/>
                <a:gd name="connsiteY6733" fmla="*/ 1693232 h 6479439"/>
                <a:gd name="connsiteX6734" fmla="*/ 7893222 w 9586368"/>
                <a:gd name="connsiteY6734" fmla="*/ 1689193 h 6479439"/>
                <a:gd name="connsiteX6735" fmla="*/ 7893222 w 9586368"/>
                <a:gd name="connsiteY6735" fmla="*/ 1679323 h 6479439"/>
                <a:gd name="connsiteX6736" fmla="*/ 7657926 w 9586368"/>
                <a:gd name="connsiteY6736" fmla="*/ 1675285 h 6479439"/>
                <a:gd name="connsiteX6737" fmla="*/ 7667836 w 9586368"/>
                <a:gd name="connsiteY6737" fmla="*/ 1675285 h 6479439"/>
                <a:gd name="connsiteX6738" fmla="*/ 7671855 w 9586368"/>
                <a:gd name="connsiteY6738" fmla="*/ 1679323 h 6479439"/>
                <a:gd name="connsiteX6739" fmla="*/ 7671855 w 9586368"/>
                <a:gd name="connsiteY6739" fmla="*/ 1689193 h 6479439"/>
                <a:gd name="connsiteX6740" fmla="*/ 7667836 w 9586368"/>
                <a:gd name="connsiteY6740" fmla="*/ 1693232 h 6479439"/>
                <a:gd name="connsiteX6741" fmla="*/ 7657926 w 9586368"/>
                <a:gd name="connsiteY6741" fmla="*/ 1693232 h 6479439"/>
                <a:gd name="connsiteX6742" fmla="*/ 7653906 w 9586368"/>
                <a:gd name="connsiteY6742" fmla="*/ 1689193 h 6479439"/>
                <a:gd name="connsiteX6743" fmla="*/ 7653906 w 9586368"/>
                <a:gd name="connsiteY6743" fmla="*/ 1679323 h 6479439"/>
                <a:gd name="connsiteX6744" fmla="*/ 7418611 w 9586368"/>
                <a:gd name="connsiteY6744" fmla="*/ 1675285 h 6479439"/>
                <a:gd name="connsiteX6745" fmla="*/ 7428521 w 9586368"/>
                <a:gd name="connsiteY6745" fmla="*/ 1675285 h 6479439"/>
                <a:gd name="connsiteX6746" fmla="*/ 7432540 w 9586368"/>
                <a:gd name="connsiteY6746" fmla="*/ 1679323 h 6479439"/>
                <a:gd name="connsiteX6747" fmla="*/ 7432540 w 9586368"/>
                <a:gd name="connsiteY6747" fmla="*/ 1689195 h 6479439"/>
                <a:gd name="connsiteX6748" fmla="*/ 7428521 w 9586368"/>
                <a:gd name="connsiteY6748" fmla="*/ 1693232 h 6479439"/>
                <a:gd name="connsiteX6749" fmla="*/ 7418611 w 9586368"/>
                <a:gd name="connsiteY6749" fmla="*/ 1693232 h 6479439"/>
                <a:gd name="connsiteX6750" fmla="*/ 7414592 w 9586368"/>
                <a:gd name="connsiteY6750" fmla="*/ 1689195 h 6479439"/>
                <a:gd name="connsiteX6751" fmla="*/ 7414592 w 9586368"/>
                <a:gd name="connsiteY6751" fmla="*/ 1679323 h 6479439"/>
                <a:gd name="connsiteX6752" fmla="*/ 7179298 w 9586368"/>
                <a:gd name="connsiteY6752" fmla="*/ 1675285 h 6479439"/>
                <a:gd name="connsiteX6753" fmla="*/ 7189209 w 9586368"/>
                <a:gd name="connsiteY6753" fmla="*/ 1675285 h 6479439"/>
                <a:gd name="connsiteX6754" fmla="*/ 7193228 w 9586368"/>
                <a:gd name="connsiteY6754" fmla="*/ 1679323 h 6479439"/>
                <a:gd name="connsiteX6755" fmla="*/ 7193228 w 9586368"/>
                <a:gd name="connsiteY6755" fmla="*/ 1689195 h 6479439"/>
                <a:gd name="connsiteX6756" fmla="*/ 7189209 w 9586368"/>
                <a:gd name="connsiteY6756" fmla="*/ 1693234 h 6479439"/>
                <a:gd name="connsiteX6757" fmla="*/ 7179298 w 9586368"/>
                <a:gd name="connsiteY6757" fmla="*/ 1693234 h 6479439"/>
                <a:gd name="connsiteX6758" fmla="*/ 7175279 w 9586368"/>
                <a:gd name="connsiteY6758" fmla="*/ 1689195 h 6479439"/>
                <a:gd name="connsiteX6759" fmla="*/ 7175279 w 9586368"/>
                <a:gd name="connsiteY6759" fmla="*/ 1679323 h 6479439"/>
                <a:gd name="connsiteX6760" fmla="*/ 9333125 w 9586368"/>
                <a:gd name="connsiteY6760" fmla="*/ 1675268 h 6479439"/>
                <a:gd name="connsiteX6761" fmla="*/ 9343036 w 9586368"/>
                <a:gd name="connsiteY6761" fmla="*/ 1675268 h 6479439"/>
                <a:gd name="connsiteX6762" fmla="*/ 9347055 w 9586368"/>
                <a:gd name="connsiteY6762" fmla="*/ 1679306 h 6479439"/>
                <a:gd name="connsiteX6763" fmla="*/ 9347055 w 9586368"/>
                <a:gd name="connsiteY6763" fmla="*/ 1689177 h 6479439"/>
                <a:gd name="connsiteX6764" fmla="*/ 9343036 w 9586368"/>
                <a:gd name="connsiteY6764" fmla="*/ 1693216 h 6479439"/>
                <a:gd name="connsiteX6765" fmla="*/ 9333125 w 9586368"/>
                <a:gd name="connsiteY6765" fmla="*/ 1693216 h 6479439"/>
                <a:gd name="connsiteX6766" fmla="*/ 9329106 w 9586368"/>
                <a:gd name="connsiteY6766" fmla="*/ 1689177 h 6479439"/>
                <a:gd name="connsiteX6767" fmla="*/ 9329106 w 9586368"/>
                <a:gd name="connsiteY6767" fmla="*/ 1679306 h 6479439"/>
                <a:gd name="connsiteX6768" fmla="*/ 9093811 w 9586368"/>
                <a:gd name="connsiteY6768" fmla="*/ 1675268 h 6479439"/>
                <a:gd name="connsiteX6769" fmla="*/ 9103722 w 9586368"/>
                <a:gd name="connsiteY6769" fmla="*/ 1675268 h 6479439"/>
                <a:gd name="connsiteX6770" fmla="*/ 9107741 w 9586368"/>
                <a:gd name="connsiteY6770" fmla="*/ 1679306 h 6479439"/>
                <a:gd name="connsiteX6771" fmla="*/ 9107741 w 9586368"/>
                <a:gd name="connsiteY6771" fmla="*/ 1689177 h 6479439"/>
                <a:gd name="connsiteX6772" fmla="*/ 9103722 w 9586368"/>
                <a:gd name="connsiteY6772" fmla="*/ 1693217 h 6479439"/>
                <a:gd name="connsiteX6773" fmla="*/ 9093811 w 9586368"/>
                <a:gd name="connsiteY6773" fmla="*/ 1693217 h 6479439"/>
                <a:gd name="connsiteX6774" fmla="*/ 9089792 w 9586368"/>
                <a:gd name="connsiteY6774" fmla="*/ 1689177 h 6479439"/>
                <a:gd name="connsiteX6775" fmla="*/ 9089792 w 9586368"/>
                <a:gd name="connsiteY6775" fmla="*/ 1679306 h 6479439"/>
                <a:gd name="connsiteX6776" fmla="*/ 8854496 w 9586368"/>
                <a:gd name="connsiteY6776" fmla="*/ 1675268 h 6479439"/>
                <a:gd name="connsiteX6777" fmla="*/ 8864407 w 9586368"/>
                <a:gd name="connsiteY6777" fmla="*/ 1675268 h 6479439"/>
                <a:gd name="connsiteX6778" fmla="*/ 8868426 w 9586368"/>
                <a:gd name="connsiteY6778" fmla="*/ 1679307 h 6479439"/>
                <a:gd name="connsiteX6779" fmla="*/ 8868426 w 9586368"/>
                <a:gd name="connsiteY6779" fmla="*/ 1689177 h 6479439"/>
                <a:gd name="connsiteX6780" fmla="*/ 8864407 w 9586368"/>
                <a:gd name="connsiteY6780" fmla="*/ 1693217 h 6479439"/>
                <a:gd name="connsiteX6781" fmla="*/ 8854496 w 9586368"/>
                <a:gd name="connsiteY6781" fmla="*/ 1693217 h 6479439"/>
                <a:gd name="connsiteX6782" fmla="*/ 8850477 w 9586368"/>
                <a:gd name="connsiteY6782" fmla="*/ 1689177 h 6479439"/>
                <a:gd name="connsiteX6783" fmla="*/ 8850477 w 9586368"/>
                <a:gd name="connsiteY6783" fmla="*/ 1679307 h 6479439"/>
                <a:gd name="connsiteX6784" fmla="*/ 8615184 w 9586368"/>
                <a:gd name="connsiteY6784" fmla="*/ 1675268 h 6479439"/>
                <a:gd name="connsiteX6785" fmla="*/ 8625095 w 9586368"/>
                <a:gd name="connsiteY6785" fmla="*/ 1675268 h 6479439"/>
                <a:gd name="connsiteX6786" fmla="*/ 8629114 w 9586368"/>
                <a:gd name="connsiteY6786" fmla="*/ 1679307 h 6479439"/>
                <a:gd name="connsiteX6787" fmla="*/ 8629114 w 9586368"/>
                <a:gd name="connsiteY6787" fmla="*/ 1689178 h 6479439"/>
                <a:gd name="connsiteX6788" fmla="*/ 8625095 w 9586368"/>
                <a:gd name="connsiteY6788" fmla="*/ 1693217 h 6479439"/>
                <a:gd name="connsiteX6789" fmla="*/ 8615184 w 9586368"/>
                <a:gd name="connsiteY6789" fmla="*/ 1693217 h 6479439"/>
                <a:gd name="connsiteX6790" fmla="*/ 8611165 w 9586368"/>
                <a:gd name="connsiteY6790" fmla="*/ 1689178 h 6479439"/>
                <a:gd name="connsiteX6791" fmla="*/ 8611165 w 9586368"/>
                <a:gd name="connsiteY6791" fmla="*/ 1679307 h 6479439"/>
                <a:gd name="connsiteX6792" fmla="*/ 8375869 w 9586368"/>
                <a:gd name="connsiteY6792" fmla="*/ 1675268 h 6479439"/>
                <a:gd name="connsiteX6793" fmla="*/ 8385779 w 9586368"/>
                <a:gd name="connsiteY6793" fmla="*/ 1675268 h 6479439"/>
                <a:gd name="connsiteX6794" fmla="*/ 8389799 w 9586368"/>
                <a:gd name="connsiteY6794" fmla="*/ 1679307 h 6479439"/>
                <a:gd name="connsiteX6795" fmla="*/ 8389799 w 9586368"/>
                <a:gd name="connsiteY6795" fmla="*/ 1689178 h 6479439"/>
                <a:gd name="connsiteX6796" fmla="*/ 8385779 w 9586368"/>
                <a:gd name="connsiteY6796" fmla="*/ 1693217 h 6479439"/>
                <a:gd name="connsiteX6797" fmla="*/ 8375869 w 9586368"/>
                <a:gd name="connsiteY6797" fmla="*/ 1693217 h 6479439"/>
                <a:gd name="connsiteX6798" fmla="*/ 8371850 w 9586368"/>
                <a:gd name="connsiteY6798" fmla="*/ 1689178 h 6479439"/>
                <a:gd name="connsiteX6799" fmla="*/ 8371850 w 9586368"/>
                <a:gd name="connsiteY6799" fmla="*/ 1679307 h 6479439"/>
                <a:gd name="connsiteX6800" fmla="*/ 961270 w 9586368"/>
                <a:gd name="connsiteY6800" fmla="*/ 1675255 h 6479439"/>
                <a:gd name="connsiteX6801" fmla="*/ 971180 w 9586368"/>
                <a:gd name="connsiteY6801" fmla="*/ 1675255 h 6479439"/>
                <a:gd name="connsiteX6802" fmla="*/ 975199 w 9586368"/>
                <a:gd name="connsiteY6802" fmla="*/ 1679292 h 6479439"/>
                <a:gd name="connsiteX6803" fmla="*/ 975199 w 9586368"/>
                <a:gd name="connsiteY6803" fmla="*/ 1689163 h 6479439"/>
                <a:gd name="connsiteX6804" fmla="*/ 971180 w 9586368"/>
                <a:gd name="connsiteY6804" fmla="*/ 1693202 h 6479439"/>
                <a:gd name="connsiteX6805" fmla="*/ 961270 w 9586368"/>
                <a:gd name="connsiteY6805" fmla="*/ 1693202 h 6479439"/>
                <a:gd name="connsiteX6806" fmla="*/ 957251 w 9586368"/>
                <a:gd name="connsiteY6806" fmla="*/ 1689163 h 6479439"/>
                <a:gd name="connsiteX6807" fmla="*/ 957251 w 9586368"/>
                <a:gd name="connsiteY6807" fmla="*/ 1679292 h 6479439"/>
                <a:gd name="connsiteX6808" fmla="*/ 1679215 w 9586368"/>
                <a:gd name="connsiteY6808" fmla="*/ 1675254 h 6479439"/>
                <a:gd name="connsiteX6809" fmla="*/ 1689126 w 9586368"/>
                <a:gd name="connsiteY6809" fmla="*/ 1675254 h 6479439"/>
                <a:gd name="connsiteX6810" fmla="*/ 1693145 w 9586368"/>
                <a:gd name="connsiteY6810" fmla="*/ 1679292 h 6479439"/>
                <a:gd name="connsiteX6811" fmla="*/ 1693145 w 9586368"/>
                <a:gd name="connsiteY6811" fmla="*/ 1689163 h 6479439"/>
                <a:gd name="connsiteX6812" fmla="*/ 1689126 w 9586368"/>
                <a:gd name="connsiteY6812" fmla="*/ 1693202 h 6479439"/>
                <a:gd name="connsiteX6813" fmla="*/ 1679215 w 9586368"/>
                <a:gd name="connsiteY6813" fmla="*/ 1693202 h 6479439"/>
                <a:gd name="connsiteX6814" fmla="*/ 1675196 w 9586368"/>
                <a:gd name="connsiteY6814" fmla="*/ 1689163 h 6479439"/>
                <a:gd name="connsiteX6815" fmla="*/ 1675196 w 9586368"/>
                <a:gd name="connsiteY6815" fmla="*/ 1679292 h 6479439"/>
                <a:gd name="connsiteX6816" fmla="*/ 1439898 w 9586368"/>
                <a:gd name="connsiteY6816" fmla="*/ 1675254 h 6479439"/>
                <a:gd name="connsiteX6817" fmla="*/ 1449808 w 9586368"/>
                <a:gd name="connsiteY6817" fmla="*/ 1675254 h 6479439"/>
                <a:gd name="connsiteX6818" fmla="*/ 1453828 w 9586368"/>
                <a:gd name="connsiteY6818" fmla="*/ 1679292 h 6479439"/>
                <a:gd name="connsiteX6819" fmla="*/ 1453828 w 9586368"/>
                <a:gd name="connsiteY6819" fmla="*/ 1689163 h 6479439"/>
                <a:gd name="connsiteX6820" fmla="*/ 1449808 w 9586368"/>
                <a:gd name="connsiteY6820" fmla="*/ 1693202 h 6479439"/>
                <a:gd name="connsiteX6821" fmla="*/ 1439898 w 9586368"/>
                <a:gd name="connsiteY6821" fmla="*/ 1693202 h 6479439"/>
                <a:gd name="connsiteX6822" fmla="*/ 1435880 w 9586368"/>
                <a:gd name="connsiteY6822" fmla="*/ 1689163 h 6479439"/>
                <a:gd name="connsiteX6823" fmla="*/ 1435880 w 9586368"/>
                <a:gd name="connsiteY6823" fmla="*/ 1679292 h 6479439"/>
                <a:gd name="connsiteX6824" fmla="*/ 1200583 w 9586368"/>
                <a:gd name="connsiteY6824" fmla="*/ 1675254 h 6479439"/>
                <a:gd name="connsiteX6825" fmla="*/ 1210493 w 9586368"/>
                <a:gd name="connsiteY6825" fmla="*/ 1675254 h 6479439"/>
                <a:gd name="connsiteX6826" fmla="*/ 1214511 w 9586368"/>
                <a:gd name="connsiteY6826" fmla="*/ 1679292 h 6479439"/>
                <a:gd name="connsiteX6827" fmla="*/ 1214511 w 9586368"/>
                <a:gd name="connsiteY6827" fmla="*/ 1689163 h 6479439"/>
                <a:gd name="connsiteX6828" fmla="*/ 1210493 w 9586368"/>
                <a:gd name="connsiteY6828" fmla="*/ 1693202 h 6479439"/>
                <a:gd name="connsiteX6829" fmla="*/ 1200583 w 9586368"/>
                <a:gd name="connsiteY6829" fmla="*/ 1693202 h 6479439"/>
                <a:gd name="connsiteX6830" fmla="*/ 1196564 w 9586368"/>
                <a:gd name="connsiteY6830" fmla="*/ 1689163 h 6479439"/>
                <a:gd name="connsiteX6831" fmla="*/ 1196564 w 9586368"/>
                <a:gd name="connsiteY6831" fmla="*/ 1679292 h 6479439"/>
                <a:gd name="connsiteX6832" fmla="*/ 9572438 w 9586368"/>
                <a:gd name="connsiteY6832" fmla="*/ 1675251 h 6479439"/>
                <a:gd name="connsiteX6833" fmla="*/ 9582349 w 9586368"/>
                <a:gd name="connsiteY6833" fmla="*/ 1675251 h 6479439"/>
                <a:gd name="connsiteX6834" fmla="*/ 9586368 w 9586368"/>
                <a:gd name="connsiteY6834" fmla="*/ 1679290 h 6479439"/>
                <a:gd name="connsiteX6835" fmla="*/ 9586368 w 9586368"/>
                <a:gd name="connsiteY6835" fmla="*/ 1689161 h 6479439"/>
                <a:gd name="connsiteX6836" fmla="*/ 9582349 w 9586368"/>
                <a:gd name="connsiteY6836" fmla="*/ 1693201 h 6479439"/>
                <a:gd name="connsiteX6837" fmla="*/ 9572438 w 9586368"/>
                <a:gd name="connsiteY6837" fmla="*/ 1693201 h 6479439"/>
                <a:gd name="connsiteX6838" fmla="*/ 9568419 w 9586368"/>
                <a:gd name="connsiteY6838" fmla="*/ 1689161 h 6479439"/>
                <a:gd name="connsiteX6839" fmla="*/ 9568419 w 9586368"/>
                <a:gd name="connsiteY6839" fmla="*/ 1679290 h 6479439"/>
                <a:gd name="connsiteX6840" fmla="*/ 1918514 w 9586368"/>
                <a:gd name="connsiteY6840" fmla="*/ 1675243 h 6479439"/>
                <a:gd name="connsiteX6841" fmla="*/ 1928424 w 9586368"/>
                <a:gd name="connsiteY6841" fmla="*/ 1675243 h 6479439"/>
                <a:gd name="connsiteX6842" fmla="*/ 1932443 w 9586368"/>
                <a:gd name="connsiteY6842" fmla="*/ 1679282 h 6479439"/>
                <a:gd name="connsiteX6843" fmla="*/ 1932443 w 9586368"/>
                <a:gd name="connsiteY6843" fmla="*/ 1689153 h 6479439"/>
                <a:gd name="connsiteX6844" fmla="*/ 1928424 w 9586368"/>
                <a:gd name="connsiteY6844" fmla="*/ 1693191 h 6479439"/>
                <a:gd name="connsiteX6845" fmla="*/ 1918514 w 9586368"/>
                <a:gd name="connsiteY6845" fmla="*/ 1693191 h 6479439"/>
                <a:gd name="connsiteX6846" fmla="*/ 1914494 w 9586368"/>
                <a:gd name="connsiteY6846" fmla="*/ 1689153 h 6479439"/>
                <a:gd name="connsiteX6847" fmla="*/ 1914494 w 9586368"/>
                <a:gd name="connsiteY6847" fmla="*/ 1679282 h 6479439"/>
                <a:gd name="connsiteX6848" fmla="*/ 2157821 w 9586368"/>
                <a:gd name="connsiteY6848" fmla="*/ 1675240 h 6479439"/>
                <a:gd name="connsiteX6849" fmla="*/ 2167732 w 9586368"/>
                <a:gd name="connsiteY6849" fmla="*/ 1675240 h 6479439"/>
                <a:gd name="connsiteX6850" fmla="*/ 2171751 w 9586368"/>
                <a:gd name="connsiteY6850" fmla="*/ 1679279 h 6479439"/>
                <a:gd name="connsiteX6851" fmla="*/ 2171751 w 9586368"/>
                <a:gd name="connsiteY6851" fmla="*/ 1689149 h 6479439"/>
                <a:gd name="connsiteX6852" fmla="*/ 2167732 w 9586368"/>
                <a:gd name="connsiteY6852" fmla="*/ 1693188 h 6479439"/>
                <a:gd name="connsiteX6853" fmla="*/ 2157821 w 9586368"/>
                <a:gd name="connsiteY6853" fmla="*/ 1693188 h 6479439"/>
                <a:gd name="connsiteX6854" fmla="*/ 2153803 w 9586368"/>
                <a:gd name="connsiteY6854" fmla="*/ 1689149 h 6479439"/>
                <a:gd name="connsiteX6855" fmla="*/ 2153803 w 9586368"/>
                <a:gd name="connsiteY6855" fmla="*/ 1679279 h 6479439"/>
                <a:gd name="connsiteX6856" fmla="*/ 243346 w 9586368"/>
                <a:gd name="connsiteY6856" fmla="*/ 1675216 h 6479439"/>
                <a:gd name="connsiteX6857" fmla="*/ 253257 w 9586368"/>
                <a:gd name="connsiteY6857" fmla="*/ 1675216 h 6479439"/>
                <a:gd name="connsiteX6858" fmla="*/ 257276 w 9586368"/>
                <a:gd name="connsiteY6858" fmla="*/ 1679254 h 6479439"/>
                <a:gd name="connsiteX6859" fmla="*/ 257276 w 9586368"/>
                <a:gd name="connsiteY6859" fmla="*/ 1689125 h 6479439"/>
                <a:gd name="connsiteX6860" fmla="*/ 253257 w 9586368"/>
                <a:gd name="connsiteY6860" fmla="*/ 1693164 h 6479439"/>
                <a:gd name="connsiteX6861" fmla="*/ 243346 w 9586368"/>
                <a:gd name="connsiteY6861" fmla="*/ 1693164 h 6479439"/>
                <a:gd name="connsiteX6862" fmla="*/ 239327 w 9586368"/>
                <a:gd name="connsiteY6862" fmla="*/ 1689125 h 6479439"/>
                <a:gd name="connsiteX6863" fmla="*/ 239327 w 9586368"/>
                <a:gd name="connsiteY6863" fmla="*/ 1679254 h 6479439"/>
                <a:gd name="connsiteX6864" fmla="*/ 4034 w 9586368"/>
                <a:gd name="connsiteY6864" fmla="*/ 1675216 h 6479439"/>
                <a:gd name="connsiteX6865" fmla="*/ 13943 w 9586368"/>
                <a:gd name="connsiteY6865" fmla="*/ 1675216 h 6479439"/>
                <a:gd name="connsiteX6866" fmla="*/ 17962 w 9586368"/>
                <a:gd name="connsiteY6866" fmla="*/ 1679254 h 6479439"/>
                <a:gd name="connsiteX6867" fmla="*/ 17962 w 9586368"/>
                <a:gd name="connsiteY6867" fmla="*/ 1689125 h 6479439"/>
                <a:gd name="connsiteX6868" fmla="*/ 13943 w 9586368"/>
                <a:gd name="connsiteY6868" fmla="*/ 1693164 h 6479439"/>
                <a:gd name="connsiteX6869" fmla="*/ 4034 w 9586368"/>
                <a:gd name="connsiteY6869" fmla="*/ 1693164 h 6479439"/>
                <a:gd name="connsiteX6870" fmla="*/ 14 w 9586368"/>
                <a:gd name="connsiteY6870" fmla="*/ 1689125 h 6479439"/>
                <a:gd name="connsiteX6871" fmla="*/ 14 w 9586368"/>
                <a:gd name="connsiteY6871" fmla="*/ 1679254 h 6479439"/>
                <a:gd name="connsiteX6872" fmla="*/ 721972 w 9586368"/>
                <a:gd name="connsiteY6872" fmla="*/ 1675216 h 6479439"/>
                <a:gd name="connsiteX6873" fmla="*/ 731882 w 9586368"/>
                <a:gd name="connsiteY6873" fmla="*/ 1675216 h 6479439"/>
                <a:gd name="connsiteX6874" fmla="*/ 735902 w 9586368"/>
                <a:gd name="connsiteY6874" fmla="*/ 1679254 h 6479439"/>
                <a:gd name="connsiteX6875" fmla="*/ 735902 w 9586368"/>
                <a:gd name="connsiteY6875" fmla="*/ 1689125 h 6479439"/>
                <a:gd name="connsiteX6876" fmla="*/ 731882 w 9586368"/>
                <a:gd name="connsiteY6876" fmla="*/ 1693164 h 6479439"/>
                <a:gd name="connsiteX6877" fmla="*/ 721972 w 9586368"/>
                <a:gd name="connsiteY6877" fmla="*/ 1693164 h 6479439"/>
                <a:gd name="connsiteX6878" fmla="*/ 717954 w 9586368"/>
                <a:gd name="connsiteY6878" fmla="*/ 1689125 h 6479439"/>
                <a:gd name="connsiteX6879" fmla="*/ 717954 w 9586368"/>
                <a:gd name="connsiteY6879" fmla="*/ 1679254 h 6479439"/>
                <a:gd name="connsiteX6880" fmla="*/ 482660 w 9586368"/>
                <a:gd name="connsiteY6880" fmla="*/ 1675216 h 6479439"/>
                <a:gd name="connsiteX6881" fmla="*/ 492571 w 9586368"/>
                <a:gd name="connsiteY6881" fmla="*/ 1675216 h 6479439"/>
                <a:gd name="connsiteX6882" fmla="*/ 496589 w 9586368"/>
                <a:gd name="connsiteY6882" fmla="*/ 1679254 h 6479439"/>
                <a:gd name="connsiteX6883" fmla="*/ 496589 w 9586368"/>
                <a:gd name="connsiteY6883" fmla="*/ 1689125 h 6479439"/>
                <a:gd name="connsiteX6884" fmla="*/ 492571 w 9586368"/>
                <a:gd name="connsiteY6884" fmla="*/ 1693164 h 6479439"/>
                <a:gd name="connsiteX6885" fmla="*/ 482660 w 9586368"/>
                <a:gd name="connsiteY6885" fmla="*/ 1693164 h 6479439"/>
                <a:gd name="connsiteX6886" fmla="*/ 478641 w 9586368"/>
                <a:gd name="connsiteY6886" fmla="*/ 1689125 h 6479439"/>
                <a:gd name="connsiteX6887" fmla="*/ 478641 w 9586368"/>
                <a:gd name="connsiteY6887" fmla="*/ 1679254 h 6479439"/>
                <a:gd name="connsiteX6888" fmla="*/ 2393104 w 9586368"/>
                <a:gd name="connsiteY6888" fmla="*/ 1436001 h 6479439"/>
                <a:gd name="connsiteX6889" fmla="*/ 2403015 w 9586368"/>
                <a:gd name="connsiteY6889" fmla="*/ 1436001 h 6479439"/>
                <a:gd name="connsiteX6890" fmla="*/ 2407034 w 9586368"/>
                <a:gd name="connsiteY6890" fmla="*/ 1440038 h 6479439"/>
                <a:gd name="connsiteX6891" fmla="*/ 2407034 w 9586368"/>
                <a:gd name="connsiteY6891" fmla="*/ 1449910 h 6479439"/>
                <a:gd name="connsiteX6892" fmla="*/ 2403015 w 9586368"/>
                <a:gd name="connsiteY6892" fmla="*/ 1453949 h 6479439"/>
                <a:gd name="connsiteX6893" fmla="*/ 2393104 w 9586368"/>
                <a:gd name="connsiteY6893" fmla="*/ 1453949 h 6479439"/>
                <a:gd name="connsiteX6894" fmla="*/ 2389087 w 9586368"/>
                <a:gd name="connsiteY6894" fmla="*/ 1449910 h 6479439"/>
                <a:gd name="connsiteX6895" fmla="*/ 2389087 w 9586368"/>
                <a:gd name="connsiteY6895" fmla="*/ 1440038 h 6479439"/>
                <a:gd name="connsiteX6896" fmla="*/ 3350359 w 9586368"/>
                <a:gd name="connsiteY6896" fmla="*/ 1436000 h 6479439"/>
                <a:gd name="connsiteX6897" fmla="*/ 3360268 w 9586368"/>
                <a:gd name="connsiteY6897" fmla="*/ 1436000 h 6479439"/>
                <a:gd name="connsiteX6898" fmla="*/ 3364287 w 9586368"/>
                <a:gd name="connsiteY6898" fmla="*/ 1440038 h 6479439"/>
                <a:gd name="connsiteX6899" fmla="*/ 3364287 w 9586368"/>
                <a:gd name="connsiteY6899" fmla="*/ 1449909 h 6479439"/>
                <a:gd name="connsiteX6900" fmla="*/ 3360268 w 9586368"/>
                <a:gd name="connsiteY6900" fmla="*/ 1453949 h 6479439"/>
                <a:gd name="connsiteX6901" fmla="*/ 3350359 w 9586368"/>
                <a:gd name="connsiteY6901" fmla="*/ 1453949 h 6479439"/>
                <a:gd name="connsiteX6902" fmla="*/ 3346340 w 9586368"/>
                <a:gd name="connsiteY6902" fmla="*/ 1449909 h 6479439"/>
                <a:gd name="connsiteX6903" fmla="*/ 3346340 w 9586368"/>
                <a:gd name="connsiteY6903" fmla="*/ 1440038 h 6479439"/>
                <a:gd name="connsiteX6904" fmla="*/ 3111048 w 9586368"/>
                <a:gd name="connsiteY6904" fmla="*/ 1436000 h 6479439"/>
                <a:gd name="connsiteX6905" fmla="*/ 3120959 w 9586368"/>
                <a:gd name="connsiteY6905" fmla="*/ 1436000 h 6479439"/>
                <a:gd name="connsiteX6906" fmla="*/ 3124977 w 9586368"/>
                <a:gd name="connsiteY6906" fmla="*/ 1440038 h 6479439"/>
                <a:gd name="connsiteX6907" fmla="*/ 3124977 w 9586368"/>
                <a:gd name="connsiteY6907" fmla="*/ 1449910 h 6479439"/>
                <a:gd name="connsiteX6908" fmla="*/ 3120959 w 9586368"/>
                <a:gd name="connsiteY6908" fmla="*/ 1453949 h 6479439"/>
                <a:gd name="connsiteX6909" fmla="*/ 3111048 w 9586368"/>
                <a:gd name="connsiteY6909" fmla="*/ 1453949 h 6479439"/>
                <a:gd name="connsiteX6910" fmla="*/ 3107029 w 9586368"/>
                <a:gd name="connsiteY6910" fmla="*/ 1449910 h 6479439"/>
                <a:gd name="connsiteX6911" fmla="*/ 3107029 w 9586368"/>
                <a:gd name="connsiteY6911" fmla="*/ 1440038 h 6479439"/>
                <a:gd name="connsiteX6912" fmla="*/ 2871737 w 9586368"/>
                <a:gd name="connsiteY6912" fmla="*/ 1436000 h 6479439"/>
                <a:gd name="connsiteX6913" fmla="*/ 2881646 w 9586368"/>
                <a:gd name="connsiteY6913" fmla="*/ 1436000 h 6479439"/>
                <a:gd name="connsiteX6914" fmla="*/ 2885666 w 9586368"/>
                <a:gd name="connsiteY6914" fmla="*/ 1440038 h 6479439"/>
                <a:gd name="connsiteX6915" fmla="*/ 2885666 w 9586368"/>
                <a:gd name="connsiteY6915" fmla="*/ 1449910 h 6479439"/>
                <a:gd name="connsiteX6916" fmla="*/ 2881646 w 9586368"/>
                <a:gd name="connsiteY6916" fmla="*/ 1453949 h 6479439"/>
                <a:gd name="connsiteX6917" fmla="*/ 2871737 w 9586368"/>
                <a:gd name="connsiteY6917" fmla="*/ 1453949 h 6479439"/>
                <a:gd name="connsiteX6918" fmla="*/ 2867717 w 9586368"/>
                <a:gd name="connsiteY6918" fmla="*/ 1449910 h 6479439"/>
                <a:gd name="connsiteX6919" fmla="*/ 2867717 w 9586368"/>
                <a:gd name="connsiteY6919" fmla="*/ 1440038 h 6479439"/>
                <a:gd name="connsiteX6920" fmla="*/ 2632423 w 9586368"/>
                <a:gd name="connsiteY6920" fmla="*/ 1436000 h 6479439"/>
                <a:gd name="connsiteX6921" fmla="*/ 2642334 w 9586368"/>
                <a:gd name="connsiteY6921" fmla="*/ 1436000 h 6479439"/>
                <a:gd name="connsiteX6922" fmla="*/ 2646352 w 9586368"/>
                <a:gd name="connsiteY6922" fmla="*/ 1440038 h 6479439"/>
                <a:gd name="connsiteX6923" fmla="*/ 2646352 w 9586368"/>
                <a:gd name="connsiteY6923" fmla="*/ 1449910 h 6479439"/>
                <a:gd name="connsiteX6924" fmla="*/ 2642334 w 9586368"/>
                <a:gd name="connsiteY6924" fmla="*/ 1453949 h 6479439"/>
                <a:gd name="connsiteX6925" fmla="*/ 2632423 w 9586368"/>
                <a:gd name="connsiteY6925" fmla="*/ 1453949 h 6479439"/>
                <a:gd name="connsiteX6926" fmla="*/ 2628404 w 9586368"/>
                <a:gd name="connsiteY6926" fmla="*/ 1449910 h 6479439"/>
                <a:gd name="connsiteX6927" fmla="*/ 2628404 w 9586368"/>
                <a:gd name="connsiteY6927" fmla="*/ 1440038 h 6479439"/>
                <a:gd name="connsiteX6928" fmla="*/ 3589676 w 9586368"/>
                <a:gd name="connsiteY6928" fmla="*/ 1435986 h 6479439"/>
                <a:gd name="connsiteX6929" fmla="*/ 3599585 w 9586368"/>
                <a:gd name="connsiteY6929" fmla="*/ 1435986 h 6479439"/>
                <a:gd name="connsiteX6930" fmla="*/ 3603604 w 9586368"/>
                <a:gd name="connsiteY6930" fmla="*/ 1440024 h 6479439"/>
                <a:gd name="connsiteX6931" fmla="*/ 3603604 w 9586368"/>
                <a:gd name="connsiteY6931" fmla="*/ 1449895 h 6479439"/>
                <a:gd name="connsiteX6932" fmla="*/ 3599585 w 9586368"/>
                <a:gd name="connsiteY6932" fmla="*/ 1453934 h 6479439"/>
                <a:gd name="connsiteX6933" fmla="*/ 3589676 w 9586368"/>
                <a:gd name="connsiteY6933" fmla="*/ 1453934 h 6479439"/>
                <a:gd name="connsiteX6934" fmla="*/ 3585657 w 9586368"/>
                <a:gd name="connsiteY6934" fmla="*/ 1449895 h 6479439"/>
                <a:gd name="connsiteX6935" fmla="*/ 3585657 w 9586368"/>
                <a:gd name="connsiteY6935" fmla="*/ 1440024 h 6479439"/>
                <a:gd name="connsiteX6936" fmla="*/ 4546929 w 9586368"/>
                <a:gd name="connsiteY6936" fmla="*/ 1435986 h 6479439"/>
                <a:gd name="connsiteX6937" fmla="*/ 4556840 w 9586368"/>
                <a:gd name="connsiteY6937" fmla="*/ 1435986 h 6479439"/>
                <a:gd name="connsiteX6938" fmla="*/ 4560859 w 9586368"/>
                <a:gd name="connsiteY6938" fmla="*/ 1440024 h 6479439"/>
                <a:gd name="connsiteX6939" fmla="*/ 4560859 w 9586368"/>
                <a:gd name="connsiteY6939" fmla="*/ 1449895 h 6479439"/>
                <a:gd name="connsiteX6940" fmla="*/ 4556840 w 9586368"/>
                <a:gd name="connsiteY6940" fmla="*/ 1453934 h 6479439"/>
                <a:gd name="connsiteX6941" fmla="*/ 4546929 w 9586368"/>
                <a:gd name="connsiteY6941" fmla="*/ 1453934 h 6479439"/>
                <a:gd name="connsiteX6942" fmla="*/ 4542910 w 9586368"/>
                <a:gd name="connsiteY6942" fmla="*/ 1449895 h 6479439"/>
                <a:gd name="connsiteX6943" fmla="*/ 4542910 w 9586368"/>
                <a:gd name="connsiteY6943" fmla="*/ 1440024 h 6479439"/>
                <a:gd name="connsiteX6944" fmla="*/ 4307612 w 9586368"/>
                <a:gd name="connsiteY6944" fmla="*/ 1435986 h 6479439"/>
                <a:gd name="connsiteX6945" fmla="*/ 4317523 w 9586368"/>
                <a:gd name="connsiteY6945" fmla="*/ 1435986 h 6479439"/>
                <a:gd name="connsiteX6946" fmla="*/ 4321543 w 9586368"/>
                <a:gd name="connsiteY6946" fmla="*/ 1440024 h 6479439"/>
                <a:gd name="connsiteX6947" fmla="*/ 4321543 w 9586368"/>
                <a:gd name="connsiteY6947" fmla="*/ 1449895 h 6479439"/>
                <a:gd name="connsiteX6948" fmla="*/ 4317523 w 9586368"/>
                <a:gd name="connsiteY6948" fmla="*/ 1453934 h 6479439"/>
                <a:gd name="connsiteX6949" fmla="*/ 4307612 w 9586368"/>
                <a:gd name="connsiteY6949" fmla="*/ 1453934 h 6479439"/>
                <a:gd name="connsiteX6950" fmla="*/ 4303595 w 9586368"/>
                <a:gd name="connsiteY6950" fmla="*/ 1449895 h 6479439"/>
                <a:gd name="connsiteX6951" fmla="*/ 4303595 w 9586368"/>
                <a:gd name="connsiteY6951" fmla="*/ 1440024 h 6479439"/>
                <a:gd name="connsiteX6952" fmla="*/ 4068297 w 9586368"/>
                <a:gd name="connsiteY6952" fmla="*/ 1435986 h 6479439"/>
                <a:gd name="connsiteX6953" fmla="*/ 4078210 w 9586368"/>
                <a:gd name="connsiteY6953" fmla="*/ 1435986 h 6479439"/>
                <a:gd name="connsiteX6954" fmla="*/ 4082229 w 9586368"/>
                <a:gd name="connsiteY6954" fmla="*/ 1440024 h 6479439"/>
                <a:gd name="connsiteX6955" fmla="*/ 4082229 w 9586368"/>
                <a:gd name="connsiteY6955" fmla="*/ 1449895 h 6479439"/>
                <a:gd name="connsiteX6956" fmla="*/ 4078210 w 9586368"/>
                <a:gd name="connsiteY6956" fmla="*/ 1453934 h 6479439"/>
                <a:gd name="connsiteX6957" fmla="*/ 4068297 w 9586368"/>
                <a:gd name="connsiteY6957" fmla="*/ 1453934 h 6479439"/>
                <a:gd name="connsiteX6958" fmla="*/ 4064278 w 9586368"/>
                <a:gd name="connsiteY6958" fmla="*/ 1449895 h 6479439"/>
                <a:gd name="connsiteX6959" fmla="*/ 4064278 w 9586368"/>
                <a:gd name="connsiteY6959" fmla="*/ 1440024 h 6479439"/>
                <a:gd name="connsiteX6960" fmla="*/ 3828990 w 9586368"/>
                <a:gd name="connsiteY6960" fmla="*/ 1435986 h 6479439"/>
                <a:gd name="connsiteX6961" fmla="*/ 3838899 w 9586368"/>
                <a:gd name="connsiteY6961" fmla="*/ 1435986 h 6479439"/>
                <a:gd name="connsiteX6962" fmla="*/ 3842917 w 9586368"/>
                <a:gd name="connsiteY6962" fmla="*/ 1440024 h 6479439"/>
                <a:gd name="connsiteX6963" fmla="*/ 3842917 w 9586368"/>
                <a:gd name="connsiteY6963" fmla="*/ 1449895 h 6479439"/>
                <a:gd name="connsiteX6964" fmla="*/ 3838899 w 9586368"/>
                <a:gd name="connsiteY6964" fmla="*/ 1453934 h 6479439"/>
                <a:gd name="connsiteX6965" fmla="*/ 3828990 w 9586368"/>
                <a:gd name="connsiteY6965" fmla="*/ 1453934 h 6479439"/>
                <a:gd name="connsiteX6966" fmla="*/ 3824971 w 9586368"/>
                <a:gd name="connsiteY6966" fmla="*/ 1449895 h 6479439"/>
                <a:gd name="connsiteX6967" fmla="*/ 3824971 w 9586368"/>
                <a:gd name="connsiteY6967" fmla="*/ 1440024 h 6479439"/>
                <a:gd name="connsiteX6968" fmla="*/ 4786241 w 9586368"/>
                <a:gd name="connsiteY6968" fmla="*/ 1435972 h 6479439"/>
                <a:gd name="connsiteX6969" fmla="*/ 4796152 w 9586368"/>
                <a:gd name="connsiteY6969" fmla="*/ 1435972 h 6479439"/>
                <a:gd name="connsiteX6970" fmla="*/ 4800171 w 9586368"/>
                <a:gd name="connsiteY6970" fmla="*/ 1440010 h 6479439"/>
                <a:gd name="connsiteX6971" fmla="*/ 4800171 w 9586368"/>
                <a:gd name="connsiteY6971" fmla="*/ 1449881 h 6479439"/>
                <a:gd name="connsiteX6972" fmla="*/ 4796152 w 9586368"/>
                <a:gd name="connsiteY6972" fmla="*/ 1453920 h 6479439"/>
                <a:gd name="connsiteX6973" fmla="*/ 4786241 w 9586368"/>
                <a:gd name="connsiteY6973" fmla="*/ 1453920 h 6479439"/>
                <a:gd name="connsiteX6974" fmla="*/ 4782224 w 9586368"/>
                <a:gd name="connsiteY6974" fmla="*/ 1449881 h 6479439"/>
                <a:gd name="connsiteX6975" fmla="*/ 4782224 w 9586368"/>
                <a:gd name="connsiteY6975" fmla="*/ 1440010 h 6479439"/>
                <a:gd name="connsiteX6976" fmla="*/ 5743412 w 9586368"/>
                <a:gd name="connsiteY6976" fmla="*/ 1435971 h 6479439"/>
                <a:gd name="connsiteX6977" fmla="*/ 5753323 w 9586368"/>
                <a:gd name="connsiteY6977" fmla="*/ 1435971 h 6479439"/>
                <a:gd name="connsiteX6978" fmla="*/ 5757342 w 9586368"/>
                <a:gd name="connsiteY6978" fmla="*/ 1440010 h 6479439"/>
                <a:gd name="connsiteX6979" fmla="*/ 5757342 w 9586368"/>
                <a:gd name="connsiteY6979" fmla="*/ 1449880 h 6479439"/>
                <a:gd name="connsiteX6980" fmla="*/ 5753323 w 9586368"/>
                <a:gd name="connsiteY6980" fmla="*/ 1453919 h 6479439"/>
                <a:gd name="connsiteX6981" fmla="*/ 5743412 w 9586368"/>
                <a:gd name="connsiteY6981" fmla="*/ 1453919 h 6479439"/>
                <a:gd name="connsiteX6982" fmla="*/ 5739393 w 9586368"/>
                <a:gd name="connsiteY6982" fmla="*/ 1449880 h 6479439"/>
                <a:gd name="connsiteX6983" fmla="*/ 5739393 w 9586368"/>
                <a:gd name="connsiteY6983" fmla="*/ 1440010 h 6479439"/>
                <a:gd name="connsiteX6984" fmla="*/ 5504099 w 9586368"/>
                <a:gd name="connsiteY6984" fmla="*/ 1435971 h 6479439"/>
                <a:gd name="connsiteX6985" fmla="*/ 5514010 w 9586368"/>
                <a:gd name="connsiteY6985" fmla="*/ 1435971 h 6479439"/>
                <a:gd name="connsiteX6986" fmla="*/ 5518029 w 9586368"/>
                <a:gd name="connsiteY6986" fmla="*/ 1440010 h 6479439"/>
                <a:gd name="connsiteX6987" fmla="*/ 5518029 w 9586368"/>
                <a:gd name="connsiteY6987" fmla="*/ 1449881 h 6479439"/>
                <a:gd name="connsiteX6988" fmla="*/ 5514010 w 9586368"/>
                <a:gd name="connsiteY6988" fmla="*/ 1453919 h 6479439"/>
                <a:gd name="connsiteX6989" fmla="*/ 5504099 w 9586368"/>
                <a:gd name="connsiteY6989" fmla="*/ 1453919 h 6479439"/>
                <a:gd name="connsiteX6990" fmla="*/ 5500080 w 9586368"/>
                <a:gd name="connsiteY6990" fmla="*/ 1449881 h 6479439"/>
                <a:gd name="connsiteX6991" fmla="*/ 5500080 w 9586368"/>
                <a:gd name="connsiteY6991" fmla="*/ 1440010 h 6479439"/>
                <a:gd name="connsiteX6992" fmla="*/ 5264784 w 9586368"/>
                <a:gd name="connsiteY6992" fmla="*/ 1435971 h 6479439"/>
                <a:gd name="connsiteX6993" fmla="*/ 5274694 w 9586368"/>
                <a:gd name="connsiteY6993" fmla="*/ 1435971 h 6479439"/>
                <a:gd name="connsiteX6994" fmla="*/ 5278713 w 9586368"/>
                <a:gd name="connsiteY6994" fmla="*/ 1440010 h 6479439"/>
                <a:gd name="connsiteX6995" fmla="*/ 5278713 w 9586368"/>
                <a:gd name="connsiteY6995" fmla="*/ 1449881 h 6479439"/>
                <a:gd name="connsiteX6996" fmla="*/ 5274694 w 9586368"/>
                <a:gd name="connsiteY6996" fmla="*/ 1453920 h 6479439"/>
                <a:gd name="connsiteX6997" fmla="*/ 5264784 w 9586368"/>
                <a:gd name="connsiteY6997" fmla="*/ 1453920 h 6479439"/>
                <a:gd name="connsiteX6998" fmla="*/ 5260765 w 9586368"/>
                <a:gd name="connsiteY6998" fmla="*/ 1449881 h 6479439"/>
                <a:gd name="connsiteX6999" fmla="*/ 5260765 w 9586368"/>
                <a:gd name="connsiteY6999" fmla="*/ 1440010 h 6479439"/>
                <a:gd name="connsiteX7000" fmla="*/ 5025470 w 9586368"/>
                <a:gd name="connsiteY7000" fmla="*/ 1435971 h 6479439"/>
                <a:gd name="connsiteX7001" fmla="*/ 5035381 w 9586368"/>
                <a:gd name="connsiteY7001" fmla="*/ 1435971 h 6479439"/>
                <a:gd name="connsiteX7002" fmla="*/ 5039400 w 9586368"/>
                <a:gd name="connsiteY7002" fmla="*/ 1440010 h 6479439"/>
                <a:gd name="connsiteX7003" fmla="*/ 5039400 w 9586368"/>
                <a:gd name="connsiteY7003" fmla="*/ 1449881 h 6479439"/>
                <a:gd name="connsiteX7004" fmla="*/ 5035381 w 9586368"/>
                <a:gd name="connsiteY7004" fmla="*/ 1453920 h 6479439"/>
                <a:gd name="connsiteX7005" fmla="*/ 5025470 w 9586368"/>
                <a:gd name="connsiteY7005" fmla="*/ 1453920 h 6479439"/>
                <a:gd name="connsiteX7006" fmla="*/ 5021451 w 9586368"/>
                <a:gd name="connsiteY7006" fmla="*/ 1449881 h 6479439"/>
                <a:gd name="connsiteX7007" fmla="*/ 5021451 w 9586368"/>
                <a:gd name="connsiteY7007" fmla="*/ 1440010 h 6479439"/>
                <a:gd name="connsiteX7008" fmla="*/ 5982729 w 9586368"/>
                <a:gd name="connsiteY7008" fmla="*/ 1435958 h 6479439"/>
                <a:gd name="connsiteX7009" fmla="*/ 5992639 w 9586368"/>
                <a:gd name="connsiteY7009" fmla="*/ 1435958 h 6479439"/>
                <a:gd name="connsiteX7010" fmla="*/ 5996658 w 9586368"/>
                <a:gd name="connsiteY7010" fmla="*/ 1439995 h 6479439"/>
                <a:gd name="connsiteX7011" fmla="*/ 5996658 w 9586368"/>
                <a:gd name="connsiteY7011" fmla="*/ 1449866 h 6479439"/>
                <a:gd name="connsiteX7012" fmla="*/ 5992639 w 9586368"/>
                <a:gd name="connsiteY7012" fmla="*/ 1453905 h 6479439"/>
                <a:gd name="connsiteX7013" fmla="*/ 5982729 w 9586368"/>
                <a:gd name="connsiteY7013" fmla="*/ 1453905 h 6479439"/>
                <a:gd name="connsiteX7014" fmla="*/ 5978710 w 9586368"/>
                <a:gd name="connsiteY7014" fmla="*/ 1449866 h 6479439"/>
                <a:gd name="connsiteX7015" fmla="*/ 5978710 w 9586368"/>
                <a:gd name="connsiteY7015" fmla="*/ 1439995 h 6479439"/>
                <a:gd name="connsiteX7016" fmla="*/ 6939983 w 9586368"/>
                <a:gd name="connsiteY7016" fmla="*/ 1435956 h 6479439"/>
                <a:gd name="connsiteX7017" fmla="*/ 6949894 w 9586368"/>
                <a:gd name="connsiteY7017" fmla="*/ 1435956 h 6479439"/>
                <a:gd name="connsiteX7018" fmla="*/ 6953913 w 9586368"/>
                <a:gd name="connsiteY7018" fmla="*/ 1439995 h 6479439"/>
                <a:gd name="connsiteX7019" fmla="*/ 6953913 w 9586368"/>
                <a:gd name="connsiteY7019" fmla="*/ 1449865 h 6479439"/>
                <a:gd name="connsiteX7020" fmla="*/ 6949894 w 9586368"/>
                <a:gd name="connsiteY7020" fmla="*/ 1453905 h 6479439"/>
                <a:gd name="connsiteX7021" fmla="*/ 6939983 w 9586368"/>
                <a:gd name="connsiteY7021" fmla="*/ 1453905 h 6479439"/>
                <a:gd name="connsiteX7022" fmla="*/ 6935964 w 9586368"/>
                <a:gd name="connsiteY7022" fmla="*/ 1449865 h 6479439"/>
                <a:gd name="connsiteX7023" fmla="*/ 6935964 w 9586368"/>
                <a:gd name="connsiteY7023" fmla="*/ 1439995 h 6479439"/>
                <a:gd name="connsiteX7024" fmla="*/ 6700670 w 9586368"/>
                <a:gd name="connsiteY7024" fmla="*/ 1435956 h 6479439"/>
                <a:gd name="connsiteX7025" fmla="*/ 6710581 w 9586368"/>
                <a:gd name="connsiteY7025" fmla="*/ 1435956 h 6479439"/>
                <a:gd name="connsiteX7026" fmla="*/ 6714600 w 9586368"/>
                <a:gd name="connsiteY7026" fmla="*/ 1439995 h 6479439"/>
                <a:gd name="connsiteX7027" fmla="*/ 6714600 w 9586368"/>
                <a:gd name="connsiteY7027" fmla="*/ 1449866 h 6479439"/>
                <a:gd name="connsiteX7028" fmla="*/ 6710581 w 9586368"/>
                <a:gd name="connsiteY7028" fmla="*/ 1453905 h 6479439"/>
                <a:gd name="connsiteX7029" fmla="*/ 6700670 w 9586368"/>
                <a:gd name="connsiteY7029" fmla="*/ 1453905 h 6479439"/>
                <a:gd name="connsiteX7030" fmla="*/ 6696651 w 9586368"/>
                <a:gd name="connsiteY7030" fmla="*/ 1449866 h 6479439"/>
                <a:gd name="connsiteX7031" fmla="*/ 6696651 w 9586368"/>
                <a:gd name="connsiteY7031" fmla="*/ 1439995 h 6479439"/>
                <a:gd name="connsiteX7032" fmla="*/ 6461356 w 9586368"/>
                <a:gd name="connsiteY7032" fmla="*/ 1435956 h 6479439"/>
                <a:gd name="connsiteX7033" fmla="*/ 6471266 w 9586368"/>
                <a:gd name="connsiteY7033" fmla="*/ 1435956 h 6479439"/>
                <a:gd name="connsiteX7034" fmla="*/ 6475285 w 9586368"/>
                <a:gd name="connsiteY7034" fmla="*/ 1439995 h 6479439"/>
                <a:gd name="connsiteX7035" fmla="*/ 6475285 w 9586368"/>
                <a:gd name="connsiteY7035" fmla="*/ 1449866 h 6479439"/>
                <a:gd name="connsiteX7036" fmla="*/ 6471266 w 9586368"/>
                <a:gd name="connsiteY7036" fmla="*/ 1453905 h 6479439"/>
                <a:gd name="connsiteX7037" fmla="*/ 6461356 w 9586368"/>
                <a:gd name="connsiteY7037" fmla="*/ 1453905 h 6479439"/>
                <a:gd name="connsiteX7038" fmla="*/ 6457337 w 9586368"/>
                <a:gd name="connsiteY7038" fmla="*/ 1449866 h 6479439"/>
                <a:gd name="connsiteX7039" fmla="*/ 6457337 w 9586368"/>
                <a:gd name="connsiteY7039" fmla="*/ 1439995 h 6479439"/>
                <a:gd name="connsiteX7040" fmla="*/ 6222042 w 9586368"/>
                <a:gd name="connsiteY7040" fmla="*/ 1435956 h 6479439"/>
                <a:gd name="connsiteX7041" fmla="*/ 6231952 w 9586368"/>
                <a:gd name="connsiteY7041" fmla="*/ 1435956 h 6479439"/>
                <a:gd name="connsiteX7042" fmla="*/ 6235971 w 9586368"/>
                <a:gd name="connsiteY7042" fmla="*/ 1439995 h 6479439"/>
                <a:gd name="connsiteX7043" fmla="*/ 6235971 w 9586368"/>
                <a:gd name="connsiteY7043" fmla="*/ 1449866 h 6479439"/>
                <a:gd name="connsiteX7044" fmla="*/ 6231952 w 9586368"/>
                <a:gd name="connsiteY7044" fmla="*/ 1453905 h 6479439"/>
                <a:gd name="connsiteX7045" fmla="*/ 6222042 w 9586368"/>
                <a:gd name="connsiteY7045" fmla="*/ 1453905 h 6479439"/>
                <a:gd name="connsiteX7046" fmla="*/ 6218023 w 9586368"/>
                <a:gd name="connsiteY7046" fmla="*/ 1449866 h 6479439"/>
                <a:gd name="connsiteX7047" fmla="*/ 6218023 w 9586368"/>
                <a:gd name="connsiteY7047" fmla="*/ 1439995 h 6479439"/>
                <a:gd name="connsiteX7048" fmla="*/ 7179298 w 9586368"/>
                <a:gd name="connsiteY7048" fmla="*/ 1435943 h 6479439"/>
                <a:gd name="connsiteX7049" fmla="*/ 7189209 w 9586368"/>
                <a:gd name="connsiteY7049" fmla="*/ 1435943 h 6479439"/>
                <a:gd name="connsiteX7050" fmla="*/ 7193228 w 9586368"/>
                <a:gd name="connsiteY7050" fmla="*/ 1439981 h 6479439"/>
                <a:gd name="connsiteX7051" fmla="*/ 7193228 w 9586368"/>
                <a:gd name="connsiteY7051" fmla="*/ 1449852 h 6479439"/>
                <a:gd name="connsiteX7052" fmla="*/ 7189209 w 9586368"/>
                <a:gd name="connsiteY7052" fmla="*/ 1453891 h 6479439"/>
                <a:gd name="connsiteX7053" fmla="*/ 7179298 w 9586368"/>
                <a:gd name="connsiteY7053" fmla="*/ 1453891 h 6479439"/>
                <a:gd name="connsiteX7054" fmla="*/ 7175279 w 9586368"/>
                <a:gd name="connsiteY7054" fmla="*/ 1449852 h 6479439"/>
                <a:gd name="connsiteX7055" fmla="*/ 7175279 w 9586368"/>
                <a:gd name="connsiteY7055" fmla="*/ 1439981 h 6479439"/>
                <a:gd name="connsiteX7056" fmla="*/ 8136553 w 9586368"/>
                <a:gd name="connsiteY7056" fmla="*/ 1435943 h 6479439"/>
                <a:gd name="connsiteX7057" fmla="*/ 8146464 w 9586368"/>
                <a:gd name="connsiteY7057" fmla="*/ 1435943 h 6479439"/>
                <a:gd name="connsiteX7058" fmla="*/ 8150483 w 9586368"/>
                <a:gd name="connsiteY7058" fmla="*/ 1439980 h 6479439"/>
                <a:gd name="connsiteX7059" fmla="*/ 8150483 w 9586368"/>
                <a:gd name="connsiteY7059" fmla="*/ 1449851 h 6479439"/>
                <a:gd name="connsiteX7060" fmla="*/ 8146464 w 9586368"/>
                <a:gd name="connsiteY7060" fmla="*/ 1453890 h 6479439"/>
                <a:gd name="connsiteX7061" fmla="*/ 8136553 w 9586368"/>
                <a:gd name="connsiteY7061" fmla="*/ 1453890 h 6479439"/>
                <a:gd name="connsiteX7062" fmla="*/ 8132534 w 9586368"/>
                <a:gd name="connsiteY7062" fmla="*/ 1449851 h 6479439"/>
                <a:gd name="connsiteX7063" fmla="*/ 8132534 w 9586368"/>
                <a:gd name="connsiteY7063" fmla="*/ 1439980 h 6479439"/>
                <a:gd name="connsiteX7064" fmla="*/ 7897241 w 9586368"/>
                <a:gd name="connsiteY7064" fmla="*/ 1435943 h 6479439"/>
                <a:gd name="connsiteX7065" fmla="*/ 7907151 w 9586368"/>
                <a:gd name="connsiteY7065" fmla="*/ 1435943 h 6479439"/>
                <a:gd name="connsiteX7066" fmla="*/ 7911170 w 9586368"/>
                <a:gd name="connsiteY7066" fmla="*/ 1439980 h 6479439"/>
                <a:gd name="connsiteX7067" fmla="*/ 7911170 w 9586368"/>
                <a:gd name="connsiteY7067" fmla="*/ 1449852 h 6479439"/>
                <a:gd name="connsiteX7068" fmla="*/ 7907151 w 9586368"/>
                <a:gd name="connsiteY7068" fmla="*/ 1453890 h 6479439"/>
                <a:gd name="connsiteX7069" fmla="*/ 7897241 w 9586368"/>
                <a:gd name="connsiteY7069" fmla="*/ 1453890 h 6479439"/>
                <a:gd name="connsiteX7070" fmla="*/ 7893222 w 9586368"/>
                <a:gd name="connsiteY7070" fmla="*/ 1449852 h 6479439"/>
                <a:gd name="connsiteX7071" fmla="*/ 7893222 w 9586368"/>
                <a:gd name="connsiteY7071" fmla="*/ 1439980 h 6479439"/>
                <a:gd name="connsiteX7072" fmla="*/ 7657926 w 9586368"/>
                <a:gd name="connsiteY7072" fmla="*/ 1435943 h 6479439"/>
                <a:gd name="connsiteX7073" fmla="*/ 7667836 w 9586368"/>
                <a:gd name="connsiteY7073" fmla="*/ 1435943 h 6479439"/>
                <a:gd name="connsiteX7074" fmla="*/ 7671855 w 9586368"/>
                <a:gd name="connsiteY7074" fmla="*/ 1439980 h 6479439"/>
                <a:gd name="connsiteX7075" fmla="*/ 7671855 w 9586368"/>
                <a:gd name="connsiteY7075" fmla="*/ 1449852 h 6479439"/>
                <a:gd name="connsiteX7076" fmla="*/ 7667836 w 9586368"/>
                <a:gd name="connsiteY7076" fmla="*/ 1453891 h 6479439"/>
                <a:gd name="connsiteX7077" fmla="*/ 7657926 w 9586368"/>
                <a:gd name="connsiteY7077" fmla="*/ 1453891 h 6479439"/>
                <a:gd name="connsiteX7078" fmla="*/ 7653906 w 9586368"/>
                <a:gd name="connsiteY7078" fmla="*/ 1449852 h 6479439"/>
                <a:gd name="connsiteX7079" fmla="*/ 7653906 w 9586368"/>
                <a:gd name="connsiteY7079" fmla="*/ 1439980 h 6479439"/>
                <a:gd name="connsiteX7080" fmla="*/ 7418611 w 9586368"/>
                <a:gd name="connsiteY7080" fmla="*/ 1435943 h 6479439"/>
                <a:gd name="connsiteX7081" fmla="*/ 7428521 w 9586368"/>
                <a:gd name="connsiteY7081" fmla="*/ 1435943 h 6479439"/>
                <a:gd name="connsiteX7082" fmla="*/ 7432540 w 9586368"/>
                <a:gd name="connsiteY7082" fmla="*/ 1439980 h 6479439"/>
                <a:gd name="connsiteX7083" fmla="*/ 7432540 w 9586368"/>
                <a:gd name="connsiteY7083" fmla="*/ 1449852 h 6479439"/>
                <a:gd name="connsiteX7084" fmla="*/ 7428521 w 9586368"/>
                <a:gd name="connsiteY7084" fmla="*/ 1453891 h 6479439"/>
                <a:gd name="connsiteX7085" fmla="*/ 7418611 w 9586368"/>
                <a:gd name="connsiteY7085" fmla="*/ 1453891 h 6479439"/>
                <a:gd name="connsiteX7086" fmla="*/ 7414592 w 9586368"/>
                <a:gd name="connsiteY7086" fmla="*/ 1449852 h 6479439"/>
                <a:gd name="connsiteX7087" fmla="*/ 7414592 w 9586368"/>
                <a:gd name="connsiteY7087" fmla="*/ 1439980 h 6479439"/>
                <a:gd name="connsiteX7088" fmla="*/ 8375869 w 9586368"/>
                <a:gd name="connsiteY7088" fmla="*/ 1435928 h 6479439"/>
                <a:gd name="connsiteX7089" fmla="*/ 8385779 w 9586368"/>
                <a:gd name="connsiteY7089" fmla="*/ 1435928 h 6479439"/>
                <a:gd name="connsiteX7090" fmla="*/ 8389799 w 9586368"/>
                <a:gd name="connsiteY7090" fmla="*/ 1439967 h 6479439"/>
                <a:gd name="connsiteX7091" fmla="*/ 8389799 w 9586368"/>
                <a:gd name="connsiteY7091" fmla="*/ 1449837 h 6479439"/>
                <a:gd name="connsiteX7092" fmla="*/ 8385779 w 9586368"/>
                <a:gd name="connsiteY7092" fmla="*/ 1453877 h 6479439"/>
                <a:gd name="connsiteX7093" fmla="*/ 8375869 w 9586368"/>
                <a:gd name="connsiteY7093" fmla="*/ 1453877 h 6479439"/>
                <a:gd name="connsiteX7094" fmla="*/ 8371850 w 9586368"/>
                <a:gd name="connsiteY7094" fmla="*/ 1449837 h 6479439"/>
                <a:gd name="connsiteX7095" fmla="*/ 8371850 w 9586368"/>
                <a:gd name="connsiteY7095" fmla="*/ 1439967 h 6479439"/>
                <a:gd name="connsiteX7096" fmla="*/ 9333125 w 9586368"/>
                <a:gd name="connsiteY7096" fmla="*/ 1435928 h 6479439"/>
                <a:gd name="connsiteX7097" fmla="*/ 9343036 w 9586368"/>
                <a:gd name="connsiteY7097" fmla="*/ 1435928 h 6479439"/>
                <a:gd name="connsiteX7098" fmla="*/ 9347055 w 9586368"/>
                <a:gd name="connsiteY7098" fmla="*/ 1439967 h 6479439"/>
                <a:gd name="connsiteX7099" fmla="*/ 9347055 w 9586368"/>
                <a:gd name="connsiteY7099" fmla="*/ 1449836 h 6479439"/>
                <a:gd name="connsiteX7100" fmla="*/ 9343036 w 9586368"/>
                <a:gd name="connsiteY7100" fmla="*/ 1453876 h 6479439"/>
                <a:gd name="connsiteX7101" fmla="*/ 9333125 w 9586368"/>
                <a:gd name="connsiteY7101" fmla="*/ 1453876 h 6479439"/>
                <a:gd name="connsiteX7102" fmla="*/ 9329106 w 9586368"/>
                <a:gd name="connsiteY7102" fmla="*/ 1449836 h 6479439"/>
                <a:gd name="connsiteX7103" fmla="*/ 9329106 w 9586368"/>
                <a:gd name="connsiteY7103" fmla="*/ 1439967 h 6479439"/>
                <a:gd name="connsiteX7104" fmla="*/ 9093811 w 9586368"/>
                <a:gd name="connsiteY7104" fmla="*/ 1435928 h 6479439"/>
                <a:gd name="connsiteX7105" fmla="*/ 9103722 w 9586368"/>
                <a:gd name="connsiteY7105" fmla="*/ 1435928 h 6479439"/>
                <a:gd name="connsiteX7106" fmla="*/ 9107741 w 9586368"/>
                <a:gd name="connsiteY7106" fmla="*/ 1439967 h 6479439"/>
                <a:gd name="connsiteX7107" fmla="*/ 9107741 w 9586368"/>
                <a:gd name="connsiteY7107" fmla="*/ 1449837 h 6479439"/>
                <a:gd name="connsiteX7108" fmla="*/ 9103722 w 9586368"/>
                <a:gd name="connsiteY7108" fmla="*/ 1453876 h 6479439"/>
                <a:gd name="connsiteX7109" fmla="*/ 9093811 w 9586368"/>
                <a:gd name="connsiteY7109" fmla="*/ 1453876 h 6479439"/>
                <a:gd name="connsiteX7110" fmla="*/ 9089792 w 9586368"/>
                <a:gd name="connsiteY7110" fmla="*/ 1449837 h 6479439"/>
                <a:gd name="connsiteX7111" fmla="*/ 9089792 w 9586368"/>
                <a:gd name="connsiteY7111" fmla="*/ 1439967 h 6479439"/>
                <a:gd name="connsiteX7112" fmla="*/ 8854496 w 9586368"/>
                <a:gd name="connsiteY7112" fmla="*/ 1435928 h 6479439"/>
                <a:gd name="connsiteX7113" fmla="*/ 8864407 w 9586368"/>
                <a:gd name="connsiteY7113" fmla="*/ 1435928 h 6479439"/>
                <a:gd name="connsiteX7114" fmla="*/ 8868426 w 9586368"/>
                <a:gd name="connsiteY7114" fmla="*/ 1439967 h 6479439"/>
                <a:gd name="connsiteX7115" fmla="*/ 8868426 w 9586368"/>
                <a:gd name="connsiteY7115" fmla="*/ 1449837 h 6479439"/>
                <a:gd name="connsiteX7116" fmla="*/ 8864407 w 9586368"/>
                <a:gd name="connsiteY7116" fmla="*/ 1453877 h 6479439"/>
                <a:gd name="connsiteX7117" fmla="*/ 8854496 w 9586368"/>
                <a:gd name="connsiteY7117" fmla="*/ 1453877 h 6479439"/>
                <a:gd name="connsiteX7118" fmla="*/ 8850477 w 9586368"/>
                <a:gd name="connsiteY7118" fmla="*/ 1449837 h 6479439"/>
                <a:gd name="connsiteX7119" fmla="*/ 8850477 w 9586368"/>
                <a:gd name="connsiteY7119" fmla="*/ 1439967 h 6479439"/>
                <a:gd name="connsiteX7120" fmla="*/ 8615184 w 9586368"/>
                <a:gd name="connsiteY7120" fmla="*/ 1435928 h 6479439"/>
                <a:gd name="connsiteX7121" fmla="*/ 8625095 w 9586368"/>
                <a:gd name="connsiteY7121" fmla="*/ 1435928 h 6479439"/>
                <a:gd name="connsiteX7122" fmla="*/ 8629114 w 9586368"/>
                <a:gd name="connsiteY7122" fmla="*/ 1439967 h 6479439"/>
                <a:gd name="connsiteX7123" fmla="*/ 8629114 w 9586368"/>
                <a:gd name="connsiteY7123" fmla="*/ 1449837 h 6479439"/>
                <a:gd name="connsiteX7124" fmla="*/ 8625095 w 9586368"/>
                <a:gd name="connsiteY7124" fmla="*/ 1453877 h 6479439"/>
                <a:gd name="connsiteX7125" fmla="*/ 8615184 w 9586368"/>
                <a:gd name="connsiteY7125" fmla="*/ 1453877 h 6479439"/>
                <a:gd name="connsiteX7126" fmla="*/ 8611165 w 9586368"/>
                <a:gd name="connsiteY7126" fmla="*/ 1449837 h 6479439"/>
                <a:gd name="connsiteX7127" fmla="*/ 8611165 w 9586368"/>
                <a:gd name="connsiteY7127" fmla="*/ 1439967 h 6479439"/>
                <a:gd name="connsiteX7128" fmla="*/ 1679216 w 9586368"/>
                <a:gd name="connsiteY7128" fmla="*/ 1435922 h 6479439"/>
                <a:gd name="connsiteX7129" fmla="*/ 1689126 w 9586368"/>
                <a:gd name="connsiteY7129" fmla="*/ 1435922 h 6479439"/>
                <a:gd name="connsiteX7130" fmla="*/ 1693146 w 9586368"/>
                <a:gd name="connsiteY7130" fmla="*/ 1439960 h 6479439"/>
                <a:gd name="connsiteX7131" fmla="*/ 1693146 w 9586368"/>
                <a:gd name="connsiteY7131" fmla="*/ 1449831 h 6479439"/>
                <a:gd name="connsiteX7132" fmla="*/ 1689126 w 9586368"/>
                <a:gd name="connsiteY7132" fmla="*/ 1453870 h 6479439"/>
                <a:gd name="connsiteX7133" fmla="*/ 1679216 w 9586368"/>
                <a:gd name="connsiteY7133" fmla="*/ 1453870 h 6479439"/>
                <a:gd name="connsiteX7134" fmla="*/ 1675198 w 9586368"/>
                <a:gd name="connsiteY7134" fmla="*/ 1449831 h 6479439"/>
                <a:gd name="connsiteX7135" fmla="*/ 1675198 w 9586368"/>
                <a:gd name="connsiteY7135" fmla="*/ 1439960 h 6479439"/>
                <a:gd name="connsiteX7136" fmla="*/ 1439900 w 9586368"/>
                <a:gd name="connsiteY7136" fmla="*/ 1435922 h 6479439"/>
                <a:gd name="connsiteX7137" fmla="*/ 1449810 w 9586368"/>
                <a:gd name="connsiteY7137" fmla="*/ 1435922 h 6479439"/>
                <a:gd name="connsiteX7138" fmla="*/ 1453828 w 9586368"/>
                <a:gd name="connsiteY7138" fmla="*/ 1439960 h 6479439"/>
                <a:gd name="connsiteX7139" fmla="*/ 1453828 w 9586368"/>
                <a:gd name="connsiteY7139" fmla="*/ 1449831 h 6479439"/>
                <a:gd name="connsiteX7140" fmla="*/ 1449810 w 9586368"/>
                <a:gd name="connsiteY7140" fmla="*/ 1453870 h 6479439"/>
                <a:gd name="connsiteX7141" fmla="*/ 1439900 w 9586368"/>
                <a:gd name="connsiteY7141" fmla="*/ 1453870 h 6479439"/>
                <a:gd name="connsiteX7142" fmla="*/ 1435880 w 9586368"/>
                <a:gd name="connsiteY7142" fmla="*/ 1449831 h 6479439"/>
                <a:gd name="connsiteX7143" fmla="*/ 1435880 w 9586368"/>
                <a:gd name="connsiteY7143" fmla="*/ 1439960 h 6479439"/>
                <a:gd name="connsiteX7144" fmla="*/ 1200583 w 9586368"/>
                <a:gd name="connsiteY7144" fmla="*/ 1435922 h 6479439"/>
                <a:gd name="connsiteX7145" fmla="*/ 1210493 w 9586368"/>
                <a:gd name="connsiteY7145" fmla="*/ 1435922 h 6479439"/>
                <a:gd name="connsiteX7146" fmla="*/ 1214512 w 9586368"/>
                <a:gd name="connsiteY7146" fmla="*/ 1439960 h 6479439"/>
                <a:gd name="connsiteX7147" fmla="*/ 1214512 w 9586368"/>
                <a:gd name="connsiteY7147" fmla="*/ 1449831 h 6479439"/>
                <a:gd name="connsiteX7148" fmla="*/ 1210493 w 9586368"/>
                <a:gd name="connsiteY7148" fmla="*/ 1453870 h 6479439"/>
                <a:gd name="connsiteX7149" fmla="*/ 1200583 w 9586368"/>
                <a:gd name="connsiteY7149" fmla="*/ 1453870 h 6479439"/>
                <a:gd name="connsiteX7150" fmla="*/ 1196564 w 9586368"/>
                <a:gd name="connsiteY7150" fmla="*/ 1449831 h 6479439"/>
                <a:gd name="connsiteX7151" fmla="*/ 1196564 w 9586368"/>
                <a:gd name="connsiteY7151" fmla="*/ 1439960 h 6479439"/>
                <a:gd name="connsiteX7152" fmla="*/ 961270 w 9586368"/>
                <a:gd name="connsiteY7152" fmla="*/ 1435922 h 6479439"/>
                <a:gd name="connsiteX7153" fmla="*/ 971181 w 9586368"/>
                <a:gd name="connsiteY7153" fmla="*/ 1435922 h 6479439"/>
                <a:gd name="connsiteX7154" fmla="*/ 975200 w 9586368"/>
                <a:gd name="connsiteY7154" fmla="*/ 1439960 h 6479439"/>
                <a:gd name="connsiteX7155" fmla="*/ 975200 w 9586368"/>
                <a:gd name="connsiteY7155" fmla="*/ 1449831 h 6479439"/>
                <a:gd name="connsiteX7156" fmla="*/ 971181 w 9586368"/>
                <a:gd name="connsiteY7156" fmla="*/ 1453870 h 6479439"/>
                <a:gd name="connsiteX7157" fmla="*/ 961270 w 9586368"/>
                <a:gd name="connsiteY7157" fmla="*/ 1453870 h 6479439"/>
                <a:gd name="connsiteX7158" fmla="*/ 957252 w 9586368"/>
                <a:gd name="connsiteY7158" fmla="*/ 1449831 h 6479439"/>
                <a:gd name="connsiteX7159" fmla="*/ 957252 w 9586368"/>
                <a:gd name="connsiteY7159" fmla="*/ 1439960 h 6479439"/>
                <a:gd name="connsiteX7160" fmla="*/ 9572438 w 9586368"/>
                <a:gd name="connsiteY7160" fmla="*/ 1435914 h 6479439"/>
                <a:gd name="connsiteX7161" fmla="*/ 9582349 w 9586368"/>
                <a:gd name="connsiteY7161" fmla="*/ 1435914 h 6479439"/>
                <a:gd name="connsiteX7162" fmla="*/ 9586368 w 9586368"/>
                <a:gd name="connsiteY7162" fmla="*/ 1439952 h 6479439"/>
                <a:gd name="connsiteX7163" fmla="*/ 9586368 w 9586368"/>
                <a:gd name="connsiteY7163" fmla="*/ 1449823 h 6479439"/>
                <a:gd name="connsiteX7164" fmla="*/ 9582349 w 9586368"/>
                <a:gd name="connsiteY7164" fmla="*/ 1453862 h 6479439"/>
                <a:gd name="connsiteX7165" fmla="*/ 9572438 w 9586368"/>
                <a:gd name="connsiteY7165" fmla="*/ 1453862 h 6479439"/>
                <a:gd name="connsiteX7166" fmla="*/ 9568419 w 9586368"/>
                <a:gd name="connsiteY7166" fmla="*/ 1449823 h 6479439"/>
                <a:gd name="connsiteX7167" fmla="*/ 9568419 w 9586368"/>
                <a:gd name="connsiteY7167" fmla="*/ 1439952 h 6479439"/>
                <a:gd name="connsiteX7168" fmla="*/ 1918514 w 9586368"/>
                <a:gd name="connsiteY7168" fmla="*/ 1435912 h 6479439"/>
                <a:gd name="connsiteX7169" fmla="*/ 1928424 w 9586368"/>
                <a:gd name="connsiteY7169" fmla="*/ 1435912 h 6479439"/>
                <a:gd name="connsiteX7170" fmla="*/ 1932443 w 9586368"/>
                <a:gd name="connsiteY7170" fmla="*/ 1439950 h 6479439"/>
                <a:gd name="connsiteX7171" fmla="*/ 1932443 w 9586368"/>
                <a:gd name="connsiteY7171" fmla="*/ 1449821 h 6479439"/>
                <a:gd name="connsiteX7172" fmla="*/ 1928424 w 9586368"/>
                <a:gd name="connsiteY7172" fmla="*/ 1453860 h 6479439"/>
                <a:gd name="connsiteX7173" fmla="*/ 1918514 w 9586368"/>
                <a:gd name="connsiteY7173" fmla="*/ 1453860 h 6479439"/>
                <a:gd name="connsiteX7174" fmla="*/ 1914494 w 9586368"/>
                <a:gd name="connsiteY7174" fmla="*/ 1449821 h 6479439"/>
                <a:gd name="connsiteX7175" fmla="*/ 1914494 w 9586368"/>
                <a:gd name="connsiteY7175" fmla="*/ 1439950 h 6479439"/>
                <a:gd name="connsiteX7176" fmla="*/ 2157823 w 9586368"/>
                <a:gd name="connsiteY7176" fmla="*/ 1435909 h 6479439"/>
                <a:gd name="connsiteX7177" fmla="*/ 2167733 w 9586368"/>
                <a:gd name="connsiteY7177" fmla="*/ 1435909 h 6479439"/>
                <a:gd name="connsiteX7178" fmla="*/ 2171751 w 9586368"/>
                <a:gd name="connsiteY7178" fmla="*/ 1439947 h 6479439"/>
                <a:gd name="connsiteX7179" fmla="*/ 2171751 w 9586368"/>
                <a:gd name="connsiteY7179" fmla="*/ 1449818 h 6479439"/>
                <a:gd name="connsiteX7180" fmla="*/ 2167733 w 9586368"/>
                <a:gd name="connsiteY7180" fmla="*/ 1453857 h 6479439"/>
                <a:gd name="connsiteX7181" fmla="*/ 2157823 w 9586368"/>
                <a:gd name="connsiteY7181" fmla="*/ 1453857 h 6479439"/>
                <a:gd name="connsiteX7182" fmla="*/ 2153803 w 9586368"/>
                <a:gd name="connsiteY7182" fmla="*/ 1449818 h 6479439"/>
                <a:gd name="connsiteX7183" fmla="*/ 2153803 w 9586368"/>
                <a:gd name="connsiteY7183" fmla="*/ 1439947 h 6479439"/>
                <a:gd name="connsiteX7184" fmla="*/ 243347 w 9586368"/>
                <a:gd name="connsiteY7184" fmla="*/ 1435883 h 6479439"/>
                <a:gd name="connsiteX7185" fmla="*/ 253257 w 9586368"/>
                <a:gd name="connsiteY7185" fmla="*/ 1435883 h 6479439"/>
                <a:gd name="connsiteX7186" fmla="*/ 257276 w 9586368"/>
                <a:gd name="connsiteY7186" fmla="*/ 1439920 h 6479439"/>
                <a:gd name="connsiteX7187" fmla="*/ 257276 w 9586368"/>
                <a:gd name="connsiteY7187" fmla="*/ 1449791 h 6479439"/>
                <a:gd name="connsiteX7188" fmla="*/ 253257 w 9586368"/>
                <a:gd name="connsiteY7188" fmla="*/ 1453830 h 6479439"/>
                <a:gd name="connsiteX7189" fmla="*/ 243347 w 9586368"/>
                <a:gd name="connsiteY7189" fmla="*/ 1453830 h 6479439"/>
                <a:gd name="connsiteX7190" fmla="*/ 239328 w 9586368"/>
                <a:gd name="connsiteY7190" fmla="*/ 1449791 h 6479439"/>
                <a:gd name="connsiteX7191" fmla="*/ 239328 w 9586368"/>
                <a:gd name="connsiteY7191" fmla="*/ 1439920 h 6479439"/>
                <a:gd name="connsiteX7192" fmla="*/ 4034 w 9586368"/>
                <a:gd name="connsiteY7192" fmla="*/ 1435883 h 6479439"/>
                <a:gd name="connsiteX7193" fmla="*/ 13944 w 9586368"/>
                <a:gd name="connsiteY7193" fmla="*/ 1435883 h 6479439"/>
                <a:gd name="connsiteX7194" fmla="*/ 17964 w 9586368"/>
                <a:gd name="connsiteY7194" fmla="*/ 1439920 h 6479439"/>
                <a:gd name="connsiteX7195" fmla="*/ 17964 w 9586368"/>
                <a:gd name="connsiteY7195" fmla="*/ 1449791 h 6479439"/>
                <a:gd name="connsiteX7196" fmla="*/ 13944 w 9586368"/>
                <a:gd name="connsiteY7196" fmla="*/ 1453830 h 6479439"/>
                <a:gd name="connsiteX7197" fmla="*/ 4034 w 9586368"/>
                <a:gd name="connsiteY7197" fmla="*/ 1453830 h 6479439"/>
                <a:gd name="connsiteX7198" fmla="*/ 15 w 9586368"/>
                <a:gd name="connsiteY7198" fmla="*/ 1449791 h 6479439"/>
                <a:gd name="connsiteX7199" fmla="*/ 15 w 9586368"/>
                <a:gd name="connsiteY7199" fmla="*/ 1439920 h 6479439"/>
                <a:gd name="connsiteX7200" fmla="*/ 721973 w 9586368"/>
                <a:gd name="connsiteY7200" fmla="*/ 1435882 h 6479439"/>
                <a:gd name="connsiteX7201" fmla="*/ 731883 w 9586368"/>
                <a:gd name="connsiteY7201" fmla="*/ 1435882 h 6479439"/>
                <a:gd name="connsiteX7202" fmla="*/ 735902 w 9586368"/>
                <a:gd name="connsiteY7202" fmla="*/ 1439920 h 6479439"/>
                <a:gd name="connsiteX7203" fmla="*/ 735902 w 9586368"/>
                <a:gd name="connsiteY7203" fmla="*/ 1449791 h 6479439"/>
                <a:gd name="connsiteX7204" fmla="*/ 731883 w 9586368"/>
                <a:gd name="connsiteY7204" fmla="*/ 1453830 h 6479439"/>
                <a:gd name="connsiteX7205" fmla="*/ 721973 w 9586368"/>
                <a:gd name="connsiteY7205" fmla="*/ 1453830 h 6479439"/>
                <a:gd name="connsiteX7206" fmla="*/ 717954 w 9586368"/>
                <a:gd name="connsiteY7206" fmla="*/ 1449791 h 6479439"/>
                <a:gd name="connsiteX7207" fmla="*/ 717954 w 9586368"/>
                <a:gd name="connsiteY7207" fmla="*/ 1439920 h 6479439"/>
                <a:gd name="connsiteX7208" fmla="*/ 482661 w 9586368"/>
                <a:gd name="connsiteY7208" fmla="*/ 1435882 h 6479439"/>
                <a:gd name="connsiteX7209" fmla="*/ 492571 w 9586368"/>
                <a:gd name="connsiteY7209" fmla="*/ 1435882 h 6479439"/>
                <a:gd name="connsiteX7210" fmla="*/ 496590 w 9586368"/>
                <a:gd name="connsiteY7210" fmla="*/ 1439920 h 6479439"/>
                <a:gd name="connsiteX7211" fmla="*/ 496590 w 9586368"/>
                <a:gd name="connsiteY7211" fmla="*/ 1449791 h 6479439"/>
                <a:gd name="connsiteX7212" fmla="*/ 492571 w 9586368"/>
                <a:gd name="connsiteY7212" fmla="*/ 1453830 h 6479439"/>
                <a:gd name="connsiteX7213" fmla="*/ 482661 w 9586368"/>
                <a:gd name="connsiteY7213" fmla="*/ 1453830 h 6479439"/>
                <a:gd name="connsiteX7214" fmla="*/ 478642 w 9586368"/>
                <a:gd name="connsiteY7214" fmla="*/ 1449791 h 6479439"/>
                <a:gd name="connsiteX7215" fmla="*/ 478642 w 9586368"/>
                <a:gd name="connsiteY7215" fmla="*/ 1439920 h 6479439"/>
                <a:gd name="connsiteX7216" fmla="*/ 3350359 w 9586368"/>
                <a:gd name="connsiteY7216" fmla="*/ 1196701 h 6479439"/>
                <a:gd name="connsiteX7217" fmla="*/ 3360268 w 9586368"/>
                <a:gd name="connsiteY7217" fmla="*/ 1196701 h 6479439"/>
                <a:gd name="connsiteX7218" fmla="*/ 3364287 w 9586368"/>
                <a:gd name="connsiteY7218" fmla="*/ 1200738 h 6479439"/>
                <a:gd name="connsiteX7219" fmla="*/ 3364287 w 9586368"/>
                <a:gd name="connsiteY7219" fmla="*/ 1210610 h 6479439"/>
                <a:gd name="connsiteX7220" fmla="*/ 3360268 w 9586368"/>
                <a:gd name="connsiteY7220" fmla="*/ 1214650 h 6479439"/>
                <a:gd name="connsiteX7221" fmla="*/ 3350359 w 9586368"/>
                <a:gd name="connsiteY7221" fmla="*/ 1214650 h 6479439"/>
                <a:gd name="connsiteX7222" fmla="*/ 3346340 w 9586368"/>
                <a:gd name="connsiteY7222" fmla="*/ 1210610 h 6479439"/>
                <a:gd name="connsiteX7223" fmla="*/ 3346340 w 9586368"/>
                <a:gd name="connsiteY7223" fmla="*/ 1200738 h 6479439"/>
                <a:gd name="connsiteX7224" fmla="*/ 3111048 w 9586368"/>
                <a:gd name="connsiteY7224" fmla="*/ 1196701 h 6479439"/>
                <a:gd name="connsiteX7225" fmla="*/ 3120959 w 9586368"/>
                <a:gd name="connsiteY7225" fmla="*/ 1196701 h 6479439"/>
                <a:gd name="connsiteX7226" fmla="*/ 3124977 w 9586368"/>
                <a:gd name="connsiteY7226" fmla="*/ 1200738 h 6479439"/>
                <a:gd name="connsiteX7227" fmla="*/ 3124977 w 9586368"/>
                <a:gd name="connsiteY7227" fmla="*/ 1210610 h 6479439"/>
                <a:gd name="connsiteX7228" fmla="*/ 3120959 w 9586368"/>
                <a:gd name="connsiteY7228" fmla="*/ 1214650 h 6479439"/>
                <a:gd name="connsiteX7229" fmla="*/ 3111048 w 9586368"/>
                <a:gd name="connsiteY7229" fmla="*/ 1214650 h 6479439"/>
                <a:gd name="connsiteX7230" fmla="*/ 3107029 w 9586368"/>
                <a:gd name="connsiteY7230" fmla="*/ 1210610 h 6479439"/>
                <a:gd name="connsiteX7231" fmla="*/ 3107029 w 9586368"/>
                <a:gd name="connsiteY7231" fmla="*/ 1200738 h 6479439"/>
                <a:gd name="connsiteX7232" fmla="*/ 2871737 w 9586368"/>
                <a:gd name="connsiteY7232" fmla="*/ 1196701 h 6479439"/>
                <a:gd name="connsiteX7233" fmla="*/ 2881646 w 9586368"/>
                <a:gd name="connsiteY7233" fmla="*/ 1196701 h 6479439"/>
                <a:gd name="connsiteX7234" fmla="*/ 2885666 w 9586368"/>
                <a:gd name="connsiteY7234" fmla="*/ 1200738 h 6479439"/>
                <a:gd name="connsiteX7235" fmla="*/ 2885666 w 9586368"/>
                <a:gd name="connsiteY7235" fmla="*/ 1210610 h 6479439"/>
                <a:gd name="connsiteX7236" fmla="*/ 2881646 w 9586368"/>
                <a:gd name="connsiteY7236" fmla="*/ 1214650 h 6479439"/>
                <a:gd name="connsiteX7237" fmla="*/ 2871737 w 9586368"/>
                <a:gd name="connsiteY7237" fmla="*/ 1214650 h 6479439"/>
                <a:gd name="connsiteX7238" fmla="*/ 2867717 w 9586368"/>
                <a:gd name="connsiteY7238" fmla="*/ 1210610 h 6479439"/>
                <a:gd name="connsiteX7239" fmla="*/ 2867717 w 9586368"/>
                <a:gd name="connsiteY7239" fmla="*/ 1200738 h 6479439"/>
                <a:gd name="connsiteX7240" fmla="*/ 2632423 w 9586368"/>
                <a:gd name="connsiteY7240" fmla="*/ 1196701 h 6479439"/>
                <a:gd name="connsiteX7241" fmla="*/ 2642334 w 9586368"/>
                <a:gd name="connsiteY7241" fmla="*/ 1196701 h 6479439"/>
                <a:gd name="connsiteX7242" fmla="*/ 2646352 w 9586368"/>
                <a:gd name="connsiteY7242" fmla="*/ 1200740 h 6479439"/>
                <a:gd name="connsiteX7243" fmla="*/ 2646352 w 9586368"/>
                <a:gd name="connsiteY7243" fmla="*/ 1210610 h 6479439"/>
                <a:gd name="connsiteX7244" fmla="*/ 2642334 w 9586368"/>
                <a:gd name="connsiteY7244" fmla="*/ 1214650 h 6479439"/>
                <a:gd name="connsiteX7245" fmla="*/ 2632423 w 9586368"/>
                <a:gd name="connsiteY7245" fmla="*/ 1214650 h 6479439"/>
                <a:gd name="connsiteX7246" fmla="*/ 2628404 w 9586368"/>
                <a:gd name="connsiteY7246" fmla="*/ 1210610 h 6479439"/>
                <a:gd name="connsiteX7247" fmla="*/ 2628404 w 9586368"/>
                <a:gd name="connsiteY7247" fmla="*/ 1200740 h 6479439"/>
                <a:gd name="connsiteX7248" fmla="*/ 2393104 w 9586368"/>
                <a:gd name="connsiteY7248" fmla="*/ 1196701 h 6479439"/>
                <a:gd name="connsiteX7249" fmla="*/ 2403015 w 9586368"/>
                <a:gd name="connsiteY7249" fmla="*/ 1196701 h 6479439"/>
                <a:gd name="connsiteX7250" fmla="*/ 2407034 w 9586368"/>
                <a:gd name="connsiteY7250" fmla="*/ 1200740 h 6479439"/>
                <a:gd name="connsiteX7251" fmla="*/ 2407034 w 9586368"/>
                <a:gd name="connsiteY7251" fmla="*/ 1210610 h 6479439"/>
                <a:gd name="connsiteX7252" fmla="*/ 2403015 w 9586368"/>
                <a:gd name="connsiteY7252" fmla="*/ 1214650 h 6479439"/>
                <a:gd name="connsiteX7253" fmla="*/ 2393104 w 9586368"/>
                <a:gd name="connsiteY7253" fmla="*/ 1214650 h 6479439"/>
                <a:gd name="connsiteX7254" fmla="*/ 2389087 w 9586368"/>
                <a:gd name="connsiteY7254" fmla="*/ 1210610 h 6479439"/>
                <a:gd name="connsiteX7255" fmla="*/ 2389087 w 9586368"/>
                <a:gd name="connsiteY7255" fmla="*/ 1200740 h 6479439"/>
                <a:gd name="connsiteX7256" fmla="*/ 4546929 w 9586368"/>
                <a:gd name="connsiteY7256" fmla="*/ 1196689 h 6479439"/>
                <a:gd name="connsiteX7257" fmla="*/ 4556840 w 9586368"/>
                <a:gd name="connsiteY7257" fmla="*/ 1196689 h 6479439"/>
                <a:gd name="connsiteX7258" fmla="*/ 4560859 w 9586368"/>
                <a:gd name="connsiteY7258" fmla="*/ 1200726 h 6479439"/>
                <a:gd name="connsiteX7259" fmla="*/ 4560859 w 9586368"/>
                <a:gd name="connsiteY7259" fmla="*/ 1210598 h 6479439"/>
                <a:gd name="connsiteX7260" fmla="*/ 4556840 w 9586368"/>
                <a:gd name="connsiteY7260" fmla="*/ 1214637 h 6479439"/>
                <a:gd name="connsiteX7261" fmla="*/ 4546929 w 9586368"/>
                <a:gd name="connsiteY7261" fmla="*/ 1214637 h 6479439"/>
                <a:gd name="connsiteX7262" fmla="*/ 4542910 w 9586368"/>
                <a:gd name="connsiteY7262" fmla="*/ 1210598 h 6479439"/>
                <a:gd name="connsiteX7263" fmla="*/ 4542910 w 9586368"/>
                <a:gd name="connsiteY7263" fmla="*/ 1200726 h 6479439"/>
                <a:gd name="connsiteX7264" fmla="*/ 4307612 w 9586368"/>
                <a:gd name="connsiteY7264" fmla="*/ 1196689 h 6479439"/>
                <a:gd name="connsiteX7265" fmla="*/ 4317523 w 9586368"/>
                <a:gd name="connsiteY7265" fmla="*/ 1196689 h 6479439"/>
                <a:gd name="connsiteX7266" fmla="*/ 4321543 w 9586368"/>
                <a:gd name="connsiteY7266" fmla="*/ 1200726 h 6479439"/>
                <a:gd name="connsiteX7267" fmla="*/ 4321543 w 9586368"/>
                <a:gd name="connsiteY7267" fmla="*/ 1210598 h 6479439"/>
                <a:gd name="connsiteX7268" fmla="*/ 4317523 w 9586368"/>
                <a:gd name="connsiteY7268" fmla="*/ 1214637 h 6479439"/>
                <a:gd name="connsiteX7269" fmla="*/ 4307612 w 9586368"/>
                <a:gd name="connsiteY7269" fmla="*/ 1214637 h 6479439"/>
                <a:gd name="connsiteX7270" fmla="*/ 4303595 w 9586368"/>
                <a:gd name="connsiteY7270" fmla="*/ 1210598 h 6479439"/>
                <a:gd name="connsiteX7271" fmla="*/ 4303595 w 9586368"/>
                <a:gd name="connsiteY7271" fmla="*/ 1200726 h 6479439"/>
                <a:gd name="connsiteX7272" fmla="*/ 4068297 w 9586368"/>
                <a:gd name="connsiteY7272" fmla="*/ 1196689 h 6479439"/>
                <a:gd name="connsiteX7273" fmla="*/ 4078210 w 9586368"/>
                <a:gd name="connsiteY7273" fmla="*/ 1196689 h 6479439"/>
                <a:gd name="connsiteX7274" fmla="*/ 4082229 w 9586368"/>
                <a:gd name="connsiteY7274" fmla="*/ 1200726 h 6479439"/>
                <a:gd name="connsiteX7275" fmla="*/ 4082229 w 9586368"/>
                <a:gd name="connsiteY7275" fmla="*/ 1210598 h 6479439"/>
                <a:gd name="connsiteX7276" fmla="*/ 4078210 w 9586368"/>
                <a:gd name="connsiteY7276" fmla="*/ 1214637 h 6479439"/>
                <a:gd name="connsiteX7277" fmla="*/ 4068297 w 9586368"/>
                <a:gd name="connsiteY7277" fmla="*/ 1214637 h 6479439"/>
                <a:gd name="connsiteX7278" fmla="*/ 4064278 w 9586368"/>
                <a:gd name="connsiteY7278" fmla="*/ 1210598 h 6479439"/>
                <a:gd name="connsiteX7279" fmla="*/ 4064278 w 9586368"/>
                <a:gd name="connsiteY7279" fmla="*/ 1200726 h 6479439"/>
                <a:gd name="connsiteX7280" fmla="*/ 3828990 w 9586368"/>
                <a:gd name="connsiteY7280" fmla="*/ 1196689 h 6479439"/>
                <a:gd name="connsiteX7281" fmla="*/ 3838899 w 9586368"/>
                <a:gd name="connsiteY7281" fmla="*/ 1196689 h 6479439"/>
                <a:gd name="connsiteX7282" fmla="*/ 3842917 w 9586368"/>
                <a:gd name="connsiteY7282" fmla="*/ 1200728 h 6479439"/>
                <a:gd name="connsiteX7283" fmla="*/ 3842917 w 9586368"/>
                <a:gd name="connsiteY7283" fmla="*/ 1210598 h 6479439"/>
                <a:gd name="connsiteX7284" fmla="*/ 3838899 w 9586368"/>
                <a:gd name="connsiteY7284" fmla="*/ 1214637 h 6479439"/>
                <a:gd name="connsiteX7285" fmla="*/ 3828990 w 9586368"/>
                <a:gd name="connsiteY7285" fmla="*/ 1214637 h 6479439"/>
                <a:gd name="connsiteX7286" fmla="*/ 3824971 w 9586368"/>
                <a:gd name="connsiteY7286" fmla="*/ 1210598 h 6479439"/>
                <a:gd name="connsiteX7287" fmla="*/ 3824971 w 9586368"/>
                <a:gd name="connsiteY7287" fmla="*/ 1200728 h 6479439"/>
                <a:gd name="connsiteX7288" fmla="*/ 3589676 w 9586368"/>
                <a:gd name="connsiteY7288" fmla="*/ 1196689 h 6479439"/>
                <a:gd name="connsiteX7289" fmla="*/ 3599585 w 9586368"/>
                <a:gd name="connsiteY7289" fmla="*/ 1196689 h 6479439"/>
                <a:gd name="connsiteX7290" fmla="*/ 3603604 w 9586368"/>
                <a:gd name="connsiteY7290" fmla="*/ 1200728 h 6479439"/>
                <a:gd name="connsiteX7291" fmla="*/ 3603604 w 9586368"/>
                <a:gd name="connsiteY7291" fmla="*/ 1210598 h 6479439"/>
                <a:gd name="connsiteX7292" fmla="*/ 3599585 w 9586368"/>
                <a:gd name="connsiteY7292" fmla="*/ 1214637 h 6479439"/>
                <a:gd name="connsiteX7293" fmla="*/ 3589676 w 9586368"/>
                <a:gd name="connsiteY7293" fmla="*/ 1214637 h 6479439"/>
                <a:gd name="connsiteX7294" fmla="*/ 3585657 w 9586368"/>
                <a:gd name="connsiteY7294" fmla="*/ 1210598 h 6479439"/>
                <a:gd name="connsiteX7295" fmla="*/ 3585657 w 9586368"/>
                <a:gd name="connsiteY7295" fmla="*/ 1200728 h 6479439"/>
                <a:gd name="connsiteX7296" fmla="*/ 5743412 w 9586368"/>
                <a:gd name="connsiteY7296" fmla="*/ 1196676 h 6479439"/>
                <a:gd name="connsiteX7297" fmla="*/ 5753323 w 9586368"/>
                <a:gd name="connsiteY7297" fmla="*/ 1196676 h 6479439"/>
                <a:gd name="connsiteX7298" fmla="*/ 5757342 w 9586368"/>
                <a:gd name="connsiteY7298" fmla="*/ 1200714 h 6479439"/>
                <a:gd name="connsiteX7299" fmla="*/ 5757342 w 9586368"/>
                <a:gd name="connsiteY7299" fmla="*/ 1210586 h 6479439"/>
                <a:gd name="connsiteX7300" fmla="*/ 5753323 w 9586368"/>
                <a:gd name="connsiteY7300" fmla="*/ 1214625 h 6479439"/>
                <a:gd name="connsiteX7301" fmla="*/ 5743412 w 9586368"/>
                <a:gd name="connsiteY7301" fmla="*/ 1214625 h 6479439"/>
                <a:gd name="connsiteX7302" fmla="*/ 5739393 w 9586368"/>
                <a:gd name="connsiteY7302" fmla="*/ 1210586 h 6479439"/>
                <a:gd name="connsiteX7303" fmla="*/ 5739393 w 9586368"/>
                <a:gd name="connsiteY7303" fmla="*/ 1200714 h 6479439"/>
                <a:gd name="connsiteX7304" fmla="*/ 5504099 w 9586368"/>
                <a:gd name="connsiteY7304" fmla="*/ 1196676 h 6479439"/>
                <a:gd name="connsiteX7305" fmla="*/ 5514010 w 9586368"/>
                <a:gd name="connsiteY7305" fmla="*/ 1196676 h 6479439"/>
                <a:gd name="connsiteX7306" fmla="*/ 5518029 w 9586368"/>
                <a:gd name="connsiteY7306" fmla="*/ 1200714 h 6479439"/>
                <a:gd name="connsiteX7307" fmla="*/ 5518029 w 9586368"/>
                <a:gd name="connsiteY7307" fmla="*/ 1210586 h 6479439"/>
                <a:gd name="connsiteX7308" fmla="*/ 5514010 w 9586368"/>
                <a:gd name="connsiteY7308" fmla="*/ 1214625 h 6479439"/>
                <a:gd name="connsiteX7309" fmla="*/ 5504099 w 9586368"/>
                <a:gd name="connsiteY7309" fmla="*/ 1214625 h 6479439"/>
                <a:gd name="connsiteX7310" fmla="*/ 5500080 w 9586368"/>
                <a:gd name="connsiteY7310" fmla="*/ 1210586 h 6479439"/>
                <a:gd name="connsiteX7311" fmla="*/ 5500080 w 9586368"/>
                <a:gd name="connsiteY7311" fmla="*/ 1200714 h 6479439"/>
                <a:gd name="connsiteX7312" fmla="*/ 5264784 w 9586368"/>
                <a:gd name="connsiteY7312" fmla="*/ 1196676 h 6479439"/>
                <a:gd name="connsiteX7313" fmla="*/ 5274694 w 9586368"/>
                <a:gd name="connsiteY7313" fmla="*/ 1196676 h 6479439"/>
                <a:gd name="connsiteX7314" fmla="*/ 5278713 w 9586368"/>
                <a:gd name="connsiteY7314" fmla="*/ 1200714 h 6479439"/>
                <a:gd name="connsiteX7315" fmla="*/ 5278713 w 9586368"/>
                <a:gd name="connsiteY7315" fmla="*/ 1210586 h 6479439"/>
                <a:gd name="connsiteX7316" fmla="*/ 5274694 w 9586368"/>
                <a:gd name="connsiteY7316" fmla="*/ 1214625 h 6479439"/>
                <a:gd name="connsiteX7317" fmla="*/ 5264784 w 9586368"/>
                <a:gd name="connsiteY7317" fmla="*/ 1214625 h 6479439"/>
                <a:gd name="connsiteX7318" fmla="*/ 5260765 w 9586368"/>
                <a:gd name="connsiteY7318" fmla="*/ 1210586 h 6479439"/>
                <a:gd name="connsiteX7319" fmla="*/ 5260765 w 9586368"/>
                <a:gd name="connsiteY7319" fmla="*/ 1200714 h 6479439"/>
                <a:gd name="connsiteX7320" fmla="*/ 5025470 w 9586368"/>
                <a:gd name="connsiteY7320" fmla="*/ 1196676 h 6479439"/>
                <a:gd name="connsiteX7321" fmla="*/ 5035381 w 9586368"/>
                <a:gd name="connsiteY7321" fmla="*/ 1196676 h 6479439"/>
                <a:gd name="connsiteX7322" fmla="*/ 5039400 w 9586368"/>
                <a:gd name="connsiteY7322" fmla="*/ 1200715 h 6479439"/>
                <a:gd name="connsiteX7323" fmla="*/ 5039400 w 9586368"/>
                <a:gd name="connsiteY7323" fmla="*/ 1210586 h 6479439"/>
                <a:gd name="connsiteX7324" fmla="*/ 5035381 w 9586368"/>
                <a:gd name="connsiteY7324" fmla="*/ 1214625 h 6479439"/>
                <a:gd name="connsiteX7325" fmla="*/ 5025470 w 9586368"/>
                <a:gd name="connsiteY7325" fmla="*/ 1214625 h 6479439"/>
                <a:gd name="connsiteX7326" fmla="*/ 5021451 w 9586368"/>
                <a:gd name="connsiteY7326" fmla="*/ 1210586 h 6479439"/>
                <a:gd name="connsiteX7327" fmla="*/ 5021451 w 9586368"/>
                <a:gd name="connsiteY7327" fmla="*/ 1200715 h 6479439"/>
                <a:gd name="connsiteX7328" fmla="*/ 4786241 w 9586368"/>
                <a:gd name="connsiteY7328" fmla="*/ 1196676 h 6479439"/>
                <a:gd name="connsiteX7329" fmla="*/ 4796152 w 9586368"/>
                <a:gd name="connsiteY7329" fmla="*/ 1196676 h 6479439"/>
                <a:gd name="connsiteX7330" fmla="*/ 4800171 w 9586368"/>
                <a:gd name="connsiteY7330" fmla="*/ 1200715 h 6479439"/>
                <a:gd name="connsiteX7331" fmla="*/ 4800171 w 9586368"/>
                <a:gd name="connsiteY7331" fmla="*/ 1210586 h 6479439"/>
                <a:gd name="connsiteX7332" fmla="*/ 4796152 w 9586368"/>
                <a:gd name="connsiteY7332" fmla="*/ 1214625 h 6479439"/>
                <a:gd name="connsiteX7333" fmla="*/ 4786241 w 9586368"/>
                <a:gd name="connsiteY7333" fmla="*/ 1214625 h 6479439"/>
                <a:gd name="connsiteX7334" fmla="*/ 4782224 w 9586368"/>
                <a:gd name="connsiteY7334" fmla="*/ 1210586 h 6479439"/>
                <a:gd name="connsiteX7335" fmla="*/ 4782224 w 9586368"/>
                <a:gd name="connsiteY7335" fmla="*/ 1200715 h 6479439"/>
                <a:gd name="connsiteX7336" fmla="*/ 6222042 w 9586368"/>
                <a:gd name="connsiteY7336" fmla="*/ 1196664 h 6479439"/>
                <a:gd name="connsiteX7337" fmla="*/ 6231952 w 9586368"/>
                <a:gd name="connsiteY7337" fmla="*/ 1196664 h 6479439"/>
                <a:gd name="connsiteX7338" fmla="*/ 6235971 w 9586368"/>
                <a:gd name="connsiteY7338" fmla="*/ 1200703 h 6479439"/>
                <a:gd name="connsiteX7339" fmla="*/ 6235971 w 9586368"/>
                <a:gd name="connsiteY7339" fmla="*/ 1210573 h 6479439"/>
                <a:gd name="connsiteX7340" fmla="*/ 6231952 w 9586368"/>
                <a:gd name="connsiteY7340" fmla="*/ 1214612 h 6479439"/>
                <a:gd name="connsiteX7341" fmla="*/ 6222042 w 9586368"/>
                <a:gd name="connsiteY7341" fmla="*/ 1214612 h 6479439"/>
                <a:gd name="connsiteX7342" fmla="*/ 6218023 w 9586368"/>
                <a:gd name="connsiteY7342" fmla="*/ 1210573 h 6479439"/>
                <a:gd name="connsiteX7343" fmla="*/ 6218023 w 9586368"/>
                <a:gd name="connsiteY7343" fmla="*/ 1200703 h 6479439"/>
                <a:gd name="connsiteX7344" fmla="*/ 5982729 w 9586368"/>
                <a:gd name="connsiteY7344" fmla="*/ 1196664 h 6479439"/>
                <a:gd name="connsiteX7345" fmla="*/ 5992639 w 9586368"/>
                <a:gd name="connsiteY7345" fmla="*/ 1196664 h 6479439"/>
                <a:gd name="connsiteX7346" fmla="*/ 5996658 w 9586368"/>
                <a:gd name="connsiteY7346" fmla="*/ 1200703 h 6479439"/>
                <a:gd name="connsiteX7347" fmla="*/ 5996658 w 9586368"/>
                <a:gd name="connsiteY7347" fmla="*/ 1210573 h 6479439"/>
                <a:gd name="connsiteX7348" fmla="*/ 5992639 w 9586368"/>
                <a:gd name="connsiteY7348" fmla="*/ 1214612 h 6479439"/>
                <a:gd name="connsiteX7349" fmla="*/ 5982729 w 9586368"/>
                <a:gd name="connsiteY7349" fmla="*/ 1214612 h 6479439"/>
                <a:gd name="connsiteX7350" fmla="*/ 5978710 w 9586368"/>
                <a:gd name="connsiteY7350" fmla="*/ 1210573 h 6479439"/>
                <a:gd name="connsiteX7351" fmla="*/ 5978710 w 9586368"/>
                <a:gd name="connsiteY7351" fmla="*/ 1200703 h 6479439"/>
                <a:gd name="connsiteX7352" fmla="*/ 6939983 w 9586368"/>
                <a:gd name="connsiteY7352" fmla="*/ 1196664 h 6479439"/>
                <a:gd name="connsiteX7353" fmla="*/ 6949894 w 9586368"/>
                <a:gd name="connsiteY7353" fmla="*/ 1196664 h 6479439"/>
                <a:gd name="connsiteX7354" fmla="*/ 6953913 w 9586368"/>
                <a:gd name="connsiteY7354" fmla="*/ 1200702 h 6479439"/>
                <a:gd name="connsiteX7355" fmla="*/ 6953913 w 9586368"/>
                <a:gd name="connsiteY7355" fmla="*/ 1210573 h 6479439"/>
                <a:gd name="connsiteX7356" fmla="*/ 6949894 w 9586368"/>
                <a:gd name="connsiteY7356" fmla="*/ 1214612 h 6479439"/>
                <a:gd name="connsiteX7357" fmla="*/ 6939983 w 9586368"/>
                <a:gd name="connsiteY7357" fmla="*/ 1214612 h 6479439"/>
                <a:gd name="connsiteX7358" fmla="*/ 6935964 w 9586368"/>
                <a:gd name="connsiteY7358" fmla="*/ 1210573 h 6479439"/>
                <a:gd name="connsiteX7359" fmla="*/ 6935964 w 9586368"/>
                <a:gd name="connsiteY7359" fmla="*/ 1200702 h 6479439"/>
                <a:gd name="connsiteX7360" fmla="*/ 6700670 w 9586368"/>
                <a:gd name="connsiteY7360" fmla="*/ 1196664 h 6479439"/>
                <a:gd name="connsiteX7361" fmla="*/ 6710581 w 9586368"/>
                <a:gd name="connsiteY7361" fmla="*/ 1196664 h 6479439"/>
                <a:gd name="connsiteX7362" fmla="*/ 6714600 w 9586368"/>
                <a:gd name="connsiteY7362" fmla="*/ 1200702 h 6479439"/>
                <a:gd name="connsiteX7363" fmla="*/ 6714600 w 9586368"/>
                <a:gd name="connsiteY7363" fmla="*/ 1210573 h 6479439"/>
                <a:gd name="connsiteX7364" fmla="*/ 6710581 w 9586368"/>
                <a:gd name="connsiteY7364" fmla="*/ 1214612 h 6479439"/>
                <a:gd name="connsiteX7365" fmla="*/ 6700670 w 9586368"/>
                <a:gd name="connsiteY7365" fmla="*/ 1214612 h 6479439"/>
                <a:gd name="connsiteX7366" fmla="*/ 6696651 w 9586368"/>
                <a:gd name="connsiteY7366" fmla="*/ 1210573 h 6479439"/>
                <a:gd name="connsiteX7367" fmla="*/ 6696651 w 9586368"/>
                <a:gd name="connsiteY7367" fmla="*/ 1200702 h 6479439"/>
                <a:gd name="connsiteX7368" fmla="*/ 6461356 w 9586368"/>
                <a:gd name="connsiteY7368" fmla="*/ 1196664 h 6479439"/>
                <a:gd name="connsiteX7369" fmla="*/ 6471266 w 9586368"/>
                <a:gd name="connsiteY7369" fmla="*/ 1196664 h 6479439"/>
                <a:gd name="connsiteX7370" fmla="*/ 6475285 w 9586368"/>
                <a:gd name="connsiteY7370" fmla="*/ 1200702 h 6479439"/>
                <a:gd name="connsiteX7371" fmla="*/ 6475285 w 9586368"/>
                <a:gd name="connsiteY7371" fmla="*/ 1210573 h 6479439"/>
                <a:gd name="connsiteX7372" fmla="*/ 6471266 w 9586368"/>
                <a:gd name="connsiteY7372" fmla="*/ 1214612 h 6479439"/>
                <a:gd name="connsiteX7373" fmla="*/ 6461356 w 9586368"/>
                <a:gd name="connsiteY7373" fmla="*/ 1214612 h 6479439"/>
                <a:gd name="connsiteX7374" fmla="*/ 6457337 w 9586368"/>
                <a:gd name="connsiteY7374" fmla="*/ 1210573 h 6479439"/>
                <a:gd name="connsiteX7375" fmla="*/ 6457337 w 9586368"/>
                <a:gd name="connsiteY7375" fmla="*/ 1200702 h 6479439"/>
                <a:gd name="connsiteX7376" fmla="*/ 7418611 w 9586368"/>
                <a:gd name="connsiteY7376" fmla="*/ 1196652 h 6479439"/>
                <a:gd name="connsiteX7377" fmla="*/ 7428521 w 9586368"/>
                <a:gd name="connsiteY7377" fmla="*/ 1196652 h 6479439"/>
                <a:gd name="connsiteX7378" fmla="*/ 7432540 w 9586368"/>
                <a:gd name="connsiteY7378" fmla="*/ 1200690 h 6479439"/>
                <a:gd name="connsiteX7379" fmla="*/ 7432540 w 9586368"/>
                <a:gd name="connsiteY7379" fmla="*/ 1210561 h 6479439"/>
                <a:gd name="connsiteX7380" fmla="*/ 7428521 w 9586368"/>
                <a:gd name="connsiteY7380" fmla="*/ 1214600 h 6479439"/>
                <a:gd name="connsiteX7381" fmla="*/ 7418611 w 9586368"/>
                <a:gd name="connsiteY7381" fmla="*/ 1214600 h 6479439"/>
                <a:gd name="connsiteX7382" fmla="*/ 7414592 w 9586368"/>
                <a:gd name="connsiteY7382" fmla="*/ 1210561 h 6479439"/>
                <a:gd name="connsiteX7383" fmla="*/ 7414592 w 9586368"/>
                <a:gd name="connsiteY7383" fmla="*/ 1200690 h 6479439"/>
                <a:gd name="connsiteX7384" fmla="*/ 7179298 w 9586368"/>
                <a:gd name="connsiteY7384" fmla="*/ 1196652 h 6479439"/>
                <a:gd name="connsiteX7385" fmla="*/ 7189209 w 9586368"/>
                <a:gd name="connsiteY7385" fmla="*/ 1196652 h 6479439"/>
                <a:gd name="connsiteX7386" fmla="*/ 7193228 w 9586368"/>
                <a:gd name="connsiteY7386" fmla="*/ 1200690 h 6479439"/>
                <a:gd name="connsiteX7387" fmla="*/ 7193228 w 9586368"/>
                <a:gd name="connsiteY7387" fmla="*/ 1210561 h 6479439"/>
                <a:gd name="connsiteX7388" fmla="*/ 7189209 w 9586368"/>
                <a:gd name="connsiteY7388" fmla="*/ 1214600 h 6479439"/>
                <a:gd name="connsiteX7389" fmla="*/ 7179298 w 9586368"/>
                <a:gd name="connsiteY7389" fmla="*/ 1214600 h 6479439"/>
                <a:gd name="connsiteX7390" fmla="*/ 7175279 w 9586368"/>
                <a:gd name="connsiteY7390" fmla="*/ 1210561 h 6479439"/>
                <a:gd name="connsiteX7391" fmla="*/ 7175279 w 9586368"/>
                <a:gd name="connsiteY7391" fmla="*/ 1200690 h 6479439"/>
                <a:gd name="connsiteX7392" fmla="*/ 8136553 w 9586368"/>
                <a:gd name="connsiteY7392" fmla="*/ 1196651 h 6479439"/>
                <a:gd name="connsiteX7393" fmla="*/ 8146464 w 9586368"/>
                <a:gd name="connsiteY7393" fmla="*/ 1196651 h 6479439"/>
                <a:gd name="connsiteX7394" fmla="*/ 8150483 w 9586368"/>
                <a:gd name="connsiteY7394" fmla="*/ 1200689 h 6479439"/>
                <a:gd name="connsiteX7395" fmla="*/ 8150483 w 9586368"/>
                <a:gd name="connsiteY7395" fmla="*/ 1210561 h 6479439"/>
                <a:gd name="connsiteX7396" fmla="*/ 8146464 w 9586368"/>
                <a:gd name="connsiteY7396" fmla="*/ 1214600 h 6479439"/>
                <a:gd name="connsiteX7397" fmla="*/ 8136553 w 9586368"/>
                <a:gd name="connsiteY7397" fmla="*/ 1214600 h 6479439"/>
                <a:gd name="connsiteX7398" fmla="*/ 8132534 w 9586368"/>
                <a:gd name="connsiteY7398" fmla="*/ 1210561 h 6479439"/>
                <a:gd name="connsiteX7399" fmla="*/ 8132534 w 9586368"/>
                <a:gd name="connsiteY7399" fmla="*/ 1200689 h 6479439"/>
                <a:gd name="connsiteX7400" fmla="*/ 7897241 w 9586368"/>
                <a:gd name="connsiteY7400" fmla="*/ 1196651 h 6479439"/>
                <a:gd name="connsiteX7401" fmla="*/ 7907151 w 9586368"/>
                <a:gd name="connsiteY7401" fmla="*/ 1196651 h 6479439"/>
                <a:gd name="connsiteX7402" fmla="*/ 7911170 w 9586368"/>
                <a:gd name="connsiteY7402" fmla="*/ 1200689 h 6479439"/>
                <a:gd name="connsiteX7403" fmla="*/ 7911170 w 9586368"/>
                <a:gd name="connsiteY7403" fmla="*/ 1210561 h 6479439"/>
                <a:gd name="connsiteX7404" fmla="*/ 7907151 w 9586368"/>
                <a:gd name="connsiteY7404" fmla="*/ 1214600 h 6479439"/>
                <a:gd name="connsiteX7405" fmla="*/ 7897241 w 9586368"/>
                <a:gd name="connsiteY7405" fmla="*/ 1214600 h 6479439"/>
                <a:gd name="connsiteX7406" fmla="*/ 7893222 w 9586368"/>
                <a:gd name="connsiteY7406" fmla="*/ 1210561 h 6479439"/>
                <a:gd name="connsiteX7407" fmla="*/ 7893222 w 9586368"/>
                <a:gd name="connsiteY7407" fmla="*/ 1200689 h 6479439"/>
                <a:gd name="connsiteX7408" fmla="*/ 7657926 w 9586368"/>
                <a:gd name="connsiteY7408" fmla="*/ 1196651 h 6479439"/>
                <a:gd name="connsiteX7409" fmla="*/ 7667836 w 9586368"/>
                <a:gd name="connsiteY7409" fmla="*/ 1196651 h 6479439"/>
                <a:gd name="connsiteX7410" fmla="*/ 7671855 w 9586368"/>
                <a:gd name="connsiteY7410" fmla="*/ 1200689 h 6479439"/>
                <a:gd name="connsiteX7411" fmla="*/ 7671855 w 9586368"/>
                <a:gd name="connsiteY7411" fmla="*/ 1210561 h 6479439"/>
                <a:gd name="connsiteX7412" fmla="*/ 7667836 w 9586368"/>
                <a:gd name="connsiteY7412" fmla="*/ 1214600 h 6479439"/>
                <a:gd name="connsiteX7413" fmla="*/ 7657926 w 9586368"/>
                <a:gd name="connsiteY7413" fmla="*/ 1214600 h 6479439"/>
                <a:gd name="connsiteX7414" fmla="*/ 7653906 w 9586368"/>
                <a:gd name="connsiteY7414" fmla="*/ 1210561 h 6479439"/>
                <a:gd name="connsiteX7415" fmla="*/ 7653906 w 9586368"/>
                <a:gd name="connsiteY7415" fmla="*/ 1200689 h 6479439"/>
                <a:gd name="connsiteX7416" fmla="*/ 8615184 w 9586368"/>
                <a:gd name="connsiteY7416" fmla="*/ 1196639 h 6479439"/>
                <a:gd name="connsiteX7417" fmla="*/ 8625095 w 9586368"/>
                <a:gd name="connsiteY7417" fmla="*/ 1196639 h 6479439"/>
                <a:gd name="connsiteX7418" fmla="*/ 8629114 w 9586368"/>
                <a:gd name="connsiteY7418" fmla="*/ 1200678 h 6479439"/>
                <a:gd name="connsiteX7419" fmla="*/ 8629114 w 9586368"/>
                <a:gd name="connsiteY7419" fmla="*/ 1210548 h 6479439"/>
                <a:gd name="connsiteX7420" fmla="*/ 8625095 w 9586368"/>
                <a:gd name="connsiteY7420" fmla="*/ 1214587 h 6479439"/>
                <a:gd name="connsiteX7421" fmla="*/ 8615184 w 9586368"/>
                <a:gd name="connsiteY7421" fmla="*/ 1214587 h 6479439"/>
                <a:gd name="connsiteX7422" fmla="*/ 8611165 w 9586368"/>
                <a:gd name="connsiteY7422" fmla="*/ 1210548 h 6479439"/>
                <a:gd name="connsiteX7423" fmla="*/ 8611165 w 9586368"/>
                <a:gd name="connsiteY7423" fmla="*/ 1200678 h 6479439"/>
                <a:gd name="connsiteX7424" fmla="*/ 8375869 w 9586368"/>
                <a:gd name="connsiteY7424" fmla="*/ 1196639 h 6479439"/>
                <a:gd name="connsiteX7425" fmla="*/ 8385779 w 9586368"/>
                <a:gd name="connsiteY7425" fmla="*/ 1196639 h 6479439"/>
                <a:gd name="connsiteX7426" fmla="*/ 8389799 w 9586368"/>
                <a:gd name="connsiteY7426" fmla="*/ 1200678 h 6479439"/>
                <a:gd name="connsiteX7427" fmla="*/ 8389799 w 9586368"/>
                <a:gd name="connsiteY7427" fmla="*/ 1210549 h 6479439"/>
                <a:gd name="connsiteX7428" fmla="*/ 8385779 w 9586368"/>
                <a:gd name="connsiteY7428" fmla="*/ 1214587 h 6479439"/>
                <a:gd name="connsiteX7429" fmla="*/ 8375869 w 9586368"/>
                <a:gd name="connsiteY7429" fmla="*/ 1214587 h 6479439"/>
                <a:gd name="connsiteX7430" fmla="*/ 8371850 w 9586368"/>
                <a:gd name="connsiteY7430" fmla="*/ 1210549 h 6479439"/>
                <a:gd name="connsiteX7431" fmla="*/ 8371850 w 9586368"/>
                <a:gd name="connsiteY7431" fmla="*/ 1200678 h 6479439"/>
                <a:gd name="connsiteX7432" fmla="*/ 9333125 w 9586368"/>
                <a:gd name="connsiteY7432" fmla="*/ 1196639 h 6479439"/>
                <a:gd name="connsiteX7433" fmla="*/ 9343036 w 9586368"/>
                <a:gd name="connsiteY7433" fmla="*/ 1196639 h 6479439"/>
                <a:gd name="connsiteX7434" fmla="*/ 9347055 w 9586368"/>
                <a:gd name="connsiteY7434" fmla="*/ 1200677 h 6479439"/>
                <a:gd name="connsiteX7435" fmla="*/ 9347055 w 9586368"/>
                <a:gd name="connsiteY7435" fmla="*/ 1210548 h 6479439"/>
                <a:gd name="connsiteX7436" fmla="*/ 9343036 w 9586368"/>
                <a:gd name="connsiteY7436" fmla="*/ 1214587 h 6479439"/>
                <a:gd name="connsiteX7437" fmla="*/ 9333125 w 9586368"/>
                <a:gd name="connsiteY7437" fmla="*/ 1214587 h 6479439"/>
                <a:gd name="connsiteX7438" fmla="*/ 9329106 w 9586368"/>
                <a:gd name="connsiteY7438" fmla="*/ 1210548 h 6479439"/>
                <a:gd name="connsiteX7439" fmla="*/ 9329106 w 9586368"/>
                <a:gd name="connsiteY7439" fmla="*/ 1200677 h 6479439"/>
                <a:gd name="connsiteX7440" fmla="*/ 9093811 w 9586368"/>
                <a:gd name="connsiteY7440" fmla="*/ 1196639 h 6479439"/>
                <a:gd name="connsiteX7441" fmla="*/ 9103722 w 9586368"/>
                <a:gd name="connsiteY7441" fmla="*/ 1196639 h 6479439"/>
                <a:gd name="connsiteX7442" fmla="*/ 9107741 w 9586368"/>
                <a:gd name="connsiteY7442" fmla="*/ 1200677 h 6479439"/>
                <a:gd name="connsiteX7443" fmla="*/ 9107741 w 9586368"/>
                <a:gd name="connsiteY7443" fmla="*/ 1210548 h 6479439"/>
                <a:gd name="connsiteX7444" fmla="*/ 9103722 w 9586368"/>
                <a:gd name="connsiteY7444" fmla="*/ 1214587 h 6479439"/>
                <a:gd name="connsiteX7445" fmla="*/ 9093811 w 9586368"/>
                <a:gd name="connsiteY7445" fmla="*/ 1214587 h 6479439"/>
                <a:gd name="connsiteX7446" fmla="*/ 9089792 w 9586368"/>
                <a:gd name="connsiteY7446" fmla="*/ 1210548 h 6479439"/>
                <a:gd name="connsiteX7447" fmla="*/ 9089792 w 9586368"/>
                <a:gd name="connsiteY7447" fmla="*/ 1200677 h 6479439"/>
                <a:gd name="connsiteX7448" fmla="*/ 8854496 w 9586368"/>
                <a:gd name="connsiteY7448" fmla="*/ 1196639 h 6479439"/>
                <a:gd name="connsiteX7449" fmla="*/ 8864407 w 9586368"/>
                <a:gd name="connsiteY7449" fmla="*/ 1196639 h 6479439"/>
                <a:gd name="connsiteX7450" fmla="*/ 8868426 w 9586368"/>
                <a:gd name="connsiteY7450" fmla="*/ 1200677 h 6479439"/>
                <a:gd name="connsiteX7451" fmla="*/ 8868426 w 9586368"/>
                <a:gd name="connsiteY7451" fmla="*/ 1210548 h 6479439"/>
                <a:gd name="connsiteX7452" fmla="*/ 8864407 w 9586368"/>
                <a:gd name="connsiteY7452" fmla="*/ 1214587 h 6479439"/>
                <a:gd name="connsiteX7453" fmla="*/ 8854496 w 9586368"/>
                <a:gd name="connsiteY7453" fmla="*/ 1214587 h 6479439"/>
                <a:gd name="connsiteX7454" fmla="*/ 8850477 w 9586368"/>
                <a:gd name="connsiteY7454" fmla="*/ 1210548 h 6479439"/>
                <a:gd name="connsiteX7455" fmla="*/ 8850477 w 9586368"/>
                <a:gd name="connsiteY7455" fmla="*/ 1200677 h 6479439"/>
                <a:gd name="connsiteX7456" fmla="*/ 9572438 w 9586368"/>
                <a:gd name="connsiteY7456" fmla="*/ 1196627 h 6479439"/>
                <a:gd name="connsiteX7457" fmla="*/ 9582349 w 9586368"/>
                <a:gd name="connsiteY7457" fmla="*/ 1196627 h 6479439"/>
                <a:gd name="connsiteX7458" fmla="*/ 9586368 w 9586368"/>
                <a:gd name="connsiteY7458" fmla="*/ 1200665 h 6479439"/>
                <a:gd name="connsiteX7459" fmla="*/ 9586368 w 9586368"/>
                <a:gd name="connsiteY7459" fmla="*/ 1210536 h 6479439"/>
                <a:gd name="connsiteX7460" fmla="*/ 9582349 w 9586368"/>
                <a:gd name="connsiteY7460" fmla="*/ 1214575 h 6479439"/>
                <a:gd name="connsiteX7461" fmla="*/ 9572438 w 9586368"/>
                <a:gd name="connsiteY7461" fmla="*/ 1214575 h 6479439"/>
                <a:gd name="connsiteX7462" fmla="*/ 9568419 w 9586368"/>
                <a:gd name="connsiteY7462" fmla="*/ 1210536 h 6479439"/>
                <a:gd name="connsiteX7463" fmla="*/ 9568419 w 9586368"/>
                <a:gd name="connsiteY7463" fmla="*/ 1200665 h 6479439"/>
                <a:gd name="connsiteX7464" fmla="*/ 4035 w 9586368"/>
                <a:gd name="connsiteY7464" fmla="*/ 1196600 h 6479439"/>
                <a:gd name="connsiteX7465" fmla="*/ 13945 w 9586368"/>
                <a:gd name="connsiteY7465" fmla="*/ 1196600 h 6479439"/>
                <a:gd name="connsiteX7466" fmla="*/ 17964 w 9586368"/>
                <a:gd name="connsiteY7466" fmla="*/ 1200638 h 6479439"/>
                <a:gd name="connsiteX7467" fmla="*/ 17964 w 9586368"/>
                <a:gd name="connsiteY7467" fmla="*/ 1210509 h 6479439"/>
                <a:gd name="connsiteX7468" fmla="*/ 13945 w 9586368"/>
                <a:gd name="connsiteY7468" fmla="*/ 1214548 h 6479439"/>
                <a:gd name="connsiteX7469" fmla="*/ 4035 w 9586368"/>
                <a:gd name="connsiteY7469" fmla="*/ 1214548 h 6479439"/>
                <a:gd name="connsiteX7470" fmla="*/ 16 w 9586368"/>
                <a:gd name="connsiteY7470" fmla="*/ 1210509 h 6479439"/>
                <a:gd name="connsiteX7471" fmla="*/ 16 w 9586368"/>
                <a:gd name="connsiteY7471" fmla="*/ 1200638 h 6479439"/>
                <a:gd name="connsiteX7472" fmla="*/ 721974 w 9586368"/>
                <a:gd name="connsiteY7472" fmla="*/ 1196599 h 6479439"/>
                <a:gd name="connsiteX7473" fmla="*/ 731884 w 9586368"/>
                <a:gd name="connsiteY7473" fmla="*/ 1196599 h 6479439"/>
                <a:gd name="connsiteX7474" fmla="*/ 735903 w 9586368"/>
                <a:gd name="connsiteY7474" fmla="*/ 1200638 h 6479439"/>
                <a:gd name="connsiteX7475" fmla="*/ 735903 w 9586368"/>
                <a:gd name="connsiteY7475" fmla="*/ 1210509 h 6479439"/>
                <a:gd name="connsiteX7476" fmla="*/ 731884 w 9586368"/>
                <a:gd name="connsiteY7476" fmla="*/ 1214547 h 6479439"/>
                <a:gd name="connsiteX7477" fmla="*/ 721974 w 9586368"/>
                <a:gd name="connsiteY7477" fmla="*/ 1214547 h 6479439"/>
                <a:gd name="connsiteX7478" fmla="*/ 717955 w 9586368"/>
                <a:gd name="connsiteY7478" fmla="*/ 1210509 h 6479439"/>
                <a:gd name="connsiteX7479" fmla="*/ 717955 w 9586368"/>
                <a:gd name="connsiteY7479" fmla="*/ 1200638 h 6479439"/>
                <a:gd name="connsiteX7480" fmla="*/ 482661 w 9586368"/>
                <a:gd name="connsiteY7480" fmla="*/ 1196599 h 6479439"/>
                <a:gd name="connsiteX7481" fmla="*/ 492572 w 9586368"/>
                <a:gd name="connsiteY7481" fmla="*/ 1196599 h 6479439"/>
                <a:gd name="connsiteX7482" fmla="*/ 496591 w 9586368"/>
                <a:gd name="connsiteY7482" fmla="*/ 1200638 h 6479439"/>
                <a:gd name="connsiteX7483" fmla="*/ 496591 w 9586368"/>
                <a:gd name="connsiteY7483" fmla="*/ 1210509 h 6479439"/>
                <a:gd name="connsiteX7484" fmla="*/ 492572 w 9586368"/>
                <a:gd name="connsiteY7484" fmla="*/ 1214548 h 6479439"/>
                <a:gd name="connsiteX7485" fmla="*/ 482661 w 9586368"/>
                <a:gd name="connsiteY7485" fmla="*/ 1214548 h 6479439"/>
                <a:gd name="connsiteX7486" fmla="*/ 478642 w 9586368"/>
                <a:gd name="connsiteY7486" fmla="*/ 1210509 h 6479439"/>
                <a:gd name="connsiteX7487" fmla="*/ 478642 w 9586368"/>
                <a:gd name="connsiteY7487" fmla="*/ 1200638 h 6479439"/>
                <a:gd name="connsiteX7488" fmla="*/ 243348 w 9586368"/>
                <a:gd name="connsiteY7488" fmla="*/ 1196599 h 6479439"/>
                <a:gd name="connsiteX7489" fmla="*/ 253258 w 9586368"/>
                <a:gd name="connsiteY7489" fmla="*/ 1196599 h 6479439"/>
                <a:gd name="connsiteX7490" fmla="*/ 257278 w 9586368"/>
                <a:gd name="connsiteY7490" fmla="*/ 1200638 h 6479439"/>
                <a:gd name="connsiteX7491" fmla="*/ 257278 w 9586368"/>
                <a:gd name="connsiteY7491" fmla="*/ 1210509 h 6479439"/>
                <a:gd name="connsiteX7492" fmla="*/ 253258 w 9586368"/>
                <a:gd name="connsiteY7492" fmla="*/ 1214548 h 6479439"/>
                <a:gd name="connsiteX7493" fmla="*/ 243348 w 9586368"/>
                <a:gd name="connsiteY7493" fmla="*/ 1214548 h 6479439"/>
                <a:gd name="connsiteX7494" fmla="*/ 239329 w 9586368"/>
                <a:gd name="connsiteY7494" fmla="*/ 1210509 h 6479439"/>
                <a:gd name="connsiteX7495" fmla="*/ 239329 w 9586368"/>
                <a:gd name="connsiteY7495" fmla="*/ 1200638 h 6479439"/>
                <a:gd name="connsiteX7496" fmla="*/ 1439900 w 9586368"/>
                <a:gd name="connsiteY7496" fmla="*/ 1196589 h 6479439"/>
                <a:gd name="connsiteX7497" fmla="*/ 1449810 w 9586368"/>
                <a:gd name="connsiteY7497" fmla="*/ 1196589 h 6479439"/>
                <a:gd name="connsiteX7498" fmla="*/ 1453829 w 9586368"/>
                <a:gd name="connsiteY7498" fmla="*/ 1200628 h 6479439"/>
                <a:gd name="connsiteX7499" fmla="*/ 1453829 w 9586368"/>
                <a:gd name="connsiteY7499" fmla="*/ 1210498 h 6479439"/>
                <a:gd name="connsiteX7500" fmla="*/ 1449810 w 9586368"/>
                <a:gd name="connsiteY7500" fmla="*/ 1214537 h 6479439"/>
                <a:gd name="connsiteX7501" fmla="*/ 1439900 w 9586368"/>
                <a:gd name="connsiteY7501" fmla="*/ 1214537 h 6479439"/>
                <a:gd name="connsiteX7502" fmla="*/ 1435881 w 9586368"/>
                <a:gd name="connsiteY7502" fmla="*/ 1210498 h 6479439"/>
                <a:gd name="connsiteX7503" fmla="*/ 1435881 w 9586368"/>
                <a:gd name="connsiteY7503" fmla="*/ 1200628 h 6479439"/>
                <a:gd name="connsiteX7504" fmla="*/ 1200584 w 9586368"/>
                <a:gd name="connsiteY7504" fmla="*/ 1196589 h 6479439"/>
                <a:gd name="connsiteX7505" fmla="*/ 1210494 w 9586368"/>
                <a:gd name="connsiteY7505" fmla="*/ 1196589 h 6479439"/>
                <a:gd name="connsiteX7506" fmla="*/ 1214512 w 9586368"/>
                <a:gd name="connsiteY7506" fmla="*/ 1200628 h 6479439"/>
                <a:gd name="connsiteX7507" fmla="*/ 1214512 w 9586368"/>
                <a:gd name="connsiteY7507" fmla="*/ 1210498 h 6479439"/>
                <a:gd name="connsiteX7508" fmla="*/ 1210494 w 9586368"/>
                <a:gd name="connsiteY7508" fmla="*/ 1214537 h 6479439"/>
                <a:gd name="connsiteX7509" fmla="*/ 1200584 w 9586368"/>
                <a:gd name="connsiteY7509" fmla="*/ 1214537 h 6479439"/>
                <a:gd name="connsiteX7510" fmla="*/ 1196565 w 9586368"/>
                <a:gd name="connsiteY7510" fmla="*/ 1210498 h 6479439"/>
                <a:gd name="connsiteX7511" fmla="*/ 1196565 w 9586368"/>
                <a:gd name="connsiteY7511" fmla="*/ 1200628 h 6479439"/>
                <a:gd name="connsiteX7512" fmla="*/ 961271 w 9586368"/>
                <a:gd name="connsiteY7512" fmla="*/ 1196589 h 6479439"/>
                <a:gd name="connsiteX7513" fmla="*/ 971181 w 9586368"/>
                <a:gd name="connsiteY7513" fmla="*/ 1196589 h 6479439"/>
                <a:gd name="connsiteX7514" fmla="*/ 975200 w 9586368"/>
                <a:gd name="connsiteY7514" fmla="*/ 1200628 h 6479439"/>
                <a:gd name="connsiteX7515" fmla="*/ 975200 w 9586368"/>
                <a:gd name="connsiteY7515" fmla="*/ 1210499 h 6479439"/>
                <a:gd name="connsiteX7516" fmla="*/ 971181 w 9586368"/>
                <a:gd name="connsiteY7516" fmla="*/ 1214537 h 6479439"/>
                <a:gd name="connsiteX7517" fmla="*/ 961271 w 9586368"/>
                <a:gd name="connsiteY7517" fmla="*/ 1214537 h 6479439"/>
                <a:gd name="connsiteX7518" fmla="*/ 957253 w 9586368"/>
                <a:gd name="connsiteY7518" fmla="*/ 1210499 h 6479439"/>
                <a:gd name="connsiteX7519" fmla="*/ 957253 w 9586368"/>
                <a:gd name="connsiteY7519" fmla="*/ 1200628 h 6479439"/>
                <a:gd name="connsiteX7520" fmla="*/ 1679217 w 9586368"/>
                <a:gd name="connsiteY7520" fmla="*/ 1196589 h 6479439"/>
                <a:gd name="connsiteX7521" fmla="*/ 1689127 w 9586368"/>
                <a:gd name="connsiteY7521" fmla="*/ 1196589 h 6479439"/>
                <a:gd name="connsiteX7522" fmla="*/ 1693146 w 9586368"/>
                <a:gd name="connsiteY7522" fmla="*/ 1200627 h 6479439"/>
                <a:gd name="connsiteX7523" fmla="*/ 1693146 w 9586368"/>
                <a:gd name="connsiteY7523" fmla="*/ 1210498 h 6479439"/>
                <a:gd name="connsiteX7524" fmla="*/ 1689127 w 9586368"/>
                <a:gd name="connsiteY7524" fmla="*/ 1214537 h 6479439"/>
                <a:gd name="connsiteX7525" fmla="*/ 1679217 w 9586368"/>
                <a:gd name="connsiteY7525" fmla="*/ 1214537 h 6479439"/>
                <a:gd name="connsiteX7526" fmla="*/ 1675198 w 9586368"/>
                <a:gd name="connsiteY7526" fmla="*/ 1210498 h 6479439"/>
                <a:gd name="connsiteX7527" fmla="*/ 1675198 w 9586368"/>
                <a:gd name="connsiteY7527" fmla="*/ 1200627 h 6479439"/>
                <a:gd name="connsiteX7528" fmla="*/ 1918514 w 9586368"/>
                <a:gd name="connsiteY7528" fmla="*/ 1196581 h 6479439"/>
                <a:gd name="connsiteX7529" fmla="*/ 1928424 w 9586368"/>
                <a:gd name="connsiteY7529" fmla="*/ 1196581 h 6479439"/>
                <a:gd name="connsiteX7530" fmla="*/ 1932443 w 9586368"/>
                <a:gd name="connsiteY7530" fmla="*/ 1200619 h 6479439"/>
                <a:gd name="connsiteX7531" fmla="*/ 1932443 w 9586368"/>
                <a:gd name="connsiteY7531" fmla="*/ 1210489 h 6479439"/>
                <a:gd name="connsiteX7532" fmla="*/ 1928424 w 9586368"/>
                <a:gd name="connsiteY7532" fmla="*/ 1214528 h 6479439"/>
                <a:gd name="connsiteX7533" fmla="*/ 1918514 w 9586368"/>
                <a:gd name="connsiteY7533" fmla="*/ 1214528 h 6479439"/>
                <a:gd name="connsiteX7534" fmla="*/ 1914495 w 9586368"/>
                <a:gd name="connsiteY7534" fmla="*/ 1210489 h 6479439"/>
                <a:gd name="connsiteX7535" fmla="*/ 1914495 w 9586368"/>
                <a:gd name="connsiteY7535" fmla="*/ 1200619 h 6479439"/>
                <a:gd name="connsiteX7536" fmla="*/ 2157823 w 9586368"/>
                <a:gd name="connsiteY7536" fmla="*/ 1196578 h 6479439"/>
                <a:gd name="connsiteX7537" fmla="*/ 2167733 w 9586368"/>
                <a:gd name="connsiteY7537" fmla="*/ 1196578 h 6479439"/>
                <a:gd name="connsiteX7538" fmla="*/ 2171751 w 9586368"/>
                <a:gd name="connsiteY7538" fmla="*/ 1200617 h 6479439"/>
                <a:gd name="connsiteX7539" fmla="*/ 2171751 w 9586368"/>
                <a:gd name="connsiteY7539" fmla="*/ 1210488 h 6479439"/>
                <a:gd name="connsiteX7540" fmla="*/ 2167733 w 9586368"/>
                <a:gd name="connsiteY7540" fmla="*/ 1214526 h 6479439"/>
                <a:gd name="connsiteX7541" fmla="*/ 2157823 w 9586368"/>
                <a:gd name="connsiteY7541" fmla="*/ 1214526 h 6479439"/>
                <a:gd name="connsiteX7542" fmla="*/ 2153803 w 9586368"/>
                <a:gd name="connsiteY7542" fmla="*/ 1210488 h 6479439"/>
                <a:gd name="connsiteX7543" fmla="*/ 2153803 w 9586368"/>
                <a:gd name="connsiteY7543" fmla="*/ 1200617 h 6479439"/>
                <a:gd name="connsiteX7544" fmla="*/ 3350359 w 9586368"/>
                <a:gd name="connsiteY7544" fmla="*/ 957358 h 6479439"/>
                <a:gd name="connsiteX7545" fmla="*/ 3360268 w 9586368"/>
                <a:gd name="connsiteY7545" fmla="*/ 957358 h 6479439"/>
                <a:gd name="connsiteX7546" fmla="*/ 3364287 w 9586368"/>
                <a:gd name="connsiteY7546" fmla="*/ 961396 h 6479439"/>
                <a:gd name="connsiteX7547" fmla="*/ 3364287 w 9586368"/>
                <a:gd name="connsiteY7547" fmla="*/ 971266 h 6479439"/>
                <a:gd name="connsiteX7548" fmla="*/ 3360268 w 9586368"/>
                <a:gd name="connsiteY7548" fmla="*/ 975304 h 6479439"/>
                <a:gd name="connsiteX7549" fmla="*/ 3350359 w 9586368"/>
                <a:gd name="connsiteY7549" fmla="*/ 975304 h 6479439"/>
                <a:gd name="connsiteX7550" fmla="*/ 3346340 w 9586368"/>
                <a:gd name="connsiteY7550" fmla="*/ 971266 h 6479439"/>
                <a:gd name="connsiteX7551" fmla="*/ 3346340 w 9586368"/>
                <a:gd name="connsiteY7551" fmla="*/ 961396 h 6479439"/>
                <a:gd name="connsiteX7552" fmla="*/ 3111048 w 9586368"/>
                <a:gd name="connsiteY7552" fmla="*/ 957358 h 6479439"/>
                <a:gd name="connsiteX7553" fmla="*/ 3120959 w 9586368"/>
                <a:gd name="connsiteY7553" fmla="*/ 957358 h 6479439"/>
                <a:gd name="connsiteX7554" fmla="*/ 3124977 w 9586368"/>
                <a:gd name="connsiteY7554" fmla="*/ 961396 h 6479439"/>
                <a:gd name="connsiteX7555" fmla="*/ 3124977 w 9586368"/>
                <a:gd name="connsiteY7555" fmla="*/ 971266 h 6479439"/>
                <a:gd name="connsiteX7556" fmla="*/ 3120959 w 9586368"/>
                <a:gd name="connsiteY7556" fmla="*/ 975304 h 6479439"/>
                <a:gd name="connsiteX7557" fmla="*/ 3111048 w 9586368"/>
                <a:gd name="connsiteY7557" fmla="*/ 975304 h 6479439"/>
                <a:gd name="connsiteX7558" fmla="*/ 3107029 w 9586368"/>
                <a:gd name="connsiteY7558" fmla="*/ 971266 h 6479439"/>
                <a:gd name="connsiteX7559" fmla="*/ 3107029 w 9586368"/>
                <a:gd name="connsiteY7559" fmla="*/ 961396 h 6479439"/>
                <a:gd name="connsiteX7560" fmla="*/ 2871737 w 9586368"/>
                <a:gd name="connsiteY7560" fmla="*/ 957358 h 6479439"/>
                <a:gd name="connsiteX7561" fmla="*/ 2881646 w 9586368"/>
                <a:gd name="connsiteY7561" fmla="*/ 957358 h 6479439"/>
                <a:gd name="connsiteX7562" fmla="*/ 2885666 w 9586368"/>
                <a:gd name="connsiteY7562" fmla="*/ 961396 h 6479439"/>
                <a:gd name="connsiteX7563" fmla="*/ 2885666 w 9586368"/>
                <a:gd name="connsiteY7563" fmla="*/ 971266 h 6479439"/>
                <a:gd name="connsiteX7564" fmla="*/ 2881646 w 9586368"/>
                <a:gd name="connsiteY7564" fmla="*/ 975304 h 6479439"/>
                <a:gd name="connsiteX7565" fmla="*/ 2871737 w 9586368"/>
                <a:gd name="connsiteY7565" fmla="*/ 975304 h 6479439"/>
                <a:gd name="connsiteX7566" fmla="*/ 2867717 w 9586368"/>
                <a:gd name="connsiteY7566" fmla="*/ 971266 h 6479439"/>
                <a:gd name="connsiteX7567" fmla="*/ 2867717 w 9586368"/>
                <a:gd name="connsiteY7567" fmla="*/ 961396 h 6479439"/>
                <a:gd name="connsiteX7568" fmla="*/ 2632423 w 9586368"/>
                <a:gd name="connsiteY7568" fmla="*/ 957358 h 6479439"/>
                <a:gd name="connsiteX7569" fmla="*/ 2642334 w 9586368"/>
                <a:gd name="connsiteY7569" fmla="*/ 957358 h 6479439"/>
                <a:gd name="connsiteX7570" fmla="*/ 2646352 w 9586368"/>
                <a:gd name="connsiteY7570" fmla="*/ 961396 h 6479439"/>
                <a:gd name="connsiteX7571" fmla="*/ 2646352 w 9586368"/>
                <a:gd name="connsiteY7571" fmla="*/ 971266 h 6479439"/>
                <a:gd name="connsiteX7572" fmla="*/ 2642334 w 9586368"/>
                <a:gd name="connsiteY7572" fmla="*/ 975305 h 6479439"/>
                <a:gd name="connsiteX7573" fmla="*/ 2632423 w 9586368"/>
                <a:gd name="connsiteY7573" fmla="*/ 975305 h 6479439"/>
                <a:gd name="connsiteX7574" fmla="*/ 2628404 w 9586368"/>
                <a:gd name="connsiteY7574" fmla="*/ 971266 h 6479439"/>
                <a:gd name="connsiteX7575" fmla="*/ 2628404 w 9586368"/>
                <a:gd name="connsiteY7575" fmla="*/ 961396 h 6479439"/>
                <a:gd name="connsiteX7576" fmla="*/ 2393104 w 9586368"/>
                <a:gd name="connsiteY7576" fmla="*/ 957358 h 6479439"/>
                <a:gd name="connsiteX7577" fmla="*/ 2403015 w 9586368"/>
                <a:gd name="connsiteY7577" fmla="*/ 957358 h 6479439"/>
                <a:gd name="connsiteX7578" fmla="*/ 2407034 w 9586368"/>
                <a:gd name="connsiteY7578" fmla="*/ 961396 h 6479439"/>
                <a:gd name="connsiteX7579" fmla="*/ 2407034 w 9586368"/>
                <a:gd name="connsiteY7579" fmla="*/ 971266 h 6479439"/>
                <a:gd name="connsiteX7580" fmla="*/ 2403015 w 9586368"/>
                <a:gd name="connsiteY7580" fmla="*/ 975305 h 6479439"/>
                <a:gd name="connsiteX7581" fmla="*/ 2393104 w 9586368"/>
                <a:gd name="connsiteY7581" fmla="*/ 975305 h 6479439"/>
                <a:gd name="connsiteX7582" fmla="*/ 2389087 w 9586368"/>
                <a:gd name="connsiteY7582" fmla="*/ 971266 h 6479439"/>
                <a:gd name="connsiteX7583" fmla="*/ 2389087 w 9586368"/>
                <a:gd name="connsiteY7583" fmla="*/ 961396 h 6479439"/>
                <a:gd name="connsiteX7584" fmla="*/ 4546929 w 9586368"/>
                <a:gd name="connsiteY7584" fmla="*/ 957347 h 6479439"/>
                <a:gd name="connsiteX7585" fmla="*/ 4556840 w 9586368"/>
                <a:gd name="connsiteY7585" fmla="*/ 957347 h 6479439"/>
                <a:gd name="connsiteX7586" fmla="*/ 4560859 w 9586368"/>
                <a:gd name="connsiteY7586" fmla="*/ 961385 h 6479439"/>
                <a:gd name="connsiteX7587" fmla="*/ 4560859 w 9586368"/>
                <a:gd name="connsiteY7587" fmla="*/ 971255 h 6479439"/>
                <a:gd name="connsiteX7588" fmla="*/ 4556840 w 9586368"/>
                <a:gd name="connsiteY7588" fmla="*/ 975293 h 6479439"/>
                <a:gd name="connsiteX7589" fmla="*/ 4546929 w 9586368"/>
                <a:gd name="connsiteY7589" fmla="*/ 975293 h 6479439"/>
                <a:gd name="connsiteX7590" fmla="*/ 4542910 w 9586368"/>
                <a:gd name="connsiteY7590" fmla="*/ 971255 h 6479439"/>
                <a:gd name="connsiteX7591" fmla="*/ 4542910 w 9586368"/>
                <a:gd name="connsiteY7591" fmla="*/ 961385 h 6479439"/>
                <a:gd name="connsiteX7592" fmla="*/ 4307612 w 9586368"/>
                <a:gd name="connsiteY7592" fmla="*/ 957347 h 6479439"/>
                <a:gd name="connsiteX7593" fmla="*/ 4317523 w 9586368"/>
                <a:gd name="connsiteY7593" fmla="*/ 957347 h 6479439"/>
                <a:gd name="connsiteX7594" fmla="*/ 4321543 w 9586368"/>
                <a:gd name="connsiteY7594" fmla="*/ 961385 h 6479439"/>
                <a:gd name="connsiteX7595" fmla="*/ 4321543 w 9586368"/>
                <a:gd name="connsiteY7595" fmla="*/ 971255 h 6479439"/>
                <a:gd name="connsiteX7596" fmla="*/ 4317523 w 9586368"/>
                <a:gd name="connsiteY7596" fmla="*/ 975293 h 6479439"/>
                <a:gd name="connsiteX7597" fmla="*/ 4307612 w 9586368"/>
                <a:gd name="connsiteY7597" fmla="*/ 975293 h 6479439"/>
                <a:gd name="connsiteX7598" fmla="*/ 4303595 w 9586368"/>
                <a:gd name="connsiteY7598" fmla="*/ 971255 h 6479439"/>
                <a:gd name="connsiteX7599" fmla="*/ 4303595 w 9586368"/>
                <a:gd name="connsiteY7599" fmla="*/ 961385 h 6479439"/>
                <a:gd name="connsiteX7600" fmla="*/ 4068297 w 9586368"/>
                <a:gd name="connsiteY7600" fmla="*/ 957347 h 6479439"/>
                <a:gd name="connsiteX7601" fmla="*/ 4078210 w 9586368"/>
                <a:gd name="connsiteY7601" fmla="*/ 957347 h 6479439"/>
                <a:gd name="connsiteX7602" fmla="*/ 4082229 w 9586368"/>
                <a:gd name="connsiteY7602" fmla="*/ 961385 h 6479439"/>
                <a:gd name="connsiteX7603" fmla="*/ 4082229 w 9586368"/>
                <a:gd name="connsiteY7603" fmla="*/ 971255 h 6479439"/>
                <a:gd name="connsiteX7604" fmla="*/ 4078210 w 9586368"/>
                <a:gd name="connsiteY7604" fmla="*/ 975293 h 6479439"/>
                <a:gd name="connsiteX7605" fmla="*/ 4068297 w 9586368"/>
                <a:gd name="connsiteY7605" fmla="*/ 975293 h 6479439"/>
                <a:gd name="connsiteX7606" fmla="*/ 4064278 w 9586368"/>
                <a:gd name="connsiteY7606" fmla="*/ 971255 h 6479439"/>
                <a:gd name="connsiteX7607" fmla="*/ 4064278 w 9586368"/>
                <a:gd name="connsiteY7607" fmla="*/ 961385 h 6479439"/>
                <a:gd name="connsiteX7608" fmla="*/ 3828990 w 9586368"/>
                <a:gd name="connsiteY7608" fmla="*/ 957347 h 6479439"/>
                <a:gd name="connsiteX7609" fmla="*/ 3838899 w 9586368"/>
                <a:gd name="connsiteY7609" fmla="*/ 957347 h 6479439"/>
                <a:gd name="connsiteX7610" fmla="*/ 3842917 w 9586368"/>
                <a:gd name="connsiteY7610" fmla="*/ 961385 h 6479439"/>
                <a:gd name="connsiteX7611" fmla="*/ 3842917 w 9586368"/>
                <a:gd name="connsiteY7611" fmla="*/ 971255 h 6479439"/>
                <a:gd name="connsiteX7612" fmla="*/ 3838899 w 9586368"/>
                <a:gd name="connsiteY7612" fmla="*/ 975293 h 6479439"/>
                <a:gd name="connsiteX7613" fmla="*/ 3828990 w 9586368"/>
                <a:gd name="connsiteY7613" fmla="*/ 975293 h 6479439"/>
                <a:gd name="connsiteX7614" fmla="*/ 3824971 w 9586368"/>
                <a:gd name="connsiteY7614" fmla="*/ 971255 h 6479439"/>
                <a:gd name="connsiteX7615" fmla="*/ 3824971 w 9586368"/>
                <a:gd name="connsiteY7615" fmla="*/ 961385 h 6479439"/>
                <a:gd name="connsiteX7616" fmla="*/ 3589676 w 9586368"/>
                <a:gd name="connsiteY7616" fmla="*/ 957347 h 6479439"/>
                <a:gd name="connsiteX7617" fmla="*/ 3599585 w 9586368"/>
                <a:gd name="connsiteY7617" fmla="*/ 957347 h 6479439"/>
                <a:gd name="connsiteX7618" fmla="*/ 3603604 w 9586368"/>
                <a:gd name="connsiteY7618" fmla="*/ 961385 h 6479439"/>
                <a:gd name="connsiteX7619" fmla="*/ 3603604 w 9586368"/>
                <a:gd name="connsiteY7619" fmla="*/ 971255 h 6479439"/>
                <a:gd name="connsiteX7620" fmla="*/ 3599585 w 9586368"/>
                <a:gd name="connsiteY7620" fmla="*/ 975293 h 6479439"/>
                <a:gd name="connsiteX7621" fmla="*/ 3589676 w 9586368"/>
                <a:gd name="connsiteY7621" fmla="*/ 975293 h 6479439"/>
                <a:gd name="connsiteX7622" fmla="*/ 3585657 w 9586368"/>
                <a:gd name="connsiteY7622" fmla="*/ 971255 h 6479439"/>
                <a:gd name="connsiteX7623" fmla="*/ 3585657 w 9586368"/>
                <a:gd name="connsiteY7623" fmla="*/ 961385 h 6479439"/>
                <a:gd name="connsiteX7624" fmla="*/ 5743412 w 9586368"/>
                <a:gd name="connsiteY7624" fmla="*/ 957335 h 6479439"/>
                <a:gd name="connsiteX7625" fmla="*/ 5753323 w 9586368"/>
                <a:gd name="connsiteY7625" fmla="*/ 957335 h 6479439"/>
                <a:gd name="connsiteX7626" fmla="*/ 5757342 w 9586368"/>
                <a:gd name="connsiteY7626" fmla="*/ 961373 h 6479439"/>
                <a:gd name="connsiteX7627" fmla="*/ 5757342 w 9586368"/>
                <a:gd name="connsiteY7627" fmla="*/ 971244 h 6479439"/>
                <a:gd name="connsiteX7628" fmla="*/ 5753323 w 9586368"/>
                <a:gd name="connsiteY7628" fmla="*/ 975282 h 6479439"/>
                <a:gd name="connsiteX7629" fmla="*/ 5743412 w 9586368"/>
                <a:gd name="connsiteY7629" fmla="*/ 975282 h 6479439"/>
                <a:gd name="connsiteX7630" fmla="*/ 5739393 w 9586368"/>
                <a:gd name="connsiteY7630" fmla="*/ 971244 h 6479439"/>
                <a:gd name="connsiteX7631" fmla="*/ 5739393 w 9586368"/>
                <a:gd name="connsiteY7631" fmla="*/ 961373 h 6479439"/>
                <a:gd name="connsiteX7632" fmla="*/ 5504099 w 9586368"/>
                <a:gd name="connsiteY7632" fmla="*/ 957335 h 6479439"/>
                <a:gd name="connsiteX7633" fmla="*/ 5514010 w 9586368"/>
                <a:gd name="connsiteY7633" fmla="*/ 957335 h 6479439"/>
                <a:gd name="connsiteX7634" fmla="*/ 5518029 w 9586368"/>
                <a:gd name="connsiteY7634" fmla="*/ 961373 h 6479439"/>
                <a:gd name="connsiteX7635" fmla="*/ 5518029 w 9586368"/>
                <a:gd name="connsiteY7635" fmla="*/ 971244 h 6479439"/>
                <a:gd name="connsiteX7636" fmla="*/ 5514010 w 9586368"/>
                <a:gd name="connsiteY7636" fmla="*/ 975282 h 6479439"/>
                <a:gd name="connsiteX7637" fmla="*/ 5504099 w 9586368"/>
                <a:gd name="connsiteY7637" fmla="*/ 975282 h 6479439"/>
                <a:gd name="connsiteX7638" fmla="*/ 5500080 w 9586368"/>
                <a:gd name="connsiteY7638" fmla="*/ 971244 h 6479439"/>
                <a:gd name="connsiteX7639" fmla="*/ 5500080 w 9586368"/>
                <a:gd name="connsiteY7639" fmla="*/ 961373 h 6479439"/>
                <a:gd name="connsiteX7640" fmla="*/ 5264784 w 9586368"/>
                <a:gd name="connsiteY7640" fmla="*/ 957335 h 6479439"/>
                <a:gd name="connsiteX7641" fmla="*/ 5274694 w 9586368"/>
                <a:gd name="connsiteY7641" fmla="*/ 957335 h 6479439"/>
                <a:gd name="connsiteX7642" fmla="*/ 5278713 w 9586368"/>
                <a:gd name="connsiteY7642" fmla="*/ 961373 h 6479439"/>
                <a:gd name="connsiteX7643" fmla="*/ 5278713 w 9586368"/>
                <a:gd name="connsiteY7643" fmla="*/ 971244 h 6479439"/>
                <a:gd name="connsiteX7644" fmla="*/ 5274694 w 9586368"/>
                <a:gd name="connsiteY7644" fmla="*/ 975282 h 6479439"/>
                <a:gd name="connsiteX7645" fmla="*/ 5264784 w 9586368"/>
                <a:gd name="connsiteY7645" fmla="*/ 975282 h 6479439"/>
                <a:gd name="connsiteX7646" fmla="*/ 5260765 w 9586368"/>
                <a:gd name="connsiteY7646" fmla="*/ 971244 h 6479439"/>
                <a:gd name="connsiteX7647" fmla="*/ 5260765 w 9586368"/>
                <a:gd name="connsiteY7647" fmla="*/ 961373 h 6479439"/>
                <a:gd name="connsiteX7648" fmla="*/ 5025470 w 9586368"/>
                <a:gd name="connsiteY7648" fmla="*/ 957335 h 6479439"/>
                <a:gd name="connsiteX7649" fmla="*/ 5035381 w 9586368"/>
                <a:gd name="connsiteY7649" fmla="*/ 957335 h 6479439"/>
                <a:gd name="connsiteX7650" fmla="*/ 5039400 w 9586368"/>
                <a:gd name="connsiteY7650" fmla="*/ 961373 h 6479439"/>
                <a:gd name="connsiteX7651" fmla="*/ 5039400 w 9586368"/>
                <a:gd name="connsiteY7651" fmla="*/ 971244 h 6479439"/>
                <a:gd name="connsiteX7652" fmla="*/ 5035381 w 9586368"/>
                <a:gd name="connsiteY7652" fmla="*/ 975283 h 6479439"/>
                <a:gd name="connsiteX7653" fmla="*/ 5025470 w 9586368"/>
                <a:gd name="connsiteY7653" fmla="*/ 975283 h 6479439"/>
                <a:gd name="connsiteX7654" fmla="*/ 5021451 w 9586368"/>
                <a:gd name="connsiteY7654" fmla="*/ 971244 h 6479439"/>
                <a:gd name="connsiteX7655" fmla="*/ 5021451 w 9586368"/>
                <a:gd name="connsiteY7655" fmla="*/ 961373 h 6479439"/>
                <a:gd name="connsiteX7656" fmla="*/ 4786241 w 9586368"/>
                <a:gd name="connsiteY7656" fmla="*/ 957335 h 6479439"/>
                <a:gd name="connsiteX7657" fmla="*/ 4796152 w 9586368"/>
                <a:gd name="connsiteY7657" fmla="*/ 957335 h 6479439"/>
                <a:gd name="connsiteX7658" fmla="*/ 4800171 w 9586368"/>
                <a:gd name="connsiteY7658" fmla="*/ 961374 h 6479439"/>
                <a:gd name="connsiteX7659" fmla="*/ 4800171 w 9586368"/>
                <a:gd name="connsiteY7659" fmla="*/ 971244 h 6479439"/>
                <a:gd name="connsiteX7660" fmla="*/ 4796152 w 9586368"/>
                <a:gd name="connsiteY7660" fmla="*/ 975283 h 6479439"/>
                <a:gd name="connsiteX7661" fmla="*/ 4786241 w 9586368"/>
                <a:gd name="connsiteY7661" fmla="*/ 975283 h 6479439"/>
                <a:gd name="connsiteX7662" fmla="*/ 4782224 w 9586368"/>
                <a:gd name="connsiteY7662" fmla="*/ 971244 h 6479439"/>
                <a:gd name="connsiteX7663" fmla="*/ 4782224 w 9586368"/>
                <a:gd name="connsiteY7663" fmla="*/ 961374 h 6479439"/>
                <a:gd name="connsiteX7664" fmla="*/ 6939983 w 9586368"/>
                <a:gd name="connsiteY7664" fmla="*/ 957324 h 6479439"/>
                <a:gd name="connsiteX7665" fmla="*/ 6949894 w 9586368"/>
                <a:gd name="connsiteY7665" fmla="*/ 957324 h 6479439"/>
                <a:gd name="connsiteX7666" fmla="*/ 6953913 w 9586368"/>
                <a:gd name="connsiteY7666" fmla="*/ 961363 h 6479439"/>
                <a:gd name="connsiteX7667" fmla="*/ 6953913 w 9586368"/>
                <a:gd name="connsiteY7667" fmla="*/ 971232 h 6479439"/>
                <a:gd name="connsiteX7668" fmla="*/ 6949894 w 9586368"/>
                <a:gd name="connsiteY7668" fmla="*/ 975271 h 6479439"/>
                <a:gd name="connsiteX7669" fmla="*/ 6939983 w 9586368"/>
                <a:gd name="connsiteY7669" fmla="*/ 975271 h 6479439"/>
                <a:gd name="connsiteX7670" fmla="*/ 6935964 w 9586368"/>
                <a:gd name="connsiteY7670" fmla="*/ 971232 h 6479439"/>
                <a:gd name="connsiteX7671" fmla="*/ 6935964 w 9586368"/>
                <a:gd name="connsiteY7671" fmla="*/ 961363 h 6479439"/>
                <a:gd name="connsiteX7672" fmla="*/ 6700670 w 9586368"/>
                <a:gd name="connsiteY7672" fmla="*/ 957324 h 6479439"/>
                <a:gd name="connsiteX7673" fmla="*/ 6710581 w 9586368"/>
                <a:gd name="connsiteY7673" fmla="*/ 957324 h 6479439"/>
                <a:gd name="connsiteX7674" fmla="*/ 6714600 w 9586368"/>
                <a:gd name="connsiteY7674" fmla="*/ 961363 h 6479439"/>
                <a:gd name="connsiteX7675" fmla="*/ 6714600 w 9586368"/>
                <a:gd name="connsiteY7675" fmla="*/ 971232 h 6479439"/>
                <a:gd name="connsiteX7676" fmla="*/ 6710581 w 9586368"/>
                <a:gd name="connsiteY7676" fmla="*/ 975271 h 6479439"/>
                <a:gd name="connsiteX7677" fmla="*/ 6700670 w 9586368"/>
                <a:gd name="connsiteY7677" fmla="*/ 975271 h 6479439"/>
                <a:gd name="connsiteX7678" fmla="*/ 6696651 w 9586368"/>
                <a:gd name="connsiteY7678" fmla="*/ 971232 h 6479439"/>
                <a:gd name="connsiteX7679" fmla="*/ 6696651 w 9586368"/>
                <a:gd name="connsiteY7679" fmla="*/ 961363 h 6479439"/>
                <a:gd name="connsiteX7680" fmla="*/ 6461356 w 9586368"/>
                <a:gd name="connsiteY7680" fmla="*/ 957324 h 6479439"/>
                <a:gd name="connsiteX7681" fmla="*/ 6471266 w 9586368"/>
                <a:gd name="connsiteY7681" fmla="*/ 957324 h 6479439"/>
                <a:gd name="connsiteX7682" fmla="*/ 6475285 w 9586368"/>
                <a:gd name="connsiteY7682" fmla="*/ 961363 h 6479439"/>
                <a:gd name="connsiteX7683" fmla="*/ 6475285 w 9586368"/>
                <a:gd name="connsiteY7683" fmla="*/ 971232 h 6479439"/>
                <a:gd name="connsiteX7684" fmla="*/ 6471266 w 9586368"/>
                <a:gd name="connsiteY7684" fmla="*/ 975271 h 6479439"/>
                <a:gd name="connsiteX7685" fmla="*/ 6461356 w 9586368"/>
                <a:gd name="connsiteY7685" fmla="*/ 975271 h 6479439"/>
                <a:gd name="connsiteX7686" fmla="*/ 6457337 w 9586368"/>
                <a:gd name="connsiteY7686" fmla="*/ 971232 h 6479439"/>
                <a:gd name="connsiteX7687" fmla="*/ 6457337 w 9586368"/>
                <a:gd name="connsiteY7687" fmla="*/ 961363 h 6479439"/>
                <a:gd name="connsiteX7688" fmla="*/ 6222042 w 9586368"/>
                <a:gd name="connsiteY7688" fmla="*/ 957324 h 6479439"/>
                <a:gd name="connsiteX7689" fmla="*/ 6231952 w 9586368"/>
                <a:gd name="connsiteY7689" fmla="*/ 957324 h 6479439"/>
                <a:gd name="connsiteX7690" fmla="*/ 6235971 w 9586368"/>
                <a:gd name="connsiteY7690" fmla="*/ 961363 h 6479439"/>
                <a:gd name="connsiteX7691" fmla="*/ 6235971 w 9586368"/>
                <a:gd name="connsiteY7691" fmla="*/ 971232 h 6479439"/>
                <a:gd name="connsiteX7692" fmla="*/ 6231952 w 9586368"/>
                <a:gd name="connsiteY7692" fmla="*/ 975271 h 6479439"/>
                <a:gd name="connsiteX7693" fmla="*/ 6222042 w 9586368"/>
                <a:gd name="connsiteY7693" fmla="*/ 975271 h 6479439"/>
                <a:gd name="connsiteX7694" fmla="*/ 6218023 w 9586368"/>
                <a:gd name="connsiteY7694" fmla="*/ 971232 h 6479439"/>
                <a:gd name="connsiteX7695" fmla="*/ 6218023 w 9586368"/>
                <a:gd name="connsiteY7695" fmla="*/ 961363 h 6479439"/>
                <a:gd name="connsiteX7696" fmla="*/ 5982729 w 9586368"/>
                <a:gd name="connsiteY7696" fmla="*/ 957324 h 6479439"/>
                <a:gd name="connsiteX7697" fmla="*/ 5992639 w 9586368"/>
                <a:gd name="connsiteY7697" fmla="*/ 957324 h 6479439"/>
                <a:gd name="connsiteX7698" fmla="*/ 5996658 w 9586368"/>
                <a:gd name="connsiteY7698" fmla="*/ 961363 h 6479439"/>
                <a:gd name="connsiteX7699" fmla="*/ 5996658 w 9586368"/>
                <a:gd name="connsiteY7699" fmla="*/ 971232 h 6479439"/>
                <a:gd name="connsiteX7700" fmla="*/ 5992639 w 9586368"/>
                <a:gd name="connsiteY7700" fmla="*/ 975271 h 6479439"/>
                <a:gd name="connsiteX7701" fmla="*/ 5982729 w 9586368"/>
                <a:gd name="connsiteY7701" fmla="*/ 975271 h 6479439"/>
                <a:gd name="connsiteX7702" fmla="*/ 5978710 w 9586368"/>
                <a:gd name="connsiteY7702" fmla="*/ 971232 h 6479439"/>
                <a:gd name="connsiteX7703" fmla="*/ 5978710 w 9586368"/>
                <a:gd name="connsiteY7703" fmla="*/ 961363 h 6479439"/>
                <a:gd name="connsiteX7704" fmla="*/ 8136553 w 9586368"/>
                <a:gd name="connsiteY7704" fmla="*/ 957313 h 6479439"/>
                <a:gd name="connsiteX7705" fmla="*/ 8146464 w 9586368"/>
                <a:gd name="connsiteY7705" fmla="*/ 957313 h 6479439"/>
                <a:gd name="connsiteX7706" fmla="*/ 8150483 w 9586368"/>
                <a:gd name="connsiteY7706" fmla="*/ 961351 h 6479439"/>
                <a:gd name="connsiteX7707" fmla="*/ 8150483 w 9586368"/>
                <a:gd name="connsiteY7707" fmla="*/ 971222 h 6479439"/>
                <a:gd name="connsiteX7708" fmla="*/ 8146464 w 9586368"/>
                <a:gd name="connsiteY7708" fmla="*/ 975260 h 6479439"/>
                <a:gd name="connsiteX7709" fmla="*/ 8136553 w 9586368"/>
                <a:gd name="connsiteY7709" fmla="*/ 975260 h 6479439"/>
                <a:gd name="connsiteX7710" fmla="*/ 8132534 w 9586368"/>
                <a:gd name="connsiteY7710" fmla="*/ 971222 h 6479439"/>
                <a:gd name="connsiteX7711" fmla="*/ 8132534 w 9586368"/>
                <a:gd name="connsiteY7711" fmla="*/ 961351 h 6479439"/>
                <a:gd name="connsiteX7712" fmla="*/ 7897241 w 9586368"/>
                <a:gd name="connsiteY7712" fmla="*/ 957313 h 6479439"/>
                <a:gd name="connsiteX7713" fmla="*/ 7907151 w 9586368"/>
                <a:gd name="connsiteY7713" fmla="*/ 957313 h 6479439"/>
                <a:gd name="connsiteX7714" fmla="*/ 7911170 w 9586368"/>
                <a:gd name="connsiteY7714" fmla="*/ 961351 h 6479439"/>
                <a:gd name="connsiteX7715" fmla="*/ 7911170 w 9586368"/>
                <a:gd name="connsiteY7715" fmla="*/ 971222 h 6479439"/>
                <a:gd name="connsiteX7716" fmla="*/ 7907151 w 9586368"/>
                <a:gd name="connsiteY7716" fmla="*/ 975260 h 6479439"/>
                <a:gd name="connsiteX7717" fmla="*/ 7897241 w 9586368"/>
                <a:gd name="connsiteY7717" fmla="*/ 975260 h 6479439"/>
                <a:gd name="connsiteX7718" fmla="*/ 7893222 w 9586368"/>
                <a:gd name="connsiteY7718" fmla="*/ 971222 h 6479439"/>
                <a:gd name="connsiteX7719" fmla="*/ 7893222 w 9586368"/>
                <a:gd name="connsiteY7719" fmla="*/ 961351 h 6479439"/>
                <a:gd name="connsiteX7720" fmla="*/ 7657926 w 9586368"/>
                <a:gd name="connsiteY7720" fmla="*/ 957313 h 6479439"/>
                <a:gd name="connsiteX7721" fmla="*/ 7667836 w 9586368"/>
                <a:gd name="connsiteY7721" fmla="*/ 957313 h 6479439"/>
                <a:gd name="connsiteX7722" fmla="*/ 7671855 w 9586368"/>
                <a:gd name="connsiteY7722" fmla="*/ 961351 h 6479439"/>
                <a:gd name="connsiteX7723" fmla="*/ 7671855 w 9586368"/>
                <a:gd name="connsiteY7723" fmla="*/ 971222 h 6479439"/>
                <a:gd name="connsiteX7724" fmla="*/ 7667836 w 9586368"/>
                <a:gd name="connsiteY7724" fmla="*/ 975260 h 6479439"/>
                <a:gd name="connsiteX7725" fmla="*/ 7657926 w 9586368"/>
                <a:gd name="connsiteY7725" fmla="*/ 975260 h 6479439"/>
                <a:gd name="connsiteX7726" fmla="*/ 7653906 w 9586368"/>
                <a:gd name="connsiteY7726" fmla="*/ 971222 h 6479439"/>
                <a:gd name="connsiteX7727" fmla="*/ 7653906 w 9586368"/>
                <a:gd name="connsiteY7727" fmla="*/ 961351 h 6479439"/>
                <a:gd name="connsiteX7728" fmla="*/ 7418611 w 9586368"/>
                <a:gd name="connsiteY7728" fmla="*/ 957313 h 6479439"/>
                <a:gd name="connsiteX7729" fmla="*/ 7428521 w 9586368"/>
                <a:gd name="connsiteY7729" fmla="*/ 957313 h 6479439"/>
                <a:gd name="connsiteX7730" fmla="*/ 7432540 w 9586368"/>
                <a:gd name="connsiteY7730" fmla="*/ 961351 h 6479439"/>
                <a:gd name="connsiteX7731" fmla="*/ 7432540 w 9586368"/>
                <a:gd name="connsiteY7731" fmla="*/ 971222 h 6479439"/>
                <a:gd name="connsiteX7732" fmla="*/ 7428521 w 9586368"/>
                <a:gd name="connsiteY7732" fmla="*/ 975260 h 6479439"/>
                <a:gd name="connsiteX7733" fmla="*/ 7418611 w 9586368"/>
                <a:gd name="connsiteY7733" fmla="*/ 975260 h 6479439"/>
                <a:gd name="connsiteX7734" fmla="*/ 7414592 w 9586368"/>
                <a:gd name="connsiteY7734" fmla="*/ 971222 h 6479439"/>
                <a:gd name="connsiteX7735" fmla="*/ 7414592 w 9586368"/>
                <a:gd name="connsiteY7735" fmla="*/ 961351 h 6479439"/>
                <a:gd name="connsiteX7736" fmla="*/ 7179298 w 9586368"/>
                <a:gd name="connsiteY7736" fmla="*/ 957313 h 6479439"/>
                <a:gd name="connsiteX7737" fmla="*/ 7189209 w 9586368"/>
                <a:gd name="connsiteY7737" fmla="*/ 957313 h 6479439"/>
                <a:gd name="connsiteX7738" fmla="*/ 7193228 w 9586368"/>
                <a:gd name="connsiteY7738" fmla="*/ 961351 h 6479439"/>
                <a:gd name="connsiteX7739" fmla="*/ 7193228 w 9586368"/>
                <a:gd name="connsiteY7739" fmla="*/ 971222 h 6479439"/>
                <a:gd name="connsiteX7740" fmla="*/ 7189209 w 9586368"/>
                <a:gd name="connsiteY7740" fmla="*/ 975260 h 6479439"/>
                <a:gd name="connsiteX7741" fmla="*/ 7179298 w 9586368"/>
                <a:gd name="connsiteY7741" fmla="*/ 975260 h 6479439"/>
                <a:gd name="connsiteX7742" fmla="*/ 7175279 w 9586368"/>
                <a:gd name="connsiteY7742" fmla="*/ 971222 h 6479439"/>
                <a:gd name="connsiteX7743" fmla="*/ 7175279 w 9586368"/>
                <a:gd name="connsiteY7743" fmla="*/ 961351 h 6479439"/>
                <a:gd name="connsiteX7744" fmla="*/ 1679217 w 9586368"/>
                <a:gd name="connsiteY7744" fmla="*/ 957309 h 6479439"/>
                <a:gd name="connsiteX7745" fmla="*/ 1689128 w 9586368"/>
                <a:gd name="connsiteY7745" fmla="*/ 957309 h 6479439"/>
                <a:gd name="connsiteX7746" fmla="*/ 1693147 w 9586368"/>
                <a:gd name="connsiteY7746" fmla="*/ 961347 h 6479439"/>
                <a:gd name="connsiteX7747" fmla="*/ 1693147 w 9586368"/>
                <a:gd name="connsiteY7747" fmla="*/ 971217 h 6479439"/>
                <a:gd name="connsiteX7748" fmla="*/ 1689128 w 9586368"/>
                <a:gd name="connsiteY7748" fmla="*/ 975256 h 6479439"/>
                <a:gd name="connsiteX7749" fmla="*/ 1679217 w 9586368"/>
                <a:gd name="connsiteY7749" fmla="*/ 975256 h 6479439"/>
                <a:gd name="connsiteX7750" fmla="*/ 1675199 w 9586368"/>
                <a:gd name="connsiteY7750" fmla="*/ 971217 h 6479439"/>
                <a:gd name="connsiteX7751" fmla="*/ 1675199 w 9586368"/>
                <a:gd name="connsiteY7751" fmla="*/ 961347 h 6479439"/>
                <a:gd name="connsiteX7752" fmla="*/ 1439901 w 9586368"/>
                <a:gd name="connsiteY7752" fmla="*/ 957309 h 6479439"/>
                <a:gd name="connsiteX7753" fmla="*/ 1449811 w 9586368"/>
                <a:gd name="connsiteY7753" fmla="*/ 957309 h 6479439"/>
                <a:gd name="connsiteX7754" fmla="*/ 1453829 w 9586368"/>
                <a:gd name="connsiteY7754" fmla="*/ 961347 h 6479439"/>
                <a:gd name="connsiteX7755" fmla="*/ 1453829 w 9586368"/>
                <a:gd name="connsiteY7755" fmla="*/ 971217 h 6479439"/>
                <a:gd name="connsiteX7756" fmla="*/ 1449811 w 9586368"/>
                <a:gd name="connsiteY7756" fmla="*/ 975256 h 6479439"/>
                <a:gd name="connsiteX7757" fmla="*/ 1439901 w 9586368"/>
                <a:gd name="connsiteY7757" fmla="*/ 975256 h 6479439"/>
                <a:gd name="connsiteX7758" fmla="*/ 1435881 w 9586368"/>
                <a:gd name="connsiteY7758" fmla="*/ 971217 h 6479439"/>
                <a:gd name="connsiteX7759" fmla="*/ 1435881 w 9586368"/>
                <a:gd name="connsiteY7759" fmla="*/ 961347 h 6479439"/>
                <a:gd name="connsiteX7760" fmla="*/ 1200584 w 9586368"/>
                <a:gd name="connsiteY7760" fmla="*/ 957309 h 6479439"/>
                <a:gd name="connsiteX7761" fmla="*/ 1210495 w 9586368"/>
                <a:gd name="connsiteY7761" fmla="*/ 957309 h 6479439"/>
                <a:gd name="connsiteX7762" fmla="*/ 1214513 w 9586368"/>
                <a:gd name="connsiteY7762" fmla="*/ 961347 h 6479439"/>
                <a:gd name="connsiteX7763" fmla="*/ 1214513 w 9586368"/>
                <a:gd name="connsiteY7763" fmla="*/ 971217 h 6479439"/>
                <a:gd name="connsiteX7764" fmla="*/ 1210495 w 9586368"/>
                <a:gd name="connsiteY7764" fmla="*/ 975256 h 6479439"/>
                <a:gd name="connsiteX7765" fmla="*/ 1200584 w 9586368"/>
                <a:gd name="connsiteY7765" fmla="*/ 975256 h 6479439"/>
                <a:gd name="connsiteX7766" fmla="*/ 1196566 w 9586368"/>
                <a:gd name="connsiteY7766" fmla="*/ 971217 h 6479439"/>
                <a:gd name="connsiteX7767" fmla="*/ 1196566 w 9586368"/>
                <a:gd name="connsiteY7767" fmla="*/ 961347 h 6479439"/>
                <a:gd name="connsiteX7768" fmla="*/ 961271 w 9586368"/>
                <a:gd name="connsiteY7768" fmla="*/ 957309 h 6479439"/>
                <a:gd name="connsiteX7769" fmla="*/ 971182 w 9586368"/>
                <a:gd name="connsiteY7769" fmla="*/ 957309 h 6479439"/>
                <a:gd name="connsiteX7770" fmla="*/ 975201 w 9586368"/>
                <a:gd name="connsiteY7770" fmla="*/ 961347 h 6479439"/>
                <a:gd name="connsiteX7771" fmla="*/ 975201 w 9586368"/>
                <a:gd name="connsiteY7771" fmla="*/ 971218 h 6479439"/>
                <a:gd name="connsiteX7772" fmla="*/ 971182 w 9586368"/>
                <a:gd name="connsiteY7772" fmla="*/ 975256 h 6479439"/>
                <a:gd name="connsiteX7773" fmla="*/ 961271 w 9586368"/>
                <a:gd name="connsiteY7773" fmla="*/ 975256 h 6479439"/>
                <a:gd name="connsiteX7774" fmla="*/ 957253 w 9586368"/>
                <a:gd name="connsiteY7774" fmla="*/ 971218 h 6479439"/>
                <a:gd name="connsiteX7775" fmla="*/ 957253 w 9586368"/>
                <a:gd name="connsiteY7775" fmla="*/ 961347 h 6479439"/>
                <a:gd name="connsiteX7776" fmla="*/ 9333125 w 9586368"/>
                <a:gd name="connsiteY7776" fmla="*/ 957302 h 6479439"/>
                <a:gd name="connsiteX7777" fmla="*/ 9343036 w 9586368"/>
                <a:gd name="connsiteY7777" fmla="*/ 957302 h 6479439"/>
                <a:gd name="connsiteX7778" fmla="*/ 9347055 w 9586368"/>
                <a:gd name="connsiteY7778" fmla="*/ 961340 h 6479439"/>
                <a:gd name="connsiteX7779" fmla="*/ 9347055 w 9586368"/>
                <a:gd name="connsiteY7779" fmla="*/ 971210 h 6479439"/>
                <a:gd name="connsiteX7780" fmla="*/ 9343036 w 9586368"/>
                <a:gd name="connsiteY7780" fmla="*/ 975249 h 6479439"/>
                <a:gd name="connsiteX7781" fmla="*/ 9333125 w 9586368"/>
                <a:gd name="connsiteY7781" fmla="*/ 975249 h 6479439"/>
                <a:gd name="connsiteX7782" fmla="*/ 9329106 w 9586368"/>
                <a:gd name="connsiteY7782" fmla="*/ 971210 h 6479439"/>
                <a:gd name="connsiteX7783" fmla="*/ 9329106 w 9586368"/>
                <a:gd name="connsiteY7783" fmla="*/ 961340 h 6479439"/>
                <a:gd name="connsiteX7784" fmla="*/ 9093811 w 9586368"/>
                <a:gd name="connsiteY7784" fmla="*/ 957302 h 6479439"/>
                <a:gd name="connsiteX7785" fmla="*/ 9103722 w 9586368"/>
                <a:gd name="connsiteY7785" fmla="*/ 957302 h 6479439"/>
                <a:gd name="connsiteX7786" fmla="*/ 9107741 w 9586368"/>
                <a:gd name="connsiteY7786" fmla="*/ 961340 h 6479439"/>
                <a:gd name="connsiteX7787" fmla="*/ 9107741 w 9586368"/>
                <a:gd name="connsiteY7787" fmla="*/ 971210 h 6479439"/>
                <a:gd name="connsiteX7788" fmla="*/ 9103722 w 9586368"/>
                <a:gd name="connsiteY7788" fmla="*/ 975249 h 6479439"/>
                <a:gd name="connsiteX7789" fmla="*/ 9093811 w 9586368"/>
                <a:gd name="connsiteY7789" fmla="*/ 975249 h 6479439"/>
                <a:gd name="connsiteX7790" fmla="*/ 9089792 w 9586368"/>
                <a:gd name="connsiteY7790" fmla="*/ 971210 h 6479439"/>
                <a:gd name="connsiteX7791" fmla="*/ 9089792 w 9586368"/>
                <a:gd name="connsiteY7791" fmla="*/ 961340 h 6479439"/>
                <a:gd name="connsiteX7792" fmla="*/ 8854496 w 9586368"/>
                <a:gd name="connsiteY7792" fmla="*/ 957302 h 6479439"/>
                <a:gd name="connsiteX7793" fmla="*/ 8864407 w 9586368"/>
                <a:gd name="connsiteY7793" fmla="*/ 957302 h 6479439"/>
                <a:gd name="connsiteX7794" fmla="*/ 8868426 w 9586368"/>
                <a:gd name="connsiteY7794" fmla="*/ 961340 h 6479439"/>
                <a:gd name="connsiteX7795" fmla="*/ 8868426 w 9586368"/>
                <a:gd name="connsiteY7795" fmla="*/ 971210 h 6479439"/>
                <a:gd name="connsiteX7796" fmla="*/ 8864407 w 9586368"/>
                <a:gd name="connsiteY7796" fmla="*/ 975249 h 6479439"/>
                <a:gd name="connsiteX7797" fmla="*/ 8854496 w 9586368"/>
                <a:gd name="connsiteY7797" fmla="*/ 975249 h 6479439"/>
                <a:gd name="connsiteX7798" fmla="*/ 8850477 w 9586368"/>
                <a:gd name="connsiteY7798" fmla="*/ 971210 h 6479439"/>
                <a:gd name="connsiteX7799" fmla="*/ 8850477 w 9586368"/>
                <a:gd name="connsiteY7799" fmla="*/ 961340 h 6479439"/>
                <a:gd name="connsiteX7800" fmla="*/ 8615184 w 9586368"/>
                <a:gd name="connsiteY7800" fmla="*/ 957302 h 6479439"/>
                <a:gd name="connsiteX7801" fmla="*/ 8625095 w 9586368"/>
                <a:gd name="connsiteY7801" fmla="*/ 957302 h 6479439"/>
                <a:gd name="connsiteX7802" fmla="*/ 8629114 w 9586368"/>
                <a:gd name="connsiteY7802" fmla="*/ 961340 h 6479439"/>
                <a:gd name="connsiteX7803" fmla="*/ 8629114 w 9586368"/>
                <a:gd name="connsiteY7803" fmla="*/ 971210 h 6479439"/>
                <a:gd name="connsiteX7804" fmla="*/ 8625095 w 9586368"/>
                <a:gd name="connsiteY7804" fmla="*/ 975249 h 6479439"/>
                <a:gd name="connsiteX7805" fmla="*/ 8615184 w 9586368"/>
                <a:gd name="connsiteY7805" fmla="*/ 975249 h 6479439"/>
                <a:gd name="connsiteX7806" fmla="*/ 8611165 w 9586368"/>
                <a:gd name="connsiteY7806" fmla="*/ 971210 h 6479439"/>
                <a:gd name="connsiteX7807" fmla="*/ 8611165 w 9586368"/>
                <a:gd name="connsiteY7807" fmla="*/ 961340 h 6479439"/>
                <a:gd name="connsiteX7808" fmla="*/ 8375869 w 9586368"/>
                <a:gd name="connsiteY7808" fmla="*/ 957302 h 6479439"/>
                <a:gd name="connsiteX7809" fmla="*/ 8385779 w 9586368"/>
                <a:gd name="connsiteY7809" fmla="*/ 957302 h 6479439"/>
                <a:gd name="connsiteX7810" fmla="*/ 8389799 w 9586368"/>
                <a:gd name="connsiteY7810" fmla="*/ 961340 h 6479439"/>
                <a:gd name="connsiteX7811" fmla="*/ 8389799 w 9586368"/>
                <a:gd name="connsiteY7811" fmla="*/ 971210 h 6479439"/>
                <a:gd name="connsiteX7812" fmla="*/ 8385779 w 9586368"/>
                <a:gd name="connsiteY7812" fmla="*/ 975249 h 6479439"/>
                <a:gd name="connsiteX7813" fmla="*/ 8375869 w 9586368"/>
                <a:gd name="connsiteY7813" fmla="*/ 975249 h 6479439"/>
                <a:gd name="connsiteX7814" fmla="*/ 8371850 w 9586368"/>
                <a:gd name="connsiteY7814" fmla="*/ 971210 h 6479439"/>
                <a:gd name="connsiteX7815" fmla="*/ 8371850 w 9586368"/>
                <a:gd name="connsiteY7815" fmla="*/ 961340 h 6479439"/>
                <a:gd name="connsiteX7816" fmla="*/ 1918514 w 9586368"/>
                <a:gd name="connsiteY7816" fmla="*/ 957301 h 6479439"/>
                <a:gd name="connsiteX7817" fmla="*/ 1928424 w 9586368"/>
                <a:gd name="connsiteY7817" fmla="*/ 957301 h 6479439"/>
                <a:gd name="connsiteX7818" fmla="*/ 1932444 w 9586368"/>
                <a:gd name="connsiteY7818" fmla="*/ 961339 h 6479439"/>
                <a:gd name="connsiteX7819" fmla="*/ 1932444 w 9586368"/>
                <a:gd name="connsiteY7819" fmla="*/ 971210 h 6479439"/>
                <a:gd name="connsiteX7820" fmla="*/ 1928424 w 9586368"/>
                <a:gd name="connsiteY7820" fmla="*/ 975249 h 6479439"/>
                <a:gd name="connsiteX7821" fmla="*/ 1918514 w 9586368"/>
                <a:gd name="connsiteY7821" fmla="*/ 975249 h 6479439"/>
                <a:gd name="connsiteX7822" fmla="*/ 1914495 w 9586368"/>
                <a:gd name="connsiteY7822" fmla="*/ 971210 h 6479439"/>
                <a:gd name="connsiteX7823" fmla="*/ 1914495 w 9586368"/>
                <a:gd name="connsiteY7823" fmla="*/ 961339 h 6479439"/>
                <a:gd name="connsiteX7824" fmla="*/ 2157823 w 9586368"/>
                <a:gd name="connsiteY7824" fmla="*/ 957299 h 6479439"/>
                <a:gd name="connsiteX7825" fmla="*/ 2167733 w 9586368"/>
                <a:gd name="connsiteY7825" fmla="*/ 957299 h 6479439"/>
                <a:gd name="connsiteX7826" fmla="*/ 2171751 w 9586368"/>
                <a:gd name="connsiteY7826" fmla="*/ 961337 h 6479439"/>
                <a:gd name="connsiteX7827" fmla="*/ 2171751 w 9586368"/>
                <a:gd name="connsiteY7827" fmla="*/ 971207 h 6479439"/>
                <a:gd name="connsiteX7828" fmla="*/ 2167733 w 9586368"/>
                <a:gd name="connsiteY7828" fmla="*/ 975246 h 6479439"/>
                <a:gd name="connsiteX7829" fmla="*/ 2157823 w 9586368"/>
                <a:gd name="connsiteY7829" fmla="*/ 975246 h 6479439"/>
                <a:gd name="connsiteX7830" fmla="*/ 2153804 w 9586368"/>
                <a:gd name="connsiteY7830" fmla="*/ 971207 h 6479439"/>
                <a:gd name="connsiteX7831" fmla="*/ 2153804 w 9586368"/>
                <a:gd name="connsiteY7831" fmla="*/ 961337 h 6479439"/>
                <a:gd name="connsiteX7832" fmla="*/ 9572438 w 9586368"/>
                <a:gd name="connsiteY7832" fmla="*/ 957291 h 6479439"/>
                <a:gd name="connsiteX7833" fmla="*/ 9582349 w 9586368"/>
                <a:gd name="connsiteY7833" fmla="*/ 957291 h 6479439"/>
                <a:gd name="connsiteX7834" fmla="*/ 9586368 w 9586368"/>
                <a:gd name="connsiteY7834" fmla="*/ 961329 h 6479439"/>
                <a:gd name="connsiteX7835" fmla="*/ 9586368 w 9586368"/>
                <a:gd name="connsiteY7835" fmla="*/ 971199 h 6479439"/>
                <a:gd name="connsiteX7836" fmla="*/ 9582349 w 9586368"/>
                <a:gd name="connsiteY7836" fmla="*/ 975238 h 6479439"/>
                <a:gd name="connsiteX7837" fmla="*/ 9572438 w 9586368"/>
                <a:gd name="connsiteY7837" fmla="*/ 975238 h 6479439"/>
                <a:gd name="connsiteX7838" fmla="*/ 9568419 w 9586368"/>
                <a:gd name="connsiteY7838" fmla="*/ 971199 h 6479439"/>
                <a:gd name="connsiteX7839" fmla="*/ 9568419 w 9586368"/>
                <a:gd name="connsiteY7839" fmla="*/ 961329 h 6479439"/>
                <a:gd name="connsiteX7840" fmla="*/ 721974 w 9586368"/>
                <a:gd name="connsiteY7840" fmla="*/ 957266 h 6479439"/>
                <a:gd name="connsiteX7841" fmla="*/ 731884 w 9586368"/>
                <a:gd name="connsiteY7841" fmla="*/ 957266 h 6479439"/>
                <a:gd name="connsiteX7842" fmla="*/ 735903 w 9586368"/>
                <a:gd name="connsiteY7842" fmla="*/ 961305 h 6479439"/>
                <a:gd name="connsiteX7843" fmla="*/ 735903 w 9586368"/>
                <a:gd name="connsiteY7843" fmla="*/ 971175 h 6479439"/>
                <a:gd name="connsiteX7844" fmla="*/ 731884 w 9586368"/>
                <a:gd name="connsiteY7844" fmla="*/ 975214 h 6479439"/>
                <a:gd name="connsiteX7845" fmla="*/ 721974 w 9586368"/>
                <a:gd name="connsiteY7845" fmla="*/ 975214 h 6479439"/>
                <a:gd name="connsiteX7846" fmla="*/ 717956 w 9586368"/>
                <a:gd name="connsiteY7846" fmla="*/ 971175 h 6479439"/>
                <a:gd name="connsiteX7847" fmla="*/ 717956 w 9586368"/>
                <a:gd name="connsiteY7847" fmla="*/ 961305 h 6479439"/>
                <a:gd name="connsiteX7848" fmla="*/ 482662 w 9586368"/>
                <a:gd name="connsiteY7848" fmla="*/ 957266 h 6479439"/>
                <a:gd name="connsiteX7849" fmla="*/ 492572 w 9586368"/>
                <a:gd name="connsiteY7849" fmla="*/ 957266 h 6479439"/>
                <a:gd name="connsiteX7850" fmla="*/ 496591 w 9586368"/>
                <a:gd name="connsiteY7850" fmla="*/ 961305 h 6479439"/>
                <a:gd name="connsiteX7851" fmla="*/ 496591 w 9586368"/>
                <a:gd name="connsiteY7851" fmla="*/ 971175 h 6479439"/>
                <a:gd name="connsiteX7852" fmla="*/ 492572 w 9586368"/>
                <a:gd name="connsiteY7852" fmla="*/ 975214 h 6479439"/>
                <a:gd name="connsiteX7853" fmla="*/ 482662 w 9586368"/>
                <a:gd name="connsiteY7853" fmla="*/ 975214 h 6479439"/>
                <a:gd name="connsiteX7854" fmla="*/ 478643 w 9586368"/>
                <a:gd name="connsiteY7854" fmla="*/ 971175 h 6479439"/>
                <a:gd name="connsiteX7855" fmla="*/ 478643 w 9586368"/>
                <a:gd name="connsiteY7855" fmla="*/ 961305 h 6479439"/>
                <a:gd name="connsiteX7856" fmla="*/ 243349 w 9586368"/>
                <a:gd name="connsiteY7856" fmla="*/ 957266 h 6479439"/>
                <a:gd name="connsiteX7857" fmla="*/ 253259 w 9586368"/>
                <a:gd name="connsiteY7857" fmla="*/ 957266 h 6479439"/>
                <a:gd name="connsiteX7858" fmla="*/ 257278 w 9586368"/>
                <a:gd name="connsiteY7858" fmla="*/ 961305 h 6479439"/>
                <a:gd name="connsiteX7859" fmla="*/ 257278 w 9586368"/>
                <a:gd name="connsiteY7859" fmla="*/ 971175 h 6479439"/>
                <a:gd name="connsiteX7860" fmla="*/ 253259 w 9586368"/>
                <a:gd name="connsiteY7860" fmla="*/ 975214 h 6479439"/>
                <a:gd name="connsiteX7861" fmla="*/ 243349 w 9586368"/>
                <a:gd name="connsiteY7861" fmla="*/ 975214 h 6479439"/>
                <a:gd name="connsiteX7862" fmla="*/ 239330 w 9586368"/>
                <a:gd name="connsiteY7862" fmla="*/ 971175 h 6479439"/>
                <a:gd name="connsiteX7863" fmla="*/ 239330 w 9586368"/>
                <a:gd name="connsiteY7863" fmla="*/ 961305 h 6479439"/>
                <a:gd name="connsiteX7864" fmla="*/ 4036 w 9586368"/>
                <a:gd name="connsiteY7864" fmla="*/ 957266 h 6479439"/>
                <a:gd name="connsiteX7865" fmla="*/ 13946 w 9586368"/>
                <a:gd name="connsiteY7865" fmla="*/ 957266 h 6479439"/>
                <a:gd name="connsiteX7866" fmla="*/ 17965 w 9586368"/>
                <a:gd name="connsiteY7866" fmla="*/ 961305 h 6479439"/>
                <a:gd name="connsiteX7867" fmla="*/ 17965 w 9586368"/>
                <a:gd name="connsiteY7867" fmla="*/ 971176 h 6479439"/>
                <a:gd name="connsiteX7868" fmla="*/ 13946 w 9586368"/>
                <a:gd name="connsiteY7868" fmla="*/ 975214 h 6479439"/>
                <a:gd name="connsiteX7869" fmla="*/ 4036 w 9586368"/>
                <a:gd name="connsiteY7869" fmla="*/ 975214 h 6479439"/>
                <a:gd name="connsiteX7870" fmla="*/ 16 w 9586368"/>
                <a:gd name="connsiteY7870" fmla="*/ 971176 h 6479439"/>
                <a:gd name="connsiteX7871" fmla="*/ 16 w 9586368"/>
                <a:gd name="connsiteY7871" fmla="*/ 961305 h 6479439"/>
                <a:gd name="connsiteX7872" fmla="*/ 3350359 w 9586368"/>
                <a:gd name="connsiteY7872" fmla="*/ 718040 h 6479439"/>
                <a:gd name="connsiteX7873" fmla="*/ 3360268 w 9586368"/>
                <a:gd name="connsiteY7873" fmla="*/ 718040 h 6479439"/>
                <a:gd name="connsiteX7874" fmla="*/ 3364287 w 9586368"/>
                <a:gd name="connsiteY7874" fmla="*/ 722078 h 6479439"/>
                <a:gd name="connsiteX7875" fmla="*/ 3364287 w 9586368"/>
                <a:gd name="connsiteY7875" fmla="*/ 731948 h 6479439"/>
                <a:gd name="connsiteX7876" fmla="*/ 3360268 w 9586368"/>
                <a:gd name="connsiteY7876" fmla="*/ 735987 h 6479439"/>
                <a:gd name="connsiteX7877" fmla="*/ 3350359 w 9586368"/>
                <a:gd name="connsiteY7877" fmla="*/ 735987 h 6479439"/>
                <a:gd name="connsiteX7878" fmla="*/ 3346340 w 9586368"/>
                <a:gd name="connsiteY7878" fmla="*/ 731948 h 6479439"/>
                <a:gd name="connsiteX7879" fmla="*/ 3346340 w 9586368"/>
                <a:gd name="connsiteY7879" fmla="*/ 722078 h 6479439"/>
                <a:gd name="connsiteX7880" fmla="*/ 3111048 w 9586368"/>
                <a:gd name="connsiteY7880" fmla="*/ 718040 h 6479439"/>
                <a:gd name="connsiteX7881" fmla="*/ 3120959 w 9586368"/>
                <a:gd name="connsiteY7881" fmla="*/ 718040 h 6479439"/>
                <a:gd name="connsiteX7882" fmla="*/ 3124977 w 9586368"/>
                <a:gd name="connsiteY7882" fmla="*/ 722078 h 6479439"/>
                <a:gd name="connsiteX7883" fmla="*/ 3124977 w 9586368"/>
                <a:gd name="connsiteY7883" fmla="*/ 731949 h 6479439"/>
                <a:gd name="connsiteX7884" fmla="*/ 3120959 w 9586368"/>
                <a:gd name="connsiteY7884" fmla="*/ 735987 h 6479439"/>
                <a:gd name="connsiteX7885" fmla="*/ 3111048 w 9586368"/>
                <a:gd name="connsiteY7885" fmla="*/ 735987 h 6479439"/>
                <a:gd name="connsiteX7886" fmla="*/ 3107029 w 9586368"/>
                <a:gd name="connsiteY7886" fmla="*/ 731949 h 6479439"/>
                <a:gd name="connsiteX7887" fmla="*/ 3107029 w 9586368"/>
                <a:gd name="connsiteY7887" fmla="*/ 722078 h 6479439"/>
                <a:gd name="connsiteX7888" fmla="*/ 2871737 w 9586368"/>
                <a:gd name="connsiteY7888" fmla="*/ 718040 h 6479439"/>
                <a:gd name="connsiteX7889" fmla="*/ 2881646 w 9586368"/>
                <a:gd name="connsiteY7889" fmla="*/ 718040 h 6479439"/>
                <a:gd name="connsiteX7890" fmla="*/ 2885666 w 9586368"/>
                <a:gd name="connsiteY7890" fmla="*/ 722078 h 6479439"/>
                <a:gd name="connsiteX7891" fmla="*/ 2885666 w 9586368"/>
                <a:gd name="connsiteY7891" fmla="*/ 731949 h 6479439"/>
                <a:gd name="connsiteX7892" fmla="*/ 2881646 w 9586368"/>
                <a:gd name="connsiteY7892" fmla="*/ 735987 h 6479439"/>
                <a:gd name="connsiteX7893" fmla="*/ 2871737 w 9586368"/>
                <a:gd name="connsiteY7893" fmla="*/ 735987 h 6479439"/>
                <a:gd name="connsiteX7894" fmla="*/ 2867717 w 9586368"/>
                <a:gd name="connsiteY7894" fmla="*/ 731949 h 6479439"/>
                <a:gd name="connsiteX7895" fmla="*/ 2867717 w 9586368"/>
                <a:gd name="connsiteY7895" fmla="*/ 722078 h 6479439"/>
                <a:gd name="connsiteX7896" fmla="*/ 2632423 w 9586368"/>
                <a:gd name="connsiteY7896" fmla="*/ 718040 h 6479439"/>
                <a:gd name="connsiteX7897" fmla="*/ 2642334 w 9586368"/>
                <a:gd name="connsiteY7897" fmla="*/ 718040 h 6479439"/>
                <a:gd name="connsiteX7898" fmla="*/ 2646352 w 9586368"/>
                <a:gd name="connsiteY7898" fmla="*/ 722078 h 6479439"/>
                <a:gd name="connsiteX7899" fmla="*/ 2646352 w 9586368"/>
                <a:gd name="connsiteY7899" fmla="*/ 731949 h 6479439"/>
                <a:gd name="connsiteX7900" fmla="*/ 2642334 w 9586368"/>
                <a:gd name="connsiteY7900" fmla="*/ 735988 h 6479439"/>
                <a:gd name="connsiteX7901" fmla="*/ 2632423 w 9586368"/>
                <a:gd name="connsiteY7901" fmla="*/ 735988 h 6479439"/>
                <a:gd name="connsiteX7902" fmla="*/ 2628404 w 9586368"/>
                <a:gd name="connsiteY7902" fmla="*/ 731949 h 6479439"/>
                <a:gd name="connsiteX7903" fmla="*/ 2628404 w 9586368"/>
                <a:gd name="connsiteY7903" fmla="*/ 722078 h 6479439"/>
                <a:gd name="connsiteX7904" fmla="*/ 2393104 w 9586368"/>
                <a:gd name="connsiteY7904" fmla="*/ 718040 h 6479439"/>
                <a:gd name="connsiteX7905" fmla="*/ 2403015 w 9586368"/>
                <a:gd name="connsiteY7905" fmla="*/ 718040 h 6479439"/>
                <a:gd name="connsiteX7906" fmla="*/ 2407034 w 9586368"/>
                <a:gd name="connsiteY7906" fmla="*/ 722078 h 6479439"/>
                <a:gd name="connsiteX7907" fmla="*/ 2407034 w 9586368"/>
                <a:gd name="connsiteY7907" fmla="*/ 731949 h 6479439"/>
                <a:gd name="connsiteX7908" fmla="*/ 2403015 w 9586368"/>
                <a:gd name="connsiteY7908" fmla="*/ 735988 h 6479439"/>
                <a:gd name="connsiteX7909" fmla="*/ 2393104 w 9586368"/>
                <a:gd name="connsiteY7909" fmla="*/ 735988 h 6479439"/>
                <a:gd name="connsiteX7910" fmla="*/ 2389087 w 9586368"/>
                <a:gd name="connsiteY7910" fmla="*/ 731949 h 6479439"/>
                <a:gd name="connsiteX7911" fmla="*/ 2389087 w 9586368"/>
                <a:gd name="connsiteY7911" fmla="*/ 722078 h 6479439"/>
                <a:gd name="connsiteX7912" fmla="*/ 4546929 w 9586368"/>
                <a:gd name="connsiteY7912" fmla="*/ 718028 h 6479439"/>
                <a:gd name="connsiteX7913" fmla="*/ 4556840 w 9586368"/>
                <a:gd name="connsiteY7913" fmla="*/ 718028 h 6479439"/>
                <a:gd name="connsiteX7914" fmla="*/ 4560859 w 9586368"/>
                <a:gd name="connsiteY7914" fmla="*/ 722066 h 6479439"/>
                <a:gd name="connsiteX7915" fmla="*/ 4560859 w 9586368"/>
                <a:gd name="connsiteY7915" fmla="*/ 731935 h 6479439"/>
                <a:gd name="connsiteX7916" fmla="*/ 4556840 w 9586368"/>
                <a:gd name="connsiteY7916" fmla="*/ 735975 h 6479439"/>
                <a:gd name="connsiteX7917" fmla="*/ 4546929 w 9586368"/>
                <a:gd name="connsiteY7917" fmla="*/ 735975 h 6479439"/>
                <a:gd name="connsiteX7918" fmla="*/ 4542910 w 9586368"/>
                <a:gd name="connsiteY7918" fmla="*/ 731935 h 6479439"/>
                <a:gd name="connsiteX7919" fmla="*/ 4542910 w 9586368"/>
                <a:gd name="connsiteY7919" fmla="*/ 722066 h 6479439"/>
                <a:gd name="connsiteX7920" fmla="*/ 4307612 w 9586368"/>
                <a:gd name="connsiteY7920" fmla="*/ 718028 h 6479439"/>
                <a:gd name="connsiteX7921" fmla="*/ 4317523 w 9586368"/>
                <a:gd name="connsiteY7921" fmla="*/ 718028 h 6479439"/>
                <a:gd name="connsiteX7922" fmla="*/ 4321543 w 9586368"/>
                <a:gd name="connsiteY7922" fmla="*/ 722066 h 6479439"/>
                <a:gd name="connsiteX7923" fmla="*/ 4321543 w 9586368"/>
                <a:gd name="connsiteY7923" fmla="*/ 731936 h 6479439"/>
                <a:gd name="connsiteX7924" fmla="*/ 4317523 w 9586368"/>
                <a:gd name="connsiteY7924" fmla="*/ 735975 h 6479439"/>
                <a:gd name="connsiteX7925" fmla="*/ 4307612 w 9586368"/>
                <a:gd name="connsiteY7925" fmla="*/ 735975 h 6479439"/>
                <a:gd name="connsiteX7926" fmla="*/ 4303595 w 9586368"/>
                <a:gd name="connsiteY7926" fmla="*/ 731936 h 6479439"/>
                <a:gd name="connsiteX7927" fmla="*/ 4303595 w 9586368"/>
                <a:gd name="connsiteY7927" fmla="*/ 722066 h 6479439"/>
                <a:gd name="connsiteX7928" fmla="*/ 4068297 w 9586368"/>
                <a:gd name="connsiteY7928" fmla="*/ 718028 h 6479439"/>
                <a:gd name="connsiteX7929" fmla="*/ 4078210 w 9586368"/>
                <a:gd name="connsiteY7929" fmla="*/ 718028 h 6479439"/>
                <a:gd name="connsiteX7930" fmla="*/ 4082229 w 9586368"/>
                <a:gd name="connsiteY7930" fmla="*/ 722066 h 6479439"/>
                <a:gd name="connsiteX7931" fmla="*/ 4082229 w 9586368"/>
                <a:gd name="connsiteY7931" fmla="*/ 731936 h 6479439"/>
                <a:gd name="connsiteX7932" fmla="*/ 4078210 w 9586368"/>
                <a:gd name="connsiteY7932" fmla="*/ 735975 h 6479439"/>
                <a:gd name="connsiteX7933" fmla="*/ 4068297 w 9586368"/>
                <a:gd name="connsiteY7933" fmla="*/ 735975 h 6479439"/>
                <a:gd name="connsiteX7934" fmla="*/ 4064278 w 9586368"/>
                <a:gd name="connsiteY7934" fmla="*/ 731936 h 6479439"/>
                <a:gd name="connsiteX7935" fmla="*/ 4064278 w 9586368"/>
                <a:gd name="connsiteY7935" fmla="*/ 722066 h 6479439"/>
                <a:gd name="connsiteX7936" fmla="*/ 3828990 w 9586368"/>
                <a:gd name="connsiteY7936" fmla="*/ 718028 h 6479439"/>
                <a:gd name="connsiteX7937" fmla="*/ 3838899 w 9586368"/>
                <a:gd name="connsiteY7937" fmla="*/ 718028 h 6479439"/>
                <a:gd name="connsiteX7938" fmla="*/ 3842917 w 9586368"/>
                <a:gd name="connsiteY7938" fmla="*/ 722066 h 6479439"/>
                <a:gd name="connsiteX7939" fmla="*/ 3842917 w 9586368"/>
                <a:gd name="connsiteY7939" fmla="*/ 731936 h 6479439"/>
                <a:gd name="connsiteX7940" fmla="*/ 3838899 w 9586368"/>
                <a:gd name="connsiteY7940" fmla="*/ 735975 h 6479439"/>
                <a:gd name="connsiteX7941" fmla="*/ 3828990 w 9586368"/>
                <a:gd name="connsiteY7941" fmla="*/ 735975 h 6479439"/>
                <a:gd name="connsiteX7942" fmla="*/ 3824971 w 9586368"/>
                <a:gd name="connsiteY7942" fmla="*/ 731936 h 6479439"/>
                <a:gd name="connsiteX7943" fmla="*/ 3824971 w 9586368"/>
                <a:gd name="connsiteY7943" fmla="*/ 722066 h 6479439"/>
                <a:gd name="connsiteX7944" fmla="*/ 3589676 w 9586368"/>
                <a:gd name="connsiteY7944" fmla="*/ 718028 h 6479439"/>
                <a:gd name="connsiteX7945" fmla="*/ 3599585 w 9586368"/>
                <a:gd name="connsiteY7945" fmla="*/ 718028 h 6479439"/>
                <a:gd name="connsiteX7946" fmla="*/ 3603604 w 9586368"/>
                <a:gd name="connsiteY7946" fmla="*/ 722066 h 6479439"/>
                <a:gd name="connsiteX7947" fmla="*/ 3603604 w 9586368"/>
                <a:gd name="connsiteY7947" fmla="*/ 731936 h 6479439"/>
                <a:gd name="connsiteX7948" fmla="*/ 3599585 w 9586368"/>
                <a:gd name="connsiteY7948" fmla="*/ 735975 h 6479439"/>
                <a:gd name="connsiteX7949" fmla="*/ 3589676 w 9586368"/>
                <a:gd name="connsiteY7949" fmla="*/ 735975 h 6479439"/>
                <a:gd name="connsiteX7950" fmla="*/ 3585657 w 9586368"/>
                <a:gd name="connsiteY7950" fmla="*/ 731936 h 6479439"/>
                <a:gd name="connsiteX7951" fmla="*/ 3585657 w 9586368"/>
                <a:gd name="connsiteY7951" fmla="*/ 722066 h 6479439"/>
                <a:gd name="connsiteX7952" fmla="*/ 5743412 w 9586368"/>
                <a:gd name="connsiteY7952" fmla="*/ 718015 h 6479439"/>
                <a:gd name="connsiteX7953" fmla="*/ 5753323 w 9586368"/>
                <a:gd name="connsiteY7953" fmla="*/ 718015 h 6479439"/>
                <a:gd name="connsiteX7954" fmla="*/ 5757342 w 9586368"/>
                <a:gd name="connsiteY7954" fmla="*/ 722053 h 6479439"/>
                <a:gd name="connsiteX7955" fmla="*/ 5757342 w 9586368"/>
                <a:gd name="connsiteY7955" fmla="*/ 731924 h 6479439"/>
                <a:gd name="connsiteX7956" fmla="*/ 5753323 w 9586368"/>
                <a:gd name="connsiteY7956" fmla="*/ 735963 h 6479439"/>
                <a:gd name="connsiteX7957" fmla="*/ 5743412 w 9586368"/>
                <a:gd name="connsiteY7957" fmla="*/ 735963 h 6479439"/>
                <a:gd name="connsiteX7958" fmla="*/ 5739393 w 9586368"/>
                <a:gd name="connsiteY7958" fmla="*/ 731924 h 6479439"/>
                <a:gd name="connsiteX7959" fmla="*/ 5739393 w 9586368"/>
                <a:gd name="connsiteY7959" fmla="*/ 722053 h 6479439"/>
                <a:gd name="connsiteX7960" fmla="*/ 5504099 w 9586368"/>
                <a:gd name="connsiteY7960" fmla="*/ 718015 h 6479439"/>
                <a:gd name="connsiteX7961" fmla="*/ 5514010 w 9586368"/>
                <a:gd name="connsiteY7961" fmla="*/ 718015 h 6479439"/>
                <a:gd name="connsiteX7962" fmla="*/ 5518029 w 9586368"/>
                <a:gd name="connsiteY7962" fmla="*/ 722053 h 6479439"/>
                <a:gd name="connsiteX7963" fmla="*/ 5518029 w 9586368"/>
                <a:gd name="connsiteY7963" fmla="*/ 731924 h 6479439"/>
                <a:gd name="connsiteX7964" fmla="*/ 5514010 w 9586368"/>
                <a:gd name="connsiteY7964" fmla="*/ 735963 h 6479439"/>
                <a:gd name="connsiteX7965" fmla="*/ 5504099 w 9586368"/>
                <a:gd name="connsiteY7965" fmla="*/ 735963 h 6479439"/>
                <a:gd name="connsiteX7966" fmla="*/ 5500080 w 9586368"/>
                <a:gd name="connsiteY7966" fmla="*/ 731924 h 6479439"/>
                <a:gd name="connsiteX7967" fmla="*/ 5500080 w 9586368"/>
                <a:gd name="connsiteY7967" fmla="*/ 722053 h 6479439"/>
                <a:gd name="connsiteX7968" fmla="*/ 5264784 w 9586368"/>
                <a:gd name="connsiteY7968" fmla="*/ 718015 h 6479439"/>
                <a:gd name="connsiteX7969" fmla="*/ 5274694 w 9586368"/>
                <a:gd name="connsiteY7969" fmla="*/ 718015 h 6479439"/>
                <a:gd name="connsiteX7970" fmla="*/ 5278713 w 9586368"/>
                <a:gd name="connsiteY7970" fmla="*/ 722053 h 6479439"/>
                <a:gd name="connsiteX7971" fmla="*/ 5278713 w 9586368"/>
                <a:gd name="connsiteY7971" fmla="*/ 731924 h 6479439"/>
                <a:gd name="connsiteX7972" fmla="*/ 5274694 w 9586368"/>
                <a:gd name="connsiteY7972" fmla="*/ 735963 h 6479439"/>
                <a:gd name="connsiteX7973" fmla="*/ 5264784 w 9586368"/>
                <a:gd name="connsiteY7973" fmla="*/ 735963 h 6479439"/>
                <a:gd name="connsiteX7974" fmla="*/ 5260765 w 9586368"/>
                <a:gd name="connsiteY7974" fmla="*/ 731924 h 6479439"/>
                <a:gd name="connsiteX7975" fmla="*/ 5260765 w 9586368"/>
                <a:gd name="connsiteY7975" fmla="*/ 722053 h 6479439"/>
                <a:gd name="connsiteX7976" fmla="*/ 5025470 w 9586368"/>
                <a:gd name="connsiteY7976" fmla="*/ 718015 h 6479439"/>
                <a:gd name="connsiteX7977" fmla="*/ 5035381 w 9586368"/>
                <a:gd name="connsiteY7977" fmla="*/ 718015 h 6479439"/>
                <a:gd name="connsiteX7978" fmla="*/ 5039400 w 9586368"/>
                <a:gd name="connsiteY7978" fmla="*/ 722053 h 6479439"/>
                <a:gd name="connsiteX7979" fmla="*/ 5039400 w 9586368"/>
                <a:gd name="connsiteY7979" fmla="*/ 731924 h 6479439"/>
                <a:gd name="connsiteX7980" fmla="*/ 5035381 w 9586368"/>
                <a:gd name="connsiteY7980" fmla="*/ 735963 h 6479439"/>
                <a:gd name="connsiteX7981" fmla="*/ 5025470 w 9586368"/>
                <a:gd name="connsiteY7981" fmla="*/ 735963 h 6479439"/>
                <a:gd name="connsiteX7982" fmla="*/ 5021451 w 9586368"/>
                <a:gd name="connsiteY7982" fmla="*/ 731924 h 6479439"/>
                <a:gd name="connsiteX7983" fmla="*/ 5021451 w 9586368"/>
                <a:gd name="connsiteY7983" fmla="*/ 722053 h 6479439"/>
                <a:gd name="connsiteX7984" fmla="*/ 4786241 w 9586368"/>
                <a:gd name="connsiteY7984" fmla="*/ 718015 h 6479439"/>
                <a:gd name="connsiteX7985" fmla="*/ 4796152 w 9586368"/>
                <a:gd name="connsiteY7985" fmla="*/ 718015 h 6479439"/>
                <a:gd name="connsiteX7986" fmla="*/ 4800171 w 9586368"/>
                <a:gd name="connsiteY7986" fmla="*/ 722053 h 6479439"/>
                <a:gd name="connsiteX7987" fmla="*/ 4800171 w 9586368"/>
                <a:gd name="connsiteY7987" fmla="*/ 731924 h 6479439"/>
                <a:gd name="connsiteX7988" fmla="*/ 4796152 w 9586368"/>
                <a:gd name="connsiteY7988" fmla="*/ 735963 h 6479439"/>
                <a:gd name="connsiteX7989" fmla="*/ 4786241 w 9586368"/>
                <a:gd name="connsiteY7989" fmla="*/ 735963 h 6479439"/>
                <a:gd name="connsiteX7990" fmla="*/ 4782224 w 9586368"/>
                <a:gd name="connsiteY7990" fmla="*/ 731924 h 6479439"/>
                <a:gd name="connsiteX7991" fmla="*/ 4782224 w 9586368"/>
                <a:gd name="connsiteY7991" fmla="*/ 722053 h 6479439"/>
                <a:gd name="connsiteX7992" fmla="*/ 6939983 w 9586368"/>
                <a:gd name="connsiteY7992" fmla="*/ 718003 h 6479439"/>
                <a:gd name="connsiteX7993" fmla="*/ 6949894 w 9586368"/>
                <a:gd name="connsiteY7993" fmla="*/ 718003 h 6479439"/>
                <a:gd name="connsiteX7994" fmla="*/ 6953913 w 9586368"/>
                <a:gd name="connsiteY7994" fmla="*/ 722041 h 6479439"/>
                <a:gd name="connsiteX7995" fmla="*/ 6953913 w 9586368"/>
                <a:gd name="connsiteY7995" fmla="*/ 731911 h 6479439"/>
                <a:gd name="connsiteX7996" fmla="*/ 6949894 w 9586368"/>
                <a:gd name="connsiteY7996" fmla="*/ 735950 h 6479439"/>
                <a:gd name="connsiteX7997" fmla="*/ 6939983 w 9586368"/>
                <a:gd name="connsiteY7997" fmla="*/ 735950 h 6479439"/>
                <a:gd name="connsiteX7998" fmla="*/ 6935964 w 9586368"/>
                <a:gd name="connsiteY7998" fmla="*/ 731911 h 6479439"/>
                <a:gd name="connsiteX7999" fmla="*/ 6935964 w 9586368"/>
                <a:gd name="connsiteY7999" fmla="*/ 722041 h 6479439"/>
                <a:gd name="connsiteX8000" fmla="*/ 6700670 w 9586368"/>
                <a:gd name="connsiteY8000" fmla="*/ 718003 h 6479439"/>
                <a:gd name="connsiteX8001" fmla="*/ 6710581 w 9586368"/>
                <a:gd name="connsiteY8001" fmla="*/ 718003 h 6479439"/>
                <a:gd name="connsiteX8002" fmla="*/ 6714600 w 9586368"/>
                <a:gd name="connsiteY8002" fmla="*/ 722041 h 6479439"/>
                <a:gd name="connsiteX8003" fmla="*/ 6714600 w 9586368"/>
                <a:gd name="connsiteY8003" fmla="*/ 731912 h 6479439"/>
                <a:gd name="connsiteX8004" fmla="*/ 6710581 w 9586368"/>
                <a:gd name="connsiteY8004" fmla="*/ 735950 h 6479439"/>
                <a:gd name="connsiteX8005" fmla="*/ 6700670 w 9586368"/>
                <a:gd name="connsiteY8005" fmla="*/ 735950 h 6479439"/>
                <a:gd name="connsiteX8006" fmla="*/ 6696651 w 9586368"/>
                <a:gd name="connsiteY8006" fmla="*/ 731912 h 6479439"/>
                <a:gd name="connsiteX8007" fmla="*/ 6696651 w 9586368"/>
                <a:gd name="connsiteY8007" fmla="*/ 722041 h 6479439"/>
                <a:gd name="connsiteX8008" fmla="*/ 6461356 w 9586368"/>
                <a:gd name="connsiteY8008" fmla="*/ 718003 h 6479439"/>
                <a:gd name="connsiteX8009" fmla="*/ 6471266 w 9586368"/>
                <a:gd name="connsiteY8009" fmla="*/ 718003 h 6479439"/>
                <a:gd name="connsiteX8010" fmla="*/ 6475285 w 9586368"/>
                <a:gd name="connsiteY8010" fmla="*/ 722041 h 6479439"/>
                <a:gd name="connsiteX8011" fmla="*/ 6475285 w 9586368"/>
                <a:gd name="connsiteY8011" fmla="*/ 731912 h 6479439"/>
                <a:gd name="connsiteX8012" fmla="*/ 6471266 w 9586368"/>
                <a:gd name="connsiteY8012" fmla="*/ 735950 h 6479439"/>
                <a:gd name="connsiteX8013" fmla="*/ 6461356 w 9586368"/>
                <a:gd name="connsiteY8013" fmla="*/ 735950 h 6479439"/>
                <a:gd name="connsiteX8014" fmla="*/ 6457337 w 9586368"/>
                <a:gd name="connsiteY8014" fmla="*/ 731912 h 6479439"/>
                <a:gd name="connsiteX8015" fmla="*/ 6457337 w 9586368"/>
                <a:gd name="connsiteY8015" fmla="*/ 722041 h 6479439"/>
                <a:gd name="connsiteX8016" fmla="*/ 6222042 w 9586368"/>
                <a:gd name="connsiteY8016" fmla="*/ 718003 h 6479439"/>
                <a:gd name="connsiteX8017" fmla="*/ 6231952 w 9586368"/>
                <a:gd name="connsiteY8017" fmla="*/ 718003 h 6479439"/>
                <a:gd name="connsiteX8018" fmla="*/ 6235971 w 9586368"/>
                <a:gd name="connsiteY8018" fmla="*/ 722041 h 6479439"/>
                <a:gd name="connsiteX8019" fmla="*/ 6235971 w 9586368"/>
                <a:gd name="connsiteY8019" fmla="*/ 731912 h 6479439"/>
                <a:gd name="connsiteX8020" fmla="*/ 6231952 w 9586368"/>
                <a:gd name="connsiteY8020" fmla="*/ 735951 h 6479439"/>
                <a:gd name="connsiteX8021" fmla="*/ 6222042 w 9586368"/>
                <a:gd name="connsiteY8021" fmla="*/ 735951 h 6479439"/>
                <a:gd name="connsiteX8022" fmla="*/ 6218023 w 9586368"/>
                <a:gd name="connsiteY8022" fmla="*/ 731912 h 6479439"/>
                <a:gd name="connsiteX8023" fmla="*/ 6218023 w 9586368"/>
                <a:gd name="connsiteY8023" fmla="*/ 722041 h 6479439"/>
                <a:gd name="connsiteX8024" fmla="*/ 5982729 w 9586368"/>
                <a:gd name="connsiteY8024" fmla="*/ 718003 h 6479439"/>
                <a:gd name="connsiteX8025" fmla="*/ 5992639 w 9586368"/>
                <a:gd name="connsiteY8025" fmla="*/ 718003 h 6479439"/>
                <a:gd name="connsiteX8026" fmla="*/ 5996658 w 9586368"/>
                <a:gd name="connsiteY8026" fmla="*/ 722041 h 6479439"/>
                <a:gd name="connsiteX8027" fmla="*/ 5996658 w 9586368"/>
                <a:gd name="connsiteY8027" fmla="*/ 731912 h 6479439"/>
                <a:gd name="connsiteX8028" fmla="*/ 5992639 w 9586368"/>
                <a:gd name="connsiteY8028" fmla="*/ 735951 h 6479439"/>
                <a:gd name="connsiteX8029" fmla="*/ 5982729 w 9586368"/>
                <a:gd name="connsiteY8029" fmla="*/ 735951 h 6479439"/>
                <a:gd name="connsiteX8030" fmla="*/ 5978710 w 9586368"/>
                <a:gd name="connsiteY8030" fmla="*/ 731912 h 6479439"/>
                <a:gd name="connsiteX8031" fmla="*/ 5978710 w 9586368"/>
                <a:gd name="connsiteY8031" fmla="*/ 722041 h 6479439"/>
                <a:gd name="connsiteX8032" fmla="*/ 8136553 w 9586368"/>
                <a:gd name="connsiteY8032" fmla="*/ 717990 h 6479439"/>
                <a:gd name="connsiteX8033" fmla="*/ 8146464 w 9586368"/>
                <a:gd name="connsiteY8033" fmla="*/ 717990 h 6479439"/>
                <a:gd name="connsiteX8034" fmla="*/ 8150483 w 9586368"/>
                <a:gd name="connsiteY8034" fmla="*/ 722028 h 6479439"/>
                <a:gd name="connsiteX8035" fmla="*/ 8150483 w 9586368"/>
                <a:gd name="connsiteY8035" fmla="*/ 731899 h 6479439"/>
                <a:gd name="connsiteX8036" fmla="*/ 8146464 w 9586368"/>
                <a:gd name="connsiteY8036" fmla="*/ 735938 h 6479439"/>
                <a:gd name="connsiteX8037" fmla="*/ 8136553 w 9586368"/>
                <a:gd name="connsiteY8037" fmla="*/ 735938 h 6479439"/>
                <a:gd name="connsiteX8038" fmla="*/ 8132534 w 9586368"/>
                <a:gd name="connsiteY8038" fmla="*/ 731899 h 6479439"/>
                <a:gd name="connsiteX8039" fmla="*/ 8132534 w 9586368"/>
                <a:gd name="connsiteY8039" fmla="*/ 722028 h 6479439"/>
                <a:gd name="connsiteX8040" fmla="*/ 7897241 w 9586368"/>
                <a:gd name="connsiteY8040" fmla="*/ 717990 h 6479439"/>
                <a:gd name="connsiteX8041" fmla="*/ 7907151 w 9586368"/>
                <a:gd name="connsiteY8041" fmla="*/ 717990 h 6479439"/>
                <a:gd name="connsiteX8042" fmla="*/ 7911170 w 9586368"/>
                <a:gd name="connsiteY8042" fmla="*/ 722029 h 6479439"/>
                <a:gd name="connsiteX8043" fmla="*/ 7911170 w 9586368"/>
                <a:gd name="connsiteY8043" fmla="*/ 731899 h 6479439"/>
                <a:gd name="connsiteX8044" fmla="*/ 7907151 w 9586368"/>
                <a:gd name="connsiteY8044" fmla="*/ 735938 h 6479439"/>
                <a:gd name="connsiteX8045" fmla="*/ 7897241 w 9586368"/>
                <a:gd name="connsiteY8045" fmla="*/ 735938 h 6479439"/>
                <a:gd name="connsiteX8046" fmla="*/ 7893222 w 9586368"/>
                <a:gd name="connsiteY8046" fmla="*/ 731899 h 6479439"/>
                <a:gd name="connsiteX8047" fmla="*/ 7893222 w 9586368"/>
                <a:gd name="connsiteY8047" fmla="*/ 722029 h 6479439"/>
                <a:gd name="connsiteX8048" fmla="*/ 7657926 w 9586368"/>
                <a:gd name="connsiteY8048" fmla="*/ 717990 h 6479439"/>
                <a:gd name="connsiteX8049" fmla="*/ 7667836 w 9586368"/>
                <a:gd name="connsiteY8049" fmla="*/ 717990 h 6479439"/>
                <a:gd name="connsiteX8050" fmla="*/ 7671855 w 9586368"/>
                <a:gd name="connsiteY8050" fmla="*/ 722029 h 6479439"/>
                <a:gd name="connsiteX8051" fmla="*/ 7671855 w 9586368"/>
                <a:gd name="connsiteY8051" fmla="*/ 731899 h 6479439"/>
                <a:gd name="connsiteX8052" fmla="*/ 7667836 w 9586368"/>
                <a:gd name="connsiteY8052" fmla="*/ 735938 h 6479439"/>
                <a:gd name="connsiteX8053" fmla="*/ 7657926 w 9586368"/>
                <a:gd name="connsiteY8053" fmla="*/ 735938 h 6479439"/>
                <a:gd name="connsiteX8054" fmla="*/ 7653906 w 9586368"/>
                <a:gd name="connsiteY8054" fmla="*/ 731899 h 6479439"/>
                <a:gd name="connsiteX8055" fmla="*/ 7653906 w 9586368"/>
                <a:gd name="connsiteY8055" fmla="*/ 722029 h 6479439"/>
                <a:gd name="connsiteX8056" fmla="*/ 7418611 w 9586368"/>
                <a:gd name="connsiteY8056" fmla="*/ 717990 h 6479439"/>
                <a:gd name="connsiteX8057" fmla="*/ 7428521 w 9586368"/>
                <a:gd name="connsiteY8057" fmla="*/ 717990 h 6479439"/>
                <a:gd name="connsiteX8058" fmla="*/ 7432540 w 9586368"/>
                <a:gd name="connsiteY8058" fmla="*/ 722029 h 6479439"/>
                <a:gd name="connsiteX8059" fmla="*/ 7432540 w 9586368"/>
                <a:gd name="connsiteY8059" fmla="*/ 731899 h 6479439"/>
                <a:gd name="connsiteX8060" fmla="*/ 7428521 w 9586368"/>
                <a:gd name="connsiteY8060" fmla="*/ 735938 h 6479439"/>
                <a:gd name="connsiteX8061" fmla="*/ 7418611 w 9586368"/>
                <a:gd name="connsiteY8061" fmla="*/ 735938 h 6479439"/>
                <a:gd name="connsiteX8062" fmla="*/ 7414592 w 9586368"/>
                <a:gd name="connsiteY8062" fmla="*/ 731899 h 6479439"/>
                <a:gd name="connsiteX8063" fmla="*/ 7414592 w 9586368"/>
                <a:gd name="connsiteY8063" fmla="*/ 722029 h 6479439"/>
                <a:gd name="connsiteX8064" fmla="*/ 7179298 w 9586368"/>
                <a:gd name="connsiteY8064" fmla="*/ 717990 h 6479439"/>
                <a:gd name="connsiteX8065" fmla="*/ 7189209 w 9586368"/>
                <a:gd name="connsiteY8065" fmla="*/ 717990 h 6479439"/>
                <a:gd name="connsiteX8066" fmla="*/ 7193228 w 9586368"/>
                <a:gd name="connsiteY8066" fmla="*/ 722029 h 6479439"/>
                <a:gd name="connsiteX8067" fmla="*/ 7193228 w 9586368"/>
                <a:gd name="connsiteY8067" fmla="*/ 731899 h 6479439"/>
                <a:gd name="connsiteX8068" fmla="*/ 7189209 w 9586368"/>
                <a:gd name="connsiteY8068" fmla="*/ 735938 h 6479439"/>
                <a:gd name="connsiteX8069" fmla="*/ 7179298 w 9586368"/>
                <a:gd name="connsiteY8069" fmla="*/ 735938 h 6479439"/>
                <a:gd name="connsiteX8070" fmla="*/ 7175279 w 9586368"/>
                <a:gd name="connsiteY8070" fmla="*/ 731899 h 6479439"/>
                <a:gd name="connsiteX8071" fmla="*/ 7175279 w 9586368"/>
                <a:gd name="connsiteY8071" fmla="*/ 722029 h 6479439"/>
                <a:gd name="connsiteX8072" fmla="*/ 961272 w 9586368"/>
                <a:gd name="connsiteY8072" fmla="*/ 717980 h 6479439"/>
                <a:gd name="connsiteX8073" fmla="*/ 971182 w 9586368"/>
                <a:gd name="connsiteY8073" fmla="*/ 717980 h 6479439"/>
                <a:gd name="connsiteX8074" fmla="*/ 975202 w 9586368"/>
                <a:gd name="connsiteY8074" fmla="*/ 722018 h 6479439"/>
                <a:gd name="connsiteX8075" fmla="*/ 975202 w 9586368"/>
                <a:gd name="connsiteY8075" fmla="*/ 731889 h 6479439"/>
                <a:gd name="connsiteX8076" fmla="*/ 971182 w 9586368"/>
                <a:gd name="connsiteY8076" fmla="*/ 735928 h 6479439"/>
                <a:gd name="connsiteX8077" fmla="*/ 961272 w 9586368"/>
                <a:gd name="connsiteY8077" fmla="*/ 735928 h 6479439"/>
                <a:gd name="connsiteX8078" fmla="*/ 957254 w 9586368"/>
                <a:gd name="connsiteY8078" fmla="*/ 731889 h 6479439"/>
                <a:gd name="connsiteX8079" fmla="*/ 957254 w 9586368"/>
                <a:gd name="connsiteY8079" fmla="*/ 722018 h 6479439"/>
                <a:gd name="connsiteX8080" fmla="*/ 1679219 w 9586368"/>
                <a:gd name="connsiteY8080" fmla="*/ 717979 h 6479439"/>
                <a:gd name="connsiteX8081" fmla="*/ 1689128 w 9586368"/>
                <a:gd name="connsiteY8081" fmla="*/ 717979 h 6479439"/>
                <a:gd name="connsiteX8082" fmla="*/ 1693149 w 9586368"/>
                <a:gd name="connsiteY8082" fmla="*/ 722018 h 6479439"/>
                <a:gd name="connsiteX8083" fmla="*/ 1693149 w 9586368"/>
                <a:gd name="connsiteY8083" fmla="*/ 731889 h 6479439"/>
                <a:gd name="connsiteX8084" fmla="*/ 1689128 w 9586368"/>
                <a:gd name="connsiteY8084" fmla="*/ 735927 h 6479439"/>
                <a:gd name="connsiteX8085" fmla="*/ 1679219 w 9586368"/>
                <a:gd name="connsiteY8085" fmla="*/ 735927 h 6479439"/>
                <a:gd name="connsiteX8086" fmla="*/ 1675200 w 9586368"/>
                <a:gd name="connsiteY8086" fmla="*/ 731889 h 6479439"/>
                <a:gd name="connsiteX8087" fmla="*/ 1675200 w 9586368"/>
                <a:gd name="connsiteY8087" fmla="*/ 722018 h 6479439"/>
                <a:gd name="connsiteX8088" fmla="*/ 1439901 w 9586368"/>
                <a:gd name="connsiteY8088" fmla="*/ 717979 h 6479439"/>
                <a:gd name="connsiteX8089" fmla="*/ 1449811 w 9586368"/>
                <a:gd name="connsiteY8089" fmla="*/ 717979 h 6479439"/>
                <a:gd name="connsiteX8090" fmla="*/ 1453831 w 9586368"/>
                <a:gd name="connsiteY8090" fmla="*/ 722018 h 6479439"/>
                <a:gd name="connsiteX8091" fmla="*/ 1453831 w 9586368"/>
                <a:gd name="connsiteY8091" fmla="*/ 731889 h 6479439"/>
                <a:gd name="connsiteX8092" fmla="*/ 1449811 w 9586368"/>
                <a:gd name="connsiteY8092" fmla="*/ 735927 h 6479439"/>
                <a:gd name="connsiteX8093" fmla="*/ 1439901 w 9586368"/>
                <a:gd name="connsiteY8093" fmla="*/ 735927 h 6479439"/>
                <a:gd name="connsiteX8094" fmla="*/ 1435883 w 9586368"/>
                <a:gd name="connsiteY8094" fmla="*/ 731889 h 6479439"/>
                <a:gd name="connsiteX8095" fmla="*/ 1435883 w 9586368"/>
                <a:gd name="connsiteY8095" fmla="*/ 722018 h 6479439"/>
                <a:gd name="connsiteX8096" fmla="*/ 1200585 w 9586368"/>
                <a:gd name="connsiteY8096" fmla="*/ 717979 h 6479439"/>
                <a:gd name="connsiteX8097" fmla="*/ 1210495 w 9586368"/>
                <a:gd name="connsiteY8097" fmla="*/ 717979 h 6479439"/>
                <a:gd name="connsiteX8098" fmla="*/ 1214513 w 9586368"/>
                <a:gd name="connsiteY8098" fmla="*/ 722018 h 6479439"/>
                <a:gd name="connsiteX8099" fmla="*/ 1214513 w 9586368"/>
                <a:gd name="connsiteY8099" fmla="*/ 731889 h 6479439"/>
                <a:gd name="connsiteX8100" fmla="*/ 1210495 w 9586368"/>
                <a:gd name="connsiteY8100" fmla="*/ 735927 h 6479439"/>
                <a:gd name="connsiteX8101" fmla="*/ 1200585 w 9586368"/>
                <a:gd name="connsiteY8101" fmla="*/ 735927 h 6479439"/>
                <a:gd name="connsiteX8102" fmla="*/ 1196566 w 9586368"/>
                <a:gd name="connsiteY8102" fmla="*/ 731889 h 6479439"/>
                <a:gd name="connsiteX8103" fmla="*/ 1196566 w 9586368"/>
                <a:gd name="connsiteY8103" fmla="*/ 722018 h 6479439"/>
                <a:gd name="connsiteX8104" fmla="*/ 9333125 w 9586368"/>
                <a:gd name="connsiteY8104" fmla="*/ 717978 h 6479439"/>
                <a:gd name="connsiteX8105" fmla="*/ 9343036 w 9586368"/>
                <a:gd name="connsiteY8105" fmla="*/ 717978 h 6479439"/>
                <a:gd name="connsiteX8106" fmla="*/ 9347055 w 9586368"/>
                <a:gd name="connsiteY8106" fmla="*/ 722016 h 6479439"/>
                <a:gd name="connsiteX8107" fmla="*/ 9347055 w 9586368"/>
                <a:gd name="connsiteY8107" fmla="*/ 731887 h 6479439"/>
                <a:gd name="connsiteX8108" fmla="*/ 9343036 w 9586368"/>
                <a:gd name="connsiteY8108" fmla="*/ 735926 h 6479439"/>
                <a:gd name="connsiteX8109" fmla="*/ 9333125 w 9586368"/>
                <a:gd name="connsiteY8109" fmla="*/ 735926 h 6479439"/>
                <a:gd name="connsiteX8110" fmla="*/ 9329106 w 9586368"/>
                <a:gd name="connsiteY8110" fmla="*/ 731887 h 6479439"/>
                <a:gd name="connsiteX8111" fmla="*/ 9329106 w 9586368"/>
                <a:gd name="connsiteY8111" fmla="*/ 722016 h 6479439"/>
                <a:gd name="connsiteX8112" fmla="*/ 9093811 w 9586368"/>
                <a:gd name="connsiteY8112" fmla="*/ 717978 h 6479439"/>
                <a:gd name="connsiteX8113" fmla="*/ 9103722 w 9586368"/>
                <a:gd name="connsiteY8113" fmla="*/ 717978 h 6479439"/>
                <a:gd name="connsiteX8114" fmla="*/ 9107741 w 9586368"/>
                <a:gd name="connsiteY8114" fmla="*/ 722016 h 6479439"/>
                <a:gd name="connsiteX8115" fmla="*/ 9107741 w 9586368"/>
                <a:gd name="connsiteY8115" fmla="*/ 731887 h 6479439"/>
                <a:gd name="connsiteX8116" fmla="*/ 9103722 w 9586368"/>
                <a:gd name="connsiteY8116" fmla="*/ 735926 h 6479439"/>
                <a:gd name="connsiteX8117" fmla="*/ 9093811 w 9586368"/>
                <a:gd name="connsiteY8117" fmla="*/ 735926 h 6479439"/>
                <a:gd name="connsiteX8118" fmla="*/ 9089792 w 9586368"/>
                <a:gd name="connsiteY8118" fmla="*/ 731887 h 6479439"/>
                <a:gd name="connsiteX8119" fmla="*/ 9089792 w 9586368"/>
                <a:gd name="connsiteY8119" fmla="*/ 722016 h 6479439"/>
                <a:gd name="connsiteX8120" fmla="*/ 8854496 w 9586368"/>
                <a:gd name="connsiteY8120" fmla="*/ 717978 h 6479439"/>
                <a:gd name="connsiteX8121" fmla="*/ 8864407 w 9586368"/>
                <a:gd name="connsiteY8121" fmla="*/ 717978 h 6479439"/>
                <a:gd name="connsiteX8122" fmla="*/ 8868426 w 9586368"/>
                <a:gd name="connsiteY8122" fmla="*/ 722016 h 6479439"/>
                <a:gd name="connsiteX8123" fmla="*/ 8868426 w 9586368"/>
                <a:gd name="connsiteY8123" fmla="*/ 731887 h 6479439"/>
                <a:gd name="connsiteX8124" fmla="*/ 8864407 w 9586368"/>
                <a:gd name="connsiteY8124" fmla="*/ 735926 h 6479439"/>
                <a:gd name="connsiteX8125" fmla="*/ 8854496 w 9586368"/>
                <a:gd name="connsiteY8125" fmla="*/ 735926 h 6479439"/>
                <a:gd name="connsiteX8126" fmla="*/ 8850477 w 9586368"/>
                <a:gd name="connsiteY8126" fmla="*/ 731887 h 6479439"/>
                <a:gd name="connsiteX8127" fmla="*/ 8850477 w 9586368"/>
                <a:gd name="connsiteY8127" fmla="*/ 722016 h 6479439"/>
                <a:gd name="connsiteX8128" fmla="*/ 8615184 w 9586368"/>
                <a:gd name="connsiteY8128" fmla="*/ 717978 h 6479439"/>
                <a:gd name="connsiteX8129" fmla="*/ 8625095 w 9586368"/>
                <a:gd name="connsiteY8129" fmla="*/ 717978 h 6479439"/>
                <a:gd name="connsiteX8130" fmla="*/ 8629114 w 9586368"/>
                <a:gd name="connsiteY8130" fmla="*/ 722016 h 6479439"/>
                <a:gd name="connsiteX8131" fmla="*/ 8629114 w 9586368"/>
                <a:gd name="connsiteY8131" fmla="*/ 731887 h 6479439"/>
                <a:gd name="connsiteX8132" fmla="*/ 8625095 w 9586368"/>
                <a:gd name="connsiteY8132" fmla="*/ 735926 h 6479439"/>
                <a:gd name="connsiteX8133" fmla="*/ 8615184 w 9586368"/>
                <a:gd name="connsiteY8133" fmla="*/ 735926 h 6479439"/>
                <a:gd name="connsiteX8134" fmla="*/ 8611165 w 9586368"/>
                <a:gd name="connsiteY8134" fmla="*/ 731887 h 6479439"/>
                <a:gd name="connsiteX8135" fmla="*/ 8611165 w 9586368"/>
                <a:gd name="connsiteY8135" fmla="*/ 722016 h 6479439"/>
                <a:gd name="connsiteX8136" fmla="*/ 8375869 w 9586368"/>
                <a:gd name="connsiteY8136" fmla="*/ 717978 h 6479439"/>
                <a:gd name="connsiteX8137" fmla="*/ 8385779 w 9586368"/>
                <a:gd name="connsiteY8137" fmla="*/ 717978 h 6479439"/>
                <a:gd name="connsiteX8138" fmla="*/ 8389799 w 9586368"/>
                <a:gd name="connsiteY8138" fmla="*/ 722016 h 6479439"/>
                <a:gd name="connsiteX8139" fmla="*/ 8389799 w 9586368"/>
                <a:gd name="connsiteY8139" fmla="*/ 731887 h 6479439"/>
                <a:gd name="connsiteX8140" fmla="*/ 8385779 w 9586368"/>
                <a:gd name="connsiteY8140" fmla="*/ 735926 h 6479439"/>
                <a:gd name="connsiteX8141" fmla="*/ 8375869 w 9586368"/>
                <a:gd name="connsiteY8141" fmla="*/ 735926 h 6479439"/>
                <a:gd name="connsiteX8142" fmla="*/ 8371850 w 9586368"/>
                <a:gd name="connsiteY8142" fmla="*/ 731887 h 6479439"/>
                <a:gd name="connsiteX8143" fmla="*/ 8371850 w 9586368"/>
                <a:gd name="connsiteY8143" fmla="*/ 722016 h 6479439"/>
                <a:gd name="connsiteX8144" fmla="*/ 1918514 w 9586368"/>
                <a:gd name="connsiteY8144" fmla="*/ 717970 h 6479439"/>
                <a:gd name="connsiteX8145" fmla="*/ 1928424 w 9586368"/>
                <a:gd name="connsiteY8145" fmla="*/ 717970 h 6479439"/>
                <a:gd name="connsiteX8146" fmla="*/ 1932444 w 9586368"/>
                <a:gd name="connsiteY8146" fmla="*/ 722009 h 6479439"/>
                <a:gd name="connsiteX8147" fmla="*/ 1932444 w 9586368"/>
                <a:gd name="connsiteY8147" fmla="*/ 731879 h 6479439"/>
                <a:gd name="connsiteX8148" fmla="*/ 1928424 w 9586368"/>
                <a:gd name="connsiteY8148" fmla="*/ 735918 h 6479439"/>
                <a:gd name="connsiteX8149" fmla="*/ 1918514 w 9586368"/>
                <a:gd name="connsiteY8149" fmla="*/ 735918 h 6479439"/>
                <a:gd name="connsiteX8150" fmla="*/ 1914495 w 9586368"/>
                <a:gd name="connsiteY8150" fmla="*/ 731879 h 6479439"/>
                <a:gd name="connsiteX8151" fmla="*/ 1914495 w 9586368"/>
                <a:gd name="connsiteY8151" fmla="*/ 722009 h 6479439"/>
                <a:gd name="connsiteX8152" fmla="*/ 2157823 w 9586368"/>
                <a:gd name="connsiteY8152" fmla="*/ 717968 h 6479439"/>
                <a:gd name="connsiteX8153" fmla="*/ 2167733 w 9586368"/>
                <a:gd name="connsiteY8153" fmla="*/ 717968 h 6479439"/>
                <a:gd name="connsiteX8154" fmla="*/ 2171753 w 9586368"/>
                <a:gd name="connsiteY8154" fmla="*/ 722006 h 6479439"/>
                <a:gd name="connsiteX8155" fmla="*/ 2171753 w 9586368"/>
                <a:gd name="connsiteY8155" fmla="*/ 731877 h 6479439"/>
                <a:gd name="connsiteX8156" fmla="*/ 2167733 w 9586368"/>
                <a:gd name="connsiteY8156" fmla="*/ 735916 h 6479439"/>
                <a:gd name="connsiteX8157" fmla="*/ 2157823 w 9586368"/>
                <a:gd name="connsiteY8157" fmla="*/ 735916 h 6479439"/>
                <a:gd name="connsiteX8158" fmla="*/ 2153804 w 9586368"/>
                <a:gd name="connsiteY8158" fmla="*/ 731877 h 6479439"/>
                <a:gd name="connsiteX8159" fmla="*/ 2153804 w 9586368"/>
                <a:gd name="connsiteY8159" fmla="*/ 722006 h 6479439"/>
                <a:gd name="connsiteX8160" fmla="*/ 9572438 w 9586368"/>
                <a:gd name="connsiteY8160" fmla="*/ 717966 h 6479439"/>
                <a:gd name="connsiteX8161" fmla="*/ 9582349 w 9586368"/>
                <a:gd name="connsiteY8161" fmla="*/ 717966 h 6479439"/>
                <a:gd name="connsiteX8162" fmla="*/ 9586368 w 9586368"/>
                <a:gd name="connsiteY8162" fmla="*/ 722004 h 6479439"/>
                <a:gd name="connsiteX8163" fmla="*/ 9586368 w 9586368"/>
                <a:gd name="connsiteY8163" fmla="*/ 731875 h 6479439"/>
                <a:gd name="connsiteX8164" fmla="*/ 9582349 w 9586368"/>
                <a:gd name="connsiteY8164" fmla="*/ 735914 h 6479439"/>
                <a:gd name="connsiteX8165" fmla="*/ 9572438 w 9586368"/>
                <a:gd name="connsiteY8165" fmla="*/ 735914 h 6479439"/>
                <a:gd name="connsiteX8166" fmla="*/ 9568419 w 9586368"/>
                <a:gd name="connsiteY8166" fmla="*/ 731875 h 6479439"/>
                <a:gd name="connsiteX8167" fmla="*/ 9568419 w 9586368"/>
                <a:gd name="connsiteY8167" fmla="*/ 722004 h 6479439"/>
                <a:gd name="connsiteX8168" fmla="*/ 243349 w 9586368"/>
                <a:gd name="connsiteY8168" fmla="*/ 717939 h 6479439"/>
                <a:gd name="connsiteX8169" fmla="*/ 253260 w 9586368"/>
                <a:gd name="connsiteY8169" fmla="*/ 717939 h 6479439"/>
                <a:gd name="connsiteX8170" fmla="*/ 257279 w 9586368"/>
                <a:gd name="connsiteY8170" fmla="*/ 721977 h 6479439"/>
                <a:gd name="connsiteX8171" fmla="*/ 257279 w 9586368"/>
                <a:gd name="connsiteY8171" fmla="*/ 731847 h 6479439"/>
                <a:gd name="connsiteX8172" fmla="*/ 253260 w 9586368"/>
                <a:gd name="connsiteY8172" fmla="*/ 735886 h 6479439"/>
                <a:gd name="connsiteX8173" fmla="*/ 243349 w 9586368"/>
                <a:gd name="connsiteY8173" fmla="*/ 735886 h 6479439"/>
                <a:gd name="connsiteX8174" fmla="*/ 239330 w 9586368"/>
                <a:gd name="connsiteY8174" fmla="*/ 731847 h 6479439"/>
                <a:gd name="connsiteX8175" fmla="*/ 239330 w 9586368"/>
                <a:gd name="connsiteY8175" fmla="*/ 721977 h 6479439"/>
                <a:gd name="connsiteX8176" fmla="*/ 4036 w 9586368"/>
                <a:gd name="connsiteY8176" fmla="*/ 717939 h 6479439"/>
                <a:gd name="connsiteX8177" fmla="*/ 13947 w 9586368"/>
                <a:gd name="connsiteY8177" fmla="*/ 717939 h 6479439"/>
                <a:gd name="connsiteX8178" fmla="*/ 17965 w 9586368"/>
                <a:gd name="connsiteY8178" fmla="*/ 721978 h 6479439"/>
                <a:gd name="connsiteX8179" fmla="*/ 17965 w 9586368"/>
                <a:gd name="connsiteY8179" fmla="*/ 731848 h 6479439"/>
                <a:gd name="connsiteX8180" fmla="*/ 13947 w 9586368"/>
                <a:gd name="connsiteY8180" fmla="*/ 735886 h 6479439"/>
                <a:gd name="connsiteX8181" fmla="*/ 4036 w 9586368"/>
                <a:gd name="connsiteY8181" fmla="*/ 735886 h 6479439"/>
                <a:gd name="connsiteX8182" fmla="*/ 17 w 9586368"/>
                <a:gd name="connsiteY8182" fmla="*/ 731848 h 6479439"/>
                <a:gd name="connsiteX8183" fmla="*/ 17 w 9586368"/>
                <a:gd name="connsiteY8183" fmla="*/ 721978 h 6479439"/>
                <a:gd name="connsiteX8184" fmla="*/ 721975 w 9586368"/>
                <a:gd name="connsiteY8184" fmla="*/ 717939 h 6479439"/>
                <a:gd name="connsiteX8185" fmla="*/ 731885 w 9586368"/>
                <a:gd name="connsiteY8185" fmla="*/ 717939 h 6479439"/>
                <a:gd name="connsiteX8186" fmla="*/ 735904 w 9586368"/>
                <a:gd name="connsiteY8186" fmla="*/ 721977 h 6479439"/>
                <a:gd name="connsiteX8187" fmla="*/ 735904 w 9586368"/>
                <a:gd name="connsiteY8187" fmla="*/ 731847 h 6479439"/>
                <a:gd name="connsiteX8188" fmla="*/ 731885 w 9586368"/>
                <a:gd name="connsiteY8188" fmla="*/ 735886 h 6479439"/>
                <a:gd name="connsiteX8189" fmla="*/ 721975 w 9586368"/>
                <a:gd name="connsiteY8189" fmla="*/ 735886 h 6479439"/>
                <a:gd name="connsiteX8190" fmla="*/ 717956 w 9586368"/>
                <a:gd name="connsiteY8190" fmla="*/ 731847 h 6479439"/>
                <a:gd name="connsiteX8191" fmla="*/ 717956 w 9586368"/>
                <a:gd name="connsiteY8191" fmla="*/ 721977 h 6479439"/>
                <a:gd name="connsiteX8192" fmla="*/ 482663 w 9586368"/>
                <a:gd name="connsiteY8192" fmla="*/ 717939 h 6479439"/>
                <a:gd name="connsiteX8193" fmla="*/ 492573 w 9586368"/>
                <a:gd name="connsiteY8193" fmla="*/ 717939 h 6479439"/>
                <a:gd name="connsiteX8194" fmla="*/ 496593 w 9586368"/>
                <a:gd name="connsiteY8194" fmla="*/ 721977 h 6479439"/>
                <a:gd name="connsiteX8195" fmla="*/ 496593 w 9586368"/>
                <a:gd name="connsiteY8195" fmla="*/ 731847 h 6479439"/>
                <a:gd name="connsiteX8196" fmla="*/ 492573 w 9586368"/>
                <a:gd name="connsiteY8196" fmla="*/ 735886 h 6479439"/>
                <a:gd name="connsiteX8197" fmla="*/ 482663 w 9586368"/>
                <a:gd name="connsiteY8197" fmla="*/ 735886 h 6479439"/>
                <a:gd name="connsiteX8198" fmla="*/ 478643 w 9586368"/>
                <a:gd name="connsiteY8198" fmla="*/ 731847 h 6479439"/>
                <a:gd name="connsiteX8199" fmla="*/ 478643 w 9586368"/>
                <a:gd name="connsiteY8199" fmla="*/ 721977 h 6479439"/>
                <a:gd name="connsiteX8200" fmla="*/ 3350359 w 9586368"/>
                <a:gd name="connsiteY8200" fmla="*/ 478760 h 6479439"/>
                <a:gd name="connsiteX8201" fmla="*/ 3360268 w 9586368"/>
                <a:gd name="connsiteY8201" fmla="*/ 478760 h 6479439"/>
                <a:gd name="connsiteX8202" fmla="*/ 3364287 w 9586368"/>
                <a:gd name="connsiteY8202" fmla="*/ 482801 h 6479439"/>
                <a:gd name="connsiteX8203" fmla="*/ 3364287 w 9586368"/>
                <a:gd name="connsiteY8203" fmla="*/ 492670 h 6479439"/>
                <a:gd name="connsiteX8204" fmla="*/ 3360268 w 9586368"/>
                <a:gd name="connsiteY8204" fmla="*/ 496707 h 6479439"/>
                <a:gd name="connsiteX8205" fmla="*/ 3350359 w 9586368"/>
                <a:gd name="connsiteY8205" fmla="*/ 496707 h 6479439"/>
                <a:gd name="connsiteX8206" fmla="*/ 3346340 w 9586368"/>
                <a:gd name="connsiteY8206" fmla="*/ 492670 h 6479439"/>
                <a:gd name="connsiteX8207" fmla="*/ 3346340 w 9586368"/>
                <a:gd name="connsiteY8207" fmla="*/ 482801 h 6479439"/>
                <a:gd name="connsiteX8208" fmla="*/ 3111048 w 9586368"/>
                <a:gd name="connsiteY8208" fmla="*/ 478760 h 6479439"/>
                <a:gd name="connsiteX8209" fmla="*/ 3120959 w 9586368"/>
                <a:gd name="connsiteY8209" fmla="*/ 478760 h 6479439"/>
                <a:gd name="connsiteX8210" fmla="*/ 3124977 w 9586368"/>
                <a:gd name="connsiteY8210" fmla="*/ 482801 h 6479439"/>
                <a:gd name="connsiteX8211" fmla="*/ 3124977 w 9586368"/>
                <a:gd name="connsiteY8211" fmla="*/ 492670 h 6479439"/>
                <a:gd name="connsiteX8212" fmla="*/ 3120959 w 9586368"/>
                <a:gd name="connsiteY8212" fmla="*/ 496707 h 6479439"/>
                <a:gd name="connsiteX8213" fmla="*/ 3111048 w 9586368"/>
                <a:gd name="connsiteY8213" fmla="*/ 496707 h 6479439"/>
                <a:gd name="connsiteX8214" fmla="*/ 3107029 w 9586368"/>
                <a:gd name="connsiteY8214" fmla="*/ 492670 h 6479439"/>
                <a:gd name="connsiteX8215" fmla="*/ 3107029 w 9586368"/>
                <a:gd name="connsiteY8215" fmla="*/ 482801 h 6479439"/>
                <a:gd name="connsiteX8216" fmla="*/ 2871737 w 9586368"/>
                <a:gd name="connsiteY8216" fmla="*/ 478760 h 6479439"/>
                <a:gd name="connsiteX8217" fmla="*/ 2881646 w 9586368"/>
                <a:gd name="connsiteY8217" fmla="*/ 478760 h 6479439"/>
                <a:gd name="connsiteX8218" fmla="*/ 2885666 w 9586368"/>
                <a:gd name="connsiteY8218" fmla="*/ 482801 h 6479439"/>
                <a:gd name="connsiteX8219" fmla="*/ 2885666 w 9586368"/>
                <a:gd name="connsiteY8219" fmla="*/ 492670 h 6479439"/>
                <a:gd name="connsiteX8220" fmla="*/ 2881646 w 9586368"/>
                <a:gd name="connsiteY8220" fmla="*/ 496707 h 6479439"/>
                <a:gd name="connsiteX8221" fmla="*/ 2871737 w 9586368"/>
                <a:gd name="connsiteY8221" fmla="*/ 496707 h 6479439"/>
                <a:gd name="connsiteX8222" fmla="*/ 2867717 w 9586368"/>
                <a:gd name="connsiteY8222" fmla="*/ 492670 h 6479439"/>
                <a:gd name="connsiteX8223" fmla="*/ 2867717 w 9586368"/>
                <a:gd name="connsiteY8223" fmla="*/ 482801 h 6479439"/>
                <a:gd name="connsiteX8224" fmla="*/ 2632423 w 9586368"/>
                <a:gd name="connsiteY8224" fmla="*/ 478760 h 6479439"/>
                <a:gd name="connsiteX8225" fmla="*/ 2642334 w 9586368"/>
                <a:gd name="connsiteY8225" fmla="*/ 478760 h 6479439"/>
                <a:gd name="connsiteX8226" fmla="*/ 2646352 w 9586368"/>
                <a:gd name="connsiteY8226" fmla="*/ 482801 h 6479439"/>
                <a:gd name="connsiteX8227" fmla="*/ 2646352 w 9586368"/>
                <a:gd name="connsiteY8227" fmla="*/ 492670 h 6479439"/>
                <a:gd name="connsiteX8228" fmla="*/ 2642334 w 9586368"/>
                <a:gd name="connsiteY8228" fmla="*/ 496707 h 6479439"/>
                <a:gd name="connsiteX8229" fmla="*/ 2632423 w 9586368"/>
                <a:gd name="connsiteY8229" fmla="*/ 496707 h 6479439"/>
                <a:gd name="connsiteX8230" fmla="*/ 2628404 w 9586368"/>
                <a:gd name="connsiteY8230" fmla="*/ 492670 h 6479439"/>
                <a:gd name="connsiteX8231" fmla="*/ 2628404 w 9586368"/>
                <a:gd name="connsiteY8231" fmla="*/ 482801 h 6479439"/>
                <a:gd name="connsiteX8232" fmla="*/ 2393104 w 9586368"/>
                <a:gd name="connsiteY8232" fmla="*/ 478760 h 6479439"/>
                <a:gd name="connsiteX8233" fmla="*/ 2403015 w 9586368"/>
                <a:gd name="connsiteY8233" fmla="*/ 478760 h 6479439"/>
                <a:gd name="connsiteX8234" fmla="*/ 2407034 w 9586368"/>
                <a:gd name="connsiteY8234" fmla="*/ 482801 h 6479439"/>
                <a:gd name="connsiteX8235" fmla="*/ 2407034 w 9586368"/>
                <a:gd name="connsiteY8235" fmla="*/ 492670 h 6479439"/>
                <a:gd name="connsiteX8236" fmla="*/ 2403015 w 9586368"/>
                <a:gd name="connsiteY8236" fmla="*/ 496707 h 6479439"/>
                <a:gd name="connsiteX8237" fmla="*/ 2393104 w 9586368"/>
                <a:gd name="connsiteY8237" fmla="*/ 496707 h 6479439"/>
                <a:gd name="connsiteX8238" fmla="*/ 2389087 w 9586368"/>
                <a:gd name="connsiteY8238" fmla="*/ 492670 h 6479439"/>
                <a:gd name="connsiteX8239" fmla="*/ 2389087 w 9586368"/>
                <a:gd name="connsiteY8239" fmla="*/ 482801 h 6479439"/>
                <a:gd name="connsiteX8240" fmla="*/ 4546929 w 9586368"/>
                <a:gd name="connsiteY8240" fmla="*/ 478748 h 6479439"/>
                <a:gd name="connsiteX8241" fmla="*/ 4556840 w 9586368"/>
                <a:gd name="connsiteY8241" fmla="*/ 478748 h 6479439"/>
                <a:gd name="connsiteX8242" fmla="*/ 4560859 w 9586368"/>
                <a:gd name="connsiteY8242" fmla="*/ 482789 h 6479439"/>
                <a:gd name="connsiteX8243" fmla="*/ 4560859 w 9586368"/>
                <a:gd name="connsiteY8243" fmla="*/ 492657 h 6479439"/>
                <a:gd name="connsiteX8244" fmla="*/ 4556840 w 9586368"/>
                <a:gd name="connsiteY8244" fmla="*/ 496695 h 6479439"/>
                <a:gd name="connsiteX8245" fmla="*/ 4546929 w 9586368"/>
                <a:gd name="connsiteY8245" fmla="*/ 496695 h 6479439"/>
                <a:gd name="connsiteX8246" fmla="*/ 4542910 w 9586368"/>
                <a:gd name="connsiteY8246" fmla="*/ 492657 h 6479439"/>
                <a:gd name="connsiteX8247" fmla="*/ 4542910 w 9586368"/>
                <a:gd name="connsiteY8247" fmla="*/ 482789 h 6479439"/>
                <a:gd name="connsiteX8248" fmla="*/ 4307612 w 9586368"/>
                <a:gd name="connsiteY8248" fmla="*/ 478748 h 6479439"/>
                <a:gd name="connsiteX8249" fmla="*/ 4317523 w 9586368"/>
                <a:gd name="connsiteY8249" fmla="*/ 478748 h 6479439"/>
                <a:gd name="connsiteX8250" fmla="*/ 4321543 w 9586368"/>
                <a:gd name="connsiteY8250" fmla="*/ 482789 h 6479439"/>
                <a:gd name="connsiteX8251" fmla="*/ 4321543 w 9586368"/>
                <a:gd name="connsiteY8251" fmla="*/ 492657 h 6479439"/>
                <a:gd name="connsiteX8252" fmla="*/ 4317523 w 9586368"/>
                <a:gd name="connsiteY8252" fmla="*/ 496695 h 6479439"/>
                <a:gd name="connsiteX8253" fmla="*/ 4307612 w 9586368"/>
                <a:gd name="connsiteY8253" fmla="*/ 496695 h 6479439"/>
                <a:gd name="connsiteX8254" fmla="*/ 4303595 w 9586368"/>
                <a:gd name="connsiteY8254" fmla="*/ 492657 h 6479439"/>
                <a:gd name="connsiteX8255" fmla="*/ 4303595 w 9586368"/>
                <a:gd name="connsiteY8255" fmla="*/ 482789 h 6479439"/>
                <a:gd name="connsiteX8256" fmla="*/ 4068297 w 9586368"/>
                <a:gd name="connsiteY8256" fmla="*/ 478748 h 6479439"/>
                <a:gd name="connsiteX8257" fmla="*/ 4078210 w 9586368"/>
                <a:gd name="connsiteY8257" fmla="*/ 478748 h 6479439"/>
                <a:gd name="connsiteX8258" fmla="*/ 4082229 w 9586368"/>
                <a:gd name="connsiteY8258" fmla="*/ 482789 h 6479439"/>
                <a:gd name="connsiteX8259" fmla="*/ 4082229 w 9586368"/>
                <a:gd name="connsiteY8259" fmla="*/ 492657 h 6479439"/>
                <a:gd name="connsiteX8260" fmla="*/ 4078210 w 9586368"/>
                <a:gd name="connsiteY8260" fmla="*/ 496695 h 6479439"/>
                <a:gd name="connsiteX8261" fmla="*/ 4068297 w 9586368"/>
                <a:gd name="connsiteY8261" fmla="*/ 496695 h 6479439"/>
                <a:gd name="connsiteX8262" fmla="*/ 4064278 w 9586368"/>
                <a:gd name="connsiteY8262" fmla="*/ 492657 h 6479439"/>
                <a:gd name="connsiteX8263" fmla="*/ 4064278 w 9586368"/>
                <a:gd name="connsiteY8263" fmla="*/ 482789 h 6479439"/>
                <a:gd name="connsiteX8264" fmla="*/ 3828990 w 9586368"/>
                <a:gd name="connsiteY8264" fmla="*/ 478748 h 6479439"/>
                <a:gd name="connsiteX8265" fmla="*/ 3838899 w 9586368"/>
                <a:gd name="connsiteY8265" fmla="*/ 478748 h 6479439"/>
                <a:gd name="connsiteX8266" fmla="*/ 3842917 w 9586368"/>
                <a:gd name="connsiteY8266" fmla="*/ 482789 h 6479439"/>
                <a:gd name="connsiteX8267" fmla="*/ 3842917 w 9586368"/>
                <a:gd name="connsiteY8267" fmla="*/ 492657 h 6479439"/>
                <a:gd name="connsiteX8268" fmla="*/ 3838899 w 9586368"/>
                <a:gd name="connsiteY8268" fmla="*/ 496695 h 6479439"/>
                <a:gd name="connsiteX8269" fmla="*/ 3828990 w 9586368"/>
                <a:gd name="connsiteY8269" fmla="*/ 496695 h 6479439"/>
                <a:gd name="connsiteX8270" fmla="*/ 3824971 w 9586368"/>
                <a:gd name="connsiteY8270" fmla="*/ 492657 h 6479439"/>
                <a:gd name="connsiteX8271" fmla="*/ 3824971 w 9586368"/>
                <a:gd name="connsiteY8271" fmla="*/ 482789 h 6479439"/>
                <a:gd name="connsiteX8272" fmla="*/ 3589676 w 9586368"/>
                <a:gd name="connsiteY8272" fmla="*/ 478748 h 6479439"/>
                <a:gd name="connsiteX8273" fmla="*/ 3599585 w 9586368"/>
                <a:gd name="connsiteY8273" fmla="*/ 478748 h 6479439"/>
                <a:gd name="connsiteX8274" fmla="*/ 3603604 w 9586368"/>
                <a:gd name="connsiteY8274" fmla="*/ 482789 h 6479439"/>
                <a:gd name="connsiteX8275" fmla="*/ 3603604 w 9586368"/>
                <a:gd name="connsiteY8275" fmla="*/ 492657 h 6479439"/>
                <a:gd name="connsiteX8276" fmla="*/ 3599585 w 9586368"/>
                <a:gd name="connsiteY8276" fmla="*/ 496695 h 6479439"/>
                <a:gd name="connsiteX8277" fmla="*/ 3589676 w 9586368"/>
                <a:gd name="connsiteY8277" fmla="*/ 496695 h 6479439"/>
                <a:gd name="connsiteX8278" fmla="*/ 3585657 w 9586368"/>
                <a:gd name="connsiteY8278" fmla="*/ 492657 h 6479439"/>
                <a:gd name="connsiteX8279" fmla="*/ 3585657 w 9586368"/>
                <a:gd name="connsiteY8279" fmla="*/ 482789 h 6479439"/>
                <a:gd name="connsiteX8280" fmla="*/ 5743412 w 9586368"/>
                <a:gd name="connsiteY8280" fmla="*/ 478736 h 6479439"/>
                <a:gd name="connsiteX8281" fmla="*/ 5753323 w 9586368"/>
                <a:gd name="connsiteY8281" fmla="*/ 478736 h 6479439"/>
                <a:gd name="connsiteX8282" fmla="*/ 5757342 w 9586368"/>
                <a:gd name="connsiteY8282" fmla="*/ 482776 h 6479439"/>
                <a:gd name="connsiteX8283" fmla="*/ 5757342 w 9586368"/>
                <a:gd name="connsiteY8283" fmla="*/ 492645 h 6479439"/>
                <a:gd name="connsiteX8284" fmla="*/ 5753323 w 9586368"/>
                <a:gd name="connsiteY8284" fmla="*/ 496683 h 6479439"/>
                <a:gd name="connsiteX8285" fmla="*/ 5743412 w 9586368"/>
                <a:gd name="connsiteY8285" fmla="*/ 496683 h 6479439"/>
                <a:gd name="connsiteX8286" fmla="*/ 5739393 w 9586368"/>
                <a:gd name="connsiteY8286" fmla="*/ 492645 h 6479439"/>
                <a:gd name="connsiteX8287" fmla="*/ 5739393 w 9586368"/>
                <a:gd name="connsiteY8287" fmla="*/ 482776 h 6479439"/>
                <a:gd name="connsiteX8288" fmla="*/ 5504099 w 9586368"/>
                <a:gd name="connsiteY8288" fmla="*/ 478736 h 6479439"/>
                <a:gd name="connsiteX8289" fmla="*/ 5514010 w 9586368"/>
                <a:gd name="connsiteY8289" fmla="*/ 478736 h 6479439"/>
                <a:gd name="connsiteX8290" fmla="*/ 5518029 w 9586368"/>
                <a:gd name="connsiteY8290" fmla="*/ 482776 h 6479439"/>
                <a:gd name="connsiteX8291" fmla="*/ 5518029 w 9586368"/>
                <a:gd name="connsiteY8291" fmla="*/ 492645 h 6479439"/>
                <a:gd name="connsiteX8292" fmla="*/ 5514010 w 9586368"/>
                <a:gd name="connsiteY8292" fmla="*/ 496683 h 6479439"/>
                <a:gd name="connsiteX8293" fmla="*/ 5504099 w 9586368"/>
                <a:gd name="connsiteY8293" fmla="*/ 496683 h 6479439"/>
                <a:gd name="connsiteX8294" fmla="*/ 5500080 w 9586368"/>
                <a:gd name="connsiteY8294" fmla="*/ 492645 h 6479439"/>
                <a:gd name="connsiteX8295" fmla="*/ 5500080 w 9586368"/>
                <a:gd name="connsiteY8295" fmla="*/ 482776 h 6479439"/>
                <a:gd name="connsiteX8296" fmla="*/ 5264784 w 9586368"/>
                <a:gd name="connsiteY8296" fmla="*/ 478736 h 6479439"/>
                <a:gd name="connsiteX8297" fmla="*/ 5274694 w 9586368"/>
                <a:gd name="connsiteY8297" fmla="*/ 478736 h 6479439"/>
                <a:gd name="connsiteX8298" fmla="*/ 5278713 w 9586368"/>
                <a:gd name="connsiteY8298" fmla="*/ 482776 h 6479439"/>
                <a:gd name="connsiteX8299" fmla="*/ 5278713 w 9586368"/>
                <a:gd name="connsiteY8299" fmla="*/ 492645 h 6479439"/>
                <a:gd name="connsiteX8300" fmla="*/ 5274694 w 9586368"/>
                <a:gd name="connsiteY8300" fmla="*/ 496683 h 6479439"/>
                <a:gd name="connsiteX8301" fmla="*/ 5264784 w 9586368"/>
                <a:gd name="connsiteY8301" fmla="*/ 496683 h 6479439"/>
                <a:gd name="connsiteX8302" fmla="*/ 5260765 w 9586368"/>
                <a:gd name="connsiteY8302" fmla="*/ 492645 h 6479439"/>
                <a:gd name="connsiteX8303" fmla="*/ 5260765 w 9586368"/>
                <a:gd name="connsiteY8303" fmla="*/ 482776 h 6479439"/>
                <a:gd name="connsiteX8304" fmla="*/ 5025470 w 9586368"/>
                <a:gd name="connsiteY8304" fmla="*/ 478736 h 6479439"/>
                <a:gd name="connsiteX8305" fmla="*/ 5035381 w 9586368"/>
                <a:gd name="connsiteY8305" fmla="*/ 478736 h 6479439"/>
                <a:gd name="connsiteX8306" fmla="*/ 5039400 w 9586368"/>
                <a:gd name="connsiteY8306" fmla="*/ 482776 h 6479439"/>
                <a:gd name="connsiteX8307" fmla="*/ 5039400 w 9586368"/>
                <a:gd name="connsiteY8307" fmla="*/ 492645 h 6479439"/>
                <a:gd name="connsiteX8308" fmla="*/ 5035381 w 9586368"/>
                <a:gd name="connsiteY8308" fmla="*/ 496683 h 6479439"/>
                <a:gd name="connsiteX8309" fmla="*/ 5025470 w 9586368"/>
                <a:gd name="connsiteY8309" fmla="*/ 496683 h 6479439"/>
                <a:gd name="connsiteX8310" fmla="*/ 5021451 w 9586368"/>
                <a:gd name="connsiteY8310" fmla="*/ 492645 h 6479439"/>
                <a:gd name="connsiteX8311" fmla="*/ 5021451 w 9586368"/>
                <a:gd name="connsiteY8311" fmla="*/ 482776 h 6479439"/>
                <a:gd name="connsiteX8312" fmla="*/ 4786241 w 9586368"/>
                <a:gd name="connsiteY8312" fmla="*/ 478736 h 6479439"/>
                <a:gd name="connsiteX8313" fmla="*/ 4796152 w 9586368"/>
                <a:gd name="connsiteY8313" fmla="*/ 478736 h 6479439"/>
                <a:gd name="connsiteX8314" fmla="*/ 4800171 w 9586368"/>
                <a:gd name="connsiteY8314" fmla="*/ 482776 h 6479439"/>
                <a:gd name="connsiteX8315" fmla="*/ 4800171 w 9586368"/>
                <a:gd name="connsiteY8315" fmla="*/ 492645 h 6479439"/>
                <a:gd name="connsiteX8316" fmla="*/ 4796152 w 9586368"/>
                <a:gd name="connsiteY8316" fmla="*/ 496683 h 6479439"/>
                <a:gd name="connsiteX8317" fmla="*/ 4786241 w 9586368"/>
                <a:gd name="connsiteY8317" fmla="*/ 496683 h 6479439"/>
                <a:gd name="connsiteX8318" fmla="*/ 4782224 w 9586368"/>
                <a:gd name="connsiteY8318" fmla="*/ 492645 h 6479439"/>
                <a:gd name="connsiteX8319" fmla="*/ 4782224 w 9586368"/>
                <a:gd name="connsiteY8319" fmla="*/ 482776 h 6479439"/>
                <a:gd name="connsiteX8320" fmla="*/ 6939983 w 9586368"/>
                <a:gd name="connsiteY8320" fmla="*/ 478724 h 6479439"/>
                <a:gd name="connsiteX8321" fmla="*/ 6949894 w 9586368"/>
                <a:gd name="connsiteY8321" fmla="*/ 478724 h 6479439"/>
                <a:gd name="connsiteX8322" fmla="*/ 6953913 w 9586368"/>
                <a:gd name="connsiteY8322" fmla="*/ 482764 h 6479439"/>
                <a:gd name="connsiteX8323" fmla="*/ 6953913 w 9586368"/>
                <a:gd name="connsiteY8323" fmla="*/ 492633 h 6479439"/>
                <a:gd name="connsiteX8324" fmla="*/ 6949894 w 9586368"/>
                <a:gd name="connsiteY8324" fmla="*/ 496671 h 6479439"/>
                <a:gd name="connsiteX8325" fmla="*/ 6939983 w 9586368"/>
                <a:gd name="connsiteY8325" fmla="*/ 496671 h 6479439"/>
                <a:gd name="connsiteX8326" fmla="*/ 6935964 w 9586368"/>
                <a:gd name="connsiteY8326" fmla="*/ 492633 h 6479439"/>
                <a:gd name="connsiteX8327" fmla="*/ 6935964 w 9586368"/>
                <a:gd name="connsiteY8327" fmla="*/ 482764 h 6479439"/>
                <a:gd name="connsiteX8328" fmla="*/ 6700670 w 9586368"/>
                <a:gd name="connsiteY8328" fmla="*/ 478724 h 6479439"/>
                <a:gd name="connsiteX8329" fmla="*/ 6710581 w 9586368"/>
                <a:gd name="connsiteY8329" fmla="*/ 478724 h 6479439"/>
                <a:gd name="connsiteX8330" fmla="*/ 6714600 w 9586368"/>
                <a:gd name="connsiteY8330" fmla="*/ 482764 h 6479439"/>
                <a:gd name="connsiteX8331" fmla="*/ 6714600 w 9586368"/>
                <a:gd name="connsiteY8331" fmla="*/ 492633 h 6479439"/>
                <a:gd name="connsiteX8332" fmla="*/ 6710581 w 9586368"/>
                <a:gd name="connsiteY8332" fmla="*/ 496671 h 6479439"/>
                <a:gd name="connsiteX8333" fmla="*/ 6700670 w 9586368"/>
                <a:gd name="connsiteY8333" fmla="*/ 496671 h 6479439"/>
                <a:gd name="connsiteX8334" fmla="*/ 6696651 w 9586368"/>
                <a:gd name="connsiteY8334" fmla="*/ 492633 h 6479439"/>
                <a:gd name="connsiteX8335" fmla="*/ 6696651 w 9586368"/>
                <a:gd name="connsiteY8335" fmla="*/ 482764 h 6479439"/>
                <a:gd name="connsiteX8336" fmla="*/ 6461356 w 9586368"/>
                <a:gd name="connsiteY8336" fmla="*/ 478724 h 6479439"/>
                <a:gd name="connsiteX8337" fmla="*/ 6471266 w 9586368"/>
                <a:gd name="connsiteY8337" fmla="*/ 478724 h 6479439"/>
                <a:gd name="connsiteX8338" fmla="*/ 6475285 w 9586368"/>
                <a:gd name="connsiteY8338" fmla="*/ 482764 h 6479439"/>
                <a:gd name="connsiteX8339" fmla="*/ 6475285 w 9586368"/>
                <a:gd name="connsiteY8339" fmla="*/ 492633 h 6479439"/>
                <a:gd name="connsiteX8340" fmla="*/ 6471266 w 9586368"/>
                <a:gd name="connsiteY8340" fmla="*/ 496671 h 6479439"/>
                <a:gd name="connsiteX8341" fmla="*/ 6461356 w 9586368"/>
                <a:gd name="connsiteY8341" fmla="*/ 496671 h 6479439"/>
                <a:gd name="connsiteX8342" fmla="*/ 6457337 w 9586368"/>
                <a:gd name="connsiteY8342" fmla="*/ 492633 h 6479439"/>
                <a:gd name="connsiteX8343" fmla="*/ 6457337 w 9586368"/>
                <a:gd name="connsiteY8343" fmla="*/ 482764 h 6479439"/>
                <a:gd name="connsiteX8344" fmla="*/ 6222042 w 9586368"/>
                <a:gd name="connsiteY8344" fmla="*/ 478724 h 6479439"/>
                <a:gd name="connsiteX8345" fmla="*/ 6231952 w 9586368"/>
                <a:gd name="connsiteY8345" fmla="*/ 478724 h 6479439"/>
                <a:gd name="connsiteX8346" fmla="*/ 6235971 w 9586368"/>
                <a:gd name="connsiteY8346" fmla="*/ 482764 h 6479439"/>
                <a:gd name="connsiteX8347" fmla="*/ 6235971 w 9586368"/>
                <a:gd name="connsiteY8347" fmla="*/ 492633 h 6479439"/>
                <a:gd name="connsiteX8348" fmla="*/ 6231952 w 9586368"/>
                <a:gd name="connsiteY8348" fmla="*/ 496671 h 6479439"/>
                <a:gd name="connsiteX8349" fmla="*/ 6222042 w 9586368"/>
                <a:gd name="connsiteY8349" fmla="*/ 496671 h 6479439"/>
                <a:gd name="connsiteX8350" fmla="*/ 6218023 w 9586368"/>
                <a:gd name="connsiteY8350" fmla="*/ 492633 h 6479439"/>
                <a:gd name="connsiteX8351" fmla="*/ 6218023 w 9586368"/>
                <a:gd name="connsiteY8351" fmla="*/ 482764 h 6479439"/>
                <a:gd name="connsiteX8352" fmla="*/ 5982729 w 9586368"/>
                <a:gd name="connsiteY8352" fmla="*/ 478724 h 6479439"/>
                <a:gd name="connsiteX8353" fmla="*/ 5992639 w 9586368"/>
                <a:gd name="connsiteY8353" fmla="*/ 478724 h 6479439"/>
                <a:gd name="connsiteX8354" fmla="*/ 5996658 w 9586368"/>
                <a:gd name="connsiteY8354" fmla="*/ 482764 h 6479439"/>
                <a:gd name="connsiteX8355" fmla="*/ 5996658 w 9586368"/>
                <a:gd name="connsiteY8355" fmla="*/ 492633 h 6479439"/>
                <a:gd name="connsiteX8356" fmla="*/ 5992639 w 9586368"/>
                <a:gd name="connsiteY8356" fmla="*/ 496671 h 6479439"/>
                <a:gd name="connsiteX8357" fmla="*/ 5982729 w 9586368"/>
                <a:gd name="connsiteY8357" fmla="*/ 496671 h 6479439"/>
                <a:gd name="connsiteX8358" fmla="*/ 5978710 w 9586368"/>
                <a:gd name="connsiteY8358" fmla="*/ 492633 h 6479439"/>
                <a:gd name="connsiteX8359" fmla="*/ 5978710 w 9586368"/>
                <a:gd name="connsiteY8359" fmla="*/ 482764 h 6479439"/>
                <a:gd name="connsiteX8360" fmla="*/ 7897241 w 9586368"/>
                <a:gd name="connsiteY8360" fmla="*/ 478712 h 6479439"/>
                <a:gd name="connsiteX8361" fmla="*/ 7907151 w 9586368"/>
                <a:gd name="connsiteY8361" fmla="*/ 478712 h 6479439"/>
                <a:gd name="connsiteX8362" fmla="*/ 7911170 w 9586368"/>
                <a:gd name="connsiteY8362" fmla="*/ 482751 h 6479439"/>
                <a:gd name="connsiteX8363" fmla="*/ 7911170 w 9586368"/>
                <a:gd name="connsiteY8363" fmla="*/ 492620 h 6479439"/>
                <a:gd name="connsiteX8364" fmla="*/ 7907151 w 9586368"/>
                <a:gd name="connsiteY8364" fmla="*/ 496658 h 6479439"/>
                <a:gd name="connsiteX8365" fmla="*/ 7897241 w 9586368"/>
                <a:gd name="connsiteY8365" fmla="*/ 496658 h 6479439"/>
                <a:gd name="connsiteX8366" fmla="*/ 7893222 w 9586368"/>
                <a:gd name="connsiteY8366" fmla="*/ 492620 h 6479439"/>
                <a:gd name="connsiteX8367" fmla="*/ 7893222 w 9586368"/>
                <a:gd name="connsiteY8367" fmla="*/ 482751 h 6479439"/>
                <a:gd name="connsiteX8368" fmla="*/ 7657926 w 9586368"/>
                <a:gd name="connsiteY8368" fmla="*/ 478712 h 6479439"/>
                <a:gd name="connsiteX8369" fmla="*/ 7667836 w 9586368"/>
                <a:gd name="connsiteY8369" fmla="*/ 478712 h 6479439"/>
                <a:gd name="connsiteX8370" fmla="*/ 7671855 w 9586368"/>
                <a:gd name="connsiteY8370" fmla="*/ 482751 h 6479439"/>
                <a:gd name="connsiteX8371" fmla="*/ 7671855 w 9586368"/>
                <a:gd name="connsiteY8371" fmla="*/ 492620 h 6479439"/>
                <a:gd name="connsiteX8372" fmla="*/ 7667836 w 9586368"/>
                <a:gd name="connsiteY8372" fmla="*/ 496659 h 6479439"/>
                <a:gd name="connsiteX8373" fmla="*/ 7657926 w 9586368"/>
                <a:gd name="connsiteY8373" fmla="*/ 496659 h 6479439"/>
                <a:gd name="connsiteX8374" fmla="*/ 7653906 w 9586368"/>
                <a:gd name="connsiteY8374" fmla="*/ 492620 h 6479439"/>
                <a:gd name="connsiteX8375" fmla="*/ 7653906 w 9586368"/>
                <a:gd name="connsiteY8375" fmla="*/ 482751 h 6479439"/>
                <a:gd name="connsiteX8376" fmla="*/ 7418611 w 9586368"/>
                <a:gd name="connsiteY8376" fmla="*/ 478712 h 6479439"/>
                <a:gd name="connsiteX8377" fmla="*/ 7428521 w 9586368"/>
                <a:gd name="connsiteY8377" fmla="*/ 478712 h 6479439"/>
                <a:gd name="connsiteX8378" fmla="*/ 7432540 w 9586368"/>
                <a:gd name="connsiteY8378" fmla="*/ 482751 h 6479439"/>
                <a:gd name="connsiteX8379" fmla="*/ 7432540 w 9586368"/>
                <a:gd name="connsiteY8379" fmla="*/ 492620 h 6479439"/>
                <a:gd name="connsiteX8380" fmla="*/ 7428521 w 9586368"/>
                <a:gd name="connsiteY8380" fmla="*/ 496659 h 6479439"/>
                <a:gd name="connsiteX8381" fmla="*/ 7418611 w 9586368"/>
                <a:gd name="connsiteY8381" fmla="*/ 496659 h 6479439"/>
                <a:gd name="connsiteX8382" fmla="*/ 7414592 w 9586368"/>
                <a:gd name="connsiteY8382" fmla="*/ 492620 h 6479439"/>
                <a:gd name="connsiteX8383" fmla="*/ 7414592 w 9586368"/>
                <a:gd name="connsiteY8383" fmla="*/ 482751 h 6479439"/>
                <a:gd name="connsiteX8384" fmla="*/ 7179298 w 9586368"/>
                <a:gd name="connsiteY8384" fmla="*/ 478712 h 6479439"/>
                <a:gd name="connsiteX8385" fmla="*/ 7189209 w 9586368"/>
                <a:gd name="connsiteY8385" fmla="*/ 478712 h 6479439"/>
                <a:gd name="connsiteX8386" fmla="*/ 7193228 w 9586368"/>
                <a:gd name="connsiteY8386" fmla="*/ 482751 h 6479439"/>
                <a:gd name="connsiteX8387" fmla="*/ 7193228 w 9586368"/>
                <a:gd name="connsiteY8387" fmla="*/ 492620 h 6479439"/>
                <a:gd name="connsiteX8388" fmla="*/ 7189209 w 9586368"/>
                <a:gd name="connsiteY8388" fmla="*/ 496659 h 6479439"/>
                <a:gd name="connsiteX8389" fmla="*/ 7179298 w 9586368"/>
                <a:gd name="connsiteY8389" fmla="*/ 496659 h 6479439"/>
                <a:gd name="connsiteX8390" fmla="*/ 7175279 w 9586368"/>
                <a:gd name="connsiteY8390" fmla="*/ 492620 h 6479439"/>
                <a:gd name="connsiteX8391" fmla="*/ 7175279 w 9586368"/>
                <a:gd name="connsiteY8391" fmla="*/ 482751 h 6479439"/>
                <a:gd name="connsiteX8392" fmla="*/ 8136553 w 9586368"/>
                <a:gd name="connsiteY8392" fmla="*/ 478711 h 6479439"/>
                <a:gd name="connsiteX8393" fmla="*/ 8146464 w 9586368"/>
                <a:gd name="connsiteY8393" fmla="*/ 478711 h 6479439"/>
                <a:gd name="connsiteX8394" fmla="*/ 8150483 w 9586368"/>
                <a:gd name="connsiteY8394" fmla="*/ 482751 h 6479439"/>
                <a:gd name="connsiteX8395" fmla="*/ 8150483 w 9586368"/>
                <a:gd name="connsiteY8395" fmla="*/ 492620 h 6479439"/>
                <a:gd name="connsiteX8396" fmla="*/ 8146464 w 9586368"/>
                <a:gd name="connsiteY8396" fmla="*/ 496658 h 6479439"/>
                <a:gd name="connsiteX8397" fmla="*/ 8136553 w 9586368"/>
                <a:gd name="connsiteY8397" fmla="*/ 496658 h 6479439"/>
                <a:gd name="connsiteX8398" fmla="*/ 8132534 w 9586368"/>
                <a:gd name="connsiteY8398" fmla="*/ 492620 h 6479439"/>
                <a:gd name="connsiteX8399" fmla="*/ 8132534 w 9586368"/>
                <a:gd name="connsiteY8399" fmla="*/ 482751 h 6479439"/>
                <a:gd name="connsiteX8400" fmla="*/ 9093811 w 9586368"/>
                <a:gd name="connsiteY8400" fmla="*/ 478699 h 6479439"/>
                <a:gd name="connsiteX8401" fmla="*/ 9103722 w 9586368"/>
                <a:gd name="connsiteY8401" fmla="*/ 478699 h 6479439"/>
                <a:gd name="connsiteX8402" fmla="*/ 9107741 w 9586368"/>
                <a:gd name="connsiteY8402" fmla="*/ 482738 h 6479439"/>
                <a:gd name="connsiteX8403" fmla="*/ 9107741 w 9586368"/>
                <a:gd name="connsiteY8403" fmla="*/ 492608 h 6479439"/>
                <a:gd name="connsiteX8404" fmla="*/ 9103722 w 9586368"/>
                <a:gd name="connsiteY8404" fmla="*/ 496646 h 6479439"/>
                <a:gd name="connsiteX8405" fmla="*/ 9093811 w 9586368"/>
                <a:gd name="connsiteY8405" fmla="*/ 496646 h 6479439"/>
                <a:gd name="connsiteX8406" fmla="*/ 9089792 w 9586368"/>
                <a:gd name="connsiteY8406" fmla="*/ 492608 h 6479439"/>
                <a:gd name="connsiteX8407" fmla="*/ 9089792 w 9586368"/>
                <a:gd name="connsiteY8407" fmla="*/ 482738 h 6479439"/>
                <a:gd name="connsiteX8408" fmla="*/ 8854496 w 9586368"/>
                <a:gd name="connsiteY8408" fmla="*/ 478699 h 6479439"/>
                <a:gd name="connsiteX8409" fmla="*/ 8864407 w 9586368"/>
                <a:gd name="connsiteY8409" fmla="*/ 478699 h 6479439"/>
                <a:gd name="connsiteX8410" fmla="*/ 8868426 w 9586368"/>
                <a:gd name="connsiteY8410" fmla="*/ 482738 h 6479439"/>
                <a:gd name="connsiteX8411" fmla="*/ 8868426 w 9586368"/>
                <a:gd name="connsiteY8411" fmla="*/ 492608 h 6479439"/>
                <a:gd name="connsiteX8412" fmla="*/ 8864407 w 9586368"/>
                <a:gd name="connsiteY8412" fmla="*/ 496647 h 6479439"/>
                <a:gd name="connsiteX8413" fmla="*/ 8854496 w 9586368"/>
                <a:gd name="connsiteY8413" fmla="*/ 496647 h 6479439"/>
                <a:gd name="connsiteX8414" fmla="*/ 8850477 w 9586368"/>
                <a:gd name="connsiteY8414" fmla="*/ 492608 h 6479439"/>
                <a:gd name="connsiteX8415" fmla="*/ 8850477 w 9586368"/>
                <a:gd name="connsiteY8415" fmla="*/ 482738 h 6479439"/>
                <a:gd name="connsiteX8416" fmla="*/ 8615184 w 9586368"/>
                <a:gd name="connsiteY8416" fmla="*/ 478699 h 6479439"/>
                <a:gd name="connsiteX8417" fmla="*/ 8625095 w 9586368"/>
                <a:gd name="connsiteY8417" fmla="*/ 478699 h 6479439"/>
                <a:gd name="connsiteX8418" fmla="*/ 8629114 w 9586368"/>
                <a:gd name="connsiteY8418" fmla="*/ 482739 h 6479439"/>
                <a:gd name="connsiteX8419" fmla="*/ 8629114 w 9586368"/>
                <a:gd name="connsiteY8419" fmla="*/ 492608 h 6479439"/>
                <a:gd name="connsiteX8420" fmla="*/ 8625095 w 9586368"/>
                <a:gd name="connsiteY8420" fmla="*/ 496647 h 6479439"/>
                <a:gd name="connsiteX8421" fmla="*/ 8615184 w 9586368"/>
                <a:gd name="connsiteY8421" fmla="*/ 496647 h 6479439"/>
                <a:gd name="connsiteX8422" fmla="*/ 8611165 w 9586368"/>
                <a:gd name="connsiteY8422" fmla="*/ 492608 h 6479439"/>
                <a:gd name="connsiteX8423" fmla="*/ 8611165 w 9586368"/>
                <a:gd name="connsiteY8423" fmla="*/ 482739 h 6479439"/>
                <a:gd name="connsiteX8424" fmla="*/ 8375869 w 9586368"/>
                <a:gd name="connsiteY8424" fmla="*/ 478699 h 6479439"/>
                <a:gd name="connsiteX8425" fmla="*/ 8385779 w 9586368"/>
                <a:gd name="connsiteY8425" fmla="*/ 478699 h 6479439"/>
                <a:gd name="connsiteX8426" fmla="*/ 8389799 w 9586368"/>
                <a:gd name="connsiteY8426" fmla="*/ 482739 h 6479439"/>
                <a:gd name="connsiteX8427" fmla="*/ 8389799 w 9586368"/>
                <a:gd name="connsiteY8427" fmla="*/ 492608 h 6479439"/>
                <a:gd name="connsiteX8428" fmla="*/ 8385779 w 9586368"/>
                <a:gd name="connsiteY8428" fmla="*/ 496647 h 6479439"/>
                <a:gd name="connsiteX8429" fmla="*/ 8375869 w 9586368"/>
                <a:gd name="connsiteY8429" fmla="*/ 496647 h 6479439"/>
                <a:gd name="connsiteX8430" fmla="*/ 8371850 w 9586368"/>
                <a:gd name="connsiteY8430" fmla="*/ 492608 h 6479439"/>
                <a:gd name="connsiteX8431" fmla="*/ 8371850 w 9586368"/>
                <a:gd name="connsiteY8431" fmla="*/ 482739 h 6479439"/>
                <a:gd name="connsiteX8432" fmla="*/ 9333125 w 9586368"/>
                <a:gd name="connsiteY8432" fmla="*/ 478698 h 6479439"/>
                <a:gd name="connsiteX8433" fmla="*/ 9343036 w 9586368"/>
                <a:gd name="connsiteY8433" fmla="*/ 478698 h 6479439"/>
                <a:gd name="connsiteX8434" fmla="*/ 9347055 w 9586368"/>
                <a:gd name="connsiteY8434" fmla="*/ 482738 h 6479439"/>
                <a:gd name="connsiteX8435" fmla="*/ 9347055 w 9586368"/>
                <a:gd name="connsiteY8435" fmla="*/ 492608 h 6479439"/>
                <a:gd name="connsiteX8436" fmla="*/ 9343036 w 9586368"/>
                <a:gd name="connsiteY8436" fmla="*/ 496646 h 6479439"/>
                <a:gd name="connsiteX8437" fmla="*/ 9333125 w 9586368"/>
                <a:gd name="connsiteY8437" fmla="*/ 496646 h 6479439"/>
                <a:gd name="connsiteX8438" fmla="*/ 9329106 w 9586368"/>
                <a:gd name="connsiteY8438" fmla="*/ 492608 h 6479439"/>
                <a:gd name="connsiteX8439" fmla="*/ 9329106 w 9586368"/>
                <a:gd name="connsiteY8439" fmla="*/ 482738 h 6479439"/>
                <a:gd name="connsiteX8440" fmla="*/ 9572438 w 9586368"/>
                <a:gd name="connsiteY8440" fmla="*/ 478687 h 6479439"/>
                <a:gd name="connsiteX8441" fmla="*/ 9582349 w 9586368"/>
                <a:gd name="connsiteY8441" fmla="*/ 478687 h 6479439"/>
                <a:gd name="connsiteX8442" fmla="*/ 9586368 w 9586368"/>
                <a:gd name="connsiteY8442" fmla="*/ 482726 h 6479439"/>
                <a:gd name="connsiteX8443" fmla="*/ 9586368 w 9586368"/>
                <a:gd name="connsiteY8443" fmla="*/ 492596 h 6479439"/>
                <a:gd name="connsiteX8444" fmla="*/ 9582349 w 9586368"/>
                <a:gd name="connsiteY8444" fmla="*/ 496634 h 6479439"/>
                <a:gd name="connsiteX8445" fmla="*/ 9572438 w 9586368"/>
                <a:gd name="connsiteY8445" fmla="*/ 496634 h 6479439"/>
                <a:gd name="connsiteX8446" fmla="*/ 9568419 w 9586368"/>
                <a:gd name="connsiteY8446" fmla="*/ 492596 h 6479439"/>
                <a:gd name="connsiteX8447" fmla="*/ 9568419 w 9586368"/>
                <a:gd name="connsiteY8447" fmla="*/ 482726 h 6479439"/>
                <a:gd name="connsiteX8448" fmla="*/ 721976 w 9586368"/>
                <a:gd name="connsiteY8448" fmla="*/ 478660 h 6479439"/>
                <a:gd name="connsiteX8449" fmla="*/ 731886 w 9586368"/>
                <a:gd name="connsiteY8449" fmla="*/ 478660 h 6479439"/>
                <a:gd name="connsiteX8450" fmla="*/ 735905 w 9586368"/>
                <a:gd name="connsiteY8450" fmla="*/ 482698 h 6479439"/>
                <a:gd name="connsiteX8451" fmla="*/ 735905 w 9586368"/>
                <a:gd name="connsiteY8451" fmla="*/ 492569 h 6479439"/>
                <a:gd name="connsiteX8452" fmla="*/ 731886 w 9586368"/>
                <a:gd name="connsiteY8452" fmla="*/ 496608 h 6479439"/>
                <a:gd name="connsiteX8453" fmla="*/ 721976 w 9586368"/>
                <a:gd name="connsiteY8453" fmla="*/ 496608 h 6479439"/>
                <a:gd name="connsiteX8454" fmla="*/ 717957 w 9586368"/>
                <a:gd name="connsiteY8454" fmla="*/ 492569 h 6479439"/>
                <a:gd name="connsiteX8455" fmla="*/ 717957 w 9586368"/>
                <a:gd name="connsiteY8455" fmla="*/ 482698 h 6479439"/>
                <a:gd name="connsiteX8456" fmla="*/ 482664 w 9586368"/>
                <a:gd name="connsiteY8456" fmla="*/ 478660 h 6479439"/>
                <a:gd name="connsiteX8457" fmla="*/ 492574 w 9586368"/>
                <a:gd name="connsiteY8457" fmla="*/ 478660 h 6479439"/>
                <a:gd name="connsiteX8458" fmla="*/ 496593 w 9586368"/>
                <a:gd name="connsiteY8458" fmla="*/ 482698 h 6479439"/>
                <a:gd name="connsiteX8459" fmla="*/ 496593 w 9586368"/>
                <a:gd name="connsiteY8459" fmla="*/ 492569 h 6479439"/>
                <a:gd name="connsiteX8460" fmla="*/ 492574 w 9586368"/>
                <a:gd name="connsiteY8460" fmla="*/ 496608 h 6479439"/>
                <a:gd name="connsiteX8461" fmla="*/ 482664 w 9586368"/>
                <a:gd name="connsiteY8461" fmla="*/ 496608 h 6479439"/>
                <a:gd name="connsiteX8462" fmla="*/ 478645 w 9586368"/>
                <a:gd name="connsiteY8462" fmla="*/ 492569 h 6479439"/>
                <a:gd name="connsiteX8463" fmla="*/ 478645 w 9586368"/>
                <a:gd name="connsiteY8463" fmla="*/ 482698 h 6479439"/>
                <a:gd name="connsiteX8464" fmla="*/ 243350 w 9586368"/>
                <a:gd name="connsiteY8464" fmla="*/ 478660 h 6479439"/>
                <a:gd name="connsiteX8465" fmla="*/ 253260 w 9586368"/>
                <a:gd name="connsiteY8465" fmla="*/ 478660 h 6479439"/>
                <a:gd name="connsiteX8466" fmla="*/ 257279 w 9586368"/>
                <a:gd name="connsiteY8466" fmla="*/ 482698 h 6479439"/>
                <a:gd name="connsiteX8467" fmla="*/ 257279 w 9586368"/>
                <a:gd name="connsiteY8467" fmla="*/ 492569 h 6479439"/>
                <a:gd name="connsiteX8468" fmla="*/ 253260 w 9586368"/>
                <a:gd name="connsiteY8468" fmla="*/ 496608 h 6479439"/>
                <a:gd name="connsiteX8469" fmla="*/ 243350 w 9586368"/>
                <a:gd name="connsiteY8469" fmla="*/ 496608 h 6479439"/>
                <a:gd name="connsiteX8470" fmla="*/ 239331 w 9586368"/>
                <a:gd name="connsiteY8470" fmla="*/ 492569 h 6479439"/>
                <a:gd name="connsiteX8471" fmla="*/ 239331 w 9586368"/>
                <a:gd name="connsiteY8471" fmla="*/ 482698 h 6479439"/>
                <a:gd name="connsiteX8472" fmla="*/ 4037 w 9586368"/>
                <a:gd name="connsiteY8472" fmla="*/ 478660 h 6479439"/>
                <a:gd name="connsiteX8473" fmla="*/ 13947 w 9586368"/>
                <a:gd name="connsiteY8473" fmla="*/ 478660 h 6479439"/>
                <a:gd name="connsiteX8474" fmla="*/ 17966 w 9586368"/>
                <a:gd name="connsiteY8474" fmla="*/ 482698 h 6479439"/>
                <a:gd name="connsiteX8475" fmla="*/ 17966 w 9586368"/>
                <a:gd name="connsiteY8475" fmla="*/ 492569 h 6479439"/>
                <a:gd name="connsiteX8476" fmla="*/ 13947 w 9586368"/>
                <a:gd name="connsiteY8476" fmla="*/ 496608 h 6479439"/>
                <a:gd name="connsiteX8477" fmla="*/ 4037 w 9586368"/>
                <a:gd name="connsiteY8477" fmla="*/ 496608 h 6479439"/>
                <a:gd name="connsiteX8478" fmla="*/ 18 w 9586368"/>
                <a:gd name="connsiteY8478" fmla="*/ 492569 h 6479439"/>
                <a:gd name="connsiteX8479" fmla="*/ 18 w 9586368"/>
                <a:gd name="connsiteY8479" fmla="*/ 482698 h 6479439"/>
                <a:gd name="connsiteX8480" fmla="*/ 1679220 w 9586368"/>
                <a:gd name="connsiteY8480" fmla="*/ 478650 h 6479439"/>
                <a:gd name="connsiteX8481" fmla="*/ 1689130 w 9586368"/>
                <a:gd name="connsiteY8481" fmla="*/ 478650 h 6479439"/>
                <a:gd name="connsiteX8482" fmla="*/ 1693149 w 9586368"/>
                <a:gd name="connsiteY8482" fmla="*/ 482688 h 6479439"/>
                <a:gd name="connsiteX8483" fmla="*/ 1693149 w 9586368"/>
                <a:gd name="connsiteY8483" fmla="*/ 492559 h 6479439"/>
                <a:gd name="connsiteX8484" fmla="*/ 1689130 w 9586368"/>
                <a:gd name="connsiteY8484" fmla="*/ 496598 h 6479439"/>
                <a:gd name="connsiteX8485" fmla="*/ 1679220 w 9586368"/>
                <a:gd name="connsiteY8485" fmla="*/ 496598 h 6479439"/>
                <a:gd name="connsiteX8486" fmla="*/ 1675200 w 9586368"/>
                <a:gd name="connsiteY8486" fmla="*/ 492559 h 6479439"/>
                <a:gd name="connsiteX8487" fmla="*/ 1675200 w 9586368"/>
                <a:gd name="connsiteY8487" fmla="*/ 482688 h 6479439"/>
                <a:gd name="connsiteX8488" fmla="*/ 1439902 w 9586368"/>
                <a:gd name="connsiteY8488" fmla="*/ 478650 h 6479439"/>
                <a:gd name="connsiteX8489" fmla="*/ 1449812 w 9586368"/>
                <a:gd name="connsiteY8489" fmla="*/ 478650 h 6479439"/>
                <a:gd name="connsiteX8490" fmla="*/ 1453831 w 9586368"/>
                <a:gd name="connsiteY8490" fmla="*/ 482688 h 6479439"/>
                <a:gd name="connsiteX8491" fmla="*/ 1453831 w 9586368"/>
                <a:gd name="connsiteY8491" fmla="*/ 492559 h 6479439"/>
                <a:gd name="connsiteX8492" fmla="*/ 1449812 w 9586368"/>
                <a:gd name="connsiteY8492" fmla="*/ 496598 h 6479439"/>
                <a:gd name="connsiteX8493" fmla="*/ 1439902 w 9586368"/>
                <a:gd name="connsiteY8493" fmla="*/ 496598 h 6479439"/>
                <a:gd name="connsiteX8494" fmla="*/ 1435883 w 9586368"/>
                <a:gd name="connsiteY8494" fmla="*/ 492559 h 6479439"/>
                <a:gd name="connsiteX8495" fmla="*/ 1435883 w 9586368"/>
                <a:gd name="connsiteY8495" fmla="*/ 482688 h 6479439"/>
                <a:gd name="connsiteX8496" fmla="*/ 1200585 w 9586368"/>
                <a:gd name="connsiteY8496" fmla="*/ 478650 h 6479439"/>
                <a:gd name="connsiteX8497" fmla="*/ 1210496 w 9586368"/>
                <a:gd name="connsiteY8497" fmla="*/ 478650 h 6479439"/>
                <a:gd name="connsiteX8498" fmla="*/ 1214515 w 9586368"/>
                <a:gd name="connsiteY8498" fmla="*/ 482689 h 6479439"/>
                <a:gd name="connsiteX8499" fmla="*/ 1214515 w 9586368"/>
                <a:gd name="connsiteY8499" fmla="*/ 492559 h 6479439"/>
                <a:gd name="connsiteX8500" fmla="*/ 1210496 w 9586368"/>
                <a:gd name="connsiteY8500" fmla="*/ 496598 h 6479439"/>
                <a:gd name="connsiteX8501" fmla="*/ 1200585 w 9586368"/>
                <a:gd name="connsiteY8501" fmla="*/ 496598 h 6479439"/>
                <a:gd name="connsiteX8502" fmla="*/ 1196567 w 9586368"/>
                <a:gd name="connsiteY8502" fmla="*/ 492559 h 6479439"/>
                <a:gd name="connsiteX8503" fmla="*/ 1196567 w 9586368"/>
                <a:gd name="connsiteY8503" fmla="*/ 482689 h 6479439"/>
                <a:gd name="connsiteX8504" fmla="*/ 961273 w 9586368"/>
                <a:gd name="connsiteY8504" fmla="*/ 478650 h 6479439"/>
                <a:gd name="connsiteX8505" fmla="*/ 971183 w 9586368"/>
                <a:gd name="connsiteY8505" fmla="*/ 478650 h 6479439"/>
                <a:gd name="connsiteX8506" fmla="*/ 975202 w 9586368"/>
                <a:gd name="connsiteY8506" fmla="*/ 482689 h 6479439"/>
                <a:gd name="connsiteX8507" fmla="*/ 975202 w 9586368"/>
                <a:gd name="connsiteY8507" fmla="*/ 492559 h 6479439"/>
                <a:gd name="connsiteX8508" fmla="*/ 971183 w 9586368"/>
                <a:gd name="connsiteY8508" fmla="*/ 496598 h 6479439"/>
                <a:gd name="connsiteX8509" fmla="*/ 961273 w 9586368"/>
                <a:gd name="connsiteY8509" fmla="*/ 496598 h 6479439"/>
                <a:gd name="connsiteX8510" fmla="*/ 957254 w 9586368"/>
                <a:gd name="connsiteY8510" fmla="*/ 492559 h 6479439"/>
                <a:gd name="connsiteX8511" fmla="*/ 957254 w 9586368"/>
                <a:gd name="connsiteY8511" fmla="*/ 482689 h 6479439"/>
                <a:gd name="connsiteX8512" fmla="*/ 1918515 w 9586368"/>
                <a:gd name="connsiteY8512" fmla="*/ 478641 h 6479439"/>
                <a:gd name="connsiteX8513" fmla="*/ 1928425 w 9586368"/>
                <a:gd name="connsiteY8513" fmla="*/ 478641 h 6479439"/>
                <a:gd name="connsiteX8514" fmla="*/ 1932444 w 9586368"/>
                <a:gd name="connsiteY8514" fmla="*/ 482679 h 6479439"/>
                <a:gd name="connsiteX8515" fmla="*/ 1932444 w 9586368"/>
                <a:gd name="connsiteY8515" fmla="*/ 492550 h 6479439"/>
                <a:gd name="connsiteX8516" fmla="*/ 1928425 w 9586368"/>
                <a:gd name="connsiteY8516" fmla="*/ 496589 h 6479439"/>
                <a:gd name="connsiteX8517" fmla="*/ 1918515 w 9586368"/>
                <a:gd name="connsiteY8517" fmla="*/ 496589 h 6479439"/>
                <a:gd name="connsiteX8518" fmla="*/ 1914495 w 9586368"/>
                <a:gd name="connsiteY8518" fmla="*/ 492550 h 6479439"/>
                <a:gd name="connsiteX8519" fmla="*/ 1914495 w 9586368"/>
                <a:gd name="connsiteY8519" fmla="*/ 482679 h 6479439"/>
                <a:gd name="connsiteX8520" fmla="*/ 2157823 w 9586368"/>
                <a:gd name="connsiteY8520" fmla="*/ 478638 h 6479439"/>
                <a:gd name="connsiteX8521" fmla="*/ 2167734 w 9586368"/>
                <a:gd name="connsiteY8521" fmla="*/ 478638 h 6479439"/>
                <a:gd name="connsiteX8522" fmla="*/ 2171753 w 9586368"/>
                <a:gd name="connsiteY8522" fmla="*/ 482677 h 6479439"/>
                <a:gd name="connsiteX8523" fmla="*/ 2171753 w 9586368"/>
                <a:gd name="connsiteY8523" fmla="*/ 492548 h 6479439"/>
                <a:gd name="connsiteX8524" fmla="*/ 2167734 w 9586368"/>
                <a:gd name="connsiteY8524" fmla="*/ 496587 h 6479439"/>
                <a:gd name="connsiteX8525" fmla="*/ 2157823 w 9586368"/>
                <a:gd name="connsiteY8525" fmla="*/ 496587 h 6479439"/>
                <a:gd name="connsiteX8526" fmla="*/ 2153804 w 9586368"/>
                <a:gd name="connsiteY8526" fmla="*/ 492548 h 6479439"/>
                <a:gd name="connsiteX8527" fmla="*/ 2153804 w 9586368"/>
                <a:gd name="connsiteY8527" fmla="*/ 482677 h 6479439"/>
                <a:gd name="connsiteX8528" fmla="*/ 2632423 w 9586368"/>
                <a:gd name="connsiteY8528" fmla="*/ 239432 h 6479439"/>
                <a:gd name="connsiteX8529" fmla="*/ 2642334 w 9586368"/>
                <a:gd name="connsiteY8529" fmla="*/ 239432 h 6479439"/>
                <a:gd name="connsiteX8530" fmla="*/ 2646352 w 9586368"/>
                <a:gd name="connsiteY8530" fmla="*/ 243470 h 6479439"/>
                <a:gd name="connsiteX8531" fmla="*/ 2646352 w 9586368"/>
                <a:gd name="connsiteY8531" fmla="*/ 253341 h 6479439"/>
                <a:gd name="connsiteX8532" fmla="*/ 2642334 w 9586368"/>
                <a:gd name="connsiteY8532" fmla="*/ 257380 h 6479439"/>
                <a:gd name="connsiteX8533" fmla="*/ 2632423 w 9586368"/>
                <a:gd name="connsiteY8533" fmla="*/ 257380 h 6479439"/>
                <a:gd name="connsiteX8534" fmla="*/ 2628404 w 9586368"/>
                <a:gd name="connsiteY8534" fmla="*/ 253341 h 6479439"/>
                <a:gd name="connsiteX8535" fmla="*/ 2628404 w 9586368"/>
                <a:gd name="connsiteY8535" fmla="*/ 243470 h 6479439"/>
                <a:gd name="connsiteX8536" fmla="*/ 2393104 w 9586368"/>
                <a:gd name="connsiteY8536" fmla="*/ 239432 h 6479439"/>
                <a:gd name="connsiteX8537" fmla="*/ 2403015 w 9586368"/>
                <a:gd name="connsiteY8537" fmla="*/ 239432 h 6479439"/>
                <a:gd name="connsiteX8538" fmla="*/ 2407034 w 9586368"/>
                <a:gd name="connsiteY8538" fmla="*/ 243470 h 6479439"/>
                <a:gd name="connsiteX8539" fmla="*/ 2407034 w 9586368"/>
                <a:gd name="connsiteY8539" fmla="*/ 253341 h 6479439"/>
                <a:gd name="connsiteX8540" fmla="*/ 2403015 w 9586368"/>
                <a:gd name="connsiteY8540" fmla="*/ 257380 h 6479439"/>
                <a:gd name="connsiteX8541" fmla="*/ 2393104 w 9586368"/>
                <a:gd name="connsiteY8541" fmla="*/ 257380 h 6479439"/>
                <a:gd name="connsiteX8542" fmla="*/ 2389087 w 9586368"/>
                <a:gd name="connsiteY8542" fmla="*/ 253341 h 6479439"/>
                <a:gd name="connsiteX8543" fmla="*/ 2389087 w 9586368"/>
                <a:gd name="connsiteY8543" fmla="*/ 243470 h 6479439"/>
                <a:gd name="connsiteX8544" fmla="*/ 3350359 w 9586368"/>
                <a:gd name="connsiteY8544" fmla="*/ 239432 h 6479439"/>
                <a:gd name="connsiteX8545" fmla="*/ 3360268 w 9586368"/>
                <a:gd name="connsiteY8545" fmla="*/ 239432 h 6479439"/>
                <a:gd name="connsiteX8546" fmla="*/ 3364287 w 9586368"/>
                <a:gd name="connsiteY8546" fmla="*/ 243470 h 6479439"/>
                <a:gd name="connsiteX8547" fmla="*/ 3364287 w 9586368"/>
                <a:gd name="connsiteY8547" fmla="*/ 253341 h 6479439"/>
                <a:gd name="connsiteX8548" fmla="*/ 3360268 w 9586368"/>
                <a:gd name="connsiteY8548" fmla="*/ 257380 h 6479439"/>
                <a:gd name="connsiteX8549" fmla="*/ 3350359 w 9586368"/>
                <a:gd name="connsiteY8549" fmla="*/ 257380 h 6479439"/>
                <a:gd name="connsiteX8550" fmla="*/ 3346340 w 9586368"/>
                <a:gd name="connsiteY8550" fmla="*/ 253341 h 6479439"/>
                <a:gd name="connsiteX8551" fmla="*/ 3346340 w 9586368"/>
                <a:gd name="connsiteY8551" fmla="*/ 243470 h 6479439"/>
                <a:gd name="connsiteX8552" fmla="*/ 3111048 w 9586368"/>
                <a:gd name="connsiteY8552" fmla="*/ 239432 h 6479439"/>
                <a:gd name="connsiteX8553" fmla="*/ 3120959 w 9586368"/>
                <a:gd name="connsiteY8553" fmla="*/ 239432 h 6479439"/>
                <a:gd name="connsiteX8554" fmla="*/ 3124977 w 9586368"/>
                <a:gd name="connsiteY8554" fmla="*/ 243470 h 6479439"/>
                <a:gd name="connsiteX8555" fmla="*/ 3124977 w 9586368"/>
                <a:gd name="connsiteY8555" fmla="*/ 253341 h 6479439"/>
                <a:gd name="connsiteX8556" fmla="*/ 3120959 w 9586368"/>
                <a:gd name="connsiteY8556" fmla="*/ 257380 h 6479439"/>
                <a:gd name="connsiteX8557" fmla="*/ 3111048 w 9586368"/>
                <a:gd name="connsiteY8557" fmla="*/ 257380 h 6479439"/>
                <a:gd name="connsiteX8558" fmla="*/ 3107029 w 9586368"/>
                <a:gd name="connsiteY8558" fmla="*/ 253341 h 6479439"/>
                <a:gd name="connsiteX8559" fmla="*/ 3107029 w 9586368"/>
                <a:gd name="connsiteY8559" fmla="*/ 243470 h 6479439"/>
                <a:gd name="connsiteX8560" fmla="*/ 2871737 w 9586368"/>
                <a:gd name="connsiteY8560" fmla="*/ 239432 h 6479439"/>
                <a:gd name="connsiteX8561" fmla="*/ 2881646 w 9586368"/>
                <a:gd name="connsiteY8561" fmla="*/ 239432 h 6479439"/>
                <a:gd name="connsiteX8562" fmla="*/ 2885666 w 9586368"/>
                <a:gd name="connsiteY8562" fmla="*/ 243470 h 6479439"/>
                <a:gd name="connsiteX8563" fmla="*/ 2885666 w 9586368"/>
                <a:gd name="connsiteY8563" fmla="*/ 253341 h 6479439"/>
                <a:gd name="connsiteX8564" fmla="*/ 2881646 w 9586368"/>
                <a:gd name="connsiteY8564" fmla="*/ 257380 h 6479439"/>
                <a:gd name="connsiteX8565" fmla="*/ 2871737 w 9586368"/>
                <a:gd name="connsiteY8565" fmla="*/ 257380 h 6479439"/>
                <a:gd name="connsiteX8566" fmla="*/ 2867717 w 9586368"/>
                <a:gd name="connsiteY8566" fmla="*/ 253341 h 6479439"/>
                <a:gd name="connsiteX8567" fmla="*/ 2867717 w 9586368"/>
                <a:gd name="connsiteY8567" fmla="*/ 243470 h 6479439"/>
                <a:gd name="connsiteX8568" fmla="*/ 3828990 w 9586368"/>
                <a:gd name="connsiteY8568" fmla="*/ 239420 h 6479439"/>
                <a:gd name="connsiteX8569" fmla="*/ 3838899 w 9586368"/>
                <a:gd name="connsiteY8569" fmla="*/ 239420 h 6479439"/>
                <a:gd name="connsiteX8570" fmla="*/ 3842917 w 9586368"/>
                <a:gd name="connsiteY8570" fmla="*/ 243457 h 6479439"/>
                <a:gd name="connsiteX8571" fmla="*/ 3842917 w 9586368"/>
                <a:gd name="connsiteY8571" fmla="*/ 253328 h 6479439"/>
                <a:gd name="connsiteX8572" fmla="*/ 3838899 w 9586368"/>
                <a:gd name="connsiteY8572" fmla="*/ 257367 h 6479439"/>
                <a:gd name="connsiteX8573" fmla="*/ 3828990 w 9586368"/>
                <a:gd name="connsiteY8573" fmla="*/ 257367 h 6479439"/>
                <a:gd name="connsiteX8574" fmla="*/ 3824971 w 9586368"/>
                <a:gd name="connsiteY8574" fmla="*/ 253328 h 6479439"/>
                <a:gd name="connsiteX8575" fmla="*/ 3824971 w 9586368"/>
                <a:gd name="connsiteY8575" fmla="*/ 243457 h 6479439"/>
                <a:gd name="connsiteX8576" fmla="*/ 3589676 w 9586368"/>
                <a:gd name="connsiteY8576" fmla="*/ 239420 h 6479439"/>
                <a:gd name="connsiteX8577" fmla="*/ 3599585 w 9586368"/>
                <a:gd name="connsiteY8577" fmla="*/ 239420 h 6479439"/>
                <a:gd name="connsiteX8578" fmla="*/ 3603604 w 9586368"/>
                <a:gd name="connsiteY8578" fmla="*/ 243457 h 6479439"/>
                <a:gd name="connsiteX8579" fmla="*/ 3603604 w 9586368"/>
                <a:gd name="connsiteY8579" fmla="*/ 253328 h 6479439"/>
                <a:gd name="connsiteX8580" fmla="*/ 3599585 w 9586368"/>
                <a:gd name="connsiteY8580" fmla="*/ 257367 h 6479439"/>
                <a:gd name="connsiteX8581" fmla="*/ 3589676 w 9586368"/>
                <a:gd name="connsiteY8581" fmla="*/ 257367 h 6479439"/>
                <a:gd name="connsiteX8582" fmla="*/ 3585657 w 9586368"/>
                <a:gd name="connsiteY8582" fmla="*/ 253328 h 6479439"/>
                <a:gd name="connsiteX8583" fmla="*/ 3585657 w 9586368"/>
                <a:gd name="connsiteY8583" fmla="*/ 243457 h 6479439"/>
                <a:gd name="connsiteX8584" fmla="*/ 4546929 w 9586368"/>
                <a:gd name="connsiteY8584" fmla="*/ 239419 h 6479439"/>
                <a:gd name="connsiteX8585" fmla="*/ 4556840 w 9586368"/>
                <a:gd name="connsiteY8585" fmla="*/ 239419 h 6479439"/>
                <a:gd name="connsiteX8586" fmla="*/ 4560859 w 9586368"/>
                <a:gd name="connsiteY8586" fmla="*/ 243457 h 6479439"/>
                <a:gd name="connsiteX8587" fmla="*/ 4560859 w 9586368"/>
                <a:gd name="connsiteY8587" fmla="*/ 253328 h 6479439"/>
                <a:gd name="connsiteX8588" fmla="*/ 4556840 w 9586368"/>
                <a:gd name="connsiteY8588" fmla="*/ 257367 h 6479439"/>
                <a:gd name="connsiteX8589" fmla="*/ 4546929 w 9586368"/>
                <a:gd name="connsiteY8589" fmla="*/ 257367 h 6479439"/>
                <a:gd name="connsiteX8590" fmla="*/ 4542910 w 9586368"/>
                <a:gd name="connsiteY8590" fmla="*/ 253328 h 6479439"/>
                <a:gd name="connsiteX8591" fmla="*/ 4542910 w 9586368"/>
                <a:gd name="connsiteY8591" fmla="*/ 243457 h 6479439"/>
                <a:gd name="connsiteX8592" fmla="*/ 4307612 w 9586368"/>
                <a:gd name="connsiteY8592" fmla="*/ 239419 h 6479439"/>
                <a:gd name="connsiteX8593" fmla="*/ 4317523 w 9586368"/>
                <a:gd name="connsiteY8593" fmla="*/ 239419 h 6479439"/>
                <a:gd name="connsiteX8594" fmla="*/ 4321543 w 9586368"/>
                <a:gd name="connsiteY8594" fmla="*/ 243457 h 6479439"/>
                <a:gd name="connsiteX8595" fmla="*/ 4321543 w 9586368"/>
                <a:gd name="connsiteY8595" fmla="*/ 253328 h 6479439"/>
                <a:gd name="connsiteX8596" fmla="*/ 4317523 w 9586368"/>
                <a:gd name="connsiteY8596" fmla="*/ 257367 h 6479439"/>
                <a:gd name="connsiteX8597" fmla="*/ 4307612 w 9586368"/>
                <a:gd name="connsiteY8597" fmla="*/ 257367 h 6479439"/>
                <a:gd name="connsiteX8598" fmla="*/ 4303595 w 9586368"/>
                <a:gd name="connsiteY8598" fmla="*/ 253328 h 6479439"/>
                <a:gd name="connsiteX8599" fmla="*/ 4303595 w 9586368"/>
                <a:gd name="connsiteY8599" fmla="*/ 243457 h 6479439"/>
                <a:gd name="connsiteX8600" fmla="*/ 4068297 w 9586368"/>
                <a:gd name="connsiteY8600" fmla="*/ 239419 h 6479439"/>
                <a:gd name="connsiteX8601" fmla="*/ 4078210 w 9586368"/>
                <a:gd name="connsiteY8601" fmla="*/ 239419 h 6479439"/>
                <a:gd name="connsiteX8602" fmla="*/ 4082229 w 9586368"/>
                <a:gd name="connsiteY8602" fmla="*/ 243457 h 6479439"/>
                <a:gd name="connsiteX8603" fmla="*/ 4082229 w 9586368"/>
                <a:gd name="connsiteY8603" fmla="*/ 253328 h 6479439"/>
                <a:gd name="connsiteX8604" fmla="*/ 4078210 w 9586368"/>
                <a:gd name="connsiteY8604" fmla="*/ 257367 h 6479439"/>
                <a:gd name="connsiteX8605" fmla="*/ 4068297 w 9586368"/>
                <a:gd name="connsiteY8605" fmla="*/ 257367 h 6479439"/>
                <a:gd name="connsiteX8606" fmla="*/ 4064278 w 9586368"/>
                <a:gd name="connsiteY8606" fmla="*/ 253328 h 6479439"/>
                <a:gd name="connsiteX8607" fmla="*/ 4064278 w 9586368"/>
                <a:gd name="connsiteY8607" fmla="*/ 243457 h 6479439"/>
                <a:gd name="connsiteX8608" fmla="*/ 5025470 w 9586368"/>
                <a:gd name="connsiteY8608" fmla="*/ 239407 h 6479439"/>
                <a:gd name="connsiteX8609" fmla="*/ 5035381 w 9586368"/>
                <a:gd name="connsiteY8609" fmla="*/ 239407 h 6479439"/>
                <a:gd name="connsiteX8610" fmla="*/ 5039400 w 9586368"/>
                <a:gd name="connsiteY8610" fmla="*/ 243445 h 6479439"/>
                <a:gd name="connsiteX8611" fmla="*/ 5039400 w 9586368"/>
                <a:gd name="connsiteY8611" fmla="*/ 253316 h 6479439"/>
                <a:gd name="connsiteX8612" fmla="*/ 5035381 w 9586368"/>
                <a:gd name="connsiteY8612" fmla="*/ 257355 h 6479439"/>
                <a:gd name="connsiteX8613" fmla="*/ 5025470 w 9586368"/>
                <a:gd name="connsiteY8613" fmla="*/ 257355 h 6479439"/>
                <a:gd name="connsiteX8614" fmla="*/ 5021451 w 9586368"/>
                <a:gd name="connsiteY8614" fmla="*/ 253316 h 6479439"/>
                <a:gd name="connsiteX8615" fmla="*/ 5021451 w 9586368"/>
                <a:gd name="connsiteY8615" fmla="*/ 243445 h 6479439"/>
                <a:gd name="connsiteX8616" fmla="*/ 4786241 w 9586368"/>
                <a:gd name="connsiteY8616" fmla="*/ 239407 h 6479439"/>
                <a:gd name="connsiteX8617" fmla="*/ 4796152 w 9586368"/>
                <a:gd name="connsiteY8617" fmla="*/ 239407 h 6479439"/>
                <a:gd name="connsiteX8618" fmla="*/ 4800171 w 9586368"/>
                <a:gd name="connsiteY8618" fmla="*/ 243445 h 6479439"/>
                <a:gd name="connsiteX8619" fmla="*/ 4800171 w 9586368"/>
                <a:gd name="connsiteY8619" fmla="*/ 253316 h 6479439"/>
                <a:gd name="connsiteX8620" fmla="*/ 4796152 w 9586368"/>
                <a:gd name="connsiteY8620" fmla="*/ 257355 h 6479439"/>
                <a:gd name="connsiteX8621" fmla="*/ 4786241 w 9586368"/>
                <a:gd name="connsiteY8621" fmla="*/ 257355 h 6479439"/>
                <a:gd name="connsiteX8622" fmla="*/ 4782224 w 9586368"/>
                <a:gd name="connsiteY8622" fmla="*/ 253316 h 6479439"/>
                <a:gd name="connsiteX8623" fmla="*/ 4782224 w 9586368"/>
                <a:gd name="connsiteY8623" fmla="*/ 243445 h 6479439"/>
                <a:gd name="connsiteX8624" fmla="*/ 5743412 w 9586368"/>
                <a:gd name="connsiteY8624" fmla="*/ 239407 h 6479439"/>
                <a:gd name="connsiteX8625" fmla="*/ 5753323 w 9586368"/>
                <a:gd name="connsiteY8625" fmla="*/ 239407 h 6479439"/>
                <a:gd name="connsiteX8626" fmla="*/ 5757342 w 9586368"/>
                <a:gd name="connsiteY8626" fmla="*/ 243445 h 6479439"/>
                <a:gd name="connsiteX8627" fmla="*/ 5757342 w 9586368"/>
                <a:gd name="connsiteY8627" fmla="*/ 253316 h 6479439"/>
                <a:gd name="connsiteX8628" fmla="*/ 5753323 w 9586368"/>
                <a:gd name="connsiteY8628" fmla="*/ 257355 h 6479439"/>
                <a:gd name="connsiteX8629" fmla="*/ 5743412 w 9586368"/>
                <a:gd name="connsiteY8629" fmla="*/ 257355 h 6479439"/>
                <a:gd name="connsiteX8630" fmla="*/ 5739393 w 9586368"/>
                <a:gd name="connsiteY8630" fmla="*/ 253316 h 6479439"/>
                <a:gd name="connsiteX8631" fmla="*/ 5739393 w 9586368"/>
                <a:gd name="connsiteY8631" fmla="*/ 243445 h 6479439"/>
                <a:gd name="connsiteX8632" fmla="*/ 5504099 w 9586368"/>
                <a:gd name="connsiteY8632" fmla="*/ 239407 h 6479439"/>
                <a:gd name="connsiteX8633" fmla="*/ 5514010 w 9586368"/>
                <a:gd name="connsiteY8633" fmla="*/ 239407 h 6479439"/>
                <a:gd name="connsiteX8634" fmla="*/ 5518029 w 9586368"/>
                <a:gd name="connsiteY8634" fmla="*/ 243445 h 6479439"/>
                <a:gd name="connsiteX8635" fmla="*/ 5518029 w 9586368"/>
                <a:gd name="connsiteY8635" fmla="*/ 253316 h 6479439"/>
                <a:gd name="connsiteX8636" fmla="*/ 5514010 w 9586368"/>
                <a:gd name="connsiteY8636" fmla="*/ 257355 h 6479439"/>
                <a:gd name="connsiteX8637" fmla="*/ 5504099 w 9586368"/>
                <a:gd name="connsiteY8637" fmla="*/ 257355 h 6479439"/>
                <a:gd name="connsiteX8638" fmla="*/ 5500080 w 9586368"/>
                <a:gd name="connsiteY8638" fmla="*/ 253316 h 6479439"/>
                <a:gd name="connsiteX8639" fmla="*/ 5500080 w 9586368"/>
                <a:gd name="connsiteY8639" fmla="*/ 243445 h 6479439"/>
                <a:gd name="connsiteX8640" fmla="*/ 5264784 w 9586368"/>
                <a:gd name="connsiteY8640" fmla="*/ 239407 h 6479439"/>
                <a:gd name="connsiteX8641" fmla="*/ 5274694 w 9586368"/>
                <a:gd name="connsiteY8641" fmla="*/ 239407 h 6479439"/>
                <a:gd name="connsiteX8642" fmla="*/ 5278713 w 9586368"/>
                <a:gd name="connsiteY8642" fmla="*/ 243445 h 6479439"/>
                <a:gd name="connsiteX8643" fmla="*/ 5278713 w 9586368"/>
                <a:gd name="connsiteY8643" fmla="*/ 253316 h 6479439"/>
                <a:gd name="connsiteX8644" fmla="*/ 5274694 w 9586368"/>
                <a:gd name="connsiteY8644" fmla="*/ 257355 h 6479439"/>
                <a:gd name="connsiteX8645" fmla="*/ 5264784 w 9586368"/>
                <a:gd name="connsiteY8645" fmla="*/ 257355 h 6479439"/>
                <a:gd name="connsiteX8646" fmla="*/ 5260765 w 9586368"/>
                <a:gd name="connsiteY8646" fmla="*/ 253316 h 6479439"/>
                <a:gd name="connsiteX8647" fmla="*/ 5260765 w 9586368"/>
                <a:gd name="connsiteY8647" fmla="*/ 243445 h 6479439"/>
                <a:gd name="connsiteX8648" fmla="*/ 6222042 w 9586368"/>
                <a:gd name="connsiteY8648" fmla="*/ 239395 h 6479439"/>
                <a:gd name="connsiteX8649" fmla="*/ 6231952 w 9586368"/>
                <a:gd name="connsiteY8649" fmla="*/ 239395 h 6479439"/>
                <a:gd name="connsiteX8650" fmla="*/ 6235971 w 9586368"/>
                <a:gd name="connsiteY8650" fmla="*/ 243432 h 6479439"/>
                <a:gd name="connsiteX8651" fmla="*/ 6235971 w 9586368"/>
                <a:gd name="connsiteY8651" fmla="*/ 253303 h 6479439"/>
                <a:gd name="connsiteX8652" fmla="*/ 6231952 w 9586368"/>
                <a:gd name="connsiteY8652" fmla="*/ 257342 h 6479439"/>
                <a:gd name="connsiteX8653" fmla="*/ 6222042 w 9586368"/>
                <a:gd name="connsiteY8653" fmla="*/ 257342 h 6479439"/>
                <a:gd name="connsiteX8654" fmla="*/ 6218023 w 9586368"/>
                <a:gd name="connsiteY8654" fmla="*/ 253303 h 6479439"/>
                <a:gd name="connsiteX8655" fmla="*/ 6218023 w 9586368"/>
                <a:gd name="connsiteY8655" fmla="*/ 243432 h 6479439"/>
                <a:gd name="connsiteX8656" fmla="*/ 5982729 w 9586368"/>
                <a:gd name="connsiteY8656" fmla="*/ 239395 h 6479439"/>
                <a:gd name="connsiteX8657" fmla="*/ 5992639 w 9586368"/>
                <a:gd name="connsiteY8657" fmla="*/ 239395 h 6479439"/>
                <a:gd name="connsiteX8658" fmla="*/ 5996658 w 9586368"/>
                <a:gd name="connsiteY8658" fmla="*/ 243433 h 6479439"/>
                <a:gd name="connsiteX8659" fmla="*/ 5996658 w 9586368"/>
                <a:gd name="connsiteY8659" fmla="*/ 253303 h 6479439"/>
                <a:gd name="connsiteX8660" fmla="*/ 5992639 w 9586368"/>
                <a:gd name="connsiteY8660" fmla="*/ 257342 h 6479439"/>
                <a:gd name="connsiteX8661" fmla="*/ 5982729 w 9586368"/>
                <a:gd name="connsiteY8661" fmla="*/ 257342 h 6479439"/>
                <a:gd name="connsiteX8662" fmla="*/ 5978710 w 9586368"/>
                <a:gd name="connsiteY8662" fmla="*/ 253303 h 6479439"/>
                <a:gd name="connsiteX8663" fmla="*/ 5978710 w 9586368"/>
                <a:gd name="connsiteY8663" fmla="*/ 243433 h 6479439"/>
                <a:gd name="connsiteX8664" fmla="*/ 6939983 w 9586368"/>
                <a:gd name="connsiteY8664" fmla="*/ 239394 h 6479439"/>
                <a:gd name="connsiteX8665" fmla="*/ 6949894 w 9586368"/>
                <a:gd name="connsiteY8665" fmla="*/ 239394 h 6479439"/>
                <a:gd name="connsiteX8666" fmla="*/ 6953913 w 9586368"/>
                <a:gd name="connsiteY8666" fmla="*/ 243432 h 6479439"/>
                <a:gd name="connsiteX8667" fmla="*/ 6953913 w 9586368"/>
                <a:gd name="connsiteY8667" fmla="*/ 253303 h 6479439"/>
                <a:gd name="connsiteX8668" fmla="*/ 6949894 w 9586368"/>
                <a:gd name="connsiteY8668" fmla="*/ 257342 h 6479439"/>
                <a:gd name="connsiteX8669" fmla="*/ 6939983 w 9586368"/>
                <a:gd name="connsiteY8669" fmla="*/ 257342 h 6479439"/>
                <a:gd name="connsiteX8670" fmla="*/ 6935964 w 9586368"/>
                <a:gd name="connsiteY8670" fmla="*/ 253303 h 6479439"/>
                <a:gd name="connsiteX8671" fmla="*/ 6935964 w 9586368"/>
                <a:gd name="connsiteY8671" fmla="*/ 243432 h 6479439"/>
                <a:gd name="connsiteX8672" fmla="*/ 6700670 w 9586368"/>
                <a:gd name="connsiteY8672" fmla="*/ 239394 h 6479439"/>
                <a:gd name="connsiteX8673" fmla="*/ 6710581 w 9586368"/>
                <a:gd name="connsiteY8673" fmla="*/ 239394 h 6479439"/>
                <a:gd name="connsiteX8674" fmla="*/ 6714600 w 9586368"/>
                <a:gd name="connsiteY8674" fmla="*/ 243432 h 6479439"/>
                <a:gd name="connsiteX8675" fmla="*/ 6714600 w 9586368"/>
                <a:gd name="connsiteY8675" fmla="*/ 253303 h 6479439"/>
                <a:gd name="connsiteX8676" fmla="*/ 6710581 w 9586368"/>
                <a:gd name="connsiteY8676" fmla="*/ 257342 h 6479439"/>
                <a:gd name="connsiteX8677" fmla="*/ 6700670 w 9586368"/>
                <a:gd name="connsiteY8677" fmla="*/ 257342 h 6479439"/>
                <a:gd name="connsiteX8678" fmla="*/ 6696651 w 9586368"/>
                <a:gd name="connsiteY8678" fmla="*/ 253303 h 6479439"/>
                <a:gd name="connsiteX8679" fmla="*/ 6696651 w 9586368"/>
                <a:gd name="connsiteY8679" fmla="*/ 243432 h 6479439"/>
                <a:gd name="connsiteX8680" fmla="*/ 6461356 w 9586368"/>
                <a:gd name="connsiteY8680" fmla="*/ 239394 h 6479439"/>
                <a:gd name="connsiteX8681" fmla="*/ 6471266 w 9586368"/>
                <a:gd name="connsiteY8681" fmla="*/ 239394 h 6479439"/>
                <a:gd name="connsiteX8682" fmla="*/ 6475285 w 9586368"/>
                <a:gd name="connsiteY8682" fmla="*/ 243432 h 6479439"/>
                <a:gd name="connsiteX8683" fmla="*/ 6475285 w 9586368"/>
                <a:gd name="connsiteY8683" fmla="*/ 253303 h 6479439"/>
                <a:gd name="connsiteX8684" fmla="*/ 6471266 w 9586368"/>
                <a:gd name="connsiteY8684" fmla="*/ 257342 h 6479439"/>
                <a:gd name="connsiteX8685" fmla="*/ 6461356 w 9586368"/>
                <a:gd name="connsiteY8685" fmla="*/ 257342 h 6479439"/>
                <a:gd name="connsiteX8686" fmla="*/ 6457337 w 9586368"/>
                <a:gd name="connsiteY8686" fmla="*/ 253303 h 6479439"/>
                <a:gd name="connsiteX8687" fmla="*/ 6457337 w 9586368"/>
                <a:gd name="connsiteY8687" fmla="*/ 243432 h 6479439"/>
                <a:gd name="connsiteX8688" fmla="*/ 7418611 w 9586368"/>
                <a:gd name="connsiteY8688" fmla="*/ 239382 h 6479439"/>
                <a:gd name="connsiteX8689" fmla="*/ 7428521 w 9586368"/>
                <a:gd name="connsiteY8689" fmla="*/ 239382 h 6479439"/>
                <a:gd name="connsiteX8690" fmla="*/ 7432540 w 9586368"/>
                <a:gd name="connsiteY8690" fmla="*/ 243420 h 6479439"/>
                <a:gd name="connsiteX8691" fmla="*/ 7432540 w 9586368"/>
                <a:gd name="connsiteY8691" fmla="*/ 253291 h 6479439"/>
                <a:gd name="connsiteX8692" fmla="*/ 7428521 w 9586368"/>
                <a:gd name="connsiteY8692" fmla="*/ 257330 h 6479439"/>
                <a:gd name="connsiteX8693" fmla="*/ 7418611 w 9586368"/>
                <a:gd name="connsiteY8693" fmla="*/ 257330 h 6479439"/>
                <a:gd name="connsiteX8694" fmla="*/ 7414592 w 9586368"/>
                <a:gd name="connsiteY8694" fmla="*/ 253291 h 6479439"/>
                <a:gd name="connsiteX8695" fmla="*/ 7414592 w 9586368"/>
                <a:gd name="connsiteY8695" fmla="*/ 243420 h 6479439"/>
                <a:gd name="connsiteX8696" fmla="*/ 7179298 w 9586368"/>
                <a:gd name="connsiteY8696" fmla="*/ 239382 h 6479439"/>
                <a:gd name="connsiteX8697" fmla="*/ 7189209 w 9586368"/>
                <a:gd name="connsiteY8697" fmla="*/ 239382 h 6479439"/>
                <a:gd name="connsiteX8698" fmla="*/ 7193228 w 9586368"/>
                <a:gd name="connsiteY8698" fmla="*/ 243421 h 6479439"/>
                <a:gd name="connsiteX8699" fmla="*/ 7193228 w 9586368"/>
                <a:gd name="connsiteY8699" fmla="*/ 253292 h 6479439"/>
                <a:gd name="connsiteX8700" fmla="*/ 7189209 w 9586368"/>
                <a:gd name="connsiteY8700" fmla="*/ 257330 h 6479439"/>
                <a:gd name="connsiteX8701" fmla="*/ 7179298 w 9586368"/>
                <a:gd name="connsiteY8701" fmla="*/ 257330 h 6479439"/>
                <a:gd name="connsiteX8702" fmla="*/ 7175279 w 9586368"/>
                <a:gd name="connsiteY8702" fmla="*/ 253292 h 6479439"/>
                <a:gd name="connsiteX8703" fmla="*/ 7175279 w 9586368"/>
                <a:gd name="connsiteY8703" fmla="*/ 243421 h 6479439"/>
                <a:gd name="connsiteX8704" fmla="*/ 8136553 w 9586368"/>
                <a:gd name="connsiteY8704" fmla="*/ 239382 h 6479439"/>
                <a:gd name="connsiteX8705" fmla="*/ 8146464 w 9586368"/>
                <a:gd name="connsiteY8705" fmla="*/ 239382 h 6479439"/>
                <a:gd name="connsiteX8706" fmla="*/ 8150483 w 9586368"/>
                <a:gd name="connsiteY8706" fmla="*/ 243420 h 6479439"/>
                <a:gd name="connsiteX8707" fmla="*/ 8150483 w 9586368"/>
                <a:gd name="connsiteY8707" fmla="*/ 253291 h 6479439"/>
                <a:gd name="connsiteX8708" fmla="*/ 8146464 w 9586368"/>
                <a:gd name="connsiteY8708" fmla="*/ 257330 h 6479439"/>
                <a:gd name="connsiteX8709" fmla="*/ 8136553 w 9586368"/>
                <a:gd name="connsiteY8709" fmla="*/ 257330 h 6479439"/>
                <a:gd name="connsiteX8710" fmla="*/ 8132534 w 9586368"/>
                <a:gd name="connsiteY8710" fmla="*/ 253291 h 6479439"/>
                <a:gd name="connsiteX8711" fmla="*/ 8132534 w 9586368"/>
                <a:gd name="connsiteY8711" fmla="*/ 243420 h 6479439"/>
                <a:gd name="connsiteX8712" fmla="*/ 7897241 w 9586368"/>
                <a:gd name="connsiteY8712" fmla="*/ 239382 h 6479439"/>
                <a:gd name="connsiteX8713" fmla="*/ 7907151 w 9586368"/>
                <a:gd name="connsiteY8713" fmla="*/ 239382 h 6479439"/>
                <a:gd name="connsiteX8714" fmla="*/ 7911170 w 9586368"/>
                <a:gd name="connsiteY8714" fmla="*/ 243420 h 6479439"/>
                <a:gd name="connsiteX8715" fmla="*/ 7911170 w 9586368"/>
                <a:gd name="connsiteY8715" fmla="*/ 253291 h 6479439"/>
                <a:gd name="connsiteX8716" fmla="*/ 7907151 w 9586368"/>
                <a:gd name="connsiteY8716" fmla="*/ 257330 h 6479439"/>
                <a:gd name="connsiteX8717" fmla="*/ 7897241 w 9586368"/>
                <a:gd name="connsiteY8717" fmla="*/ 257330 h 6479439"/>
                <a:gd name="connsiteX8718" fmla="*/ 7893222 w 9586368"/>
                <a:gd name="connsiteY8718" fmla="*/ 253291 h 6479439"/>
                <a:gd name="connsiteX8719" fmla="*/ 7893222 w 9586368"/>
                <a:gd name="connsiteY8719" fmla="*/ 243420 h 6479439"/>
                <a:gd name="connsiteX8720" fmla="*/ 7657926 w 9586368"/>
                <a:gd name="connsiteY8720" fmla="*/ 239382 h 6479439"/>
                <a:gd name="connsiteX8721" fmla="*/ 7667836 w 9586368"/>
                <a:gd name="connsiteY8721" fmla="*/ 239382 h 6479439"/>
                <a:gd name="connsiteX8722" fmla="*/ 7671855 w 9586368"/>
                <a:gd name="connsiteY8722" fmla="*/ 243420 h 6479439"/>
                <a:gd name="connsiteX8723" fmla="*/ 7671855 w 9586368"/>
                <a:gd name="connsiteY8723" fmla="*/ 253291 h 6479439"/>
                <a:gd name="connsiteX8724" fmla="*/ 7667836 w 9586368"/>
                <a:gd name="connsiteY8724" fmla="*/ 257330 h 6479439"/>
                <a:gd name="connsiteX8725" fmla="*/ 7657926 w 9586368"/>
                <a:gd name="connsiteY8725" fmla="*/ 257330 h 6479439"/>
                <a:gd name="connsiteX8726" fmla="*/ 7653906 w 9586368"/>
                <a:gd name="connsiteY8726" fmla="*/ 253291 h 6479439"/>
                <a:gd name="connsiteX8727" fmla="*/ 7653906 w 9586368"/>
                <a:gd name="connsiteY8727" fmla="*/ 243420 h 6479439"/>
                <a:gd name="connsiteX8728" fmla="*/ 1679220 w 9586368"/>
                <a:gd name="connsiteY8728" fmla="*/ 239371 h 6479439"/>
                <a:gd name="connsiteX8729" fmla="*/ 1689131 w 9586368"/>
                <a:gd name="connsiteY8729" fmla="*/ 239371 h 6479439"/>
                <a:gd name="connsiteX8730" fmla="*/ 1693150 w 9586368"/>
                <a:gd name="connsiteY8730" fmla="*/ 243409 h 6479439"/>
                <a:gd name="connsiteX8731" fmla="*/ 1693150 w 9586368"/>
                <a:gd name="connsiteY8731" fmla="*/ 253280 h 6479439"/>
                <a:gd name="connsiteX8732" fmla="*/ 1689131 w 9586368"/>
                <a:gd name="connsiteY8732" fmla="*/ 257319 h 6479439"/>
                <a:gd name="connsiteX8733" fmla="*/ 1679220 w 9586368"/>
                <a:gd name="connsiteY8733" fmla="*/ 257319 h 6479439"/>
                <a:gd name="connsiteX8734" fmla="*/ 1675202 w 9586368"/>
                <a:gd name="connsiteY8734" fmla="*/ 253280 h 6479439"/>
                <a:gd name="connsiteX8735" fmla="*/ 1675202 w 9586368"/>
                <a:gd name="connsiteY8735" fmla="*/ 243409 h 6479439"/>
                <a:gd name="connsiteX8736" fmla="*/ 1439902 w 9586368"/>
                <a:gd name="connsiteY8736" fmla="*/ 239371 h 6479439"/>
                <a:gd name="connsiteX8737" fmla="*/ 1449813 w 9586368"/>
                <a:gd name="connsiteY8737" fmla="*/ 239371 h 6479439"/>
                <a:gd name="connsiteX8738" fmla="*/ 1453832 w 9586368"/>
                <a:gd name="connsiteY8738" fmla="*/ 243409 h 6479439"/>
                <a:gd name="connsiteX8739" fmla="*/ 1453832 w 9586368"/>
                <a:gd name="connsiteY8739" fmla="*/ 253280 h 6479439"/>
                <a:gd name="connsiteX8740" fmla="*/ 1449813 w 9586368"/>
                <a:gd name="connsiteY8740" fmla="*/ 257319 h 6479439"/>
                <a:gd name="connsiteX8741" fmla="*/ 1439902 w 9586368"/>
                <a:gd name="connsiteY8741" fmla="*/ 257319 h 6479439"/>
                <a:gd name="connsiteX8742" fmla="*/ 1435884 w 9586368"/>
                <a:gd name="connsiteY8742" fmla="*/ 253280 h 6479439"/>
                <a:gd name="connsiteX8743" fmla="*/ 1435884 w 9586368"/>
                <a:gd name="connsiteY8743" fmla="*/ 243409 h 6479439"/>
                <a:gd name="connsiteX8744" fmla="*/ 1200587 w 9586368"/>
                <a:gd name="connsiteY8744" fmla="*/ 239371 h 6479439"/>
                <a:gd name="connsiteX8745" fmla="*/ 1210496 w 9586368"/>
                <a:gd name="connsiteY8745" fmla="*/ 239371 h 6479439"/>
                <a:gd name="connsiteX8746" fmla="*/ 1214515 w 9586368"/>
                <a:gd name="connsiteY8746" fmla="*/ 243409 h 6479439"/>
                <a:gd name="connsiteX8747" fmla="*/ 1214515 w 9586368"/>
                <a:gd name="connsiteY8747" fmla="*/ 253280 h 6479439"/>
                <a:gd name="connsiteX8748" fmla="*/ 1210496 w 9586368"/>
                <a:gd name="connsiteY8748" fmla="*/ 257319 h 6479439"/>
                <a:gd name="connsiteX8749" fmla="*/ 1200587 w 9586368"/>
                <a:gd name="connsiteY8749" fmla="*/ 257319 h 6479439"/>
                <a:gd name="connsiteX8750" fmla="*/ 1196567 w 9586368"/>
                <a:gd name="connsiteY8750" fmla="*/ 253280 h 6479439"/>
                <a:gd name="connsiteX8751" fmla="*/ 1196567 w 9586368"/>
                <a:gd name="connsiteY8751" fmla="*/ 243409 h 6479439"/>
                <a:gd name="connsiteX8752" fmla="*/ 961273 w 9586368"/>
                <a:gd name="connsiteY8752" fmla="*/ 239371 h 6479439"/>
                <a:gd name="connsiteX8753" fmla="*/ 971184 w 9586368"/>
                <a:gd name="connsiteY8753" fmla="*/ 239371 h 6479439"/>
                <a:gd name="connsiteX8754" fmla="*/ 975203 w 9586368"/>
                <a:gd name="connsiteY8754" fmla="*/ 243409 h 6479439"/>
                <a:gd name="connsiteX8755" fmla="*/ 975203 w 9586368"/>
                <a:gd name="connsiteY8755" fmla="*/ 253280 h 6479439"/>
                <a:gd name="connsiteX8756" fmla="*/ 971184 w 9586368"/>
                <a:gd name="connsiteY8756" fmla="*/ 257319 h 6479439"/>
                <a:gd name="connsiteX8757" fmla="*/ 961273 w 9586368"/>
                <a:gd name="connsiteY8757" fmla="*/ 257319 h 6479439"/>
                <a:gd name="connsiteX8758" fmla="*/ 957255 w 9586368"/>
                <a:gd name="connsiteY8758" fmla="*/ 253280 h 6479439"/>
                <a:gd name="connsiteX8759" fmla="*/ 957255 w 9586368"/>
                <a:gd name="connsiteY8759" fmla="*/ 243409 h 6479439"/>
                <a:gd name="connsiteX8760" fmla="*/ 8615184 w 9586368"/>
                <a:gd name="connsiteY8760" fmla="*/ 239370 h 6479439"/>
                <a:gd name="connsiteX8761" fmla="*/ 8625095 w 9586368"/>
                <a:gd name="connsiteY8761" fmla="*/ 239370 h 6479439"/>
                <a:gd name="connsiteX8762" fmla="*/ 8629114 w 9586368"/>
                <a:gd name="connsiteY8762" fmla="*/ 243408 h 6479439"/>
                <a:gd name="connsiteX8763" fmla="*/ 8629114 w 9586368"/>
                <a:gd name="connsiteY8763" fmla="*/ 253278 h 6479439"/>
                <a:gd name="connsiteX8764" fmla="*/ 8625095 w 9586368"/>
                <a:gd name="connsiteY8764" fmla="*/ 257317 h 6479439"/>
                <a:gd name="connsiteX8765" fmla="*/ 8615184 w 9586368"/>
                <a:gd name="connsiteY8765" fmla="*/ 257317 h 6479439"/>
                <a:gd name="connsiteX8766" fmla="*/ 8611165 w 9586368"/>
                <a:gd name="connsiteY8766" fmla="*/ 253278 h 6479439"/>
                <a:gd name="connsiteX8767" fmla="*/ 8611165 w 9586368"/>
                <a:gd name="connsiteY8767" fmla="*/ 243408 h 6479439"/>
                <a:gd name="connsiteX8768" fmla="*/ 8375869 w 9586368"/>
                <a:gd name="connsiteY8768" fmla="*/ 239370 h 6479439"/>
                <a:gd name="connsiteX8769" fmla="*/ 8385779 w 9586368"/>
                <a:gd name="connsiteY8769" fmla="*/ 239370 h 6479439"/>
                <a:gd name="connsiteX8770" fmla="*/ 8389799 w 9586368"/>
                <a:gd name="connsiteY8770" fmla="*/ 243408 h 6479439"/>
                <a:gd name="connsiteX8771" fmla="*/ 8389799 w 9586368"/>
                <a:gd name="connsiteY8771" fmla="*/ 253279 h 6479439"/>
                <a:gd name="connsiteX8772" fmla="*/ 8385779 w 9586368"/>
                <a:gd name="connsiteY8772" fmla="*/ 257318 h 6479439"/>
                <a:gd name="connsiteX8773" fmla="*/ 8375869 w 9586368"/>
                <a:gd name="connsiteY8773" fmla="*/ 257318 h 6479439"/>
                <a:gd name="connsiteX8774" fmla="*/ 8371850 w 9586368"/>
                <a:gd name="connsiteY8774" fmla="*/ 253279 h 6479439"/>
                <a:gd name="connsiteX8775" fmla="*/ 8371850 w 9586368"/>
                <a:gd name="connsiteY8775" fmla="*/ 243408 h 6479439"/>
                <a:gd name="connsiteX8776" fmla="*/ 9333125 w 9586368"/>
                <a:gd name="connsiteY8776" fmla="*/ 239369 h 6479439"/>
                <a:gd name="connsiteX8777" fmla="*/ 9343036 w 9586368"/>
                <a:gd name="connsiteY8777" fmla="*/ 239369 h 6479439"/>
                <a:gd name="connsiteX8778" fmla="*/ 9347055 w 9586368"/>
                <a:gd name="connsiteY8778" fmla="*/ 243407 h 6479439"/>
                <a:gd name="connsiteX8779" fmla="*/ 9347055 w 9586368"/>
                <a:gd name="connsiteY8779" fmla="*/ 253278 h 6479439"/>
                <a:gd name="connsiteX8780" fmla="*/ 9343036 w 9586368"/>
                <a:gd name="connsiteY8780" fmla="*/ 257317 h 6479439"/>
                <a:gd name="connsiteX8781" fmla="*/ 9333125 w 9586368"/>
                <a:gd name="connsiteY8781" fmla="*/ 257317 h 6479439"/>
                <a:gd name="connsiteX8782" fmla="*/ 9329106 w 9586368"/>
                <a:gd name="connsiteY8782" fmla="*/ 253278 h 6479439"/>
                <a:gd name="connsiteX8783" fmla="*/ 9329106 w 9586368"/>
                <a:gd name="connsiteY8783" fmla="*/ 243407 h 6479439"/>
                <a:gd name="connsiteX8784" fmla="*/ 9093811 w 9586368"/>
                <a:gd name="connsiteY8784" fmla="*/ 239369 h 6479439"/>
                <a:gd name="connsiteX8785" fmla="*/ 9103722 w 9586368"/>
                <a:gd name="connsiteY8785" fmla="*/ 239369 h 6479439"/>
                <a:gd name="connsiteX8786" fmla="*/ 9107741 w 9586368"/>
                <a:gd name="connsiteY8786" fmla="*/ 243407 h 6479439"/>
                <a:gd name="connsiteX8787" fmla="*/ 9107741 w 9586368"/>
                <a:gd name="connsiteY8787" fmla="*/ 253278 h 6479439"/>
                <a:gd name="connsiteX8788" fmla="*/ 9103722 w 9586368"/>
                <a:gd name="connsiteY8788" fmla="*/ 257317 h 6479439"/>
                <a:gd name="connsiteX8789" fmla="*/ 9093811 w 9586368"/>
                <a:gd name="connsiteY8789" fmla="*/ 257317 h 6479439"/>
                <a:gd name="connsiteX8790" fmla="*/ 9089792 w 9586368"/>
                <a:gd name="connsiteY8790" fmla="*/ 253278 h 6479439"/>
                <a:gd name="connsiteX8791" fmla="*/ 9089792 w 9586368"/>
                <a:gd name="connsiteY8791" fmla="*/ 243407 h 6479439"/>
                <a:gd name="connsiteX8792" fmla="*/ 8854496 w 9586368"/>
                <a:gd name="connsiteY8792" fmla="*/ 239369 h 6479439"/>
                <a:gd name="connsiteX8793" fmla="*/ 8864407 w 9586368"/>
                <a:gd name="connsiteY8793" fmla="*/ 239369 h 6479439"/>
                <a:gd name="connsiteX8794" fmla="*/ 8868426 w 9586368"/>
                <a:gd name="connsiteY8794" fmla="*/ 243407 h 6479439"/>
                <a:gd name="connsiteX8795" fmla="*/ 8868426 w 9586368"/>
                <a:gd name="connsiteY8795" fmla="*/ 253278 h 6479439"/>
                <a:gd name="connsiteX8796" fmla="*/ 8864407 w 9586368"/>
                <a:gd name="connsiteY8796" fmla="*/ 257317 h 6479439"/>
                <a:gd name="connsiteX8797" fmla="*/ 8854496 w 9586368"/>
                <a:gd name="connsiteY8797" fmla="*/ 257317 h 6479439"/>
                <a:gd name="connsiteX8798" fmla="*/ 8850477 w 9586368"/>
                <a:gd name="connsiteY8798" fmla="*/ 253278 h 6479439"/>
                <a:gd name="connsiteX8799" fmla="*/ 8850477 w 9586368"/>
                <a:gd name="connsiteY8799" fmla="*/ 243407 h 6479439"/>
                <a:gd name="connsiteX8800" fmla="*/ 1918515 w 9586368"/>
                <a:gd name="connsiteY8800" fmla="*/ 239361 h 6479439"/>
                <a:gd name="connsiteX8801" fmla="*/ 1928425 w 9586368"/>
                <a:gd name="connsiteY8801" fmla="*/ 239361 h 6479439"/>
                <a:gd name="connsiteX8802" fmla="*/ 1932444 w 9586368"/>
                <a:gd name="connsiteY8802" fmla="*/ 243400 h 6479439"/>
                <a:gd name="connsiteX8803" fmla="*/ 1932444 w 9586368"/>
                <a:gd name="connsiteY8803" fmla="*/ 253271 h 6479439"/>
                <a:gd name="connsiteX8804" fmla="*/ 1928425 w 9586368"/>
                <a:gd name="connsiteY8804" fmla="*/ 257310 h 6479439"/>
                <a:gd name="connsiteX8805" fmla="*/ 1918515 w 9586368"/>
                <a:gd name="connsiteY8805" fmla="*/ 257310 h 6479439"/>
                <a:gd name="connsiteX8806" fmla="*/ 1914495 w 9586368"/>
                <a:gd name="connsiteY8806" fmla="*/ 253271 h 6479439"/>
                <a:gd name="connsiteX8807" fmla="*/ 1914495 w 9586368"/>
                <a:gd name="connsiteY8807" fmla="*/ 243400 h 6479439"/>
                <a:gd name="connsiteX8808" fmla="*/ 2157824 w 9586368"/>
                <a:gd name="connsiteY8808" fmla="*/ 239359 h 6479439"/>
                <a:gd name="connsiteX8809" fmla="*/ 2167734 w 9586368"/>
                <a:gd name="connsiteY8809" fmla="*/ 239359 h 6479439"/>
                <a:gd name="connsiteX8810" fmla="*/ 2171753 w 9586368"/>
                <a:gd name="connsiteY8810" fmla="*/ 243397 h 6479439"/>
                <a:gd name="connsiteX8811" fmla="*/ 2171753 w 9586368"/>
                <a:gd name="connsiteY8811" fmla="*/ 253268 h 6479439"/>
                <a:gd name="connsiteX8812" fmla="*/ 2167734 w 9586368"/>
                <a:gd name="connsiteY8812" fmla="*/ 257307 h 6479439"/>
                <a:gd name="connsiteX8813" fmla="*/ 2157824 w 9586368"/>
                <a:gd name="connsiteY8813" fmla="*/ 257307 h 6479439"/>
                <a:gd name="connsiteX8814" fmla="*/ 2153804 w 9586368"/>
                <a:gd name="connsiteY8814" fmla="*/ 253268 h 6479439"/>
                <a:gd name="connsiteX8815" fmla="*/ 2153804 w 9586368"/>
                <a:gd name="connsiteY8815" fmla="*/ 243397 h 6479439"/>
                <a:gd name="connsiteX8816" fmla="*/ 9572438 w 9586368"/>
                <a:gd name="connsiteY8816" fmla="*/ 239357 h 6479439"/>
                <a:gd name="connsiteX8817" fmla="*/ 9582349 w 9586368"/>
                <a:gd name="connsiteY8817" fmla="*/ 239357 h 6479439"/>
                <a:gd name="connsiteX8818" fmla="*/ 9586368 w 9586368"/>
                <a:gd name="connsiteY8818" fmla="*/ 243395 h 6479439"/>
                <a:gd name="connsiteX8819" fmla="*/ 9586368 w 9586368"/>
                <a:gd name="connsiteY8819" fmla="*/ 253267 h 6479439"/>
                <a:gd name="connsiteX8820" fmla="*/ 9582349 w 9586368"/>
                <a:gd name="connsiteY8820" fmla="*/ 257306 h 6479439"/>
                <a:gd name="connsiteX8821" fmla="*/ 9572438 w 9586368"/>
                <a:gd name="connsiteY8821" fmla="*/ 257306 h 6479439"/>
                <a:gd name="connsiteX8822" fmla="*/ 9568419 w 9586368"/>
                <a:gd name="connsiteY8822" fmla="*/ 253267 h 6479439"/>
                <a:gd name="connsiteX8823" fmla="*/ 9568419 w 9586368"/>
                <a:gd name="connsiteY8823" fmla="*/ 243395 h 6479439"/>
                <a:gd name="connsiteX8824" fmla="*/ 721976 w 9586368"/>
                <a:gd name="connsiteY8824" fmla="*/ 239330 h 6479439"/>
                <a:gd name="connsiteX8825" fmla="*/ 731887 w 9586368"/>
                <a:gd name="connsiteY8825" fmla="*/ 239330 h 6479439"/>
                <a:gd name="connsiteX8826" fmla="*/ 735906 w 9586368"/>
                <a:gd name="connsiteY8826" fmla="*/ 243368 h 6479439"/>
                <a:gd name="connsiteX8827" fmla="*/ 735906 w 9586368"/>
                <a:gd name="connsiteY8827" fmla="*/ 253239 h 6479439"/>
                <a:gd name="connsiteX8828" fmla="*/ 731887 w 9586368"/>
                <a:gd name="connsiteY8828" fmla="*/ 257278 h 6479439"/>
                <a:gd name="connsiteX8829" fmla="*/ 721976 w 9586368"/>
                <a:gd name="connsiteY8829" fmla="*/ 257278 h 6479439"/>
                <a:gd name="connsiteX8830" fmla="*/ 717958 w 9586368"/>
                <a:gd name="connsiteY8830" fmla="*/ 253239 h 6479439"/>
                <a:gd name="connsiteX8831" fmla="*/ 717958 w 9586368"/>
                <a:gd name="connsiteY8831" fmla="*/ 243368 h 6479439"/>
                <a:gd name="connsiteX8832" fmla="*/ 482664 w 9586368"/>
                <a:gd name="connsiteY8832" fmla="*/ 239330 h 6479439"/>
                <a:gd name="connsiteX8833" fmla="*/ 492575 w 9586368"/>
                <a:gd name="connsiteY8833" fmla="*/ 239330 h 6479439"/>
                <a:gd name="connsiteX8834" fmla="*/ 496594 w 9586368"/>
                <a:gd name="connsiteY8834" fmla="*/ 243368 h 6479439"/>
                <a:gd name="connsiteX8835" fmla="*/ 496594 w 9586368"/>
                <a:gd name="connsiteY8835" fmla="*/ 253239 h 6479439"/>
                <a:gd name="connsiteX8836" fmla="*/ 492575 w 9586368"/>
                <a:gd name="connsiteY8836" fmla="*/ 257278 h 6479439"/>
                <a:gd name="connsiteX8837" fmla="*/ 482664 w 9586368"/>
                <a:gd name="connsiteY8837" fmla="*/ 257278 h 6479439"/>
                <a:gd name="connsiteX8838" fmla="*/ 478645 w 9586368"/>
                <a:gd name="connsiteY8838" fmla="*/ 253239 h 6479439"/>
                <a:gd name="connsiteX8839" fmla="*/ 478645 w 9586368"/>
                <a:gd name="connsiteY8839" fmla="*/ 243368 h 6479439"/>
                <a:gd name="connsiteX8840" fmla="*/ 243350 w 9586368"/>
                <a:gd name="connsiteY8840" fmla="*/ 239330 h 6479439"/>
                <a:gd name="connsiteX8841" fmla="*/ 253261 w 9586368"/>
                <a:gd name="connsiteY8841" fmla="*/ 239330 h 6479439"/>
                <a:gd name="connsiteX8842" fmla="*/ 257280 w 9586368"/>
                <a:gd name="connsiteY8842" fmla="*/ 243368 h 6479439"/>
                <a:gd name="connsiteX8843" fmla="*/ 257280 w 9586368"/>
                <a:gd name="connsiteY8843" fmla="*/ 253239 h 6479439"/>
                <a:gd name="connsiteX8844" fmla="*/ 253261 w 9586368"/>
                <a:gd name="connsiteY8844" fmla="*/ 257278 h 6479439"/>
                <a:gd name="connsiteX8845" fmla="*/ 243350 w 9586368"/>
                <a:gd name="connsiteY8845" fmla="*/ 257278 h 6479439"/>
                <a:gd name="connsiteX8846" fmla="*/ 239332 w 9586368"/>
                <a:gd name="connsiteY8846" fmla="*/ 253239 h 6479439"/>
                <a:gd name="connsiteX8847" fmla="*/ 239332 w 9586368"/>
                <a:gd name="connsiteY8847" fmla="*/ 243368 h 6479439"/>
                <a:gd name="connsiteX8848" fmla="*/ 4037 w 9586368"/>
                <a:gd name="connsiteY8848" fmla="*/ 239330 h 6479439"/>
                <a:gd name="connsiteX8849" fmla="*/ 13948 w 9586368"/>
                <a:gd name="connsiteY8849" fmla="*/ 239330 h 6479439"/>
                <a:gd name="connsiteX8850" fmla="*/ 17967 w 9586368"/>
                <a:gd name="connsiteY8850" fmla="*/ 243368 h 6479439"/>
                <a:gd name="connsiteX8851" fmla="*/ 17967 w 9586368"/>
                <a:gd name="connsiteY8851" fmla="*/ 253239 h 6479439"/>
                <a:gd name="connsiteX8852" fmla="*/ 13948 w 9586368"/>
                <a:gd name="connsiteY8852" fmla="*/ 257278 h 6479439"/>
                <a:gd name="connsiteX8853" fmla="*/ 4037 w 9586368"/>
                <a:gd name="connsiteY8853" fmla="*/ 257278 h 6479439"/>
                <a:gd name="connsiteX8854" fmla="*/ 18 w 9586368"/>
                <a:gd name="connsiteY8854" fmla="*/ 253239 h 6479439"/>
                <a:gd name="connsiteX8855" fmla="*/ 18 w 9586368"/>
                <a:gd name="connsiteY8855" fmla="*/ 243368 h 6479439"/>
                <a:gd name="connsiteX8856" fmla="*/ 3111048 w 9586368"/>
                <a:gd name="connsiteY8856" fmla="*/ 106 h 6479439"/>
                <a:gd name="connsiteX8857" fmla="*/ 3120959 w 9586368"/>
                <a:gd name="connsiteY8857" fmla="*/ 106 h 6479439"/>
                <a:gd name="connsiteX8858" fmla="*/ 3124977 w 9586368"/>
                <a:gd name="connsiteY8858" fmla="*/ 4144 h 6479439"/>
                <a:gd name="connsiteX8859" fmla="*/ 3124977 w 9586368"/>
                <a:gd name="connsiteY8859" fmla="*/ 14015 h 6479439"/>
                <a:gd name="connsiteX8860" fmla="*/ 3120959 w 9586368"/>
                <a:gd name="connsiteY8860" fmla="*/ 18054 h 6479439"/>
                <a:gd name="connsiteX8861" fmla="*/ 3111048 w 9586368"/>
                <a:gd name="connsiteY8861" fmla="*/ 18054 h 6479439"/>
                <a:gd name="connsiteX8862" fmla="*/ 3107029 w 9586368"/>
                <a:gd name="connsiteY8862" fmla="*/ 14015 h 6479439"/>
                <a:gd name="connsiteX8863" fmla="*/ 3107029 w 9586368"/>
                <a:gd name="connsiteY8863" fmla="*/ 4144 h 6479439"/>
                <a:gd name="connsiteX8864" fmla="*/ 2871737 w 9586368"/>
                <a:gd name="connsiteY8864" fmla="*/ 106 h 6479439"/>
                <a:gd name="connsiteX8865" fmla="*/ 2881646 w 9586368"/>
                <a:gd name="connsiteY8865" fmla="*/ 106 h 6479439"/>
                <a:gd name="connsiteX8866" fmla="*/ 2885666 w 9586368"/>
                <a:gd name="connsiteY8866" fmla="*/ 4145 h 6479439"/>
                <a:gd name="connsiteX8867" fmla="*/ 2885666 w 9586368"/>
                <a:gd name="connsiteY8867" fmla="*/ 14015 h 6479439"/>
                <a:gd name="connsiteX8868" fmla="*/ 2881646 w 9586368"/>
                <a:gd name="connsiteY8868" fmla="*/ 18054 h 6479439"/>
                <a:gd name="connsiteX8869" fmla="*/ 2871737 w 9586368"/>
                <a:gd name="connsiteY8869" fmla="*/ 18054 h 6479439"/>
                <a:gd name="connsiteX8870" fmla="*/ 2867717 w 9586368"/>
                <a:gd name="connsiteY8870" fmla="*/ 14015 h 6479439"/>
                <a:gd name="connsiteX8871" fmla="*/ 2867717 w 9586368"/>
                <a:gd name="connsiteY8871" fmla="*/ 4145 h 6479439"/>
                <a:gd name="connsiteX8872" fmla="*/ 2632423 w 9586368"/>
                <a:gd name="connsiteY8872" fmla="*/ 106 h 6479439"/>
                <a:gd name="connsiteX8873" fmla="*/ 2642334 w 9586368"/>
                <a:gd name="connsiteY8873" fmla="*/ 106 h 6479439"/>
                <a:gd name="connsiteX8874" fmla="*/ 2646352 w 9586368"/>
                <a:gd name="connsiteY8874" fmla="*/ 4145 h 6479439"/>
                <a:gd name="connsiteX8875" fmla="*/ 2646352 w 9586368"/>
                <a:gd name="connsiteY8875" fmla="*/ 14016 h 6479439"/>
                <a:gd name="connsiteX8876" fmla="*/ 2642334 w 9586368"/>
                <a:gd name="connsiteY8876" fmla="*/ 18055 h 6479439"/>
                <a:gd name="connsiteX8877" fmla="*/ 2632423 w 9586368"/>
                <a:gd name="connsiteY8877" fmla="*/ 18055 h 6479439"/>
                <a:gd name="connsiteX8878" fmla="*/ 2628404 w 9586368"/>
                <a:gd name="connsiteY8878" fmla="*/ 14016 h 6479439"/>
                <a:gd name="connsiteX8879" fmla="*/ 2628404 w 9586368"/>
                <a:gd name="connsiteY8879" fmla="*/ 4145 h 6479439"/>
                <a:gd name="connsiteX8880" fmla="*/ 2393104 w 9586368"/>
                <a:gd name="connsiteY8880" fmla="*/ 106 h 6479439"/>
                <a:gd name="connsiteX8881" fmla="*/ 2403015 w 9586368"/>
                <a:gd name="connsiteY8881" fmla="*/ 106 h 6479439"/>
                <a:gd name="connsiteX8882" fmla="*/ 2407034 w 9586368"/>
                <a:gd name="connsiteY8882" fmla="*/ 4145 h 6479439"/>
                <a:gd name="connsiteX8883" fmla="*/ 2407034 w 9586368"/>
                <a:gd name="connsiteY8883" fmla="*/ 14016 h 6479439"/>
                <a:gd name="connsiteX8884" fmla="*/ 2403015 w 9586368"/>
                <a:gd name="connsiteY8884" fmla="*/ 18055 h 6479439"/>
                <a:gd name="connsiteX8885" fmla="*/ 2393104 w 9586368"/>
                <a:gd name="connsiteY8885" fmla="*/ 18055 h 6479439"/>
                <a:gd name="connsiteX8886" fmla="*/ 2389087 w 9586368"/>
                <a:gd name="connsiteY8886" fmla="*/ 14016 h 6479439"/>
                <a:gd name="connsiteX8887" fmla="*/ 2389087 w 9586368"/>
                <a:gd name="connsiteY8887" fmla="*/ 4145 h 6479439"/>
                <a:gd name="connsiteX8888" fmla="*/ 3350359 w 9586368"/>
                <a:gd name="connsiteY8888" fmla="*/ 106 h 6479439"/>
                <a:gd name="connsiteX8889" fmla="*/ 3360268 w 9586368"/>
                <a:gd name="connsiteY8889" fmla="*/ 106 h 6479439"/>
                <a:gd name="connsiteX8890" fmla="*/ 3364287 w 9586368"/>
                <a:gd name="connsiteY8890" fmla="*/ 4144 h 6479439"/>
                <a:gd name="connsiteX8891" fmla="*/ 3364287 w 9586368"/>
                <a:gd name="connsiteY8891" fmla="*/ 14015 h 6479439"/>
                <a:gd name="connsiteX8892" fmla="*/ 3360268 w 9586368"/>
                <a:gd name="connsiteY8892" fmla="*/ 18054 h 6479439"/>
                <a:gd name="connsiteX8893" fmla="*/ 3350359 w 9586368"/>
                <a:gd name="connsiteY8893" fmla="*/ 18054 h 6479439"/>
                <a:gd name="connsiteX8894" fmla="*/ 3346340 w 9586368"/>
                <a:gd name="connsiteY8894" fmla="*/ 14015 h 6479439"/>
                <a:gd name="connsiteX8895" fmla="*/ 3346340 w 9586368"/>
                <a:gd name="connsiteY8895" fmla="*/ 4144 h 6479439"/>
                <a:gd name="connsiteX8896" fmla="*/ 4546929 w 9586368"/>
                <a:gd name="connsiteY8896" fmla="*/ 93 h 6479439"/>
                <a:gd name="connsiteX8897" fmla="*/ 4556840 w 9586368"/>
                <a:gd name="connsiteY8897" fmla="*/ 93 h 6479439"/>
                <a:gd name="connsiteX8898" fmla="*/ 4560859 w 9586368"/>
                <a:gd name="connsiteY8898" fmla="*/ 4132 h 6479439"/>
                <a:gd name="connsiteX8899" fmla="*/ 4560859 w 9586368"/>
                <a:gd name="connsiteY8899" fmla="*/ 14002 h 6479439"/>
                <a:gd name="connsiteX8900" fmla="*/ 4556840 w 9586368"/>
                <a:gd name="connsiteY8900" fmla="*/ 18041 h 6479439"/>
                <a:gd name="connsiteX8901" fmla="*/ 4546929 w 9586368"/>
                <a:gd name="connsiteY8901" fmla="*/ 18041 h 6479439"/>
                <a:gd name="connsiteX8902" fmla="*/ 4542910 w 9586368"/>
                <a:gd name="connsiteY8902" fmla="*/ 14002 h 6479439"/>
                <a:gd name="connsiteX8903" fmla="*/ 4542910 w 9586368"/>
                <a:gd name="connsiteY8903" fmla="*/ 4132 h 6479439"/>
                <a:gd name="connsiteX8904" fmla="*/ 4307612 w 9586368"/>
                <a:gd name="connsiteY8904" fmla="*/ 93 h 6479439"/>
                <a:gd name="connsiteX8905" fmla="*/ 4317523 w 9586368"/>
                <a:gd name="connsiteY8905" fmla="*/ 93 h 6479439"/>
                <a:gd name="connsiteX8906" fmla="*/ 4321543 w 9586368"/>
                <a:gd name="connsiteY8906" fmla="*/ 4132 h 6479439"/>
                <a:gd name="connsiteX8907" fmla="*/ 4321543 w 9586368"/>
                <a:gd name="connsiteY8907" fmla="*/ 14003 h 6479439"/>
                <a:gd name="connsiteX8908" fmla="*/ 4317523 w 9586368"/>
                <a:gd name="connsiteY8908" fmla="*/ 18042 h 6479439"/>
                <a:gd name="connsiteX8909" fmla="*/ 4307612 w 9586368"/>
                <a:gd name="connsiteY8909" fmla="*/ 18042 h 6479439"/>
                <a:gd name="connsiteX8910" fmla="*/ 4303595 w 9586368"/>
                <a:gd name="connsiteY8910" fmla="*/ 14003 h 6479439"/>
                <a:gd name="connsiteX8911" fmla="*/ 4303595 w 9586368"/>
                <a:gd name="connsiteY8911" fmla="*/ 4132 h 6479439"/>
                <a:gd name="connsiteX8912" fmla="*/ 4068297 w 9586368"/>
                <a:gd name="connsiteY8912" fmla="*/ 93 h 6479439"/>
                <a:gd name="connsiteX8913" fmla="*/ 4078210 w 9586368"/>
                <a:gd name="connsiteY8913" fmla="*/ 93 h 6479439"/>
                <a:gd name="connsiteX8914" fmla="*/ 4082229 w 9586368"/>
                <a:gd name="connsiteY8914" fmla="*/ 4132 h 6479439"/>
                <a:gd name="connsiteX8915" fmla="*/ 4082229 w 9586368"/>
                <a:gd name="connsiteY8915" fmla="*/ 14003 h 6479439"/>
                <a:gd name="connsiteX8916" fmla="*/ 4078210 w 9586368"/>
                <a:gd name="connsiteY8916" fmla="*/ 18042 h 6479439"/>
                <a:gd name="connsiteX8917" fmla="*/ 4068297 w 9586368"/>
                <a:gd name="connsiteY8917" fmla="*/ 18042 h 6479439"/>
                <a:gd name="connsiteX8918" fmla="*/ 4064278 w 9586368"/>
                <a:gd name="connsiteY8918" fmla="*/ 14003 h 6479439"/>
                <a:gd name="connsiteX8919" fmla="*/ 4064278 w 9586368"/>
                <a:gd name="connsiteY8919" fmla="*/ 4132 h 6479439"/>
                <a:gd name="connsiteX8920" fmla="*/ 3828990 w 9586368"/>
                <a:gd name="connsiteY8920" fmla="*/ 93 h 6479439"/>
                <a:gd name="connsiteX8921" fmla="*/ 3838899 w 9586368"/>
                <a:gd name="connsiteY8921" fmla="*/ 93 h 6479439"/>
                <a:gd name="connsiteX8922" fmla="*/ 3842917 w 9586368"/>
                <a:gd name="connsiteY8922" fmla="*/ 4132 h 6479439"/>
                <a:gd name="connsiteX8923" fmla="*/ 3842917 w 9586368"/>
                <a:gd name="connsiteY8923" fmla="*/ 14003 h 6479439"/>
                <a:gd name="connsiteX8924" fmla="*/ 3838899 w 9586368"/>
                <a:gd name="connsiteY8924" fmla="*/ 18042 h 6479439"/>
                <a:gd name="connsiteX8925" fmla="*/ 3828990 w 9586368"/>
                <a:gd name="connsiteY8925" fmla="*/ 18042 h 6479439"/>
                <a:gd name="connsiteX8926" fmla="*/ 3824971 w 9586368"/>
                <a:gd name="connsiteY8926" fmla="*/ 14003 h 6479439"/>
                <a:gd name="connsiteX8927" fmla="*/ 3824971 w 9586368"/>
                <a:gd name="connsiteY8927" fmla="*/ 4132 h 6479439"/>
                <a:gd name="connsiteX8928" fmla="*/ 3589676 w 9586368"/>
                <a:gd name="connsiteY8928" fmla="*/ 93 h 6479439"/>
                <a:gd name="connsiteX8929" fmla="*/ 3599585 w 9586368"/>
                <a:gd name="connsiteY8929" fmla="*/ 93 h 6479439"/>
                <a:gd name="connsiteX8930" fmla="*/ 3603604 w 9586368"/>
                <a:gd name="connsiteY8930" fmla="*/ 4132 h 6479439"/>
                <a:gd name="connsiteX8931" fmla="*/ 3603604 w 9586368"/>
                <a:gd name="connsiteY8931" fmla="*/ 14003 h 6479439"/>
                <a:gd name="connsiteX8932" fmla="*/ 3599585 w 9586368"/>
                <a:gd name="connsiteY8932" fmla="*/ 18042 h 6479439"/>
                <a:gd name="connsiteX8933" fmla="*/ 3589676 w 9586368"/>
                <a:gd name="connsiteY8933" fmla="*/ 18042 h 6479439"/>
                <a:gd name="connsiteX8934" fmla="*/ 3585657 w 9586368"/>
                <a:gd name="connsiteY8934" fmla="*/ 14003 h 6479439"/>
                <a:gd name="connsiteX8935" fmla="*/ 3585657 w 9586368"/>
                <a:gd name="connsiteY8935" fmla="*/ 4132 h 6479439"/>
                <a:gd name="connsiteX8936" fmla="*/ 4786241 w 9586368"/>
                <a:gd name="connsiteY8936" fmla="*/ 81 h 6479439"/>
                <a:gd name="connsiteX8937" fmla="*/ 4796152 w 9586368"/>
                <a:gd name="connsiteY8937" fmla="*/ 81 h 6479439"/>
                <a:gd name="connsiteX8938" fmla="*/ 4800171 w 9586368"/>
                <a:gd name="connsiteY8938" fmla="*/ 4119 h 6479439"/>
                <a:gd name="connsiteX8939" fmla="*/ 4800171 w 9586368"/>
                <a:gd name="connsiteY8939" fmla="*/ 13990 h 6479439"/>
                <a:gd name="connsiteX8940" fmla="*/ 4796152 w 9586368"/>
                <a:gd name="connsiteY8940" fmla="*/ 18029 h 6479439"/>
                <a:gd name="connsiteX8941" fmla="*/ 4786241 w 9586368"/>
                <a:gd name="connsiteY8941" fmla="*/ 18029 h 6479439"/>
                <a:gd name="connsiteX8942" fmla="*/ 4782224 w 9586368"/>
                <a:gd name="connsiteY8942" fmla="*/ 13990 h 6479439"/>
                <a:gd name="connsiteX8943" fmla="*/ 4782224 w 9586368"/>
                <a:gd name="connsiteY8943" fmla="*/ 4119 h 6479439"/>
                <a:gd name="connsiteX8944" fmla="*/ 5743412 w 9586368"/>
                <a:gd name="connsiteY8944" fmla="*/ 80 h 6479439"/>
                <a:gd name="connsiteX8945" fmla="*/ 5753323 w 9586368"/>
                <a:gd name="connsiteY8945" fmla="*/ 80 h 6479439"/>
                <a:gd name="connsiteX8946" fmla="*/ 5757342 w 9586368"/>
                <a:gd name="connsiteY8946" fmla="*/ 4119 h 6479439"/>
                <a:gd name="connsiteX8947" fmla="*/ 5757342 w 9586368"/>
                <a:gd name="connsiteY8947" fmla="*/ 13990 h 6479439"/>
                <a:gd name="connsiteX8948" fmla="*/ 5753323 w 9586368"/>
                <a:gd name="connsiteY8948" fmla="*/ 18029 h 6479439"/>
                <a:gd name="connsiteX8949" fmla="*/ 5743412 w 9586368"/>
                <a:gd name="connsiteY8949" fmla="*/ 18029 h 6479439"/>
                <a:gd name="connsiteX8950" fmla="*/ 5739393 w 9586368"/>
                <a:gd name="connsiteY8950" fmla="*/ 13990 h 6479439"/>
                <a:gd name="connsiteX8951" fmla="*/ 5739393 w 9586368"/>
                <a:gd name="connsiteY8951" fmla="*/ 4119 h 6479439"/>
                <a:gd name="connsiteX8952" fmla="*/ 5504099 w 9586368"/>
                <a:gd name="connsiteY8952" fmla="*/ 80 h 6479439"/>
                <a:gd name="connsiteX8953" fmla="*/ 5514010 w 9586368"/>
                <a:gd name="connsiteY8953" fmla="*/ 80 h 6479439"/>
                <a:gd name="connsiteX8954" fmla="*/ 5518029 w 9586368"/>
                <a:gd name="connsiteY8954" fmla="*/ 4119 h 6479439"/>
                <a:gd name="connsiteX8955" fmla="*/ 5518029 w 9586368"/>
                <a:gd name="connsiteY8955" fmla="*/ 13990 h 6479439"/>
                <a:gd name="connsiteX8956" fmla="*/ 5514010 w 9586368"/>
                <a:gd name="connsiteY8956" fmla="*/ 18029 h 6479439"/>
                <a:gd name="connsiteX8957" fmla="*/ 5504099 w 9586368"/>
                <a:gd name="connsiteY8957" fmla="*/ 18029 h 6479439"/>
                <a:gd name="connsiteX8958" fmla="*/ 5500080 w 9586368"/>
                <a:gd name="connsiteY8958" fmla="*/ 13990 h 6479439"/>
                <a:gd name="connsiteX8959" fmla="*/ 5500080 w 9586368"/>
                <a:gd name="connsiteY8959" fmla="*/ 4119 h 6479439"/>
                <a:gd name="connsiteX8960" fmla="*/ 5264784 w 9586368"/>
                <a:gd name="connsiteY8960" fmla="*/ 80 h 6479439"/>
                <a:gd name="connsiteX8961" fmla="*/ 5274694 w 9586368"/>
                <a:gd name="connsiteY8961" fmla="*/ 80 h 6479439"/>
                <a:gd name="connsiteX8962" fmla="*/ 5278713 w 9586368"/>
                <a:gd name="connsiteY8962" fmla="*/ 4119 h 6479439"/>
                <a:gd name="connsiteX8963" fmla="*/ 5278713 w 9586368"/>
                <a:gd name="connsiteY8963" fmla="*/ 13990 h 6479439"/>
                <a:gd name="connsiteX8964" fmla="*/ 5274694 w 9586368"/>
                <a:gd name="connsiteY8964" fmla="*/ 18029 h 6479439"/>
                <a:gd name="connsiteX8965" fmla="*/ 5264784 w 9586368"/>
                <a:gd name="connsiteY8965" fmla="*/ 18029 h 6479439"/>
                <a:gd name="connsiteX8966" fmla="*/ 5260765 w 9586368"/>
                <a:gd name="connsiteY8966" fmla="*/ 13990 h 6479439"/>
                <a:gd name="connsiteX8967" fmla="*/ 5260765 w 9586368"/>
                <a:gd name="connsiteY8967" fmla="*/ 4119 h 6479439"/>
                <a:gd name="connsiteX8968" fmla="*/ 5025470 w 9586368"/>
                <a:gd name="connsiteY8968" fmla="*/ 80 h 6479439"/>
                <a:gd name="connsiteX8969" fmla="*/ 5035381 w 9586368"/>
                <a:gd name="connsiteY8969" fmla="*/ 80 h 6479439"/>
                <a:gd name="connsiteX8970" fmla="*/ 5039400 w 9586368"/>
                <a:gd name="connsiteY8970" fmla="*/ 4119 h 6479439"/>
                <a:gd name="connsiteX8971" fmla="*/ 5039400 w 9586368"/>
                <a:gd name="connsiteY8971" fmla="*/ 13990 h 6479439"/>
                <a:gd name="connsiteX8972" fmla="*/ 5035381 w 9586368"/>
                <a:gd name="connsiteY8972" fmla="*/ 18029 h 6479439"/>
                <a:gd name="connsiteX8973" fmla="*/ 5025470 w 9586368"/>
                <a:gd name="connsiteY8973" fmla="*/ 18029 h 6479439"/>
                <a:gd name="connsiteX8974" fmla="*/ 5021451 w 9586368"/>
                <a:gd name="connsiteY8974" fmla="*/ 13990 h 6479439"/>
                <a:gd name="connsiteX8975" fmla="*/ 5021451 w 9586368"/>
                <a:gd name="connsiteY8975" fmla="*/ 4119 h 6479439"/>
                <a:gd name="connsiteX8976" fmla="*/ 6461356 w 9586368"/>
                <a:gd name="connsiteY8976" fmla="*/ 68 h 6479439"/>
                <a:gd name="connsiteX8977" fmla="*/ 6471266 w 9586368"/>
                <a:gd name="connsiteY8977" fmla="*/ 68 h 6479439"/>
                <a:gd name="connsiteX8978" fmla="*/ 6475285 w 9586368"/>
                <a:gd name="connsiteY8978" fmla="*/ 4106 h 6479439"/>
                <a:gd name="connsiteX8979" fmla="*/ 6475285 w 9586368"/>
                <a:gd name="connsiteY8979" fmla="*/ 13976 h 6479439"/>
                <a:gd name="connsiteX8980" fmla="*/ 6471266 w 9586368"/>
                <a:gd name="connsiteY8980" fmla="*/ 18015 h 6479439"/>
                <a:gd name="connsiteX8981" fmla="*/ 6461356 w 9586368"/>
                <a:gd name="connsiteY8981" fmla="*/ 18015 h 6479439"/>
                <a:gd name="connsiteX8982" fmla="*/ 6457337 w 9586368"/>
                <a:gd name="connsiteY8982" fmla="*/ 13976 h 6479439"/>
                <a:gd name="connsiteX8983" fmla="*/ 6457337 w 9586368"/>
                <a:gd name="connsiteY8983" fmla="*/ 4106 h 6479439"/>
                <a:gd name="connsiteX8984" fmla="*/ 6222042 w 9586368"/>
                <a:gd name="connsiteY8984" fmla="*/ 68 h 6479439"/>
                <a:gd name="connsiteX8985" fmla="*/ 6231952 w 9586368"/>
                <a:gd name="connsiteY8985" fmla="*/ 68 h 6479439"/>
                <a:gd name="connsiteX8986" fmla="*/ 6235971 w 9586368"/>
                <a:gd name="connsiteY8986" fmla="*/ 4106 h 6479439"/>
                <a:gd name="connsiteX8987" fmla="*/ 6235971 w 9586368"/>
                <a:gd name="connsiteY8987" fmla="*/ 13977 h 6479439"/>
                <a:gd name="connsiteX8988" fmla="*/ 6231952 w 9586368"/>
                <a:gd name="connsiteY8988" fmla="*/ 18016 h 6479439"/>
                <a:gd name="connsiteX8989" fmla="*/ 6222042 w 9586368"/>
                <a:gd name="connsiteY8989" fmla="*/ 18016 h 6479439"/>
                <a:gd name="connsiteX8990" fmla="*/ 6218023 w 9586368"/>
                <a:gd name="connsiteY8990" fmla="*/ 13977 h 6479439"/>
                <a:gd name="connsiteX8991" fmla="*/ 6218023 w 9586368"/>
                <a:gd name="connsiteY8991" fmla="*/ 4106 h 6479439"/>
                <a:gd name="connsiteX8992" fmla="*/ 5982729 w 9586368"/>
                <a:gd name="connsiteY8992" fmla="*/ 68 h 6479439"/>
                <a:gd name="connsiteX8993" fmla="*/ 5992639 w 9586368"/>
                <a:gd name="connsiteY8993" fmla="*/ 68 h 6479439"/>
                <a:gd name="connsiteX8994" fmla="*/ 5996658 w 9586368"/>
                <a:gd name="connsiteY8994" fmla="*/ 4106 h 6479439"/>
                <a:gd name="connsiteX8995" fmla="*/ 5996658 w 9586368"/>
                <a:gd name="connsiteY8995" fmla="*/ 13977 h 6479439"/>
                <a:gd name="connsiteX8996" fmla="*/ 5992639 w 9586368"/>
                <a:gd name="connsiteY8996" fmla="*/ 18016 h 6479439"/>
                <a:gd name="connsiteX8997" fmla="*/ 5982729 w 9586368"/>
                <a:gd name="connsiteY8997" fmla="*/ 18016 h 6479439"/>
                <a:gd name="connsiteX8998" fmla="*/ 5978710 w 9586368"/>
                <a:gd name="connsiteY8998" fmla="*/ 13977 h 6479439"/>
                <a:gd name="connsiteX8999" fmla="*/ 5978710 w 9586368"/>
                <a:gd name="connsiteY8999" fmla="*/ 4106 h 6479439"/>
                <a:gd name="connsiteX9000" fmla="*/ 6939983 w 9586368"/>
                <a:gd name="connsiteY9000" fmla="*/ 67 h 6479439"/>
                <a:gd name="connsiteX9001" fmla="*/ 6949894 w 9586368"/>
                <a:gd name="connsiteY9001" fmla="*/ 67 h 6479439"/>
                <a:gd name="connsiteX9002" fmla="*/ 6953913 w 9586368"/>
                <a:gd name="connsiteY9002" fmla="*/ 4105 h 6479439"/>
                <a:gd name="connsiteX9003" fmla="*/ 6953913 w 9586368"/>
                <a:gd name="connsiteY9003" fmla="*/ 13976 h 6479439"/>
                <a:gd name="connsiteX9004" fmla="*/ 6949894 w 9586368"/>
                <a:gd name="connsiteY9004" fmla="*/ 18015 h 6479439"/>
                <a:gd name="connsiteX9005" fmla="*/ 6939983 w 9586368"/>
                <a:gd name="connsiteY9005" fmla="*/ 18015 h 6479439"/>
                <a:gd name="connsiteX9006" fmla="*/ 6935964 w 9586368"/>
                <a:gd name="connsiteY9006" fmla="*/ 13976 h 6479439"/>
                <a:gd name="connsiteX9007" fmla="*/ 6935964 w 9586368"/>
                <a:gd name="connsiteY9007" fmla="*/ 4105 h 6479439"/>
                <a:gd name="connsiteX9008" fmla="*/ 6700670 w 9586368"/>
                <a:gd name="connsiteY9008" fmla="*/ 67 h 6479439"/>
                <a:gd name="connsiteX9009" fmla="*/ 6710581 w 9586368"/>
                <a:gd name="connsiteY9009" fmla="*/ 67 h 6479439"/>
                <a:gd name="connsiteX9010" fmla="*/ 6714600 w 9586368"/>
                <a:gd name="connsiteY9010" fmla="*/ 4105 h 6479439"/>
                <a:gd name="connsiteX9011" fmla="*/ 6714600 w 9586368"/>
                <a:gd name="connsiteY9011" fmla="*/ 13976 h 6479439"/>
                <a:gd name="connsiteX9012" fmla="*/ 6710581 w 9586368"/>
                <a:gd name="connsiteY9012" fmla="*/ 18015 h 6479439"/>
                <a:gd name="connsiteX9013" fmla="*/ 6700670 w 9586368"/>
                <a:gd name="connsiteY9013" fmla="*/ 18015 h 6479439"/>
                <a:gd name="connsiteX9014" fmla="*/ 6696651 w 9586368"/>
                <a:gd name="connsiteY9014" fmla="*/ 13976 h 6479439"/>
                <a:gd name="connsiteX9015" fmla="*/ 6696651 w 9586368"/>
                <a:gd name="connsiteY9015" fmla="*/ 4105 h 6479439"/>
                <a:gd name="connsiteX9016" fmla="*/ 8136553 w 9586368"/>
                <a:gd name="connsiteY9016" fmla="*/ 54 h 6479439"/>
                <a:gd name="connsiteX9017" fmla="*/ 8146464 w 9586368"/>
                <a:gd name="connsiteY9017" fmla="*/ 54 h 6479439"/>
                <a:gd name="connsiteX9018" fmla="*/ 8150483 w 9586368"/>
                <a:gd name="connsiteY9018" fmla="*/ 4093 h 6479439"/>
                <a:gd name="connsiteX9019" fmla="*/ 8150483 w 9586368"/>
                <a:gd name="connsiteY9019" fmla="*/ 13963 h 6479439"/>
                <a:gd name="connsiteX9020" fmla="*/ 8146464 w 9586368"/>
                <a:gd name="connsiteY9020" fmla="*/ 18002 h 6479439"/>
                <a:gd name="connsiteX9021" fmla="*/ 8136553 w 9586368"/>
                <a:gd name="connsiteY9021" fmla="*/ 18002 h 6479439"/>
                <a:gd name="connsiteX9022" fmla="*/ 8132534 w 9586368"/>
                <a:gd name="connsiteY9022" fmla="*/ 13963 h 6479439"/>
                <a:gd name="connsiteX9023" fmla="*/ 8132534 w 9586368"/>
                <a:gd name="connsiteY9023" fmla="*/ 4093 h 6479439"/>
                <a:gd name="connsiteX9024" fmla="*/ 7897241 w 9586368"/>
                <a:gd name="connsiteY9024" fmla="*/ 54 h 6479439"/>
                <a:gd name="connsiteX9025" fmla="*/ 7907151 w 9586368"/>
                <a:gd name="connsiteY9025" fmla="*/ 54 h 6479439"/>
                <a:gd name="connsiteX9026" fmla="*/ 7911170 w 9586368"/>
                <a:gd name="connsiteY9026" fmla="*/ 4093 h 6479439"/>
                <a:gd name="connsiteX9027" fmla="*/ 7911170 w 9586368"/>
                <a:gd name="connsiteY9027" fmla="*/ 13964 h 6479439"/>
                <a:gd name="connsiteX9028" fmla="*/ 7907151 w 9586368"/>
                <a:gd name="connsiteY9028" fmla="*/ 18003 h 6479439"/>
                <a:gd name="connsiteX9029" fmla="*/ 7897241 w 9586368"/>
                <a:gd name="connsiteY9029" fmla="*/ 18003 h 6479439"/>
                <a:gd name="connsiteX9030" fmla="*/ 7893222 w 9586368"/>
                <a:gd name="connsiteY9030" fmla="*/ 13964 h 6479439"/>
                <a:gd name="connsiteX9031" fmla="*/ 7893222 w 9586368"/>
                <a:gd name="connsiteY9031" fmla="*/ 4093 h 6479439"/>
                <a:gd name="connsiteX9032" fmla="*/ 7657926 w 9586368"/>
                <a:gd name="connsiteY9032" fmla="*/ 54 h 6479439"/>
                <a:gd name="connsiteX9033" fmla="*/ 7667836 w 9586368"/>
                <a:gd name="connsiteY9033" fmla="*/ 54 h 6479439"/>
                <a:gd name="connsiteX9034" fmla="*/ 7671855 w 9586368"/>
                <a:gd name="connsiteY9034" fmla="*/ 4093 h 6479439"/>
                <a:gd name="connsiteX9035" fmla="*/ 7671855 w 9586368"/>
                <a:gd name="connsiteY9035" fmla="*/ 13964 h 6479439"/>
                <a:gd name="connsiteX9036" fmla="*/ 7667836 w 9586368"/>
                <a:gd name="connsiteY9036" fmla="*/ 18003 h 6479439"/>
                <a:gd name="connsiteX9037" fmla="*/ 7657926 w 9586368"/>
                <a:gd name="connsiteY9037" fmla="*/ 18003 h 6479439"/>
                <a:gd name="connsiteX9038" fmla="*/ 7653906 w 9586368"/>
                <a:gd name="connsiteY9038" fmla="*/ 13964 h 6479439"/>
                <a:gd name="connsiteX9039" fmla="*/ 7653906 w 9586368"/>
                <a:gd name="connsiteY9039" fmla="*/ 4093 h 6479439"/>
                <a:gd name="connsiteX9040" fmla="*/ 7418611 w 9586368"/>
                <a:gd name="connsiteY9040" fmla="*/ 54 h 6479439"/>
                <a:gd name="connsiteX9041" fmla="*/ 7428521 w 9586368"/>
                <a:gd name="connsiteY9041" fmla="*/ 54 h 6479439"/>
                <a:gd name="connsiteX9042" fmla="*/ 7432540 w 9586368"/>
                <a:gd name="connsiteY9042" fmla="*/ 4093 h 6479439"/>
                <a:gd name="connsiteX9043" fmla="*/ 7432540 w 9586368"/>
                <a:gd name="connsiteY9043" fmla="*/ 13964 h 6479439"/>
                <a:gd name="connsiteX9044" fmla="*/ 7428521 w 9586368"/>
                <a:gd name="connsiteY9044" fmla="*/ 18003 h 6479439"/>
                <a:gd name="connsiteX9045" fmla="*/ 7418611 w 9586368"/>
                <a:gd name="connsiteY9045" fmla="*/ 18003 h 6479439"/>
                <a:gd name="connsiteX9046" fmla="*/ 7414592 w 9586368"/>
                <a:gd name="connsiteY9046" fmla="*/ 13964 h 6479439"/>
                <a:gd name="connsiteX9047" fmla="*/ 7414592 w 9586368"/>
                <a:gd name="connsiteY9047" fmla="*/ 4093 h 6479439"/>
                <a:gd name="connsiteX9048" fmla="*/ 7179298 w 9586368"/>
                <a:gd name="connsiteY9048" fmla="*/ 54 h 6479439"/>
                <a:gd name="connsiteX9049" fmla="*/ 7189209 w 9586368"/>
                <a:gd name="connsiteY9049" fmla="*/ 54 h 6479439"/>
                <a:gd name="connsiteX9050" fmla="*/ 7193228 w 9586368"/>
                <a:gd name="connsiteY9050" fmla="*/ 4093 h 6479439"/>
                <a:gd name="connsiteX9051" fmla="*/ 7193228 w 9586368"/>
                <a:gd name="connsiteY9051" fmla="*/ 13964 h 6479439"/>
                <a:gd name="connsiteX9052" fmla="*/ 7189209 w 9586368"/>
                <a:gd name="connsiteY9052" fmla="*/ 18003 h 6479439"/>
                <a:gd name="connsiteX9053" fmla="*/ 7179298 w 9586368"/>
                <a:gd name="connsiteY9053" fmla="*/ 18003 h 6479439"/>
                <a:gd name="connsiteX9054" fmla="*/ 7175279 w 9586368"/>
                <a:gd name="connsiteY9054" fmla="*/ 13964 h 6479439"/>
                <a:gd name="connsiteX9055" fmla="*/ 7175279 w 9586368"/>
                <a:gd name="connsiteY9055" fmla="*/ 4093 h 6479439"/>
                <a:gd name="connsiteX9056" fmla="*/ 8375869 w 9586368"/>
                <a:gd name="connsiteY9056" fmla="*/ 42 h 6479439"/>
                <a:gd name="connsiteX9057" fmla="*/ 8385779 w 9586368"/>
                <a:gd name="connsiteY9057" fmla="*/ 42 h 6479439"/>
                <a:gd name="connsiteX9058" fmla="*/ 8389799 w 9586368"/>
                <a:gd name="connsiteY9058" fmla="*/ 4080 h 6479439"/>
                <a:gd name="connsiteX9059" fmla="*/ 8389799 w 9586368"/>
                <a:gd name="connsiteY9059" fmla="*/ 13951 h 6479439"/>
                <a:gd name="connsiteX9060" fmla="*/ 8385779 w 9586368"/>
                <a:gd name="connsiteY9060" fmla="*/ 17990 h 6479439"/>
                <a:gd name="connsiteX9061" fmla="*/ 8375869 w 9586368"/>
                <a:gd name="connsiteY9061" fmla="*/ 17990 h 6479439"/>
                <a:gd name="connsiteX9062" fmla="*/ 8371850 w 9586368"/>
                <a:gd name="connsiteY9062" fmla="*/ 13951 h 6479439"/>
                <a:gd name="connsiteX9063" fmla="*/ 8371850 w 9586368"/>
                <a:gd name="connsiteY9063" fmla="*/ 4080 h 6479439"/>
                <a:gd name="connsiteX9064" fmla="*/ 9333125 w 9586368"/>
                <a:gd name="connsiteY9064" fmla="*/ 41 h 6479439"/>
                <a:gd name="connsiteX9065" fmla="*/ 9343036 w 9586368"/>
                <a:gd name="connsiteY9065" fmla="*/ 41 h 6479439"/>
                <a:gd name="connsiteX9066" fmla="*/ 9347055 w 9586368"/>
                <a:gd name="connsiteY9066" fmla="*/ 4080 h 6479439"/>
                <a:gd name="connsiteX9067" fmla="*/ 9347055 w 9586368"/>
                <a:gd name="connsiteY9067" fmla="*/ 13951 h 6479439"/>
                <a:gd name="connsiteX9068" fmla="*/ 9343036 w 9586368"/>
                <a:gd name="connsiteY9068" fmla="*/ 17990 h 6479439"/>
                <a:gd name="connsiteX9069" fmla="*/ 9333125 w 9586368"/>
                <a:gd name="connsiteY9069" fmla="*/ 17990 h 6479439"/>
                <a:gd name="connsiteX9070" fmla="*/ 9329106 w 9586368"/>
                <a:gd name="connsiteY9070" fmla="*/ 13951 h 6479439"/>
                <a:gd name="connsiteX9071" fmla="*/ 9329106 w 9586368"/>
                <a:gd name="connsiteY9071" fmla="*/ 4080 h 6479439"/>
                <a:gd name="connsiteX9072" fmla="*/ 9093811 w 9586368"/>
                <a:gd name="connsiteY9072" fmla="*/ 41 h 6479439"/>
                <a:gd name="connsiteX9073" fmla="*/ 9103722 w 9586368"/>
                <a:gd name="connsiteY9073" fmla="*/ 41 h 6479439"/>
                <a:gd name="connsiteX9074" fmla="*/ 9107741 w 9586368"/>
                <a:gd name="connsiteY9074" fmla="*/ 4080 h 6479439"/>
                <a:gd name="connsiteX9075" fmla="*/ 9107741 w 9586368"/>
                <a:gd name="connsiteY9075" fmla="*/ 13951 h 6479439"/>
                <a:gd name="connsiteX9076" fmla="*/ 9103722 w 9586368"/>
                <a:gd name="connsiteY9076" fmla="*/ 17990 h 6479439"/>
                <a:gd name="connsiteX9077" fmla="*/ 9093811 w 9586368"/>
                <a:gd name="connsiteY9077" fmla="*/ 17990 h 6479439"/>
                <a:gd name="connsiteX9078" fmla="*/ 9089792 w 9586368"/>
                <a:gd name="connsiteY9078" fmla="*/ 13951 h 6479439"/>
                <a:gd name="connsiteX9079" fmla="*/ 9089792 w 9586368"/>
                <a:gd name="connsiteY9079" fmla="*/ 4080 h 6479439"/>
                <a:gd name="connsiteX9080" fmla="*/ 8854496 w 9586368"/>
                <a:gd name="connsiteY9080" fmla="*/ 41 h 6479439"/>
                <a:gd name="connsiteX9081" fmla="*/ 8864407 w 9586368"/>
                <a:gd name="connsiteY9081" fmla="*/ 41 h 6479439"/>
                <a:gd name="connsiteX9082" fmla="*/ 8868426 w 9586368"/>
                <a:gd name="connsiteY9082" fmla="*/ 4080 h 6479439"/>
                <a:gd name="connsiteX9083" fmla="*/ 8868426 w 9586368"/>
                <a:gd name="connsiteY9083" fmla="*/ 13951 h 6479439"/>
                <a:gd name="connsiteX9084" fmla="*/ 8864407 w 9586368"/>
                <a:gd name="connsiteY9084" fmla="*/ 17990 h 6479439"/>
                <a:gd name="connsiteX9085" fmla="*/ 8854496 w 9586368"/>
                <a:gd name="connsiteY9085" fmla="*/ 17990 h 6479439"/>
                <a:gd name="connsiteX9086" fmla="*/ 8850477 w 9586368"/>
                <a:gd name="connsiteY9086" fmla="*/ 13951 h 6479439"/>
                <a:gd name="connsiteX9087" fmla="*/ 8850477 w 9586368"/>
                <a:gd name="connsiteY9087" fmla="*/ 4080 h 6479439"/>
                <a:gd name="connsiteX9088" fmla="*/ 8615184 w 9586368"/>
                <a:gd name="connsiteY9088" fmla="*/ 41 h 6479439"/>
                <a:gd name="connsiteX9089" fmla="*/ 8625095 w 9586368"/>
                <a:gd name="connsiteY9089" fmla="*/ 41 h 6479439"/>
                <a:gd name="connsiteX9090" fmla="*/ 8629114 w 9586368"/>
                <a:gd name="connsiteY9090" fmla="*/ 4080 h 6479439"/>
                <a:gd name="connsiteX9091" fmla="*/ 8629114 w 9586368"/>
                <a:gd name="connsiteY9091" fmla="*/ 13951 h 6479439"/>
                <a:gd name="connsiteX9092" fmla="*/ 8625095 w 9586368"/>
                <a:gd name="connsiteY9092" fmla="*/ 17990 h 6479439"/>
                <a:gd name="connsiteX9093" fmla="*/ 8615184 w 9586368"/>
                <a:gd name="connsiteY9093" fmla="*/ 17990 h 6479439"/>
                <a:gd name="connsiteX9094" fmla="*/ 8611165 w 9586368"/>
                <a:gd name="connsiteY9094" fmla="*/ 13951 h 6479439"/>
                <a:gd name="connsiteX9095" fmla="*/ 8611165 w 9586368"/>
                <a:gd name="connsiteY9095" fmla="*/ 4080 h 6479439"/>
                <a:gd name="connsiteX9096" fmla="*/ 961275 w 9586368"/>
                <a:gd name="connsiteY9096" fmla="*/ 41 h 6479439"/>
                <a:gd name="connsiteX9097" fmla="*/ 971184 w 9586368"/>
                <a:gd name="connsiteY9097" fmla="*/ 41 h 6479439"/>
                <a:gd name="connsiteX9098" fmla="*/ 975204 w 9586368"/>
                <a:gd name="connsiteY9098" fmla="*/ 4080 h 6479439"/>
                <a:gd name="connsiteX9099" fmla="*/ 975204 w 9586368"/>
                <a:gd name="connsiteY9099" fmla="*/ 13951 h 6479439"/>
                <a:gd name="connsiteX9100" fmla="*/ 971184 w 9586368"/>
                <a:gd name="connsiteY9100" fmla="*/ 17990 h 6479439"/>
                <a:gd name="connsiteX9101" fmla="*/ 961275 w 9586368"/>
                <a:gd name="connsiteY9101" fmla="*/ 17990 h 6479439"/>
                <a:gd name="connsiteX9102" fmla="*/ 957256 w 9586368"/>
                <a:gd name="connsiteY9102" fmla="*/ 13951 h 6479439"/>
                <a:gd name="connsiteX9103" fmla="*/ 957256 w 9586368"/>
                <a:gd name="connsiteY9103" fmla="*/ 4080 h 6479439"/>
                <a:gd name="connsiteX9104" fmla="*/ 1679221 w 9586368"/>
                <a:gd name="connsiteY9104" fmla="*/ 41 h 6479439"/>
                <a:gd name="connsiteX9105" fmla="*/ 1689131 w 9586368"/>
                <a:gd name="connsiteY9105" fmla="*/ 41 h 6479439"/>
                <a:gd name="connsiteX9106" fmla="*/ 1693151 w 9586368"/>
                <a:gd name="connsiteY9106" fmla="*/ 4079 h 6479439"/>
                <a:gd name="connsiteX9107" fmla="*/ 1693151 w 9586368"/>
                <a:gd name="connsiteY9107" fmla="*/ 13950 h 6479439"/>
                <a:gd name="connsiteX9108" fmla="*/ 1689131 w 9586368"/>
                <a:gd name="connsiteY9108" fmla="*/ 17989 h 6479439"/>
                <a:gd name="connsiteX9109" fmla="*/ 1679221 w 9586368"/>
                <a:gd name="connsiteY9109" fmla="*/ 17989 h 6479439"/>
                <a:gd name="connsiteX9110" fmla="*/ 1675203 w 9586368"/>
                <a:gd name="connsiteY9110" fmla="*/ 13950 h 6479439"/>
                <a:gd name="connsiteX9111" fmla="*/ 1675203 w 9586368"/>
                <a:gd name="connsiteY9111" fmla="*/ 4079 h 6479439"/>
                <a:gd name="connsiteX9112" fmla="*/ 1439904 w 9586368"/>
                <a:gd name="connsiteY9112" fmla="*/ 41 h 6479439"/>
                <a:gd name="connsiteX9113" fmla="*/ 1449813 w 9586368"/>
                <a:gd name="connsiteY9113" fmla="*/ 41 h 6479439"/>
                <a:gd name="connsiteX9114" fmla="*/ 1453833 w 9586368"/>
                <a:gd name="connsiteY9114" fmla="*/ 4079 h 6479439"/>
                <a:gd name="connsiteX9115" fmla="*/ 1453833 w 9586368"/>
                <a:gd name="connsiteY9115" fmla="*/ 13950 h 6479439"/>
                <a:gd name="connsiteX9116" fmla="*/ 1449813 w 9586368"/>
                <a:gd name="connsiteY9116" fmla="*/ 17989 h 6479439"/>
                <a:gd name="connsiteX9117" fmla="*/ 1439904 w 9586368"/>
                <a:gd name="connsiteY9117" fmla="*/ 17989 h 6479439"/>
                <a:gd name="connsiteX9118" fmla="*/ 1435885 w 9586368"/>
                <a:gd name="connsiteY9118" fmla="*/ 13950 h 6479439"/>
                <a:gd name="connsiteX9119" fmla="*/ 1435885 w 9586368"/>
                <a:gd name="connsiteY9119" fmla="*/ 4079 h 6479439"/>
                <a:gd name="connsiteX9120" fmla="*/ 1200587 w 9586368"/>
                <a:gd name="connsiteY9120" fmla="*/ 41 h 6479439"/>
                <a:gd name="connsiteX9121" fmla="*/ 1210497 w 9586368"/>
                <a:gd name="connsiteY9121" fmla="*/ 41 h 6479439"/>
                <a:gd name="connsiteX9122" fmla="*/ 1214516 w 9586368"/>
                <a:gd name="connsiteY9122" fmla="*/ 4080 h 6479439"/>
                <a:gd name="connsiteX9123" fmla="*/ 1214516 w 9586368"/>
                <a:gd name="connsiteY9123" fmla="*/ 13951 h 6479439"/>
                <a:gd name="connsiteX9124" fmla="*/ 1210497 w 9586368"/>
                <a:gd name="connsiteY9124" fmla="*/ 17989 h 6479439"/>
                <a:gd name="connsiteX9125" fmla="*/ 1200587 w 9586368"/>
                <a:gd name="connsiteY9125" fmla="*/ 17989 h 6479439"/>
                <a:gd name="connsiteX9126" fmla="*/ 1196568 w 9586368"/>
                <a:gd name="connsiteY9126" fmla="*/ 13951 h 6479439"/>
                <a:gd name="connsiteX9127" fmla="*/ 1196568 w 9586368"/>
                <a:gd name="connsiteY9127" fmla="*/ 4080 h 6479439"/>
                <a:gd name="connsiteX9128" fmla="*/ 1918515 w 9586368"/>
                <a:gd name="connsiteY9128" fmla="*/ 31 h 6479439"/>
                <a:gd name="connsiteX9129" fmla="*/ 1928425 w 9586368"/>
                <a:gd name="connsiteY9129" fmla="*/ 31 h 6479439"/>
                <a:gd name="connsiteX9130" fmla="*/ 1932444 w 9586368"/>
                <a:gd name="connsiteY9130" fmla="*/ 4069 h 6479439"/>
                <a:gd name="connsiteX9131" fmla="*/ 1932444 w 9586368"/>
                <a:gd name="connsiteY9131" fmla="*/ 13940 h 6479439"/>
                <a:gd name="connsiteX9132" fmla="*/ 1928425 w 9586368"/>
                <a:gd name="connsiteY9132" fmla="*/ 17979 h 6479439"/>
                <a:gd name="connsiteX9133" fmla="*/ 1918515 w 9586368"/>
                <a:gd name="connsiteY9133" fmla="*/ 17979 h 6479439"/>
                <a:gd name="connsiteX9134" fmla="*/ 1914497 w 9586368"/>
                <a:gd name="connsiteY9134" fmla="*/ 13940 h 6479439"/>
                <a:gd name="connsiteX9135" fmla="*/ 1914497 w 9586368"/>
                <a:gd name="connsiteY9135" fmla="*/ 4069 h 6479439"/>
                <a:gd name="connsiteX9136" fmla="*/ 9572438 w 9586368"/>
                <a:gd name="connsiteY9136" fmla="*/ 29 h 6479439"/>
                <a:gd name="connsiteX9137" fmla="*/ 9582349 w 9586368"/>
                <a:gd name="connsiteY9137" fmla="*/ 29 h 6479439"/>
                <a:gd name="connsiteX9138" fmla="*/ 9586368 w 9586368"/>
                <a:gd name="connsiteY9138" fmla="*/ 4067 h 6479439"/>
                <a:gd name="connsiteX9139" fmla="*/ 9586368 w 9586368"/>
                <a:gd name="connsiteY9139" fmla="*/ 13938 h 6479439"/>
                <a:gd name="connsiteX9140" fmla="*/ 9582349 w 9586368"/>
                <a:gd name="connsiteY9140" fmla="*/ 17977 h 6479439"/>
                <a:gd name="connsiteX9141" fmla="*/ 9572438 w 9586368"/>
                <a:gd name="connsiteY9141" fmla="*/ 17977 h 6479439"/>
                <a:gd name="connsiteX9142" fmla="*/ 9568419 w 9586368"/>
                <a:gd name="connsiteY9142" fmla="*/ 13938 h 6479439"/>
                <a:gd name="connsiteX9143" fmla="*/ 9568419 w 9586368"/>
                <a:gd name="connsiteY9143" fmla="*/ 4067 h 6479439"/>
                <a:gd name="connsiteX9144" fmla="*/ 2157824 w 9586368"/>
                <a:gd name="connsiteY9144" fmla="*/ 28 h 6479439"/>
                <a:gd name="connsiteX9145" fmla="*/ 2167734 w 9586368"/>
                <a:gd name="connsiteY9145" fmla="*/ 28 h 6479439"/>
                <a:gd name="connsiteX9146" fmla="*/ 2171753 w 9586368"/>
                <a:gd name="connsiteY9146" fmla="*/ 4067 h 6479439"/>
                <a:gd name="connsiteX9147" fmla="*/ 2171753 w 9586368"/>
                <a:gd name="connsiteY9147" fmla="*/ 13938 h 6479439"/>
                <a:gd name="connsiteX9148" fmla="*/ 2167734 w 9586368"/>
                <a:gd name="connsiteY9148" fmla="*/ 17977 h 6479439"/>
                <a:gd name="connsiteX9149" fmla="*/ 2157824 w 9586368"/>
                <a:gd name="connsiteY9149" fmla="*/ 17977 h 6479439"/>
                <a:gd name="connsiteX9150" fmla="*/ 2153804 w 9586368"/>
                <a:gd name="connsiteY9150" fmla="*/ 13938 h 6479439"/>
                <a:gd name="connsiteX9151" fmla="*/ 2153804 w 9586368"/>
                <a:gd name="connsiteY9151" fmla="*/ 4067 h 6479439"/>
                <a:gd name="connsiteX9152" fmla="*/ 721977 w 9586368"/>
                <a:gd name="connsiteY9152" fmla="*/ 0 h 6479439"/>
                <a:gd name="connsiteX9153" fmla="*/ 731887 w 9586368"/>
                <a:gd name="connsiteY9153" fmla="*/ 0 h 6479439"/>
                <a:gd name="connsiteX9154" fmla="*/ 735906 w 9586368"/>
                <a:gd name="connsiteY9154" fmla="*/ 4039 h 6479439"/>
                <a:gd name="connsiteX9155" fmla="*/ 735906 w 9586368"/>
                <a:gd name="connsiteY9155" fmla="*/ 13910 h 6479439"/>
                <a:gd name="connsiteX9156" fmla="*/ 731887 w 9586368"/>
                <a:gd name="connsiteY9156" fmla="*/ 17949 h 6479439"/>
                <a:gd name="connsiteX9157" fmla="*/ 721977 w 9586368"/>
                <a:gd name="connsiteY9157" fmla="*/ 17949 h 6479439"/>
                <a:gd name="connsiteX9158" fmla="*/ 717959 w 9586368"/>
                <a:gd name="connsiteY9158" fmla="*/ 13910 h 6479439"/>
                <a:gd name="connsiteX9159" fmla="*/ 717959 w 9586368"/>
                <a:gd name="connsiteY9159" fmla="*/ 4039 h 6479439"/>
                <a:gd name="connsiteX9160" fmla="*/ 482665 w 9586368"/>
                <a:gd name="connsiteY9160" fmla="*/ 0 h 6479439"/>
                <a:gd name="connsiteX9161" fmla="*/ 492575 w 9586368"/>
                <a:gd name="connsiteY9161" fmla="*/ 0 h 6479439"/>
                <a:gd name="connsiteX9162" fmla="*/ 496594 w 9586368"/>
                <a:gd name="connsiteY9162" fmla="*/ 4039 h 6479439"/>
                <a:gd name="connsiteX9163" fmla="*/ 496594 w 9586368"/>
                <a:gd name="connsiteY9163" fmla="*/ 13910 h 6479439"/>
                <a:gd name="connsiteX9164" fmla="*/ 492575 w 9586368"/>
                <a:gd name="connsiteY9164" fmla="*/ 17949 h 6479439"/>
                <a:gd name="connsiteX9165" fmla="*/ 482665 w 9586368"/>
                <a:gd name="connsiteY9165" fmla="*/ 17949 h 6479439"/>
                <a:gd name="connsiteX9166" fmla="*/ 478646 w 9586368"/>
                <a:gd name="connsiteY9166" fmla="*/ 13910 h 6479439"/>
                <a:gd name="connsiteX9167" fmla="*/ 478646 w 9586368"/>
                <a:gd name="connsiteY9167" fmla="*/ 4039 h 6479439"/>
                <a:gd name="connsiteX9168" fmla="*/ 243351 w 9586368"/>
                <a:gd name="connsiteY9168" fmla="*/ 0 h 6479439"/>
                <a:gd name="connsiteX9169" fmla="*/ 253261 w 9586368"/>
                <a:gd name="connsiteY9169" fmla="*/ 0 h 6479439"/>
                <a:gd name="connsiteX9170" fmla="*/ 257281 w 9586368"/>
                <a:gd name="connsiteY9170" fmla="*/ 4039 h 6479439"/>
                <a:gd name="connsiteX9171" fmla="*/ 257281 w 9586368"/>
                <a:gd name="connsiteY9171" fmla="*/ 13910 h 6479439"/>
                <a:gd name="connsiteX9172" fmla="*/ 253261 w 9586368"/>
                <a:gd name="connsiteY9172" fmla="*/ 17949 h 6479439"/>
                <a:gd name="connsiteX9173" fmla="*/ 243351 w 9586368"/>
                <a:gd name="connsiteY9173" fmla="*/ 17949 h 6479439"/>
                <a:gd name="connsiteX9174" fmla="*/ 239332 w 9586368"/>
                <a:gd name="connsiteY9174" fmla="*/ 13910 h 6479439"/>
                <a:gd name="connsiteX9175" fmla="*/ 239332 w 9586368"/>
                <a:gd name="connsiteY9175" fmla="*/ 4039 h 6479439"/>
                <a:gd name="connsiteX9176" fmla="*/ 4039 w 9586368"/>
                <a:gd name="connsiteY9176" fmla="*/ 0 h 6479439"/>
                <a:gd name="connsiteX9177" fmla="*/ 13948 w 9586368"/>
                <a:gd name="connsiteY9177" fmla="*/ 0 h 6479439"/>
                <a:gd name="connsiteX9178" fmla="*/ 17967 w 9586368"/>
                <a:gd name="connsiteY9178" fmla="*/ 4039 h 6479439"/>
                <a:gd name="connsiteX9179" fmla="*/ 17967 w 9586368"/>
                <a:gd name="connsiteY9179" fmla="*/ 13910 h 6479439"/>
                <a:gd name="connsiteX9180" fmla="*/ 13948 w 9586368"/>
                <a:gd name="connsiteY9180" fmla="*/ 17949 h 6479439"/>
                <a:gd name="connsiteX9181" fmla="*/ 4039 w 9586368"/>
                <a:gd name="connsiteY9181" fmla="*/ 17949 h 6479439"/>
                <a:gd name="connsiteX9182" fmla="*/ 19 w 9586368"/>
                <a:gd name="connsiteY9182" fmla="*/ 13910 h 6479439"/>
                <a:gd name="connsiteX9183" fmla="*/ 19 w 9586368"/>
                <a:gd name="connsiteY9183" fmla="*/ 4039 h 6479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  <a:cxn ang="0">
                  <a:pos x="connsiteX7257" y="connsiteY7257"/>
                </a:cxn>
                <a:cxn ang="0">
                  <a:pos x="connsiteX7258" y="connsiteY7258"/>
                </a:cxn>
                <a:cxn ang="0">
                  <a:pos x="connsiteX7259" y="connsiteY7259"/>
                </a:cxn>
                <a:cxn ang="0">
                  <a:pos x="connsiteX7260" y="connsiteY7260"/>
                </a:cxn>
                <a:cxn ang="0">
                  <a:pos x="connsiteX7261" y="connsiteY7261"/>
                </a:cxn>
                <a:cxn ang="0">
                  <a:pos x="connsiteX7262" y="connsiteY7262"/>
                </a:cxn>
                <a:cxn ang="0">
                  <a:pos x="connsiteX7263" y="connsiteY7263"/>
                </a:cxn>
                <a:cxn ang="0">
                  <a:pos x="connsiteX7264" y="connsiteY7264"/>
                </a:cxn>
                <a:cxn ang="0">
                  <a:pos x="connsiteX7265" y="connsiteY7265"/>
                </a:cxn>
                <a:cxn ang="0">
                  <a:pos x="connsiteX7266" y="connsiteY7266"/>
                </a:cxn>
                <a:cxn ang="0">
                  <a:pos x="connsiteX7267" y="connsiteY7267"/>
                </a:cxn>
                <a:cxn ang="0">
                  <a:pos x="connsiteX7268" y="connsiteY7268"/>
                </a:cxn>
                <a:cxn ang="0">
                  <a:pos x="connsiteX7269" y="connsiteY7269"/>
                </a:cxn>
                <a:cxn ang="0">
                  <a:pos x="connsiteX7270" y="connsiteY7270"/>
                </a:cxn>
                <a:cxn ang="0">
                  <a:pos x="connsiteX7271" y="connsiteY7271"/>
                </a:cxn>
                <a:cxn ang="0">
                  <a:pos x="connsiteX7272" y="connsiteY7272"/>
                </a:cxn>
                <a:cxn ang="0">
                  <a:pos x="connsiteX7273" y="connsiteY7273"/>
                </a:cxn>
                <a:cxn ang="0">
                  <a:pos x="connsiteX7274" y="connsiteY7274"/>
                </a:cxn>
                <a:cxn ang="0">
                  <a:pos x="connsiteX7275" y="connsiteY7275"/>
                </a:cxn>
                <a:cxn ang="0">
                  <a:pos x="connsiteX7276" y="connsiteY7276"/>
                </a:cxn>
                <a:cxn ang="0">
                  <a:pos x="connsiteX7277" y="connsiteY7277"/>
                </a:cxn>
                <a:cxn ang="0">
                  <a:pos x="connsiteX7278" y="connsiteY7278"/>
                </a:cxn>
                <a:cxn ang="0">
                  <a:pos x="connsiteX7279" y="connsiteY7279"/>
                </a:cxn>
                <a:cxn ang="0">
                  <a:pos x="connsiteX7280" y="connsiteY7280"/>
                </a:cxn>
                <a:cxn ang="0">
                  <a:pos x="connsiteX7281" y="connsiteY7281"/>
                </a:cxn>
                <a:cxn ang="0">
                  <a:pos x="connsiteX7282" y="connsiteY7282"/>
                </a:cxn>
                <a:cxn ang="0">
                  <a:pos x="connsiteX7283" y="connsiteY7283"/>
                </a:cxn>
                <a:cxn ang="0">
                  <a:pos x="connsiteX7284" y="connsiteY7284"/>
                </a:cxn>
                <a:cxn ang="0">
                  <a:pos x="connsiteX7285" y="connsiteY7285"/>
                </a:cxn>
                <a:cxn ang="0">
                  <a:pos x="connsiteX7286" y="connsiteY7286"/>
                </a:cxn>
                <a:cxn ang="0">
                  <a:pos x="connsiteX7287" y="connsiteY7287"/>
                </a:cxn>
                <a:cxn ang="0">
                  <a:pos x="connsiteX7288" y="connsiteY7288"/>
                </a:cxn>
                <a:cxn ang="0">
                  <a:pos x="connsiteX7289" y="connsiteY7289"/>
                </a:cxn>
                <a:cxn ang="0">
                  <a:pos x="connsiteX7290" y="connsiteY7290"/>
                </a:cxn>
                <a:cxn ang="0">
                  <a:pos x="connsiteX7291" y="connsiteY7291"/>
                </a:cxn>
                <a:cxn ang="0">
                  <a:pos x="connsiteX7292" y="connsiteY7292"/>
                </a:cxn>
                <a:cxn ang="0">
                  <a:pos x="connsiteX7293" y="connsiteY7293"/>
                </a:cxn>
                <a:cxn ang="0">
                  <a:pos x="connsiteX7294" y="connsiteY7294"/>
                </a:cxn>
                <a:cxn ang="0">
                  <a:pos x="connsiteX7295" y="connsiteY7295"/>
                </a:cxn>
                <a:cxn ang="0">
                  <a:pos x="connsiteX7296" y="connsiteY7296"/>
                </a:cxn>
                <a:cxn ang="0">
                  <a:pos x="connsiteX7297" y="connsiteY7297"/>
                </a:cxn>
                <a:cxn ang="0">
                  <a:pos x="connsiteX7298" y="connsiteY7298"/>
                </a:cxn>
                <a:cxn ang="0">
                  <a:pos x="connsiteX7299" y="connsiteY7299"/>
                </a:cxn>
                <a:cxn ang="0">
                  <a:pos x="connsiteX7300" y="connsiteY7300"/>
                </a:cxn>
                <a:cxn ang="0">
                  <a:pos x="connsiteX7301" y="connsiteY7301"/>
                </a:cxn>
                <a:cxn ang="0">
                  <a:pos x="connsiteX7302" y="connsiteY7302"/>
                </a:cxn>
                <a:cxn ang="0">
                  <a:pos x="connsiteX7303" y="connsiteY7303"/>
                </a:cxn>
                <a:cxn ang="0">
                  <a:pos x="connsiteX7304" y="connsiteY7304"/>
                </a:cxn>
                <a:cxn ang="0">
                  <a:pos x="connsiteX7305" y="connsiteY7305"/>
                </a:cxn>
                <a:cxn ang="0">
                  <a:pos x="connsiteX7306" y="connsiteY7306"/>
                </a:cxn>
                <a:cxn ang="0">
                  <a:pos x="connsiteX7307" y="connsiteY7307"/>
                </a:cxn>
                <a:cxn ang="0">
                  <a:pos x="connsiteX7308" y="connsiteY7308"/>
                </a:cxn>
                <a:cxn ang="0">
                  <a:pos x="connsiteX7309" y="connsiteY7309"/>
                </a:cxn>
                <a:cxn ang="0">
                  <a:pos x="connsiteX7310" y="connsiteY7310"/>
                </a:cxn>
                <a:cxn ang="0">
                  <a:pos x="connsiteX7311" y="connsiteY7311"/>
                </a:cxn>
                <a:cxn ang="0">
                  <a:pos x="connsiteX7312" y="connsiteY7312"/>
                </a:cxn>
                <a:cxn ang="0">
                  <a:pos x="connsiteX7313" y="connsiteY7313"/>
                </a:cxn>
                <a:cxn ang="0">
                  <a:pos x="connsiteX7314" y="connsiteY7314"/>
                </a:cxn>
                <a:cxn ang="0">
                  <a:pos x="connsiteX7315" y="connsiteY7315"/>
                </a:cxn>
                <a:cxn ang="0">
                  <a:pos x="connsiteX7316" y="connsiteY7316"/>
                </a:cxn>
                <a:cxn ang="0">
                  <a:pos x="connsiteX7317" y="connsiteY7317"/>
                </a:cxn>
                <a:cxn ang="0">
                  <a:pos x="connsiteX7318" y="connsiteY7318"/>
                </a:cxn>
                <a:cxn ang="0">
                  <a:pos x="connsiteX7319" y="connsiteY7319"/>
                </a:cxn>
                <a:cxn ang="0">
                  <a:pos x="connsiteX7320" y="connsiteY7320"/>
                </a:cxn>
                <a:cxn ang="0">
                  <a:pos x="connsiteX7321" y="connsiteY7321"/>
                </a:cxn>
                <a:cxn ang="0">
                  <a:pos x="connsiteX7322" y="connsiteY7322"/>
                </a:cxn>
                <a:cxn ang="0">
                  <a:pos x="connsiteX7323" y="connsiteY7323"/>
                </a:cxn>
                <a:cxn ang="0">
                  <a:pos x="connsiteX7324" y="connsiteY7324"/>
                </a:cxn>
                <a:cxn ang="0">
                  <a:pos x="connsiteX7325" y="connsiteY7325"/>
                </a:cxn>
                <a:cxn ang="0">
                  <a:pos x="connsiteX7326" y="connsiteY7326"/>
                </a:cxn>
                <a:cxn ang="0">
                  <a:pos x="connsiteX7327" y="connsiteY7327"/>
                </a:cxn>
                <a:cxn ang="0">
                  <a:pos x="connsiteX7328" y="connsiteY7328"/>
                </a:cxn>
                <a:cxn ang="0">
                  <a:pos x="connsiteX7329" y="connsiteY7329"/>
                </a:cxn>
                <a:cxn ang="0">
                  <a:pos x="connsiteX7330" y="connsiteY7330"/>
                </a:cxn>
                <a:cxn ang="0">
                  <a:pos x="connsiteX7331" y="connsiteY7331"/>
                </a:cxn>
                <a:cxn ang="0">
                  <a:pos x="connsiteX7332" y="connsiteY7332"/>
                </a:cxn>
                <a:cxn ang="0">
                  <a:pos x="connsiteX7333" y="connsiteY7333"/>
                </a:cxn>
                <a:cxn ang="0">
                  <a:pos x="connsiteX7334" y="connsiteY7334"/>
                </a:cxn>
                <a:cxn ang="0">
                  <a:pos x="connsiteX7335" y="connsiteY7335"/>
                </a:cxn>
                <a:cxn ang="0">
                  <a:pos x="connsiteX7336" y="connsiteY7336"/>
                </a:cxn>
                <a:cxn ang="0">
                  <a:pos x="connsiteX7337" y="connsiteY7337"/>
                </a:cxn>
                <a:cxn ang="0">
                  <a:pos x="connsiteX7338" y="connsiteY7338"/>
                </a:cxn>
                <a:cxn ang="0">
                  <a:pos x="connsiteX7339" y="connsiteY7339"/>
                </a:cxn>
                <a:cxn ang="0">
                  <a:pos x="connsiteX7340" y="connsiteY7340"/>
                </a:cxn>
                <a:cxn ang="0">
                  <a:pos x="connsiteX7341" y="connsiteY7341"/>
                </a:cxn>
                <a:cxn ang="0">
                  <a:pos x="connsiteX7342" y="connsiteY7342"/>
                </a:cxn>
                <a:cxn ang="0">
                  <a:pos x="connsiteX7343" y="connsiteY7343"/>
                </a:cxn>
                <a:cxn ang="0">
                  <a:pos x="connsiteX7344" y="connsiteY7344"/>
                </a:cxn>
                <a:cxn ang="0">
                  <a:pos x="connsiteX7345" y="connsiteY7345"/>
                </a:cxn>
                <a:cxn ang="0">
                  <a:pos x="connsiteX7346" y="connsiteY7346"/>
                </a:cxn>
                <a:cxn ang="0">
                  <a:pos x="connsiteX7347" y="connsiteY7347"/>
                </a:cxn>
                <a:cxn ang="0">
                  <a:pos x="connsiteX7348" y="connsiteY7348"/>
                </a:cxn>
                <a:cxn ang="0">
                  <a:pos x="connsiteX7349" y="connsiteY7349"/>
                </a:cxn>
                <a:cxn ang="0">
                  <a:pos x="connsiteX7350" y="connsiteY7350"/>
                </a:cxn>
                <a:cxn ang="0">
                  <a:pos x="connsiteX7351" y="connsiteY7351"/>
                </a:cxn>
                <a:cxn ang="0">
                  <a:pos x="connsiteX7352" y="connsiteY7352"/>
                </a:cxn>
                <a:cxn ang="0">
                  <a:pos x="connsiteX7353" y="connsiteY7353"/>
                </a:cxn>
                <a:cxn ang="0">
                  <a:pos x="connsiteX7354" y="connsiteY7354"/>
                </a:cxn>
                <a:cxn ang="0">
                  <a:pos x="connsiteX7355" y="connsiteY7355"/>
                </a:cxn>
                <a:cxn ang="0">
                  <a:pos x="connsiteX7356" y="connsiteY7356"/>
                </a:cxn>
                <a:cxn ang="0">
                  <a:pos x="connsiteX7357" y="connsiteY7357"/>
                </a:cxn>
                <a:cxn ang="0">
                  <a:pos x="connsiteX7358" y="connsiteY7358"/>
                </a:cxn>
                <a:cxn ang="0">
                  <a:pos x="connsiteX7359" y="connsiteY7359"/>
                </a:cxn>
                <a:cxn ang="0">
                  <a:pos x="connsiteX7360" y="connsiteY7360"/>
                </a:cxn>
                <a:cxn ang="0">
                  <a:pos x="connsiteX7361" y="connsiteY7361"/>
                </a:cxn>
                <a:cxn ang="0">
                  <a:pos x="connsiteX7362" y="connsiteY7362"/>
                </a:cxn>
                <a:cxn ang="0">
                  <a:pos x="connsiteX7363" y="connsiteY7363"/>
                </a:cxn>
                <a:cxn ang="0">
                  <a:pos x="connsiteX7364" y="connsiteY7364"/>
                </a:cxn>
                <a:cxn ang="0">
                  <a:pos x="connsiteX7365" y="connsiteY7365"/>
                </a:cxn>
                <a:cxn ang="0">
                  <a:pos x="connsiteX7366" y="connsiteY7366"/>
                </a:cxn>
                <a:cxn ang="0">
                  <a:pos x="connsiteX7367" y="connsiteY7367"/>
                </a:cxn>
                <a:cxn ang="0">
                  <a:pos x="connsiteX7368" y="connsiteY7368"/>
                </a:cxn>
                <a:cxn ang="0">
                  <a:pos x="connsiteX7369" y="connsiteY7369"/>
                </a:cxn>
                <a:cxn ang="0">
                  <a:pos x="connsiteX7370" y="connsiteY7370"/>
                </a:cxn>
                <a:cxn ang="0">
                  <a:pos x="connsiteX7371" y="connsiteY7371"/>
                </a:cxn>
                <a:cxn ang="0">
                  <a:pos x="connsiteX7372" y="connsiteY7372"/>
                </a:cxn>
                <a:cxn ang="0">
                  <a:pos x="connsiteX7373" y="connsiteY7373"/>
                </a:cxn>
                <a:cxn ang="0">
                  <a:pos x="connsiteX7374" y="connsiteY7374"/>
                </a:cxn>
                <a:cxn ang="0">
                  <a:pos x="connsiteX7375" y="connsiteY7375"/>
                </a:cxn>
                <a:cxn ang="0">
                  <a:pos x="connsiteX7376" y="connsiteY7376"/>
                </a:cxn>
                <a:cxn ang="0">
                  <a:pos x="connsiteX7377" y="connsiteY7377"/>
                </a:cxn>
                <a:cxn ang="0">
                  <a:pos x="connsiteX7378" y="connsiteY7378"/>
                </a:cxn>
                <a:cxn ang="0">
                  <a:pos x="connsiteX7379" y="connsiteY7379"/>
                </a:cxn>
                <a:cxn ang="0">
                  <a:pos x="connsiteX7380" y="connsiteY7380"/>
                </a:cxn>
                <a:cxn ang="0">
                  <a:pos x="connsiteX7381" y="connsiteY7381"/>
                </a:cxn>
                <a:cxn ang="0">
                  <a:pos x="connsiteX7382" y="connsiteY7382"/>
                </a:cxn>
                <a:cxn ang="0">
                  <a:pos x="connsiteX7383" y="connsiteY7383"/>
                </a:cxn>
                <a:cxn ang="0">
                  <a:pos x="connsiteX7384" y="connsiteY7384"/>
                </a:cxn>
                <a:cxn ang="0">
                  <a:pos x="connsiteX7385" y="connsiteY7385"/>
                </a:cxn>
                <a:cxn ang="0">
                  <a:pos x="connsiteX7386" y="connsiteY7386"/>
                </a:cxn>
                <a:cxn ang="0">
                  <a:pos x="connsiteX7387" y="connsiteY7387"/>
                </a:cxn>
                <a:cxn ang="0">
                  <a:pos x="connsiteX7388" y="connsiteY7388"/>
                </a:cxn>
                <a:cxn ang="0">
                  <a:pos x="connsiteX7389" y="connsiteY7389"/>
                </a:cxn>
                <a:cxn ang="0">
                  <a:pos x="connsiteX7390" y="connsiteY7390"/>
                </a:cxn>
                <a:cxn ang="0">
                  <a:pos x="connsiteX7391" y="connsiteY7391"/>
                </a:cxn>
                <a:cxn ang="0">
                  <a:pos x="connsiteX7392" y="connsiteY7392"/>
                </a:cxn>
                <a:cxn ang="0">
                  <a:pos x="connsiteX7393" y="connsiteY7393"/>
                </a:cxn>
                <a:cxn ang="0">
                  <a:pos x="connsiteX7394" y="connsiteY7394"/>
                </a:cxn>
                <a:cxn ang="0">
                  <a:pos x="connsiteX7395" y="connsiteY7395"/>
                </a:cxn>
                <a:cxn ang="0">
                  <a:pos x="connsiteX7396" y="connsiteY7396"/>
                </a:cxn>
                <a:cxn ang="0">
                  <a:pos x="connsiteX7397" y="connsiteY7397"/>
                </a:cxn>
                <a:cxn ang="0">
                  <a:pos x="connsiteX7398" y="connsiteY7398"/>
                </a:cxn>
                <a:cxn ang="0">
                  <a:pos x="connsiteX7399" y="connsiteY7399"/>
                </a:cxn>
                <a:cxn ang="0">
                  <a:pos x="connsiteX7400" y="connsiteY7400"/>
                </a:cxn>
                <a:cxn ang="0">
                  <a:pos x="connsiteX7401" y="connsiteY7401"/>
                </a:cxn>
                <a:cxn ang="0">
                  <a:pos x="connsiteX7402" y="connsiteY7402"/>
                </a:cxn>
                <a:cxn ang="0">
                  <a:pos x="connsiteX7403" y="connsiteY7403"/>
                </a:cxn>
                <a:cxn ang="0">
                  <a:pos x="connsiteX7404" y="connsiteY7404"/>
                </a:cxn>
                <a:cxn ang="0">
                  <a:pos x="connsiteX7405" y="connsiteY7405"/>
                </a:cxn>
                <a:cxn ang="0">
                  <a:pos x="connsiteX7406" y="connsiteY7406"/>
                </a:cxn>
                <a:cxn ang="0">
                  <a:pos x="connsiteX7407" y="connsiteY7407"/>
                </a:cxn>
                <a:cxn ang="0">
                  <a:pos x="connsiteX7408" y="connsiteY7408"/>
                </a:cxn>
                <a:cxn ang="0">
                  <a:pos x="connsiteX7409" y="connsiteY7409"/>
                </a:cxn>
                <a:cxn ang="0">
                  <a:pos x="connsiteX7410" y="connsiteY7410"/>
                </a:cxn>
                <a:cxn ang="0">
                  <a:pos x="connsiteX7411" y="connsiteY7411"/>
                </a:cxn>
                <a:cxn ang="0">
                  <a:pos x="connsiteX7412" y="connsiteY7412"/>
                </a:cxn>
                <a:cxn ang="0">
                  <a:pos x="connsiteX7413" y="connsiteY7413"/>
                </a:cxn>
                <a:cxn ang="0">
                  <a:pos x="connsiteX7414" y="connsiteY7414"/>
                </a:cxn>
                <a:cxn ang="0">
                  <a:pos x="connsiteX7415" y="connsiteY7415"/>
                </a:cxn>
                <a:cxn ang="0">
                  <a:pos x="connsiteX7416" y="connsiteY7416"/>
                </a:cxn>
                <a:cxn ang="0">
                  <a:pos x="connsiteX7417" y="connsiteY7417"/>
                </a:cxn>
                <a:cxn ang="0">
                  <a:pos x="connsiteX7418" y="connsiteY7418"/>
                </a:cxn>
                <a:cxn ang="0">
                  <a:pos x="connsiteX7419" y="connsiteY7419"/>
                </a:cxn>
                <a:cxn ang="0">
                  <a:pos x="connsiteX7420" y="connsiteY7420"/>
                </a:cxn>
                <a:cxn ang="0">
                  <a:pos x="connsiteX7421" y="connsiteY7421"/>
                </a:cxn>
                <a:cxn ang="0">
                  <a:pos x="connsiteX7422" y="connsiteY7422"/>
                </a:cxn>
                <a:cxn ang="0">
                  <a:pos x="connsiteX7423" y="connsiteY7423"/>
                </a:cxn>
                <a:cxn ang="0">
                  <a:pos x="connsiteX7424" y="connsiteY7424"/>
                </a:cxn>
                <a:cxn ang="0">
                  <a:pos x="connsiteX7425" y="connsiteY7425"/>
                </a:cxn>
                <a:cxn ang="0">
                  <a:pos x="connsiteX7426" y="connsiteY7426"/>
                </a:cxn>
                <a:cxn ang="0">
                  <a:pos x="connsiteX7427" y="connsiteY7427"/>
                </a:cxn>
                <a:cxn ang="0">
                  <a:pos x="connsiteX7428" y="connsiteY7428"/>
                </a:cxn>
                <a:cxn ang="0">
                  <a:pos x="connsiteX7429" y="connsiteY7429"/>
                </a:cxn>
                <a:cxn ang="0">
                  <a:pos x="connsiteX7430" y="connsiteY7430"/>
                </a:cxn>
                <a:cxn ang="0">
                  <a:pos x="connsiteX7431" y="connsiteY7431"/>
                </a:cxn>
                <a:cxn ang="0">
                  <a:pos x="connsiteX7432" y="connsiteY7432"/>
                </a:cxn>
                <a:cxn ang="0">
                  <a:pos x="connsiteX7433" y="connsiteY7433"/>
                </a:cxn>
                <a:cxn ang="0">
                  <a:pos x="connsiteX7434" y="connsiteY7434"/>
                </a:cxn>
                <a:cxn ang="0">
                  <a:pos x="connsiteX7435" y="connsiteY7435"/>
                </a:cxn>
                <a:cxn ang="0">
                  <a:pos x="connsiteX7436" y="connsiteY7436"/>
                </a:cxn>
                <a:cxn ang="0">
                  <a:pos x="connsiteX7437" y="connsiteY7437"/>
                </a:cxn>
                <a:cxn ang="0">
                  <a:pos x="connsiteX7438" y="connsiteY7438"/>
                </a:cxn>
                <a:cxn ang="0">
                  <a:pos x="connsiteX7439" y="connsiteY7439"/>
                </a:cxn>
                <a:cxn ang="0">
                  <a:pos x="connsiteX7440" y="connsiteY7440"/>
                </a:cxn>
                <a:cxn ang="0">
                  <a:pos x="connsiteX7441" y="connsiteY7441"/>
                </a:cxn>
                <a:cxn ang="0">
                  <a:pos x="connsiteX7442" y="connsiteY7442"/>
                </a:cxn>
                <a:cxn ang="0">
                  <a:pos x="connsiteX7443" y="connsiteY7443"/>
                </a:cxn>
                <a:cxn ang="0">
                  <a:pos x="connsiteX7444" y="connsiteY7444"/>
                </a:cxn>
                <a:cxn ang="0">
                  <a:pos x="connsiteX7445" y="connsiteY7445"/>
                </a:cxn>
                <a:cxn ang="0">
                  <a:pos x="connsiteX7446" y="connsiteY7446"/>
                </a:cxn>
                <a:cxn ang="0">
                  <a:pos x="connsiteX7447" y="connsiteY7447"/>
                </a:cxn>
                <a:cxn ang="0">
                  <a:pos x="connsiteX7448" y="connsiteY7448"/>
                </a:cxn>
                <a:cxn ang="0">
                  <a:pos x="connsiteX7449" y="connsiteY7449"/>
                </a:cxn>
                <a:cxn ang="0">
                  <a:pos x="connsiteX7450" y="connsiteY7450"/>
                </a:cxn>
                <a:cxn ang="0">
                  <a:pos x="connsiteX7451" y="connsiteY7451"/>
                </a:cxn>
                <a:cxn ang="0">
                  <a:pos x="connsiteX7452" y="connsiteY7452"/>
                </a:cxn>
                <a:cxn ang="0">
                  <a:pos x="connsiteX7453" y="connsiteY7453"/>
                </a:cxn>
                <a:cxn ang="0">
                  <a:pos x="connsiteX7454" y="connsiteY7454"/>
                </a:cxn>
                <a:cxn ang="0">
                  <a:pos x="connsiteX7455" y="connsiteY7455"/>
                </a:cxn>
                <a:cxn ang="0">
                  <a:pos x="connsiteX7456" y="connsiteY7456"/>
                </a:cxn>
                <a:cxn ang="0">
                  <a:pos x="connsiteX7457" y="connsiteY7457"/>
                </a:cxn>
                <a:cxn ang="0">
                  <a:pos x="connsiteX7458" y="connsiteY7458"/>
                </a:cxn>
                <a:cxn ang="0">
                  <a:pos x="connsiteX7459" y="connsiteY7459"/>
                </a:cxn>
                <a:cxn ang="0">
                  <a:pos x="connsiteX7460" y="connsiteY7460"/>
                </a:cxn>
                <a:cxn ang="0">
                  <a:pos x="connsiteX7461" y="connsiteY7461"/>
                </a:cxn>
                <a:cxn ang="0">
                  <a:pos x="connsiteX7462" y="connsiteY7462"/>
                </a:cxn>
                <a:cxn ang="0">
                  <a:pos x="connsiteX7463" y="connsiteY7463"/>
                </a:cxn>
                <a:cxn ang="0">
                  <a:pos x="connsiteX7464" y="connsiteY7464"/>
                </a:cxn>
                <a:cxn ang="0">
                  <a:pos x="connsiteX7465" y="connsiteY7465"/>
                </a:cxn>
                <a:cxn ang="0">
                  <a:pos x="connsiteX7466" y="connsiteY7466"/>
                </a:cxn>
                <a:cxn ang="0">
                  <a:pos x="connsiteX7467" y="connsiteY7467"/>
                </a:cxn>
                <a:cxn ang="0">
                  <a:pos x="connsiteX7468" y="connsiteY7468"/>
                </a:cxn>
                <a:cxn ang="0">
                  <a:pos x="connsiteX7469" y="connsiteY7469"/>
                </a:cxn>
                <a:cxn ang="0">
                  <a:pos x="connsiteX7470" y="connsiteY7470"/>
                </a:cxn>
                <a:cxn ang="0">
                  <a:pos x="connsiteX7471" y="connsiteY7471"/>
                </a:cxn>
                <a:cxn ang="0">
                  <a:pos x="connsiteX7472" y="connsiteY7472"/>
                </a:cxn>
                <a:cxn ang="0">
                  <a:pos x="connsiteX7473" y="connsiteY7473"/>
                </a:cxn>
                <a:cxn ang="0">
                  <a:pos x="connsiteX7474" y="connsiteY7474"/>
                </a:cxn>
                <a:cxn ang="0">
                  <a:pos x="connsiteX7475" y="connsiteY7475"/>
                </a:cxn>
                <a:cxn ang="0">
                  <a:pos x="connsiteX7476" y="connsiteY7476"/>
                </a:cxn>
                <a:cxn ang="0">
                  <a:pos x="connsiteX7477" y="connsiteY7477"/>
                </a:cxn>
                <a:cxn ang="0">
                  <a:pos x="connsiteX7478" y="connsiteY7478"/>
                </a:cxn>
                <a:cxn ang="0">
                  <a:pos x="connsiteX7479" y="connsiteY7479"/>
                </a:cxn>
                <a:cxn ang="0">
                  <a:pos x="connsiteX7480" y="connsiteY7480"/>
                </a:cxn>
                <a:cxn ang="0">
                  <a:pos x="connsiteX7481" y="connsiteY7481"/>
                </a:cxn>
                <a:cxn ang="0">
                  <a:pos x="connsiteX7482" y="connsiteY7482"/>
                </a:cxn>
                <a:cxn ang="0">
                  <a:pos x="connsiteX7483" y="connsiteY7483"/>
                </a:cxn>
                <a:cxn ang="0">
                  <a:pos x="connsiteX7484" y="connsiteY7484"/>
                </a:cxn>
                <a:cxn ang="0">
                  <a:pos x="connsiteX7485" y="connsiteY7485"/>
                </a:cxn>
                <a:cxn ang="0">
                  <a:pos x="connsiteX7486" y="connsiteY7486"/>
                </a:cxn>
                <a:cxn ang="0">
                  <a:pos x="connsiteX7487" y="connsiteY7487"/>
                </a:cxn>
                <a:cxn ang="0">
                  <a:pos x="connsiteX7488" y="connsiteY7488"/>
                </a:cxn>
                <a:cxn ang="0">
                  <a:pos x="connsiteX7489" y="connsiteY7489"/>
                </a:cxn>
                <a:cxn ang="0">
                  <a:pos x="connsiteX7490" y="connsiteY7490"/>
                </a:cxn>
                <a:cxn ang="0">
                  <a:pos x="connsiteX7491" y="connsiteY7491"/>
                </a:cxn>
                <a:cxn ang="0">
                  <a:pos x="connsiteX7492" y="connsiteY7492"/>
                </a:cxn>
                <a:cxn ang="0">
                  <a:pos x="connsiteX7493" y="connsiteY7493"/>
                </a:cxn>
                <a:cxn ang="0">
                  <a:pos x="connsiteX7494" y="connsiteY7494"/>
                </a:cxn>
                <a:cxn ang="0">
                  <a:pos x="connsiteX7495" y="connsiteY7495"/>
                </a:cxn>
                <a:cxn ang="0">
                  <a:pos x="connsiteX7496" y="connsiteY7496"/>
                </a:cxn>
                <a:cxn ang="0">
                  <a:pos x="connsiteX7497" y="connsiteY7497"/>
                </a:cxn>
                <a:cxn ang="0">
                  <a:pos x="connsiteX7498" y="connsiteY7498"/>
                </a:cxn>
                <a:cxn ang="0">
                  <a:pos x="connsiteX7499" y="connsiteY7499"/>
                </a:cxn>
                <a:cxn ang="0">
                  <a:pos x="connsiteX7500" y="connsiteY7500"/>
                </a:cxn>
                <a:cxn ang="0">
                  <a:pos x="connsiteX7501" y="connsiteY7501"/>
                </a:cxn>
                <a:cxn ang="0">
                  <a:pos x="connsiteX7502" y="connsiteY7502"/>
                </a:cxn>
                <a:cxn ang="0">
                  <a:pos x="connsiteX7503" y="connsiteY7503"/>
                </a:cxn>
                <a:cxn ang="0">
                  <a:pos x="connsiteX7504" y="connsiteY7504"/>
                </a:cxn>
                <a:cxn ang="0">
                  <a:pos x="connsiteX7505" y="connsiteY7505"/>
                </a:cxn>
                <a:cxn ang="0">
                  <a:pos x="connsiteX7506" y="connsiteY7506"/>
                </a:cxn>
                <a:cxn ang="0">
                  <a:pos x="connsiteX7507" y="connsiteY7507"/>
                </a:cxn>
                <a:cxn ang="0">
                  <a:pos x="connsiteX7508" y="connsiteY7508"/>
                </a:cxn>
                <a:cxn ang="0">
                  <a:pos x="connsiteX7509" y="connsiteY7509"/>
                </a:cxn>
                <a:cxn ang="0">
                  <a:pos x="connsiteX7510" y="connsiteY7510"/>
                </a:cxn>
                <a:cxn ang="0">
                  <a:pos x="connsiteX7511" y="connsiteY7511"/>
                </a:cxn>
                <a:cxn ang="0">
                  <a:pos x="connsiteX7512" y="connsiteY7512"/>
                </a:cxn>
                <a:cxn ang="0">
                  <a:pos x="connsiteX7513" y="connsiteY7513"/>
                </a:cxn>
                <a:cxn ang="0">
                  <a:pos x="connsiteX7514" y="connsiteY7514"/>
                </a:cxn>
                <a:cxn ang="0">
                  <a:pos x="connsiteX7515" y="connsiteY7515"/>
                </a:cxn>
                <a:cxn ang="0">
                  <a:pos x="connsiteX7516" y="connsiteY7516"/>
                </a:cxn>
                <a:cxn ang="0">
                  <a:pos x="connsiteX7517" y="connsiteY7517"/>
                </a:cxn>
                <a:cxn ang="0">
                  <a:pos x="connsiteX7518" y="connsiteY7518"/>
                </a:cxn>
                <a:cxn ang="0">
                  <a:pos x="connsiteX7519" y="connsiteY7519"/>
                </a:cxn>
                <a:cxn ang="0">
                  <a:pos x="connsiteX7520" y="connsiteY7520"/>
                </a:cxn>
                <a:cxn ang="0">
                  <a:pos x="connsiteX7521" y="connsiteY7521"/>
                </a:cxn>
                <a:cxn ang="0">
                  <a:pos x="connsiteX7522" y="connsiteY7522"/>
                </a:cxn>
                <a:cxn ang="0">
                  <a:pos x="connsiteX7523" y="connsiteY7523"/>
                </a:cxn>
                <a:cxn ang="0">
                  <a:pos x="connsiteX7524" y="connsiteY7524"/>
                </a:cxn>
                <a:cxn ang="0">
                  <a:pos x="connsiteX7525" y="connsiteY7525"/>
                </a:cxn>
                <a:cxn ang="0">
                  <a:pos x="connsiteX7526" y="connsiteY7526"/>
                </a:cxn>
                <a:cxn ang="0">
                  <a:pos x="connsiteX7527" y="connsiteY7527"/>
                </a:cxn>
                <a:cxn ang="0">
                  <a:pos x="connsiteX7528" y="connsiteY7528"/>
                </a:cxn>
                <a:cxn ang="0">
                  <a:pos x="connsiteX7529" y="connsiteY7529"/>
                </a:cxn>
                <a:cxn ang="0">
                  <a:pos x="connsiteX7530" y="connsiteY7530"/>
                </a:cxn>
                <a:cxn ang="0">
                  <a:pos x="connsiteX7531" y="connsiteY7531"/>
                </a:cxn>
                <a:cxn ang="0">
                  <a:pos x="connsiteX7532" y="connsiteY7532"/>
                </a:cxn>
                <a:cxn ang="0">
                  <a:pos x="connsiteX7533" y="connsiteY7533"/>
                </a:cxn>
                <a:cxn ang="0">
                  <a:pos x="connsiteX7534" y="connsiteY7534"/>
                </a:cxn>
                <a:cxn ang="0">
                  <a:pos x="connsiteX7535" y="connsiteY7535"/>
                </a:cxn>
                <a:cxn ang="0">
                  <a:pos x="connsiteX7536" y="connsiteY7536"/>
                </a:cxn>
                <a:cxn ang="0">
                  <a:pos x="connsiteX7537" y="connsiteY7537"/>
                </a:cxn>
                <a:cxn ang="0">
                  <a:pos x="connsiteX7538" y="connsiteY7538"/>
                </a:cxn>
                <a:cxn ang="0">
                  <a:pos x="connsiteX7539" y="connsiteY7539"/>
                </a:cxn>
                <a:cxn ang="0">
                  <a:pos x="connsiteX7540" y="connsiteY7540"/>
                </a:cxn>
                <a:cxn ang="0">
                  <a:pos x="connsiteX7541" y="connsiteY7541"/>
                </a:cxn>
                <a:cxn ang="0">
                  <a:pos x="connsiteX7542" y="connsiteY7542"/>
                </a:cxn>
                <a:cxn ang="0">
                  <a:pos x="connsiteX7543" y="connsiteY7543"/>
                </a:cxn>
                <a:cxn ang="0">
                  <a:pos x="connsiteX7544" y="connsiteY7544"/>
                </a:cxn>
                <a:cxn ang="0">
                  <a:pos x="connsiteX7545" y="connsiteY7545"/>
                </a:cxn>
                <a:cxn ang="0">
                  <a:pos x="connsiteX7546" y="connsiteY7546"/>
                </a:cxn>
                <a:cxn ang="0">
                  <a:pos x="connsiteX7547" y="connsiteY7547"/>
                </a:cxn>
                <a:cxn ang="0">
                  <a:pos x="connsiteX7548" y="connsiteY7548"/>
                </a:cxn>
                <a:cxn ang="0">
                  <a:pos x="connsiteX7549" y="connsiteY7549"/>
                </a:cxn>
                <a:cxn ang="0">
                  <a:pos x="connsiteX7550" y="connsiteY7550"/>
                </a:cxn>
                <a:cxn ang="0">
                  <a:pos x="connsiteX7551" y="connsiteY7551"/>
                </a:cxn>
                <a:cxn ang="0">
                  <a:pos x="connsiteX7552" y="connsiteY7552"/>
                </a:cxn>
                <a:cxn ang="0">
                  <a:pos x="connsiteX7553" y="connsiteY7553"/>
                </a:cxn>
                <a:cxn ang="0">
                  <a:pos x="connsiteX7554" y="connsiteY7554"/>
                </a:cxn>
                <a:cxn ang="0">
                  <a:pos x="connsiteX7555" y="connsiteY7555"/>
                </a:cxn>
                <a:cxn ang="0">
                  <a:pos x="connsiteX7556" y="connsiteY7556"/>
                </a:cxn>
                <a:cxn ang="0">
                  <a:pos x="connsiteX7557" y="connsiteY7557"/>
                </a:cxn>
                <a:cxn ang="0">
                  <a:pos x="connsiteX7558" y="connsiteY7558"/>
                </a:cxn>
                <a:cxn ang="0">
                  <a:pos x="connsiteX7559" y="connsiteY7559"/>
                </a:cxn>
                <a:cxn ang="0">
                  <a:pos x="connsiteX7560" y="connsiteY7560"/>
                </a:cxn>
                <a:cxn ang="0">
                  <a:pos x="connsiteX7561" y="connsiteY7561"/>
                </a:cxn>
                <a:cxn ang="0">
                  <a:pos x="connsiteX7562" y="connsiteY7562"/>
                </a:cxn>
                <a:cxn ang="0">
                  <a:pos x="connsiteX7563" y="connsiteY7563"/>
                </a:cxn>
                <a:cxn ang="0">
                  <a:pos x="connsiteX7564" y="connsiteY7564"/>
                </a:cxn>
                <a:cxn ang="0">
                  <a:pos x="connsiteX7565" y="connsiteY7565"/>
                </a:cxn>
                <a:cxn ang="0">
                  <a:pos x="connsiteX7566" y="connsiteY7566"/>
                </a:cxn>
                <a:cxn ang="0">
                  <a:pos x="connsiteX7567" y="connsiteY7567"/>
                </a:cxn>
                <a:cxn ang="0">
                  <a:pos x="connsiteX7568" y="connsiteY7568"/>
                </a:cxn>
                <a:cxn ang="0">
                  <a:pos x="connsiteX7569" y="connsiteY7569"/>
                </a:cxn>
                <a:cxn ang="0">
                  <a:pos x="connsiteX7570" y="connsiteY7570"/>
                </a:cxn>
                <a:cxn ang="0">
                  <a:pos x="connsiteX7571" y="connsiteY7571"/>
                </a:cxn>
                <a:cxn ang="0">
                  <a:pos x="connsiteX7572" y="connsiteY7572"/>
                </a:cxn>
                <a:cxn ang="0">
                  <a:pos x="connsiteX7573" y="connsiteY7573"/>
                </a:cxn>
                <a:cxn ang="0">
                  <a:pos x="connsiteX7574" y="connsiteY7574"/>
                </a:cxn>
                <a:cxn ang="0">
                  <a:pos x="connsiteX7575" y="connsiteY7575"/>
                </a:cxn>
                <a:cxn ang="0">
                  <a:pos x="connsiteX7576" y="connsiteY7576"/>
                </a:cxn>
                <a:cxn ang="0">
                  <a:pos x="connsiteX7577" y="connsiteY7577"/>
                </a:cxn>
                <a:cxn ang="0">
                  <a:pos x="connsiteX7578" y="connsiteY7578"/>
                </a:cxn>
                <a:cxn ang="0">
                  <a:pos x="connsiteX7579" y="connsiteY7579"/>
                </a:cxn>
                <a:cxn ang="0">
                  <a:pos x="connsiteX7580" y="connsiteY7580"/>
                </a:cxn>
                <a:cxn ang="0">
                  <a:pos x="connsiteX7581" y="connsiteY7581"/>
                </a:cxn>
                <a:cxn ang="0">
                  <a:pos x="connsiteX7582" y="connsiteY7582"/>
                </a:cxn>
                <a:cxn ang="0">
                  <a:pos x="connsiteX7583" y="connsiteY7583"/>
                </a:cxn>
                <a:cxn ang="0">
                  <a:pos x="connsiteX7584" y="connsiteY7584"/>
                </a:cxn>
                <a:cxn ang="0">
                  <a:pos x="connsiteX7585" y="connsiteY7585"/>
                </a:cxn>
                <a:cxn ang="0">
                  <a:pos x="connsiteX7586" y="connsiteY7586"/>
                </a:cxn>
                <a:cxn ang="0">
                  <a:pos x="connsiteX7587" y="connsiteY7587"/>
                </a:cxn>
                <a:cxn ang="0">
                  <a:pos x="connsiteX7588" y="connsiteY7588"/>
                </a:cxn>
                <a:cxn ang="0">
                  <a:pos x="connsiteX7589" y="connsiteY7589"/>
                </a:cxn>
                <a:cxn ang="0">
                  <a:pos x="connsiteX7590" y="connsiteY7590"/>
                </a:cxn>
                <a:cxn ang="0">
                  <a:pos x="connsiteX7591" y="connsiteY7591"/>
                </a:cxn>
                <a:cxn ang="0">
                  <a:pos x="connsiteX7592" y="connsiteY7592"/>
                </a:cxn>
                <a:cxn ang="0">
                  <a:pos x="connsiteX7593" y="connsiteY7593"/>
                </a:cxn>
                <a:cxn ang="0">
                  <a:pos x="connsiteX7594" y="connsiteY7594"/>
                </a:cxn>
                <a:cxn ang="0">
                  <a:pos x="connsiteX7595" y="connsiteY7595"/>
                </a:cxn>
                <a:cxn ang="0">
                  <a:pos x="connsiteX7596" y="connsiteY7596"/>
                </a:cxn>
                <a:cxn ang="0">
                  <a:pos x="connsiteX7597" y="connsiteY7597"/>
                </a:cxn>
                <a:cxn ang="0">
                  <a:pos x="connsiteX7598" y="connsiteY7598"/>
                </a:cxn>
                <a:cxn ang="0">
                  <a:pos x="connsiteX7599" y="connsiteY7599"/>
                </a:cxn>
                <a:cxn ang="0">
                  <a:pos x="connsiteX7600" y="connsiteY7600"/>
                </a:cxn>
                <a:cxn ang="0">
                  <a:pos x="connsiteX7601" y="connsiteY7601"/>
                </a:cxn>
                <a:cxn ang="0">
                  <a:pos x="connsiteX7602" y="connsiteY7602"/>
                </a:cxn>
                <a:cxn ang="0">
                  <a:pos x="connsiteX7603" y="connsiteY7603"/>
                </a:cxn>
                <a:cxn ang="0">
                  <a:pos x="connsiteX7604" y="connsiteY7604"/>
                </a:cxn>
                <a:cxn ang="0">
                  <a:pos x="connsiteX7605" y="connsiteY7605"/>
                </a:cxn>
                <a:cxn ang="0">
                  <a:pos x="connsiteX7606" y="connsiteY7606"/>
                </a:cxn>
                <a:cxn ang="0">
                  <a:pos x="connsiteX7607" y="connsiteY7607"/>
                </a:cxn>
                <a:cxn ang="0">
                  <a:pos x="connsiteX7608" y="connsiteY7608"/>
                </a:cxn>
                <a:cxn ang="0">
                  <a:pos x="connsiteX7609" y="connsiteY7609"/>
                </a:cxn>
                <a:cxn ang="0">
                  <a:pos x="connsiteX7610" y="connsiteY7610"/>
                </a:cxn>
                <a:cxn ang="0">
                  <a:pos x="connsiteX7611" y="connsiteY7611"/>
                </a:cxn>
                <a:cxn ang="0">
                  <a:pos x="connsiteX7612" y="connsiteY7612"/>
                </a:cxn>
                <a:cxn ang="0">
                  <a:pos x="connsiteX7613" y="connsiteY7613"/>
                </a:cxn>
                <a:cxn ang="0">
                  <a:pos x="connsiteX7614" y="connsiteY7614"/>
                </a:cxn>
                <a:cxn ang="0">
                  <a:pos x="connsiteX7615" y="connsiteY7615"/>
                </a:cxn>
                <a:cxn ang="0">
                  <a:pos x="connsiteX7616" y="connsiteY7616"/>
                </a:cxn>
                <a:cxn ang="0">
                  <a:pos x="connsiteX7617" y="connsiteY7617"/>
                </a:cxn>
                <a:cxn ang="0">
                  <a:pos x="connsiteX7618" y="connsiteY7618"/>
                </a:cxn>
                <a:cxn ang="0">
                  <a:pos x="connsiteX7619" y="connsiteY7619"/>
                </a:cxn>
                <a:cxn ang="0">
                  <a:pos x="connsiteX7620" y="connsiteY7620"/>
                </a:cxn>
                <a:cxn ang="0">
                  <a:pos x="connsiteX7621" y="connsiteY7621"/>
                </a:cxn>
                <a:cxn ang="0">
                  <a:pos x="connsiteX7622" y="connsiteY7622"/>
                </a:cxn>
                <a:cxn ang="0">
                  <a:pos x="connsiteX7623" y="connsiteY7623"/>
                </a:cxn>
                <a:cxn ang="0">
                  <a:pos x="connsiteX7624" y="connsiteY7624"/>
                </a:cxn>
                <a:cxn ang="0">
                  <a:pos x="connsiteX7625" y="connsiteY7625"/>
                </a:cxn>
                <a:cxn ang="0">
                  <a:pos x="connsiteX7626" y="connsiteY7626"/>
                </a:cxn>
                <a:cxn ang="0">
                  <a:pos x="connsiteX7627" y="connsiteY7627"/>
                </a:cxn>
                <a:cxn ang="0">
                  <a:pos x="connsiteX7628" y="connsiteY7628"/>
                </a:cxn>
                <a:cxn ang="0">
                  <a:pos x="connsiteX7629" y="connsiteY7629"/>
                </a:cxn>
                <a:cxn ang="0">
                  <a:pos x="connsiteX7630" y="connsiteY7630"/>
                </a:cxn>
                <a:cxn ang="0">
                  <a:pos x="connsiteX7631" y="connsiteY7631"/>
                </a:cxn>
                <a:cxn ang="0">
                  <a:pos x="connsiteX7632" y="connsiteY7632"/>
                </a:cxn>
                <a:cxn ang="0">
                  <a:pos x="connsiteX7633" y="connsiteY7633"/>
                </a:cxn>
                <a:cxn ang="0">
                  <a:pos x="connsiteX7634" y="connsiteY7634"/>
                </a:cxn>
                <a:cxn ang="0">
                  <a:pos x="connsiteX7635" y="connsiteY7635"/>
                </a:cxn>
                <a:cxn ang="0">
                  <a:pos x="connsiteX7636" y="connsiteY7636"/>
                </a:cxn>
                <a:cxn ang="0">
                  <a:pos x="connsiteX7637" y="connsiteY7637"/>
                </a:cxn>
                <a:cxn ang="0">
                  <a:pos x="connsiteX7638" y="connsiteY7638"/>
                </a:cxn>
                <a:cxn ang="0">
                  <a:pos x="connsiteX7639" y="connsiteY7639"/>
                </a:cxn>
                <a:cxn ang="0">
                  <a:pos x="connsiteX7640" y="connsiteY7640"/>
                </a:cxn>
                <a:cxn ang="0">
                  <a:pos x="connsiteX7641" y="connsiteY7641"/>
                </a:cxn>
                <a:cxn ang="0">
                  <a:pos x="connsiteX7642" y="connsiteY7642"/>
                </a:cxn>
                <a:cxn ang="0">
                  <a:pos x="connsiteX7643" y="connsiteY7643"/>
                </a:cxn>
                <a:cxn ang="0">
                  <a:pos x="connsiteX7644" y="connsiteY7644"/>
                </a:cxn>
                <a:cxn ang="0">
                  <a:pos x="connsiteX7645" y="connsiteY7645"/>
                </a:cxn>
                <a:cxn ang="0">
                  <a:pos x="connsiteX7646" y="connsiteY7646"/>
                </a:cxn>
                <a:cxn ang="0">
                  <a:pos x="connsiteX7647" y="connsiteY7647"/>
                </a:cxn>
                <a:cxn ang="0">
                  <a:pos x="connsiteX7648" y="connsiteY7648"/>
                </a:cxn>
                <a:cxn ang="0">
                  <a:pos x="connsiteX7649" y="connsiteY7649"/>
                </a:cxn>
                <a:cxn ang="0">
                  <a:pos x="connsiteX7650" y="connsiteY7650"/>
                </a:cxn>
                <a:cxn ang="0">
                  <a:pos x="connsiteX7651" y="connsiteY7651"/>
                </a:cxn>
                <a:cxn ang="0">
                  <a:pos x="connsiteX7652" y="connsiteY7652"/>
                </a:cxn>
                <a:cxn ang="0">
                  <a:pos x="connsiteX7653" y="connsiteY7653"/>
                </a:cxn>
                <a:cxn ang="0">
                  <a:pos x="connsiteX7654" y="connsiteY7654"/>
                </a:cxn>
                <a:cxn ang="0">
                  <a:pos x="connsiteX7655" y="connsiteY7655"/>
                </a:cxn>
                <a:cxn ang="0">
                  <a:pos x="connsiteX7656" y="connsiteY7656"/>
                </a:cxn>
                <a:cxn ang="0">
                  <a:pos x="connsiteX7657" y="connsiteY7657"/>
                </a:cxn>
                <a:cxn ang="0">
                  <a:pos x="connsiteX7658" y="connsiteY7658"/>
                </a:cxn>
                <a:cxn ang="0">
                  <a:pos x="connsiteX7659" y="connsiteY7659"/>
                </a:cxn>
                <a:cxn ang="0">
                  <a:pos x="connsiteX7660" y="connsiteY7660"/>
                </a:cxn>
                <a:cxn ang="0">
                  <a:pos x="connsiteX7661" y="connsiteY7661"/>
                </a:cxn>
                <a:cxn ang="0">
                  <a:pos x="connsiteX7662" y="connsiteY7662"/>
                </a:cxn>
                <a:cxn ang="0">
                  <a:pos x="connsiteX7663" y="connsiteY7663"/>
                </a:cxn>
                <a:cxn ang="0">
                  <a:pos x="connsiteX7664" y="connsiteY7664"/>
                </a:cxn>
                <a:cxn ang="0">
                  <a:pos x="connsiteX7665" y="connsiteY7665"/>
                </a:cxn>
                <a:cxn ang="0">
                  <a:pos x="connsiteX7666" y="connsiteY7666"/>
                </a:cxn>
                <a:cxn ang="0">
                  <a:pos x="connsiteX7667" y="connsiteY7667"/>
                </a:cxn>
                <a:cxn ang="0">
                  <a:pos x="connsiteX7668" y="connsiteY7668"/>
                </a:cxn>
                <a:cxn ang="0">
                  <a:pos x="connsiteX7669" y="connsiteY7669"/>
                </a:cxn>
                <a:cxn ang="0">
                  <a:pos x="connsiteX7670" y="connsiteY7670"/>
                </a:cxn>
                <a:cxn ang="0">
                  <a:pos x="connsiteX7671" y="connsiteY7671"/>
                </a:cxn>
                <a:cxn ang="0">
                  <a:pos x="connsiteX7672" y="connsiteY7672"/>
                </a:cxn>
                <a:cxn ang="0">
                  <a:pos x="connsiteX7673" y="connsiteY7673"/>
                </a:cxn>
                <a:cxn ang="0">
                  <a:pos x="connsiteX7674" y="connsiteY7674"/>
                </a:cxn>
                <a:cxn ang="0">
                  <a:pos x="connsiteX7675" y="connsiteY7675"/>
                </a:cxn>
                <a:cxn ang="0">
                  <a:pos x="connsiteX7676" y="connsiteY7676"/>
                </a:cxn>
                <a:cxn ang="0">
                  <a:pos x="connsiteX7677" y="connsiteY7677"/>
                </a:cxn>
                <a:cxn ang="0">
                  <a:pos x="connsiteX7678" y="connsiteY7678"/>
                </a:cxn>
                <a:cxn ang="0">
                  <a:pos x="connsiteX7679" y="connsiteY7679"/>
                </a:cxn>
                <a:cxn ang="0">
                  <a:pos x="connsiteX7680" y="connsiteY7680"/>
                </a:cxn>
                <a:cxn ang="0">
                  <a:pos x="connsiteX7681" y="connsiteY7681"/>
                </a:cxn>
                <a:cxn ang="0">
                  <a:pos x="connsiteX7682" y="connsiteY7682"/>
                </a:cxn>
                <a:cxn ang="0">
                  <a:pos x="connsiteX7683" y="connsiteY7683"/>
                </a:cxn>
                <a:cxn ang="0">
                  <a:pos x="connsiteX7684" y="connsiteY7684"/>
                </a:cxn>
                <a:cxn ang="0">
                  <a:pos x="connsiteX7685" y="connsiteY7685"/>
                </a:cxn>
                <a:cxn ang="0">
                  <a:pos x="connsiteX7686" y="connsiteY7686"/>
                </a:cxn>
                <a:cxn ang="0">
                  <a:pos x="connsiteX7687" y="connsiteY7687"/>
                </a:cxn>
                <a:cxn ang="0">
                  <a:pos x="connsiteX7688" y="connsiteY7688"/>
                </a:cxn>
                <a:cxn ang="0">
                  <a:pos x="connsiteX7689" y="connsiteY7689"/>
                </a:cxn>
                <a:cxn ang="0">
                  <a:pos x="connsiteX7690" y="connsiteY7690"/>
                </a:cxn>
                <a:cxn ang="0">
                  <a:pos x="connsiteX7691" y="connsiteY7691"/>
                </a:cxn>
                <a:cxn ang="0">
                  <a:pos x="connsiteX7692" y="connsiteY7692"/>
                </a:cxn>
                <a:cxn ang="0">
                  <a:pos x="connsiteX7693" y="connsiteY7693"/>
                </a:cxn>
                <a:cxn ang="0">
                  <a:pos x="connsiteX7694" y="connsiteY7694"/>
                </a:cxn>
                <a:cxn ang="0">
                  <a:pos x="connsiteX7695" y="connsiteY7695"/>
                </a:cxn>
                <a:cxn ang="0">
                  <a:pos x="connsiteX7696" y="connsiteY7696"/>
                </a:cxn>
                <a:cxn ang="0">
                  <a:pos x="connsiteX7697" y="connsiteY7697"/>
                </a:cxn>
                <a:cxn ang="0">
                  <a:pos x="connsiteX7698" y="connsiteY7698"/>
                </a:cxn>
                <a:cxn ang="0">
                  <a:pos x="connsiteX7699" y="connsiteY7699"/>
                </a:cxn>
                <a:cxn ang="0">
                  <a:pos x="connsiteX7700" y="connsiteY7700"/>
                </a:cxn>
                <a:cxn ang="0">
                  <a:pos x="connsiteX7701" y="connsiteY7701"/>
                </a:cxn>
                <a:cxn ang="0">
                  <a:pos x="connsiteX7702" y="connsiteY7702"/>
                </a:cxn>
                <a:cxn ang="0">
                  <a:pos x="connsiteX7703" y="connsiteY7703"/>
                </a:cxn>
                <a:cxn ang="0">
                  <a:pos x="connsiteX7704" y="connsiteY7704"/>
                </a:cxn>
                <a:cxn ang="0">
                  <a:pos x="connsiteX7705" y="connsiteY7705"/>
                </a:cxn>
                <a:cxn ang="0">
                  <a:pos x="connsiteX7706" y="connsiteY7706"/>
                </a:cxn>
                <a:cxn ang="0">
                  <a:pos x="connsiteX7707" y="connsiteY7707"/>
                </a:cxn>
                <a:cxn ang="0">
                  <a:pos x="connsiteX7708" y="connsiteY7708"/>
                </a:cxn>
                <a:cxn ang="0">
                  <a:pos x="connsiteX7709" y="connsiteY7709"/>
                </a:cxn>
                <a:cxn ang="0">
                  <a:pos x="connsiteX7710" y="connsiteY7710"/>
                </a:cxn>
                <a:cxn ang="0">
                  <a:pos x="connsiteX7711" y="connsiteY7711"/>
                </a:cxn>
                <a:cxn ang="0">
                  <a:pos x="connsiteX7712" y="connsiteY7712"/>
                </a:cxn>
                <a:cxn ang="0">
                  <a:pos x="connsiteX7713" y="connsiteY7713"/>
                </a:cxn>
                <a:cxn ang="0">
                  <a:pos x="connsiteX7714" y="connsiteY7714"/>
                </a:cxn>
                <a:cxn ang="0">
                  <a:pos x="connsiteX7715" y="connsiteY7715"/>
                </a:cxn>
                <a:cxn ang="0">
                  <a:pos x="connsiteX7716" y="connsiteY7716"/>
                </a:cxn>
                <a:cxn ang="0">
                  <a:pos x="connsiteX7717" y="connsiteY7717"/>
                </a:cxn>
                <a:cxn ang="0">
                  <a:pos x="connsiteX7718" y="connsiteY7718"/>
                </a:cxn>
                <a:cxn ang="0">
                  <a:pos x="connsiteX7719" y="connsiteY7719"/>
                </a:cxn>
                <a:cxn ang="0">
                  <a:pos x="connsiteX7720" y="connsiteY7720"/>
                </a:cxn>
                <a:cxn ang="0">
                  <a:pos x="connsiteX7721" y="connsiteY7721"/>
                </a:cxn>
                <a:cxn ang="0">
                  <a:pos x="connsiteX7722" y="connsiteY7722"/>
                </a:cxn>
                <a:cxn ang="0">
                  <a:pos x="connsiteX7723" y="connsiteY7723"/>
                </a:cxn>
                <a:cxn ang="0">
                  <a:pos x="connsiteX7724" y="connsiteY7724"/>
                </a:cxn>
                <a:cxn ang="0">
                  <a:pos x="connsiteX7725" y="connsiteY7725"/>
                </a:cxn>
                <a:cxn ang="0">
                  <a:pos x="connsiteX7726" y="connsiteY7726"/>
                </a:cxn>
                <a:cxn ang="0">
                  <a:pos x="connsiteX7727" y="connsiteY7727"/>
                </a:cxn>
                <a:cxn ang="0">
                  <a:pos x="connsiteX7728" y="connsiteY7728"/>
                </a:cxn>
                <a:cxn ang="0">
                  <a:pos x="connsiteX7729" y="connsiteY7729"/>
                </a:cxn>
                <a:cxn ang="0">
                  <a:pos x="connsiteX7730" y="connsiteY7730"/>
                </a:cxn>
                <a:cxn ang="0">
                  <a:pos x="connsiteX7731" y="connsiteY7731"/>
                </a:cxn>
                <a:cxn ang="0">
                  <a:pos x="connsiteX7732" y="connsiteY7732"/>
                </a:cxn>
                <a:cxn ang="0">
                  <a:pos x="connsiteX7733" y="connsiteY7733"/>
                </a:cxn>
                <a:cxn ang="0">
                  <a:pos x="connsiteX7734" y="connsiteY7734"/>
                </a:cxn>
                <a:cxn ang="0">
                  <a:pos x="connsiteX7735" y="connsiteY7735"/>
                </a:cxn>
                <a:cxn ang="0">
                  <a:pos x="connsiteX7736" y="connsiteY7736"/>
                </a:cxn>
                <a:cxn ang="0">
                  <a:pos x="connsiteX7737" y="connsiteY7737"/>
                </a:cxn>
                <a:cxn ang="0">
                  <a:pos x="connsiteX7738" y="connsiteY7738"/>
                </a:cxn>
                <a:cxn ang="0">
                  <a:pos x="connsiteX7739" y="connsiteY7739"/>
                </a:cxn>
                <a:cxn ang="0">
                  <a:pos x="connsiteX7740" y="connsiteY7740"/>
                </a:cxn>
                <a:cxn ang="0">
                  <a:pos x="connsiteX7741" y="connsiteY7741"/>
                </a:cxn>
                <a:cxn ang="0">
                  <a:pos x="connsiteX7742" y="connsiteY7742"/>
                </a:cxn>
                <a:cxn ang="0">
                  <a:pos x="connsiteX7743" y="connsiteY7743"/>
                </a:cxn>
                <a:cxn ang="0">
                  <a:pos x="connsiteX7744" y="connsiteY7744"/>
                </a:cxn>
                <a:cxn ang="0">
                  <a:pos x="connsiteX7745" y="connsiteY7745"/>
                </a:cxn>
                <a:cxn ang="0">
                  <a:pos x="connsiteX7746" y="connsiteY7746"/>
                </a:cxn>
                <a:cxn ang="0">
                  <a:pos x="connsiteX7747" y="connsiteY7747"/>
                </a:cxn>
                <a:cxn ang="0">
                  <a:pos x="connsiteX7748" y="connsiteY7748"/>
                </a:cxn>
                <a:cxn ang="0">
                  <a:pos x="connsiteX7749" y="connsiteY7749"/>
                </a:cxn>
                <a:cxn ang="0">
                  <a:pos x="connsiteX7750" y="connsiteY7750"/>
                </a:cxn>
                <a:cxn ang="0">
                  <a:pos x="connsiteX7751" y="connsiteY7751"/>
                </a:cxn>
                <a:cxn ang="0">
                  <a:pos x="connsiteX7752" y="connsiteY7752"/>
                </a:cxn>
                <a:cxn ang="0">
                  <a:pos x="connsiteX7753" y="connsiteY7753"/>
                </a:cxn>
                <a:cxn ang="0">
                  <a:pos x="connsiteX7754" y="connsiteY7754"/>
                </a:cxn>
                <a:cxn ang="0">
                  <a:pos x="connsiteX7755" y="connsiteY7755"/>
                </a:cxn>
                <a:cxn ang="0">
                  <a:pos x="connsiteX7756" y="connsiteY7756"/>
                </a:cxn>
                <a:cxn ang="0">
                  <a:pos x="connsiteX7757" y="connsiteY7757"/>
                </a:cxn>
                <a:cxn ang="0">
                  <a:pos x="connsiteX7758" y="connsiteY7758"/>
                </a:cxn>
                <a:cxn ang="0">
                  <a:pos x="connsiteX7759" y="connsiteY7759"/>
                </a:cxn>
                <a:cxn ang="0">
                  <a:pos x="connsiteX7760" y="connsiteY7760"/>
                </a:cxn>
                <a:cxn ang="0">
                  <a:pos x="connsiteX7761" y="connsiteY7761"/>
                </a:cxn>
                <a:cxn ang="0">
                  <a:pos x="connsiteX7762" y="connsiteY7762"/>
                </a:cxn>
                <a:cxn ang="0">
                  <a:pos x="connsiteX7763" y="connsiteY7763"/>
                </a:cxn>
                <a:cxn ang="0">
                  <a:pos x="connsiteX7764" y="connsiteY7764"/>
                </a:cxn>
                <a:cxn ang="0">
                  <a:pos x="connsiteX7765" y="connsiteY7765"/>
                </a:cxn>
                <a:cxn ang="0">
                  <a:pos x="connsiteX7766" y="connsiteY7766"/>
                </a:cxn>
                <a:cxn ang="0">
                  <a:pos x="connsiteX7767" y="connsiteY7767"/>
                </a:cxn>
                <a:cxn ang="0">
                  <a:pos x="connsiteX7768" y="connsiteY7768"/>
                </a:cxn>
                <a:cxn ang="0">
                  <a:pos x="connsiteX7769" y="connsiteY7769"/>
                </a:cxn>
                <a:cxn ang="0">
                  <a:pos x="connsiteX7770" y="connsiteY7770"/>
                </a:cxn>
                <a:cxn ang="0">
                  <a:pos x="connsiteX7771" y="connsiteY7771"/>
                </a:cxn>
                <a:cxn ang="0">
                  <a:pos x="connsiteX7772" y="connsiteY7772"/>
                </a:cxn>
                <a:cxn ang="0">
                  <a:pos x="connsiteX7773" y="connsiteY7773"/>
                </a:cxn>
                <a:cxn ang="0">
                  <a:pos x="connsiteX7774" y="connsiteY7774"/>
                </a:cxn>
                <a:cxn ang="0">
                  <a:pos x="connsiteX7775" y="connsiteY7775"/>
                </a:cxn>
                <a:cxn ang="0">
                  <a:pos x="connsiteX7776" y="connsiteY7776"/>
                </a:cxn>
                <a:cxn ang="0">
                  <a:pos x="connsiteX7777" y="connsiteY7777"/>
                </a:cxn>
                <a:cxn ang="0">
                  <a:pos x="connsiteX7778" y="connsiteY7778"/>
                </a:cxn>
                <a:cxn ang="0">
                  <a:pos x="connsiteX7779" y="connsiteY7779"/>
                </a:cxn>
                <a:cxn ang="0">
                  <a:pos x="connsiteX7780" y="connsiteY7780"/>
                </a:cxn>
                <a:cxn ang="0">
                  <a:pos x="connsiteX7781" y="connsiteY7781"/>
                </a:cxn>
                <a:cxn ang="0">
                  <a:pos x="connsiteX7782" y="connsiteY7782"/>
                </a:cxn>
                <a:cxn ang="0">
                  <a:pos x="connsiteX7783" y="connsiteY7783"/>
                </a:cxn>
                <a:cxn ang="0">
                  <a:pos x="connsiteX7784" y="connsiteY7784"/>
                </a:cxn>
                <a:cxn ang="0">
                  <a:pos x="connsiteX7785" y="connsiteY7785"/>
                </a:cxn>
                <a:cxn ang="0">
                  <a:pos x="connsiteX7786" y="connsiteY7786"/>
                </a:cxn>
                <a:cxn ang="0">
                  <a:pos x="connsiteX7787" y="connsiteY7787"/>
                </a:cxn>
                <a:cxn ang="0">
                  <a:pos x="connsiteX7788" y="connsiteY7788"/>
                </a:cxn>
                <a:cxn ang="0">
                  <a:pos x="connsiteX7789" y="connsiteY7789"/>
                </a:cxn>
                <a:cxn ang="0">
                  <a:pos x="connsiteX7790" y="connsiteY7790"/>
                </a:cxn>
                <a:cxn ang="0">
                  <a:pos x="connsiteX7791" y="connsiteY7791"/>
                </a:cxn>
                <a:cxn ang="0">
                  <a:pos x="connsiteX7792" y="connsiteY7792"/>
                </a:cxn>
                <a:cxn ang="0">
                  <a:pos x="connsiteX7793" y="connsiteY7793"/>
                </a:cxn>
                <a:cxn ang="0">
                  <a:pos x="connsiteX7794" y="connsiteY7794"/>
                </a:cxn>
                <a:cxn ang="0">
                  <a:pos x="connsiteX7795" y="connsiteY7795"/>
                </a:cxn>
                <a:cxn ang="0">
                  <a:pos x="connsiteX7796" y="connsiteY7796"/>
                </a:cxn>
                <a:cxn ang="0">
                  <a:pos x="connsiteX7797" y="connsiteY7797"/>
                </a:cxn>
                <a:cxn ang="0">
                  <a:pos x="connsiteX7798" y="connsiteY7798"/>
                </a:cxn>
                <a:cxn ang="0">
                  <a:pos x="connsiteX7799" y="connsiteY7799"/>
                </a:cxn>
                <a:cxn ang="0">
                  <a:pos x="connsiteX7800" y="connsiteY7800"/>
                </a:cxn>
                <a:cxn ang="0">
                  <a:pos x="connsiteX7801" y="connsiteY7801"/>
                </a:cxn>
                <a:cxn ang="0">
                  <a:pos x="connsiteX7802" y="connsiteY7802"/>
                </a:cxn>
                <a:cxn ang="0">
                  <a:pos x="connsiteX7803" y="connsiteY7803"/>
                </a:cxn>
                <a:cxn ang="0">
                  <a:pos x="connsiteX7804" y="connsiteY7804"/>
                </a:cxn>
                <a:cxn ang="0">
                  <a:pos x="connsiteX7805" y="connsiteY7805"/>
                </a:cxn>
                <a:cxn ang="0">
                  <a:pos x="connsiteX7806" y="connsiteY7806"/>
                </a:cxn>
                <a:cxn ang="0">
                  <a:pos x="connsiteX7807" y="connsiteY7807"/>
                </a:cxn>
                <a:cxn ang="0">
                  <a:pos x="connsiteX7808" y="connsiteY7808"/>
                </a:cxn>
                <a:cxn ang="0">
                  <a:pos x="connsiteX7809" y="connsiteY7809"/>
                </a:cxn>
                <a:cxn ang="0">
                  <a:pos x="connsiteX7810" y="connsiteY7810"/>
                </a:cxn>
                <a:cxn ang="0">
                  <a:pos x="connsiteX7811" y="connsiteY7811"/>
                </a:cxn>
                <a:cxn ang="0">
                  <a:pos x="connsiteX7812" y="connsiteY7812"/>
                </a:cxn>
                <a:cxn ang="0">
                  <a:pos x="connsiteX7813" y="connsiteY7813"/>
                </a:cxn>
                <a:cxn ang="0">
                  <a:pos x="connsiteX7814" y="connsiteY7814"/>
                </a:cxn>
                <a:cxn ang="0">
                  <a:pos x="connsiteX7815" y="connsiteY7815"/>
                </a:cxn>
                <a:cxn ang="0">
                  <a:pos x="connsiteX7816" y="connsiteY7816"/>
                </a:cxn>
                <a:cxn ang="0">
                  <a:pos x="connsiteX7817" y="connsiteY7817"/>
                </a:cxn>
                <a:cxn ang="0">
                  <a:pos x="connsiteX7818" y="connsiteY7818"/>
                </a:cxn>
                <a:cxn ang="0">
                  <a:pos x="connsiteX7819" y="connsiteY7819"/>
                </a:cxn>
                <a:cxn ang="0">
                  <a:pos x="connsiteX7820" y="connsiteY7820"/>
                </a:cxn>
                <a:cxn ang="0">
                  <a:pos x="connsiteX7821" y="connsiteY7821"/>
                </a:cxn>
                <a:cxn ang="0">
                  <a:pos x="connsiteX7822" y="connsiteY7822"/>
                </a:cxn>
                <a:cxn ang="0">
                  <a:pos x="connsiteX7823" y="connsiteY7823"/>
                </a:cxn>
                <a:cxn ang="0">
                  <a:pos x="connsiteX7824" y="connsiteY7824"/>
                </a:cxn>
                <a:cxn ang="0">
                  <a:pos x="connsiteX7825" y="connsiteY7825"/>
                </a:cxn>
                <a:cxn ang="0">
                  <a:pos x="connsiteX7826" y="connsiteY7826"/>
                </a:cxn>
                <a:cxn ang="0">
                  <a:pos x="connsiteX7827" y="connsiteY7827"/>
                </a:cxn>
                <a:cxn ang="0">
                  <a:pos x="connsiteX7828" y="connsiteY7828"/>
                </a:cxn>
                <a:cxn ang="0">
                  <a:pos x="connsiteX7829" y="connsiteY7829"/>
                </a:cxn>
                <a:cxn ang="0">
                  <a:pos x="connsiteX7830" y="connsiteY7830"/>
                </a:cxn>
                <a:cxn ang="0">
                  <a:pos x="connsiteX7831" y="connsiteY7831"/>
                </a:cxn>
                <a:cxn ang="0">
                  <a:pos x="connsiteX7832" y="connsiteY7832"/>
                </a:cxn>
                <a:cxn ang="0">
                  <a:pos x="connsiteX7833" y="connsiteY7833"/>
                </a:cxn>
                <a:cxn ang="0">
                  <a:pos x="connsiteX7834" y="connsiteY7834"/>
                </a:cxn>
                <a:cxn ang="0">
                  <a:pos x="connsiteX7835" y="connsiteY7835"/>
                </a:cxn>
                <a:cxn ang="0">
                  <a:pos x="connsiteX7836" y="connsiteY7836"/>
                </a:cxn>
                <a:cxn ang="0">
                  <a:pos x="connsiteX7837" y="connsiteY7837"/>
                </a:cxn>
                <a:cxn ang="0">
                  <a:pos x="connsiteX7838" y="connsiteY7838"/>
                </a:cxn>
                <a:cxn ang="0">
                  <a:pos x="connsiteX7839" y="connsiteY7839"/>
                </a:cxn>
                <a:cxn ang="0">
                  <a:pos x="connsiteX7840" y="connsiteY7840"/>
                </a:cxn>
                <a:cxn ang="0">
                  <a:pos x="connsiteX7841" y="connsiteY7841"/>
                </a:cxn>
                <a:cxn ang="0">
                  <a:pos x="connsiteX7842" y="connsiteY7842"/>
                </a:cxn>
                <a:cxn ang="0">
                  <a:pos x="connsiteX7843" y="connsiteY7843"/>
                </a:cxn>
                <a:cxn ang="0">
                  <a:pos x="connsiteX7844" y="connsiteY7844"/>
                </a:cxn>
                <a:cxn ang="0">
                  <a:pos x="connsiteX7845" y="connsiteY7845"/>
                </a:cxn>
                <a:cxn ang="0">
                  <a:pos x="connsiteX7846" y="connsiteY7846"/>
                </a:cxn>
                <a:cxn ang="0">
                  <a:pos x="connsiteX7847" y="connsiteY7847"/>
                </a:cxn>
                <a:cxn ang="0">
                  <a:pos x="connsiteX7848" y="connsiteY7848"/>
                </a:cxn>
                <a:cxn ang="0">
                  <a:pos x="connsiteX7849" y="connsiteY7849"/>
                </a:cxn>
                <a:cxn ang="0">
                  <a:pos x="connsiteX7850" y="connsiteY7850"/>
                </a:cxn>
                <a:cxn ang="0">
                  <a:pos x="connsiteX7851" y="connsiteY7851"/>
                </a:cxn>
                <a:cxn ang="0">
                  <a:pos x="connsiteX7852" y="connsiteY7852"/>
                </a:cxn>
                <a:cxn ang="0">
                  <a:pos x="connsiteX7853" y="connsiteY7853"/>
                </a:cxn>
                <a:cxn ang="0">
                  <a:pos x="connsiteX7854" y="connsiteY7854"/>
                </a:cxn>
                <a:cxn ang="0">
                  <a:pos x="connsiteX7855" y="connsiteY7855"/>
                </a:cxn>
                <a:cxn ang="0">
                  <a:pos x="connsiteX7856" y="connsiteY7856"/>
                </a:cxn>
                <a:cxn ang="0">
                  <a:pos x="connsiteX7857" y="connsiteY7857"/>
                </a:cxn>
                <a:cxn ang="0">
                  <a:pos x="connsiteX7858" y="connsiteY7858"/>
                </a:cxn>
                <a:cxn ang="0">
                  <a:pos x="connsiteX7859" y="connsiteY7859"/>
                </a:cxn>
                <a:cxn ang="0">
                  <a:pos x="connsiteX7860" y="connsiteY7860"/>
                </a:cxn>
                <a:cxn ang="0">
                  <a:pos x="connsiteX7861" y="connsiteY7861"/>
                </a:cxn>
                <a:cxn ang="0">
                  <a:pos x="connsiteX7862" y="connsiteY7862"/>
                </a:cxn>
                <a:cxn ang="0">
                  <a:pos x="connsiteX7863" y="connsiteY7863"/>
                </a:cxn>
                <a:cxn ang="0">
                  <a:pos x="connsiteX7864" y="connsiteY7864"/>
                </a:cxn>
                <a:cxn ang="0">
                  <a:pos x="connsiteX7865" y="connsiteY7865"/>
                </a:cxn>
                <a:cxn ang="0">
                  <a:pos x="connsiteX7866" y="connsiteY7866"/>
                </a:cxn>
                <a:cxn ang="0">
                  <a:pos x="connsiteX7867" y="connsiteY7867"/>
                </a:cxn>
                <a:cxn ang="0">
                  <a:pos x="connsiteX7868" y="connsiteY7868"/>
                </a:cxn>
                <a:cxn ang="0">
                  <a:pos x="connsiteX7869" y="connsiteY7869"/>
                </a:cxn>
                <a:cxn ang="0">
                  <a:pos x="connsiteX7870" y="connsiteY7870"/>
                </a:cxn>
                <a:cxn ang="0">
                  <a:pos x="connsiteX7871" y="connsiteY7871"/>
                </a:cxn>
                <a:cxn ang="0">
                  <a:pos x="connsiteX7872" y="connsiteY7872"/>
                </a:cxn>
                <a:cxn ang="0">
                  <a:pos x="connsiteX7873" y="connsiteY7873"/>
                </a:cxn>
                <a:cxn ang="0">
                  <a:pos x="connsiteX7874" y="connsiteY7874"/>
                </a:cxn>
                <a:cxn ang="0">
                  <a:pos x="connsiteX7875" y="connsiteY7875"/>
                </a:cxn>
                <a:cxn ang="0">
                  <a:pos x="connsiteX7876" y="connsiteY7876"/>
                </a:cxn>
                <a:cxn ang="0">
                  <a:pos x="connsiteX7877" y="connsiteY7877"/>
                </a:cxn>
                <a:cxn ang="0">
                  <a:pos x="connsiteX7878" y="connsiteY7878"/>
                </a:cxn>
                <a:cxn ang="0">
                  <a:pos x="connsiteX7879" y="connsiteY7879"/>
                </a:cxn>
                <a:cxn ang="0">
                  <a:pos x="connsiteX7880" y="connsiteY7880"/>
                </a:cxn>
                <a:cxn ang="0">
                  <a:pos x="connsiteX7881" y="connsiteY7881"/>
                </a:cxn>
                <a:cxn ang="0">
                  <a:pos x="connsiteX7882" y="connsiteY7882"/>
                </a:cxn>
                <a:cxn ang="0">
                  <a:pos x="connsiteX7883" y="connsiteY7883"/>
                </a:cxn>
                <a:cxn ang="0">
                  <a:pos x="connsiteX7884" y="connsiteY7884"/>
                </a:cxn>
                <a:cxn ang="0">
                  <a:pos x="connsiteX7885" y="connsiteY7885"/>
                </a:cxn>
                <a:cxn ang="0">
                  <a:pos x="connsiteX7886" y="connsiteY7886"/>
                </a:cxn>
                <a:cxn ang="0">
                  <a:pos x="connsiteX7887" y="connsiteY7887"/>
                </a:cxn>
                <a:cxn ang="0">
                  <a:pos x="connsiteX7888" y="connsiteY7888"/>
                </a:cxn>
                <a:cxn ang="0">
                  <a:pos x="connsiteX7889" y="connsiteY7889"/>
                </a:cxn>
                <a:cxn ang="0">
                  <a:pos x="connsiteX7890" y="connsiteY7890"/>
                </a:cxn>
                <a:cxn ang="0">
                  <a:pos x="connsiteX7891" y="connsiteY7891"/>
                </a:cxn>
                <a:cxn ang="0">
                  <a:pos x="connsiteX7892" y="connsiteY7892"/>
                </a:cxn>
                <a:cxn ang="0">
                  <a:pos x="connsiteX7893" y="connsiteY7893"/>
                </a:cxn>
                <a:cxn ang="0">
                  <a:pos x="connsiteX7894" y="connsiteY7894"/>
                </a:cxn>
                <a:cxn ang="0">
                  <a:pos x="connsiteX7895" y="connsiteY7895"/>
                </a:cxn>
                <a:cxn ang="0">
                  <a:pos x="connsiteX7896" y="connsiteY7896"/>
                </a:cxn>
                <a:cxn ang="0">
                  <a:pos x="connsiteX7897" y="connsiteY7897"/>
                </a:cxn>
                <a:cxn ang="0">
                  <a:pos x="connsiteX7898" y="connsiteY7898"/>
                </a:cxn>
                <a:cxn ang="0">
                  <a:pos x="connsiteX7899" y="connsiteY7899"/>
                </a:cxn>
                <a:cxn ang="0">
                  <a:pos x="connsiteX7900" y="connsiteY7900"/>
                </a:cxn>
                <a:cxn ang="0">
                  <a:pos x="connsiteX7901" y="connsiteY7901"/>
                </a:cxn>
                <a:cxn ang="0">
                  <a:pos x="connsiteX7902" y="connsiteY7902"/>
                </a:cxn>
                <a:cxn ang="0">
                  <a:pos x="connsiteX7903" y="connsiteY7903"/>
                </a:cxn>
                <a:cxn ang="0">
                  <a:pos x="connsiteX7904" y="connsiteY7904"/>
                </a:cxn>
                <a:cxn ang="0">
                  <a:pos x="connsiteX7905" y="connsiteY7905"/>
                </a:cxn>
                <a:cxn ang="0">
                  <a:pos x="connsiteX7906" y="connsiteY7906"/>
                </a:cxn>
                <a:cxn ang="0">
                  <a:pos x="connsiteX7907" y="connsiteY7907"/>
                </a:cxn>
                <a:cxn ang="0">
                  <a:pos x="connsiteX7908" y="connsiteY7908"/>
                </a:cxn>
                <a:cxn ang="0">
                  <a:pos x="connsiteX7909" y="connsiteY7909"/>
                </a:cxn>
                <a:cxn ang="0">
                  <a:pos x="connsiteX7910" y="connsiteY7910"/>
                </a:cxn>
                <a:cxn ang="0">
                  <a:pos x="connsiteX7911" y="connsiteY7911"/>
                </a:cxn>
                <a:cxn ang="0">
                  <a:pos x="connsiteX7912" y="connsiteY7912"/>
                </a:cxn>
                <a:cxn ang="0">
                  <a:pos x="connsiteX7913" y="connsiteY7913"/>
                </a:cxn>
                <a:cxn ang="0">
                  <a:pos x="connsiteX7914" y="connsiteY7914"/>
                </a:cxn>
                <a:cxn ang="0">
                  <a:pos x="connsiteX7915" y="connsiteY7915"/>
                </a:cxn>
                <a:cxn ang="0">
                  <a:pos x="connsiteX7916" y="connsiteY7916"/>
                </a:cxn>
                <a:cxn ang="0">
                  <a:pos x="connsiteX7917" y="connsiteY7917"/>
                </a:cxn>
                <a:cxn ang="0">
                  <a:pos x="connsiteX7918" y="connsiteY7918"/>
                </a:cxn>
                <a:cxn ang="0">
                  <a:pos x="connsiteX7919" y="connsiteY7919"/>
                </a:cxn>
                <a:cxn ang="0">
                  <a:pos x="connsiteX7920" y="connsiteY7920"/>
                </a:cxn>
                <a:cxn ang="0">
                  <a:pos x="connsiteX7921" y="connsiteY7921"/>
                </a:cxn>
                <a:cxn ang="0">
                  <a:pos x="connsiteX7922" y="connsiteY7922"/>
                </a:cxn>
                <a:cxn ang="0">
                  <a:pos x="connsiteX7923" y="connsiteY7923"/>
                </a:cxn>
                <a:cxn ang="0">
                  <a:pos x="connsiteX7924" y="connsiteY7924"/>
                </a:cxn>
                <a:cxn ang="0">
                  <a:pos x="connsiteX7925" y="connsiteY7925"/>
                </a:cxn>
                <a:cxn ang="0">
                  <a:pos x="connsiteX7926" y="connsiteY7926"/>
                </a:cxn>
                <a:cxn ang="0">
                  <a:pos x="connsiteX7927" y="connsiteY7927"/>
                </a:cxn>
                <a:cxn ang="0">
                  <a:pos x="connsiteX7928" y="connsiteY7928"/>
                </a:cxn>
                <a:cxn ang="0">
                  <a:pos x="connsiteX7929" y="connsiteY7929"/>
                </a:cxn>
                <a:cxn ang="0">
                  <a:pos x="connsiteX7930" y="connsiteY7930"/>
                </a:cxn>
                <a:cxn ang="0">
                  <a:pos x="connsiteX7931" y="connsiteY7931"/>
                </a:cxn>
                <a:cxn ang="0">
                  <a:pos x="connsiteX7932" y="connsiteY7932"/>
                </a:cxn>
                <a:cxn ang="0">
                  <a:pos x="connsiteX7933" y="connsiteY7933"/>
                </a:cxn>
                <a:cxn ang="0">
                  <a:pos x="connsiteX7934" y="connsiteY7934"/>
                </a:cxn>
                <a:cxn ang="0">
                  <a:pos x="connsiteX7935" y="connsiteY7935"/>
                </a:cxn>
                <a:cxn ang="0">
                  <a:pos x="connsiteX7936" y="connsiteY7936"/>
                </a:cxn>
                <a:cxn ang="0">
                  <a:pos x="connsiteX7937" y="connsiteY7937"/>
                </a:cxn>
                <a:cxn ang="0">
                  <a:pos x="connsiteX7938" y="connsiteY7938"/>
                </a:cxn>
                <a:cxn ang="0">
                  <a:pos x="connsiteX7939" y="connsiteY7939"/>
                </a:cxn>
                <a:cxn ang="0">
                  <a:pos x="connsiteX7940" y="connsiteY7940"/>
                </a:cxn>
                <a:cxn ang="0">
                  <a:pos x="connsiteX7941" y="connsiteY7941"/>
                </a:cxn>
                <a:cxn ang="0">
                  <a:pos x="connsiteX7942" y="connsiteY7942"/>
                </a:cxn>
                <a:cxn ang="0">
                  <a:pos x="connsiteX7943" y="connsiteY7943"/>
                </a:cxn>
                <a:cxn ang="0">
                  <a:pos x="connsiteX7944" y="connsiteY7944"/>
                </a:cxn>
                <a:cxn ang="0">
                  <a:pos x="connsiteX7945" y="connsiteY7945"/>
                </a:cxn>
                <a:cxn ang="0">
                  <a:pos x="connsiteX7946" y="connsiteY7946"/>
                </a:cxn>
                <a:cxn ang="0">
                  <a:pos x="connsiteX7947" y="connsiteY7947"/>
                </a:cxn>
                <a:cxn ang="0">
                  <a:pos x="connsiteX7948" y="connsiteY7948"/>
                </a:cxn>
                <a:cxn ang="0">
                  <a:pos x="connsiteX7949" y="connsiteY7949"/>
                </a:cxn>
                <a:cxn ang="0">
                  <a:pos x="connsiteX7950" y="connsiteY7950"/>
                </a:cxn>
                <a:cxn ang="0">
                  <a:pos x="connsiteX7951" y="connsiteY7951"/>
                </a:cxn>
                <a:cxn ang="0">
                  <a:pos x="connsiteX7952" y="connsiteY7952"/>
                </a:cxn>
                <a:cxn ang="0">
                  <a:pos x="connsiteX7953" y="connsiteY7953"/>
                </a:cxn>
                <a:cxn ang="0">
                  <a:pos x="connsiteX7954" y="connsiteY7954"/>
                </a:cxn>
                <a:cxn ang="0">
                  <a:pos x="connsiteX7955" y="connsiteY7955"/>
                </a:cxn>
                <a:cxn ang="0">
                  <a:pos x="connsiteX7956" y="connsiteY7956"/>
                </a:cxn>
                <a:cxn ang="0">
                  <a:pos x="connsiteX7957" y="connsiteY7957"/>
                </a:cxn>
                <a:cxn ang="0">
                  <a:pos x="connsiteX7958" y="connsiteY7958"/>
                </a:cxn>
                <a:cxn ang="0">
                  <a:pos x="connsiteX7959" y="connsiteY7959"/>
                </a:cxn>
                <a:cxn ang="0">
                  <a:pos x="connsiteX7960" y="connsiteY7960"/>
                </a:cxn>
                <a:cxn ang="0">
                  <a:pos x="connsiteX7961" y="connsiteY7961"/>
                </a:cxn>
                <a:cxn ang="0">
                  <a:pos x="connsiteX7962" y="connsiteY7962"/>
                </a:cxn>
                <a:cxn ang="0">
                  <a:pos x="connsiteX7963" y="connsiteY7963"/>
                </a:cxn>
                <a:cxn ang="0">
                  <a:pos x="connsiteX7964" y="connsiteY7964"/>
                </a:cxn>
                <a:cxn ang="0">
                  <a:pos x="connsiteX7965" y="connsiteY7965"/>
                </a:cxn>
                <a:cxn ang="0">
                  <a:pos x="connsiteX7966" y="connsiteY7966"/>
                </a:cxn>
                <a:cxn ang="0">
                  <a:pos x="connsiteX7967" y="connsiteY7967"/>
                </a:cxn>
                <a:cxn ang="0">
                  <a:pos x="connsiteX7968" y="connsiteY7968"/>
                </a:cxn>
                <a:cxn ang="0">
                  <a:pos x="connsiteX7969" y="connsiteY7969"/>
                </a:cxn>
                <a:cxn ang="0">
                  <a:pos x="connsiteX7970" y="connsiteY7970"/>
                </a:cxn>
                <a:cxn ang="0">
                  <a:pos x="connsiteX7971" y="connsiteY7971"/>
                </a:cxn>
                <a:cxn ang="0">
                  <a:pos x="connsiteX7972" y="connsiteY7972"/>
                </a:cxn>
                <a:cxn ang="0">
                  <a:pos x="connsiteX7973" y="connsiteY7973"/>
                </a:cxn>
                <a:cxn ang="0">
                  <a:pos x="connsiteX7974" y="connsiteY7974"/>
                </a:cxn>
                <a:cxn ang="0">
                  <a:pos x="connsiteX7975" y="connsiteY7975"/>
                </a:cxn>
                <a:cxn ang="0">
                  <a:pos x="connsiteX7976" y="connsiteY7976"/>
                </a:cxn>
                <a:cxn ang="0">
                  <a:pos x="connsiteX7977" y="connsiteY7977"/>
                </a:cxn>
                <a:cxn ang="0">
                  <a:pos x="connsiteX7978" y="connsiteY7978"/>
                </a:cxn>
                <a:cxn ang="0">
                  <a:pos x="connsiteX7979" y="connsiteY7979"/>
                </a:cxn>
                <a:cxn ang="0">
                  <a:pos x="connsiteX7980" y="connsiteY7980"/>
                </a:cxn>
                <a:cxn ang="0">
                  <a:pos x="connsiteX7981" y="connsiteY7981"/>
                </a:cxn>
                <a:cxn ang="0">
                  <a:pos x="connsiteX7982" y="connsiteY7982"/>
                </a:cxn>
                <a:cxn ang="0">
                  <a:pos x="connsiteX7983" y="connsiteY7983"/>
                </a:cxn>
                <a:cxn ang="0">
                  <a:pos x="connsiteX7984" y="connsiteY7984"/>
                </a:cxn>
                <a:cxn ang="0">
                  <a:pos x="connsiteX7985" y="connsiteY7985"/>
                </a:cxn>
                <a:cxn ang="0">
                  <a:pos x="connsiteX7986" y="connsiteY7986"/>
                </a:cxn>
                <a:cxn ang="0">
                  <a:pos x="connsiteX7987" y="connsiteY7987"/>
                </a:cxn>
                <a:cxn ang="0">
                  <a:pos x="connsiteX7988" y="connsiteY7988"/>
                </a:cxn>
                <a:cxn ang="0">
                  <a:pos x="connsiteX7989" y="connsiteY7989"/>
                </a:cxn>
                <a:cxn ang="0">
                  <a:pos x="connsiteX7990" y="connsiteY7990"/>
                </a:cxn>
                <a:cxn ang="0">
                  <a:pos x="connsiteX7991" y="connsiteY7991"/>
                </a:cxn>
                <a:cxn ang="0">
                  <a:pos x="connsiteX7992" y="connsiteY7992"/>
                </a:cxn>
                <a:cxn ang="0">
                  <a:pos x="connsiteX7993" y="connsiteY7993"/>
                </a:cxn>
                <a:cxn ang="0">
                  <a:pos x="connsiteX7994" y="connsiteY7994"/>
                </a:cxn>
                <a:cxn ang="0">
                  <a:pos x="connsiteX7995" y="connsiteY7995"/>
                </a:cxn>
                <a:cxn ang="0">
                  <a:pos x="connsiteX7996" y="connsiteY7996"/>
                </a:cxn>
                <a:cxn ang="0">
                  <a:pos x="connsiteX7997" y="connsiteY7997"/>
                </a:cxn>
                <a:cxn ang="0">
                  <a:pos x="connsiteX7998" y="connsiteY7998"/>
                </a:cxn>
                <a:cxn ang="0">
                  <a:pos x="connsiteX7999" y="connsiteY7999"/>
                </a:cxn>
                <a:cxn ang="0">
                  <a:pos x="connsiteX8000" y="connsiteY8000"/>
                </a:cxn>
                <a:cxn ang="0">
                  <a:pos x="connsiteX8001" y="connsiteY8001"/>
                </a:cxn>
                <a:cxn ang="0">
                  <a:pos x="connsiteX8002" y="connsiteY8002"/>
                </a:cxn>
                <a:cxn ang="0">
                  <a:pos x="connsiteX8003" y="connsiteY8003"/>
                </a:cxn>
                <a:cxn ang="0">
                  <a:pos x="connsiteX8004" y="connsiteY8004"/>
                </a:cxn>
                <a:cxn ang="0">
                  <a:pos x="connsiteX8005" y="connsiteY8005"/>
                </a:cxn>
                <a:cxn ang="0">
                  <a:pos x="connsiteX8006" y="connsiteY8006"/>
                </a:cxn>
                <a:cxn ang="0">
                  <a:pos x="connsiteX8007" y="connsiteY8007"/>
                </a:cxn>
                <a:cxn ang="0">
                  <a:pos x="connsiteX8008" y="connsiteY8008"/>
                </a:cxn>
                <a:cxn ang="0">
                  <a:pos x="connsiteX8009" y="connsiteY8009"/>
                </a:cxn>
                <a:cxn ang="0">
                  <a:pos x="connsiteX8010" y="connsiteY8010"/>
                </a:cxn>
                <a:cxn ang="0">
                  <a:pos x="connsiteX8011" y="connsiteY8011"/>
                </a:cxn>
                <a:cxn ang="0">
                  <a:pos x="connsiteX8012" y="connsiteY8012"/>
                </a:cxn>
                <a:cxn ang="0">
                  <a:pos x="connsiteX8013" y="connsiteY8013"/>
                </a:cxn>
                <a:cxn ang="0">
                  <a:pos x="connsiteX8014" y="connsiteY8014"/>
                </a:cxn>
                <a:cxn ang="0">
                  <a:pos x="connsiteX8015" y="connsiteY8015"/>
                </a:cxn>
                <a:cxn ang="0">
                  <a:pos x="connsiteX8016" y="connsiteY8016"/>
                </a:cxn>
                <a:cxn ang="0">
                  <a:pos x="connsiteX8017" y="connsiteY8017"/>
                </a:cxn>
                <a:cxn ang="0">
                  <a:pos x="connsiteX8018" y="connsiteY8018"/>
                </a:cxn>
                <a:cxn ang="0">
                  <a:pos x="connsiteX8019" y="connsiteY8019"/>
                </a:cxn>
                <a:cxn ang="0">
                  <a:pos x="connsiteX8020" y="connsiteY8020"/>
                </a:cxn>
                <a:cxn ang="0">
                  <a:pos x="connsiteX8021" y="connsiteY8021"/>
                </a:cxn>
                <a:cxn ang="0">
                  <a:pos x="connsiteX8022" y="connsiteY8022"/>
                </a:cxn>
                <a:cxn ang="0">
                  <a:pos x="connsiteX8023" y="connsiteY8023"/>
                </a:cxn>
                <a:cxn ang="0">
                  <a:pos x="connsiteX8024" y="connsiteY8024"/>
                </a:cxn>
                <a:cxn ang="0">
                  <a:pos x="connsiteX8025" y="connsiteY8025"/>
                </a:cxn>
                <a:cxn ang="0">
                  <a:pos x="connsiteX8026" y="connsiteY8026"/>
                </a:cxn>
                <a:cxn ang="0">
                  <a:pos x="connsiteX8027" y="connsiteY8027"/>
                </a:cxn>
                <a:cxn ang="0">
                  <a:pos x="connsiteX8028" y="connsiteY8028"/>
                </a:cxn>
                <a:cxn ang="0">
                  <a:pos x="connsiteX8029" y="connsiteY8029"/>
                </a:cxn>
                <a:cxn ang="0">
                  <a:pos x="connsiteX8030" y="connsiteY8030"/>
                </a:cxn>
                <a:cxn ang="0">
                  <a:pos x="connsiteX8031" y="connsiteY8031"/>
                </a:cxn>
                <a:cxn ang="0">
                  <a:pos x="connsiteX8032" y="connsiteY8032"/>
                </a:cxn>
                <a:cxn ang="0">
                  <a:pos x="connsiteX8033" y="connsiteY8033"/>
                </a:cxn>
                <a:cxn ang="0">
                  <a:pos x="connsiteX8034" y="connsiteY8034"/>
                </a:cxn>
                <a:cxn ang="0">
                  <a:pos x="connsiteX8035" y="connsiteY8035"/>
                </a:cxn>
                <a:cxn ang="0">
                  <a:pos x="connsiteX8036" y="connsiteY8036"/>
                </a:cxn>
                <a:cxn ang="0">
                  <a:pos x="connsiteX8037" y="connsiteY8037"/>
                </a:cxn>
                <a:cxn ang="0">
                  <a:pos x="connsiteX8038" y="connsiteY8038"/>
                </a:cxn>
                <a:cxn ang="0">
                  <a:pos x="connsiteX8039" y="connsiteY8039"/>
                </a:cxn>
                <a:cxn ang="0">
                  <a:pos x="connsiteX8040" y="connsiteY8040"/>
                </a:cxn>
                <a:cxn ang="0">
                  <a:pos x="connsiteX8041" y="connsiteY8041"/>
                </a:cxn>
                <a:cxn ang="0">
                  <a:pos x="connsiteX8042" y="connsiteY8042"/>
                </a:cxn>
                <a:cxn ang="0">
                  <a:pos x="connsiteX8043" y="connsiteY8043"/>
                </a:cxn>
                <a:cxn ang="0">
                  <a:pos x="connsiteX8044" y="connsiteY8044"/>
                </a:cxn>
                <a:cxn ang="0">
                  <a:pos x="connsiteX8045" y="connsiteY8045"/>
                </a:cxn>
                <a:cxn ang="0">
                  <a:pos x="connsiteX8046" y="connsiteY8046"/>
                </a:cxn>
                <a:cxn ang="0">
                  <a:pos x="connsiteX8047" y="connsiteY8047"/>
                </a:cxn>
                <a:cxn ang="0">
                  <a:pos x="connsiteX8048" y="connsiteY8048"/>
                </a:cxn>
                <a:cxn ang="0">
                  <a:pos x="connsiteX8049" y="connsiteY8049"/>
                </a:cxn>
                <a:cxn ang="0">
                  <a:pos x="connsiteX8050" y="connsiteY8050"/>
                </a:cxn>
                <a:cxn ang="0">
                  <a:pos x="connsiteX8051" y="connsiteY8051"/>
                </a:cxn>
                <a:cxn ang="0">
                  <a:pos x="connsiteX8052" y="connsiteY8052"/>
                </a:cxn>
                <a:cxn ang="0">
                  <a:pos x="connsiteX8053" y="connsiteY8053"/>
                </a:cxn>
                <a:cxn ang="0">
                  <a:pos x="connsiteX8054" y="connsiteY8054"/>
                </a:cxn>
                <a:cxn ang="0">
                  <a:pos x="connsiteX8055" y="connsiteY8055"/>
                </a:cxn>
                <a:cxn ang="0">
                  <a:pos x="connsiteX8056" y="connsiteY8056"/>
                </a:cxn>
                <a:cxn ang="0">
                  <a:pos x="connsiteX8057" y="connsiteY8057"/>
                </a:cxn>
                <a:cxn ang="0">
                  <a:pos x="connsiteX8058" y="connsiteY8058"/>
                </a:cxn>
                <a:cxn ang="0">
                  <a:pos x="connsiteX8059" y="connsiteY8059"/>
                </a:cxn>
                <a:cxn ang="0">
                  <a:pos x="connsiteX8060" y="connsiteY8060"/>
                </a:cxn>
                <a:cxn ang="0">
                  <a:pos x="connsiteX8061" y="connsiteY8061"/>
                </a:cxn>
                <a:cxn ang="0">
                  <a:pos x="connsiteX8062" y="connsiteY8062"/>
                </a:cxn>
                <a:cxn ang="0">
                  <a:pos x="connsiteX8063" y="connsiteY8063"/>
                </a:cxn>
                <a:cxn ang="0">
                  <a:pos x="connsiteX8064" y="connsiteY8064"/>
                </a:cxn>
                <a:cxn ang="0">
                  <a:pos x="connsiteX8065" y="connsiteY8065"/>
                </a:cxn>
                <a:cxn ang="0">
                  <a:pos x="connsiteX8066" y="connsiteY8066"/>
                </a:cxn>
                <a:cxn ang="0">
                  <a:pos x="connsiteX8067" y="connsiteY8067"/>
                </a:cxn>
                <a:cxn ang="0">
                  <a:pos x="connsiteX8068" y="connsiteY8068"/>
                </a:cxn>
                <a:cxn ang="0">
                  <a:pos x="connsiteX8069" y="connsiteY8069"/>
                </a:cxn>
                <a:cxn ang="0">
                  <a:pos x="connsiteX8070" y="connsiteY8070"/>
                </a:cxn>
                <a:cxn ang="0">
                  <a:pos x="connsiteX8071" y="connsiteY8071"/>
                </a:cxn>
                <a:cxn ang="0">
                  <a:pos x="connsiteX8072" y="connsiteY8072"/>
                </a:cxn>
                <a:cxn ang="0">
                  <a:pos x="connsiteX8073" y="connsiteY8073"/>
                </a:cxn>
                <a:cxn ang="0">
                  <a:pos x="connsiteX8074" y="connsiteY8074"/>
                </a:cxn>
                <a:cxn ang="0">
                  <a:pos x="connsiteX8075" y="connsiteY8075"/>
                </a:cxn>
                <a:cxn ang="0">
                  <a:pos x="connsiteX8076" y="connsiteY8076"/>
                </a:cxn>
                <a:cxn ang="0">
                  <a:pos x="connsiteX8077" y="connsiteY8077"/>
                </a:cxn>
                <a:cxn ang="0">
                  <a:pos x="connsiteX8078" y="connsiteY8078"/>
                </a:cxn>
                <a:cxn ang="0">
                  <a:pos x="connsiteX8079" y="connsiteY8079"/>
                </a:cxn>
                <a:cxn ang="0">
                  <a:pos x="connsiteX8080" y="connsiteY8080"/>
                </a:cxn>
                <a:cxn ang="0">
                  <a:pos x="connsiteX8081" y="connsiteY8081"/>
                </a:cxn>
                <a:cxn ang="0">
                  <a:pos x="connsiteX8082" y="connsiteY8082"/>
                </a:cxn>
                <a:cxn ang="0">
                  <a:pos x="connsiteX8083" y="connsiteY8083"/>
                </a:cxn>
                <a:cxn ang="0">
                  <a:pos x="connsiteX8084" y="connsiteY8084"/>
                </a:cxn>
                <a:cxn ang="0">
                  <a:pos x="connsiteX8085" y="connsiteY8085"/>
                </a:cxn>
                <a:cxn ang="0">
                  <a:pos x="connsiteX8086" y="connsiteY8086"/>
                </a:cxn>
                <a:cxn ang="0">
                  <a:pos x="connsiteX8087" y="connsiteY8087"/>
                </a:cxn>
                <a:cxn ang="0">
                  <a:pos x="connsiteX8088" y="connsiteY8088"/>
                </a:cxn>
                <a:cxn ang="0">
                  <a:pos x="connsiteX8089" y="connsiteY8089"/>
                </a:cxn>
                <a:cxn ang="0">
                  <a:pos x="connsiteX8090" y="connsiteY8090"/>
                </a:cxn>
                <a:cxn ang="0">
                  <a:pos x="connsiteX8091" y="connsiteY8091"/>
                </a:cxn>
                <a:cxn ang="0">
                  <a:pos x="connsiteX8092" y="connsiteY8092"/>
                </a:cxn>
                <a:cxn ang="0">
                  <a:pos x="connsiteX8093" y="connsiteY8093"/>
                </a:cxn>
                <a:cxn ang="0">
                  <a:pos x="connsiteX8094" y="connsiteY8094"/>
                </a:cxn>
                <a:cxn ang="0">
                  <a:pos x="connsiteX8095" y="connsiteY8095"/>
                </a:cxn>
                <a:cxn ang="0">
                  <a:pos x="connsiteX8096" y="connsiteY8096"/>
                </a:cxn>
                <a:cxn ang="0">
                  <a:pos x="connsiteX8097" y="connsiteY8097"/>
                </a:cxn>
                <a:cxn ang="0">
                  <a:pos x="connsiteX8098" y="connsiteY8098"/>
                </a:cxn>
                <a:cxn ang="0">
                  <a:pos x="connsiteX8099" y="connsiteY8099"/>
                </a:cxn>
                <a:cxn ang="0">
                  <a:pos x="connsiteX8100" y="connsiteY8100"/>
                </a:cxn>
                <a:cxn ang="0">
                  <a:pos x="connsiteX8101" y="connsiteY8101"/>
                </a:cxn>
                <a:cxn ang="0">
                  <a:pos x="connsiteX8102" y="connsiteY8102"/>
                </a:cxn>
                <a:cxn ang="0">
                  <a:pos x="connsiteX8103" y="connsiteY8103"/>
                </a:cxn>
                <a:cxn ang="0">
                  <a:pos x="connsiteX8104" y="connsiteY8104"/>
                </a:cxn>
                <a:cxn ang="0">
                  <a:pos x="connsiteX8105" y="connsiteY8105"/>
                </a:cxn>
                <a:cxn ang="0">
                  <a:pos x="connsiteX8106" y="connsiteY8106"/>
                </a:cxn>
                <a:cxn ang="0">
                  <a:pos x="connsiteX8107" y="connsiteY8107"/>
                </a:cxn>
                <a:cxn ang="0">
                  <a:pos x="connsiteX8108" y="connsiteY8108"/>
                </a:cxn>
                <a:cxn ang="0">
                  <a:pos x="connsiteX8109" y="connsiteY8109"/>
                </a:cxn>
                <a:cxn ang="0">
                  <a:pos x="connsiteX8110" y="connsiteY8110"/>
                </a:cxn>
                <a:cxn ang="0">
                  <a:pos x="connsiteX8111" y="connsiteY8111"/>
                </a:cxn>
                <a:cxn ang="0">
                  <a:pos x="connsiteX8112" y="connsiteY8112"/>
                </a:cxn>
                <a:cxn ang="0">
                  <a:pos x="connsiteX8113" y="connsiteY8113"/>
                </a:cxn>
                <a:cxn ang="0">
                  <a:pos x="connsiteX8114" y="connsiteY8114"/>
                </a:cxn>
                <a:cxn ang="0">
                  <a:pos x="connsiteX8115" y="connsiteY8115"/>
                </a:cxn>
                <a:cxn ang="0">
                  <a:pos x="connsiteX8116" y="connsiteY8116"/>
                </a:cxn>
                <a:cxn ang="0">
                  <a:pos x="connsiteX8117" y="connsiteY8117"/>
                </a:cxn>
                <a:cxn ang="0">
                  <a:pos x="connsiteX8118" y="connsiteY8118"/>
                </a:cxn>
                <a:cxn ang="0">
                  <a:pos x="connsiteX8119" y="connsiteY8119"/>
                </a:cxn>
                <a:cxn ang="0">
                  <a:pos x="connsiteX8120" y="connsiteY8120"/>
                </a:cxn>
                <a:cxn ang="0">
                  <a:pos x="connsiteX8121" y="connsiteY8121"/>
                </a:cxn>
                <a:cxn ang="0">
                  <a:pos x="connsiteX8122" y="connsiteY8122"/>
                </a:cxn>
                <a:cxn ang="0">
                  <a:pos x="connsiteX8123" y="connsiteY8123"/>
                </a:cxn>
                <a:cxn ang="0">
                  <a:pos x="connsiteX8124" y="connsiteY8124"/>
                </a:cxn>
                <a:cxn ang="0">
                  <a:pos x="connsiteX8125" y="connsiteY8125"/>
                </a:cxn>
                <a:cxn ang="0">
                  <a:pos x="connsiteX8126" y="connsiteY8126"/>
                </a:cxn>
                <a:cxn ang="0">
                  <a:pos x="connsiteX8127" y="connsiteY8127"/>
                </a:cxn>
                <a:cxn ang="0">
                  <a:pos x="connsiteX8128" y="connsiteY8128"/>
                </a:cxn>
                <a:cxn ang="0">
                  <a:pos x="connsiteX8129" y="connsiteY8129"/>
                </a:cxn>
                <a:cxn ang="0">
                  <a:pos x="connsiteX8130" y="connsiteY8130"/>
                </a:cxn>
                <a:cxn ang="0">
                  <a:pos x="connsiteX8131" y="connsiteY8131"/>
                </a:cxn>
                <a:cxn ang="0">
                  <a:pos x="connsiteX8132" y="connsiteY8132"/>
                </a:cxn>
                <a:cxn ang="0">
                  <a:pos x="connsiteX8133" y="connsiteY8133"/>
                </a:cxn>
                <a:cxn ang="0">
                  <a:pos x="connsiteX8134" y="connsiteY8134"/>
                </a:cxn>
                <a:cxn ang="0">
                  <a:pos x="connsiteX8135" y="connsiteY8135"/>
                </a:cxn>
                <a:cxn ang="0">
                  <a:pos x="connsiteX8136" y="connsiteY8136"/>
                </a:cxn>
                <a:cxn ang="0">
                  <a:pos x="connsiteX8137" y="connsiteY8137"/>
                </a:cxn>
                <a:cxn ang="0">
                  <a:pos x="connsiteX8138" y="connsiteY8138"/>
                </a:cxn>
                <a:cxn ang="0">
                  <a:pos x="connsiteX8139" y="connsiteY8139"/>
                </a:cxn>
                <a:cxn ang="0">
                  <a:pos x="connsiteX8140" y="connsiteY8140"/>
                </a:cxn>
                <a:cxn ang="0">
                  <a:pos x="connsiteX8141" y="connsiteY8141"/>
                </a:cxn>
                <a:cxn ang="0">
                  <a:pos x="connsiteX8142" y="connsiteY8142"/>
                </a:cxn>
                <a:cxn ang="0">
                  <a:pos x="connsiteX8143" y="connsiteY8143"/>
                </a:cxn>
                <a:cxn ang="0">
                  <a:pos x="connsiteX8144" y="connsiteY8144"/>
                </a:cxn>
                <a:cxn ang="0">
                  <a:pos x="connsiteX8145" y="connsiteY8145"/>
                </a:cxn>
                <a:cxn ang="0">
                  <a:pos x="connsiteX8146" y="connsiteY8146"/>
                </a:cxn>
                <a:cxn ang="0">
                  <a:pos x="connsiteX8147" y="connsiteY8147"/>
                </a:cxn>
                <a:cxn ang="0">
                  <a:pos x="connsiteX8148" y="connsiteY8148"/>
                </a:cxn>
                <a:cxn ang="0">
                  <a:pos x="connsiteX8149" y="connsiteY8149"/>
                </a:cxn>
                <a:cxn ang="0">
                  <a:pos x="connsiteX8150" y="connsiteY8150"/>
                </a:cxn>
                <a:cxn ang="0">
                  <a:pos x="connsiteX8151" y="connsiteY8151"/>
                </a:cxn>
                <a:cxn ang="0">
                  <a:pos x="connsiteX8152" y="connsiteY8152"/>
                </a:cxn>
                <a:cxn ang="0">
                  <a:pos x="connsiteX8153" y="connsiteY8153"/>
                </a:cxn>
                <a:cxn ang="0">
                  <a:pos x="connsiteX8154" y="connsiteY8154"/>
                </a:cxn>
                <a:cxn ang="0">
                  <a:pos x="connsiteX8155" y="connsiteY8155"/>
                </a:cxn>
                <a:cxn ang="0">
                  <a:pos x="connsiteX8156" y="connsiteY8156"/>
                </a:cxn>
                <a:cxn ang="0">
                  <a:pos x="connsiteX8157" y="connsiteY8157"/>
                </a:cxn>
                <a:cxn ang="0">
                  <a:pos x="connsiteX8158" y="connsiteY8158"/>
                </a:cxn>
                <a:cxn ang="0">
                  <a:pos x="connsiteX8159" y="connsiteY8159"/>
                </a:cxn>
                <a:cxn ang="0">
                  <a:pos x="connsiteX8160" y="connsiteY8160"/>
                </a:cxn>
                <a:cxn ang="0">
                  <a:pos x="connsiteX8161" y="connsiteY8161"/>
                </a:cxn>
                <a:cxn ang="0">
                  <a:pos x="connsiteX8162" y="connsiteY8162"/>
                </a:cxn>
                <a:cxn ang="0">
                  <a:pos x="connsiteX8163" y="connsiteY8163"/>
                </a:cxn>
                <a:cxn ang="0">
                  <a:pos x="connsiteX8164" y="connsiteY8164"/>
                </a:cxn>
                <a:cxn ang="0">
                  <a:pos x="connsiteX8165" y="connsiteY8165"/>
                </a:cxn>
                <a:cxn ang="0">
                  <a:pos x="connsiteX8166" y="connsiteY8166"/>
                </a:cxn>
                <a:cxn ang="0">
                  <a:pos x="connsiteX8167" y="connsiteY8167"/>
                </a:cxn>
                <a:cxn ang="0">
                  <a:pos x="connsiteX8168" y="connsiteY8168"/>
                </a:cxn>
                <a:cxn ang="0">
                  <a:pos x="connsiteX8169" y="connsiteY8169"/>
                </a:cxn>
                <a:cxn ang="0">
                  <a:pos x="connsiteX8170" y="connsiteY8170"/>
                </a:cxn>
                <a:cxn ang="0">
                  <a:pos x="connsiteX8171" y="connsiteY8171"/>
                </a:cxn>
                <a:cxn ang="0">
                  <a:pos x="connsiteX8172" y="connsiteY8172"/>
                </a:cxn>
                <a:cxn ang="0">
                  <a:pos x="connsiteX8173" y="connsiteY8173"/>
                </a:cxn>
                <a:cxn ang="0">
                  <a:pos x="connsiteX8174" y="connsiteY8174"/>
                </a:cxn>
                <a:cxn ang="0">
                  <a:pos x="connsiteX8175" y="connsiteY8175"/>
                </a:cxn>
                <a:cxn ang="0">
                  <a:pos x="connsiteX8176" y="connsiteY8176"/>
                </a:cxn>
                <a:cxn ang="0">
                  <a:pos x="connsiteX8177" y="connsiteY8177"/>
                </a:cxn>
                <a:cxn ang="0">
                  <a:pos x="connsiteX8178" y="connsiteY8178"/>
                </a:cxn>
                <a:cxn ang="0">
                  <a:pos x="connsiteX8179" y="connsiteY8179"/>
                </a:cxn>
                <a:cxn ang="0">
                  <a:pos x="connsiteX8180" y="connsiteY8180"/>
                </a:cxn>
                <a:cxn ang="0">
                  <a:pos x="connsiteX8181" y="connsiteY8181"/>
                </a:cxn>
                <a:cxn ang="0">
                  <a:pos x="connsiteX8182" y="connsiteY8182"/>
                </a:cxn>
                <a:cxn ang="0">
                  <a:pos x="connsiteX8183" y="connsiteY8183"/>
                </a:cxn>
                <a:cxn ang="0">
                  <a:pos x="connsiteX8184" y="connsiteY8184"/>
                </a:cxn>
                <a:cxn ang="0">
                  <a:pos x="connsiteX8185" y="connsiteY8185"/>
                </a:cxn>
                <a:cxn ang="0">
                  <a:pos x="connsiteX8186" y="connsiteY8186"/>
                </a:cxn>
                <a:cxn ang="0">
                  <a:pos x="connsiteX8187" y="connsiteY8187"/>
                </a:cxn>
                <a:cxn ang="0">
                  <a:pos x="connsiteX8188" y="connsiteY8188"/>
                </a:cxn>
                <a:cxn ang="0">
                  <a:pos x="connsiteX8189" y="connsiteY8189"/>
                </a:cxn>
                <a:cxn ang="0">
                  <a:pos x="connsiteX8190" y="connsiteY8190"/>
                </a:cxn>
                <a:cxn ang="0">
                  <a:pos x="connsiteX8191" y="connsiteY8191"/>
                </a:cxn>
                <a:cxn ang="0">
                  <a:pos x="connsiteX8192" y="connsiteY8192"/>
                </a:cxn>
                <a:cxn ang="0">
                  <a:pos x="connsiteX8193" y="connsiteY8193"/>
                </a:cxn>
                <a:cxn ang="0">
                  <a:pos x="connsiteX8194" y="connsiteY8194"/>
                </a:cxn>
                <a:cxn ang="0">
                  <a:pos x="connsiteX8195" y="connsiteY8195"/>
                </a:cxn>
                <a:cxn ang="0">
                  <a:pos x="connsiteX8196" y="connsiteY8196"/>
                </a:cxn>
                <a:cxn ang="0">
                  <a:pos x="connsiteX8197" y="connsiteY8197"/>
                </a:cxn>
                <a:cxn ang="0">
                  <a:pos x="connsiteX8198" y="connsiteY8198"/>
                </a:cxn>
                <a:cxn ang="0">
                  <a:pos x="connsiteX8199" y="connsiteY8199"/>
                </a:cxn>
                <a:cxn ang="0">
                  <a:pos x="connsiteX8200" y="connsiteY8200"/>
                </a:cxn>
                <a:cxn ang="0">
                  <a:pos x="connsiteX8201" y="connsiteY8201"/>
                </a:cxn>
                <a:cxn ang="0">
                  <a:pos x="connsiteX8202" y="connsiteY8202"/>
                </a:cxn>
                <a:cxn ang="0">
                  <a:pos x="connsiteX8203" y="connsiteY8203"/>
                </a:cxn>
                <a:cxn ang="0">
                  <a:pos x="connsiteX8204" y="connsiteY8204"/>
                </a:cxn>
                <a:cxn ang="0">
                  <a:pos x="connsiteX8205" y="connsiteY8205"/>
                </a:cxn>
                <a:cxn ang="0">
                  <a:pos x="connsiteX8206" y="connsiteY8206"/>
                </a:cxn>
                <a:cxn ang="0">
                  <a:pos x="connsiteX8207" y="connsiteY8207"/>
                </a:cxn>
                <a:cxn ang="0">
                  <a:pos x="connsiteX8208" y="connsiteY8208"/>
                </a:cxn>
                <a:cxn ang="0">
                  <a:pos x="connsiteX8209" y="connsiteY8209"/>
                </a:cxn>
                <a:cxn ang="0">
                  <a:pos x="connsiteX8210" y="connsiteY8210"/>
                </a:cxn>
                <a:cxn ang="0">
                  <a:pos x="connsiteX8211" y="connsiteY8211"/>
                </a:cxn>
                <a:cxn ang="0">
                  <a:pos x="connsiteX8212" y="connsiteY8212"/>
                </a:cxn>
                <a:cxn ang="0">
                  <a:pos x="connsiteX8213" y="connsiteY8213"/>
                </a:cxn>
                <a:cxn ang="0">
                  <a:pos x="connsiteX8214" y="connsiteY8214"/>
                </a:cxn>
                <a:cxn ang="0">
                  <a:pos x="connsiteX8215" y="connsiteY8215"/>
                </a:cxn>
                <a:cxn ang="0">
                  <a:pos x="connsiteX8216" y="connsiteY8216"/>
                </a:cxn>
                <a:cxn ang="0">
                  <a:pos x="connsiteX8217" y="connsiteY8217"/>
                </a:cxn>
                <a:cxn ang="0">
                  <a:pos x="connsiteX8218" y="connsiteY8218"/>
                </a:cxn>
                <a:cxn ang="0">
                  <a:pos x="connsiteX8219" y="connsiteY8219"/>
                </a:cxn>
                <a:cxn ang="0">
                  <a:pos x="connsiteX8220" y="connsiteY8220"/>
                </a:cxn>
                <a:cxn ang="0">
                  <a:pos x="connsiteX8221" y="connsiteY8221"/>
                </a:cxn>
                <a:cxn ang="0">
                  <a:pos x="connsiteX8222" y="connsiteY8222"/>
                </a:cxn>
                <a:cxn ang="0">
                  <a:pos x="connsiteX8223" y="connsiteY8223"/>
                </a:cxn>
                <a:cxn ang="0">
                  <a:pos x="connsiteX8224" y="connsiteY8224"/>
                </a:cxn>
                <a:cxn ang="0">
                  <a:pos x="connsiteX8225" y="connsiteY8225"/>
                </a:cxn>
                <a:cxn ang="0">
                  <a:pos x="connsiteX8226" y="connsiteY8226"/>
                </a:cxn>
                <a:cxn ang="0">
                  <a:pos x="connsiteX8227" y="connsiteY8227"/>
                </a:cxn>
                <a:cxn ang="0">
                  <a:pos x="connsiteX8228" y="connsiteY8228"/>
                </a:cxn>
                <a:cxn ang="0">
                  <a:pos x="connsiteX8229" y="connsiteY8229"/>
                </a:cxn>
                <a:cxn ang="0">
                  <a:pos x="connsiteX8230" y="connsiteY8230"/>
                </a:cxn>
                <a:cxn ang="0">
                  <a:pos x="connsiteX8231" y="connsiteY8231"/>
                </a:cxn>
                <a:cxn ang="0">
                  <a:pos x="connsiteX8232" y="connsiteY8232"/>
                </a:cxn>
                <a:cxn ang="0">
                  <a:pos x="connsiteX8233" y="connsiteY8233"/>
                </a:cxn>
                <a:cxn ang="0">
                  <a:pos x="connsiteX8234" y="connsiteY8234"/>
                </a:cxn>
                <a:cxn ang="0">
                  <a:pos x="connsiteX8235" y="connsiteY8235"/>
                </a:cxn>
                <a:cxn ang="0">
                  <a:pos x="connsiteX8236" y="connsiteY8236"/>
                </a:cxn>
                <a:cxn ang="0">
                  <a:pos x="connsiteX8237" y="connsiteY8237"/>
                </a:cxn>
                <a:cxn ang="0">
                  <a:pos x="connsiteX8238" y="connsiteY8238"/>
                </a:cxn>
                <a:cxn ang="0">
                  <a:pos x="connsiteX8239" y="connsiteY8239"/>
                </a:cxn>
                <a:cxn ang="0">
                  <a:pos x="connsiteX8240" y="connsiteY8240"/>
                </a:cxn>
                <a:cxn ang="0">
                  <a:pos x="connsiteX8241" y="connsiteY8241"/>
                </a:cxn>
                <a:cxn ang="0">
                  <a:pos x="connsiteX8242" y="connsiteY8242"/>
                </a:cxn>
                <a:cxn ang="0">
                  <a:pos x="connsiteX8243" y="connsiteY8243"/>
                </a:cxn>
                <a:cxn ang="0">
                  <a:pos x="connsiteX8244" y="connsiteY8244"/>
                </a:cxn>
                <a:cxn ang="0">
                  <a:pos x="connsiteX8245" y="connsiteY8245"/>
                </a:cxn>
                <a:cxn ang="0">
                  <a:pos x="connsiteX8246" y="connsiteY8246"/>
                </a:cxn>
                <a:cxn ang="0">
                  <a:pos x="connsiteX8247" y="connsiteY8247"/>
                </a:cxn>
                <a:cxn ang="0">
                  <a:pos x="connsiteX8248" y="connsiteY8248"/>
                </a:cxn>
                <a:cxn ang="0">
                  <a:pos x="connsiteX8249" y="connsiteY8249"/>
                </a:cxn>
                <a:cxn ang="0">
                  <a:pos x="connsiteX8250" y="connsiteY8250"/>
                </a:cxn>
                <a:cxn ang="0">
                  <a:pos x="connsiteX8251" y="connsiteY8251"/>
                </a:cxn>
                <a:cxn ang="0">
                  <a:pos x="connsiteX8252" y="connsiteY8252"/>
                </a:cxn>
                <a:cxn ang="0">
                  <a:pos x="connsiteX8253" y="connsiteY8253"/>
                </a:cxn>
                <a:cxn ang="0">
                  <a:pos x="connsiteX8254" y="connsiteY8254"/>
                </a:cxn>
                <a:cxn ang="0">
                  <a:pos x="connsiteX8255" y="connsiteY8255"/>
                </a:cxn>
                <a:cxn ang="0">
                  <a:pos x="connsiteX8256" y="connsiteY8256"/>
                </a:cxn>
                <a:cxn ang="0">
                  <a:pos x="connsiteX8257" y="connsiteY8257"/>
                </a:cxn>
                <a:cxn ang="0">
                  <a:pos x="connsiteX8258" y="connsiteY8258"/>
                </a:cxn>
                <a:cxn ang="0">
                  <a:pos x="connsiteX8259" y="connsiteY8259"/>
                </a:cxn>
                <a:cxn ang="0">
                  <a:pos x="connsiteX8260" y="connsiteY8260"/>
                </a:cxn>
                <a:cxn ang="0">
                  <a:pos x="connsiteX8261" y="connsiteY8261"/>
                </a:cxn>
                <a:cxn ang="0">
                  <a:pos x="connsiteX8262" y="connsiteY8262"/>
                </a:cxn>
                <a:cxn ang="0">
                  <a:pos x="connsiteX8263" y="connsiteY8263"/>
                </a:cxn>
                <a:cxn ang="0">
                  <a:pos x="connsiteX8264" y="connsiteY8264"/>
                </a:cxn>
                <a:cxn ang="0">
                  <a:pos x="connsiteX8265" y="connsiteY8265"/>
                </a:cxn>
                <a:cxn ang="0">
                  <a:pos x="connsiteX8266" y="connsiteY8266"/>
                </a:cxn>
                <a:cxn ang="0">
                  <a:pos x="connsiteX8267" y="connsiteY8267"/>
                </a:cxn>
                <a:cxn ang="0">
                  <a:pos x="connsiteX8268" y="connsiteY8268"/>
                </a:cxn>
                <a:cxn ang="0">
                  <a:pos x="connsiteX8269" y="connsiteY8269"/>
                </a:cxn>
                <a:cxn ang="0">
                  <a:pos x="connsiteX8270" y="connsiteY8270"/>
                </a:cxn>
                <a:cxn ang="0">
                  <a:pos x="connsiteX8271" y="connsiteY8271"/>
                </a:cxn>
                <a:cxn ang="0">
                  <a:pos x="connsiteX8272" y="connsiteY8272"/>
                </a:cxn>
                <a:cxn ang="0">
                  <a:pos x="connsiteX8273" y="connsiteY8273"/>
                </a:cxn>
                <a:cxn ang="0">
                  <a:pos x="connsiteX8274" y="connsiteY8274"/>
                </a:cxn>
                <a:cxn ang="0">
                  <a:pos x="connsiteX8275" y="connsiteY8275"/>
                </a:cxn>
                <a:cxn ang="0">
                  <a:pos x="connsiteX8276" y="connsiteY8276"/>
                </a:cxn>
                <a:cxn ang="0">
                  <a:pos x="connsiteX8277" y="connsiteY8277"/>
                </a:cxn>
                <a:cxn ang="0">
                  <a:pos x="connsiteX8278" y="connsiteY8278"/>
                </a:cxn>
                <a:cxn ang="0">
                  <a:pos x="connsiteX8279" y="connsiteY8279"/>
                </a:cxn>
                <a:cxn ang="0">
                  <a:pos x="connsiteX8280" y="connsiteY8280"/>
                </a:cxn>
                <a:cxn ang="0">
                  <a:pos x="connsiteX8281" y="connsiteY8281"/>
                </a:cxn>
                <a:cxn ang="0">
                  <a:pos x="connsiteX8282" y="connsiteY8282"/>
                </a:cxn>
                <a:cxn ang="0">
                  <a:pos x="connsiteX8283" y="connsiteY8283"/>
                </a:cxn>
                <a:cxn ang="0">
                  <a:pos x="connsiteX8284" y="connsiteY8284"/>
                </a:cxn>
                <a:cxn ang="0">
                  <a:pos x="connsiteX8285" y="connsiteY8285"/>
                </a:cxn>
                <a:cxn ang="0">
                  <a:pos x="connsiteX8286" y="connsiteY8286"/>
                </a:cxn>
                <a:cxn ang="0">
                  <a:pos x="connsiteX8287" y="connsiteY8287"/>
                </a:cxn>
                <a:cxn ang="0">
                  <a:pos x="connsiteX8288" y="connsiteY8288"/>
                </a:cxn>
                <a:cxn ang="0">
                  <a:pos x="connsiteX8289" y="connsiteY8289"/>
                </a:cxn>
                <a:cxn ang="0">
                  <a:pos x="connsiteX8290" y="connsiteY8290"/>
                </a:cxn>
                <a:cxn ang="0">
                  <a:pos x="connsiteX8291" y="connsiteY8291"/>
                </a:cxn>
                <a:cxn ang="0">
                  <a:pos x="connsiteX8292" y="connsiteY8292"/>
                </a:cxn>
                <a:cxn ang="0">
                  <a:pos x="connsiteX8293" y="connsiteY8293"/>
                </a:cxn>
                <a:cxn ang="0">
                  <a:pos x="connsiteX8294" y="connsiteY8294"/>
                </a:cxn>
                <a:cxn ang="0">
                  <a:pos x="connsiteX8295" y="connsiteY8295"/>
                </a:cxn>
                <a:cxn ang="0">
                  <a:pos x="connsiteX8296" y="connsiteY8296"/>
                </a:cxn>
                <a:cxn ang="0">
                  <a:pos x="connsiteX8297" y="connsiteY8297"/>
                </a:cxn>
                <a:cxn ang="0">
                  <a:pos x="connsiteX8298" y="connsiteY8298"/>
                </a:cxn>
                <a:cxn ang="0">
                  <a:pos x="connsiteX8299" y="connsiteY8299"/>
                </a:cxn>
                <a:cxn ang="0">
                  <a:pos x="connsiteX8300" y="connsiteY8300"/>
                </a:cxn>
                <a:cxn ang="0">
                  <a:pos x="connsiteX8301" y="connsiteY8301"/>
                </a:cxn>
                <a:cxn ang="0">
                  <a:pos x="connsiteX8302" y="connsiteY8302"/>
                </a:cxn>
                <a:cxn ang="0">
                  <a:pos x="connsiteX8303" y="connsiteY8303"/>
                </a:cxn>
                <a:cxn ang="0">
                  <a:pos x="connsiteX8304" y="connsiteY8304"/>
                </a:cxn>
                <a:cxn ang="0">
                  <a:pos x="connsiteX8305" y="connsiteY8305"/>
                </a:cxn>
                <a:cxn ang="0">
                  <a:pos x="connsiteX8306" y="connsiteY8306"/>
                </a:cxn>
                <a:cxn ang="0">
                  <a:pos x="connsiteX8307" y="connsiteY8307"/>
                </a:cxn>
                <a:cxn ang="0">
                  <a:pos x="connsiteX8308" y="connsiteY8308"/>
                </a:cxn>
                <a:cxn ang="0">
                  <a:pos x="connsiteX8309" y="connsiteY8309"/>
                </a:cxn>
                <a:cxn ang="0">
                  <a:pos x="connsiteX8310" y="connsiteY8310"/>
                </a:cxn>
                <a:cxn ang="0">
                  <a:pos x="connsiteX8311" y="connsiteY8311"/>
                </a:cxn>
                <a:cxn ang="0">
                  <a:pos x="connsiteX8312" y="connsiteY8312"/>
                </a:cxn>
                <a:cxn ang="0">
                  <a:pos x="connsiteX8313" y="connsiteY8313"/>
                </a:cxn>
                <a:cxn ang="0">
                  <a:pos x="connsiteX8314" y="connsiteY8314"/>
                </a:cxn>
                <a:cxn ang="0">
                  <a:pos x="connsiteX8315" y="connsiteY8315"/>
                </a:cxn>
                <a:cxn ang="0">
                  <a:pos x="connsiteX8316" y="connsiteY8316"/>
                </a:cxn>
                <a:cxn ang="0">
                  <a:pos x="connsiteX8317" y="connsiteY8317"/>
                </a:cxn>
                <a:cxn ang="0">
                  <a:pos x="connsiteX8318" y="connsiteY8318"/>
                </a:cxn>
                <a:cxn ang="0">
                  <a:pos x="connsiteX8319" y="connsiteY8319"/>
                </a:cxn>
                <a:cxn ang="0">
                  <a:pos x="connsiteX8320" y="connsiteY8320"/>
                </a:cxn>
                <a:cxn ang="0">
                  <a:pos x="connsiteX8321" y="connsiteY8321"/>
                </a:cxn>
                <a:cxn ang="0">
                  <a:pos x="connsiteX8322" y="connsiteY8322"/>
                </a:cxn>
                <a:cxn ang="0">
                  <a:pos x="connsiteX8323" y="connsiteY8323"/>
                </a:cxn>
                <a:cxn ang="0">
                  <a:pos x="connsiteX8324" y="connsiteY8324"/>
                </a:cxn>
                <a:cxn ang="0">
                  <a:pos x="connsiteX8325" y="connsiteY8325"/>
                </a:cxn>
                <a:cxn ang="0">
                  <a:pos x="connsiteX8326" y="connsiteY8326"/>
                </a:cxn>
                <a:cxn ang="0">
                  <a:pos x="connsiteX8327" y="connsiteY8327"/>
                </a:cxn>
                <a:cxn ang="0">
                  <a:pos x="connsiteX8328" y="connsiteY8328"/>
                </a:cxn>
                <a:cxn ang="0">
                  <a:pos x="connsiteX8329" y="connsiteY8329"/>
                </a:cxn>
                <a:cxn ang="0">
                  <a:pos x="connsiteX8330" y="connsiteY8330"/>
                </a:cxn>
                <a:cxn ang="0">
                  <a:pos x="connsiteX8331" y="connsiteY8331"/>
                </a:cxn>
                <a:cxn ang="0">
                  <a:pos x="connsiteX8332" y="connsiteY8332"/>
                </a:cxn>
                <a:cxn ang="0">
                  <a:pos x="connsiteX8333" y="connsiteY8333"/>
                </a:cxn>
                <a:cxn ang="0">
                  <a:pos x="connsiteX8334" y="connsiteY8334"/>
                </a:cxn>
                <a:cxn ang="0">
                  <a:pos x="connsiteX8335" y="connsiteY8335"/>
                </a:cxn>
                <a:cxn ang="0">
                  <a:pos x="connsiteX8336" y="connsiteY8336"/>
                </a:cxn>
                <a:cxn ang="0">
                  <a:pos x="connsiteX8337" y="connsiteY8337"/>
                </a:cxn>
                <a:cxn ang="0">
                  <a:pos x="connsiteX8338" y="connsiteY8338"/>
                </a:cxn>
                <a:cxn ang="0">
                  <a:pos x="connsiteX8339" y="connsiteY8339"/>
                </a:cxn>
                <a:cxn ang="0">
                  <a:pos x="connsiteX8340" y="connsiteY8340"/>
                </a:cxn>
                <a:cxn ang="0">
                  <a:pos x="connsiteX8341" y="connsiteY8341"/>
                </a:cxn>
                <a:cxn ang="0">
                  <a:pos x="connsiteX8342" y="connsiteY8342"/>
                </a:cxn>
                <a:cxn ang="0">
                  <a:pos x="connsiteX8343" y="connsiteY8343"/>
                </a:cxn>
                <a:cxn ang="0">
                  <a:pos x="connsiteX8344" y="connsiteY8344"/>
                </a:cxn>
                <a:cxn ang="0">
                  <a:pos x="connsiteX8345" y="connsiteY8345"/>
                </a:cxn>
                <a:cxn ang="0">
                  <a:pos x="connsiteX8346" y="connsiteY8346"/>
                </a:cxn>
                <a:cxn ang="0">
                  <a:pos x="connsiteX8347" y="connsiteY8347"/>
                </a:cxn>
                <a:cxn ang="0">
                  <a:pos x="connsiteX8348" y="connsiteY8348"/>
                </a:cxn>
                <a:cxn ang="0">
                  <a:pos x="connsiteX8349" y="connsiteY8349"/>
                </a:cxn>
                <a:cxn ang="0">
                  <a:pos x="connsiteX8350" y="connsiteY8350"/>
                </a:cxn>
                <a:cxn ang="0">
                  <a:pos x="connsiteX8351" y="connsiteY8351"/>
                </a:cxn>
                <a:cxn ang="0">
                  <a:pos x="connsiteX8352" y="connsiteY8352"/>
                </a:cxn>
                <a:cxn ang="0">
                  <a:pos x="connsiteX8353" y="connsiteY8353"/>
                </a:cxn>
                <a:cxn ang="0">
                  <a:pos x="connsiteX8354" y="connsiteY8354"/>
                </a:cxn>
                <a:cxn ang="0">
                  <a:pos x="connsiteX8355" y="connsiteY8355"/>
                </a:cxn>
                <a:cxn ang="0">
                  <a:pos x="connsiteX8356" y="connsiteY8356"/>
                </a:cxn>
                <a:cxn ang="0">
                  <a:pos x="connsiteX8357" y="connsiteY8357"/>
                </a:cxn>
                <a:cxn ang="0">
                  <a:pos x="connsiteX8358" y="connsiteY8358"/>
                </a:cxn>
                <a:cxn ang="0">
                  <a:pos x="connsiteX8359" y="connsiteY8359"/>
                </a:cxn>
                <a:cxn ang="0">
                  <a:pos x="connsiteX8360" y="connsiteY8360"/>
                </a:cxn>
                <a:cxn ang="0">
                  <a:pos x="connsiteX8361" y="connsiteY8361"/>
                </a:cxn>
                <a:cxn ang="0">
                  <a:pos x="connsiteX8362" y="connsiteY8362"/>
                </a:cxn>
                <a:cxn ang="0">
                  <a:pos x="connsiteX8363" y="connsiteY8363"/>
                </a:cxn>
                <a:cxn ang="0">
                  <a:pos x="connsiteX8364" y="connsiteY8364"/>
                </a:cxn>
                <a:cxn ang="0">
                  <a:pos x="connsiteX8365" y="connsiteY8365"/>
                </a:cxn>
                <a:cxn ang="0">
                  <a:pos x="connsiteX8366" y="connsiteY8366"/>
                </a:cxn>
                <a:cxn ang="0">
                  <a:pos x="connsiteX8367" y="connsiteY8367"/>
                </a:cxn>
                <a:cxn ang="0">
                  <a:pos x="connsiteX8368" y="connsiteY8368"/>
                </a:cxn>
                <a:cxn ang="0">
                  <a:pos x="connsiteX8369" y="connsiteY8369"/>
                </a:cxn>
                <a:cxn ang="0">
                  <a:pos x="connsiteX8370" y="connsiteY8370"/>
                </a:cxn>
                <a:cxn ang="0">
                  <a:pos x="connsiteX8371" y="connsiteY8371"/>
                </a:cxn>
                <a:cxn ang="0">
                  <a:pos x="connsiteX8372" y="connsiteY8372"/>
                </a:cxn>
                <a:cxn ang="0">
                  <a:pos x="connsiteX8373" y="connsiteY8373"/>
                </a:cxn>
                <a:cxn ang="0">
                  <a:pos x="connsiteX8374" y="connsiteY8374"/>
                </a:cxn>
                <a:cxn ang="0">
                  <a:pos x="connsiteX8375" y="connsiteY8375"/>
                </a:cxn>
                <a:cxn ang="0">
                  <a:pos x="connsiteX8376" y="connsiteY8376"/>
                </a:cxn>
                <a:cxn ang="0">
                  <a:pos x="connsiteX8377" y="connsiteY8377"/>
                </a:cxn>
                <a:cxn ang="0">
                  <a:pos x="connsiteX8378" y="connsiteY8378"/>
                </a:cxn>
                <a:cxn ang="0">
                  <a:pos x="connsiteX8379" y="connsiteY8379"/>
                </a:cxn>
                <a:cxn ang="0">
                  <a:pos x="connsiteX8380" y="connsiteY8380"/>
                </a:cxn>
                <a:cxn ang="0">
                  <a:pos x="connsiteX8381" y="connsiteY8381"/>
                </a:cxn>
                <a:cxn ang="0">
                  <a:pos x="connsiteX8382" y="connsiteY8382"/>
                </a:cxn>
                <a:cxn ang="0">
                  <a:pos x="connsiteX8383" y="connsiteY8383"/>
                </a:cxn>
                <a:cxn ang="0">
                  <a:pos x="connsiteX8384" y="connsiteY8384"/>
                </a:cxn>
                <a:cxn ang="0">
                  <a:pos x="connsiteX8385" y="connsiteY8385"/>
                </a:cxn>
                <a:cxn ang="0">
                  <a:pos x="connsiteX8386" y="connsiteY8386"/>
                </a:cxn>
                <a:cxn ang="0">
                  <a:pos x="connsiteX8387" y="connsiteY8387"/>
                </a:cxn>
                <a:cxn ang="0">
                  <a:pos x="connsiteX8388" y="connsiteY8388"/>
                </a:cxn>
                <a:cxn ang="0">
                  <a:pos x="connsiteX8389" y="connsiteY8389"/>
                </a:cxn>
                <a:cxn ang="0">
                  <a:pos x="connsiteX8390" y="connsiteY8390"/>
                </a:cxn>
                <a:cxn ang="0">
                  <a:pos x="connsiteX8391" y="connsiteY8391"/>
                </a:cxn>
                <a:cxn ang="0">
                  <a:pos x="connsiteX8392" y="connsiteY8392"/>
                </a:cxn>
                <a:cxn ang="0">
                  <a:pos x="connsiteX8393" y="connsiteY8393"/>
                </a:cxn>
                <a:cxn ang="0">
                  <a:pos x="connsiteX8394" y="connsiteY8394"/>
                </a:cxn>
                <a:cxn ang="0">
                  <a:pos x="connsiteX8395" y="connsiteY8395"/>
                </a:cxn>
                <a:cxn ang="0">
                  <a:pos x="connsiteX8396" y="connsiteY8396"/>
                </a:cxn>
                <a:cxn ang="0">
                  <a:pos x="connsiteX8397" y="connsiteY8397"/>
                </a:cxn>
                <a:cxn ang="0">
                  <a:pos x="connsiteX8398" y="connsiteY8398"/>
                </a:cxn>
                <a:cxn ang="0">
                  <a:pos x="connsiteX8399" y="connsiteY8399"/>
                </a:cxn>
                <a:cxn ang="0">
                  <a:pos x="connsiteX8400" y="connsiteY8400"/>
                </a:cxn>
                <a:cxn ang="0">
                  <a:pos x="connsiteX8401" y="connsiteY8401"/>
                </a:cxn>
                <a:cxn ang="0">
                  <a:pos x="connsiteX8402" y="connsiteY8402"/>
                </a:cxn>
                <a:cxn ang="0">
                  <a:pos x="connsiteX8403" y="connsiteY8403"/>
                </a:cxn>
                <a:cxn ang="0">
                  <a:pos x="connsiteX8404" y="connsiteY8404"/>
                </a:cxn>
                <a:cxn ang="0">
                  <a:pos x="connsiteX8405" y="connsiteY8405"/>
                </a:cxn>
                <a:cxn ang="0">
                  <a:pos x="connsiteX8406" y="connsiteY8406"/>
                </a:cxn>
                <a:cxn ang="0">
                  <a:pos x="connsiteX8407" y="connsiteY8407"/>
                </a:cxn>
                <a:cxn ang="0">
                  <a:pos x="connsiteX8408" y="connsiteY8408"/>
                </a:cxn>
                <a:cxn ang="0">
                  <a:pos x="connsiteX8409" y="connsiteY8409"/>
                </a:cxn>
                <a:cxn ang="0">
                  <a:pos x="connsiteX8410" y="connsiteY8410"/>
                </a:cxn>
                <a:cxn ang="0">
                  <a:pos x="connsiteX8411" y="connsiteY8411"/>
                </a:cxn>
                <a:cxn ang="0">
                  <a:pos x="connsiteX8412" y="connsiteY8412"/>
                </a:cxn>
                <a:cxn ang="0">
                  <a:pos x="connsiteX8413" y="connsiteY8413"/>
                </a:cxn>
                <a:cxn ang="0">
                  <a:pos x="connsiteX8414" y="connsiteY8414"/>
                </a:cxn>
                <a:cxn ang="0">
                  <a:pos x="connsiteX8415" y="connsiteY8415"/>
                </a:cxn>
                <a:cxn ang="0">
                  <a:pos x="connsiteX8416" y="connsiteY8416"/>
                </a:cxn>
                <a:cxn ang="0">
                  <a:pos x="connsiteX8417" y="connsiteY8417"/>
                </a:cxn>
                <a:cxn ang="0">
                  <a:pos x="connsiteX8418" y="connsiteY8418"/>
                </a:cxn>
                <a:cxn ang="0">
                  <a:pos x="connsiteX8419" y="connsiteY8419"/>
                </a:cxn>
                <a:cxn ang="0">
                  <a:pos x="connsiteX8420" y="connsiteY8420"/>
                </a:cxn>
                <a:cxn ang="0">
                  <a:pos x="connsiteX8421" y="connsiteY8421"/>
                </a:cxn>
                <a:cxn ang="0">
                  <a:pos x="connsiteX8422" y="connsiteY8422"/>
                </a:cxn>
                <a:cxn ang="0">
                  <a:pos x="connsiteX8423" y="connsiteY8423"/>
                </a:cxn>
                <a:cxn ang="0">
                  <a:pos x="connsiteX8424" y="connsiteY8424"/>
                </a:cxn>
                <a:cxn ang="0">
                  <a:pos x="connsiteX8425" y="connsiteY8425"/>
                </a:cxn>
                <a:cxn ang="0">
                  <a:pos x="connsiteX8426" y="connsiteY8426"/>
                </a:cxn>
                <a:cxn ang="0">
                  <a:pos x="connsiteX8427" y="connsiteY8427"/>
                </a:cxn>
                <a:cxn ang="0">
                  <a:pos x="connsiteX8428" y="connsiteY8428"/>
                </a:cxn>
                <a:cxn ang="0">
                  <a:pos x="connsiteX8429" y="connsiteY8429"/>
                </a:cxn>
                <a:cxn ang="0">
                  <a:pos x="connsiteX8430" y="connsiteY8430"/>
                </a:cxn>
                <a:cxn ang="0">
                  <a:pos x="connsiteX8431" y="connsiteY8431"/>
                </a:cxn>
                <a:cxn ang="0">
                  <a:pos x="connsiteX8432" y="connsiteY8432"/>
                </a:cxn>
                <a:cxn ang="0">
                  <a:pos x="connsiteX8433" y="connsiteY8433"/>
                </a:cxn>
                <a:cxn ang="0">
                  <a:pos x="connsiteX8434" y="connsiteY8434"/>
                </a:cxn>
                <a:cxn ang="0">
                  <a:pos x="connsiteX8435" y="connsiteY8435"/>
                </a:cxn>
                <a:cxn ang="0">
                  <a:pos x="connsiteX8436" y="connsiteY8436"/>
                </a:cxn>
                <a:cxn ang="0">
                  <a:pos x="connsiteX8437" y="connsiteY8437"/>
                </a:cxn>
                <a:cxn ang="0">
                  <a:pos x="connsiteX8438" y="connsiteY8438"/>
                </a:cxn>
                <a:cxn ang="0">
                  <a:pos x="connsiteX8439" y="connsiteY8439"/>
                </a:cxn>
                <a:cxn ang="0">
                  <a:pos x="connsiteX8440" y="connsiteY8440"/>
                </a:cxn>
                <a:cxn ang="0">
                  <a:pos x="connsiteX8441" y="connsiteY8441"/>
                </a:cxn>
                <a:cxn ang="0">
                  <a:pos x="connsiteX8442" y="connsiteY8442"/>
                </a:cxn>
                <a:cxn ang="0">
                  <a:pos x="connsiteX8443" y="connsiteY8443"/>
                </a:cxn>
                <a:cxn ang="0">
                  <a:pos x="connsiteX8444" y="connsiteY8444"/>
                </a:cxn>
                <a:cxn ang="0">
                  <a:pos x="connsiteX8445" y="connsiteY8445"/>
                </a:cxn>
                <a:cxn ang="0">
                  <a:pos x="connsiteX8446" y="connsiteY8446"/>
                </a:cxn>
                <a:cxn ang="0">
                  <a:pos x="connsiteX8447" y="connsiteY8447"/>
                </a:cxn>
                <a:cxn ang="0">
                  <a:pos x="connsiteX8448" y="connsiteY8448"/>
                </a:cxn>
                <a:cxn ang="0">
                  <a:pos x="connsiteX8449" y="connsiteY8449"/>
                </a:cxn>
                <a:cxn ang="0">
                  <a:pos x="connsiteX8450" y="connsiteY8450"/>
                </a:cxn>
                <a:cxn ang="0">
                  <a:pos x="connsiteX8451" y="connsiteY8451"/>
                </a:cxn>
                <a:cxn ang="0">
                  <a:pos x="connsiteX8452" y="connsiteY8452"/>
                </a:cxn>
                <a:cxn ang="0">
                  <a:pos x="connsiteX8453" y="connsiteY8453"/>
                </a:cxn>
                <a:cxn ang="0">
                  <a:pos x="connsiteX8454" y="connsiteY8454"/>
                </a:cxn>
                <a:cxn ang="0">
                  <a:pos x="connsiteX8455" y="connsiteY8455"/>
                </a:cxn>
                <a:cxn ang="0">
                  <a:pos x="connsiteX8456" y="connsiteY8456"/>
                </a:cxn>
                <a:cxn ang="0">
                  <a:pos x="connsiteX8457" y="connsiteY8457"/>
                </a:cxn>
                <a:cxn ang="0">
                  <a:pos x="connsiteX8458" y="connsiteY8458"/>
                </a:cxn>
                <a:cxn ang="0">
                  <a:pos x="connsiteX8459" y="connsiteY8459"/>
                </a:cxn>
                <a:cxn ang="0">
                  <a:pos x="connsiteX8460" y="connsiteY8460"/>
                </a:cxn>
                <a:cxn ang="0">
                  <a:pos x="connsiteX8461" y="connsiteY8461"/>
                </a:cxn>
                <a:cxn ang="0">
                  <a:pos x="connsiteX8462" y="connsiteY8462"/>
                </a:cxn>
                <a:cxn ang="0">
                  <a:pos x="connsiteX8463" y="connsiteY8463"/>
                </a:cxn>
                <a:cxn ang="0">
                  <a:pos x="connsiteX8464" y="connsiteY8464"/>
                </a:cxn>
                <a:cxn ang="0">
                  <a:pos x="connsiteX8465" y="connsiteY8465"/>
                </a:cxn>
                <a:cxn ang="0">
                  <a:pos x="connsiteX8466" y="connsiteY8466"/>
                </a:cxn>
                <a:cxn ang="0">
                  <a:pos x="connsiteX8467" y="connsiteY8467"/>
                </a:cxn>
                <a:cxn ang="0">
                  <a:pos x="connsiteX8468" y="connsiteY8468"/>
                </a:cxn>
                <a:cxn ang="0">
                  <a:pos x="connsiteX8469" y="connsiteY8469"/>
                </a:cxn>
                <a:cxn ang="0">
                  <a:pos x="connsiteX8470" y="connsiteY8470"/>
                </a:cxn>
                <a:cxn ang="0">
                  <a:pos x="connsiteX8471" y="connsiteY8471"/>
                </a:cxn>
                <a:cxn ang="0">
                  <a:pos x="connsiteX8472" y="connsiteY8472"/>
                </a:cxn>
                <a:cxn ang="0">
                  <a:pos x="connsiteX8473" y="connsiteY8473"/>
                </a:cxn>
                <a:cxn ang="0">
                  <a:pos x="connsiteX8474" y="connsiteY8474"/>
                </a:cxn>
                <a:cxn ang="0">
                  <a:pos x="connsiteX8475" y="connsiteY8475"/>
                </a:cxn>
                <a:cxn ang="0">
                  <a:pos x="connsiteX8476" y="connsiteY8476"/>
                </a:cxn>
                <a:cxn ang="0">
                  <a:pos x="connsiteX8477" y="connsiteY8477"/>
                </a:cxn>
                <a:cxn ang="0">
                  <a:pos x="connsiteX8478" y="connsiteY8478"/>
                </a:cxn>
                <a:cxn ang="0">
                  <a:pos x="connsiteX8479" y="connsiteY8479"/>
                </a:cxn>
                <a:cxn ang="0">
                  <a:pos x="connsiteX8480" y="connsiteY8480"/>
                </a:cxn>
                <a:cxn ang="0">
                  <a:pos x="connsiteX8481" y="connsiteY8481"/>
                </a:cxn>
                <a:cxn ang="0">
                  <a:pos x="connsiteX8482" y="connsiteY8482"/>
                </a:cxn>
                <a:cxn ang="0">
                  <a:pos x="connsiteX8483" y="connsiteY8483"/>
                </a:cxn>
                <a:cxn ang="0">
                  <a:pos x="connsiteX8484" y="connsiteY8484"/>
                </a:cxn>
                <a:cxn ang="0">
                  <a:pos x="connsiteX8485" y="connsiteY8485"/>
                </a:cxn>
                <a:cxn ang="0">
                  <a:pos x="connsiteX8486" y="connsiteY8486"/>
                </a:cxn>
                <a:cxn ang="0">
                  <a:pos x="connsiteX8487" y="connsiteY8487"/>
                </a:cxn>
                <a:cxn ang="0">
                  <a:pos x="connsiteX8488" y="connsiteY8488"/>
                </a:cxn>
                <a:cxn ang="0">
                  <a:pos x="connsiteX8489" y="connsiteY8489"/>
                </a:cxn>
                <a:cxn ang="0">
                  <a:pos x="connsiteX8490" y="connsiteY8490"/>
                </a:cxn>
                <a:cxn ang="0">
                  <a:pos x="connsiteX8491" y="connsiteY8491"/>
                </a:cxn>
                <a:cxn ang="0">
                  <a:pos x="connsiteX8492" y="connsiteY8492"/>
                </a:cxn>
                <a:cxn ang="0">
                  <a:pos x="connsiteX8493" y="connsiteY8493"/>
                </a:cxn>
                <a:cxn ang="0">
                  <a:pos x="connsiteX8494" y="connsiteY8494"/>
                </a:cxn>
                <a:cxn ang="0">
                  <a:pos x="connsiteX8495" y="connsiteY8495"/>
                </a:cxn>
                <a:cxn ang="0">
                  <a:pos x="connsiteX8496" y="connsiteY8496"/>
                </a:cxn>
                <a:cxn ang="0">
                  <a:pos x="connsiteX8497" y="connsiteY8497"/>
                </a:cxn>
                <a:cxn ang="0">
                  <a:pos x="connsiteX8498" y="connsiteY8498"/>
                </a:cxn>
                <a:cxn ang="0">
                  <a:pos x="connsiteX8499" y="connsiteY8499"/>
                </a:cxn>
                <a:cxn ang="0">
                  <a:pos x="connsiteX8500" y="connsiteY8500"/>
                </a:cxn>
                <a:cxn ang="0">
                  <a:pos x="connsiteX8501" y="connsiteY8501"/>
                </a:cxn>
                <a:cxn ang="0">
                  <a:pos x="connsiteX8502" y="connsiteY8502"/>
                </a:cxn>
                <a:cxn ang="0">
                  <a:pos x="connsiteX8503" y="connsiteY8503"/>
                </a:cxn>
                <a:cxn ang="0">
                  <a:pos x="connsiteX8504" y="connsiteY8504"/>
                </a:cxn>
                <a:cxn ang="0">
                  <a:pos x="connsiteX8505" y="connsiteY8505"/>
                </a:cxn>
                <a:cxn ang="0">
                  <a:pos x="connsiteX8506" y="connsiteY8506"/>
                </a:cxn>
                <a:cxn ang="0">
                  <a:pos x="connsiteX8507" y="connsiteY8507"/>
                </a:cxn>
                <a:cxn ang="0">
                  <a:pos x="connsiteX8508" y="connsiteY8508"/>
                </a:cxn>
                <a:cxn ang="0">
                  <a:pos x="connsiteX8509" y="connsiteY8509"/>
                </a:cxn>
                <a:cxn ang="0">
                  <a:pos x="connsiteX8510" y="connsiteY8510"/>
                </a:cxn>
                <a:cxn ang="0">
                  <a:pos x="connsiteX8511" y="connsiteY8511"/>
                </a:cxn>
                <a:cxn ang="0">
                  <a:pos x="connsiteX8512" y="connsiteY8512"/>
                </a:cxn>
                <a:cxn ang="0">
                  <a:pos x="connsiteX8513" y="connsiteY8513"/>
                </a:cxn>
                <a:cxn ang="0">
                  <a:pos x="connsiteX8514" y="connsiteY8514"/>
                </a:cxn>
                <a:cxn ang="0">
                  <a:pos x="connsiteX8515" y="connsiteY8515"/>
                </a:cxn>
                <a:cxn ang="0">
                  <a:pos x="connsiteX8516" y="connsiteY8516"/>
                </a:cxn>
                <a:cxn ang="0">
                  <a:pos x="connsiteX8517" y="connsiteY8517"/>
                </a:cxn>
                <a:cxn ang="0">
                  <a:pos x="connsiteX8518" y="connsiteY8518"/>
                </a:cxn>
                <a:cxn ang="0">
                  <a:pos x="connsiteX8519" y="connsiteY8519"/>
                </a:cxn>
                <a:cxn ang="0">
                  <a:pos x="connsiteX8520" y="connsiteY8520"/>
                </a:cxn>
                <a:cxn ang="0">
                  <a:pos x="connsiteX8521" y="connsiteY8521"/>
                </a:cxn>
                <a:cxn ang="0">
                  <a:pos x="connsiteX8522" y="connsiteY8522"/>
                </a:cxn>
                <a:cxn ang="0">
                  <a:pos x="connsiteX8523" y="connsiteY8523"/>
                </a:cxn>
                <a:cxn ang="0">
                  <a:pos x="connsiteX8524" y="connsiteY8524"/>
                </a:cxn>
                <a:cxn ang="0">
                  <a:pos x="connsiteX8525" y="connsiteY8525"/>
                </a:cxn>
                <a:cxn ang="0">
                  <a:pos x="connsiteX8526" y="connsiteY8526"/>
                </a:cxn>
                <a:cxn ang="0">
                  <a:pos x="connsiteX8527" y="connsiteY8527"/>
                </a:cxn>
                <a:cxn ang="0">
                  <a:pos x="connsiteX8528" y="connsiteY8528"/>
                </a:cxn>
                <a:cxn ang="0">
                  <a:pos x="connsiteX8529" y="connsiteY8529"/>
                </a:cxn>
                <a:cxn ang="0">
                  <a:pos x="connsiteX8530" y="connsiteY8530"/>
                </a:cxn>
                <a:cxn ang="0">
                  <a:pos x="connsiteX8531" y="connsiteY8531"/>
                </a:cxn>
                <a:cxn ang="0">
                  <a:pos x="connsiteX8532" y="connsiteY8532"/>
                </a:cxn>
                <a:cxn ang="0">
                  <a:pos x="connsiteX8533" y="connsiteY8533"/>
                </a:cxn>
                <a:cxn ang="0">
                  <a:pos x="connsiteX8534" y="connsiteY8534"/>
                </a:cxn>
                <a:cxn ang="0">
                  <a:pos x="connsiteX8535" y="connsiteY8535"/>
                </a:cxn>
                <a:cxn ang="0">
                  <a:pos x="connsiteX8536" y="connsiteY8536"/>
                </a:cxn>
                <a:cxn ang="0">
                  <a:pos x="connsiteX8537" y="connsiteY8537"/>
                </a:cxn>
                <a:cxn ang="0">
                  <a:pos x="connsiteX8538" y="connsiteY8538"/>
                </a:cxn>
                <a:cxn ang="0">
                  <a:pos x="connsiteX8539" y="connsiteY8539"/>
                </a:cxn>
                <a:cxn ang="0">
                  <a:pos x="connsiteX8540" y="connsiteY8540"/>
                </a:cxn>
                <a:cxn ang="0">
                  <a:pos x="connsiteX8541" y="connsiteY8541"/>
                </a:cxn>
                <a:cxn ang="0">
                  <a:pos x="connsiteX8542" y="connsiteY8542"/>
                </a:cxn>
                <a:cxn ang="0">
                  <a:pos x="connsiteX8543" y="connsiteY8543"/>
                </a:cxn>
                <a:cxn ang="0">
                  <a:pos x="connsiteX8544" y="connsiteY8544"/>
                </a:cxn>
                <a:cxn ang="0">
                  <a:pos x="connsiteX8545" y="connsiteY8545"/>
                </a:cxn>
                <a:cxn ang="0">
                  <a:pos x="connsiteX8546" y="connsiteY8546"/>
                </a:cxn>
                <a:cxn ang="0">
                  <a:pos x="connsiteX8547" y="connsiteY8547"/>
                </a:cxn>
                <a:cxn ang="0">
                  <a:pos x="connsiteX8548" y="connsiteY8548"/>
                </a:cxn>
                <a:cxn ang="0">
                  <a:pos x="connsiteX8549" y="connsiteY8549"/>
                </a:cxn>
                <a:cxn ang="0">
                  <a:pos x="connsiteX8550" y="connsiteY8550"/>
                </a:cxn>
                <a:cxn ang="0">
                  <a:pos x="connsiteX8551" y="connsiteY8551"/>
                </a:cxn>
                <a:cxn ang="0">
                  <a:pos x="connsiteX8552" y="connsiteY8552"/>
                </a:cxn>
                <a:cxn ang="0">
                  <a:pos x="connsiteX8553" y="connsiteY8553"/>
                </a:cxn>
                <a:cxn ang="0">
                  <a:pos x="connsiteX8554" y="connsiteY8554"/>
                </a:cxn>
                <a:cxn ang="0">
                  <a:pos x="connsiteX8555" y="connsiteY8555"/>
                </a:cxn>
                <a:cxn ang="0">
                  <a:pos x="connsiteX8556" y="connsiteY8556"/>
                </a:cxn>
                <a:cxn ang="0">
                  <a:pos x="connsiteX8557" y="connsiteY8557"/>
                </a:cxn>
                <a:cxn ang="0">
                  <a:pos x="connsiteX8558" y="connsiteY8558"/>
                </a:cxn>
                <a:cxn ang="0">
                  <a:pos x="connsiteX8559" y="connsiteY8559"/>
                </a:cxn>
                <a:cxn ang="0">
                  <a:pos x="connsiteX8560" y="connsiteY8560"/>
                </a:cxn>
                <a:cxn ang="0">
                  <a:pos x="connsiteX8561" y="connsiteY8561"/>
                </a:cxn>
                <a:cxn ang="0">
                  <a:pos x="connsiteX8562" y="connsiteY8562"/>
                </a:cxn>
                <a:cxn ang="0">
                  <a:pos x="connsiteX8563" y="connsiteY8563"/>
                </a:cxn>
                <a:cxn ang="0">
                  <a:pos x="connsiteX8564" y="connsiteY8564"/>
                </a:cxn>
                <a:cxn ang="0">
                  <a:pos x="connsiteX8565" y="connsiteY8565"/>
                </a:cxn>
                <a:cxn ang="0">
                  <a:pos x="connsiteX8566" y="connsiteY8566"/>
                </a:cxn>
                <a:cxn ang="0">
                  <a:pos x="connsiteX8567" y="connsiteY8567"/>
                </a:cxn>
                <a:cxn ang="0">
                  <a:pos x="connsiteX8568" y="connsiteY8568"/>
                </a:cxn>
                <a:cxn ang="0">
                  <a:pos x="connsiteX8569" y="connsiteY8569"/>
                </a:cxn>
                <a:cxn ang="0">
                  <a:pos x="connsiteX8570" y="connsiteY8570"/>
                </a:cxn>
                <a:cxn ang="0">
                  <a:pos x="connsiteX8571" y="connsiteY8571"/>
                </a:cxn>
                <a:cxn ang="0">
                  <a:pos x="connsiteX8572" y="connsiteY8572"/>
                </a:cxn>
                <a:cxn ang="0">
                  <a:pos x="connsiteX8573" y="connsiteY8573"/>
                </a:cxn>
                <a:cxn ang="0">
                  <a:pos x="connsiteX8574" y="connsiteY8574"/>
                </a:cxn>
                <a:cxn ang="0">
                  <a:pos x="connsiteX8575" y="connsiteY8575"/>
                </a:cxn>
                <a:cxn ang="0">
                  <a:pos x="connsiteX8576" y="connsiteY8576"/>
                </a:cxn>
                <a:cxn ang="0">
                  <a:pos x="connsiteX8577" y="connsiteY8577"/>
                </a:cxn>
                <a:cxn ang="0">
                  <a:pos x="connsiteX8578" y="connsiteY8578"/>
                </a:cxn>
                <a:cxn ang="0">
                  <a:pos x="connsiteX8579" y="connsiteY8579"/>
                </a:cxn>
                <a:cxn ang="0">
                  <a:pos x="connsiteX8580" y="connsiteY8580"/>
                </a:cxn>
                <a:cxn ang="0">
                  <a:pos x="connsiteX8581" y="connsiteY8581"/>
                </a:cxn>
                <a:cxn ang="0">
                  <a:pos x="connsiteX8582" y="connsiteY8582"/>
                </a:cxn>
                <a:cxn ang="0">
                  <a:pos x="connsiteX8583" y="connsiteY8583"/>
                </a:cxn>
                <a:cxn ang="0">
                  <a:pos x="connsiteX8584" y="connsiteY8584"/>
                </a:cxn>
                <a:cxn ang="0">
                  <a:pos x="connsiteX8585" y="connsiteY8585"/>
                </a:cxn>
                <a:cxn ang="0">
                  <a:pos x="connsiteX8586" y="connsiteY8586"/>
                </a:cxn>
                <a:cxn ang="0">
                  <a:pos x="connsiteX8587" y="connsiteY8587"/>
                </a:cxn>
                <a:cxn ang="0">
                  <a:pos x="connsiteX8588" y="connsiteY8588"/>
                </a:cxn>
                <a:cxn ang="0">
                  <a:pos x="connsiteX8589" y="connsiteY8589"/>
                </a:cxn>
                <a:cxn ang="0">
                  <a:pos x="connsiteX8590" y="connsiteY8590"/>
                </a:cxn>
                <a:cxn ang="0">
                  <a:pos x="connsiteX8591" y="connsiteY8591"/>
                </a:cxn>
                <a:cxn ang="0">
                  <a:pos x="connsiteX8592" y="connsiteY8592"/>
                </a:cxn>
                <a:cxn ang="0">
                  <a:pos x="connsiteX8593" y="connsiteY8593"/>
                </a:cxn>
                <a:cxn ang="0">
                  <a:pos x="connsiteX8594" y="connsiteY8594"/>
                </a:cxn>
                <a:cxn ang="0">
                  <a:pos x="connsiteX8595" y="connsiteY8595"/>
                </a:cxn>
                <a:cxn ang="0">
                  <a:pos x="connsiteX8596" y="connsiteY8596"/>
                </a:cxn>
                <a:cxn ang="0">
                  <a:pos x="connsiteX8597" y="connsiteY8597"/>
                </a:cxn>
                <a:cxn ang="0">
                  <a:pos x="connsiteX8598" y="connsiteY8598"/>
                </a:cxn>
                <a:cxn ang="0">
                  <a:pos x="connsiteX8599" y="connsiteY8599"/>
                </a:cxn>
                <a:cxn ang="0">
                  <a:pos x="connsiteX8600" y="connsiteY8600"/>
                </a:cxn>
                <a:cxn ang="0">
                  <a:pos x="connsiteX8601" y="connsiteY8601"/>
                </a:cxn>
                <a:cxn ang="0">
                  <a:pos x="connsiteX8602" y="connsiteY8602"/>
                </a:cxn>
                <a:cxn ang="0">
                  <a:pos x="connsiteX8603" y="connsiteY8603"/>
                </a:cxn>
                <a:cxn ang="0">
                  <a:pos x="connsiteX8604" y="connsiteY8604"/>
                </a:cxn>
                <a:cxn ang="0">
                  <a:pos x="connsiteX8605" y="connsiteY8605"/>
                </a:cxn>
                <a:cxn ang="0">
                  <a:pos x="connsiteX8606" y="connsiteY8606"/>
                </a:cxn>
                <a:cxn ang="0">
                  <a:pos x="connsiteX8607" y="connsiteY8607"/>
                </a:cxn>
                <a:cxn ang="0">
                  <a:pos x="connsiteX8608" y="connsiteY8608"/>
                </a:cxn>
                <a:cxn ang="0">
                  <a:pos x="connsiteX8609" y="connsiteY8609"/>
                </a:cxn>
                <a:cxn ang="0">
                  <a:pos x="connsiteX8610" y="connsiteY8610"/>
                </a:cxn>
                <a:cxn ang="0">
                  <a:pos x="connsiteX8611" y="connsiteY8611"/>
                </a:cxn>
                <a:cxn ang="0">
                  <a:pos x="connsiteX8612" y="connsiteY8612"/>
                </a:cxn>
                <a:cxn ang="0">
                  <a:pos x="connsiteX8613" y="connsiteY8613"/>
                </a:cxn>
                <a:cxn ang="0">
                  <a:pos x="connsiteX8614" y="connsiteY8614"/>
                </a:cxn>
                <a:cxn ang="0">
                  <a:pos x="connsiteX8615" y="connsiteY8615"/>
                </a:cxn>
                <a:cxn ang="0">
                  <a:pos x="connsiteX8616" y="connsiteY8616"/>
                </a:cxn>
                <a:cxn ang="0">
                  <a:pos x="connsiteX8617" y="connsiteY8617"/>
                </a:cxn>
                <a:cxn ang="0">
                  <a:pos x="connsiteX8618" y="connsiteY8618"/>
                </a:cxn>
                <a:cxn ang="0">
                  <a:pos x="connsiteX8619" y="connsiteY8619"/>
                </a:cxn>
                <a:cxn ang="0">
                  <a:pos x="connsiteX8620" y="connsiteY8620"/>
                </a:cxn>
                <a:cxn ang="0">
                  <a:pos x="connsiteX8621" y="connsiteY8621"/>
                </a:cxn>
                <a:cxn ang="0">
                  <a:pos x="connsiteX8622" y="connsiteY8622"/>
                </a:cxn>
                <a:cxn ang="0">
                  <a:pos x="connsiteX8623" y="connsiteY8623"/>
                </a:cxn>
                <a:cxn ang="0">
                  <a:pos x="connsiteX8624" y="connsiteY8624"/>
                </a:cxn>
                <a:cxn ang="0">
                  <a:pos x="connsiteX8625" y="connsiteY8625"/>
                </a:cxn>
                <a:cxn ang="0">
                  <a:pos x="connsiteX8626" y="connsiteY8626"/>
                </a:cxn>
                <a:cxn ang="0">
                  <a:pos x="connsiteX8627" y="connsiteY8627"/>
                </a:cxn>
                <a:cxn ang="0">
                  <a:pos x="connsiteX8628" y="connsiteY8628"/>
                </a:cxn>
                <a:cxn ang="0">
                  <a:pos x="connsiteX8629" y="connsiteY8629"/>
                </a:cxn>
                <a:cxn ang="0">
                  <a:pos x="connsiteX8630" y="connsiteY8630"/>
                </a:cxn>
                <a:cxn ang="0">
                  <a:pos x="connsiteX8631" y="connsiteY8631"/>
                </a:cxn>
                <a:cxn ang="0">
                  <a:pos x="connsiteX8632" y="connsiteY8632"/>
                </a:cxn>
                <a:cxn ang="0">
                  <a:pos x="connsiteX8633" y="connsiteY8633"/>
                </a:cxn>
                <a:cxn ang="0">
                  <a:pos x="connsiteX8634" y="connsiteY8634"/>
                </a:cxn>
                <a:cxn ang="0">
                  <a:pos x="connsiteX8635" y="connsiteY8635"/>
                </a:cxn>
                <a:cxn ang="0">
                  <a:pos x="connsiteX8636" y="connsiteY8636"/>
                </a:cxn>
                <a:cxn ang="0">
                  <a:pos x="connsiteX8637" y="connsiteY8637"/>
                </a:cxn>
                <a:cxn ang="0">
                  <a:pos x="connsiteX8638" y="connsiteY8638"/>
                </a:cxn>
                <a:cxn ang="0">
                  <a:pos x="connsiteX8639" y="connsiteY8639"/>
                </a:cxn>
                <a:cxn ang="0">
                  <a:pos x="connsiteX8640" y="connsiteY8640"/>
                </a:cxn>
                <a:cxn ang="0">
                  <a:pos x="connsiteX8641" y="connsiteY8641"/>
                </a:cxn>
                <a:cxn ang="0">
                  <a:pos x="connsiteX8642" y="connsiteY8642"/>
                </a:cxn>
                <a:cxn ang="0">
                  <a:pos x="connsiteX8643" y="connsiteY8643"/>
                </a:cxn>
                <a:cxn ang="0">
                  <a:pos x="connsiteX8644" y="connsiteY8644"/>
                </a:cxn>
                <a:cxn ang="0">
                  <a:pos x="connsiteX8645" y="connsiteY8645"/>
                </a:cxn>
                <a:cxn ang="0">
                  <a:pos x="connsiteX8646" y="connsiteY8646"/>
                </a:cxn>
                <a:cxn ang="0">
                  <a:pos x="connsiteX8647" y="connsiteY8647"/>
                </a:cxn>
                <a:cxn ang="0">
                  <a:pos x="connsiteX8648" y="connsiteY8648"/>
                </a:cxn>
                <a:cxn ang="0">
                  <a:pos x="connsiteX8649" y="connsiteY8649"/>
                </a:cxn>
                <a:cxn ang="0">
                  <a:pos x="connsiteX8650" y="connsiteY8650"/>
                </a:cxn>
                <a:cxn ang="0">
                  <a:pos x="connsiteX8651" y="connsiteY8651"/>
                </a:cxn>
                <a:cxn ang="0">
                  <a:pos x="connsiteX8652" y="connsiteY8652"/>
                </a:cxn>
                <a:cxn ang="0">
                  <a:pos x="connsiteX8653" y="connsiteY8653"/>
                </a:cxn>
                <a:cxn ang="0">
                  <a:pos x="connsiteX8654" y="connsiteY8654"/>
                </a:cxn>
                <a:cxn ang="0">
                  <a:pos x="connsiteX8655" y="connsiteY8655"/>
                </a:cxn>
                <a:cxn ang="0">
                  <a:pos x="connsiteX8656" y="connsiteY8656"/>
                </a:cxn>
                <a:cxn ang="0">
                  <a:pos x="connsiteX8657" y="connsiteY8657"/>
                </a:cxn>
                <a:cxn ang="0">
                  <a:pos x="connsiteX8658" y="connsiteY8658"/>
                </a:cxn>
                <a:cxn ang="0">
                  <a:pos x="connsiteX8659" y="connsiteY8659"/>
                </a:cxn>
                <a:cxn ang="0">
                  <a:pos x="connsiteX8660" y="connsiteY8660"/>
                </a:cxn>
                <a:cxn ang="0">
                  <a:pos x="connsiteX8661" y="connsiteY8661"/>
                </a:cxn>
                <a:cxn ang="0">
                  <a:pos x="connsiteX8662" y="connsiteY8662"/>
                </a:cxn>
                <a:cxn ang="0">
                  <a:pos x="connsiteX8663" y="connsiteY8663"/>
                </a:cxn>
                <a:cxn ang="0">
                  <a:pos x="connsiteX8664" y="connsiteY8664"/>
                </a:cxn>
                <a:cxn ang="0">
                  <a:pos x="connsiteX8665" y="connsiteY8665"/>
                </a:cxn>
                <a:cxn ang="0">
                  <a:pos x="connsiteX8666" y="connsiteY8666"/>
                </a:cxn>
                <a:cxn ang="0">
                  <a:pos x="connsiteX8667" y="connsiteY8667"/>
                </a:cxn>
                <a:cxn ang="0">
                  <a:pos x="connsiteX8668" y="connsiteY8668"/>
                </a:cxn>
                <a:cxn ang="0">
                  <a:pos x="connsiteX8669" y="connsiteY8669"/>
                </a:cxn>
                <a:cxn ang="0">
                  <a:pos x="connsiteX8670" y="connsiteY8670"/>
                </a:cxn>
                <a:cxn ang="0">
                  <a:pos x="connsiteX8671" y="connsiteY8671"/>
                </a:cxn>
                <a:cxn ang="0">
                  <a:pos x="connsiteX8672" y="connsiteY8672"/>
                </a:cxn>
                <a:cxn ang="0">
                  <a:pos x="connsiteX8673" y="connsiteY8673"/>
                </a:cxn>
                <a:cxn ang="0">
                  <a:pos x="connsiteX8674" y="connsiteY8674"/>
                </a:cxn>
                <a:cxn ang="0">
                  <a:pos x="connsiteX8675" y="connsiteY8675"/>
                </a:cxn>
                <a:cxn ang="0">
                  <a:pos x="connsiteX8676" y="connsiteY8676"/>
                </a:cxn>
                <a:cxn ang="0">
                  <a:pos x="connsiteX8677" y="connsiteY8677"/>
                </a:cxn>
                <a:cxn ang="0">
                  <a:pos x="connsiteX8678" y="connsiteY8678"/>
                </a:cxn>
                <a:cxn ang="0">
                  <a:pos x="connsiteX8679" y="connsiteY8679"/>
                </a:cxn>
                <a:cxn ang="0">
                  <a:pos x="connsiteX8680" y="connsiteY8680"/>
                </a:cxn>
                <a:cxn ang="0">
                  <a:pos x="connsiteX8681" y="connsiteY8681"/>
                </a:cxn>
                <a:cxn ang="0">
                  <a:pos x="connsiteX8682" y="connsiteY8682"/>
                </a:cxn>
                <a:cxn ang="0">
                  <a:pos x="connsiteX8683" y="connsiteY8683"/>
                </a:cxn>
                <a:cxn ang="0">
                  <a:pos x="connsiteX8684" y="connsiteY8684"/>
                </a:cxn>
                <a:cxn ang="0">
                  <a:pos x="connsiteX8685" y="connsiteY8685"/>
                </a:cxn>
                <a:cxn ang="0">
                  <a:pos x="connsiteX8686" y="connsiteY8686"/>
                </a:cxn>
                <a:cxn ang="0">
                  <a:pos x="connsiteX8687" y="connsiteY8687"/>
                </a:cxn>
                <a:cxn ang="0">
                  <a:pos x="connsiteX8688" y="connsiteY8688"/>
                </a:cxn>
                <a:cxn ang="0">
                  <a:pos x="connsiteX8689" y="connsiteY8689"/>
                </a:cxn>
                <a:cxn ang="0">
                  <a:pos x="connsiteX8690" y="connsiteY8690"/>
                </a:cxn>
                <a:cxn ang="0">
                  <a:pos x="connsiteX8691" y="connsiteY8691"/>
                </a:cxn>
                <a:cxn ang="0">
                  <a:pos x="connsiteX8692" y="connsiteY8692"/>
                </a:cxn>
                <a:cxn ang="0">
                  <a:pos x="connsiteX8693" y="connsiteY8693"/>
                </a:cxn>
                <a:cxn ang="0">
                  <a:pos x="connsiteX8694" y="connsiteY8694"/>
                </a:cxn>
                <a:cxn ang="0">
                  <a:pos x="connsiteX8695" y="connsiteY8695"/>
                </a:cxn>
                <a:cxn ang="0">
                  <a:pos x="connsiteX8696" y="connsiteY8696"/>
                </a:cxn>
                <a:cxn ang="0">
                  <a:pos x="connsiteX8697" y="connsiteY8697"/>
                </a:cxn>
                <a:cxn ang="0">
                  <a:pos x="connsiteX8698" y="connsiteY8698"/>
                </a:cxn>
                <a:cxn ang="0">
                  <a:pos x="connsiteX8699" y="connsiteY8699"/>
                </a:cxn>
                <a:cxn ang="0">
                  <a:pos x="connsiteX8700" y="connsiteY8700"/>
                </a:cxn>
                <a:cxn ang="0">
                  <a:pos x="connsiteX8701" y="connsiteY8701"/>
                </a:cxn>
                <a:cxn ang="0">
                  <a:pos x="connsiteX8702" y="connsiteY8702"/>
                </a:cxn>
                <a:cxn ang="0">
                  <a:pos x="connsiteX8703" y="connsiteY8703"/>
                </a:cxn>
                <a:cxn ang="0">
                  <a:pos x="connsiteX8704" y="connsiteY8704"/>
                </a:cxn>
                <a:cxn ang="0">
                  <a:pos x="connsiteX8705" y="connsiteY8705"/>
                </a:cxn>
                <a:cxn ang="0">
                  <a:pos x="connsiteX8706" y="connsiteY8706"/>
                </a:cxn>
                <a:cxn ang="0">
                  <a:pos x="connsiteX8707" y="connsiteY8707"/>
                </a:cxn>
                <a:cxn ang="0">
                  <a:pos x="connsiteX8708" y="connsiteY8708"/>
                </a:cxn>
                <a:cxn ang="0">
                  <a:pos x="connsiteX8709" y="connsiteY8709"/>
                </a:cxn>
                <a:cxn ang="0">
                  <a:pos x="connsiteX8710" y="connsiteY8710"/>
                </a:cxn>
                <a:cxn ang="0">
                  <a:pos x="connsiteX8711" y="connsiteY8711"/>
                </a:cxn>
                <a:cxn ang="0">
                  <a:pos x="connsiteX8712" y="connsiteY8712"/>
                </a:cxn>
                <a:cxn ang="0">
                  <a:pos x="connsiteX8713" y="connsiteY8713"/>
                </a:cxn>
                <a:cxn ang="0">
                  <a:pos x="connsiteX8714" y="connsiteY8714"/>
                </a:cxn>
                <a:cxn ang="0">
                  <a:pos x="connsiteX8715" y="connsiteY8715"/>
                </a:cxn>
                <a:cxn ang="0">
                  <a:pos x="connsiteX8716" y="connsiteY8716"/>
                </a:cxn>
                <a:cxn ang="0">
                  <a:pos x="connsiteX8717" y="connsiteY8717"/>
                </a:cxn>
                <a:cxn ang="0">
                  <a:pos x="connsiteX8718" y="connsiteY8718"/>
                </a:cxn>
                <a:cxn ang="0">
                  <a:pos x="connsiteX8719" y="connsiteY8719"/>
                </a:cxn>
                <a:cxn ang="0">
                  <a:pos x="connsiteX8720" y="connsiteY8720"/>
                </a:cxn>
                <a:cxn ang="0">
                  <a:pos x="connsiteX8721" y="connsiteY8721"/>
                </a:cxn>
                <a:cxn ang="0">
                  <a:pos x="connsiteX8722" y="connsiteY8722"/>
                </a:cxn>
                <a:cxn ang="0">
                  <a:pos x="connsiteX8723" y="connsiteY8723"/>
                </a:cxn>
                <a:cxn ang="0">
                  <a:pos x="connsiteX8724" y="connsiteY8724"/>
                </a:cxn>
                <a:cxn ang="0">
                  <a:pos x="connsiteX8725" y="connsiteY8725"/>
                </a:cxn>
                <a:cxn ang="0">
                  <a:pos x="connsiteX8726" y="connsiteY8726"/>
                </a:cxn>
                <a:cxn ang="0">
                  <a:pos x="connsiteX8727" y="connsiteY8727"/>
                </a:cxn>
                <a:cxn ang="0">
                  <a:pos x="connsiteX8728" y="connsiteY8728"/>
                </a:cxn>
                <a:cxn ang="0">
                  <a:pos x="connsiteX8729" y="connsiteY8729"/>
                </a:cxn>
                <a:cxn ang="0">
                  <a:pos x="connsiteX8730" y="connsiteY8730"/>
                </a:cxn>
                <a:cxn ang="0">
                  <a:pos x="connsiteX8731" y="connsiteY8731"/>
                </a:cxn>
                <a:cxn ang="0">
                  <a:pos x="connsiteX8732" y="connsiteY8732"/>
                </a:cxn>
                <a:cxn ang="0">
                  <a:pos x="connsiteX8733" y="connsiteY8733"/>
                </a:cxn>
                <a:cxn ang="0">
                  <a:pos x="connsiteX8734" y="connsiteY8734"/>
                </a:cxn>
                <a:cxn ang="0">
                  <a:pos x="connsiteX8735" y="connsiteY8735"/>
                </a:cxn>
                <a:cxn ang="0">
                  <a:pos x="connsiteX8736" y="connsiteY8736"/>
                </a:cxn>
                <a:cxn ang="0">
                  <a:pos x="connsiteX8737" y="connsiteY8737"/>
                </a:cxn>
                <a:cxn ang="0">
                  <a:pos x="connsiteX8738" y="connsiteY8738"/>
                </a:cxn>
                <a:cxn ang="0">
                  <a:pos x="connsiteX8739" y="connsiteY8739"/>
                </a:cxn>
                <a:cxn ang="0">
                  <a:pos x="connsiteX8740" y="connsiteY8740"/>
                </a:cxn>
                <a:cxn ang="0">
                  <a:pos x="connsiteX8741" y="connsiteY8741"/>
                </a:cxn>
                <a:cxn ang="0">
                  <a:pos x="connsiteX8742" y="connsiteY8742"/>
                </a:cxn>
                <a:cxn ang="0">
                  <a:pos x="connsiteX8743" y="connsiteY8743"/>
                </a:cxn>
                <a:cxn ang="0">
                  <a:pos x="connsiteX8744" y="connsiteY8744"/>
                </a:cxn>
                <a:cxn ang="0">
                  <a:pos x="connsiteX8745" y="connsiteY8745"/>
                </a:cxn>
                <a:cxn ang="0">
                  <a:pos x="connsiteX8746" y="connsiteY8746"/>
                </a:cxn>
                <a:cxn ang="0">
                  <a:pos x="connsiteX8747" y="connsiteY8747"/>
                </a:cxn>
                <a:cxn ang="0">
                  <a:pos x="connsiteX8748" y="connsiteY8748"/>
                </a:cxn>
                <a:cxn ang="0">
                  <a:pos x="connsiteX8749" y="connsiteY8749"/>
                </a:cxn>
                <a:cxn ang="0">
                  <a:pos x="connsiteX8750" y="connsiteY8750"/>
                </a:cxn>
                <a:cxn ang="0">
                  <a:pos x="connsiteX8751" y="connsiteY8751"/>
                </a:cxn>
                <a:cxn ang="0">
                  <a:pos x="connsiteX8752" y="connsiteY8752"/>
                </a:cxn>
                <a:cxn ang="0">
                  <a:pos x="connsiteX8753" y="connsiteY8753"/>
                </a:cxn>
                <a:cxn ang="0">
                  <a:pos x="connsiteX8754" y="connsiteY8754"/>
                </a:cxn>
                <a:cxn ang="0">
                  <a:pos x="connsiteX8755" y="connsiteY8755"/>
                </a:cxn>
                <a:cxn ang="0">
                  <a:pos x="connsiteX8756" y="connsiteY8756"/>
                </a:cxn>
                <a:cxn ang="0">
                  <a:pos x="connsiteX8757" y="connsiteY8757"/>
                </a:cxn>
                <a:cxn ang="0">
                  <a:pos x="connsiteX8758" y="connsiteY8758"/>
                </a:cxn>
                <a:cxn ang="0">
                  <a:pos x="connsiteX8759" y="connsiteY8759"/>
                </a:cxn>
                <a:cxn ang="0">
                  <a:pos x="connsiteX8760" y="connsiteY8760"/>
                </a:cxn>
                <a:cxn ang="0">
                  <a:pos x="connsiteX8761" y="connsiteY8761"/>
                </a:cxn>
                <a:cxn ang="0">
                  <a:pos x="connsiteX8762" y="connsiteY8762"/>
                </a:cxn>
                <a:cxn ang="0">
                  <a:pos x="connsiteX8763" y="connsiteY8763"/>
                </a:cxn>
                <a:cxn ang="0">
                  <a:pos x="connsiteX8764" y="connsiteY8764"/>
                </a:cxn>
                <a:cxn ang="0">
                  <a:pos x="connsiteX8765" y="connsiteY8765"/>
                </a:cxn>
                <a:cxn ang="0">
                  <a:pos x="connsiteX8766" y="connsiteY8766"/>
                </a:cxn>
                <a:cxn ang="0">
                  <a:pos x="connsiteX8767" y="connsiteY8767"/>
                </a:cxn>
                <a:cxn ang="0">
                  <a:pos x="connsiteX8768" y="connsiteY8768"/>
                </a:cxn>
                <a:cxn ang="0">
                  <a:pos x="connsiteX8769" y="connsiteY8769"/>
                </a:cxn>
                <a:cxn ang="0">
                  <a:pos x="connsiteX8770" y="connsiteY8770"/>
                </a:cxn>
                <a:cxn ang="0">
                  <a:pos x="connsiteX8771" y="connsiteY8771"/>
                </a:cxn>
                <a:cxn ang="0">
                  <a:pos x="connsiteX8772" y="connsiteY8772"/>
                </a:cxn>
                <a:cxn ang="0">
                  <a:pos x="connsiteX8773" y="connsiteY8773"/>
                </a:cxn>
                <a:cxn ang="0">
                  <a:pos x="connsiteX8774" y="connsiteY8774"/>
                </a:cxn>
                <a:cxn ang="0">
                  <a:pos x="connsiteX8775" y="connsiteY8775"/>
                </a:cxn>
                <a:cxn ang="0">
                  <a:pos x="connsiteX8776" y="connsiteY8776"/>
                </a:cxn>
                <a:cxn ang="0">
                  <a:pos x="connsiteX8777" y="connsiteY8777"/>
                </a:cxn>
                <a:cxn ang="0">
                  <a:pos x="connsiteX8778" y="connsiteY8778"/>
                </a:cxn>
                <a:cxn ang="0">
                  <a:pos x="connsiteX8779" y="connsiteY8779"/>
                </a:cxn>
                <a:cxn ang="0">
                  <a:pos x="connsiteX8780" y="connsiteY8780"/>
                </a:cxn>
                <a:cxn ang="0">
                  <a:pos x="connsiteX8781" y="connsiteY8781"/>
                </a:cxn>
                <a:cxn ang="0">
                  <a:pos x="connsiteX8782" y="connsiteY8782"/>
                </a:cxn>
                <a:cxn ang="0">
                  <a:pos x="connsiteX8783" y="connsiteY8783"/>
                </a:cxn>
                <a:cxn ang="0">
                  <a:pos x="connsiteX8784" y="connsiteY8784"/>
                </a:cxn>
                <a:cxn ang="0">
                  <a:pos x="connsiteX8785" y="connsiteY8785"/>
                </a:cxn>
                <a:cxn ang="0">
                  <a:pos x="connsiteX8786" y="connsiteY8786"/>
                </a:cxn>
                <a:cxn ang="0">
                  <a:pos x="connsiteX8787" y="connsiteY8787"/>
                </a:cxn>
                <a:cxn ang="0">
                  <a:pos x="connsiteX8788" y="connsiteY8788"/>
                </a:cxn>
                <a:cxn ang="0">
                  <a:pos x="connsiteX8789" y="connsiteY8789"/>
                </a:cxn>
                <a:cxn ang="0">
                  <a:pos x="connsiteX8790" y="connsiteY8790"/>
                </a:cxn>
                <a:cxn ang="0">
                  <a:pos x="connsiteX8791" y="connsiteY8791"/>
                </a:cxn>
                <a:cxn ang="0">
                  <a:pos x="connsiteX8792" y="connsiteY8792"/>
                </a:cxn>
                <a:cxn ang="0">
                  <a:pos x="connsiteX8793" y="connsiteY8793"/>
                </a:cxn>
                <a:cxn ang="0">
                  <a:pos x="connsiteX8794" y="connsiteY8794"/>
                </a:cxn>
                <a:cxn ang="0">
                  <a:pos x="connsiteX8795" y="connsiteY8795"/>
                </a:cxn>
                <a:cxn ang="0">
                  <a:pos x="connsiteX8796" y="connsiteY8796"/>
                </a:cxn>
                <a:cxn ang="0">
                  <a:pos x="connsiteX8797" y="connsiteY8797"/>
                </a:cxn>
                <a:cxn ang="0">
                  <a:pos x="connsiteX8798" y="connsiteY8798"/>
                </a:cxn>
                <a:cxn ang="0">
                  <a:pos x="connsiteX8799" y="connsiteY8799"/>
                </a:cxn>
                <a:cxn ang="0">
                  <a:pos x="connsiteX8800" y="connsiteY8800"/>
                </a:cxn>
                <a:cxn ang="0">
                  <a:pos x="connsiteX8801" y="connsiteY8801"/>
                </a:cxn>
                <a:cxn ang="0">
                  <a:pos x="connsiteX8802" y="connsiteY8802"/>
                </a:cxn>
                <a:cxn ang="0">
                  <a:pos x="connsiteX8803" y="connsiteY8803"/>
                </a:cxn>
                <a:cxn ang="0">
                  <a:pos x="connsiteX8804" y="connsiteY8804"/>
                </a:cxn>
                <a:cxn ang="0">
                  <a:pos x="connsiteX8805" y="connsiteY8805"/>
                </a:cxn>
                <a:cxn ang="0">
                  <a:pos x="connsiteX8806" y="connsiteY8806"/>
                </a:cxn>
                <a:cxn ang="0">
                  <a:pos x="connsiteX8807" y="connsiteY8807"/>
                </a:cxn>
                <a:cxn ang="0">
                  <a:pos x="connsiteX8808" y="connsiteY8808"/>
                </a:cxn>
                <a:cxn ang="0">
                  <a:pos x="connsiteX8809" y="connsiteY8809"/>
                </a:cxn>
                <a:cxn ang="0">
                  <a:pos x="connsiteX8810" y="connsiteY8810"/>
                </a:cxn>
                <a:cxn ang="0">
                  <a:pos x="connsiteX8811" y="connsiteY8811"/>
                </a:cxn>
                <a:cxn ang="0">
                  <a:pos x="connsiteX8812" y="connsiteY8812"/>
                </a:cxn>
                <a:cxn ang="0">
                  <a:pos x="connsiteX8813" y="connsiteY8813"/>
                </a:cxn>
                <a:cxn ang="0">
                  <a:pos x="connsiteX8814" y="connsiteY8814"/>
                </a:cxn>
                <a:cxn ang="0">
                  <a:pos x="connsiteX8815" y="connsiteY8815"/>
                </a:cxn>
                <a:cxn ang="0">
                  <a:pos x="connsiteX8816" y="connsiteY8816"/>
                </a:cxn>
                <a:cxn ang="0">
                  <a:pos x="connsiteX8817" y="connsiteY8817"/>
                </a:cxn>
                <a:cxn ang="0">
                  <a:pos x="connsiteX8818" y="connsiteY8818"/>
                </a:cxn>
                <a:cxn ang="0">
                  <a:pos x="connsiteX8819" y="connsiteY8819"/>
                </a:cxn>
                <a:cxn ang="0">
                  <a:pos x="connsiteX8820" y="connsiteY8820"/>
                </a:cxn>
                <a:cxn ang="0">
                  <a:pos x="connsiteX8821" y="connsiteY8821"/>
                </a:cxn>
                <a:cxn ang="0">
                  <a:pos x="connsiteX8822" y="connsiteY8822"/>
                </a:cxn>
                <a:cxn ang="0">
                  <a:pos x="connsiteX8823" y="connsiteY8823"/>
                </a:cxn>
                <a:cxn ang="0">
                  <a:pos x="connsiteX8824" y="connsiteY8824"/>
                </a:cxn>
                <a:cxn ang="0">
                  <a:pos x="connsiteX8825" y="connsiteY8825"/>
                </a:cxn>
                <a:cxn ang="0">
                  <a:pos x="connsiteX8826" y="connsiteY8826"/>
                </a:cxn>
                <a:cxn ang="0">
                  <a:pos x="connsiteX8827" y="connsiteY8827"/>
                </a:cxn>
                <a:cxn ang="0">
                  <a:pos x="connsiteX8828" y="connsiteY8828"/>
                </a:cxn>
                <a:cxn ang="0">
                  <a:pos x="connsiteX8829" y="connsiteY8829"/>
                </a:cxn>
                <a:cxn ang="0">
                  <a:pos x="connsiteX8830" y="connsiteY8830"/>
                </a:cxn>
                <a:cxn ang="0">
                  <a:pos x="connsiteX8831" y="connsiteY8831"/>
                </a:cxn>
                <a:cxn ang="0">
                  <a:pos x="connsiteX8832" y="connsiteY8832"/>
                </a:cxn>
                <a:cxn ang="0">
                  <a:pos x="connsiteX8833" y="connsiteY8833"/>
                </a:cxn>
                <a:cxn ang="0">
                  <a:pos x="connsiteX8834" y="connsiteY8834"/>
                </a:cxn>
                <a:cxn ang="0">
                  <a:pos x="connsiteX8835" y="connsiteY8835"/>
                </a:cxn>
                <a:cxn ang="0">
                  <a:pos x="connsiteX8836" y="connsiteY8836"/>
                </a:cxn>
                <a:cxn ang="0">
                  <a:pos x="connsiteX8837" y="connsiteY8837"/>
                </a:cxn>
                <a:cxn ang="0">
                  <a:pos x="connsiteX8838" y="connsiteY8838"/>
                </a:cxn>
                <a:cxn ang="0">
                  <a:pos x="connsiteX8839" y="connsiteY8839"/>
                </a:cxn>
                <a:cxn ang="0">
                  <a:pos x="connsiteX8840" y="connsiteY8840"/>
                </a:cxn>
                <a:cxn ang="0">
                  <a:pos x="connsiteX8841" y="connsiteY8841"/>
                </a:cxn>
                <a:cxn ang="0">
                  <a:pos x="connsiteX8842" y="connsiteY8842"/>
                </a:cxn>
                <a:cxn ang="0">
                  <a:pos x="connsiteX8843" y="connsiteY8843"/>
                </a:cxn>
                <a:cxn ang="0">
                  <a:pos x="connsiteX8844" y="connsiteY8844"/>
                </a:cxn>
                <a:cxn ang="0">
                  <a:pos x="connsiteX8845" y="connsiteY8845"/>
                </a:cxn>
                <a:cxn ang="0">
                  <a:pos x="connsiteX8846" y="connsiteY8846"/>
                </a:cxn>
                <a:cxn ang="0">
                  <a:pos x="connsiteX8847" y="connsiteY8847"/>
                </a:cxn>
                <a:cxn ang="0">
                  <a:pos x="connsiteX8848" y="connsiteY8848"/>
                </a:cxn>
                <a:cxn ang="0">
                  <a:pos x="connsiteX8849" y="connsiteY8849"/>
                </a:cxn>
                <a:cxn ang="0">
                  <a:pos x="connsiteX8850" y="connsiteY8850"/>
                </a:cxn>
                <a:cxn ang="0">
                  <a:pos x="connsiteX8851" y="connsiteY8851"/>
                </a:cxn>
                <a:cxn ang="0">
                  <a:pos x="connsiteX8852" y="connsiteY8852"/>
                </a:cxn>
                <a:cxn ang="0">
                  <a:pos x="connsiteX8853" y="connsiteY8853"/>
                </a:cxn>
                <a:cxn ang="0">
                  <a:pos x="connsiteX8854" y="connsiteY8854"/>
                </a:cxn>
                <a:cxn ang="0">
                  <a:pos x="connsiteX8855" y="connsiteY8855"/>
                </a:cxn>
                <a:cxn ang="0">
                  <a:pos x="connsiteX8856" y="connsiteY8856"/>
                </a:cxn>
                <a:cxn ang="0">
                  <a:pos x="connsiteX8857" y="connsiteY8857"/>
                </a:cxn>
                <a:cxn ang="0">
                  <a:pos x="connsiteX8858" y="connsiteY8858"/>
                </a:cxn>
                <a:cxn ang="0">
                  <a:pos x="connsiteX8859" y="connsiteY8859"/>
                </a:cxn>
                <a:cxn ang="0">
                  <a:pos x="connsiteX8860" y="connsiteY8860"/>
                </a:cxn>
                <a:cxn ang="0">
                  <a:pos x="connsiteX8861" y="connsiteY8861"/>
                </a:cxn>
                <a:cxn ang="0">
                  <a:pos x="connsiteX8862" y="connsiteY8862"/>
                </a:cxn>
                <a:cxn ang="0">
                  <a:pos x="connsiteX8863" y="connsiteY8863"/>
                </a:cxn>
                <a:cxn ang="0">
                  <a:pos x="connsiteX8864" y="connsiteY8864"/>
                </a:cxn>
                <a:cxn ang="0">
                  <a:pos x="connsiteX8865" y="connsiteY8865"/>
                </a:cxn>
                <a:cxn ang="0">
                  <a:pos x="connsiteX8866" y="connsiteY8866"/>
                </a:cxn>
                <a:cxn ang="0">
                  <a:pos x="connsiteX8867" y="connsiteY8867"/>
                </a:cxn>
                <a:cxn ang="0">
                  <a:pos x="connsiteX8868" y="connsiteY8868"/>
                </a:cxn>
                <a:cxn ang="0">
                  <a:pos x="connsiteX8869" y="connsiteY8869"/>
                </a:cxn>
                <a:cxn ang="0">
                  <a:pos x="connsiteX8870" y="connsiteY8870"/>
                </a:cxn>
                <a:cxn ang="0">
                  <a:pos x="connsiteX8871" y="connsiteY8871"/>
                </a:cxn>
                <a:cxn ang="0">
                  <a:pos x="connsiteX8872" y="connsiteY8872"/>
                </a:cxn>
                <a:cxn ang="0">
                  <a:pos x="connsiteX8873" y="connsiteY8873"/>
                </a:cxn>
                <a:cxn ang="0">
                  <a:pos x="connsiteX8874" y="connsiteY8874"/>
                </a:cxn>
                <a:cxn ang="0">
                  <a:pos x="connsiteX8875" y="connsiteY8875"/>
                </a:cxn>
                <a:cxn ang="0">
                  <a:pos x="connsiteX8876" y="connsiteY8876"/>
                </a:cxn>
                <a:cxn ang="0">
                  <a:pos x="connsiteX8877" y="connsiteY8877"/>
                </a:cxn>
                <a:cxn ang="0">
                  <a:pos x="connsiteX8878" y="connsiteY8878"/>
                </a:cxn>
                <a:cxn ang="0">
                  <a:pos x="connsiteX8879" y="connsiteY8879"/>
                </a:cxn>
                <a:cxn ang="0">
                  <a:pos x="connsiteX8880" y="connsiteY8880"/>
                </a:cxn>
                <a:cxn ang="0">
                  <a:pos x="connsiteX8881" y="connsiteY8881"/>
                </a:cxn>
                <a:cxn ang="0">
                  <a:pos x="connsiteX8882" y="connsiteY8882"/>
                </a:cxn>
                <a:cxn ang="0">
                  <a:pos x="connsiteX8883" y="connsiteY8883"/>
                </a:cxn>
                <a:cxn ang="0">
                  <a:pos x="connsiteX8884" y="connsiteY8884"/>
                </a:cxn>
                <a:cxn ang="0">
                  <a:pos x="connsiteX8885" y="connsiteY8885"/>
                </a:cxn>
                <a:cxn ang="0">
                  <a:pos x="connsiteX8886" y="connsiteY8886"/>
                </a:cxn>
                <a:cxn ang="0">
                  <a:pos x="connsiteX8887" y="connsiteY8887"/>
                </a:cxn>
                <a:cxn ang="0">
                  <a:pos x="connsiteX8888" y="connsiteY8888"/>
                </a:cxn>
                <a:cxn ang="0">
                  <a:pos x="connsiteX8889" y="connsiteY8889"/>
                </a:cxn>
                <a:cxn ang="0">
                  <a:pos x="connsiteX8890" y="connsiteY8890"/>
                </a:cxn>
                <a:cxn ang="0">
                  <a:pos x="connsiteX8891" y="connsiteY8891"/>
                </a:cxn>
                <a:cxn ang="0">
                  <a:pos x="connsiteX8892" y="connsiteY8892"/>
                </a:cxn>
                <a:cxn ang="0">
                  <a:pos x="connsiteX8893" y="connsiteY8893"/>
                </a:cxn>
                <a:cxn ang="0">
                  <a:pos x="connsiteX8894" y="connsiteY8894"/>
                </a:cxn>
                <a:cxn ang="0">
                  <a:pos x="connsiteX8895" y="connsiteY8895"/>
                </a:cxn>
                <a:cxn ang="0">
                  <a:pos x="connsiteX8896" y="connsiteY8896"/>
                </a:cxn>
                <a:cxn ang="0">
                  <a:pos x="connsiteX8897" y="connsiteY8897"/>
                </a:cxn>
                <a:cxn ang="0">
                  <a:pos x="connsiteX8898" y="connsiteY8898"/>
                </a:cxn>
                <a:cxn ang="0">
                  <a:pos x="connsiteX8899" y="connsiteY8899"/>
                </a:cxn>
                <a:cxn ang="0">
                  <a:pos x="connsiteX8900" y="connsiteY8900"/>
                </a:cxn>
                <a:cxn ang="0">
                  <a:pos x="connsiteX8901" y="connsiteY8901"/>
                </a:cxn>
                <a:cxn ang="0">
                  <a:pos x="connsiteX8902" y="connsiteY8902"/>
                </a:cxn>
                <a:cxn ang="0">
                  <a:pos x="connsiteX8903" y="connsiteY8903"/>
                </a:cxn>
                <a:cxn ang="0">
                  <a:pos x="connsiteX8904" y="connsiteY8904"/>
                </a:cxn>
                <a:cxn ang="0">
                  <a:pos x="connsiteX8905" y="connsiteY8905"/>
                </a:cxn>
                <a:cxn ang="0">
                  <a:pos x="connsiteX8906" y="connsiteY8906"/>
                </a:cxn>
                <a:cxn ang="0">
                  <a:pos x="connsiteX8907" y="connsiteY8907"/>
                </a:cxn>
                <a:cxn ang="0">
                  <a:pos x="connsiteX8908" y="connsiteY8908"/>
                </a:cxn>
                <a:cxn ang="0">
                  <a:pos x="connsiteX8909" y="connsiteY8909"/>
                </a:cxn>
                <a:cxn ang="0">
                  <a:pos x="connsiteX8910" y="connsiteY8910"/>
                </a:cxn>
                <a:cxn ang="0">
                  <a:pos x="connsiteX8911" y="connsiteY8911"/>
                </a:cxn>
                <a:cxn ang="0">
                  <a:pos x="connsiteX8912" y="connsiteY8912"/>
                </a:cxn>
                <a:cxn ang="0">
                  <a:pos x="connsiteX8913" y="connsiteY8913"/>
                </a:cxn>
                <a:cxn ang="0">
                  <a:pos x="connsiteX8914" y="connsiteY8914"/>
                </a:cxn>
                <a:cxn ang="0">
                  <a:pos x="connsiteX8915" y="connsiteY8915"/>
                </a:cxn>
                <a:cxn ang="0">
                  <a:pos x="connsiteX8916" y="connsiteY8916"/>
                </a:cxn>
                <a:cxn ang="0">
                  <a:pos x="connsiteX8917" y="connsiteY8917"/>
                </a:cxn>
                <a:cxn ang="0">
                  <a:pos x="connsiteX8918" y="connsiteY8918"/>
                </a:cxn>
                <a:cxn ang="0">
                  <a:pos x="connsiteX8919" y="connsiteY8919"/>
                </a:cxn>
                <a:cxn ang="0">
                  <a:pos x="connsiteX8920" y="connsiteY8920"/>
                </a:cxn>
                <a:cxn ang="0">
                  <a:pos x="connsiteX8921" y="connsiteY8921"/>
                </a:cxn>
                <a:cxn ang="0">
                  <a:pos x="connsiteX8922" y="connsiteY8922"/>
                </a:cxn>
                <a:cxn ang="0">
                  <a:pos x="connsiteX8923" y="connsiteY8923"/>
                </a:cxn>
                <a:cxn ang="0">
                  <a:pos x="connsiteX8924" y="connsiteY8924"/>
                </a:cxn>
                <a:cxn ang="0">
                  <a:pos x="connsiteX8925" y="connsiteY8925"/>
                </a:cxn>
                <a:cxn ang="0">
                  <a:pos x="connsiteX8926" y="connsiteY8926"/>
                </a:cxn>
                <a:cxn ang="0">
                  <a:pos x="connsiteX8927" y="connsiteY8927"/>
                </a:cxn>
                <a:cxn ang="0">
                  <a:pos x="connsiteX8928" y="connsiteY8928"/>
                </a:cxn>
                <a:cxn ang="0">
                  <a:pos x="connsiteX8929" y="connsiteY8929"/>
                </a:cxn>
                <a:cxn ang="0">
                  <a:pos x="connsiteX8930" y="connsiteY8930"/>
                </a:cxn>
                <a:cxn ang="0">
                  <a:pos x="connsiteX8931" y="connsiteY8931"/>
                </a:cxn>
                <a:cxn ang="0">
                  <a:pos x="connsiteX8932" y="connsiteY8932"/>
                </a:cxn>
                <a:cxn ang="0">
                  <a:pos x="connsiteX8933" y="connsiteY8933"/>
                </a:cxn>
                <a:cxn ang="0">
                  <a:pos x="connsiteX8934" y="connsiteY8934"/>
                </a:cxn>
                <a:cxn ang="0">
                  <a:pos x="connsiteX8935" y="connsiteY8935"/>
                </a:cxn>
                <a:cxn ang="0">
                  <a:pos x="connsiteX8936" y="connsiteY8936"/>
                </a:cxn>
                <a:cxn ang="0">
                  <a:pos x="connsiteX8937" y="connsiteY8937"/>
                </a:cxn>
                <a:cxn ang="0">
                  <a:pos x="connsiteX8938" y="connsiteY8938"/>
                </a:cxn>
                <a:cxn ang="0">
                  <a:pos x="connsiteX8939" y="connsiteY8939"/>
                </a:cxn>
                <a:cxn ang="0">
                  <a:pos x="connsiteX8940" y="connsiteY8940"/>
                </a:cxn>
                <a:cxn ang="0">
                  <a:pos x="connsiteX8941" y="connsiteY8941"/>
                </a:cxn>
                <a:cxn ang="0">
                  <a:pos x="connsiteX8942" y="connsiteY8942"/>
                </a:cxn>
                <a:cxn ang="0">
                  <a:pos x="connsiteX8943" y="connsiteY8943"/>
                </a:cxn>
                <a:cxn ang="0">
                  <a:pos x="connsiteX8944" y="connsiteY8944"/>
                </a:cxn>
                <a:cxn ang="0">
                  <a:pos x="connsiteX8945" y="connsiteY8945"/>
                </a:cxn>
                <a:cxn ang="0">
                  <a:pos x="connsiteX8946" y="connsiteY8946"/>
                </a:cxn>
                <a:cxn ang="0">
                  <a:pos x="connsiteX8947" y="connsiteY8947"/>
                </a:cxn>
                <a:cxn ang="0">
                  <a:pos x="connsiteX8948" y="connsiteY8948"/>
                </a:cxn>
                <a:cxn ang="0">
                  <a:pos x="connsiteX8949" y="connsiteY8949"/>
                </a:cxn>
                <a:cxn ang="0">
                  <a:pos x="connsiteX8950" y="connsiteY8950"/>
                </a:cxn>
                <a:cxn ang="0">
                  <a:pos x="connsiteX8951" y="connsiteY8951"/>
                </a:cxn>
                <a:cxn ang="0">
                  <a:pos x="connsiteX8952" y="connsiteY8952"/>
                </a:cxn>
                <a:cxn ang="0">
                  <a:pos x="connsiteX8953" y="connsiteY8953"/>
                </a:cxn>
                <a:cxn ang="0">
                  <a:pos x="connsiteX8954" y="connsiteY8954"/>
                </a:cxn>
                <a:cxn ang="0">
                  <a:pos x="connsiteX8955" y="connsiteY8955"/>
                </a:cxn>
                <a:cxn ang="0">
                  <a:pos x="connsiteX8956" y="connsiteY8956"/>
                </a:cxn>
                <a:cxn ang="0">
                  <a:pos x="connsiteX8957" y="connsiteY8957"/>
                </a:cxn>
                <a:cxn ang="0">
                  <a:pos x="connsiteX8958" y="connsiteY8958"/>
                </a:cxn>
                <a:cxn ang="0">
                  <a:pos x="connsiteX8959" y="connsiteY8959"/>
                </a:cxn>
                <a:cxn ang="0">
                  <a:pos x="connsiteX8960" y="connsiteY8960"/>
                </a:cxn>
                <a:cxn ang="0">
                  <a:pos x="connsiteX8961" y="connsiteY8961"/>
                </a:cxn>
                <a:cxn ang="0">
                  <a:pos x="connsiteX8962" y="connsiteY8962"/>
                </a:cxn>
                <a:cxn ang="0">
                  <a:pos x="connsiteX8963" y="connsiteY8963"/>
                </a:cxn>
                <a:cxn ang="0">
                  <a:pos x="connsiteX8964" y="connsiteY8964"/>
                </a:cxn>
                <a:cxn ang="0">
                  <a:pos x="connsiteX8965" y="connsiteY8965"/>
                </a:cxn>
                <a:cxn ang="0">
                  <a:pos x="connsiteX8966" y="connsiteY8966"/>
                </a:cxn>
                <a:cxn ang="0">
                  <a:pos x="connsiteX8967" y="connsiteY8967"/>
                </a:cxn>
                <a:cxn ang="0">
                  <a:pos x="connsiteX8968" y="connsiteY8968"/>
                </a:cxn>
                <a:cxn ang="0">
                  <a:pos x="connsiteX8969" y="connsiteY8969"/>
                </a:cxn>
                <a:cxn ang="0">
                  <a:pos x="connsiteX8970" y="connsiteY8970"/>
                </a:cxn>
                <a:cxn ang="0">
                  <a:pos x="connsiteX8971" y="connsiteY8971"/>
                </a:cxn>
                <a:cxn ang="0">
                  <a:pos x="connsiteX8972" y="connsiteY8972"/>
                </a:cxn>
                <a:cxn ang="0">
                  <a:pos x="connsiteX8973" y="connsiteY8973"/>
                </a:cxn>
                <a:cxn ang="0">
                  <a:pos x="connsiteX8974" y="connsiteY8974"/>
                </a:cxn>
                <a:cxn ang="0">
                  <a:pos x="connsiteX8975" y="connsiteY8975"/>
                </a:cxn>
                <a:cxn ang="0">
                  <a:pos x="connsiteX8976" y="connsiteY8976"/>
                </a:cxn>
                <a:cxn ang="0">
                  <a:pos x="connsiteX8977" y="connsiteY8977"/>
                </a:cxn>
                <a:cxn ang="0">
                  <a:pos x="connsiteX8978" y="connsiteY8978"/>
                </a:cxn>
                <a:cxn ang="0">
                  <a:pos x="connsiteX8979" y="connsiteY8979"/>
                </a:cxn>
                <a:cxn ang="0">
                  <a:pos x="connsiteX8980" y="connsiteY8980"/>
                </a:cxn>
                <a:cxn ang="0">
                  <a:pos x="connsiteX8981" y="connsiteY8981"/>
                </a:cxn>
                <a:cxn ang="0">
                  <a:pos x="connsiteX8982" y="connsiteY8982"/>
                </a:cxn>
                <a:cxn ang="0">
                  <a:pos x="connsiteX8983" y="connsiteY8983"/>
                </a:cxn>
                <a:cxn ang="0">
                  <a:pos x="connsiteX8984" y="connsiteY8984"/>
                </a:cxn>
                <a:cxn ang="0">
                  <a:pos x="connsiteX8985" y="connsiteY8985"/>
                </a:cxn>
                <a:cxn ang="0">
                  <a:pos x="connsiteX8986" y="connsiteY8986"/>
                </a:cxn>
                <a:cxn ang="0">
                  <a:pos x="connsiteX8987" y="connsiteY8987"/>
                </a:cxn>
                <a:cxn ang="0">
                  <a:pos x="connsiteX8988" y="connsiteY8988"/>
                </a:cxn>
                <a:cxn ang="0">
                  <a:pos x="connsiteX8989" y="connsiteY8989"/>
                </a:cxn>
                <a:cxn ang="0">
                  <a:pos x="connsiteX8990" y="connsiteY8990"/>
                </a:cxn>
                <a:cxn ang="0">
                  <a:pos x="connsiteX8991" y="connsiteY8991"/>
                </a:cxn>
                <a:cxn ang="0">
                  <a:pos x="connsiteX8992" y="connsiteY8992"/>
                </a:cxn>
                <a:cxn ang="0">
                  <a:pos x="connsiteX8993" y="connsiteY8993"/>
                </a:cxn>
                <a:cxn ang="0">
                  <a:pos x="connsiteX8994" y="connsiteY8994"/>
                </a:cxn>
                <a:cxn ang="0">
                  <a:pos x="connsiteX8995" y="connsiteY8995"/>
                </a:cxn>
                <a:cxn ang="0">
                  <a:pos x="connsiteX8996" y="connsiteY8996"/>
                </a:cxn>
                <a:cxn ang="0">
                  <a:pos x="connsiteX8997" y="connsiteY8997"/>
                </a:cxn>
                <a:cxn ang="0">
                  <a:pos x="connsiteX8998" y="connsiteY8998"/>
                </a:cxn>
                <a:cxn ang="0">
                  <a:pos x="connsiteX8999" y="connsiteY8999"/>
                </a:cxn>
                <a:cxn ang="0">
                  <a:pos x="connsiteX9000" y="connsiteY9000"/>
                </a:cxn>
                <a:cxn ang="0">
                  <a:pos x="connsiteX9001" y="connsiteY9001"/>
                </a:cxn>
                <a:cxn ang="0">
                  <a:pos x="connsiteX9002" y="connsiteY9002"/>
                </a:cxn>
                <a:cxn ang="0">
                  <a:pos x="connsiteX9003" y="connsiteY9003"/>
                </a:cxn>
                <a:cxn ang="0">
                  <a:pos x="connsiteX9004" y="connsiteY9004"/>
                </a:cxn>
                <a:cxn ang="0">
                  <a:pos x="connsiteX9005" y="connsiteY9005"/>
                </a:cxn>
                <a:cxn ang="0">
                  <a:pos x="connsiteX9006" y="connsiteY9006"/>
                </a:cxn>
                <a:cxn ang="0">
                  <a:pos x="connsiteX9007" y="connsiteY9007"/>
                </a:cxn>
                <a:cxn ang="0">
                  <a:pos x="connsiteX9008" y="connsiteY9008"/>
                </a:cxn>
                <a:cxn ang="0">
                  <a:pos x="connsiteX9009" y="connsiteY9009"/>
                </a:cxn>
                <a:cxn ang="0">
                  <a:pos x="connsiteX9010" y="connsiteY9010"/>
                </a:cxn>
                <a:cxn ang="0">
                  <a:pos x="connsiteX9011" y="connsiteY9011"/>
                </a:cxn>
                <a:cxn ang="0">
                  <a:pos x="connsiteX9012" y="connsiteY9012"/>
                </a:cxn>
                <a:cxn ang="0">
                  <a:pos x="connsiteX9013" y="connsiteY9013"/>
                </a:cxn>
                <a:cxn ang="0">
                  <a:pos x="connsiteX9014" y="connsiteY9014"/>
                </a:cxn>
                <a:cxn ang="0">
                  <a:pos x="connsiteX9015" y="connsiteY9015"/>
                </a:cxn>
                <a:cxn ang="0">
                  <a:pos x="connsiteX9016" y="connsiteY9016"/>
                </a:cxn>
                <a:cxn ang="0">
                  <a:pos x="connsiteX9017" y="connsiteY9017"/>
                </a:cxn>
                <a:cxn ang="0">
                  <a:pos x="connsiteX9018" y="connsiteY9018"/>
                </a:cxn>
                <a:cxn ang="0">
                  <a:pos x="connsiteX9019" y="connsiteY9019"/>
                </a:cxn>
                <a:cxn ang="0">
                  <a:pos x="connsiteX9020" y="connsiteY9020"/>
                </a:cxn>
                <a:cxn ang="0">
                  <a:pos x="connsiteX9021" y="connsiteY9021"/>
                </a:cxn>
                <a:cxn ang="0">
                  <a:pos x="connsiteX9022" y="connsiteY9022"/>
                </a:cxn>
                <a:cxn ang="0">
                  <a:pos x="connsiteX9023" y="connsiteY9023"/>
                </a:cxn>
                <a:cxn ang="0">
                  <a:pos x="connsiteX9024" y="connsiteY9024"/>
                </a:cxn>
                <a:cxn ang="0">
                  <a:pos x="connsiteX9025" y="connsiteY9025"/>
                </a:cxn>
                <a:cxn ang="0">
                  <a:pos x="connsiteX9026" y="connsiteY9026"/>
                </a:cxn>
                <a:cxn ang="0">
                  <a:pos x="connsiteX9027" y="connsiteY9027"/>
                </a:cxn>
                <a:cxn ang="0">
                  <a:pos x="connsiteX9028" y="connsiteY9028"/>
                </a:cxn>
                <a:cxn ang="0">
                  <a:pos x="connsiteX9029" y="connsiteY9029"/>
                </a:cxn>
                <a:cxn ang="0">
                  <a:pos x="connsiteX9030" y="connsiteY9030"/>
                </a:cxn>
                <a:cxn ang="0">
                  <a:pos x="connsiteX9031" y="connsiteY9031"/>
                </a:cxn>
                <a:cxn ang="0">
                  <a:pos x="connsiteX9032" y="connsiteY9032"/>
                </a:cxn>
                <a:cxn ang="0">
                  <a:pos x="connsiteX9033" y="connsiteY9033"/>
                </a:cxn>
                <a:cxn ang="0">
                  <a:pos x="connsiteX9034" y="connsiteY9034"/>
                </a:cxn>
                <a:cxn ang="0">
                  <a:pos x="connsiteX9035" y="connsiteY9035"/>
                </a:cxn>
                <a:cxn ang="0">
                  <a:pos x="connsiteX9036" y="connsiteY9036"/>
                </a:cxn>
                <a:cxn ang="0">
                  <a:pos x="connsiteX9037" y="connsiteY9037"/>
                </a:cxn>
                <a:cxn ang="0">
                  <a:pos x="connsiteX9038" y="connsiteY9038"/>
                </a:cxn>
                <a:cxn ang="0">
                  <a:pos x="connsiteX9039" y="connsiteY9039"/>
                </a:cxn>
                <a:cxn ang="0">
                  <a:pos x="connsiteX9040" y="connsiteY9040"/>
                </a:cxn>
                <a:cxn ang="0">
                  <a:pos x="connsiteX9041" y="connsiteY9041"/>
                </a:cxn>
                <a:cxn ang="0">
                  <a:pos x="connsiteX9042" y="connsiteY9042"/>
                </a:cxn>
                <a:cxn ang="0">
                  <a:pos x="connsiteX9043" y="connsiteY9043"/>
                </a:cxn>
                <a:cxn ang="0">
                  <a:pos x="connsiteX9044" y="connsiteY9044"/>
                </a:cxn>
                <a:cxn ang="0">
                  <a:pos x="connsiteX9045" y="connsiteY9045"/>
                </a:cxn>
                <a:cxn ang="0">
                  <a:pos x="connsiteX9046" y="connsiteY9046"/>
                </a:cxn>
                <a:cxn ang="0">
                  <a:pos x="connsiteX9047" y="connsiteY9047"/>
                </a:cxn>
                <a:cxn ang="0">
                  <a:pos x="connsiteX9048" y="connsiteY9048"/>
                </a:cxn>
                <a:cxn ang="0">
                  <a:pos x="connsiteX9049" y="connsiteY9049"/>
                </a:cxn>
                <a:cxn ang="0">
                  <a:pos x="connsiteX9050" y="connsiteY9050"/>
                </a:cxn>
                <a:cxn ang="0">
                  <a:pos x="connsiteX9051" y="connsiteY9051"/>
                </a:cxn>
                <a:cxn ang="0">
                  <a:pos x="connsiteX9052" y="connsiteY9052"/>
                </a:cxn>
                <a:cxn ang="0">
                  <a:pos x="connsiteX9053" y="connsiteY9053"/>
                </a:cxn>
                <a:cxn ang="0">
                  <a:pos x="connsiteX9054" y="connsiteY9054"/>
                </a:cxn>
                <a:cxn ang="0">
                  <a:pos x="connsiteX9055" y="connsiteY9055"/>
                </a:cxn>
                <a:cxn ang="0">
                  <a:pos x="connsiteX9056" y="connsiteY9056"/>
                </a:cxn>
                <a:cxn ang="0">
                  <a:pos x="connsiteX9057" y="connsiteY9057"/>
                </a:cxn>
                <a:cxn ang="0">
                  <a:pos x="connsiteX9058" y="connsiteY9058"/>
                </a:cxn>
                <a:cxn ang="0">
                  <a:pos x="connsiteX9059" y="connsiteY9059"/>
                </a:cxn>
                <a:cxn ang="0">
                  <a:pos x="connsiteX9060" y="connsiteY9060"/>
                </a:cxn>
                <a:cxn ang="0">
                  <a:pos x="connsiteX9061" y="connsiteY9061"/>
                </a:cxn>
                <a:cxn ang="0">
                  <a:pos x="connsiteX9062" y="connsiteY9062"/>
                </a:cxn>
                <a:cxn ang="0">
                  <a:pos x="connsiteX9063" y="connsiteY9063"/>
                </a:cxn>
                <a:cxn ang="0">
                  <a:pos x="connsiteX9064" y="connsiteY9064"/>
                </a:cxn>
                <a:cxn ang="0">
                  <a:pos x="connsiteX9065" y="connsiteY9065"/>
                </a:cxn>
                <a:cxn ang="0">
                  <a:pos x="connsiteX9066" y="connsiteY9066"/>
                </a:cxn>
                <a:cxn ang="0">
                  <a:pos x="connsiteX9067" y="connsiteY9067"/>
                </a:cxn>
                <a:cxn ang="0">
                  <a:pos x="connsiteX9068" y="connsiteY9068"/>
                </a:cxn>
                <a:cxn ang="0">
                  <a:pos x="connsiteX9069" y="connsiteY9069"/>
                </a:cxn>
                <a:cxn ang="0">
                  <a:pos x="connsiteX9070" y="connsiteY9070"/>
                </a:cxn>
                <a:cxn ang="0">
                  <a:pos x="connsiteX9071" y="connsiteY9071"/>
                </a:cxn>
                <a:cxn ang="0">
                  <a:pos x="connsiteX9072" y="connsiteY9072"/>
                </a:cxn>
                <a:cxn ang="0">
                  <a:pos x="connsiteX9073" y="connsiteY9073"/>
                </a:cxn>
                <a:cxn ang="0">
                  <a:pos x="connsiteX9074" y="connsiteY9074"/>
                </a:cxn>
                <a:cxn ang="0">
                  <a:pos x="connsiteX9075" y="connsiteY9075"/>
                </a:cxn>
                <a:cxn ang="0">
                  <a:pos x="connsiteX9076" y="connsiteY9076"/>
                </a:cxn>
                <a:cxn ang="0">
                  <a:pos x="connsiteX9077" y="connsiteY9077"/>
                </a:cxn>
                <a:cxn ang="0">
                  <a:pos x="connsiteX9078" y="connsiteY9078"/>
                </a:cxn>
                <a:cxn ang="0">
                  <a:pos x="connsiteX9079" y="connsiteY9079"/>
                </a:cxn>
                <a:cxn ang="0">
                  <a:pos x="connsiteX9080" y="connsiteY9080"/>
                </a:cxn>
                <a:cxn ang="0">
                  <a:pos x="connsiteX9081" y="connsiteY9081"/>
                </a:cxn>
                <a:cxn ang="0">
                  <a:pos x="connsiteX9082" y="connsiteY9082"/>
                </a:cxn>
                <a:cxn ang="0">
                  <a:pos x="connsiteX9083" y="connsiteY9083"/>
                </a:cxn>
                <a:cxn ang="0">
                  <a:pos x="connsiteX9084" y="connsiteY9084"/>
                </a:cxn>
                <a:cxn ang="0">
                  <a:pos x="connsiteX9085" y="connsiteY9085"/>
                </a:cxn>
                <a:cxn ang="0">
                  <a:pos x="connsiteX9086" y="connsiteY9086"/>
                </a:cxn>
                <a:cxn ang="0">
                  <a:pos x="connsiteX9087" y="connsiteY9087"/>
                </a:cxn>
                <a:cxn ang="0">
                  <a:pos x="connsiteX9088" y="connsiteY9088"/>
                </a:cxn>
                <a:cxn ang="0">
                  <a:pos x="connsiteX9089" y="connsiteY9089"/>
                </a:cxn>
                <a:cxn ang="0">
                  <a:pos x="connsiteX9090" y="connsiteY9090"/>
                </a:cxn>
                <a:cxn ang="0">
                  <a:pos x="connsiteX9091" y="connsiteY9091"/>
                </a:cxn>
                <a:cxn ang="0">
                  <a:pos x="connsiteX9092" y="connsiteY9092"/>
                </a:cxn>
                <a:cxn ang="0">
                  <a:pos x="connsiteX9093" y="connsiteY9093"/>
                </a:cxn>
                <a:cxn ang="0">
                  <a:pos x="connsiteX9094" y="connsiteY9094"/>
                </a:cxn>
                <a:cxn ang="0">
                  <a:pos x="connsiteX9095" y="connsiteY9095"/>
                </a:cxn>
                <a:cxn ang="0">
                  <a:pos x="connsiteX9096" y="connsiteY9096"/>
                </a:cxn>
                <a:cxn ang="0">
                  <a:pos x="connsiteX9097" y="connsiteY9097"/>
                </a:cxn>
                <a:cxn ang="0">
                  <a:pos x="connsiteX9098" y="connsiteY9098"/>
                </a:cxn>
                <a:cxn ang="0">
                  <a:pos x="connsiteX9099" y="connsiteY9099"/>
                </a:cxn>
                <a:cxn ang="0">
                  <a:pos x="connsiteX9100" y="connsiteY9100"/>
                </a:cxn>
                <a:cxn ang="0">
                  <a:pos x="connsiteX9101" y="connsiteY9101"/>
                </a:cxn>
                <a:cxn ang="0">
                  <a:pos x="connsiteX9102" y="connsiteY9102"/>
                </a:cxn>
                <a:cxn ang="0">
                  <a:pos x="connsiteX9103" y="connsiteY9103"/>
                </a:cxn>
                <a:cxn ang="0">
                  <a:pos x="connsiteX9104" y="connsiteY9104"/>
                </a:cxn>
                <a:cxn ang="0">
                  <a:pos x="connsiteX9105" y="connsiteY9105"/>
                </a:cxn>
                <a:cxn ang="0">
                  <a:pos x="connsiteX9106" y="connsiteY9106"/>
                </a:cxn>
                <a:cxn ang="0">
                  <a:pos x="connsiteX9107" y="connsiteY9107"/>
                </a:cxn>
                <a:cxn ang="0">
                  <a:pos x="connsiteX9108" y="connsiteY9108"/>
                </a:cxn>
                <a:cxn ang="0">
                  <a:pos x="connsiteX9109" y="connsiteY9109"/>
                </a:cxn>
                <a:cxn ang="0">
                  <a:pos x="connsiteX9110" y="connsiteY9110"/>
                </a:cxn>
                <a:cxn ang="0">
                  <a:pos x="connsiteX9111" y="connsiteY9111"/>
                </a:cxn>
                <a:cxn ang="0">
                  <a:pos x="connsiteX9112" y="connsiteY9112"/>
                </a:cxn>
                <a:cxn ang="0">
                  <a:pos x="connsiteX9113" y="connsiteY9113"/>
                </a:cxn>
                <a:cxn ang="0">
                  <a:pos x="connsiteX9114" y="connsiteY9114"/>
                </a:cxn>
                <a:cxn ang="0">
                  <a:pos x="connsiteX9115" y="connsiteY9115"/>
                </a:cxn>
                <a:cxn ang="0">
                  <a:pos x="connsiteX9116" y="connsiteY9116"/>
                </a:cxn>
                <a:cxn ang="0">
                  <a:pos x="connsiteX9117" y="connsiteY9117"/>
                </a:cxn>
                <a:cxn ang="0">
                  <a:pos x="connsiteX9118" y="connsiteY9118"/>
                </a:cxn>
                <a:cxn ang="0">
                  <a:pos x="connsiteX9119" y="connsiteY9119"/>
                </a:cxn>
                <a:cxn ang="0">
                  <a:pos x="connsiteX9120" y="connsiteY9120"/>
                </a:cxn>
                <a:cxn ang="0">
                  <a:pos x="connsiteX9121" y="connsiteY9121"/>
                </a:cxn>
                <a:cxn ang="0">
                  <a:pos x="connsiteX9122" y="connsiteY9122"/>
                </a:cxn>
                <a:cxn ang="0">
                  <a:pos x="connsiteX9123" y="connsiteY9123"/>
                </a:cxn>
                <a:cxn ang="0">
                  <a:pos x="connsiteX9124" y="connsiteY9124"/>
                </a:cxn>
                <a:cxn ang="0">
                  <a:pos x="connsiteX9125" y="connsiteY9125"/>
                </a:cxn>
                <a:cxn ang="0">
                  <a:pos x="connsiteX9126" y="connsiteY9126"/>
                </a:cxn>
                <a:cxn ang="0">
                  <a:pos x="connsiteX9127" y="connsiteY9127"/>
                </a:cxn>
                <a:cxn ang="0">
                  <a:pos x="connsiteX9128" y="connsiteY9128"/>
                </a:cxn>
                <a:cxn ang="0">
                  <a:pos x="connsiteX9129" y="connsiteY9129"/>
                </a:cxn>
                <a:cxn ang="0">
                  <a:pos x="connsiteX9130" y="connsiteY9130"/>
                </a:cxn>
                <a:cxn ang="0">
                  <a:pos x="connsiteX9131" y="connsiteY9131"/>
                </a:cxn>
                <a:cxn ang="0">
                  <a:pos x="connsiteX9132" y="connsiteY9132"/>
                </a:cxn>
                <a:cxn ang="0">
                  <a:pos x="connsiteX9133" y="connsiteY9133"/>
                </a:cxn>
                <a:cxn ang="0">
                  <a:pos x="connsiteX9134" y="connsiteY9134"/>
                </a:cxn>
                <a:cxn ang="0">
                  <a:pos x="connsiteX9135" y="connsiteY9135"/>
                </a:cxn>
                <a:cxn ang="0">
                  <a:pos x="connsiteX9136" y="connsiteY9136"/>
                </a:cxn>
                <a:cxn ang="0">
                  <a:pos x="connsiteX9137" y="connsiteY9137"/>
                </a:cxn>
                <a:cxn ang="0">
                  <a:pos x="connsiteX9138" y="connsiteY9138"/>
                </a:cxn>
                <a:cxn ang="0">
                  <a:pos x="connsiteX9139" y="connsiteY9139"/>
                </a:cxn>
                <a:cxn ang="0">
                  <a:pos x="connsiteX9140" y="connsiteY9140"/>
                </a:cxn>
                <a:cxn ang="0">
                  <a:pos x="connsiteX9141" y="connsiteY9141"/>
                </a:cxn>
                <a:cxn ang="0">
                  <a:pos x="connsiteX9142" y="connsiteY9142"/>
                </a:cxn>
                <a:cxn ang="0">
                  <a:pos x="connsiteX9143" y="connsiteY9143"/>
                </a:cxn>
                <a:cxn ang="0">
                  <a:pos x="connsiteX9144" y="connsiteY9144"/>
                </a:cxn>
                <a:cxn ang="0">
                  <a:pos x="connsiteX9145" y="connsiteY9145"/>
                </a:cxn>
                <a:cxn ang="0">
                  <a:pos x="connsiteX9146" y="connsiteY9146"/>
                </a:cxn>
                <a:cxn ang="0">
                  <a:pos x="connsiteX9147" y="connsiteY9147"/>
                </a:cxn>
                <a:cxn ang="0">
                  <a:pos x="connsiteX9148" y="connsiteY9148"/>
                </a:cxn>
                <a:cxn ang="0">
                  <a:pos x="connsiteX9149" y="connsiteY9149"/>
                </a:cxn>
                <a:cxn ang="0">
                  <a:pos x="connsiteX9150" y="connsiteY9150"/>
                </a:cxn>
                <a:cxn ang="0">
                  <a:pos x="connsiteX9151" y="connsiteY9151"/>
                </a:cxn>
                <a:cxn ang="0">
                  <a:pos x="connsiteX9152" y="connsiteY9152"/>
                </a:cxn>
                <a:cxn ang="0">
                  <a:pos x="connsiteX9153" y="connsiteY9153"/>
                </a:cxn>
                <a:cxn ang="0">
                  <a:pos x="connsiteX9154" y="connsiteY9154"/>
                </a:cxn>
                <a:cxn ang="0">
                  <a:pos x="connsiteX9155" y="connsiteY9155"/>
                </a:cxn>
                <a:cxn ang="0">
                  <a:pos x="connsiteX9156" y="connsiteY9156"/>
                </a:cxn>
                <a:cxn ang="0">
                  <a:pos x="connsiteX9157" y="connsiteY9157"/>
                </a:cxn>
                <a:cxn ang="0">
                  <a:pos x="connsiteX9158" y="connsiteY9158"/>
                </a:cxn>
                <a:cxn ang="0">
                  <a:pos x="connsiteX9159" y="connsiteY9159"/>
                </a:cxn>
                <a:cxn ang="0">
                  <a:pos x="connsiteX9160" y="connsiteY9160"/>
                </a:cxn>
                <a:cxn ang="0">
                  <a:pos x="connsiteX9161" y="connsiteY9161"/>
                </a:cxn>
                <a:cxn ang="0">
                  <a:pos x="connsiteX9162" y="connsiteY9162"/>
                </a:cxn>
                <a:cxn ang="0">
                  <a:pos x="connsiteX9163" y="connsiteY9163"/>
                </a:cxn>
                <a:cxn ang="0">
                  <a:pos x="connsiteX9164" y="connsiteY9164"/>
                </a:cxn>
                <a:cxn ang="0">
                  <a:pos x="connsiteX9165" y="connsiteY9165"/>
                </a:cxn>
                <a:cxn ang="0">
                  <a:pos x="connsiteX9166" y="connsiteY9166"/>
                </a:cxn>
                <a:cxn ang="0">
                  <a:pos x="connsiteX9167" y="connsiteY9167"/>
                </a:cxn>
                <a:cxn ang="0">
                  <a:pos x="connsiteX9168" y="connsiteY9168"/>
                </a:cxn>
                <a:cxn ang="0">
                  <a:pos x="connsiteX9169" y="connsiteY9169"/>
                </a:cxn>
                <a:cxn ang="0">
                  <a:pos x="connsiteX9170" y="connsiteY9170"/>
                </a:cxn>
                <a:cxn ang="0">
                  <a:pos x="connsiteX9171" y="connsiteY9171"/>
                </a:cxn>
                <a:cxn ang="0">
                  <a:pos x="connsiteX9172" y="connsiteY9172"/>
                </a:cxn>
                <a:cxn ang="0">
                  <a:pos x="connsiteX9173" y="connsiteY9173"/>
                </a:cxn>
                <a:cxn ang="0">
                  <a:pos x="connsiteX9174" y="connsiteY9174"/>
                </a:cxn>
                <a:cxn ang="0">
                  <a:pos x="connsiteX9175" y="connsiteY9175"/>
                </a:cxn>
                <a:cxn ang="0">
                  <a:pos x="connsiteX9176" y="connsiteY9176"/>
                </a:cxn>
                <a:cxn ang="0">
                  <a:pos x="connsiteX9177" y="connsiteY9177"/>
                </a:cxn>
                <a:cxn ang="0">
                  <a:pos x="connsiteX9178" y="connsiteY9178"/>
                </a:cxn>
                <a:cxn ang="0">
                  <a:pos x="connsiteX9179" y="connsiteY9179"/>
                </a:cxn>
                <a:cxn ang="0">
                  <a:pos x="connsiteX9180" y="connsiteY9180"/>
                </a:cxn>
                <a:cxn ang="0">
                  <a:pos x="connsiteX9181" y="connsiteY9181"/>
                </a:cxn>
                <a:cxn ang="0">
                  <a:pos x="connsiteX9182" y="connsiteY9182"/>
                </a:cxn>
                <a:cxn ang="0">
                  <a:pos x="connsiteX9183" y="connsiteY9183"/>
                </a:cxn>
              </a:cxnLst>
              <a:rect l="l" t="t" r="r" b="b"/>
              <a:pathLst>
                <a:path w="9586368" h="6479439">
                  <a:moveTo>
                    <a:pt x="2157895" y="6461491"/>
                  </a:moveTo>
                  <a:lnTo>
                    <a:pt x="2167802" y="6461491"/>
                  </a:lnTo>
                  <a:lnTo>
                    <a:pt x="2171820" y="6465529"/>
                  </a:lnTo>
                  <a:lnTo>
                    <a:pt x="2171820" y="6475400"/>
                  </a:lnTo>
                  <a:lnTo>
                    <a:pt x="2167802" y="6479439"/>
                  </a:lnTo>
                  <a:lnTo>
                    <a:pt x="2157895" y="6479439"/>
                  </a:lnTo>
                  <a:lnTo>
                    <a:pt x="2153871" y="6475400"/>
                  </a:lnTo>
                  <a:lnTo>
                    <a:pt x="2153871" y="6465529"/>
                  </a:lnTo>
                  <a:close/>
                  <a:moveTo>
                    <a:pt x="1918509" y="6461491"/>
                  </a:moveTo>
                  <a:lnTo>
                    <a:pt x="1928419" y="6461491"/>
                  </a:lnTo>
                  <a:lnTo>
                    <a:pt x="1932437" y="6465529"/>
                  </a:lnTo>
                  <a:lnTo>
                    <a:pt x="1932437" y="6475400"/>
                  </a:lnTo>
                  <a:lnTo>
                    <a:pt x="1928419" y="6479439"/>
                  </a:lnTo>
                  <a:lnTo>
                    <a:pt x="1918509" y="6479439"/>
                  </a:lnTo>
                  <a:lnTo>
                    <a:pt x="1914490" y="6475400"/>
                  </a:lnTo>
                  <a:lnTo>
                    <a:pt x="1914490" y="6465529"/>
                  </a:lnTo>
                  <a:close/>
                  <a:moveTo>
                    <a:pt x="1679200" y="6461491"/>
                  </a:moveTo>
                  <a:lnTo>
                    <a:pt x="1689110" y="6461491"/>
                  </a:lnTo>
                  <a:lnTo>
                    <a:pt x="1693128" y="6465529"/>
                  </a:lnTo>
                  <a:lnTo>
                    <a:pt x="1693128" y="6475400"/>
                  </a:lnTo>
                  <a:lnTo>
                    <a:pt x="1689110" y="6479439"/>
                  </a:lnTo>
                  <a:lnTo>
                    <a:pt x="1679200" y="6479439"/>
                  </a:lnTo>
                  <a:lnTo>
                    <a:pt x="1675180" y="6475400"/>
                  </a:lnTo>
                  <a:lnTo>
                    <a:pt x="1675180" y="6465529"/>
                  </a:lnTo>
                  <a:close/>
                  <a:moveTo>
                    <a:pt x="1439885" y="6461491"/>
                  </a:moveTo>
                  <a:lnTo>
                    <a:pt x="1449795" y="6461491"/>
                  </a:lnTo>
                  <a:lnTo>
                    <a:pt x="1453813" y="6465529"/>
                  </a:lnTo>
                  <a:lnTo>
                    <a:pt x="1453813" y="6475400"/>
                  </a:lnTo>
                  <a:lnTo>
                    <a:pt x="1449795" y="6479439"/>
                  </a:lnTo>
                  <a:lnTo>
                    <a:pt x="1439885" y="6479439"/>
                  </a:lnTo>
                  <a:lnTo>
                    <a:pt x="1435865" y="6475400"/>
                  </a:lnTo>
                  <a:lnTo>
                    <a:pt x="1435865" y="6465529"/>
                  </a:lnTo>
                  <a:close/>
                  <a:moveTo>
                    <a:pt x="1200570" y="6461491"/>
                  </a:moveTo>
                  <a:lnTo>
                    <a:pt x="1210480" y="6461491"/>
                  </a:lnTo>
                  <a:lnTo>
                    <a:pt x="1214498" y="6465529"/>
                  </a:lnTo>
                  <a:lnTo>
                    <a:pt x="1214498" y="6475400"/>
                  </a:lnTo>
                  <a:lnTo>
                    <a:pt x="1210480" y="6479439"/>
                  </a:lnTo>
                  <a:lnTo>
                    <a:pt x="1200570" y="6479439"/>
                  </a:lnTo>
                  <a:lnTo>
                    <a:pt x="1196551" y="6475400"/>
                  </a:lnTo>
                  <a:lnTo>
                    <a:pt x="1196551" y="6465529"/>
                  </a:lnTo>
                  <a:close/>
                  <a:moveTo>
                    <a:pt x="961257" y="6461491"/>
                  </a:moveTo>
                  <a:lnTo>
                    <a:pt x="971167" y="6461491"/>
                  </a:lnTo>
                  <a:lnTo>
                    <a:pt x="975186" y="6465529"/>
                  </a:lnTo>
                  <a:lnTo>
                    <a:pt x="975186" y="6475400"/>
                  </a:lnTo>
                  <a:lnTo>
                    <a:pt x="971167" y="6479439"/>
                  </a:lnTo>
                  <a:lnTo>
                    <a:pt x="961257" y="6479439"/>
                  </a:lnTo>
                  <a:lnTo>
                    <a:pt x="957238" y="6475400"/>
                  </a:lnTo>
                  <a:lnTo>
                    <a:pt x="957238" y="6465529"/>
                  </a:lnTo>
                  <a:close/>
                  <a:moveTo>
                    <a:pt x="9572438" y="6461440"/>
                  </a:moveTo>
                  <a:lnTo>
                    <a:pt x="9582349" y="6461440"/>
                  </a:lnTo>
                  <a:lnTo>
                    <a:pt x="9586368" y="6465478"/>
                  </a:lnTo>
                  <a:lnTo>
                    <a:pt x="9586368" y="6475349"/>
                  </a:lnTo>
                  <a:lnTo>
                    <a:pt x="9582349" y="6479388"/>
                  </a:lnTo>
                  <a:lnTo>
                    <a:pt x="9572438" y="6479388"/>
                  </a:lnTo>
                  <a:lnTo>
                    <a:pt x="9568419" y="6475349"/>
                  </a:lnTo>
                  <a:lnTo>
                    <a:pt x="9568419" y="6465478"/>
                  </a:lnTo>
                  <a:close/>
                  <a:moveTo>
                    <a:pt x="9333125" y="6461440"/>
                  </a:moveTo>
                  <a:lnTo>
                    <a:pt x="9343036" y="6461440"/>
                  </a:lnTo>
                  <a:lnTo>
                    <a:pt x="9347055" y="6465478"/>
                  </a:lnTo>
                  <a:lnTo>
                    <a:pt x="9347055" y="6475349"/>
                  </a:lnTo>
                  <a:lnTo>
                    <a:pt x="9343036" y="6479388"/>
                  </a:lnTo>
                  <a:lnTo>
                    <a:pt x="9333125" y="6479388"/>
                  </a:lnTo>
                  <a:lnTo>
                    <a:pt x="9329106" y="6475349"/>
                  </a:lnTo>
                  <a:lnTo>
                    <a:pt x="9329106" y="6465478"/>
                  </a:lnTo>
                  <a:close/>
                  <a:moveTo>
                    <a:pt x="9093811" y="6461440"/>
                  </a:moveTo>
                  <a:lnTo>
                    <a:pt x="9103722" y="6461440"/>
                  </a:lnTo>
                  <a:lnTo>
                    <a:pt x="9107741" y="6465478"/>
                  </a:lnTo>
                  <a:lnTo>
                    <a:pt x="9107741" y="6475349"/>
                  </a:lnTo>
                  <a:lnTo>
                    <a:pt x="9103722" y="6479388"/>
                  </a:lnTo>
                  <a:lnTo>
                    <a:pt x="9093811" y="6479388"/>
                  </a:lnTo>
                  <a:lnTo>
                    <a:pt x="9089792" y="6475349"/>
                  </a:lnTo>
                  <a:lnTo>
                    <a:pt x="9089792" y="6465478"/>
                  </a:lnTo>
                  <a:close/>
                  <a:moveTo>
                    <a:pt x="8854496" y="6461440"/>
                  </a:moveTo>
                  <a:lnTo>
                    <a:pt x="8864407" y="6461440"/>
                  </a:lnTo>
                  <a:lnTo>
                    <a:pt x="8868426" y="6465478"/>
                  </a:lnTo>
                  <a:lnTo>
                    <a:pt x="8868426" y="6475349"/>
                  </a:lnTo>
                  <a:lnTo>
                    <a:pt x="8864407" y="6479388"/>
                  </a:lnTo>
                  <a:lnTo>
                    <a:pt x="8854496" y="6479388"/>
                  </a:lnTo>
                  <a:lnTo>
                    <a:pt x="8850477" y="6475349"/>
                  </a:lnTo>
                  <a:lnTo>
                    <a:pt x="8850477" y="6465478"/>
                  </a:lnTo>
                  <a:close/>
                  <a:moveTo>
                    <a:pt x="8615184" y="6461440"/>
                  </a:moveTo>
                  <a:lnTo>
                    <a:pt x="8625095" y="6461440"/>
                  </a:lnTo>
                  <a:lnTo>
                    <a:pt x="8629114" y="6465478"/>
                  </a:lnTo>
                  <a:lnTo>
                    <a:pt x="8629114" y="6475349"/>
                  </a:lnTo>
                  <a:lnTo>
                    <a:pt x="8625095" y="6479388"/>
                  </a:lnTo>
                  <a:lnTo>
                    <a:pt x="8615184" y="6479388"/>
                  </a:lnTo>
                  <a:lnTo>
                    <a:pt x="8611165" y="6475349"/>
                  </a:lnTo>
                  <a:lnTo>
                    <a:pt x="8611165" y="6465478"/>
                  </a:lnTo>
                  <a:close/>
                  <a:moveTo>
                    <a:pt x="8375869" y="6461440"/>
                  </a:moveTo>
                  <a:lnTo>
                    <a:pt x="8385779" y="6461440"/>
                  </a:lnTo>
                  <a:lnTo>
                    <a:pt x="8389799" y="6465478"/>
                  </a:lnTo>
                  <a:lnTo>
                    <a:pt x="8389799" y="6475349"/>
                  </a:lnTo>
                  <a:lnTo>
                    <a:pt x="8385779" y="6479388"/>
                  </a:lnTo>
                  <a:lnTo>
                    <a:pt x="8375869" y="6479388"/>
                  </a:lnTo>
                  <a:lnTo>
                    <a:pt x="8371850" y="6475349"/>
                  </a:lnTo>
                  <a:lnTo>
                    <a:pt x="8371850" y="6465478"/>
                  </a:lnTo>
                  <a:close/>
                  <a:moveTo>
                    <a:pt x="8136553" y="6461440"/>
                  </a:moveTo>
                  <a:lnTo>
                    <a:pt x="8146464" y="6461440"/>
                  </a:lnTo>
                  <a:lnTo>
                    <a:pt x="8150483" y="6465478"/>
                  </a:lnTo>
                  <a:lnTo>
                    <a:pt x="8150483" y="6475349"/>
                  </a:lnTo>
                  <a:lnTo>
                    <a:pt x="8146464" y="6479388"/>
                  </a:lnTo>
                  <a:lnTo>
                    <a:pt x="8136553" y="6479388"/>
                  </a:lnTo>
                  <a:lnTo>
                    <a:pt x="8132534" y="6475349"/>
                  </a:lnTo>
                  <a:lnTo>
                    <a:pt x="8132534" y="6465478"/>
                  </a:lnTo>
                  <a:close/>
                  <a:moveTo>
                    <a:pt x="7897241" y="6461440"/>
                  </a:moveTo>
                  <a:lnTo>
                    <a:pt x="7907151" y="6461440"/>
                  </a:lnTo>
                  <a:lnTo>
                    <a:pt x="7911170" y="6465478"/>
                  </a:lnTo>
                  <a:lnTo>
                    <a:pt x="7911170" y="6475349"/>
                  </a:lnTo>
                  <a:lnTo>
                    <a:pt x="7907151" y="6479388"/>
                  </a:lnTo>
                  <a:lnTo>
                    <a:pt x="7897241" y="6479388"/>
                  </a:lnTo>
                  <a:lnTo>
                    <a:pt x="7893222" y="6475349"/>
                  </a:lnTo>
                  <a:lnTo>
                    <a:pt x="7893222" y="6465478"/>
                  </a:lnTo>
                  <a:close/>
                  <a:moveTo>
                    <a:pt x="7657926" y="6461440"/>
                  </a:moveTo>
                  <a:lnTo>
                    <a:pt x="7667836" y="6461440"/>
                  </a:lnTo>
                  <a:lnTo>
                    <a:pt x="7671855" y="6465478"/>
                  </a:lnTo>
                  <a:lnTo>
                    <a:pt x="7671855" y="6475349"/>
                  </a:lnTo>
                  <a:lnTo>
                    <a:pt x="7667836" y="6479388"/>
                  </a:lnTo>
                  <a:lnTo>
                    <a:pt x="7657926" y="6479388"/>
                  </a:lnTo>
                  <a:lnTo>
                    <a:pt x="7653906" y="6475349"/>
                  </a:lnTo>
                  <a:lnTo>
                    <a:pt x="7653906" y="6465478"/>
                  </a:lnTo>
                  <a:close/>
                  <a:moveTo>
                    <a:pt x="7418611" y="6461440"/>
                  </a:moveTo>
                  <a:lnTo>
                    <a:pt x="7428521" y="6461440"/>
                  </a:lnTo>
                  <a:lnTo>
                    <a:pt x="7432540" y="6465478"/>
                  </a:lnTo>
                  <a:lnTo>
                    <a:pt x="7432540" y="6475349"/>
                  </a:lnTo>
                  <a:lnTo>
                    <a:pt x="7428521" y="6479388"/>
                  </a:lnTo>
                  <a:lnTo>
                    <a:pt x="7418611" y="6479388"/>
                  </a:lnTo>
                  <a:lnTo>
                    <a:pt x="7414592" y="6475349"/>
                  </a:lnTo>
                  <a:lnTo>
                    <a:pt x="7414592" y="6465478"/>
                  </a:lnTo>
                  <a:close/>
                  <a:moveTo>
                    <a:pt x="7179298" y="6461440"/>
                  </a:moveTo>
                  <a:lnTo>
                    <a:pt x="7189209" y="6461440"/>
                  </a:lnTo>
                  <a:lnTo>
                    <a:pt x="7193228" y="6465478"/>
                  </a:lnTo>
                  <a:lnTo>
                    <a:pt x="7193228" y="6475349"/>
                  </a:lnTo>
                  <a:lnTo>
                    <a:pt x="7189209" y="6479388"/>
                  </a:lnTo>
                  <a:lnTo>
                    <a:pt x="7179298" y="6479388"/>
                  </a:lnTo>
                  <a:lnTo>
                    <a:pt x="7175279" y="6475349"/>
                  </a:lnTo>
                  <a:lnTo>
                    <a:pt x="7175279" y="6465478"/>
                  </a:lnTo>
                  <a:close/>
                  <a:moveTo>
                    <a:pt x="6939983" y="6461440"/>
                  </a:moveTo>
                  <a:lnTo>
                    <a:pt x="6949894" y="6461440"/>
                  </a:lnTo>
                  <a:lnTo>
                    <a:pt x="6953913" y="6465478"/>
                  </a:lnTo>
                  <a:lnTo>
                    <a:pt x="6953913" y="6475349"/>
                  </a:lnTo>
                  <a:lnTo>
                    <a:pt x="6949894" y="6479388"/>
                  </a:lnTo>
                  <a:lnTo>
                    <a:pt x="6939983" y="6479388"/>
                  </a:lnTo>
                  <a:lnTo>
                    <a:pt x="6935964" y="6475349"/>
                  </a:lnTo>
                  <a:lnTo>
                    <a:pt x="6935964" y="6465478"/>
                  </a:lnTo>
                  <a:close/>
                  <a:moveTo>
                    <a:pt x="6700670" y="6461440"/>
                  </a:moveTo>
                  <a:lnTo>
                    <a:pt x="6710581" y="6461440"/>
                  </a:lnTo>
                  <a:lnTo>
                    <a:pt x="6714600" y="6465478"/>
                  </a:lnTo>
                  <a:lnTo>
                    <a:pt x="6714600" y="6475349"/>
                  </a:lnTo>
                  <a:lnTo>
                    <a:pt x="6710581" y="6479388"/>
                  </a:lnTo>
                  <a:lnTo>
                    <a:pt x="6700670" y="6479388"/>
                  </a:lnTo>
                  <a:lnTo>
                    <a:pt x="6696651" y="6475349"/>
                  </a:lnTo>
                  <a:lnTo>
                    <a:pt x="6696651" y="6465478"/>
                  </a:lnTo>
                  <a:close/>
                  <a:moveTo>
                    <a:pt x="6461356" y="6461440"/>
                  </a:moveTo>
                  <a:lnTo>
                    <a:pt x="6471266" y="6461440"/>
                  </a:lnTo>
                  <a:lnTo>
                    <a:pt x="6475285" y="6465478"/>
                  </a:lnTo>
                  <a:lnTo>
                    <a:pt x="6475285" y="6475349"/>
                  </a:lnTo>
                  <a:lnTo>
                    <a:pt x="6471266" y="6479388"/>
                  </a:lnTo>
                  <a:lnTo>
                    <a:pt x="6461356" y="6479388"/>
                  </a:lnTo>
                  <a:lnTo>
                    <a:pt x="6457337" y="6475349"/>
                  </a:lnTo>
                  <a:lnTo>
                    <a:pt x="6457337" y="6465478"/>
                  </a:lnTo>
                  <a:close/>
                  <a:moveTo>
                    <a:pt x="6222042" y="6461440"/>
                  </a:moveTo>
                  <a:lnTo>
                    <a:pt x="6231952" y="6461440"/>
                  </a:lnTo>
                  <a:lnTo>
                    <a:pt x="6235971" y="6465478"/>
                  </a:lnTo>
                  <a:lnTo>
                    <a:pt x="6235971" y="6475349"/>
                  </a:lnTo>
                  <a:lnTo>
                    <a:pt x="6231952" y="6479388"/>
                  </a:lnTo>
                  <a:lnTo>
                    <a:pt x="6222042" y="6479388"/>
                  </a:lnTo>
                  <a:lnTo>
                    <a:pt x="6218023" y="6475349"/>
                  </a:lnTo>
                  <a:lnTo>
                    <a:pt x="6218023" y="6465478"/>
                  </a:lnTo>
                  <a:close/>
                  <a:moveTo>
                    <a:pt x="5982729" y="6461440"/>
                  </a:moveTo>
                  <a:lnTo>
                    <a:pt x="5992639" y="6461440"/>
                  </a:lnTo>
                  <a:lnTo>
                    <a:pt x="5996658" y="6465478"/>
                  </a:lnTo>
                  <a:lnTo>
                    <a:pt x="5996658" y="6475349"/>
                  </a:lnTo>
                  <a:lnTo>
                    <a:pt x="5992639" y="6479388"/>
                  </a:lnTo>
                  <a:lnTo>
                    <a:pt x="5982729" y="6479388"/>
                  </a:lnTo>
                  <a:lnTo>
                    <a:pt x="5978710" y="6475349"/>
                  </a:lnTo>
                  <a:lnTo>
                    <a:pt x="5978710" y="6465478"/>
                  </a:lnTo>
                  <a:close/>
                  <a:moveTo>
                    <a:pt x="5743412" y="6461440"/>
                  </a:moveTo>
                  <a:lnTo>
                    <a:pt x="5753323" y="6461440"/>
                  </a:lnTo>
                  <a:lnTo>
                    <a:pt x="5757342" y="6465478"/>
                  </a:lnTo>
                  <a:lnTo>
                    <a:pt x="5757342" y="6475349"/>
                  </a:lnTo>
                  <a:lnTo>
                    <a:pt x="5753323" y="6479388"/>
                  </a:lnTo>
                  <a:lnTo>
                    <a:pt x="5743412" y="6479388"/>
                  </a:lnTo>
                  <a:lnTo>
                    <a:pt x="5739393" y="6475349"/>
                  </a:lnTo>
                  <a:lnTo>
                    <a:pt x="5739393" y="6465478"/>
                  </a:lnTo>
                  <a:close/>
                  <a:moveTo>
                    <a:pt x="5504099" y="6461440"/>
                  </a:moveTo>
                  <a:lnTo>
                    <a:pt x="5514010" y="6461440"/>
                  </a:lnTo>
                  <a:lnTo>
                    <a:pt x="5518029" y="6465478"/>
                  </a:lnTo>
                  <a:lnTo>
                    <a:pt x="5518029" y="6475349"/>
                  </a:lnTo>
                  <a:lnTo>
                    <a:pt x="5514010" y="6479388"/>
                  </a:lnTo>
                  <a:lnTo>
                    <a:pt x="5504099" y="6479388"/>
                  </a:lnTo>
                  <a:lnTo>
                    <a:pt x="5500080" y="6475349"/>
                  </a:lnTo>
                  <a:lnTo>
                    <a:pt x="5500080" y="6465478"/>
                  </a:lnTo>
                  <a:close/>
                  <a:moveTo>
                    <a:pt x="5264784" y="6461440"/>
                  </a:moveTo>
                  <a:lnTo>
                    <a:pt x="5274694" y="6461440"/>
                  </a:lnTo>
                  <a:lnTo>
                    <a:pt x="5278713" y="6465478"/>
                  </a:lnTo>
                  <a:lnTo>
                    <a:pt x="5278713" y="6475349"/>
                  </a:lnTo>
                  <a:lnTo>
                    <a:pt x="5274694" y="6479388"/>
                  </a:lnTo>
                  <a:lnTo>
                    <a:pt x="5264784" y="6479388"/>
                  </a:lnTo>
                  <a:lnTo>
                    <a:pt x="5260765" y="6475349"/>
                  </a:lnTo>
                  <a:lnTo>
                    <a:pt x="5260765" y="6465478"/>
                  </a:lnTo>
                  <a:close/>
                  <a:moveTo>
                    <a:pt x="5025470" y="6461440"/>
                  </a:moveTo>
                  <a:lnTo>
                    <a:pt x="5035381" y="6461440"/>
                  </a:lnTo>
                  <a:lnTo>
                    <a:pt x="5039400" y="6465478"/>
                  </a:lnTo>
                  <a:lnTo>
                    <a:pt x="5039400" y="6475349"/>
                  </a:lnTo>
                  <a:lnTo>
                    <a:pt x="5035381" y="6479388"/>
                  </a:lnTo>
                  <a:lnTo>
                    <a:pt x="5025470" y="6479388"/>
                  </a:lnTo>
                  <a:lnTo>
                    <a:pt x="5021451" y="6475349"/>
                  </a:lnTo>
                  <a:lnTo>
                    <a:pt x="5021451" y="6465478"/>
                  </a:lnTo>
                  <a:close/>
                  <a:moveTo>
                    <a:pt x="4786241" y="6461440"/>
                  </a:moveTo>
                  <a:lnTo>
                    <a:pt x="4796152" y="6461440"/>
                  </a:lnTo>
                  <a:lnTo>
                    <a:pt x="4800171" y="6465478"/>
                  </a:lnTo>
                  <a:lnTo>
                    <a:pt x="4800171" y="6475349"/>
                  </a:lnTo>
                  <a:lnTo>
                    <a:pt x="4796152" y="6479388"/>
                  </a:lnTo>
                  <a:lnTo>
                    <a:pt x="4786241" y="6479388"/>
                  </a:lnTo>
                  <a:lnTo>
                    <a:pt x="4782224" y="6475349"/>
                  </a:lnTo>
                  <a:lnTo>
                    <a:pt x="4782224" y="6465478"/>
                  </a:lnTo>
                  <a:close/>
                  <a:moveTo>
                    <a:pt x="4546929" y="6461440"/>
                  </a:moveTo>
                  <a:lnTo>
                    <a:pt x="4556840" y="6461440"/>
                  </a:lnTo>
                  <a:lnTo>
                    <a:pt x="4560859" y="6465478"/>
                  </a:lnTo>
                  <a:lnTo>
                    <a:pt x="4560859" y="6475349"/>
                  </a:lnTo>
                  <a:lnTo>
                    <a:pt x="4556840" y="6479388"/>
                  </a:lnTo>
                  <a:lnTo>
                    <a:pt x="4546929" y="6479388"/>
                  </a:lnTo>
                  <a:lnTo>
                    <a:pt x="4542910" y="6475349"/>
                  </a:lnTo>
                  <a:lnTo>
                    <a:pt x="4542910" y="6465478"/>
                  </a:lnTo>
                  <a:close/>
                  <a:moveTo>
                    <a:pt x="4307612" y="6461440"/>
                  </a:moveTo>
                  <a:lnTo>
                    <a:pt x="4317523" y="6461440"/>
                  </a:lnTo>
                  <a:lnTo>
                    <a:pt x="4321543" y="6465478"/>
                  </a:lnTo>
                  <a:lnTo>
                    <a:pt x="4321543" y="6475349"/>
                  </a:lnTo>
                  <a:lnTo>
                    <a:pt x="4317523" y="6479388"/>
                  </a:lnTo>
                  <a:lnTo>
                    <a:pt x="4307612" y="6479388"/>
                  </a:lnTo>
                  <a:lnTo>
                    <a:pt x="4303595" y="6475349"/>
                  </a:lnTo>
                  <a:lnTo>
                    <a:pt x="4303595" y="6465478"/>
                  </a:lnTo>
                  <a:close/>
                  <a:moveTo>
                    <a:pt x="4068297" y="6461440"/>
                  </a:moveTo>
                  <a:lnTo>
                    <a:pt x="4078210" y="6461440"/>
                  </a:lnTo>
                  <a:lnTo>
                    <a:pt x="4082229" y="6465478"/>
                  </a:lnTo>
                  <a:lnTo>
                    <a:pt x="4082229" y="6475349"/>
                  </a:lnTo>
                  <a:lnTo>
                    <a:pt x="4078210" y="6479388"/>
                  </a:lnTo>
                  <a:lnTo>
                    <a:pt x="4068297" y="6479388"/>
                  </a:lnTo>
                  <a:lnTo>
                    <a:pt x="4064278" y="6475349"/>
                  </a:lnTo>
                  <a:lnTo>
                    <a:pt x="4064278" y="6465478"/>
                  </a:lnTo>
                  <a:close/>
                  <a:moveTo>
                    <a:pt x="3828990" y="6461440"/>
                  </a:moveTo>
                  <a:lnTo>
                    <a:pt x="3838899" y="6461440"/>
                  </a:lnTo>
                  <a:lnTo>
                    <a:pt x="3842917" y="6465478"/>
                  </a:lnTo>
                  <a:lnTo>
                    <a:pt x="3842917" y="6475349"/>
                  </a:lnTo>
                  <a:lnTo>
                    <a:pt x="3838899" y="6479388"/>
                  </a:lnTo>
                  <a:lnTo>
                    <a:pt x="3828990" y="6479388"/>
                  </a:lnTo>
                  <a:lnTo>
                    <a:pt x="3824971" y="6475349"/>
                  </a:lnTo>
                  <a:lnTo>
                    <a:pt x="3824971" y="6465478"/>
                  </a:lnTo>
                  <a:close/>
                  <a:moveTo>
                    <a:pt x="3589676" y="6461440"/>
                  </a:moveTo>
                  <a:lnTo>
                    <a:pt x="3599585" y="6461440"/>
                  </a:lnTo>
                  <a:lnTo>
                    <a:pt x="3603604" y="6465478"/>
                  </a:lnTo>
                  <a:lnTo>
                    <a:pt x="3603604" y="6475349"/>
                  </a:lnTo>
                  <a:lnTo>
                    <a:pt x="3599585" y="6479388"/>
                  </a:lnTo>
                  <a:lnTo>
                    <a:pt x="3589676" y="6479388"/>
                  </a:lnTo>
                  <a:lnTo>
                    <a:pt x="3585657" y="6475349"/>
                  </a:lnTo>
                  <a:lnTo>
                    <a:pt x="3585657" y="6465478"/>
                  </a:lnTo>
                  <a:close/>
                  <a:moveTo>
                    <a:pt x="3350359" y="6461440"/>
                  </a:moveTo>
                  <a:lnTo>
                    <a:pt x="3360268" y="6461440"/>
                  </a:lnTo>
                  <a:lnTo>
                    <a:pt x="3364287" y="6465478"/>
                  </a:lnTo>
                  <a:lnTo>
                    <a:pt x="3364287" y="6475349"/>
                  </a:lnTo>
                  <a:lnTo>
                    <a:pt x="3360268" y="6479388"/>
                  </a:lnTo>
                  <a:lnTo>
                    <a:pt x="3350359" y="6479388"/>
                  </a:lnTo>
                  <a:lnTo>
                    <a:pt x="3346340" y="6475349"/>
                  </a:lnTo>
                  <a:lnTo>
                    <a:pt x="3346340" y="6465478"/>
                  </a:lnTo>
                  <a:close/>
                  <a:moveTo>
                    <a:pt x="3111048" y="6461440"/>
                  </a:moveTo>
                  <a:lnTo>
                    <a:pt x="3120959" y="6461440"/>
                  </a:lnTo>
                  <a:lnTo>
                    <a:pt x="3124977" y="6465478"/>
                  </a:lnTo>
                  <a:lnTo>
                    <a:pt x="3124977" y="6475349"/>
                  </a:lnTo>
                  <a:lnTo>
                    <a:pt x="3120959" y="6479388"/>
                  </a:lnTo>
                  <a:lnTo>
                    <a:pt x="3111048" y="6479388"/>
                  </a:lnTo>
                  <a:lnTo>
                    <a:pt x="3107029" y="6475349"/>
                  </a:lnTo>
                  <a:lnTo>
                    <a:pt x="3107029" y="6465478"/>
                  </a:lnTo>
                  <a:close/>
                  <a:moveTo>
                    <a:pt x="2871737" y="6461440"/>
                  </a:moveTo>
                  <a:lnTo>
                    <a:pt x="2881646" y="6461440"/>
                  </a:lnTo>
                  <a:lnTo>
                    <a:pt x="2885666" y="6465478"/>
                  </a:lnTo>
                  <a:lnTo>
                    <a:pt x="2885666" y="6475349"/>
                  </a:lnTo>
                  <a:lnTo>
                    <a:pt x="2881646" y="6479388"/>
                  </a:lnTo>
                  <a:lnTo>
                    <a:pt x="2871737" y="6479388"/>
                  </a:lnTo>
                  <a:lnTo>
                    <a:pt x="2867717" y="6475349"/>
                  </a:lnTo>
                  <a:lnTo>
                    <a:pt x="2867717" y="6465478"/>
                  </a:lnTo>
                  <a:close/>
                  <a:moveTo>
                    <a:pt x="2632423" y="6461440"/>
                  </a:moveTo>
                  <a:lnTo>
                    <a:pt x="2642334" y="6461440"/>
                  </a:lnTo>
                  <a:lnTo>
                    <a:pt x="2646352" y="6465478"/>
                  </a:lnTo>
                  <a:lnTo>
                    <a:pt x="2646352" y="6475349"/>
                  </a:lnTo>
                  <a:lnTo>
                    <a:pt x="2642334" y="6479388"/>
                  </a:lnTo>
                  <a:lnTo>
                    <a:pt x="2632423" y="6479388"/>
                  </a:lnTo>
                  <a:lnTo>
                    <a:pt x="2628404" y="6475349"/>
                  </a:lnTo>
                  <a:lnTo>
                    <a:pt x="2628404" y="6465478"/>
                  </a:lnTo>
                  <a:close/>
                  <a:moveTo>
                    <a:pt x="2393104" y="6461440"/>
                  </a:moveTo>
                  <a:lnTo>
                    <a:pt x="2403015" y="6461440"/>
                  </a:lnTo>
                  <a:lnTo>
                    <a:pt x="2407034" y="6465478"/>
                  </a:lnTo>
                  <a:lnTo>
                    <a:pt x="2407034" y="6475349"/>
                  </a:lnTo>
                  <a:lnTo>
                    <a:pt x="2403015" y="6479388"/>
                  </a:lnTo>
                  <a:lnTo>
                    <a:pt x="2393104" y="6479388"/>
                  </a:lnTo>
                  <a:lnTo>
                    <a:pt x="2389087" y="6475349"/>
                  </a:lnTo>
                  <a:lnTo>
                    <a:pt x="2389087" y="6465478"/>
                  </a:lnTo>
                  <a:close/>
                  <a:moveTo>
                    <a:pt x="721958" y="6461440"/>
                  </a:moveTo>
                  <a:lnTo>
                    <a:pt x="731868" y="6461440"/>
                  </a:lnTo>
                  <a:lnTo>
                    <a:pt x="735887" y="6465478"/>
                  </a:lnTo>
                  <a:lnTo>
                    <a:pt x="735887" y="6475349"/>
                  </a:lnTo>
                  <a:lnTo>
                    <a:pt x="731868" y="6479388"/>
                  </a:lnTo>
                  <a:lnTo>
                    <a:pt x="721958" y="6479388"/>
                  </a:lnTo>
                  <a:lnTo>
                    <a:pt x="717939" y="6475349"/>
                  </a:lnTo>
                  <a:lnTo>
                    <a:pt x="717939" y="6465478"/>
                  </a:lnTo>
                  <a:close/>
                  <a:moveTo>
                    <a:pt x="482646" y="6461440"/>
                  </a:moveTo>
                  <a:lnTo>
                    <a:pt x="492556" y="6461440"/>
                  </a:lnTo>
                  <a:lnTo>
                    <a:pt x="496575" y="6465478"/>
                  </a:lnTo>
                  <a:lnTo>
                    <a:pt x="496575" y="6475349"/>
                  </a:lnTo>
                  <a:lnTo>
                    <a:pt x="492556" y="6479388"/>
                  </a:lnTo>
                  <a:lnTo>
                    <a:pt x="482646" y="6479388"/>
                  </a:lnTo>
                  <a:lnTo>
                    <a:pt x="478627" y="6475349"/>
                  </a:lnTo>
                  <a:lnTo>
                    <a:pt x="478627" y="6465478"/>
                  </a:lnTo>
                  <a:close/>
                  <a:moveTo>
                    <a:pt x="243332" y="6461440"/>
                  </a:moveTo>
                  <a:lnTo>
                    <a:pt x="253242" y="6461440"/>
                  </a:lnTo>
                  <a:lnTo>
                    <a:pt x="257261" y="6465478"/>
                  </a:lnTo>
                  <a:lnTo>
                    <a:pt x="257261" y="6475349"/>
                  </a:lnTo>
                  <a:lnTo>
                    <a:pt x="253242" y="6479388"/>
                  </a:lnTo>
                  <a:lnTo>
                    <a:pt x="243332" y="6479388"/>
                  </a:lnTo>
                  <a:lnTo>
                    <a:pt x="239313" y="6475349"/>
                  </a:lnTo>
                  <a:lnTo>
                    <a:pt x="239313" y="6465478"/>
                  </a:lnTo>
                  <a:close/>
                  <a:moveTo>
                    <a:pt x="4019" y="6461440"/>
                  </a:moveTo>
                  <a:lnTo>
                    <a:pt x="13929" y="6461440"/>
                  </a:lnTo>
                  <a:lnTo>
                    <a:pt x="17949" y="6465478"/>
                  </a:lnTo>
                  <a:lnTo>
                    <a:pt x="17949" y="6475349"/>
                  </a:lnTo>
                  <a:lnTo>
                    <a:pt x="13929" y="6479388"/>
                  </a:lnTo>
                  <a:lnTo>
                    <a:pt x="4019" y="6479388"/>
                  </a:lnTo>
                  <a:lnTo>
                    <a:pt x="0" y="6475349"/>
                  </a:lnTo>
                  <a:lnTo>
                    <a:pt x="0" y="6465478"/>
                  </a:lnTo>
                  <a:close/>
                  <a:moveTo>
                    <a:pt x="9572438" y="6222160"/>
                  </a:moveTo>
                  <a:lnTo>
                    <a:pt x="9582349" y="6222160"/>
                  </a:lnTo>
                  <a:lnTo>
                    <a:pt x="9586368" y="6226198"/>
                  </a:lnTo>
                  <a:lnTo>
                    <a:pt x="9586368" y="6236069"/>
                  </a:lnTo>
                  <a:lnTo>
                    <a:pt x="9582349" y="6240109"/>
                  </a:lnTo>
                  <a:lnTo>
                    <a:pt x="9572438" y="6240109"/>
                  </a:lnTo>
                  <a:lnTo>
                    <a:pt x="9568419" y="6236069"/>
                  </a:lnTo>
                  <a:lnTo>
                    <a:pt x="9568419" y="6226198"/>
                  </a:lnTo>
                  <a:close/>
                  <a:moveTo>
                    <a:pt x="9333125" y="6222160"/>
                  </a:moveTo>
                  <a:lnTo>
                    <a:pt x="9343036" y="6222160"/>
                  </a:lnTo>
                  <a:lnTo>
                    <a:pt x="9347055" y="6226198"/>
                  </a:lnTo>
                  <a:lnTo>
                    <a:pt x="9347055" y="6236069"/>
                  </a:lnTo>
                  <a:lnTo>
                    <a:pt x="9343036" y="6240109"/>
                  </a:lnTo>
                  <a:lnTo>
                    <a:pt x="9333125" y="6240109"/>
                  </a:lnTo>
                  <a:lnTo>
                    <a:pt x="9329106" y="6236069"/>
                  </a:lnTo>
                  <a:lnTo>
                    <a:pt x="9329106" y="6226198"/>
                  </a:lnTo>
                  <a:close/>
                  <a:moveTo>
                    <a:pt x="9093811" y="6222160"/>
                  </a:moveTo>
                  <a:lnTo>
                    <a:pt x="9103722" y="6222160"/>
                  </a:lnTo>
                  <a:lnTo>
                    <a:pt x="9107741" y="6226198"/>
                  </a:lnTo>
                  <a:lnTo>
                    <a:pt x="9107741" y="6236069"/>
                  </a:lnTo>
                  <a:lnTo>
                    <a:pt x="9103722" y="6240109"/>
                  </a:lnTo>
                  <a:lnTo>
                    <a:pt x="9093811" y="6240109"/>
                  </a:lnTo>
                  <a:lnTo>
                    <a:pt x="9089792" y="6236069"/>
                  </a:lnTo>
                  <a:lnTo>
                    <a:pt x="9089792" y="6226198"/>
                  </a:lnTo>
                  <a:close/>
                  <a:moveTo>
                    <a:pt x="8854496" y="6222160"/>
                  </a:moveTo>
                  <a:lnTo>
                    <a:pt x="8864407" y="6222160"/>
                  </a:lnTo>
                  <a:lnTo>
                    <a:pt x="8868426" y="6226198"/>
                  </a:lnTo>
                  <a:lnTo>
                    <a:pt x="8868426" y="6236069"/>
                  </a:lnTo>
                  <a:lnTo>
                    <a:pt x="8864407" y="6240109"/>
                  </a:lnTo>
                  <a:lnTo>
                    <a:pt x="8854496" y="6240109"/>
                  </a:lnTo>
                  <a:lnTo>
                    <a:pt x="8850477" y="6236069"/>
                  </a:lnTo>
                  <a:lnTo>
                    <a:pt x="8850477" y="6226198"/>
                  </a:lnTo>
                  <a:close/>
                  <a:moveTo>
                    <a:pt x="8615184" y="6222160"/>
                  </a:moveTo>
                  <a:lnTo>
                    <a:pt x="8625095" y="6222160"/>
                  </a:lnTo>
                  <a:lnTo>
                    <a:pt x="8629114" y="6226198"/>
                  </a:lnTo>
                  <a:lnTo>
                    <a:pt x="8629114" y="6236069"/>
                  </a:lnTo>
                  <a:lnTo>
                    <a:pt x="8625095" y="6240109"/>
                  </a:lnTo>
                  <a:lnTo>
                    <a:pt x="8615184" y="6240109"/>
                  </a:lnTo>
                  <a:lnTo>
                    <a:pt x="8611165" y="6236069"/>
                  </a:lnTo>
                  <a:lnTo>
                    <a:pt x="8611165" y="6226198"/>
                  </a:lnTo>
                  <a:close/>
                  <a:moveTo>
                    <a:pt x="8375869" y="6222160"/>
                  </a:moveTo>
                  <a:lnTo>
                    <a:pt x="8385779" y="6222160"/>
                  </a:lnTo>
                  <a:lnTo>
                    <a:pt x="8389799" y="6226198"/>
                  </a:lnTo>
                  <a:lnTo>
                    <a:pt x="8389799" y="6236069"/>
                  </a:lnTo>
                  <a:lnTo>
                    <a:pt x="8385779" y="6240109"/>
                  </a:lnTo>
                  <a:lnTo>
                    <a:pt x="8375869" y="6240109"/>
                  </a:lnTo>
                  <a:lnTo>
                    <a:pt x="8371850" y="6236069"/>
                  </a:lnTo>
                  <a:lnTo>
                    <a:pt x="8371850" y="6226198"/>
                  </a:lnTo>
                  <a:close/>
                  <a:moveTo>
                    <a:pt x="8136553" y="6222160"/>
                  </a:moveTo>
                  <a:lnTo>
                    <a:pt x="8146464" y="6222160"/>
                  </a:lnTo>
                  <a:lnTo>
                    <a:pt x="8150483" y="6226198"/>
                  </a:lnTo>
                  <a:lnTo>
                    <a:pt x="8150483" y="6236069"/>
                  </a:lnTo>
                  <a:lnTo>
                    <a:pt x="8146464" y="6240109"/>
                  </a:lnTo>
                  <a:lnTo>
                    <a:pt x="8136553" y="6240109"/>
                  </a:lnTo>
                  <a:lnTo>
                    <a:pt x="8132534" y="6236069"/>
                  </a:lnTo>
                  <a:lnTo>
                    <a:pt x="8132534" y="6226198"/>
                  </a:lnTo>
                  <a:close/>
                  <a:moveTo>
                    <a:pt x="7897241" y="6222160"/>
                  </a:moveTo>
                  <a:lnTo>
                    <a:pt x="7907151" y="6222160"/>
                  </a:lnTo>
                  <a:lnTo>
                    <a:pt x="7911170" y="6226198"/>
                  </a:lnTo>
                  <a:lnTo>
                    <a:pt x="7911170" y="6236069"/>
                  </a:lnTo>
                  <a:lnTo>
                    <a:pt x="7907151" y="6240109"/>
                  </a:lnTo>
                  <a:lnTo>
                    <a:pt x="7897241" y="6240109"/>
                  </a:lnTo>
                  <a:lnTo>
                    <a:pt x="7893222" y="6236069"/>
                  </a:lnTo>
                  <a:lnTo>
                    <a:pt x="7893222" y="6226198"/>
                  </a:lnTo>
                  <a:close/>
                  <a:moveTo>
                    <a:pt x="7657926" y="6222160"/>
                  </a:moveTo>
                  <a:lnTo>
                    <a:pt x="7667836" y="6222160"/>
                  </a:lnTo>
                  <a:lnTo>
                    <a:pt x="7671855" y="6226198"/>
                  </a:lnTo>
                  <a:lnTo>
                    <a:pt x="7671855" y="6236069"/>
                  </a:lnTo>
                  <a:lnTo>
                    <a:pt x="7667836" y="6240109"/>
                  </a:lnTo>
                  <a:lnTo>
                    <a:pt x="7657926" y="6240109"/>
                  </a:lnTo>
                  <a:lnTo>
                    <a:pt x="7653906" y="6236069"/>
                  </a:lnTo>
                  <a:lnTo>
                    <a:pt x="7653906" y="6226198"/>
                  </a:lnTo>
                  <a:close/>
                  <a:moveTo>
                    <a:pt x="7418611" y="6222160"/>
                  </a:moveTo>
                  <a:lnTo>
                    <a:pt x="7428521" y="6222160"/>
                  </a:lnTo>
                  <a:lnTo>
                    <a:pt x="7432540" y="6226198"/>
                  </a:lnTo>
                  <a:lnTo>
                    <a:pt x="7432540" y="6236069"/>
                  </a:lnTo>
                  <a:lnTo>
                    <a:pt x="7428521" y="6240109"/>
                  </a:lnTo>
                  <a:lnTo>
                    <a:pt x="7418611" y="6240109"/>
                  </a:lnTo>
                  <a:lnTo>
                    <a:pt x="7414592" y="6236069"/>
                  </a:lnTo>
                  <a:lnTo>
                    <a:pt x="7414592" y="6226198"/>
                  </a:lnTo>
                  <a:close/>
                  <a:moveTo>
                    <a:pt x="7179298" y="6222160"/>
                  </a:moveTo>
                  <a:lnTo>
                    <a:pt x="7189209" y="6222160"/>
                  </a:lnTo>
                  <a:lnTo>
                    <a:pt x="7193228" y="6226198"/>
                  </a:lnTo>
                  <a:lnTo>
                    <a:pt x="7193228" y="6236069"/>
                  </a:lnTo>
                  <a:lnTo>
                    <a:pt x="7189209" y="6240109"/>
                  </a:lnTo>
                  <a:lnTo>
                    <a:pt x="7179298" y="6240109"/>
                  </a:lnTo>
                  <a:lnTo>
                    <a:pt x="7175279" y="6236069"/>
                  </a:lnTo>
                  <a:lnTo>
                    <a:pt x="7175279" y="6226198"/>
                  </a:lnTo>
                  <a:close/>
                  <a:moveTo>
                    <a:pt x="6939983" y="6222160"/>
                  </a:moveTo>
                  <a:lnTo>
                    <a:pt x="6949894" y="6222160"/>
                  </a:lnTo>
                  <a:lnTo>
                    <a:pt x="6953913" y="6226198"/>
                  </a:lnTo>
                  <a:lnTo>
                    <a:pt x="6953913" y="6236069"/>
                  </a:lnTo>
                  <a:lnTo>
                    <a:pt x="6949894" y="6240109"/>
                  </a:lnTo>
                  <a:lnTo>
                    <a:pt x="6939983" y="6240109"/>
                  </a:lnTo>
                  <a:lnTo>
                    <a:pt x="6935964" y="6236069"/>
                  </a:lnTo>
                  <a:lnTo>
                    <a:pt x="6935964" y="6226198"/>
                  </a:lnTo>
                  <a:close/>
                  <a:moveTo>
                    <a:pt x="6700670" y="6222160"/>
                  </a:moveTo>
                  <a:lnTo>
                    <a:pt x="6710581" y="6222160"/>
                  </a:lnTo>
                  <a:lnTo>
                    <a:pt x="6714600" y="6226198"/>
                  </a:lnTo>
                  <a:lnTo>
                    <a:pt x="6714600" y="6236069"/>
                  </a:lnTo>
                  <a:lnTo>
                    <a:pt x="6710581" y="6240109"/>
                  </a:lnTo>
                  <a:lnTo>
                    <a:pt x="6700670" y="6240109"/>
                  </a:lnTo>
                  <a:lnTo>
                    <a:pt x="6696651" y="6236069"/>
                  </a:lnTo>
                  <a:lnTo>
                    <a:pt x="6696651" y="6226198"/>
                  </a:lnTo>
                  <a:close/>
                  <a:moveTo>
                    <a:pt x="6461356" y="6222160"/>
                  </a:moveTo>
                  <a:lnTo>
                    <a:pt x="6471266" y="6222160"/>
                  </a:lnTo>
                  <a:lnTo>
                    <a:pt x="6475285" y="6226198"/>
                  </a:lnTo>
                  <a:lnTo>
                    <a:pt x="6475285" y="6236069"/>
                  </a:lnTo>
                  <a:lnTo>
                    <a:pt x="6471266" y="6240109"/>
                  </a:lnTo>
                  <a:lnTo>
                    <a:pt x="6461356" y="6240109"/>
                  </a:lnTo>
                  <a:lnTo>
                    <a:pt x="6457337" y="6236069"/>
                  </a:lnTo>
                  <a:lnTo>
                    <a:pt x="6457337" y="6226198"/>
                  </a:lnTo>
                  <a:close/>
                  <a:moveTo>
                    <a:pt x="6222042" y="6222160"/>
                  </a:moveTo>
                  <a:lnTo>
                    <a:pt x="6231952" y="6222160"/>
                  </a:lnTo>
                  <a:lnTo>
                    <a:pt x="6235971" y="6226198"/>
                  </a:lnTo>
                  <a:lnTo>
                    <a:pt x="6235971" y="6236069"/>
                  </a:lnTo>
                  <a:lnTo>
                    <a:pt x="6231952" y="6240109"/>
                  </a:lnTo>
                  <a:lnTo>
                    <a:pt x="6222042" y="6240109"/>
                  </a:lnTo>
                  <a:lnTo>
                    <a:pt x="6218023" y="6236069"/>
                  </a:lnTo>
                  <a:lnTo>
                    <a:pt x="6218023" y="6226198"/>
                  </a:lnTo>
                  <a:close/>
                  <a:moveTo>
                    <a:pt x="5982729" y="6222160"/>
                  </a:moveTo>
                  <a:lnTo>
                    <a:pt x="5992639" y="6222160"/>
                  </a:lnTo>
                  <a:lnTo>
                    <a:pt x="5996658" y="6226198"/>
                  </a:lnTo>
                  <a:lnTo>
                    <a:pt x="5996658" y="6236069"/>
                  </a:lnTo>
                  <a:lnTo>
                    <a:pt x="5992639" y="6240109"/>
                  </a:lnTo>
                  <a:lnTo>
                    <a:pt x="5982729" y="6240109"/>
                  </a:lnTo>
                  <a:lnTo>
                    <a:pt x="5978710" y="6236069"/>
                  </a:lnTo>
                  <a:lnTo>
                    <a:pt x="5978710" y="6226198"/>
                  </a:lnTo>
                  <a:close/>
                  <a:moveTo>
                    <a:pt x="5743412" y="6222160"/>
                  </a:moveTo>
                  <a:lnTo>
                    <a:pt x="5753323" y="6222160"/>
                  </a:lnTo>
                  <a:lnTo>
                    <a:pt x="5757342" y="6226198"/>
                  </a:lnTo>
                  <a:lnTo>
                    <a:pt x="5757342" y="6236069"/>
                  </a:lnTo>
                  <a:lnTo>
                    <a:pt x="5753323" y="6240109"/>
                  </a:lnTo>
                  <a:lnTo>
                    <a:pt x="5743412" y="6240109"/>
                  </a:lnTo>
                  <a:lnTo>
                    <a:pt x="5739393" y="6236069"/>
                  </a:lnTo>
                  <a:lnTo>
                    <a:pt x="5739393" y="6226198"/>
                  </a:lnTo>
                  <a:close/>
                  <a:moveTo>
                    <a:pt x="5504099" y="6222160"/>
                  </a:moveTo>
                  <a:lnTo>
                    <a:pt x="5514010" y="6222160"/>
                  </a:lnTo>
                  <a:lnTo>
                    <a:pt x="5518029" y="6226198"/>
                  </a:lnTo>
                  <a:lnTo>
                    <a:pt x="5518029" y="6236069"/>
                  </a:lnTo>
                  <a:lnTo>
                    <a:pt x="5514010" y="6240109"/>
                  </a:lnTo>
                  <a:lnTo>
                    <a:pt x="5504099" y="6240109"/>
                  </a:lnTo>
                  <a:lnTo>
                    <a:pt x="5500080" y="6236069"/>
                  </a:lnTo>
                  <a:lnTo>
                    <a:pt x="5500080" y="6226198"/>
                  </a:lnTo>
                  <a:close/>
                  <a:moveTo>
                    <a:pt x="5264784" y="6222160"/>
                  </a:moveTo>
                  <a:lnTo>
                    <a:pt x="5274694" y="6222160"/>
                  </a:lnTo>
                  <a:lnTo>
                    <a:pt x="5278713" y="6226198"/>
                  </a:lnTo>
                  <a:lnTo>
                    <a:pt x="5278713" y="6236069"/>
                  </a:lnTo>
                  <a:lnTo>
                    <a:pt x="5274694" y="6240109"/>
                  </a:lnTo>
                  <a:lnTo>
                    <a:pt x="5264784" y="6240109"/>
                  </a:lnTo>
                  <a:lnTo>
                    <a:pt x="5260765" y="6236069"/>
                  </a:lnTo>
                  <a:lnTo>
                    <a:pt x="5260765" y="6226198"/>
                  </a:lnTo>
                  <a:close/>
                  <a:moveTo>
                    <a:pt x="5025470" y="6222160"/>
                  </a:moveTo>
                  <a:lnTo>
                    <a:pt x="5035381" y="6222160"/>
                  </a:lnTo>
                  <a:lnTo>
                    <a:pt x="5039400" y="6226198"/>
                  </a:lnTo>
                  <a:lnTo>
                    <a:pt x="5039400" y="6236069"/>
                  </a:lnTo>
                  <a:lnTo>
                    <a:pt x="5035381" y="6240109"/>
                  </a:lnTo>
                  <a:lnTo>
                    <a:pt x="5025470" y="6240109"/>
                  </a:lnTo>
                  <a:lnTo>
                    <a:pt x="5021451" y="6236069"/>
                  </a:lnTo>
                  <a:lnTo>
                    <a:pt x="5021451" y="6226198"/>
                  </a:lnTo>
                  <a:close/>
                  <a:moveTo>
                    <a:pt x="4786241" y="6222160"/>
                  </a:moveTo>
                  <a:lnTo>
                    <a:pt x="4796152" y="6222160"/>
                  </a:lnTo>
                  <a:lnTo>
                    <a:pt x="4800171" y="6226198"/>
                  </a:lnTo>
                  <a:lnTo>
                    <a:pt x="4800171" y="6236069"/>
                  </a:lnTo>
                  <a:lnTo>
                    <a:pt x="4796152" y="6240109"/>
                  </a:lnTo>
                  <a:lnTo>
                    <a:pt x="4786241" y="6240109"/>
                  </a:lnTo>
                  <a:lnTo>
                    <a:pt x="4782224" y="6236069"/>
                  </a:lnTo>
                  <a:lnTo>
                    <a:pt x="4782224" y="6226198"/>
                  </a:lnTo>
                  <a:close/>
                  <a:moveTo>
                    <a:pt x="4546929" y="6222160"/>
                  </a:moveTo>
                  <a:lnTo>
                    <a:pt x="4556840" y="6222160"/>
                  </a:lnTo>
                  <a:lnTo>
                    <a:pt x="4560859" y="6226198"/>
                  </a:lnTo>
                  <a:lnTo>
                    <a:pt x="4560859" y="6236069"/>
                  </a:lnTo>
                  <a:lnTo>
                    <a:pt x="4556840" y="6240109"/>
                  </a:lnTo>
                  <a:lnTo>
                    <a:pt x="4546929" y="6240109"/>
                  </a:lnTo>
                  <a:lnTo>
                    <a:pt x="4542910" y="6236069"/>
                  </a:lnTo>
                  <a:lnTo>
                    <a:pt x="4542910" y="6226198"/>
                  </a:lnTo>
                  <a:close/>
                  <a:moveTo>
                    <a:pt x="4307612" y="6222160"/>
                  </a:moveTo>
                  <a:lnTo>
                    <a:pt x="4317523" y="6222160"/>
                  </a:lnTo>
                  <a:lnTo>
                    <a:pt x="4321543" y="6226198"/>
                  </a:lnTo>
                  <a:lnTo>
                    <a:pt x="4321543" y="6236069"/>
                  </a:lnTo>
                  <a:lnTo>
                    <a:pt x="4317523" y="6240109"/>
                  </a:lnTo>
                  <a:lnTo>
                    <a:pt x="4307612" y="6240109"/>
                  </a:lnTo>
                  <a:lnTo>
                    <a:pt x="4303595" y="6236069"/>
                  </a:lnTo>
                  <a:lnTo>
                    <a:pt x="4303595" y="6226198"/>
                  </a:lnTo>
                  <a:close/>
                  <a:moveTo>
                    <a:pt x="4068297" y="6222160"/>
                  </a:moveTo>
                  <a:lnTo>
                    <a:pt x="4078210" y="6222160"/>
                  </a:lnTo>
                  <a:lnTo>
                    <a:pt x="4082229" y="6226198"/>
                  </a:lnTo>
                  <a:lnTo>
                    <a:pt x="4082229" y="6236069"/>
                  </a:lnTo>
                  <a:lnTo>
                    <a:pt x="4078210" y="6240109"/>
                  </a:lnTo>
                  <a:lnTo>
                    <a:pt x="4068297" y="6240109"/>
                  </a:lnTo>
                  <a:lnTo>
                    <a:pt x="4064278" y="6236069"/>
                  </a:lnTo>
                  <a:lnTo>
                    <a:pt x="4064278" y="6226198"/>
                  </a:lnTo>
                  <a:close/>
                  <a:moveTo>
                    <a:pt x="3828990" y="6222160"/>
                  </a:moveTo>
                  <a:lnTo>
                    <a:pt x="3838899" y="6222160"/>
                  </a:lnTo>
                  <a:lnTo>
                    <a:pt x="3842917" y="6226198"/>
                  </a:lnTo>
                  <a:lnTo>
                    <a:pt x="3842917" y="6236069"/>
                  </a:lnTo>
                  <a:lnTo>
                    <a:pt x="3838899" y="6240109"/>
                  </a:lnTo>
                  <a:lnTo>
                    <a:pt x="3828990" y="6240109"/>
                  </a:lnTo>
                  <a:lnTo>
                    <a:pt x="3824971" y="6236069"/>
                  </a:lnTo>
                  <a:lnTo>
                    <a:pt x="3824971" y="6226198"/>
                  </a:lnTo>
                  <a:close/>
                  <a:moveTo>
                    <a:pt x="3589676" y="6222160"/>
                  </a:moveTo>
                  <a:lnTo>
                    <a:pt x="3599585" y="6222160"/>
                  </a:lnTo>
                  <a:lnTo>
                    <a:pt x="3603604" y="6226198"/>
                  </a:lnTo>
                  <a:lnTo>
                    <a:pt x="3603604" y="6236069"/>
                  </a:lnTo>
                  <a:lnTo>
                    <a:pt x="3599585" y="6240109"/>
                  </a:lnTo>
                  <a:lnTo>
                    <a:pt x="3589676" y="6240109"/>
                  </a:lnTo>
                  <a:lnTo>
                    <a:pt x="3585657" y="6236069"/>
                  </a:lnTo>
                  <a:lnTo>
                    <a:pt x="3585657" y="6226198"/>
                  </a:lnTo>
                  <a:close/>
                  <a:moveTo>
                    <a:pt x="3350359" y="6222160"/>
                  </a:moveTo>
                  <a:lnTo>
                    <a:pt x="3360268" y="6222160"/>
                  </a:lnTo>
                  <a:lnTo>
                    <a:pt x="3364287" y="6226198"/>
                  </a:lnTo>
                  <a:lnTo>
                    <a:pt x="3364287" y="6236069"/>
                  </a:lnTo>
                  <a:lnTo>
                    <a:pt x="3360268" y="6240109"/>
                  </a:lnTo>
                  <a:lnTo>
                    <a:pt x="3350359" y="6240109"/>
                  </a:lnTo>
                  <a:lnTo>
                    <a:pt x="3346340" y="6236069"/>
                  </a:lnTo>
                  <a:lnTo>
                    <a:pt x="3346340" y="6226198"/>
                  </a:lnTo>
                  <a:close/>
                  <a:moveTo>
                    <a:pt x="3111048" y="6222160"/>
                  </a:moveTo>
                  <a:lnTo>
                    <a:pt x="3120959" y="6222160"/>
                  </a:lnTo>
                  <a:lnTo>
                    <a:pt x="3124977" y="6226198"/>
                  </a:lnTo>
                  <a:lnTo>
                    <a:pt x="3124977" y="6236069"/>
                  </a:lnTo>
                  <a:lnTo>
                    <a:pt x="3120959" y="6240109"/>
                  </a:lnTo>
                  <a:lnTo>
                    <a:pt x="3111048" y="6240109"/>
                  </a:lnTo>
                  <a:lnTo>
                    <a:pt x="3107029" y="6236069"/>
                  </a:lnTo>
                  <a:lnTo>
                    <a:pt x="3107029" y="6226198"/>
                  </a:lnTo>
                  <a:close/>
                  <a:moveTo>
                    <a:pt x="2871737" y="6222160"/>
                  </a:moveTo>
                  <a:lnTo>
                    <a:pt x="2881646" y="6222160"/>
                  </a:lnTo>
                  <a:lnTo>
                    <a:pt x="2885666" y="6226198"/>
                  </a:lnTo>
                  <a:lnTo>
                    <a:pt x="2885666" y="6236069"/>
                  </a:lnTo>
                  <a:lnTo>
                    <a:pt x="2881646" y="6240109"/>
                  </a:lnTo>
                  <a:lnTo>
                    <a:pt x="2871737" y="6240109"/>
                  </a:lnTo>
                  <a:lnTo>
                    <a:pt x="2867717" y="6236069"/>
                  </a:lnTo>
                  <a:lnTo>
                    <a:pt x="2867717" y="6226198"/>
                  </a:lnTo>
                  <a:close/>
                  <a:moveTo>
                    <a:pt x="2632423" y="6222160"/>
                  </a:moveTo>
                  <a:lnTo>
                    <a:pt x="2642334" y="6222160"/>
                  </a:lnTo>
                  <a:lnTo>
                    <a:pt x="2646352" y="6226198"/>
                  </a:lnTo>
                  <a:lnTo>
                    <a:pt x="2646352" y="6236069"/>
                  </a:lnTo>
                  <a:lnTo>
                    <a:pt x="2642334" y="6240109"/>
                  </a:lnTo>
                  <a:lnTo>
                    <a:pt x="2632423" y="6240109"/>
                  </a:lnTo>
                  <a:lnTo>
                    <a:pt x="2628404" y="6236069"/>
                  </a:lnTo>
                  <a:lnTo>
                    <a:pt x="2628404" y="6226198"/>
                  </a:lnTo>
                  <a:close/>
                  <a:moveTo>
                    <a:pt x="2393104" y="6222160"/>
                  </a:moveTo>
                  <a:lnTo>
                    <a:pt x="2403015" y="6222160"/>
                  </a:lnTo>
                  <a:lnTo>
                    <a:pt x="2407034" y="6226198"/>
                  </a:lnTo>
                  <a:lnTo>
                    <a:pt x="2407034" y="6236069"/>
                  </a:lnTo>
                  <a:lnTo>
                    <a:pt x="2403015" y="6240109"/>
                  </a:lnTo>
                  <a:lnTo>
                    <a:pt x="2393104" y="6240109"/>
                  </a:lnTo>
                  <a:lnTo>
                    <a:pt x="2389087" y="6236069"/>
                  </a:lnTo>
                  <a:lnTo>
                    <a:pt x="2389087" y="6226198"/>
                  </a:lnTo>
                  <a:close/>
                  <a:moveTo>
                    <a:pt x="2157818" y="6222160"/>
                  </a:moveTo>
                  <a:lnTo>
                    <a:pt x="2167728" y="6222160"/>
                  </a:lnTo>
                  <a:lnTo>
                    <a:pt x="2171746" y="6226198"/>
                  </a:lnTo>
                  <a:lnTo>
                    <a:pt x="2171746" y="6236069"/>
                  </a:lnTo>
                  <a:lnTo>
                    <a:pt x="2167728" y="6240109"/>
                  </a:lnTo>
                  <a:lnTo>
                    <a:pt x="2157818" y="6240109"/>
                  </a:lnTo>
                  <a:lnTo>
                    <a:pt x="2153799" y="6236069"/>
                  </a:lnTo>
                  <a:lnTo>
                    <a:pt x="2153799" y="6226198"/>
                  </a:lnTo>
                  <a:close/>
                  <a:moveTo>
                    <a:pt x="1918509" y="6222160"/>
                  </a:moveTo>
                  <a:lnTo>
                    <a:pt x="1928419" y="6222160"/>
                  </a:lnTo>
                  <a:lnTo>
                    <a:pt x="1932438" y="6226198"/>
                  </a:lnTo>
                  <a:lnTo>
                    <a:pt x="1932438" y="6236069"/>
                  </a:lnTo>
                  <a:lnTo>
                    <a:pt x="1928419" y="6240109"/>
                  </a:lnTo>
                  <a:lnTo>
                    <a:pt x="1918509" y="6240109"/>
                  </a:lnTo>
                  <a:lnTo>
                    <a:pt x="1914490" y="6236069"/>
                  </a:lnTo>
                  <a:lnTo>
                    <a:pt x="1914490" y="6226198"/>
                  </a:lnTo>
                  <a:close/>
                  <a:moveTo>
                    <a:pt x="1679200" y="6222160"/>
                  </a:moveTo>
                  <a:lnTo>
                    <a:pt x="1689110" y="6222160"/>
                  </a:lnTo>
                  <a:lnTo>
                    <a:pt x="1693129" y="6226198"/>
                  </a:lnTo>
                  <a:lnTo>
                    <a:pt x="1693129" y="6236069"/>
                  </a:lnTo>
                  <a:lnTo>
                    <a:pt x="1689110" y="6240109"/>
                  </a:lnTo>
                  <a:lnTo>
                    <a:pt x="1679200" y="6240109"/>
                  </a:lnTo>
                  <a:lnTo>
                    <a:pt x="1675182" y="6236069"/>
                  </a:lnTo>
                  <a:lnTo>
                    <a:pt x="1675182" y="6226198"/>
                  </a:lnTo>
                  <a:close/>
                  <a:moveTo>
                    <a:pt x="1439885" y="6222160"/>
                  </a:moveTo>
                  <a:lnTo>
                    <a:pt x="1449795" y="6222160"/>
                  </a:lnTo>
                  <a:lnTo>
                    <a:pt x="1453814" y="6226198"/>
                  </a:lnTo>
                  <a:lnTo>
                    <a:pt x="1453814" y="6236069"/>
                  </a:lnTo>
                  <a:lnTo>
                    <a:pt x="1449795" y="6240109"/>
                  </a:lnTo>
                  <a:lnTo>
                    <a:pt x="1439885" y="6240109"/>
                  </a:lnTo>
                  <a:lnTo>
                    <a:pt x="1435866" y="6236069"/>
                  </a:lnTo>
                  <a:lnTo>
                    <a:pt x="1435866" y="6226198"/>
                  </a:lnTo>
                  <a:close/>
                  <a:moveTo>
                    <a:pt x="1200570" y="6222160"/>
                  </a:moveTo>
                  <a:lnTo>
                    <a:pt x="1210481" y="6222160"/>
                  </a:lnTo>
                  <a:lnTo>
                    <a:pt x="1214499" y="6226198"/>
                  </a:lnTo>
                  <a:lnTo>
                    <a:pt x="1214499" y="6236069"/>
                  </a:lnTo>
                  <a:lnTo>
                    <a:pt x="1210481" y="6240109"/>
                  </a:lnTo>
                  <a:lnTo>
                    <a:pt x="1200570" y="6240109"/>
                  </a:lnTo>
                  <a:lnTo>
                    <a:pt x="1196551" y="6236069"/>
                  </a:lnTo>
                  <a:lnTo>
                    <a:pt x="1196551" y="6226198"/>
                  </a:lnTo>
                  <a:close/>
                  <a:moveTo>
                    <a:pt x="961258" y="6222160"/>
                  </a:moveTo>
                  <a:lnTo>
                    <a:pt x="971167" y="6222160"/>
                  </a:lnTo>
                  <a:lnTo>
                    <a:pt x="975186" y="6226198"/>
                  </a:lnTo>
                  <a:lnTo>
                    <a:pt x="975186" y="6236069"/>
                  </a:lnTo>
                  <a:lnTo>
                    <a:pt x="971167" y="6240109"/>
                  </a:lnTo>
                  <a:lnTo>
                    <a:pt x="961258" y="6240109"/>
                  </a:lnTo>
                  <a:lnTo>
                    <a:pt x="957239" y="6236069"/>
                  </a:lnTo>
                  <a:lnTo>
                    <a:pt x="957239" y="6226198"/>
                  </a:lnTo>
                  <a:close/>
                  <a:moveTo>
                    <a:pt x="721959" y="6222160"/>
                  </a:moveTo>
                  <a:lnTo>
                    <a:pt x="731869" y="6222160"/>
                  </a:lnTo>
                  <a:lnTo>
                    <a:pt x="735888" y="6226198"/>
                  </a:lnTo>
                  <a:lnTo>
                    <a:pt x="735888" y="6236069"/>
                  </a:lnTo>
                  <a:lnTo>
                    <a:pt x="731869" y="6240109"/>
                  </a:lnTo>
                  <a:lnTo>
                    <a:pt x="721959" y="6240109"/>
                  </a:lnTo>
                  <a:lnTo>
                    <a:pt x="717940" y="6236069"/>
                  </a:lnTo>
                  <a:lnTo>
                    <a:pt x="717940" y="6226198"/>
                  </a:lnTo>
                  <a:close/>
                  <a:moveTo>
                    <a:pt x="482646" y="6222160"/>
                  </a:moveTo>
                  <a:lnTo>
                    <a:pt x="492557" y="6222160"/>
                  </a:lnTo>
                  <a:lnTo>
                    <a:pt x="496576" y="6226198"/>
                  </a:lnTo>
                  <a:lnTo>
                    <a:pt x="496576" y="6236069"/>
                  </a:lnTo>
                  <a:lnTo>
                    <a:pt x="492557" y="6240109"/>
                  </a:lnTo>
                  <a:lnTo>
                    <a:pt x="482646" y="6240109"/>
                  </a:lnTo>
                  <a:lnTo>
                    <a:pt x="478627" y="6236069"/>
                  </a:lnTo>
                  <a:lnTo>
                    <a:pt x="478627" y="6226198"/>
                  </a:lnTo>
                  <a:close/>
                  <a:moveTo>
                    <a:pt x="243333" y="6222160"/>
                  </a:moveTo>
                  <a:lnTo>
                    <a:pt x="253243" y="6222160"/>
                  </a:lnTo>
                  <a:lnTo>
                    <a:pt x="257263" y="6226198"/>
                  </a:lnTo>
                  <a:lnTo>
                    <a:pt x="257263" y="6236069"/>
                  </a:lnTo>
                  <a:lnTo>
                    <a:pt x="253243" y="6240109"/>
                  </a:lnTo>
                  <a:lnTo>
                    <a:pt x="243333" y="6240109"/>
                  </a:lnTo>
                  <a:lnTo>
                    <a:pt x="239314" y="6236069"/>
                  </a:lnTo>
                  <a:lnTo>
                    <a:pt x="239314" y="6226198"/>
                  </a:lnTo>
                  <a:close/>
                  <a:moveTo>
                    <a:pt x="4020" y="6222160"/>
                  </a:moveTo>
                  <a:lnTo>
                    <a:pt x="13930" y="6222160"/>
                  </a:lnTo>
                  <a:lnTo>
                    <a:pt x="17949" y="6226198"/>
                  </a:lnTo>
                  <a:lnTo>
                    <a:pt x="17949" y="6236069"/>
                  </a:lnTo>
                  <a:lnTo>
                    <a:pt x="13930" y="6240109"/>
                  </a:lnTo>
                  <a:lnTo>
                    <a:pt x="4020" y="6240109"/>
                  </a:lnTo>
                  <a:lnTo>
                    <a:pt x="1" y="6236069"/>
                  </a:lnTo>
                  <a:lnTo>
                    <a:pt x="1" y="6226198"/>
                  </a:lnTo>
                  <a:close/>
                  <a:moveTo>
                    <a:pt x="2157818" y="5982881"/>
                  </a:moveTo>
                  <a:lnTo>
                    <a:pt x="2167728" y="5982881"/>
                  </a:lnTo>
                  <a:lnTo>
                    <a:pt x="2171747" y="5986919"/>
                  </a:lnTo>
                  <a:lnTo>
                    <a:pt x="2171747" y="5996790"/>
                  </a:lnTo>
                  <a:lnTo>
                    <a:pt x="2167728" y="6000829"/>
                  </a:lnTo>
                  <a:lnTo>
                    <a:pt x="2157818" y="6000829"/>
                  </a:lnTo>
                  <a:lnTo>
                    <a:pt x="2153799" y="5996790"/>
                  </a:lnTo>
                  <a:lnTo>
                    <a:pt x="2153799" y="5986919"/>
                  </a:lnTo>
                  <a:close/>
                  <a:moveTo>
                    <a:pt x="1918509" y="5982881"/>
                  </a:moveTo>
                  <a:lnTo>
                    <a:pt x="1928420" y="5982881"/>
                  </a:lnTo>
                  <a:lnTo>
                    <a:pt x="1932438" y="5986919"/>
                  </a:lnTo>
                  <a:lnTo>
                    <a:pt x="1932438" y="5996790"/>
                  </a:lnTo>
                  <a:lnTo>
                    <a:pt x="1928420" y="6000829"/>
                  </a:lnTo>
                  <a:lnTo>
                    <a:pt x="1918509" y="6000829"/>
                  </a:lnTo>
                  <a:lnTo>
                    <a:pt x="1914490" y="5996790"/>
                  </a:lnTo>
                  <a:lnTo>
                    <a:pt x="1914490" y="5986919"/>
                  </a:lnTo>
                  <a:close/>
                  <a:moveTo>
                    <a:pt x="1679201" y="5982881"/>
                  </a:moveTo>
                  <a:lnTo>
                    <a:pt x="1689111" y="5982881"/>
                  </a:lnTo>
                  <a:lnTo>
                    <a:pt x="1693129" y="5986919"/>
                  </a:lnTo>
                  <a:lnTo>
                    <a:pt x="1693129" y="5996790"/>
                  </a:lnTo>
                  <a:lnTo>
                    <a:pt x="1689111" y="6000829"/>
                  </a:lnTo>
                  <a:lnTo>
                    <a:pt x="1679201" y="6000829"/>
                  </a:lnTo>
                  <a:lnTo>
                    <a:pt x="1675182" y="5996790"/>
                  </a:lnTo>
                  <a:lnTo>
                    <a:pt x="1675182" y="5986919"/>
                  </a:lnTo>
                  <a:close/>
                  <a:moveTo>
                    <a:pt x="1439886" y="5982881"/>
                  </a:moveTo>
                  <a:lnTo>
                    <a:pt x="1449796" y="5982881"/>
                  </a:lnTo>
                  <a:lnTo>
                    <a:pt x="1453814" y="5986919"/>
                  </a:lnTo>
                  <a:lnTo>
                    <a:pt x="1453814" y="5996790"/>
                  </a:lnTo>
                  <a:lnTo>
                    <a:pt x="1449796" y="6000829"/>
                  </a:lnTo>
                  <a:lnTo>
                    <a:pt x="1439886" y="6000829"/>
                  </a:lnTo>
                  <a:lnTo>
                    <a:pt x="1435866" y="5996790"/>
                  </a:lnTo>
                  <a:lnTo>
                    <a:pt x="1435866" y="5986919"/>
                  </a:lnTo>
                  <a:close/>
                  <a:moveTo>
                    <a:pt x="1200571" y="5982881"/>
                  </a:moveTo>
                  <a:lnTo>
                    <a:pt x="1210481" y="5982881"/>
                  </a:lnTo>
                  <a:lnTo>
                    <a:pt x="1214500" y="5986919"/>
                  </a:lnTo>
                  <a:lnTo>
                    <a:pt x="1214500" y="5996790"/>
                  </a:lnTo>
                  <a:lnTo>
                    <a:pt x="1210481" y="6000829"/>
                  </a:lnTo>
                  <a:lnTo>
                    <a:pt x="1200571" y="6000829"/>
                  </a:lnTo>
                  <a:lnTo>
                    <a:pt x="1196553" y="5996790"/>
                  </a:lnTo>
                  <a:lnTo>
                    <a:pt x="1196553" y="5986919"/>
                  </a:lnTo>
                  <a:close/>
                  <a:moveTo>
                    <a:pt x="961258" y="5982881"/>
                  </a:moveTo>
                  <a:lnTo>
                    <a:pt x="971168" y="5982881"/>
                  </a:lnTo>
                  <a:lnTo>
                    <a:pt x="975187" y="5986919"/>
                  </a:lnTo>
                  <a:lnTo>
                    <a:pt x="975187" y="5996790"/>
                  </a:lnTo>
                  <a:lnTo>
                    <a:pt x="971168" y="6000829"/>
                  </a:lnTo>
                  <a:lnTo>
                    <a:pt x="961258" y="6000829"/>
                  </a:lnTo>
                  <a:lnTo>
                    <a:pt x="957239" y="5996790"/>
                  </a:lnTo>
                  <a:lnTo>
                    <a:pt x="957239" y="5986919"/>
                  </a:lnTo>
                  <a:close/>
                  <a:moveTo>
                    <a:pt x="9572438" y="5982829"/>
                  </a:moveTo>
                  <a:lnTo>
                    <a:pt x="9582349" y="5982829"/>
                  </a:lnTo>
                  <a:lnTo>
                    <a:pt x="9586368" y="5986868"/>
                  </a:lnTo>
                  <a:lnTo>
                    <a:pt x="9586368" y="5996739"/>
                  </a:lnTo>
                  <a:lnTo>
                    <a:pt x="9582349" y="6000778"/>
                  </a:lnTo>
                  <a:lnTo>
                    <a:pt x="9572438" y="6000778"/>
                  </a:lnTo>
                  <a:lnTo>
                    <a:pt x="9568419" y="5996739"/>
                  </a:lnTo>
                  <a:lnTo>
                    <a:pt x="9568419" y="5986868"/>
                  </a:lnTo>
                  <a:close/>
                  <a:moveTo>
                    <a:pt x="9333125" y="5982829"/>
                  </a:moveTo>
                  <a:lnTo>
                    <a:pt x="9343036" y="5982829"/>
                  </a:lnTo>
                  <a:lnTo>
                    <a:pt x="9347055" y="5986868"/>
                  </a:lnTo>
                  <a:lnTo>
                    <a:pt x="9347055" y="5996739"/>
                  </a:lnTo>
                  <a:lnTo>
                    <a:pt x="9343036" y="6000778"/>
                  </a:lnTo>
                  <a:lnTo>
                    <a:pt x="9333125" y="6000778"/>
                  </a:lnTo>
                  <a:lnTo>
                    <a:pt x="9329106" y="5996739"/>
                  </a:lnTo>
                  <a:lnTo>
                    <a:pt x="9329106" y="5986868"/>
                  </a:lnTo>
                  <a:close/>
                  <a:moveTo>
                    <a:pt x="9093811" y="5982829"/>
                  </a:moveTo>
                  <a:lnTo>
                    <a:pt x="9103722" y="5982829"/>
                  </a:lnTo>
                  <a:lnTo>
                    <a:pt x="9107741" y="5986868"/>
                  </a:lnTo>
                  <a:lnTo>
                    <a:pt x="9107741" y="5996739"/>
                  </a:lnTo>
                  <a:lnTo>
                    <a:pt x="9103722" y="6000778"/>
                  </a:lnTo>
                  <a:lnTo>
                    <a:pt x="9093811" y="6000778"/>
                  </a:lnTo>
                  <a:lnTo>
                    <a:pt x="9089792" y="5996739"/>
                  </a:lnTo>
                  <a:lnTo>
                    <a:pt x="9089792" y="5986868"/>
                  </a:lnTo>
                  <a:close/>
                  <a:moveTo>
                    <a:pt x="8854496" y="5982829"/>
                  </a:moveTo>
                  <a:lnTo>
                    <a:pt x="8864407" y="5982829"/>
                  </a:lnTo>
                  <a:lnTo>
                    <a:pt x="8868426" y="5986868"/>
                  </a:lnTo>
                  <a:lnTo>
                    <a:pt x="8868426" y="5996739"/>
                  </a:lnTo>
                  <a:lnTo>
                    <a:pt x="8864407" y="6000778"/>
                  </a:lnTo>
                  <a:lnTo>
                    <a:pt x="8854496" y="6000778"/>
                  </a:lnTo>
                  <a:lnTo>
                    <a:pt x="8850477" y="5996739"/>
                  </a:lnTo>
                  <a:lnTo>
                    <a:pt x="8850477" y="5986868"/>
                  </a:lnTo>
                  <a:close/>
                  <a:moveTo>
                    <a:pt x="8615184" y="5982829"/>
                  </a:moveTo>
                  <a:lnTo>
                    <a:pt x="8625095" y="5982829"/>
                  </a:lnTo>
                  <a:lnTo>
                    <a:pt x="8629114" y="5986868"/>
                  </a:lnTo>
                  <a:lnTo>
                    <a:pt x="8629114" y="5996739"/>
                  </a:lnTo>
                  <a:lnTo>
                    <a:pt x="8625095" y="6000778"/>
                  </a:lnTo>
                  <a:lnTo>
                    <a:pt x="8615184" y="6000778"/>
                  </a:lnTo>
                  <a:lnTo>
                    <a:pt x="8611165" y="5996739"/>
                  </a:lnTo>
                  <a:lnTo>
                    <a:pt x="8611165" y="5986868"/>
                  </a:lnTo>
                  <a:close/>
                  <a:moveTo>
                    <a:pt x="8375869" y="5982829"/>
                  </a:moveTo>
                  <a:lnTo>
                    <a:pt x="8385779" y="5982829"/>
                  </a:lnTo>
                  <a:lnTo>
                    <a:pt x="8389799" y="5986868"/>
                  </a:lnTo>
                  <a:lnTo>
                    <a:pt x="8389799" y="5996739"/>
                  </a:lnTo>
                  <a:lnTo>
                    <a:pt x="8385779" y="6000778"/>
                  </a:lnTo>
                  <a:lnTo>
                    <a:pt x="8375869" y="6000778"/>
                  </a:lnTo>
                  <a:lnTo>
                    <a:pt x="8371850" y="5996739"/>
                  </a:lnTo>
                  <a:lnTo>
                    <a:pt x="8371850" y="5986868"/>
                  </a:lnTo>
                  <a:close/>
                  <a:moveTo>
                    <a:pt x="8136553" y="5982829"/>
                  </a:moveTo>
                  <a:lnTo>
                    <a:pt x="8146464" y="5982829"/>
                  </a:lnTo>
                  <a:lnTo>
                    <a:pt x="8150483" y="5986868"/>
                  </a:lnTo>
                  <a:lnTo>
                    <a:pt x="8150483" y="5996739"/>
                  </a:lnTo>
                  <a:lnTo>
                    <a:pt x="8146464" y="6000778"/>
                  </a:lnTo>
                  <a:lnTo>
                    <a:pt x="8136553" y="6000778"/>
                  </a:lnTo>
                  <a:lnTo>
                    <a:pt x="8132534" y="5996739"/>
                  </a:lnTo>
                  <a:lnTo>
                    <a:pt x="8132534" y="5986868"/>
                  </a:lnTo>
                  <a:close/>
                  <a:moveTo>
                    <a:pt x="7897241" y="5982829"/>
                  </a:moveTo>
                  <a:lnTo>
                    <a:pt x="7907151" y="5982829"/>
                  </a:lnTo>
                  <a:lnTo>
                    <a:pt x="7911170" y="5986868"/>
                  </a:lnTo>
                  <a:lnTo>
                    <a:pt x="7911170" y="5996739"/>
                  </a:lnTo>
                  <a:lnTo>
                    <a:pt x="7907151" y="6000778"/>
                  </a:lnTo>
                  <a:lnTo>
                    <a:pt x="7897241" y="6000778"/>
                  </a:lnTo>
                  <a:lnTo>
                    <a:pt x="7893222" y="5996739"/>
                  </a:lnTo>
                  <a:lnTo>
                    <a:pt x="7893222" y="5986868"/>
                  </a:lnTo>
                  <a:close/>
                  <a:moveTo>
                    <a:pt x="7657926" y="5982829"/>
                  </a:moveTo>
                  <a:lnTo>
                    <a:pt x="7667836" y="5982829"/>
                  </a:lnTo>
                  <a:lnTo>
                    <a:pt x="7671855" y="5986868"/>
                  </a:lnTo>
                  <a:lnTo>
                    <a:pt x="7671855" y="5996739"/>
                  </a:lnTo>
                  <a:lnTo>
                    <a:pt x="7667836" y="6000778"/>
                  </a:lnTo>
                  <a:lnTo>
                    <a:pt x="7657926" y="6000778"/>
                  </a:lnTo>
                  <a:lnTo>
                    <a:pt x="7653906" y="5996739"/>
                  </a:lnTo>
                  <a:lnTo>
                    <a:pt x="7653906" y="5986868"/>
                  </a:lnTo>
                  <a:close/>
                  <a:moveTo>
                    <a:pt x="7418611" y="5982829"/>
                  </a:moveTo>
                  <a:lnTo>
                    <a:pt x="7428521" y="5982829"/>
                  </a:lnTo>
                  <a:lnTo>
                    <a:pt x="7432540" y="5986868"/>
                  </a:lnTo>
                  <a:lnTo>
                    <a:pt x="7432540" y="5996739"/>
                  </a:lnTo>
                  <a:lnTo>
                    <a:pt x="7428521" y="6000778"/>
                  </a:lnTo>
                  <a:lnTo>
                    <a:pt x="7418611" y="6000778"/>
                  </a:lnTo>
                  <a:lnTo>
                    <a:pt x="7414592" y="5996739"/>
                  </a:lnTo>
                  <a:lnTo>
                    <a:pt x="7414592" y="5986868"/>
                  </a:lnTo>
                  <a:close/>
                  <a:moveTo>
                    <a:pt x="7179298" y="5982829"/>
                  </a:moveTo>
                  <a:lnTo>
                    <a:pt x="7189209" y="5982829"/>
                  </a:lnTo>
                  <a:lnTo>
                    <a:pt x="7193228" y="5986868"/>
                  </a:lnTo>
                  <a:lnTo>
                    <a:pt x="7193228" y="5996739"/>
                  </a:lnTo>
                  <a:lnTo>
                    <a:pt x="7189209" y="6000778"/>
                  </a:lnTo>
                  <a:lnTo>
                    <a:pt x="7179298" y="6000778"/>
                  </a:lnTo>
                  <a:lnTo>
                    <a:pt x="7175279" y="5996739"/>
                  </a:lnTo>
                  <a:lnTo>
                    <a:pt x="7175279" y="5986868"/>
                  </a:lnTo>
                  <a:close/>
                  <a:moveTo>
                    <a:pt x="6939983" y="5982829"/>
                  </a:moveTo>
                  <a:lnTo>
                    <a:pt x="6949894" y="5982829"/>
                  </a:lnTo>
                  <a:lnTo>
                    <a:pt x="6953913" y="5986868"/>
                  </a:lnTo>
                  <a:lnTo>
                    <a:pt x="6953913" y="5996739"/>
                  </a:lnTo>
                  <a:lnTo>
                    <a:pt x="6949894" y="6000778"/>
                  </a:lnTo>
                  <a:lnTo>
                    <a:pt x="6939983" y="6000778"/>
                  </a:lnTo>
                  <a:lnTo>
                    <a:pt x="6935964" y="5996739"/>
                  </a:lnTo>
                  <a:lnTo>
                    <a:pt x="6935964" y="5986868"/>
                  </a:lnTo>
                  <a:close/>
                  <a:moveTo>
                    <a:pt x="6700670" y="5982829"/>
                  </a:moveTo>
                  <a:lnTo>
                    <a:pt x="6710581" y="5982829"/>
                  </a:lnTo>
                  <a:lnTo>
                    <a:pt x="6714600" y="5986868"/>
                  </a:lnTo>
                  <a:lnTo>
                    <a:pt x="6714600" y="5996739"/>
                  </a:lnTo>
                  <a:lnTo>
                    <a:pt x="6710581" y="6000778"/>
                  </a:lnTo>
                  <a:lnTo>
                    <a:pt x="6700670" y="6000778"/>
                  </a:lnTo>
                  <a:lnTo>
                    <a:pt x="6696651" y="5996739"/>
                  </a:lnTo>
                  <a:lnTo>
                    <a:pt x="6696651" y="5986868"/>
                  </a:lnTo>
                  <a:close/>
                  <a:moveTo>
                    <a:pt x="6461356" y="5982829"/>
                  </a:moveTo>
                  <a:lnTo>
                    <a:pt x="6471266" y="5982829"/>
                  </a:lnTo>
                  <a:lnTo>
                    <a:pt x="6475285" y="5986868"/>
                  </a:lnTo>
                  <a:lnTo>
                    <a:pt x="6475285" y="5996739"/>
                  </a:lnTo>
                  <a:lnTo>
                    <a:pt x="6471266" y="6000778"/>
                  </a:lnTo>
                  <a:lnTo>
                    <a:pt x="6461356" y="6000778"/>
                  </a:lnTo>
                  <a:lnTo>
                    <a:pt x="6457337" y="5996739"/>
                  </a:lnTo>
                  <a:lnTo>
                    <a:pt x="6457337" y="5986868"/>
                  </a:lnTo>
                  <a:close/>
                  <a:moveTo>
                    <a:pt x="6222042" y="5982829"/>
                  </a:moveTo>
                  <a:lnTo>
                    <a:pt x="6231952" y="5982829"/>
                  </a:lnTo>
                  <a:lnTo>
                    <a:pt x="6235971" y="5986868"/>
                  </a:lnTo>
                  <a:lnTo>
                    <a:pt x="6235971" y="5996739"/>
                  </a:lnTo>
                  <a:lnTo>
                    <a:pt x="6231952" y="6000778"/>
                  </a:lnTo>
                  <a:lnTo>
                    <a:pt x="6222042" y="6000778"/>
                  </a:lnTo>
                  <a:lnTo>
                    <a:pt x="6218023" y="5996739"/>
                  </a:lnTo>
                  <a:lnTo>
                    <a:pt x="6218023" y="5986868"/>
                  </a:lnTo>
                  <a:close/>
                  <a:moveTo>
                    <a:pt x="5982729" y="5982829"/>
                  </a:moveTo>
                  <a:lnTo>
                    <a:pt x="5992639" y="5982829"/>
                  </a:lnTo>
                  <a:lnTo>
                    <a:pt x="5996658" y="5986868"/>
                  </a:lnTo>
                  <a:lnTo>
                    <a:pt x="5996658" y="5996739"/>
                  </a:lnTo>
                  <a:lnTo>
                    <a:pt x="5992639" y="6000778"/>
                  </a:lnTo>
                  <a:lnTo>
                    <a:pt x="5982729" y="6000778"/>
                  </a:lnTo>
                  <a:lnTo>
                    <a:pt x="5978710" y="5996739"/>
                  </a:lnTo>
                  <a:lnTo>
                    <a:pt x="5978710" y="5986868"/>
                  </a:lnTo>
                  <a:close/>
                  <a:moveTo>
                    <a:pt x="5743412" y="5982829"/>
                  </a:moveTo>
                  <a:lnTo>
                    <a:pt x="5753323" y="5982829"/>
                  </a:lnTo>
                  <a:lnTo>
                    <a:pt x="5757342" y="5986868"/>
                  </a:lnTo>
                  <a:lnTo>
                    <a:pt x="5757342" y="5996739"/>
                  </a:lnTo>
                  <a:lnTo>
                    <a:pt x="5753323" y="6000778"/>
                  </a:lnTo>
                  <a:lnTo>
                    <a:pt x="5743412" y="6000778"/>
                  </a:lnTo>
                  <a:lnTo>
                    <a:pt x="5739393" y="5996739"/>
                  </a:lnTo>
                  <a:lnTo>
                    <a:pt x="5739393" y="5986868"/>
                  </a:lnTo>
                  <a:close/>
                  <a:moveTo>
                    <a:pt x="5504099" y="5982829"/>
                  </a:moveTo>
                  <a:lnTo>
                    <a:pt x="5514010" y="5982829"/>
                  </a:lnTo>
                  <a:lnTo>
                    <a:pt x="5518029" y="5986868"/>
                  </a:lnTo>
                  <a:lnTo>
                    <a:pt x="5518029" y="5996739"/>
                  </a:lnTo>
                  <a:lnTo>
                    <a:pt x="5514010" y="6000778"/>
                  </a:lnTo>
                  <a:lnTo>
                    <a:pt x="5504099" y="6000778"/>
                  </a:lnTo>
                  <a:lnTo>
                    <a:pt x="5500080" y="5996739"/>
                  </a:lnTo>
                  <a:lnTo>
                    <a:pt x="5500080" y="5986868"/>
                  </a:lnTo>
                  <a:close/>
                  <a:moveTo>
                    <a:pt x="5264784" y="5982829"/>
                  </a:moveTo>
                  <a:lnTo>
                    <a:pt x="5274694" y="5982829"/>
                  </a:lnTo>
                  <a:lnTo>
                    <a:pt x="5278713" y="5986868"/>
                  </a:lnTo>
                  <a:lnTo>
                    <a:pt x="5278713" y="5996739"/>
                  </a:lnTo>
                  <a:lnTo>
                    <a:pt x="5274694" y="6000778"/>
                  </a:lnTo>
                  <a:lnTo>
                    <a:pt x="5264784" y="6000778"/>
                  </a:lnTo>
                  <a:lnTo>
                    <a:pt x="5260765" y="5996739"/>
                  </a:lnTo>
                  <a:lnTo>
                    <a:pt x="5260765" y="5986868"/>
                  </a:lnTo>
                  <a:close/>
                  <a:moveTo>
                    <a:pt x="5025470" y="5982829"/>
                  </a:moveTo>
                  <a:lnTo>
                    <a:pt x="5035381" y="5982829"/>
                  </a:lnTo>
                  <a:lnTo>
                    <a:pt x="5039400" y="5986868"/>
                  </a:lnTo>
                  <a:lnTo>
                    <a:pt x="5039400" y="5996739"/>
                  </a:lnTo>
                  <a:lnTo>
                    <a:pt x="5035381" y="6000778"/>
                  </a:lnTo>
                  <a:lnTo>
                    <a:pt x="5025470" y="6000778"/>
                  </a:lnTo>
                  <a:lnTo>
                    <a:pt x="5021451" y="5996739"/>
                  </a:lnTo>
                  <a:lnTo>
                    <a:pt x="5021451" y="5986868"/>
                  </a:lnTo>
                  <a:close/>
                  <a:moveTo>
                    <a:pt x="4786241" y="5982829"/>
                  </a:moveTo>
                  <a:lnTo>
                    <a:pt x="4796152" y="5982829"/>
                  </a:lnTo>
                  <a:lnTo>
                    <a:pt x="4800171" y="5986868"/>
                  </a:lnTo>
                  <a:lnTo>
                    <a:pt x="4800171" y="5996739"/>
                  </a:lnTo>
                  <a:lnTo>
                    <a:pt x="4796152" y="6000778"/>
                  </a:lnTo>
                  <a:lnTo>
                    <a:pt x="4786241" y="6000778"/>
                  </a:lnTo>
                  <a:lnTo>
                    <a:pt x="4782224" y="5996739"/>
                  </a:lnTo>
                  <a:lnTo>
                    <a:pt x="4782224" y="5986868"/>
                  </a:lnTo>
                  <a:close/>
                  <a:moveTo>
                    <a:pt x="4546929" y="5982829"/>
                  </a:moveTo>
                  <a:lnTo>
                    <a:pt x="4556840" y="5982829"/>
                  </a:lnTo>
                  <a:lnTo>
                    <a:pt x="4560859" y="5986868"/>
                  </a:lnTo>
                  <a:lnTo>
                    <a:pt x="4560859" y="5996739"/>
                  </a:lnTo>
                  <a:lnTo>
                    <a:pt x="4556840" y="6000778"/>
                  </a:lnTo>
                  <a:lnTo>
                    <a:pt x="4546929" y="6000778"/>
                  </a:lnTo>
                  <a:lnTo>
                    <a:pt x="4542910" y="5996739"/>
                  </a:lnTo>
                  <a:lnTo>
                    <a:pt x="4542910" y="5986868"/>
                  </a:lnTo>
                  <a:close/>
                  <a:moveTo>
                    <a:pt x="4307612" y="5982829"/>
                  </a:moveTo>
                  <a:lnTo>
                    <a:pt x="4317523" y="5982829"/>
                  </a:lnTo>
                  <a:lnTo>
                    <a:pt x="4321543" y="5986868"/>
                  </a:lnTo>
                  <a:lnTo>
                    <a:pt x="4321543" y="5996739"/>
                  </a:lnTo>
                  <a:lnTo>
                    <a:pt x="4317523" y="6000778"/>
                  </a:lnTo>
                  <a:lnTo>
                    <a:pt x="4307612" y="6000778"/>
                  </a:lnTo>
                  <a:lnTo>
                    <a:pt x="4303595" y="5996739"/>
                  </a:lnTo>
                  <a:lnTo>
                    <a:pt x="4303595" y="5986868"/>
                  </a:lnTo>
                  <a:close/>
                  <a:moveTo>
                    <a:pt x="4068297" y="5982829"/>
                  </a:moveTo>
                  <a:lnTo>
                    <a:pt x="4078210" y="5982829"/>
                  </a:lnTo>
                  <a:lnTo>
                    <a:pt x="4082229" y="5986868"/>
                  </a:lnTo>
                  <a:lnTo>
                    <a:pt x="4082229" y="5996739"/>
                  </a:lnTo>
                  <a:lnTo>
                    <a:pt x="4078210" y="6000778"/>
                  </a:lnTo>
                  <a:lnTo>
                    <a:pt x="4068297" y="6000778"/>
                  </a:lnTo>
                  <a:lnTo>
                    <a:pt x="4064278" y="5996739"/>
                  </a:lnTo>
                  <a:lnTo>
                    <a:pt x="4064278" y="5986868"/>
                  </a:lnTo>
                  <a:close/>
                  <a:moveTo>
                    <a:pt x="3828990" y="5982829"/>
                  </a:moveTo>
                  <a:lnTo>
                    <a:pt x="3838899" y="5982829"/>
                  </a:lnTo>
                  <a:lnTo>
                    <a:pt x="3842917" y="5986868"/>
                  </a:lnTo>
                  <a:lnTo>
                    <a:pt x="3842917" y="5996739"/>
                  </a:lnTo>
                  <a:lnTo>
                    <a:pt x="3838899" y="6000778"/>
                  </a:lnTo>
                  <a:lnTo>
                    <a:pt x="3828990" y="6000778"/>
                  </a:lnTo>
                  <a:lnTo>
                    <a:pt x="3824971" y="5996739"/>
                  </a:lnTo>
                  <a:lnTo>
                    <a:pt x="3824971" y="5986868"/>
                  </a:lnTo>
                  <a:close/>
                  <a:moveTo>
                    <a:pt x="3589676" y="5982829"/>
                  </a:moveTo>
                  <a:lnTo>
                    <a:pt x="3599585" y="5982829"/>
                  </a:lnTo>
                  <a:lnTo>
                    <a:pt x="3603604" y="5986868"/>
                  </a:lnTo>
                  <a:lnTo>
                    <a:pt x="3603604" y="5996739"/>
                  </a:lnTo>
                  <a:lnTo>
                    <a:pt x="3599585" y="6000778"/>
                  </a:lnTo>
                  <a:lnTo>
                    <a:pt x="3589676" y="6000778"/>
                  </a:lnTo>
                  <a:lnTo>
                    <a:pt x="3585657" y="5996739"/>
                  </a:lnTo>
                  <a:lnTo>
                    <a:pt x="3585657" y="5986868"/>
                  </a:lnTo>
                  <a:close/>
                  <a:moveTo>
                    <a:pt x="3350359" y="5982829"/>
                  </a:moveTo>
                  <a:lnTo>
                    <a:pt x="3360268" y="5982829"/>
                  </a:lnTo>
                  <a:lnTo>
                    <a:pt x="3364287" y="5986868"/>
                  </a:lnTo>
                  <a:lnTo>
                    <a:pt x="3364287" y="5996739"/>
                  </a:lnTo>
                  <a:lnTo>
                    <a:pt x="3360268" y="6000778"/>
                  </a:lnTo>
                  <a:lnTo>
                    <a:pt x="3350359" y="6000778"/>
                  </a:lnTo>
                  <a:lnTo>
                    <a:pt x="3346340" y="5996739"/>
                  </a:lnTo>
                  <a:lnTo>
                    <a:pt x="3346340" y="5986868"/>
                  </a:lnTo>
                  <a:close/>
                  <a:moveTo>
                    <a:pt x="3111048" y="5982829"/>
                  </a:moveTo>
                  <a:lnTo>
                    <a:pt x="3120959" y="5982829"/>
                  </a:lnTo>
                  <a:lnTo>
                    <a:pt x="3124977" y="5986868"/>
                  </a:lnTo>
                  <a:lnTo>
                    <a:pt x="3124977" y="5996739"/>
                  </a:lnTo>
                  <a:lnTo>
                    <a:pt x="3120959" y="6000778"/>
                  </a:lnTo>
                  <a:lnTo>
                    <a:pt x="3111048" y="6000778"/>
                  </a:lnTo>
                  <a:lnTo>
                    <a:pt x="3107029" y="5996739"/>
                  </a:lnTo>
                  <a:lnTo>
                    <a:pt x="3107029" y="5986868"/>
                  </a:lnTo>
                  <a:close/>
                  <a:moveTo>
                    <a:pt x="2871737" y="5982829"/>
                  </a:moveTo>
                  <a:lnTo>
                    <a:pt x="2881646" y="5982829"/>
                  </a:lnTo>
                  <a:lnTo>
                    <a:pt x="2885666" y="5986868"/>
                  </a:lnTo>
                  <a:lnTo>
                    <a:pt x="2885666" y="5996739"/>
                  </a:lnTo>
                  <a:lnTo>
                    <a:pt x="2881646" y="6000778"/>
                  </a:lnTo>
                  <a:lnTo>
                    <a:pt x="2871737" y="6000778"/>
                  </a:lnTo>
                  <a:lnTo>
                    <a:pt x="2867717" y="5996739"/>
                  </a:lnTo>
                  <a:lnTo>
                    <a:pt x="2867717" y="5986868"/>
                  </a:lnTo>
                  <a:close/>
                  <a:moveTo>
                    <a:pt x="2632423" y="5982829"/>
                  </a:moveTo>
                  <a:lnTo>
                    <a:pt x="2642334" y="5982829"/>
                  </a:lnTo>
                  <a:lnTo>
                    <a:pt x="2646352" y="5986868"/>
                  </a:lnTo>
                  <a:lnTo>
                    <a:pt x="2646352" y="5996739"/>
                  </a:lnTo>
                  <a:lnTo>
                    <a:pt x="2642334" y="6000778"/>
                  </a:lnTo>
                  <a:lnTo>
                    <a:pt x="2632423" y="6000778"/>
                  </a:lnTo>
                  <a:lnTo>
                    <a:pt x="2628404" y="5996739"/>
                  </a:lnTo>
                  <a:lnTo>
                    <a:pt x="2628404" y="5986868"/>
                  </a:lnTo>
                  <a:close/>
                  <a:moveTo>
                    <a:pt x="2393104" y="5982829"/>
                  </a:moveTo>
                  <a:lnTo>
                    <a:pt x="2403015" y="5982829"/>
                  </a:lnTo>
                  <a:lnTo>
                    <a:pt x="2407034" y="5986868"/>
                  </a:lnTo>
                  <a:lnTo>
                    <a:pt x="2407034" y="5996739"/>
                  </a:lnTo>
                  <a:lnTo>
                    <a:pt x="2403015" y="6000778"/>
                  </a:lnTo>
                  <a:lnTo>
                    <a:pt x="2393104" y="6000778"/>
                  </a:lnTo>
                  <a:lnTo>
                    <a:pt x="2389087" y="5996739"/>
                  </a:lnTo>
                  <a:lnTo>
                    <a:pt x="2389087" y="5986868"/>
                  </a:lnTo>
                  <a:close/>
                  <a:moveTo>
                    <a:pt x="721960" y="5982829"/>
                  </a:moveTo>
                  <a:lnTo>
                    <a:pt x="731869" y="5982829"/>
                  </a:lnTo>
                  <a:lnTo>
                    <a:pt x="735888" y="5986868"/>
                  </a:lnTo>
                  <a:lnTo>
                    <a:pt x="735888" y="5996739"/>
                  </a:lnTo>
                  <a:lnTo>
                    <a:pt x="731869" y="6000778"/>
                  </a:lnTo>
                  <a:lnTo>
                    <a:pt x="721960" y="6000778"/>
                  </a:lnTo>
                  <a:lnTo>
                    <a:pt x="717940" y="5996739"/>
                  </a:lnTo>
                  <a:lnTo>
                    <a:pt x="717940" y="5986868"/>
                  </a:lnTo>
                  <a:close/>
                  <a:moveTo>
                    <a:pt x="482647" y="5982829"/>
                  </a:moveTo>
                  <a:lnTo>
                    <a:pt x="492557" y="5982829"/>
                  </a:lnTo>
                  <a:lnTo>
                    <a:pt x="496576" y="5986868"/>
                  </a:lnTo>
                  <a:lnTo>
                    <a:pt x="496576" y="5996739"/>
                  </a:lnTo>
                  <a:lnTo>
                    <a:pt x="492557" y="6000778"/>
                  </a:lnTo>
                  <a:lnTo>
                    <a:pt x="482647" y="6000778"/>
                  </a:lnTo>
                  <a:lnTo>
                    <a:pt x="478628" y="5996739"/>
                  </a:lnTo>
                  <a:lnTo>
                    <a:pt x="478628" y="5986868"/>
                  </a:lnTo>
                  <a:close/>
                  <a:moveTo>
                    <a:pt x="243334" y="5982829"/>
                  </a:moveTo>
                  <a:lnTo>
                    <a:pt x="253244" y="5982829"/>
                  </a:lnTo>
                  <a:lnTo>
                    <a:pt x="257263" y="5986868"/>
                  </a:lnTo>
                  <a:lnTo>
                    <a:pt x="257263" y="5996739"/>
                  </a:lnTo>
                  <a:lnTo>
                    <a:pt x="253244" y="6000778"/>
                  </a:lnTo>
                  <a:lnTo>
                    <a:pt x="243334" y="6000778"/>
                  </a:lnTo>
                  <a:lnTo>
                    <a:pt x="239315" y="5996739"/>
                  </a:lnTo>
                  <a:lnTo>
                    <a:pt x="239315" y="5986868"/>
                  </a:lnTo>
                  <a:close/>
                  <a:moveTo>
                    <a:pt x="4021" y="5982829"/>
                  </a:moveTo>
                  <a:lnTo>
                    <a:pt x="13931" y="5982829"/>
                  </a:lnTo>
                  <a:lnTo>
                    <a:pt x="17950" y="5986868"/>
                  </a:lnTo>
                  <a:lnTo>
                    <a:pt x="17950" y="5996739"/>
                  </a:lnTo>
                  <a:lnTo>
                    <a:pt x="13931" y="6000778"/>
                  </a:lnTo>
                  <a:lnTo>
                    <a:pt x="4021" y="6000778"/>
                  </a:lnTo>
                  <a:lnTo>
                    <a:pt x="1" y="5996739"/>
                  </a:lnTo>
                  <a:lnTo>
                    <a:pt x="1" y="5986868"/>
                  </a:lnTo>
                  <a:close/>
                  <a:moveTo>
                    <a:pt x="2157818" y="5743551"/>
                  </a:moveTo>
                  <a:lnTo>
                    <a:pt x="2167728" y="5743551"/>
                  </a:lnTo>
                  <a:lnTo>
                    <a:pt x="2171747" y="5747589"/>
                  </a:lnTo>
                  <a:lnTo>
                    <a:pt x="2171747" y="5757460"/>
                  </a:lnTo>
                  <a:lnTo>
                    <a:pt x="2167728" y="5761499"/>
                  </a:lnTo>
                  <a:lnTo>
                    <a:pt x="2157818" y="5761499"/>
                  </a:lnTo>
                  <a:lnTo>
                    <a:pt x="2153799" y="5757460"/>
                  </a:lnTo>
                  <a:lnTo>
                    <a:pt x="2153799" y="5747589"/>
                  </a:lnTo>
                  <a:close/>
                  <a:moveTo>
                    <a:pt x="1918510" y="5743551"/>
                  </a:moveTo>
                  <a:lnTo>
                    <a:pt x="1928420" y="5743551"/>
                  </a:lnTo>
                  <a:lnTo>
                    <a:pt x="1932438" y="5747589"/>
                  </a:lnTo>
                  <a:lnTo>
                    <a:pt x="1932438" y="5757460"/>
                  </a:lnTo>
                  <a:lnTo>
                    <a:pt x="1928420" y="5761499"/>
                  </a:lnTo>
                  <a:lnTo>
                    <a:pt x="1918510" y="5761499"/>
                  </a:lnTo>
                  <a:lnTo>
                    <a:pt x="1914490" y="5757460"/>
                  </a:lnTo>
                  <a:lnTo>
                    <a:pt x="1914490" y="5747589"/>
                  </a:lnTo>
                  <a:close/>
                  <a:moveTo>
                    <a:pt x="1679201" y="5743551"/>
                  </a:moveTo>
                  <a:lnTo>
                    <a:pt x="1689112" y="5743551"/>
                  </a:lnTo>
                  <a:lnTo>
                    <a:pt x="1693131" y="5747589"/>
                  </a:lnTo>
                  <a:lnTo>
                    <a:pt x="1693131" y="5757460"/>
                  </a:lnTo>
                  <a:lnTo>
                    <a:pt x="1689112" y="5761499"/>
                  </a:lnTo>
                  <a:lnTo>
                    <a:pt x="1679201" y="5761499"/>
                  </a:lnTo>
                  <a:lnTo>
                    <a:pt x="1675183" y="5757460"/>
                  </a:lnTo>
                  <a:lnTo>
                    <a:pt x="1675183" y="5747589"/>
                  </a:lnTo>
                  <a:close/>
                  <a:moveTo>
                    <a:pt x="1439886" y="5743551"/>
                  </a:moveTo>
                  <a:lnTo>
                    <a:pt x="1449797" y="5743551"/>
                  </a:lnTo>
                  <a:lnTo>
                    <a:pt x="1453815" y="5747589"/>
                  </a:lnTo>
                  <a:lnTo>
                    <a:pt x="1453815" y="5757460"/>
                  </a:lnTo>
                  <a:lnTo>
                    <a:pt x="1449797" y="5761499"/>
                  </a:lnTo>
                  <a:lnTo>
                    <a:pt x="1439886" y="5761499"/>
                  </a:lnTo>
                  <a:lnTo>
                    <a:pt x="1435868" y="5757460"/>
                  </a:lnTo>
                  <a:lnTo>
                    <a:pt x="1435868" y="5747589"/>
                  </a:lnTo>
                  <a:close/>
                  <a:moveTo>
                    <a:pt x="1200572" y="5743551"/>
                  </a:moveTo>
                  <a:lnTo>
                    <a:pt x="1210482" y="5743551"/>
                  </a:lnTo>
                  <a:lnTo>
                    <a:pt x="1214500" y="5747589"/>
                  </a:lnTo>
                  <a:lnTo>
                    <a:pt x="1214500" y="5757460"/>
                  </a:lnTo>
                  <a:lnTo>
                    <a:pt x="1210482" y="5761499"/>
                  </a:lnTo>
                  <a:lnTo>
                    <a:pt x="1200572" y="5761499"/>
                  </a:lnTo>
                  <a:lnTo>
                    <a:pt x="1196553" y="5757460"/>
                  </a:lnTo>
                  <a:lnTo>
                    <a:pt x="1196553" y="5747589"/>
                  </a:lnTo>
                  <a:close/>
                  <a:moveTo>
                    <a:pt x="961259" y="5743551"/>
                  </a:moveTo>
                  <a:lnTo>
                    <a:pt x="971169" y="5743551"/>
                  </a:lnTo>
                  <a:lnTo>
                    <a:pt x="975188" y="5747589"/>
                  </a:lnTo>
                  <a:lnTo>
                    <a:pt x="975188" y="5757460"/>
                  </a:lnTo>
                  <a:lnTo>
                    <a:pt x="971169" y="5761499"/>
                  </a:lnTo>
                  <a:lnTo>
                    <a:pt x="961259" y="5761499"/>
                  </a:lnTo>
                  <a:lnTo>
                    <a:pt x="957240" y="5757460"/>
                  </a:lnTo>
                  <a:lnTo>
                    <a:pt x="957240" y="5747589"/>
                  </a:lnTo>
                  <a:close/>
                  <a:moveTo>
                    <a:pt x="9572438" y="5743499"/>
                  </a:moveTo>
                  <a:lnTo>
                    <a:pt x="9582349" y="5743499"/>
                  </a:lnTo>
                  <a:lnTo>
                    <a:pt x="9586368" y="5747537"/>
                  </a:lnTo>
                  <a:lnTo>
                    <a:pt x="9586368" y="5757408"/>
                  </a:lnTo>
                  <a:lnTo>
                    <a:pt x="9582349" y="5761447"/>
                  </a:lnTo>
                  <a:lnTo>
                    <a:pt x="9572438" y="5761447"/>
                  </a:lnTo>
                  <a:lnTo>
                    <a:pt x="9568419" y="5757408"/>
                  </a:lnTo>
                  <a:lnTo>
                    <a:pt x="9568419" y="5747537"/>
                  </a:lnTo>
                  <a:close/>
                  <a:moveTo>
                    <a:pt x="9333125" y="5743499"/>
                  </a:moveTo>
                  <a:lnTo>
                    <a:pt x="9343036" y="5743499"/>
                  </a:lnTo>
                  <a:lnTo>
                    <a:pt x="9347055" y="5747537"/>
                  </a:lnTo>
                  <a:lnTo>
                    <a:pt x="9347055" y="5757408"/>
                  </a:lnTo>
                  <a:lnTo>
                    <a:pt x="9343036" y="5761447"/>
                  </a:lnTo>
                  <a:lnTo>
                    <a:pt x="9333125" y="5761447"/>
                  </a:lnTo>
                  <a:lnTo>
                    <a:pt x="9329106" y="5757408"/>
                  </a:lnTo>
                  <a:lnTo>
                    <a:pt x="9329106" y="5747537"/>
                  </a:lnTo>
                  <a:close/>
                  <a:moveTo>
                    <a:pt x="9093811" y="5743499"/>
                  </a:moveTo>
                  <a:lnTo>
                    <a:pt x="9103722" y="5743499"/>
                  </a:lnTo>
                  <a:lnTo>
                    <a:pt x="9107741" y="5747537"/>
                  </a:lnTo>
                  <a:lnTo>
                    <a:pt x="9107741" y="5757408"/>
                  </a:lnTo>
                  <a:lnTo>
                    <a:pt x="9103722" y="5761447"/>
                  </a:lnTo>
                  <a:lnTo>
                    <a:pt x="9093811" y="5761447"/>
                  </a:lnTo>
                  <a:lnTo>
                    <a:pt x="9089792" y="5757408"/>
                  </a:lnTo>
                  <a:lnTo>
                    <a:pt x="9089792" y="5747537"/>
                  </a:lnTo>
                  <a:close/>
                  <a:moveTo>
                    <a:pt x="8854496" y="5743499"/>
                  </a:moveTo>
                  <a:lnTo>
                    <a:pt x="8864407" y="5743499"/>
                  </a:lnTo>
                  <a:lnTo>
                    <a:pt x="8868426" y="5747537"/>
                  </a:lnTo>
                  <a:lnTo>
                    <a:pt x="8868426" y="5757408"/>
                  </a:lnTo>
                  <a:lnTo>
                    <a:pt x="8864407" y="5761447"/>
                  </a:lnTo>
                  <a:lnTo>
                    <a:pt x="8854496" y="5761447"/>
                  </a:lnTo>
                  <a:lnTo>
                    <a:pt x="8850477" y="5757408"/>
                  </a:lnTo>
                  <a:lnTo>
                    <a:pt x="8850477" y="5747537"/>
                  </a:lnTo>
                  <a:close/>
                  <a:moveTo>
                    <a:pt x="8615184" y="5743499"/>
                  </a:moveTo>
                  <a:lnTo>
                    <a:pt x="8625095" y="5743499"/>
                  </a:lnTo>
                  <a:lnTo>
                    <a:pt x="8629114" y="5747537"/>
                  </a:lnTo>
                  <a:lnTo>
                    <a:pt x="8629114" y="5757408"/>
                  </a:lnTo>
                  <a:lnTo>
                    <a:pt x="8625095" y="5761447"/>
                  </a:lnTo>
                  <a:lnTo>
                    <a:pt x="8615184" y="5761447"/>
                  </a:lnTo>
                  <a:lnTo>
                    <a:pt x="8611165" y="5757408"/>
                  </a:lnTo>
                  <a:lnTo>
                    <a:pt x="8611165" y="5747537"/>
                  </a:lnTo>
                  <a:close/>
                  <a:moveTo>
                    <a:pt x="8375869" y="5743499"/>
                  </a:moveTo>
                  <a:lnTo>
                    <a:pt x="8385779" y="5743499"/>
                  </a:lnTo>
                  <a:lnTo>
                    <a:pt x="8389799" y="5747537"/>
                  </a:lnTo>
                  <a:lnTo>
                    <a:pt x="8389799" y="5757408"/>
                  </a:lnTo>
                  <a:lnTo>
                    <a:pt x="8385779" y="5761447"/>
                  </a:lnTo>
                  <a:lnTo>
                    <a:pt x="8375869" y="5761447"/>
                  </a:lnTo>
                  <a:lnTo>
                    <a:pt x="8371850" y="5757408"/>
                  </a:lnTo>
                  <a:lnTo>
                    <a:pt x="8371850" y="5747537"/>
                  </a:lnTo>
                  <a:close/>
                  <a:moveTo>
                    <a:pt x="8136553" y="5743499"/>
                  </a:moveTo>
                  <a:lnTo>
                    <a:pt x="8146464" y="5743499"/>
                  </a:lnTo>
                  <a:lnTo>
                    <a:pt x="8150483" y="5747537"/>
                  </a:lnTo>
                  <a:lnTo>
                    <a:pt x="8150483" y="5757408"/>
                  </a:lnTo>
                  <a:lnTo>
                    <a:pt x="8146464" y="5761447"/>
                  </a:lnTo>
                  <a:lnTo>
                    <a:pt x="8136553" y="5761447"/>
                  </a:lnTo>
                  <a:lnTo>
                    <a:pt x="8132534" y="5757408"/>
                  </a:lnTo>
                  <a:lnTo>
                    <a:pt x="8132534" y="5747537"/>
                  </a:lnTo>
                  <a:close/>
                  <a:moveTo>
                    <a:pt x="7897241" y="5743499"/>
                  </a:moveTo>
                  <a:lnTo>
                    <a:pt x="7907151" y="5743499"/>
                  </a:lnTo>
                  <a:lnTo>
                    <a:pt x="7911170" y="5747537"/>
                  </a:lnTo>
                  <a:lnTo>
                    <a:pt x="7911170" y="5757408"/>
                  </a:lnTo>
                  <a:lnTo>
                    <a:pt x="7907151" y="5761447"/>
                  </a:lnTo>
                  <a:lnTo>
                    <a:pt x="7897241" y="5761447"/>
                  </a:lnTo>
                  <a:lnTo>
                    <a:pt x="7893222" y="5757408"/>
                  </a:lnTo>
                  <a:lnTo>
                    <a:pt x="7893222" y="5747537"/>
                  </a:lnTo>
                  <a:close/>
                  <a:moveTo>
                    <a:pt x="7657926" y="5743499"/>
                  </a:moveTo>
                  <a:lnTo>
                    <a:pt x="7667836" y="5743499"/>
                  </a:lnTo>
                  <a:lnTo>
                    <a:pt x="7671855" y="5747537"/>
                  </a:lnTo>
                  <a:lnTo>
                    <a:pt x="7671855" y="5757408"/>
                  </a:lnTo>
                  <a:lnTo>
                    <a:pt x="7667836" y="5761447"/>
                  </a:lnTo>
                  <a:lnTo>
                    <a:pt x="7657926" y="5761447"/>
                  </a:lnTo>
                  <a:lnTo>
                    <a:pt x="7653906" y="5757408"/>
                  </a:lnTo>
                  <a:lnTo>
                    <a:pt x="7653906" y="5747537"/>
                  </a:lnTo>
                  <a:close/>
                  <a:moveTo>
                    <a:pt x="7418611" y="5743499"/>
                  </a:moveTo>
                  <a:lnTo>
                    <a:pt x="7428521" y="5743499"/>
                  </a:lnTo>
                  <a:lnTo>
                    <a:pt x="7432540" y="5747537"/>
                  </a:lnTo>
                  <a:lnTo>
                    <a:pt x="7432540" y="5757408"/>
                  </a:lnTo>
                  <a:lnTo>
                    <a:pt x="7428521" y="5761447"/>
                  </a:lnTo>
                  <a:lnTo>
                    <a:pt x="7418611" y="5761447"/>
                  </a:lnTo>
                  <a:lnTo>
                    <a:pt x="7414592" y="5757408"/>
                  </a:lnTo>
                  <a:lnTo>
                    <a:pt x="7414592" y="5747537"/>
                  </a:lnTo>
                  <a:close/>
                  <a:moveTo>
                    <a:pt x="7179298" y="5743499"/>
                  </a:moveTo>
                  <a:lnTo>
                    <a:pt x="7189209" y="5743499"/>
                  </a:lnTo>
                  <a:lnTo>
                    <a:pt x="7193228" y="5747537"/>
                  </a:lnTo>
                  <a:lnTo>
                    <a:pt x="7193228" y="5757408"/>
                  </a:lnTo>
                  <a:lnTo>
                    <a:pt x="7189209" y="5761447"/>
                  </a:lnTo>
                  <a:lnTo>
                    <a:pt x="7179298" y="5761447"/>
                  </a:lnTo>
                  <a:lnTo>
                    <a:pt x="7175279" y="5757408"/>
                  </a:lnTo>
                  <a:lnTo>
                    <a:pt x="7175279" y="5747537"/>
                  </a:lnTo>
                  <a:close/>
                  <a:moveTo>
                    <a:pt x="6939983" y="5743499"/>
                  </a:moveTo>
                  <a:lnTo>
                    <a:pt x="6949894" y="5743499"/>
                  </a:lnTo>
                  <a:lnTo>
                    <a:pt x="6953913" y="5747537"/>
                  </a:lnTo>
                  <a:lnTo>
                    <a:pt x="6953913" y="5757408"/>
                  </a:lnTo>
                  <a:lnTo>
                    <a:pt x="6949894" y="5761447"/>
                  </a:lnTo>
                  <a:lnTo>
                    <a:pt x="6939983" y="5761447"/>
                  </a:lnTo>
                  <a:lnTo>
                    <a:pt x="6935964" y="5757408"/>
                  </a:lnTo>
                  <a:lnTo>
                    <a:pt x="6935964" y="5747537"/>
                  </a:lnTo>
                  <a:close/>
                  <a:moveTo>
                    <a:pt x="6700670" y="5743499"/>
                  </a:moveTo>
                  <a:lnTo>
                    <a:pt x="6710581" y="5743499"/>
                  </a:lnTo>
                  <a:lnTo>
                    <a:pt x="6714600" y="5747537"/>
                  </a:lnTo>
                  <a:lnTo>
                    <a:pt x="6714600" y="5757408"/>
                  </a:lnTo>
                  <a:lnTo>
                    <a:pt x="6710581" y="5761447"/>
                  </a:lnTo>
                  <a:lnTo>
                    <a:pt x="6700670" y="5761447"/>
                  </a:lnTo>
                  <a:lnTo>
                    <a:pt x="6696651" y="5757408"/>
                  </a:lnTo>
                  <a:lnTo>
                    <a:pt x="6696651" y="5747537"/>
                  </a:lnTo>
                  <a:close/>
                  <a:moveTo>
                    <a:pt x="6461356" y="5743499"/>
                  </a:moveTo>
                  <a:lnTo>
                    <a:pt x="6471266" y="5743499"/>
                  </a:lnTo>
                  <a:lnTo>
                    <a:pt x="6475285" y="5747537"/>
                  </a:lnTo>
                  <a:lnTo>
                    <a:pt x="6475285" y="5757408"/>
                  </a:lnTo>
                  <a:lnTo>
                    <a:pt x="6471266" y="5761447"/>
                  </a:lnTo>
                  <a:lnTo>
                    <a:pt x="6461356" y="5761447"/>
                  </a:lnTo>
                  <a:lnTo>
                    <a:pt x="6457337" y="5757408"/>
                  </a:lnTo>
                  <a:lnTo>
                    <a:pt x="6457337" y="5747537"/>
                  </a:lnTo>
                  <a:close/>
                  <a:moveTo>
                    <a:pt x="6222042" y="5743499"/>
                  </a:moveTo>
                  <a:lnTo>
                    <a:pt x="6231952" y="5743499"/>
                  </a:lnTo>
                  <a:lnTo>
                    <a:pt x="6235971" y="5747537"/>
                  </a:lnTo>
                  <a:lnTo>
                    <a:pt x="6235971" y="5757408"/>
                  </a:lnTo>
                  <a:lnTo>
                    <a:pt x="6231952" y="5761447"/>
                  </a:lnTo>
                  <a:lnTo>
                    <a:pt x="6222042" y="5761447"/>
                  </a:lnTo>
                  <a:lnTo>
                    <a:pt x="6218023" y="5757408"/>
                  </a:lnTo>
                  <a:lnTo>
                    <a:pt x="6218023" y="5747537"/>
                  </a:lnTo>
                  <a:close/>
                  <a:moveTo>
                    <a:pt x="5982729" y="5743499"/>
                  </a:moveTo>
                  <a:lnTo>
                    <a:pt x="5992639" y="5743499"/>
                  </a:lnTo>
                  <a:lnTo>
                    <a:pt x="5996658" y="5747537"/>
                  </a:lnTo>
                  <a:lnTo>
                    <a:pt x="5996658" y="5757408"/>
                  </a:lnTo>
                  <a:lnTo>
                    <a:pt x="5992639" y="5761447"/>
                  </a:lnTo>
                  <a:lnTo>
                    <a:pt x="5982729" y="5761447"/>
                  </a:lnTo>
                  <a:lnTo>
                    <a:pt x="5978710" y="5757408"/>
                  </a:lnTo>
                  <a:lnTo>
                    <a:pt x="5978710" y="5747537"/>
                  </a:lnTo>
                  <a:close/>
                  <a:moveTo>
                    <a:pt x="5743412" y="5743499"/>
                  </a:moveTo>
                  <a:lnTo>
                    <a:pt x="5753323" y="5743499"/>
                  </a:lnTo>
                  <a:lnTo>
                    <a:pt x="5757342" y="5747537"/>
                  </a:lnTo>
                  <a:lnTo>
                    <a:pt x="5757342" y="5757408"/>
                  </a:lnTo>
                  <a:lnTo>
                    <a:pt x="5753323" y="5761447"/>
                  </a:lnTo>
                  <a:lnTo>
                    <a:pt x="5743412" y="5761447"/>
                  </a:lnTo>
                  <a:lnTo>
                    <a:pt x="5739393" y="5757408"/>
                  </a:lnTo>
                  <a:lnTo>
                    <a:pt x="5739393" y="5747537"/>
                  </a:lnTo>
                  <a:close/>
                  <a:moveTo>
                    <a:pt x="5504099" y="5743499"/>
                  </a:moveTo>
                  <a:lnTo>
                    <a:pt x="5514010" y="5743499"/>
                  </a:lnTo>
                  <a:lnTo>
                    <a:pt x="5518029" y="5747537"/>
                  </a:lnTo>
                  <a:lnTo>
                    <a:pt x="5518029" y="5757408"/>
                  </a:lnTo>
                  <a:lnTo>
                    <a:pt x="5514010" y="5761447"/>
                  </a:lnTo>
                  <a:lnTo>
                    <a:pt x="5504099" y="5761447"/>
                  </a:lnTo>
                  <a:lnTo>
                    <a:pt x="5500080" y="5757408"/>
                  </a:lnTo>
                  <a:lnTo>
                    <a:pt x="5500080" y="5747537"/>
                  </a:lnTo>
                  <a:close/>
                  <a:moveTo>
                    <a:pt x="5264784" y="5743499"/>
                  </a:moveTo>
                  <a:lnTo>
                    <a:pt x="5274694" y="5743499"/>
                  </a:lnTo>
                  <a:lnTo>
                    <a:pt x="5278713" y="5747537"/>
                  </a:lnTo>
                  <a:lnTo>
                    <a:pt x="5278713" y="5757408"/>
                  </a:lnTo>
                  <a:lnTo>
                    <a:pt x="5274694" y="5761447"/>
                  </a:lnTo>
                  <a:lnTo>
                    <a:pt x="5264784" y="5761447"/>
                  </a:lnTo>
                  <a:lnTo>
                    <a:pt x="5260765" y="5757408"/>
                  </a:lnTo>
                  <a:lnTo>
                    <a:pt x="5260765" y="5747537"/>
                  </a:lnTo>
                  <a:close/>
                  <a:moveTo>
                    <a:pt x="5025470" y="5743499"/>
                  </a:moveTo>
                  <a:lnTo>
                    <a:pt x="5035381" y="5743499"/>
                  </a:lnTo>
                  <a:lnTo>
                    <a:pt x="5039400" y="5747537"/>
                  </a:lnTo>
                  <a:lnTo>
                    <a:pt x="5039400" y="5757408"/>
                  </a:lnTo>
                  <a:lnTo>
                    <a:pt x="5035381" y="5761447"/>
                  </a:lnTo>
                  <a:lnTo>
                    <a:pt x="5025470" y="5761447"/>
                  </a:lnTo>
                  <a:lnTo>
                    <a:pt x="5021451" y="5757408"/>
                  </a:lnTo>
                  <a:lnTo>
                    <a:pt x="5021451" y="5747537"/>
                  </a:lnTo>
                  <a:close/>
                  <a:moveTo>
                    <a:pt x="4786241" y="5743499"/>
                  </a:moveTo>
                  <a:lnTo>
                    <a:pt x="4796152" y="5743499"/>
                  </a:lnTo>
                  <a:lnTo>
                    <a:pt x="4800171" y="5747537"/>
                  </a:lnTo>
                  <a:lnTo>
                    <a:pt x="4800171" y="5757408"/>
                  </a:lnTo>
                  <a:lnTo>
                    <a:pt x="4796152" y="5761447"/>
                  </a:lnTo>
                  <a:lnTo>
                    <a:pt x="4786241" y="5761447"/>
                  </a:lnTo>
                  <a:lnTo>
                    <a:pt x="4782224" y="5757408"/>
                  </a:lnTo>
                  <a:lnTo>
                    <a:pt x="4782224" y="5747537"/>
                  </a:lnTo>
                  <a:close/>
                  <a:moveTo>
                    <a:pt x="4546929" y="5743499"/>
                  </a:moveTo>
                  <a:lnTo>
                    <a:pt x="4556840" y="5743499"/>
                  </a:lnTo>
                  <a:lnTo>
                    <a:pt x="4560859" y="5747537"/>
                  </a:lnTo>
                  <a:lnTo>
                    <a:pt x="4560859" y="5757408"/>
                  </a:lnTo>
                  <a:lnTo>
                    <a:pt x="4556840" y="5761447"/>
                  </a:lnTo>
                  <a:lnTo>
                    <a:pt x="4546929" y="5761447"/>
                  </a:lnTo>
                  <a:lnTo>
                    <a:pt x="4542910" y="5757408"/>
                  </a:lnTo>
                  <a:lnTo>
                    <a:pt x="4542910" y="5747537"/>
                  </a:lnTo>
                  <a:close/>
                  <a:moveTo>
                    <a:pt x="4307612" y="5743499"/>
                  </a:moveTo>
                  <a:lnTo>
                    <a:pt x="4317523" y="5743499"/>
                  </a:lnTo>
                  <a:lnTo>
                    <a:pt x="4321543" y="5747537"/>
                  </a:lnTo>
                  <a:lnTo>
                    <a:pt x="4321543" y="5757408"/>
                  </a:lnTo>
                  <a:lnTo>
                    <a:pt x="4317523" y="5761447"/>
                  </a:lnTo>
                  <a:lnTo>
                    <a:pt x="4307612" y="5761447"/>
                  </a:lnTo>
                  <a:lnTo>
                    <a:pt x="4303595" y="5757408"/>
                  </a:lnTo>
                  <a:lnTo>
                    <a:pt x="4303595" y="5747537"/>
                  </a:lnTo>
                  <a:close/>
                  <a:moveTo>
                    <a:pt x="4068297" y="5743499"/>
                  </a:moveTo>
                  <a:lnTo>
                    <a:pt x="4078210" y="5743499"/>
                  </a:lnTo>
                  <a:lnTo>
                    <a:pt x="4082229" y="5747537"/>
                  </a:lnTo>
                  <a:lnTo>
                    <a:pt x="4082229" y="5757408"/>
                  </a:lnTo>
                  <a:lnTo>
                    <a:pt x="4078210" y="5761447"/>
                  </a:lnTo>
                  <a:lnTo>
                    <a:pt x="4068297" y="5761447"/>
                  </a:lnTo>
                  <a:lnTo>
                    <a:pt x="4064278" y="5757408"/>
                  </a:lnTo>
                  <a:lnTo>
                    <a:pt x="4064278" y="5747537"/>
                  </a:lnTo>
                  <a:close/>
                  <a:moveTo>
                    <a:pt x="3828990" y="5743499"/>
                  </a:moveTo>
                  <a:lnTo>
                    <a:pt x="3838899" y="5743499"/>
                  </a:lnTo>
                  <a:lnTo>
                    <a:pt x="3842917" y="5747537"/>
                  </a:lnTo>
                  <a:lnTo>
                    <a:pt x="3842917" y="5757408"/>
                  </a:lnTo>
                  <a:lnTo>
                    <a:pt x="3838899" y="5761447"/>
                  </a:lnTo>
                  <a:lnTo>
                    <a:pt x="3828990" y="5761447"/>
                  </a:lnTo>
                  <a:lnTo>
                    <a:pt x="3824971" y="5757408"/>
                  </a:lnTo>
                  <a:lnTo>
                    <a:pt x="3824971" y="5747537"/>
                  </a:lnTo>
                  <a:close/>
                  <a:moveTo>
                    <a:pt x="3589676" y="5743499"/>
                  </a:moveTo>
                  <a:lnTo>
                    <a:pt x="3599585" y="5743499"/>
                  </a:lnTo>
                  <a:lnTo>
                    <a:pt x="3603604" y="5747537"/>
                  </a:lnTo>
                  <a:lnTo>
                    <a:pt x="3603604" y="5757408"/>
                  </a:lnTo>
                  <a:lnTo>
                    <a:pt x="3599585" y="5761447"/>
                  </a:lnTo>
                  <a:lnTo>
                    <a:pt x="3589676" y="5761447"/>
                  </a:lnTo>
                  <a:lnTo>
                    <a:pt x="3585657" y="5757408"/>
                  </a:lnTo>
                  <a:lnTo>
                    <a:pt x="3585657" y="5747537"/>
                  </a:lnTo>
                  <a:close/>
                  <a:moveTo>
                    <a:pt x="3350359" y="5743499"/>
                  </a:moveTo>
                  <a:lnTo>
                    <a:pt x="3360268" y="5743499"/>
                  </a:lnTo>
                  <a:lnTo>
                    <a:pt x="3364287" y="5747537"/>
                  </a:lnTo>
                  <a:lnTo>
                    <a:pt x="3364287" y="5757408"/>
                  </a:lnTo>
                  <a:lnTo>
                    <a:pt x="3360268" y="5761447"/>
                  </a:lnTo>
                  <a:lnTo>
                    <a:pt x="3350359" y="5761447"/>
                  </a:lnTo>
                  <a:lnTo>
                    <a:pt x="3346340" y="5757408"/>
                  </a:lnTo>
                  <a:lnTo>
                    <a:pt x="3346340" y="5747537"/>
                  </a:lnTo>
                  <a:close/>
                  <a:moveTo>
                    <a:pt x="3111048" y="5743499"/>
                  </a:moveTo>
                  <a:lnTo>
                    <a:pt x="3120959" y="5743499"/>
                  </a:lnTo>
                  <a:lnTo>
                    <a:pt x="3124977" y="5747537"/>
                  </a:lnTo>
                  <a:lnTo>
                    <a:pt x="3124977" y="5757408"/>
                  </a:lnTo>
                  <a:lnTo>
                    <a:pt x="3120959" y="5761447"/>
                  </a:lnTo>
                  <a:lnTo>
                    <a:pt x="3111048" y="5761447"/>
                  </a:lnTo>
                  <a:lnTo>
                    <a:pt x="3107029" y="5757408"/>
                  </a:lnTo>
                  <a:lnTo>
                    <a:pt x="3107029" y="5747537"/>
                  </a:lnTo>
                  <a:close/>
                  <a:moveTo>
                    <a:pt x="2871737" y="5743499"/>
                  </a:moveTo>
                  <a:lnTo>
                    <a:pt x="2881646" y="5743499"/>
                  </a:lnTo>
                  <a:lnTo>
                    <a:pt x="2885666" y="5747537"/>
                  </a:lnTo>
                  <a:lnTo>
                    <a:pt x="2885666" y="5757408"/>
                  </a:lnTo>
                  <a:lnTo>
                    <a:pt x="2881646" y="5761447"/>
                  </a:lnTo>
                  <a:lnTo>
                    <a:pt x="2871737" y="5761447"/>
                  </a:lnTo>
                  <a:lnTo>
                    <a:pt x="2867717" y="5757408"/>
                  </a:lnTo>
                  <a:lnTo>
                    <a:pt x="2867717" y="5747537"/>
                  </a:lnTo>
                  <a:close/>
                  <a:moveTo>
                    <a:pt x="2632423" y="5743499"/>
                  </a:moveTo>
                  <a:lnTo>
                    <a:pt x="2642334" y="5743499"/>
                  </a:lnTo>
                  <a:lnTo>
                    <a:pt x="2646352" y="5747537"/>
                  </a:lnTo>
                  <a:lnTo>
                    <a:pt x="2646352" y="5757408"/>
                  </a:lnTo>
                  <a:lnTo>
                    <a:pt x="2642334" y="5761447"/>
                  </a:lnTo>
                  <a:lnTo>
                    <a:pt x="2632423" y="5761447"/>
                  </a:lnTo>
                  <a:lnTo>
                    <a:pt x="2628404" y="5757408"/>
                  </a:lnTo>
                  <a:lnTo>
                    <a:pt x="2628404" y="5747537"/>
                  </a:lnTo>
                  <a:close/>
                  <a:moveTo>
                    <a:pt x="2393104" y="5743499"/>
                  </a:moveTo>
                  <a:lnTo>
                    <a:pt x="2403015" y="5743499"/>
                  </a:lnTo>
                  <a:lnTo>
                    <a:pt x="2407034" y="5747537"/>
                  </a:lnTo>
                  <a:lnTo>
                    <a:pt x="2407034" y="5757408"/>
                  </a:lnTo>
                  <a:lnTo>
                    <a:pt x="2403015" y="5761447"/>
                  </a:lnTo>
                  <a:lnTo>
                    <a:pt x="2393104" y="5761447"/>
                  </a:lnTo>
                  <a:lnTo>
                    <a:pt x="2389087" y="5757408"/>
                  </a:lnTo>
                  <a:lnTo>
                    <a:pt x="2389087" y="5747537"/>
                  </a:lnTo>
                  <a:close/>
                  <a:moveTo>
                    <a:pt x="721960" y="5743499"/>
                  </a:moveTo>
                  <a:lnTo>
                    <a:pt x="731871" y="5743499"/>
                  </a:lnTo>
                  <a:lnTo>
                    <a:pt x="735889" y="5747537"/>
                  </a:lnTo>
                  <a:lnTo>
                    <a:pt x="735889" y="5757408"/>
                  </a:lnTo>
                  <a:lnTo>
                    <a:pt x="731871" y="5761447"/>
                  </a:lnTo>
                  <a:lnTo>
                    <a:pt x="721960" y="5761447"/>
                  </a:lnTo>
                  <a:lnTo>
                    <a:pt x="717941" y="5757408"/>
                  </a:lnTo>
                  <a:lnTo>
                    <a:pt x="717941" y="5747537"/>
                  </a:lnTo>
                  <a:close/>
                  <a:moveTo>
                    <a:pt x="482648" y="5743499"/>
                  </a:moveTo>
                  <a:lnTo>
                    <a:pt x="492558" y="5743499"/>
                  </a:lnTo>
                  <a:lnTo>
                    <a:pt x="496578" y="5747537"/>
                  </a:lnTo>
                  <a:lnTo>
                    <a:pt x="496578" y="5757408"/>
                  </a:lnTo>
                  <a:lnTo>
                    <a:pt x="492558" y="5761447"/>
                  </a:lnTo>
                  <a:lnTo>
                    <a:pt x="482648" y="5761447"/>
                  </a:lnTo>
                  <a:lnTo>
                    <a:pt x="478629" y="5757408"/>
                  </a:lnTo>
                  <a:lnTo>
                    <a:pt x="478629" y="5747537"/>
                  </a:lnTo>
                  <a:close/>
                  <a:moveTo>
                    <a:pt x="243334" y="5743499"/>
                  </a:moveTo>
                  <a:lnTo>
                    <a:pt x="253245" y="5743499"/>
                  </a:lnTo>
                  <a:lnTo>
                    <a:pt x="257264" y="5747537"/>
                  </a:lnTo>
                  <a:lnTo>
                    <a:pt x="257264" y="5757408"/>
                  </a:lnTo>
                  <a:lnTo>
                    <a:pt x="253245" y="5761447"/>
                  </a:lnTo>
                  <a:lnTo>
                    <a:pt x="243334" y="5761447"/>
                  </a:lnTo>
                  <a:lnTo>
                    <a:pt x="239315" y="5757408"/>
                  </a:lnTo>
                  <a:lnTo>
                    <a:pt x="239315" y="5747537"/>
                  </a:lnTo>
                  <a:close/>
                  <a:moveTo>
                    <a:pt x="4021" y="5743499"/>
                  </a:moveTo>
                  <a:lnTo>
                    <a:pt x="13932" y="5743499"/>
                  </a:lnTo>
                  <a:lnTo>
                    <a:pt x="17950" y="5747537"/>
                  </a:lnTo>
                  <a:lnTo>
                    <a:pt x="17950" y="5757408"/>
                  </a:lnTo>
                  <a:lnTo>
                    <a:pt x="13932" y="5761447"/>
                  </a:lnTo>
                  <a:lnTo>
                    <a:pt x="4021" y="5761447"/>
                  </a:lnTo>
                  <a:lnTo>
                    <a:pt x="2" y="5757408"/>
                  </a:lnTo>
                  <a:lnTo>
                    <a:pt x="2" y="5747537"/>
                  </a:lnTo>
                  <a:close/>
                  <a:moveTo>
                    <a:pt x="9572438" y="5504220"/>
                  </a:moveTo>
                  <a:lnTo>
                    <a:pt x="9582349" y="5504220"/>
                  </a:lnTo>
                  <a:lnTo>
                    <a:pt x="9586368" y="5508258"/>
                  </a:lnTo>
                  <a:lnTo>
                    <a:pt x="9586368" y="5518129"/>
                  </a:lnTo>
                  <a:lnTo>
                    <a:pt x="9582349" y="5522168"/>
                  </a:lnTo>
                  <a:lnTo>
                    <a:pt x="9572438" y="5522168"/>
                  </a:lnTo>
                  <a:lnTo>
                    <a:pt x="9568419" y="5518129"/>
                  </a:lnTo>
                  <a:lnTo>
                    <a:pt x="9568419" y="5508258"/>
                  </a:lnTo>
                  <a:close/>
                  <a:moveTo>
                    <a:pt x="9333125" y="5504220"/>
                  </a:moveTo>
                  <a:lnTo>
                    <a:pt x="9343036" y="5504220"/>
                  </a:lnTo>
                  <a:lnTo>
                    <a:pt x="9347055" y="5508258"/>
                  </a:lnTo>
                  <a:lnTo>
                    <a:pt x="9347055" y="5518129"/>
                  </a:lnTo>
                  <a:lnTo>
                    <a:pt x="9343036" y="5522168"/>
                  </a:lnTo>
                  <a:lnTo>
                    <a:pt x="9333125" y="5522168"/>
                  </a:lnTo>
                  <a:lnTo>
                    <a:pt x="9329106" y="5518129"/>
                  </a:lnTo>
                  <a:lnTo>
                    <a:pt x="9329106" y="5508258"/>
                  </a:lnTo>
                  <a:close/>
                  <a:moveTo>
                    <a:pt x="9093811" y="5504220"/>
                  </a:moveTo>
                  <a:lnTo>
                    <a:pt x="9103722" y="5504220"/>
                  </a:lnTo>
                  <a:lnTo>
                    <a:pt x="9107741" y="5508258"/>
                  </a:lnTo>
                  <a:lnTo>
                    <a:pt x="9107741" y="5518129"/>
                  </a:lnTo>
                  <a:lnTo>
                    <a:pt x="9103722" y="5522168"/>
                  </a:lnTo>
                  <a:lnTo>
                    <a:pt x="9093811" y="5522168"/>
                  </a:lnTo>
                  <a:lnTo>
                    <a:pt x="9089792" y="5518129"/>
                  </a:lnTo>
                  <a:lnTo>
                    <a:pt x="9089792" y="5508258"/>
                  </a:lnTo>
                  <a:close/>
                  <a:moveTo>
                    <a:pt x="8854496" y="5504220"/>
                  </a:moveTo>
                  <a:lnTo>
                    <a:pt x="8864407" y="5504220"/>
                  </a:lnTo>
                  <a:lnTo>
                    <a:pt x="8868426" y="5508258"/>
                  </a:lnTo>
                  <a:lnTo>
                    <a:pt x="8868426" y="5518129"/>
                  </a:lnTo>
                  <a:lnTo>
                    <a:pt x="8864407" y="5522168"/>
                  </a:lnTo>
                  <a:lnTo>
                    <a:pt x="8854496" y="5522168"/>
                  </a:lnTo>
                  <a:lnTo>
                    <a:pt x="8850477" y="5518129"/>
                  </a:lnTo>
                  <a:lnTo>
                    <a:pt x="8850477" y="5508258"/>
                  </a:lnTo>
                  <a:close/>
                  <a:moveTo>
                    <a:pt x="8615184" y="5504220"/>
                  </a:moveTo>
                  <a:lnTo>
                    <a:pt x="8625095" y="5504220"/>
                  </a:lnTo>
                  <a:lnTo>
                    <a:pt x="8629114" y="5508258"/>
                  </a:lnTo>
                  <a:lnTo>
                    <a:pt x="8629114" y="5518129"/>
                  </a:lnTo>
                  <a:lnTo>
                    <a:pt x="8625095" y="5522168"/>
                  </a:lnTo>
                  <a:lnTo>
                    <a:pt x="8615184" y="5522168"/>
                  </a:lnTo>
                  <a:lnTo>
                    <a:pt x="8611165" y="5518129"/>
                  </a:lnTo>
                  <a:lnTo>
                    <a:pt x="8611165" y="5508258"/>
                  </a:lnTo>
                  <a:close/>
                  <a:moveTo>
                    <a:pt x="8375869" y="5504220"/>
                  </a:moveTo>
                  <a:lnTo>
                    <a:pt x="8385779" y="5504220"/>
                  </a:lnTo>
                  <a:lnTo>
                    <a:pt x="8389799" y="5508258"/>
                  </a:lnTo>
                  <a:lnTo>
                    <a:pt x="8389799" y="5518129"/>
                  </a:lnTo>
                  <a:lnTo>
                    <a:pt x="8385779" y="5522168"/>
                  </a:lnTo>
                  <a:lnTo>
                    <a:pt x="8375869" y="5522168"/>
                  </a:lnTo>
                  <a:lnTo>
                    <a:pt x="8371850" y="5518129"/>
                  </a:lnTo>
                  <a:lnTo>
                    <a:pt x="8371850" y="5508258"/>
                  </a:lnTo>
                  <a:close/>
                  <a:moveTo>
                    <a:pt x="8136553" y="5504220"/>
                  </a:moveTo>
                  <a:lnTo>
                    <a:pt x="8146464" y="5504220"/>
                  </a:lnTo>
                  <a:lnTo>
                    <a:pt x="8150483" y="5508258"/>
                  </a:lnTo>
                  <a:lnTo>
                    <a:pt x="8150483" y="5518129"/>
                  </a:lnTo>
                  <a:lnTo>
                    <a:pt x="8146464" y="5522168"/>
                  </a:lnTo>
                  <a:lnTo>
                    <a:pt x="8136553" y="5522168"/>
                  </a:lnTo>
                  <a:lnTo>
                    <a:pt x="8132534" y="5518129"/>
                  </a:lnTo>
                  <a:lnTo>
                    <a:pt x="8132534" y="5508258"/>
                  </a:lnTo>
                  <a:close/>
                  <a:moveTo>
                    <a:pt x="7897241" y="5504220"/>
                  </a:moveTo>
                  <a:lnTo>
                    <a:pt x="7907151" y="5504220"/>
                  </a:lnTo>
                  <a:lnTo>
                    <a:pt x="7911170" y="5508258"/>
                  </a:lnTo>
                  <a:lnTo>
                    <a:pt x="7911170" y="5518129"/>
                  </a:lnTo>
                  <a:lnTo>
                    <a:pt x="7907151" y="5522168"/>
                  </a:lnTo>
                  <a:lnTo>
                    <a:pt x="7897241" y="5522168"/>
                  </a:lnTo>
                  <a:lnTo>
                    <a:pt x="7893222" y="5518129"/>
                  </a:lnTo>
                  <a:lnTo>
                    <a:pt x="7893222" y="5508258"/>
                  </a:lnTo>
                  <a:close/>
                  <a:moveTo>
                    <a:pt x="7657926" y="5504220"/>
                  </a:moveTo>
                  <a:lnTo>
                    <a:pt x="7667836" y="5504220"/>
                  </a:lnTo>
                  <a:lnTo>
                    <a:pt x="7671855" y="5508258"/>
                  </a:lnTo>
                  <a:lnTo>
                    <a:pt x="7671855" y="5518129"/>
                  </a:lnTo>
                  <a:lnTo>
                    <a:pt x="7667836" y="5522168"/>
                  </a:lnTo>
                  <a:lnTo>
                    <a:pt x="7657926" y="5522168"/>
                  </a:lnTo>
                  <a:lnTo>
                    <a:pt x="7653906" y="5518129"/>
                  </a:lnTo>
                  <a:lnTo>
                    <a:pt x="7653906" y="5508258"/>
                  </a:lnTo>
                  <a:close/>
                  <a:moveTo>
                    <a:pt x="7418611" y="5504220"/>
                  </a:moveTo>
                  <a:lnTo>
                    <a:pt x="7428521" y="5504220"/>
                  </a:lnTo>
                  <a:lnTo>
                    <a:pt x="7432540" y="5508258"/>
                  </a:lnTo>
                  <a:lnTo>
                    <a:pt x="7432540" y="5518129"/>
                  </a:lnTo>
                  <a:lnTo>
                    <a:pt x="7428521" y="5522168"/>
                  </a:lnTo>
                  <a:lnTo>
                    <a:pt x="7418611" y="5522168"/>
                  </a:lnTo>
                  <a:lnTo>
                    <a:pt x="7414592" y="5518129"/>
                  </a:lnTo>
                  <a:lnTo>
                    <a:pt x="7414592" y="5508258"/>
                  </a:lnTo>
                  <a:close/>
                  <a:moveTo>
                    <a:pt x="7179298" y="5504220"/>
                  </a:moveTo>
                  <a:lnTo>
                    <a:pt x="7189209" y="5504220"/>
                  </a:lnTo>
                  <a:lnTo>
                    <a:pt x="7193228" y="5508258"/>
                  </a:lnTo>
                  <a:lnTo>
                    <a:pt x="7193228" y="5518129"/>
                  </a:lnTo>
                  <a:lnTo>
                    <a:pt x="7189209" y="5522168"/>
                  </a:lnTo>
                  <a:lnTo>
                    <a:pt x="7179298" y="5522168"/>
                  </a:lnTo>
                  <a:lnTo>
                    <a:pt x="7175279" y="5518129"/>
                  </a:lnTo>
                  <a:lnTo>
                    <a:pt x="7175279" y="5508258"/>
                  </a:lnTo>
                  <a:close/>
                  <a:moveTo>
                    <a:pt x="6939983" y="5504220"/>
                  </a:moveTo>
                  <a:lnTo>
                    <a:pt x="6949894" y="5504220"/>
                  </a:lnTo>
                  <a:lnTo>
                    <a:pt x="6953913" y="5508258"/>
                  </a:lnTo>
                  <a:lnTo>
                    <a:pt x="6953913" y="5518129"/>
                  </a:lnTo>
                  <a:lnTo>
                    <a:pt x="6949894" y="5522168"/>
                  </a:lnTo>
                  <a:lnTo>
                    <a:pt x="6939983" y="5522168"/>
                  </a:lnTo>
                  <a:lnTo>
                    <a:pt x="6935964" y="5518129"/>
                  </a:lnTo>
                  <a:lnTo>
                    <a:pt x="6935964" y="5508258"/>
                  </a:lnTo>
                  <a:close/>
                  <a:moveTo>
                    <a:pt x="6700670" y="5504220"/>
                  </a:moveTo>
                  <a:lnTo>
                    <a:pt x="6710581" y="5504220"/>
                  </a:lnTo>
                  <a:lnTo>
                    <a:pt x="6714600" y="5508258"/>
                  </a:lnTo>
                  <a:lnTo>
                    <a:pt x="6714600" y="5518129"/>
                  </a:lnTo>
                  <a:lnTo>
                    <a:pt x="6710581" y="5522168"/>
                  </a:lnTo>
                  <a:lnTo>
                    <a:pt x="6700670" y="5522168"/>
                  </a:lnTo>
                  <a:lnTo>
                    <a:pt x="6696651" y="5518129"/>
                  </a:lnTo>
                  <a:lnTo>
                    <a:pt x="6696651" y="5508258"/>
                  </a:lnTo>
                  <a:close/>
                  <a:moveTo>
                    <a:pt x="6461356" y="5504220"/>
                  </a:moveTo>
                  <a:lnTo>
                    <a:pt x="6471266" y="5504220"/>
                  </a:lnTo>
                  <a:lnTo>
                    <a:pt x="6475285" y="5508258"/>
                  </a:lnTo>
                  <a:lnTo>
                    <a:pt x="6475285" y="5518129"/>
                  </a:lnTo>
                  <a:lnTo>
                    <a:pt x="6471266" y="5522168"/>
                  </a:lnTo>
                  <a:lnTo>
                    <a:pt x="6461356" y="5522168"/>
                  </a:lnTo>
                  <a:lnTo>
                    <a:pt x="6457337" y="5518129"/>
                  </a:lnTo>
                  <a:lnTo>
                    <a:pt x="6457337" y="5508258"/>
                  </a:lnTo>
                  <a:close/>
                  <a:moveTo>
                    <a:pt x="6222042" y="5504220"/>
                  </a:moveTo>
                  <a:lnTo>
                    <a:pt x="6231952" y="5504220"/>
                  </a:lnTo>
                  <a:lnTo>
                    <a:pt x="6235971" y="5508258"/>
                  </a:lnTo>
                  <a:lnTo>
                    <a:pt x="6235971" y="5518129"/>
                  </a:lnTo>
                  <a:lnTo>
                    <a:pt x="6231952" y="5522168"/>
                  </a:lnTo>
                  <a:lnTo>
                    <a:pt x="6222042" y="5522168"/>
                  </a:lnTo>
                  <a:lnTo>
                    <a:pt x="6218023" y="5518129"/>
                  </a:lnTo>
                  <a:lnTo>
                    <a:pt x="6218023" y="5508258"/>
                  </a:lnTo>
                  <a:close/>
                  <a:moveTo>
                    <a:pt x="5982729" y="5504220"/>
                  </a:moveTo>
                  <a:lnTo>
                    <a:pt x="5992639" y="5504220"/>
                  </a:lnTo>
                  <a:lnTo>
                    <a:pt x="5996658" y="5508258"/>
                  </a:lnTo>
                  <a:lnTo>
                    <a:pt x="5996658" y="5518129"/>
                  </a:lnTo>
                  <a:lnTo>
                    <a:pt x="5992639" y="5522168"/>
                  </a:lnTo>
                  <a:lnTo>
                    <a:pt x="5982729" y="5522168"/>
                  </a:lnTo>
                  <a:lnTo>
                    <a:pt x="5978710" y="5518129"/>
                  </a:lnTo>
                  <a:lnTo>
                    <a:pt x="5978710" y="5508258"/>
                  </a:lnTo>
                  <a:close/>
                  <a:moveTo>
                    <a:pt x="5743412" y="5504220"/>
                  </a:moveTo>
                  <a:lnTo>
                    <a:pt x="5753323" y="5504220"/>
                  </a:lnTo>
                  <a:lnTo>
                    <a:pt x="5757342" y="5508258"/>
                  </a:lnTo>
                  <a:lnTo>
                    <a:pt x="5757342" y="5518129"/>
                  </a:lnTo>
                  <a:lnTo>
                    <a:pt x="5753323" y="5522168"/>
                  </a:lnTo>
                  <a:lnTo>
                    <a:pt x="5743412" y="5522168"/>
                  </a:lnTo>
                  <a:lnTo>
                    <a:pt x="5739393" y="5518129"/>
                  </a:lnTo>
                  <a:lnTo>
                    <a:pt x="5739393" y="5508258"/>
                  </a:lnTo>
                  <a:close/>
                  <a:moveTo>
                    <a:pt x="5504099" y="5504220"/>
                  </a:moveTo>
                  <a:lnTo>
                    <a:pt x="5514010" y="5504220"/>
                  </a:lnTo>
                  <a:lnTo>
                    <a:pt x="5518029" y="5508258"/>
                  </a:lnTo>
                  <a:lnTo>
                    <a:pt x="5518029" y="5518129"/>
                  </a:lnTo>
                  <a:lnTo>
                    <a:pt x="5514010" y="5522168"/>
                  </a:lnTo>
                  <a:lnTo>
                    <a:pt x="5504099" y="5522168"/>
                  </a:lnTo>
                  <a:lnTo>
                    <a:pt x="5500080" y="5518129"/>
                  </a:lnTo>
                  <a:lnTo>
                    <a:pt x="5500080" y="5508258"/>
                  </a:lnTo>
                  <a:close/>
                  <a:moveTo>
                    <a:pt x="5264784" y="5504220"/>
                  </a:moveTo>
                  <a:lnTo>
                    <a:pt x="5274694" y="5504220"/>
                  </a:lnTo>
                  <a:lnTo>
                    <a:pt x="5278713" y="5508258"/>
                  </a:lnTo>
                  <a:lnTo>
                    <a:pt x="5278713" y="5518129"/>
                  </a:lnTo>
                  <a:lnTo>
                    <a:pt x="5274694" y="5522168"/>
                  </a:lnTo>
                  <a:lnTo>
                    <a:pt x="5264784" y="5522168"/>
                  </a:lnTo>
                  <a:lnTo>
                    <a:pt x="5260765" y="5518129"/>
                  </a:lnTo>
                  <a:lnTo>
                    <a:pt x="5260765" y="5508258"/>
                  </a:lnTo>
                  <a:close/>
                  <a:moveTo>
                    <a:pt x="5025470" y="5504220"/>
                  </a:moveTo>
                  <a:lnTo>
                    <a:pt x="5035381" y="5504220"/>
                  </a:lnTo>
                  <a:lnTo>
                    <a:pt x="5039400" y="5508258"/>
                  </a:lnTo>
                  <a:lnTo>
                    <a:pt x="5039400" y="5518129"/>
                  </a:lnTo>
                  <a:lnTo>
                    <a:pt x="5035381" y="5522168"/>
                  </a:lnTo>
                  <a:lnTo>
                    <a:pt x="5025470" y="5522168"/>
                  </a:lnTo>
                  <a:lnTo>
                    <a:pt x="5021451" y="5518129"/>
                  </a:lnTo>
                  <a:lnTo>
                    <a:pt x="5021451" y="5508258"/>
                  </a:lnTo>
                  <a:close/>
                  <a:moveTo>
                    <a:pt x="4786241" y="5504220"/>
                  </a:moveTo>
                  <a:lnTo>
                    <a:pt x="4796152" y="5504220"/>
                  </a:lnTo>
                  <a:lnTo>
                    <a:pt x="4800171" y="5508258"/>
                  </a:lnTo>
                  <a:lnTo>
                    <a:pt x="4800171" y="5518129"/>
                  </a:lnTo>
                  <a:lnTo>
                    <a:pt x="4796152" y="5522168"/>
                  </a:lnTo>
                  <a:lnTo>
                    <a:pt x="4786241" y="5522168"/>
                  </a:lnTo>
                  <a:lnTo>
                    <a:pt x="4782224" y="5518129"/>
                  </a:lnTo>
                  <a:lnTo>
                    <a:pt x="4782224" y="5508258"/>
                  </a:lnTo>
                  <a:close/>
                  <a:moveTo>
                    <a:pt x="4546929" y="5504220"/>
                  </a:moveTo>
                  <a:lnTo>
                    <a:pt x="4556840" y="5504220"/>
                  </a:lnTo>
                  <a:lnTo>
                    <a:pt x="4560859" y="5508258"/>
                  </a:lnTo>
                  <a:lnTo>
                    <a:pt x="4560859" y="5518129"/>
                  </a:lnTo>
                  <a:lnTo>
                    <a:pt x="4556840" y="5522168"/>
                  </a:lnTo>
                  <a:lnTo>
                    <a:pt x="4546929" y="5522168"/>
                  </a:lnTo>
                  <a:lnTo>
                    <a:pt x="4542910" y="5518129"/>
                  </a:lnTo>
                  <a:lnTo>
                    <a:pt x="4542910" y="5508258"/>
                  </a:lnTo>
                  <a:close/>
                  <a:moveTo>
                    <a:pt x="4307612" y="5504220"/>
                  </a:moveTo>
                  <a:lnTo>
                    <a:pt x="4317523" y="5504220"/>
                  </a:lnTo>
                  <a:lnTo>
                    <a:pt x="4321543" y="5508258"/>
                  </a:lnTo>
                  <a:lnTo>
                    <a:pt x="4321543" y="5518129"/>
                  </a:lnTo>
                  <a:lnTo>
                    <a:pt x="4317523" y="5522168"/>
                  </a:lnTo>
                  <a:lnTo>
                    <a:pt x="4307612" y="5522168"/>
                  </a:lnTo>
                  <a:lnTo>
                    <a:pt x="4303595" y="5518129"/>
                  </a:lnTo>
                  <a:lnTo>
                    <a:pt x="4303595" y="5508258"/>
                  </a:lnTo>
                  <a:close/>
                  <a:moveTo>
                    <a:pt x="4068297" y="5504220"/>
                  </a:moveTo>
                  <a:lnTo>
                    <a:pt x="4078210" y="5504220"/>
                  </a:lnTo>
                  <a:lnTo>
                    <a:pt x="4082229" y="5508258"/>
                  </a:lnTo>
                  <a:lnTo>
                    <a:pt x="4082229" y="5518129"/>
                  </a:lnTo>
                  <a:lnTo>
                    <a:pt x="4078210" y="5522168"/>
                  </a:lnTo>
                  <a:lnTo>
                    <a:pt x="4068297" y="5522168"/>
                  </a:lnTo>
                  <a:lnTo>
                    <a:pt x="4064278" y="5518129"/>
                  </a:lnTo>
                  <a:lnTo>
                    <a:pt x="4064278" y="5508258"/>
                  </a:lnTo>
                  <a:close/>
                  <a:moveTo>
                    <a:pt x="3828990" y="5504220"/>
                  </a:moveTo>
                  <a:lnTo>
                    <a:pt x="3838899" y="5504220"/>
                  </a:lnTo>
                  <a:lnTo>
                    <a:pt x="3842917" y="5508258"/>
                  </a:lnTo>
                  <a:lnTo>
                    <a:pt x="3842917" y="5518129"/>
                  </a:lnTo>
                  <a:lnTo>
                    <a:pt x="3838899" y="5522168"/>
                  </a:lnTo>
                  <a:lnTo>
                    <a:pt x="3828990" y="5522168"/>
                  </a:lnTo>
                  <a:lnTo>
                    <a:pt x="3824971" y="5518129"/>
                  </a:lnTo>
                  <a:lnTo>
                    <a:pt x="3824971" y="5508258"/>
                  </a:lnTo>
                  <a:close/>
                  <a:moveTo>
                    <a:pt x="3589676" y="5504220"/>
                  </a:moveTo>
                  <a:lnTo>
                    <a:pt x="3599585" y="5504220"/>
                  </a:lnTo>
                  <a:lnTo>
                    <a:pt x="3603604" y="5508258"/>
                  </a:lnTo>
                  <a:lnTo>
                    <a:pt x="3603604" y="5518129"/>
                  </a:lnTo>
                  <a:lnTo>
                    <a:pt x="3599585" y="5522168"/>
                  </a:lnTo>
                  <a:lnTo>
                    <a:pt x="3589676" y="5522168"/>
                  </a:lnTo>
                  <a:lnTo>
                    <a:pt x="3585657" y="5518129"/>
                  </a:lnTo>
                  <a:lnTo>
                    <a:pt x="3585657" y="5508258"/>
                  </a:lnTo>
                  <a:close/>
                  <a:moveTo>
                    <a:pt x="3350359" y="5504220"/>
                  </a:moveTo>
                  <a:lnTo>
                    <a:pt x="3360268" y="5504220"/>
                  </a:lnTo>
                  <a:lnTo>
                    <a:pt x="3364287" y="5508258"/>
                  </a:lnTo>
                  <a:lnTo>
                    <a:pt x="3364287" y="5518129"/>
                  </a:lnTo>
                  <a:lnTo>
                    <a:pt x="3360268" y="5522168"/>
                  </a:lnTo>
                  <a:lnTo>
                    <a:pt x="3350359" y="5522168"/>
                  </a:lnTo>
                  <a:lnTo>
                    <a:pt x="3346340" y="5518129"/>
                  </a:lnTo>
                  <a:lnTo>
                    <a:pt x="3346340" y="5508258"/>
                  </a:lnTo>
                  <a:close/>
                  <a:moveTo>
                    <a:pt x="3111048" y="5504220"/>
                  </a:moveTo>
                  <a:lnTo>
                    <a:pt x="3120959" y="5504220"/>
                  </a:lnTo>
                  <a:lnTo>
                    <a:pt x="3124977" y="5508258"/>
                  </a:lnTo>
                  <a:lnTo>
                    <a:pt x="3124977" y="5518129"/>
                  </a:lnTo>
                  <a:lnTo>
                    <a:pt x="3120959" y="5522168"/>
                  </a:lnTo>
                  <a:lnTo>
                    <a:pt x="3111048" y="5522168"/>
                  </a:lnTo>
                  <a:lnTo>
                    <a:pt x="3107029" y="5518129"/>
                  </a:lnTo>
                  <a:lnTo>
                    <a:pt x="3107029" y="5508258"/>
                  </a:lnTo>
                  <a:close/>
                  <a:moveTo>
                    <a:pt x="2871737" y="5504220"/>
                  </a:moveTo>
                  <a:lnTo>
                    <a:pt x="2881646" y="5504220"/>
                  </a:lnTo>
                  <a:lnTo>
                    <a:pt x="2885666" y="5508258"/>
                  </a:lnTo>
                  <a:lnTo>
                    <a:pt x="2885666" y="5518129"/>
                  </a:lnTo>
                  <a:lnTo>
                    <a:pt x="2881646" y="5522168"/>
                  </a:lnTo>
                  <a:lnTo>
                    <a:pt x="2871737" y="5522168"/>
                  </a:lnTo>
                  <a:lnTo>
                    <a:pt x="2867717" y="5518129"/>
                  </a:lnTo>
                  <a:lnTo>
                    <a:pt x="2867717" y="5508258"/>
                  </a:lnTo>
                  <a:close/>
                  <a:moveTo>
                    <a:pt x="2632423" y="5504220"/>
                  </a:moveTo>
                  <a:lnTo>
                    <a:pt x="2642334" y="5504220"/>
                  </a:lnTo>
                  <a:lnTo>
                    <a:pt x="2646352" y="5508258"/>
                  </a:lnTo>
                  <a:lnTo>
                    <a:pt x="2646352" y="5518129"/>
                  </a:lnTo>
                  <a:lnTo>
                    <a:pt x="2642334" y="5522168"/>
                  </a:lnTo>
                  <a:lnTo>
                    <a:pt x="2632423" y="5522168"/>
                  </a:lnTo>
                  <a:lnTo>
                    <a:pt x="2628404" y="5518129"/>
                  </a:lnTo>
                  <a:lnTo>
                    <a:pt x="2628404" y="5508258"/>
                  </a:lnTo>
                  <a:close/>
                  <a:moveTo>
                    <a:pt x="2393104" y="5504220"/>
                  </a:moveTo>
                  <a:lnTo>
                    <a:pt x="2403015" y="5504220"/>
                  </a:lnTo>
                  <a:lnTo>
                    <a:pt x="2407034" y="5508258"/>
                  </a:lnTo>
                  <a:lnTo>
                    <a:pt x="2407034" y="5518129"/>
                  </a:lnTo>
                  <a:lnTo>
                    <a:pt x="2403015" y="5522168"/>
                  </a:lnTo>
                  <a:lnTo>
                    <a:pt x="2393104" y="5522168"/>
                  </a:lnTo>
                  <a:lnTo>
                    <a:pt x="2389087" y="5518129"/>
                  </a:lnTo>
                  <a:lnTo>
                    <a:pt x="2389087" y="5508258"/>
                  </a:lnTo>
                  <a:close/>
                  <a:moveTo>
                    <a:pt x="2157818" y="5504220"/>
                  </a:moveTo>
                  <a:lnTo>
                    <a:pt x="2167728" y="5504220"/>
                  </a:lnTo>
                  <a:lnTo>
                    <a:pt x="2171748" y="5508258"/>
                  </a:lnTo>
                  <a:lnTo>
                    <a:pt x="2171748" y="5518129"/>
                  </a:lnTo>
                  <a:lnTo>
                    <a:pt x="2167728" y="5522168"/>
                  </a:lnTo>
                  <a:lnTo>
                    <a:pt x="2157818" y="5522168"/>
                  </a:lnTo>
                  <a:lnTo>
                    <a:pt x="2153799" y="5518129"/>
                  </a:lnTo>
                  <a:lnTo>
                    <a:pt x="2153799" y="5508258"/>
                  </a:lnTo>
                  <a:close/>
                  <a:moveTo>
                    <a:pt x="1918510" y="5504220"/>
                  </a:moveTo>
                  <a:lnTo>
                    <a:pt x="1928420" y="5504220"/>
                  </a:lnTo>
                  <a:lnTo>
                    <a:pt x="1932438" y="5508258"/>
                  </a:lnTo>
                  <a:lnTo>
                    <a:pt x="1932438" y="5518129"/>
                  </a:lnTo>
                  <a:lnTo>
                    <a:pt x="1928420" y="5522168"/>
                  </a:lnTo>
                  <a:lnTo>
                    <a:pt x="1918510" y="5522168"/>
                  </a:lnTo>
                  <a:lnTo>
                    <a:pt x="1914490" y="5518129"/>
                  </a:lnTo>
                  <a:lnTo>
                    <a:pt x="1914490" y="5508258"/>
                  </a:lnTo>
                  <a:close/>
                  <a:moveTo>
                    <a:pt x="1679202" y="5504220"/>
                  </a:moveTo>
                  <a:lnTo>
                    <a:pt x="1689112" y="5504220"/>
                  </a:lnTo>
                  <a:lnTo>
                    <a:pt x="1693132" y="5508258"/>
                  </a:lnTo>
                  <a:lnTo>
                    <a:pt x="1693132" y="5518129"/>
                  </a:lnTo>
                  <a:lnTo>
                    <a:pt x="1689112" y="5522168"/>
                  </a:lnTo>
                  <a:lnTo>
                    <a:pt x="1679202" y="5522168"/>
                  </a:lnTo>
                  <a:lnTo>
                    <a:pt x="1675184" y="5518129"/>
                  </a:lnTo>
                  <a:lnTo>
                    <a:pt x="1675184" y="5508258"/>
                  </a:lnTo>
                  <a:close/>
                  <a:moveTo>
                    <a:pt x="1439887" y="5504220"/>
                  </a:moveTo>
                  <a:lnTo>
                    <a:pt x="1449797" y="5504220"/>
                  </a:lnTo>
                  <a:lnTo>
                    <a:pt x="1453815" y="5508258"/>
                  </a:lnTo>
                  <a:lnTo>
                    <a:pt x="1453815" y="5518129"/>
                  </a:lnTo>
                  <a:lnTo>
                    <a:pt x="1449797" y="5522168"/>
                  </a:lnTo>
                  <a:lnTo>
                    <a:pt x="1439887" y="5522168"/>
                  </a:lnTo>
                  <a:lnTo>
                    <a:pt x="1435869" y="5518129"/>
                  </a:lnTo>
                  <a:lnTo>
                    <a:pt x="1435869" y="5508258"/>
                  </a:lnTo>
                  <a:close/>
                  <a:moveTo>
                    <a:pt x="1200572" y="5504220"/>
                  </a:moveTo>
                  <a:lnTo>
                    <a:pt x="1210483" y="5504220"/>
                  </a:lnTo>
                  <a:lnTo>
                    <a:pt x="1214501" y="5508258"/>
                  </a:lnTo>
                  <a:lnTo>
                    <a:pt x="1214501" y="5518129"/>
                  </a:lnTo>
                  <a:lnTo>
                    <a:pt x="1210483" y="5522168"/>
                  </a:lnTo>
                  <a:lnTo>
                    <a:pt x="1200572" y="5522168"/>
                  </a:lnTo>
                  <a:lnTo>
                    <a:pt x="1196554" y="5518129"/>
                  </a:lnTo>
                  <a:lnTo>
                    <a:pt x="1196554" y="5508258"/>
                  </a:lnTo>
                  <a:close/>
                  <a:moveTo>
                    <a:pt x="961260" y="5504220"/>
                  </a:moveTo>
                  <a:lnTo>
                    <a:pt x="971169" y="5504220"/>
                  </a:lnTo>
                  <a:lnTo>
                    <a:pt x="975189" y="5508258"/>
                  </a:lnTo>
                  <a:lnTo>
                    <a:pt x="975189" y="5518129"/>
                  </a:lnTo>
                  <a:lnTo>
                    <a:pt x="971169" y="5522168"/>
                  </a:lnTo>
                  <a:lnTo>
                    <a:pt x="961260" y="5522168"/>
                  </a:lnTo>
                  <a:lnTo>
                    <a:pt x="957241" y="5518129"/>
                  </a:lnTo>
                  <a:lnTo>
                    <a:pt x="957241" y="5508258"/>
                  </a:lnTo>
                  <a:close/>
                  <a:moveTo>
                    <a:pt x="721961" y="5504220"/>
                  </a:moveTo>
                  <a:lnTo>
                    <a:pt x="731871" y="5504220"/>
                  </a:lnTo>
                  <a:lnTo>
                    <a:pt x="735890" y="5508258"/>
                  </a:lnTo>
                  <a:lnTo>
                    <a:pt x="735890" y="5518129"/>
                  </a:lnTo>
                  <a:lnTo>
                    <a:pt x="731871" y="5522168"/>
                  </a:lnTo>
                  <a:lnTo>
                    <a:pt x="721961" y="5522168"/>
                  </a:lnTo>
                  <a:lnTo>
                    <a:pt x="717942" y="5518129"/>
                  </a:lnTo>
                  <a:lnTo>
                    <a:pt x="717942" y="5508258"/>
                  </a:lnTo>
                  <a:close/>
                  <a:moveTo>
                    <a:pt x="482649" y="5504220"/>
                  </a:moveTo>
                  <a:lnTo>
                    <a:pt x="492559" y="5504220"/>
                  </a:lnTo>
                  <a:lnTo>
                    <a:pt x="496578" y="5508258"/>
                  </a:lnTo>
                  <a:lnTo>
                    <a:pt x="496578" y="5518129"/>
                  </a:lnTo>
                  <a:lnTo>
                    <a:pt x="492559" y="5522168"/>
                  </a:lnTo>
                  <a:lnTo>
                    <a:pt x="482649" y="5522168"/>
                  </a:lnTo>
                  <a:lnTo>
                    <a:pt x="478630" y="5518129"/>
                  </a:lnTo>
                  <a:lnTo>
                    <a:pt x="478630" y="5508258"/>
                  </a:lnTo>
                  <a:close/>
                  <a:moveTo>
                    <a:pt x="243335" y="5504220"/>
                  </a:moveTo>
                  <a:lnTo>
                    <a:pt x="253245" y="5504220"/>
                  </a:lnTo>
                  <a:lnTo>
                    <a:pt x="257264" y="5508258"/>
                  </a:lnTo>
                  <a:lnTo>
                    <a:pt x="257264" y="5518129"/>
                  </a:lnTo>
                  <a:lnTo>
                    <a:pt x="253245" y="5522168"/>
                  </a:lnTo>
                  <a:lnTo>
                    <a:pt x="243335" y="5522168"/>
                  </a:lnTo>
                  <a:lnTo>
                    <a:pt x="239316" y="5518129"/>
                  </a:lnTo>
                  <a:lnTo>
                    <a:pt x="239316" y="5508258"/>
                  </a:lnTo>
                  <a:close/>
                  <a:moveTo>
                    <a:pt x="4022" y="5504220"/>
                  </a:moveTo>
                  <a:lnTo>
                    <a:pt x="13932" y="5504220"/>
                  </a:lnTo>
                  <a:lnTo>
                    <a:pt x="17951" y="5508258"/>
                  </a:lnTo>
                  <a:lnTo>
                    <a:pt x="17951" y="5518129"/>
                  </a:lnTo>
                  <a:lnTo>
                    <a:pt x="13932" y="5522168"/>
                  </a:lnTo>
                  <a:lnTo>
                    <a:pt x="4022" y="5522168"/>
                  </a:lnTo>
                  <a:lnTo>
                    <a:pt x="3" y="5518129"/>
                  </a:lnTo>
                  <a:lnTo>
                    <a:pt x="3" y="5508258"/>
                  </a:lnTo>
                  <a:close/>
                  <a:moveTo>
                    <a:pt x="2157818" y="5264940"/>
                  </a:moveTo>
                  <a:lnTo>
                    <a:pt x="2167729" y="5264940"/>
                  </a:lnTo>
                  <a:lnTo>
                    <a:pt x="2171748" y="5268978"/>
                  </a:lnTo>
                  <a:lnTo>
                    <a:pt x="2171748" y="5278849"/>
                  </a:lnTo>
                  <a:lnTo>
                    <a:pt x="2167729" y="5282888"/>
                  </a:lnTo>
                  <a:lnTo>
                    <a:pt x="2157818" y="5282888"/>
                  </a:lnTo>
                  <a:lnTo>
                    <a:pt x="2153799" y="5278849"/>
                  </a:lnTo>
                  <a:lnTo>
                    <a:pt x="2153799" y="5268978"/>
                  </a:lnTo>
                  <a:close/>
                  <a:moveTo>
                    <a:pt x="1918510" y="5264940"/>
                  </a:moveTo>
                  <a:lnTo>
                    <a:pt x="1928420" y="5264940"/>
                  </a:lnTo>
                  <a:lnTo>
                    <a:pt x="1932438" y="5268978"/>
                  </a:lnTo>
                  <a:lnTo>
                    <a:pt x="1932438" y="5278849"/>
                  </a:lnTo>
                  <a:lnTo>
                    <a:pt x="1928420" y="5282888"/>
                  </a:lnTo>
                  <a:lnTo>
                    <a:pt x="1918510" y="5282888"/>
                  </a:lnTo>
                  <a:lnTo>
                    <a:pt x="1914492" y="5278849"/>
                  </a:lnTo>
                  <a:lnTo>
                    <a:pt x="1914492" y="5268978"/>
                  </a:lnTo>
                  <a:close/>
                  <a:moveTo>
                    <a:pt x="1679204" y="5264940"/>
                  </a:moveTo>
                  <a:lnTo>
                    <a:pt x="1689113" y="5264940"/>
                  </a:lnTo>
                  <a:lnTo>
                    <a:pt x="1693132" y="5268978"/>
                  </a:lnTo>
                  <a:lnTo>
                    <a:pt x="1693132" y="5278849"/>
                  </a:lnTo>
                  <a:lnTo>
                    <a:pt x="1689113" y="5282888"/>
                  </a:lnTo>
                  <a:lnTo>
                    <a:pt x="1679204" y="5282888"/>
                  </a:lnTo>
                  <a:lnTo>
                    <a:pt x="1675184" y="5278849"/>
                  </a:lnTo>
                  <a:lnTo>
                    <a:pt x="1675184" y="5268978"/>
                  </a:lnTo>
                  <a:close/>
                  <a:moveTo>
                    <a:pt x="1439889" y="5264940"/>
                  </a:moveTo>
                  <a:lnTo>
                    <a:pt x="1449798" y="5264940"/>
                  </a:lnTo>
                  <a:lnTo>
                    <a:pt x="1453817" y="5268978"/>
                  </a:lnTo>
                  <a:lnTo>
                    <a:pt x="1453817" y="5278849"/>
                  </a:lnTo>
                  <a:lnTo>
                    <a:pt x="1449798" y="5282888"/>
                  </a:lnTo>
                  <a:lnTo>
                    <a:pt x="1439889" y="5282888"/>
                  </a:lnTo>
                  <a:lnTo>
                    <a:pt x="1435869" y="5278849"/>
                  </a:lnTo>
                  <a:lnTo>
                    <a:pt x="1435869" y="5268978"/>
                  </a:lnTo>
                  <a:close/>
                  <a:moveTo>
                    <a:pt x="1200573" y="5264940"/>
                  </a:moveTo>
                  <a:lnTo>
                    <a:pt x="1210483" y="5264940"/>
                  </a:lnTo>
                  <a:lnTo>
                    <a:pt x="1214502" y="5268978"/>
                  </a:lnTo>
                  <a:lnTo>
                    <a:pt x="1214502" y="5278849"/>
                  </a:lnTo>
                  <a:lnTo>
                    <a:pt x="1210483" y="5282888"/>
                  </a:lnTo>
                  <a:lnTo>
                    <a:pt x="1200573" y="5282888"/>
                  </a:lnTo>
                  <a:lnTo>
                    <a:pt x="1196554" y="5278849"/>
                  </a:lnTo>
                  <a:lnTo>
                    <a:pt x="1196554" y="5268978"/>
                  </a:lnTo>
                  <a:close/>
                  <a:moveTo>
                    <a:pt x="961260" y="5264940"/>
                  </a:moveTo>
                  <a:lnTo>
                    <a:pt x="971171" y="5264940"/>
                  </a:lnTo>
                  <a:lnTo>
                    <a:pt x="975189" y="5268978"/>
                  </a:lnTo>
                  <a:lnTo>
                    <a:pt x="975189" y="5278849"/>
                  </a:lnTo>
                  <a:lnTo>
                    <a:pt x="971171" y="5282888"/>
                  </a:lnTo>
                  <a:lnTo>
                    <a:pt x="961260" y="5282888"/>
                  </a:lnTo>
                  <a:lnTo>
                    <a:pt x="957241" y="5278849"/>
                  </a:lnTo>
                  <a:lnTo>
                    <a:pt x="957241" y="5268978"/>
                  </a:lnTo>
                  <a:close/>
                  <a:moveTo>
                    <a:pt x="9572438" y="5264889"/>
                  </a:moveTo>
                  <a:lnTo>
                    <a:pt x="9582349" y="5264889"/>
                  </a:lnTo>
                  <a:lnTo>
                    <a:pt x="9586368" y="5268928"/>
                  </a:lnTo>
                  <a:lnTo>
                    <a:pt x="9586368" y="5278799"/>
                  </a:lnTo>
                  <a:lnTo>
                    <a:pt x="9582349" y="5282838"/>
                  </a:lnTo>
                  <a:lnTo>
                    <a:pt x="9572438" y="5282838"/>
                  </a:lnTo>
                  <a:lnTo>
                    <a:pt x="9568419" y="5278799"/>
                  </a:lnTo>
                  <a:lnTo>
                    <a:pt x="9568419" y="5268928"/>
                  </a:lnTo>
                  <a:close/>
                  <a:moveTo>
                    <a:pt x="9333125" y="5264889"/>
                  </a:moveTo>
                  <a:lnTo>
                    <a:pt x="9343036" y="5264889"/>
                  </a:lnTo>
                  <a:lnTo>
                    <a:pt x="9347055" y="5268928"/>
                  </a:lnTo>
                  <a:lnTo>
                    <a:pt x="9347055" y="5278799"/>
                  </a:lnTo>
                  <a:lnTo>
                    <a:pt x="9343036" y="5282838"/>
                  </a:lnTo>
                  <a:lnTo>
                    <a:pt x="9333125" y="5282838"/>
                  </a:lnTo>
                  <a:lnTo>
                    <a:pt x="9329106" y="5278799"/>
                  </a:lnTo>
                  <a:lnTo>
                    <a:pt x="9329106" y="5268928"/>
                  </a:lnTo>
                  <a:close/>
                  <a:moveTo>
                    <a:pt x="9093811" y="5264889"/>
                  </a:moveTo>
                  <a:lnTo>
                    <a:pt x="9103722" y="5264889"/>
                  </a:lnTo>
                  <a:lnTo>
                    <a:pt x="9107741" y="5268928"/>
                  </a:lnTo>
                  <a:lnTo>
                    <a:pt x="9107741" y="5278799"/>
                  </a:lnTo>
                  <a:lnTo>
                    <a:pt x="9103722" y="5282838"/>
                  </a:lnTo>
                  <a:lnTo>
                    <a:pt x="9093811" y="5282838"/>
                  </a:lnTo>
                  <a:lnTo>
                    <a:pt x="9089792" y="5278799"/>
                  </a:lnTo>
                  <a:lnTo>
                    <a:pt x="9089792" y="5268928"/>
                  </a:lnTo>
                  <a:close/>
                  <a:moveTo>
                    <a:pt x="8854496" y="5264889"/>
                  </a:moveTo>
                  <a:lnTo>
                    <a:pt x="8864407" y="5264889"/>
                  </a:lnTo>
                  <a:lnTo>
                    <a:pt x="8868426" y="5268928"/>
                  </a:lnTo>
                  <a:lnTo>
                    <a:pt x="8868426" y="5278799"/>
                  </a:lnTo>
                  <a:lnTo>
                    <a:pt x="8864407" y="5282838"/>
                  </a:lnTo>
                  <a:lnTo>
                    <a:pt x="8854496" y="5282838"/>
                  </a:lnTo>
                  <a:lnTo>
                    <a:pt x="8850477" y="5278799"/>
                  </a:lnTo>
                  <a:lnTo>
                    <a:pt x="8850477" y="5268928"/>
                  </a:lnTo>
                  <a:close/>
                  <a:moveTo>
                    <a:pt x="8615184" y="5264889"/>
                  </a:moveTo>
                  <a:lnTo>
                    <a:pt x="8625095" y="5264889"/>
                  </a:lnTo>
                  <a:lnTo>
                    <a:pt x="8629114" y="5268928"/>
                  </a:lnTo>
                  <a:lnTo>
                    <a:pt x="8629114" y="5278799"/>
                  </a:lnTo>
                  <a:lnTo>
                    <a:pt x="8625095" y="5282838"/>
                  </a:lnTo>
                  <a:lnTo>
                    <a:pt x="8615184" y="5282838"/>
                  </a:lnTo>
                  <a:lnTo>
                    <a:pt x="8611165" y="5278799"/>
                  </a:lnTo>
                  <a:lnTo>
                    <a:pt x="8611165" y="5268928"/>
                  </a:lnTo>
                  <a:close/>
                  <a:moveTo>
                    <a:pt x="8375869" y="5264889"/>
                  </a:moveTo>
                  <a:lnTo>
                    <a:pt x="8385779" y="5264889"/>
                  </a:lnTo>
                  <a:lnTo>
                    <a:pt x="8389799" y="5268928"/>
                  </a:lnTo>
                  <a:lnTo>
                    <a:pt x="8389799" y="5278799"/>
                  </a:lnTo>
                  <a:lnTo>
                    <a:pt x="8385779" y="5282838"/>
                  </a:lnTo>
                  <a:lnTo>
                    <a:pt x="8375869" y="5282838"/>
                  </a:lnTo>
                  <a:lnTo>
                    <a:pt x="8371850" y="5278799"/>
                  </a:lnTo>
                  <a:lnTo>
                    <a:pt x="8371850" y="5268928"/>
                  </a:lnTo>
                  <a:close/>
                  <a:moveTo>
                    <a:pt x="8136553" y="5264889"/>
                  </a:moveTo>
                  <a:lnTo>
                    <a:pt x="8146464" y="5264889"/>
                  </a:lnTo>
                  <a:lnTo>
                    <a:pt x="8150483" y="5268928"/>
                  </a:lnTo>
                  <a:lnTo>
                    <a:pt x="8150483" y="5278799"/>
                  </a:lnTo>
                  <a:lnTo>
                    <a:pt x="8146464" y="5282838"/>
                  </a:lnTo>
                  <a:lnTo>
                    <a:pt x="8136553" y="5282838"/>
                  </a:lnTo>
                  <a:lnTo>
                    <a:pt x="8132534" y="5278799"/>
                  </a:lnTo>
                  <a:lnTo>
                    <a:pt x="8132534" y="5268928"/>
                  </a:lnTo>
                  <a:close/>
                  <a:moveTo>
                    <a:pt x="7897241" y="5264889"/>
                  </a:moveTo>
                  <a:lnTo>
                    <a:pt x="7907151" y="5264889"/>
                  </a:lnTo>
                  <a:lnTo>
                    <a:pt x="7911170" y="5268928"/>
                  </a:lnTo>
                  <a:lnTo>
                    <a:pt x="7911170" y="5278799"/>
                  </a:lnTo>
                  <a:lnTo>
                    <a:pt x="7907151" y="5282838"/>
                  </a:lnTo>
                  <a:lnTo>
                    <a:pt x="7897241" y="5282838"/>
                  </a:lnTo>
                  <a:lnTo>
                    <a:pt x="7893222" y="5278799"/>
                  </a:lnTo>
                  <a:lnTo>
                    <a:pt x="7893222" y="5268928"/>
                  </a:lnTo>
                  <a:close/>
                  <a:moveTo>
                    <a:pt x="7657926" y="5264889"/>
                  </a:moveTo>
                  <a:lnTo>
                    <a:pt x="7667836" y="5264889"/>
                  </a:lnTo>
                  <a:lnTo>
                    <a:pt x="7671855" y="5268928"/>
                  </a:lnTo>
                  <a:lnTo>
                    <a:pt x="7671855" y="5278799"/>
                  </a:lnTo>
                  <a:lnTo>
                    <a:pt x="7667836" y="5282838"/>
                  </a:lnTo>
                  <a:lnTo>
                    <a:pt x="7657926" y="5282838"/>
                  </a:lnTo>
                  <a:lnTo>
                    <a:pt x="7653906" y="5278799"/>
                  </a:lnTo>
                  <a:lnTo>
                    <a:pt x="7653906" y="5268928"/>
                  </a:lnTo>
                  <a:close/>
                  <a:moveTo>
                    <a:pt x="7418611" y="5264889"/>
                  </a:moveTo>
                  <a:lnTo>
                    <a:pt x="7428521" y="5264889"/>
                  </a:lnTo>
                  <a:lnTo>
                    <a:pt x="7432540" y="5268928"/>
                  </a:lnTo>
                  <a:lnTo>
                    <a:pt x="7432540" y="5278799"/>
                  </a:lnTo>
                  <a:lnTo>
                    <a:pt x="7428521" y="5282838"/>
                  </a:lnTo>
                  <a:lnTo>
                    <a:pt x="7418611" y="5282838"/>
                  </a:lnTo>
                  <a:lnTo>
                    <a:pt x="7414592" y="5278799"/>
                  </a:lnTo>
                  <a:lnTo>
                    <a:pt x="7414592" y="5268928"/>
                  </a:lnTo>
                  <a:close/>
                  <a:moveTo>
                    <a:pt x="7179298" y="5264889"/>
                  </a:moveTo>
                  <a:lnTo>
                    <a:pt x="7189209" y="5264889"/>
                  </a:lnTo>
                  <a:lnTo>
                    <a:pt x="7193228" y="5268928"/>
                  </a:lnTo>
                  <a:lnTo>
                    <a:pt x="7193228" y="5278799"/>
                  </a:lnTo>
                  <a:lnTo>
                    <a:pt x="7189209" y="5282838"/>
                  </a:lnTo>
                  <a:lnTo>
                    <a:pt x="7179298" y="5282838"/>
                  </a:lnTo>
                  <a:lnTo>
                    <a:pt x="7175279" y="5278799"/>
                  </a:lnTo>
                  <a:lnTo>
                    <a:pt x="7175279" y="5268928"/>
                  </a:lnTo>
                  <a:close/>
                  <a:moveTo>
                    <a:pt x="6939983" y="5264889"/>
                  </a:moveTo>
                  <a:lnTo>
                    <a:pt x="6949894" y="5264889"/>
                  </a:lnTo>
                  <a:lnTo>
                    <a:pt x="6953913" y="5268928"/>
                  </a:lnTo>
                  <a:lnTo>
                    <a:pt x="6953913" y="5278799"/>
                  </a:lnTo>
                  <a:lnTo>
                    <a:pt x="6949894" y="5282838"/>
                  </a:lnTo>
                  <a:lnTo>
                    <a:pt x="6939983" y="5282838"/>
                  </a:lnTo>
                  <a:lnTo>
                    <a:pt x="6935964" y="5278799"/>
                  </a:lnTo>
                  <a:lnTo>
                    <a:pt x="6935964" y="5268928"/>
                  </a:lnTo>
                  <a:close/>
                  <a:moveTo>
                    <a:pt x="6700670" y="5264889"/>
                  </a:moveTo>
                  <a:lnTo>
                    <a:pt x="6710581" y="5264889"/>
                  </a:lnTo>
                  <a:lnTo>
                    <a:pt x="6714600" y="5268928"/>
                  </a:lnTo>
                  <a:lnTo>
                    <a:pt x="6714600" y="5278799"/>
                  </a:lnTo>
                  <a:lnTo>
                    <a:pt x="6710581" y="5282838"/>
                  </a:lnTo>
                  <a:lnTo>
                    <a:pt x="6700670" y="5282838"/>
                  </a:lnTo>
                  <a:lnTo>
                    <a:pt x="6696651" y="5278799"/>
                  </a:lnTo>
                  <a:lnTo>
                    <a:pt x="6696651" y="5268928"/>
                  </a:lnTo>
                  <a:close/>
                  <a:moveTo>
                    <a:pt x="6461356" y="5264889"/>
                  </a:moveTo>
                  <a:lnTo>
                    <a:pt x="6471266" y="5264889"/>
                  </a:lnTo>
                  <a:lnTo>
                    <a:pt x="6475285" y="5268928"/>
                  </a:lnTo>
                  <a:lnTo>
                    <a:pt x="6475285" y="5278799"/>
                  </a:lnTo>
                  <a:lnTo>
                    <a:pt x="6471266" y="5282838"/>
                  </a:lnTo>
                  <a:lnTo>
                    <a:pt x="6461356" y="5282838"/>
                  </a:lnTo>
                  <a:lnTo>
                    <a:pt x="6457337" y="5278799"/>
                  </a:lnTo>
                  <a:lnTo>
                    <a:pt x="6457337" y="5268928"/>
                  </a:lnTo>
                  <a:close/>
                  <a:moveTo>
                    <a:pt x="6222042" y="5264889"/>
                  </a:moveTo>
                  <a:lnTo>
                    <a:pt x="6231952" y="5264889"/>
                  </a:lnTo>
                  <a:lnTo>
                    <a:pt x="6235971" y="5268928"/>
                  </a:lnTo>
                  <a:lnTo>
                    <a:pt x="6235971" y="5278799"/>
                  </a:lnTo>
                  <a:lnTo>
                    <a:pt x="6231952" y="5282838"/>
                  </a:lnTo>
                  <a:lnTo>
                    <a:pt x="6222042" y="5282838"/>
                  </a:lnTo>
                  <a:lnTo>
                    <a:pt x="6218023" y="5278799"/>
                  </a:lnTo>
                  <a:lnTo>
                    <a:pt x="6218023" y="5268928"/>
                  </a:lnTo>
                  <a:close/>
                  <a:moveTo>
                    <a:pt x="5982729" y="5264889"/>
                  </a:moveTo>
                  <a:lnTo>
                    <a:pt x="5992639" y="5264889"/>
                  </a:lnTo>
                  <a:lnTo>
                    <a:pt x="5996658" y="5268928"/>
                  </a:lnTo>
                  <a:lnTo>
                    <a:pt x="5996658" y="5278799"/>
                  </a:lnTo>
                  <a:lnTo>
                    <a:pt x="5992639" y="5282838"/>
                  </a:lnTo>
                  <a:lnTo>
                    <a:pt x="5982729" y="5282838"/>
                  </a:lnTo>
                  <a:lnTo>
                    <a:pt x="5978710" y="5278799"/>
                  </a:lnTo>
                  <a:lnTo>
                    <a:pt x="5978710" y="5268928"/>
                  </a:lnTo>
                  <a:close/>
                  <a:moveTo>
                    <a:pt x="5743412" y="5264889"/>
                  </a:moveTo>
                  <a:lnTo>
                    <a:pt x="5753323" y="5264889"/>
                  </a:lnTo>
                  <a:lnTo>
                    <a:pt x="5757342" y="5268928"/>
                  </a:lnTo>
                  <a:lnTo>
                    <a:pt x="5757342" y="5278799"/>
                  </a:lnTo>
                  <a:lnTo>
                    <a:pt x="5753323" y="5282838"/>
                  </a:lnTo>
                  <a:lnTo>
                    <a:pt x="5743412" y="5282838"/>
                  </a:lnTo>
                  <a:lnTo>
                    <a:pt x="5739393" y="5278799"/>
                  </a:lnTo>
                  <a:lnTo>
                    <a:pt x="5739393" y="5268928"/>
                  </a:lnTo>
                  <a:close/>
                  <a:moveTo>
                    <a:pt x="5504099" y="5264889"/>
                  </a:moveTo>
                  <a:lnTo>
                    <a:pt x="5514010" y="5264889"/>
                  </a:lnTo>
                  <a:lnTo>
                    <a:pt x="5518029" y="5268928"/>
                  </a:lnTo>
                  <a:lnTo>
                    <a:pt x="5518029" y="5278799"/>
                  </a:lnTo>
                  <a:lnTo>
                    <a:pt x="5514010" y="5282838"/>
                  </a:lnTo>
                  <a:lnTo>
                    <a:pt x="5504099" y="5282838"/>
                  </a:lnTo>
                  <a:lnTo>
                    <a:pt x="5500080" y="5278799"/>
                  </a:lnTo>
                  <a:lnTo>
                    <a:pt x="5500080" y="5268928"/>
                  </a:lnTo>
                  <a:close/>
                  <a:moveTo>
                    <a:pt x="5264784" y="5264889"/>
                  </a:moveTo>
                  <a:lnTo>
                    <a:pt x="5274694" y="5264889"/>
                  </a:lnTo>
                  <a:lnTo>
                    <a:pt x="5278713" y="5268928"/>
                  </a:lnTo>
                  <a:lnTo>
                    <a:pt x="5278713" y="5278799"/>
                  </a:lnTo>
                  <a:lnTo>
                    <a:pt x="5274694" y="5282838"/>
                  </a:lnTo>
                  <a:lnTo>
                    <a:pt x="5264784" y="5282838"/>
                  </a:lnTo>
                  <a:lnTo>
                    <a:pt x="5260765" y="5278799"/>
                  </a:lnTo>
                  <a:lnTo>
                    <a:pt x="5260765" y="5268928"/>
                  </a:lnTo>
                  <a:close/>
                  <a:moveTo>
                    <a:pt x="5025470" y="5264889"/>
                  </a:moveTo>
                  <a:lnTo>
                    <a:pt x="5035381" y="5264889"/>
                  </a:lnTo>
                  <a:lnTo>
                    <a:pt x="5039400" y="5268928"/>
                  </a:lnTo>
                  <a:lnTo>
                    <a:pt x="5039400" y="5278799"/>
                  </a:lnTo>
                  <a:lnTo>
                    <a:pt x="5035381" y="5282838"/>
                  </a:lnTo>
                  <a:lnTo>
                    <a:pt x="5025470" y="5282838"/>
                  </a:lnTo>
                  <a:lnTo>
                    <a:pt x="5021451" y="5278799"/>
                  </a:lnTo>
                  <a:lnTo>
                    <a:pt x="5021451" y="5268928"/>
                  </a:lnTo>
                  <a:close/>
                  <a:moveTo>
                    <a:pt x="4786241" y="5264889"/>
                  </a:moveTo>
                  <a:lnTo>
                    <a:pt x="4796152" y="5264889"/>
                  </a:lnTo>
                  <a:lnTo>
                    <a:pt x="4800171" y="5268928"/>
                  </a:lnTo>
                  <a:lnTo>
                    <a:pt x="4800171" y="5278799"/>
                  </a:lnTo>
                  <a:lnTo>
                    <a:pt x="4796152" y="5282838"/>
                  </a:lnTo>
                  <a:lnTo>
                    <a:pt x="4786241" y="5282838"/>
                  </a:lnTo>
                  <a:lnTo>
                    <a:pt x="4782224" y="5278799"/>
                  </a:lnTo>
                  <a:lnTo>
                    <a:pt x="4782224" y="5268928"/>
                  </a:lnTo>
                  <a:close/>
                  <a:moveTo>
                    <a:pt x="4546929" y="5264889"/>
                  </a:moveTo>
                  <a:lnTo>
                    <a:pt x="4556840" y="5264889"/>
                  </a:lnTo>
                  <a:lnTo>
                    <a:pt x="4560859" y="5268928"/>
                  </a:lnTo>
                  <a:lnTo>
                    <a:pt x="4560859" y="5278799"/>
                  </a:lnTo>
                  <a:lnTo>
                    <a:pt x="4556840" y="5282838"/>
                  </a:lnTo>
                  <a:lnTo>
                    <a:pt x="4546929" y="5282838"/>
                  </a:lnTo>
                  <a:lnTo>
                    <a:pt x="4542910" y="5278799"/>
                  </a:lnTo>
                  <a:lnTo>
                    <a:pt x="4542910" y="5268928"/>
                  </a:lnTo>
                  <a:close/>
                  <a:moveTo>
                    <a:pt x="4307612" y="5264889"/>
                  </a:moveTo>
                  <a:lnTo>
                    <a:pt x="4317523" y="5264889"/>
                  </a:lnTo>
                  <a:lnTo>
                    <a:pt x="4321543" y="5268928"/>
                  </a:lnTo>
                  <a:lnTo>
                    <a:pt x="4321543" y="5278799"/>
                  </a:lnTo>
                  <a:lnTo>
                    <a:pt x="4317523" y="5282838"/>
                  </a:lnTo>
                  <a:lnTo>
                    <a:pt x="4307612" y="5282838"/>
                  </a:lnTo>
                  <a:lnTo>
                    <a:pt x="4303595" y="5278799"/>
                  </a:lnTo>
                  <a:lnTo>
                    <a:pt x="4303595" y="5268928"/>
                  </a:lnTo>
                  <a:close/>
                  <a:moveTo>
                    <a:pt x="4068297" y="5264889"/>
                  </a:moveTo>
                  <a:lnTo>
                    <a:pt x="4078210" y="5264889"/>
                  </a:lnTo>
                  <a:lnTo>
                    <a:pt x="4082229" y="5268928"/>
                  </a:lnTo>
                  <a:lnTo>
                    <a:pt x="4082229" y="5278799"/>
                  </a:lnTo>
                  <a:lnTo>
                    <a:pt x="4078210" y="5282838"/>
                  </a:lnTo>
                  <a:lnTo>
                    <a:pt x="4068297" y="5282838"/>
                  </a:lnTo>
                  <a:lnTo>
                    <a:pt x="4064278" y="5278799"/>
                  </a:lnTo>
                  <a:lnTo>
                    <a:pt x="4064278" y="5268928"/>
                  </a:lnTo>
                  <a:close/>
                  <a:moveTo>
                    <a:pt x="3828990" y="5264889"/>
                  </a:moveTo>
                  <a:lnTo>
                    <a:pt x="3838899" y="5264889"/>
                  </a:lnTo>
                  <a:lnTo>
                    <a:pt x="3842917" y="5268928"/>
                  </a:lnTo>
                  <a:lnTo>
                    <a:pt x="3842917" y="5278799"/>
                  </a:lnTo>
                  <a:lnTo>
                    <a:pt x="3838899" y="5282838"/>
                  </a:lnTo>
                  <a:lnTo>
                    <a:pt x="3828990" y="5282838"/>
                  </a:lnTo>
                  <a:lnTo>
                    <a:pt x="3824971" y="5278799"/>
                  </a:lnTo>
                  <a:lnTo>
                    <a:pt x="3824971" y="5268928"/>
                  </a:lnTo>
                  <a:close/>
                  <a:moveTo>
                    <a:pt x="3589676" y="5264889"/>
                  </a:moveTo>
                  <a:lnTo>
                    <a:pt x="3599585" y="5264889"/>
                  </a:lnTo>
                  <a:lnTo>
                    <a:pt x="3603604" y="5268928"/>
                  </a:lnTo>
                  <a:lnTo>
                    <a:pt x="3603604" y="5278799"/>
                  </a:lnTo>
                  <a:lnTo>
                    <a:pt x="3599585" y="5282838"/>
                  </a:lnTo>
                  <a:lnTo>
                    <a:pt x="3589676" y="5282838"/>
                  </a:lnTo>
                  <a:lnTo>
                    <a:pt x="3585657" y="5278799"/>
                  </a:lnTo>
                  <a:lnTo>
                    <a:pt x="3585657" y="5268928"/>
                  </a:lnTo>
                  <a:close/>
                  <a:moveTo>
                    <a:pt x="3350359" y="5264889"/>
                  </a:moveTo>
                  <a:lnTo>
                    <a:pt x="3360268" y="5264889"/>
                  </a:lnTo>
                  <a:lnTo>
                    <a:pt x="3364287" y="5268928"/>
                  </a:lnTo>
                  <a:lnTo>
                    <a:pt x="3364287" y="5278799"/>
                  </a:lnTo>
                  <a:lnTo>
                    <a:pt x="3360268" y="5282838"/>
                  </a:lnTo>
                  <a:lnTo>
                    <a:pt x="3350359" y="5282838"/>
                  </a:lnTo>
                  <a:lnTo>
                    <a:pt x="3346340" y="5278799"/>
                  </a:lnTo>
                  <a:lnTo>
                    <a:pt x="3346340" y="5268928"/>
                  </a:lnTo>
                  <a:close/>
                  <a:moveTo>
                    <a:pt x="3111048" y="5264889"/>
                  </a:moveTo>
                  <a:lnTo>
                    <a:pt x="3120959" y="5264889"/>
                  </a:lnTo>
                  <a:lnTo>
                    <a:pt x="3124977" y="5268928"/>
                  </a:lnTo>
                  <a:lnTo>
                    <a:pt x="3124977" y="5278799"/>
                  </a:lnTo>
                  <a:lnTo>
                    <a:pt x="3120959" y="5282838"/>
                  </a:lnTo>
                  <a:lnTo>
                    <a:pt x="3111048" y="5282838"/>
                  </a:lnTo>
                  <a:lnTo>
                    <a:pt x="3107029" y="5278799"/>
                  </a:lnTo>
                  <a:lnTo>
                    <a:pt x="3107029" y="5268928"/>
                  </a:lnTo>
                  <a:close/>
                  <a:moveTo>
                    <a:pt x="2871737" y="5264889"/>
                  </a:moveTo>
                  <a:lnTo>
                    <a:pt x="2881646" y="5264889"/>
                  </a:lnTo>
                  <a:lnTo>
                    <a:pt x="2885666" y="5268928"/>
                  </a:lnTo>
                  <a:lnTo>
                    <a:pt x="2885666" y="5278799"/>
                  </a:lnTo>
                  <a:lnTo>
                    <a:pt x="2881646" y="5282838"/>
                  </a:lnTo>
                  <a:lnTo>
                    <a:pt x="2871737" y="5282838"/>
                  </a:lnTo>
                  <a:lnTo>
                    <a:pt x="2867717" y="5278799"/>
                  </a:lnTo>
                  <a:lnTo>
                    <a:pt x="2867717" y="5268928"/>
                  </a:lnTo>
                  <a:close/>
                  <a:moveTo>
                    <a:pt x="2632423" y="5264889"/>
                  </a:moveTo>
                  <a:lnTo>
                    <a:pt x="2642334" y="5264889"/>
                  </a:lnTo>
                  <a:lnTo>
                    <a:pt x="2646352" y="5268928"/>
                  </a:lnTo>
                  <a:lnTo>
                    <a:pt x="2646352" y="5278799"/>
                  </a:lnTo>
                  <a:lnTo>
                    <a:pt x="2642334" y="5282838"/>
                  </a:lnTo>
                  <a:lnTo>
                    <a:pt x="2632423" y="5282838"/>
                  </a:lnTo>
                  <a:lnTo>
                    <a:pt x="2628404" y="5278799"/>
                  </a:lnTo>
                  <a:lnTo>
                    <a:pt x="2628404" y="5268928"/>
                  </a:lnTo>
                  <a:close/>
                  <a:moveTo>
                    <a:pt x="2393104" y="5264889"/>
                  </a:moveTo>
                  <a:lnTo>
                    <a:pt x="2403015" y="5264889"/>
                  </a:lnTo>
                  <a:lnTo>
                    <a:pt x="2407034" y="5268928"/>
                  </a:lnTo>
                  <a:lnTo>
                    <a:pt x="2407034" y="5278799"/>
                  </a:lnTo>
                  <a:lnTo>
                    <a:pt x="2403015" y="5282838"/>
                  </a:lnTo>
                  <a:lnTo>
                    <a:pt x="2393104" y="5282838"/>
                  </a:lnTo>
                  <a:lnTo>
                    <a:pt x="2389087" y="5278799"/>
                  </a:lnTo>
                  <a:lnTo>
                    <a:pt x="2389087" y="5268928"/>
                  </a:lnTo>
                  <a:close/>
                  <a:moveTo>
                    <a:pt x="721961" y="5264889"/>
                  </a:moveTo>
                  <a:lnTo>
                    <a:pt x="731872" y="5264889"/>
                  </a:lnTo>
                  <a:lnTo>
                    <a:pt x="735891" y="5268928"/>
                  </a:lnTo>
                  <a:lnTo>
                    <a:pt x="735891" y="5278799"/>
                  </a:lnTo>
                  <a:lnTo>
                    <a:pt x="731872" y="5282838"/>
                  </a:lnTo>
                  <a:lnTo>
                    <a:pt x="721961" y="5282838"/>
                  </a:lnTo>
                  <a:lnTo>
                    <a:pt x="717943" y="5278799"/>
                  </a:lnTo>
                  <a:lnTo>
                    <a:pt x="717943" y="5268928"/>
                  </a:lnTo>
                  <a:close/>
                  <a:moveTo>
                    <a:pt x="482649" y="5264889"/>
                  </a:moveTo>
                  <a:lnTo>
                    <a:pt x="492560" y="5264889"/>
                  </a:lnTo>
                  <a:lnTo>
                    <a:pt x="496579" y="5268928"/>
                  </a:lnTo>
                  <a:lnTo>
                    <a:pt x="496579" y="5278799"/>
                  </a:lnTo>
                  <a:lnTo>
                    <a:pt x="492560" y="5282838"/>
                  </a:lnTo>
                  <a:lnTo>
                    <a:pt x="482649" y="5282838"/>
                  </a:lnTo>
                  <a:lnTo>
                    <a:pt x="478630" y="5278799"/>
                  </a:lnTo>
                  <a:lnTo>
                    <a:pt x="478630" y="5268928"/>
                  </a:lnTo>
                  <a:close/>
                  <a:moveTo>
                    <a:pt x="243336" y="5264889"/>
                  </a:moveTo>
                  <a:lnTo>
                    <a:pt x="253246" y="5264889"/>
                  </a:lnTo>
                  <a:lnTo>
                    <a:pt x="257265" y="5268928"/>
                  </a:lnTo>
                  <a:lnTo>
                    <a:pt x="257265" y="5278799"/>
                  </a:lnTo>
                  <a:lnTo>
                    <a:pt x="253246" y="5282838"/>
                  </a:lnTo>
                  <a:lnTo>
                    <a:pt x="243336" y="5282838"/>
                  </a:lnTo>
                  <a:lnTo>
                    <a:pt x="239317" y="5278799"/>
                  </a:lnTo>
                  <a:lnTo>
                    <a:pt x="239317" y="5268928"/>
                  </a:lnTo>
                  <a:close/>
                  <a:moveTo>
                    <a:pt x="4022" y="5264889"/>
                  </a:moveTo>
                  <a:lnTo>
                    <a:pt x="13933" y="5264889"/>
                  </a:lnTo>
                  <a:lnTo>
                    <a:pt x="17952" y="5268928"/>
                  </a:lnTo>
                  <a:lnTo>
                    <a:pt x="17952" y="5278799"/>
                  </a:lnTo>
                  <a:lnTo>
                    <a:pt x="13933" y="5282838"/>
                  </a:lnTo>
                  <a:lnTo>
                    <a:pt x="4022" y="5282838"/>
                  </a:lnTo>
                  <a:lnTo>
                    <a:pt x="3" y="5278799"/>
                  </a:lnTo>
                  <a:lnTo>
                    <a:pt x="3" y="5268928"/>
                  </a:lnTo>
                  <a:close/>
                  <a:moveTo>
                    <a:pt x="2157819" y="5025610"/>
                  </a:moveTo>
                  <a:lnTo>
                    <a:pt x="2167729" y="5025610"/>
                  </a:lnTo>
                  <a:lnTo>
                    <a:pt x="2171748" y="5029648"/>
                  </a:lnTo>
                  <a:lnTo>
                    <a:pt x="2171748" y="5039519"/>
                  </a:lnTo>
                  <a:lnTo>
                    <a:pt x="2167729" y="5043558"/>
                  </a:lnTo>
                  <a:lnTo>
                    <a:pt x="2157819" y="5043558"/>
                  </a:lnTo>
                  <a:lnTo>
                    <a:pt x="2153800" y="5039519"/>
                  </a:lnTo>
                  <a:lnTo>
                    <a:pt x="2153800" y="5029648"/>
                  </a:lnTo>
                  <a:close/>
                  <a:moveTo>
                    <a:pt x="1918510" y="5025610"/>
                  </a:moveTo>
                  <a:lnTo>
                    <a:pt x="1928420" y="5025610"/>
                  </a:lnTo>
                  <a:lnTo>
                    <a:pt x="1932440" y="5029648"/>
                  </a:lnTo>
                  <a:lnTo>
                    <a:pt x="1932440" y="5039519"/>
                  </a:lnTo>
                  <a:lnTo>
                    <a:pt x="1928420" y="5043558"/>
                  </a:lnTo>
                  <a:lnTo>
                    <a:pt x="1918510" y="5043558"/>
                  </a:lnTo>
                  <a:lnTo>
                    <a:pt x="1914492" y="5039519"/>
                  </a:lnTo>
                  <a:lnTo>
                    <a:pt x="1914492" y="5029648"/>
                  </a:lnTo>
                  <a:close/>
                  <a:moveTo>
                    <a:pt x="1679204" y="5025610"/>
                  </a:moveTo>
                  <a:lnTo>
                    <a:pt x="1689115" y="5025610"/>
                  </a:lnTo>
                  <a:lnTo>
                    <a:pt x="1693133" y="5029648"/>
                  </a:lnTo>
                  <a:lnTo>
                    <a:pt x="1693133" y="5039519"/>
                  </a:lnTo>
                  <a:lnTo>
                    <a:pt x="1689115" y="5043558"/>
                  </a:lnTo>
                  <a:lnTo>
                    <a:pt x="1679204" y="5043558"/>
                  </a:lnTo>
                  <a:lnTo>
                    <a:pt x="1675185" y="5039519"/>
                  </a:lnTo>
                  <a:lnTo>
                    <a:pt x="1675185" y="5029648"/>
                  </a:lnTo>
                  <a:close/>
                  <a:moveTo>
                    <a:pt x="1439889" y="5025610"/>
                  </a:moveTo>
                  <a:lnTo>
                    <a:pt x="1449798" y="5025610"/>
                  </a:lnTo>
                  <a:lnTo>
                    <a:pt x="1453818" y="5029648"/>
                  </a:lnTo>
                  <a:lnTo>
                    <a:pt x="1453818" y="5039519"/>
                  </a:lnTo>
                  <a:lnTo>
                    <a:pt x="1449798" y="5043558"/>
                  </a:lnTo>
                  <a:lnTo>
                    <a:pt x="1439889" y="5043558"/>
                  </a:lnTo>
                  <a:lnTo>
                    <a:pt x="1435870" y="5039519"/>
                  </a:lnTo>
                  <a:lnTo>
                    <a:pt x="1435870" y="5029648"/>
                  </a:lnTo>
                  <a:close/>
                  <a:moveTo>
                    <a:pt x="1200573" y="5025610"/>
                  </a:moveTo>
                  <a:lnTo>
                    <a:pt x="1210484" y="5025610"/>
                  </a:lnTo>
                  <a:lnTo>
                    <a:pt x="1214502" y="5029648"/>
                  </a:lnTo>
                  <a:lnTo>
                    <a:pt x="1214502" y="5039519"/>
                  </a:lnTo>
                  <a:lnTo>
                    <a:pt x="1210484" y="5043558"/>
                  </a:lnTo>
                  <a:lnTo>
                    <a:pt x="1200573" y="5043558"/>
                  </a:lnTo>
                  <a:lnTo>
                    <a:pt x="1196555" y="5039519"/>
                  </a:lnTo>
                  <a:lnTo>
                    <a:pt x="1196555" y="5029648"/>
                  </a:lnTo>
                  <a:close/>
                  <a:moveTo>
                    <a:pt x="961261" y="5025610"/>
                  </a:moveTo>
                  <a:lnTo>
                    <a:pt x="971171" y="5025610"/>
                  </a:lnTo>
                  <a:lnTo>
                    <a:pt x="975190" y="5029648"/>
                  </a:lnTo>
                  <a:lnTo>
                    <a:pt x="975190" y="5039519"/>
                  </a:lnTo>
                  <a:lnTo>
                    <a:pt x="971171" y="5043558"/>
                  </a:lnTo>
                  <a:lnTo>
                    <a:pt x="961261" y="5043558"/>
                  </a:lnTo>
                  <a:lnTo>
                    <a:pt x="957242" y="5039519"/>
                  </a:lnTo>
                  <a:lnTo>
                    <a:pt x="957242" y="5029648"/>
                  </a:lnTo>
                  <a:close/>
                  <a:moveTo>
                    <a:pt x="9572438" y="5025558"/>
                  </a:moveTo>
                  <a:lnTo>
                    <a:pt x="9582349" y="5025558"/>
                  </a:lnTo>
                  <a:lnTo>
                    <a:pt x="9586368" y="5029597"/>
                  </a:lnTo>
                  <a:lnTo>
                    <a:pt x="9586368" y="5039468"/>
                  </a:lnTo>
                  <a:lnTo>
                    <a:pt x="9582349" y="5043507"/>
                  </a:lnTo>
                  <a:lnTo>
                    <a:pt x="9572438" y="5043507"/>
                  </a:lnTo>
                  <a:lnTo>
                    <a:pt x="9568419" y="5039468"/>
                  </a:lnTo>
                  <a:lnTo>
                    <a:pt x="9568419" y="5029597"/>
                  </a:lnTo>
                  <a:close/>
                  <a:moveTo>
                    <a:pt x="9333125" y="5025558"/>
                  </a:moveTo>
                  <a:lnTo>
                    <a:pt x="9343036" y="5025558"/>
                  </a:lnTo>
                  <a:lnTo>
                    <a:pt x="9347055" y="5029597"/>
                  </a:lnTo>
                  <a:lnTo>
                    <a:pt x="9347055" y="5039468"/>
                  </a:lnTo>
                  <a:lnTo>
                    <a:pt x="9343036" y="5043507"/>
                  </a:lnTo>
                  <a:lnTo>
                    <a:pt x="9333125" y="5043507"/>
                  </a:lnTo>
                  <a:lnTo>
                    <a:pt x="9329106" y="5039468"/>
                  </a:lnTo>
                  <a:lnTo>
                    <a:pt x="9329106" y="5029597"/>
                  </a:lnTo>
                  <a:close/>
                  <a:moveTo>
                    <a:pt x="9093811" y="5025558"/>
                  </a:moveTo>
                  <a:lnTo>
                    <a:pt x="9103722" y="5025558"/>
                  </a:lnTo>
                  <a:lnTo>
                    <a:pt x="9107741" y="5029597"/>
                  </a:lnTo>
                  <a:lnTo>
                    <a:pt x="9107741" y="5039468"/>
                  </a:lnTo>
                  <a:lnTo>
                    <a:pt x="9103722" y="5043507"/>
                  </a:lnTo>
                  <a:lnTo>
                    <a:pt x="9093811" y="5043507"/>
                  </a:lnTo>
                  <a:lnTo>
                    <a:pt x="9089792" y="5039468"/>
                  </a:lnTo>
                  <a:lnTo>
                    <a:pt x="9089792" y="5029597"/>
                  </a:lnTo>
                  <a:close/>
                  <a:moveTo>
                    <a:pt x="8854496" y="5025558"/>
                  </a:moveTo>
                  <a:lnTo>
                    <a:pt x="8864407" y="5025558"/>
                  </a:lnTo>
                  <a:lnTo>
                    <a:pt x="8868426" y="5029597"/>
                  </a:lnTo>
                  <a:lnTo>
                    <a:pt x="8868426" y="5039468"/>
                  </a:lnTo>
                  <a:lnTo>
                    <a:pt x="8864407" y="5043507"/>
                  </a:lnTo>
                  <a:lnTo>
                    <a:pt x="8854496" y="5043507"/>
                  </a:lnTo>
                  <a:lnTo>
                    <a:pt x="8850477" y="5039468"/>
                  </a:lnTo>
                  <a:lnTo>
                    <a:pt x="8850477" y="5029597"/>
                  </a:lnTo>
                  <a:close/>
                  <a:moveTo>
                    <a:pt x="8615184" y="5025558"/>
                  </a:moveTo>
                  <a:lnTo>
                    <a:pt x="8625095" y="5025558"/>
                  </a:lnTo>
                  <a:lnTo>
                    <a:pt x="8629114" y="5029597"/>
                  </a:lnTo>
                  <a:lnTo>
                    <a:pt x="8629114" y="5039468"/>
                  </a:lnTo>
                  <a:lnTo>
                    <a:pt x="8625095" y="5043507"/>
                  </a:lnTo>
                  <a:lnTo>
                    <a:pt x="8615184" y="5043507"/>
                  </a:lnTo>
                  <a:lnTo>
                    <a:pt x="8611165" y="5039468"/>
                  </a:lnTo>
                  <a:lnTo>
                    <a:pt x="8611165" y="5029597"/>
                  </a:lnTo>
                  <a:close/>
                  <a:moveTo>
                    <a:pt x="8375869" y="5025558"/>
                  </a:moveTo>
                  <a:lnTo>
                    <a:pt x="8385779" y="5025558"/>
                  </a:lnTo>
                  <a:lnTo>
                    <a:pt x="8389799" y="5029597"/>
                  </a:lnTo>
                  <a:lnTo>
                    <a:pt x="8389799" y="5039468"/>
                  </a:lnTo>
                  <a:lnTo>
                    <a:pt x="8385779" y="5043507"/>
                  </a:lnTo>
                  <a:lnTo>
                    <a:pt x="8375869" y="5043507"/>
                  </a:lnTo>
                  <a:lnTo>
                    <a:pt x="8371850" y="5039468"/>
                  </a:lnTo>
                  <a:lnTo>
                    <a:pt x="8371850" y="5029597"/>
                  </a:lnTo>
                  <a:close/>
                  <a:moveTo>
                    <a:pt x="8136553" y="5025558"/>
                  </a:moveTo>
                  <a:lnTo>
                    <a:pt x="8146464" y="5025558"/>
                  </a:lnTo>
                  <a:lnTo>
                    <a:pt x="8150483" y="5029597"/>
                  </a:lnTo>
                  <a:lnTo>
                    <a:pt x="8150483" y="5039468"/>
                  </a:lnTo>
                  <a:lnTo>
                    <a:pt x="8146464" y="5043507"/>
                  </a:lnTo>
                  <a:lnTo>
                    <a:pt x="8136553" y="5043507"/>
                  </a:lnTo>
                  <a:lnTo>
                    <a:pt x="8132534" y="5039468"/>
                  </a:lnTo>
                  <a:lnTo>
                    <a:pt x="8132534" y="5029597"/>
                  </a:lnTo>
                  <a:close/>
                  <a:moveTo>
                    <a:pt x="7897241" y="5025558"/>
                  </a:moveTo>
                  <a:lnTo>
                    <a:pt x="7907151" y="5025558"/>
                  </a:lnTo>
                  <a:lnTo>
                    <a:pt x="7911170" y="5029597"/>
                  </a:lnTo>
                  <a:lnTo>
                    <a:pt x="7911170" y="5039468"/>
                  </a:lnTo>
                  <a:lnTo>
                    <a:pt x="7907151" y="5043507"/>
                  </a:lnTo>
                  <a:lnTo>
                    <a:pt x="7897241" y="5043507"/>
                  </a:lnTo>
                  <a:lnTo>
                    <a:pt x="7893222" y="5039468"/>
                  </a:lnTo>
                  <a:lnTo>
                    <a:pt x="7893222" y="5029597"/>
                  </a:lnTo>
                  <a:close/>
                  <a:moveTo>
                    <a:pt x="7657926" y="5025558"/>
                  </a:moveTo>
                  <a:lnTo>
                    <a:pt x="7667836" y="5025558"/>
                  </a:lnTo>
                  <a:lnTo>
                    <a:pt x="7671855" y="5029597"/>
                  </a:lnTo>
                  <a:lnTo>
                    <a:pt x="7671855" y="5039468"/>
                  </a:lnTo>
                  <a:lnTo>
                    <a:pt x="7667836" y="5043507"/>
                  </a:lnTo>
                  <a:lnTo>
                    <a:pt x="7657926" y="5043507"/>
                  </a:lnTo>
                  <a:lnTo>
                    <a:pt x="7653906" y="5039468"/>
                  </a:lnTo>
                  <a:lnTo>
                    <a:pt x="7653906" y="5029597"/>
                  </a:lnTo>
                  <a:close/>
                  <a:moveTo>
                    <a:pt x="7418611" y="5025558"/>
                  </a:moveTo>
                  <a:lnTo>
                    <a:pt x="7428521" y="5025558"/>
                  </a:lnTo>
                  <a:lnTo>
                    <a:pt x="7432540" y="5029597"/>
                  </a:lnTo>
                  <a:lnTo>
                    <a:pt x="7432540" y="5039468"/>
                  </a:lnTo>
                  <a:lnTo>
                    <a:pt x="7428521" y="5043507"/>
                  </a:lnTo>
                  <a:lnTo>
                    <a:pt x="7418611" y="5043507"/>
                  </a:lnTo>
                  <a:lnTo>
                    <a:pt x="7414592" y="5039468"/>
                  </a:lnTo>
                  <a:lnTo>
                    <a:pt x="7414592" y="5029597"/>
                  </a:lnTo>
                  <a:close/>
                  <a:moveTo>
                    <a:pt x="7179298" y="5025558"/>
                  </a:moveTo>
                  <a:lnTo>
                    <a:pt x="7189209" y="5025558"/>
                  </a:lnTo>
                  <a:lnTo>
                    <a:pt x="7193228" y="5029597"/>
                  </a:lnTo>
                  <a:lnTo>
                    <a:pt x="7193228" y="5039468"/>
                  </a:lnTo>
                  <a:lnTo>
                    <a:pt x="7189209" y="5043507"/>
                  </a:lnTo>
                  <a:lnTo>
                    <a:pt x="7179298" y="5043507"/>
                  </a:lnTo>
                  <a:lnTo>
                    <a:pt x="7175279" y="5039468"/>
                  </a:lnTo>
                  <a:lnTo>
                    <a:pt x="7175279" y="5029597"/>
                  </a:lnTo>
                  <a:close/>
                  <a:moveTo>
                    <a:pt x="6939983" y="5025558"/>
                  </a:moveTo>
                  <a:lnTo>
                    <a:pt x="6949894" y="5025558"/>
                  </a:lnTo>
                  <a:lnTo>
                    <a:pt x="6953913" y="5029597"/>
                  </a:lnTo>
                  <a:lnTo>
                    <a:pt x="6953913" y="5039468"/>
                  </a:lnTo>
                  <a:lnTo>
                    <a:pt x="6949894" y="5043507"/>
                  </a:lnTo>
                  <a:lnTo>
                    <a:pt x="6939983" y="5043507"/>
                  </a:lnTo>
                  <a:lnTo>
                    <a:pt x="6935964" y="5039468"/>
                  </a:lnTo>
                  <a:lnTo>
                    <a:pt x="6935964" y="5029597"/>
                  </a:lnTo>
                  <a:close/>
                  <a:moveTo>
                    <a:pt x="6700670" y="5025558"/>
                  </a:moveTo>
                  <a:lnTo>
                    <a:pt x="6710581" y="5025558"/>
                  </a:lnTo>
                  <a:lnTo>
                    <a:pt x="6714600" y="5029597"/>
                  </a:lnTo>
                  <a:lnTo>
                    <a:pt x="6714600" y="5039468"/>
                  </a:lnTo>
                  <a:lnTo>
                    <a:pt x="6710581" y="5043507"/>
                  </a:lnTo>
                  <a:lnTo>
                    <a:pt x="6700670" y="5043507"/>
                  </a:lnTo>
                  <a:lnTo>
                    <a:pt x="6696651" y="5039468"/>
                  </a:lnTo>
                  <a:lnTo>
                    <a:pt x="6696651" y="5029597"/>
                  </a:lnTo>
                  <a:close/>
                  <a:moveTo>
                    <a:pt x="6461356" y="5025558"/>
                  </a:moveTo>
                  <a:lnTo>
                    <a:pt x="6471266" y="5025558"/>
                  </a:lnTo>
                  <a:lnTo>
                    <a:pt x="6475285" y="5029597"/>
                  </a:lnTo>
                  <a:lnTo>
                    <a:pt x="6475285" y="5039468"/>
                  </a:lnTo>
                  <a:lnTo>
                    <a:pt x="6471266" y="5043507"/>
                  </a:lnTo>
                  <a:lnTo>
                    <a:pt x="6461356" y="5043507"/>
                  </a:lnTo>
                  <a:lnTo>
                    <a:pt x="6457337" y="5039468"/>
                  </a:lnTo>
                  <a:lnTo>
                    <a:pt x="6457337" y="5029597"/>
                  </a:lnTo>
                  <a:close/>
                  <a:moveTo>
                    <a:pt x="6222042" y="5025558"/>
                  </a:moveTo>
                  <a:lnTo>
                    <a:pt x="6231952" y="5025558"/>
                  </a:lnTo>
                  <a:lnTo>
                    <a:pt x="6235971" y="5029597"/>
                  </a:lnTo>
                  <a:lnTo>
                    <a:pt x="6235971" y="5039468"/>
                  </a:lnTo>
                  <a:lnTo>
                    <a:pt x="6231952" y="5043507"/>
                  </a:lnTo>
                  <a:lnTo>
                    <a:pt x="6222042" y="5043507"/>
                  </a:lnTo>
                  <a:lnTo>
                    <a:pt x="6218023" y="5039468"/>
                  </a:lnTo>
                  <a:lnTo>
                    <a:pt x="6218023" y="5029597"/>
                  </a:lnTo>
                  <a:close/>
                  <a:moveTo>
                    <a:pt x="5982729" y="5025558"/>
                  </a:moveTo>
                  <a:lnTo>
                    <a:pt x="5992639" y="5025558"/>
                  </a:lnTo>
                  <a:lnTo>
                    <a:pt x="5996658" y="5029597"/>
                  </a:lnTo>
                  <a:lnTo>
                    <a:pt x="5996658" y="5039468"/>
                  </a:lnTo>
                  <a:lnTo>
                    <a:pt x="5992639" y="5043507"/>
                  </a:lnTo>
                  <a:lnTo>
                    <a:pt x="5982729" y="5043507"/>
                  </a:lnTo>
                  <a:lnTo>
                    <a:pt x="5978710" y="5039468"/>
                  </a:lnTo>
                  <a:lnTo>
                    <a:pt x="5978710" y="5029597"/>
                  </a:lnTo>
                  <a:close/>
                  <a:moveTo>
                    <a:pt x="5743412" y="5025558"/>
                  </a:moveTo>
                  <a:lnTo>
                    <a:pt x="5753323" y="5025558"/>
                  </a:lnTo>
                  <a:lnTo>
                    <a:pt x="5757342" y="5029597"/>
                  </a:lnTo>
                  <a:lnTo>
                    <a:pt x="5757342" y="5039468"/>
                  </a:lnTo>
                  <a:lnTo>
                    <a:pt x="5753323" y="5043507"/>
                  </a:lnTo>
                  <a:lnTo>
                    <a:pt x="5743412" y="5043507"/>
                  </a:lnTo>
                  <a:lnTo>
                    <a:pt x="5739393" y="5039468"/>
                  </a:lnTo>
                  <a:lnTo>
                    <a:pt x="5739393" y="5029597"/>
                  </a:lnTo>
                  <a:close/>
                  <a:moveTo>
                    <a:pt x="5504099" y="5025558"/>
                  </a:moveTo>
                  <a:lnTo>
                    <a:pt x="5514010" y="5025558"/>
                  </a:lnTo>
                  <a:lnTo>
                    <a:pt x="5518029" y="5029597"/>
                  </a:lnTo>
                  <a:lnTo>
                    <a:pt x="5518029" y="5039468"/>
                  </a:lnTo>
                  <a:lnTo>
                    <a:pt x="5514010" y="5043507"/>
                  </a:lnTo>
                  <a:lnTo>
                    <a:pt x="5504099" y="5043507"/>
                  </a:lnTo>
                  <a:lnTo>
                    <a:pt x="5500080" y="5039468"/>
                  </a:lnTo>
                  <a:lnTo>
                    <a:pt x="5500080" y="5029597"/>
                  </a:lnTo>
                  <a:close/>
                  <a:moveTo>
                    <a:pt x="5264784" y="5025558"/>
                  </a:moveTo>
                  <a:lnTo>
                    <a:pt x="5274694" y="5025558"/>
                  </a:lnTo>
                  <a:lnTo>
                    <a:pt x="5278713" y="5029597"/>
                  </a:lnTo>
                  <a:lnTo>
                    <a:pt x="5278713" y="5039468"/>
                  </a:lnTo>
                  <a:lnTo>
                    <a:pt x="5274694" y="5043507"/>
                  </a:lnTo>
                  <a:lnTo>
                    <a:pt x="5264784" y="5043507"/>
                  </a:lnTo>
                  <a:lnTo>
                    <a:pt x="5260765" y="5039468"/>
                  </a:lnTo>
                  <a:lnTo>
                    <a:pt x="5260765" y="5029597"/>
                  </a:lnTo>
                  <a:close/>
                  <a:moveTo>
                    <a:pt x="5025470" y="5025558"/>
                  </a:moveTo>
                  <a:lnTo>
                    <a:pt x="5035381" y="5025558"/>
                  </a:lnTo>
                  <a:lnTo>
                    <a:pt x="5039400" y="5029597"/>
                  </a:lnTo>
                  <a:lnTo>
                    <a:pt x="5039400" y="5039468"/>
                  </a:lnTo>
                  <a:lnTo>
                    <a:pt x="5035381" y="5043507"/>
                  </a:lnTo>
                  <a:lnTo>
                    <a:pt x="5025470" y="5043507"/>
                  </a:lnTo>
                  <a:lnTo>
                    <a:pt x="5021451" y="5039468"/>
                  </a:lnTo>
                  <a:lnTo>
                    <a:pt x="5021451" y="5029597"/>
                  </a:lnTo>
                  <a:close/>
                  <a:moveTo>
                    <a:pt x="4786241" y="5025558"/>
                  </a:moveTo>
                  <a:lnTo>
                    <a:pt x="4796152" y="5025558"/>
                  </a:lnTo>
                  <a:lnTo>
                    <a:pt x="4800171" y="5029597"/>
                  </a:lnTo>
                  <a:lnTo>
                    <a:pt x="4800171" y="5039468"/>
                  </a:lnTo>
                  <a:lnTo>
                    <a:pt x="4796152" y="5043507"/>
                  </a:lnTo>
                  <a:lnTo>
                    <a:pt x="4786241" y="5043507"/>
                  </a:lnTo>
                  <a:lnTo>
                    <a:pt x="4782224" y="5039468"/>
                  </a:lnTo>
                  <a:lnTo>
                    <a:pt x="4782224" y="5029597"/>
                  </a:lnTo>
                  <a:close/>
                  <a:moveTo>
                    <a:pt x="4546929" y="5025558"/>
                  </a:moveTo>
                  <a:lnTo>
                    <a:pt x="4556840" y="5025558"/>
                  </a:lnTo>
                  <a:lnTo>
                    <a:pt x="4560859" y="5029597"/>
                  </a:lnTo>
                  <a:lnTo>
                    <a:pt x="4560859" y="5039468"/>
                  </a:lnTo>
                  <a:lnTo>
                    <a:pt x="4556840" y="5043507"/>
                  </a:lnTo>
                  <a:lnTo>
                    <a:pt x="4546929" y="5043507"/>
                  </a:lnTo>
                  <a:lnTo>
                    <a:pt x="4542910" y="5039468"/>
                  </a:lnTo>
                  <a:lnTo>
                    <a:pt x="4542910" y="5029597"/>
                  </a:lnTo>
                  <a:close/>
                  <a:moveTo>
                    <a:pt x="4307612" y="5025558"/>
                  </a:moveTo>
                  <a:lnTo>
                    <a:pt x="4317523" y="5025558"/>
                  </a:lnTo>
                  <a:lnTo>
                    <a:pt x="4321543" y="5029597"/>
                  </a:lnTo>
                  <a:lnTo>
                    <a:pt x="4321543" y="5039468"/>
                  </a:lnTo>
                  <a:lnTo>
                    <a:pt x="4317523" y="5043507"/>
                  </a:lnTo>
                  <a:lnTo>
                    <a:pt x="4307612" y="5043507"/>
                  </a:lnTo>
                  <a:lnTo>
                    <a:pt x="4303595" y="5039468"/>
                  </a:lnTo>
                  <a:lnTo>
                    <a:pt x="4303595" y="5029597"/>
                  </a:lnTo>
                  <a:close/>
                  <a:moveTo>
                    <a:pt x="4068297" y="5025558"/>
                  </a:moveTo>
                  <a:lnTo>
                    <a:pt x="4078210" y="5025558"/>
                  </a:lnTo>
                  <a:lnTo>
                    <a:pt x="4082229" y="5029597"/>
                  </a:lnTo>
                  <a:lnTo>
                    <a:pt x="4082229" y="5039468"/>
                  </a:lnTo>
                  <a:lnTo>
                    <a:pt x="4078210" y="5043507"/>
                  </a:lnTo>
                  <a:lnTo>
                    <a:pt x="4068297" y="5043507"/>
                  </a:lnTo>
                  <a:lnTo>
                    <a:pt x="4064278" y="5039468"/>
                  </a:lnTo>
                  <a:lnTo>
                    <a:pt x="4064278" y="5029597"/>
                  </a:lnTo>
                  <a:close/>
                  <a:moveTo>
                    <a:pt x="3828990" y="5025558"/>
                  </a:moveTo>
                  <a:lnTo>
                    <a:pt x="3838899" y="5025558"/>
                  </a:lnTo>
                  <a:lnTo>
                    <a:pt x="3842917" y="5029597"/>
                  </a:lnTo>
                  <a:lnTo>
                    <a:pt x="3842917" y="5039468"/>
                  </a:lnTo>
                  <a:lnTo>
                    <a:pt x="3838899" y="5043507"/>
                  </a:lnTo>
                  <a:lnTo>
                    <a:pt x="3828990" y="5043507"/>
                  </a:lnTo>
                  <a:lnTo>
                    <a:pt x="3824971" y="5039468"/>
                  </a:lnTo>
                  <a:lnTo>
                    <a:pt x="3824971" y="5029597"/>
                  </a:lnTo>
                  <a:close/>
                  <a:moveTo>
                    <a:pt x="3589676" y="5025558"/>
                  </a:moveTo>
                  <a:lnTo>
                    <a:pt x="3599585" y="5025558"/>
                  </a:lnTo>
                  <a:lnTo>
                    <a:pt x="3603604" y="5029597"/>
                  </a:lnTo>
                  <a:lnTo>
                    <a:pt x="3603604" y="5039468"/>
                  </a:lnTo>
                  <a:lnTo>
                    <a:pt x="3599585" y="5043507"/>
                  </a:lnTo>
                  <a:lnTo>
                    <a:pt x="3589676" y="5043507"/>
                  </a:lnTo>
                  <a:lnTo>
                    <a:pt x="3585657" y="5039468"/>
                  </a:lnTo>
                  <a:lnTo>
                    <a:pt x="3585657" y="5029597"/>
                  </a:lnTo>
                  <a:close/>
                  <a:moveTo>
                    <a:pt x="3350359" y="5025558"/>
                  </a:moveTo>
                  <a:lnTo>
                    <a:pt x="3360268" y="5025558"/>
                  </a:lnTo>
                  <a:lnTo>
                    <a:pt x="3364287" y="5029597"/>
                  </a:lnTo>
                  <a:lnTo>
                    <a:pt x="3364287" y="5039468"/>
                  </a:lnTo>
                  <a:lnTo>
                    <a:pt x="3360268" y="5043507"/>
                  </a:lnTo>
                  <a:lnTo>
                    <a:pt x="3350359" y="5043507"/>
                  </a:lnTo>
                  <a:lnTo>
                    <a:pt x="3346340" y="5039468"/>
                  </a:lnTo>
                  <a:lnTo>
                    <a:pt x="3346340" y="5029597"/>
                  </a:lnTo>
                  <a:close/>
                  <a:moveTo>
                    <a:pt x="3111048" y="5025558"/>
                  </a:moveTo>
                  <a:lnTo>
                    <a:pt x="3120959" y="5025558"/>
                  </a:lnTo>
                  <a:lnTo>
                    <a:pt x="3124977" y="5029597"/>
                  </a:lnTo>
                  <a:lnTo>
                    <a:pt x="3124977" y="5039468"/>
                  </a:lnTo>
                  <a:lnTo>
                    <a:pt x="3120959" y="5043507"/>
                  </a:lnTo>
                  <a:lnTo>
                    <a:pt x="3111048" y="5043507"/>
                  </a:lnTo>
                  <a:lnTo>
                    <a:pt x="3107029" y="5039468"/>
                  </a:lnTo>
                  <a:lnTo>
                    <a:pt x="3107029" y="5029597"/>
                  </a:lnTo>
                  <a:close/>
                  <a:moveTo>
                    <a:pt x="2871737" y="5025558"/>
                  </a:moveTo>
                  <a:lnTo>
                    <a:pt x="2881646" y="5025558"/>
                  </a:lnTo>
                  <a:lnTo>
                    <a:pt x="2885666" y="5029597"/>
                  </a:lnTo>
                  <a:lnTo>
                    <a:pt x="2885666" y="5039468"/>
                  </a:lnTo>
                  <a:lnTo>
                    <a:pt x="2881646" y="5043507"/>
                  </a:lnTo>
                  <a:lnTo>
                    <a:pt x="2871737" y="5043507"/>
                  </a:lnTo>
                  <a:lnTo>
                    <a:pt x="2867717" y="5039468"/>
                  </a:lnTo>
                  <a:lnTo>
                    <a:pt x="2867717" y="5029597"/>
                  </a:lnTo>
                  <a:close/>
                  <a:moveTo>
                    <a:pt x="2632423" y="5025558"/>
                  </a:moveTo>
                  <a:lnTo>
                    <a:pt x="2642334" y="5025558"/>
                  </a:lnTo>
                  <a:lnTo>
                    <a:pt x="2646352" y="5029597"/>
                  </a:lnTo>
                  <a:lnTo>
                    <a:pt x="2646352" y="5039468"/>
                  </a:lnTo>
                  <a:lnTo>
                    <a:pt x="2642334" y="5043507"/>
                  </a:lnTo>
                  <a:lnTo>
                    <a:pt x="2632423" y="5043507"/>
                  </a:lnTo>
                  <a:lnTo>
                    <a:pt x="2628404" y="5039468"/>
                  </a:lnTo>
                  <a:lnTo>
                    <a:pt x="2628404" y="5029597"/>
                  </a:lnTo>
                  <a:close/>
                  <a:moveTo>
                    <a:pt x="2393104" y="5025558"/>
                  </a:moveTo>
                  <a:lnTo>
                    <a:pt x="2403015" y="5025558"/>
                  </a:lnTo>
                  <a:lnTo>
                    <a:pt x="2407034" y="5029597"/>
                  </a:lnTo>
                  <a:lnTo>
                    <a:pt x="2407034" y="5039468"/>
                  </a:lnTo>
                  <a:lnTo>
                    <a:pt x="2403015" y="5043507"/>
                  </a:lnTo>
                  <a:lnTo>
                    <a:pt x="2393104" y="5043507"/>
                  </a:lnTo>
                  <a:lnTo>
                    <a:pt x="2389087" y="5039468"/>
                  </a:lnTo>
                  <a:lnTo>
                    <a:pt x="2389087" y="5029597"/>
                  </a:lnTo>
                  <a:close/>
                  <a:moveTo>
                    <a:pt x="721962" y="5025558"/>
                  </a:moveTo>
                  <a:lnTo>
                    <a:pt x="731872" y="5025558"/>
                  </a:lnTo>
                  <a:lnTo>
                    <a:pt x="735891" y="5029597"/>
                  </a:lnTo>
                  <a:lnTo>
                    <a:pt x="735891" y="5039468"/>
                  </a:lnTo>
                  <a:lnTo>
                    <a:pt x="731872" y="5043507"/>
                  </a:lnTo>
                  <a:lnTo>
                    <a:pt x="721962" y="5043507"/>
                  </a:lnTo>
                  <a:lnTo>
                    <a:pt x="717944" y="5039468"/>
                  </a:lnTo>
                  <a:lnTo>
                    <a:pt x="717944" y="5029597"/>
                  </a:lnTo>
                  <a:close/>
                  <a:moveTo>
                    <a:pt x="482650" y="5025558"/>
                  </a:moveTo>
                  <a:lnTo>
                    <a:pt x="492560" y="5025558"/>
                  </a:lnTo>
                  <a:lnTo>
                    <a:pt x="496580" y="5029597"/>
                  </a:lnTo>
                  <a:lnTo>
                    <a:pt x="496580" y="5039468"/>
                  </a:lnTo>
                  <a:lnTo>
                    <a:pt x="492560" y="5043507"/>
                  </a:lnTo>
                  <a:lnTo>
                    <a:pt x="482650" y="5043507"/>
                  </a:lnTo>
                  <a:lnTo>
                    <a:pt x="478631" y="5039468"/>
                  </a:lnTo>
                  <a:lnTo>
                    <a:pt x="478631" y="5029597"/>
                  </a:lnTo>
                  <a:close/>
                  <a:moveTo>
                    <a:pt x="243336" y="5025558"/>
                  </a:moveTo>
                  <a:lnTo>
                    <a:pt x="253247" y="5025558"/>
                  </a:lnTo>
                  <a:lnTo>
                    <a:pt x="257266" y="5029597"/>
                  </a:lnTo>
                  <a:lnTo>
                    <a:pt x="257266" y="5039468"/>
                  </a:lnTo>
                  <a:lnTo>
                    <a:pt x="253247" y="5043507"/>
                  </a:lnTo>
                  <a:lnTo>
                    <a:pt x="243336" y="5043507"/>
                  </a:lnTo>
                  <a:lnTo>
                    <a:pt x="239317" y="5039468"/>
                  </a:lnTo>
                  <a:lnTo>
                    <a:pt x="239317" y="5029597"/>
                  </a:lnTo>
                  <a:close/>
                  <a:moveTo>
                    <a:pt x="4024" y="5025558"/>
                  </a:moveTo>
                  <a:lnTo>
                    <a:pt x="13933" y="5025558"/>
                  </a:lnTo>
                  <a:lnTo>
                    <a:pt x="17952" y="5029597"/>
                  </a:lnTo>
                  <a:lnTo>
                    <a:pt x="17952" y="5039468"/>
                  </a:lnTo>
                  <a:lnTo>
                    <a:pt x="13933" y="5043507"/>
                  </a:lnTo>
                  <a:lnTo>
                    <a:pt x="4024" y="5043507"/>
                  </a:lnTo>
                  <a:lnTo>
                    <a:pt x="4" y="5039468"/>
                  </a:lnTo>
                  <a:lnTo>
                    <a:pt x="4" y="5029597"/>
                  </a:lnTo>
                  <a:close/>
                  <a:moveTo>
                    <a:pt x="9572438" y="4786279"/>
                  </a:moveTo>
                  <a:lnTo>
                    <a:pt x="9582349" y="4786279"/>
                  </a:lnTo>
                  <a:lnTo>
                    <a:pt x="9586368" y="4790317"/>
                  </a:lnTo>
                  <a:lnTo>
                    <a:pt x="9586368" y="4800188"/>
                  </a:lnTo>
                  <a:lnTo>
                    <a:pt x="9582349" y="4804227"/>
                  </a:lnTo>
                  <a:lnTo>
                    <a:pt x="9572438" y="4804227"/>
                  </a:lnTo>
                  <a:lnTo>
                    <a:pt x="9568419" y="4800188"/>
                  </a:lnTo>
                  <a:lnTo>
                    <a:pt x="9568419" y="4790317"/>
                  </a:lnTo>
                  <a:close/>
                  <a:moveTo>
                    <a:pt x="9333125" y="4786279"/>
                  </a:moveTo>
                  <a:lnTo>
                    <a:pt x="9343036" y="4786279"/>
                  </a:lnTo>
                  <a:lnTo>
                    <a:pt x="9347055" y="4790317"/>
                  </a:lnTo>
                  <a:lnTo>
                    <a:pt x="9347055" y="4800188"/>
                  </a:lnTo>
                  <a:lnTo>
                    <a:pt x="9343036" y="4804227"/>
                  </a:lnTo>
                  <a:lnTo>
                    <a:pt x="9333125" y="4804227"/>
                  </a:lnTo>
                  <a:lnTo>
                    <a:pt x="9329106" y="4800188"/>
                  </a:lnTo>
                  <a:lnTo>
                    <a:pt x="9329106" y="4790317"/>
                  </a:lnTo>
                  <a:close/>
                  <a:moveTo>
                    <a:pt x="9093811" y="4786279"/>
                  </a:moveTo>
                  <a:lnTo>
                    <a:pt x="9103722" y="4786279"/>
                  </a:lnTo>
                  <a:lnTo>
                    <a:pt x="9107741" y="4790317"/>
                  </a:lnTo>
                  <a:lnTo>
                    <a:pt x="9107741" y="4800188"/>
                  </a:lnTo>
                  <a:lnTo>
                    <a:pt x="9103722" y="4804227"/>
                  </a:lnTo>
                  <a:lnTo>
                    <a:pt x="9093811" y="4804227"/>
                  </a:lnTo>
                  <a:lnTo>
                    <a:pt x="9089792" y="4800188"/>
                  </a:lnTo>
                  <a:lnTo>
                    <a:pt x="9089792" y="4790317"/>
                  </a:lnTo>
                  <a:close/>
                  <a:moveTo>
                    <a:pt x="8854496" y="4786279"/>
                  </a:moveTo>
                  <a:lnTo>
                    <a:pt x="8864407" y="4786279"/>
                  </a:lnTo>
                  <a:lnTo>
                    <a:pt x="8868426" y="4790317"/>
                  </a:lnTo>
                  <a:lnTo>
                    <a:pt x="8868426" y="4800188"/>
                  </a:lnTo>
                  <a:lnTo>
                    <a:pt x="8864407" y="4804227"/>
                  </a:lnTo>
                  <a:lnTo>
                    <a:pt x="8854496" y="4804227"/>
                  </a:lnTo>
                  <a:lnTo>
                    <a:pt x="8850477" y="4800188"/>
                  </a:lnTo>
                  <a:lnTo>
                    <a:pt x="8850477" y="4790317"/>
                  </a:lnTo>
                  <a:close/>
                  <a:moveTo>
                    <a:pt x="8615184" y="4786279"/>
                  </a:moveTo>
                  <a:lnTo>
                    <a:pt x="8625095" y="4786279"/>
                  </a:lnTo>
                  <a:lnTo>
                    <a:pt x="8629114" y="4790317"/>
                  </a:lnTo>
                  <a:lnTo>
                    <a:pt x="8629114" y="4800188"/>
                  </a:lnTo>
                  <a:lnTo>
                    <a:pt x="8625095" y="4804227"/>
                  </a:lnTo>
                  <a:lnTo>
                    <a:pt x="8615184" y="4804227"/>
                  </a:lnTo>
                  <a:lnTo>
                    <a:pt x="8611165" y="4800188"/>
                  </a:lnTo>
                  <a:lnTo>
                    <a:pt x="8611165" y="4790317"/>
                  </a:lnTo>
                  <a:close/>
                  <a:moveTo>
                    <a:pt x="8375869" y="4786279"/>
                  </a:moveTo>
                  <a:lnTo>
                    <a:pt x="8385779" y="4786279"/>
                  </a:lnTo>
                  <a:lnTo>
                    <a:pt x="8389799" y="4790317"/>
                  </a:lnTo>
                  <a:lnTo>
                    <a:pt x="8389799" y="4800188"/>
                  </a:lnTo>
                  <a:lnTo>
                    <a:pt x="8385779" y="4804227"/>
                  </a:lnTo>
                  <a:lnTo>
                    <a:pt x="8375869" y="4804227"/>
                  </a:lnTo>
                  <a:lnTo>
                    <a:pt x="8371850" y="4800188"/>
                  </a:lnTo>
                  <a:lnTo>
                    <a:pt x="8371850" y="4790317"/>
                  </a:lnTo>
                  <a:close/>
                  <a:moveTo>
                    <a:pt x="8136553" y="4786279"/>
                  </a:moveTo>
                  <a:lnTo>
                    <a:pt x="8146464" y="4786279"/>
                  </a:lnTo>
                  <a:lnTo>
                    <a:pt x="8150483" y="4790317"/>
                  </a:lnTo>
                  <a:lnTo>
                    <a:pt x="8150483" y="4800188"/>
                  </a:lnTo>
                  <a:lnTo>
                    <a:pt x="8146464" y="4804227"/>
                  </a:lnTo>
                  <a:lnTo>
                    <a:pt x="8136553" y="4804227"/>
                  </a:lnTo>
                  <a:lnTo>
                    <a:pt x="8132534" y="4800188"/>
                  </a:lnTo>
                  <a:lnTo>
                    <a:pt x="8132534" y="4790317"/>
                  </a:lnTo>
                  <a:close/>
                  <a:moveTo>
                    <a:pt x="7897241" y="4786279"/>
                  </a:moveTo>
                  <a:lnTo>
                    <a:pt x="7907151" y="4786279"/>
                  </a:lnTo>
                  <a:lnTo>
                    <a:pt x="7911170" y="4790317"/>
                  </a:lnTo>
                  <a:lnTo>
                    <a:pt x="7911170" y="4800188"/>
                  </a:lnTo>
                  <a:lnTo>
                    <a:pt x="7907151" y="4804227"/>
                  </a:lnTo>
                  <a:lnTo>
                    <a:pt x="7897241" y="4804227"/>
                  </a:lnTo>
                  <a:lnTo>
                    <a:pt x="7893222" y="4800188"/>
                  </a:lnTo>
                  <a:lnTo>
                    <a:pt x="7893222" y="4790317"/>
                  </a:lnTo>
                  <a:close/>
                  <a:moveTo>
                    <a:pt x="7657926" y="4786279"/>
                  </a:moveTo>
                  <a:lnTo>
                    <a:pt x="7667836" y="4786279"/>
                  </a:lnTo>
                  <a:lnTo>
                    <a:pt x="7671855" y="4790317"/>
                  </a:lnTo>
                  <a:lnTo>
                    <a:pt x="7671855" y="4800188"/>
                  </a:lnTo>
                  <a:lnTo>
                    <a:pt x="7667836" y="4804227"/>
                  </a:lnTo>
                  <a:lnTo>
                    <a:pt x="7657926" y="4804227"/>
                  </a:lnTo>
                  <a:lnTo>
                    <a:pt x="7653906" y="4800188"/>
                  </a:lnTo>
                  <a:lnTo>
                    <a:pt x="7653906" y="4790317"/>
                  </a:lnTo>
                  <a:close/>
                  <a:moveTo>
                    <a:pt x="7418611" y="4786279"/>
                  </a:moveTo>
                  <a:lnTo>
                    <a:pt x="7428521" y="4786279"/>
                  </a:lnTo>
                  <a:lnTo>
                    <a:pt x="7432540" y="4790317"/>
                  </a:lnTo>
                  <a:lnTo>
                    <a:pt x="7432540" y="4800188"/>
                  </a:lnTo>
                  <a:lnTo>
                    <a:pt x="7428521" y="4804227"/>
                  </a:lnTo>
                  <a:lnTo>
                    <a:pt x="7418611" y="4804227"/>
                  </a:lnTo>
                  <a:lnTo>
                    <a:pt x="7414592" y="4800188"/>
                  </a:lnTo>
                  <a:lnTo>
                    <a:pt x="7414592" y="4790317"/>
                  </a:lnTo>
                  <a:close/>
                  <a:moveTo>
                    <a:pt x="7179298" y="4786279"/>
                  </a:moveTo>
                  <a:lnTo>
                    <a:pt x="7189209" y="4786279"/>
                  </a:lnTo>
                  <a:lnTo>
                    <a:pt x="7193228" y="4790317"/>
                  </a:lnTo>
                  <a:lnTo>
                    <a:pt x="7193228" y="4800188"/>
                  </a:lnTo>
                  <a:lnTo>
                    <a:pt x="7189209" y="4804227"/>
                  </a:lnTo>
                  <a:lnTo>
                    <a:pt x="7179298" y="4804227"/>
                  </a:lnTo>
                  <a:lnTo>
                    <a:pt x="7175279" y="4800188"/>
                  </a:lnTo>
                  <a:lnTo>
                    <a:pt x="7175279" y="4790317"/>
                  </a:lnTo>
                  <a:close/>
                  <a:moveTo>
                    <a:pt x="6939983" y="4786279"/>
                  </a:moveTo>
                  <a:lnTo>
                    <a:pt x="6949894" y="4786279"/>
                  </a:lnTo>
                  <a:lnTo>
                    <a:pt x="6953913" y="4790317"/>
                  </a:lnTo>
                  <a:lnTo>
                    <a:pt x="6953913" y="4800188"/>
                  </a:lnTo>
                  <a:lnTo>
                    <a:pt x="6949894" y="4804227"/>
                  </a:lnTo>
                  <a:lnTo>
                    <a:pt x="6939983" y="4804227"/>
                  </a:lnTo>
                  <a:lnTo>
                    <a:pt x="6935964" y="4800188"/>
                  </a:lnTo>
                  <a:lnTo>
                    <a:pt x="6935964" y="4790317"/>
                  </a:lnTo>
                  <a:close/>
                  <a:moveTo>
                    <a:pt x="6700670" y="4786279"/>
                  </a:moveTo>
                  <a:lnTo>
                    <a:pt x="6710581" y="4786279"/>
                  </a:lnTo>
                  <a:lnTo>
                    <a:pt x="6714600" y="4790317"/>
                  </a:lnTo>
                  <a:lnTo>
                    <a:pt x="6714600" y="4800188"/>
                  </a:lnTo>
                  <a:lnTo>
                    <a:pt x="6710581" y="4804227"/>
                  </a:lnTo>
                  <a:lnTo>
                    <a:pt x="6700670" y="4804227"/>
                  </a:lnTo>
                  <a:lnTo>
                    <a:pt x="6696651" y="4800188"/>
                  </a:lnTo>
                  <a:lnTo>
                    <a:pt x="6696651" y="4790317"/>
                  </a:lnTo>
                  <a:close/>
                  <a:moveTo>
                    <a:pt x="6461356" y="4786279"/>
                  </a:moveTo>
                  <a:lnTo>
                    <a:pt x="6471266" y="4786279"/>
                  </a:lnTo>
                  <a:lnTo>
                    <a:pt x="6475285" y="4790317"/>
                  </a:lnTo>
                  <a:lnTo>
                    <a:pt x="6475285" y="4800188"/>
                  </a:lnTo>
                  <a:lnTo>
                    <a:pt x="6471266" y="4804227"/>
                  </a:lnTo>
                  <a:lnTo>
                    <a:pt x="6461356" y="4804227"/>
                  </a:lnTo>
                  <a:lnTo>
                    <a:pt x="6457337" y="4800188"/>
                  </a:lnTo>
                  <a:lnTo>
                    <a:pt x="6457337" y="4790317"/>
                  </a:lnTo>
                  <a:close/>
                  <a:moveTo>
                    <a:pt x="6222042" y="4786279"/>
                  </a:moveTo>
                  <a:lnTo>
                    <a:pt x="6231952" y="4786279"/>
                  </a:lnTo>
                  <a:lnTo>
                    <a:pt x="6235971" y="4790317"/>
                  </a:lnTo>
                  <a:lnTo>
                    <a:pt x="6235971" y="4800188"/>
                  </a:lnTo>
                  <a:lnTo>
                    <a:pt x="6231952" y="4804227"/>
                  </a:lnTo>
                  <a:lnTo>
                    <a:pt x="6222042" y="4804227"/>
                  </a:lnTo>
                  <a:lnTo>
                    <a:pt x="6218023" y="4800188"/>
                  </a:lnTo>
                  <a:lnTo>
                    <a:pt x="6218023" y="4790317"/>
                  </a:lnTo>
                  <a:close/>
                  <a:moveTo>
                    <a:pt x="5982729" y="4786279"/>
                  </a:moveTo>
                  <a:lnTo>
                    <a:pt x="5992639" y="4786279"/>
                  </a:lnTo>
                  <a:lnTo>
                    <a:pt x="5996658" y="4790317"/>
                  </a:lnTo>
                  <a:lnTo>
                    <a:pt x="5996658" y="4800188"/>
                  </a:lnTo>
                  <a:lnTo>
                    <a:pt x="5992639" y="4804227"/>
                  </a:lnTo>
                  <a:lnTo>
                    <a:pt x="5982729" y="4804227"/>
                  </a:lnTo>
                  <a:lnTo>
                    <a:pt x="5978710" y="4800188"/>
                  </a:lnTo>
                  <a:lnTo>
                    <a:pt x="5978710" y="4790317"/>
                  </a:lnTo>
                  <a:close/>
                  <a:moveTo>
                    <a:pt x="5743412" y="4786279"/>
                  </a:moveTo>
                  <a:lnTo>
                    <a:pt x="5753323" y="4786279"/>
                  </a:lnTo>
                  <a:lnTo>
                    <a:pt x="5757342" y="4790317"/>
                  </a:lnTo>
                  <a:lnTo>
                    <a:pt x="5757342" y="4800188"/>
                  </a:lnTo>
                  <a:lnTo>
                    <a:pt x="5753323" y="4804227"/>
                  </a:lnTo>
                  <a:lnTo>
                    <a:pt x="5743412" y="4804227"/>
                  </a:lnTo>
                  <a:lnTo>
                    <a:pt x="5739393" y="4800188"/>
                  </a:lnTo>
                  <a:lnTo>
                    <a:pt x="5739393" y="4790317"/>
                  </a:lnTo>
                  <a:close/>
                  <a:moveTo>
                    <a:pt x="5504099" y="4786279"/>
                  </a:moveTo>
                  <a:lnTo>
                    <a:pt x="5514010" y="4786279"/>
                  </a:lnTo>
                  <a:lnTo>
                    <a:pt x="5518029" y="4790317"/>
                  </a:lnTo>
                  <a:lnTo>
                    <a:pt x="5518029" y="4800188"/>
                  </a:lnTo>
                  <a:lnTo>
                    <a:pt x="5514010" y="4804227"/>
                  </a:lnTo>
                  <a:lnTo>
                    <a:pt x="5504099" y="4804227"/>
                  </a:lnTo>
                  <a:lnTo>
                    <a:pt x="5500080" y="4800188"/>
                  </a:lnTo>
                  <a:lnTo>
                    <a:pt x="5500080" y="4790317"/>
                  </a:lnTo>
                  <a:close/>
                  <a:moveTo>
                    <a:pt x="5264784" y="4786279"/>
                  </a:moveTo>
                  <a:lnTo>
                    <a:pt x="5274694" y="4786279"/>
                  </a:lnTo>
                  <a:lnTo>
                    <a:pt x="5278713" y="4790317"/>
                  </a:lnTo>
                  <a:lnTo>
                    <a:pt x="5278713" y="4800188"/>
                  </a:lnTo>
                  <a:lnTo>
                    <a:pt x="5274694" y="4804227"/>
                  </a:lnTo>
                  <a:lnTo>
                    <a:pt x="5264784" y="4804227"/>
                  </a:lnTo>
                  <a:lnTo>
                    <a:pt x="5260765" y="4800188"/>
                  </a:lnTo>
                  <a:lnTo>
                    <a:pt x="5260765" y="4790317"/>
                  </a:lnTo>
                  <a:close/>
                  <a:moveTo>
                    <a:pt x="5025470" y="4786279"/>
                  </a:moveTo>
                  <a:lnTo>
                    <a:pt x="5035381" y="4786279"/>
                  </a:lnTo>
                  <a:lnTo>
                    <a:pt x="5039400" y="4790317"/>
                  </a:lnTo>
                  <a:lnTo>
                    <a:pt x="5039400" y="4800188"/>
                  </a:lnTo>
                  <a:lnTo>
                    <a:pt x="5035381" y="4804227"/>
                  </a:lnTo>
                  <a:lnTo>
                    <a:pt x="5025470" y="4804227"/>
                  </a:lnTo>
                  <a:lnTo>
                    <a:pt x="5021451" y="4800188"/>
                  </a:lnTo>
                  <a:lnTo>
                    <a:pt x="5021451" y="4790317"/>
                  </a:lnTo>
                  <a:close/>
                  <a:moveTo>
                    <a:pt x="4786241" y="4786279"/>
                  </a:moveTo>
                  <a:lnTo>
                    <a:pt x="4796152" y="4786279"/>
                  </a:lnTo>
                  <a:lnTo>
                    <a:pt x="4800171" y="4790317"/>
                  </a:lnTo>
                  <a:lnTo>
                    <a:pt x="4800171" y="4800188"/>
                  </a:lnTo>
                  <a:lnTo>
                    <a:pt x="4796152" y="4804227"/>
                  </a:lnTo>
                  <a:lnTo>
                    <a:pt x="4786241" y="4804227"/>
                  </a:lnTo>
                  <a:lnTo>
                    <a:pt x="4782224" y="4800188"/>
                  </a:lnTo>
                  <a:lnTo>
                    <a:pt x="4782224" y="4790317"/>
                  </a:lnTo>
                  <a:close/>
                  <a:moveTo>
                    <a:pt x="4546929" y="4786279"/>
                  </a:moveTo>
                  <a:lnTo>
                    <a:pt x="4556840" y="4786279"/>
                  </a:lnTo>
                  <a:lnTo>
                    <a:pt x="4560859" y="4790317"/>
                  </a:lnTo>
                  <a:lnTo>
                    <a:pt x="4560859" y="4800188"/>
                  </a:lnTo>
                  <a:lnTo>
                    <a:pt x="4556840" y="4804227"/>
                  </a:lnTo>
                  <a:lnTo>
                    <a:pt x="4546929" y="4804227"/>
                  </a:lnTo>
                  <a:lnTo>
                    <a:pt x="4542910" y="4800188"/>
                  </a:lnTo>
                  <a:lnTo>
                    <a:pt x="4542910" y="4790317"/>
                  </a:lnTo>
                  <a:close/>
                  <a:moveTo>
                    <a:pt x="4307612" y="4786279"/>
                  </a:moveTo>
                  <a:lnTo>
                    <a:pt x="4317523" y="4786279"/>
                  </a:lnTo>
                  <a:lnTo>
                    <a:pt x="4321543" y="4790317"/>
                  </a:lnTo>
                  <a:lnTo>
                    <a:pt x="4321543" y="4800188"/>
                  </a:lnTo>
                  <a:lnTo>
                    <a:pt x="4317523" y="4804227"/>
                  </a:lnTo>
                  <a:lnTo>
                    <a:pt x="4307612" y="4804227"/>
                  </a:lnTo>
                  <a:lnTo>
                    <a:pt x="4303595" y="4800188"/>
                  </a:lnTo>
                  <a:lnTo>
                    <a:pt x="4303595" y="4790317"/>
                  </a:lnTo>
                  <a:close/>
                  <a:moveTo>
                    <a:pt x="4068297" y="4786279"/>
                  </a:moveTo>
                  <a:lnTo>
                    <a:pt x="4078210" y="4786279"/>
                  </a:lnTo>
                  <a:lnTo>
                    <a:pt x="4082229" y="4790317"/>
                  </a:lnTo>
                  <a:lnTo>
                    <a:pt x="4082229" y="4800188"/>
                  </a:lnTo>
                  <a:lnTo>
                    <a:pt x="4078210" y="4804227"/>
                  </a:lnTo>
                  <a:lnTo>
                    <a:pt x="4068297" y="4804227"/>
                  </a:lnTo>
                  <a:lnTo>
                    <a:pt x="4064278" y="4800188"/>
                  </a:lnTo>
                  <a:lnTo>
                    <a:pt x="4064278" y="4790317"/>
                  </a:lnTo>
                  <a:close/>
                  <a:moveTo>
                    <a:pt x="3828990" y="4786279"/>
                  </a:moveTo>
                  <a:lnTo>
                    <a:pt x="3838899" y="4786279"/>
                  </a:lnTo>
                  <a:lnTo>
                    <a:pt x="3842917" y="4790317"/>
                  </a:lnTo>
                  <a:lnTo>
                    <a:pt x="3842917" y="4800188"/>
                  </a:lnTo>
                  <a:lnTo>
                    <a:pt x="3838899" y="4804227"/>
                  </a:lnTo>
                  <a:lnTo>
                    <a:pt x="3828990" y="4804227"/>
                  </a:lnTo>
                  <a:lnTo>
                    <a:pt x="3824971" y="4800188"/>
                  </a:lnTo>
                  <a:lnTo>
                    <a:pt x="3824971" y="4790317"/>
                  </a:lnTo>
                  <a:close/>
                  <a:moveTo>
                    <a:pt x="3589676" y="4786279"/>
                  </a:moveTo>
                  <a:lnTo>
                    <a:pt x="3599585" y="4786279"/>
                  </a:lnTo>
                  <a:lnTo>
                    <a:pt x="3603604" y="4790317"/>
                  </a:lnTo>
                  <a:lnTo>
                    <a:pt x="3603604" y="4800188"/>
                  </a:lnTo>
                  <a:lnTo>
                    <a:pt x="3599585" y="4804227"/>
                  </a:lnTo>
                  <a:lnTo>
                    <a:pt x="3589676" y="4804227"/>
                  </a:lnTo>
                  <a:lnTo>
                    <a:pt x="3585657" y="4800188"/>
                  </a:lnTo>
                  <a:lnTo>
                    <a:pt x="3585657" y="4790317"/>
                  </a:lnTo>
                  <a:close/>
                  <a:moveTo>
                    <a:pt x="3350359" y="4786279"/>
                  </a:moveTo>
                  <a:lnTo>
                    <a:pt x="3360268" y="4786279"/>
                  </a:lnTo>
                  <a:lnTo>
                    <a:pt x="3364287" y="4790317"/>
                  </a:lnTo>
                  <a:lnTo>
                    <a:pt x="3364287" y="4800188"/>
                  </a:lnTo>
                  <a:lnTo>
                    <a:pt x="3360268" y="4804227"/>
                  </a:lnTo>
                  <a:lnTo>
                    <a:pt x="3350359" y="4804227"/>
                  </a:lnTo>
                  <a:lnTo>
                    <a:pt x="3346340" y="4800188"/>
                  </a:lnTo>
                  <a:lnTo>
                    <a:pt x="3346340" y="4790317"/>
                  </a:lnTo>
                  <a:close/>
                  <a:moveTo>
                    <a:pt x="3111048" y="4786279"/>
                  </a:moveTo>
                  <a:lnTo>
                    <a:pt x="3120959" y="4786279"/>
                  </a:lnTo>
                  <a:lnTo>
                    <a:pt x="3124977" y="4790317"/>
                  </a:lnTo>
                  <a:lnTo>
                    <a:pt x="3124977" y="4800188"/>
                  </a:lnTo>
                  <a:lnTo>
                    <a:pt x="3120959" y="4804227"/>
                  </a:lnTo>
                  <a:lnTo>
                    <a:pt x="3111048" y="4804227"/>
                  </a:lnTo>
                  <a:lnTo>
                    <a:pt x="3107029" y="4800188"/>
                  </a:lnTo>
                  <a:lnTo>
                    <a:pt x="3107029" y="4790317"/>
                  </a:lnTo>
                  <a:close/>
                  <a:moveTo>
                    <a:pt x="2871737" y="4786279"/>
                  </a:moveTo>
                  <a:lnTo>
                    <a:pt x="2881646" y="4786279"/>
                  </a:lnTo>
                  <a:lnTo>
                    <a:pt x="2885666" y="4790317"/>
                  </a:lnTo>
                  <a:lnTo>
                    <a:pt x="2885666" y="4800188"/>
                  </a:lnTo>
                  <a:lnTo>
                    <a:pt x="2881646" y="4804227"/>
                  </a:lnTo>
                  <a:lnTo>
                    <a:pt x="2871737" y="4804227"/>
                  </a:lnTo>
                  <a:lnTo>
                    <a:pt x="2867717" y="4800188"/>
                  </a:lnTo>
                  <a:lnTo>
                    <a:pt x="2867717" y="4790317"/>
                  </a:lnTo>
                  <a:close/>
                  <a:moveTo>
                    <a:pt x="2632423" y="4786279"/>
                  </a:moveTo>
                  <a:lnTo>
                    <a:pt x="2642334" y="4786279"/>
                  </a:lnTo>
                  <a:lnTo>
                    <a:pt x="2646352" y="4790317"/>
                  </a:lnTo>
                  <a:lnTo>
                    <a:pt x="2646352" y="4800188"/>
                  </a:lnTo>
                  <a:lnTo>
                    <a:pt x="2642334" y="4804227"/>
                  </a:lnTo>
                  <a:lnTo>
                    <a:pt x="2632423" y="4804227"/>
                  </a:lnTo>
                  <a:lnTo>
                    <a:pt x="2628404" y="4800188"/>
                  </a:lnTo>
                  <a:lnTo>
                    <a:pt x="2628404" y="4790317"/>
                  </a:lnTo>
                  <a:close/>
                  <a:moveTo>
                    <a:pt x="2393104" y="4786279"/>
                  </a:moveTo>
                  <a:lnTo>
                    <a:pt x="2403015" y="4786279"/>
                  </a:lnTo>
                  <a:lnTo>
                    <a:pt x="2407034" y="4790317"/>
                  </a:lnTo>
                  <a:lnTo>
                    <a:pt x="2407034" y="4800188"/>
                  </a:lnTo>
                  <a:lnTo>
                    <a:pt x="2403015" y="4804227"/>
                  </a:lnTo>
                  <a:lnTo>
                    <a:pt x="2393104" y="4804227"/>
                  </a:lnTo>
                  <a:lnTo>
                    <a:pt x="2389087" y="4800188"/>
                  </a:lnTo>
                  <a:lnTo>
                    <a:pt x="2389087" y="4790317"/>
                  </a:lnTo>
                  <a:close/>
                  <a:moveTo>
                    <a:pt x="2157819" y="4786279"/>
                  </a:moveTo>
                  <a:lnTo>
                    <a:pt x="2167729" y="4786279"/>
                  </a:lnTo>
                  <a:lnTo>
                    <a:pt x="2171748" y="4790317"/>
                  </a:lnTo>
                  <a:lnTo>
                    <a:pt x="2171748" y="4800188"/>
                  </a:lnTo>
                  <a:lnTo>
                    <a:pt x="2167729" y="4804227"/>
                  </a:lnTo>
                  <a:lnTo>
                    <a:pt x="2157819" y="4804227"/>
                  </a:lnTo>
                  <a:lnTo>
                    <a:pt x="2153800" y="4800188"/>
                  </a:lnTo>
                  <a:lnTo>
                    <a:pt x="2153800" y="4790317"/>
                  </a:lnTo>
                  <a:close/>
                  <a:moveTo>
                    <a:pt x="1918510" y="4786279"/>
                  </a:moveTo>
                  <a:lnTo>
                    <a:pt x="1928420" y="4786279"/>
                  </a:lnTo>
                  <a:lnTo>
                    <a:pt x="1932440" y="4790317"/>
                  </a:lnTo>
                  <a:lnTo>
                    <a:pt x="1932440" y="4800188"/>
                  </a:lnTo>
                  <a:lnTo>
                    <a:pt x="1928420" y="4804227"/>
                  </a:lnTo>
                  <a:lnTo>
                    <a:pt x="1918510" y="4804227"/>
                  </a:lnTo>
                  <a:lnTo>
                    <a:pt x="1914492" y="4800188"/>
                  </a:lnTo>
                  <a:lnTo>
                    <a:pt x="1914492" y="4790317"/>
                  </a:lnTo>
                  <a:close/>
                  <a:moveTo>
                    <a:pt x="1679205" y="4786279"/>
                  </a:moveTo>
                  <a:lnTo>
                    <a:pt x="1689115" y="4786279"/>
                  </a:lnTo>
                  <a:lnTo>
                    <a:pt x="1693134" y="4790317"/>
                  </a:lnTo>
                  <a:lnTo>
                    <a:pt x="1693134" y="4800188"/>
                  </a:lnTo>
                  <a:lnTo>
                    <a:pt x="1689115" y="4804227"/>
                  </a:lnTo>
                  <a:lnTo>
                    <a:pt x="1679205" y="4804227"/>
                  </a:lnTo>
                  <a:lnTo>
                    <a:pt x="1675187" y="4800188"/>
                  </a:lnTo>
                  <a:lnTo>
                    <a:pt x="1675187" y="4790317"/>
                  </a:lnTo>
                  <a:close/>
                  <a:moveTo>
                    <a:pt x="1439890" y="4786279"/>
                  </a:moveTo>
                  <a:lnTo>
                    <a:pt x="1449800" y="4786279"/>
                  </a:lnTo>
                  <a:lnTo>
                    <a:pt x="1453818" y="4790317"/>
                  </a:lnTo>
                  <a:lnTo>
                    <a:pt x="1453818" y="4800188"/>
                  </a:lnTo>
                  <a:lnTo>
                    <a:pt x="1449800" y="4804227"/>
                  </a:lnTo>
                  <a:lnTo>
                    <a:pt x="1439890" y="4804227"/>
                  </a:lnTo>
                  <a:lnTo>
                    <a:pt x="1435870" y="4800188"/>
                  </a:lnTo>
                  <a:lnTo>
                    <a:pt x="1435870" y="4790317"/>
                  </a:lnTo>
                  <a:close/>
                  <a:moveTo>
                    <a:pt x="1200574" y="4786279"/>
                  </a:moveTo>
                  <a:lnTo>
                    <a:pt x="1210484" y="4786279"/>
                  </a:lnTo>
                  <a:lnTo>
                    <a:pt x="1214503" y="4790317"/>
                  </a:lnTo>
                  <a:lnTo>
                    <a:pt x="1214503" y="4800188"/>
                  </a:lnTo>
                  <a:lnTo>
                    <a:pt x="1210484" y="4804227"/>
                  </a:lnTo>
                  <a:lnTo>
                    <a:pt x="1200574" y="4804227"/>
                  </a:lnTo>
                  <a:lnTo>
                    <a:pt x="1196555" y="4800188"/>
                  </a:lnTo>
                  <a:lnTo>
                    <a:pt x="1196555" y="4790317"/>
                  </a:lnTo>
                  <a:close/>
                  <a:moveTo>
                    <a:pt x="961262" y="4786279"/>
                  </a:moveTo>
                  <a:lnTo>
                    <a:pt x="971172" y="4786279"/>
                  </a:lnTo>
                  <a:lnTo>
                    <a:pt x="975190" y="4790317"/>
                  </a:lnTo>
                  <a:lnTo>
                    <a:pt x="975190" y="4800188"/>
                  </a:lnTo>
                  <a:lnTo>
                    <a:pt x="971172" y="4804227"/>
                  </a:lnTo>
                  <a:lnTo>
                    <a:pt x="961262" y="4804227"/>
                  </a:lnTo>
                  <a:lnTo>
                    <a:pt x="957242" y="4800188"/>
                  </a:lnTo>
                  <a:lnTo>
                    <a:pt x="957242" y="4790317"/>
                  </a:lnTo>
                  <a:close/>
                  <a:moveTo>
                    <a:pt x="721963" y="4786279"/>
                  </a:moveTo>
                  <a:lnTo>
                    <a:pt x="731873" y="4786279"/>
                  </a:lnTo>
                  <a:lnTo>
                    <a:pt x="735892" y="4790317"/>
                  </a:lnTo>
                  <a:lnTo>
                    <a:pt x="735892" y="4800188"/>
                  </a:lnTo>
                  <a:lnTo>
                    <a:pt x="731873" y="4804227"/>
                  </a:lnTo>
                  <a:lnTo>
                    <a:pt x="721963" y="4804227"/>
                  </a:lnTo>
                  <a:lnTo>
                    <a:pt x="717944" y="4800188"/>
                  </a:lnTo>
                  <a:lnTo>
                    <a:pt x="717944" y="4790317"/>
                  </a:lnTo>
                  <a:close/>
                  <a:moveTo>
                    <a:pt x="482651" y="4786279"/>
                  </a:moveTo>
                  <a:lnTo>
                    <a:pt x="492561" y="4786279"/>
                  </a:lnTo>
                  <a:lnTo>
                    <a:pt x="496580" y="4790317"/>
                  </a:lnTo>
                  <a:lnTo>
                    <a:pt x="496580" y="4800188"/>
                  </a:lnTo>
                  <a:lnTo>
                    <a:pt x="492561" y="4804227"/>
                  </a:lnTo>
                  <a:lnTo>
                    <a:pt x="482651" y="4804227"/>
                  </a:lnTo>
                  <a:lnTo>
                    <a:pt x="478632" y="4800188"/>
                  </a:lnTo>
                  <a:lnTo>
                    <a:pt x="478632" y="4790317"/>
                  </a:lnTo>
                  <a:close/>
                  <a:moveTo>
                    <a:pt x="243338" y="4786279"/>
                  </a:moveTo>
                  <a:lnTo>
                    <a:pt x="253247" y="4786279"/>
                  </a:lnTo>
                  <a:lnTo>
                    <a:pt x="257266" y="4790317"/>
                  </a:lnTo>
                  <a:lnTo>
                    <a:pt x="257266" y="4800188"/>
                  </a:lnTo>
                  <a:lnTo>
                    <a:pt x="253247" y="4804227"/>
                  </a:lnTo>
                  <a:lnTo>
                    <a:pt x="243338" y="4804227"/>
                  </a:lnTo>
                  <a:lnTo>
                    <a:pt x="239318" y="4800188"/>
                  </a:lnTo>
                  <a:lnTo>
                    <a:pt x="239318" y="4790317"/>
                  </a:lnTo>
                  <a:close/>
                  <a:moveTo>
                    <a:pt x="4024" y="4786279"/>
                  </a:moveTo>
                  <a:lnTo>
                    <a:pt x="13934" y="4786279"/>
                  </a:lnTo>
                  <a:lnTo>
                    <a:pt x="17954" y="4790317"/>
                  </a:lnTo>
                  <a:lnTo>
                    <a:pt x="17954" y="4800188"/>
                  </a:lnTo>
                  <a:lnTo>
                    <a:pt x="13934" y="4804227"/>
                  </a:lnTo>
                  <a:lnTo>
                    <a:pt x="4024" y="4804227"/>
                  </a:lnTo>
                  <a:lnTo>
                    <a:pt x="5" y="4800188"/>
                  </a:lnTo>
                  <a:lnTo>
                    <a:pt x="5" y="4790317"/>
                  </a:lnTo>
                  <a:close/>
                  <a:moveTo>
                    <a:pt x="2157819" y="4546999"/>
                  </a:moveTo>
                  <a:lnTo>
                    <a:pt x="2167729" y="4546999"/>
                  </a:lnTo>
                  <a:lnTo>
                    <a:pt x="2171748" y="4551038"/>
                  </a:lnTo>
                  <a:lnTo>
                    <a:pt x="2171748" y="4560909"/>
                  </a:lnTo>
                  <a:lnTo>
                    <a:pt x="2167729" y="4564948"/>
                  </a:lnTo>
                  <a:lnTo>
                    <a:pt x="2157819" y="4564948"/>
                  </a:lnTo>
                  <a:lnTo>
                    <a:pt x="2153801" y="4560909"/>
                  </a:lnTo>
                  <a:lnTo>
                    <a:pt x="2153801" y="4551038"/>
                  </a:lnTo>
                  <a:close/>
                  <a:moveTo>
                    <a:pt x="1918510" y="4546999"/>
                  </a:moveTo>
                  <a:lnTo>
                    <a:pt x="1928421" y="4546999"/>
                  </a:lnTo>
                  <a:lnTo>
                    <a:pt x="1932440" y="4551038"/>
                  </a:lnTo>
                  <a:lnTo>
                    <a:pt x="1932440" y="4560909"/>
                  </a:lnTo>
                  <a:lnTo>
                    <a:pt x="1928421" y="4564948"/>
                  </a:lnTo>
                  <a:lnTo>
                    <a:pt x="1918510" y="4564948"/>
                  </a:lnTo>
                  <a:lnTo>
                    <a:pt x="1914492" y="4560909"/>
                  </a:lnTo>
                  <a:lnTo>
                    <a:pt x="1914492" y="4551038"/>
                  </a:lnTo>
                  <a:close/>
                  <a:moveTo>
                    <a:pt x="1679206" y="4546999"/>
                  </a:moveTo>
                  <a:lnTo>
                    <a:pt x="1689116" y="4546999"/>
                  </a:lnTo>
                  <a:lnTo>
                    <a:pt x="1693134" y="4551038"/>
                  </a:lnTo>
                  <a:lnTo>
                    <a:pt x="1693134" y="4560909"/>
                  </a:lnTo>
                  <a:lnTo>
                    <a:pt x="1689116" y="4564948"/>
                  </a:lnTo>
                  <a:lnTo>
                    <a:pt x="1679206" y="4564948"/>
                  </a:lnTo>
                  <a:lnTo>
                    <a:pt x="1675187" y="4560909"/>
                  </a:lnTo>
                  <a:lnTo>
                    <a:pt x="1675187" y="4551038"/>
                  </a:lnTo>
                  <a:close/>
                  <a:moveTo>
                    <a:pt x="1439890" y="4546999"/>
                  </a:moveTo>
                  <a:lnTo>
                    <a:pt x="1449800" y="4546999"/>
                  </a:lnTo>
                  <a:lnTo>
                    <a:pt x="1453819" y="4551038"/>
                  </a:lnTo>
                  <a:lnTo>
                    <a:pt x="1453819" y="4560909"/>
                  </a:lnTo>
                  <a:lnTo>
                    <a:pt x="1449800" y="4564948"/>
                  </a:lnTo>
                  <a:lnTo>
                    <a:pt x="1439890" y="4564948"/>
                  </a:lnTo>
                  <a:lnTo>
                    <a:pt x="1435871" y="4560909"/>
                  </a:lnTo>
                  <a:lnTo>
                    <a:pt x="1435871" y="4551038"/>
                  </a:lnTo>
                  <a:close/>
                  <a:moveTo>
                    <a:pt x="1200575" y="4546999"/>
                  </a:moveTo>
                  <a:lnTo>
                    <a:pt x="1210485" y="4546999"/>
                  </a:lnTo>
                  <a:lnTo>
                    <a:pt x="1214504" y="4551038"/>
                  </a:lnTo>
                  <a:lnTo>
                    <a:pt x="1214504" y="4560909"/>
                  </a:lnTo>
                  <a:lnTo>
                    <a:pt x="1210485" y="4564948"/>
                  </a:lnTo>
                  <a:lnTo>
                    <a:pt x="1200575" y="4564948"/>
                  </a:lnTo>
                  <a:lnTo>
                    <a:pt x="1196556" y="4560909"/>
                  </a:lnTo>
                  <a:lnTo>
                    <a:pt x="1196556" y="4551038"/>
                  </a:lnTo>
                  <a:close/>
                  <a:moveTo>
                    <a:pt x="961262" y="4546999"/>
                  </a:moveTo>
                  <a:lnTo>
                    <a:pt x="971172" y="4546999"/>
                  </a:lnTo>
                  <a:lnTo>
                    <a:pt x="975191" y="4551038"/>
                  </a:lnTo>
                  <a:lnTo>
                    <a:pt x="975191" y="4560909"/>
                  </a:lnTo>
                  <a:lnTo>
                    <a:pt x="971172" y="4564948"/>
                  </a:lnTo>
                  <a:lnTo>
                    <a:pt x="961262" y="4564948"/>
                  </a:lnTo>
                  <a:lnTo>
                    <a:pt x="957243" y="4560909"/>
                  </a:lnTo>
                  <a:lnTo>
                    <a:pt x="957243" y="4551038"/>
                  </a:lnTo>
                  <a:close/>
                  <a:moveTo>
                    <a:pt x="9572438" y="4546948"/>
                  </a:moveTo>
                  <a:lnTo>
                    <a:pt x="9582349" y="4546948"/>
                  </a:lnTo>
                  <a:lnTo>
                    <a:pt x="9586368" y="4550987"/>
                  </a:lnTo>
                  <a:lnTo>
                    <a:pt x="9586368" y="4560858"/>
                  </a:lnTo>
                  <a:lnTo>
                    <a:pt x="9582349" y="4564897"/>
                  </a:lnTo>
                  <a:lnTo>
                    <a:pt x="9572438" y="4564897"/>
                  </a:lnTo>
                  <a:lnTo>
                    <a:pt x="9568419" y="4560858"/>
                  </a:lnTo>
                  <a:lnTo>
                    <a:pt x="9568419" y="4550987"/>
                  </a:lnTo>
                  <a:close/>
                  <a:moveTo>
                    <a:pt x="9333125" y="4546948"/>
                  </a:moveTo>
                  <a:lnTo>
                    <a:pt x="9343036" y="4546948"/>
                  </a:lnTo>
                  <a:lnTo>
                    <a:pt x="9347055" y="4550987"/>
                  </a:lnTo>
                  <a:lnTo>
                    <a:pt x="9347055" y="4560858"/>
                  </a:lnTo>
                  <a:lnTo>
                    <a:pt x="9343036" y="4564897"/>
                  </a:lnTo>
                  <a:lnTo>
                    <a:pt x="9333125" y="4564897"/>
                  </a:lnTo>
                  <a:lnTo>
                    <a:pt x="9329106" y="4560858"/>
                  </a:lnTo>
                  <a:lnTo>
                    <a:pt x="9329106" y="4550987"/>
                  </a:lnTo>
                  <a:close/>
                  <a:moveTo>
                    <a:pt x="9093811" y="4546948"/>
                  </a:moveTo>
                  <a:lnTo>
                    <a:pt x="9103722" y="4546948"/>
                  </a:lnTo>
                  <a:lnTo>
                    <a:pt x="9107741" y="4550987"/>
                  </a:lnTo>
                  <a:lnTo>
                    <a:pt x="9107741" y="4560858"/>
                  </a:lnTo>
                  <a:lnTo>
                    <a:pt x="9103722" y="4564897"/>
                  </a:lnTo>
                  <a:lnTo>
                    <a:pt x="9093811" y="4564897"/>
                  </a:lnTo>
                  <a:lnTo>
                    <a:pt x="9089792" y="4560858"/>
                  </a:lnTo>
                  <a:lnTo>
                    <a:pt x="9089792" y="4550987"/>
                  </a:lnTo>
                  <a:close/>
                  <a:moveTo>
                    <a:pt x="8854496" y="4546948"/>
                  </a:moveTo>
                  <a:lnTo>
                    <a:pt x="8864407" y="4546948"/>
                  </a:lnTo>
                  <a:lnTo>
                    <a:pt x="8868426" y="4550987"/>
                  </a:lnTo>
                  <a:lnTo>
                    <a:pt x="8868426" y="4560858"/>
                  </a:lnTo>
                  <a:lnTo>
                    <a:pt x="8864407" y="4564897"/>
                  </a:lnTo>
                  <a:lnTo>
                    <a:pt x="8854496" y="4564897"/>
                  </a:lnTo>
                  <a:lnTo>
                    <a:pt x="8850477" y="4560858"/>
                  </a:lnTo>
                  <a:lnTo>
                    <a:pt x="8850477" y="4550987"/>
                  </a:lnTo>
                  <a:close/>
                  <a:moveTo>
                    <a:pt x="8615184" y="4546948"/>
                  </a:moveTo>
                  <a:lnTo>
                    <a:pt x="8625095" y="4546948"/>
                  </a:lnTo>
                  <a:lnTo>
                    <a:pt x="8629114" y="4550987"/>
                  </a:lnTo>
                  <a:lnTo>
                    <a:pt x="8629114" y="4560858"/>
                  </a:lnTo>
                  <a:lnTo>
                    <a:pt x="8625095" y="4564897"/>
                  </a:lnTo>
                  <a:lnTo>
                    <a:pt x="8615184" y="4564897"/>
                  </a:lnTo>
                  <a:lnTo>
                    <a:pt x="8611165" y="4560858"/>
                  </a:lnTo>
                  <a:lnTo>
                    <a:pt x="8611165" y="4550987"/>
                  </a:lnTo>
                  <a:close/>
                  <a:moveTo>
                    <a:pt x="8375869" y="4546948"/>
                  </a:moveTo>
                  <a:lnTo>
                    <a:pt x="8385779" y="4546948"/>
                  </a:lnTo>
                  <a:lnTo>
                    <a:pt x="8389799" y="4550987"/>
                  </a:lnTo>
                  <a:lnTo>
                    <a:pt x="8389799" y="4560858"/>
                  </a:lnTo>
                  <a:lnTo>
                    <a:pt x="8385779" y="4564897"/>
                  </a:lnTo>
                  <a:lnTo>
                    <a:pt x="8375869" y="4564897"/>
                  </a:lnTo>
                  <a:lnTo>
                    <a:pt x="8371850" y="4560858"/>
                  </a:lnTo>
                  <a:lnTo>
                    <a:pt x="8371850" y="4550987"/>
                  </a:lnTo>
                  <a:close/>
                  <a:moveTo>
                    <a:pt x="8136553" y="4546948"/>
                  </a:moveTo>
                  <a:lnTo>
                    <a:pt x="8146464" y="4546948"/>
                  </a:lnTo>
                  <a:lnTo>
                    <a:pt x="8150483" y="4550987"/>
                  </a:lnTo>
                  <a:lnTo>
                    <a:pt x="8150483" y="4560858"/>
                  </a:lnTo>
                  <a:lnTo>
                    <a:pt x="8146464" y="4564897"/>
                  </a:lnTo>
                  <a:lnTo>
                    <a:pt x="8136553" y="4564897"/>
                  </a:lnTo>
                  <a:lnTo>
                    <a:pt x="8132534" y="4560858"/>
                  </a:lnTo>
                  <a:lnTo>
                    <a:pt x="8132534" y="4550987"/>
                  </a:lnTo>
                  <a:close/>
                  <a:moveTo>
                    <a:pt x="7897241" y="4546948"/>
                  </a:moveTo>
                  <a:lnTo>
                    <a:pt x="7907151" y="4546948"/>
                  </a:lnTo>
                  <a:lnTo>
                    <a:pt x="7911170" y="4550987"/>
                  </a:lnTo>
                  <a:lnTo>
                    <a:pt x="7911170" y="4560858"/>
                  </a:lnTo>
                  <a:lnTo>
                    <a:pt x="7907151" y="4564897"/>
                  </a:lnTo>
                  <a:lnTo>
                    <a:pt x="7897241" y="4564897"/>
                  </a:lnTo>
                  <a:lnTo>
                    <a:pt x="7893222" y="4560858"/>
                  </a:lnTo>
                  <a:lnTo>
                    <a:pt x="7893222" y="4550987"/>
                  </a:lnTo>
                  <a:close/>
                  <a:moveTo>
                    <a:pt x="7657926" y="4546948"/>
                  </a:moveTo>
                  <a:lnTo>
                    <a:pt x="7667836" y="4546948"/>
                  </a:lnTo>
                  <a:lnTo>
                    <a:pt x="7671855" y="4550987"/>
                  </a:lnTo>
                  <a:lnTo>
                    <a:pt x="7671855" y="4560858"/>
                  </a:lnTo>
                  <a:lnTo>
                    <a:pt x="7667836" y="4564897"/>
                  </a:lnTo>
                  <a:lnTo>
                    <a:pt x="7657926" y="4564897"/>
                  </a:lnTo>
                  <a:lnTo>
                    <a:pt x="7653906" y="4560858"/>
                  </a:lnTo>
                  <a:lnTo>
                    <a:pt x="7653906" y="4550987"/>
                  </a:lnTo>
                  <a:close/>
                  <a:moveTo>
                    <a:pt x="7418611" y="4546948"/>
                  </a:moveTo>
                  <a:lnTo>
                    <a:pt x="7428521" y="4546948"/>
                  </a:lnTo>
                  <a:lnTo>
                    <a:pt x="7432540" y="4550987"/>
                  </a:lnTo>
                  <a:lnTo>
                    <a:pt x="7432540" y="4560858"/>
                  </a:lnTo>
                  <a:lnTo>
                    <a:pt x="7428521" y="4564897"/>
                  </a:lnTo>
                  <a:lnTo>
                    <a:pt x="7418611" y="4564897"/>
                  </a:lnTo>
                  <a:lnTo>
                    <a:pt x="7414592" y="4560858"/>
                  </a:lnTo>
                  <a:lnTo>
                    <a:pt x="7414592" y="4550987"/>
                  </a:lnTo>
                  <a:close/>
                  <a:moveTo>
                    <a:pt x="7179298" y="4546948"/>
                  </a:moveTo>
                  <a:lnTo>
                    <a:pt x="7189209" y="4546948"/>
                  </a:lnTo>
                  <a:lnTo>
                    <a:pt x="7193228" y="4550987"/>
                  </a:lnTo>
                  <a:lnTo>
                    <a:pt x="7193228" y="4560858"/>
                  </a:lnTo>
                  <a:lnTo>
                    <a:pt x="7189209" y="4564897"/>
                  </a:lnTo>
                  <a:lnTo>
                    <a:pt x="7179298" y="4564897"/>
                  </a:lnTo>
                  <a:lnTo>
                    <a:pt x="7175279" y="4560858"/>
                  </a:lnTo>
                  <a:lnTo>
                    <a:pt x="7175279" y="4550987"/>
                  </a:lnTo>
                  <a:close/>
                  <a:moveTo>
                    <a:pt x="6939983" y="4546948"/>
                  </a:moveTo>
                  <a:lnTo>
                    <a:pt x="6949894" y="4546948"/>
                  </a:lnTo>
                  <a:lnTo>
                    <a:pt x="6953913" y="4550987"/>
                  </a:lnTo>
                  <a:lnTo>
                    <a:pt x="6953913" y="4560858"/>
                  </a:lnTo>
                  <a:lnTo>
                    <a:pt x="6949894" y="4564897"/>
                  </a:lnTo>
                  <a:lnTo>
                    <a:pt x="6939983" y="4564897"/>
                  </a:lnTo>
                  <a:lnTo>
                    <a:pt x="6935964" y="4560858"/>
                  </a:lnTo>
                  <a:lnTo>
                    <a:pt x="6935964" y="4550987"/>
                  </a:lnTo>
                  <a:close/>
                  <a:moveTo>
                    <a:pt x="6700670" y="4546948"/>
                  </a:moveTo>
                  <a:lnTo>
                    <a:pt x="6710581" y="4546948"/>
                  </a:lnTo>
                  <a:lnTo>
                    <a:pt x="6714600" y="4550987"/>
                  </a:lnTo>
                  <a:lnTo>
                    <a:pt x="6714600" y="4560858"/>
                  </a:lnTo>
                  <a:lnTo>
                    <a:pt x="6710581" y="4564897"/>
                  </a:lnTo>
                  <a:lnTo>
                    <a:pt x="6700670" y="4564897"/>
                  </a:lnTo>
                  <a:lnTo>
                    <a:pt x="6696651" y="4560858"/>
                  </a:lnTo>
                  <a:lnTo>
                    <a:pt x="6696651" y="4550987"/>
                  </a:lnTo>
                  <a:close/>
                  <a:moveTo>
                    <a:pt x="6461356" y="4546948"/>
                  </a:moveTo>
                  <a:lnTo>
                    <a:pt x="6471266" y="4546948"/>
                  </a:lnTo>
                  <a:lnTo>
                    <a:pt x="6475285" y="4550987"/>
                  </a:lnTo>
                  <a:lnTo>
                    <a:pt x="6475285" y="4560858"/>
                  </a:lnTo>
                  <a:lnTo>
                    <a:pt x="6471266" y="4564897"/>
                  </a:lnTo>
                  <a:lnTo>
                    <a:pt x="6461356" y="4564897"/>
                  </a:lnTo>
                  <a:lnTo>
                    <a:pt x="6457337" y="4560858"/>
                  </a:lnTo>
                  <a:lnTo>
                    <a:pt x="6457337" y="4550987"/>
                  </a:lnTo>
                  <a:close/>
                  <a:moveTo>
                    <a:pt x="6222042" y="4546948"/>
                  </a:moveTo>
                  <a:lnTo>
                    <a:pt x="6231952" y="4546948"/>
                  </a:lnTo>
                  <a:lnTo>
                    <a:pt x="6235971" y="4550987"/>
                  </a:lnTo>
                  <a:lnTo>
                    <a:pt x="6235971" y="4560858"/>
                  </a:lnTo>
                  <a:lnTo>
                    <a:pt x="6231952" y="4564897"/>
                  </a:lnTo>
                  <a:lnTo>
                    <a:pt x="6222042" y="4564897"/>
                  </a:lnTo>
                  <a:lnTo>
                    <a:pt x="6218023" y="4560858"/>
                  </a:lnTo>
                  <a:lnTo>
                    <a:pt x="6218023" y="4550987"/>
                  </a:lnTo>
                  <a:close/>
                  <a:moveTo>
                    <a:pt x="5982729" y="4546948"/>
                  </a:moveTo>
                  <a:lnTo>
                    <a:pt x="5992639" y="4546948"/>
                  </a:lnTo>
                  <a:lnTo>
                    <a:pt x="5996658" y="4550987"/>
                  </a:lnTo>
                  <a:lnTo>
                    <a:pt x="5996658" y="4560858"/>
                  </a:lnTo>
                  <a:lnTo>
                    <a:pt x="5992639" y="4564897"/>
                  </a:lnTo>
                  <a:lnTo>
                    <a:pt x="5982729" y="4564897"/>
                  </a:lnTo>
                  <a:lnTo>
                    <a:pt x="5978710" y="4560858"/>
                  </a:lnTo>
                  <a:lnTo>
                    <a:pt x="5978710" y="4550987"/>
                  </a:lnTo>
                  <a:close/>
                  <a:moveTo>
                    <a:pt x="5743412" y="4546948"/>
                  </a:moveTo>
                  <a:lnTo>
                    <a:pt x="5753323" y="4546948"/>
                  </a:lnTo>
                  <a:lnTo>
                    <a:pt x="5757342" y="4550987"/>
                  </a:lnTo>
                  <a:lnTo>
                    <a:pt x="5757342" y="4560858"/>
                  </a:lnTo>
                  <a:lnTo>
                    <a:pt x="5753323" y="4564897"/>
                  </a:lnTo>
                  <a:lnTo>
                    <a:pt x="5743412" y="4564897"/>
                  </a:lnTo>
                  <a:lnTo>
                    <a:pt x="5739393" y="4560858"/>
                  </a:lnTo>
                  <a:lnTo>
                    <a:pt x="5739393" y="4550987"/>
                  </a:lnTo>
                  <a:close/>
                  <a:moveTo>
                    <a:pt x="5504099" y="4546948"/>
                  </a:moveTo>
                  <a:lnTo>
                    <a:pt x="5514010" y="4546948"/>
                  </a:lnTo>
                  <a:lnTo>
                    <a:pt x="5518029" y="4550987"/>
                  </a:lnTo>
                  <a:lnTo>
                    <a:pt x="5518029" y="4560858"/>
                  </a:lnTo>
                  <a:lnTo>
                    <a:pt x="5514010" y="4564897"/>
                  </a:lnTo>
                  <a:lnTo>
                    <a:pt x="5504099" y="4564897"/>
                  </a:lnTo>
                  <a:lnTo>
                    <a:pt x="5500080" y="4560858"/>
                  </a:lnTo>
                  <a:lnTo>
                    <a:pt x="5500080" y="4550987"/>
                  </a:lnTo>
                  <a:close/>
                  <a:moveTo>
                    <a:pt x="5264784" y="4546948"/>
                  </a:moveTo>
                  <a:lnTo>
                    <a:pt x="5274694" y="4546948"/>
                  </a:lnTo>
                  <a:lnTo>
                    <a:pt x="5278713" y="4550987"/>
                  </a:lnTo>
                  <a:lnTo>
                    <a:pt x="5278713" y="4560858"/>
                  </a:lnTo>
                  <a:lnTo>
                    <a:pt x="5274694" y="4564897"/>
                  </a:lnTo>
                  <a:lnTo>
                    <a:pt x="5264784" y="4564897"/>
                  </a:lnTo>
                  <a:lnTo>
                    <a:pt x="5260765" y="4560858"/>
                  </a:lnTo>
                  <a:lnTo>
                    <a:pt x="5260765" y="4550987"/>
                  </a:lnTo>
                  <a:close/>
                  <a:moveTo>
                    <a:pt x="5025470" y="4546948"/>
                  </a:moveTo>
                  <a:lnTo>
                    <a:pt x="5035381" y="4546948"/>
                  </a:lnTo>
                  <a:lnTo>
                    <a:pt x="5039400" y="4550987"/>
                  </a:lnTo>
                  <a:lnTo>
                    <a:pt x="5039400" y="4560858"/>
                  </a:lnTo>
                  <a:lnTo>
                    <a:pt x="5035381" y="4564897"/>
                  </a:lnTo>
                  <a:lnTo>
                    <a:pt x="5025470" y="4564897"/>
                  </a:lnTo>
                  <a:lnTo>
                    <a:pt x="5021451" y="4560858"/>
                  </a:lnTo>
                  <a:lnTo>
                    <a:pt x="5021451" y="4550987"/>
                  </a:lnTo>
                  <a:close/>
                  <a:moveTo>
                    <a:pt x="4786241" y="4546948"/>
                  </a:moveTo>
                  <a:lnTo>
                    <a:pt x="4796152" y="4546948"/>
                  </a:lnTo>
                  <a:lnTo>
                    <a:pt x="4800171" y="4550987"/>
                  </a:lnTo>
                  <a:lnTo>
                    <a:pt x="4800171" y="4560858"/>
                  </a:lnTo>
                  <a:lnTo>
                    <a:pt x="4796152" y="4564897"/>
                  </a:lnTo>
                  <a:lnTo>
                    <a:pt x="4786241" y="4564897"/>
                  </a:lnTo>
                  <a:lnTo>
                    <a:pt x="4782224" y="4560858"/>
                  </a:lnTo>
                  <a:lnTo>
                    <a:pt x="4782224" y="4550987"/>
                  </a:lnTo>
                  <a:close/>
                  <a:moveTo>
                    <a:pt x="4546929" y="4546948"/>
                  </a:moveTo>
                  <a:lnTo>
                    <a:pt x="4556840" y="4546948"/>
                  </a:lnTo>
                  <a:lnTo>
                    <a:pt x="4560859" y="4550987"/>
                  </a:lnTo>
                  <a:lnTo>
                    <a:pt x="4560859" y="4560858"/>
                  </a:lnTo>
                  <a:lnTo>
                    <a:pt x="4556840" y="4564897"/>
                  </a:lnTo>
                  <a:lnTo>
                    <a:pt x="4546929" y="4564897"/>
                  </a:lnTo>
                  <a:lnTo>
                    <a:pt x="4542910" y="4560858"/>
                  </a:lnTo>
                  <a:lnTo>
                    <a:pt x="4542910" y="4550987"/>
                  </a:lnTo>
                  <a:close/>
                  <a:moveTo>
                    <a:pt x="4307612" y="4546948"/>
                  </a:moveTo>
                  <a:lnTo>
                    <a:pt x="4317523" y="4546948"/>
                  </a:lnTo>
                  <a:lnTo>
                    <a:pt x="4321543" y="4550987"/>
                  </a:lnTo>
                  <a:lnTo>
                    <a:pt x="4321543" y="4560858"/>
                  </a:lnTo>
                  <a:lnTo>
                    <a:pt x="4317523" y="4564897"/>
                  </a:lnTo>
                  <a:lnTo>
                    <a:pt x="4307612" y="4564897"/>
                  </a:lnTo>
                  <a:lnTo>
                    <a:pt x="4303595" y="4560858"/>
                  </a:lnTo>
                  <a:lnTo>
                    <a:pt x="4303595" y="4550987"/>
                  </a:lnTo>
                  <a:close/>
                  <a:moveTo>
                    <a:pt x="4068297" y="4546948"/>
                  </a:moveTo>
                  <a:lnTo>
                    <a:pt x="4078210" y="4546948"/>
                  </a:lnTo>
                  <a:lnTo>
                    <a:pt x="4082229" y="4550987"/>
                  </a:lnTo>
                  <a:lnTo>
                    <a:pt x="4082229" y="4560858"/>
                  </a:lnTo>
                  <a:lnTo>
                    <a:pt x="4078210" y="4564897"/>
                  </a:lnTo>
                  <a:lnTo>
                    <a:pt x="4068297" y="4564897"/>
                  </a:lnTo>
                  <a:lnTo>
                    <a:pt x="4064278" y="4560858"/>
                  </a:lnTo>
                  <a:lnTo>
                    <a:pt x="4064278" y="4550987"/>
                  </a:lnTo>
                  <a:close/>
                  <a:moveTo>
                    <a:pt x="3828990" y="4546948"/>
                  </a:moveTo>
                  <a:lnTo>
                    <a:pt x="3838899" y="4546948"/>
                  </a:lnTo>
                  <a:lnTo>
                    <a:pt x="3842917" y="4550987"/>
                  </a:lnTo>
                  <a:lnTo>
                    <a:pt x="3842917" y="4560858"/>
                  </a:lnTo>
                  <a:lnTo>
                    <a:pt x="3838899" y="4564897"/>
                  </a:lnTo>
                  <a:lnTo>
                    <a:pt x="3828990" y="4564897"/>
                  </a:lnTo>
                  <a:lnTo>
                    <a:pt x="3824971" y="4560858"/>
                  </a:lnTo>
                  <a:lnTo>
                    <a:pt x="3824971" y="4550987"/>
                  </a:lnTo>
                  <a:close/>
                  <a:moveTo>
                    <a:pt x="3589676" y="4546948"/>
                  </a:moveTo>
                  <a:lnTo>
                    <a:pt x="3599585" y="4546948"/>
                  </a:lnTo>
                  <a:lnTo>
                    <a:pt x="3603604" y="4550987"/>
                  </a:lnTo>
                  <a:lnTo>
                    <a:pt x="3603604" y="4560858"/>
                  </a:lnTo>
                  <a:lnTo>
                    <a:pt x="3599585" y="4564897"/>
                  </a:lnTo>
                  <a:lnTo>
                    <a:pt x="3589676" y="4564897"/>
                  </a:lnTo>
                  <a:lnTo>
                    <a:pt x="3585657" y="4560858"/>
                  </a:lnTo>
                  <a:lnTo>
                    <a:pt x="3585657" y="4550987"/>
                  </a:lnTo>
                  <a:close/>
                  <a:moveTo>
                    <a:pt x="3350359" y="4546948"/>
                  </a:moveTo>
                  <a:lnTo>
                    <a:pt x="3360268" y="4546948"/>
                  </a:lnTo>
                  <a:lnTo>
                    <a:pt x="3364287" y="4550987"/>
                  </a:lnTo>
                  <a:lnTo>
                    <a:pt x="3364287" y="4560858"/>
                  </a:lnTo>
                  <a:lnTo>
                    <a:pt x="3360268" y="4564897"/>
                  </a:lnTo>
                  <a:lnTo>
                    <a:pt x="3350359" y="4564897"/>
                  </a:lnTo>
                  <a:lnTo>
                    <a:pt x="3346340" y="4560858"/>
                  </a:lnTo>
                  <a:lnTo>
                    <a:pt x="3346340" y="4550987"/>
                  </a:lnTo>
                  <a:close/>
                  <a:moveTo>
                    <a:pt x="3111048" y="4546948"/>
                  </a:moveTo>
                  <a:lnTo>
                    <a:pt x="3120959" y="4546948"/>
                  </a:lnTo>
                  <a:lnTo>
                    <a:pt x="3124977" y="4550987"/>
                  </a:lnTo>
                  <a:lnTo>
                    <a:pt x="3124977" y="4560858"/>
                  </a:lnTo>
                  <a:lnTo>
                    <a:pt x="3120959" y="4564897"/>
                  </a:lnTo>
                  <a:lnTo>
                    <a:pt x="3111048" y="4564897"/>
                  </a:lnTo>
                  <a:lnTo>
                    <a:pt x="3107029" y="4560858"/>
                  </a:lnTo>
                  <a:lnTo>
                    <a:pt x="3107029" y="4550987"/>
                  </a:lnTo>
                  <a:close/>
                  <a:moveTo>
                    <a:pt x="2871737" y="4546948"/>
                  </a:moveTo>
                  <a:lnTo>
                    <a:pt x="2881646" y="4546948"/>
                  </a:lnTo>
                  <a:lnTo>
                    <a:pt x="2885666" y="4550987"/>
                  </a:lnTo>
                  <a:lnTo>
                    <a:pt x="2885666" y="4560858"/>
                  </a:lnTo>
                  <a:lnTo>
                    <a:pt x="2881646" y="4564897"/>
                  </a:lnTo>
                  <a:lnTo>
                    <a:pt x="2871737" y="4564897"/>
                  </a:lnTo>
                  <a:lnTo>
                    <a:pt x="2867717" y="4560858"/>
                  </a:lnTo>
                  <a:lnTo>
                    <a:pt x="2867717" y="4550987"/>
                  </a:lnTo>
                  <a:close/>
                  <a:moveTo>
                    <a:pt x="2632423" y="4546948"/>
                  </a:moveTo>
                  <a:lnTo>
                    <a:pt x="2642334" y="4546948"/>
                  </a:lnTo>
                  <a:lnTo>
                    <a:pt x="2646352" y="4550987"/>
                  </a:lnTo>
                  <a:lnTo>
                    <a:pt x="2646352" y="4560858"/>
                  </a:lnTo>
                  <a:lnTo>
                    <a:pt x="2642334" y="4564897"/>
                  </a:lnTo>
                  <a:lnTo>
                    <a:pt x="2632423" y="4564897"/>
                  </a:lnTo>
                  <a:lnTo>
                    <a:pt x="2628404" y="4560858"/>
                  </a:lnTo>
                  <a:lnTo>
                    <a:pt x="2628404" y="4550987"/>
                  </a:lnTo>
                  <a:close/>
                  <a:moveTo>
                    <a:pt x="2393104" y="4546948"/>
                  </a:moveTo>
                  <a:lnTo>
                    <a:pt x="2403015" y="4546948"/>
                  </a:lnTo>
                  <a:lnTo>
                    <a:pt x="2407034" y="4550987"/>
                  </a:lnTo>
                  <a:lnTo>
                    <a:pt x="2407034" y="4560858"/>
                  </a:lnTo>
                  <a:lnTo>
                    <a:pt x="2403015" y="4564897"/>
                  </a:lnTo>
                  <a:lnTo>
                    <a:pt x="2393104" y="4564897"/>
                  </a:lnTo>
                  <a:lnTo>
                    <a:pt x="2389087" y="4560858"/>
                  </a:lnTo>
                  <a:lnTo>
                    <a:pt x="2389087" y="4550987"/>
                  </a:lnTo>
                  <a:close/>
                  <a:moveTo>
                    <a:pt x="721964" y="4546948"/>
                  </a:moveTo>
                  <a:lnTo>
                    <a:pt x="731874" y="4546948"/>
                  </a:lnTo>
                  <a:lnTo>
                    <a:pt x="735893" y="4550987"/>
                  </a:lnTo>
                  <a:lnTo>
                    <a:pt x="735893" y="4560858"/>
                  </a:lnTo>
                  <a:lnTo>
                    <a:pt x="731874" y="4564897"/>
                  </a:lnTo>
                  <a:lnTo>
                    <a:pt x="721964" y="4564897"/>
                  </a:lnTo>
                  <a:lnTo>
                    <a:pt x="717945" y="4560858"/>
                  </a:lnTo>
                  <a:lnTo>
                    <a:pt x="717945" y="4550987"/>
                  </a:lnTo>
                  <a:close/>
                  <a:moveTo>
                    <a:pt x="482651" y="4546948"/>
                  </a:moveTo>
                  <a:lnTo>
                    <a:pt x="492562" y="4546948"/>
                  </a:lnTo>
                  <a:lnTo>
                    <a:pt x="496581" y="4550987"/>
                  </a:lnTo>
                  <a:lnTo>
                    <a:pt x="496581" y="4560858"/>
                  </a:lnTo>
                  <a:lnTo>
                    <a:pt x="492562" y="4564897"/>
                  </a:lnTo>
                  <a:lnTo>
                    <a:pt x="482651" y="4564897"/>
                  </a:lnTo>
                  <a:lnTo>
                    <a:pt x="478632" y="4560858"/>
                  </a:lnTo>
                  <a:lnTo>
                    <a:pt x="478632" y="4550987"/>
                  </a:lnTo>
                  <a:close/>
                  <a:moveTo>
                    <a:pt x="243338" y="4546948"/>
                  </a:moveTo>
                  <a:lnTo>
                    <a:pt x="253248" y="4546948"/>
                  </a:lnTo>
                  <a:lnTo>
                    <a:pt x="257267" y="4550987"/>
                  </a:lnTo>
                  <a:lnTo>
                    <a:pt x="257267" y="4560858"/>
                  </a:lnTo>
                  <a:lnTo>
                    <a:pt x="253248" y="4564897"/>
                  </a:lnTo>
                  <a:lnTo>
                    <a:pt x="243338" y="4564897"/>
                  </a:lnTo>
                  <a:lnTo>
                    <a:pt x="239319" y="4560858"/>
                  </a:lnTo>
                  <a:lnTo>
                    <a:pt x="239319" y="4550987"/>
                  </a:lnTo>
                  <a:close/>
                  <a:moveTo>
                    <a:pt x="4025" y="4546948"/>
                  </a:moveTo>
                  <a:lnTo>
                    <a:pt x="13935" y="4546948"/>
                  </a:lnTo>
                  <a:lnTo>
                    <a:pt x="17954" y="4550987"/>
                  </a:lnTo>
                  <a:lnTo>
                    <a:pt x="17954" y="4560858"/>
                  </a:lnTo>
                  <a:lnTo>
                    <a:pt x="13935" y="4564897"/>
                  </a:lnTo>
                  <a:lnTo>
                    <a:pt x="4025" y="4564897"/>
                  </a:lnTo>
                  <a:lnTo>
                    <a:pt x="6" y="4560858"/>
                  </a:lnTo>
                  <a:lnTo>
                    <a:pt x="6" y="4550987"/>
                  </a:lnTo>
                  <a:close/>
                  <a:moveTo>
                    <a:pt x="2157819" y="4307669"/>
                  </a:moveTo>
                  <a:lnTo>
                    <a:pt x="2167729" y="4307669"/>
                  </a:lnTo>
                  <a:lnTo>
                    <a:pt x="2171749" y="4311708"/>
                  </a:lnTo>
                  <a:lnTo>
                    <a:pt x="2171749" y="4321579"/>
                  </a:lnTo>
                  <a:lnTo>
                    <a:pt x="2167729" y="4325618"/>
                  </a:lnTo>
                  <a:lnTo>
                    <a:pt x="2157819" y="4325618"/>
                  </a:lnTo>
                  <a:lnTo>
                    <a:pt x="2153801" y="4321579"/>
                  </a:lnTo>
                  <a:lnTo>
                    <a:pt x="2153801" y="4311708"/>
                  </a:lnTo>
                  <a:close/>
                  <a:moveTo>
                    <a:pt x="1918511" y="4307669"/>
                  </a:moveTo>
                  <a:lnTo>
                    <a:pt x="1928421" y="4307669"/>
                  </a:lnTo>
                  <a:lnTo>
                    <a:pt x="1932440" y="4311708"/>
                  </a:lnTo>
                  <a:lnTo>
                    <a:pt x="1932440" y="4321579"/>
                  </a:lnTo>
                  <a:lnTo>
                    <a:pt x="1928421" y="4325618"/>
                  </a:lnTo>
                  <a:lnTo>
                    <a:pt x="1918511" y="4325618"/>
                  </a:lnTo>
                  <a:lnTo>
                    <a:pt x="1914492" y="4321579"/>
                  </a:lnTo>
                  <a:lnTo>
                    <a:pt x="1914492" y="4311708"/>
                  </a:lnTo>
                  <a:close/>
                  <a:moveTo>
                    <a:pt x="1679206" y="4307669"/>
                  </a:moveTo>
                  <a:lnTo>
                    <a:pt x="1689117" y="4307669"/>
                  </a:lnTo>
                  <a:lnTo>
                    <a:pt x="1693136" y="4311708"/>
                  </a:lnTo>
                  <a:lnTo>
                    <a:pt x="1693136" y="4321579"/>
                  </a:lnTo>
                  <a:lnTo>
                    <a:pt x="1689117" y="4325618"/>
                  </a:lnTo>
                  <a:lnTo>
                    <a:pt x="1679206" y="4325618"/>
                  </a:lnTo>
                  <a:lnTo>
                    <a:pt x="1675188" y="4321579"/>
                  </a:lnTo>
                  <a:lnTo>
                    <a:pt x="1675188" y="4311708"/>
                  </a:lnTo>
                  <a:close/>
                  <a:moveTo>
                    <a:pt x="1439891" y="4307669"/>
                  </a:moveTo>
                  <a:lnTo>
                    <a:pt x="1449801" y="4307669"/>
                  </a:lnTo>
                  <a:lnTo>
                    <a:pt x="1453819" y="4311708"/>
                  </a:lnTo>
                  <a:lnTo>
                    <a:pt x="1453819" y="4321579"/>
                  </a:lnTo>
                  <a:lnTo>
                    <a:pt x="1449801" y="4325618"/>
                  </a:lnTo>
                  <a:lnTo>
                    <a:pt x="1439891" y="4325618"/>
                  </a:lnTo>
                  <a:lnTo>
                    <a:pt x="1435871" y="4321579"/>
                  </a:lnTo>
                  <a:lnTo>
                    <a:pt x="1435871" y="4311708"/>
                  </a:lnTo>
                  <a:close/>
                  <a:moveTo>
                    <a:pt x="1200575" y="4307669"/>
                  </a:moveTo>
                  <a:lnTo>
                    <a:pt x="1210486" y="4307669"/>
                  </a:lnTo>
                  <a:lnTo>
                    <a:pt x="1214505" y="4311708"/>
                  </a:lnTo>
                  <a:lnTo>
                    <a:pt x="1214505" y="4321579"/>
                  </a:lnTo>
                  <a:lnTo>
                    <a:pt x="1210486" y="4325618"/>
                  </a:lnTo>
                  <a:lnTo>
                    <a:pt x="1200575" y="4325618"/>
                  </a:lnTo>
                  <a:lnTo>
                    <a:pt x="1196556" y="4321579"/>
                  </a:lnTo>
                  <a:lnTo>
                    <a:pt x="1196556" y="4311708"/>
                  </a:lnTo>
                  <a:close/>
                  <a:moveTo>
                    <a:pt x="961263" y="4307669"/>
                  </a:moveTo>
                  <a:lnTo>
                    <a:pt x="971173" y="4307669"/>
                  </a:lnTo>
                  <a:lnTo>
                    <a:pt x="975191" y="4311708"/>
                  </a:lnTo>
                  <a:lnTo>
                    <a:pt x="975191" y="4321579"/>
                  </a:lnTo>
                  <a:lnTo>
                    <a:pt x="971173" y="4325618"/>
                  </a:lnTo>
                  <a:lnTo>
                    <a:pt x="961263" y="4325618"/>
                  </a:lnTo>
                  <a:lnTo>
                    <a:pt x="957244" y="4321579"/>
                  </a:lnTo>
                  <a:lnTo>
                    <a:pt x="957244" y="4311708"/>
                  </a:lnTo>
                  <a:close/>
                  <a:moveTo>
                    <a:pt x="9572438" y="4307617"/>
                  </a:moveTo>
                  <a:lnTo>
                    <a:pt x="9582349" y="4307617"/>
                  </a:lnTo>
                  <a:lnTo>
                    <a:pt x="9586368" y="4311656"/>
                  </a:lnTo>
                  <a:lnTo>
                    <a:pt x="9586368" y="4321527"/>
                  </a:lnTo>
                  <a:lnTo>
                    <a:pt x="9582349" y="4325566"/>
                  </a:lnTo>
                  <a:lnTo>
                    <a:pt x="9572438" y="4325566"/>
                  </a:lnTo>
                  <a:lnTo>
                    <a:pt x="9568419" y="4321527"/>
                  </a:lnTo>
                  <a:lnTo>
                    <a:pt x="9568419" y="4311656"/>
                  </a:lnTo>
                  <a:close/>
                  <a:moveTo>
                    <a:pt x="9333125" y="4307617"/>
                  </a:moveTo>
                  <a:lnTo>
                    <a:pt x="9343036" y="4307617"/>
                  </a:lnTo>
                  <a:lnTo>
                    <a:pt x="9347055" y="4311656"/>
                  </a:lnTo>
                  <a:lnTo>
                    <a:pt x="9347055" y="4321527"/>
                  </a:lnTo>
                  <a:lnTo>
                    <a:pt x="9343036" y="4325566"/>
                  </a:lnTo>
                  <a:lnTo>
                    <a:pt x="9333125" y="4325566"/>
                  </a:lnTo>
                  <a:lnTo>
                    <a:pt x="9329106" y="4321527"/>
                  </a:lnTo>
                  <a:lnTo>
                    <a:pt x="9329106" y="4311656"/>
                  </a:lnTo>
                  <a:close/>
                  <a:moveTo>
                    <a:pt x="9093811" y="4307617"/>
                  </a:moveTo>
                  <a:lnTo>
                    <a:pt x="9103722" y="4307617"/>
                  </a:lnTo>
                  <a:lnTo>
                    <a:pt x="9107741" y="4311656"/>
                  </a:lnTo>
                  <a:lnTo>
                    <a:pt x="9107741" y="4321527"/>
                  </a:lnTo>
                  <a:lnTo>
                    <a:pt x="9103722" y="4325566"/>
                  </a:lnTo>
                  <a:lnTo>
                    <a:pt x="9093811" y="4325566"/>
                  </a:lnTo>
                  <a:lnTo>
                    <a:pt x="9089792" y="4321527"/>
                  </a:lnTo>
                  <a:lnTo>
                    <a:pt x="9089792" y="4311656"/>
                  </a:lnTo>
                  <a:close/>
                  <a:moveTo>
                    <a:pt x="8854496" y="4307617"/>
                  </a:moveTo>
                  <a:lnTo>
                    <a:pt x="8864407" y="4307617"/>
                  </a:lnTo>
                  <a:lnTo>
                    <a:pt x="8868426" y="4311656"/>
                  </a:lnTo>
                  <a:lnTo>
                    <a:pt x="8868426" y="4321527"/>
                  </a:lnTo>
                  <a:lnTo>
                    <a:pt x="8864407" y="4325566"/>
                  </a:lnTo>
                  <a:lnTo>
                    <a:pt x="8854496" y="4325566"/>
                  </a:lnTo>
                  <a:lnTo>
                    <a:pt x="8850477" y="4321527"/>
                  </a:lnTo>
                  <a:lnTo>
                    <a:pt x="8850477" y="4311656"/>
                  </a:lnTo>
                  <a:close/>
                  <a:moveTo>
                    <a:pt x="8615184" y="4307617"/>
                  </a:moveTo>
                  <a:lnTo>
                    <a:pt x="8625095" y="4307617"/>
                  </a:lnTo>
                  <a:lnTo>
                    <a:pt x="8629114" y="4311656"/>
                  </a:lnTo>
                  <a:lnTo>
                    <a:pt x="8629114" y="4321527"/>
                  </a:lnTo>
                  <a:lnTo>
                    <a:pt x="8625095" y="4325566"/>
                  </a:lnTo>
                  <a:lnTo>
                    <a:pt x="8615184" y="4325566"/>
                  </a:lnTo>
                  <a:lnTo>
                    <a:pt x="8611165" y="4321527"/>
                  </a:lnTo>
                  <a:lnTo>
                    <a:pt x="8611165" y="4311656"/>
                  </a:lnTo>
                  <a:close/>
                  <a:moveTo>
                    <a:pt x="8375869" y="4307617"/>
                  </a:moveTo>
                  <a:lnTo>
                    <a:pt x="8385779" y="4307617"/>
                  </a:lnTo>
                  <a:lnTo>
                    <a:pt x="8389799" y="4311656"/>
                  </a:lnTo>
                  <a:lnTo>
                    <a:pt x="8389799" y="4321527"/>
                  </a:lnTo>
                  <a:lnTo>
                    <a:pt x="8385779" y="4325566"/>
                  </a:lnTo>
                  <a:lnTo>
                    <a:pt x="8375869" y="4325566"/>
                  </a:lnTo>
                  <a:lnTo>
                    <a:pt x="8371850" y="4321527"/>
                  </a:lnTo>
                  <a:lnTo>
                    <a:pt x="8371850" y="4311656"/>
                  </a:lnTo>
                  <a:close/>
                  <a:moveTo>
                    <a:pt x="8136553" y="4307617"/>
                  </a:moveTo>
                  <a:lnTo>
                    <a:pt x="8146464" y="4307617"/>
                  </a:lnTo>
                  <a:lnTo>
                    <a:pt x="8150483" y="4311656"/>
                  </a:lnTo>
                  <a:lnTo>
                    <a:pt x="8150483" y="4321527"/>
                  </a:lnTo>
                  <a:lnTo>
                    <a:pt x="8146464" y="4325566"/>
                  </a:lnTo>
                  <a:lnTo>
                    <a:pt x="8136553" y="4325566"/>
                  </a:lnTo>
                  <a:lnTo>
                    <a:pt x="8132534" y="4321527"/>
                  </a:lnTo>
                  <a:lnTo>
                    <a:pt x="8132534" y="4311656"/>
                  </a:lnTo>
                  <a:close/>
                  <a:moveTo>
                    <a:pt x="7897241" y="4307617"/>
                  </a:moveTo>
                  <a:lnTo>
                    <a:pt x="7907151" y="4307617"/>
                  </a:lnTo>
                  <a:lnTo>
                    <a:pt x="7911170" y="4311656"/>
                  </a:lnTo>
                  <a:lnTo>
                    <a:pt x="7911170" y="4321527"/>
                  </a:lnTo>
                  <a:lnTo>
                    <a:pt x="7907151" y="4325566"/>
                  </a:lnTo>
                  <a:lnTo>
                    <a:pt x="7897241" y="4325566"/>
                  </a:lnTo>
                  <a:lnTo>
                    <a:pt x="7893222" y="4321527"/>
                  </a:lnTo>
                  <a:lnTo>
                    <a:pt x="7893222" y="4311656"/>
                  </a:lnTo>
                  <a:close/>
                  <a:moveTo>
                    <a:pt x="7657926" y="4307617"/>
                  </a:moveTo>
                  <a:lnTo>
                    <a:pt x="7667836" y="4307617"/>
                  </a:lnTo>
                  <a:lnTo>
                    <a:pt x="7671855" y="4311656"/>
                  </a:lnTo>
                  <a:lnTo>
                    <a:pt x="7671855" y="4321527"/>
                  </a:lnTo>
                  <a:lnTo>
                    <a:pt x="7667836" y="4325566"/>
                  </a:lnTo>
                  <a:lnTo>
                    <a:pt x="7657926" y="4325566"/>
                  </a:lnTo>
                  <a:lnTo>
                    <a:pt x="7653906" y="4321527"/>
                  </a:lnTo>
                  <a:lnTo>
                    <a:pt x="7653906" y="4311656"/>
                  </a:lnTo>
                  <a:close/>
                  <a:moveTo>
                    <a:pt x="7418611" y="4307617"/>
                  </a:moveTo>
                  <a:lnTo>
                    <a:pt x="7428521" y="4307617"/>
                  </a:lnTo>
                  <a:lnTo>
                    <a:pt x="7432540" y="4311656"/>
                  </a:lnTo>
                  <a:lnTo>
                    <a:pt x="7432540" y="4321527"/>
                  </a:lnTo>
                  <a:lnTo>
                    <a:pt x="7428521" y="4325566"/>
                  </a:lnTo>
                  <a:lnTo>
                    <a:pt x="7418611" y="4325566"/>
                  </a:lnTo>
                  <a:lnTo>
                    <a:pt x="7414592" y="4321527"/>
                  </a:lnTo>
                  <a:lnTo>
                    <a:pt x="7414592" y="4311656"/>
                  </a:lnTo>
                  <a:close/>
                  <a:moveTo>
                    <a:pt x="7179298" y="4307617"/>
                  </a:moveTo>
                  <a:lnTo>
                    <a:pt x="7189209" y="4307617"/>
                  </a:lnTo>
                  <a:lnTo>
                    <a:pt x="7193228" y="4311656"/>
                  </a:lnTo>
                  <a:lnTo>
                    <a:pt x="7193228" y="4321527"/>
                  </a:lnTo>
                  <a:lnTo>
                    <a:pt x="7189209" y="4325566"/>
                  </a:lnTo>
                  <a:lnTo>
                    <a:pt x="7179298" y="4325566"/>
                  </a:lnTo>
                  <a:lnTo>
                    <a:pt x="7175279" y="4321527"/>
                  </a:lnTo>
                  <a:lnTo>
                    <a:pt x="7175279" y="4311656"/>
                  </a:lnTo>
                  <a:close/>
                  <a:moveTo>
                    <a:pt x="6939983" y="4307617"/>
                  </a:moveTo>
                  <a:lnTo>
                    <a:pt x="6949894" y="4307617"/>
                  </a:lnTo>
                  <a:lnTo>
                    <a:pt x="6953913" y="4311656"/>
                  </a:lnTo>
                  <a:lnTo>
                    <a:pt x="6953913" y="4321527"/>
                  </a:lnTo>
                  <a:lnTo>
                    <a:pt x="6949894" y="4325566"/>
                  </a:lnTo>
                  <a:lnTo>
                    <a:pt x="6939983" y="4325566"/>
                  </a:lnTo>
                  <a:lnTo>
                    <a:pt x="6935964" y="4321527"/>
                  </a:lnTo>
                  <a:lnTo>
                    <a:pt x="6935964" y="4311656"/>
                  </a:lnTo>
                  <a:close/>
                  <a:moveTo>
                    <a:pt x="6700670" y="4307617"/>
                  </a:moveTo>
                  <a:lnTo>
                    <a:pt x="6710581" y="4307617"/>
                  </a:lnTo>
                  <a:lnTo>
                    <a:pt x="6714600" y="4311656"/>
                  </a:lnTo>
                  <a:lnTo>
                    <a:pt x="6714600" y="4321527"/>
                  </a:lnTo>
                  <a:lnTo>
                    <a:pt x="6710581" y="4325566"/>
                  </a:lnTo>
                  <a:lnTo>
                    <a:pt x="6700670" y="4325566"/>
                  </a:lnTo>
                  <a:lnTo>
                    <a:pt x="6696651" y="4321527"/>
                  </a:lnTo>
                  <a:lnTo>
                    <a:pt x="6696651" y="4311656"/>
                  </a:lnTo>
                  <a:close/>
                  <a:moveTo>
                    <a:pt x="6461356" y="4307617"/>
                  </a:moveTo>
                  <a:lnTo>
                    <a:pt x="6471266" y="4307617"/>
                  </a:lnTo>
                  <a:lnTo>
                    <a:pt x="6475285" y="4311656"/>
                  </a:lnTo>
                  <a:lnTo>
                    <a:pt x="6475285" y="4321527"/>
                  </a:lnTo>
                  <a:lnTo>
                    <a:pt x="6471266" y="4325566"/>
                  </a:lnTo>
                  <a:lnTo>
                    <a:pt x="6461356" y="4325566"/>
                  </a:lnTo>
                  <a:lnTo>
                    <a:pt x="6457337" y="4321527"/>
                  </a:lnTo>
                  <a:lnTo>
                    <a:pt x="6457337" y="4311656"/>
                  </a:lnTo>
                  <a:close/>
                  <a:moveTo>
                    <a:pt x="6222042" y="4307617"/>
                  </a:moveTo>
                  <a:lnTo>
                    <a:pt x="6231952" y="4307617"/>
                  </a:lnTo>
                  <a:lnTo>
                    <a:pt x="6235971" y="4311656"/>
                  </a:lnTo>
                  <a:lnTo>
                    <a:pt x="6235971" y="4321527"/>
                  </a:lnTo>
                  <a:lnTo>
                    <a:pt x="6231952" y="4325566"/>
                  </a:lnTo>
                  <a:lnTo>
                    <a:pt x="6222042" y="4325566"/>
                  </a:lnTo>
                  <a:lnTo>
                    <a:pt x="6218023" y="4321527"/>
                  </a:lnTo>
                  <a:lnTo>
                    <a:pt x="6218023" y="4311656"/>
                  </a:lnTo>
                  <a:close/>
                  <a:moveTo>
                    <a:pt x="5982729" y="4307617"/>
                  </a:moveTo>
                  <a:lnTo>
                    <a:pt x="5992639" y="4307617"/>
                  </a:lnTo>
                  <a:lnTo>
                    <a:pt x="5996658" y="4311656"/>
                  </a:lnTo>
                  <a:lnTo>
                    <a:pt x="5996658" y="4321527"/>
                  </a:lnTo>
                  <a:lnTo>
                    <a:pt x="5992639" y="4325566"/>
                  </a:lnTo>
                  <a:lnTo>
                    <a:pt x="5982729" y="4325566"/>
                  </a:lnTo>
                  <a:lnTo>
                    <a:pt x="5978710" y="4321527"/>
                  </a:lnTo>
                  <a:lnTo>
                    <a:pt x="5978710" y="4311656"/>
                  </a:lnTo>
                  <a:close/>
                  <a:moveTo>
                    <a:pt x="5743412" y="4307617"/>
                  </a:moveTo>
                  <a:lnTo>
                    <a:pt x="5753323" y="4307617"/>
                  </a:lnTo>
                  <a:lnTo>
                    <a:pt x="5757342" y="4311656"/>
                  </a:lnTo>
                  <a:lnTo>
                    <a:pt x="5757342" y="4321527"/>
                  </a:lnTo>
                  <a:lnTo>
                    <a:pt x="5753323" y="4325566"/>
                  </a:lnTo>
                  <a:lnTo>
                    <a:pt x="5743412" y="4325566"/>
                  </a:lnTo>
                  <a:lnTo>
                    <a:pt x="5739393" y="4321527"/>
                  </a:lnTo>
                  <a:lnTo>
                    <a:pt x="5739393" y="4311656"/>
                  </a:lnTo>
                  <a:close/>
                  <a:moveTo>
                    <a:pt x="5504099" y="4307617"/>
                  </a:moveTo>
                  <a:lnTo>
                    <a:pt x="5514010" y="4307617"/>
                  </a:lnTo>
                  <a:lnTo>
                    <a:pt x="5518029" y="4311656"/>
                  </a:lnTo>
                  <a:lnTo>
                    <a:pt x="5518029" y="4321527"/>
                  </a:lnTo>
                  <a:lnTo>
                    <a:pt x="5514010" y="4325566"/>
                  </a:lnTo>
                  <a:lnTo>
                    <a:pt x="5504099" y="4325566"/>
                  </a:lnTo>
                  <a:lnTo>
                    <a:pt x="5500080" y="4321527"/>
                  </a:lnTo>
                  <a:lnTo>
                    <a:pt x="5500080" y="4311656"/>
                  </a:lnTo>
                  <a:close/>
                  <a:moveTo>
                    <a:pt x="5264784" y="4307617"/>
                  </a:moveTo>
                  <a:lnTo>
                    <a:pt x="5274694" y="4307617"/>
                  </a:lnTo>
                  <a:lnTo>
                    <a:pt x="5278713" y="4311656"/>
                  </a:lnTo>
                  <a:lnTo>
                    <a:pt x="5278713" y="4321527"/>
                  </a:lnTo>
                  <a:lnTo>
                    <a:pt x="5274694" y="4325566"/>
                  </a:lnTo>
                  <a:lnTo>
                    <a:pt x="5264784" y="4325566"/>
                  </a:lnTo>
                  <a:lnTo>
                    <a:pt x="5260765" y="4321527"/>
                  </a:lnTo>
                  <a:lnTo>
                    <a:pt x="5260765" y="4311656"/>
                  </a:lnTo>
                  <a:close/>
                  <a:moveTo>
                    <a:pt x="5025470" y="4307617"/>
                  </a:moveTo>
                  <a:lnTo>
                    <a:pt x="5035381" y="4307617"/>
                  </a:lnTo>
                  <a:lnTo>
                    <a:pt x="5039400" y="4311656"/>
                  </a:lnTo>
                  <a:lnTo>
                    <a:pt x="5039400" y="4321527"/>
                  </a:lnTo>
                  <a:lnTo>
                    <a:pt x="5035381" y="4325566"/>
                  </a:lnTo>
                  <a:lnTo>
                    <a:pt x="5025470" y="4325566"/>
                  </a:lnTo>
                  <a:lnTo>
                    <a:pt x="5021451" y="4321527"/>
                  </a:lnTo>
                  <a:lnTo>
                    <a:pt x="5021451" y="4311656"/>
                  </a:lnTo>
                  <a:close/>
                  <a:moveTo>
                    <a:pt x="4786241" y="4307617"/>
                  </a:moveTo>
                  <a:lnTo>
                    <a:pt x="4796152" y="4307617"/>
                  </a:lnTo>
                  <a:lnTo>
                    <a:pt x="4800171" y="4311656"/>
                  </a:lnTo>
                  <a:lnTo>
                    <a:pt x="4800171" y="4321527"/>
                  </a:lnTo>
                  <a:lnTo>
                    <a:pt x="4796152" y="4325566"/>
                  </a:lnTo>
                  <a:lnTo>
                    <a:pt x="4786241" y="4325566"/>
                  </a:lnTo>
                  <a:lnTo>
                    <a:pt x="4782224" y="4321527"/>
                  </a:lnTo>
                  <a:lnTo>
                    <a:pt x="4782224" y="4311656"/>
                  </a:lnTo>
                  <a:close/>
                  <a:moveTo>
                    <a:pt x="4546929" y="4307617"/>
                  </a:moveTo>
                  <a:lnTo>
                    <a:pt x="4556840" y="4307617"/>
                  </a:lnTo>
                  <a:lnTo>
                    <a:pt x="4560859" y="4311656"/>
                  </a:lnTo>
                  <a:lnTo>
                    <a:pt x="4560859" y="4321527"/>
                  </a:lnTo>
                  <a:lnTo>
                    <a:pt x="4556840" y="4325566"/>
                  </a:lnTo>
                  <a:lnTo>
                    <a:pt x="4546929" y="4325566"/>
                  </a:lnTo>
                  <a:lnTo>
                    <a:pt x="4542910" y="4321527"/>
                  </a:lnTo>
                  <a:lnTo>
                    <a:pt x="4542910" y="4311656"/>
                  </a:lnTo>
                  <a:close/>
                  <a:moveTo>
                    <a:pt x="4307612" y="4307617"/>
                  </a:moveTo>
                  <a:lnTo>
                    <a:pt x="4317523" y="4307617"/>
                  </a:lnTo>
                  <a:lnTo>
                    <a:pt x="4321543" y="4311656"/>
                  </a:lnTo>
                  <a:lnTo>
                    <a:pt x="4321543" y="4321527"/>
                  </a:lnTo>
                  <a:lnTo>
                    <a:pt x="4317523" y="4325566"/>
                  </a:lnTo>
                  <a:lnTo>
                    <a:pt x="4307612" y="4325566"/>
                  </a:lnTo>
                  <a:lnTo>
                    <a:pt x="4303595" y="4321527"/>
                  </a:lnTo>
                  <a:lnTo>
                    <a:pt x="4303595" y="4311656"/>
                  </a:lnTo>
                  <a:close/>
                  <a:moveTo>
                    <a:pt x="4068297" y="4307617"/>
                  </a:moveTo>
                  <a:lnTo>
                    <a:pt x="4078210" y="4307617"/>
                  </a:lnTo>
                  <a:lnTo>
                    <a:pt x="4082229" y="4311656"/>
                  </a:lnTo>
                  <a:lnTo>
                    <a:pt x="4082229" y="4321527"/>
                  </a:lnTo>
                  <a:lnTo>
                    <a:pt x="4078210" y="4325566"/>
                  </a:lnTo>
                  <a:lnTo>
                    <a:pt x="4068297" y="4325566"/>
                  </a:lnTo>
                  <a:lnTo>
                    <a:pt x="4064278" y="4321527"/>
                  </a:lnTo>
                  <a:lnTo>
                    <a:pt x="4064278" y="4311656"/>
                  </a:lnTo>
                  <a:close/>
                  <a:moveTo>
                    <a:pt x="3828990" y="4307617"/>
                  </a:moveTo>
                  <a:lnTo>
                    <a:pt x="3838899" y="4307617"/>
                  </a:lnTo>
                  <a:lnTo>
                    <a:pt x="3842917" y="4311656"/>
                  </a:lnTo>
                  <a:lnTo>
                    <a:pt x="3842917" y="4321527"/>
                  </a:lnTo>
                  <a:lnTo>
                    <a:pt x="3838899" y="4325566"/>
                  </a:lnTo>
                  <a:lnTo>
                    <a:pt x="3828990" y="4325566"/>
                  </a:lnTo>
                  <a:lnTo>
                    <a:pt x="3824971" y="4321527"/>
                  </a:lnTo>
                  <a:lnTo>
                    <a:pt x="3824971" y="4311656"/>
                  </a:lnTo>
                  <a:close/>
                  <a:moveTo>
                    <a:pt x="3589676" y="4307617"/>
                  </a:moveTo>
                  <a:lnTo>
                    <a:pt x="3599585" y="4307617"/>
                  </a:lnTo>
                  <a:lnTo>
                    <a:pt x="3603604" y="4311656"/>
                  </a:lnTo>
                  <a:lnTo>
                    <a:pt x="3603604" y="4321527"/>
                  </a:lnTo>
                  <a:lnTo>
                    <a:pt x="3599585" y="4325566"/>
                  </a:lnTo>
                  <a:lnTo>
                    <a:pt x="3589676" y="4325566"/>
                  </a:lnTo>
                  <a:lnTo>
                    <a:pt x="3585657" y="4321527"/>
                  </a:lnTo>
                  <a:lnTo>
                    <a:pt x="3585657" y="4311656"/>
                  </a:lnTo>
                  <a:close/>
                  <a:moveTo>
                    <a:pt x="3350359" y="4307617"/>
                  </a:moveTo>
                  <a:lnTo>
                    <a:pt x="3360268" y="4307617"/>
                  </a:lnTo>
                  <a:lnTo>
                    <a:pt x="3364287" y="4311656"/>
                  </a:lnTo>
                  <a:lnTo>
                    <a:pt x="3364287" y="4321527"/>
                  </a:lnTo>
                  <a:lnTo>
                    <a:pt x="3360268" y="4325566"/>
                  </a:lnTo>
                  <a:lnTo>
                    <a:pt x="3350359" y="4325566"/>
                  </a:lnTo>
                  <a:lnTo>
                    <a:pt x="3346340" y="4321527"/>
                  </a:lnTo>
                  <a:lnTo>
                    <a:pt x="3346340" y="4311656"/>
                  </a:lnTo>
                  <a:close/>
                  <a:moveTo>
                    <a:pt x="3111048" y="4307617"/>
                  </a:moveTo>
                  <a:lnTo>
                    <a:pt x="3120959" y="4307617"/>
                  </a:lnTo>
                  <a:lnTo>
                    <a:pt x="3124977" y="4311656"/>
                  </a:lnTo>
                  <a:lnTo>
                    <a:pt x="3124977" y="4321527"/>
                  </a:lnTo>
                  <a:lnTo>
                    <a:pt x="3120959" y="4325566"/>
                  </a:lnTo>
                  <a:lnTo>
                    <a:pt x="3111048" y="4325566"/>
                  </a:lnTo>
                  <a:lnTo>
                    <a:pt x="3107029" y="4321527"/>
                  </a:lnTo>
                  <a:lnTo>
                    <a:pt x="3107029" y="4311656"/>
                  </a:lnTo>
                  <a:close/>
                  <a:moveTo>
                    <a:pt x="2871737" y="4307617"/>
                  </a:moveTo>
                  <a:lnTo>
                    <a:pt x="2881646" y="4307617"/>
                  </a:lnTo>
                  <a:lnTo>
                    <a:pt x="2885666" y="4311656"/>
                  </a:lnTo>
                  <a:lnTo>
                    <a:pt x="2885666" y="4321527"/>
                  </a:lnTo>
                  <a:lnTo>
                    <a:pt x="2881646" y="4325566"/>
                  </a:lnTo>
                  <a:lnTo>
                    <a:pt x="2871737" y="4325566"/>
                  </a:lnTo>
                  <a:lnTo>
                    <a:pt x="2867717" y="4321527"/>
                  </a:lnTo>
                  <a:lnTo>
                    <a:pt x="2867717" y="4311656"/>
                  </a:lnTo>
                  <a:close/>
                  <a:moveTo>
                    <a:pt x="2632423" y="4307617"/>
                  </a:moveTo>
                  <a:lnTo>
                    <a:pt x="2642334" y="4307617"/>
                  </a:lnTo>
                  <a:lnTo>
                    <a:pt x="2646352" y="4311656"/>
                  </a:lnTo>
                  <a:lnTo>
                    <a:pt x="2646352" y="4321527"/>
                  </a:lnTo>
                  <a:lnTo>
                    <a:pt x="2642334" y="4325566"/>
                  </a:lnTo>
                  <a:lnTo>
                    <a:pt x="2632423" y="4325566"/>
                  </a:lnTo>
                  <a:lnTo>
                    <a:pt x="2628404" y="4321527"/>
                  </a:lnTo>
                  <a:lnTo>
                    <a:pt x="2628404" y="4311656"/>
                  </a:lnTo>
                  <a:close/>
                  <a:moveTo>
                    <a:pt x="2393104" y="4307617"/>
                  </a:moveTo>
                  <a:lnTo>
                    <a:pt x="2403015" y="4307617"/>
                  </a:lnTo>
                  <a:lnTo>
                    <a:pt x="2407034" y="4311656"/>
                  </a:lnTo>
                  <a:lnTo>
                    <a:pt x="2407034" y="4321527"/>
                  </a:lnTo>
                  <a:lnTo>
                    <a:pt x="2403015" y="4325566"/>
                  </a:lnTo>
                  <a:lnTo>
                    <a:pt x="2393104" y="4325566"/>
                  </a:lnTo>
                  <a:lnTo>
                    <a:pt x="2389087" y="4321527"/>
                  </a:lnTo>
                  <a:lnTo>
                    <a:pt x="2389087" y="4311656"/>
                  </a:lnTo>
                  <a:close/>
                  <a:moveTo>
                    <a:pt x="721965" y="4307617"/>
                  </a:moveTo>
                  <a:lnTo>
                    <a:pt x="731874" y="4307617"/>
                  </a:lnTo>
                  <a:lnTo>
                    <a:pt x="735893" y="4311656"/>
                  </a:lnTo>
                  <a:lnTo>
                    <a:pt x="735893" y="4321527"/>
                  </a:lnTo>
                  <a:lnTo>
                    <a:pt x="731874" y="4325566"/>
                  </a:lnTo>
                  <a:lnTo>
                    <a:pt x="721965" y="4325566"/>
                  </a:lnTo>
                  <a:lnTo>
                    <a:pt x="717945" y="4321527"/>
                  </a:lnTo>
                  <a:lnTo>
                    <a:pt x="717945" y="4311656"/>
                  </a:lnTo>
                  <a:close/>
                  <a:moveTo>
                    <a:pt x="482652" y="4307617"/>
                  </a:moveTo>
                  <a:lnTo>
                    <a:pt x="492562" y="4307617"/>
                  </a:lnTo>
                  <a:lnTo>
                    <a:pt x="496581" y="4311656"/>
                  </a:lnTo>
                  <a:lnTo>
                    <a:pt x="496581" y="4321527"/>
                  </a:lnTo>
                  <a:lnTo>
                    <a:pt x="492562" y="4325566"/>
                  </a:lnTo>
                  <a:lnTo>
                    <a:pt x="482652" y="4325566"/>
                  </a:lnTo>
                  <a:lnTo>
                    <a:pt x="478633" y="4321527"/>
                  </a:lnTo>
                  <a:lnTo>
                    <a:pt x="478633" y="4311656"/>
                  </a:lnTo>
                  <a:close/>
                  <a:moveTo>
                    <a:pt x="243339" y="4307617"/>
                  </a:moveTo>
                  <a:lnTo>
                    <a:pt x="253249" y="4307617"/>
                  </a:lnTo>
                  <a:lnTo>
                    <a:pt x="257268" y="4311656"/>
                  </a:lnTo>
                  <a:lnTo>
                    <a:pt x="257268" y="4321527"/>
                  </a:lnTo>
                  <a:lnTo>
                    <a:pt x="253249" y="4325566"/>
                  </a:lnTo>
                  <a:lnTo>
                    <a:pt x="243339" y="4325566"/>
                  </a:lnTo>
                  <a:lnTo>
                    <a:pt x="239320" y="4321527"/>
                  </a:lnTo>
                  <a:lnTo>
                    <a:pt x="239320" y="4311656"/>
                  </a:lnTo>
                  <a:close/>
                  <a:moveTo>
                    <a:pt x="4025" y="4307617"/>
                  </a:moveTo>
                  <a:lnTo>
                    <a:pt x="13936" y="4307617"/>
                  </a:lnTo>
                  <a:lnTo>
                    <a:pt x="17955" y="4311656"/>
                  </a:lnTo>
                  <a:lnTo>
                    <a:pt x="17955" y="4321527"/>
                  </a:lnTo>
                  <a:lnTo>
                    <a:pt x="13936" y="4325566"/>
                  </a:lnTo>
                  <a:lnTo>
                    <a:pt x="4025" y="4325566"/>
                  </a:lnTo>
                  <a:lnTo>
                    <a:pt x="7" y="4321527"/>
                  </a:lnTo>
                  <a:lnTo>
                    <a:pt x="7" y="4311656"/>
                  </a:lnTo>
                  <a:close/>
                  <a:moveTo>
                    <a:pt x="9572438" y="4068339"/>
                  </a:moveTo>
                  <a:lnTo>
                    <a:pt x="9582349" y="4068339"/>
                  </a:lnTo>
                  <a:lnTo>
                    <a:pt x="9586368" y="4072377"/>
                  </a:lnTo>
                  <a:lnTo>
                    <a:pt x="9586368" y="4082248"/>
                  </a:lnTo>
                  <a:lnTo>
                    <a:pt x="9582349" y="4086287"/>
                  </a:lnTo>
                  <a:lnTo>
                    <a:pt x="9572438" y="4086287"/>
                  </a:lnTo>
                  <a:lnTo>
                    <a:pt x="9568419" y="4082248"/>
                  </a:lnTo>
                  <a:lnTo>
                    <a:pt x="9568419" y="4072377"/>
                  </a:lnTo>
                  <a:close/>
                  <a:moveTo>
                    <a:pt x="9333125" y="4068339"/>
                  </a:moveTo>
                  <a:lnTo>
                    <a:pt x="9343036" y="4068339"/>
                  </a:lnTo>
                  <a:lnTo>
                    <a:pt x="9347055" y="4072377"/>
                  </a:lnTo>
                  <a:lnTo>
                    <a:pt x="9347055" y="4082248"/>
                  </a:lnTo>
                  <a:lnTo>
                    <a:pt x="9343036" y="4086287"/>
                  </a:lnTo>
                  <a:lnTo>
                    <a:pt x="9333125" y="4086287"/>
                  </a:lnTo>
                  <a:lnTo>
                    <a:pt x="9329106" y="4082248"/>
                  </a:lnTo>
                  <a:lnTo>
                    <a:pt x="9329106" y="4072377"/>
                  </a:lnTo>
                  <a:close/>
                  <a:moveTo>
                    <a:pt x="9093811" y="4068339"/>
                  </a:moveTo>
                  <a:lnTo>
                    <a:pt x="9103722" y="4068339"/>
                  </a:lnTo>
                  <a:lnTo>
                    <a:pt x="9107741" y="4072377"/>
                  </a:lnTo>
                  <a:lnTo>
                    <a:pt x="9107741" y="4082248"/>
                  </a:lnTo>
                  <a:lnTo>
                    <a:pt x="9103722" y="4086287"/>
                  </a:lnTo>
                  <a:lnTo>
                    <a:pt x="9093811" y="4086287"/>
                  </a:lnTo>
                  <a:lnTo>
                    <a:pt x="9089792" y="4082248"/>
                  </a:lnTo>
                  <a:lnTo>
                    <a:pt x="9089792" y="4072377"/>
                  </a:lnTo>
                  <a:close/>
                  <a:moveTo>
                    <a:pt x="8854496" y="4068339"/>
                  </a:moveTo>
                  <a:lnTo>
                    <a:pt x="8864407" y="4068339"/>
                  </a:lnTo>
                  <a:lnTo>
                    <a:pt x="8868426" y="4072377"/>
                  </a:lnTo>
                  <a:lnTo>
                    <a:pt x="8868426" y="4082248"/>
                  </a:lnTo>
                  <a:lnTo>
                    <a:pt x="8864407" y="4086287"/>
                  </a:lnTo>
                  <a:lnTo>
                    <a:pt x="8854496" y="4086287"/>
                  </a:lnTo>
                  <a:lnTo>
                    <a:pt x="8850477" y="4082248"/>
                  </a:lnTo>
                  <a:lnTo>
                    <a:pt x="8850477" y="4072377"/>
                  </a:lnTo>
                  <a:close/>
                  <a:moveTo>
                    <a:pt x="8615184" y="4068339"/>
                  </a:moveTo>
                  <a:lnTo>
                    <a:pt x="8625095" y="4068339"/>
                  </a:lnTo>
                  <a:lnTo>
                    <a:pt x="8629114" y="4072377"/>
                  </a:lnTo>
                  <a:lnTo>
                    <a:pt x="8629114" y="4082248"/>
                  </a:lnTo>
                  <a:lnTo>
                    <a:pt x="8625095" y="4086287"/>
                  </a:lnTo>
                  <a:lnTo>
                    <a:pt x="8615184" y="4086287"/>
                  </a:lnTo>
                  <a:lnTo>
                    <a:pt x="8611165" y="4082248"/>
                  </a:lnTo>
                  <a:lnTo>
                    <a:pt x="8611165" y="4072377"/>
                  </a:lnTo>
                  <a:close/>
                  <a:moveTo>
                    <a:pt x="8375869" y="4068339"/>
                  </a:moveTo>
                  <a:lnTo>
                    <a:pt x="8385779" y="4068339"/>
                  </a:lnTo>
                  <a:lnTo>
                    <a:pt x="8389799" y="4072377"/>
                  </a:lnTo>
                  <a:lnTo>
                    <a:pt x="8389799" y="4082248"/>
                  </a:lnTo>
                  <a:lnTo>
                    <a:pt x="8385779" y="4086287"/>
                  </a:lnTo>
                  <a:lnTo>
                    <a:pt x="8375869" y="4086287"/>
                  </a:lnTo>
                  <a:lnTo>
                    <a:pt x="8371850" y="4082248"/>
                  </a:lnTo>
                  <a:lnTo>
                    <a:pt x="8371850" y="4072377"/>
                  </a:lnTo>
                  <a:close/>
                  <a:moveTo>
                    <a:pt x="8136553" y="4068339"/>
                  </a:moveTo>
                  <a:lnTo>
                    <a:pt x="8146464" y="4068339"/>
                  </a:lnTo>
                  <a:lnTo>
                    <a:pt x="8150483" y="4072377"/>
                  </a:lnTo>
                  <a:lnTo>
                    <a:pt x="8150483" y="4082248"/>
                  </a:lnTo>
                  <a:lnTo>
                    <a:pt x="8146464" y="4086287"/>
                  </a:lnTo>
                  <a:lnTo>
                    <a:pt x="8136553" y="4086287"/>
                  </a:lnTo>
                  <a:lnTo>
                    <a:pt x="8132534" y="4082248"/>
                  </a:lnTo>
                  <a:lnTo>
                    <a:pt x="8132534" y="4072377"/>
                  </a:lnTo>
                  <a:close/>
                  <a:moveTo>
                    <a:pt x="7897241" y="4068339"/>
                  </a:moveTo>
                  <a:lnTo>
                    <a:pt x="7907151" y="4068339"/>
                  </a:lnTo>
                  <a:lnTo>
                    <a:pt x="7911170" y="4072377"/>
                  </a:lnTo>
                  <a:lnTo>
                    <a:pt x="7911170" y="4082248"/>
                  </a:lnTo>
                  <a:lnTo>
                    <a:pt x="7907151" y="4086287"/>
                  </a:lnTo>
                  <a:lnTo>
                    <a:pt x="7897241" y="4086287"/>
                  </a:lnTo>
                  <a:lnTo>
                    <a:pt x="7893222" y="4082248"/>
                  </a:lnTo>
                  <a:lnTo>
                    <a:pt x="7893222" y="4072377"/>
                  </a:lnTo>
                  <a:close/>
                  <a:moveTo>
                    <a:pt x="7657926" y="4068339"/>
                  </a:moveTo>
                  <a:lnTo>
                    <a:pt x="7667836" y="4068339"/>
                  </a:lnTo>
                  <a:lnTo>
                    <a:pt x="7671855" y="4072377"/>
                  </a:lnTo>
                  <a:lnTo>
                    <a:pt x="7671855" y="4082248"/>
                  </a:lnTo>
                  <a:lnTo>
                    <a:pt x="7667836" y="4086287"/>
                  </a:lnTo>
                  <a:lnTo>
                    <a:pt x="7657926" y="4086287"/>
                  </a:lnTo>
                  <a:lnTo>
                    <a:pt x="7653906" y="4082248"/>
                  </a:lnTo>
                  <a:lnTo>
                    <a:pt x="7653906" y="4072377"/>
                  </a:lnTo>
                  <a:close/>
                  <a:moveTo>
                    <a:pt x="7418611" y="4068339"/>
                  </a:moveTo>
                  <a:lnTo>
                    <a:pt x="7428521" y="4068339"/>
                  </a:lnTo>
                  <a:lnTo>
                    <a:pt x="7432540" y="4072377"/>
                  </a:lnTo>
                  <a:lnTo>
                    <a:pt x="7432540" y="4082248"/>
                  </a:lnTo>
                  <a:lnTo>
                    <a:pt x="7428521" y="4086287"/>
                  </a:lnTo>
                  <a:lnTo>
                    <a:pt x="7418611" y="4086287"/>
                  </a:lnTo>
                  <a:lnTo>
                    <a:pt x="7414592" y="4082248"/>
                  </a:lnTo>
                  <a:lnTo>
                    <a:pt x="7414592" y="4072377"/>
                  </a:lnTo>
                  <a:close/>
                  <a:moveTo>
                    <a:pt x="7179298" y="4068339"/>
                  </a:moveTo>
                  <a:lnTo>
                    <a:pt x="7189209" y="4068339"/>
                  </a:lnTo>
                  <a:lnTo>
                    <a:pt x="7193228" y="4072377"/>
                  </a:lnTo>
                  <a:lnTo>
                    <a:pt x="7193228" y="4082248"/>
                  </a:lnTo>
                  <a:lnTo>
                    <a:pt x="7189209" y="4086287"/>
                  </a:lnTo>
                  <a:lnTo>
                    <a:pt x="7179298" y="4086287"/>
                  </a:lnTo>
                  <a:lnTo>
                    <a:pt x="7175279" y="4082248"/>
                  </a:lnTo>
                  <a:lnTo>
                    <a:pt x="7175279" y="4072377"/>
                  </a:lnTo>
                  <a:close/>
                  <a:moveTo>
                    <a:pt x="6939983" y="4068339"/>
                  </a:moveTo>
                  <a:lnTo>
                    <a:pt x="6949894" y="4068339"/>
                  </a:lnTo>
                  <a:lnTo>
                    <a:pt x="6953913" y="4072377"/>
                  </a:lnTo>
                  <a:lnTo>
                    <a:pt x="6953913" y="4082248"/>
                  </a:lnTo>
                  <a:lnTo>
                    <a:pt x="6949894" y="4086287"/>
                  </a:lnTo>
                  <a:lnTo>
                    <a:pt x="6939983" y="4086287"/>
                  </a:lnTo>
                  <a:lnTo>
                    <a:pt x="6935964" y="4082248"/>
                  </a:lnTo>
                  <a:lnTo>
                    <a:pt x="6935964" y="4072377"/>
                  </a:lnTo>
                  <a:close/>
                  <a:moveTo>
                    <a:pt x="6700670" y="4068339"/>
                  </a:moveTo>
                  <a:lnTo>
                    <a:pt x="6710581" y="4068339"/>
                  </a:lnTo>
                  <a:lnTo>
                    <a:pt x="6714600" y="4072377"/>
                  </a:lnTo>
                  <a:lnTo>
                    <a:pt x="6714600" y="4082248"/>
                  </a:lnTo>
                  <a:lnTo>
                    <a:pt x="6710581" y="4086287"/>
                  </a:lnTo>
                  <a:lnTo>
                    <a:pt x="6700670" y="4086287"/>
                  </a:lnTo>
                  <a:lnTo>
                    <a:pt x="6696651" y="4082248"/>
                  </a:lnTo>
                  <a:lnTo>
                    <a:pt x="6696651" y="4072377"/>
                  </a:lnTo>
                  <a:close/>
                  <a:moveTo>
                    <a:pt x="6461356" y="4068339"/>
                  </a:moveTo>
                  <a:lnTo>
                    <a:pt x="6471266" y="4068339"/>
                  </a:lnTo>
                  <a:lnTo>
                    <a:pt x="6475285" y="4072377"/>
                  </a:lnTo>
                  <a:lnTo>
                    <a:pt x="6475285" y="4082248"/>
                  </a:lnTo>
                  <a:lnTo>
                    <a:pt x="6471266" y="4086287"/>
                  </a:lnTo>
                  <a:lnTo>
                    <a:pt x="6461356" y="4086287"/>
                  </a:lnTo>
                  <a:lnTo>
                    <a:pt x="6457337" y="4082248"/>
                  </a:lnTo>
                  <a:lnTo>
                    <a:pt x="6457337" y="4072377"/>
                  </a:lnTo>
                  <a:close/>
                  <a:moveTo>
                    <a:pt x="6222042" y="4068339"/>
                  </a:moveTo>
                  <a:lnTo>
                    <a:pt x="6231952" y="4068339"/>
                  </a:lnTo>
                  <a:lnTo>
                    <a:pt x="6235971" y="4072377"/>
                  </a:lnTo>
                  <a:lnTo>
                    <a:pt x="6235971" y="4082248"/>
                  </a:lnTo>
                  <a:lnTo>
                    <a:pt x="6231952" y="4086287"/>
                  </a:lnTo>
                  <a:lnTo>
                    <a:pt x="6222042" y="4086287"/>
                  </a:lnTo>
                  <a:lnTo>
                    <a:pt x="6218023" y="4082248"/>
                  </a:lnTo>
                  <a:lnTo>
                    <a:pt x="6218023" y="4072377"/>
                  </a:lnTo>
                  <a:close/>
                  <a:moveTo>
                    <a:pt x="5982729" y="4068339"/>
                  </a:moveTo>
                  <a:lnTo>
                    <a:pt x="5992639" y="4068339"/>
                  </a:lnTo>
                  <a:lnTo>
                    <a:pt x="5996658" y="4072377"/>
                  </a:lnTo>
                  <a:lnTo>
                    <a:pt x="5996658" y="4082248"/>
                  </a:lnTo>
                  <a:lnTo>
                    <a:pt x="5992639" y="4086287"/>
                  </a:lnTo>
                  <a:lnTo>
                    <a:pt x="5982729" y="4086287"/>
                  </a:lnTo>
                  <a:lnTo>
                    <a:pt x="5978710" y="4082248"/>
                  </a:lnTo>
                  <a:lnTo>
                    <a:pt x="5978710" y="4072377"/>
                  </a:lnTo>
                  <a:close/>
                  <a:moveTo>
                    <a:pt x="5743412" y="4068339"/>
                  </a:moveTo>
                  <a:lnTo>
                    <a:pt x="5753323" y="4068339"/>
                  </a:lnTo>
                  <a:lnTo>
                    <a:pt x="5757342" y="4072377"/>
                  </a:lnTo>
                  <a:lnTo>
                    <a:pt x="5757342" y="4082248"/>
                  </a:lnTo>
                  <a:lnTo>
                    <a:pt x="5753323" y="4086287"/>
                  </a:lnTo>
                  <a:lnTo>
                    <a:pt x="5743412" y="4086287"/>
                  </a:lnTo>
                  <a:lnTo>
                    <a:pt x="5739393" y="4082248"/>
                  </a:lnTo>
                  <a:lnTo>
                    <a:pt x="5739393" y="4072377"/>
                  </a:lnTo>
                  <a:close/>
                  <a:moveTo>
                    <a:pt x="5504099" y="4068339"/>
                  </a:moveTo>
                  <a:lnTo>
                    <a:pt x="5514010" y="4068339"/>
                  </a:lnTo>
                  <a:lnTo>
                    <a:pt x="5518029" y="4072377"/>
                  </a:lnTo>
                  <a:lnTo>
                    <a:pt x="5518029" y="4082248"/>
                  </a:lnTo>
                  <a:lnTo>
                    <a:pt x="5514010" y="4086287"/>
                  </a:lnTo>
                  <a:lnTo>
                    <a:pt x="5504099" y="4086287"/>
                  </a:lnTo>
                  <a:lnTo>
                    <a:pt x="5500080" y="4082248"/>
                  </a:lnTo>
                  <a:lnTo>
                    <a:pt x="5500080" y="4072377"/>
                  </a:lnTo>
                  <a:close/>
                  <a:moveTo>
                    <a:pt x="5264784" y="4068339"/>
                  </a:moveTo>
                  <a:lnTo>
                    <a:pt x="5274694" y="4068339"/>
                  </a:lnTo>
                  <a:lnTo>
                    <a:pt x="5278713" y="4072377"/>
                  </a:lnTo>
                  <a:lnTo>
                    <a:pt x="5278713" y="4082248"/>
                  </a:lnTo>
                  <a:lnTo>
                    <a:pt x="5274694" y="4086287"/>
                  </a:lnTo>
                  <a:lnTo>
                    <a:pt x="5264784" y="4086287"/>
                  </a:lnTo>
                  <a:lnTo>
                    <a:pt x="5260765" y="4082248"/>
                  </a:lnTo>
                  <a:lnTo>
                    <a:pt x="5260765" y="4072377"/>
                  </a:lnTo>
                  <a:close/>
                  <a:moveTo>
                    <a:pt x="5025470" y="4068339"/>
                  </a:moveTo>
                  <a:lnTo>
                    <a:pt x="5035381" y="4068339"/>
                  </a:lnTo>
                  <a:lnTo>
                    <a:pt x="5039400" y="4072377"/>
                  </a:lnTo>
                  <a:lnTo>
                    <a:pt x="5039400" y="4082248"/>
                  </a:lnTo>
                  <a:lnTo>
                    <a:pt x="5035381" y="4086287"/>
                  </a:lnTo>
                  <a:lnTo>
                    <a:pt x="5025470" y="4086287"/>
                  </a:lnTo>
                  <a:lnTo>
                    <a:pt x="5021451" y="4082248"/>
                  </a:lnTo>
                  <a:lnTo>
                    <a:pt x="5021451" y="4072377"/>
                  </a:lnTo>
                  <a:close/>
                  <a:moveTo>
                    <a:pt x="4786241" y="4068339"/>
                  </a:moveTo>
                  <a:lnTo>
                    <a:pt x="4796152" y="4068339"/>
                  </a:lnTo>
                  <a:lnTo>
                    <a:pt x="4800171" y="4072377"/>
                  </a:lnTo>
                  <a:lnTo>
                    <a:pt x="4800171" y="4082248"/>
                  </a:lnTo>
                  <a:lnTo>
                    <a:pt x="4796152" y="4086287"/>
                  </a:lnTo>
                  <a:lnTo>
                    <a:pt x="4786241" y="4086287"/>
                  </a:lnTo>
                  <a:lnTo>
                    <a:pt x="4782224" y="4082248"/>
                  </a:lnTo>
                  <a:lnTo>
                    <a:pt x="4782224" y="4072377"/>
                  </a:lnTo>
                  <a:close/>
                  <a:moveTo>
                    <a:pt x="4546929" y="4068339"/>
                  </a:moveTo>
                  <a:lnTo>
                    <a:pt x="4556840" y="4068339"/>
                  </a:lnTo>
                  <a:lnTo>
                    <a:pt x="4560859" y="4072377"/>
                  </a:lnTo>
                  <a:lnTo>
                    <a:pt x="4560859" y="4082248"/>
                  </a:lnTo>
                  <a:lnTo>
                    <a:pt x="4556840" y="4086287"/>
                  </a:lnTo>
                  <a:lnTo>
                    <a:pt x="4546929" y="4086287"/>
                  </a:lnTo>
                  <a:lnTo>
                    <a:pt x="4542910" y="4082248"/>
                  </a:lnTo>
                  <a:lnTo>
                    <a:pt x="4542910" y="4072377"/>
                  </a:lnTo>
                  <a:close/>
                  <a:moveTo>
                    <a:pt x="4307612" y="4068339"/>
                  </a:moveTo>
                  <a:lnTo>
                    <a:pt x="4317523" y="4068339"/>
                  </a:lnTo>
                  <a:lnTo>
                    <a:pt x="4321543" y="4072377"/>
                  </a:lnTo>
                  <a:lnTo>
                    <a:pt x="4321543" y="4082248"/>
                  </a:lnTo>
                  <a:lnTo>
                    <a:pt x="4317523" y="4086287"/>
                  </a:lnTo>
                  <a:lnTo>
                    <a:pt x="4307612" y="4086287"/>
                  </a:lnTo>
                  <a:lnTo>
                    <a:pt x="4303595" y="4082248"/>
                  </a:lnTo>
                  <a:lnTo>
                    <a:pt x="4303595" y="4072377"/>
                  </a:lnTo>
                  <a:close/>
                  <a:moveTo>
                    <a:pt x="4068297" y="4068339"/>
                  </a:moveTo>
                  <a:lnTo>
                    <a:pt x="4078210" y="4068339"/>
                  </a:lnTo>
                  <a:lnTo>
                    <a:pt x="4082229" y="4072377"/>
                  </a:lnTo>
                  <a:lnTo>
                    <a:pt x="4082229" y="4082248"/>
                  </a:lnTo>
                  <a:lnTo>
                    <a:pt x="4078210" y="4086287"/>
                  </a:lnTo>
                  <a:lnTo>
                    <a:pt x="4068297" y="4086287"/>
                  </a:lnTo>
                  <a:lnTo>
                    <a:pt x="4064278" y="4082248"/>
                  </a:lnTo>
                  <a:lnTo>
                    <a:pt x="4064278" y="4072377"/>
                  </a:lnTo>
                  <a:close/>
                  <a:moveTo>
                    <a:pt x="3828990" y="4068339"/>
                  </a:moveTo>
                  <a:lnTo>
                    <a:pt x="3838899" y="4068339"/>
                  </a:lnTo>
                  <a:lnTo>
                    <a:pt x="3842917" y="4072377"/>
                  </a:lnTo>
                  <a:lnTo>
                    <a:pt x="3842917" y="4082248"/>
                  </a:lnTo>
                  <a:lnTo>
                    <a:pt x="3838899" y="4086287"/>
                  </a:lnTo>
                  <a:lnTo>
                    <a:pt x="3828990" y="4086287"/>
                  </a:lnTo>
                  <a:lnTo>
                    <a:pt x="3824971" y="4082248"/>
                  </a:lnTo>
                  <a:lnTo>
                    <a:pt x="3824971" y="4072377"/>
                  </a:lnTo>
                  <a:close/>
                  <a:moveTo>
                    <a:pt x="3589676" y="4068339"/>
                  </a:moveTo>
                  <a:lnTo>
                    <a:pt x="3599585" y="4068339"/>
                  </a:lnTo>
                  <a:lnTo>
                    <a:pt x="3603604" y="4072377"/>
                  </a:lnTo>
                  <a:lnTo>
                    <a:pt x="3603604" y="4082248"/>
                  </a:lnTo>
                  <a:lnTo>
                    <a:pt x="3599585" y="4086287"/>
                  </a:lnTo>
                  <a:lnTo>
                    <a:pt x="3589676" y="4086287"/>
                  </a:lnTo>
                  <a:lnTo>
                    <a:pt x="3585657" y="4082248"/>
                  </a:lnTo>
                  <a:lnTo>
                    <a:pt x="3585657" y="4072377"/>
                  </a:lnTo>
                  <a:close/>
                  <a:moveTo>
                    <a:pt x="3350359" y="4068339"/>
                  </a:moveTo>
                  <a:lnTo>
                    <a:pt x="3360268" y="4068339"/>
                  </a:lnTo>
                  <a:lnTo>
                    <a:pt x="3364287" y="4072377"/>
                  </a:lnTo>
                  <a:lnTo>
                    <a:pt x="3364287" y="4082248"/>
                  </a:lnTo>
                  <a:lnTo>
                    <a:pt x="3360268" y="4086287"/>
                  </a:lnTo>
                  <a:lnTo>
                    <a:pt x="3350359" y="4086287"/>
                  </a:lnTo>
                  <a:lnTo>
                    <a:pt x="3346340" y="4082248"/>
                  </a:lnTo>
                  <a:lnTo>
                    <a:pt x="3346340" y="4072377"/>
                  </a:lnTo>
                  <a:close/>
                  <a:moveTo>
                    <a:pt x="3111048" y="4068339"/>
                  </a:moveTo>
                  <a:lnTo>
                    <a:pt x="3120959" y="4068339"/>
                  </a:lnTo>
                  <a:lnTo>
                    <a:pt x="3124977" y="4072377"/>
                  </a:lnTo>
                  <a:lnTo>
                    <a:pt x="3124977" y="4082248"/>
                  </a:lnTo>
                  <a:lnTo>
                    <a:pt x="3120959" y="4086287"/>
                  </a:lnTo>
                  <a:lnTo>
                    <a:pt x="3111048" y="4086287"/>
                  </a:lnTo>
                  <a:lnTo>
                    <a:pt x="3107029" y="4082248"/>
                  </a:lnTo>
                  <a:lnTo>
                    <a:pt x="3107029" y="4072377"/>
                  </a:lnTo>
                  <a:close/>
                  <a:moveTo>
                    <a:pt x="2871737" y="4068339"/>
                  </a:moveTo>
                  <a:lnTo>
                    <a:pt x="2881646" y="4068339"/>
                  </a:lnTo>
                  <a:lnTo>
                    <a:pt x="2885666" y="4072377"/>
                  </a:lnTo>
                  <a:lnTo>
                    <a:pt x="2885666" y="4082248"/>
                  </a:lnTo>
                  <a:lnTo>
                    <a:pt x="2881646" y="4086287"/>
                  </a:lnTo>
                  <a:lnTo>
                    <a:pt x="2871737" y="4086287"/>
                  </a:lnTo>
                  <a:lnTo>
                    <a:pt x="2867717" y="4082248"/>
                  </a:lnTo>
                  <a:lnTo>
                    <a:pt x="2867717" y="4072377"/>
                  </a:lnTo>
                  <a:close/>
                  <a:moveTo>
                    <a:pt x="2632423" y="4068339"/>
                  </a:moveTo>
                  <a:lnTo>
                    <a:pt x="2642334" y="4068339"/>
                  </a:lnTo>
                  <a:lnTo>
                    <a:pt x="2646352" y="4072377"/>
                  </a:lnTo>
                  <a:lnTo>
                    <a:pt x="2646352" y="4082248"/>
                  </a:lnTo>
                  <a:lnTo>
                    <a:pt x="2642334" y="4086287"/>
                  </a:lnTo>
                  <a:lnTo>
                    <a:pt x="2632423" y="4086287"/>
                  </a:lnTo>
                  <a:lnTo>
                    <a:pt x="2628404" y="4082248"/>
                  </a:lnTo>
                  <a:lnTo>
                    <a:pt x="2628404" y="4072377"/>
                  </a:lnTo>
                  <a:close/>
                  <a:moveTo>
                    <a:pt x="2393104" y="4068339"/>
                  </a:moveTo>
                  <a:lnTo>
                    <a:pt x="2403015" y="4068339"/>
                  </a:lnTo>
                  <a:lnTo>
                    <a:pt x="2407034" y="4072377"/>
                  </a:lnTo>
                  <a:lnTo>
                    <a:pt x="2407034" y="4082248"/>
                  </a:lnTo>
                  <a:lnTo>
                    <a:pt x="2403015" y="4086287"/>
                  </a:lnTo>
                  <a:lnTo>
                    <a:pt x="2393104" y="4086287"/>
                  </a:lnTo>
                  <a:lnTo>
                    <a:pt x="2389087" y="4082248"/>
                  </a:lnTo>
                  <a:lnTo>
                    <a:pt x="2389087" y="4072377"/>
                  </a:lnTo>
                  <a:close/>
                  <a:moveTo>
                    <a:pt x="2157819" y="4068339"/>
                  </a:moveTo>
                  <a:lnTo>
                    <a:pt x="2167729" y="4068339"/>
                  </a:lnTo>
                  <a:lnTo>
                    <a:pt x="2171749" y="4072377"/>
                  </a:lnTo>
                  <a:lnTo>
                    <a:pt x="2171749" y="4082248"/>
                  </a:lnTo>
                  <a:lnTo>
                    <a:pt x="2167729" y="4086287"/>
                  </a:lnTo>
                  <a:lnTo>
                    <a:pt x="2157819" y="4086287"/>
                  </a:lnTo>
                  <a:lnTo>
                    <a:pt x="2153801" y="4082248"/>
                  </a:lnTo>
                  <a:lnTo>
                    <a:pt x="2153801" y="4072377"/>
                  </a:lnTo>
                  <a:close/>
                  <a:moveTo>
                    <a:pt x="1918511" y="4068339"/>
                  </a:moveTo>
                  <a:lnTo>
                    <a:pt x="1928421" y="4068339"/>
                  </a:lnTo>
                  <a:lnTo>
                    <a:pt x="1932440" y="4072377"/>
                  </a:lnTo>
                  <a:lnTo>
                    <a:pt x="1932440" y="4082248"/>
                  </a:lnTo>
                  <a:lnTo>
                    <a:pt x="1928421" y="4086287"/>
                  </a:lnTo>
                  <a:lnTo>
                    <a:pt x="1918511" y="4086287"/>
                  </a:lnTo>
                  <a:lnTo>
                    <a:pt x="1914492" y="4082248"/>
                  </a:lnTo>
                  <a:lnTo>
                    <a:pt x="1914492" y="4072377"/>
                  </a:lnTo>
                  <a:close/>
                  <a:moveTo>
                    <a:pt x="1679207" y="4068339"/>
                  </a:moveTo>
                  <a:lnTo>
                    <a:pt x="1689117" y="4068339"/>
                  </a:lnTo>
                  <a:lnTo>
                    <a:pt x="1693137" y="4072377"/>
                  </a:lnTo>
                  <a:lnTo>
                    <a:pt x="1693137" y="4082248"/>
                  </a:lnTo>
                  <a:lnTo>
                    <a:pt x="1689117" y="4086287"/>
                  </a:lnTo>
                  <a:lnTo>
                    <a:pt x="1679207" y="4086287"/>
                  </a:lnTo>
                  <a:lnTo>
                    <a:pt x="1675189" y="4082248"/>
                  </a:lnTo>
                  <a:lnTo>
                    <a:pt x="1675189" y="4072377"/>
                  </a:lnTo>
                  <a:close/>
                  <a:moveTo>
                    <a:pt x="1439891" y="4068339"/>
                  </a:moveTo>
                  <a:lnTo>
                    <a:pt x="1449802" y="4068339"/>
                  </a:lnTo>
                  <a:lnTo>
                    <a:pt x="1453820" y="4072377"/>
                  </a:lnTo>
                  <a:lnTo>
                    <a:pt x="1453820" y="4082248"/>
                  </a:lnTo>
                  <a:lnTo>
                    <a:pt x="1449802" y="4086287"/>
                  </a:lnTo>
                  <a:lnTo>
                    <a:pt x="1439891" y="4086287"/>
                  </a:lnTo>
                  <a:lnTo>
                    <a:pt x="1435873" y="4082248"/>
                  </a:lnTo>
                  <a:lnTo>
                    <a:pt x="1435873" y="4072377"/>
                  </a:lnTo>
                  <a:close/>
                  <a:moveTo>
                    <a:pt x="1200576" y="4068339"/>
                  </a:moveTo>
                  <a:lnTo>
                    <a:pt x="1210486" y="4068339"/>
                  </a:lnTo>
                  <a:lnTo>
                    <a:pt x="1214505" y="4072377"/>
                  </a:lnTo>
                  <a:lnTo>
                    <a:pt x="1214505" y="4082248"/>
                  </a:lnTo>
                  <a:lnTo>
                    <a:pt x="1210486" y="4086287"/>
                  </a:lnTo>
                  <a:lnTo>
                    <a:pt x="1200576" y="4086287"/>
                  </a:lnTo>
                  <a:lnTo>
                    <a:pt x="1196558" y="4082248"/>
                  </a:lnTo>
                  <a:lnTo>
                    <a:pt x="1196558" y="4072377"/>
                  </a:lnTo>
                  <a:close/>
                  <a:moveTo>
                    <a:pt x="961263" y="4068339"/>
                  </a:moveTo>
                  <a:lnTo>
                    <a:pt x="971174" y="4068339"/>
                  </a:lnTo>
                  <a:lnTo>
                    <a:pt x="975192" y="4072377"/>
                  </a:lnTo>
                  <a:lnTo>
                    <a:pt x="975192" y="4082248"/>
                  </a:lnTo>
                  <a:lnTo>
                    <a:pt x="971174" y="4086287"/>
                  </a:lnTo>
                  <a:lnTo>
                    <a:pt x="961263" y="4086287"/>
                  </a:lnTo>
                  <a:lnTo>
                    <a:pt x="957244" y="4082248"/>
                  </a:lnTo>
                  <a:lnTo>
                    <a:pt x="957244" y="4072377"/>
                  </a:lnTo>
                  <a:close/>
                  <a:moveTo>
                    <a:pt x="721965" y="4068339"/>
                  </a:moveTo>
                  <a:lnTo>
                    <a:pt x="731876" y="4068339"/>
                  </a:lnTo>
                  <a:lnTo>
                    <a:pt x="735894" y="4072377"/>
                  </a:lnTo>
                  <a:lnTo>
                    <a:pt x="735894" y="4082248"/>
                  </a:lnTo>
                  <a:lnTo>
                    <a:pt x="731876" y="4086287"/>
                  </a:lnTo>
                  <a:lnTo>
                    <a:pt x="721965" y="4086287"/>
                  </a:lnTo>
                  <a:lnTo>
                    <a:pt x="717946" y="4082248"/>
                  </a:lnTo>
                  <a:lnTo>
                    <a:pt x="717946" y="4072377"/>
                  </a:lnTo>
                  <a:close/>
                  <a:moveTo>
                    <a:pt x="482653" y="4068339"/>
                  </a:moveTo>
                  <a:lnTo>
                    <a:pt x="492563" y="4068339"/>
                  </a:lnTo>
                  <a:lnTo>
                    <a:pt x="496583" y="4072377"/>
                  </a:lnTo>
                  <a:lnTo>
                    <a:pt x="496583" y="4082248"/>
                  </a:lnTo>
                  <a:lnTo>
                    <a:pt x="492563" y="4086287"/>
                  </a:lnTo>
                  <a:lnTo>
                    <a:pt x="482653" y="4086287"/>
                  </a:lnTo>
                  <a:lnTo>
                    <a:pt x="478634" y="4082248"/>
                  </a:lnTo>
                  <a:lnTo>
                    <a:pt x="478634" y="4072377"/>
                  </a:lnTo>
                  <a:close/>
                  <a:moveTo>
                    <a:pt x="243339" y="4068339"/>
                  </a:moveTo>
                  <a:lnTo>
                    <a:pt x="253250" y="4068339"/>
                  </a:lnTo>
                  <a:lnTo>
                    <a:pt x="257269" y="4072377"/>
                  </a:lnTo>
                  <a:lnTo>
                    <a:pt x="257269" y="4082248"/>
                  </a:lnTo>
                  <a:lnTo>
                    <a:pt x="253250" y="4086287"/>
                  </a:lnTo>
                  <a:lnTo>
                    <a:pt x="243339" y="4086287"/>
                  </a:lnTo>
                  <a:lnTo>
                    <a:pt x="239320" y="4082248"/>
                  </a:lnTo>
                  <a:lnTo>
                    <a:pt x="239320" y="4072377"/>
                  </a:lnTo>
                  <a:close/>
                  <a:moveTo>
                    <a:pt x="4026" y="4068339"/>
                  </a:moveTo>
                  <a:lnTo>
                    <a:pt x="13936" y="4068339"/>
                  </a:lnTo>
                  <a:lnTo>
                    <a:pt x="17956" y="4072377"/>
                  </a:lnTo>
                  <a:lnTo>
                    <a:pt x="17956" y="4082248"/>
                  </a:lnTo>
                  <a:lnTo>
                    <a:pt x="13936" y="4086287"/>
                  </a:lnTo>
                  <a:lnTo>
                    <a:pt x="4026" y="4086287"/>
                  </a:lnTo>
                  <a:lnTo>
                    <a:pt x="7" y="4082248"/>
                  </a:lnTo>
                  <a:lnTo>
                    <a:pt x="7" y="4072377"/>
                  </a:lnTo>
                  <a:close/>
                  <a:moveTo>
                    <a:pt x="2157820" y="3829058"/>
                  </a:moveTo>
                  <a:lnTo>
                    <a:pt x="2167731" y="3829058"/>
                  </a:lnTo>
                  <a:lnTo>
                    <a:pt x="2171749" y="3833097"/>
                  </a:lnTo>
                  <a:lnTo>
                    <a:pt x="2171749" y="3842968"/>
                  </a:lnTo>
                  <a:lnTo>
                    <a:pt x="2167731" y="3847007"/>
                  </a:lnTo>
                  <a:lnTo>
                    <a:pt x="2157820" y="3847007"/>
                  </a:lnTo>
                  <a:lnTo>
                    <a:pt x="2153801" y="3842968"/>
                  </a:lnTo>
                  <a:lnTo>
                    <a:pt x="2153801" y="3833097"/>
                  </a:lnTo>
                  <a:close/>
                  <a:moveTo>
                    <a:pt x="1918511" y="3829058"/>
                  </a:moveTo>
                  <a:lnTo>
                    <a:pt x="1928421" y="3829058"/>
                  </a:lnTo>
                  <a:lnTo>
                    <a:pt x="1932440" y="3833097"/>
                  </a:lnTo>
                  <a:lnTo>
                    <a:pt x="1932440" y="3842968"/>
                  </a:lnTo>
                  <a:lnTo>
                    <a:pt x="1928421" y="3847007"/>
                  </a:lnTo>
                  <a:lnTo>
                    <a:pt x="1918511" y="3847007"/>
                  </a:lnTo>
                  <a:lnTo>
                    <a:pt x="1914493" y="3842968"/>
                  </a:lnTo>
                  <a:lnTo>
                    <a:pt x="1914493" y="3833097"/>
                  </a:lnTo>
                  <a:close/>
                  <a:moveTo>
                    <a:pt x="1679209" y="3829058"/>
                  </a:moveTo>
                  <a:lnTo>
                    <a:pt x="1689118" y="3829058"/>
                  </a:lnTo>
                  <a:lnTo>
                    <a:pt x="1693137" y="3833097"/>
                  </a:lnTo>
                  <a:lnTo>
                    <a:pt x="1693137" y="3842968"/>
                  </a:lnTo>
                  <a:lnTo>
                    <a:pt x="1689118" y="3847007"/>
                  </a:lnTo>
                  <a:lnTo>
                    <a:pt x="1679209" y="3847007"/>
                  </a:lnTo>
                  <a:lnTo>
                    <a:pt x="1675189" y="3842968"/>
                  </a:lnTo>
                  <a:lnTo>
                    <a:pt x="1675189" y="3833097"/>
                  </a:lnTo>
                  <a:close/>
                  <a:moveTo>
                    <a:pt x="1439892" y="3829058"/>
                  </a:moveTo>
                  <a:lnTo>
                    <a:pt x="1449802" y="3829058"/>
                  </a:lnTo>
                  <a:lnTo>
                    <a:pt x="1453820" y="3833097"/>
                  </a:lnTo>
                  <a:lnTo>
                    <a:pt x="1453820" y="3842968"/>
                  </a:lnTo>
                  <a:lnTo>
                    <a:pt x="1449802" y="3847007"/>
                  </a:lnTo>
                  <a:lnTo>
                    <a:pt x="1439892" y="3847007"/>
                  </a:lnTo>
                  <a:lnTo>
                    <a:pt x="1435874" y="3842968"/>
                  </a:lnTo>
                  <a:lnTo>
                    <a:pt x="1435874" y="3833097"/>
                  </a:lnTo>
                  <a:close/>
                  <a:moveTo>
                    <a:pt x="1200577" y="3829058"/>
                  </a:moveTo>
                  <a:lnTo>
                    <a:pt x="1210487" y="3829058"/>
                  </a:lnTo>
                  <a:lnTo>
                    <a:pt x="1214506" y="3833097"/>
                  </a:lnTo>
                  <a:lnTo>
                    <a:pt x="1214506" y="3842968"/>
                  </a:lnTo>
                  <a:lnTo>
                    <a:pt x="1210487" y="3847007"/>
                  </a:lnTo>
                  <a:lnTo>
                    <a:pt x="1200577" y="3847007"/>
                  </a:lnTo>
                  <a:lnTo>
                    <a:pt x="1196558" y="3842968"/>
                  </a:lnTo>
                  <a:lnTo>
                    <a:pt x="1196558" y="3833097"/>
                  </a:lnTo>
                  <a:close/>
                  <a:moveTo>
                    <a:pt x="961264" y="3829058"/>
                  </a:moveTo>
                  <a:lnTo>
                    <a:pt x="971174" y="3829058"/>
                  </a:lnTo>
                  <a:lnTo>
                    <a:pt x="975193" y="3833097"/>
                  </a:lnTo>
                  <a:lnTo>
                    <a:pt x="975193" y="3842968"/>
                  </a:lnTo>
                  <a:lnTo>
                    <a:pt x="971174" y="3847007"/>
                  </a:lnTo>
                  <a:lnTo>
                    <a:pt x="961264" y="3847007"/>
                  </a:lnTo>
                  <a:lnTo>
                    <a:pt x="957245" y="3842968"/>
                  </a:lnTo>
                  <a:lnTo>
                    <a:pt x="957245" y="3833097"/>
                  </a:lnTo>
                  <a:close/>
                  <a:moveTo>
                    <a:pt x="9572438" y="3829008"/>
                  </a:moveTo>
                  <a:lnTo>
                    <a:pt x="9582349" y="3829008"/>
                  </a:lnTo>
                  <a:lnTo>
                    <a:pt x="9586368" y="3833046"/>
                  </a:lnTo>
                  <a:lnTo>
                    <a:pt x="9586368" y="3842917"/>
                  </a:lnTo>
                  <a:lnTo>
                    <a:pt x="9582349" y="3846956"/>
                  </a:lnTo>
                  <a:lnTo>
                    <a:pt x="9572438" y="3846956"/>
                  </a:lnTo>
                  <a:lnTo>
                    <a:pt x="9568419" y="3842917"/>
                  </a:lnTo>
                  <a:lnTo>
                    <a:pt x="9568419" y="3833046"/>
                  </a:lnTo>
                  <a:close/>
                  <a:moveTo>
                    <a:pt x="9333125" y="3829008"/>
                  </a:moveTo>
                  <a:lnTo>
                    <a:pt x="9343036" y="3829008"/>
                  </a:lnTo>
                  <a:lnTo>
                    <a:pt x="9347055" y="3833046"/>
                  </a:lnTo>
                  <a:lnTo>
                    <a:pt x="9347055" y="3842917"/>
                  </a:lnTo>
                  <a:lnTo>
                    <a:pt x="9343036" y="3846956"/>
                  </a:lnTo>
                  <a:lnTo>
                    <a:pt x="9333125" y="3846956"/>
                  </a:lnTo>
                  <a:lnTo>
                    <a:pt x="9329106" y="3842917"/>
                  </a:lnTo>
                  <a:lnTo>
                    <a:pt x="9329106" y="3833046"/>
                  </a:lnTo>
                  <a:close/>
                  <a:moveTo>
                    <a:pt x="9093811" y="3829008"/>
                  </a:moveTo>
                  <a:lnTo>
                    <a:pt x="9103722" y="3829008"/>
                  </a:lnTo>
                  <a:lnTo>
                    <a:pt x="9107741" y="3833046"/>
                  </a:lnTo>
                  <a:lnTo>
                    <a:pt x="9107741" y="3842917"/>
                  </a:lnTo>
                  <a:lnTo>
                    <a:pt x="9103722" y="3846956"/>
                  </a:lnTo>
                  <a:lnTo>
                    <a:pt x="9093811" y="3846956"/>
                  </a:lnTo>
                  <a:lnTo>
                    <a:pt x="9089792" y="3842917"/>
                  </a:lnTo>
                  <a:lnTo>
                    <a:pt x="9089792" y="3833046"/>
                  </a:lnTo>
                  <a:close/>
                  <a:moveTo>
                    <a:pt x="8854496" y="3829008"/>
                  </a:moveTo>
                  <a:lnTo>
                    <a:pt x="8864407" y="3829008"/>
                  </a:lnTo>
                  <a:lnTo>
                    <a:pt x="8868426" y="3833046"/>
                  </a:lnTo>
                  <a:lnTo>
                    <a:pt x="8868426" y="3842917"/>
                  </a:lnTo>
                  <a:lnTo>
                    <a:pt x="8864407" y="3846956"/>
                  </a:lnTo>
                  <a:lnTo>
                    <a:pt x="8854496" y="3846956"/>
                  </a:lnTo>
                  <a:lnTo>
                    <a:pt x="8850477" y="3842917"/>
                  </a:lnTo>
                  <a:lnTo>
                    <a:pt x="8850477" y="3833046"/>
                  </a:lnTo>
                  <a:close/>
                  <a:moveTo>
                    <a:pt x="8615184" y="3829008"/>
                  </a:moveTo>
                  <a:lnTo>
                    <a:pt x="8625095" y="3829008"/>
                  </a:lnTo>
                  <a:lnTo>
                    <a:pt x="8629114" y="3833046"/>
                  </a:lnTo>
                  <a:lnTo>
                    <a:pt x="8629114" y="3842917"/>
                  </a:lnTo>
                  <a:lnTo>
                    <a:pt x="8625095" y="3846956"/>
                  </a:lnTo>
                  <a:lnTo>
                    <a:pt x="8615184" y="3846956"/>
                  </a:lnTo>
                  <a:lnTo>
                    <a:pt x="8611165" y="3842917"/>
                  </a:lnTo>
                  <a:lnTo>
                    <a:pt x="8611165" y="3833046"/>
                  </a:lnTo>
                  <a:close/>
                  <a:moveTo>
                    <a:pt x="8375869" y="3829008"/>
                  </a:moveTo>
                  <a:lnTo>
                    <a:pt x="8385779" y="3829008"/>
                  </a:lnTo>
                  <a:lnTo>
                    <a:pt x="8389799" y="3833046"/>
                  </a:lnTo>
                  <a:lnTo>
                    <a:pt x="8389799" y="3842917"/>
                  </a:lnTo>
                  <a:lnTo>
                    <a:pt x="8385779" y="3846956"/>
                  </a:lnTo>
                  <a:lnTo>
                    <a:pt x="8375869" y="3846956"/>
                  </a:lnTo>
                  <a:lnTo>
                    <a:pt x="8371850" y="3842917"/>
                  </a:lnTo>
                  <a:lnTo>
                    <a:pt x="8371850" y="3833046"/>
                  </a:lnTo>
                  <a:close/>
                  <a:moveTo>
                    <a:pt x="8136553" y="3829008"/>
                  </a:moveTo>
                  <a:lnTo>
                    <a:pt x="8146464" y="3829008"/>
                  </a:lnTo>
                  <a:lnTo>
                    <a:pt x="8150483" y="3833046"/>
                  </a:lnTo>
                  <a:lnTo>
                    <a:pt x="8150483" y="3842917"/>
                  </a:lnTo>
                  <a:lnTo>
                    <a:pt x="8146464" y="3846956"/>
                  </a:lnTo>
                  <a:lnTo>
                    <a:pt x="8136553" y="3846956"/>
                  </a:lnTo>
                  <a:lnTo>
                    <a:pt x="8132534" y="3842917"/>
                  </a:lnTo>
                  <a:lnTo>
                    <a:pt x="8132534" y="3833046"/>
                  </a:lnTo>
                  <a:close/>
                  <a:moveTo>
                    <a:pt x="7897241" y="3829008"/>
                  </a:moveTo>
                  <a:lnTo>
                    <a:pt x="7907151" y="3829008"/>
                  </a:lnTo>
                  <a:lnTo>
                    <a:pt x="7911170" y="3833046"/>
                  </a:lnTo>
                  <a:lnTo>
                    <a:pt x="7911170" y="3842917"/>
                  </a:lnTo>
                  <a:lnTo>
                    <a:pt x="7907151" y="3846956"/>
                  </a:lnTo>
                  <a:lnTo>
                    <a:pt x="7897241" y="3846956"/>
                  </a:lnTo>
                  <a:lnTo>
                    <a:pt x="7893222" y="3842917"/>
                  </a:lnTo>
                  <a:lnTo>
                    <a:pt x="7893222" y="3833046"/>
                  </a:lnTo>
                  <a:close/>
                  <a:moveTo>
                    <a:pt x="7657926" y="3829008"/>
                  </a:moveTo>
                  <a:lnTo>
                    <a:pt x="7667836" y="3829008"/>
                  </a:lnTo>
                  <a:lnTo>
                    <a:pt x="7671855" y="3833046"/>
                  </a:lnTo>
                  <a:lnTo>
                    <a:pt x="7671855" y="3842917"/>
                  </a:lnTo>
                  <a:lnTo>
                    <a:pt x="7667836" y="3846956"/>
                  </a:lnTo>
                  <a:lnTo>
                    <a:pt x="7657926" y="3846956"/>
                  </a:lnTo>
                  <a:lnTo>
                    <a:pt x="7653906" y="3842917"/>
                  </a:lnTo>
                  <a:lnTo>
                    <a:pt x="7653906" y="3833046"/>
                  </a:lnTo>
                  <a:close/>
                  <a:moveTo>
                    <a:pt x="7418611" y="3829008"/>
                  </a:moveTo>
                  <a:lnTo>
                    <a:pt x="7428521" y="3829008"/>
                  </a:lnTo>
                  <a:lnTo>
                    <a:pt x="7432540" y="3833046"/>
                  </a:lnTo>
                  <a:lnTo>
                    <a:pt x="7432540" y="3842917"/>
                  </a:lnTo>
                  <a:lnTo>
                    <a:pt x="7428521" y="3846956"/>
                  </a:lnTo>
                  <a:lnTo>
                    <a:pt x="7418611" y="3846956"/>
                  </a:lnTo>
                  <a:lnTo>
                    <a:pt x="7414592" y="3842917"/>
                  </a:lnTo>
                  <a:lnTo>
                    <a:pt x="7414592" y="3833046"/>
                  </a:lnTo>
                  <a:close/>
                  <a:moveTo>
                    <a:pt x="7179298" y="3829008"/>
                  </a:moveTo>
                  <a:lnTo>
                    <a:pt x="7189209" y="3829008"/>
                  </a:lnTo>
                  <a:lnTo>
                    <a:pt x="7193228" y="3833046"/>
                  </a:lnTo>
                  <a:lnTo>
                    <a:pt x="7193228" y="3842917"/>
                  </a:lnTo>
                  <a:lnTo>
                    <a:pt x="7189209" y="3846956"/>
                  </a:lnTo>
                  <a:lnTo>
                    <a:pt x="7179298" y="3846956"/>
                  </a:lnTo>
                  <a:lnTo>
                    <a:pt x="7175279" y="3842917"/>
                  </a:lnTo>
                  <a:lnTo>
                    <a:pt x="7175279" y="3833046"/>
                  </a:lnTo>
                  <a:close/>
                  <a:moveTo>
                    <a:pt x="6939983" y="3829008"/>
                  </a:moveTo>
                  <a:lnTo>
                    <a:pt x="6949894" y="3829008"/>
                  </a:lnTo>
                  <a:lnTo>
                    <a:pt x="6953913" y="3833046"/>
                  </a:lnTo>
                  <a:lnTo>
                    <a:pt x="6953913" y="3842917"/>
                  </a:lnTo>
                  <a:lnTo>
                    <a:pt x="6949894" y="3846956"/>
                  </a:lnTo>
                  <a:lnTo>
                    <a:pt x="6939983" y="3846956"/>
                  </a:lnTo>
                  <a:lnTo>
                    <a:pt x="6935964" y="3842917"/>
                  </a:lnTo>
                  <a:lnTo>
                    <a:pt x="6935964" y="3833046"/>
                  </a:lnTo>
                  <a:close/>
                  <a:moveTo>
                    <a:pt x="6700670" y="3829008"/>
                  </a:moveTo>
                  <a:lnTo>
                    <a:pt x="6710581" y="3829008"/>
                  </a:lnTo>
                  <a:lnTo>
                    <a:pt x="6714600" y="3833046"/>
                  </a:lnTo>
                  <a:lnTo>
                    <a:pt x="6714600" y="3842917"/>
                  </a:lnTo>
                  <a:lnTo>
                    <a:pt x="6710581" y="3846956"/>
                  </a:lnTo>
                  <a:lnTo>
                    <a:pt x="6700670" y="3846956"/>
                  </a:lnTo>
                  <a:lnTo>
                    <a:pt x="6696651" y="3842917"/>
                  </a:lnTo>
                  <a:lnTo>
                    <a:pt x="6696651" y="3833046"/>
                  </a:lnTo>
                  <a:close/>
                  <a:moveTo>
                    <a:pt x="6461356" y="3829008"/>
                  </a:moveTo>
                  <a:lnTo>
                    <a:pt x="6471266" y="3829008"/>
                  </a:lnTo>
                  <a:lnTo>
                    <a:pt x="6475285" y="3833046"/>
                  </a:lnTo>
                  <a:lnTo>
                    <a:pt x="6475285" y="3842917"/>
                  </a:lnTo>
                  <a:lnTo>
                    <a:pt x="6471266" y="3846956"/>
                  </a:lnTo>
                  <a:lnTo>
                    <a:pt x="6461356" y="3846956"/>
                  </a:lnTo>
                  <a:lnTo>
                    <a:pt x="6457337" y="3842917"/>
                  </a:lnTo>
                  <a:lnTo>
                    <a:pt x="6457337" y="3833046"/>
                  </a:lnTo>
                  <a:close/>
                  <a:moveTo>
                    <a:pt x="6222042" y="3829008"/>
                  </a:moveTo>
                  <a:lnTo>
                    <a:pt x="6231952" y="3829008"/>
                  </a:lnTo>
                  <a:lnTo>
                    <a:pt x="6235971" y="3833046"/>
                  </a:lnTo>
                  <a:lnTo>
                    <a:pt x="6235971" y="3842917"/>
                  </a:lnTo>
                  <a:lnTo>
                    <a:pt x="6231952" y="3846956"/>
                  </a:lnTo>
                  <a:lnTo>
                    <a:pt x="6222042" y="3846956"/>
                  </a:lnTo>
                  <a:lnTo>
                    <a:pt x="6218023" y="3842917"/>
                  </a:lnTo>
                  <a:lnTo>
                    <a:pt x="6218023" y="3833046"/>
                  </a:lnTo>
                  <a:close/>
                  <a:moveTo>
                    <a:pt x="5982729" y="3829008"/>
                  </a:moveTo>
                  <a:lnTo>
                    <a:pt x="5992639" y="3829008"/>
                  </a:lnTo>
                  <a:lnTo>
                    <a:pt x="5996658" y="3833046"/>
                  </a:lnTo>
                  <a:lnTo>
                    <a:pt x="5996658" y="3842917"/>
                  </a:lnTo>
                  <a:lnTo>
                    <a:pt x="5992639" y="3846956"/>
                  </a:lnTo>
                  <a:lnTo>
                    <a:pt x="5982729" y="3846956"/>
                  </a:lnTo>
                  <a:lnTo>
                    <a:pt x="5978710" y="3842917"/>
                  </a:lnTo>
                  <a:lnTo>
                    <a:pt x="5978710" y="3833046"/>
                  </a:lnTo>
                  <a:close/>
                  <a:moveTo>
                    <a:pt x="5743412" y="3829008"/>
                  </a:moveTo>
                  <a:lnTo>
                    <a:pt x="5753323" y="3829008"/>
                  </a:lnTo>
                  <a:lnTo>
                    <a:pt x="5757342" y="3833046"/>
                  </a:lnTo>
                  <a:lnTo>
                    <a:pt x="5757342" y="3842917"/>
                  </a:lnTo>
                  <a:lnTo>
                    <a:pt x="5753323" y="3846956"/>
                  </a:lnTo>
                  <a:lnTo>
                    <a:pt x="5743412" y="3846956"/>
                  </a:lnTo>
                  <a:lnTo>
                    <a:pt x="5739393" y="3842917"/>
                  </a:lnTo>
                  <a:lnTo>
                    <a:pt x="5739393" y="3833046"/>
                  </a:lnTo>
                  <a:close/>
                  <a:moveTo>
                    <a:pt x="5504099" y="3829008"/>
                  </a:moveTo>
                  <a:lnTo>
                    <a:pt x="5514010" y="3829008"/>
                  </a:lnTo>
                  <a:lnTo>
                    <a:pt x="5518029" y="3833046"/>
                  </a:lnTo>
                  <a:lnTo>
                    <a:pt x="5518029" y="3842917"/>
                  </a:lnTo>
                  <a:lnTo>
                    <a:pt x="5514010" y="3846956"/>
                  </a:lnTo>
                  <a:lnTo>
                    <a:pt x="5504099" y="3846956"/>
                  </a:lnTo>
                  <a:lnTo>
                    <a:pt x="5500080" y="3842917"/>
                  </a:lnTo>
                  <a:lnTo>
                    <a:pt x="5500080" y="3833046"/>
                  </a:lnTo>
                  <a:close/>
                  <a:moveTo>
                    <a:pt x="5264784" y="3829008"/>
                  </a:moveTo>
                  <a:lnTo>
                    <a:pt x="5274694" y="3829008"/>
                  </a:lnTo>
                  <a:lnTo>
                    <a:pt x="5278713" y="3833046"/>
                  </a:lnTo>
                  <a:lnTo>
                    <a:pt x="5278713" y="3842917"/>
                  </a:lnTo>
                  <a:lnTo>
                    <a:pt x="5274694" y="3846956"/>
                  </a:lnTo>
                  <a:lnTo>
                    <a:pt x="5264784" y="3846956"/>
                  </a:lnTo>
                  <a:lnTo>
                    <a:pt x="5260765" y="3842917"/>
                  </a:lnTo>
                  <a:lnTo>
                    <a:pt x="5260765" y="3833046"/>
                  </a:lnTo>
                  <a:close/>
                  <a:moveTo>
                    <a:pt x="5025470" y="3829008"/>
                  </a:moveTo>
                  <a:lnTo>
                    <a:pt x="5035381" y="3829008"/>
                  </a:lnTo>
                  <a:lnTo>
                    <a:pt x="5039400" y="3833046"/>
                  </a:lnTo>
                  <a:lnTo>
                    <a:pt x="5039400" y="3842917"/>
                  </a:lnTo>
                  <a:lnTo>
                    <a:pt x="5035381" y="3846956"/>
                  </a:lnTo>
                  <a:lnTo>
                    <a:pt x="5025470" y="3846956"/>
                  </a:lnTo>
                  <a:lnTo>
                    <a:pt x="5021451" y="3842917"/>
                  </a:lnTo>
                  <a:lnTo>
                    <a:pt x="5021451" y="3833046"/>
                  </a:lnTo>
                  <a:close/>
                  <a:moveTo>
                    <a:pt x="4786241" y="3829008"/>
                  </a:moveTo>
                  <a:lnTo>
                    <a:pt x="4796152" y="3829008"/>
                  </a:lnTo>
                  <a:lnTo>
                    <a:pt x="4800171" y="3833046"/>
                  </a:lnTo>
                  <a:lnTo>
                    <a:pt x="4800171" y="3842917"/>
                  </a:lnTo>
                  <a:lnTo>
                    <a:pt x="4796152" y="3846956"/>
                  </a:lnTo>
                  <a:lnTo>
                    <a:pt x="4786241" y="3846956"/>
                  </a:lnTo>
                  <a:lnTo>
                    <a:pt x="4782224" y="3842917"/>
                  </a:lnTo>
                  <a:lnTo>
                    <a:pt x="4782224" y="3833046"/>
                  </a:lnTo>
                  <a:close/>
                  <a:moveTo>
                    <a:pt x="4546929" y="3829008"/>
                  </a:moveTo>
                  <a:lnTo>
                    <a:pt x="4556840" y="3829008"/>
                  </a:lnTo>
                  <a:lnTo>
                    <a:pt x="4560859" y="3833046"/>
                  </a:lnTo>
                  <a:lnTo>
                    <a:pt x="4560859" y="3842917"/>
                  </a:lnTo>
                  <a:lnTo>
                    <a:pt x="4556840" y="3846956"/>
                  </a:lnTo>
                  <a:lnTo>
                    <a:pt x="4546929" y="3846956"/>
                  </a:lnTo>
                  <a:lnTo>
                    <a:pt x="4542910" y="3842917"/>
                  </a:lnTo>
                  <a:lnTo>
                    <a:pt x="4542910" y="3833046"/>
                  </a:lnTo>
                  <a:close/>
                  <a:moveTo>
                    <a:pt x="4307612" y="3829008"/>
                  </a:moveTo>
                  <a:lnTo>
                    <a:pt x="4317523" y="3829008"/>
                  </a:lnTo>
                  <a:lnTo>
                    <a:pt x="4321543" y="3833046"/>
                  </a:lnTo>
                  <a:lnTo>
                    <a:pt x="4321543" y="3842917"/>
                  </a:lnTo>
                  <a:lnTo>
                    <a:pt x="4317523" y="3846956"/>
                  </a:lnTo>
                  <a:lnTo>
                    <a:pt x="4307612" y="3846956"/>
                  </a:lnTo>
                  <a:lnTo>
                    <a:pt x="4303595" y="3842917"/>
                  </a:lnTo>
                  <a:lnTo>
                    <a:pt x="4303595" y="3833046"/>
                  </a:lnTo>
                  <a:close/>
                  <a:moveTo>
                    <a:pt x="4068297" y="3829008"/>
                  </a:moveTo>
                  <a:lnTo>
                    <a:pt x="4078210" y="3829008"/>
                  </a:lnTo>
                  <a:lnTo>
                    <a:pt x="4082229" y="3833046"/>
                  </a:lnTo>
                  <a:lnTo>
                    <a:pt x="4082229" y="3842917"/>
                  </a:lnTo>
                  <a:lnTo>
                    <a:pt x="4078210" y="3846956"/>
                  </a:lnTo>
                  <a:lnTo>
                    <a:pt x="4068297" y="3846956"/>
                  </a:lnTo>
                  <a:lnTo>
                    <a:pt x="4064278" y="3842917"/>
                  </a:lnTo>
                  <a:lnTo>
                    <a:pt x="4064278" y="3833046"/>
                  </a:lnTo>
                  <a:close/>
                  <a:moveTo>
                    <a:pt x="3828990" y="3829008"/>
                  </a:moveTo>
                  <a:lnTo>
                    <a:pt x="3838899" y="3829008"/>
                  </a:lnTo>
                  <a:lnTo>
                    <a:pt x="3842917" y="3833046"/>
                  </a:lnTo>
                  <a:lnTo>
                    <a:pt x="3842917" y="3842917"/>
                  </a:lnTo>
                  <a:lnTo>
                    <a:pt x="3838899" y="3846956"/>
                  </a:lnTo>
                  <a:lnTo>
                    <a:pt x="3828990" y="3846956"/>
                  </a:lnTo>
                  <a:lnTo>
                    <a:pt x="3824971" y="3842917"/>
                  </a:lnTo>
                  <a:lnTo>
                    <a:pt x="3824971" y="3833046"/>
                  </a:lnTo>
                  <a:close/>
                  <a:moveTo>
                    <a:pt x="3589676" y="3829008"/>
                  </a:moveTo>
                  <a:lnTo>
                    <a:pt x="3599585" y="3829008"/>
                  </a:lnTo>
                  <a:lnTo>
                    <a:pt x="3603604" y="3833046"/>
                  </a:lnTo>
                  <a:lnTo>
                    <a:pt x="3603604" y="3842917"/>
                  </a:lnTo>
                  <a:lnTo>
                    <a:pt x="3599585" y="3846956"/>
                  </a:lnTo>
                  <a:lnTo>
                    <a:pt x="3589676" y="3846956"/>
                  </a:lnTo>
                  <a:lnTo>
                    <a:pt x="3585657" y="3842917"/>
                  </a:lnTo>
                  <a:lnTo>
                    <a:pt x="3585657" y="3833046"/>
                  </a:lnTo>
                  <a:close/>
                  <a:moveTo>
                    <a:pt x="3350359" y="3829008"/>
                  </a:moveTo>
                  <a:lnTo>
                    <a:pt x="3360268" y="3829008"/>
                  </a:lnTo>
                  <a:lnTo>
                    <a:pt x="3364287" y="3833046"/>
                  </a:lnTo>
                  <a:lnTo>
                    <a:pt x="3364287" y="3842917"/>
                  </a:lnTo>
                  <a:lnTo>
                    <a:pt x="3360268" y="3846956"/>
                  </a:lnTo>
                  <a:lnTo>
                    <a:pt x="3350359" y="3846956"/>
                  </a:lnTo>
                  <a:lnTo>
                    <a:pt x="3346340" y="3842917"/>
                  </a:lnTo>
                  <a:lnTo>
                    <a:pt x="3346340" y="3833046"/>
                  </a:lnTo>
                  <a:close/>
                  <a:moveTo>
                    <a:pt x="3111048" y="3829008"/>
                  </a:moveTo>
                  <a:lnTo>
                    <a:pt x="3120959" y="3829008"/>
                  </a:lnTo>
                  <a:lnTo>
                    <a:pt x="3124977" y="3833046"/>
                  </a:lnTo>
                  <a:lnTo>
                    <a:pt x="3124977" y="3842917"/>
                  </a:lnTo>
                  <a:lnTo>
                    <a:pt x="3120959" y="3846956"/>
                  </a:lnTo>
                  <a:lnTo>
                    <a:pt x="3111048" y="3846956"/>
                  </a:lnTo>
                  <a:lnTo>
                    <a:pt x="3107029" y="3842917"/>
                  </a:lnTo>
                  <a:lnTo>
                    <a:pt x="3107029" y="3833046"/>
                  </a:lnTo>
                  <a:close/>
                  <a:moveTo>
                    <a:pt x="2871737" y="3829008"/>
                  </a:moveTo>
                  <a:lnTo>
                    <a:pt x="2881646" y="3829008"/>
                  </a:lnTo>
                  <a:lnTo>
                    <a:pt x="2885666" y="3833046"/>
                  </a:lnTo>
                  <a:lnTo>
                    <a:pt x="2885666" y="3842917"/>
                  </a:lnTo>
                  <a:lnTo>
                    <a:pt x="2881646" y="3846956"/>
                  </a:lnTo>
                  <a:lnTo>
                    <a:pt x="2871737" y="3846956"/>
                  </a:lnTo>
                  <a:lnTo>
                    <a:pt x="2867717" y="3842917"/>
                  </a:lnTo>
                  <a:lnTo>
                    <a:pt x="2867717" y="3833046"/>
                  </a:lnTo>
                  <a:close/>
                  <a:moveTo>
                    <a:pt x="2632423" y="3829008"/>
                  </a:moveTo>
                  <a:lnTo>
                    <a:pt x="2642334" y="3829008"/>
                  </a:lnTo>
                  <a:lnTo>
                    <a:pt x="2646352" y="3833046"/>
                  </a:lnTo>
                  <a:lnTo>
                    <a:pt x="2646352" y="3842917"/>
                  </a:lnTo>
                  <a:lnTo>
                    <a:pt x="2642334" y="3846956"/>
                  </a:lnTo>
                  <a:lnTo>
                    <a:pt x="2632423" y="3846956"/>
                  </a:lnTo>
                  <a:lnTo>
                    <a:pt x="2628404" y="3842917"/>
                  </a:lnTo>
                  <a:lnTo>
                    <a:pt x="2628404" y="3833046"/>
                  </a:lnTo>
                  <a:close/>
                  <a:moveTo>
                    <a:pt x="2393104" y="3829008"/>
                  </a:moveTo>
                  <a:lnTo>
                    <a:pt x="2403015" y="3829008"/>
                  </a:lnTo>
                  <a:lnTo>
                    <a:pt x="2407034" y="3833046"/>
                  </a:lnTo>
                  <a:lnTo>
                    <a:pt x="2407034" y="3842917"/>
                  </a:lnTo>
                  <a:lnTo>
                    <a:pt x="2403015" y="3846956"/>
                  </a:lnTo>
                  <a:lnTo>
                    <a:pt x="2393104" y="3846956"/>
                  </a:lnTo>
                  <a:lnTo>
                    <a:pt x="2389087" y="3842917"/>
                  </a:lnTo>
                  <a:lnTo>
                    <a:pt x="2389087" y="3833046"/>
                  </a:lnTo>
                  <a:close/>
                  <a:moveTo>
                    <a:pt x="721966" y="3829008"/>
                  </a:moveTo>
                  <a:lnTo>
                    <a:pt x="731876" y="3829008"/>
                  </a:lnTo>
                  <a:lnTo>
                    <a:pt x="735895" y="3833046"/>
                  </a:lnTo>
                  <a:lnTo>
                    <a:pt x="735895" y="3842917"/>
                  </a:lnTo>
                  <a:lnTo>
                    <a:pt x="731876" y="3846956"/>
                  </a:lnTo>
                  <a:lnTo>
                    <a:pt x="721966" y="3846956"/>
                  </a:lnTo>
                  <a:lnTo>
                    <a:pt x="717947" y="3842917"/>
                  </a:lnTo>
                  <a:lnTo>
                    <a:pt x="717947" y="3833046"/>
                  </a:lnTo>
                  <a:close/>
                  <a:moveTo>
                    <a:pt x="482654" y="3829008"/>
                  </a:moveTo>
                  <a:lnTo>
                    <a:pt x="492564" y="3829008"/>
                  </a:lnTo>
                  <a:lnTo>
                    <a:pt x="496583" y="3833046"/>
                  </a:lnTo>
                  <a:lnTo>
                    <a:pt x="496583" y="3842917"/>
                  </a:lnTo>
                  <a:lnTo>
                    <a:pt x="492564" y="3846956"/>
                  </a:lnTo>
                  <a:lnTo>
                    <a:pt x="482654" y="3846956"/>
                  </a:lnTo>
                  <a:lnTo>
                    <a:pt x="478635" y="3842917"/>
                  </a:lnTo>
                  <a:lnTo>
                    <a:pt x="478635" y="3833046"/>
                  </a:lnTo>
                  <a:close/>
                  <a:moveTo>
                    <a:pt x="243340" y="3829008"/>
                  </a:moveTo>
                  <a:lnTo>
                    <a:pt x="253250" y="3829008"/>
                  </a:lnTo>
                  <a:lnTo>
                    <a:pt x="257269" y="3833046"/>
                  </a:lnTo>
                  <a:lnTo>
                    <a:pt x="257269" y="3842917"/>
                  </a:lnTo>
                  <a:lnTo>
                    <a:pt x="253250" y="3846956"/>
                  </a:lnTo>
                  <a:lnTo>
                    <a:pt x="243340" y="3846956"/>
                  </a:lnTo>
                  <a:lnTo>
                    <a:pt x="239321" y="3842917"/>
                  </a:lnTo>
                  <a:lnTo>
                    <a:pt x="239321" y="3833046"/>
                  </a:lnTo>
                  <a:close/>
                  <a:moveTo>
                    <a:pt x="4027" y="3829008"/>
                  </a:moveTo>
                  <a:lnTo>
                    <a:pt x="13937" y="3829008"/>
                  </a:lnTo>
                  <a:lnTo>
                    <a:pt x="17956" y="3833046"/>
                  </a:lnTo>
                  <a:lnTo>
                    <a:pt x="17956" y="3842917"/>
                  </a:lnTo>
                  <a:lnTo>
                    <a:pt x="13937" y="3846956"/>
                  </a:lnTo>
                  <a:lnTo>
                    <a:pt x="4027" y="3846956"/>
                  </a:lnTo>
                  <a:lnTo>
                    <a:pt x="8" y="3842917"/>
                  </a:lnTo>
                  <a:lnTo>
                    <a:pt x="8" y="3833046"/>
                  </a:lnTo>
                  <a:close/>
                  <a:moveTo>
                    <a:pt x="2157820" y="3589728"/>
                  </a:moveTo>
                  <a:lnTo>
                    <a:pt x="2167731" y="3589728"/>
                  </a:lnTo>
                  <a:lnTo>
                    <a:pt x="2171749" y="3593767"/>
                  </a:lnTo>
                  <a:lnTo>
                    <a:pt x="2171749" y="3603637"/>
                  </a:lnTo>
                  <a:lnTo>
                    <a:pt x="2167731" y="3607676"/>
                  </a:lnTo>
                  <a:lnTo>
                    <a:pt x="2157820" y="3607676"/>
                  </a:lnTo>
                  <a:lnTo>
                    <a:pt x="2153801" y="3603637"/>
                  </a:lnTo>
                  <a:lnTo>
                    <a:pt x="2153801" y="3593767"/>
                  </a:lnTo>
                  <a:close/>
                  <a:moveTo>
                    <a:pt x="1918511" y="3589728"/>
                  </a:moveTo>
                  <a:lnTo>
                    <a:pt x="1928421" y="3589728"/>
                  </a:lnTo>
                  <a:lnTo>
                    <a:pt x="1932441" y="3593767"/>
                  </a:lnTo>
                  <a:lnTo>
                    <a:pt x="1932441" y="3603637"/>
                  </a:lnTo>
                  <a:lnTo>
                    <a:pt x="1928421" y="3607676"/>
                  </a:lnTo>
                  <a:lnTo>
                    <a:pt x="1918511" y="3607676"/>
                  </a:lnTo>
                  <a:lnTo>
                    <a:pt x="1914493" y="3603637"/>
                  </a:lnTo>
                  <a:lnTo>
                    <a:pt x="1914493" y="3593767"/>
                  </a:lnTo>
                  <a:close/>
                  <a:moveTo>
                    <a:pt x="1679209" y="3589728"/>
                  </a:moveTo>
                  <a:lnTo>
                    <a:pt x="1689118" y="3589728"/>
                  </a:lnTo>
                  <a:lnTo>
                    <a:pt x="1693138" y="3593767"/>
                  </a:lnTo>
                  <a:lnTo>
                    <a:pt x="1693138" y="3603637"/>
                  </a:lnTo>
                  <a:lnTo>
                    <a:pt x="1689118" y="3607676"/>
                  </a:lnTo>
                  <a:lnTo>
                    <a:pt x="1679209" y="3607676"/>
                  </a:lnTo>
                  <a:lnTo>
                    <a:pt x="1675190" y="3603637"/>
                  </a:lnTo>
                  <a:lnTo>
                    <a:pt x="1675190" y="3593767"/>
                  </a:lnTo>
                  <a:close/>
                  <a:moveTo>
                    <a:pt x="1439892" y="3589728"/>
                  </a:moveTo>
                  <a:lnTo>
                    <a:pt x="1449803" y="3589728"/>
                  </a:lnTo>
                  <a:lnTo>
                    <a:pt x="1453822" y="3593767"/>
                  </a:lnTo>
                  <a:lnTo>
                    <a:pt x="1453822" y="3603637"/>
                  </a:lnTo>
                  <a:lnTo>
                    <a:pt x="1449803" y="3607676"/>
                  </a:lnTo>
                  <a:lnTo>
                    <a:pt x="1439892" y="3607676"/>
                  </a:lnTo>
                  <a:lnTo>
                    <a:pt x="1435874" y="3603637"/>
                  </a:lnTo>
                  <a:lnTo>
                    <a:pt x="1435874" y="3593767"/>
                  </a:lnTo>
                  <a:close/>
                  <a:moveTo>
                    <a:pt x="1200577" y="3589728"/>
                  </a:moveTo>
                  <a:lnTo>
                    <a:pt x="1210488" y="3589728"/>
                  </a:lnTo>
                  <a:lnTo>
                    <a:pt x="1214506" y="3593767"/>
                  </a:lnTo>
                  <a:lnTo>
                    <a:pt x="1214506" y="3603637"/>
                  </a:lnTo>
                  <a:lnTo>
                    <a:pt x="1210488" y="3607676"/>
                  </a:lnTo>
                  <a:lnTo>
                    <a:pt x="1200577" y="3607676"/>
                  </a:lnTo>
                  <a:lnTo>
                    <a:pt x="1196559" y="3603637"/>
                  </a:lnTo>
                  <a:lnTo>
                    <a:pt x="1196559" y="3593767"/>
                  </a:lnTo>
                  <a:close/>
                  <a:moveTo>
                    <a:pt x="961265" y="3589728"/>
                  </a:moveTo>
                  <a:lnTo>
                    <a:pt x="971175" y="3589728"/>
                  </a:lnTo>
                  <a:lnTo>
                    <a:pt x="975193" y="3593767"/>
                  </a:lnTo>
                  <a:lnTo>
                    <a:pt x="975193" y="3603637"/>
                  </a:lnTo>
                  <a:lnTo>
                    <a:pt x="971175" y="3607676"/>
                  </a:lnTo>
                  <a:lnTo>
                    <a:pt x="961265" y="3607676"/>
                  </a:lnTo>
                  <a:lnTo>
                    <a:pt x="957246" y="3603637"/>
                  </a:lnTo>
                  <a:lnTo>
                    <a:pt x="957246" y="3593767"/>
                  </a:lnTo>
                  <a:close/>
                  <a:moveTo>
                    <a:pt x="9572438" y="3589677"/>
                  </a:moveTo>
                  <a:lnTo>
                    <a:pt x="9582349" y="3589677"/>
                  </a:lnTo>
                  <a:lnTo>
                    <a:pt x="9586368" y="3593716"/>
                  </a:lnTo>
                  <a:lnTo>
                    <a:pt x="9586368" y="3603586"/>
                  </a:lnTo>
                  <a:lnTo>
                    <a:pt x="9582349" y="3607625"/>
                  </a:lnTo>
                  <a:lnTo>
                    <a:pt x="9572438" y="3607625"/>
                  </a:lnTo>
                  <a:lnTo>
                    <a:pt x="9568419" y="3603586"/>
                  </a:lnTo>
                  <a:lnTo>
                    <a:pt x="9568419" y="3593716"/>
                  </a:lnTo>
                  <a:close/>
                  <a:moveTo>
                    <a:pt x="9333125" y="3589677"/>
                  </a:moveTo>
                  <a:lnTo>
                    <a:pt x="9343036" y="3589677"/>
                  </a:lnTo>
                  <a:lnTo>
                    <a:pt x="9347055" y="3593716"/>
                  </a:lnTo>
                  <a:lnTo>
                    <a:pt x="9347055" y="3603586"/>
                  </a:lnTo>
                  <a:lnTo>
                    <a:pt x="9343036" y="3607625"/>
                  </a:lnTo>
                  <a:lnTo>
                    <a:pt x="9333125" y="3607625"/>
                  </a:lnTo>
                  <a:lnTo>
                    <a:pt x="9329106" y="3603586"/>
                  </a:lnTo>
                  <a:lnTo>
                    <a:pt x="9329106" y="3593716"/>
                  </a:lnTo>
                  <a:close/>
                  <a:moveTo>
                    <a:pt x="9093811" y="3589677"/>
                  </a:moveTo>
                  <a:lnTo>
                    <a:pt x="9103722" y="3589677"/>
                  </a:lnTo>
                  <a:lnTo>
                    <a:pt x="9107741" y="3593716"/>
                  </a:lnTo>
                  <a:lnTo>
                    <a:pt x="9107741" y="3603586"/>
                  </a:lnTo>
                  <a:lnTo>
                    <a:pt x="9103722" y="3607625"/>
                  </a:lnTo>
                  <a:lnTo>
                    <a:pt x="9093811" y="3607625"/>
                  </a:lnTo>
                  <a:lnTo>
                    <a:pt x="9089792" y="3603586"/>
                  </a:lnTo>
                  <a:lnTo>
                    <a:pt x="9089792" y="3593716"/>
                  </a:lnTo>
                  <a:close/>
                  <a:moveTo>
                    <a:pt x="8854496" y="3589677"/>
                  </a:moveTo>
                  <a:lnTo>
                    <a:pt x="8864407" y="3589677"/>
                  </a:lnTo>
                  <a:lnTo>
                    <a:pt x="8868426" y="3593716"/>
                  </a:lnTo>
                  <a:lnTo>
                    <a:pt x="8868426" y="3603586"/>
                  </a:lnTo>
                  <a:lnTo>
                    <a:pt x="8864407" y="3607625"/>
                  </a:lnTo>
                  <a:lnTo>
                    <a:pt x="8854496" y="3607625"/>
                  </a:lnTo>
                  <a:lnTo>
                    <a:pt x="8850477" y="3603586"/>
                  </a:lnTo>
                  <a:lnTo>
                    <a:pt x="8850477" y="3593716"/>
                  </a:lnTo>
                  <a:close/>
                  <a:moveTo>
                    <a:pt x="8615184" y="3589677"/>
                  </a:moveTo>
                  <a:lnTo>
                    <a:pt x="8625095" y="3589677"/>
                  </a:lnTo>
                  <a:lnTo>
                    <a:pt x="8629114" y="3593716"/>
                  </a:lnTo>
                  <a:lnTo>
                    <a:pt x="8629114" y="3603586"/>
                  </a:lnTo>
                  <a:lnTo>
                    <a:pt x="8625095" y="3607625"/>
                  </a:lnTo>
                  <a:lnTo>
                    <a:pt x="8615184" y="3607625"/>
                  </a:lnTo>
                  <a:lnTo>
                    <a:pt x="8611165" y="3603586"/>
                  </a:lnTo>
                  <a:lnTo>
                    <a:pt x="8611165" y="3593716"/>
                  </a:lnTo>
                  <a:close/>
                  <a:moveTo>
                    <a:pt x="8375869" y="3589677"/>
                  </a:moveTo>
                  <a:lnTo>
                    <a:pt x="8385779" y="3589677"/>
                  </a:lnTo>
                  <a:lnTo>
                    <a:pt x="8389799" y="3593716"/>
                  </a:lnTo>
                  <a:lnTo>
                    <a:pt x="8389799" y="3603586"/>
                  </a:lnTo>
                  <a:lnTo>
                    <a:pt x="8385779" y="3607625"/>
                  </a:lnTo>
                  <a:lnTo>
                    <a:pt x="8375869" y="3607625"/>
                  </a:lnTo>
                  <a:lnTo>
                    <a:pt x="8371850" y="3603586"/>
                  </a:lnTo>
                  <a:lnTo>
                    <a:pt x="8371850" y="3593716"/>
                  </a:lnTo>
                  <a:close/>
                  <a:moveTo>
                    <a:pt x="8136553" y="3589677"/>
                  </a:moveTo>
                  <a:lnTo>
                    <a:pt x="8146464" y="3589677"/>
                  </a:lnTo>
                  <a:lnTo>
                    <a:pt x="8150483" y="3593716"/>
                  </a:lnTo>
                  <a:lnTo>
                    <a:pt x="8150483" y="3603586"/>
                  </a:lnTo>
                  <a:lnTo>
                    <a:pt x="8146464" y="3607625"/>
                  </a:lnTo>
                  <a:lnTo>
                    <a:pt x="8136553" y="3607625"/>
                  </a:lnTo>
                  <a:lnTo>
                    <a:pt x="8132534" y="3603586"/>
                  </a:lnTo>
                  <a:lnTo>
                    <a:pt x="8132534" y="3593716"/>
                  </a:lnTo>
                  <a:close/>
                  <a:moveTo>
                    <a:pt x="7897241" y="3589677"/>
                  </a:moveTo>
                  <a:lnTo>
                    <a:pt x="7907151" y="3589677"/>
                  </a:lnTo>
                  <a:lnTo>
                    <a:pt x="7911170" y="3593716"/>
                  </a:lnTo>
                  <a:lnTo>
                    <a:pt x="7911170" y="3603586"/>
                  </a:lnTo>
                  <a:lnTo>
                    <a:pt x="7907151" y="3607625"/>
                  </a:lnTo>
                  <a:lnTo>
                    <a:pt x="7897241" y="3607625"/>
                  </a:lnTo>
                  <a:lnTo>
                    <a:pt x="7893222" y="3603586"/>
                  </a:lnTo>
                  <a:lnTo>
                    <a:pt x="7893222" y="3593716"/>
                  </a:lnTo>
                  <a:close/>
                  <a:moveTo>
                    <a:pt x="7657926" y="3589677"/>
                  </a:moveTo>
                  <a:lnTo>
                    <a:pt x="7667836" y="3589677"/>
                  </a:lnTo>
                  <a:lnTo>
                    <a:pt x="7671855" y="3593716"/>
                  </a:lnTo>
                  <a:lnTo>
                    <a:pt x="7671855" y="3603586"/>
                  </a:lnTo>
                  <a:lnTo>
                    <a:pt x="7667836" y="3607625"/>
                  </a:lnTo>
                  <a:lnTo>
                    <a:pt x="7657926" y="3607625"/>
                  </a:lnTo>
                  <a:lnTo>
                    <a:pt x="7653906" y="3603586"/>
                  </a:lnTo>
                  <a:lnTo>
                    <a:pt x="7653906" y="3593716"/>
                  </a:lnTo>
                  <a:close/>
                  <a:moveTo>
                    <a:pt x="7418611" y="3589677"/>
                  </a:moveTo>
                  <a:lnTo>
                    <a:pt x="7428521" y="3589677"/>
                  </a:lnTo>
                  <a:lnTo>
                    <a:pt x="7432540" y="3593716"/>
                  </a:lnTo>
                  <a:lnTo>
                    <a:pt x="7432540" y="3603586"/>
                  </a:lnTo>
                  <a:lnTo>
                    <a:pt x="7428521" y="3607625"/>
                  </a:lnTo>
                  <a:lnTo>
                    <a:pt x="7418611" y="3607625"/>
                  </a:lnTo>
                  <a:lnTo>
                    <a:pt x="7414592" y="3603586"/>
                  </a:lnTo>
                  <a:lnTo>
                    <a:pt x="7414592" y="3593716"/>
                  </a:lnTo>
                  <a:close/>
                  <a:moveTo>
                    <a:pt x="7179298" y="3589677"/>
                  </a:moveTo>
                  <a:lnTo>
                    <a:pt x="7189209" y="3589677"/>
                  </a:lnTo>
                  <a:lnTo>
                    <a:pt x="7193228" y="3593716"/>
                  </a:lnTo>
                  <a:lnTo>
                    <a:pt x="7193228" y="3603586"/>
                  </a:lnTo>
                  <a:lnTo>
                    <a:pt x="7189209" y="3607625"/>
                  </a:lnTo>
                  <a:lnTo>
                    <a:pt x="7179298" y="3607625"/>
                  </a:lnTo>
                  <a:lnTo>
                    <a:pt x="7175279" y="3603586"/>
                  </a:lnTo>
                  <a:lnTo>
                    <a:pt x="7175279" y="3593716"/>
                  </a:lnTo>
                  <a:close/>
                  <a:moveTo>
                    <a:pt x="6939983" y="3589677"/>
                  </a:moveTo>
                  <a:lnTo>
                    <a:pt x="6949894" y="3589677"/>
                  </a:lnTo>
                  <a:lnTo>
                    <a:pt x="6953913" y="3593716"/>
                  </a:lnTo>
                  <a:lnTo>
                    <a:pt x="6953913" y="3603586"/>
                  </a:lnTo>
                  <a:lnTo>
                    <a:pt x="6949894" y="3607625"/>
                  </a:lnTo>
                  <a:lnTo>
                    <a:pt x="6939983" y="3607625"/>
                  </a:lnTo>
                  <a:lnTo>
                    <a:pt x="6935964" y="3603586"/>
                  </a:lnTo>
                  <a:lnTo>
                    <a:pt x="6935964" y="3593716"/>
                  </a:lnTo>
                  <a:close/>
                  <a:moveTo>
                    <a:pt x="6700670" y="3589677"/>
                  </a:moveTo>
                  <a:lnTo>
                    <a:pt x="6710581" y="3589677"/>
                  </a:lnTo>
                  <a:lnTo>
                    <a:pt x="6714600" y="3593716"/>
                  </a:lnTo>
                  <a:lnTo>
                    <a:pt x="6714600" y="3603586"/>
                  </a:lnTo>
                  <a:lnTo>
                    <a:pt x="6710581" y="3607625"/>
                  </a:lnTo>
                  <a:lnTo>
                    <a:pt x="6700670" y="3607625"/>
                  </a:lnTo>
                  <a:lnTo>
                    <a:pt x="6696651" y="3603586"/>
                  </a:lnTo>
                  <a:lnTo>
                    <a:pt x="6696651" y="3593716"/>
                  </a:lnTo>
                  <a:close/>
                  <a:moveTo>
                    <a:pt x="6461356" y="3589677"/>
                  </a:moveTo>
                  <a:lnTo>
                    <a:pt x="6471266" y="3589677"/>
                  </a:lnTo>
                  <a:lnTo>
                    <a:pt x="6475285" y="3593716"/>
                  </a:lnTo>
                  <a:lnTo>
                    <a:pt x="6475285" y="3603586"/>
                  </a:lnTo>
                  <a:lnTo>
                    <a:pt x="6471266" y="3607625"/>
                  </a:lnTo>
                  <a:lnTo>
                    <a:pt x="6461356" y="3607625"/>
                  </a:lnTo>
                  <a:lnTo>
                    <a:pt x="6457337" y="3603586"/>
                  </a:lnTo>
                  <a:lnTo>
                    <a:pt x="6457337" y="3593716"/>
                  </a:lnTo>
                  <a:close/>
                  <a:moveTo>
                    <a:pt x="6222042" y="3589677"/>
                  </a:moveTo>
                  <a:lnTo>
                    <a:pt x="6231952" y="3589677"/>
                  </a:lnTo>
                  <a:lnTo>
                    <a:pt x="6235971" y="3593716"/>
                  </a:lnTo>
                  <a:lnTo>
                    <a:pt x="6235971" y="3603586"/>
                  </a:lnTo>
                  <a:lnTo>
                    <a:pt x="6231952" y="3607625"/>
                  </a:lnTo>
                  <a:lnTo>
                    <a:pt x="6222042" y="3607625"/>
                  </a:lnTo>
                  <a:lnTo>
                    <a:pt x="6218023" y="3603586"/>
                  </a:lnTo>
                  <a:lnTo>
                    <a:pt x="6218023" y="3593716"/>
                  </a:lnTo>
                  <a:close/>
                  <a:moveTo>
                    <a:pt x="5982729" y="3589677"/>
                  </a:moveTo>
                  <a:lnTo>
                    <a:pt x="5992639" y="3589677"/>
                  </a:lnTo>
                  <a:lnTo>
                    <a:pt x="5996658" y="3593716"/>
                  </a:lnTo>
                  <a:lnTo>
                    <a:pt x="5996658" y="3603586"/>
                  </a:lnTo>
                  <a:lnTo>
                    <a:pt x="5992639" y="3607625"/>
                  </a:lnTo>
                  <a:lnTo>
                    <a:pt x="5982729" y="3607625"/>
                  </a:lnTo>
                  <a:lnTo>
                    <a:pt x="5978710" y="3603586"/>
                  </a:lnTo>
                  <a:lnTo>
                    <a:pt x="5978710" y="3593716"/>
                  </a:lnTo>
                  <a:close/>
                  <a:moveTo>
                    <a:pt x="5743412" y="3589677"/>
                  </a:moveTo>
                  <a:lnTo>
                    <a:pt x="5753323" y="3589677"/>
                  </a:lnTo>
                  <a:lnTo>
                    <a:pt x="5757342" y="3593716"/>
                  </a:lnTo>
                  <a:lnTo>
                    <a:pt x="5757342" y="3603586"/>
                  </a:lnTo>
                  <a:lnTo>
                    <a:pt x="5753323" y="3607625"/>
                  </a:lnTo>
                  <a:lnTo>
                    <a:pt x="5743412" y="3607625"/>
                  </a:lnTo>
                  <a:lnTo>
                    <a:pt x="5739393" y="3603586"/>
                  </a:lnTo>
                  <a:lnTo>
                    <a:pt x="5739393" y="3593716"/>
                  </a:lnTo>
                  <a:close/>
                  <a:moveTo>
                    <a:pt x="5504099" y="3589677"/>
                  </a:moveTo>
                  <a:lnTo>
                    <a:pt x="5514010" y="3589677"/>
                  </a:lnTo>
                  <a:lnTo>
                    <a:pt x="5518029" y="3593716"/>
                  </a:lnTo>
                  <a:lnTo>
                    <a:pt x="5518029" y="3603586"/>
                  </a:lnTo>
                  <a:lnTo>
                    <a:pt x="5514010" y="3607625"/>
                  </a:lnTo>
                  <a:lnTo>
                    <a:pt x="5504099" y="3607625"/>
                  </a:lnTo>
                  <a:lnTo>
                    <a:pt x="5500080" y="3603586"/>
                  </a:lnTo>
                  <a:lnTo>
                    <a:pt x="5500080" y="3593716"/>
                  </a:lnTo>
                  <a:close/>
                  <a:moveTo>
                    <a:pt x="5264784" y="3589677"/>
                  </a:moveTo>
                  <a:lnTo>
                    <a:pt x="5274694" y="3589677"/>
                  </a:lnTo>
                  <a:lnTo>
                    <a:pt x="5278713" y="3593716"/>
                  </a:lnTo>
                  <a:lnTo>
                    <a:pt x="5278713" y="3603586"/>
                  </a:lnTo>
                  <a:lnTo>
                    <a:pt x="5274694" y="3607625"/>
                  </a:lnTo>
                  <a:lnTo>
                    <a:pt x="5264784" y="3607625"/>
                  </a:lnTo>
                  <a:lnTo>
                    <a:pt x="5260765" y="3603586"/>
                  </a:lnTo>
                  <a:lnTo>
                    <a:pt x="5260765" y="3593716"/>
                  </a:lnTo>
                  <a:close/>
                  <a:moveTo>
                    <a:pt x="5025470" y="3589677"/>
                  </a:moveTo>
                  <a:lnTo>
                    <a:pt x="5035381" y="3589677"/>
                  </a:lnTo>
                  <a:lnTo>
                    <a:pt x="5039400" y="3593716"/>
                  </a:lnTo>
                  <a:lnTo>
                    <a:pt x="5039400" y="3603586"/>
                  </a:lnTo>
                  <a:lnTo>
                    <a:pt x="5035381" y="3607625"/>
                  </a:lnTo>
                  <a:lnTo>
                    <a:pt x="5025470" y="3607625"/>
                  </a:lnTo>
                  <a:lnTo>
                    <a:pt x="5021451" y="3603586"/>
                  </a:lnTo>
                  <a:lnTo>
                    <a:pt x="5021451" y="3593716"/>
                  </a:lnTo>
                  <a:close/>
                  <a:moveTo>
                    <a:pt x="4786241" y="3589677"/>
                  </a:moveTo>
                  <a:lnTo>
                    <a:pt x="4796152" y="3589677"/>
                  </a:lnTo>
                  <a:lnTo>
                    <a:pt x="4800171" y="3593716"/>
                  </a:lnTo>
                  <a:lnTo>
                    <a:pt x="4800171" y="3603586"/>
                  </a:lnTo>
                  <a:lnTo>
                    <a:pt x="4796152" y="3607625"/>
                  </a:lnTo>
                  <a:lnTo>
                    <a:pt x="4786241" y="3607625"/>
                  </a:lnTo>
                  <a:lnTo>
                    <a:pt x="4782224" y="3603586"/>
                  </a:lnTo>
                  <a:lnTo>
                    <a:pt x="4782224" y="3593716"/>
                  </a:lnTo>
                  <a:close/>
                  <a:moveTo>
                    <a:pt x="4546929" y="3589677"/>
                  </a:moveTo>
                  <a:lnTo>
                    <a:pt x="4556840" y="3589677"/>
                  </a:lnTo>
                  <a:lnTo>
                    <a:pt x="4560859" y="3593716"/>
                  </a:lnTo>
                  <a:lnTo>
                    <a:pt x="4560859" y="3603586"/>
                  </a:lnTo>
                  <a:lnTo>
                    <a:pt x="4556840" y="3607625"/>
                  </a:lnTo>
                  <a:lnTo>
                    <a:pt x="4546929" y="3607625"/>
                  </a:lnTo>
                  <a:lnTo>
                    <a:pt x="4542910" y="3603586"/>
                  </a:lnTo>
                  <a:lnTo>
                    <a:pt x="4542910" y="3593716"/>
                  </a:lnTo>
                  <a:close/>
                  <a:moveTo>
                    <a:pt x="4307612" y="3589677"/>
                  </a:moveTo>
                  <a:lnTo>
                    <a:pt x="4317523" y="3589677"/>
                  </a:lnTo>
                  <a:lnTo>
                    <a:pt x="4321543" y="3593716"/>
                  </a:lnTo>
                  <a:lnTo>
                    <a:pt x="4321543" y="3603586"/>
                  </a:lnTo>
                  <a:lnTo>
                    <a:pt x="4317523" y="3607625"/>
                  </a:lnTo>
                  <a:lnTo>
                    <a:pt x="4307612" y="3607625"/>
                  </a:lnTo>
                  <a:lnTo>
                    <a:pt x="4303595" y="3603586"/>
                  </a:lnTo>
                  <a:lnTo>
                    <a:pt x="4303595" y="3593716"/>
                  </a:lnTo>
                  <a:close/>
                  <a:moveTo>
                    <a:pt x="4068297" y="3589677"/>
                  </a:moveTo>
                  <a:lnTo>
                    <a:pt x="4078210" y="3589677"/>
                  </a:lnTo>
                  <a:lnTo>
                    <a:pt x="4082229" y="3593716"/>
                  </a:lnTo>
                  <a:lnTo>
                    <a:pt x="4082229" y="3603586"/>
                  </a:lnTo>
                  <a:lnTo>
                    <a:pt x="4078210" y="3607625"/>
                  </a:lnTo>
                  <a:lnTo>
                    <a:pt x="4068297" y="3607625"/>
                  </a:lnTo>
                  <a:lnTo>
                    <a:pt x="4064278" y="3603586"/>
                  </a:lnTo>
                  <a:lnTo>
                    <a:pt x="4064278" y="3593716"/>
                  </a:lnTo>
                  <a:close/>
                  <a:moveTo>
                    <a:pt x="3828990" y="3589677"/>
                  </a:moveTo>
                  <a:lnTo>
                    <a:pt x="3838899" y="3589677"/>
                  </a:lnTo>
                  <a:lnTo>
                    <a:pt x="3842917" y="3593716"/>
                  </a:lnTo>
                  <a:lnTo>
                    <a:pt x="3842917" y="3603586"/>
                  </a:lnTo>
                  <a:lnTo>
                    <a:pt x="3838899" y="3607625"/>
                  </a:lnTo>
                  <a:lnTo>
                    <a:pt x="3828990" y="3607625"/>
                  </a:lnTo>
                  <a:lnTo>
                    <a:pt x="3824971" y="3603586"/>
                  </a:lnTo>
                  <a:lnTo>
                    <a:pt x="3824971" y="3593716"/>
                  </a:lnTo>
                  <a:close/>
                  <a:moveTo>
                    <a:pt x="3589676" y="3589677"/>
                  </a:moveTo>
                  <a:lnTo>
                    <a:pt x="3599585" y="3589677"/>
                  </a:lnTo>
                  <a:lnTo>
                    <a:pt x="3603604" y="3593716"/>
                  </a:lnTo>
                  <a:lnTo>
                    <a:pt x="3603604" y="3603586"/>
                  </a:lnTo>
                  <a:lnTo>
                    <a:pt x="3599585" y="3607625"/>
                  </a:lnTo>
                  <a:lnTo>
                    <a:pt x="3589676" y="3607625"/>
                  </a:lnTo>
                  <a:lnTo>
                    <a:pt x="3585657" y="3603586"/>
                  </a:lnTo>
                  <a:lnTo>
                    <a:pt x="3585657" y="3593716"/>
                  </a:lnTo>
                  <a:close/>
                  <a:moveTo>
                    <a:pt x="3350359" y="3589677"/>
                  </a:moveTo>
                  <a:lnTo>
                    <a:pt x="3360268" y="3589677"/>
                  </a:lnTo>
                  <a:lnTo>
                    <a:pt x="3364287" y="3593716"/>
                  </a:lnTo>
                  <a:lnTo>
                    <a:pt x="3364287" y="3603586"/>
                  </a:lnTo>
                  <a:lnTo>
                    <a:pt x="3360268" y="3607625"/>
                  </a:lnTo>
                  <a:lnTo>
                    <a:pt x="3350359" y="3607625"/>
                  </a:lnTo>
                  <a:lnTo>
                    <a:pt x="3346340" y="3603586"/>
                  </a:lnTo>
                  <a:lnTo>
                    <a:pt x="3346340" y="3593716"/>
                  </a:lnTo>
                  <a:close/>
                  <a:moveTo>
                    <a:pt x="3111048" y="3589677"/>
                  </a:moveTo>
                  <a:lnTo>
                    <a:pt x="3120959" y="3589677"/>
                  </a:lnTo>
                  <a:lnTo>
                    <a:pt x="3124977" y="3593716"/>
                  </a:lnTo>
                  <a:lnTo>
                    <a:pt x="3124977" y="3603586"/>
                  </a:lnTo>
                  <a:lnTo>
                    <a:pt x="3120959" y="3607625"/>
                  </a:lnTo>
                  <a:lnTo>
                    <a:pt x="3111048" y="3607625"/>
                  </a:lnTo>
                  <a:lnTo>
                    <a:pt x="3107029" y="3603586"/>
                  </a:lnTo>
                  <a:lnTo>
                    <a:pt x="3107029" y="3593716"/>
                  </a:lnTo>
                  <a:close/>
                  <a:moveTo>
                    <a:pt x="2871737" y="3589677"/>
                  </a:moveTo>
                  <a:lnTo>
                    <a:pt x="2881646" y="3589677"/>
                  </a:lnTo>
                  <a:lnTo>
                    <a:pt x="2885666" y="3593716"/>
                  </a:lnTo>
                  <a:lnTo>
                    <a:pt x="2885666" y="3603586"/>
                  </a:lnTo>
                  <a:lnTo>
                    <a:pt x="2881646" y="3607625"/>
                  </a:lnTo>
                  <a:lnTo>
                    <a:pt x="2871737" y="3607625"/>
                  </a:lnTo>
                  <a:lnTo>
                    <a:pt x="2867717" y="3603586"/>
                  </a:lnTo>
                  <a:lnTo>
                    <a:pt x="2867717" y="3593716"/>
                  </a:lnTo>
                  <a:close/>
                  <a:moveTo>
                    <a:pt x="2632423" y="3589677"/>
                  </a:moveTo>
                  <a:lnTo>
                    <a:pt x="2642334" y="3589677"/>
                  </a:lnTo>
                  <a:lnTo>
                    <a:pt x="2646352" y="3593716"/>
                  </a:lnTo>
                  <a:lnTo>
                    <a:pt x="2646352" y="3603586"/>
                  </a:lnTo>
                  <a:lnTo>
                    <a:pt x="2642334" y="3607625"/>
                  </a:lnTo>
                  <a:lnTo>
                    <a:pt x="2632423" y="3607625"/>
                  </a:lnTo>
                  <a:lnTo>
                    <a:pt x="2628404" y="3603586"/>
                  </a:lnTo>
                  <a:lnTo>
                    <a:pt x="2628404" y="3593716"/>
                  </a:lnTo>
                  <a:close/>
                  <a:moveTo>
                    <a:pt x="2393104" y="3589677"/>
                  </a:moveTo>
                  <a:lnTo>
                    <a:pt x="2403015" y="3589677"/>
                  </a:lnTo>
                  <a:lnTo>
                    <a:pt x="2407034" y="3593716"/>
                  </a:lnTo>
                  <a:lnTo>
                    <a:pt x="2407034" y="3603586"/>
                  </a:lnTo>
                  <a:lnTo>
                    <a:pt x="2403015" y="3607625"/>
                  </a:lnTo>
                  <a:lnTo>
                    <a:pt x="2393104" y="3607625"/>
                  </a:lnTo>
                  <a:lnTo>
                    <a:pt x="2389087" y="3603586"/>
                  </a:lnTo>
                  <a:lnTo>
                    <a:pt x="2389087" y="3593716"/>
                  </a:lnTo>
                  <a:close/>
                  <a:moveTo>
                    <a:pt x="721966" y="3589677"/>
                  </a:moveTo>
                  <a:lnTo>
                    <a:pt x="731877" y="3589677"/>
                  </a:lnTo>
                  <a:lnTo>
                    <a:pt x="735896" y="3593716"/>
                  </a:lnTo>
                  <a:lnTo>
                    <a:pt x="735896" y="3603586"/>
                  </a:lnTo>
                  <a:lnTo>
                    <a:pt x="731877" y="3607625"/>
                  </a:lnTo>
                  <a:lnTo>
                    <a:pt x="721966" y="3607625"/>
                  </a:lnTo>
                  <a:lnTo>
                    <a:pt x="717948" y="3603586"/>
                  </a:lnTo>
                  <a:lnTo>
                    <a:pt x="717948" y="3593716"/>
                  </a:lnTo>
                  <a:close/>
                  <a:moveTo>
                    <a:pt x="482654" y="3589677"/>
                  </a:moveTo>
                  <a:lnTo>
                    <a:pt x="492565" y="3589677"/>
                  </a:lnTo>
                  <a:lnTo>
                    <a:pt x="496584" y="3593716"/>
                  </a:lnTo>
                  <a:lnTo>
                    <a:pt x="496584" y="3603586"/>
                  </a:lnTo>
                  <a:lnTo>
                    <a:pt x="492565" y="3607625"/>
                  </a:lnTo>
                  <a:lnTo>
                    <a:pt x="482654" y="3607625"/>
                  </a:lnTo>
                  <a:lnTo>
                    <a:pt x="478635" y="3603586"/>
                  </a:lnTo>
                  <a:lnTo>
                    <a:pt x="478635" y="3593716"/>
                  </a:lnTo>
                  <a:close/>
                  <a:moveTo>
                    <a:pt x="243341" y="3589677"/>
                  </a:moveTo>
                  <a:lnTo>
                    <a:pt x="253251" y="3589677"/>
                  </a:lnTo>
                  <a:lnTo>
                    <a:pt x="257270" y="3593716"/>
                  </a:lnTo>
                  <a:lnTo>
                    <a:pt x="257270" y="3603586"/>
                  </a:lnTo>
                  <a:lnTo>
                    <a:pt x="253251" y="3607625"/>
                  </a:lnTo>
                  <a:lnTo>
                    <a:pt x="243341" y="3607625"/>
                  </a:lnTo>
                  <a:lnTo>
                    <a:pt x="239321" y="3603586"/>
                  </a:lnTo>
                  <a:lnTo>
                    <a:pt x="239321" y="3593716"/>
                  </a:lnTo>
                  <a:close/>
                  <a:moveTo>
                    <a:pt x="4027" y="3589677"/>
                  </a:moveTo>
                  <a:lnTo>
                    <a:pt x="13938" y="3589677"/>
                  </a:lnTo>
                  <a:lnTo>
                    <a:pt x="17957" y="3593716"/>
                  </a:lnTo>
                  <a:lnTo>
                    <a:pt x="17957" y="3603586"/>
                  </a:lnTo>
                  <a:lnTo>
                    <a:pt x="13938" y="3607625"/>
                  </a:lnTo>
                  <a:lnTo>
                    <a:pt x="4027" y="3607625"/>
                  </a:lnTo>
                  <a:lnTo>
                    <a:pt x="8" y="3603586"/>
                  </a:lnTo>
                  <a:lnTo>
                    <a:pt x="8" y="3593716"/>
                  </a:lnTo>
                  <a:close/>
                  <a:moveTo>
                    <a:pt x="9572438" y="3350398"/>
                  </a:moveTo>
                  <a:lnTo>
                    <a:pt x="9582349" y="3350398"/>
                  </a:lnTo>
                  <a:lnTo>
                    <a:pt x="9586368" y="3354436"/>
                  </a:lnTo>
                  <a:lnTo>
                    <a:pt x="9586368" y="3364306"/>
                  </a:lnTo>
                  <a:lnTo>
                    <a:pt x="9582349" y="3368345"/>
                  </a:lnTo>
                  <a:lnTo>
                    <a:pt x="9572438" y="3368345"/>
                  </a:lnTo>
                  <a:lnTo>
                    <a:pt x="9568419" y="3364306"/>
                  </a:lnTo>
                  <a:lnTo>
                    <a:pt x="9568419" y="3354436"/>
                  </a:lnTo>
                  <a:close/>
                  <a:moveTo>
                    <a:pt x="9333125" y="3350398"/>
                  </a:moveTo>
                  <a:lnTo>
                    <a:pt x="9343036" y="3350398"/>
                  </a:lnTo>
                  <a:lnTo>
                    <a:pt x="9347055" y="3354436"/>
                  </a:lnTo>
                  <a:lnTo>
                    <a:pt x="9347055" y="3364306"/>
                  </a:lnTo>
                  <a:lnTo>
                    <a:pt x="9343036" y="3368345"/>
                  </a:lnTo>
                  <a:lnTo>
                    <a:pt x="9333125" y="3368345"/>
                  </a:lnTo>
                  <a:lnTo>
                    <a:pt x="9329106" y="3364306"/>
                  </a:lnTo>
                  <a:lnTo>
                    <a:pt x="9329106" y="3354436"/>
                  </a:lnTo>
                  <a:close/>
                  <a:moveTo>
                    <a:pt x="9093811" y="3350398"/>
                  </a:moveTo>
                  <a:lnTo>
                    <a:pt x="9103722" y="3350398"/>
                  </a:lnTo>
                  <a:lnTo>
                    <a:pt x="9107741" y="3354436"/>
                  </a:lnTo>
                  <a:lnTo>
                    <a:pt x="9107741" y="3364306"/>
                  </a:lnTo>
                  <a:lnTo>
                    <a:pt x="9103722" y="3368345"/>
                  </a:lnTo>
                  <a:lnTo>
                    <a:pt x="9093811" y="3368345"/>
                  </a:lnTo>
                  <a:lnTo>
                    <a:pt x="9089792" y="3364306"/>
                  </a:lnTo>
                  <a:lnTo>
                    <a:pt x="9089792" y="3354436"/>
                  </a:lnTo>
                  <a:close/>
                  <a:moveTo>
                    <a:pt x="8854496" y="3350398"/>
                  </a:moveTo>
                  <a:lnTo>
                    <a:pt x="8864407" y="3350398"/>
                  </a:lnTo>
                  <a:lnTo>
                    <a:pt x="8868426" y="3354436"/>
                  </a:lnTo>
                  <a:lnTo>
                    <a:pt x="8868426" y="3364306"/>
                  </a:lnTo>
                  <a:lnTo>
                    <a:pt x="8864407" y="3368345"/>
                  </a:lnTo>
                  <a:lnTo>
                    <a:pt x="8854496" y="3368345"/>
                  </a:lnTo>
                  <a:lnTo>
                    <a:pt x="8850477" y="3364306"/>
                  </a:lnTo>
                  <a:lnTo>
                    <a:pt x="8850477" y="3354436"/>
                  </a:lnTo>
                  <a:close/>
                  <a:moveTo>
                    <a:pt x="8615184" y="3350398"/>
                  </a:moveTo>
                  <a:lnTo>
                    <a:pt x="8625095" y="3350398"/>
                  </a:lnTo>
                  <a:lnTo>
                    <a:pt x="8629114" y="3354436"/>
                  </a:lnTo>
                  <a:lnTo>
                    <a:pt x="8629114" y="3364306"/>
                  </a:lnTo>
                  <a:lnTo>
                    <a:pt x="8625095" y="3368345"/>
                  </a:lnTo>
                  <a:lnTo>
                    <a:pt x="8615184" y="3368345"/>
                  </a:lnTo>
                  <a:lnTo>
                    <a:pt x="8611165" y="3364306"/>
                  </a:lnTo>
                  <a:lnTo>
                    <a:pt x="8611165" y="3354436"/>
                  </a:lnTo>
                  <a:close/>
                  <a:moveTo>
                    <a:pt x="8375869" y="3350398"/>
                  </a:moveTo>
                  <a:lnTo>
                    <a:pt x="8385779" y="3350398"/>
                  </a:lnTo>
                  <a:lnTo>
                    <a:pt x="8389799" y="3354436"/>
                  </a:lnTo>
                  <a:lnTo>
                    <a:pt x="8389799" y="3364306"/>
                  </a:lnTo>
                  <a:lnTo>
                    <a:pt x="8385779" y="3368345"/>
                  </a:lnTo>
                  <a:lnTo>
                    <a:pt x="8375869" y="3368345"/>
                  </a:lnTo>
                  <a:lnTo>
                    <a:pt x="8371850" y="3364306"/>
                  </a:lnTo>
                  <a:lnTo>
                    <a:pt x="8371850" y="3354436"/>
                  </a:lnTo>
                  <a:close/>
                  <a:moveTo>
                    <a:pt x="8136553" y="3350398"/>
                  </a:moveTo>
                  <a:lnTo>
                    <a:pt x="8146464" y="3350398"/>
                  </a:lnTo>
                  <a:lnTo>
                    <a:pt x="8150483" y="3354436"/>
                  </a:lnTo>
                  <a:lnTo>
                    <a:pt x="8150483" y="3364306"/>
                  </a:lnTo>
                  <a:lnTo>
                    <a:pt x="8146464" y="3368345"/>
                  </a:lnTo>
                  <a:lnTo>
                    <a:pt x="8136553" y="3368345"/>
                  </a:lnTo>
                  <a:lnTo>
                    <a:pt x="8132534" y="3364306"/>
                  </a:lnTo>
                  <a:lnTo>
                    <a:pt x="8132534" y="3354436"/>
                  </a:lnTo>
                  <a:close/>
                  <a:moveTo>
                    <a:pt x="7897241" y="3350398"/>
                  </a:moveTo>
                  <a:lnTo>
                    <a:pt x="7907151" y="3350398"/>
                  </a:lnTo>
                  <a:lnTo>
                    <a:pt x="7911170" y="3354436"/>
                  </a:lnTo>
                  <a:lnTo>
                    <a:pt x="7911170" y="3364306"/>
                  </a:lnTo>
                  <a:lnTo>
                    <a:pt x="7907151" y="3368345"/>
                  </a:lnTo>
                  <a:lnTo>
                    <a:pt x="7897241" y="3368345"/>
                  </a:lnTo>
                  <a:lnTo>
                    <a:pt x="7893222" y="3364306"/>
                  </a:lnTo>
                  <a:lnTo>
                    <a:pt x="7893222" y="3354436"/>
                  </a:lnTo>
                  <a:close/>
                  <a:moveTo>
                    <a:pt x="7657926" y="3350398"/>
                  </a:moveTo>
                  <a:lnTo>
                    <a:pt x="7667836" y="3350398"/>
                  </a:lnTo>
                  <a:lnTo>
                    <a:pt x="7671855" y="3354436"/>
                  </a:lnTo>
                  <a:lnTo>
                    <a:pt x="7671855" y="3364306"/>
                  </a:lnTo>
                  <a:lnTo>
                    <a:pt x="7667836" y="3368345"/>
                  </a:lnTo>
                  <a:lnTo>
                    <a:pt x="7657926" y="3368345"/>
                  </a:lnTo>
                  <a:lnTo>
                    <a:pt x="7653906" y="3364306"/>
                  </a:lnTo>
                  <a:lnTo>
                    <a:pt x="7653906" y="3354436"/>
                  </a:lnTo>
                  <a:close/>
                  <a:moveTo>
                    <a:pt x="7418611" y="3350398"/>
                  </a:moveTo>
                  <a:lnTo>
                    <a:pt x="7428521" y="3350398"/>
                  </a:lnTo>
                  <a:lnTo>
                    <a:pt x="7432540" y="3354436"/>
                  </a:lnTo>
                  <a:lnTo>
                    <a:pt x="7432540" y="3364306"/>
                  </a:lnTo>
                  <a:lnTo>
                    <a:pt x="7428521" y="3368345"/>
                  </a:lnTo>
                  <a:lnTo>
                    <a:pt x="7418611" y="3368345"/>
                  </a:lnTo>
                  <a:lnTo>
                    <a:pt x="7414592" y="3364306"/>
                  </a:lnTo>
                  <a:lnTo>
                    <a:pt x="7414592" y="3354436"/>
                  </a:lnTo>
                  <a:close/>
                  <a:moveTo>
                    <a:pt x="7179298" y="3350398"/>
                  </a:moveTo>
                  <a:lnTo>
                    <a:pt x="7189209" y="3350398"/>
                  </a:lnTo>
                  <a:lnTo>
                    <a:pt x="7193228" y="3354436"/>
                  </a:lnTo>
                  <a:lnTo>
                    <a:pt x="7193228" y="3364306"/>
                  </a:lnTo>
                  <a:lnTo>
                    <a:pt x="7189209" y="3368345"/>
                  </a:lnTo>
                  <a:lnTo>
                    <a:pt x="7179298" y="3368345"/>
                  </a:lnTo>
                  <a:lnTo>
                    <a:pt x="7175279" y="3364306"/>
                  </a:lnTo>
                  <a:lnTo>
                    <a:pt x="7175279" y="3354436"/>
                  </a:lnTo>
                  <a:close/>
                  <a:moveTo>
                    <a:pt x="6939983" y="3350398"/>
                  </a:moveTo>
                  <a:lnTo>
                    <a:pt x="6949894" y="3350398"/>
                  </a:lnTo>
                  <a:lnTo>
                    <a:pt x="6953913" y="3354436"/>
                  </a:lnTo>
                  <a:lnTo>
                    <a:pt x="6953913" y="3364306"/>
                  </a:lnTo>
                  <a:lnTo>
                    <a:pt x="6949894" y="3368345"/>
                  </a:lnTo>
                  <a:lnTo>
                    <a:pt x="6939983" y="3368345"/>
                  </a:lnTo>
                  <a:lnTo>
                    <a:pt x="6935964" y="3364306"/>
                  </a:lnTo>
                  <a:lnTo>
                    <a:pt x="6935964" y="3354436"/>
                  </a:lnTo>
                  <a:close/>
                  <a:moveTo>
                    <a:pt x="6700670" y="3350398"/>
                  </a:moveTo>
                  <a:lnTo>
                    <a:pt x="6710581" y="3350398"/>
                  </a:lnTo>
                  <a:lnTo>
                    <a:pt x="6714600" y="3354436"/>
                  </a:lnTo>
                  <a:lnTo>
                    <a:pt x="6714600" y="3364306"/>
                  </a:lnTo>
                  <a:lnTo>
                    <a:pt x="6710581" y="3368345"/>
                  </a:lnTo>
                  <a:lnTo>
                    <a:pt x="6700670" y="3368345"/>
                  </a:lnTo>
                  <a:lnTo>
                    <a:pt x="6696651" y="3364306"/>
                  </a:lnTo>
                  <a:lnTo>
                    <a:pt x="6696651" y="3354436"/>
                  </a:lnTo>
                  <a:close/>
                  <a:moveTo>
                    <a:pt x="6461356" y="3350398"/>
                  </a:moveTo>
                  <a:lnTo>
                    <a:pt x="6471266" y="3350398"/>
                  </a:lnTo>
                  <a:lnTo>
                    <a:pt x="6475285" y="3354436"/>
                  </a:lnTo>
                  <a:lnTo>
                    <a:pt x="6475285" y="3364306"/>
                  </a:lnTo>
                  <a:lnTo>
                    <a:pt x="6471266" y="3368345"/>
                  </a:lnTo>
                  <a:lnTo>
                    <a:pt x="6461356" y="3368345"/>
                  </a:lnTo>
                  <a:lnTo>
                    <a:pt x="6457337" y="3364306"/>
                  </a:lnTo>
                  <a:lnTo>
                    <a:pt x="6457337" y="3354436"/>
                  </a:lnTo>
                  <a:close/>
                  <a:moveTo>
                    <a:pt x="6222042" y="3350398"/>
                  </a:moveTo>
                  <a:lnTo>
                    <a:pt x="6231952" y="3350398"/>
                  </a:lnTo>
                  <a:lnTo>
                    <a:pt x="6235971" y="3354436"/>
                  </a:lnTo>
                  <a:lnTo>
                    <a:pt x="6235971" y="3364306"/>
                  </a:lnTo>
                  <a:lnTo>
                    <a:pt x="6231952" y="3368345"/>
                  </a:lnTo>
                  <a:lnTo>
                    <a:pt x="6222042" y="3368345"/>
                  </a:lnTo>
                  <a:lnTo>
                    <a:pt x="6218023" y="3364306"/>
                  </a:lnTo>
                  <a:lnTo>
                    <a:pt x="6218023" y="3354436"/>
                  </a:lnTo>
                  <a:close/>
                  <a:moveTo>
                    <a:pt x="5982729" y="3350398"/>
                  </a:moveTo>
                  <a:lnTo>
                    <a:pt x="5992639" y="3350398"/>
                  </a:lnTo>
                  <a:lnTo>
                    <a:pt x="5996658" y="3354436"/>
                  </a:lnTo>
                  <a:lnTo>
                    <a:pt x="5996658" y="3364306"/>
                  </a:lnTo>
                  <a:lnTo>
                    <a:pt x="5992639" y="3368345"/>
                  </a:lnTo>
                  <a:lnTo>
                    <a:pt x="5982729" y="3368345"/>
                  </a:lnTo>
                  <a:lnTo>
                    <a:pt x="5978710" y="3364306"/>
                  </a:lnTo>
                  <a:lnTo>
                    <a:pt x="5978710" y="3354436"/>
                  </a:lnTo>
                  <a:close/>
                  <a:moveTo>
                    <a:pt x="5743412" y="3350398"/>
                  </a:moveTo>
                  <a:lnTo>
                    <a:pt x="5753323" y="3350398"/>
                  </a:lnTo>
                  <a:lnTo>
                    <a:pt x="5757342" y="3354436"/>
                  </a:lnTo>
                  <a:lnTo>
                    <a:pt x="5757342" y="3364306"/>
                  </a:lnTo>
                  <a:lnTo>
                    <a:pt x="5753323" y="3368345"/>
                  </a:lnTo>
                  <a:lnTo>
                    <a:pt x="5743412" y="3368345"/>
                  </a:lnTo>
                  <a:lnTo>
                    <a:pt x="5739393" y="3364306"/>
                  </a:lnTo>
                  <a:lnTo>
                    <a:pt x="5739393" y="3354436"/>
                  </a:lnTo>
                  <a:close/>
                  <a:moveTo>
                    <a:pt x="5504099" y="3350398"/>
                  </a:moveTo>
                  <a:lnTo>
                    <a:pt x="5514010" y="3350398"/>
                  </a:lnTo>
                  <a:lnTo>
                    <a:pt x="5518029" y="3354436"/>
                  </a:lnTo>
                  <a:lnTo>
                    <a:pt x="5518029" y="3364306"/>
                  </a:lnTo>
                  <a:lnTo>
                    <a:pt x="5514010" y="3368345"/>
                  </a:lnTo>
                  <a:lnTo>
                    <a:pt x="5504099" y="3368345"/>
                  </a:lnTo>
                  <a:lnTo>
                    <a:pt x="5500080" y="3364306"/>
                  </a:lnTo>
                  <a:lnTo>
                    <a:pt x="5500080" y="3354436"/>
                  </a:lnTo>
                  <a:close/>
                  <a:moveTo>
                    <a:pt x="5264784" y="3350398"/>
                  </a:moveTo>
                  <a:lnTo>
                    <a:pt x="5274694" y="3350398"/>
                  </a:lnTo>
                  <a:lnTo>
                    <a:pt x="5278713" y="3354436"/>
                  </a:lnTo>
                  <a:lnTo>
                    <a:pt x="5278713" y="3364306"/>
                  </a:lnTo>
                  <a:lnTo>
                    <a:pt x="5274694" y="3368345"/>
                  </a:lnTo>
                  <a:lnTo>
                    <a:pt x="5264784" y="3368345"/>
                  </a:lnTo>
                  <a:lnTo>
                    <a:pt x="5260765" y="3364306"/>
                  </a:lnTo>
                  <a:lnTo>
                    <a:pt x="5260765" y="3354436"/>
                  </a:lnTo>
                  <a:close/>
                  <a:moveTo>
                    <a:pt x="5025470" y="3350398"/>
                  </a:moveTo>
                  <a:lnTo>
                    <a:pt x="5035381" y="3350398"/>
                  </a:lnTo>
                  <a:lnTo>
                    <a:pt x="5039400" y="3354436"/>
                  </a:lnTo>
                  <a:lnTo>
                    <a:pt x="5039400" y="3364306"/>
                  </a:lnTo>
                  <a:lnTo>
                    <a:pt x="5035381" y="3368345"/>
                  </a:lnTo>
                  <a:lnTo>
                    <a:pt x="5025470" y="3368345"/>
                  </a:lnTo>
                  <a:lnTo>
                    <a:pt x="5021451" y="3364306"/>
                  </a:lnTo>
                  <a:lnTo>
                    <a:pt x="5021451" y="3354436"/>
                  </a:lnTo>
                  <a:close/>
                  <a:moveTo>
                    <a:pt x="4786241" y="3350398"/>
                  </a:moveTo>
                  <a:lnTo>
                    <a:pt x="4796152" y="3350398"/>
                  </a:lnTo>
                  <a:lnTo>
                    <a:pt x="4800171" y="3354436"/>
                  </a:lnTo>
                  <a:lnTo>
                    <a:pt x="4800171" y="3364306"/>
                  </a:lnTo>
                  <a:lnTo>
                    <a:pt x="4796152" y="3368345"/>
                  </a:lnTo>
                  <a:lnTo>
                    <a:pt x="4786241" y="3368345"/>
                  </a:lnTo>
                  <a:lnTo>
                    <a:pt x="4782224" y="3364306"/>
                  </a:lnTo>
                  <a:lnTo>
                    <a:pt x="4782224" y="3354436"/>
                  </a:lnTo>
                  <a:close/>
                  <a:moveTo>
                    <a:pt x="4546929" y="3350398"/>
                  </a:moveTo>
                  <a:lnTo>
                    <a:pt x="4556840" y="3350398"/>
                  </a:lnTo>
                  <a:lnTo>
                    <a:pt x="4560859" y="3354436"/>
                  </a:lnTo>
                  <a:lnTo>
                    <a:pt x="4560859" y="3364306"/>
                  </a:lnTo>
                  <a:lnTo>
                    <a:pt x="4556840" y="3368345"/>
                  </a:lnTo>
                  <a:lnTo>
                    <a:pt x="4546929" y="3368345"/>
                  </a:lnTo>
                  <a:lnTo>
                    <a:pt x="4542910" y="3364306"/>
                  </a:lnTo>
                  <a:lnTo>
                    <a:pt x="4542910" y="3354436"/>
                  </a:lnTo>
                  <a:close/>
                  <a:moveTo>
                    <a:pt x="4307612" y="3350398"/>
                  </a:moveTo>
                  <a:lnTo>
                    <a:pt x="4317523" y="3350398"/>
                  </a:lnTo>
                  <a:lnTo>
                    <a:pt x="4321543" y="3354436"/>
                  </a:lnTo>
                  <a:lnTo>
                    <a:pt x="4321543" y="3364306"/>
                  </a:lnTo>
                  <a:lnTo>
                    <a:pt x="4317523" y="3368345"/>
                  </a:lnTo>
                  <a:lnTo>
                    <a:pt x="4307612" y="3368345"/>
                  </a:lnTo>
                  <a:lnTo>
                    <a:pt x="4303595" y="3364306"/>
                  </a:lnTo>
                  <a:lnTo>
                    <a:pt x="4303595" y="3354436"/>
                  </a:lnTo>
                  <a:close/>
                  <a:moveTo>
                    <a:pt x="4068297" y="3350398"/>
                  </a:moveTo>
                  <a:lnTo>
                    <a:pt x="4078210" y="3350398"/>
                  </a:lnTo>
                  <a:lnTo>
                    <a:pt x="4082229" y="3354436"/>
                  </a:lnTo>
                  <a:lnTo>
                    <a:pt x="4082229" y="3364306"/>
                  </a:lnTo>
                  <a:lnTo>
                    <a:pt x="4078210" y="3368345"/>
                  </a:lnTo>
                  <a:lnTo>
                    <a:pt x="4068297" y="3368345"/>
                  </a:lnTo>
                  <a:lnTo>
                    <a:pt x="4064278" y="3364306"/>
                  </a:lnTo>
                  <a:lnTo>
                    <a:pt x="4064278" y="3354436"/>
                  </a:lnTo>
                  <a:close/>
                  <a:moveTo>
                    <a:pt x="3828990" y="3350398"/>
                  </a:moveTo>
                  <a:lnTo>
                    <a:pt x="3838899" y="3350398"/>
                  </a:lnTo>
                  <a:lnTo>
                    <a:pt x="3842917" y="3354436"/>
                  </a:lnTo>
                  <a:lnTo>
                    <a:pt x="3842917" y="3364306"/>
                  </a:lnTo>
                  <a:lnTo>
                    <a:pt x="3838899" y="3368345"/>
                  </a:lnTo>
                  <a:lnTo>
                    <a:pt x="3828990" y="3368345"/>
                  </a:lnTo>
                  <a:lnTo>
                    <a:pt x="3824971" y="3364306"/>
                  </a:lnTo>
                  <a:lnTo>
                    <a:pt x="3824971" y="3354436"/>
                  </a:lnTo>
                  <a:close/>
                  <a:moveTo>
                    <a:pt x="3589676" y="3350398"/>
                  </a:moveTo>
                  <a:lnTo>
                    <a:pt x="3599585" y="3350398"/>
                  </a:lnTo>
                  <a:lnTo>
                    <a:pt x="3603604" y="3354436"/>
                  </a:lnTo>
                  <a:lnTo>
                    <a:pt x="3603604" y="3364306"/>
                  </a:lnTo>
                  <a:lnTo>
                    <a:pt x="3599585" y="3368345"/>
                  </a:lnTo>
                  <a:lnTo>
                    <a:pt x="3589676" y="3368345"/>
                  </a:lnTo>
                  <a:lnTo>
                    <a:pt x="3585657" y="3364306"/>
                  </a:lnTo>
                  <a:lnTo>
                    <a:pt x="3585657" y="3354436"/>
                  </a:lnTo>
                  <a:close/>
                  <a:moveTo>
                    <a:pt x="3350359" y="3350398"/>
                  </a:moveTo>
                  <a:lnTo>
                    <a:pt x="3360268" y="3350398"/>
                  </a:lnTo>
                  <a:lnTo>
                    <a:pt x="3364287" y="3354436"/>
                  </a:lnTo>
                  <a:lnTo>
                    <a:pt x="3364287" y="3364306"/>
                  </a:lnTo>
                  <a:lnTo>
                    <a:pt x="3360268" y="3368345"/>
                  </a:lnTo>
                  <a:lnTo>
                    <a:pt x="3350359" y="3368345"/>
                  </a:lnTo>
                  <a:lnTo>
                    <a:pt x="3346340" y="3364306"/>
                  </a:lnTo>
                  <a:lnTo>
                    <a:pt x="3346340" y="3354436"/>
                  </a:lnTo>
                  <a:close/>
                  <a:moveTo>
                    <a:pt x="3111048" y="3350398"/>
                  </a:moveTo>
                  <a:lnTo>
                    <a:pt x="3120959" y="3350398"/>
                  </a:lnTo>
                  <a:lnTo>
                    <a:pt x="3124977" y="3354436"/>
                  </a:lnTo>
                  <a:lnTo>
                    <a:pt x="3124977" y="3364306"/>
                  </a:lnTo>
                  <a:lnTo>
                    <a:pt x="3120959" y="3368345"/>
                  </a:lnTo>
                  <a:lnTo>
                    <a:pt x="3111048" y="3368345"/>
                  </a:lnTo>
                  <a:lnTo>
                    <a:pt x="3107029" y="3364306"/>
                  </a:lnTo>
                  <a:lnTo>
                    <a:pt x="3107029" y="3354436"/>
                  </a:lnTo>
                  <a:close/>
                  <a:moveTo>
                    <a:pt x="2871737" y="3350398"/>
                  </a:moveTo>
                  <a:lnTo>
                    <a:pt x="2881646" y="3350398"/>
                  </a:lnTo>
                  <a:lnTo>
                    <a:pt x="2885666" y="3354436"/>
                  </a:lnTo>
                  <a:lnTo>
                    <a:pt x="2885666" y="3364306"/>
                  </a:lnTo>
                  <a:lnTo>
                    <a:pt x="2881646" y="3368345"/>
                  </a:lnTo>
                  <a:lnTo>
                    <a:pt x="2871737" y="3368345"/>
                  </a:lnTo>
                  <a:lnTo>
                    <a:pt x="2867717" y="3364306"/>
                  </a:lnTo>
                  <a:lnTo>
                    <a:pt x="2867717" y="3354436"/>
                  </a:lnTo>
                  <a:close/>
                  <a:moveTo>
                    <a:pt x="2632423" y="3350398"/>
                  </a:moveTo>
                  <a:lnTo>
                    <a:pt x="2642334" y="3350398"/>
                  </a:lnTo>
                  <a:lnTo>
                    <a:pt x="2646352" y="3354436"/>
                  </a:lnTo>
                  <a:lnTo>
                    <a:pt x="2646352" y="3364306"/>
                  </a:lnTo>
                  <a:lnTo>
                    <a:pt x="2642334" y="3368345"/>
                  </a:lnTo>
                  <a:lnTo>
                    <a:pt x="2632423" y="3368345"/>
                  </a:lnTo>
                  <a:lnTo>
                    <a:pt x="2628404" y="3364306"/>
                  </a:lnTo>
                  <a:lnTo>
                    <a:pt x="2628404" y="3354436"/>
                  </a:lnTo>
                  <a:close/>
                  <a:moveTo>
                    <a:pt x="2393104" y="3350398"/>
                  </a:moveTo>
                  <a:lnTo>
                    <a:pt x="2403015" y="3350398"/>
                  </a:lnTo>
                  <a:lnTo>
                    <a:pt x="2407034" y="3354436"/>
                  </a:lnTo>
                  <a:lnTo>
                    <a:pt x="2407034" y="3364306"/>
                  </a:lnTo>
                  <a:lnTo>
                    <a:pt x="2403015" y="3368345"/>
                  </a:lnTo>
                  <a:lnTo>
                    <a:pt x="2393104" y="3368345"/>
                  </a:lnTo>
                  <a:lnTo>
                    <a:pt x="2389087" y="3364306"/>
                  </a:lnTo>
                  <a:lnTo>
                    <a:pt x="2389087" y="3354436"/>
                  </a:lnTo>
                  <a:close/>
                  <a:moveTo>
                    <a:pt x="2157820" y="3350398"/>
                  </a:moveTo>
                  <a:lnTo>
                    <a:pt x="2167731" y="3350398"/>
                  </a:lnTo>
                  <a:lnTo>
                    <a:pt x="2171749" y="3354436"/>
                  </a:lnTo>
                  <a:lnTo>
                    <a:pt x="2171749" y="3364306"/>
                  </a:lnTo>
                  <a:lnTo>
                    <a:pt x="2167731" y="3368345"/>
                  </a:lnTo>
                  <a:lnTo>
                    <a:pt x="2157820" y="3368345"/>
                  </a:lnTo>
                  <a:lnTo>
                    <a:pt x="2153802" y="3364306"/>
                  </a:lnTo>
                  <a:lnTo>
                    <a:pt x="2153802" y="3354436"/>
                  </a:lnTo>
                  <a:close/>
                  <a:moveTo>
                    <a:pt x="1918511" y="3350398"/>
                  </a:moveTo>
                  <a:lnTo>
                    <a:pt x="1928422" y="3350398"/>
                  </a:lnTo>
                  <a:lnTo>
                    <a:pt x="1932441" y="3354436"/>
                  </a:lnTo>
                  <a:lnTo>
                    <a:pt x="1932441" y="3364306"/>
                  </a:lnTo>
                  <a:lnTo>
                    <a:pt x="1928422" y="3368345"/>
                  </a:lnTo>
                  <a:lnTo>
                    <a:pt x="1918511" y="3368345"/>
                  </a:lnTo>
                  <a:lnTo>
                    <a:pt x="1914493" y="3364306"/>
                  </a:lnTo>
                  <a:lnTo>
                    <a:pt x="1914493" y="3354436"/>
                  </a:lnTo>
                  <a:close/>
                  <a:moveTo>
                    <a:pt x="1679210" y="3350398"/>
                  </a:moveTo>
                  <a:lnTo>
                    <a:pt x="1689120" y="3350398"/>
                  </a:lnTo>
                  <a:lnTo>
                    <a:pt x="1693138" y="3354436"/>
                  </a:lnTo>
                  <a:lnTo>
                    <a:pt x="1693138" y="3364306"/>
                  </a:lnTo>
                  <a:lnTo>
                    <a:pt x="1689120" y="3368345"/>
                  </a:lnTo>
                  <a:lnTo>
                    <a:pt x="1679210" y="3368345"/>
                  </a:lnTo>
                  <a:lnTo>
                    <a:pt x="1675191" y="3364306"/>
                  </a:lnTo>
                  <a:lnTo>
                    <a:pt x="1675191" y="3354436"/>
                  </a:lnTo>
                  <a:close/>
                  <a:moveTo>
                    <a:pt x="1439893" y="3350398"/>
                  </a:moveTo>
                  <a:lnTo>
                    <a:pt x="1449803" y="3350398"/>
                  </a:lnTo>
                  <a:lnTo>
                    <a:pt x="1453823" y="3354436"/>
                  </a:lnTo>
                  <a:lnTo>
                    <a:pt x="1453823" y="3364306"/>
                  </a:lnTo>
                  <a:lnTo>
                    <a:pt x="1449803" y="3368345"/>
                  </a:lnTo>
                  <a:lnTo>
                    <a:pt x="1439893" y="3368345"/>
                  </a:lnTo>
                  <a:lnTo>
                    <a:pt x="1435875" y="3364306"/>
                  </a:lnTo>
                  <a:lnTo>
                    <a:pt x="1435875" y="3354436"/>
                  </a:lnTo>
                  <a:close/>
                  <a:moveTo>
                    <a:pt x="1200578" y="3350398"/>
                  </a:moveTo>
                  <a:lnTo>
                    <a:pt x="1210488" y="3350398"/>
                  </a:lnTo>
                  <a:lnTo>
                    <a:pt x="1214507" y="3354436"/>
                  </a:lnTo>
                  <a:lnTo>
                    <a:pt x="1214507" y="3364306"/>
                  </a:lnTo>
                  <a:lnTo>
                    <a:pt x="1210488" y="3368345"/>
                  </a:lnTo>
                  <a:lnTo>
                    <a:pt x="1200578" y="3368345"/>
                  </a:lnTo>
                  <a:lnTo>
                    <a:pt x="1196559" y="3364306"/>
                  </a:lnTo>
                  <a:lnTo>
                    <a:pt x="1196559" y="3354436"/>
                  </a:lnTo>
                  <a:close/>
                  <a:moveTo>
                    <a:pt x="961265" y="3350398"/>
                  </a:moveTo>
                  <a:lnTo>
                    <a:pt x="971176" y="3350398"/>
                  </a:lnTo>
                  <a:lnTo>
                    <a:pt x="975194" y="3354436"/>
                  </a:lnTo>
                  <a:lnTo>
                    <a:pt x="975194" y="3364306"/>
                  </a:lnTo>
                  <a:lnTo>
                    <a:pt x="971176" y="3368345"/>
                  </a:lnTo>
                  <a:lnTo>
                    <a:pt x="961265" y="3368345"/>
                  </a:lnTo>
                  <a:lnTo>
                    <a:pt x="957246" y="3364306"/>
                  </a:lnTo>
                  <a:lnTo>
                    <a:pt x="957246" y="3354436"/>
                  </a:lnTo>
                  <a:close/>
                  <a:moveTo>
                    <a:pt x="721967" y="3350398"/>
                  </a:moveTo>
                  <a:lnTo>
                    <a:pt x="731877" y="3350398"/>
                  </a:lnTo>
                  <a:lnTo>
                    <a:pt x="735896" y="3354436"/>
                  </a:lnTo>
                  <a:lnTo>
                    <a:pt x="735896" y="3364306"/>
                  </a:lnTo>
                  <a:lnTo>
                    <a:pt x="731877" y="3368345"/>
                  </a:lnTo>
                  <a:lnTo>
                    <a:pt x="721967" y="3368345"/>
                  </a:lnTo>
                  <a:lnTo>
                    <a:pt x="717949" y="3364306"/>
                  </a:lnTo>
                  <a:lnTo>
                    <a:pt x="717949" y="3354436"/>
                  </a:lnTo>
                  <a:close/>
                  <a:moveTo>
                    <a:pt x="482655" y="3350398"/>
                  </a:moveTo>
                  <a:lnTo>
                    <a:pt x="492565" y="3350398"/>
                  </a:lnTo>
                  <a:lnTo>
                    <a:pt x="496584" y="3354436"/>
                  </a:lnTo>
                  <a:lnTo>
                    <a:pt x="496584" y="3364306"/>
                  </a:lnTo>
                  <a:lnTo>
                    <a:pt x="492565" y="3368345"/>
                  </a:lnTo>
                  <a:lnTo>
                    <a:pt x="482655" y="3368345"/>
                  </a:lnTo>
                  <a:lnTo>
                    <a:pt x="478636" y="3364306"/>
                  </a:lnTo>
                  <a:lnTo>
                    <a:pt x="478636" y="3354436"/>
                  </a:lnTo>
                  <a:close/>
                  <a:moveTo>
                    <a:pt x="243341" y="3350398"/>
                  </a:moveTo>
                  <a:lnTo>
                    <a:pt x="253252" y="3350398"/>
                  </a:lnTo>
                  <a:lnTo>
                    <a:pt x="257271" y="3354436"/>
                  </a:lnTo>
                  <a:lnTo>
                    <a:pt x="257271" y="3364306"/>
                  </a:lnTo>
                  <a:lnTo>
                    <a:pt x="253252" y="3368345"/>
                  </a:lnTo>
                  <a:lnTo>
                    <a:pt x="243341" y="3368345"/>
                  </a:lnTo>
                  <a:lnTo>
                    <a:pt x="239322" y="3364306"/>
                  </a:lnTo>
                  <a:lnTo>
                    <a:pt x="239322" y="3354436"/>
                  </a:lnTo>
                  <a:close/>
                  <a:moveTo>
                    <a:pt x="4029" y="3350398"/>
                  </a:moveTo>
                  <a:lnTo>
                    <a:pt x="13938" y="3350398"/>
                  </a:lnTo>
                  <a:lnTo>
                    <a:pt x="17957" y="3354436"/>
                  </a:lnTo>
                  <a:lnTo>
                    <a:pt x="17957" y="3364306"/>
                  </a:lnTo>
                  <a:lnTo>
                    <a:pt x="13938" y="3368345"/>
                  </a:lnTo>
                  <a:lnTo>
                    <a:pt x="4029" y="3368345"/>
                  </a:lnTo>
                  <a:lnTo>
                    <a:pt x="9" y="3364306"/>
                  </a:lnTo>
                  <a:lnTo>
                    <a:pt x="9" y="3354436"/>
                  </a:lnTo>
                  <a:close/>
                  <a:moveTo>
                    <a:pt x="2157820" y="3111118"/>
                  </a:moveTo>
                  <a:lnTo>
                    <a:pt x="2167731" y="3111118"/>
                  </a:lnTo>
                  <a:lnTo>
                    <a:pt x="2171750" y="3115157"/>
                  </a:lnTo>
                  <a:lnTo>
                    <a:pt x="2171750" y="3125027"/>
                  </a:lnTo>
                  <a:lnTo>
                    <a:pt x="2167731" y="3129066"/>
                  </a:lnTo>
                  <a:lnTo>
                    <a:pt x="2157820" y="3129066"/>
                  </a:lnTo>
                  <a:lnTo>
                    <a:pt x="2153802" y="3125027"/>
                  </a:lnTo>
                  <a:lnTo>
                    <a:pt x="2153802" y="3115157"/>
                  </a:lnTo>
                  <a:close/>
                  <a:moveTo>
                    <a:pt x="1918513" y="3111118"/>
                  </a:moveTo>
                  <a:lnTo>
                    <a:pt x="1928422" y="3111118"/>
                  </a:lnTo>
                  <a:lnTo>
                    <a:pt x="1932441" y="3115157"/>
                  </a:lnTo>
                  <a:lnTo>
                    <a:pt x="1932441" y="3125027"/>
                  </a:lnTo>
                  <a:lnTo>
                    <a:pt x="1928422" y="3129066"/>
                  </a:lnTo>
                  <a:lnTo>
                    <a:pt x="1918513" y="3129066"/>
                  </a:lnTo>
                  <a:lnTo>
                    <a:pt x="1914493" y="3125027"/>
                  </a:lnTo>
                  <a:lnTo>
                    <a:pt x="1914493" y="3115157"/>
                  </a:lnTo>
                  <a:close/>
                  <a:moveTo>
                    <a:pt x="1679211" y="3111118"/>
                  </a:moveTo>
                  <a:lnTo>
                    <a:pt x="1689121" y="3111118"/>
                  </a:lnTo>
                  <a:lnTo>
                    <a:pt x="1693139" y="3115157"/>
                  </a:lnTo>
                  <a:lnTo>
                    <a:pt x="1693139" y="3125027"/>
                  </a:lnTo>
                  <a:lnTo>
                    <a:pt x="1689121" y="3129066"/>
                  </a:lnTo>
                  <a:lnTo>
                    <a:pt x="1679211" y="3129066"/>
                  </a:lnTo>
                  <a:lnTo>
                    <a:pt x="1675191" y="3125027"/>
                  </a:lnTo>
                  <a:lnTo>
                    <a:pt x="1675191" y="3115157"/>
                  </a:lnTo>
                  <a:close/>
                  <a:moveTo>
                    <a:pt x="1439895" y="3111118"/>
                  </a:moveTo>
                  <a:lnTo>
                    <a:pt x="1449805" y="3111118"/>
                  </a:lnTo>
                  <a:lnTo>
                    <a:pt x="1453823" y="3115157"/>
                  </a:lnTo>
                  <a:lnTo>
                    <a:pt x="1453823" y="3125027"/>
                  </a:lnTo>
                  <a:lnTo>
                    <a:pt x="1449805" y="3129066"/>
                  </a:lnTo>
                  <a:lnTo>
                    <a:pt x="1439895" y="3129066"/>
                  </a:lnTo>
                  <a:lnTo>
                    <a:pt x="1435875" y="3125027"/>
                  </a:lnTo>
                  <a:lnTo>
                    <a:pt x="1435875" y="3115157"/>
                  </a:lnTo>
                  <a:close/>
                  <a:moveTo>
                    <a:pt x="1200578" y="3111118"/>
                  </a:moveTo>
                  <a:lnTo>
                    <a:pt x="1210489" y="3111118"/>
                  </a:lnTo>
                  <a:lnTo>
                    <a:pt x="1214507" y="3115157"/>
                  </a:lnTo>
                  <a:lnTo>
                    <a:pt x="1214507" y="3125027"/>
                  </a:lnTo>
                  <a:lnTo>
                    <a:pt x="1210489" y="3129066"/>
                  </a:lnTo>
                  <a:lnTo>
                    <a:pt x="1200578" y="3129066"/>
                  </a:lnTo>
                  <a:lnTo>
                    <a:pt x="1196560" y="3125027"/>
                  </a:lnTo>
                  <a:lnTo>
                    <a:pt x="1196560" y="3115157"/>
                  </a:lnTo>
                  <a:close/>
                  <a:moveTo>
                    <a:pt x="961266" y="3111118"/>
                  </a:moveTo>
                  <a:lnTo>
                    <a:pt x="971176" y="3111118"/>
                  </a:lnTo>
                  <a:lnTo>
                    <a:pt x="975195" y="3115157"/>
                  </a:lnTo>
                  <a:lnTo>
                    <a:pt x="975195" y="3125027"/>
                  </a:lnTo>
                  <a:lnTo>
                    <a:pt x="971176" y="3129066"/>
                  </a:lnTo>
                  <a:lnTo>
                    <a:pt x="961266" y="3129066"/>
                  </a:lnTo>
                  <a:lnTo>
                    <a:pt x="957247" y="3125027"/>
                  </a:lnTo>
                  <a:lnTo>
                    <a:pt x="957247" y="3115157"/>
                  </a:lnTo>
                  <a:close/>
                  <a:moveTo>
                    <a:pt x="9572438" y="3111067"/>
                  </a:moveTo>
                  <a:lnTo>
                    <a:pt x="9582349" y="3111067"/>
                  </a:lnTo>
                  <a:lnTo>
                    <a:pt x="9586368" y="3115105"/>
                  </a:lnTo>
                  <a:lnTo>
                    <a:pt x="9586368" y="3124976"/>
                  </a:lnTo>
                  <a:lnTo>
                    <a:pt x="9582349" y="3129015"/>
                  </a:lnTo>
                  <a:lnTo>
                    <a:pt x="9572438" y="3129015"/>
                  </a:lnTo>
                  <a:lnTo>
                    <a:pt x="9568419" y="3124976"/>
                  </a:lnTo>
                  <a:lnTo>
                    <a:pt x="9568419" y="3115105"/>
                  </a:lnTo>
                  <a:close/>
                  <a:moveTo>
                    <a:pt x="9333125" y="3111067"/>
                  </a:moveTo>
                  <a:lnTo>
                    <a:pt x="9343036" y="3111067"/>
                  </a:lnTo>
                  <a:lnTo>
                    <a:pt x="9347055" y="3115105"/>
                  </a:lnTo>
                  <a:lnTo>
                    <a:pt x="9347055" y="3124976"/>
                  </a:lnTo>
                  <a:lnTo>
                    <a:pt x="9343036" y="3129015"/>
                  </a:lnTo>
                  <a:lnTo>
                    <a:pt x="9333125" y="3129015"/>
                  </a:lnTo>
                  <a:lnTo>
                    <a:pt x="9329106" y="3124976"/>
                  </a:lnTo>
                  <a:lnTo>
                    <a:pt x="9329106" y="3115105"/>
                  </a:lnTo>
                  <a:close/>
                  <a:moveTo>
                    <a:pt x="9093811" y="3111067"/>
                  </a:moveTo>
                  <a:lnTo>
                    <a:pt x="9103722" y="3111067"/>
                  </a:lnTo>
                  <a:lnTo>
                    <a:pt x="9107741" y="3115105"/>
                  </a:lnTo>
                  <a:lnTo>
                    <a:pt x="9107741" y="3124976"/>
                  </a:lnTo>
                  <a:lnTo>
                    <a:pt x="9103722" y="3129015"/>
                  </a:lnTo>
                  <a:lnTo>
                    <a:pt x="9093811" y="3129015"/>
                  </a:lnTo>
                  <a:lnTo>
                    <a:pt x="9089792" y="3124976"/>
                  </a:lnTo>
                  <a:lnTo>
                    <a:pt x="9089792" y="3115105"/>
                  </a:lnTo>
                  <a:close/>
                  <a:moveTo>
                    <a:pt x="8854496" y="3111067"/>
                  </a:moveTo>
                  <a:lnTo>
                    <a:pt x="8864407" y="3111067"/>
                  </a:lnTo>
                  <a:lnTo>
                    <a:pt x="8868426" y="3115105"/>
                  </a:lnTo>
                  <a:lnTo>
                    <a:pt x="8868426" y="3124976"/>
                  </a:lnTo>
                  <a:lnTo>
                    <a:pt x="8864407" y="3129015"/>
                  </a:lnTo>
                  <a:lnTo>
                    <a:pt x="8854496" y="3129015"/>
                  </a:lnTo>
                  <a:lnTo>
                    <a:pt x="8850477" y="3124976"/>
                  </a:lnTo>
                  <a:lnTo>
                    <a:pt x="8850477" y="3115105"/>
                  </a:lnTo>
                  <a:close/>
                  <a:moveTo>
                    <a:pt x="8615184" y="3111067"/>
                  </a:moveTo>
                  <a:lnTo>
                    <a:pt x="8625095" y="3111067"/>
                  </a:lnTo>
                  <a:lnTo>
                    <a:pt x="8629114" y="3115105"/>
                  </a:lnTo>
                  <a:lnTo>
                    <a:pt x="8629114" y="3124976"/>
                  </a:lnTo>
                  <a:lnTo>
                    <a:pt x="8625095" y="3129015"/>
                  </a:lnTo>
                  <a:lnTo>
                    <a:pt x="8615184" y="3129015"/>
                  </a:lnTo>
                  <a:lnTo>
                    <a:pt x="8611165" y="3124976"/>
                  </a:lnTo>
                  <a:lnTo>
                    <a:pt x="8611165" y="3115105"/>
                  </a:lnTo>
                  <a:close/>
                  <a:moveTo>
                    <a:pt x="8375869" y="3111067"/>
                  </a:moveTo>
                  <a:lnTo>
                    <a:pt x="8385779" y="3111067"/>
                  </a:lnTo>
                  <a:lnTo>
                    <a:pt x="8389799" y="3115105"/>
                  </a:lnTo>
                  <a:lnTo>
                    <a:pt x="8389799" y="3124976"/>
                  </a:lnTo>
                  <a:lnTo>
                    <a:pt x="8385779" y="3129015"/>
                  </a:lnTo>
                  <a:lnTo>
                    <a:pt x="8375869" y="3129015"/>
                  </a:lnTo>
                  <a:lnTo>
                    <a:pt x="8371850" y="3124976"/>
                  </a:lnTo>
                  <a:lnTo>
                    <a:pt x="8371850" y="3115105"/>
                  </a:lnTo>
                  <a:close/>
                  <a:moveTo>
                    <a:pt x="8136553" y="3111067"/>
                  </a:moveTo>
                  <a:lnTo>
                    <a:pt x="8146464" y="3111067"/>
                  </a:lnTo>
                  <a:lnTo>
                    <a:pt x="8150483" y="3115105"/>
                  </a:lnTo>
                  <a:lnTo>
                    <a:pt x="8150483" y="3124976"/>
                  </a:lnTo>
                  <a:lnTo>
                    <a:pt x="8146464" y="3129015"/>
                  </a:lnTo>
                  <a:lnTo>
                    <a:pt x="8136553" y="3129015"/>
                  </a:lnTo>
                  <a:lnTo>
                    <a:pt x="8132534" y="3124976"/>
                  </a:lnTo>
                  <a:lnTo>
                    <a:pt x="8132534" y="3115105"/>
                  </a:lnTo>
                  <a:close/>
                  <a:moveTo>
                    <a:pt x="7897241" y="3111067"/>
                  </a:moveTo>
                  <a:lnTo>
                    <a:pt x="7907151" y="3111067"/>
                  </a:lnTo>
                  <a:lnTo>
                    <a:pt x="7911170" y="3115105"/>
                  </a:lnTo>
                  <a:lnTo>
                    <a:pt x="7911170" y="3124976"/>
                  </a:lnTo>
                  <a:lnTo>
                    <a:pt x="7907151" y="3129015"/>
                  </a:lnTo>
                  <a:lnTo>
                    <a:pt x="7897241" y="3129015"/>
                  </a:lnTo>
                  <a:lnTo>
                    <a:pt x="7893222" y="3124976"/>
                  </a:lnTo>
                  <a:lnTo>
                    <a:pt x="7893222" y="3115105"/>
                  </a:lnTo>
                  <a:close/>
                  <a:moveTo>
                    <a:pt x="7657926" y="3111067"/>
                  </a:moveTo>
                  <a:lnTo>
                    <a:pt x="7667836" y="3111067"/>
                  </a:lnTo>
                  <a:lnTo>
                    <a:pt x="7671855" y="3115105"/>
                  </a:lnTo>
                  <a:lnTo>
                    <a:pt x="7671855" y="3124976"/>
                  </a:lnTo>
                  <a:lnTo>
                    <a:pt x="7667836" y="3129015"/>
                  </a:lnTo>
                  <a:lnTo>
                    <a:pt x="7657926" y="3129015"/>
                  </a:lnTo>
                  <a:lnTo>
                    <a:pt x="7653906" y="3124976"/>
                  </a:lnTo>
                  <a:lnTo>
                    <a:pt x="7653906" y="3115105"/>
                  </a:lnTo>
                  <a:close/>
                  <a:moveTo>
                    <a:pt x="7418611" y="3111067"/>
                  </a:moveTo>
                  <a:lnTo>
                    <a:pt x="7428521" y="3111067"/>
                  </a:lnTo>
                  <a:lnTo>
                    <a:pt x="7432540" y="3115105"/>
                  </a:lnTo>
                  <a:lnTo>
                    <a:pt x="7432540" y="3124976"/>
                  </a:lnTo>
                  <a:lnTo>
                    <a:pt x="7428521" y="3129015"/>
                  </a:lnTo>
                  <a:lnTo>
                    <a:pt x="7418611" y="3129015"/>
                  </a:lnTo>
                  <a:lnTo>
                    <a:pt x="7414592" y="3124976"/>
                  </a:lnTo>
                  <a:lnTo>
                    <a:pt x="7414592" y="3115105"/>
                  </a:lnTo>
                  <a:close/>
                  <a:moveTo>
                    <a:pt x="7179298" y="3111067"/>
                  </a:moveTo>
                  <a:lnTo>
                    <a:pt x="7189209" y="3111067"/>
                  </a:lnTo>
                  <a:lnTo>
                    <a:pt x="7193228" y="3115105"/>
                  </a:lnTo>
                  <a:lnTo>
                    <a:pt x="7193228" y="3124976"/>
                  </a:lnTo>
                  <a:lnTo>
                    <a:pt x="7189209" y="3129015"/>
                  </a:lnTo>
                  <a:lnTo>
                    <a:pt x="7179298" y="3129015"/>
                  </a:lnTo>
                  <a:lnTo>
                    <a:pt x="7175279" y="3124976"/>
                  </a:lnTo>
                  <a:lnTo>
                    <a:pt x="7175279" y="3115105"/>
                  </a:lnTo>
                  <a:close/>
                  <a:moveTo>
                    <a:pt x="6939983" y="3111067"/>
                  </a:moveTo>
                  <a:lnTo>
                    <a:pt x="6949894" y="3111067"/>
                  </a:lnTo>
                  <a:lnTo>
                    <a:pt x="6953913" y="3115105"/>
                  </a:lnTo>
                  <a:lnTo>
                    <a:pt x="6953913" y="3124976"/>
                  </a:lnTo>
                  <a:lnTo>
                    <a:pt x="6949894" y="3129015"/>
                  </a:lnTo>
                  <a:lnTo>
                    <a:pt x="6939983" y="3129015"/>
                  </a:lnTo>
                  <a:lnTo>
                    <a:pt x="6935964" y="3124976"/>
                  </a:lnTo>
                  <a:lnTo>
                    <a:pt x="6935964" y="3115105"/>
                  </a:lnTo>
                  <a:close/>
                  <a:moveTo>
                    <a:pt x="6700670" y="3111067"/>
                  </a:moveTo>
                  <a:lnTo>
                    <a:pt x="6710581" y="3111067"/>
                  </a:lnTo>
                  <a:lnTo>
                    <a:pt x="6714600" y="3115105"/>
                  </a:lnTo>
                  <a:lnTo>
                    <a:pt x="6714600" y="3124976"/>
                  </a:lnTo>
                  <a:lnTo>
                    <a:pt x="6710581" y="3129015"/>
                  </a:lnTo>
                  <a:lnTo>
                    <a:pt x="6700670" y="3129015"/>
                  </a:lnTo>
                  <a:lnTo>
                    <a:pt x="6696651" y="3124976"/>
                  </a:lnTo>
                  <a:lnTo>
                    <a:pt x="6696651" y="3115105"/>
                  </a:lnTo>
                  <a:close/>
                  <a:moveTo>
                    <a:pt x="6461356" y="3111067"/>
                  </a:moveTo>
                  <a:lnTo>
                    <a:pt x="6471266" y="3111067"/>
                  </a:lnTo>
                  <a:lnTo>
                    <a:pt x="6475285" y="3115105"/>
                  </a:lnTo>
                  <a:lnTo>
                    <a:pt x="6475285" y="3124976"/>
                  </a:lnTo>
                  <a:lnTo>
                    <a:pt x="6471266" y="3129015"/>
                  </a:lnTo>
                  <a:lnTo>
                    <a:pt x="6461356" y="3129015"/>
                  </a:lnTo>
                  <a:lnTo>
                    <a:pt x="6457337" y="3124976"/>
                  </a:lnTo>
                  <a:lnTo>
                    <a:pt x="6457337" y="3115105"/>
                  </a:lnTo>
                  <a:close/>
                  <a:moveTo>
                    <a:pt x="6222042" y="3111067"/>
                  </a:moveTo>
                  <a:lnTo>
                    <a:pt x="6231952" y="3111067"/>
                  </a:lnTo>
                  <a:lnTo>
                    <a:pt x="6235971" y="3115105"/>
                  </a:lnTo>
                  <a:lnTo>
                    <a:pt x="6235971" y="3124976"/>
                  </a:lnTo>
                  <a:lnTo>
                    <a:pt x="6231952" y="3129015"/>
                  </a:lnTo>
                  <a:lnTo>
                    <a:pt x="6222042" y="3129015"/>
                  </a:lnTo>
                  <a:lnTo>
                    <a:pt x="6218023" y="3124976"/>
                  </a:lnTo>
                  <a:lnTo>
                    <a:pt x="6218023" y="3115105"/>
                  </a:lnTo>
                  <a:close/>
                  <a:moveTo>
                    <a:pt x="5982729" y="3111067"/>
                  </a:moveTo>
                  <a:lnTo>
                    <a:pt x="5992639" y="3111067"/>
                  </a:lnTo>
                  <a:lnTo>
                    <a:pt x="5996658" y="3115105"/>
                  </a:lnTo>
                  <a:lnTo>
                    <a:pt x="5996658" y="3124976"/>
                  </a:lnTo>
                  <a:lnTo>
                    <a:pt x="5992639" y="3129015"/>
                  </a:lnTo>
                  <a:lnTo>
                    <a:pt x="5982729" y="3129015"/>
                  </a:lnTo>
                  <a:lnTo>
                    <a:pt x="5978710" y="3124976"/>
                  </a:lnTo>
                  <a:lnTo>
                    <a:pt x="5978710" y="3115105"/>
                  </a:lnTo>
                  <a:close/>
                  <a:moveTo>
                    <a:pt x="5743412" y="3111067"/>
                  </a:moveTo>
                  <a:lnTo>
                    <a:pt x="5753323" y="3111067"/>
                  </a:lnTo>
                  <a:lnTo>
                    <a:pt x="5757342" y="3115105"/>
                  </a:lnTo>
                  <a:lnTo>
                    <a:pt x="5757342" y="3124976"/>
                  </a:lnTo>
                  <a:lnTo>
                    <a:pt x="5753323" y="3129015"/>
                  </a:lnTo>
                  <a:lnTo>
                    <a:pt x="5743412" y="3129015"/>
                  </a:lnTo>
                  <a:lnTo>
                    <a:pt x="5739393" y="3124976"/>
                  </a:lnTo>
                  <a:lnTo>
                    <a:pt x="5739393" y="3115105"/>
                  </a:lnTo>
                  <a:close/>
                  <a:moveTo>
                    <a:pt x="5504099" y="3111067"/>
                  </a:moveTo>
                  <a:lnTo>
                    <a:pt x="5514010" y="3111067"/>
                  </a:lnTo>
                  <a:lnTo>
                    <a:pt x="5518029" y="3115105"/>
                  </a:lnTo>
                  <a:lnTo>
                    <a:pt x="5518029" y="3124976"/>
                  </a:lnTo>
                  <a:lnTo>
                    <a:pt x="5514010" y="3129015"/>
                  </a:lnTo>
                  <a:lnTo>
                    <a:pt x="5504099" y="3129015"/>
                  </a:lnTo>
                  <a:lnTo>
                    <a:pt x="5500080" y="3124976"/>
                  </a:lnTo>
                  <a:lnTo>
                    <a:pt x="5500080" y="3115105"/>
                  </a:lnTo>
                  <a:close/>
                  <a:moveTo>
                    <a:pt x="5264784" y="3111067"/>
                  </a:moveTo>
                  <a:lnTo>
                    <a:pt x="5274694" y="3111067"/>
                  </a:lnTo>
                  <a:lnTo>
                    <a:pt x="5278713" y="3115105"/>
                  </a:lnTo>
                  <a:lnTo>
                    <a:pt x="5278713" y="3124976"/>
                  </a:lnTo>
                  <a:lnTo>
                    <a:pt x="5274694" y="3129015"/>
                  </a:lnTo>
                  <a:lnTo>
                    <a:pt x="5264784" y="3129015"/>
                  </a:lnTo>
                  <a:lnTo>
                    <a:pt x="5260765" y="3124976"/>
                  </a:lnTo>
                  <a:lnTo>
                    <a:pt x="5260765" y="3115105"/>
                  </a:lnTo>
                  <a:close/>
                  <a:moveTo>
                    <a:pt x="5025470" y="3111067"/>
                  </a:moveTo>
                  <a:lnTo>
                    <a:pt x="5035381" y="3111067"/>
                  </a:lnTo>
                  <a:lnTo>
                    <a:pt x="5039400" y="3115105"/>
                  </a:lnTo>
                  <a:lnTo>
                    <a:pt x="5039400" y="3124976"/>
                  </a:lnTo>
                  <a:lnTo>
                    <a:pt x="5035381" y="3129015"/>
                  </a:lnTo>
                  <a:lnTo>
                    <a:pt x="5025470" y="3129015"/>
                  </a:lnTo>
                  <a:lnTo>
                    <a:pt x="5021451" y="3124976"/>
                  </a:lnTo>
                  <a:lnTo>
                    <a:pt x="5021451" y="3115105"/>
                  </a:lnTo>
                  <a:close/>
                  <a:moveTo>
                    <a:pt x="4786241" y="3111067"/>
                  </a:moveTo>
                  <a:lnTo>
                    <a:pt x="4796152" y="3111067"/>
                  </a:lnTo>
                  <a:lnTo>
                    <a:pt x="4800171" y="3115105"/>
                  </a:lnTo>
                  <a:lnTo>
                    <a:pt x="4800171" y="3124976"/>
                  </a:lnTo>
                  <a:lnTo>
                    <a:pt x="4796152" y="3129015"/>
                  </a:lnTo>
                  <a:lnTo>
                    <a:pt x="4786241" y="3129015"/>
                  </a:lnTo>
                  <a:lnTo>
                    <a:pt x="4782224" y="3124976"/>
                  </a:lnTo>
                  <a:lnTo>
                    <a:pt x="4782224" y="3115105"/>
                  </a:lnTo>
                  <a:close/>
                  <a:moveTo>
                    <a:pt x="4546929" y="3111067"/>
                  </a:moveTo>
                  <a:lnTo>
                    <a:pt x="4556840" y="3111067"/>
                  </a:lnTo>
                  <a:lnTo>
                    <a:pt x="4560859" y="3115105"/>
                  </a:lnTo>
                  <a:lnTo>
                    <a:pt x="4560859" y="3124976"/>
                  </a:lnTo>
                  <a:lnTo>
                    <a:pt x="4556840" y="3129015"/>
                  </a:lnTo>
                  <a:lnTo>
                    <a:pt x="4546929" y="3129015"/>
                  </a:lnTo>
                  <a:lnTo>
                    <a:pt x="4542910" y="3124976"/>
                  </a:lnTo>
                  <a:lnTo>
                    <a:pt x="4542910" y="3115105"/>
                  </a:lnTo>
                  <a:close/>
                  <a:moveTo>
                    <a:pt x="4307612" y="3111067"/>
                  </a:moveTo>
                  <a:lnTo>
                    <a:pt x="4317523" y="3111067"/>
                  </a:lnTo>
                  <a:lnTo>
                    <a:pt x="4321543" y="3115105"/>
                  </a:lnTo>
                  <a:lnTo>
                    <a:pt x="4321543" y="3124976"/>
                  </a:lnTo>
                  <a:lnTo>
                    <a:pt x="4317523" y="3129015"/>
                  </a:lnTo>
                  <a:lnTo>
                    <a:pt x="4307612" y="3129015"/>
                  </a:lnTo>
                  <a:lnTo>
                    <a:pt x="4303595" y="3124976"/>
                  </a:lnTo>
                  <a:lnTo>
                    <a:pt x="4303595" y="3115105"/>
                  </a:lnTo>
                  <a:close/>
                  <a:moveTo>
                    <a:pt x="4068297" y="3111067"/>
                  </a:moveTo>
                  <a:lnTo>
                    <a:pt x="4078210" y="3111067"/>
                  </a:lnTo>
                  <a:lnTo>
                    <a:pt x="4082229" y="3115105"/>
                  </a:lnTo>
                  <a:lnTo>
                    <a:pt x="4082229" y="3124976"/>
                  </a:lnTo>
                  <a:lnTo>
                    <a:pt x="4078210" y="3129015"/>
                  </a:lnTo>
                  <a:lnTo>
                    <a:pt x="4068297" y="3129015"/>
                  </a:lnTo>
                  <a:lnTo>
                    <a:pt x="4064278" y="3124976"/>
                  </a:lnTo>
                  <a:lnTo>
                    <a:pt x="4064278" y="3115105"/>
                  </a:lnTo>
                  <a:close/>
                  <a:moveTo>
                    <a:pt x="3828990" y="3111067"/>
                  </a:moveTo>
                  <a:lnTo>
                    <a:pt x="3838899" y="3111067"/>
                  </a:lnTo>
                  <a:lnTo>
                    <a:pt x="3842917" y="3115105"/>
                  </a:lnTo>
                  <a:lnTo>
                    <a:pt x="3842917" y="3124976"/>
                  </a:lnTo>
                  <a:lnTo>
                    <a:pt x="3838899" y="3129015"/>
                  </a:lnTo>
                  <a:lnTo>
                    <a:pt x="3828990" y="3129015"/>
                  </a:lnTo>
                  <a:lnTo>
                    <a:pt x="3824971" y="3124976"/>
                  </a:lnTo>
                  <a:lnTo>
                    <a:pt x="3824971" y="3115105"/>
                  </a:lnTo>
                  <a:close/>
                  <a:moveTo>
                    <a:pt x="3589676" y="3111067"/>
                  </a:moveTo>
                  <a:lnTo>
                    <a:pt x="3599585" y="3111067"/>
                  </a:lnTo>
                  <a:lnTo>
                    <a:pt x="3603604" y="3115105"/>
                  </a:lnTo>
                  <a:lnTo>
                    <a:pt x="3603604" y="3124976"/>
                  </a:lnTo>
                  <a:lnTo>
                    <a:pt x="3599585" y="3129015"/>
                  </a:lnTo>
                  <a:lnTo>
                    <a:pt x="3589676" y="3129015"/>
                  </a:lnTo>
                  <a:lnTo>
                    <a:pt x="3585657" y="3124976"/>
                  </a:lnTo>
                  <a:lnTo>
                    <a:pt x="3585657" y="3115105"/>
                  </a:lnTo>
                  <a:close/>
                  <a:moveTo>
                    <a:pt x="3350359" y="3111067"/>
                  </a:moveTo>
                  <a:lnTo>
                    <a:pt x="3360268" y="3111067"/>
                  </a:lnTo>
                  <a:lnTo>
                    <a:pt x="3364287" y="3115105"/>
                  </a:lnTo>
                  <a:lnTo>
                    <a:pt x="3364287" y="3124976"/>
                  </a:lnTo>
                  <a:lnTo>
                    <a:pt x="3360268" y="3129015"/>
                  </a:lnTo>
                  <a:lnTo>
                    <a:pt x="3350359" y="3129015"/>
                  </a:lnTo>
                  <a:lnTo>
                    <a:pt x="3346340" y="3124976"/>
                  </a:lnTo>
                  <a:lnTo>
                    <a:pt x="3346340" y="3115105"/>
                  </a:lnTo>
                  <a:close/>
                  <a:moveTo>
                    <a:pt x="3111048" y="3111067"/>
                  </a:moveTo>
                  <a:lnTo>
                    <a:pt x="3120959" y="3111067"/>
                  </a:lnTo>
                  <a:lnTo>
                    <a:pt x="3124977" y="3115105"/>
                  </a:lnTo>
                  <a:lnTo>
                    <a:pt x="3124977" y="3124976"/>
                  </a:lnTo>
                  <a:lnTo>
                    <a:pt x="3120959" y="3129015"/>
                  </a:lnTo>
                  <a:lnTo>
                    <a:pt x="3111048" y="3129015"/>
                  </a:lnTo>
                  <a:lnTo>
                    <a:pt x="3107029" y="3124976"/>
                  </a:lnTo>
                  <a:lnTo>
                    <a:pt x="3107029" y="3115105"/>
                  </a:lnTo>
                  <a:close/>
                  <a:moveTo>
                    <a:pt x="2871737" y="3111067"/>
                  </a:moveTo>
                  <a:lnTo>
                    <a:pt x="2881646" y="3111067"/>
                  </a:lnTo>
                  <a:lnTo>
                    <a:pt x="2885666" y="3115105"/>
                  </a:lnTo>
                  <a:lnTo>
                    <a:pt x="2885666" y="3124976"/>
                  </a:lnTo>
                  <a:lnTo>
                    <a:pt x="2881646" y="3129015"/>
                  </a:lnTo>
                  <a:lnTo>
                    <a:pt x="2871737" y="3129015"/>
                  </a:lnTo>
                  <a:lnTo>
                    <a:pt x="2867717" y="3124976"/>
                  </a:lnTo>
                  <a:lnTo>
                    <a:pt x="2867717" y="3115105"/>
                  </a:lnTo>
                  <a:close/>
                  <a:moveTo>
                    <a:pt x="2632423" y="3111067"/>
                  </a:moveTo>
                  <a:lnTo>
                    <a:pt x="2642334" y="3111067"/>
                  </a:lnTo>
                  <a:lnTo>
                    <a:pt x="2646352" y="3115105"/>
                  </a:lnTo>
                  <a:lnTo>
                    <a:pt x="2646352" y="3124976"/>
                  </a:lnTo>
                  <a:lnTo>
                    <a:pt x="2642334" y="3129015"/>
                  </a:lnTo>
                  <a:lnTo>
                    <a:pt x="2632423" y="3129015"/>
                  </a:lnTo>
                  <a:lnTo>
                    <a:pt x="2628404" y="3124976"/>
                  </a:lnTo>
                  <a:lnTo>
                    <a:pt x="2628404" y="3115105"/>
                  </a:lnTo>
                  <a:close/>
                  <a:moveTo>
                    <a:pt x="2393104" y="3111067"/>
                  </a:moveTo>
                  <a:lnTo>
                    <a:pt x="2403015" y="3111067"/>
                  </a:lnTo>
                  <a:lnTo>
                    <a:pt x="2407034" y="3115105"/>
                  </a:lnTo>
                  <a:lnTo>
                    <a:pt x="2407034" y="3124976"/>
                  </a:lnTo>
                  <a:lnTo>
                    <a:pt x="2403015" y="3129015"/>
                  </a:lnTo>
                  <a:lnTo>
                    <a:pt x="2393104" y="3129015"/>
                  </a:lnTo>
                  <a:lnTo>
                    <a:pt x="2389087" y="3124976"/>
                  </a:lnTo>
                  <a:lnTo>
                    <a:pt x="2389087" y="3115105"/>
                  </a:lnTo>
                  <a:close/>
                  <a:moveTo>
                    <a:pt x="721968" y="3111067"/>
                  </a:moveTo>
                  <a:lnTo>
                    <a:pt x="731878" y="3111067"/>
                  </a:lnTo>
                  <a:lnTo>
                    <a:pt x="735897" y="3115105"/>
                  </a:lnTo>
                  <a:lnTo>
                    <a:pt x="735897" y="3124976"/>
                  </a:lnTo>
                  <a:lnTo>
                    <a:pt x="731878" y="3129015"/>
                  </a:lnTo>
                  <a:lnTo>
                    <a:pt x="721968" y="3129015"/>
                  </a:lnTo>
                  <a:lnTo>
                    <a:pt x="717949" y="3124976"/>
                  </a:lnTo>
                  <a:lnTo>
                    <a:pt x="717949" y="3115105"/>
                  </a:lnTo>
                  <a:close/>
                  <a:moveTo>
                    <a:pt x="482656" y="3111067"/>
                  </a:moveTo>
                  <a:lnTo>
                    <a:pt x="492566" y="3111067"/>
                  </a:lnTo>
                  <a:lnTo>
                    <a:pt x="496585" y="3115105"/>
                  </a:lnTo>
                  <a:lnTo>
                    <a:pt x="496585" y="3124976"/>
                  </a:lnTo>
                  <a:lnTo>
                    <a:pt x="492566" y="3129015"/>
                  </a:lnTo>
                  <a:lnTo>
                    <a:pt x="482656" y="3129015"/>
                  </a:lnTo>
                  <a:lnTo>
                    <a:pt x="478637" y="3124976"/>
                  </a:lnTo>
                  <a:lnTo>
                    <a:pt x="478637" y="3115105"/>
                  </a:lnTo>
                  <a:close/>
                  <a:moveTo>
                    <a:pt x="243342" y="3111067"/>
                  </a:moveTo>
                  <a:lnTo>
                    <a:pt x="253252" y="3111067"/>
                  </a:lnTo>
                  <a:lnTo>
                    <a:pt x="257271" y="3115105"/>
                  </a:lnTo>
                  <a:lnTo>
                    <a:pt x="257271" y="3124976"/>
                  </a:lnTo>
                  <a:lnTo>
                    <a:pt x="253252" y="3129015"/>
                  </a:lnTo>
                  <a:lnTo>
                    <a:pt x="243342" y="3129015"/>
                  </a:lnTo>
                  <a:lnTo>
                    <a:pt x="239323" y="3124976"/>
                  </a:lnTo>
                  <a:lnTo>
                    <a:pt x="239323" y="3115105"/>
                  </a:lnTo>
                  <a:close/>
                  <a:moveTo>
                    <a:pt x="4029" y="3111067"/>
                  </a:moveTo>
                  <a:lnTo>
                    <a:pt x="13939" y="3111067"/>
                  </a:lnTo>
                  <a:lnTo>
                    <a:pt x="17959" y="3115105"/>
                  </a:lnTo>
                  <a:lnTo>
                    <a:pt x="17959" y="3124976"/>
                  </a:lnTo>
                  <a:lnTo>
                    <a:pt x="13939" y="3129015"/>
                  </a:lnTo>
                  <a:lnTo>
                    <a:pt x="4029" y="3129015"/>
                  </a:lnTo>
                  <a:lnTo>
                    <a:pt x="10" y="3124976"/>
                  </a:lnTo>
                  <a:lnTo>
                    <a:pt x="10" y="3115105"/>
                  </a:lnTo>
                  <a:close/>
                  <a:moveTo>
                    <a:pt x="2157820" y="2871788"/>
                  </a:moveTo>
                  <a:lnTo>
                    <a:pt x="2167732" y="2871788"/>
                  </a:lnTo>
                  <a:lnTo>
                    <a:pt x="2171750" y="2875826"/>
                  </a:lnTo>
                  <a:lnTo>
                    <a:pt x="2171750" y="2885696"/>
                  </a:lnTo>
                  <a:lnTo>
                    <a:pt x="2167732" y="2889735"/>
                  </a:lnTo>
                  <a:lnTo>
                    <a:pt x="2157820" y="2889735"/>
                  </a:lnTo>
                  <a:lnTo>
                    <a:pt x="2153802" y="2885696"/>
                  </a:lnTo>
                  <a:lnTo>
                    <a:pt x="2153802" y="2875826"/>
                  </a:lnTo>
                  <a:close/>
                  <a:moveTo>
                    <a:pt x="1918513" y="2871788"/>
                  </a:moveTo>
                  <a:lnTo>
                    <a:pt x="1928422" y="2871788"/>
                  </a:lnTo>
                  <a:lnTo>
                    <a:pt x="1932441" y="2875826"/>
                  </a:lnTo>
                  <a:lnTo>
                    <a:pt x="1932441" y="2885696"/>
                  </a:lnTo>
                  <a:lnTo>
                    <a:pt x="1928422" y="2889735"/>
                  </a:lnTo>
                  <a:lnTo>
                    <a:pt x="1918513" y="2889735"/>
                  </a:lnTo>
                  <a:lnTo>
                    <a:pt x="1914493" y="2885696"/>
                  </a:lnTo>
                  <a:lnTo>
                    <a:pt x="1914493" y="2875826"/>
                  </a:lnTo>
                  <a:close/>
                  <a:moveTo>
                    <a:pt x="1679211" y="2871788"/>
                  </a:moveTo>
                  <a:lnTo>
                    <a:pt x="1689121" y="2871788"/>
                  </a:lnTo>
                  <a:lnTo>
                    <a:pt x="1693141" y="2875826"/>
                  </a:lnTo>
                  <a:lnTo>
                    <a:pt x="1693141" y="2885696"/>
                  </a:lnTo>
                  <a:lnTo>
                    <a:pt x="1689121" y="2889735"/>
                  </a:lnTo>
                  <a:lnTo>
                    <a:pt x="1679211" y="2889735"/>
                  </a:lnTo>
                  <a:lnTo>
                    <a:pt x="1675193" y="2885696"/>
                  </a:lnTo>
                  <a:lnTo>
                    <a:pt x="1675193" y="2875826"/>
                  </a:lnTo>
                  <a:close/>
                  <a:moveTo>
                    <a:pt x="1439895" y="2871788"/>
                  </a:moveTo>
                  <a:lnTo>
                    <a:pt x="1449805" y="2871788"/>
                  </a:lnTo>
                  <a:lnTo>
                    <a:pt x="1453824" y="2875826"/>
                  </a:lnTo>
                  <a:lnTo>
                    <a:pt x="1453824" y="2885696"/>
                  </a:lnTo>
                  <a:lnTo>
                    <a:pt x="1449805" y="2889735"/>
                  </a:lnTo>
                  <a:lnTo>
                    <a:pt x="1439895" y="2889735"/>
                  </a:lnTo>
                  <a:lnTo>
                    <a:pt x="1435876" y="2885696"/>
                  </a:lnTo>
                  <a:lnTo>
                    <a:pt x="1435876" y="2875826"/>
                  </a:lnTo>
                  <a:close/>
                  <a:moveTo>
                    <a:pt x="1200579" y="2871788"/>
                  </a:moveTo>
                  <a:lnTo>
                    <a:pt x="1210489" y="2871788"/>
                  </a:lnTo>
                  <a:lnTo>
                    <a:pt x="1214509" y="2875826"/>
                  </a:lnTo>
                  <a:lnTo>
                    <a:pt x="1214509" y="2885696"/>
                  </a:lnTo>
                  <a:lnTo>
                    <a:pt x="1210489" y="2889735"/>
                  </a:lnTo>
                  <a:lnTo>
                    <a:pt x="1200579" y="2889735"/>
                  </a:lnTo>
                  <a:lnTo>
                    <a:pt x="1196560" y="2885696"/>
                  </a:lnTo>
                  <a:lnTo>
                    <a:pt x="1196560" y="2875826"/>
                  </a:lnTo>
                  <a:close/>
                  <a:moveTo>
                    <a:pt x="961267" y="2871788"/>
                  </a:moveTo>
                  <a:lnTo>
                    <a:pt x="971177" y="2871788"/>
                  </a:lnTo>
                  <a:lnTo>
                    <a:pt x="975195" y="2875826"/>
                  </a:lnTo>
                  <a:lnTo>
                    <a:pt x="975195" y="2885696"/>
                  </a:lnTo>
                  <a:lnTo>
                    <a:pt x="971177" y="2889735"/>
                  </a:lnTo>
                  <a:lnTo>
                    <a:pt x="961267" y="2889735"/>
                  </a:lnTo>
                  <a:lnTo>
                    <a:pt x="957247" y="2885696"/>
                  </a:lnTo>
                  <a:lnTo>
                    <a:pt x="957247" y="2875826"/>
                  </a:lnTo>
                  <a:close/>
                  <a:moveTo>
                    <a:pt x="9572438" y="2871736"/>
                  </a:moveTo>
                  <a:lnTo>
                    <a:pt x="9582349" y="2871736"/>
                  </a:lnTo>
                  <a:lnTo>
                    <a:pt x="9586368" y="2875775"/>
                  </a:lnTo>
                  <a:lnTo>
                    <a:pt x="9586368" y="2885645"/>
                  </a:lnTo>
                  <a:lnTo>
                    <a:pt x="9582349" y="2889684"/>
                  </a:lnTo>
                  <a:lnTo>
                    <a:pt x="9572438" y="2889684"/>
                  </a:lnTo>
                  <a:lnTo>
                    <a:pt x="9568419" y="2885645"/>
                  </a:lnTo>
                  <a:lnTo>
                    <a:pt x="9568419" y="2875775"/>
                  </a:lnTo>
                  <a:close/>
                  <a:moveTo>
                    <a:pt x="9333125" y="2871736"/>
                  </a:moveTo>
                  <a:lnTo>
                    <a:pt x="9343036" y="2871736"/>
                  </a:lnTo>
                  <a:lnTo>
                    <a:pt x="9347055" y="2875775"/>
                  </a:lnTo>
                  <a:lnTo>
                    <a:pt x="9347055" y="2885645"/>
                  </a:lnTo>
                  <a:lnTo>
                    <a:pt x="9343036" y="2889684"/>
                  </a:lnTo>
                  <a:lnTo>
                    <a:pt x="9333125" y="2889684"/>
                  </a:lnTo>
                  <a:lnTo>
                    <a:pt x="9329106" y="2885645"/>
                  </a:lnTo>
                  <a:lnTo>
                    <a:pt x="9329106" y="2875775"/>
                  </a:lnTo>
                  <a:close/>
                  <a:moveTo>
                    <a:pt x="9093811" y="2871736"/>
                  </a:moveTo>
                  <a:lnTo>
                    <a:pt x="9103722" y="2871736"/>
                  </a:lnTo>
                  <a:lnTo>
                    <a:pt x="9107741" y="2875775"/>
                  </a:lnTo>
                  <a:lnTo>
                    <a:pt x="9107741" y="2885645"/>
                  </a:lnTo>
                  <a:lnTo>
                    <a:pt x="9103722" y="2889684"/>
                  </a:lnTo>
                  <a:lnTo>
                    <a:pt x="9093811" y="2889684"/>
                  </a:lnTo>
                  <a:lnTo>
                    <a:pt x="9089792" y="2885645"/>
                  </a:lnTo>
                  <a:lnTo>
                    <a:pt x="9089792" y="2875775"/>
                  </a:lnTo>
                  <a:close/>
                  <a:moveTo>
                    <a:pt x="8854496" y="2871736"/>
                  </a:moveTo>
                  <a:lnTo>
                    <a:pt x="8864407" y="2871736"/>
                  </a:lnTo>
                  <a:lnTo>
                    <a:pt x="8868426" y="2875775"/>
                  </a:lnTo>
                  <a:lnTo>
                    <a:pt x="8868426" y="2885645"/>
                  </a:lnTo>
                  <a:lnTo>
                    <a:pt x="8864407" y="2889684"/>
                  </a:lnTo>
                  <a:lnTo>
                    <a:pt x="8854496" y="2889684"/>
                  </a:lnTo>
                  <a:lnTo>
                    <a:pt x="8850477" y="2885645"/>
                  </a:lnTo>
                  <a:lnTo>
                    <a:pt x="8850477" y="2875775"/>
                  </a:lnTo>
                  <a:close/>
                  <a:moveTo>
                    <a:pt x="8615184" y="2871736"/>
                  </a:moveTo>
                  <a:lnTo>
                    <a:pt x="8625095" y="2871736"/>
                  </a:lnTo>
                  <a:lnTo>
                    <a:pt x="8629114" y="2875775"/>
                  </a:lnTo>
                  <a:lnTo>
                    <a:pt x="8629114" y="2885645"/>
                  </a:lnTo>
                  <a:lnTo>
                    <a:pt x="8625095" y="2889684"/>
                  </a:lnTo>
                  <a:lnTo>
                    <a:pt x="8615184" y="2889684"/>
                  </a:lnTo>
                  <a:lnTo>
                    <a:pt x="8611165" y="2885645"/>
                  </a:lnTo>
                  <a:lnTo>
                    <a:pt x="8611165" y="2875775"/>
                  </a:lnTo>
                  <a:close/>
                  <a:moveTo>
                    <a:pt x="8375869" y="2871736"/>
                  </a:moveTo>
                  <a:lnTo>
                    <a:pt x="8385779" y="2871736"/>
                  </a:lnTo>
                  <a:lnTo>
                    <a:pt x="8389799" y="2875775"/>
                  </a:lnTo>
                  <a:lnTo>
                    <a:pt x="8389799" y="2885645"/>
                  </a:lnTo>
                  <a:lnTo>
                    <a:pt x="8385779" y="2889684"/>
                  </a:lnTo>
                  <a:lnTo>
                    <a:pt x="8375869" y="2889684"/>
                  </a:lnTo>
                  <a:lnTo>
                    <a:pt x="8371850" y="2885645"/>
                  </a:lnTo>
                  <a:lnTo>
                    <a:pt x="8371850" y="2875775"/>
                  </a:lnTo>
                  <a:close/>
                  <a:moveTo>
                    <a:pt x="8136553" y="2871736"/>
                  </a:moveTo>
                  <a:lnTo>
                    <a:pt x="8146464" y="2871736"/>
                  </a:lnTo>
                  <a:lnTo>
                    <a:pt x="8150483" y="2875775"/>
                  </a:lnTo>
                  <a:lnTo>
                    <a:pt x="8150483" y="2885645"/>
                  </a:lnTo>
                  <a:lnTo>
                    <a:pt x="8146464" y="2889684"/>
                  </a:lnTo>
                  <a:lnTo>
                    <a:pt x="8136553" y="2889684"/>
                  </a:lnTo>
                  <a:lnTo>
                    <a:pt x="8132534" y="2885645"/>
                  </a:lnTo>
                  <a:lnTo>
                    <a:pt x="8132534" y="2875775"/>
                  </a:lnTo>
                  <a:close/>
                  <a:moveTo>
                    <a:pt x="7897241" y="2871736"/>
                  </a:moveTo>
                  <a:lnTo>
                    <a:pt x="7907151" y="2871736"/>
                  </a:lnTo>
                  <a:lnTo>
                    <a:pt x="7911170" y="2875775"/>
                  </a:lnTo>
                  <a:lnTo>
                    <a:pt x="7911170" y="2885645"/>
                  </a:lnTo>
                  <a:lnTo>
                    <a:pt x="7907151" y="2889684"/>
                  </a:lnTo>
                  <a:lnTo>
                    <a:pt x="7897241" y="2889684"/>
                  </a:lnTo>
                  <a:lnTo>
                    <a:pt x="7893222" y="2885645"/>
                  </a:lnTo>
                  <a:lnTo>
                    <a:pt x="7893222" y="2875775"/>
                  </a:lnTo>
                  <a:close/>
                  <a:moveTo>
                    <a:pt x="7657926" y="2871736"/>
                  </a:moveTo>
                  <a:lnTo>
                    <a:pt x="7667836" y="2871736"/>
                  </a:lnTo>
                  <a:lnTo>
                    <a:pt x="7671855" y="2875775"/>
                  </a:lnTo>
                  <a:lnTo>
                    <a:pt x="7671855" y="2885645"/>
                  </a:lnTo>
                  <a:lnTo>
                    <a:pt x="7667836" y="2889684"/>
                  </a:lnTo>
                  <a:lnTo>
                    <a:pt x="7657926" y="2889684"/>
                  </a:lnTo>
                  <a:lnTo>
                    <a:pt x="7653906" y="2885645"/>
                  </a:lnTo>
                  <a:lnTo>
                    <a:pt x="7653906" y="2875775"/>
                  </a:lnTo>
                  <a:close/>
                  <a:moveTo>
                    <a:pt x="7418611" y="2871736"/>
                  </a:moveTo>
                  <a:lnTo>
                    <a:pt x="7428521" y="2871736"/>
                  </a:lnTo>
                  <a:lnTo>
                    <a:pt x="7432540" y="2875775"/>
                  </a:lnTo>
                  <a:lnTo>
                    <a:pt x="7432540" y="2885645"/>
                  </a:lnTo>
                  <a:lnTo>
                    <a:pt x="7428521" y="2889684"/>
                  </a:lnTo>
                  <a:lnTo>
                    <a:pt x="7418611" y="2889684"/>
                  </a:lnTo>
                  <a:lnTo>
                    <a:pt x="7414592" y="2885645"/>
                  </a:lnTo>
                  <a:lnTo>
                    <a:pt x="7414592" y="2875775"/>
                  </a:lnTo>
                  <a:close/>
                  <a:moveTo>
                    <a:pt x="7179298" y="2871736"/>
                  </a:moveTo>
                  <a:lnTo>
                    <a:pt x="7189209" y="2871736"/>
                  </a:lnTo>
                  <a:lnTo>
                    <a:pt x="7193228" y="2875775"/>
                  </a:lnTo>
                  <a:lnTo>
                    <a:pt x="7193228" y="2885645"/>
                  </a:lnTo>
                  <a:lnTo>
                    <a:pt x="7189209" y="2889684"/>
                  </a:lnTo>
                  <a:lnTo>
                    <a:pt x="7179298" y="2889684"/>
                  </a:lnTo>
                  <a:lnTo>
                    <a:pt x="7175279" y="2885645"/>
                  </a:lnTo>
                  <a:lnTo>
                    <a:pt x="7175279" y="2875775"/>
                  </a:lnTo>
                  <a:close/>
                  <a:moveTo>
                    <a:pt x="6939983" y="2871736"/>
                  </a:moveTo>
                  <a:lnTo>
                    <a:pt x="6949894" y="2871736"/>
                  </a:lnTo>
                  <a:lnTo>
                    <a:pt x="6953913" y="2875775"/>
                  </a:lnTo>
                  <a:lnTo>
                    <a:pt x="6953913" y="2885645"/>
                  </a:lnTo>
                  <a:lnTo>
                    <a:pt x="6949894" y="2889684"/>
                  </a:lnTo>
                  <a:lnTo>
                    <a:pt x="6939983" y="2889684"/>
                  </a:lnTo>
                  <a:lnTo>
                    <a:pt x="6935964" y="2885645"/>
                  </a:lnTo>
                  <a:lnTo>
                    <a:pt x="6935964" y="2875775"/>
                  </a:lnTo>
                  <a:close/>
                  <a:moveTo>
                    <a:pt x="6700670" y="2871736"/>
                  </a:moveTo>
                  <a:lnTo>
                    <a:pt x="6710581" y="2871736"/>
                  </a:lnTo>
                  <a:lnTo>
                    <a:pt x="6714600" y="2875775"/>
                  </a:lnTo>
                  <a:lnTo>
                    <a:pt x="6714600" y="2885645"/>
                  </a:lnTo>
                  <a:lnTo>
                    <a:pt x="6710581" y="2889684"/>
                  </a:lnTo>
                  <a:lnTo>
                    <a:pt x="6700670" y="2889684"/>
                  </a:lnTo>
                  <a:lnTo>
                    <a:pt x="6696651" y="2885645"/>
                  </a:lnTo>
                  <a:lnTo>
                    <a:pt x="6696651" y="2875775"/>
                  </a:lnTo>
                  <a:close/>
                  <a:moveTo>
                    <a:pt x="6461356" y="2871736"/>
                  </a:moveTo>
                  <a:lnTo>
                    <a:pt x="6471266" y="2871736"/>
                  </a:lnTo>
                  <a:lnTo>
                    <a:pt x="6475285" y="2875775"/>
                  </a:lnTo>
                  <a:lnTo>
                    <a:pt x="6475285" y="2885645"/>
                  </a:lnTo>
                  <a:lnTo>
                    <a:pt x="6471266" y="2889684"/>
                  </a:lnTo>
                  <a:lnTo>
                    <a:pt x="6461356" y="2889684"/>
                  </a:lnTo>
                  <a:lnTo>
                    <a:pt x="6457337" y="2885645"/>
                  </a:lnTo>
                  <a:lnTo>
                    <a:pt x="6457337" y="2875775"/>
                  </a:lnTo>
                  <a:close/>
                  <a:moveTo>
                    <a:pt x="6222042" y="2871736"/>
                  </a:moveTo>
                  <a:lnTo>
                    <a:pt x="6231952" y="2871736"/>
                  </a:lnTo>
                  <a:lnTo>
                    <a:pt x="6235971" y="2875775"/>
                  </a:lnTo>
                  <a:lnTo>
                    <a:pt x="6235971" y="2885645"/>
                  </a:lnTo>
                  <a:lnTo>
                    <a:pt x="6231952" y="2889684"/>
                  </a:lnTo>
                  <a:lnTo>
                    <a:pt x="6222042" y="2889684"/>
                  </a:lnTo>
                  <a:lnTo>
                    <a:pt x="6218023" y="2885645"/>
                  </a:lnTo>
                  <a:lnTo>
                    <a:pt x="6218023" y="2875775"/>
                  </a:lnTo>
                  <a:close/>
                  <a:moveTo>
                    <a:pt x="5982729" y="2871736"/>
                  </a:moveTo>
                  <a:lnTo>
                    <a:pt x="5992639" y="2871736"/>
                  </a:lnTo>
                  <a:lnTo>
                    <a:pt x="5996658" y="2875775"/>
                  </a:lnTo>
                  <a:lnTo>
                    <a:pt x="5996658" y="2885645"/>
                  </a:lnTo>
                  <a:lnTo>
                    <a:pt x="5992639" y="2889684"/>
                  </a:lnTo>
                  <a:lnTo>
                    <a:pt x="5982729" y="2889684"/>
                  </a:lnTo>
                  <a:lnTo>
                    <a:pt x="5978710" y="2885645"/>
                  </a:lnTo>
                  <a:lnTo>
                    <a:pt x="5978710" y="2875775"/>
                  </a:lnTo>
                  <a:close/>
                  <a:moveTo>
                    <a:pt x="5743412" y="2871736"/>
                  </a:moveTo>
                  <a:lnTo>
                    <a:pt x="5753323" y="2871736"/>
                  </a:lnTo>
                  <a:lnTo>
                    <a:pt x="5757342" y="2875775"/>
                  </a:lnTo>
                  <a:lnTo>
                    <a:pt x="5757342" y="2885645"/>
                  </a:lnTo>
                  <a:lnTo>
                    <a:pt x="5753323" y="2889684"/>
                  </a:lnTo>
                  <a:lnTo>
                    <a:pt x="5743412" y="2889684"/>
                  </a:lnTo>
                  <a:lnTo>
                    <a:pt x="5739393" y="2885645"/>
                  </a:lnTo>
                  <a:lnTo>
                    <a:pt x="5739393" y="2875775"/>
                  </a:lnTo>
                  <a:close/>
                  <a:moveTo>
                    <a:pt x="5504099" y="2871736"/>
                  </a:moveTo>
                  <a:lnTo>
                    <a:pt x="5514010" y="2871736"/>
                  </a:lnTo>
                  <a:lnTo>
                    <a:pt x="5518029" y="2875775"/>
                  </a:lnTo>
                  <a:lnTo>
                    <a:pt x="5518029" y="2885645"/>
                  </a:lnTo>
                  <a:lnTo>
                    <a:pt x="5514010" y="2889684"/>
                  </a:lnTo>
                  <a:lnTo>
                    <a:pt x="5504099" y="2889684"/>
                  </a:lnTo>
                  <a:lnTo>
                    <a:pt x="5500080" y="2885645"/>
                  </a:lnTo>
                  <a:lnTo>
                    <a:pt x="5500080" y="2875775"/>
                  </a:lnTo>
                  <a:close/>
                  <a:moveTo>
                    <a:pt x="5264784" y="2871736"/>
                  </a:moveTo>
                  <a:lnTo>
                    <a:pt x="5274694" y="2871736"/>
                  </a:lnTo>
                  <a:lnTo>
                    <a:pt x="5278713" y="2875775"/>
                  </a:lnTo>
                  <a:lnTo>
                    <a:pt x="5278713" y="2885645"/>
                  </a:lnTo>
                  <a:lnTo>
                    <a:pt x="5274694" y="2889684"/>
                  </a:lnTo>
                  <a:lnTo>
                    <a:pt x="5264784" y="2889684"/>
                  </a:lnTo>
                  <a:lnTo>
                    <a:pt x="5260765" y="2885645"/>
                  </a:lnTo>
                  <a:lnTo>
                    <a:pt x="5260765" y="2875775"/>
                  </a:lnTo>
                  <a:close/>
                  <a:moveTo>
                    <a:pt x="5025470" y="2871736"/>
                  </a:moveTo>
                  <a:lnTo>
                    <a:pt x="5035381" y="2871736"/>
                  </a:lnTo>
                  <a:lnTo>
                    <a:pt x="5039400" y="2875775"/>
                  </a:lnTo>
                  <a:lnTo>
                    <a:pt x="5039400" y="2885645"/>
                  </a:lnTo>
                  <a:lnTo>
                    <a:pt x="5035381" y="2889684"/>
                  </a:lnTo>
                  <a:lnTo>
                    <a:pt x="5025470" y="2889684"/>
                  </a:lnTo>
                  <a:lnTo>
                    <a:pt x="5021451" y="2885645"/>
                  </a:lnTo>
                  <a:lnTo>
                    <a:pt x="5021451" y="2875775"/>
                  </a:lnTo>
                  <a:close/>
                  <a:moveTo>
                    <a:pt x="4786241" y="2871736"/>
                  </a:moveTo>
                  <a:lnTo>
                    <a:pt x="4796152" y="2871736"/>
                  </a:lnTo>
                  <a:lnTo>
                    <a:pt x="4800171" y="2875775"/>
                  </a:lnTo>
                  <a:lnTo>
                    <a:pt x="4800171" y="2885645"/>
                  </a:lnTo>
                  <a:lnTo>
                    <a:pt x="4796152" y="2889684"/>
                  </a:lnTo>
                  <a:lnTo>
                    <a:pt x="4786241" y="2889684"/>
                  </a:lnTo>
                  <a:lnTo>
                    <a:pt x="4782224" y="2885645"/>
                  </a:lnTo>
                  <a:lnTo>
                    <a:pt x="4782224" y="2875775"/>
                  </a:lnTo>
                  <a:close/>
                  <a:moveTo>
                    <a:pt x="4546929" y="2871736"/>
                  </a:moveTo>
                  <a:lnTo>
                    <a:pt x="4556840" y="2871736"/>
                  </a:lnTo>
                  <a:lnTo>
                    <a:pt x="4560859" y="2875775"/>
                  </a:lnTo>
                  <a:lnTo>
                    <a:pt x="4560859" y="2885645"/>
                  </a:lnTo>
                  <a:lnTo>
                    <a:pt x="4556840" y="2889684"/>
                  </a:lnTo>
                  <a:lnTo>
                    <a:pt x="4546929" y="2889684"/>
                  </a:lnTo>
                  <a:lnTo>
                    <a:pt x="4542910" y="2885645"/>
                  </a:lnTo>
                  <a:lnTo>
                    <a:pt x="4542910" y="2875775"/>
                  </a:lnTo>
                  <a:close/>
                  <a:moveTo>
                    <a:pt x="4307612" y="2871736"/>
                  </a:moveTo>
                  <a:lnTo>
                    <a:pt x="4317523" y="2871736"/>
                  </a:lnTo>
                  <a:lnTo>
                    <a:pt x="4321543" y="2875775"/>
                  </a:lnTo>
                  <a:lnTo>
                    <a:pt x="4321543" y="2885645"/>
                  </a:lnTo>
                  <a:lnTo>
                    <a:pt x="4317523" y="2889684"/>
                  </a:lnTo>
                  <a:lnTo>
                    <a:pt x="4307612" y="2889684"/>
                  </a:lnTo>
                  <a:lnTo>
                    <a:pt x="4303595" y="2885645"/>
                  </a:lnTo>
                  <a:lnTo>
                    <a:pt x="4303595" y="2875775"/>
                  </a:lnTo>
                  <a:close/>
                  <a:moveTo>
                    <a:pt x="4068297" y="2871736"/>
                  </a:moveTo>
                  <a:lnTo>
                    <a:pt x="4078210" y="2871736"/>
                  </a:lnTo>
                  <a:lnTo>
                    <a:pt x="4082229" y="2875775"/>
                  </a:lnTo>
                  <a:lnTo>
                    <a:pt x="4082229" y="2885645"/>
                  </a:lnTo>
                  <a:lnTo>
                    <a:pt x="4078210" y="2889684"/>
                  </a:lnTo>
                  <a:lnTo>
                    <a:pt x="4068297" y="2889684"/>
                  </a:lnTo>
                  <a:lnTo>
                    <a:pt x="4064278" y="2885645"/>
                  </a:lnTo>
                  <a:lnTo>
                    <a:pt x="4064278" y="2875775"/>
                  </a:lnTo>
                  <a:close/>
                  <a:moveTo>
                    <a:pt x="3828990" y="2871736"/>
                  </a:moveTo>
                  <a:lnTo>
                    <a:pt x="3838899" y="2871736"/>
                  </a:lnTo>
                  <a:lnTo>
                    <a:pt x="3842917" y="2875775"/>
                  </a:lnTo>
                  <a:lnTo>
                    <a:pt x="3842917" y="2885645"/>
                  </a:lnTo>
                  <a:lnTo>
                    <a:pt x="3838899" y="2889684"/>
                  </a:lnTo>
                  <a:lnTo>
                    <a:pt x="3828990" y="2889684"/>
                  </a:lnTo>
                  <a:lnTo>
                    <a:pt x="3824971" y="2885645"/>
                  </a:lnTo>
                  <a:lnTo>
                    <a:pt x="3824971" y="2875775"/>
                  </a:lnTo>
                  <a:close/>
                  <a:moveTo>
                    <a:pt x="3589676" y="2871736"/>
                  </a:moveTo>
                  <a:lnTo>
                    <a:pt x="3599585" y="2871736"/>
                  </a:lnTo>
                  <a:lnTo>
                    <a:pt x="3603604" y="2875775"/>
                  </a:lnTo>
                  <a:lnTo>
                    <a:pt x="3603604" y="2885645"/>
                  </a:lnTo>
                  <a:lnTo>
                    <a:pt x="3599585" y="2889684"/>
                  </a:lnTo>
                  <a:lnTo>
                    <a:pt x="3589676" y="2889684"/>
                  </a:lnTo>
                  <a:lnTo>
                    <a:pt x="3585657" y="2885645"/>
                  </a:lnTo>
                  <a:lnTo>
                    <a:pt x="3585657" y="2875775"/>
                  </a:lnTo>
                  <a:close/>
                  <a:moveTo>
                    <a:pt x="3350359" y="2871736"/>
                  </a:moveTo>
                  <a:lnTo>
                    <a:pt x="3360268" y="2871736"/>
                  </a:lnTo>
                  <a:lnTo>
                    <a:pt x="3364287" y="2875775"/>
                  </a:lnTo>
                  <a:lnTo>
                    <a:pt x="3364287" y="2885645"/>
                  </a:lnTo>
                  <a:lnTo>
                    <a:pt x="3360268" y="2889684"/>
                  </a:lnTo>
                  <a:lnTo>
                    <a:pt x="3350359" y="2889684"/>
                  </a:lnTo>
                  <a:lnTo>
                    <a:pt x="3346340" y="2885645"/>
                  </a:lnTo>
                  <a:lnTo>
                    <a:pt x="3346340" y="2875775"/>
                  </a:lnTo>
                  <a:close/>
                  <a:moveTo>
                    <a:pt x="3111048" y="2871736"/>
                  </a:moveTo>
                  <a:lnTo>
                    <a:pt x="3120959" y="2871736"/>
                  </a:lnTo>
                  <a:lnTo>
                    <a:pt x="3124977" y="2875775"/>
                  </a:lnTo>
                  <a:lnTo>
                    <a:pt x="3124977" y="2885645"/>
                  </a:lnTo>
                  <a:lnTo>
                    <a:pt x="3120959" y="2889684"/>
                  </a:lnTo>
                  <a:lnTo>
                    <a:pt x="3111048" y="2889684"/>
                  </a:lnTo>
                  <a:lnTo>
                    <a:pt x="3107029" y="2885645"/>
                  </a:lnTo>
                  <a:lnTo>
                    <a:pt x="3107029" y="2875775"/>
                  </a:lnTo>
                  <a:close/>
                  <a:moveTo>
                    <a:pt x="2871737" y="2871736"/>
                  </a:moveTo>
                  <a:lnTo>
                    <a:pt x="2881646" y="2871736"/>
                  </a:lnTo>
                  <a:lnTo>
                    <a:pt x="2885666" y="2875775"/>
                  </a:lnTo>
                  <a:lnTo>
                    <a:pt x="2885666" y="2885645"/>
                  </a:lnTo>
                  <a:lnTo>
                    <a:pt x="2881646" y="2889684"/>
                  </a:lnTo>
                  <a:lnTo>
                    <a:pt x="2871737" y="2889684"/>
                  </a:lnTo>
                  <a:lnTo>
                    <a:pt x="2867717" y="2885645"/>
                  </a:lnTo>
                  <a:lnTo>
                    <a:pt x="2867717" y="2875775"/>
                  </a:lnTo>
                  <a:close/>
                  <a:moveTo>
                    <a:pt x="2632423" y="2871736"/>
                  </a:moveTo>
                  <a:lnTo>
                    <a:pt x="2642334" y="2871736"/>
                  </a:lnTo>
                  <a:lnTo>
                    <a:pt x="2646352" y="2875775"/>
                  </a:lnTo>
                  <a:lnTo>
                    <a:pt x="2646352" y="2885645"/>
                  </a:lnTo>
                  <a:lnTo>
                    <a:pt x="2642334" y="2889684"/>
                  </a:lnTo>
                  <a:lnTo>
                    <a:pt x="2632423" y="2889684"/>
                  </a:lnTo>
                  <a:lnTo>
                    <a:pt x="2628404" y="2885645"/>
                  </a:lnTo>
                  <a:lnTo>
                    <a:pt x="2628404" y="2875775"/>
                  </a:lnTo>
                  <a:close/>
                  <a:moveTo>
                    <a:pt x="2393104" y="2871736"/>
                  </a:moveTo>
                  <a:lnTo>
                    <a:pt x="2403015" y="2871736"/>
                  </a:lnTo>
                  <a:lnTo>
                    <a:pt x="2407034" y="2875775"/>
                  </a:lnTo>
                  <a:lnTo>
                    <a:pt x="2407034" y="2885645"/>
                  </a:lnTo>
                  <a:lnTo>
                    <a:pt x="2403015" y="2889684"/>
                  </a:lnTo>
                  <a:lnTo>
                    <a:pt x="2393104" y="2889684"/>
                  </a:lnTo>
                  <a:lnTo>
                    <a:pt x="2389087" y="2885645"/>
                  </a:lnTo>
                  <a:lnTo>
                    <a:pt x="2389087" y="2875775"/>
                  </a:lnTo>
                  <a:close/>
                  <a:moveTo>
                    <a:pt x="721969" y="2871736"/>
                  </a:moveTo>
                  <a:lnTo>
                    <a:pt x="731879" y="2871736"/>
                  </a:lnTo>
                  <a:lnTo>
                    <a:pt x="735898" y="2875775"/>
                  </a:lnTo>
                  <a:lnTo>
                    <a:pt x="735898" y="2885645"/>
                  </a:lnTo>
                  <a:lnTo>
                    <a:pt x="731879" y="2889684"/>
                  </a:lnTo>
                  <a:lnTo>
                    <a:pt x="721969" y="2889684"/>
                  </a:lnTo>
                  <a:lnTo>
                    <a:pt x="717950" y="2885645"/>
                  </a:lnTo>
                  <a:lnTo>
                    <a:pt x="717950" y="2875775"/>
                  </a:lnTo>
                  <a:close/>
                  <a:moveTo>
                    <a:pt x="482656" y="2871736"/>
                  </a:moveTo>
                  <a:lnTo>
                    <a:pt x="492567" y="2871736"/>
                  </a:lnTo>
                  <a:lnTo>
                    <a:pt x="496586" y="2875775"/>
                  </a:lnTo>
                  <a:lnTo>
                    <a:pt x="496586" y="2885645"/>
                  </a:lnTo>
                  <a:lnTo>
                    <a:pt x="492567" y="2889684"/>
                  </a:lnTo>
                  <a:lnTo>
                    <a:pt x="482656" y="2889684"/>
                  </a:lnTo>
                  <a:lnTo>
                    <a:pt x="478637" y="2885645"/>
                  </a:lnTo>
                  <a:lnTo>
                    <a:pt x="478637" y="2875775"/>
                  </a:lnTo>
                  <a:close/>
                  <a:moveTo>
                    <a:pt x="243343" y="2871736"/>
                  </a:moveTo>
                  <a:lnTo>
                    <a:pt x="253253" y="2871736"/>
                  </a:lnTo>
                  <a:lnTo>
                    <a:pt x="257272" y="2875775"/>
                  </a:lnTo>
                  <a:lnTo>
                    <a:pt x="257272" y="2885645"/>
                  </a:lnTo>
                  <a:lnTo>
                    <a:pt x="253253" y="2889684"/>
                  </a:lnTo>
                  <a:lnTo>
                    <a:pt x="243343" y="2889684"/>
                  </a:lnTo>
                  <a:lnTo>
                    <a:pt x="239324" y="2885645"/>
                  </a:lnTo>
                  <a:lnTo>
                    <a:pt x="239324" y="2875775"/>
                  </a:lnTo>
                  <a:close/>
                  <a:moveTo>
                    <a:pt x="4030" y="2871736"/>
                  </a:moveTo>
                  <a:lnTo>
                    <a:pt x="13940" y="2871736"/>
                  </a:lnTo>
                  <a:lnTo>
                    <a:pt x="17959" y="2875775"/>
                  </a:lnTo>
                  <a:lnTo>
                    <a:pt x="17959" y="2885645"/>
                  </a:lnTo>
                  <a:lnTo>
                    <a:pt x="13940" y="2889684"/>
                  </a:lnTo>
                  <a:lnTo>
                    <a:pt x="4030" y="2889684"/>
                  </a:lnTo>
                  <a:lnTo>
                    <a:pt x="11" y="2885645"/>
                  </a:lnTo>
                  <a:lnTo>
                    <a:pt x="11" y="2875775"/>
                  </a:lnTo>
                  <a:close/>
                  <a:moveTo>
                    <a:pt x="9572438" y="2632457"/>
                  </a:moveTo>
                  <a:lnTo>
                    <a:pt x="9582349" y="2632457"/>
                  </a:lnTo>
                  <a:lnTo>
                    <a:pt x="9586368" y="2636496"/>
                  </a:lnTo>
                  <a:lnTo>
                    <a:pt x="9586368" y="2646366"/>
                  </a:lnTo>
                  <a:lnTo>
                    <a:pt x="9582349" y="2650405"/>
                  </a:lnTo>
                  <a:lnTo>
                    <a:pt x="9572438" y="2650405"/>
                  </a:lnTo>
                  <a:lnTo>
                    <a:pt x="9568419" y="2646366"/>
                  </a:lnTo>
                  <a:lnTo>
                    <a:pt x="9568419" y="2636496"/>
                  </a:lnTo>
                  <a:close/>
                  <a:moveTo>
                    <a:pt x="9333125" y="2632457"/>
                  </a:moveTo>
                  <a:lnTo>
                    <a:pt x="9343036" y="2632457"/>
                  </a:lnTo>
                  <a:lnTo>
                    <a:pt x="9347055" y="2636496"/>
                  </a:lnTo>
                  <a:lnTo>
                    <a:pt x="9347055" y="2646366"/>
                  </a:lnTo>
                  <a:lnTo>
                    <a:pt x="9343036" y="2650405"/>
                  </a:lnTo>
                  <a:lnTo>
                    <a:pt x="9333125" y="2650405"/>
                  </a:lnTo>
                  <a:lnTo>
                    <a:pt x="9329106" y="2646366"/>
                  </a:lnTo>
                  <a:lnTo>
                    <a:pt x="9329106" y="2636496"/>
                  </a:lnTo>
                  <a:close/>
                  <a:moveTo>
                    <a:pt x="9093811" y="2632457"/>
                  </a:moveTo>
                  <a:lnTo>
                    <a:pt x="9103722" y="2632457"/>
                  </a:lnTo>
                  <a:lnTo>
                    <a:pt x="9107741" y="2636496"/>
                  </a:lnTo>
                  <a:lnTo>
                    <a:pt x="9107741" y="2646366"/>
                  </a:lnTo>
                  <a:lnTo>
                    <a:pt x="9103722" y="2650405"/>
                  </a:lnTo>
                  <a:lnTo>
                    <a:pt x="9093811" y="2650405"/>
                  </a:lnTo>
                  <a:lnTo>
                    <a:pt x="9089792" y="2646366"/>
                  </a:lnTo>
                  <a:lnTo>
                    <a:pt x="9089792" y="2636496"/>
                  </a:lnTo>
                  <a:close/>
                  <a:moveTo>
                    <a:pt x="8854496" y="2632457"/>
                  </a:moveTo>
                  <a:lnTo>
                    <a:pt x="8864407" y="2632457"/>
                  </a:lnTo>
                  <a:lnTo>
                    <a:pt x="8868426" y="2636496"/>
                  </a:lnTo>
                  <a:lnTo>
                    <a:pt x="8868426" y="2646366"/>
                  </a:lnTo>
                  <a:lnTo>
                    <a:pt x="8864407" y="2650405"/>
                  </a:lnTo>
                  <a:lnTo>
                    <a:pt x="8854496" y="2650405"/>
                  </a:lnTo>
                  <a:lnTo>
                    <a:pt x="8850477" y="2646366"/>
                  </a:lnTo>
                  <a:lnTo>
                    <a:pt x="8850477" y="2636496"/>
                  </a:lnTo>
                  <a:close/>
                  <a:moveTo>
                    <a:pt x="8615184" y="2632457"/>
                  </a:moveTo>
                  <a:lnTo>
                    <a:pt x="8625095" y="2632457"/>
                  </a:lnTo>
                  <a:lnTo>
                    <a:pt x="8629114" y="2636496"/>
                  </a:lnTo>
                  <a:lnTo>
                    <a:pt x="8629114" y="2646366"/>
                  </a:lnTo>
                  <a:lnTo>
                    <a:pt x="8625095" y="2650405"/>
                  </a:lnTo>
                  <a:lnTo>
                    <a:pt x="8615184" y="2650405"/>
                  </a:lnTo>
                  <a:lnTo>
                    <a:pt x="8611165" y="2646366"/>
                  </a:lnTo>
                  <a:lnTo>
                    <a:pt x="8611165" y="2636496"/>
                  </a:lnTo>
                  <a:close/>
                  <a:moveTo>
                    <a:pt x="8375869" y="2632457"/>
                  </a:moveTo>
                  <a:lnTo>
                    <a:pt x="8385779" y="2632457"/>
                  </a:lnTo>
                  <a:lnTo>
                    <a:pt x="8389799" y="2636496"/>
                  </a:lnTo>
                  <a:lnTo>
                    <a:pt x="8389799" y="2646366"/>
                  </a:lnTo>
                  <a:lnTo>
                    <a:pt x="8385779" y="2650405"/>
                  </a:lnTo>
                  <a:lnTo>
                    <a:pt x="8375869" y="2650405"/>
                  </a:lnTo>
                  <a:lnTo>
                    <a:pt x="8371850" y="2646366"/>
                  </a:lnTo>
                  <a:lnTo>
                    <a:pt x="8371850" y="2636496"/>
                  </a:lnTo>
                  <a:close/>
                  <a:moveTo>
                    <a:pt x="8136553" y="2632457"/>
                  </a:moveTo>
                  <a:lnTo>
                    <a:pt x="8146464" y="2632457"/>
                  </a:lnTo>
                  <a:lnTo>
                    <a:pt x="8150483" y="2636496"/>
                  </a:lnTo>
                  <a:lnTo>
                    <a:pt x="8150483" y="2646366"/>
                  </a:lnTo>
                  <a:lnTo>
                    <a:pt x="8146464" y="2650405"/>
                  </a:lnTo>
                  <a:lnTo>
                    <a:pt x="8136553" y="2650405"/>
                  </a:lnTo>
                  <a:lnTo>
                    <a:pt x="8132534" y="2646366"/>
                  </a:lnTo>
                  <a:lnTo>
                    <a:pt x="8132534" y="2636496"/>
                  </a:lnTo>
                  <a:close/>
                  <a:moveTo>
                    <a:pt x="7897241" y="2632457"/>
                  </a:moveTo>
                  <a:lnTo>
                    <a:pt x="7907151" y="2632457"/>
                  </a:lnTo>
                  <a:lnTo>
                    <a:pt x="7911170" y="2636496"/>
                  </a:lnTo>
                  <a:lnTo>
                    <a:pt x="7911170" y="2646366"/>
                  </a:lnTo>
                  <a:lnTo>
                    <a:pt x="7907151" y="2650405"/>
                  </a:lnTo>
                  <a:lnTo>
                    <a:pt x="7897241" y="2650405"/>
                  </a:lnTo>
                  <a:lnTo>
                    <a:pt x="7893222" y="2646366"/>
                  </a:lnTo>
                  <a:lnTo>
                    <a:pt x="7893222" y="2636496"/>
                  </a:lnTo>
                  <a:close/>
                  <a:moveTo>
                    <a:pt x="7657926" y="2632457"/>
                  </a:moveTo>
                  <a:lnTo>
                    <a:pt x="7667836" y="2632457"/>
                  </a:lnTo>
                  <a:lnTo>
                    <a:pt x="7671855" y="2636496"/>
                  </a:lnTo>
                  <a:lnTo>
                    <a:pt x="7671855" y="2646366"/>
                  </a:lnTo>
                  <a:lnTo>
                    <a:pt x="7667836" y="2650405"/>
                  </a:lnTo>
                  <a:lnTo>
                    <a:pt x="7657926" y="2650405"/>
                  </a:lnTo>
                  <a:lnTo>
                    <a:pt x="7653906" y="2646366"/>
                  </a:lnTo>
                  <a:lnTo>
                    <a:pt x="7653906" y="2636496"/>
                  </a:lnTo>
                  <a:close/>
                  <a:moveTo>
                    <a:pt x="7418611" y="2632457"/>
                  </a:moveTo>
                  <a:lnTo>
                    <a:pt x="7428521" y="2632457"/>
                  </a:lnTo>
                  <a:lnTo>
                    <a:pt x="7432540" y="2636496"/>
                  </a:lnTo>
                  <a:lnTo>
                    <a:pt x="7432540" y="2646366"/>
                  </a:lnTo>
                  <a:lnTo>
                    <a:pt x="7428521" y="2650405"/>
                  </a:lnTo>
                  <a:lnTo>
                    <a:pt x="7418611" y="2650405"/>
                  </a:lnTo>
                  <a:lnTo>
                    <a:pt x="7414592" y="2646366"/>
                  </a:lnTo>
                  <a:lnTo>
                    <a:pt x="7414592" y="2636496"/>
                  </a:lnTo>
                  <a:close/>
                  <a:moveTo>
                    <a:pt x="7179298" y="2632457"/>
                  </a:moveTo>
                  <a:lnTo>
                    <a:pt x="7189209" y="2632457"/>
                  </a:lnTo>
                  <a:lnTo>
                    <a:pt x="7193228" y="2636496"/>
                  </a:lnTo>
                  <a:lnTo>
                    <a:pt x="7193228" y="2646366"/>
                  </a:lnTo>
                  <a:lnTo>
                    <a:pt x="7189209" y="2650405"/>
                  </a:lnTo>
                  <a:lnTo>
                    <a:pt x="7179298" y="2650405"/>
                  </a:lnTo>
                  <a:lnTo>
                    <a:pt x="7175279" y="2646366"/>
                  </a:lnTo>
                  <a:lnTo>
                    <a:pt x="7175279" y="2636496"/>
                  </a:lnTo>
                  <a:close/>
                  <a:moveTo>
                    <a:pt x="6939983" y="2632457"/>
                  </a:moveTo>
                  <a:lnTo>
                    <a:pt x="6949894" y="2632457"/>
                  </a:lnTo>
                  <a:lnTo>
                    <a:pt x="6953913" y="2636496"/>
                  </a:lnTo>
                  <a:lnTo>
                    <a:pt x="6953913" y="2646366"/>
                  </a:lnTo>
                  <a:lnTo>
                    <a:pt x="6949894" y="2650405"/>
                  </a:lnTo>
                  <a:lnTo>
                    <a:pt x="6939983" y="2650405"/>
                  </a:lnTo>
                  <a:lnTo>
                    <a:pt x="6935964" y="2646366"/>
                  </a:lnTo>
                  <a:lnTo>
                    <a:pt x="6935964" y="2636496"/>
                  </a:lnTo>
                  <a:close/>
                  <a:moveTo>
                    <a:pt x="6700670" y="2632457"/>
                  </a:moveTo>
                  <a:lnTo>
                    <a:pt x="6710581" y="2632457"/>
                  </a:lnTo>
                  <a:lnTo>
                    <a:pt x="6714600" y="2636496"/>
                  </a:lnTo>
                  <a:lnTo>
                    <a:pt x="6714600" y="2646366"/>
                  </a:lnTo>
                  <a:lnTo>
                    <a:pt x="6710581" y="2650405"/>
                  </a:lnTo>
                  <a:lnTo>
                    <a:pt x="6700670" y="2650405"/>
                  </a:lnTo>
                  <a:lnTo>
                    <a:pt x="6696651" y="2646366"/>
                  </a:lnTo>
                  <a:lnTo>
                    <a:pt x="6696651" y="2636496"/>
                  </a:lnTo>
                  <a:close/>
                  <a:moveTo>
                    <a:pt x="6461356" y="2632457"/>
                  </a:moveTo>
                  <a:lnTo>
                    <a:pt x="6471266" y="2632457"/>
                  </a:lnTo>
                  <a:lnTo>
                    <a:pt x="6475285" y="2636496"/>
                  </a:lnTo>
                  <a:lnTo>
                    <a:pt x="6475285" y="2646366"/>
                  </a:lnTo>
                  <a:lnTo>
                    <a:pt x="6471266" y="2650405"/>
                  </a:lnTo>
                  <a:lnTo>
                    <a:pt x="6461356" y="2650405"/>
                  </a:lnTo>
                  <a:lnTo>
                    <a:pt x="6457337" y="2646366"/>
                  </a:lnTo>
                  <a:lnTo>
                    <a:pt x="6457337" y="2636496"/>
                  </a:lnTo>
                  <a:close/>
                  <a:moveTo>
                    <a:pt x="6222042" y="2632457"/>
                  </a:moveTo>
                  <a:lnTo>
                    <a:pt x="6231952" y="2632457"/>
                  </a:lnTo>
                  <a:lnTo>
                    <a:pt x="6235971" y="2636496"/>
                  </a:lnTo>
                  <a:lnTo>
                    <a:pt x="6235971" y="2646366"/>
                  </a:lnTo>
                  <a:lnTo>
                    <a:pt x="6231952" y="2650405"/>
                  </a:lnTo>
                  <a:lnTo>
                    <a:pt x="6222042" y="2650405"/>
                  </a:lnTo>
                  <a:lnTo>
                    <a:pt x="6218023" y="2646366"/>
                  </a:lnTo>
                  <a:lnTo>
                    <a:pt x="6218023" y="2636496"/>
                  </a:lnTo>
                  <a:close/>
                  <a:moveTo>
                    <a:pt x="5982729" y="2632457"/>
                  </a:moveTo>
                  <a:lnTo>
                    <a:pt x="5992639" y="2632457"/>
                  </a:lnTo>
                  <a:lnTo>
                    <a:pt x="5996658" y="2636496"/>
                  </a:lnTo>
                  <a:lnTo>
                    <a:pt x="5996658" y="2646366"/>
                  </a:lnTo>
                  <a:lnTo>
                    <a:pt x="5992639" y="2650405"/>
                  </a:lnTo>
                  <a:lnTo>
                    <a:pt x="5982729" y="2650405"/>
                  </a:lnTo>
                  <a:lnTo>
                    <a:pt x="5978710" y="2646366"/>
                  </a:lnTo>
                  <a:lnTo>
                    <a:pt x="5978710" y="2636496"/>
                  </a:lnTo>
                  <a:close/>
                  <a:moveTo>
                    <a:pt x="5743412" y="2632457"/>
                  </a:moveTo>
                  <a:lnTo>
                    <a:pt x="5753323" y="2632457"/>
                  </a:lnTo>
                  <a:lnTo>
                    <a:pt x="5757342" y="2636496"/>
                  </a:lnTo>
                  <a:lnTo>
                    <a:pt x="5757342" y="2646366"/>
                  </a:lnTo>
                  <a:lnTo>
                    <a:pt x="5753323" y="2650405"/>
                  </a:lnTo>
                  <a:lnTo>
                    <a:pt x="5743412" y="2650405"/>
                  </a:lnTo>
                  <a:lnTo>
                    <a:pt x="5739393" y="2646366"/>
                  </a:lnTo>
                  <a:lnTo>
                    <a:pt x="5739393" y="2636496"/>
                  </a:lnTo>
                  <a:close/>
                  <a:moveTo>
                    <a:pt x="5504099" y="2632457"/>
                  </a:moveTo>
                  <a:lnTo>
                    <a:pt x="5514010" y="2632457"/>
                  </a:lnTo>
                  <a:lnTo>
                    <a:pt x="5518029" y="2636496"/>
                  </a:lnTo>
                  <a:lnTo>
                    <a:pt x="5518029" y="2646366"/>
                  </a:lnTo>
                  <a:lnTo>
                    <a:pt x="5514010" y="2650405"/>
                  </a:lnTo>
                  <a:lnTo>
                    <a:pt x="5504099" y="2650405"/>
                  </a:lnTo>
                  <a:lnTo>
                    <a:pt x="5500080" y="2646366"/>
                  </a:lnTo>
                  <a:lnTo>
                    <a:pt x="5500080" y="2636496"/>
                  </a:lnTo>
                  <a:close/>
                  <a:moveTo>
                    <a:pt x="5264784" y="2632457"/>
                  </a:moveTo>
                  <a:lnTo>
                    <a:pt x="5274694" y="2632457"/>
                  </a:lnTo>
                  <a:lnTo>
                    <a:pt x="5278713" y="2636496"/>
                  </a:lnTo>
                  <a:lnTo>
                    <a:pt x="5278713" y="2646366"/>
                  </a:lnTo>
                  <a:lnTo>
                    <a:pt x="5274694" y="2650405"/>
                  </a:lnTo>
                  <a:lnTo>
                    <a:pt x="5264784" y="2650405"/>
                  </a:lnTo>
                  <a:lnTo>
                    <a:pt x="5260765" y="2646366"/>
                  </a:lnTo>
                  <a:lnTo>
                    <a:pt x="5260765" y="2636496"/>
                  </a:lnTo>
                  <a:close/>
                  <a:moveTo>
                    <a:pt x="5025470" y="2632457"/>
                  </a:moveTo>
                  <a:lnTo>
                    <a:pt x="5035381" y="2632457"/>
                  </a:lnTo>
                  <a:lnTo>
                    <a:pt x="5039400" y="2636496"/>
                  </a:lnTo>
                  <a:lnTo>
                    <a:pt x="5039400" y="2646366"/>
                  </a:lnTo>
                  <a:lnTo>
                    <a:pt x="5035381" y="2650405"/>
                  </a:lnTo>
                  <a:lnTo>
                    <a:pt x="5025470" y="2650405"/>
                  </a:lnTo>
                  <a:lnTo>
                    <a:pt x="5021451" y="2646366"/>
                  </a:lnTo>
                  <a:lnTo>
                    <a:pt x="5021451" y="2636496"/>
                  </a:lnTo>
                  <a:close/>
                  <a:moveTo>
                    <a:pt x="4786241" y="2632457"/>
                  </a:moveTo>
                  <a:lnTo>
                    <a:pt x="4796152" y="2632457"/>
                  </a:lnTo>
                  <a:lnTo>
                    <a:pt x="4800171" y="2636496"/>
                  </a:lnTo>
                  <a:lnTo>
                    <a:pt x="4800171" y="2646366"/>
                  </a:lnTo>
                  <a:lnTo>
                    <a:pt x="4796152" y="2650405"/>
                  </a:lnTo>
                  <a:lnTo>
                    <a:pt x="4786241" y="2650405"/>
                  </a:lnTo>
                  <a:lnTo>
                    <a:pt x="4782224" y="2646366"/>
                  </a:lnTo>
                  <a:lnTo>
                    <a:pt x="4782224" y="2636496"/>
                  </a:lnTo>
                  <a:close/>
                  <a:moveTo>
                    <a:pt x="4546929" y="2632457"/>
                  </a:moveTo>
                  <a:lnTo>
                    <a:pt x="4556840" y="2632457"/>
                  </a:lnTo>
                  <a:lnTo>
                    <a:pt x="4560859" y="2636496"/>
                  </a:lnTo>
                  <a:lnTo>
                    <a:pt x="4560859" y="2646366"/>
                  </a:lnTo>
                  <a:lnTo>
                    <a:pt x="4556840" y="2650405"/>
                  </a:lnTo>
                  <a:lnTo>
                    <a:pt x="4546929" y="2650405"/>
                  </a:lnTo>
                  <a:lnTo>
                    <a:pt x="4542910" y="2646366"/>
                  </a:lnTo>
                  <a:lnTo>
                    <a:pt x="4542910" y="2636496"/>
                  </a:lnTo>
                  <a:close/>
                  <a:moveTo>
                    <a:pt x="4307612" y="2632457"/>
                  </a:moveTo>
                  <a:lnTo>
                    <a:pt x="4317523" y="2632457"/>
                  </a:lnTo>
                  <a:lnTo>
                    <a:pt x="4321543" y="2636496"/>
                  </a:lnTo>
                  <a:lnTo>
                    <a:pt x="4321543" y="2646366"/>
                  </a:lnTo>
                  <a:lnTo>
                    <a:pt x="4317523" y="2650405"/>
                  </a:lnTo>
                  <a:lnTo>
                    <a:pt x="4307612" y="2650405"/>
                  </a:lnTo>
                  <a:lnTo>
                    <a:pt x="4303595" y="2646366"/>
                  </a:lnTo>
                  <a:lnTo>
                    <a:pt x="4303595" y="2636496"/>
                  </a:lnTo>
                  <a:close/>
                  <a:moveTo>
                    <a:pt x="4068297" y="2632457"/>
                  </a:moveTo>
                  <a:lnTo>
                    <a:pt x="4078210" y="2632457"/>
                  </a:lnTo>
                  <a:lnTo>
                    <a:pt x="4082229" y="2636496"/>
                  </a:lnTo>
                  <a:lnTo>
                    <a:pt x="4082229" y="2646366"/>
                  </a:lnTo>
                  <a:lnTo>
                    <a:pt x="4078210" y="2650405"/>
                  </a:lnTo>
                  <a:lnTo>
                    <a:pt x="4068297" y="2650405"/>
                  </a:lnTo>
                  <a:lnTo>
                    <a:pt x="4064278" y="2646366"/>
                  </a:lnTo>
                  <a:lnTo>
                    <a:pt x="4064278" y="2636496"/>
                  </a:lnTo>
                  <a:close/>
                  <a:moveTo>
                    <a:pt x="3828990" y="2632457"/>
                  </a:moveTo>
                  <a:lnTo>
                    <a:pt x="3838899" y="2632457"/>
                  </a:lnTo>
                  <a:lnTo>
                    <a:pt x="3842917" y="2636496"/>
                  </a:lnTo>
                  <a:lnTo>
                    <a:pt x="3842917" y="2646366"/>
                  </a:lnTo>
                  <a:lnTo>
                    <a:pt x="3838899" y="2650405"/>
                  </a:lnTo>
                  <a:lnTo>
                    <a:pt x="3828990" y="2650405"/>
                  </a:lnTo>
                  <a:lnTo>
                    <a:pt x="3824971" y="2646366"/>
                  </a:lnTo>
                  <a:lnTo>
                    <a:pt x="3824971" y="2636496"/>
                  </a:lnTo>
                  <a:close/>
                  <a:moveTo>
                    <a:pt x="3589676" y="2632457"/>
                  </a:moveTo>
                  <a:lnTo>
                    <a:pt x="3599585" y="2632457"/>
                  </a:lnTo>
                  <a:lnTo>
                    <a:pt x="3603604" y="2636496"/>
                  </a:lnTo>
                  <a:lnTo>
                    <a:pt x="3603604" y="2646366"/>
                  </a:lnTo>
                  <a:lnTo>
                    <a:pt x="3599585" y="2650405"/>
                  </a:lnTo>
                  <a:lnTo>
                    <a:pt x="3589676" y="2650405"/>
                  </a:lnTo>
                  <a:lnTo>
                    <a:pt x="3585657" y="2646366"/>
                  </a:lnTo>
                  <a:lnTo>
                    <a:pt x="3585657" y="2636496"/>
                  </a:lnTo>
                  <a:close/>
                  <a:moveTo>
                    <a:pt x="3350359" y="2632457"/>
                  </a:moveTo>
                  <a:lnTo>
                    <a:pt x="3360268" y="2632457"/>
                  </a:lnTo>
                  <a:lnTo>
                    <a:pt x="3364287" y="2636496"/>
                  </a:lnTo>
                  <a:lnTo>
                    <a:pt x="3364287" y="2646366"/>
                  </a:lnTo>
                  <a:lnTo>
                    <a:pt x="3360268" y="2650405"/>
                  </a:lnTo>
                  <a:lnTo>
                    <a:pt x="3350359" y="2650405"/>
                  </a:lnTo>
                  <a:lnTo>
                    <a:pt x="3346340" y="2646366"/>
                  </a:lnTo>
                  <a:lnTo>
                    <a:pt x="3346340" y="2636496"/>
                  </a:lnTo>
                  <a:close/>
                  <a:moveTo>
                    <a:pt x="3111048" y="2632457"/>
                  </a:moveTo>
                  <a:lnTo>
                    <a:pt x="3120959" y="2632457"/>
                  </a:lnTo>
                  <a:lnTo>
                    <a:pt x="3124977" y="2636496"/>
                  </a:lnTo>
                  <a:lnTo>
                    <a:pt x="3124977" y="2646366"/>
                  </a:lnTo>
                  <a:lnTo>
                    <a:pt x="3120959" y="2650405"/>
                  </a:lnTo>
                  <a:lnTo>
                    <a:pt x="3111048" y="2650405"/>
                  </a:lnTo>
                  <a:lnTo>
                    <a:pt x="3107029" y="2646366"/>
                  </a:lnTo>
                  <a:lnTo>
                    <a:pt x="3107029" y="2636496"/>
                  </a:lnTo>
                  <a:close/>
                  <a:moveTo>
                    <a:pt x="2871737" y="2632457"/>
                  </a:moveTo>
                  <a:lnTo>
                    <a:pt x="2881646" y="2632457"/>
                  </a:lnTo>
                  <a:lnTo>
                    <a:pt x="2885666" y="2636496"/>
                  </a:lnTo>
                  <a:lnTo>
                    <a:pt x="2885666" y="2646366"/>
                  </a:lnTo>
                  <a:lnTo>
                    <a:pt x="2881646" y="2650405"/>
                  </a:lnTo>
                  <a:lnTo>
                    <a:pt x="2871737" y="2650405"/>
                  </a:lnTo>
                  <a:lnTo>
                    <a:pt x="2867717" y="2646366"/>
                  </a:lnTo>
                  <a:lnTo>
                    <a:pt x="2867717" y="2636496"/>
                  </a:lnTo>
                  <a:close/>
                  <a:moveTo>
                    <a:pt x="2632423" y="2632457"/>
                  </a:moveTo>
                  <a:lnTo>
                    <a:pt x="2642334" y="2632457"/>
                  </a:lnTo>
                  <a:lnTo>
                    <a:pt x="2646352" y="2636496"/>
                  </a:lnTo>
                  <a:lnTo>
                    <a:pt x="2646352" y="2646366"/>
                  </a:lnTo>
                  <a:lnTo>
                    <a:pt x="2642334" y="2650405"/>
                  </a:lnTo>
                  <a:lnTo>
                    <a:pt x="2632423" y="2650405"/>
                  </a:lnTo>
                  <a:lnTo>
                    <a:pt x="2628404" y="2646366"/>
                  </a:lnTo>
                  <a:lnTo>
                    <a:pt x="2628404" y="2636496"/>
                  </a:lnTo>
                  <a:close/>
                  <a:moveTo>
                    <a:pt x="2393104" y="2632457"/>
                  </a:moveTo>
                  <a:lnTo>
                    <a:pt x="2403015" y="2632457"/>
                  </a:lnTo>
                  <a:lnTo>
                    <a:pt x="2407034" y="2636496"/>
                  </a:lnTo>
                  <a:lnTo>
                    <a:pt x="2407034" y="2646366"/>
                  </a:lnTo>
                  <a:lnTo>
                    <a:pt x="2403015" y="2650405"/>
                  </a:lnTo>
                  <a:lnTo>
                    <a:pt x="2393104" y="2650405"/>
                  </a:lnTo>
                  <a:lnTo>
                    <a:pt x="2389087" y="2646366"/>
                  </a:lnTo>
                  <a:lnTo>
                    <a:pt x="2389087" y="2636496"/>
                  </a:lnTo>
                  <a:close/>
                  <a:moveTo>
                    <a:pt x="2157821" y="2632457"/>
                  </a:moveTo>
                  <a:lnTo>
                    <a:pt x="2167732" y="2632457"/>
                  </a:lnTo>
                  <a:lnTo>
                    <a:pt x="2171750" y="2636496"/>
                  </a:lnTo>
                  <a:lnTo>
                    <a:pt x="2171750" y="2646366"/>
                  </a:lnTo>
                  <a:lnTo>
                    <a:pt x="2167732" y="2650405"/>
                  </a:lnTo>
                  <a:lnTo>
                    <a:pt x="2157821" y="2650405"/>
                  </a:lnTo>
                  <a:lnTo>
                    <a:pt x="2153802" y="2646366"/>
                  </a:lnTo>
                  <a:lnTo>
                    <a:pt x="2153802" y="2636496"/>
                  </a:lnTo>
                  <a:close/>
                  <a:moveTo>
                    <a:pt x="1918513" y="2632457"/>
                  </a:moveTo>
                  <a:lnTo>
                    <a:pt x="1928422" y="2632457"/>
                  </a:lnTo>
                  <a:lnTo>
                    <a:pt x="1932441" y="2636496"/>
                  </a:lnTo>
                  <a:lnTo>
                    <a:pt x="1932441" y="2646366"/>
                  </a:lnTo>
                  <a:lnTo>
                    <a:pt x="1928422" y="2650405"/>
                  </a:lnTo>
                  <a:lnTo>
                    <a:pt x="1918513" y="2650405"/>
                  </a:lnTo>
                  <a:lnTo>
                    <a:pt x="1914494" y="2646366"/>
                  </a:lnTo>
                  <a:lnTo>
                    <a:pt x="1914494" y="2636496"/>
                  </a:lnTo>
                  <a:close/>
                  <a:moveTo>
                    <a:pt x="1679212" y="2632457"/>
                  </a:moveTo>
                  <a:lnTo>
                    <a:pt x="1689122" y="2632457"/>
                  </a:lnTo>
                  <a:lnTo>
                    <a:pt x="1693141" y="2636496"/>
                  </a:lnTo>
                  <a:lnTo>
                    <a:pt x="1693141" y="2646366"/>
                  </a:lnTo>
                  <a:lnTo>
                    <a:pt x="1689122" y="2650405"/>
                  </a:lnTo>
                  <a:lnTo>
                    <a:pt x="1679212" y="2650405"/>
                  </a:lnTo>
                  <a:lnTo>
                    <a:pt x="1675193" y="2646366"/>
                  </a:lnTo>
                  <a:lnTo>
                    <a:pt x="1675193" y="2636496"/>
                  </a:lnTo>
                  <a:close/>
                  <a:moveTo>
                    <a:pt x="1439896" y="2632457"/>
                  </a:moveTo>
                  <a:lnTo>
                    <a:pt x="1449806" y="2632457"/>
                  </a:lnTo>
                  <a:lnTo>
                    <a:pt x="1453824" y="2636496"/>
                  </a:lnTo>
                  <a:lnTo>
                    <a:pt x="1453824" y="2646366"/>
                  </a:lnTo>
                  <a:lnTo>
                    <a:pt x="1449806" y="2650405"/>
                  </a:lnTo>
                  <a:lnTo>
                    <a:pt x="1439896" y="2650405"/>
                  </a:lnTo>
                  <a:lnTo>
                    <a:pt x="1435876" y="2646366"/>
                  </a:lnTo>
                  <a:lnTo>
                    <a:pt x="1435876" y="2636496"/>
                  </a:lnTo>
                  <a:close/>
                  <a:moveTo>
                    <a:pt x="1200580" y="2632457"/>
                  </a:moveTo>
                  <a:lnTo>
                    <a:pt x="1210490" y="2632457"/>
                  </a:lnTo>
                  <a:lnTo>
                    <a:pt x="1214509" y="2636496"/>
                  </a:lnTo>
                  <a:lnTo>
                    <a:pt x="1214509" y="2646366"/>
                  </a:lnTo>
                  <a:lnTo>
                    <a:pt x="1210490" y="2650405"/>
                  </a:lnTo>
                  <a:lnTo>
                    <a:pt x="1200580" y="2650405"/>
                  </a:lnTo>
                  <a:lnTo>
                    <a:pt x="1196561" y="2646366"/>
                  </a:lnTo>
                  <a:lnTo>
                    <a:pt x="1196561" y="2636496"/>
                  </a:lnTo>
                  <a:close/>
                  <a:moveTo>
                    <a:pt x="961267" y="2632457"/>
                  </a:moveTo>
                  <a:lnTo>
                    <a:pt x="971178" y="2632457"/>
                  </a:lnTo>
                  <a:lnTo>
                    <a:pt x="975196" y="2636496"/>
                  </a:lnTo>
                  <a:lnTo>
                    <a:pt x="975196" y="2646366"/>
                  </a:lnTo>
                  <a:lnTo>
                    <a:pt x="971178" y="2650405"/>
                  </a:lnTo>
                  <a:lnTo>
                    <a:pt x="961267" y="2650405"/>
                  </a:lnTo>
                  <a:lnTo>
                    <a:pt x="957249" y="2646366"/>
                  </a:lnTo>
                  <a:lnTo>
                    <a:pt x="957249" y="2636496"/>
                  </a:lnTo>
                  <a:close/>
                  <a:moveTo>
                    <a:pt x="721970" y="2632457"/>
                  </a:moveTo>
                  <a:lnTo>
                    <a:pt x="731879" y="2632457"/>
                  </a:lnTo>
                  <a:lnTo>
                    <a:pt x="735898" y="2636496"/>
                  </a:lnTo>
                  <a:lnTo>
                    <a:pt x="735898" y="2646366"/>
                  </a:lnTo>
                  <a:lnTo>
                    <a:pt x="731879" y="2650405"/>
                  </a:lnTo>
                  <a:lnTo>
                    <a:pt x="721970" y="2650405"/>
                  </a:lnTo>
                  <a:lnTo>
                    <a:pt x="717951" y="2646366"/>
                  </a:lnTo>
                  <a:lnTo>
                    <a:pt x="717951" y="2636496"/>
                  </a:lnTo>
                  <a:close/>
                  <a:moveTo>
                    <a:pt x="482657" y="2632457"/>
                  </a:moveTo>
                  <a:lnTo>
                    <a:pt x="492567" y="2632457"/>
                  </a:lnTo>
                  <a:lnTo>
                    <a:pt x="496586" y="2636496"/>
                  </a:lnTo>
                  <a:lnTo>
                    <a:pt x="496586" y="2646366"/>
                  </a:lnTo>
                  <a:lnTo>
                    <a:pt x="492567" y="2650405"/>
                  </a:lnTo>
                  <a:lnTo>
                    <a:pt x="482657" y="2650405"/>
                  </a:lnTo>
                  <a:lnTo>
                    <a:pt x="478638" y="2646366"/>
                  </a:lnTo>
                  <a:lnTo>
                    <a:pt x="478638" y="2636496"/>
                  </a:lnTo>
                  <a:close/>
                  <a:moveTo>
                    <a:pt x="243344" y="2632457"/>
                  </a:moveTo>
                  <a:lnTo>
                    <a:pt x="253254" y="2632457"/>
                  </a:lnTo>
                  <a:lnTo>
                    <a:pt x="257273" y="2636496"/>
                  </a:lnTo>
                  <a:lnTo>
                    <a:pt x="257273" y="2646366"/>
                  </a:lnTo>
                  <a:lnTo>
                    <a:pt x="253254" y="2650405"/>
                  </a:lnTo>
                  <a:lnTo>
                    <a:pt x="243344" y="2650405"/>
                  </a:lnTo>
                  <a:lnTo>
                    <a:pt x="239325" y="2646366"/>
                  </a:lnTo>
                  <a:lnTo>
                    <a:pt x="239325" y="2636496"/>
                  </a:lnTo>
                  <a:close/>
                  <a:moveTo>
                    <a:pt x="4030" y="2632457"/>
                  </a:moveTo>
                  <a:lnTo>
                    <a:pt x="13941" y="2632457"/>
                  </a:lnTo>
                  <a:lnTo>
                    <a:pt x="17960" y="2636496"/>
                  </a:lnTo>
                  <a:lnTo>
                    <a:pt x="17960" y="2646366"/>
                  </a:lnTo>
                  <a:lnTo>
                    <a:pt x="13941" y="2650405"/>
                  </a:lnTo>
                  <a:lnTo>
                    <a:pt x="4030" y="2650405"/>
                  </a:lnTo>
                  <a:lnTo>
                    <a:pt x="11" y="2646366"/>
                  </a:lnTo>
                  <a:lnTo>
                    <a:pt x="11" y="2636496"/>
                  </a:lnTo>
                  <a:close/>
                  <a:moveTo>
                    <a:pt x="2157821" y="2393178"/>
                  </a:moveTo>
                  <a:lnTo>
                    <a:pt x="2167732" y="2393178"/>
                  </a:lnTo>
                  <a:lnTo>
                    <a:pt x="2171750" y="2397216"/>
                  </a:lnTo>
                  <a:lnTo>
                    <a:pt x="2171750" y="2407087"/>
                  </a:lnTo>
                  <a:lnTo>
                    <a:pt x="2167732" y="2411126"/>
                  </a:lnTo>
                  <a:lnTo>
                    <a:pt x="2157821" y="2411126"/>
                  </a:lnTo>
                  <a:lnTo>
                    <a:pt x="2153802" y="2407087"/>
                  </a:lnTo>
                  <a:lnTo>
                    <a:pt x="2153802" y="2397216"/>
                  </a:lnTo>
                  <a:close/>
                  <a:moveTo>
                    <a:pt x="1918513" y="2393178"/>
                  </a:moveTo>
                  <a:lnTo>
                    <a:pt x="1928422" y="2393178"/>
                  </a:lnTo>
                  <a:lnTo>
                    <a:pt x="1932443" y="2397216"/>
                  </a:lnTo>
                  <a:lnTo>
                    <a:pt x="1932443" y="2407087"/>
                  </a:lnTo>
                  <a:lnTo>
                    <a:pt x="1928422" y="2411126"/>
                  </a:lnTo>
                  <a:lnTo>
                    <a:pt x="1918513" y="2411126"/>
                  </a:lnTo>
                  <a:lnTo>
                    <a:pt x="1914494" y="2407087"/>
                  </a:lnTo>
                  <a:lnTo>
                    <a:pt x="1914494" y="2397216"/>
                  </a:lnTo>
                  <a:close/>
                  <a:moveTo>
                    <a:pt x="1679212" y="2393178"/>
                  </a:moveTo>
                  <a:lnTo>
                    <a:pt x="1689123" y="2393178"/>
                  </a:lnTo>
                  <a:lnTo>
                    <a:pt x="1693142" y="2397216"/>
                  </a:lnTo>
                  <a:lnTo>
                    <a:pt x="1693142" y="2407087"/>
                  </a:lnTo>
                  <a:lnTo>
                    <a:pt x="1689123" y="2411126"/>
                  </a:lnTo>
                  <a:lnTo>
                    <a:pt x="1679212" y="2411126"/>
                  </a:lnTo>
                  <a:lnTo>
                    <a:pt x="1675194" y="2407087"/>
                  </a:lnTo>
                  <a:lnTo>
                    <a:pt x="1675194" y="2397216"/>
                  </a:lnTo>
                  <a:close/>
                  <a:moveTo>
                    <a:pt x="1439896" y="2393178"/>
                  </a:moveTo>
                  <a:lnTo>
                    <a:pt x="1449806" y="2393178"/>
                  </a:lnTo>
                  <a:lnTo>
                    <a:pt x="1453826" y="2397216"/>
                  </a:lnTo>
                  <a:lnTo>
                    <a:pt x="1453826" y="2407087"/>
                  </a:lnTo>
                  <a:lnTo>
                    <a:pt x="1449806" y="2411126"/>
                  </a:lnTo>
                  <a:lnTo>
                    <a:pt x="1439896" y="2411126"/>
                  </a:lnTo>
                  <a:lnTo>
                    <a:pt x="1435878" y="2407087"/>
                  </a:lnTo>
                  <a:lnTo>
                    <a:pt x="1435878" y="2397216"/>
                  </a:lnTo>
                  <a:close/>
                  <a:moveTo>
                    <a:pt x="1200580" y="2393178"/>
                  </a:moveTo>
                  <a:lnTo>
                    <a:pt x="1210491" y="2393178"/>
                  </a:lnTo>
                  <a:lnTo>
                    <a:pt x="1214510" y="2397216"/>
                  </a:lnTo>
                  <a:lnTo>
                    <a:pt x="1214510" y="2407087"/>
                  </a:lnTo>
                  <a:lnTo>
                    <a:pt x="1210491" y="2411126"/>
                  </a:lnTo>
                  <a:lnTo>
                    <a:pt x="1200580" y="2411126"/>
                  </a:lnTo>
                  <a:lnTo>
                    <a:pt x="1196562" y="2407087"/>
                  </a:lnTo>
                  <a:lnTo>
                    <a:pt x="1196562" y="2397216"/>
                  </a:lnTo>
                  <a:close/>
                  <a:moveTo>
                    <a:pt x="961268" y="2393178"/>
                  </a:moveTo>
                  <a:lnTo>
                    <a:pt x="971178" y="2393178"/>
                  </a:lnTo>
                  <a:lnTo>
                    <a:pt x="975196" y="2397216"/>
                  </a:lnTo>
                  <a:lnTo>
                    <a:pt x="975196" y="2407087"/>
                  </a:lnTo>
                  <a:lnTo>
                    <a:pt x="971178" y="2411126"/>
                  </a:lnTo>
                  <a:lnTo>
                    <a:pt x="961268" y="2411126"/>
                  </a:lnTo>
                  <a:lnTo>
                    <a:pt x="957249" y="2407087"/>
                  </a:lnTo>
                  <a:lnTo>
                    <a:pt x="957249" y="2397216"/>
                  </a:lnTo>
                  <a:close/>
                  <a:moveTo>
                    <a:pt x="9572438" y="2393127"/>
                  </a:moveTo>
                  <a:lnTo>
                    <a:pt x="9582349" y="2393127"/>
                  </a:lnTo>
                  <a:lnTo>
                    <a:pt x="9586368" y="2397165"/>
                  </a:lnTo>
                  <a:lnTo>
                    <a:pt x="9586368" y="2407036"/>
                  </a:lnTo>
                  <a:lnTo>
                    <a:pt x="9582349" y="2411074"/>
                  </a:lnTo>
                  <a:lnTo>
                    <a:pt x="9572438" y="2411074"/>
                  </a:lnTo>
                  <a:lnTo>
                    <a:pt x="9568419" y="2407036"/>
                  </a:lnTo>
                  <a:lnTo>
                    <a:pt x="9568419" y="2397165"/>
                  </a:lnTo>
                  <a:close/>
                  <a:moveTo>
                    <a:pt x="9333125" y="2393127"/>
                  </a:moveTo>
                  <a:lnTo>
                    <a:pt x="9343036" y="2393127"/>
                  </a:lnTo>
                  <a:lnTo>
                    <a:pt x="9347055" y="2397165"/>
                  </a:lnTo>
                  <a:lnTo>
                    <a:pt x="9347055" y="2407036"/>
                  </a:lnTo>
                  <a:lnTo>
                    <a:pt x="9343036" y="2411074"/>
                  </a:lnTo>
                  <a:lnTo>
                    <a:pt x="9333125" y="2411074"/>
                  </a:lnTo>
                  <a:lnTo>
                    <a:pt x="9329106" y="2407036"/>
                  </a:lnTo>
                  <a:lnTo>
                    <a:pt x="9329106" y="2397165"/>
                  </a:lnTo>
                  <a:close/>
                  <a:moveTo>
                    <a:pt x="9093811" y="2393127"/>
                  </a:moveTo>
                  <a:lnTo>
                    <a:pt x="9103722" y="2393127"/>
                  </a:lnTo>
                  <a:lnTo>
                    <a:pt x="9107741" y="2397165"/>
                  </a:lnTo>
                  <a:lnTo>
                    <a:pt x="9107741" y="2407036"/>
                  </a:lnTo>
                  <a:lnTo>
                    <a:pt x="9103722" y="2411074"/>
                  </a:lnTo>
                  <a:lnTo>
                    <a:pt x="9093811" y="2411074"/>
                  </a:lnTo>
                  <a:lnTo>
                    <a:pt x="9089792" y="2407036"/>
                  </a:lnTo>
                  <a:lnTo>
                    <a:pt x="9089792" y="2397165"/>
                  </a:lnTo>
                  <a:close/>
                  <a:moveTo>
                    <a:pt x="8854496" y="2393127"/>
                  </a:moveTo>
                  <a:lnTo>
                    <a:pt x="8864407" y="2393127"/>
                  </a:lnTo>
                  <a:lnTo>
                    <a:pt x="8868426" y="2397165"/>
                  </a:lnTo>
                  <a:lnTo>
                    <a:pt x="8868426" y="2407036"/>
                  </a:lnTo>
                  <a:lnTo>
                    <a:pt x="8864407" y="2411074"/>
                  </a:lnTo>
                  <a:lnTo>
                    <a:pt x="8854496" y="2411074"/>
                  </a:lnTo>
                  <a:lnTo>
                    <a:pt x="8850477" y="2407036"/>
                  </a:lnTo>
                  <a:lnTo>
                    <a:pt x="8850477" y="2397165"/>
                  </a:lnTo>
                  <a:close/>
                  <a:moveTo>
                    <a:pt x="8615184" y="2393127"/>
                  </a:moveTo>
                  <a:lnTo>
                    <a:pt x="8625095" y="2393127"/>
                  </a:lnTo>
                  <a:lnTo>
                    <a:pt x="8629114" y="2397165"/>
                  </a:lnTo>
                  <a:lnTo>
                    <a:pt x="8629114" y="2407036"/>
                  </a:lnTo>
                  <a:lnTo>
                    <a:pt x="8625095" y="2411074"/>
                  </a:lnTo>
                  <a:lnTo>
                    <a:pt x="8615184" y="2411074"/>
                  </a:lnTo>
                  <a:lnTo>
                    <a:pt x="8611165" y="2407036"/>
                  </a:lnTo>
                  <a:lnTo>
                    <a:pt x="8611165" y="2397165"/>
                  </a:lnTo>
                  <a:close/>
                  <a:moveTo>
                    <a:pt x="8375869" y="2393127"/>
                  </a:moveTo>
                  <a:lnTo>
                    <a:pt x="8385779" y="2393127"/>
                  </a:lnTo>
                  <a:lnTo>
                    <a:pt x="8389799" y="2397165"/>
                  </a:lnTo>
                  <a:lnTo>
                    <a:pt x="8389799" y="2407036"/>
                  </a:lnTo>
                  <a:lnTo>
                    <a:pt x="8385779" y="2411074"/>
                  </a:lnTo>
                  <a:lnTo>
                    <a:pt x="8375869" y="2411074"/>
                  </a:lnTo>
                  <a:lnTo>
                    <a:pt x="8371850" y="2407036"/>
                  </a:lnTo>
                  <a:lnTo>
                    <a:pt x="8371850" y="2397165"/>
                  </a:lnTo>
                  <a:close/>
                  <a:moveTo>
                    <a:pt x="8136553" y="2393127"/>
                  </a:moveTo>
                  <a:lnTo>
                    <a:pt x="8146464" y="2393127"/>
                  </a:lnTo>
                  <a:lnTo>
                    <a:pt x="8150483" y="2397165"/>
                  </a:lnTo>
                  <a:lnTo>
                    <a:pt x="8150483" y="2407036"/>
                  </a:lnTo>
                  <a:lnTo>
                    <a:pt x="8146464" y="2411074"/>
                  </a:lnTo>
                  <a:lnTo>
                    <a:pt x="8136553" y="2411074"/>
                  </a:lnTo>
                  <a:lnTo>
                    <a:pt x="8132534" y="2407036"/>
                  </a:lnTo>
                  <a:lnTo>
                    <a:pt x="8132534" y="2397165"/>
                  </a:lnTo>
                  <a:close/>
                  <a:moveTo>
                    <a:pt x="7897241" y="2393127"/>
                  </a:moveTo>
                  <a:lnTo>
                    <a:pt x="7907151" y="2393127"/>
                  </a:lnTo>
                  <a:lnTo>
                    <a:pt x="7911170" y="2397165"/>
                  </a:lnTo>
                  <a:lnTo>
                    <a:pt x="7911170" y="2407036"/>
                  </a:lnTo>
                  <a:lnTo>
                    <a:pt x="7907151" y="2411074"/>
                  </a:lnTo>
                  <a:lnTo>
                    <a:pt x="7897241" y="2411074"/>
                  </a:lnTo>
                  <a:lnTo>
                    <a:pt x="7893222" y="2407036"/>
                  </a:lnTo>
                  <a:lnTo>
                    <a:pt x="7893222" y="2397165"/>
                  </a:lnTo>
                  <a:close/>
                  <a:moveTo>
                    <a:pt x="7657926" y="2393127"/>
                  </a:moveTo>
                  <a:lnTo>
                    <a:pt x="7667836" y="2393127"/>
                  </a:lnTo>
                  <a:lnTo>
                    <a:pt x="7671855" y="2397165"/>
                  </a:lnTo>
                  <a:lnTo>
                    <a:pt x="7671855" y="2407036"/>
                  </a:lnTo>
                  <a:lnTo>
                    <a:pt x="7667836" y="2411074"/>
                  </a:lnTo>
                  <a:lnTo>
                    <a:pt x="7657926" y="2411074"/>
                  </a:lnTo>
                  <a:lnTo>
                    <a:pt x="7653906" y="2407036"/>
                  </a:lnTo>
                  <a:lnTo>
                    <a:pt x="7653906" y="2397165"/>
                  </a:lnTo>
                  <a:close/>
                  <a:moveTo>
                    <a:pt x="7418611" y="2393127"/>
                  </a:moveTo>
                  <a:lnTo>
                    <a:pt x="7428521" y="2393127"/>
                  </a:lnTo>
                  <a:lnTo>
                    <a:pt x="7432540" y="2397165"/>
                  </a:lnTo>
                  <a:lnTo>
                    <a:pt x="7432540" y="2407036"/>
                  </a:lnTo>
                  <a:lnTo>
                    <a:pt x="7428521" y="2411074"/>
                  </a:lnTo>
                  <a:lnTo>
                    <a:pt x="7418611" y="2411074"/>
                  </a:lnTo>
                  <a:lnTo>
                    <a:pt x="7414592" y="2407036"/>
                  </a:lnTo>
                  <a:lnTo>
                    <a:pt x="7414592" y="2397165"/>
                  </a:lnTo>
                  <a:close/>
                  <a:moveTo>
                    <a:pt x="7179298" y="2393127"/>
                  </a:moveTo>
                  <a:lnTo>
                    <a:pt x="7189209" y="2393127"/>
                  </a:lnTo>
                  <a:lnTo>
                    <a:pt x="7193228" y="2397165"/>
                  </a:lnTo>
                  <a:lnTo>
                    <a:pt x="7193228" y="2407036"/>
                  </a:lnTo>
                  <a:lnTo>
                    <a:pt x="7189209" y="2411074"/>
                  </a:lnTo>
                  <a:lnTo>
                    <a:pt x="7179298" y="2411074"/>
                  </a:lnTo>
                  <a:lnTo>
                    <a:pt x="7175279" y="2407036"/>
                  </a:lnTo>
                  <a:lnTo>
                    <a:pt x="7175279" y="2397165"/>
                  </a:lnTo>
                  <a:close/>
                  <a:moveTo>
                    <a:pt x="6939983" y="2393127"/>
                  </a:moveTo>
                  <a:lnTo>
                    <a:pt x="6949894" y="2393127"/>
                  </a:lnTo>
                  <a:lnTo>
                    <a:pt x="6953913" y="2397165"/>
                  </a:lnTo>
                  <a:lnTo>
                    <a:pt x="6953913" y="2407036"/>
                  </a:lnTo>
                  <a:lnTo>
                    <a:pt x="6949894" y="2411074"/>
                  </a:lnTo>
                  <a:lnTo>
                    <a:pt x="6939983" y="2411074"/>
                  </a:lnTo>
                  <a:lnTo>
                    <a:pt x="6935964" y="2407036"/>
                  </a:lnTo>
                  <a:lnTo>
                    <a:pt x="6935964" y="2397165"/>
                  </a:lnTo>
                  <a:close/>
                  <a:moveTo>
                    <a:pt x="6700670" y="2393127"/>
                  </a:moveTo>
                  <a:lnTo>
                    <a:pt x="6710581" y="2393127"/>
                  </a:lnTo>
                  <a:lnTo>
                    <a:pt x="6714600" y="2397165"/>
                  </a:lnTo>
                  <a:lnTo>
                    <a:pt x="6714600" y="2407036"/>
                  </a:lnTo>
                  <a:lnTo>
                    <a:pt x="6710581" y="2411074"/>
                  </a:lnTo>
                  <a:lnTo>
                    <a:pt x="6700670" y="2411074"/>
                  </a:lnTo>
                  <a:lnTo>
                    <a:pt x="6696651" y="2407036"/>
                  </a:lnTo>
                  <a:lnTo>
                    <a:pt x="6696651" y="2397165"/>
                  </a:lnTo>
                  <a:close/>
                  <a:moveTo>
                    <a:pt x="6461356" y="2393127"/>
                  </a:moveTo>
                  <a:lnTo>
                    <a:pt x="6471266" y="2393127"/>
                  </a:lnTo>
                  <a:lnTo>
                    <a:pt x="6475285" y="2397165"/>
                  </a:lnTo>
                  <a:lnTo>
                    <a:pt x="6475285" y="2407036"/>
                  </a:lnTo>
                  <a:lnTo>
                    <a:pt x="6471266" y="2411074"/>
                  </a:lnTo>
                  <a:lnTo>
                    <a:pt x="6461356" y="2411074"/>
                  </a:lnTo>
                  <a:lnTo>
                    <a:pt x="6457337" y="2407036"/>
                  </a:lnTo>
                  <a:lnTo>
                    <a:pt x="6457337" y="2397165"/>
                  </a:lnTo>
                  <a:close/>
                  <a:moveTo>
                    <a:pt x="6222042" y="2393127"/>
                  </a:moveTo>
                  <a:lnTo>
                    <a:pt x="6231952" y="2393127"/>
                  </a:lnTo>
                  <a:lnTo>
                    <a:pt x="6235971" y="2397165"/>
                  </a:lnTo>
                  <a:lnTo>
                    <a:pt x="6235971" y="2407036"/>
                  </a:lnTo>
                  <a:lnTo>
                    <a:pt x="6231952" y="2411074"/>
                  </a:lnTo>
                  <a:lnTo>
                    <a:pt x="6222042" y="2411074"/>
                  </a:lnTo>
                  <a:lnTo>
                    <a:pt x="6218023" y="2407036"/>
                  </a:lnTo>
                  <a:lnTo>
                    <a:pt x="6218023" y="2397165"/>
                  </a:lnTo>
                  <a:close/>
                  <a:moveTo>
                    <a:pt x="5982729" y="2393127"/>
                  </a:moveTo>
                  <a:lnTo>
                    <a:pt x="5992639" y="2393127"/>
                  </a:lnTo>
                  <a:lnTo>
                    <a:pt x="5996658" y="2397165"/>
                  </a:lnTo>
                  <a:lnTo>
                    <a:pt x="5996658" y="2407036"/>
                  </a:lnTo>
                  <a:lnTo>
                    <a:pt x="5992639" y="2411074"/>
                  </a:lnTo>
                  <a:lnTo>
                    <a:pt x="5982729" y="2411074"/>
                  </a:lnTo>
                  <a:lnTo>
                    <a:pt x="5978710" y="2407036"/>
                  </a:lnTo>
                  <a:lnTo>
                    <a:pt x="5978710" y="2397165"/>
                  </a:lnTo>
                  <a:close/>
                  <a:moveTo>
                    <a:pt x="5743412" y="2393127"/>
                  </a:moveTo>
                  <a:lnTo>
                    <a:pt x="5753323" y="2393127"/>
                  </a:lnTo>
                  <a:lnTo>
                    <a:pt x="5757342" y="2397165"/>
                  </a:lnTo>
                  <a:lnTo>
                    <a:pt x="5757342" y="2407036"/>
                  </a:lnTo>
                  <a:lnTo>
                    <a:pt x="5753323" y="2411074"/>
                  </a:lnTo>
                  <a:lnTo>
                    <a:pt x="5743412" y="2411074"/>
                  </a:lnTo>
                  <a:lnTo>
                    <a:pt x="5739393" y="2407036"/>
                  </a:lnTo>
                  <a:lnTo>
                    <a:pt x="5739393" y="2397165"/>
                  </a:lnTo>
                  <a:close/>
                  <a:moveTo>
                    <a:pt x="5504099" y="2393127"/>
                  </a:moveTo>
                  <a:lnTo>
                    <a:pt x="5514010" y="2393127"/>
                  </a:lnTo>
                  <a:lnTo>
                    <a:pt x="5518029" y="2397165"/>
                  </a:lnTo>
                  <a:lnTo>
                    <a:pt x="5518029" y="2407036"/>
                  </a:lnTo>
                  <a:lnTo>
                    <a:pt x="5514010" y="2411074"/>
                  </a:lnTo>
                  <a:lnTo>
                    <a:pt x="5504099" y="2411074"/>
                  </a:lnTo>
                  <a:lnTo>
                    <a:pt x="5500080" y="2407036"/>
                  </a:lnTo>
                  <a:lnTo>
                    <a:pt x="5500080" y="2397165"/>
                  </a:lnTo>
                  <a:close/>
                  <a:moveTo>
                    <a:pt x="5264784" y="2393127"/>
                  </a:moveTo>
                  <a:lnTo>
                    <a:pt x="5274694" y="2393127"/>
                  </a:lnTo>
                  <a:lnTo>
                    <a:pt x="5278713" y="2397165"/>
                  </a:lnTo>
                  <a:lnTo>
                    <a:pt x="5278713" y="2407036"/>
                  </a:lnTo>
                  <a:lnTo>
                    <a:pt x="5274694" y="2411074"/>
                  </a:lnTo>
                  <a:lnTo>
                    <a:pt x="5264784" y="2411074"/>
                  </a:lnTo>
                  <a:lnTo>
                    <a:pt x="5260765" y="2407036"/>
                  </a:lnTo>
                  <a:lnTo>
                    <a:pt x="5260765" y="2397165"/>
                  </a:lnTo>
                  <a:close/>
                  <a:moveTo>
                    <a:pt x="5025470" y="2393127"/>
                  </a:moveTo>
                  <a:lnTo>
                    <a:pt x="5035381" y="2393127"/>
                  </a:lnTo>
                  <a:lnTo>
                    <a:pt x="5039400" y="2397165"/>
                  </a:lnTo>
                  <a:lnTo>
                    <a:pt x="5039400" y="2407036"/>
                  </a:lnTo>
                  <a:lnTo>
                    <a:pt x="5035381" y="2411074"/>
                  </a:lnTo>
                  <a:lnTo>
                    <a:pt x="5025470" y="2411074"/>
                  </a:lnTo>
                  <a:lnTo>
                    <a:pt x="5021451" y="2407036"/>
                  </a:lnTo>
                  <a:lnTo>
                    <a:pt x="5021451" y="2397165"/>
                  </a:lnTo>
                  <a:close/>
                  <a:moveTo>
                    <a:pt x="4786241" y="2393127"/>
                  </a:moveTo>
                  <a:lnTo>
                    <a:pt x="4796152" y="2393127"/>
                  </a:lnTo>
                  <a:lnTo>
                    <a:pt x="4800171" y="2397165"/>
                  </a:lnTo>
                  <a:lnTo>
                    <a:pt x="4800171" y="2407036"/>
                  </a:lnTo>
                  <a:lnTo>
                    <a:pt x="4796152" y="2411074"/>
                  </a:lnTo>
                  <a:lnTo>
                    <a:pt x="4786241" y="2411074"/>
                  </a:lnTo>
                  <a:lnTo>
                    <a:pt x="4782224" y="2407036"/>
                  </a:lnTo>
                  <a:lnTo>
                    <a:pt x="4782224" y="2397165"/>
                  </a:lnTo>
                  <a:close/>
                  <a:moveTo>
                    <a:pt x="4546929" y="2393127"/>
                  </a:moveTo>
                  <a:lnTo>
                    <a:pt x="4556840" y="2393127"/>
                  </a:lnTo>
                  <a:lnTo>
                    <a:pt x="4560859" y="2397165"/>
                  </a:lnTo>
                  <a:lnTo>
                    <a:pt x="4560859" y="2407036"/>
                  </a:lnTo>
                  <a:lnTo>
                    <a:pt x="4556840" y="2411074"/>
                  </a:lnTo>
                  <a:lnTo>
                    <a:pt x="4546929" y="2411074"/>
                  </a:lnTo>
                  <a:lnTo>
                    <a:pt x="4542910" y="2407036"/>
                  </a:lnTo>
                  <a:lnTo>
                    <a:pt x="4542910" y="2397165"/>
                  </a:lnTo>
                  <a:close/>
                  <a:moveTo>
                    <a:pt x="4307612" y="2393127"/>
                  </a:moveTo>
                  <a:lnTo>
                    <a:pt x="4317523" y="2393127"/>
                  </a:lnTo>
                  <a:lnTo>
                    <a:pt x="4321543" y="2397165"/>
                  </a:lnTo>
                  <a:lnTo>
                    <a:pt x="4321543" y="2407036"/>
                  </a:lnTo>
                  <a:lnTo>
                    <a:pt x="4317523" y="2411074"/>
                  </a:lnTo>
                  <a:lnTo>
                    <a:pt x="4307612" y="2411074"/>
                  </a:lnTo>
                  <a:lnTo>
                    <a:pt x="4303595" y="2407036"/>
                  </a:lnTo>
                  <a:lnTo>
                    <a:pt x="4303595" y="2397165"/>
                  </a:lnTo>
                  <a:close/>
                  <a:moveTo>
                    <a:pt x="4068297" y="2393127"/>
                  </a:moveTo>
                  <a:lnTo>
                    <a:pt x="4078210" y="2393127"/>
                  </a:lnTo>
                  <a:lnTo>
                    <a:pt x="4082229" y="2397165"/>
                  </a:lnTo>
                  <a:lnTo>
                    <a:pt x="4082229" y="2407036"/>
                  </a:lnTo>
                  <a:lnTo>
                    <a:pt x="4078210" y="2411074"/>
                  </a:lnTo>
                  <a:lnTo>
                    <a:pt x="4068297" y="2411074"/>
                  </a:lnTo>
                  <a:lnTo>
                    <a:pt x="4064278" y="2407036"/>
                  </a:lnTo>
                  <a:lnTo>
                    <a:pt x="4064278" y="2397165"/>
                  </a:lnTo>
                  <a:close/>
                  <a:moveTo>
                    <a:pt x="3828990" y="2393127"/>
                  </a:moveTo>
                  <a:lnTo>
                    <a:pt x="3838899" y="2393127"/>
                  </a:lnTo>
                  <a:lnTo>
                    <a:pt x="3842917" y="2397165"/>
                  </a:lnTo>
                  <a:lnTo>
                    <a:pt x="3842917" y="2407036"/>
                  </a:lnTo>
                  <a:lnTo>
                    <a:pt x="3838899" y="2411074"/>
                  </a:lnTo>
                  <a:lnTo>
                    <a:pt x="3828990" y="2411074"/>
                  </a:lnTo>
                  <a:lnTo>
                    <a:pt x="3824971" y="2407036"/>
                  </a:lnTo>
                  <a:lnTo>
                    <a:pt x="3824971" y="2397165"/>
                  </a:lnTo>
                  <a:close/>
                  <a:moveTo>
                    <a:pt x="3589676" y="2393127"/>
                  </a:moveTo>
                  <a:lnTo>
                    <a:pt x="3599585" y="2393127"/>
                  </a:lnTo>
                  <a:lnTo>
                    <a:pt x="3603604" y="2397165"/>
                  </a:lnTo>
                  <a:lnTo>
                    <a:pt x="3603604" y="2407036"/>
                  </a:lnTo>
                  <a:lnTo>
                    <a:pt x="3599585" y="2411074"/>
                  </a:lnTo>
                  <a:lnTo>
                    <a:pt x="3589676" y="2411074"/>
                  </a:lnTo>
                  <a:lnTo>
                    <a:pt x="3585657" y="2407036"/>
                  </a:lnTo>
                  <a:lnTo>
                    <a:pt x="3585657" y="2397165"/>
                  </a:lnTo>
                  <a:close/>
                  <a:moveTo>
                    <a:pt x="3350359" y="2393127"/>
                  </a:moveTo>
                  <a:lnTo>
                    <a:pt x="3360268" y="2393127"/>
                  </a:lnTo>
                  <a:lnTo>
                    <a:pt x="3364287" y="2397165"/>
                  </a:lnTo>
                  <a:lnTo>
                    <a:pt x="3364287" y="2407036"/>
                  </a:lnTo>
                  <a:lnTo>
                    <a:pt x="3360268" y="2411074"/>
                  </a:lnTo>
                  <a:lnTo>
                    <a:pt x="3350359" y="2411074"/>
                  </a:lnTo>
                  <a:lnTo>
                    <a:pt x="3346340" y="2407036"/>
                  </a:lnTo>
                  <a:lnTo>
                    <a:pt x="3346340" y="2397165"/>
                  </a:lnTo>
                  <a:close/>
                  <a:moveTo>
                    <a:pt x="3111048" y="2393127"/>
                  </a:moveTo>
                  <a:lnTo>
                    <a:pt x="3120959" y="2393127"/>
                  </a:lnTo>
                  <a:lnTo>
                    <a:pt x="3124977" y="2397165"/>
                  </a:lnTo>
                  <a:lnTo>
                    <a:pt x="3124977" y="2407036"/>
                  </a:lnTo>
                  <a:lnTo>
                    <a:pt x="3120959" y="2411074"/>
                  </a:lnTo>
                  <a:lnTo>
                    <a:pt x="3111048" y="2411074"/>
                  </a:lnTo>
                  <a:lnTo>
                    <a:pt x="3107029" y="2407036"/>
                  </a:lnTo>
                  <a:lnTo>
                    <a:pt x="3107029" y="2397165"/>
                  </a:lnTo>
                  <a:close/>
                  <a:moveTo>
                    <a:pt x="2871737" y="2393127"/>
                  </a:moveTo>
                  <a:lnTo>
                    <a:pt x="2881646" y="2393127"/>
                  </a:lnTo>
                  <a:lnTo>
                    <a:pt x="2885666" y="2397165"/>
                  </a:lnTo>
                  <a:lnTo>
                    <a:pt x="2885666" y="2407036"/>
                  </a:lnTo>
                  <a:lnTo>
                    <a:pt x="2881646" y="2411074"/>
                  </a:lnTo>
                  <a:lnTo>
                    <a:pt x="2871737" y="2411074"/>
                  </a:lnTo>
                  <a:lnTo>
                    <a:pt x="2867717" y="2407036"/>
                  </a:lnTo>
                  <a:lnTo>
                    <a:pt x="2867717" y="2397165"/>
                  </a:lnTo>
                  <a:close/>
                  <a:moveTo>
                    <a:pt x="2632423" y="2393127"/>
                  </a:moveTo>
                  <a:lnTo>
                    <a:pt x="2642334" y="2393127"/>
                  </a:lnTo>
                  <a:lnTo>
                    <a:pt x="2646352" y="2397165"/>
                  </a:lnTo>
                  <a:lnTo>
                    <a:pt x="2646352" y="2407036"/>
                  </a:lnTo>
                  <a:lnTo>
                    <a:pt x="2642334" y="2411074"/>
                  </a:lnTo>
                  <a:lnTo>
                    <a:pt x="2632423" y="2411074"/>
                  </a:lnTo>
                  <a:lnTo>
                    <a:pt x="2628404" y="2407036"/>
                  </a:lnTo>
                  <a:lnTo>
                    <a:pt x="2628404" y="2397165"/>
                  </a:lnTo>
                  <a:close/>
                  <a:moveTo>
                    <a:pt x="2393104" y="2393127"/>
                  </a:moveTo>
                  <a:lnTo>
                    <a:pt x="2403015" y="2393127"/>
                  </a:lnTo>
                  <a:lnTo>
                    <a:pt x="2407034" y="2397165"/>
                  </a:lnTo>
                  <a:lnTo>
                    <a:pt x="2407034" y="2407036"/>
                  </a:lnTo>
                  <a:lnTo>
                    <a:pt x="2403015" y="2411074"/>
                  </a:lnTo>
                  <a:lnTo>
                    <a:pt x="2393104" y="2411074"/>
                  </a:lnTo>
                  <a:lnTo>
                    <a:pt x="2389087" y="2407036"/>
                  </a:lnTo>
                  <a:lnTo>
                    <a:pt x="2389087" y="2397165"/>
                  </a:lnTo>
                  <a:close/>
                  <a:moveTo>
                    <a:pt x="721970" y="2393127"/>
                  </a:moveTo>
                  <a:lnTo>
                    <a:pt x="731881" y="2393127"/>
                  </a:lnTo>
                  <a:lnTo>
                    <a:pt x="735899" y="2397165"/>
                  </a:lnTo>
                  <a:lnTo>
                    <a:pt x="735899" y="2407036"/>
                  </a:lnTo>
                  <a:lnTo>
                    <a:pt x="731881" y="2411074"/>
                  </a:lnTo>
                  <a:lnTo>
                    <a:pt x="721970" y="2411074"/>
                  </a:lnTo>
                  <a:lnTo>
                    <a:pt x="717951" y="2407036"/>
                  </a:lnTo>
                  <a:lnTo>
                    <a:pt x="717951" y="2397165"/>
                  </a:lnTo>
                  <a:close/>
                  <a:moveTo>
                    <a:pt x="482658" y="2393127"/>
                  </a:moveTo>
                  <a:lnTo>
                    <a:pt x="492568" y="2393127"/>
                  </a:lnTo>
                  <a:lnTo>
                    <a:pt x="496588" y="2397165"/>
                  </a:lnTo>
                  <a:lnTo>
                    <a:pt x="496588" y="2407036"/>
                  </a:lnTo>
                  <a:lnTo>
                    <a:pt x="492568" y="2411074"/>
                  </a:lnTo>
                  <a:lnTo>
                    <a:pt x="482658" y="2411074"/>
                  </a:lnTo>
                  <a:lnTo>
                    <a:pt x="478639" y="2407036"/>
                  </a:lnTo>
                  <a:lnTo>
                    <a:pt x="478639" y="2397165"/>
                  </a:lnTo>
                  <a:close/>
                  <a:moveTo>
                    <a:pt x="243344" y="2393127"/>
                  </a:moveTo>
                  <a:lnTo>
                    <a:pt x="253255" y="2393127"/>
                  </a:lnTo>
                  <a:lnTo>
                    <a:pt x="257274" y="2397165"/>
                  </a:lnTo>
                  <a:lnTo>
                    <a:pt x="257274" y="2407036"/>
                  </a:lnTo>
                  <a:lnTo>
                    <a:pt x="253255" y="2411074"/>
                  </a:lnTo>
                  <a:lnTo>
                    <a:pt x="243344" y="2411074"/>
                  </a:lnTo>
                  <a:lnTo>
                    <a:pt x="239325" y="2407036"/>
                  </a:lnTo>
                  <a:lnTo>
                    <a:pt x="239325" y="2397165"/>
                  </a:lnTo>
                  <a:close/>
                  <a:moveTo>
                    <a:pt x="4031" y="2393127"/>
                  </a:moveTo>
                  <a:lnTo>
                    <a:pt x="13941" y="2393127"/>
                  </a:lnTo>
                  <a:lnTo>
                    <a:pt x="17961" y="2397165"/>
                  </a:lnTo>
                  <a:lnTo>
                    <a:pt x="17961" y="2407036"/>
                  </a:lnTo>
                  <a:lnTo>
                    <a:pt x="13941" y="2411074"/>
                  </a:lnTo>
                  <a:lnTo>
                    <a:pt x="4031" y="2411074"/>
                  </a:lnTo>
                  <a:lnTo>
                    <a:pt x="12" y="2407036"/>
                  </a:lnTo>
                  <a:lnTo>
                    <a:pt x="12" y="2397165"/>
                  </a:lnTo>
                  <a:close/>
                  <a:moveTo>
                    <a:pt x="3111048" y="2153996"/>
                  </a:moveTo>
                  <a:lnTo>
                    <a:pt x="3120959" y="2153996"/>
                  </a:lnTo>
                  <a:lnTo>
                    <a:pt x="3124977" y="2158034"/>
                  </a:lnTo>
                  <a:lnTo>
                    <a:pt x="3124977" y="2167907"/>
                  </a:lnTo>
                  <a:lnTo>
                    <a:pt x="3120959" y="2171946"/>
                  </a:lnTo>
                  <a:lnTo>
                    <a:pt x="3111048" y="2171946"/>
                  </a:lnTo>
                  <a:lnTo>
                    <a:pt x="3107029" y="2167907"/>
                  </a:lnTo>
                  <a:lnTo>
                    <a:pt x="3107029" y="2158034"/>
                  </a:lnTo>
                  <a:close/>
                  <a:moveTo>
                    <a:pt x="2871737" y="2153996"/>
                  </a:moveTo>
                  <a:lnTo>
                    <a:pt x="2881646" y="2153996"/>
                  </a:lnTo>
                  <a:lnTo>
                    <a:pt x="2885666" y="2158034"/>
                  </a:lnTo>
                  <a:lnTo>
                    <a:pt x="2885666" y="2167907"/>
                  </a:lnTo>
                  <a:lnTo>
                    <a:pt x="2881646" y="2171946"/>
                  </a:lnTo>
                  <a:lnTo>
                    <a:pt x="2871737" y="2171946"/>
                  </a:lnTo>
                  <a:lnTo>
                    <a:pt x="2867717" y="2167907"/>
                  </a:lnTo>
                  <a:lnTo>
                    <a:pt x="2867717" y="2158034"/>
                  </a:lnTo>
                  <a:close/>
                  <a:moveTo>
                    <a:pt x="2632423" y="2153996"/>
                  </a:moveTo>
                  <a:lnTo>
                    <a:pt x="2642334" y="2153996"/>
                  </a:lnTo>
                  <a:lnTo>
                    <a:pt x="2646352" y="2158034"/>
                  </a:lnTo>
                  <a:lnTo>
                    <a:pt x="2646352" y="2167907"/>
                  </a:lnTo>
                  <a:lnTo>
                    <a:pt x="2642334" y="2171947"/>
                  </a:lnTo>
                  <a:lnTo>
                    <a:pt x="2632423" y="2171947"/>
                  </a:lnTo>
                  <a:lnTo>
                    <a:pt x="2628404" y="2167907"/>
                  </a:lnTo>
                  <a:lnTo>
                    <a:pt x="2628404" y="2158034"/>
                  </a:lnTo>
                  <a:close/>
                  <a:moveTo>
                    <a:pt x="2393104" y="2153996"/>
                  </a:moveTo>
                  <a:lnTo>
                    <a:pt x="2403015" y="2153996"/>
                  </a:lnTo>
                  <a:lnTo>
                    <a:pt x="2407034" y="2158034"/>
                  </a:lnTo>
                  <a:lnTo>
                    <a:pt x="2407034" y="2167907"/>
                  </a:lnTo>
                  <a:lnTo>
                    <a:pt x="2403015" y="2171947"/>
                  </a:lnTo>
                  <a:lnTo>
                    <a:pt x="2393104" y="2171947"/>
                  </a:lnTo>
                  <a:lnTo>
                    <a:pt x="2389087" y="2167907"/>
                  </a:lnTo>
                  <a:lnTo>
                    <a:pt x="2389087" y="2158034"/>
                  </a:lnTo>
                  <a:close/>
                  <a:moveTo>
                    <a:pt x="3350359" y="2153995"/>
                  </a:moveTo>
                  <a:lnTo>
                    <a:pt x="3360268" y="2153995"/>
                  </a:lnTo>
                  <a:lnTo>
                    <a:pt x="3364287" y="2158034"/>
                  </a:lnTo>
                  <a:lnTo>
                    <a:pt x="3364287" y="2167907"/>
                  </a:lnTo>
                  <a:lnTo>
                    <a:pt x="3360268" y="2171946"/>
                  </a:lnTo>
                  <a:lnTo>
                    <a:pt x="3350359" y="2171946"/>
                  </a:lnTo>
                  <a:lnTo>
                    <a:pt x="3346340" y="2167907"/>
                  </a:lnTo>
                  <a:lnTo>
                    <a:pt x="3346340" y="2158034"/>
                  </a:lnTo>
                  <a:close/>
                  <a:moveTo>
                    <a:pt x="4546929" y="2153976"/>
                  </a:moveTo>
                  <a:lnTo>
                    <a:pt x="4556840" y="2153976"/>
                  </a:lnTo>
                  <a:lnTo>
                    <a:pt x="4560859" y="2158014"/>
                  </a:lnTo>
                  <a:lnTo>
                    <a:pt x="4560859" y="2167886"/>
                  </a:lnTo>
                  <a:lnTo>
                    <a:pt x="4556840" y="2171926"/>
                  </a:lnTo>
                  <a:lnTo>
                    <a:pt x="4546929" y="2171926"/>
                  </a:lnTo>
                  <a:lnTo>
                    <a:pt x="4542910" y="2167886"/>
                  </a:lnTo>
                  <a:lnTo>
                    <a:pt x="4542910" y="2158014"/>
                  </a:lnTo>
                  <a:close/>
                  <a:moveTo>
                    <a:pt x="4307612" y="2153976"/>
                  </a:moveTo>
                  <a:lnTo>
                    <a:pt x="4317523" y="2153976"/>
                  </a:lnTo>
                  <a:lnTo>
                    <a:pt x="4321543" y="2158014"/>
                  </a:lnTo>
                  <a:lnTo>
                    <a:pt x="4321543" y="2167887"/>
                  </a:lnTo>
                  <a:lnTo>
                    <a:pt x="4317523" y="2171926"/>
                  </a:lnTo>
                  <a:lnTo>
                    <a:pt x="4307612" y="2171926"/>
                  </a:lnTo>
                  <a:lnTo>
                    <a:pt x="4303595" y="2167887"/>
                  </a:lnTo>
                  <a:lnTo>
                    <a:pt x="4303595" y="2158014"/>
                  </a:lnTo>
                  <a:close/>
                  <a:moveTo>
                    <a:pt x="4068297" y="2153976"/>
                  </a:moveTo>
                  <a:lnTo>
                    <a:pt x="4078210" y="2153976"/>
                  </a:lnTo>
                  <a:lnTo>
                    <a:pt x="4082229" y="2158014"/>
                  </a:lnTo>
                  <a:lnTo>
                    <a:pt x="4082229" y="2167887"/>
                  </a:lnTo>
                  <a:lnTo>
                    <a:pt x="4078210" y="2171926"/>
                  </a:lnTo>
                  <a:lnTo>
                    <a:pt x="4068297" y="2171926"/>
                  </a:lnTo>
                  <a:lnTo>
                    <a:pt x="4064278" y="2167887"/>
                  </a:lnTo>
                  <a:lnTo>
                    <a:pt x="4064278" y="2158014"/>
                  </a:lnTo>
                  <a:close/>
                  <a:moveTo>
                    <a:pt x="3828990" y="2153976"/>
                  </a:moveTo>
                  <a:lnTo>
                    <a:pt x="3838899" y="2153976"/>
                  </a:lnTo>
                  <a:lnTo>
                    <a:pt x="3842917" y="2158014"/>
                  </a:lnTo>
                  <a:lnTo>
                    <a:pt x="3842917" y="2167887"/>
                  </a:lnTo>
                  <a:lnTo>
                    <a:pt x="3838899" y="2171926"/>
                  </a:lnTo>
                  <a:lnTo>
                    <a:pt x="3828990" y="2171926"/>
                  </a:lnTo>
                  <a:lnTo>
                    <a:pt x="3824971" y="2167887"/>
                  </a:lnTo>
                  <a:lnTo>
                    <a:pt x="3824971" y="2158014"/>
                  </a:lnTo>
                  <a:close/>
                  <a:moveTo>
                    <a:pt x="3589676" y="2153976"/>
                  </a:moveTo>
                  <a:lnTo>
                    <a:pt x="3599585" y="2153976"/>
                  </a:lnTo>
                  <a:lnTo>
                    <a:pt x="3603604" y="2158014"/>
                  </a:lnTo>
                  <a:lnTo>
                    <a:pt x="3603604" y="2167887"/>
                  </a:lnTo>
                  <a:lnTo>
                    <a:pt x="3599585" y="2171926"/>
                  </a:lnTo>
                  <a:lnTo>
                    <a:pt x="3589676" y="2171926"/>
                  </a:lnTo>
                  <a:lnTo>
                    <a:pt x="3585657" y="2167887"/>
                  </a:lnTo>
                  <a:lnTo>
                    <a:pt x="3585657" y="2158014"/>
                  </a:lnTo>
                  <a:close/>
                  <a:moveTo>
                    <a:pt x="5504099" y="2153956"/>
                  </a:moveTo>
                  <a:lnTo>
                    <a:pt x="5514010" y="2153956"/>
                  </a:lnTo>
                  <a:lnTo>
                    <a:pt x="5518029" y="2157994"/>
                  </a:lnTo>
                  <a:lnTo>
                    <a:pt x="5518029" y="2167867"/>
                  </a:lnTo>
                  <a:lnTo>
                    <a:pt x="5514010" y="2171905"/>
                  </a:lnTo>
                  <a:lnTo>
                    <a:pt x="5504099" y="2171905"/>
                  </a:lnTo>
                  <a:lnTo>
                    <a:pt x="5500080" y="2167867"/>
                  </a:lnTo>
                  <a:lnTo>
                    <a:pt x="5500080" y="2157994"/>
                  </a:lnTo>
                  <a:close/>
                  <a:moveTo>
                    <a:pt x="5264784" y="2153956"/>
                  </a:moveTo>
                  <a:lnTo>
                    <a:pt x="5274694" y="2153956"/>
                  </a:lnTo>
                  <a:lnTo>
                    <a:pt x="5278713" y="2157994"/>
                  </a:lnTo>
                  <a:lnTo>
                    <a:pt x="5278713" y="2167867"/>
                  </a:lnTo>
                  <a:lnTo>
                    <a:pt x="5274694" y="2171905"/>
                  </a:lnTo>
                  <a:lnTo>
                    <a:pt x="5264784" y="2171905"/>
                  </a:lnTo>
                  <a:lnTo>
                    <a:pt x="5260765" y="2167867"/>
                  </a:lnTo>
                  <a:lnTo>
                    <a:pt x="5260765" y="2157994"/>
                  </a:lnTo>
                  <a:close/>
                  <a:moveTo>
                    <a:pt x="5025470" y="2153956"/>
                  </a:moveTo>
                  <a:lnTo>
                    <a:pt x="5035381" y="2153956"/>
                  </a:lnTo>
                  <a:lnTo>
                    <a:pt x="5039400" y="2157994"/>
                  </a:lnTo>
                  <a:lnTo>
                    <a:pt x="5039400" y="2167867"/>
                  </a:lnTo>
                  <a:lnTo>
                    <a:pt x="5035381" y="2171906"/>
                  </a:lnTo>
                  <a:lnTo>
                    <a:pt x="5025470" y="2171906"/>
                  </a:lnTo>
                  <a:lnTo>
                    <a:pt x="5021451" y="2167867"/>
                  </a:lnTo>
                  <a:lnTo>
                    <a:pt x="5021451" y="2157994"/>
                  </a:lnTo>
                  <a:close/>
                  <a:moveTo>
                    <a:pt x="4786241" y="2153956"/>
                  </a:moveTo>
                  <a:lnTo>
                    <a:pt x="4796152" y="2153956"/>
                  </a:lnTo>
                  <a:lnTo>
                    <a:pt x="4800171" y="2157994"/>
                  </a:lnTo>
                  <a:lnTo>
                    <a:pt x="4800171" y="2167867"/>
                  </a:lnTo>
                  <a:lnTo>
                    <a:pt x="4796152" y="2171906"/>
                  </a:lnTo>
                  <a:lnTo>
                    <a:pt x="4786241" y="2171906"/>
                  </a:lnTo>
                  <a:lnTo>
                    <a:pt x="4782224" y="2167867"/>
                  </a:lnTo>
                  <a:lnTo>
                    <a:pt x="4782224" y="2157994"/>
                  </a:lnTo>
                  <a:close/>
                  <a:moveTo>
                    <a:pt x="5743412" y="2153955"/>
                  </a:moveTo>
                  <a:lnTo>
                    <a:pt x="5753323" y="2153955"/>
                  </a:lnTo>
                  <a:lnTo>
                    <a:pt x="5757342" y="2157994"/>
                  </a:lnTo>
                  <a:lnTo>
                    <a:pt x="5757342" y="2167866"/>
                  </a:lnTo>
                  <a:lnTo>
                    <a:pt x="5753323" y="2171905"/>
                  </a:lnTo>
                  <a:lnTo>
                    <a:pt x="5743412" y="2171905"/>
                  </a:lnTo>
                  <a:lnTo>
                    <a:pt x="5739393" y="2167866"/>
                  </a:lnTo>
                  <a:lnTo>
                    <a:pt x="5739393" y="2157994"/>
                  </a:lnTo>
                  <a:close/>
                  <a:moveTo>
                    <a:pt x="6222042" y="2153936"/>
                  </a:moveTo>
                  <a:lnTo>
                    <a:pt x="6231952" y="2153936"/>
                  </a:lnTo>
                  <a:lnTo>
                    <a:pt x="6235971" y="2157974"/>
                  </a:lnTo>
                  <a:lnTo>
                    <a:pt x="6235971" y="2167846"/>
                  </a:lnTo>
                  <a:lnTo>
                    <a:pt x="6231952" y="2171885"/>
                  </a:lnTo>
                  <a:lnTo>
                    <a:pt x="6222042" y="2171885"/>
                  </a:lnTo>
                  <a:lnTo>
                    <a:pt x="6218023" y="2167846"/>
                  </a:lnTo>
                  <a:lnTo>
                    <a:pt x="6218023" y="2157974"/>
                  </a:lnTo>
                  <a:close/>
                  <a:moveTo>
                    <a:pt x="5982729" y="2153936"/>
                  </a:moveTo>
                  <a:lnTo>
                    <a:pt x="5992639" y="2153936"/>
                  </a:lnTo>
                  <a:lnTo>
                    <a:pt x="5996658" y="2157974"/>
                  </a:lnTo>
                  <a:lnTo>
                    <a:pt x="5996658" y="2167846"/>
                  </a:lnTo>
                  <a:lnTo>
                    <a:pt x="5992639" y="2171885"/>
                  </a:lnTo>
                  <a:lnTo>
                    <a:pt x="5982729" y="2171885"/>
                  </a:lnTo>
                  <a:lnTo>
                    <a:pt x="5978710" y="2167846"/>
                  </a:lnTo>
                  <a:lnTo>
                    <a:pt x="5978710" y="2157974"/>
                  </a:lnTo>
                  <a:close/>
                  <a:moveTo>
                    <a:pt x="6939983" y="2153935"/>
                  </a:moveTo>
                  <a:lnTo>
                    <a:pt x="6949894" y="2153935"/>
                  </a:lnTo>
                  <a:lnTo>
                    <a:pt x="6953913" y="2157974"/>
                  </a:lnTo>
                  <a:lnTo>
                    <a:pt x="6953913" y="2167845"/>
                  </a:lnTo>
                  <a:lnTo>
                    <a:pt x="6949894" y="2171885"/>
                  </a:lnTo>
                  <a:lnTo>
                    <a:pt x="6939983" y="2171885"/>
                  </a:lnTo>
                  <a:lnTo>
                    <a:pt x="6935964" y="2167845"/>
                  </a:lnTo>
                  <a:lnTo>
                    <a:pt x="6935964" y="2157974"/>
                  </a:lnTo>
                  <a:close/>
                  <a:moveTo>
                    <a:pt x="6700670" y="2153935"/>
                  </a:moveTo>
                  <a:lnTo>
                    <a:pt x="6710581" y="2153935"/>
                  </a:lnTo>
                  <a:lnTo>
                    <a:pt x="6714600" y="2157974"/>
                  </a:lnTo>
                  <a:lnTo>
                    <a:pt x="6714600" y="2167846"/>
                  </a:lnTo>
                  <a:lnTo>
                    <a:pt x="6710581" y="2171885"/>
                  </a:lnTo>
                  <a:lnTo>
                    <a:pt x="6700670" y="2171885"/>
                  </a:lnTo>
                  <a:lnTo>
                    <a:pt x="6696651" y="2167846"/>
                  </a:lnTo>
                  <a:lnTo>
                    <a:pt x="6696651" y="2157974"/>
                  </a:lnTo>
                  <a:close/>
                  <a:moveTo>
                    <a:pt x="6461356" y="2153935"/>
                  </a:moveTo>
                  <a:lnTo>
                    <a:pt x="6471266" y="2153935"/>
                  </a:lnTo>
                  <a:lnTo>
                    <a:pt x="6475285" y="2157974"/>
                  </a:lnTo>
                  <a:lnTo>
                    <a:pt x="6475285" y="2167846"/>
                  </a:lnTo>
                  <a:lnTo>
                    <a:pt x="6471266" y="2171885"/>
                  </a:lnTo>
                  <a:lnTo>
                    <a:pt x="6461356" y="2171885"/>
                  </a:lnTo>
                  <a:lnTo>
                    <a:pt x="6457337" y="2167846"/>
                  </a:lnTo>
                  <a:lnTo>
                    <a:pt x="6457337" y="2157974"/>
                  </a:lnTo>
                  <a:close/>
                  <a:moveTo>
                    <a:pt x="7418611" y="2153916"/>
                  </a:moveTo>
                  <a:lnTo>
                    <a:pt x="7428521" y="2153916"/>
                  </a:lnTo>
                  <a:lnTo>
                    <a:pt x="7432540" y="2157955"/>
                  </a:lnTo>
                  <a:lnTo>
                    <a:pt x="7432540" y="2167826"/>
                  </a:lnTo>
                  <a:lnTo>
                    <a:pt x="7428521" y="2171865"/>
                  </a:lnTo>
                  <a:lnTo>
                    <a:pt x="7418611" y="2171865"/>
                  </a:lnTo>
                  <a:lnTo>
                    <a:pt x="7414592" y="2167826"/>
                  </a:lnTo>
                  <a:lnTo>
                    <a:pt x="7414592" y="2157955"/>
                  </a:lnTo>
                  <a:close/>
                  <a:moveTo>
                    <a:pt x="7179298" y="2153916"/>
                  </a:moveTo>
                  <a:lnTo>
                    <a:pt x="7189209" y="2153916"/>
                  </a:lnTo>
                  <a:lnTo>
                    <a:pt x="7193228" y="2157955"/>
                  </a:lnTo>
                  <a:lnTo>
                    <a:pt x="7193228" y="2167826"/>
                  </a:lnTo>
                  <a:lnTo>
                    <a:pt x="7189209" y="2171865"/>
                  </a:lnTo>
                  <a:lnTo>
                    <a:pt x="7179298" y="2171865"/>
                  </a:lnTo>
                  <a:lnTo>
                    <a:pt x="7175279" y="2167826"/>
                  </a:lnTo>
                  <a:lnTo>
                    <a:pt x="7175279" y="2157955"/>
                  </a:lnTo>
                  <a:close/>
                  <a:moveTo>
                    <a:pt x="8136553" y="2153915"/>
                  </a:moveTo>
                  <a:lnTo>
                    <a:pt x="8146464" y="2153915"/>
                  </a:lnTo>
                  <a:lnTo>
                    <a:pt x="8150483" y="2157955"/>
                  </a:lnTo>
                  <a:lnTo>
                    <a:pt x="8150483" y="2167825"/>
                  </a:lnTo>
                  <a:lnTo>
                    <a:pt x="8146464" y="2171864"/>
                  </a:lnTo>
                  <a:lnTo>
                    <a:pt x="8136553" y="2171864"/>
                  </a:lnTo>
                  <a:lnTo>
                    <a:pt x="8132534" y="2167825"/>
                  </a:lnTo>
                  <a:lnTo>
                    <a:pt x="8132534" y="2157955"/>
                  </a:lnTo>
                  <a:close/>
                  <a:moveTo>
                    <a:pt x="7897241" y="2153915"/>
                  </a:moveTo>
                  <a:lnTo>
                    <a:pt x="7907151" y="2153915"/>
                  </a:lnTo>
                  <a:lnTo>
                    <a:pt x="7911170" y="2157955"/>
                  </a:lnTo>
                  <a:lnTo>
                    <a:pt x="7911170" y="2167826"/>
                  </a:lnTo>
                  <a:lnTo>
                    <a:pt x="7907151" y="2171864"/>
                  </a:lnTo>
                  <a:lnTo>
                    <a:pt x="7897241" y="2171864"/>
                  </a:lnTo>
                  <a:lnTo>
                    <a:pt x="7893222" y="2167826"/>
                  </a:lnTo>
                  <a:lnTo>
                    <a:pt x="7893222" y="2157955"/>
                  </a:lnTo>
                  <a:close/>
                  <a:moveTo>
                    <a:pt x="7657926" y="2153915"/>
                  </a:moveTo>
                  <a:lnTo>
                    <a:pt x="7667836" y="2153915"/>
                  </a:lnTo>
                  <a:lnTo>
                    <a:pt x="7671855" y="2157955"/>
                  </a:lnTo>
                  <a:lnTo>
                    <a:pt x="7671855" y="2167826"/>
                  </a:lnTo>
                  <a:lnTo>
                    <a:pt x="7667836" y="2171864"/>
                  </a:lnTo>
                  <a:lnTo>
                    <a:pt x="7657926" y="2171864"/>
                  </a:lnTo>
                  <a:lnTo>
                    <a:pt x="7653906" y="2167826"/>
                  </a:lnTo>
                  <a:lnTo>
                    <a:pt x="7653906" y="2157955"/>
                  </a:lnTo>
                  <a:close/>
                  <a:moveTo>
                    <a:pt x="8615184" y="2153896"/>
                  </a:moveTo>
                  <a:lnTo>
                    <a:pt x="8625095" y="2153896"/>
                  </a:lnTo>
                  <a:lnTo>
                    <a:pt x="8629114" y="2157935"/>
                  </a:lnTo>
                  <a:lnTo>
                    <a:pt x="8629114" y="2167805"/>
                  </a:lnTo>
                  <a:lnTo>
                    <a:pt x="8625095" y="2171844"/>
                  </a:lnTo>
                  <a:lnTo>
                    <a:pt x="8615184" y="2171844"/>
                  </a:lnTo>
                  <a:lnTo>
                    <a:pt x="8611165" y="2167805"/>
                  </a:lnTo>
                  <a:lnTo>
                    <a:pt x="8611165" y="2157935"/>
                  </a:lnTo>
                  <a:close/>
                  <a:moveTo>
                    <a:pt x="8375869" y="2153896"/>
                  </a:moveTo>
                  <a:lnTo>
                    <a:pt x="8385779" y="2153896"/>
                  </a:lnTo>
                  <a:lnTo>
                    <a:pt x="8389799" y="2157935"/>
                  </a:lnTo>
                  <a:lnTo>
                    <a:pt x="8389799" y="2167805"/>
                  </a:lnTo>
                  <a:lnTo>
                    <a:pt x="8385779" y="2171844"/>
                  </a:lnTo>
                  <a:lnTo>
                    <a:pt x="8375869" y="2171844"/>
                  </a:lnTo>
                  <a:lnTo>
                    <a:pt x="8371850" y="2167805"/>
                  </a:lnTo>
                  <a:lnTo>
                    <a:pt x="8371850" y="2157935"/>
                  </a:lnTo>
                  <a:close/>
                  <a:moveTo>
                    <a:pt x="9333125" y="2153895"/>
                  </a:moveTo>
                  <a:lnTo>
                    <a:pt x="9343036" y="2153895"/>
                  </a:lnTo>
                  <a:lnTo>
                    <a:pt x="9347055" y="2157934"/>
                  </a:lnTo>
                  <a:lnTo>
                    <a:pt x="9347055" y="2167805"/>
                  </a:lnTo>
                  <a:lnTo>
                    <a:pt x="9343036" y="2171844"/>
                  </a:lnTo>
                  <a:lnTo>
                    <a:pt x="9333125" y="2171844"/>
                  </a:lnTo>
                  <a:lnTo>
                    <a:pt x="9329106" y="2167805"/>
                  </a:lnTo>
                  <a:lnTo>
                    <a:pt x="9329106" y="2157934"/>
                  </a:lnTo>
                  <a:close/>
                  <a:moveTo>
                    <a:pt x="9093811" y="2153895"/>
                  </a:moveTo>
                  <a:lnTo>
                    <a:pt x="9103722" y="2153895"/>
                  </a:lnTo>
                  <a:lnTo>
                    <a:pt x="9107741" y="2157935"/>
                  </a:lnTo>
                  <a:lnTo>
                    <a:pt x="9107741" y="2167805"/>
                  </a:lnTo>
                  <a:lnTo>
                    <a:pt x="9103722" y="2171844"/>
                  </a:lnTo>
                  <a:lnTo>
                    <a:pt x="9093811" y="2171844"/>
                  </a:lnTo>
                  <a:lnTo>
                    <a:pt x="9089792" y="2167805"/>
                  </a:lnTo>
                  <a:lnTo>
                    <a:pt x="9089792" y="2157935"/>
                  </a:lnTo>
                  <a:close/>
                  <a:moveTo>
                    <a:pt x="8854496" y="2153895"/>
                  </a:moveTo>
                  <a:lnTo>
                    <a:pt x="8864407" y="2153895"/>
                  </a:lnTo>
                  <a:lnTo>
                    <a:pt x="8868426" y="2157935"/>
                  </a:lnTo>
                  <a:lnTo>
                    <a:pt x="8868426" y="2167805"/>
                  </a:lnTo>
                  <a:lnTo>
                    <a:pt x="8864407" y="2171844"/>
                  </a:lnTo>
                  <a:lnTo>
                    <a:pt x="8854496" y="2171844"/>
                  </a:lnTo>
                  <a:lnTo>
                    <a:pt x="8850477" y="2167805"/>
                  </a:lnTo>
                  <a:lnTo>
                    <a:pt x="8850477" y="2157935"/>
                  </a:lnTo>
                  <a:close/>
                  <a:moveTo>
                    <a:pt x="9572438" y="2153876"/>
                  </a:moveTo>
                  <a:lnTo>
                    <a:pt x="9582349" y="2153876"/>
                  </a:lnTo>
                  <a:lnTo>
                    <a:pt x="9586368" y="2157914"/>
                  </a:lnTo>
                  <a:lnTo>
                    <a:pt x="9586368" y="2167786"/>
                  </a:lnTo>
                  <a:lnTo>
                    <a:pt x="9582349" y="2171824"/>
                  </a:lnTo>
                  <a:lnTo>
                    <a:pt x="9572438" y="2171824"/>
                  </a:lnTo>
                  <a:lnTo>
                    <a:pt x="9568419" y="2167786"/>
                  </a:lnTo>
                  <a:lnTo>
                    <a:pt x="9568419" y="2157914"/>
                  </a:lnTo>
                  <a:close/>
                  <a:moveTo>
                    <a:pt x="1200582" y="2153867"/>
                  </a:moveTo>
                  <a:lnTo>
                    <a:pt x="1210491" y="2153867"/>
                  </a:lnTo>
                  <a:lnTo>
                    <a:pt x="1214510" y="2157906"/>
                  </a:lnTo>
                  <a:lnTo>
                    <a:pt x="1214510" y="2167776"/>
                  </a:lnTo>
                  <a:lnTo>
                    <a:pt x="1210491" y="2171815"/>
                  </a:lnTo>
                  <a:lnTo>
                    <a:pt x="1200582" y="2171815"/>
                  </a:lnTo>
                  <a:lnTo>
                    <a:pt x="1196562" y="2167776"/>
                  </a:lnTo>
                  <a:lnTo>
                    <a:pt x="1196562" y="2157906"/>
                  </a:lnTo>
                  <a:close/>
                  <a:moveTo>
                    <a:pt x="961268" y="2153867"/>
                  </a:moveTo>
                  <a:lnTo>
                    <a:pt x="971179" y="2153867"/>
                  </a:lnTo>
                  <a:lnTo>
                    <a:pt x="975198" y="2157906"/>
                  </a:lnTo>
                  <a:lnTo>
                    <a:pt x="975198" y="2167776"/>
                  </a:lnTo>
                  <a:lnTo>
                    <a:pt x="971179" y="2171815"/>
                  </a:lnTo>
                  <a:lnTo>
                    <a:pt x="961268" y="2171815"/>
                  </a:lnTo>
                  <a:lnTo>
                    <a:pt x="957250" y="2167776"/>
                  </a:lnTo>
                  <a:lnTo>
                    <a:pt x="957250" y="2157906"/>
                  </a:lnTo>
                  <a:close/>
                  <a:moveTo>
                    <a:pt x="1679214" y="2153867"/>
                  </a:moveTo>
                  <a:lnTo>
                    <a:pt x="1689123" y="2153867"/>
                  </a:lnTo>
                  <a:lnTo>
                    <a:pt x="1693144" y="2157905"/>
                  </a:lnTo>
                  <a:lnTo>
                    <a:pt x="1693144" y="2167775"/>
                  </a:lnTo>
                  <a:lnTo>
                    <a:pt x="1689123" y="2171814"/>
                  </a:lnTo>
                  <a:lnTo>
                    <a:pt x="1679214" y="2171814"/>
                  </a:lnTo>
                  <a:lnTo>
                    <a:pt x="1675195" y="2167775"/>
                  </a:lnTo>
                  <a:lnTo>
                    <a:pt x="1675195" y="2157905"/>
                  </a:lnTo>
                  <a:close/>
                  <a:moveTo>
                    <a:pt x="1439897" y="2153867"/>
                  </a:moveTo>
                  <a:lnTo>
                    <a:pt x="1449807" y="2153867"/>
                  </a:lnTo>
                  <a:lnTo>
                    <a:pt x="1453826" y="2157905"/>
                  </a:lnTo>
                  <a:lnTo>
                    <a:pt x="1453826" y="2167776"/>
                  </a:lnTo>
                  <a:lnTo>
                    <a:pt x="1449807" y="2171814"/>
                  </a:lnTo>
                  <a:lnTo>
                    <a:pt x="1439897" y="2171814"/>
                  </a:lnTo>
                  <a:lnTo>
                    <a:pt x="1435878" y="2167776"/>
                  </a:lnTo>
                  <a:lnTo>
                    <a:pt x="1435878" y="2157905"/>
                  </a:lnTo>
                  <a:close/>
                  <a:moveTo>
                    <a:pt x="1918513" y="2153855"/>
                  </a:moveTo>
                  <a:lnTo>
                    <a:pt x="1928422" y="2153855"/>
                  </a:lnTo>
                  <a:lnTo>
                    <a:pt x="1932443" y="2157892"/>
                  </a:lnTo>
                  <a:lnTo>
                    <a:pt x="1932443" y="2167763"/>
                  </a:lnTo>
                  <a:lnTo>
                    <a:pt x="1928422" y="2171803"/>
                  </a:lnTo>
                  <a:lnTo>
                    <a:pt x="1918513" y="2171803"/>
                  </a:lnTo>
                  <a:lnTo>
                    <a:pt x="1914494" y="2167763"/>
                  </a:lnTo>
                  <a:lnTo>
                    <a:pt x="1914494" y="2157892"/>
                  </a:lnTo>
                  <a:close/>
                  <a:moveTo>
                    <a:pt x="2157821" y="2153850"/>
                  </a:moveTo>
                  <a:lnTo>
                    <a:pt x="2167732" y="2153850"/>
                  </a:lnTo>
                  <a:lnTo>
                    <a:pt x="2171750" y="2157889"/>
                  </a:lnTo>
                  <a:lnTo>
                    <a:pt x="2171750" y="2167759"/>
                  </a:lnTo>
                  <a:lnTo>
                    <a:pt x="2167732" y="2171798"/>
                  </a:lnTo>
                  <a:lnTo>
                    <a:pt x="2157821" y="2171798"/>
                  </a:lnTo>
                  <a:lnTo>
                    <a:pt x="2153803" y="2167759"/>
                  </a:lnTo>
                  <a:lnTo>
                    <a:pt x="2153803" y="2157889"/>
                  </a:lnTo>
                  <a:close/>
                  <a:moveTo>
                    <a:pt x="4032" y="2153832"/>
                  </a:moveTo>
                  <a:lnTo>
                    <a:pt x="13942" y="2153832"/>
                  </a:lnTo>
                  <a:lnTo>
                    <a:pt x="17961" y="2157870"/>
                  </a:lnTo>
                  <a:lnTo>
                    <a:pt x="17961" y="2167741"/>
                  </a:lnTo>
                  <a:lnTo>
                    <a:pt x="13942" y="2171780"/>
                  </a:lnTo>
                  <a:lnTo>
                    <a:pt x="4032" y="2171780"/>
                  </a:lnTo>
                  <a:lnTo>
                    <a:pt x="13" y="2167741"/>
                  </a:lnTo>
                  <a:lnTo>
                    <a:pt x="13" y="2157870"/>
                  </a:lnTo>
                  <a:close/>
                  <a:moveTo>
                    <a:pt x="721971" y="2153832"/>
                  </a:moveTo>
                  <a:lnTo>
                    <a:pt x="731881" y="2153832"/>
                  </a:lnTo>
                  <a:lnTo>
                    <a:pt x="735900" y="2157870"/>
                  </a:lnTo>
                  <a:lnTo>
                    <a:pt x="735900" y="2167740"/>
                  </a:lnTo>
                  <a:lnTo>
                    <a:pt x="731881" y="2171780"/>
                  </a:lnTo>
                  <a:lnTo>
                    <a:pt x="721971" y="2171780"/>
                  </a:lnTo>
                  <a:lnTo>
                    <a:pt x="717952" y="2167740"/>
                  </a:lnTo>
                  <a:lnTo>
                    <a:pt x="717952" y="2157870"/>
                  </a:lnTo>
                  <a:close/>
                  <a:moveTo>
                    <a:pt x="482659" y="2153832"/>
                  </a:moveTo>
                  <a:lnTo>
                    <a:pt x="492569" y="2153832"/>
                  </a:lnTo>
                  <a:lnTo>
                    <a:pt x="496588" y="2157870"/>
                  </a:lnTo>
                  <a:lnTo>
                    <a:pt x="496588" y="2167741"/>
                  </a:lnTo>
                  <a:lnTo>
                    <a:pt x="492569" y="2171780"/>
                  </a:lnTo>
                  <a:lnTo>
                    <a:pt x="482659" y="2171780"/>
                  </a:lnTo>
                  <a:lnTo>
                    <a:pt x="478640" y="2167741"/>
                  </a:lnTo>
                  <a:lnTo>
                    <a:pt x="478640" y="2157870"/>
                  </a:lnTo>
                  <a:close/>
                  <a:moveTo>
                    <a:pt x="243345" y="2153832"/>
                  </a:moveTo>
                  <a:lnTo>
                    <a:pt x="253255" y="2153832"/>
                  </a:lnTo>
                  <a:lnTo>
                    <a:pt x="257274" y="2157870"/>
                  </a:lnTo>
                  <a:lnTo>
                    <a:pt x="257274" y="2167741"/>
                  </a:lnTo>
                  <a:lnTo>
                    <a:pt x="253255" y="2171780"/>
                  </a:lnTo>
                  <a:lnTo>
                    <a:pt x="243345" y="2171780"/>
                  </a:lnTo>
                  <a:lnTo>
                    <a:pt x="239326" y="2167741"/>
                  </a:lnTo>
                  <a:lnTo>
                    <a:pt x="239326" y="2157870"/>
                  </a:lnTo>
                  <a:close/>
                  <a:moveTo>
                    <a:pt x="2393104" y="1914701"/>
                  </a:moveTo>
                  <a:lnTo>
                    <a:pt x="2403015" y="1914701"/>
                  </a:lnTo>
                  <a:lnTo>
                    <a:pt x="2407034" y="1918739"/>
                  </a:lnTo>
                  <a:lnTo>
                    <a:pt x="2407034" y="1928610"/>
                  </a:lnTo>
                  <a:lnTo>
                    <a:pt x="2403015" y="1932649"/>
                  </a:lnTo>
                  <a:lnTo>
                    <a:pt x="2393104" y="1932649"/>
                  </a:lnTo>
                  <a:lnTo>
                    <a:pt x="2389087" y="1928610"/>
                  </a:lnTo>
                  <a:lnTo>
                    <a:pt x="2389087" y="1918739"/>
                  </a:lnTo>
                  <a:close/>
                  <a:moveTo>
                    <a:pt x="3350359" y="1914699"/>
                  </a:moveTo>
                  <a:lnTo>
                    <a:pt x="3360268" y="1914699"/>
                  </a:lnTo>
                  <a:lnTo>
                    <a:pt x="3364287" y="1918738"/>
                  </a:lnTo>
                  <a:lnTo>
                    <a:pt x="3364287" y="1928610"/>
                  </a:lnTo>
                  <a:lnTo>
                    <a:pt x="3360268" y="1932649"/>
                  </a:lnTo>
                  <a:lnTo>
                    <a:pt x="3350359" y="1932649"/>
                  </a:lnTo>
                  <a:lnTo>
                    <a:pt x="3346340" y="1928610"/>
                  </a:lnTo>
                  <a:lnTo>
                    <a:pt x="3346340" y="1918738"/>
                  </a:lnTo>
                  <a:close/>
                  <a:moveTo>
                    <a:pt x="3111048" y="1914699"/>
                  </a:moveTo>
                  <a:lnTo>
                    <a:pt x="3120959" y="1914699"/>
                  </a:lnTo>
                  <a:lnTo>
                    <a:pt x="3124977" y="1918739"/>
                  </a:lnTo>
                  <a:lnTo>
                    <a:pt x="3124977" y="1928610"/>
                  </a:lnTo>
                  <a:lnTo>
                    <a:pt x="3120959" y="1932649"/>
                  </a:lnTo>
                  <a:lnTo>
                    <a:pt x="3111048" y="1932649"/>
                  </a:lnTo>
                  <a:lnTo>
                    <a:pt x="3107029" y="1928610"/>
                  </a:lnTo>
                  <a:lnTo>
                    <a:pt x="3107029" y="1918739"/>
                  </a:lnTo>
                  <a:close/>
                  <a:moveTo>
                    <a:pt x="2871737" y="1914699"/>
                  </a:moveTo>
                  <a:lnTo>
                    <a:pt x="2881646" y="1914699"/>
                  </a:lnTo>
                  <a:lnTo>
                    <a:pt x="2885666" y="1918739"/>
                  </a:lnTo>
                  <a:lnTo>
                    <a:pt x="2885666" y="1928610"/>
                  </a:lnTo>
                  <a:lnTo>
                    <a:pt x="2881646" y="1932649"/>
                  </a:lnTo>
                  <a:lnTo>
                    <a:pt x="2871737" y="1932649"/>
                  </a:lnTo>
                  <a:lnTo>
                    <a:pt x="2867717" y="1928610"/>
                  </a:lnTo>
                  <a:lnTo>
                    <a:pt x="2867717" y="1918739"/>
                  </a:lnTo>
                  <a:close/>
                  <a:moveTo>
                    <a:pt x="2632423" y="1914699"/>
                  </a:moveTo>
                  <a:lnTo>
                    <a:pt x="2642334" y="1914699"/>
                  </a:lnTo>
                  <a:lnTo>
                    <a:pt x="2646352" y="1918739"/>
                  </a:lnTo>
                  <a:lnTo>
                    <a:pt x="2646352" y="1928610"/>
                  </a:lnTo>
                  <a:lnTo>
                    <a:pt x="2642334" y="1932649"/>
                  </a:lnTo>
                  <a:lnTo>
                    <a:pt x="2632423" y="1932649"/>
                  </a:lnTo>
                  <a:lnTo>
                    <a:pt x="2628404" y="1928610"/>
                  </a:lnTo>
                  <a:lnTo>
                    <a:pt x="2628404" y="1918739"/>
                  </a:lnTo>
                  <a:close/>
                  <a:moveTo>
                    <a:pt x="3589676" y="1914682"/>
                  </a:moveTo>
                  <a:lnTo>
                    <a:pt x="3599585" y="1914682"/>
                  </a:lnTo>
                  <a:lnTo>
                    <a:pt x="3603604" y="1918721"/>
                  </a:lnTo>
                  <a:lnTo>
                    <a:pt x="3603604" y="1928592"/>
                  </a:lnTo>
                  <a:lnTo>
                    <a:pt x="3599585" y="1932631"/>
                  </a:lnTo>
                  <a:lnTo>
                    <a:pt x="3589676" y="1932631"/>
                  </a:lnTo>
                  <a:lnTo>
                    <a:pt x="3585657" y="1928592"/>
                  </a:lnTo>
                  <a:lnTo>
                    <a:pt x="3585657" y="1918721"/>
                  </a:lnTo>
                  <a:close/>
                  <a:moveTo>
                    <a:pt x="4546929" y="1914681"/>
                  </a:moveTo>
                  <a:lnTo>
                    <a:pt x="4556840" y="1914681"/>
                  </a:lnTo>
                  <a:lnTo>
                    <a:pt x="4560859" y="1918719"/>
                  </a:lnTo>
                  <a:lnTo>
                    <a:pt x="4560859" y="1928592"/>
                  </a:lnTo>
                  <a:lnTo>
                    <a:pt x="4556840" y="1932631"/>
                  </a:lnTo>
                  <a:lnTo>
                    <a:pt x="4546929" y="1932631"/>
                  </a:lnTo>
                  <a:lnTo>
                    <a:pt x="4542910" y="1928592"/>
                  </a:lnTo>
                  <a:lnTo>
                    <a:pt x="4542910" y="1918719"/>
                  </a:lnTo>
                  <a:close/>
                  <a:moveTo>
                    <a:pt x="4307612" y="1914681"/>
                  </a:moveTo>
                  <a:lnTo>
                    <a:pt x="4317523" y="1914681"/>
                  </a:lnTo>
                  <a:lnTo>
                    <a:pt x="4321543" y="1918720"/>
                  </a:lnTo>
                  <a:lnTo>
                    <a:pt x="4321543" y="1928592"/>
                  </a:lnTo>
                  <a:lnTo>
                    <a:pt x="4317523" y="1932631"/>
                  </a:lnTo>
                  <a:lnTo>
                    <a:pt x="4307612" y="1932631"/>
                  </a:lnTo>
                  <a:lnTo>
                    <a:pt x="4303595" y="1928592"/>
                  </a:lnTo>
                  <a:lnTo>
                    <a:pt x="4303595" y="1918720"/>
                  </a:lnTo>
                  <a:close/>
                  <a:moveTo>
                    <a:pt x="4068297" y="1914681"/>
                  </a:moveTo>
                  <a:lnTo>
                    <a:pt x="4078210" y="1914681"/>
                  </a:lnTo>
                  <a:lnTo>
                    <a:pt x="4082229" y="1918720"/>
                  </a:lnTo>
                  <a:lnTo>
                    <a:pt x="4082229" y="1928592"/>
                  </a:lnTo>
                  <a:lnTo>
                    <a:pt x="4078210" y="1932631"/>
                  </a:lnTo>
                  <a:lnTo>
                    <a:pt x="4068297" y="1932631"/>
                  </a:lnTo>
                  <a:lnTo>
                    <a:pt x="4064278" y="1928592"/>
                  </a:lnTo>
                  <a:lnTo>
                    <a:pt x="4064278" y="1918720"/>
                  </a:lnTo>
                  <a:close/>
                  <a:moveTo>
                    <a:pt x="3828990" y="1914681"/>
                  </a:moveTo>
                  <a:lnTo>
                    <a:pt x="3838899" y="1914681"/>
                  </a:lnTo>
                  <a:lnTo>
                    <a:pt x="3842917" y="1918720"/>
                  </a:lnTo>
                  <a:lnTo>
                    <a:pt x="3842917" y="1928592"/>
                  </a:lnTo>
                  <a:lnTo>
                    <a:pt x="3838899" y="1932631"/>
                  </a:lnTo>
                  <a:lnTo>
                    <a:pt x="3828990" y="1932631"/>
                  </a:lnTo>
                  <a:lnTo>
                    <a:pt x="3824971" y="1928592"/>
                  </a:lnTo>
                  <a:lnTo>
                    <a:pt x="3824971" y="1918720"/>
                  </a:lnTo>
                  <a:close/>
                  <a:moveTo>
                    <a:pt x="4786241" y="1914664"/>
                  </a:moveTo>
                  <a:lnTo>
                    <a:pt x="4796152" y="1914664"/>
                  </a:lnTo>
                  <a:lnTo>
                    <a:pt x="4800171" y="1918702"/>
                  </a:lnTo>
                  <a:lnTo>
                    <a:pt x="4800171" y="1928573"/>
                  </a:lnTo>
                  <a:lnTo>
                    <a:pt x="4796152" y="1932612"/>
                  </a:lnTo>
                  <a:lnTo>
                    <a:pt x="4786241" y="1932612"/>
                  </a:lnTo>
                  <a:lnTo>
                    <a:pt x="4782224" y="1928573"/>
                  </a:lnTo>
                  <a:lnTo>
                    <a:pt x="4782224" y="1918702"/>
                  </a:lnTo>
                  <a:close/>
                  <a:moveTo>
                    <a:pt x="5504099" y="1914663"/>
                  </a:moveTo>
                  <a:lnTo>
                    <a:pt x="5514010" y="1914663"/>
                  </a:lnTo>
                  <a:lnTo>
                    <a:pt x="5518029" y="1918702"/>
                  </a:lnTo>
                  <a:lnTo>
                    <a:pt x="5518029" y="1928572"/>
                  </a:lnTo>
                  <a:lnTo>
                    <a:pt x="5514010" y="1932612"/>
                  </a:lnTo>
                  <a:lnTo>
                    <a:pt x="5504099" y="1932612"/>
                  </a:lnTo>
                  <a:lnTo>
                    <a:pt x="5500080" y="1928572"/>
                  </a:lnTo>
                  <a:lnTo>
                    <a:pt x="5500080" y="1918702"/>
                  </a:lnTo>
                  <a:close/>
                  <a:moveTo>
                    <a:pt x="5264784" y="1914663"/>
                  </a:moveTo>
                  <a:lnTo>
                    <a:pt x="5274694" y="1914663"/>
                  </a:lnTo>
                  <a:lnTo>
                    <a:pt x="5278713" y="1918702"/>
                  </a:lnTo>
                  <a:lnTo>
                    <a:pt x="5278713" y="1928573"/>
                  </a:lnTo>
                  <a:lnTo>
                    <a:pt x="5274694" y="1932612"/>
                  </a:lnTo>
                  <a:lnTo>
                    <a:pt x="5264784" y="1932612"/>
                  </a:lnTo>
                  <a:lnTo>
                    <a:pt x="5260765" y="1928573"/>
                  </a:lnTo>
                  <a:lnTo>
                    <a:pt x="5260765" y="1918702"/>
                  </a:lnTo>
                  <a:close/>
                  <a:moveTo>
                    <a:pt x="5025470" y="1914663"/>
                  </a:moveTo>
                  <a:lnTo>
                    <a:pt x="5035381" y="1914663"/>
                  </a:lnTo>
                  <a:lnTo>
                    <a:pt x="5039400" y="1918702"/>
                  </a:lnTo>
                  <a:lnTo>
                    <a:pt x="5039400" y="1928573"/>
                  </a:lnTo>
                  <a:lnTo>
                    <a:pt x="5035381" y="1932612"/>
                  </a:lnTo>
                  <a:lnTo>
                    <a:pt x="5025470" y="1932612"/>
                  </a:lnTo>
                  <a:lnTo>
                    <a:pt x="5021451" y="1928573"/>
                  </a:lnTo>
                  <a:lnTo>
                    <a:pt x="5021451" y="1918702"/>
                  </a:lnTo>
                  <a:close/>
                  <a:moveTo>
                    <a:pt x="5743412" y="1914662"/>
                  </a:moveTo>
                  <a:lnTo>
                    <a:pt x="5753323" y="1914662"/>
                  </a:lnTo>
                  <a:lnTo>
                    <a:pt x="5757342" y="1918701"/>
                  </a:lnTo>
                  <a:lnTo>
                    <a:pt x="5757342" y="1928572"/>
                  </a:lnTo>
                  <a:lnTo>
                    <a:pt x="5753323" y="1932612"/>
                  </a:lnTo>
                  <a:lnTo>
                    <a:pt x="5743412" y="1932612"/>
                  </a:lnTo>
                  <a:lnTo>
                    <a:pt x="5739393" y="1928572"/>
                  </a:lnTo>
                  <a:lnTo>
                    <a:pt x="5739393" y="1918701"/>
                  </a:lnTo>
                  <a:close/>
                  <a:moveTo>
                    <a:pt x="5982729" y="1914645"/>
                  </a:moveTo>
                  <a:lnTo>
                    <a:pt x="5992639" y="1914645"/>
                  </a:lnTo>
                  <a:lnTo>
                    <a:pt x="5996658" y="1918684"/>
                  </a:lnTo>
                  <a:lnTo>
                    <a:pt x="5996658" y="1928555"/>
                  </a:lnTo>
                  <a:lnTo>
                    <a:pt x="5992639" y="1932594"/>
                  </a:lnTo>
                  <a:lnTo>
                    <a:pt x="5982729" y="1932594"/>
                  </a:lnTo>
                  <a:lnTo>
                    <a:pt x="5978710" y="1928555"/>
                  </a:lnTo>
                  <a:lnTo>
                    <a:pt x="5978710" y="1918684"/>
                  </a:lnTo>
                  <a:close/>
                  <a:moveTo>
                    <a:pt x="6939983" y="1914645"/>
                  </a:moveTo>
                  <a:lnTo>
                    <a:pt x="6949894" y="1914645"/>
                  </a:lnTo>
                  <a:lnTo>
                    <a:pt x="6953913" y="1918682"/>
                  </a:lnTo>
                  <a:lnTo>
                    <a:pt x="6953913" y="1928554"/>
                  </a:lnTo>
                  <a:lnTo>
                    <a:pt x="6949894" y="1932594"/>
                  </a:lnTo>
                  <a:lnTo>
                    <a:pt x="6939983" y="1932594"/>
                  </a:lnTo>
                  <a:lnTo>
                    <a:pt x="6935964" y="1928554"/>
                  </a:lnTo>
                  <a:lnTo>
                    <a:pt x="6935964" y="1918682"/>
                  </a:lnTo>
                  <a:close/>
                  <a:moveTo>
                    <a:pt x="6700670" y="1914645"/>
                  </a:moveTo>
                  <a:lnTo>
                    <a:pt x="6710581" y="1914645"/>
                  </a:lnTo>
                  <a:lnTo>
                    <a:pt x="6714600" y="1918683"/>
                  </a:lnTo>
                  <a:lnTo>
                    <a:pt x="6714600" y="1928554"/>
                  </a:lnTo>
                  <a:lnTo>
                    <a:pt x="6710581" y="1932594"/>
                  </a:lnTo>
                  <a:lnTo>
                    <a:pt x="6700670" y="1932594"/>
                  </a:lnTo>
                  <a:lnTo>
                    <a:pt x="6696651" y="1928554"/>
                  </a:lnTo>
                  <a:lnTo>
                    <a:pt x="6696651" y="1918683"/>
                  </a:lnTo>
                  <a:close/>
                  <a:moveTo>
                    <a:pt x="6461356" y="1914645"/>
                  </a:moveTo>
                  <a:lnTo>
                    <a:pt x="6471266" y="1914645"/>
                  </a:lnTo>
                  <a:lnTo>
                    <a:pt x="6475285" y="1918683"/>
                  </a:lnTo>
                  <a:lnTo>
                    <a:pt x="6475285" y="1928555"/>
                  </a:lnTo>
                  <a:lnTo>
                    <a:pt x="6471266" y="1932594"/>
                  </a:lnTo>
                  <a:lnTo>
                    <a:pt x="6461356" y="1932594"/>
                  </a:lnTo>
                  <a:lnTo>
                    <a:pt x="6457337" y="1928555"/>
                  </a:lnTo>
                  <a:lnTo>
                    <a:pt x="6457337" y="1918683"/>
                  </a:lnTo>
                  <a:close/>
                  <a:moveTo>
                    <a:pt x="6222042" y="1914645"/>
                  </a:moveTo>
                  <a:lnTo>
                    <a:pt x="6231952" y="1914645"/>
                  </a:lnTo>
                  <a:lnTo>
                    <a:pt x="6235971" y="1918683"/>
                  </a:lnTo>
                  <a:lnTo>
                    <a:pt x="6235971" y="1928555"/>
                  </a:lnTo>
                  <a:lnTo>
                    <a:pt x="6231952" y="1932594"/>
                  </a:lnTo>
                  <a:lnTo>
                    <a:pt x="6222042" y="1932594"/>
                  </a:lnTo>
                  <a:lnTo>
                    <a:pt x="6218023" y="1928555"/>
                  </a:lnTo>
                  <a:lnTo>
                    <a:pt x="6218023" y="1918683"/>
                  </a:lnTo>
                  <a:close/>
                  <a:moveTo>
                    <a:pt x="7179298" y="1914627"/>
                  </a:moveTo>
                  <a:lnTo>
                    <a:pt x="7189209" y="1914627"/>
                  </a:lnTo>
                  <a:lnTo>
                    <a:pt x="7193228" y="1918666"/>
                  </a:lnTo>
                  <a:lnTo>
                    <a:pt x="7193228" y="1928536"/>
                  </a:lnTo>
                  <a:lnTo>
                    <a:pt x="7189209" y="1932575"/>
                  </a:lnTo>
                  <a:lnTo>
                    <a:pt x="7179298" y="1932575"/>
                  </a:lnTo>
                  <a:lnTo>
                    <a:pt x="7175279" y="1928536"/>
                  </a:lnTo>
                  <a:lnTo>
                    <a:pt x="7175279" y="1918666"/>
                  </a:lnTo>
                  <a:close/>
                  <a:moveTo>
                    <a:pt x="7897241" y="1914627"/>
                  </a:moveTo>
                  <a:lnTo>
                    <a:pt x="7907151" y="1914627"/>
                  </a:lnTo>
                  <a:lnTo>
                    <a:pt x="7911170" y="1918664"/>
                  </a:lnTo>
                  <a:lnTo>
                    <a:pt x="7911170" y="1928535"/>
                  </a:lnTo>
                  <a:lnTo>
                    <a:pt x="7907151" y="1932575"/>
                  </a:lnTo>
                  <a:lnTo>
                    <a:pt x="7897241" y="1932575"/>
                  </a:lnTo>
                  <a:lnTo>
                    <a:pt x="7893222" y="1928535"/>
                  </a:lnTo>
                  <a:lnTo>
                    <a:pt x="7893222" y="1918664"/>
                  </a:lnTo>
                  <a:close/>
                  <a:moveTo>
                    <a:pt x="7657926" y="1914627"/>
                  </a:moveTo>
                  <a:lnTo>
                    <a:pt x="7667836" y="1914627"/>
                  </a:lnTo>
                  <a:lnTo>
                    <a:pt x="7671855" y="1918664"/>
                  </a:lnTo>
                  <a:lnTo>
                    <a:pt x="7671855" y="1928536"/>
                  </a:lnTo>
                  <a:lnTo>
                    <a:pt x="7667836" y="1932575"/>
                  </a:lnTo>
                  <a:lnTo>
                    <a:pt x="7657926" y="1932575"/>
                  </a:lnTo>
                  <a:lnTo>
                    <a:pt x="7653906" y="1928536"/>
                  </a:lnTo>
                  <a:lnTo>
                    <a:pt x="7653906" y="1918664"/>
                  </a:lnTo>
                  <a:close/>
                  <a:moveTo>
                    <a:pt x="7418611" y="1914627"/>
                  </a:moveTo>
                  <a:lnTo>
                    <a:pt x="7428521" y="1914627"/>
                  </a:lnTo>
                  <a:lnTo>
                    <a:pt x="7432540" y="1918664"/>
                  </a:lnTo>
                  <a:lnTo>
                    <a:pt x="7432540" y="1928536"/>
                  </a:lnTo>
                  <a:lnTo>
                    <a:pt x="7428521" y="1932575"/>
                  </a:lnTo>
                  <a:lnTo>
                    <a:pt x="7418611" y="1932575"/>
                  </a:lnTo>
                  <a:lnTo>
                    <a:pt x="7414592" y="1928536"/>
                  </a:lnTo>
                  <a:lnTo>
                    <a:pt x="7414592" y="1918664"/>
                  </a:lnTo>
                  <a:close/>
                  <a:moveTo>
                    <a:pt x="8136553" y="1914626"/>
                  </a:moveTo>
                  <a:lnTo>
                    <a:pt x="8146464" y="1914626"/>
                  </a:lnTo>
                  <a:lnTo>
                    <a:pt x="8150483" y="1918664"/>
                  </a:lnTo>
                  <a:lnTo>
                    <a:pt x="8150483" y="1928535"/>
                  </a:lnTo>
                  <a:lnTo>
                    <a:pt x="8146464" y="1932575"/>
                  </a:lnTo>
                  <a:lnTo>
                    <a:pt x="8136553" y="1932575"/>
                  </a:lnTo>
                  <a:lnTo>
                    <a:pt x="8132534" y="1928535"/>
                  </a:lnTo>
                  <a:lnTo>
                    <a:pt x="8132534" y="1918664"/>
                  </a:lnTo>
                  <a:close/>
                  <a:moveTo>
                    <a:pt x="8375869" y="1914608"/>
                  </a:moveTo>
                  <a:lnTo>
                    <a:pt x="8385779" y="1914608"/>
                  </a:lnTo>
                  <a:lnTo>
                    <a:pt x="8389799" y="1918647"/>
                  </a:lnTo>
                  <a:lnTo>
                    <a:pt x="8389799" y="1928518"/>
                  </a:lnTo>
                  <a:lnTo>
                    <a:pt x="8385779" y="1932557"/>
                  </a:lnTo>
                  <a:lnTo>
                    <a:pt x="8375869" y="1932557"/>
                  </a:lnTo>
                  <a:lnTo>
                    <a:pt x="8371850" y="1928518"/>
                  </a:lnTo>
                  <a:lnTo>
                    <a:pt x="8371850" y="1918647"/>
                  </a:lnTo>
                  <a:close/>
                  <a:moveTo>
                    <a:pt x="9333125" y="1914608"/>
                  </a:moveTo>
                  <a:lnTo>
                    <a:pt x="9343036" y="1914608"/>
                  </a:lnTo>
                  <a:lnTo>
                    <a:pt x="9347055" y="1918646"/>
                  </a:lnTo>
                  <a:lnTo>
                    <a:pt x="9347055" y="1928517"/>
                  </a:lnTo>
                  <a:lnTo>
                    <a:pt x="9343036" y="1932557"/>
                  </a:lnTo>
                  <a:lnTo>
                    <a:pt x="9333125" y="1932557"/>
                  </a:lnTo>
                  <a:lnTo>
                    <a:pt x="9329106" y="1928517"/>
                  </a:lnTo>
                  <a:lnTo>
                    <a:pt x="9329106" y="1918646"/>
                  </a:lnTo>
                  <a:close/>
                  <a:moveTo>
                    <a:pt x="9093811" y="1914608"/>
                  </a:moveTo>
                  <a:lnTo>
                    <a:pt x="9103722" y="1914608"/>
                  </a:lnTo>
                  <a:lnTo>
                    <a:pt x="9107741" y="1918646"/>
                  </a:lnTo>
                  <a:lnTo>
                    <a:pt x="9107741" y="1928517"/>
                  </a:lnTo>
                  <a:lnTo>
                    <a:pt x="9103722" y="1932557"/>
                  </a:lnTo>
                  <a:lnTo>
                    <a:pt x="9093811" y="1932557"/>
                  </a:lnTo>
                  <a:lnTo>
                    <a:pt x="9089792" y="1928517"/>
                  </a:lnTo>
                  <a:lnTo>
                    <a:pt x="9089792" y="1918646"/>
                  </a:lnTo>
                  <a:close/>
                  <a:moveTo>
                    <a:pt x="8854496" y="1914608"/>
                  </a:moveTo>
                  <a:lnTo>
                    <a:pt x="8864407" y="1914608"/>
                  </a:lnTo>
                  <a:lnTo>
                    <a:pt x="8868426" y="1918646"/>
                  </a:lnTo>
                  <a:lnTo>
                    <a:pt x="8868426" y="1928518"/>
                  </a:lnTo>
                  <a:lnTo>
                    <a:pt x="8864407" y="1932557"/>
                  </a:lnTo>
                  <a:lnTo>
                    <a:pt x="8854496" y="1932557"/>
                  </a:lnTo>
                  <a:lnTo>
                    <a:pt x="8850477" y="1928518"/>
                  </a:lnTo>
                  <a:lnTo>
                    <a:pt x="8850477" y="1918646"/>
                  </a:lnTo>
                  <a:close/>
                  <a:moveTo>
                    <a:pt x="8615184" y="1914608"/>
                  </a:moveTo>
                  <a:lnTo>
                    <a:pt x="8625095" y="1914608"/>
                  </a:lnTo>
                  <a:lnTo>
                    <a:pt x="8629114" y="1918646"/>
                  </a:lnTo>
                  <a:lnTo>
                    <a:pt x="8629114" y="1928518"/>
                  </a:lnTo>
                  <a:lnTo>
                    <a:pt x="8625095" y="1932557"/>
                  </a:lnTo>
                  <a:lnTo>
                    <a:pt x="8615184" y="1932557"/>
                  </a:lnTo>
                  <a:lnTo>
                    <a:pt x="8611165" y="1928518"/>
                  </a:lnTo>
                  <a:lnTo>
                    <a:pt x="8611165" y="1918646"/>
                  </a:lnTo>
                  <a:close/>
                  <a:moveTo>
                    <a:pt x="9572438" y="1914590"/>
                  </a:moveTo>
                  <a:lnTo>
                    <a:pt x="9582349" y="1914590"/>
                  </a:lnTo>
                  <a:lnTo>
                    <a:pt x="9586368" y="1918629"/>
                  </a:lnTo>
                  <a:lnTo>
                    <a:pt x="9586368" y="1928499"/>
                  </a:lnTo>
                  <a:lnTo>
                    <a:pt x="9582349" y="1932538"/>
                  </a:lnTo>
                  <a:lnTo>
                    <a:pt x="9572438" y="1932538"/>
                  </a:lnTo>
                  <a:lnTo>
                    <a:pt x="9568419" y="1928499"/>
                  </a:lnTo>
                  <a:lnTo>
                    <a:pt x="9568419" y="1918629"/>
                  </a:lnTo>
                  <a:close/>
                  <a:moveTo>
                    <a:pt x="243346" y="1914550"/>
                  </a:moveTo>
                  <a:lnTo>
                    <a:pt x="253256" y="1914550"/>
                  </a:lnTo>
                  <a:lnTo>
                    <a:pt x="257275" y="1918589"/>
                  </a:lnTo>
                  <a:lnTo>
                    <a:pt x="257275" y="1928459"/>
                  </a:lnTo>
                  <a:lnTo>
                    <a:pt x="253256" y="1932498"/>
                  </a:lnTo>
                  <a:lnTo>
                    <a:pt x="243346" y="1932498"/>
                  </a:lnTo>
                  <a:lnTo>
                    <a:pt x="239327" y="1928459"/>
                  </a:lnTo>
                  <a:lnTo>
                    <a:pt x="239327" y="1918589"/>
                  </a:lnTo>
                  <a:close/>
                  <a:moveTo>
                    <a:pt x="4032" y="1914550"/>
                  </a:moveTo>
                  <a:lnTo>
                    <a:pt x="13943" y="1914550"/>
                  </a:lnTo>
                  <a:lnTo>
                    <a:pt x="17962" y="1918589"/>
                  </a:lnTo>
                  <a:lnTo>
                    <a:pt x="17962" y="1928459"/>
                  </a:lnTo>
                  <a:lnTo>
                    <a:pt x="13943" y="1932498"/>
                  </a:lnTo>
                  <a:lnTo>
                    <a:pt x="4032" y="1932498"/>
                  </a:lnTo>
                  <a:lnTo>
                    <a:pt x="13" y="1928459"/>
                  </a:lnTo>
                  <a:lnTo>
                    <a:pt x="13" y="1918589"/>
                  </a:lnTo>
                  <a:close/>
                  <a:moveTo>
                    <a:pt x="721971" y="1914550"/>
                  </a:moveTo>
                  <a:lnTo>
                    <a:pt x="731882" y="1914550"/>
                  </a:lnTo>
                  <a:lnTo>
                    <a:pt x="735901" y="1918588"/>
                  </a:lnTo>
                  <a:lnTo>
                    <a:pt x="735901" y="1928459"/>
                  </a:lnTo>
                  <a:lnTo>
                    <a:pt x="731882" y="1932497"/>
                  </a:lnTo>
                  <a:lnTo>
                    <a:pt x="721971" y="1932497"/>
                  </a:lnTo>
                  <a:lnTo>
                    <a:pt x="717953" y="1928459"/>
                  </a:lnTo>
                  <a:lnTo>
                    <a:pt x="717953" y="1918588"/>
                  </a:lnTo>
                  <a:close/>
                  <a:moveTo>
                    <a:pt x="482660" y="1914550"/>
                  </a:moveTo>
                  <a:lnTo>
                    <a:pt x="492570" y="1914550"/>
                  </a:lnTo>
                  <a:lnTo>
                    <a:pt x="496589" y="1918588"/>
                  </a:lnTo>
                  <a:lnTo>
                    <a:pt x="496589" y="1928459"/>
                  </a:lnTo>
                  <a:lnTo>
                    <a:pt x="492570" y="1932497"/>
                  </a:lnTo>
                  <a:lnTo>
                    <a:pt x="482660" y="1932497"/>
                  </a:lnTo>
                  <a:lnTo>
                    <a:pt x="478640" y="1928459"/>
                  </a:lnTo>
                  <a:lnTo>
                    <a:pt x="478640" y="1918588"/>
                  </a:lnTo>
                  <a:close/>
                  <a:moveTo>
                    <a:pt x="1679215" y="1914535"/>
                  </a:moveTo>
                  <a:lnTo>
                    <a:pt x="1689125" y="1914535"/>
                  </a:lnTo>
                  <a:lnTo>
                    <a:pt x="1693144" y="1918573"/>
                  </a:lnTo>
                  <a:lnTo>
                    <a:pt x="1693144" y="1928444"/>
                  </a:lnTo>
                  <a:lnTo>
                    <a:pt x="1689125" y="1932482"/>
                  </a:lnTo>
                  <a:lnTo>
                    <a:pt x="1679215" y="1932482"/>
                  </a:lnTo>
                  <a:lnTo>
                    <a:pt x="1675195" y="1928444"/>
                  </a:lnTo>
                  <a:lnTo>
                    <a:pt x="1675195" y="1918573"/>
                  </a:lnTo>
                  <a:close/>
                  <a:moveTo>
                    <a:pt x="1439897" y="1914535"/>
                  </a:moveTo>
                  <a:lnTo>
                    <a:pt x="1449808" y="1914535"/>
                  </a:lnTo>
                  <a:lnTo>
                    <a:pt x="1453827" y="1918573"/>
                  </a:lnTo>
                  <a:lnTo>
                    <a:pt x="1453827" y="1928444"/>
                  </a:lnTo>
                  <a:lnTo>
                    <a:pt x="1449808" y="1932483"/>
                  </a:lnTo>
                  <a:lnTo>
                    <a:pt x="1439897" y="1932483"/>
                  </a:lnTo>
                  <a:lnTo>
                    <a:pt x="1435879" y="1928444"/>
                  </a:lnTo>
                  <a:lnTo>
                    <a:pt x="1435879" y="1918573"/>
                  </a:lnTo>
                  <a:close/>
                  <a:moveTo>
                    <a:pt x="1200582" y="1914535"/>
                  </a:moveTo>
                  <a:lnTo>
                    <a:pt x="1210492" y="1914535"/>
                  </a:lnTo>
                  <a:lnTo>
                    <a:pt x="1214511" y="1918573"/>
                  </a:lnTo>
                  <a:lnTo>
                    <a:pt x="1214511" y="1928444"/>
                  </a:lnTo>
                  <a:lnTo>
                    <a:pt x="1210492" y="1932483"/>
                  </a:lnTo>
                  <a:lnTo>
                    <a:pt x="1200582" y="1932483"/>
                  </a:lnTo>
                  <a:lnTo>
                    <a:pt x="1196563" y="1928444"/>
                  </a:lnTo>
                  <a:lnTo>
                    <a:pt x="1196563" y="1918573"/>
                  </a:lnTo>
                  <a:close/>
                  <a:moveTo>
                    <a:pt x="961269" y="1914535"/>
                  </a:moveTo>
                  <a:lnTo>
                    <a:pt x="971179" y="1914535"/>
                  </a:lnTo>
                  <a:lnTo>
                    <a:pt x="975198" y="1918573"/>
                  </a:lnTo>
                  <a:lnTo>
                    <a:pt x="975198" y="1928444"/>
                  </a:lnTo>
                  <a:lnTo>
                    <a:pt x="971179" y="1932483"/>
                  </a:lnTo>
                  <a:lnTo>
                    <a:pt x="961269" y="1932483"/>
                  </a:lnTo>
                  <a:lnTo>
                    <a:pt x="957250" y="1928444"/>
                  </a:lnTo>
                  <a:lnTo>
                    <a:pt x="957250" y="1918573"/>
                  </a:lnTo>
                  <a:close/>
                  <a:moveTo>
                    <a:pt x="1918513" y="1914523"/>
                  </a:moveTo>
                  <a:lnTo>
                    <a:pt x="1928424" y="1914523"/>
                  </a:lnTo>
                  <a:lnTo>
                    <a:pt x="1932443" y="1918562"/>
                  </a:lnTo>
                  <a:lnTo>
                    <a:pt x="1932443" y="1928432"/>
                  </a:lnTo>
                  <a:lnTo>
                    <a:pt x="1928424" y="1932471"/>
                  </a:lnTo>
                  <a:lnTo>
                    <a:pt x="1918513" y="1932471"/>
                  </a:lnTo>
                  <a:lnTo>
                    <a:pt x="1914494" y="1928432"/>
                  </a:lnTo>
                  <a:lnTo>
                    <a:pt x="1914494" y="1918562"/>
                  </a:lnTo>
                  <a:close/>
                  <a:moveTo>
                    <a:pt x="2157821" y="1914520"/>
                  </a:moveTo>
                  <a:lnTo>
                    <a:pt x="2167732" y="1914520"/>
                  </a:lnTo>
                  <a:lnTo>
                    <a:pt x="2171751" y="1918558"/>
                  </a:lnTo>
                  <a:lnTo>
                    <a:pt x="2171751" y="1928428"/>
                  </a:lnTo>
                  <a:lnTo>
                    <a:pt x="2167732" y="1932467"/>
                  </a:lnTo>
                  <a:lnTo>
                    <a:pt x="2157821" y="1932467"/>
                  </a:lnTo>
                  <a:lnTo>
                    <a:pt x="2153803" y="1928428"/>
                  </a:lnTo>
                  <a:lnTo>
                    <a:pt x="2153803" y="1918558"/>
                  </a:lnTo>
                  <a:close/>
                  <a:moveTo>
                    <a:pt x="2871737" y="1675350"/>
                  </a:moveTo>
                  <a:lnTo>
                    <a:pt x="2881646" y="1675350"/>
                  </a:lnTo>
                  <a:lnTo>
                    <a:pt x="2885666" y="1679389"/>
                  </a:lnTo>
                  <a:lnTo>
                    <a:pt x="2885666" y="1689260"/>
                  </a:lnTo>
                  <a:lnTo>
                    <a:pt x="2881646" y="1693299"/>
                  </a:lnTo>
                  <a:lnTo>
                    <a:pt x="2871737" y="1693299"/>
                  </a:lnTo>
                  <a:lnTo>
                    <a:pt x="2867717" y="1689260"/>
                  </a:lnTo>
                  <a:lnTo>
                    <a:pt x="2867717" y="1679389"/>
                  </a:lnTo>
                  <a:close/>
                  <a:moveTo>
                    <a:pt x="2632423" y="1675350"/>
                  </a:moveTo>
                  <a:lnTo>
                    <a:pt x="2642334" y="1675350"/>
                  </a:lnTo>
                  <a:lnTo>
                    <a:pt x="2646352" y="1679389"/>
                  </a:lnTo>
                  <a:lnTo>
                    <a:pt x="2646352" y="1689260"/>
                  </a:lnTo>
                  <a:lnTo>
                    <a:pt x="2642334" y="1693299"/>
                  </a:lnTo>
                  <a:lnTo>
                    <a:pt x="2632423" y="1693299"/>
                  </a:lnTo>
                  <a:lnTo>
                    <a:pt x="2628404" y="1689260"/>
                  </a:lnTo>
                  <a:lnTo>
                    <a:pt x="2628404" y="1679389"/>
                  </a:lnTo>
                  <a:close/>
                  <a:moveTo>
                    <a:pt x="2393104" y="1675350"/>
                  </a:moveTo>
                  <a:lnTo>
                    <a:pt x="2403015" y="1675350"/>
                  </a:lnTo>
                  <a:lnTo>
                    <a:pt x="2407034" y="1679389"/>
                  </a:lnTo>
                  <a:lnTo>
                    <a:pt x="2407034" y="1689260"/>
                  </a:lnTo>
                  <a:lnTo>
                    <a:pt x="2403015" y="1693299"/>
                  </a:lnTo>
                  <a:lnTo>
                    <a:pt x="2393104" y="1693299"/>
                  </a:lnTo>
                  <a:lnTo>
                    <a:pt x="2389087" y="1689260"/>
                  </a:lnTo>
                  <a:lnTo>
                    <a:pt x="2389087" y="1679389"/>
                  </a:lnTo>
                  <a:close/>
                  <a:moveTo>
                    <a:pt x="3350359" y="1675349"/>
                  </a:moveTo>
                  <a:lnTo>
                    <a:pt x="3360268" y="1675349"/>
                  </a:lnTo>
                  <a:lnTo>
                    <a:pt x="3364287" y="1679388"/>
                  </a:lnTo>
                  <a:lnTo>
                    <a:pt x="3364287" y="1689260"/>
                  </a:lnTo>
                  <a:lnTo>
                    <a:pt x="3360268" y="1693298"/>
                  </a:lnTo>
                  <a:lnTo>
                    <a:pt x="3350359" y="1693298"/>
                  </a:lnTo>
                  <a:lnTo>
                    <a:pt x="3346340" y="1689260"/>
                  </a:lnTo>
                  <a:lnTo>
                    <a:pt x="3346340" y="1679388"/>
                  </a:lnTo>
                  <a:close/>
                  <a:moveTo>
                    <a:pt x="3111048" y="1675349"/>
                  </a:moveTo>
                  <a:lnTo>
                    <a:pt x="3120959" y="1675349"/>
                  </a:lnTo>
                  <a:lnTo>
                    <a:pt x="3124977" y="1679388"/>
                  </a:lnTo>
                  <a:lnTo>
                    <a:pt x="3124977" y="1689260"/>
                  </a:lnTo>
                  <a:lnTo>
                    <a:pt x="3120959" y="1693299"/>
                  </a:lnTo>
                  <a:lnTo>
                    <a:pt x="3111048" y="1693299"/>
                  </a:lnTo>
                  <a:lnTo>
                    <a:pt x="3107029" y="1689260"/>
                  </a:lnTo>
                  <a:lnTo>
                    <a:pt x="3107029" y="1679388"/>
                  </a:lnTo>
                  <a:close/>
                  <a:moveTo>
                    <a:pt x="4068297" y="1675334"/>
                  </a:moveTo>
                  <a:lnTo>
                    <a:pt x="4078210" y="1675334"/>
                  </a:lnTo>
                  <a:lnTo>
                    <a:pt x="4082229" y="1679373"/>
                  </a:lnTo>
                  <a:lnTo>
                    <a:pt x="4082229" y="1689243"/>
                  </a:lnTo>
                  <a:lnTo>
                    <a:pt x="4078210" y="1693282"/>
                  </a:lnTo>
                  <a:lnTo>
                    <a:pt x="4068297" y="1693282"/>
                  </a:lnTo>
                  <a:lnTo>
                    <a:pt x="4064278" y="1689243"/>
                  </a:lnTo>
                  <a:lnTo>
                    <a:pt x="4064278" y="1679373"/>
                  </a:lnTo>
                  <a:close/>
                  <a:moveTo>
                    <a:pt x="3828990" y="1675334"/>
                  </a:moveTo>
                  <a:lnTo>
                    <a:pt x="3838899" y="1675334"/>
                  </a:lnTo>
                  <a:lnTo>
                    <a:pt x="3842917" y="1679373"/>
                  </a:lnTo>
                  <a:lnTo>
                    <a:pt x="3842917" y="1689243"/>
                  </a:lnTo>
                  <a:lnTo>
                    <a:pt x="3838899" y="1693282"/>
                  </a:lnTo>
                  <a:lnTo>
                    <a:pt x="3828990" y="1693282"/>
                  </a:lnTo>
                  <a:lnTo>
                    <a:pt x="3824971" y="1689243"/>
                  </a:lnTo>
                  <a:lnTo>
                    <a:pt x="3824971" y="1679373"/>
                  </a:lnTo>
                  <a:close/>
                  <a:moveTo>
                    <a:pt x="3589676" y="1675334"/>
                  </a:moveTo>
                  <a:lnTo>
                    <a:pt x="3599585" y="1675334"/>
                  </a:lnTo>
                  <a:lnTo>
                    <a:pt x="3603604" y="1679373"/>
                  </a:lnTo>
                  <a:lnTo>
                    <a:pt x="3603604" y="1689243"/>
                  </a:lnTo>
                  <a:lnTo>
                    <a:pt x="3599585" y="1693282"/>
                  </a:lnTo>
                  <a:lnTo>
                    <a:pt x="3589676" y="1693282"/>
                  </a:lnTo>
                  <a:lnTo>
                    <a:pt x="3585657" y="1689243"/>
                  </a:lnTo>
                  <a:lnTo>
                    <a:pt x="3585657" y="1679373"/>
                  </a:lnTo>
                  <a:close/>
                  <a:moveTo>
                    <a:pt x="4546929" y="1675333"/>
                  </a:moveTo>
                  <a:lnTo>
                    <a:pt x="4556840" y="1675333"/>
                  </a:lnTo>
                  <a:lnTo>
                    <a:pt x="4560859" y="1679372"/>
                  </a:lnTo>
                  <a:lnTo>
                    <a:pt x="4560859" y="1689243"/>
                  </a:lnTo>
                  <a:lnTo>
                    <a:pt x="4556840" y="1693281"/>
                  </a:lnTo>
                  <a:lnTo>
                    <a:pt x="4546929" y="1693281"/>
                  </a:lnTo>
                  <a:lnTo>
                    <a:pt x="4542910" y="1689243"/>
                  </a:lnTo>
                  <a:lnTo>
                    <a:pt x="4542910" y="1679372"/>
                  </a:lnTo>
                  <a:close/>
                  <a:moveTo>
                    <a:pt x="4307612" y="1675333"/>
                  </a:moveTo>
                  <a:lnTo>
                    <a:pt x="4317523" y="1675333"/>
                  </a:lnTo>
                  <a:lnTo>
                    <a:pt x="4321543" y="1679372"/>
                  </a:lnTo>
                  <a:lnTo>
                    <a:pt x="4321543" y="1689243"/>
                  </a:lnTo>
                  <a:lnTo>
                    <a:pt x="4317523" y="1693282"/>
                  </a:lnTo>
                  <a:lnTo>
                    <a:pt x="4307612" y="1693282"/>
                  </a:lnTo>
                  <a:lnTo>
                    <a:pt x="4303595" y="1689243"/>
                  </a:lnTo>
                  <a:lnTo>
                    <a:pt x="4303595" y="1679372"/>
                  </a:lnTo>
                  <a:close/>
                  <a:moveTo>
                    <a:pt x="5264784" y="1675318"/>
                  </a:moveTo>
                  <a:lnTo>
                    <a:pt x="5274694" y="1675318"/>
                  </a:lnTo>
                  <a:lnTo>
                    <a:pt x="5278713" y="1679357"/>
                  </a:lnTo>
                  <a:lnTo>
                    <a:pt x="5278713" y="1689227"/>
                  </a:lnTo>
                  <a:lnTo>
                    <a:pt x="5274694" y="1693266"/>
                  </a:lnTo>
                  <a:lnTo>
                    <a:pt x="5264784" y="1693266"/>
                  </a:lnTo>
                  <a:lnTo>
                    <a:pt x="5260765" y="1689227"/>
                  </a:lnTo>
                  <a:lnTo>
                    <a:pt x="5260765" y="1679357"/>
                  </a:lnTo>
                  <a:close/>
                  <a:moveTo>
                    <a:pt x="5025470" y="1675318"/>
                  </a:moveTo>
                  <a:lnTo>
                    <a:pt x="5035381" y="1675318"/>
                  </a:lnTo>
                  <a:lnTo>
                    <a:pt x="5039400" y="1679357"/>
                  </a:lnTo>
                  <a:lnTo>
                    <a:pt x="5039400" y="1689227"/>
                  </a:lnTo>
                  <a:lnTo>
                    <a:pt x="5035381" y="1693266"/>
                  </a:lnTo>
                  <a:lnTo>
                    <a:pt x="5025470" y="1693266"/>
                  </a:lnTo>
                  <a:lnTo>
                    <a:pt x="5021451" y="1689227"/>
                  </a:lnTo>
                  <a:lnTo>
                    <a:pt x="5021451" y="1679357"/>
                  </a:lnTo>
                  <a:close/>
                  <a:moveTo>
                    <a:pt x="4786241" y="1675318"/>
                  </a:moveTo>
                  <a:lnTo>
                    <a:pt x="4796152" y="1675318"/>
                  </a:lnTo>
                  <a:lnTo>
                    <a:pt x="4800171" y="1679357"/>
                  </a:lnTo>
                  <a:lnTo>
                    <a:pt x="4800171" y="1689227"/>
                  </a:lnTo>
                  <a:lnTo>
                    <a:pt x="4796152" y="1693266"/>
                  </a:lnTo>
                  <a:lnTo>
                    <a:pt x="4786241" y="1693266"/>
                  </a:lnTo>
                  <a:lnTo>
                    <a:pt x="4782224" y="1689227"/>
                  </a:lnTo>
                  <a:lnTo>
                    <a:pt x="4782224" y="1679357"/>
                  </a:lnTo>
                  <a:close/>
                  <a:moveTo>
                    <a:pt x="5743412" y="1675316"/>
                  </a:moveTo>
                  <a:lnTo>
                    <a:pt x="5753323" y="1675316"/>
                  </a:lnTo>
                  <a:lnTo>
                    <a:pt x="5757342" y="1679356"/>
                  </a:lnTo>
                  <a:lnTo>
                    <a:pt x="5757342" y="1689227"/>
                  </a:lnTo>
                  <a:lnTo>
                    <a:pt x="5753323" y="1693266"/>
                  </a:lnTo>
                  <a:lnTo>
                    <a:pt x="5743412" y="1693266"/>
                  </a:lnTo>
                  <a:lnTo>
                    <a:pt x="5739393" y="1689227"/>
                  </a:lnTo>
                  <a:lnTo>
                    <a:pt x="5739393" y="1679356"/>
                  </a:lnTo>
                  <a:close/>
                  <a:moveTo>
                    <a:pt x="5504099" y="1675316"/>
                  </a:moveTo>
                  <a:lnTo>
                    <a:pt x="5514010" y="1675316"/>
                  </a:lnTo>
                  <a:lnTo>
                    <a:pt x="5518029" y="1679356"/>
                  </a:lnTo>
                  <a:lnTo>
                    <a:pt x="5518029" y="1689227"/>
                  </a:lnTo>
                  <a:lnTo>
                    <a:pt x="5514010" y="1693266"/>
                  </a:lnTo>
                  <a:lnTo>
                    <a:pt x="5504099" y="1693266"/>
                  </a:lnTo>
                  <a:lnTo>
                    <a:pt x="5500080" y="1689227"/>
                  </a:lnTo>
                  <a:lnTo>
                    <a:pt x="5500080" y="1679356"/>
                  </a:lnTo>
                  <a:close/>
                  <a:moveTo>
                    <a:pt x="6461356" y="1675301"/>
                  </a:moveTo>
                  <a:lnTo>
                    <a:pt x="6471266" y="1675301"/>
                  </a:lnTo>
                  <a:lnTo>
                    <a:pt x="6475285" y="1679339"/>
                  </a:lnTo>
                  <a:lnTo>
                    <a:pt x="6475285" y="1689210"/>
                  </a:lnTo>
                  <a:lnTo>
                    <a:pt x="6471266" y="1693249"/>
                  </a:lnTo>
                  <a:lnTo>
                    <a:pt x="6461356" y="1693249"/>
                  </a:lnTo>
                  <a:lnTo>
                    <a:pt x="6457337" y="1689210"/>
                  </a:lnTo>
                  <a:lnTo>
                    <a:pt x="6457337" y="1679339"/>
                  </a:lnTo>
                  <a:close/>
                  <a:moveTo>
                    <a:pt x="6222042" y="1675301"/>
                  </a:moveTo>
                  <a:lnTo>
                    <a:pt x="6231952" y="1675301"/>
                  </a:lnTo>
                  <a:lnTo>
                    <a:pt x="6235971" y="1679339"/>
                  </a:lnTo>
                  <a:lnTo>
                    <a:pt x="6235971" y="1689211"/>
                  </a:lnTo>
                  <a:lnTo>
                    <a:pt x="6231952" y="1693249"/>
                  </a:lnTo>
                  <a:lnTo>
                    <a:pt x="6222042" y="1693249"/>
                  </a:lnTo>
                  <a:lnTo>
                    <a:pt x="6218023" y="1689211"/>
                  </a:lnTo>
                  <a:lnTo>
                    <a:pt x="6218023" y="1679339"/>
                  </a:lnTo>
                  <a:close/>
                  <a:moveTo>
                    <a:pt x="5982729" y="1675301"/>
                  </a:moveTo>
                  <a:lnTo>
                    <a:pt x="5992639" y="1675301"/>
                  </a:lnTo>
                  <a:lnTo>
                    <a:pt x="5996658" y="1679339"/>
                  </a:lnTo>
                  <a:lnTo>
                    <a:pt x="5996658" y="1689211"/>
                  </a:lnTo>
                  <a:lnTo>
                    <a:pt x="5992639" y="1693251"/>
                  </a:lnTo>
                  <a:lnTo>
                    <a:pt x="5982729" y="1693251"/>
                  </a:lnTo>
                  <a:lnTo>
                    <a:pt x="5978710" y="1689211"/>
                  </a:lnTo>
                  <a:lnTo>
                    <a:pt x="5978710" y="1679339"/>
                  </a:lnTo>
                  <a:close/>
                  <a:moveTo>
                    <a:pt x="6939983" y="1675300"/>
                  </a:moveTo>
                  <a:lnTo>
                    <a:pt x="6949894" y="1675300"/>
                  </a:lnTo>
                  <a:lnTo>
                    <a:pt x="6953913" y="1679339"/>
                  </a:lnTo>
                  <a:lnTo>
                    <a:pt x="6953913" y="1689210"/>
                  </a:lnTo>
                  <a:lnTo>
                    <a:pt x="6949894" y="1693249"/>
                  </a:lnTo>
                  <a:lnTo>
                    <a:pt x="6939983" y="1693249"/>
                  </a:lnTo>
                  <a:lnTo>
                    <a:pt x="6935964" y="1689210"/>
                  </a:lnTo>
                  <a:lnTo>
                    <a:pt x="6935964" y="1679339"/>
                  </a:lnTo>
                  <a:close/>
                  <a:moveTo>
                    <a:pt x="6700670" y="1675300"/>
                  </a:moveTo>
                  <a:lnTo>
                    <a:pt x="6710581" y="1675300"/>
                  </a:lnTo>
                  <a:lnTo>
                    <a:pt x="6714600" y="1679339"/>
                  </a:lnTo>
                  <a:lnTo>
                    <a:pt x="6714600" y="1689210"/>
                  </a:lnTo>
                  <a:lnTo>
                    <a:pt x="6710581" y="1693249"/>
                  </a:lnTo>
                  <a:lnTo>
                    <a:pt x="6700670" y="1693249"/>
                  </a:lnTo>
                  <a:lnTo>
                    <a:pt x="6696651" y="1689210"/>
                  </a:lnTo>
                  <a:lnTo>
                    <a:pt x="6696651" y="1679339"/>
                  </a:lnTo>
                  <a:close/>
                  <a:moveTo>
                    <a:pt x="8136553" y="1675285"/>
                  </a:moveTo>
                  <a:lnTo>
                    <a:pt x="8146464" y="1675285"/>
                  </a:lnTo>
                  <a:lnTo>
                    <a:pt x="8150483" y="1679323"/>
                  </a:lnTo>
                  <a:lnTo>
                    <a:pt x="8150483" y="1689193"/>
                  </a:lnTo>
                  <a:lnTo>
                    <a:pt x="8146464" y="1693232"/>
                  </a:lnTo>
                  <a:lnTo>
                    <a:pt x="8136553" y="1693232"/>
                  </a:lnTo>
                  <a:lnTo>
                    <a:pt x="8132534" y="1689193"/>
                  </a:lnTo>
                  <a:lnTo>
                    <a:pt x="8132534" y="1679323"/>
                  </a:lnTo>
                  <a:close/>
                  <a:moveTo>
                    <a:pt x="7897241" y="1675285"/>
                  </a:moveTo>
                  <a:lnTo>
                    <a:pt x="7907151" y="1675285"/>
                  </a:lnTo>
                  <a:lnTo>
                    <a:pt x="7911170" y="1679323"/>
                  </a:lnTo>
                  <a:lnTo>
                    <a:pt x="7911170" y="1689193"/>
                  </a:lnTo>
                  <a:lnTo>
                    <a:pt x="7907151" y="1693232"/>
                  </a:lnTo>
                  <a:lnTo>
                    <a:pt x="7897241" y="1693232"/>
                  </a:lnTo>
                  <a:lnTo>
                    <a:pt x="7893222" y="1689193"/>
                  </a:lnTo>
                  <a:lnTo>
                    <a:pt x="7893222" y="1679323"/>
                  </a:lnTo>
                  <a:close/>
                  <a:moveTo>
                    <a:pt x="7657926" y="1675285"/>
                  </a:moveTo>
                  <a:lnTo>
                    <a:pt x="7667836" y="1675285"/>
                  </a:lnTo>
                  <a:lnTo>
                    <a:pt x="7671855" y="1679323"/>
                  </a:lnTo>
                  <a:lnTo>
                    <a:pt x="7671855" y="1689193"/>
                  </a:lnTo>
                  <a:lnTo>
                    <a:pt x="7667836" y="1693232"/>
                  </a:lnTo>
                  <a:lnTo>
                    <a:pt x="7657926" y="1693232"/>
                  </a:lnTo>
                  <a:lnTo>
                    <a:pt x="7653906" y="1689193"/>
                  </a:lnTo>
                  <a:lnTo>
                    <a:pt x="7653906" y="1679323"/>
                  </a:lnTo>
                  <a:close/>
                  <a:moveTo>
                    <a:pt x="7418611" y="1675285"/>
                  </a:moveTo>
                  <a:lnTo>
                    <a:pt x="7428521" y="1675285"/>
                  </a:lnTo>
                  <a:lnTo>
                    <a:pt x="7432540" y="1679323"/>
                  </a:lnTo>
                  <a:lnTo>
                    <a:pt x="7432540" y="1689195"/>
                  </a:lnTo>
                  <a:lnTo>
                    <a:pt x="7428521" y="1693232"/>
                  </a:lnTo>
                  <a:lnTo>
                    <a:pt x="7418611" y="1693232"/>
                  </a:lnTo>
                  <a:lnTo>
                    <a:pt x="7414592" y="1689195"/>
                  </a:lnTo>
                  <a:lnTo>
                    <a:pt x="7414592" y="1679323"/>
                  </a:lnTo>
                  <a:close/>
                  <a:moveTo>
                    <a:pt x="7179298" y="1675285"/>
                  </a:moveTo>
                  <a:lnTo>
                    <a:pt x="7189209" y="1675285"/>
                  </a:lnTo>
                  <a:lnTo>
                    <a:pt x="7193228" y="1679323"/>
                  </a:lnTo>
                  <a:lnTo>
                    <a:pt x="7193228" y="1689195"/>
                  </a:lnTo>
                  <a:lnTo>
                    <a:pt x="7189209" y="1693234"/>
                  </a:lnTo>
                  <a:lnTo>
                    <a:pt x="7179298" y="1693234"/>
                  </a:lnTo>
                  <a:lnTo>
                    <a:pt x="7175279" y="1689195"/>
                  </a:lnTo>
                  <a:lnTo>
                    <a:pt x="7175279" y="1679323"/>
                  </a:lnTo>
                  <a:close/>
                  <a:moveTo>
                    <a:pt x="9333125" y="1675268"/>
                  </a:moveTo>
                  <a:lnTo>
                    <a:pt x="9343036" y="1675268"/>
                  </a:lnTo>
                  <a:lnTo>
                    <a:pt x="9347055" y="1679306"/>
                  </a:lnTo>
                  <a:lnTo>
                    <a:pt x="9347055" y="1689177"/>
                  </a:lnTo>
                  <a:lnTo>
                    <a:pt x="9343036" y="1693216"/>
                  </a:lnTo>
                  <a:lnTo>
                    <a:pt x="9333125" y="1693216"/>
                  </a:lnTo>
                  <a:lnTo>
                    <a:pt x="9329106" y="1689177"/>
                  </a:lnTo>
                  <a:lnTo>
                    <a:pt x="9329106" y="1679306"/>
                  </a:lnTo>
                  <a:close/>
                  <a:moveTo>
                    <a:pt x="9093811" y="1675268"/>
                  </a:moveTo>
                  <a:lnTo>
                    <a:pt x="9103722" y="1675268"/>
                  </a:lnTo>
                  <a:lnTo>
                    <a:pt x="9107741" y="1679306"/>
                  </a:lnTo>
                  <a:lnTo>
                    <a:pt x="9107741" y="1689177"/>
                  </a:lnTo>
                  <a:lnTo>
                    <a:pt x="9103722" y="1693217"/>
                  </a:lnTo>
                  <a:lnTo>
                    <a:pt x="9093811" y="1693217"/>
                  </a:lnTo>
                  <a:lnTo>
                    <a:pt x="9089792" y="1689177"/>
                  </a:lnTo>
                  <a:lnTo>
                    <a:pt x="9089792" y="1679306"/>
                  </a:lnTo>
                  <a:close/>
                  <a:moveTo>
                    <a:pt x="8854496" y="1675268"/>
                  </a:moveTo>
                  <a:lnTo>
                    <a:pt x="8864407" y="1675268"/>
                  </a:lnTo>
                  <a:lnTo>
                    <a:pt x="8868426" y="1679307"/>
                  </a:lnTo>
                  <a:lnTo>
                    <a:pt x="8868426" y="1689177"/>
                  </a:lnTo>
                  <a:lnTo>
                    <a:pt x="8864407" y="1693217"/>
                  </a:lnTo>
                  <a:lnTo>
                    <a:pt x="8854496" y="1693217"/>
                  </a:lnTo>
                  <a:lnTo>
                    <a:pt x="8850477" y="1689177"/>
                  </a:lnTo>
                  <a:lnTo>
                    <a:pt x="8850477" y="1679307"/>
                  </a:lnTo>
                  <a:close/>
                  <a:moveTo>
                    <a:pt x="8615184" y="1675268"/>
                  </a:moveTo>
                  <a:lnTo>
                    <a:pt x="8625095" y="1675268"/>
                  </a:lnTo>
                  <a:lnTo>
                    <a:pt x="8629114" y="1679307"/>
                  </a:lnTo>
                  <a:lnTo>
                    <a:pt x="8629114" y="1689178"/>
                  </a:lnTo>
                  <a:lnTo>
                    <a:pt x="8625095" y="1693217"/>
                  </a:lnTo>
                  <a:lnTo>
                    <a:pt x="8615184" y="1693217"/>
                  </a:lnTo>
                  <a:lnTo>
                    <a:pt x="8611165" y="1689178"/>
                  </a:lnTo>
                  <a:lnTo>
                    <a:pt x="8611165" y="1679307"/>
                  </a:lnTo>
                  <a:close/>
                  <a:moveTo>
                    <a:pt x="8375869" y="1675268"/>
                  </a:moveTo>
                  <a:lnTo>
                    <a:pt x="8385779" y="1675268"/>
                  </a:lnTo>
                  <a:lnTo>
                    <a:pt x="8389799" y="1679307"/>
                  </a:lnTo>
                  <a:lnTo>
                    <a:pt x="8389799" y="1689178"/>
                  </a:lnTo>
                  <a:lnTo>
                    <a:pt x="8385779" y="1693217"/>
                  </a:lnTo>
                  <a:lnTo>
                    <a:pt x="8375869" y="1693217"/>
                  </a:lnTo>
                  <a:lnTo>
                    <a:pt x="8371850" y="1689178"/>
                  </a:lnTo>
                  <a:lnTo>
                    <a:pt x="8371850" y="1679307"/>
                  </a:lnTo>
                  <a:close/>
                  <a:moveTo>
                    <a:pt x="961270" y="1675255"/>
                  </a:moveTo>
                  <a:lnTo>
                    <a:pt x="971180" y="1675255"/>
                  </a:lnTo>
                  <a:lnTo>
                    <a:pt x="975199" y="1679292"/>
                  </a:lnTo>
                  <a:lnTo>
                    <a:pt x="975199" y="1689163"/>
                  </a:lnTo>
                  <a:lnTo>
                    <a:pt x="971180" y="1693202"/>
                  </a:lnTo>
                  <a:lnTo>
                    <a:pt x="961270" y="1693202"/>
                  </a:lnTo>
                  <a:lnTo>
                    <a:pt x="957251" y="1689163"/>
                  </a:lnTo>
                  <a:lnTo>
                    <a:pt x="957251" y="1679292"/>
                  </a:lnTo>
                  <a:close/>
                  <a:moveTo>
                    <a:pt x="1679215" y="1675254"/>
                  </a:moveTo>
                  <a:lnTo>
                    <a:pt x="1689126" y="1675254"/>
                  </a:lnTo>
                  <a:lnTo>
                    <a:pt x="1693145" y="1679292"/>
                  </a:lnTo>
                  <a:lnTo>
                    <a:pt x="1693145" y="1689163"/>
                  </a:lnTo>
                  <a:lnTo>
                    <a:pt x="1689126" y="1693202"/>
                  </a:lnTo>
                  <a:lnTo>
                    <a:pt x="1679215" y="1693202"/>
                  </a:lnTo>
                  <a:lnTo>
                    <a:pt x="1675196" y="1689163"/>
                  </a:lnTo>
                  <a:lnTo>
                    <a:pt x="1675196" y="1679292"/>
                  </a:lnTo>
                  <a:close/>
                  <a:moveTo>
                    <a:pt x="1439898" y="1675254"/>
                  </a:moveTo>
                  <a:lnTo>
                    <a:pt x="1449808" y="1675254"/>
                  </a:lnTo>
                  <a:lnTo>
                    <a:pt x="1453828" y="1679292"/>
                  </a:lnTo>
                  <a:lnTo>
                    <a:pt x="1453828" y="1689163"/>
                  </a:lnTo>
                  <a:lnTo>
                    <a:pt x="1449808" y="1693202"/>
                  </a:lnTo>
                  <a:lnTo>
                    <a:pt x="1439898" y="1693202"/>
                  </a:lnTo>
                  <a:lnTo>
                    <a:pt x="1435880" y="1689163"/>
                  </a:lnTo>
                  <a:lnTo>
                    <a:pt x="1435880" y="1679292"/>
                  </a:lnTo>
                  <a:close/>
                  <a:moveTo>
                    <a:pt x="1200583" y="1675254"/>
                  </a:moveTo>
                  <a:lnTo>
                    <a:pt x="1210493" y="1675254"/>
                  </a:lnTo>
                  <a:lnTo>
                    <a:pt x="1214511" y="1679292"/>
                  </a:lnTo>
                  <a:lnTo>
                    <a:pt x="1214511" y="1689163"/>
                  </a:lnTo>
                  <a:lnTo>
                    <a:pt x="1210493" y="1693202"/>
                  </a:lnTo>
                  <a:lnTo>
                    <a:pt x="1200583" y="1693202"/>
                  </a:lnTo>
                  <a:lnTo>
                    <a:pt x="1196564" y="1689163"/>
                  </a:lnTo>
                  <a:lnTo>
                    <a:pt x="1196564" y="1679292"/>
                  </a:lnTo>
                  <a:close/>
                  <a:moveTo>
                    <a:pt x="9572438" y="1675251"/>
                  </a:moveTo>
                  <a:lnTo>
                    <a:pt x="9582349" y="1675251"/>
                  </a:lnTo>
                  <a:lnTo>
                    <a:pt x="9586368" y="1679290"/>
                  </a:lnTo>
                  <a:lnTo>
                    <a:pt x="9586368" y="1689161"/>
                  </a:lnTo>
                  <a:lnTo>
                    <a:pt x="9582349" y="1693201"/>
                  </a:lnTo>
                  <a:lnTo>
                    <a:pt x="9572438" y="1693201"/>
                  </a:lnTo>
                  <a:lnTo>
                    <a:pt x="9568419" y="1689161"/>
                  </a:lnTo>
                  <a:lnTo>
                    <a:pt x="9568419" y="1679290"/>
                  </a:lnTo>
                  <a:close/>
                  <a:moveTo>
                    <a:pt x="1918514" y="1675243"/>
                  </a:moveTo>
                  <a:lnTo>
                    <a:pt x="1928424" y="1675243"/>
                  </a:lnTo>
                  <a:lnTo>
                    <a:pt x="1932443" y="1679282"/>
                  </a:lnTo>
                  <a:lnTo>
                    <a:pt x="1932443" y="1689153"/>
                  </a:lnTo>
                  <a:lnTo>
                    <a:pt x="1928424" y="1693191"/>
                  </a:lnTo>
                  <a:lnTo>
                    <a:pt x="1918514" y="1693191"/>
                  </a:lnTo>
                  <a:lnTo>
                    <a:pt x="1914494" y="1689153"/>
                  </a:lnTo>
                  <a:lnTo>
                    <a:pt x="1914494" y="1679282"/>
                  </a:lnTo>
                  <a:close/>
                  <a:moveTo>
                    <a:pt x="2157821" y="1675240"/>
                  </a:moveTo>
                  <a:lnTo>
                    <a:pt x="2167732" y="1675240"/>
                  </a:lnTo>
                  <a:lnTo>
                    <a:pt x="2171751" y="1679279"/>
                  </a:lnTo>
                  <a:lnTo>
                    <a:pt x="2171751" y="1689149"/>
                  </a:lnTo>
                  <a:lnTo>
                    <a:pt x="2167732" y="1693188"/>
                  </a:lnTo>
                  <a:lnTo>
                    <a:pt x="2157821" y="1693188"/>
                  </a:lnTo>
                  <a:lnTo>
                    <a:pt x="2153803" y="1689149"/>
                  </a:lnTo>
                  <a:lnTo>
                    <a:pt x="2153803" y="1679279"/>
                  </a:lnTo>
                  <a:close/>
                  <a:moveTo>
                    <a:pt x="243346" y="1675216"/>
                  </a:moveTo>
                  <a:lnTo>
                    <a:pt x="253257" y="1675216"/>
                  </a:lnTo>
                  <a:lnTo>
                    <a:pt x="257276" y="1679254"/>
                  </a:lnTo>
                  <a:lnTo>
                    <a:pt x="257276" y="1689125"/>
                  </a:lnTo>
                  <a:lnTo>
                    <a:pt x="253257" y="1693164"/>
                  </a:lnTo>
                  <a:lnTo>
                    <a:pt x="243346" y="1693164"/>
                  </a:lnTo>
                  <a:lnTo>
                    <a:pt x="239327" y="1689125"/>
                  </a:lnTo>
                  <a:lnTo>
                    <a:pt x="239327" y="1679254"/>
                  </a:lnTo>
                  <a:close/>
                  <a:moveTo>
                    <a:pt x="4034" y="1675216"/>
                  </a:moveTo>
                  <a:lnTo>
                    <a:pt x="13943" y="1675216"/>
                  </a:lnTo>
                  <a:lnTo>
                    <a:pt x="17962" y="1679254"/>
                  </a:lnTo>
                  <a:lnTo>
                    <a:pt x="17962" y="1689125"/>
                  </a:lnTo>
                  <a:lnTo>
                    <a:pt x="13943" y="1693164"/>
                  </a:lnTo>
                  <a:lnTo>
                    <a:pt x="4034" y="1693164"/>
                  </a:lnTo>
                  <a:lnTo>
                    <a:pt x="14" y="1689125"/>
                  </a:lnTo>
                  <a:lnTo>
                    <a:pt x="14" y="1679254"/>
                  </a:lnTo>
                  <a:close/>
                  <a:moveTo>
                    <a:pt x="721972" y="1675216"/>
                  </a:moveTo>
                  <a:lnTo>
                    <a:pt x="731882" y="1675216"/>
                  </a:lnTo>
                  <a:lnTo>
                    <a:pt x="735902" y="1679254"/>
                  </a:lnTo>
                  <a:lnTo>
                    <a:pt x="735902" y="1689125"/>
                  </a:lnTo>
                  <a:lnTo>
                    <a:pt x="731882" y="1693164"/>
                  </a:lnTo>
                  <a:lnTo>
                    <a:pt x="721972" y="1693164"/>
                  </a:lnTo>
                  <a:lnTo>
                    <a:pt x="717954" y="1689125"/>
                  </a:lnTo>
                  <a:lnTo>
                    <a:pt x="717954" y="1679254"/>
                  </a:lnTo>
                  <a:close/>
                  <a:moveTo>
                    <a:pt x="482660" y="1675216"/>
                  </a:moveTo>
                  <a:lnTo>
                    <a:pt x="492571" y="1675216"/>
                  </a:lnTo>
                  <a:lnTo>
                    <a:pt x="496589" y="1679254"/>
                  </a:lnTo>
                  <a:lnTo>
                    <a:pt x="496589" y="1689125"/>
                  </a:lnTo>
                  <a:lnTo>
                    <a:pt x="492571" y="1693164"/>
                  </a:lnTo>
                  <a:lnTo>
                    <a:pt x="482660" y="1693164"/>
                  </a:lnTo>
                  <a:lnTo>
                    <a:pt x="478641" y="1689125"/>
                  </a:lnTo>
                  <a:lnTo>
                    <a:pt x="478641" y="1679254"/>
                  </a:lnTo>
                  <a:close/>
                  <a:moveTo>
                    <a:pt x="2393104" y="1436001"/>
                  </a:moveTo>
                  <a:lnTo>
                    <a:pt x="2403015" y="1436001"/>
                  </a:lnTo>
                  <a:lnTo>
                    <a:pt x="2407034" y="1440038"/>
                  </a:lnTo>
                  <a:lnTo>
                    <a:pt x="2407034" y="1449910"/>
                  </a:lnTo>
                  <a:lnTo>
                    <a:pt x="2403015" y="1453949"/>
                  </a:lnTo>
                  <a:lnTo>
                    <a:pt x="2393104" y="1453949"/>
                  </a:lnTo>
                  <a:lnTo>
                    <a:pt x="2389087" y="1449910"/>
                  </a:lnTo>
                  <a:lnTo>
                    <a:pt x="2389087" y="1440038"/>
                  </a:lnTo>
                  <a:close/>
                  <a:moveTo>
                    <a:pt x="3350359" y="1436000"/>
                  </a:moveTo>
                  <a:lnTo>
                    <a:pt x="3360268" y="1436000"/>
                  </a:lnTo>
                  <a:lnTo>
                    <a:pt x="3364287" y="1440038"/>
                  </a:lnTo>
                  <a:lnTo>
                    <a:pt x="3364287" y="1449909"/>
                  </a:lnTo>
                  <a:lnTo>
                    <a:pt x="3360268" y="1453949"/>
                  </a:lnTo>
                  <a:lnTo>
                    <a:pt x="3350359" y="1453949"/>
                  </a:lnTo>
                  <a:lnTo>
                    <a:pt x="3346340" y="1449909"/>
                  </a:lnTo>
                  <a:lnTo>
                    <a:pt x="3346340" y="1440038"/>
                  </a:lnTo>
                  <a:close/>
                  <a:moveTo>
                    <a:pt x="3111048" y="1436000"/>
                  </a:moveTo>
                  <a:lnTo>
                    <a:pt x="3120959" y="1436000"/>
                  </a:lnTo>
                  <a:lnTo>
                    <a:pt x="3124977" y="1440038"/>
                  </a:lnTo>
                  <a:lnTo>
                    <a:pt x="3124977" y="1449910"/>
                  </a:lnTo>
                  <a:lnTo>
                    <a:pt x="3120959" y="1453949"/>
                  </a:lnTo>
                  <a:lnTo>
                    <a:pt x="3111048" y="1453949"/>
                  </a:lnTo>
                  <a:lnTo>
                    <a:pt x="3107029" y="1449910"/>
                  </a:lnTo>
                  <a:lnTo>
                    <a:pt x="3107029" y="1440038"/>
                  </a:lnTo>
                  <a:close/>
                  <a:moveTo>
                    <a:pt x="2871737" y="1436000"/>
                  </a:moveTo>
                  <a:lnTo>
                    <a:pt x="2881646" y="1436000"/>
                  </a:lnTo>
                  <a:lnTo>
                    <a:pt x="2885666" y="1440038"/>
                  </a:lnTo>
                  <a:lnTo>
                    <a:pt x="2885666" y="1449910"/>
                  </a:lnTo>
                  <a:lnTo>
                    <a:pt x="2881646" y="1453949"/>
                  </a:lnTo>
                  <a:lnTo>
                    <a:pt x="2871737" y="1453949"/>
                  </a:lnTo>
                  <a:lnTo>
                    <a:pt x="2867717" y="1449910"/>
                  </a:lnTo>
                  <a:lnTo>
                    <a:pt x="2867717" y="1440038"/>
                  </a:lnTo>
                  <a:close/>
                  <a:moveTo>
                    <a:pt x="2632423" y="1436000"/>
                  </a:moveTo>
                  <a:lnTo>
                    <a:pt x="2642334" y="1436000"/>
                  </a:lnTo>
                  <a:lnTo>
                    <a:pt x="2646352" y="1440038"/>
                  </a:lnTo>
                  <a:lnTo>
                    <a:pt x="2646352" y="1449910"/>
                  </a:lnTo>
                  <a:lnTo>
                    <a:pt x="2642334" y="1453949"/>
                  </a:lnTo>
                  <a:lnTo>
                    <a:pt x="2632423" y="1453949"/>
                  </a:lnTo>
                  <a:lnTo>
                    <a:pt x="2628404" y="1449910"/>
                  </a:lnTo>
                  <a:lnTo>
                    <a:pt x="2628404" y="1440038"/>
                  </a:lnTo>
                  <a:close/>
                  <a:moveTo>
                    <a:pt x="3589676" y="1435986"/>
                  </a:moveTo>
                  <a:lnTo>
                    <a:pt x="3599585" y="1435986"/>
                  </a:lnTo>
                  <a:lnTo>
                    <a:pt x="3603604" y="1440024"/>
                  </a:lnTo>
                  <a:lnTo>
                    <a:pt x="3603604" y="1449895"/>
                  </a:lnTo>
                  <a:lnTo>
                    <a:pt x="3599585" y="1453934"/>
                  </a:lnTo>
                  <a:lnTo>
                    <a:pt x="3589676" y="1453934"/>
                  </a:lnTo>
                  <a:lnTo>
                    <a:pt x="3585657" y="1449895"/>
                  </a:lnTo>
                  <a:lnTo>
                    <a:pt x="3585657" y="1440024"/>
                  </a:lnTo>
                  <a:close/>
                  <a:moveTo>
                    <a:pt x="4546929" y="1435986"/>
                  </a:moveTo>
                  <a:lnTo>
                    <a:pt x="4556840" y="1435986"/>
                  </a:lnTo>
                  <a:lnTo>
                    <a:pt x="4560859" y="1440024"/>
                  </a:lnTo>
                  <a:lnTo>
                    <a:pt x="4560859" y="1449895"/>
                  </a:lnTo>
                  <a:lnTo>
                    <a:pt x="4556840" y="1453934"/>
                  </a:lnTo>
                  <a:lnTo>
                    <a:pt x="4546929" y="1453934"/>
                  </a:lnTo>
                  <a:lnTo>
                    <a:pt x="4542910" y="1449895"/>
                  </a:lnTo>
                  <a:lnTo>
                    <a:pt x="4542910" y="1440024"/>
                  </a:lnTo>
                  <a:close/>
                  <a:moveTo>
                    <a:pt x="4307612" y="1435986"/>
                  </a:moveTo>
                  <a:lnTo>
                    <a:pt x="4317523" y="1435986"/>
                  </a:lnTo>
                  <a:lnTo>
                    <a:pt x="4321543" y="1440024"/>
                  </a:lnTo>
                  <a:lnTo>
                    <a:pt x="4321543" y="1449895"/>
                  </a:lnTo>
                  <a:lnTo>
                    <a:pt x="4317523" y="1453934"/>
                  </a:lnTo>
                  <a:lnTo>
                    <a:pt x="4307612" y="1453934"/>
                  </a:lnTo>
                  <a:lnTo>
                    <a:pt x="4303595" y="1449895"/>
                  </a:lnTo>
                  <a:lnTo>
                    <a:pt x="4303595" y="1440024"/>
                  </a:lnTo>
                  <a:close/>
                  <a:moveTo>
                    <a:pt x="4068297" y="1435986"/>
                  </a:moveTo>
                  <a:lnTo>
                    <a:pt x="4078210" y="1435986"/>
                  </a:lnTo>
                  <a:lnTo>
                    <a:pt x="4082229" y="1440024"/>
                  </a:lnTo>
                  <a:lnTo>
                    <a:pt x="4082229" y="1449895"/>
                  </a:lnTo>
                  <a:lnTo>
                    <a:pt x="4078210" y="1453934"/>
                  </a:lnTo>
                  <a:lnTo>
                    <a:pt x="4068297" y="1453934"/>
                  </a:lnTo>
                  <a:lnTo>
                    <a:pt x="4064278" y="1449895"/>
                  </a:lnTo>
                  <a:lnTo>
                    <a:pt x="4064278" y="1440024"/>
                  </a:lnTo>
                  <a:close/>
                  <a:moveTo>
                    <a:pt x="3828990" y="1435986"/>
                  </a:moveTo>
                  <a:lnTo>
                    <a:pt x="3838899" y="1435986"/>
                  </a:lnTo>
                  <a:lnTo>
                    <a:pt x="3842917" y="1440024"/>
                  </a:lnTo>
                  <a:lnTo>
                    <a:pt x="3842917" y="1449895"/>
                  </a:lnTo>
                  <a:lnTo>
                    <a:pt x="3838899" y="1453934"/>
                  </a:lnTo>
                  <a:lnTo>
                    <a:pt x="3828990" y="1453934"/>
                  </a:lnTo>
                  <a:lnTo>
                    <a:pt x="3824971" y="1449895"/>
                  </a:lnTo>
                  <a:lnTo>
                    <a:pt x="3824971" y="1440024"/>
                  </a:lnTo>
                  <a:close/>
                  <a:moveTo>
                    <a:pt x="4786241" y="1435972"/>
                  </a:moveTo>
                  <a:lnTo>
                    <a:pt x="4796152" y="1435972"/>
                  </a:lnTo>
                  <a:lnTo>
                    <a:pt x="4800171" y="1440010"/>
                  </a:lnTo>
                  <a:lnTo>
                    <a:pt x="4800171" y="1449881"/>
                  </a:lnTo>
                  <a:lnTo>
                    <a:pt x="4796152" y="1453920"/>
                  </a:lnTo>
                  <a:lnTo>
                    <a:pt x="4786241" y="1453920"/>
                  </a:lnTo>
                  <a:lnTo>
                    <a:pt x="4782224" y="1449881"/>
                  </a:lnTo>
                  <a:lnTo>
                    <a:pt x="4782224" y="1440010"/>
                  </a:lnTo>
                  <a:close/>
                  <a:moveTo>
                    <a:pt x="5743412" y="1435971"/>
                  </a:moveTo>
                  <a:lnTo>
                    <a:pt x="5753323" y="1435971"/>
                  </a:lnTo>
                  <a:lnTo>
                    <a:pt x="5757342" y="1440010"/>
                  </a:lnTo>
                  <a:lnTo>
                    <a:pt x="5757342" y="1449880"/>
                  </a:lnTo>
                  <a:lnTo>
                    <a:pt x="5753323" y="1453919"/>
                  </a:lnTo>
                  <a:lnTo>
                    <a:pt x="5743412" y="1453919"/>
                  </a:lnTo>
                  <a:lnTo>
                    <a:pt x="5739393" y="1449880"/>
                  </a:lnTo>
                  <a:lnTo>
                    <a:pt x="5739393" y="1440010"/>
                  </a:lnTo>
                  <a:close/>
                  <a:moveTo>
                    <a:pt x="5504099" y="1435971"/>
                  </a:moveTo>
                  <a:lnTo>
                    <a:pt x="5514010" y="1435971"/>
                  </a:lnTo>
                  <a:lnTo>
                    <a:pt x="5518029" y="1440010"/>
                  </a:lnTo>
                  <a:lnTo>
                    <a:pt x="5518029" y="1449881"/>
                  </a:lnTo>
                  <a:lnTo>
                    <a:pt x="5514010" y="1453919"/>
                  </a:lnTo>
                  <a:lnTo>
                    <a:pt x="5504099" y="1453919"/>
                  </a:lnTo>
                  <a:lnTo>
                    <a:pt x="5500080" y="1449881"/>
                  </a:lnTo>
                  <a:lnTo>
                    <a:pt x="5500080" y="1440010"/>
                  </a:lnTo>
                  <a:close/>
                  <a:moveTo>
                    <a:pt x="5264784" y="1435971"/>
                  </a:moveTo>
                  <a:lnTo>
                    <a:pt x="5274694" y="1435971"/>
                  </a:lnTo>
                  <a:lnTo>
                    <a:pt x="5278713" y="1440010"/>
                  </a:lnTo>
                  <a:lnTo>
                    <a:pt x="5278713" y="1449881"/>
                  </a:lnTo>
                  <a:lnTo>
                    <a:pt x="5274694" y="1453920"/>
                  </a:lnTo>
                  <a:lnTo>
                    <a:pt x="5264784" y="1453920"/>
                  </a:lnTo>
                  <a:lnTo>
                    <a:pt x="5260765" y="1449881"/>
                  </a:lnTo>
                  <a:lnTo>
                    <a:pt x="5260765" y="1440010"/>
                  </a:lnTo>
                  <a:close/>
                  <a:moveTo>
                    <a:pt x="5025470" y="1435971"/>
                  </a:moveTo>
                  <a:lnTo>
                    <a:pt x="5035381" y="1435971"/>
                  </a:lnTo>
                  <a:lnTo>
                    <a:pt x="5039400" y="1440010"/>
                  </a:lnTo>
                  <a:lnTo>
                    <a:pt x="5039400" y="1449881"/>
                  </a:lnTo>
                  <a:lnTo>
                    <a:pt x="5035381" y="1453920"/>
                  </a:lnTo>
                  <a:lnTo>
                    <a:pt x="5025470" y="1453920"/>
                  </a:lnTo>
                  <a:lnTo>
                    <a:pt x="5021451" y="1449881"/>
                  </a:lnTo>
                  <a:lnTo>
                    <a:pt x="5021451" y="1440010"/>
                  </a:lnTo>
                  <a:close/>
                  <a:moveTo>
                    <a:pt x="5982729" y="1435958"/>
                  </a:moveTo>
                  <a:lnTo>
                    <a:pt x="5992639" y="1435958"/>
                  </a:lnTo>
                  <a:lnTo>
                    <a:pt x="5996658" y="1439995"/>
                  </a:lnTo>
                  <a:lnTo>
                    <a:pt x="5996658" y="1449866"/>
                  </a:lnTo>
                  <a:lnTo>
                    <a:pt x="5992639" y="1453905"/>
                  </a:lnTo>
                  <a:lnTo>
                    <a:pt x="5982729" y="1453905"/>
                  </a:lnTo>
                  <a:lnTo>
                    <a:pt x="5978710" y="1449866"/>
                  </a:lnTo>
                  <a:lnTo>
                    <a:pt x="5978710" y="1439995"/>
                  </a:lnTo>
                  <a:close/>
                  <a:moveTo>
                    <a:pt x="6939983" y="1435956"/>
                  </a:moveTo>
                  <a:lnTo>
                    <a:pt x="6949894" y="1435956"/>
                  </a:lnTo>
                  <a:lnTo>
                    <a:pt x="6953913" y="1439995"/>
                  </a:lnTo>
                  <a:lnTo>
                    <a:pt x="6953913" y="1449865"/>
                  </a:lnTo>
                  <a:lnTo>
                    <a:pt x="6949894" y="1453905"/>
                  </a:lnTo>
                  <a:lnTo>
                    <a:pt x="6939983" y="1453905"/>
                  </a:lnTo>
                  <a:lnTo>
                    <a:pt x="6935964" y="1449865"/>
                  </a:lnTo>
                  <a:lnTo>
                    <a:pt x="6935964" y="1439995"/>
                  </a:lnTo>
                  <a:close/>
                  <a:moveTo>
                    <a:pt x="6700670" y="1435956"/>
                  </a:moveTo>
                  <a:lnTo>
                    <a:pt x="6710581" y="1435956"/>
                  </a:lnTo>
                  <a:lnTo>
                    <a:pt x="6714600" y="1439995"/>
                  </a:lnTo>
                  <a:lnTo>
                    <a:pt x="6714600" y="1449866"/>
                  </a:lnTo>
                  <a:lnTo>
                    <a:pt x="6710581" y="1453905"/>
                  </a:lnTo>
                  <a:lnTo>
                    <a:pt x="6700670" y="1453905"/>
                  </a:lnTo>
                  <a:lnTo>
                    <a:pt x="6696651" y="1449866"/>
                  </a:lnTo>
                  <a:lnTo>
                    <a:pt x="6696651" y="1439995"/>
                  </a:lnTo>
                  <a:close/>
                  <a:moveTo>
                    <a:pt x="6461356" y="1435956"/>
                  </a:moveTo>
                  <a:lnTo>
                    <a:pt x="6471266" y="1435956"/>
                  </a:lnTo>
                  <a:lnTo>
                    <a:pt x="6475285" y="1439995"/>
                  </a:lnTo>
                  <a:lnTo>
                    <a:pt x="6475285" y="1449866"/>
                  </a:lnTo>
                  <a:lnTo>
                    <a:pt x="6471266" y="1453905"/>
                  </a:lnTo>
                  <a:lnTo>
                    <a:pt x="6461356" y="1453905"/>
                  </a:lnTo>
                  <a:lnTo>
                    <a:pt x="6457337" y="1449866"/>
                  </a:lnTo>
                  <a:lnTo>
                    <a:pt x="6457337" y="1439995"/>
                  </a:lnTo>
                  <a:close/>
                  <a:moveTo>
                    <a:pt x="6222042" y="1435956"/>
                  </a:moveTo>
                  <a:lnTo>
                    <a:pt x="6231952" y="1435956"/>
                  </a:lnTo>
                  <a:lnTo>
                    <a:pt x="6235971" y="1439995"/>
                  </a:lnTo>
                  <a:lnTo>
                    <a:pt x="6235971" y="1449866"/>
                  </a:lnTo>
                  <a:lnTo>
                    <a:pt x="6231952" y="1453905"/>
                  </a:lnTo>
                  <a:lnTo>
                    <a:pt x="6222042" y="1453905"/>
                  </a:lnTo>
                  <a:lnTo>
                    <a:pt x="6218023" y="1449866"/>
                  </a:lnTo>
                  <a:lnTo>
                    <a:pt x="6218023" y="1439995"/>
                  </a:lnTo>
                  <a:close/>
                  <a:moveTo>
                    <a:pt x="7179298" y="1435943"/>
                  </a:moveTo>
                  <a:lnTo>
                    <a:pt x="7189209" y="1435943"/>
                  </a:lnTo>
                  <a:lnTo>
                    <a:pt x="7193228" y="1439981"/>
                  </a:lnTo>
                  <a:lnTo>
                    <a:pt x="7193228" y="1449852"/>
                  </a:lnTo>
                  <a:lnTo>
                    <a:pt x="7189209" y="1453891"/>
                  </a:lnTo>
                  <a:lnTo>
                    <a:pt x="7179298" y="1453891"/>
                  </a:lnTo>
                  <a:lnTo>
                    <a:pt x="7175279" y="1449852"/>
                  </a:lnTo>
                  <a:lnTo>
                    <a:pt x="7175279" y="1439981"/>
                  </a:lnTo>
                  <a:close/>
                  <a:moveTo>
                    <a:pt x="8136553" y="1435943"/>
                  </a:moveTo>
                  <a:lnTo>
                    <a:pt x="8146464" y="1435943"/>
                  </a:lnTo>
                  <a:lnTo>
                    <a:pt x="8150483" y="1439980"/>
                  </a:lnTo>
                  <a:lnTo>
                    <a:pt x="8150483" y="1449851"/>
                  </a:lnTo>
                  <a:lnTo>
                    <a:pt x="8146464" y="1453890"/>
                  </a:lnTo>
                  <a:lnTo>
                    <a:pt x="8136553" y="1453890"/>
                  </a:lnTo>
                  <a:lnTo>
                    <a:pt x="8132534" y="1449851"/>
                  </a:lnTo>
                  <a:lnTo>
                    <a:pt x="8132534" y="1439980"/>
                  </a:lnTo>
                  <a:close/>
                  <a:moveTo>
                    <a:pt x="7897241" y="1435943"/>
                  </a:moveTo>
                  <a:lnTo>
                    <a:pt x="7907151" y="1435943"/>
                  </a:lnTo>
                  <a:lnTo>
                    <a:pt x="7911170" y="1439980"/>
                  </a:lnTo>
                  <a:lnTo>
                    <a:pt x="7911170" y="1449852"/>
                  </a:lnTo>
                  <a:lnTo>
                    <a:pt x="7907151" y="1453890"/>
                  </a:lnTo>
                  <a:lnTo>
                    <a:pt x="7897241" y="1453890"/>
                  </a:lnTo>
                  <a:lnTo>
                    <a:pt x="7893222" y="1449852"/>
                  </a:lnTo>
                  <a:lnTo>
                    <a:pt x="7893222" y="1439980"/>
                  </a:lnTo>
                  <a:close/>
                  <a:moveTo>
                    <a:pt x="7657926" y="1435943"/>
                  </a:moveTo>
                  <a:lnTo>
                    <a:pt x="7667836" y="1435943"/>
                  </a:lnTo>
                  <a:lnTo>
                    <a:pt x="7671855" y="1439980"/>
                  </a:lnTo>
                  <a:lnTo>
                    <a:pt x="7671855" y="1449852"/>
                  </a:lnTo>
                  <a:lnTo>
                    <a:pt x="7667836" y="1453891"/>
                  </a:lnTo>
                  <a:lnTo>
                    <a:pt x="7657926" y="1453891"/>
                  </a:lnTo>
                  <a:lnTo>
                    <a:pt x="7653906" y="1449852"/>
                  </a:lnTo>
                  <a:lnTo>
                    <a:pt x="7653906" y="1439980"/>
                  </a:lnTo>
                  <a:close/>
                  <a:moveTo>
                    <a:pt x="7418611" y="1435943"/>
                  </a:moveTo>
                  <a:lnTo>
                    <a:pt x="7428521" y="1435943"/>
                  </a:lnTo>
                  <a:lnTo>
                    <a:pt x="7432540" y="1439980"/>
                  </a:lnTo>
                  <a:lnTo>
                    <a:pt x="7432540" y="1449852"/>
                  </a:lnTo>
                  <a:lnTo>
                    <a:pt x="7428521" y="1453891"/>
                  </a:lnTo>
                  <a:lnTo>
                    <a:pt x="7418611" y="1453891"/>
                  </a:lnTo>
                  <a:lnTo>
                    <a:pt x="7414592" y="1449852"/>
                  </a:lnTo>
                  <a:lnTo>
                    <a:pt x="7414592" y="1439980"/>
                  </a:lnTo>
                  <a:close/>
                  <a:moveTo>
                    <a:pt x="8375869" y="1435928"/>
                  </a:moveTo>
                  <a:lnTo>
                    <a:pt x="8385779" y="1435928"/>
                  </a:lnTo>
                  <a:lnTo>
                    <a:pt x="8389799" y="1439967"/>
                  </a:lnTo>
                  <a:lnTo>
                    <a:pt x="8389799" y="1449837"/>
                  </a:lnTo>
                  <a:lnTo>
                    <a:pt x="8385779" y="1453877"/>
                  </a:lnTo>
                  <a:lnTo>
                    <a:pt x="8375869" y="1453877"/>
                  </a:lnTo>
                  <a:lnTo>
                    <a:pt x="8371850" y="1449837"/>
                  </a:lnTo>
                  <a:lnTo>
                    <a:pt x="8371850" y="1439967"/>
                  </a:lnTo>
                  <a:close/>
                  <a:moveTo>
                    <a:pt x="9333125" y="1435928"/>
                  </a:moveTo>
                  <a:lnTo>
                    <a:pt x="9343036" y="1435928"/>
                  </a:lnTo>
                  <a:lnTo>
                    <a:pt x="9347055" y="1439967"/>
                  </a:lnTo>
                  <a:lnTo>
                    <a:pt x="9347055" y="1449836"/>
                  </a:lnTo>
                  <a:lnTo>
                    <a:pt x="9343036" y="1453876"/>
                  </a:lnTo>
                  <a:lnTo>
                    <a:pt x="9333125" y="1453876"/>
                  </a:lnTo>
                  <a:lnTo>
                    <a:pt x="9329106" y="1449836"/>
                  </a:lnTo>
                  <a:lnTo>
                    <a:pt x="9329106" y="1439967"/>
                  </a:lnTo>
                  <a:close/>
                  <a:moveTo>
                    <a:pt x="9093811" y="1435928"/>
                  </a:moveTo>
                  <a:lnTo>
                    <a:pt x="9103722" y="1435928"/>
                  </a:lnTo>
                  <a:lnTo>
                    <a:pt x="9107741" y="1439967"/>
                  </a:lnTo>
                  <a:lnTo>
                    <a:pt x="9107741" y="1449837"/>
                  </a:lnTo>
                  <a:lnTo>
                    <a:pt x="9103722" y="1453876"/>
                  </a:lnTo>
                  <a:lnTo>
                    <a:pt x="9093811" y="1453876"/>
                  </a:lnTo>
                  <a:lnTo>
                    <a:pt x="9089792" y="1449837"/>
                  </a:lnTo>
                  <a:lnTo>
                    <a:pt x="9089792" y="1439967"/>
                  </a:lnTo>
                  <a:close/>
                  <a:moveTo>
                    <a:pt x="8854496" y="1435928"/>
                  </a:moveTo>
                  <a:lnTo>
                    <a:pt x="8864407" y="1435928"/>
                  </a:lnTo>
                  <a:lnTo>
                    <a:pt x="8868426" y="1439967"/>
                  </a:lnTo>
                  <a:lnTo>
                    <a:pt x="8868426" y="1449837"/>
                  </a:lnTo>
                  <a:lnTo>
                    <a:pt x="8864407" y="1453877"/>
                  </a:lnTo>
                  <a:lnTo>
                    <a:pt x="8854496" y="1453877"/>
                  </a:lnTo>
                  <a:lnTo>
                    <a:pt x="8850477" y="1449837"/>
                  </a:lnTo>
                  <a:lnTo>
                    <a:pt x="8850477" y="1439967"/>
                  </a:lnTo>
                  <a:close/>
                  <a:moveTo>
                    <a:pt x="8615184" y="1435928"/>
                  </a:moveTo>
                  <a:lnTo>
                    <a:pt x="8625095" y="1435928"/>
                  </a:lnTo>
                  <a:lnTo>
                    <a:pt x="8629114" y="1439967"/>
                  </a:lnTo>
                  <a:lnTo>
                    <a:pt x="8629114" y="1449837"/>
                  </a:lnTo>
                  <a:lnTo>
                    <a:pt x="8625095" y="1453877"/>
                  </a:lnTo>
                  <a:lnTo>
                    <a:pt x="8615184" y="1453877"/>
                  </a:lnTo>
                  <a:lnTo>
                    <a:pt x="8611165" y="1449837"/>
                  </a:lnTo>
                  <a:lnTo>
                    <a:pt x="8611165" y="1439967"/>
                  </a:lnTo>
                  <a:close/>
                  <a:moveTo>
                    <a:pt x="1679216" y="1435922"/>
                  </a:moveTo>
                  <a:lnTo>
                    <a:pt x="1689126" y="1435922"/>
                  </a:lnTo>
                  <a:lnTo>
                    <a:pt x="1693146" y="1439960"/>
                  </a:lnTo>
                  <a:lnTo>
                    <a:pt x="1693146" y="1449831"/>
                  </a:lnTo>
                  <a:lnTo>
                    <a:pt x="1689126" y="1453870"/>
                  </a:lnTo>
                  <a:lnTo>
                    <a:pt x="1679216" y="1453870"/>
                  </a:lnTo>
                  <a:lnTo>
                    <a:pt x="1675198" y="1449831"/>
                  </a:lnTo>
                  <a:lnTo>
                    <a:pt x="1675198" y="1439960"/>
                  </a:lnTo>
                  <a:close/>
                  <a:moveTo>
                    <a:pt x="1439900" y="1435922"/>
                  </a:moveTo>
                  <a:lnTo>
                    <a:pt x="1449810" y="1435922"/>
                  </a:lnTo>
                  <a:lnTo>
                    <a:pt x="1453828" y="1439960"/>
                  </a:lnTo>
                  <a:lnTo>
                    <a:pt x="1453828" y="1449831"/>
                  </a:lnTo>
                  <a:lnTo>
                    <a:pt x="1449810" y="1453870"/>
                  </a:lnTo>
                  <a:lnTo>
                    <a:pt x="1439900" y="1453870"/>
                  </a:lnTo>
                  <a:lnTo>
                    <a:pt x="1435880" y="1449831"/>
                  </a:lnTo>
                  <a:lnTo>
                    <a:pt x="1435880" y="1439960"/>
                  </a:lnTo>
                  <a:close/>
                  <a:moveTo>
                    <a:pt x="1200583" y="1435922"/>
                  </a:moveTo>
                  <a:lnTo>
                    <a:pt x="1210493" y="1435922"/>
                  </a:lnTo>
                  <a:lnTo>
                    <a:pt x="1214512" y="1439960"/>
                  </a:lnTo>
                  <a:lnTo>
                    <a:pt x="1214512" y="1449831"/>
                  </a:lnTo>
                  <a:lnTo>
                    <a:pt x="1210493" y="1453870"/>
                  </a:lnTo>
                  <a:lnTo>
                    <a:pt x="1200583" y="1453870"/>
                  </a:lnTo>
                  <a:lnTo>
                    <a:pt x="1196564" y="1449831"/>
                  </a:lnTo>
                  <a:lnTo>
                    <a:pt x="1196564" y="1439960"/>
                  </a:lnTo>
                  <a:close/>
                  <a:moveTo>
                    <a:pt x="961270" y="1435922"/>
                  </a:moveTo>
                  <a:lnTo>
                    <a:pt x="971181" y="1435922"/>
                  </a:lnTo>
                  <a:lnTo>
                    <a:pt x="975200" y="1439960"/>
                  </a:lnTo>
                  <a:lnTo>
                    <a:pt x="975200" y="1449831"/>
                  </a:lnTo>
                  <a:lnTo>
                    <a:pt x="971181" y="1453870"/>
                  </a:lnTo>
                  <a:lnTo>
                    <a:pt x="961270" y="1453870"/>
                  </a:lnTo>
                  <a:lnTo>
                    <a:pt x="957252" y="1449831"/>
                  </a:lnTo>
                  <a:lnTo>
                    <a:pt x="957252" y="1439960"/>
                  </a:lnTo>
                  <a:close/>
                  <a:moveTo>
                    <a:pt x="9572438" y="1435914"/>
                  </a:moveTo>
                  <a:lnTo>
                    <a:pt x="9582349" y="1435914"/>
                  </a:lnTo>
                  <a:lnTo>
                    <a:pt x="9586368" y="1439952"/>
                  </a:lnTo>
                  <a:lnTo>
                    <a:pt x="9586368" y="1449823"/>
                  </a:lnTo>
                  <a:lnTo>
                    <a:pt x="9582349" y="1453862"/>
                  </a:lnTo>
                  <a:lnTo>
                    <a:pt x="9572438" y="1453862"/>
                  </a:lnTo>
                  <a:lnTo>
                    <a:pt x="9568419" y="1449823"/>
                  </a:lnTo>
                  <a:lnTo>
                    <a:pt x="9568419" y="1439952"/>
                  </a:lnTo>
                  <a:close/>
                  <a:moveTo>
                    <a:pt x="1918514" y="1435912"/>
                  </a:moveTo>
                  <a:lnTo>
                    <a:pt x="1928424" y="1435912"/>
                  </a:lnTo>
                  <a:lnTo>
                    <a:pt x="1932443" y="1439950"/>
                  </a:lnTo>
                  <a:lnTo>
                    <a:pt x="1932443" y="1449821"/>
                  </a:lnTo>
                  <a:lnTo>
                    <a:pt x="1928424" y="1453860"/>
                  </a:lnTo>
                  <a:lnTo>
                    <a:pt x="1918514" y="1453860"/>
                  </a:lnTo>
                  <a:lnTo>
                    <a:pt x="1914494" y="1449821"/>
                  </a:lnTo>
                  <a:lnTo>
                    <a:pt x="1914494" y="1439950"/>
                  </a:lnTo>
                  <a:close/>
                  <a:moveTo>
                    <a:pt x="2157823" y="1435909"/>
                  </a:moveTo>
                  <a:lnTo>
                    <a:pt x="2167733" y="1435909"/>
                  </a:lnTo>
                  <a:lnTo>
                    <a:pt x="2171751" y="1439947"/>
                  </a:lnTo>
                  <a:lnTo>
                    <a:pt x="2171751" y="1449818"/>
                  </a:lnTo>
                  <a:lnTo>
                    <a:pt x="2167733" y="1453857"/>
                  </a:lnTo>
                  <a:lnTo>
                    <a:pt x="2157823" y="1453857"/>
                  </a:lnTo>
                  <a:lnTo>
                    <a:pt x="2153803" y="1449818"/>
                  </a:lnTo>
                  <a:lnTo>
                    <a:pt x="2153803" y="1439947"/>
                  </a:lnTo>
                  <a:close/>
                  <a:moveTo>
                    <a:pt x="243347" y="1435883"/>
                  </a:moveTo>
                  <a:lnTo>
                    <a:pt x="253257" y="1435883"/>
                  </a:lnTo>
                  <a:lnTo>
                    <a:pt x="257276" y="1439920"/>
                  </a:lnTo>
                  <a:lnTo>
                    <a:pt x="257276" y="1449791"/>
                  </a:lnTo>
                  <a:lnTo>
                    <a:pt x="253257" y="1453830"/>
                  </a:lnTo>
                  <a:lnTo>
                    <a:pt x="243347" y="1453830"/>
                  </a:lnTo>
                  <a:lnTo>
                    <a:pt x="239328" y="1449791"/>
                  </a:lnTo>
                  <a:lnTo>
                    <a:pt x="239328" y="1439920"/>
                  </a:lnTo>
                  <a:close/>
                  <a:moveTo>
                    <a:pt x="4034" y="1435883"/>
                  </a:moveTo>
                  <a:lnTo>
                    <a:pt x="13944" y="1435883"/>
                  </a:lnTo>
                  <a:lnTo>
                    <a:pt x="17964" y="1439920"/>
                  </a:lnTo>
                  <a:lnTo>
                    <a:pt x="17964" y="1449791"/>
                  </a:lnTo>
                  <a:lnTo>
                    <a:pt x="13944" y="1453830"/>
                  </a:lnTo>
                  <a:lnTo>
                    <a:pt x="4034" y="1453830"/>
                  </a:lnTo>
                  <a:lnTo>
                    <a:pt x="15" y="1449791"/>
                  </a:lnTo>
                  <a:lnTo>
                    <a:pt x="15" y="1439920"/>
                  </a:lnTo>
                  <a:close/>
                  <a:moveTo>
                    <a:pt x="721973" y="1435882"/>
                  </a:moveTo>
                  <a:lnTo>
                    <a:pt x="731883" y="1435882"/>
                  </a:lnTo>
                  <a:lnTo>
                    <a:pt x="735902" y="1439920"/>
                  </a:lnTo>
                  <a:lnTo>
                    <a:pt x="735902" y="1449791"/>
                  </a:lnTo>
                  <a:lnTo>
                    <a:pt x="731883" y="1453830"/>
                  </a:lnTo>
                  <a:lnTo>
                    <a:pt x="721973" y="1453830"/>
                  </a:lnTo>
                  <a:lnTo>
                    <a:pt x="717954" y="1449791"/>
                  </a:lnTo>
                  <a:lnTo>
                    <a:pt x="717954" y="1439920"/>
                  </a:lnTo>
                  <a:close/>
                  <a:moveTo>
                    <a:pt x="482661" y="1435882"/>
                  </a:moveTo>
                  <a:lnTo>
                    <a:pt x="492571" y="1435882"/>
                  </a:lnTo>
                  <a:lnTo>
                    <a:pt x="496590" y="1439920"/>
                  </a:lnTo>
                  <a:lnTo>
                    <a:pt x="496590" y="1449791"/>
                  </a:lnTo>
                  <a:lnTo>
                    <a:pt x="492571" y="1453830"/>
                  </a:lnTo>
                  <a:lnTo>
                    <a:pt x="482661" y="1453830"/>
                  </a:lnTo>
                  <a:lnTo>
                    <a:pt x="478642" y="1449791"/>
                  </a:lnTo>
                  <a:lnTo>
                    <a:pt x="478642" y="1439920"/>
                  </a:lnTo>
                  <a:close/>
                  <a:moveTo>
                    <a:pt x="3350359" y="1196701"/>
                  </a:moveTo>
                  <a:lnTo>
                    <a:pt x="3360268" y="1196701"/>
                  </a:lnTo>
                  <a:lnTo>
                    <a:pt x="3364287" y="1200738"/>
                  </a:lnTo>
                  <a:lnTo>
                    <a:pt x="3364287" y="1210610"/>
                  </a:lnTo>
                  <a:lnTo>
                    <a:pt x="3360268" y="1214650"/>
                  </a:lnTo>
                  <a:lnTo>
                    <a:pt x="3350359" y="1214650"/>
                  </a:lnTo>
                  <a:lnTo>
                    <a:pt x="3346340" y="1210610"/>
                  </a:lnTo>
                  <a:lnTo>
                    <a:pt x="3346340" y="1200738"/>
                  </a:lnTo>
                  <a:close/>
                  <a:moveTo>
                    <a:pt x="3111048" y="1196701"/>
                  </a:moveTo>
                  <a:lnTo>
                    <a:pt x="3120959" y="1196701"/>
                  </a:lnTo>
                  <a:lnTo>
                    <a:pt x="3124977" y="1200738"/>
                  </a:lnTo>
                  <a:lnTo>
                    <a:pt x="3124977" y="1210610"/>
                  </a:lnTo>
                  <a:lnTo>
                    <a:pt x="3120959" y="1214650"/>
                  </a:lnTo>
                  <a:lnTo>
                    <a:pt x="3111048" y="1214650"/>
                  </a:lnTo>
                  <a:lnTo>
                    <a:pt x="3107029" y="1210610"/>
                  </a:lnTo>
                  <a:lnTo>
                    <a:pt x="3107029" y="1200738"/>
                  </a:lnTo>
                  <a:close/>
                  <a:moveTo>
                    <a:pt x="2871737" y="1196701"/>
                  </a:moveTo>
                  <a:lnTo>
                    <a:pt x="2881646" y="1196701"/>
                  </a:lnTo>
                  <a:lnTo>
                    <a:pt x="2885666" y="1200738"/>
                  </a:lnTo>
                  <a:lnTo>
                    <a:pt x="2885666" y="1210610"/>
                  </a:lnTo>
                  <a:lnTo>
                    <a:pt x="2881646" y="1214650"/>
                  </a:lnTo>
                  <a:lnTo>
                    <a:pt x="2871737" y="1214650"/>
                  </a:lnTo>
                  <a:lnTo>
                    <a:pt x="2867717" y="1210610"/>
                  </a:lnTo>
                  <a:lnTo>
                    <a:pt x="2867717" y="1200738"/>
                  </a:lnTo>
                  <a:close/>
                  <a:moveTo>
                    <a:pt x="2632423" y="1196701"/>
                  </a:moveTo>
                  <a:lnTo>
                    <a:pt x="2642334" y="1196701"/>
                  </a:lnTo>
                  <a:lnTo>
                    <a:pt x="2646352" y="1200740"/>
                  </a:lnTo>
                  <a:lnTo>
                    <a:pt x="2646352" y="1210610"/>
                  </a:lnTo>
                  <a:lnTo>
                    <a:pt x="2642334" y="1214650"/>
                  </a:lnTo>
                  <a:lnTo>
                    <a:pt x="2632423" y="1214650"/>
                  </a:lnTo>
                  <a:lnTo>
                    <a:pt x="2628404" y="1210610"/>
                  </a:lnTo>
                  <a:lnTo>
                    <a:pt x="2628404" y="1200740"/>
                  </a:lnTo>
                  <a:close/>
                  <a:moveTo>
                    <a:pt x="2393104" y="1196701"/>
                  </a:moveTo>
                  <a:lnTo>
                    <a:pt x="2403015" y="1196701"/>
                  </a:lnTo>
                  <a:lnTo>
                    <a:pt x="2407034" y="1200740"/>
                  </a:lnTo>
                  <a:lnTo>
                    <a:pt x="2407034" y="1210610"/>
                  </a:lnTo>
                  <a:lnTo>
                    <a:pt x="2403015" y="1214650"/>
                  </a:lnTo>
                  <a:lnTo>
                    <a:pt x="2393104" y="1214650"/>
                  </a:lnTo>
                  <a:lnTo>
                    <a:pt x="2389087" y="1210610"/>
                  </a:lnTo>
                  <a:lnTo>
                    <a:pt x="2389087" y="1200740"/>
                  </a:lnTo>
                  <a:close/>
                  <a:moveTo>
                    <a:pt x="4546929" y="1196689"/>
                  </a:moveTo>
                  <a:lnTo>
                    <a:pt x="4556840" y="1196689"/>
                  </a:lnTo>
                  <a:lnTo>
                    <a:pt x="4560859" y="1200726"/>
                  </a:lnTo>
                  <a:lnTo>
                    <a:pt x="4560859" y="1210598"/>
                  </a:lnTo>
                  <a:lnTo>
                    <a:pt x="4556840" y="1214637"/>
                  </a:lnTo>
                  <a:lnTo>
                    <a:pt x="4546929" y="1214637"/>
                  </a:lnTo>
                  <a:lnTo>
                    <a:pt x="4542910" y="1210598"/>
                  </a:lnTo>
                  <a:lnTo>
                    <a:pt x="4542910" y="1200726"/>
                  </a:lnTo>
                  <a:close/>
                  <a:moveTo>
                    <a:pt x="4307612" y="1196689"/>
                  </a:moveTo>
                  <a:lnTo>
                    <a:pt x="4317523" y="1196689"/>
                  </a:lnTo>
                  <a:lnTo>
                    <a:pt x="4321543" y="1200726"/>
                  </a:lnTo>
                  <a:lnTo>
                    <a:pt x="4321543" y="1210598"/>
                  </a:lnTo>
                  <a:lnTo>
                    <a:pt x="4317523" y="1214637"/>
                  </a:lnTo>
                  <a:lnTo>
                    <a:pt x="4307612" y="1214637"/>
                  </a:lnTo>
                  <a:lnTo>
                    <a:pt x="4303595" y="1210598"/>
                  </a:lnTo>
                  <a:lnTo>
                    <a:pt x="4303595" y="1200726"/>
                  </a:lnTo>
                  <a:close/>
                  <a:moveTo>
                    <a:pt x="4068297" y="1196689"/>
                  </a:moveTo>
                  <a:lnTo>
                    <a:pt x="4078210" y="1196689"/>
                  </a:lnTo>
                  <a:lnTo>
                    <a:pt x="4082229" y="1200726"/>
                  </a:lnTo>
                  <a:lnTo>
                    <a:pt x="4082229" y="1210598"/>
                  </a:lnTo>
                  <a:lnTo>
                    <a:pt x="4078210" y="1214637"/>
                  </a:lnTo>
                  <a:lnTo>
                    <a:pt x="4068297" y="1214637"/>
                  </a:lnTo>
                  <a:lnTo>
                    <a:pt x="4064278" y="1210598"/>
                  </a:lnTo>
                  <a:lnTo>
                    <a:pt x="4064278" y="1200726"/>
                  </a:lnTo>
                  <a:close/>
                  <a:moveTo>
                    <a:pt x="3828990" y="1196689"/>
                  </a:moveTo>
                  <a:lnTo>
                    <a:pt x="3838899" y="1196689"/>
                  </a:lnTo>
                  <a:lnTo>
                    <a:pt x="3842917" y="1200728"/>
                  </a:lnTo>
                  <a:lnTo>
                    <a:pt x="3842917" y="1210598"/>
                  </a:lnTo>
                  <a:lnTo>
                    <a:pt x="3838899" y="1214637"/>
                  </a:lnTo>
                  <a:lnTo>
                    <a:pt x="3828990" y="1214637"/>
                  </a:lnTo>
                  <a:lnTo>
                    <a:pt x="3824971" y="1210598"/>
                  </a:lnTo>
                  <a:lnTo>
                    <a:pt x="3824971" y="1200728"/>
                  </a:lnTo>
                  <a:close/>
                  <a:moveTo>
                    <a:pt x="3589676" y="1196689"/>
                  </a:moveTo>
                  <a:lnTo>
                    <a:pt x="3599585" y="1196689"/>
                  </a:lnTo>
                  <a:lnTo>
                    <a:pt x="3603604" y="1200728"/>
                  </a:lnTo>
                  <a:lnTo>
                    <a:pt x="3603604" y="1210598"/>
                  </a:lnTo>
                  <a:lnTo>
                    <a:pt x="3599585" y="1214637"/>
                  </a:lnTo>
                  <a:lnTo>
                    <a:pt x="3589676" y="1214637"/>
                  </a:lnTo>
                  <a:lnTo>
                    <a:pt x="3585657" y="1210598"/>
                  </a:lnTo>
                  <a:lnTo>
                    <a:pt x="3585657" y="1200728"/>
                  </a:lnTo>
                  <a:close/>
                  <a:moveTo>
                    <a:pt x="5743412" y="1196676"/>
                  </a:moveTo>
                  <a:lnTo>
                    <a:pt x="5753323" y="1196676"/>
                  </a:lnTo>
                  <a:lnTo>
                    <a:pt x="5757342" y="1200714"/>
                  </a:lnTo>
                  <a:lnTo>
                    <a:pt x="5757342" y="1210586"/>
                  </a:lnTo>
                  <a:lnTo>
                    <a:pt x="5753323" y="1214625"/>
                  </a:lnTo>
                  <a:lnTo>
                    <a:pt x="5743412" y="1214625"/>
                  </a:lnTo>
                  <a:lnTo>
                    <a:pt x="5739393" y="1210586"/>
                  </a:lnTo>
                  <a:lnTo>
                    <a:pt x="5739393" y="1200714"/>
                  </a:lnTo>
                  <a:close/>
                  <a:moveTo>
                    <a:pt x="5504099" y="1196676"/>
                  </a:moveTo>
                  <a:lnTo>
                    <a:pt x="5514010" y="1196676"/>
                  </a:lnTo>
                  <a:lnTo>
                    <a:pt x="5518029" y="1200714"/>
                  </a:lnTo>
                  <a:lnTo>
                    <a:pt x="5518029" y="1210586"/>
                  </a:lnTo>
                  <a:lnTo>
                    <a:pt x="5514010" y="1214625"/>
                  </a:lnTo>
                  <a:lnTo>
                    <a:pt x="5504099" y="1214625"/>
                  </a:lnTo>
                  <a:lnTo>
                    <a:pt x="5500080" y="1210586"/>
                  </a:lnTo>
                  <a:lnTo>
                    <a:pt x="5500080" y="1200714"/>
                  </a:lnTo>
                  <a:close/>
                  <a:moveTo>
                    <a:pt x="5264784" y="1196676"/>
                  </a:moveTo>
                  <a:lnTo>
                    <a:pt x="5274694" y="1196676"/>
                  </a:lnTo>
                  <a:lnTo>
                    <a:pt x="5278713" y="1200714"/>
                  </a:lnTo>
                  <a:lnTo>
                    <a:pt x="5278713" y="1210586"/>
                  </a:lnTo>
                  <a:lnTo>
                    <a:pt x="5274694" y="1214625"/>
                  </a:lnTo>
                  <a:lnTo>
                    <a:pt x="5264784" y="1214625"/>
                  </a:lnTo>
                  <a:lnTo>
                    <a:pt x="5260765" y="1210586"/>
                  </a:lnTo>
                  <a:lnTo>
                    <a:pt x="5260765" y="1200714"/>
                  </a:lnTo>
                  <a:close/>
                  <a:moveTo>
                    <a:pt x="5025470" y="1196676"/>
                  </a:moveTo>
                  <a:lnTo>
                    <a:pt x="5035381" y="1196676"/>
                  </a:lnTo>
                  <a:lnTo>
                    <a:pt x="5039400" y="1200715"/>
                  </a:lnTo>
                  <a:lnTo>
                    <a:pt x="5039400" y="1210586"/>
                  </a:lnTo>
                  <a:lnTo>
                    <a:pt x="5035381" y="1214625"/>
                  </a:lnTo>
                  <a:lnTo>
                    <a:pt x="5025470" y="1214625"/>
                  </a:lnTo>
                  <a:lnTo>
                    <a:pt x="5021451" y="1210586"/>
                  </a:lnTo>
                  <a:lnTo>
                    <a:pt x="5021451" y="1200715"/>
                  </a:lnTo>
                  <a:close/>
                  <a:moveTo>
                    <a:pt x="4786241" y="1196676"/>
                  </a:moveTo>
                  <a:lnTo>
                    <a:pt x="4796152" y="1196676"/>
                  </a:lnTo>
                  <a:lnTo>
                    <a:pt x="4800171" y="1200715"/>
                  </a:lnTo>
                  <a:lnTo>
                    <a:pt x="4800171" y="1210586"/>
                  </a:lnTo>
                  <a:lnTo>
                    <a:pt x="4796152" y="1214625"/>
                  </a:lnTo>
                  <a:lnTo>
                    <a:pt x="4786241" y="1214625"/>
                  </a:lnTo>
                  <a:lnTo>
                    <a:pt x="4782224" y="1210586"/>
                  </a:lnTo>
                  <a:lnTo>
                    <a:pt x="4782224" y="1200715"/>
                  </a:lnTo>
                  <a:close/>
                  <a:moveTo>
                    <a:pt x="6222042" y="1196664"/>
                  </a:moveTo>
                  <a:lnTo>
                    <a:pt x="6231952" y="1196664"/>
                  </a:lnTo>
                  <a:lnTo>
                    <a:pt x="6235971" y="1200703"/>
                  </a:lnTo>
                  <a:lnTo>
                    <a:pt x="6235971" y="1210573"/>
                  </a:lnTo>
                  <a:lnTo>
                    <a:pt x="6231952" y="1214612"/>
                  </a:lnTo>
                  <a:lnTo>
                    <a:pt x="6222042" y="1214612"/>
                  </a:lnTo>
                  <a:lnTo>
                    <a:pt x="6218023" y="1210573"/>
                  </a:lnTo>
                  <a:lnTo>
                    <a:pt x="6218023" y="1200703"/>
                  </a:lnTo>
                  <a:close/>
                  <a:moveTo>
                    <a:pt x="5982729" y="1196664"/>
                  </a:moveTo>
                  <a:lnTo>
                    <a:pt x="5992639" y="1196664"/>
                  </a:lnTo>
                  <a:lnTo>
                    <a:pt x="5996658" y="1200703"/>
                  </a:lnTo>
                  <a:lnTo>
                    <a:pt x="5996658" y="1210573"/>
                  </a:lnTo>
                  <a:lnTo>
                    <a:pt x="5992639" y="1214612"/>
                  </a:lnTo>
                  <a:lnTo>
                    <a:pt x="5982729" y="1214612"/>
                  </a:lnTo>
                  <a:lnTo>
                    <a:pt x="5978710" y="1210573"/>
                  </a:lnTo>
                  <a:lnTo>
                    <a:pt x="5978710" y="1200703"/>
                  </a:lnTo>
                  <a:close/>
                  <a:moveTo>
                    <a:pt x="6939983" y="1196664"/>
                  </a:moveTo>
                  <a:lnTo>
                    <a:pt x="6949894" y="1196664"/>
                  </a:lnTo>
                  <a:lnTo>
                    <a:pt x="6953913" y="1200702"/>
                  </a:lnTo>
                  <a:lnTo>
                    <a:pt x="6953913" y="1210573"/>
                  </a:lnTo>
                  <a:lnTo>
                    <a:pt x="6949894" y="1214612"/>
                  </a:lnTo>
                  <a:lnTo>
                    <a:pt x="6939983" y="1214612"/>
                  </a:lnTo>
                  <a:lnTo>
                    <a:pt x="6935964" y="1210573"/>
                  </a:lnTo>
                  <a:lnTo>
                    <a:pt x="6935964" y="1200702"/>
                  </a:lnTo>
                  <a:close/>
                  <a:moveTo>
                    <a:pt x="6700670" y="1196664"/>
                  </a:moveTo>
                  <a:lnTo>
                    <a:pt x="6710581" y="1196664"/>
                  </a:lnTo>
                  <a:lnTo>
                    <a:pt x="6714600" y="1200702"/>
                  </a:lnTo>
                  <a:lnTo>
                    <a:pt x="6714600" y="1210573"/>
                  </a:lnTo>
                  <a:lnTo>
                    <a:pt x="6710581" y="1214612"/>
                  </a:lnTo>
                  <a:lnTo>
                    <a:pt x="6700670" y="1214612"/>
                  </a:lnTo>
                  <a:lnTo>
                    <a:pt x="6696651" y="1210573"/>
                  </a:lnTo>
                  <a:lnTo>
                    <a:pt x="6696651" y="1200702"/>
                  </a:lnTo>
                  <a:close/>
                  <a:moveTo>
                    <a:pt x="6461356" y="1196664"/>
                  </a:moveTo>
                  <a:lnTo>
                    <a:pt x="6471266" y="1196664"/>
                  </a:lnTo>
                  <a:lnTo>
                    <a:pt x="6475285" y="1200702"/>
                  </a:lnTo>
                  <a:lnTo>
                    <a:pt x="6475285" y="1210573"/>
                  </a:lnTo>
                  <a:lnTo>
                    <a:pt x="6471266" y="1214612"/>
                  </a:lnTo>
                  <a:lnTo>
                    <a:pt x="6461356" y="1214612"/>
                  </a:lnTo>
                  <a:lnTo>
                    <a:pt x="6457337" y="1210573"/>
                  </a:lnTo>
                  <a:lnTo>
                    <a:pt x="6457337" y="1200702"/>
                  </a:lnTo>
                  <a:close/>
                  <a:moveTo>
                    <a:pt x="7418611" y="1196652"/>
                  </a:moveTo>
                  <a:lnTo>
                    <a:pt x="7428521" y="1196652"/>
                  </a:lnTo>
                  <a:lnTo>
                    <a:pt x="7432540" y="1200690"/>
                  </a:lnTo>
                  <a:lnTo>
                    <a:pt x="7432540" y="1210561"/>
                  </a:lnTo>
                  <a:lnTo>
                    <a:pt x="7428521" y="1214600"/>
                  </a:lnTo>
                  <a:lnTo>
                    <a:pt x="7418611" y="1214600"/>
                  </a:lnTo>
                  <a:lnTo>
                    <a:pt x="7414592" y="1210561"/>
                  </a:lnTo>
                  <a:lnTo>
                    <a:pt x="7414592" y="1200690"/>
                  </a:lnTo>
                  <a:close/>
                  <a:moveTo>
                    <a:pt x="7179298" y="1196652"/>
                  </a:moveTo>
                  <a:lnTo>
                    <a:pt x="7189209" y="1196652"/>
                  </a:lnTo>
                  <a:lnTo>
                    <a:pt x="7193228" y="1200690"/>
                  </a:lnTo>
                  <a:lnTo>
                    <a:pt x="7193228" y="1210561"/>
                  </a:lnTo>
                  <a:lnTo>
                    <a:pt x="7189209" y="1214600"/>
                  </a:lnTo>
                  <a:lnTo>
                    <a:pt x="7179298" y="1214600"/>
                  </a:lnTo>
                  <a:lnTo>
                    <a:pt x="7175279" y="1210561"/>
                  </a:lnTo>
                  <a:lnTo>
                    <a:pt x="7175279" y="1200690"/>
                  </a:lnTo>
                  <a:close/>
                  <a:moveTo>
                    <a:pt x="8136553" y="1196651"/>
                  </a:moveTo>
                  <a:lnTo>
                    <a:pt x="8146464" y="1196651"/>
                  </a:lnTo>
                  <a:lnTo>
                    <a:pt x="8150483" y="1200689"/>
                  </a:lnTo>
                  <a:lnTo>
                    <a:pt x="8150483" y="1210561"/>
                  </a:lnTo>
                  <a:lnTo>
                    <a:pt x="8146464" y="1214600"/>
                  </a:lnTo>
                  <a:lnTo>
                    <a:pt x="8136553" y="1214600"/>
                  </a:lnTo>
                  <a:lnTo>
                    <a:pt x="8132534" y="1210561"/>
                  </a:lnTo>
                  <a:lnTo>
                    <a:pt x="8132534" y="1200689"/>
                  </a:lnTo>
                  <a:close/>
                  <a:moveTo>
                    <a:pt x="7897241" y="1196651"/>
                  </a:moveTo>
                  <a:lnTo>
                    <a:pt x="7907151" y="1196651"/>
                  </a:lnTo>
                  <a:lnTo>
                    <a:pt x="7911170" y="1200689"/>
                  </a:lnTo>
                  <a:lnTo>
                    <a:pt x="7911170" y="1210561"/>
                  </a:lnTo>
                  <a:lnTo>
                    <a:pt x="7907151" y="1214600"/>
                  </a:lnTo>
                  <a:lnTo>
                    <a:pt x="7897241" y="1214600"/>
                  </a:lnTo>
                  <a:lnTo>
                    <a:pt x="7893222" y="1210561"/>
                  </a:lnTo>
                  <a:lnTo>
                    <a:pt x="7893222" y="1200689"/>
                  </a:lnTo>
                  <a:close/>
                  <a:moveTo>
                    <a:pt x="7657926" y="1196651"/>
                  </a:moveTo>
                  <a:lnTo>
                    <a:pt x="7667836" y="1196651"/>
                  </a:lnTo>
                  <a:lnTo>
                    <a:pt x="7671855" y="1200689"/>
                  </a:lnTo>
                  <a:lnTo>
                    <a:pt x="7671855" y="1210561"/>
                  </a:lnTo>
                  <a:lnTo>
                    <a:pt x="7667836" y="1214600"/>
                  </a:lnTo>
                  <a:lnTo>
                    <a:pt x="7657926" y="1214600"/>
                  </a:lnTo>
                  <a:lnTo>
                    <a:pt x="7653906" y="1210561"/>
                  </a:lnTo>
                  <a:lnTo>
                    <a:pt x="7653906" y="1200689"/>
                  </a:lnTo>
                  <a:close/>
                  <a:moveTo>
                    <a:pt x="8615184" y="1196639"/>
                  </a:moveTo>
                  <a:lnTo>
                    <a:pt x="8625095" y="1196639"/>
                  </a:lnTo>
                  <a:lnTo>
                    <a:pt x="8629114" y="1200678"/>
                  </a:lnTo>
                  <a:lnTo>
                    <a:pt x="8629114" y="1210548"/>
                  </a:lnTo>
                  <a:lnTo>
                    <a:pt x="8625095" y="1214587"/>
                  </a:lnTo>
                  <a:lnTo>
                    <a:pt x="8615184" y="1214587"/>
                  </a:lnTo>
                  <a:lnTo>
                    <a:pt x="8611165" y="1210548"/>
                  </a:lnTo>
                  <a:lnTo>
                    <a:pt x="8611165" y="1200678"/>
                  </a:lnTo>
                  <a:close/>
                  <a:moveTo>
                    <a:pt x="8375869" y="1196639"/>
                  </a:moveTo>
                  <a:lnTo>
                    <a:pt x="8385779" y="1196639"/>
                  </a:lnTo>
                  <a:lnTo>
                    <a:pt x="8389799" y="1200678"/>
                  </a:lnTo>
                  <a:lnTo>
                    <a:pt x="8389799" y="1210549"/>
                  </a:lnTo>
                  <a:lnTo>
                    <a:pt x="8385779" y="1214587"/>
                  </a:lnTo>
                  <a:lnTo>
                    <a:pt x="8375869" y="1214587"/>
                  </a:lnTo>
                  <a:lnTo>
                    <a:pt x="8371850" y="1210549"/>
                  </a:lnTo>
                  <a:lnTo>
                    <a:pt x="8371850" y="1200678"/>
                  </a:lnTo>
                  <a:close/>
                  <a:moveTo>
                    <a:pt x="9333125" y="1196639"/>
                  </a:moveTo>
                  <a:lnTo>
                    <a:pt x="9343036" y="1196639"/>
                  </a:lnTo>
                  <a:lnTo>
                    <a:pt x="9347055" y="1200677"/>
                  </a:lnTo>
                  <a:lnTo>
                    <a:pt x="9347055" y="1210548"/>
                  </a:lnTo>
                  <a:lnTo>
                    <a:pt x="9343036" y="1214587"/>
                  </a:lnTo>
                  <a:lnTo>
                    <a:pt x="9333125" y="1214587"/>
                  </a:lnTo>
                  <a:lnTo>
                    <a:pt x="9329106" y="1210548"/>
                  </a:lnTo>
                  <a:lnTo>
                    <a:pt x="9329106" y="1200677"/>
                  </a:lnTo>
                  <a:close/>
                  <a:moveTo>
                    <a:pt x="9093811" y="1196639"/>
                  </a:moveTo>
                  <a:lnTo>
                    <a:pt x="9103722" y="1196639"/>
                  </a:lnTo>
                  <a:lnTo>
                    <a:pt x="9107741" y="1200677"/>
                  </a:lnTo>
                  <a:lnTo>
                    <a:pt x="9107741" y="1210548"/>
                  </a:lnTo>
                  <a:lnTo>
                    <a:pt x="9103722" y="1214587"/>
                  </a:lnTo>
                  <a:lnTo>
                    <a:pt x="9093811" y="1214587"/>
                  </a:lnTo>
                  <a:lnTo>
                    <a:pt x="9089792" y="1210548"/>
                  </a:lnTo>
                  <a:lnTo>
                    <a:pt x="9089792" y="1200677"/>
                  </a:lnTo>
                  <a:close/>
                  <a:moveTo>
                    <a:pt x="8854496" y="1196639"/>
                  </a:moveTo>
                  <a:lnTo>
                    <a:pt x="8864407" y="1196639"/>
                  </a:lnTo>
                  <a:lnTo>
                    <a:pt x="8868426" y="1200677"/>
                  </a:lnTo>
                  <a:lnTo>
                    <a:pt x="8868426" y="1210548"/>
                  </a:lnTo>
                  <a:lnTo>
                    <a:pt x="8864407" y="1214587"/>
                  </a:lnTo>
                  <a:lnTo>
                    <a:pt x="8854496" y="1214587"/>
                  </a:lnTo>
                  <a:lnTo>
                    <a:pt x="8850477" y="1210548"/>
                  </a:lnTo>
                  <a:lnTo>
                    <a:pt x="8850477" y="1200677"/>
                  </a:lnTo>
                  <a:close/>
                  <a:moveTo>
                    <a:pt x="9572438" y="1196627"/>
                  </a:moveTo>
                  <a:lnTo>
                    <a:pt x="9582349" y="1196627"/>
                  </a:lnTo>
                  <a:lnTo>
                    <a:pt x="9586368" y="1200665"/>
                  </a:lnTo>
                  <a:lnTo>
                    <a:pt x="9586368" y="1210536"/>
                  </a:lnTo>
                  <a:lnTo>
                    <a:pt x="9582349" y="1214575"/>
                  </a:lnTo>
                  <a:lnTo>
                    <a:pt x="9572438" y="1214575"/>
                  </a:lnTo>
                  <a:lnTo>
                    <a:pt x="9568419" y="1210536"/>
                  </a:lnTo>
                  <a:lnTo>
                    <a:pt x="9568419" y="1200665"/>
                  </a:lnTo>
                  <a:close/>
                  <a:moveTo>
                    <a:pt x="4035" y="1196600"/>
                  </a:moveTo>
                  <a:lnTo>
                    <a:pt x="13945" y="1196600"/>
                  </a:lnTo>
                  <a:lnTo>
                    <a:pt x="17964" y="1200638"/>
                  </a:lnTo>
                  <a:lnTo>
                    <a:pt x="17964" y="1210509"/>
                  </a:lnTo>
                  <a:lnTo>
                    <a:pt x="13945" y="1214548"/>
                  </a:lnTo>
                  <a:lnTo>
                    <a:pt x="4035" y="1214548"/>
                  </a:lnTo>
                  <a:lnTo>
                    <a:pt x="16" y="1210509"/>
                  </a:lnTo>
                  <a:lnTo>
                    <a:pt x="16" y="1200638"/>
                  </a:lnTo>
                  <a:close/>
                  <a:moveTo>
                    <a:pt x="721974" y="1196599"/>
                  </a:moveTo>
                  <a:lnTo>
                    <a:pt x="731884" y="1196599"/>
                  </a:lnTo>
                  <a:lnTo>
                    <a:pt x="735903" y="1200638"/>
                  </a:lnTo>
                  <a:lnTo>
                    <a:pt x="735903" y="1210509"/>
                  </a:lnTo>
                  <a:lnTo>
                    <a:pt x="731884" y="1214547"/>
                  </a:lnTo>
                  <a:lnTo>
                    <a:pt x="721974" y="1214547"/>
                  </a:lnTo>
                  <a:lnTo>
                    <a:pt x="717955" y="1210509"/>
                  </a:lnTo>
                  <a:lnTo>
                    <a:pt x="717955" y="1200638"/>
                  </a:lnTo>
                  <a:close/>
                  <a:moveTo>
                    <a:pt x="482661" y="1196599"/>
                  </a:moveTo>
                  <a:lnTo>
                    <a:pt x="492572" y="1196599"/>
                  </a:lnTo>
                  <a:lnTo>
                    <a:pt x="496591" y="1200638"/>
                  </a:lnTo>
                  <a:lnTo>
                    <a:pt x="496591" y="1210509"/>
                  </a:lnTo>
                  <a:lnTo>
                    <a:pt x="492572" y="1214548"/>
                  </a:lnTo>
                  <a:lnTo>
                    <a:pt x="482661" y="1214548"/>
                  </a:lnTo>
                  <a:lnTo>
                    <a:pt x="478642" y="1210509"/>
                  </a:lnTo>
                  <a:lnTo>
                    <a:pt x="478642" y="1200638"/>
                  </a:lnTo>
                  <a:close/>
                  <a:moveTo>
                    <a:pt x="243348" y="1196599"/>
                  </a:moveTo>
                  <a:lnTo>
                    <a:pt x="253258" y="1196599"/>
                  </a:lnTo>
                  <a:lnTo>
                    <a:pt x="257278" y="1200638"/>
                  </a:lnTo>
                  <a:lnTo>
                    <a:pt x="257278" y="1210509"/>
                  </a:lnTo>
                  <a:lnTo>
                    <a:pt x="253258" y="1214548"/>
                  </a:lnTo>
                  <a:lnTo>
                    <a:pt x="243348" y="1214548"/>
                  </a:lnTo>
                  <a:lnTo>
                    <a:pt x="239329" y="1210509"/>
                  </a:lnTo>
                  <a:lnTo>
                    <a:pt x="239329" y="1200638"/>
                  </a:lnTo>
                  <a:close/>
                  <a:moveTo>
                    <a:pt x="1439900" y="1196589"/>
                  </a:moveTo>
                  <a:lnTo>
                    <a:pt x="1449810" y="1196589"/>
                  </a:lnTo>
                  <a:lnTo>
                    <a:pt x="1453829" y="1200628"/>
                  </a:lnTo>
                  <a:lnTo>
                    <a:pt x="1453829" y="1210498"/>
                  </a:lnTo>
                  <a:lnTo>
                    <a:pt x="1449810" y="1214537"/>
                  </a:lnTo>
                  <a:lnTo>
                    <a:pt x="1439900" y="1214537"/>
                  </a:lnTo>
                  <a:lnTo>
                    <a:pt x="1435881" y="1210498"/>
                  </a:lnTo>
                  <a:lnTo>
                    <a:pt x="1435881" y="1200628"/>
                  </a:lnTo>
                  <a:close/>
                  <a:moveTo>
                    <a:pt x="1200584" y="1196589"/>
                  </a:moveTo>
                  <a:lnTo>
                    <a:pt x="1210494" y="1196589"/>
                  </a:lnTo>
                  <a:lnTo>
                    <a:pt x="1214512" y="1200628"/>
                  </a:lnTo>
                  <a:lnTo>
                    <a:pt x="1214512" y="1210498"/>
                  </a:lnTo>
                  <a:lnTo>
                    <a:pt x="1210494" y="1214537"/>
                  </a:lnTo>
                  <a:lnTo>
                    <a:pt x="1200584" y="1214537"/>
                  </a:lnTo>
                  <a:lnTo>
                    <a:pt x="1196565" y="1210498"/>
                  </a:lnTo>
                  <a:lnTo>
                    <a:pt x="1196565" y="1200628"/>
                  </a:lnTo>
                  <a:close/>
                  <a:moveTo>
                    <a:pt x="961271" y="1196589"/>
                  </a:moveTo>
                  <a:lnTo>
                    <a:pt x="971181" y="1196589"/>
                  </a:lnTo>
                  <a:lnTo>
                    <a:pt x="975200" y="1200628"/>
                  </a:lnTo>
                  <a:lnTo>
                    <a:pt x="975200" y="1210499"/>
                  </a:lnTo>
                  <a:lnTo>
                    <a:pt x="971181" y="1214537"/>
                  </a:lnTo>
                  <a:lnTo>
                    <a:pt x="961271" y="1214537"/>
                  </a:lnTo>
                  <a:lnTo>
                    <a:pt x="957253" y="1210499"/>
                  </a:lnTo>
                  <a:lnTo>
                    <a:pt x="957253" y="1200628"/>
                  </a:lnTo>
                  <a:close/>
                  <a:moveTo>
                    <a:pt x="1679217" y="1196589"/>
                  </a:moveTo>
                  <a:lnTo>
                    <a:pt x="1689127" y="1196589"/>
                  </a:lnTo>
                  <a:lnTo>
                    <a:pt x="1693146" y="1200627"/>
                  </a:lnTo>
                  <a:lnTo>
                    <a:pt x="1693146" y="1210498"/>
                  </a:lnTo>
                  <a:lnTo>
                    <a:pt x="1689127" y="1214537"/>
                  </a:lnTo>
                  <a:lnTo>
                    <a:pt x="1679217" y="1214537"/>
                  </a:lnTo>
                  <a:lnTo>
                    <a:pt x="1675198" y="1210498"/>
                  </a:lnTo>
                  <a:lnTo>
                    <a:pt x="1675198" y="1200627"/>
                  </a:lnTo>
                  <a:close/>
                  <a:moveTo>
                    <a:pt x="1918514" y="1196581"/>
                  </a:moveTo>
                  <a:lnTo>
                    <a:pt x="1928424" y="1196581"/>
                  </a:lnTo>
                  <a:lnTo>
                    <a:pt x="1932443" y="1200619"/>
                  </a:lnTo>
                  <a:lnTo>
                    <a:pt x="1932443" y="1210489"/>
                  </a:lnTo>
                  <a:lnTo>
                    <a:pt x="1928424" y="1214528"/>
                  </a:lnTo>
                  <a:lnTo>
                    <a:pt x="1918514" y="1214528"/>
                  </a:lnTo>
                  <a:lnTo>
                    <a:pt x="1914495" y="1210489"/>
                  </a:lnTo>
                  <a:lnTo>
                    <a:pt x="1914495" y="1200619"/>
                  </a:lnTo>
                  <a:close/>
                  <a:moveTo>
                    <a:pt x="2157823" y="1196578"/>
                  </a:moveTo>
                  <a:lnTo>
                    <a:pt x="2167733" y="1196578"/>
                  </a:lnTo>
                  <a:lnTo>
                    <a:pt x="2171751" y="1200617"/>
                  </a:lnTo>
                  <a:lnTo>
                    <a:pt x="2171751" y="1210488"/>
                  </a:lnTo>
                  <a:lnTo>
                    <a:pt x="2167733" y="1214526"/>
                  </a:lnTo>
                  <a:lnTo>
                    <a:pt x="2157823" y="1214526"/>
                  </a:lnTo>
                  <a:lnTo>
                    <a:pt x="2153803" y="1210488"/>
                  </a:lnTo>
                  <a:lnTo>
                    <a:pt x="2153803" y="1200617"/>
                  </a:lnTo>
                  <a:close/>
                  <a:moveTo>
                    <a:pt x="3350359" y="957358"/>
                  </a:moveTo>
                  <a:lnTo>
                    <a:pt x="3360268" y="957358"/>
                  </a:lnTo>
                  <a:lnTo>
                    <a:pt x="3364287" y="961396"/>
                  </a:lnTo>
                  <a:lnTo>
                    <a:pt x="3364287" y="971266"/>
                  </a:lnTo>
                  <a:lnTo>
                    <a:pt x="3360268" y="975304"/>
                  </a:lnTo>
                  <a:lnTo>
                    <a:pt x="3350359" y="975304"/>
                  </a:lnTo>
                  <a:lnTo>
                    <a:pt x="3346340" y="971266"/>
                  </a:lnTo>
                  <a:lnTo>
                    <a:pt x="3346340" y="961396"/>
                  </a:lnTo>
                  <a:close/>
                  <a:moveTo>
                    <a:pt x="3111048" y="957358"/>
                  </a:moveTo>
                  <a:lnTo>
                    <a:pt x="3120959" y="957358"/>
                  </a:lnTo>
                  <a:lnTo>
                    <a:pt x="3124977" y="961396"/>
                  </a:lnTo>
                  <a:lnTo>
                    <a:pt x="3124977" y="971266"/>
                  </a:lnTo>
                  <a:lnTo>
                    <a:pt x="3120959" y="975304"/>
                  </a:lnTo>
                  <a:lnTo>
                    <a:pt x="3111048" y="975304"/>
                  </a:lnTo>
                  <a:lnTo>
                    <a:pt x="3107029" y="971266"/>
                  </a:lnTo>
                  <a:lnTo>
                    <a:pt x="3107029" y="961396"/>
                  </a:lnTo>
                  <a:close/>
                  <a:moveTo>
                    <a:pt x="2871737" y="957358"/>
                  </a:moveTo>
                  <a:lnTo>
                    <a:pt x="2881646" y="957358"/>
                  </a:lnTo>
                  <a:lnTo>
                    <a:pt x="2885666" y="961396"/>
                  </a:lnTo>
                  <a:lnTo>
                    <a:pt x="2885666" y="971266"/>
                  </a:lnTo>
                  <a:lnTo>
                    <a:pt x="2881646" y="975304"/>
                  </a:lnTo>
                  <a:lnTo>
                    <a:pt x="2871737" y="975304"/>
                  </a:lnTo>
                  <a:lnTo>
                    <a:pt x="2867717" y="971266"/>
                  </a:lnTo>
                  <a:lnTo>
                    <a:pt x="2867717" y="961396"/>
                  </a:lnTo>
                  <a:close/>
                  <a:moveTo>
                    <a:pt x="2632423" y="957358"/>
                  </a:moveTo>
                  <a:lnTo>
                    <a:pt x="2642334" y="957358"/>
                  </a:lnTo>
                  <a:lnTo>
                    <a:pt x="2646352" y="961396"/>
                  </a:lnTo>
                  <a:lnTo>
                    <a:pt x="2646352" y="971266"/>
                  </a:lnTo>
                  <a:lnTo>
                    <a:pt x="2642334" y="975305"/>
                  </a:lnTo>
                  <a:lnTo>
                    <a:pt x="2632423" y="975305"/>
                  </a:lnTo>
                  <a:lnTo>
                    <a:pt x="2628404" y="971266"/>
                  </a:lnTo>
                  <a:lnTo>
                    <a:pt x="2628404" y="961396"/>
                  </a:lnTo>
                  <a:close/>
                  <a:moveTo>
                    <a:pt x="2393104" y="957358"/>
                  </a:moveTo>
                  <a:lnTo>
                    <a:pt x="2403015" y="957358"/>
                  </a:lnTo>
                  <a:lnTo>
                    <a:pt x="2407034" y="961396"/>
                  </a:lnTo>
                  <a:lnTo>
                    <a:pt x="2407034" y="971266"/>
                  </a:lnTo>
                  <a:lnTo>
                    <a:pt x="2403015" y="975305"/>
                  </a:lnTo>
                  <a:lnTo>
                    <a:pt x="2393104" y="975305"/>
                  </a:lnTo>
                  <a:lnTo>
                    <a:pt x="2389087" y="971266"/>
                  </a:lnTo>
                  <a:lnTo>
                    <a:pt x="2389087" y="961396"/>
                  </a:lnTo>
                  <a:close/>
                  <a:moveTo>
                    <a:pt x="4546929" y="957347"/>
                  </a:moveTo>
                  <a:lnTo>
                    <a:pt x="4556840" y="957347"/>
                  </a:lnTo>
                  <a:lnTo>
                    <a:pt x="4560859" y="961385"/>
                  </a:lnTo>
                  <a:lnTo>
                    <a:pt x="4560859" y="971255"/>
                  </a:lnTo>
                  <a:lnTo>
                    <a:pt x="4556840" y="975293"/>
                  </a:lnTo>
                  <a:lnTo>
                    <a:pt x="4546929" y="975293"/>
                  </a:lnTo>
                  <a:lnTo>
                    <a:pt x="4542910" y="971255"/>
                  </a:lnTo>
                  <a:lnTo>
                    <a:pt x="4542910" y="961385"/>
                  </a:lnTo>
                  <a:close/>
                  <a:moveTo>
                    <a:pt x="4307612" y="957347"/>
                  </a:moveTo>
                  <a:lnTo>
                    <a:pt x="4317523" y="957347"/>
                  </a:lnTo>
                  <a:lnTo>
                    <a:pt x="4321543" y="961385"/>
                  </a:lnTo>
                  <a:lnTo>
                    <a:pt x="4321543" y="971255"/>
                  </a:lnTo>
                  <a:lnTo>
                    <a:pt x="4317523" y="975293"/>
                  </a:lnTo>
                  <a:lnTo>
                    <a:pt x="4307612" y="975293"/>
                  </a:lnTo>
                  <a:lnTo>
                    <a:pt x="4303595" y="971255"/>
                  </a:lnTo>
                  <a:lnTo>
                    <a:pt x="4303595" y="961385"/>
                  </a:lnTo>
                  <a:close/>
                  <a:moveTo>
                    <a:pt x="4068297" y="957347"/>
                  </a:moveTo>
                  <a:lnTo>
                    <a:pt x="4078210" y="957347"/>
                  </a:lnTo>
                  <a:lnTo>
                    <a:pt x="4082229" y="961385"/>
                  </a:lnTo>
                  <a:lnTo>
                    <a:pt x="4082229" y="971255"/>
                  </a:lnTo>
                  <a:lnTo>
                    <a:pt x="4078210" y="975293"/>
                  </a:lnTo>
                  <a:lnTo>
                    <a:pt x="4068297" y="975293"/>
                  </a:lnTo>
                  <a:lnTo>
                    <a:pt x="4064278" y="971255"/>
                  </a:lnTo>
                  <a:lnTo>
                    <a:pt x="4064278" y="961385"/>
                  </a:lnTo>
                  <a:close/>
                  <a:moveTo>
                    <a:pt x="3828990" y="957347"/>
                  </a:moveTo>
                  <a:lnTo>
                    <a:pt x="3838899" y="957347"/>
                  </a:lnTo>
                  <a:lnTo>
                    <a:pt x="3842917" y="961385"/>
                  </a:lnTo>
                  <a:lnTo>
                    <a:pt x="3842917" y="971255"/>
                  </a:lnTo>
                  <a:lnTo>
                    <a:pt x="3838899" y="975293"/>
                  </a:lnTo>
                  <a:lnTo>
                    <a:pt x="3828990" y="975293"/>
                  </a:lnTo>
                  <a:lnTo>
                    <a:pt x="3824971" y="971255"/>
                  </a:lnTo>
                  <a:lnTo>
                    <a:pt x="3824971" y="961385"/>
                  </a:lnTo>
                  <a:close/>
                  <a:moveTo>
                    <a:pt x="3589676" y="957347"/>
                  </a:moveTo>
                  <a:lnTo>
                    <a:pt x="3599585" y="957347"/>
                  </a:lnTo>
                  <a:lnTo>
                    <a:pt x="3603604" y="961385"/>
                  </a:lnTo>
                  <a:lnTo>
                    <a:pt x="3603604" y="971255"/>
                  </a:lnTo>
                  <a:lnTo>
                    <a:pt x="3599585" y="975293"/>
                  </a:lnTo>
                  <a:lnTo>
                    <a:pt x="3589676" y="975293"/>
                  </a:lnTo>
                  <a:lnTo>
                    <a:pt x="3585657" y="971255"/>
                  </a:lnTo>
                  <a:lnTo>
                    <a:pt x="3585657" y="961385"/>
                  </a:lnTo>
                  <a:close/>
                  <a:moveTo>
                    <a:pt x="5743412" y="957335"/>
                  </a:moveTo>
                  <a:lnTo>
                    <a:pt x="5753323" y="957335"/>
                  </a:lnTo>
                  <a:lnTo>
                    <a:pt x="5757342" y="961373"/>
                  </a:lnTo>
                  <a:lnTo>
                    <a:pt x="5757342" y="971244"/>
                  </a:lnTo>
                  <a:lnTo>
                    <a:pt x="5753323" y="975282"/>
                  </a:lnTo>
                  <a:lnTo>
                    <a:pt x="5743412" y="975282"/>
                  </a:lnTo>
                  <a:lnTo>
                    <a:pt x="5739393" y="971244"/>
                  </a:lnTo>
                  <a:lnTo>
                    <a:pt x="5739393" y="961373"/>
                  </a:lnTo>
                  <a:close/>
                  <a:moveTo>
                    <a:pt x="5504099" y="957335"/>
                  </a:moveTo>
                  <a:lnTo>
                    <a:pt x="5514010" y="957335"/>
                  </a:lnTo>
                  <a:lnTo>
                    <a:pt x="5518029" y="961373"/>
                  </a:lnTo>
                  <a:lnTo>
                    <a:pt x="5518029" y="971244"/>
                  </a:lnTo>
                  <a:lnTo>
                    <a:pt x="5514010" y="975282"/>
                  </a:lnTo>
                  <a:lnTo>
                    <a:pt x="5504099" y="975282"/>
                  </a:lnTo>
                  <a:lnTo>
                    <a:pt x="5500080" y="971244"/>
                  </a:lnTo>
                  <a:lnTo>
                    <a:pt x="5500080" y="961373"/>
                  </a:lnTo>
                  <a:close/>
                  <a:moveTo>
                    <a:pt x="5264784" y="957335"/>
                  </a:moveTo>
                  <a:lnTo>
                    <a:pt x="5274694" y="957335"/>
                  </a:lnTo>
                  <a:lnTo>
                    <a:pt x="5278713" y="961373"/>
                  </a:lnTo>
                  <a:lnTo>
                    <a:pt x="5278713" y="971244"/>
                  </a:lnTo>
                  <a:lnTo>
                    <a:pt x="5274694" y="975282"/>
                  </a:lnTo>
                  <a:lnTo>
                    <a:pt x="5264784" y="975282"/>
                  </a:lnTo>
                  <a:lnTo>
                    <a:pt x="5260765" y="971244"/>
                  </a:lnTo>
                  <a:lnTo>
                    <a:pt x="5260765" y="961373"/>
                  </a:lnTo>
                  <a:close/>
                  <a:moveTo>
                    <a:pt x="5025470" y="957335"/>
                  </a:moveTo>
                  <a:lnTo>
                    <a:pt x="5035381" y="957335"/>
                  </a:lnTo>
                  <a:lnTo>
                    <a:pt x="5039400" y="961373"/>
                  </a:lnTo>
                  <a:lnTo>
                    <a:pt x="5039400" y="971244"/>
                  </a:lnTo>
                  <a:lnTo>
                    <a:pt x="5035381" y="975283"/>
                  </a:lnTo>
                  <a:lnTo>
                    <a:pt x="5025470" y="975283"/>
                  </a:lnTo>
                  <a:lnTo>
                    <a:pt x="5021451" y="971244"/>
                  </a:lnTo>
                  <a:lnTo>
                    <a:pt x="5021451" y="961373"/>
                  </a:lnTo>
                  <a:close/>
                  <a:moveTo>
                    <a:pt x="4786241" y="957335"/>
                  </a:moveTo>
                  <a:lnTo>
                    <a:pt x="4796152" y="957335"/>
                  </a:lnTo>
                  <a:lnTo>
                    <a:pt x="4800171" y="961374"/>
                  </a:lnTo>
                  <a:lnTo>
                    <a:pt x="4800171" y="971244"/>
                  </a:lnTo>
                  <a:lnTo>
                    <a:pt x="4796152" y="975283"/>
                  </a:lnTo>
                  <a:lnTo>
                    <a:pt x="4786241" y="975283"/>
                  </a:lnTo>
                  <a:lnTo>
                    <a:pt x="4782224" y="971244"/>
                  </a:lnTo>
                  <a:lnTo>
                    <a:pt x="4782224" y="961374"/>
                  </a:lnTo>
                  <a:close/>
                  <a:moveTo>
                    <a:pt x="6939983" y="957324"/>
                  </a:moveTo>
                  <a:lnTo>
                    <a:pt x="6949894" y="957324"/>
                  </a:lnTo>
                  <a:lnTo>
                    <a:pt x="6953913" y="961363"/>
                  </a:lnTo>
                  <a:lnTo>
                    <a:pt x="6953913" y="971232"/>
                  </a:lnTo>
                  <a:lnTo>
                    <a:pt x="6949894" y="975271"/>
                  </a:lnTo>
                  <a:lnTo>
                    <a:pt x="6939983" y="975271"/>
                  </a:lnTo>
                  <a:lnTo>
                    <a:pt x="6935964" y="971232"/>
                  </a:lnTo>
                  <a:lnTo>
                    <a:pt x="6935964" y="961363"/>
                  </a:lnTo>
                  <a:close/>
                  <a:moveTo>
                    <a:pt x="6700670" y="957324"/>
                  </a:moveTo>
                  <a:lnTo>
                    <a:pt x="6710581" y="957324"/>
                  </a:lnTo>
                  <a:lnTo>
                    <a:pt x="6714600" y="961363"/>
                  </a:lnTo>
                  <a:lnTo>
                    <a:pt x="6714600" y="971232"/>
                  </a:lnTo>
                  <a:lnTo>
                    <a:pt x="6710581" y="975271"/>
                  </a:lnTo>
                  <a:lnTo>
                    <a:pt x="6700670" y="975271"/>
                  </a:lnTo>
                  <a:lnTo>
                    <a:pt x="6696651" y="971232"/>
                  </a:lnTo>
                  <a:lnTo>
                    <a:pt x="6696651" y="961363"/>
                  </a:lnTo>
                  <a:close/>
                  <a:moveTo>
                    <a:pt x="6461356" y="957324"/>
                  </a:moveTo>
                  <a:lnTo>
                    <a:pt x="6471266" y="957324"/>
                  </a:lnTo>
                  <a:lnTo>
                    <a:pt x="6475285" y="961363"/>
                  </a:lnTo>
                  <a:lnTo>
                    <a:pt x="6475285" y="971232"/>
                  </a:lnTo>
                  <a:lnTo>
                    <a:pt x="6471266" y="975271"/>
                  </a:lnTo>
                  <a:lnTo>
                    <a:pt x="6461356" y="975271"/>
                  </a:lnTo>
                  <a:lnTo>
                    <a:pt x="6457337" y="971232"/>
                  </a:lnTo>
                  <a:lnTo>
                    <a:pt x="6457337" y="961363"/>
                  </a:lnTo>
                  <a:close/>
                  <a:moveTo>
                    <a:pt x="6222042" y="957324"/>
                  </a:moveTo>
                  <a:lnTo>
                    <a:pt x="6231952" y="957324"/>
                  </a:lnTo>
                  <a:lnTo>
                    <a:pt x="6235971" y="961363"/>
                  </a:lnTo>
                  <a:lnTo>
                    <a:pt x="6235971" y="971232"/>
                  </a:lnTo>
                  <a:lnTo>
                    <a:pt x="6231952" y="975271"/>
                  </a:lnTo>
                  <a:lnTo>
                    <a:pt x="6222042" y="975271"/>
                  </a:lnTo>
                  <a:lnTo>
                    <a:pt x="6218023" y="971232"/>
                  </a:lnTo>
                  <a:lnTo>
                    <a:pt x="6218023" y="961363"/>
                  </a:lnTo>
                  <a:close/>
                  <a:moveTo>
                    <a:pt x="5982729" y="957324"/>
                  </a:moveTo>
                  <a:lnTo>
                    <a:pt x="5992639" y="957324"/>
                  </a:lnTo>
                  <a:lnTo>
                    <a:pt x="5996658" y="961363"/>
                  </a:lnTo>
                  <a:lnTo>
                    <a:pt x="5996658" y="971232"/>
                  </a:lnTo>
                  <a:lnTo>
                    <a:pt x="5992639" y="975271"/>
                  </a:lnTo>
                  <a:lnTo>
                    <a:pt x="5982729" y="975271"/>
                  </a:lnTo>
                  <a:lnTo>
                    <a:pt x="5978710" y="971232"/>
                  </a:lnTo>
                  <a:lnTo>
                    <a:pt x="5978710" y="961363"/>
                  </a:lnTo>
                  <a:close/>
                  <a:moveTo>
                    <a:pt x="8136553" y="957313"/>
                  </a:moveTo>
                  <a:lnTo>
                    <a:pt x="8146464" y="957313"/>
                  </a:lnTo>
                  <a:lnTo>
                    <a:pt x="8150483" y="961351"/>
                  </a:lnTo>
                  <a:lnTo>
                    <a:pt x="8150483" y="971222"/>
                  </a:lnTo>
                  <a:lnTo>
                    <a:pt x="8146464" y="975260"/>
                  </a:lnTo>
                  <a:lnTo>
                    <a:pt x="8136553" y="975260"/>
                  </a:lnTo>
                  <a:lnTo>
                    <a:pt x="8132534" y="971222"/>
                  </a:lnTo>
                  <a:lnTo>
                    <a:pt x="8132534" y="961351"/>
                  </a:lnTo>
                  <a:close/>
                  <a:moveTo>
                    <a:pt x="7897241" y="957313"/>
                  </a:moveTo>
                  <a:lnTo>
                    <a:pt x="7907151" y="957313"/>
                  </a:lnTo>
                  <a:lnTo>
                    <a:pt x="7911170" y="961351"/>
                  </a:lnTo>
                  <a:lnTo>
                    <a:pt x="7911170" y="971222"/>
                  </a:lnTo>
                  <a:lnTo>
                    <a:pt x="7907151" y="975260"/>
                  </a:lnTo>
                  <a:lnTo>
                    <a:pt x="7897241" y="975260"/>
                  </a:lnTo>
                  <a:lnTo>
                    <a:pt x="7893222" y="971222"/>
                  </a:lnTo>
                  <a:lnTo>
                    <a:pt x="7893222" y="961351"/>
                  </a:lnTo>
                  <a:close/>
                  <a:moveTo>
                    <a:pt x="7657926" y="957313"/>
                  </a:moveTo>
                  <a:lnTo>
                    <a:pt x="7667836" y="957313"/>
                  </a:lnTo>
                  <a:lnTo>
                    <a:pt x="7671855" y="961351"/>
                  </a:lnTo>
                  <a:lnTo>
                    <a:pt x="7671855" y="971222"/>
                  </a:lnTo>
                  <a:lnTo>
                    <a:pt x="7667836" y="975260"/>
                  </a:lnTo>
                  <a:lnTo>
                    <a:pt x="7657926" y="975260"/>
                  </a:lnTo>
                  <a:lnTo>
                    <a:pt x="7653906" y="971222"/>
                  </a:lnTo>
                  <a:lnTo>
                    <a:pt x="7653906" y="961351"/>
                  </a:lnTo>
                  <a:close/>
                  <a:moveTo>
                    <a:pt x="7418611" y="957313"/>
                  </a:moveTo>
                  <a:lnTo>
                    <a:pt x="7428521" y="957313"/>
                  </a:lnTo>
                  <a:lnTo>
                    <a:pt x="7432540" y="961351"/>
                  </a:lnTo>
                  <a:lnTo>
                    <a:pt x="7432540" y="971222"/>
                  </a:lnTo>
                  <a:lnTo>
                    <a:pt x="7428521" y="975260"/>
                  </a:lnTo>
                  <a:lnTo>
                    <a:pt x="7418611" y="975260"/>
                  </a:lnTo>
                  <a:lnTo>
                    <a:pt x="7414592" y="971222"/>
                  </a:lnTo>
                  <a:lnTo>
                    <a:pt x="7414592" y="961351"/>
                  </a:lnTo>
                  <a:close/>
                  <a:moveTo>
                    <a:pt x="7179298" y="957313"/>
                  </a:moveTo>
                  <a:lnTo>
                    <a:pt x="7189209" y="957313"/>
                  </a:lnTo>
                  <a:lnTo>
                    <a:pt x="7193228" y="961351"/>
                  </a:lnTo>
                  <a:lnTo>
                    <a:pt x="7193228" y="971222"/>
                  </a:lnTo>
                  <a:lnTo>
                    <a:pt x="7189209" y="975260"/>
                  </a:lnTo>
                  <a:lnTo>
                    <a:pt x="7179298" y="975260"/>
                  </a:lnTo>
                  <a:lnTo>
                    <a:pt x="7175279" y="971222"/>
                  </a:lnTo>
                  <a:lnTo>
                    <a:pt x="7175279" y="961351"/>
                  </a:lnTo>
                  <a:close/>
                  <a:moveTo>
                    <a:pt x="1679217" y="957309"/>
                  </a:moveTo>
                  <a:lnTo>
                    <a:pt x="1689128" y="957309"/>
                  </a:lnTo>
                  <a:lnTo>
                    <a:pt x="1693147" y="961347"/>
                  </a:lnTo>
                  <a:lnTo>
                    <a:pt x="1693147" y="971217"/>
                  </a:lnTo>
                  <a:lnTo>
                    <a:pt x="1689128" y="975256"/>
                  </a:lnTo>
                  <a:lnTo>
                    <a:pt x="1679217" y="975256"/>
                  </a:lnTo>
                  <a:lnTo>
                    <a:pt x="1675199" y="971217"/>
                  </a:lnTo>
                  <a:lnTo>
                    <a:pt x="1675199" y="961347"/>
                  </a:lnTo>
                  <a:close/>
                  <a:moveTo>
                    <a:pt x="1439901" y="957309"/>
                  </a:moveTo>
                  <a:lnTo>
                    <a:pt x="1449811" y="957309"/>
                  </a:lnTo>
                  <a:lnTo>
                    <a:pt x="1453829" y="961347"/>
                  </a:lnTo>
                  <a:lnTo>
                    <a:pt x="1453829" y="971217"/>
                  </a:lnTo>
                  <a:lnTo>
                    <a:pt x="1449811" y="975256"/>
                  </a:lnTo>
                  <a:lnTo>
                    <a:pt x="1439901" y="975256"/>
                  </a:lnTo>
                  <a:lnTo>
                    <a:pt x="1435881" y="971217"/>
                  </a:lnTo>
                  <a:lnTo>
                    <a:pt x="1435881" y="961347"/>
                  </a:lnTo>
                  <a:close/>
                  <a:moveTo>
                    <a:pt x="1200584" y="957309"/>
                  </a:moveTo>
                  <a:lnTo>
                    <a:pt x="1210495" y="957309"/>
                  </a:lnTo>
                  <a:lnTo>
                    <a:pt x="1214513" y="961347"/>
                  </a:lnTo>
                  <a:lnTo>
                    <a:pt x="1214513" y="971217"/>
                  </a:lnTo>
                  <a:lnTo>
                    <a:pt x="1210495" y="975256"/>
                  </a:lnTo>
                  <a:lnTo>
                    <a:pt x="1200584" y="975256"/>
                  </a:lnTo>
                  <a:lnTo>
                    <a:pt x="1196566" y="971217"/>
                  </a:lnTo>
                  <a:lnTo>
                    <a:pt x="1196566" y="961347"/>
                  </a:lnTo>
                  <a:close/>
                  <a:moveTo>
                    <a:pt x="961271" y="957309"/>
                  </a:moveTo>
                  <a:lnTo>
                    <a:pt x="971182" y="957309"/>
                  </a:lnTo>
                  <a:lnTo>
                    <a:pt x="975201" y="961347"/>
                  </a:lnTo>
                  <a:lnTo>
                    <a:pt x="975201" y="971218"/>
                  </a:lnTo>
                  <a:lnTo>
                    <a:pt x="971182" y="975256"/>
                  </a:lnTo>
                  <a:lnTo>
                    <a:pt x="961271" y="975256"/>
                  </a:lnTo>
                  <a:lnTo>
                    <a:pt x="957253" y="971218"/>
                  </a:lnTo>
                  <a:lnTo>
                    <a:pt x="957253" y="961347"/>
                  </a:lnTo>
                  <a:close/>
                  <a:moveTo>
                    <a:pt x="9333125" y="957302"/>
                  </a:moveTo>
                  <a:lnTo>
                    <a:pt x="9343036" y="957302"/>
                  </a:lnTo>
                  <a:lnTo>
                    <a:pt x="9347055" y="961340"/>
                  </a:lnTo>
                  <a:lnTo>
                    <a:pt x="9347055" y="971210"/>
                  </a:lnTo>
                  <a:lnTo>
                    <a:pt x="9343036" y="975249"/>
                  </a:lnTo>
                  <a:lnTo>
                    <a:pt x="9333125" y="975249"/>
                  </a:lnTo>
                  <a:lnTo>
                    <a:pt x="9329106" y="971210"/>
                  </a:lnTo>
                  <a:lnTo>
                    <a:pt x="9329106" y="961340"/>
                  </a:lnTo>
                  <a:close/>
                  <a:moveTo>
                    <a:pt x="9093811" y="957302"/>
                  </a:moveTo>
                  <a:lnTo>
                    <a:pt x="9103722" y="957302"/>
                  </a:lnTo>
                  <a:lnTo>
                    <a:pt x="9107741" y="961340"/>
                  </a:lnTo>
                  <a:lnTo>
                    <a:pt x="9107741" y="971210"/>
                  </a:lnTo>
                  <a:lnTo>
                    <a:pt x="9103722" y="975249"/>
                  </a:lnTo>
                  <a:lnTo>
                    <a:pt x="9093811" y="975249"/>
                  </a:lnTo>
                  <a:lnTo>
                    <a:pt x="9089792" y="971210"/>
                  </a:lnTo>
                  <a:lnTo>
                    <a:pt x="9089792" y="961340"/>
                  </a:lnTo>
                  <a:close/>
                  <a:moveTo>
                    <a:pt x="8854496" y="957302"/>
                  </a:moveTo>
                  <a:lnTo>
                    <a:pt x="8864407" y="957302"/>
                  </a:lnTo>
                  <a:lnTo>
                    <a:pt x="8868426" y="961340"/>
                  </a:lnTo>
                  <a:lnTo>
                    <a:pt x="8868426" y="971210"/>
                  </a:lnTo>
                  <a:lnTo>
                    <a:pt x="8864407" y="975249"/>
                  </a:lnTo>
                  <a:lnTo>
                    <a:pt x="8854496" y="975249"/>
                  </a:lnTo>
                  <a:lnTo>
                    <a:pt x="8850477" y="971210"/>
                  </a:lnTo>
                  <a:lnTo>
                    <a:pt x="8850477" y="961340"/>
                  </a:lnTo>
                  <a:close/>
                  <a:moveTo>
                    <a:pt x="8615184" y="957302"/>
                  </a:moveTo>
                  <a:lnTo>
                    <a:pt x="8625095" y="957302"/>
                  </a:lnTo>
                  <a:lnTo>
                    <a:pt x="8629114" y="961340"/>
                  </a:lnTo>
                  <a:lnTo>
                    <a:pt x="8629114" y="971210"/>
                  </a:lnTo>
                  <a:lnTo>
                    <a:pt x="8625095" y="975249"/>
                  </a:lnTo>
                  <a:lnTo>
                    <a:pt x="8615184" y="975249"/>
                  </a:lnTo>
                  <a:lnTo>
                    <a:pt x="8611165" y="971210"/>
                  </a:lnTo>
                  <a:lnTo>
                    <a:pt x="8611165" y="961340"/>
                  </a:lnTo>
                  <a:close/>
                  <a:moveTo>
                    <a:pt x="8375869" y="957302"/>
                  </a:moveTo>
                  <a:lnTo>
                    <a:pt x="8385779" y="957302"/>
                  </a:lnTo>
                  <a:lnTo>
                    <a:pt x="8389799" y="961340"/>
                  </a:lnTo>
                  <a:lnTo>
                    <a:pt x="8389799" y="971210"/>
                  </a:lnTo>
                  <a:lnTo>
                    <a:pt x="8385779" y="975249"/>
                  </a:lnTo>
                  <a:lnTo>
                    <a:pt x="8375869" y="975249"/>
                  </a:lnTo>
                  <a:lnTo>
                    <a:pt x="8371850" y="971210"/>
                  </a:lnTo>
                  <a:lnTo>
                    <a:pt x="8371850" y="961340"/>
                  </a:lnTo>
                  <a:close/>
                  <a:moveTo>
                    <a:pt x="1918514" y="957301"/>
                  </a:moveTo>
                  <a:lnTo>
                    <a:pt x="1928424" y="957301"/>
                  </a:lnTo>
                  <a:lnTo>
                    <a:pt x="1932444" y="961339"/>
                  </a:lnTo>
                  <a:lnTo>
                    <a:pt x="1932444" y="971210"/>
                  </a:lnTo>
                  <a:lnTo>
                    <a:pt x="1928424" y="975249"/>
                  </a:lnTo>
                  <a:lnTo>
                    <a:pt x="1918514" y="975249"/>
                  </a:lnTo>
                  <a:lnTo>
                    <a:pt x="1914495" y="971210"/>
                  </a:lnTo>
                  <a:lnTo>
                    <a:pt x="1914495" y="961339"/>
                  </a:lnTo>
                  <a:close/>
                  <a:moveTo>
                    <a:pt x="2157823" y="957299"/>
                  </a:moveTo>
                  <a:lnTo>
                    <a:pt x="2167733" y="957299"/>
                  </a:lnTo>
                  <a:lnTo>
                    <a:pt x="2171751" y="961337"/>
                  </a:lnTo>
                  <a:lnTo>
                    <a:pt x="2171751" y="971207"/>
                  </a:lnTo>
                  <a:lnTo>
                    <a:pt x="2167733" y="975246"/>
                  </a:lnTo>
                  <a:lnTo>
                    <a:pt x="2157823" y="975246"/>
                  </a:lnTo>
                  <a:lnTo>
                    <a:pt x="2153804" y="971207"/>
                  </a:lnTo>
                  <a:lnTo>
                    <a:pt x="2153804" y="961337"/>
                  </a:lnTo>
                  <a:close/>
                  <a:moveTo>
                    <a:pt x="9572438" y="957291"/>
                  </a:moveTo>
                  <a:lnTo>
                    <a:pt x="9582349" y="957291"/>
                  </a:lnTo>
                  <a:lnTo>
                    <a:pt x="9586368" y="961329"/>
                  </a:lnTo>
                  <a:lnTo>
                    <a:pt x="9586368" y="971199"/>
                  </a:lnTo>
                  <a:lnTo>
                    <a:pt x="9582349" y="975238"/>
                  </a:lnTo>
                  <a:lnTo>
                    <a:pt x="9572438" y="975238"/>
                  </a:lnTo>
                  <a:lnTo>
                    <a:pt x="9568419" y="971199"/>
                  </a:lnTo>
                  <a:lnTo>
                    <a:pt x="9568419" y="961329"/>
                  </a:lnTo>
                  <a:close/>
                  <a:moveTo>
                    <a:pt x="721974" y="957266"/>
                  </a:moveTo>
                  <a:lnTo>
                    <a:pt x="731884" y="957266"/>
                  </a:lnTo>
                  <a:lnTo>
                    <a:pt x="735903" y="961305"/>
                  </a:lnTo>
                  <a:lnTo>
                    <a:pt x="735903" y="971175"/>
                  </a:lnTo>
                  <a:lnTo>
                    <a:pt x="731884" y="975214"/>
                  </a:lnTo>
                  <a:lnTo>
                    <a:pt x="721974" y="975214"/>
                  </a:lnTo>
                  <a:lnTo>
                    <a:pt x="717956" y="971175"/>
                  </a:lnTo>
                  <a:lnTo>
                    <a:pt x="717956" y="961305"/>
                  </a:lnTo>
                  <a:close/>
                  <a:moveTo>
                    <a:pt x="482662" y="957266"/>
                  </a:moveTo>
                  <a:lnTo>
                    <a:pt x="492572" y="957266"/>
                  </a:lnTo>
                  <a:lnTo>
                    <a:pt x="496591" y="961305"/>
                  </a:lnTo>
                  <a:lnTo>
                    <a:pt x="496591" y="971175"/>
                  </a:lnTo>
                  <a:lnTo>
                    <a:pt x="492572" y="975214"/>
                  </a:lnTo>
                  <a:lnTo>
                    <a:pt x="482662" y="975214"/>
                  </a:lnTo>
                  <a:lnTo>
                    <a:pt x="478643" y="971175"/>
                  </a:lnTo>
                  <a:lnTo>
                    <a:pt x="478643" y="961305"/>
                  </a:lnTo>
                  <a:close/>
                  <a:moveTo>
                    <a:pt x="243349" y="957266"/>
                  </a:moveTo>
                  <a:lnTo>
                    <a:pt x="253259" y="957266"/>
                  </a:lnTo>
                  <a:lnTo>
                    <a:pt x="257278" y="961305"/>
                  </a:lnTo>
                  <a:lnTo>
                    <a:pt x="257278" y="971175"/>
                  </a:lnTo>
                  <a:lnTo>
                    <a:pt x="253259" y="975214"/>
                  </a:lnTo>
                  <a:lnTo>
                    <a:pt x="243349" y="975214"/>
                  </a:lnTo>
                  <a:lnTo>
                    <a:pt x="239330" y="971175"/>
                  </a:lnTo>
                  <a:lnTo>
                    <a:pt x="239330" y="961305"/>
                  </a:lnTo>
                  <a:close/>
                  <a:moveTo>
                    <a:pt x="4036" y="957266"/>
                  </a:moveTo>
                  <a:lnTo>
                    <a:pt x="13946" y="957266"/>
                  </a:lnTo>
                  <a:lnTo>
                    <a:pt x="17965" y="961305"/>
                  </a:lnTo>
                  <a:lnTo>
                    <a:pt x="17965" y="971176"/>
                  </a:lnTo>
                  <a:lnTo>
                    <a:pt x="13946" y="975214"/>
                  </a:lnTo>
                  <a:lnTo>
                    <a:pt x="4036" y="975214"/>
                  </a:lnTo>
                  <a:lnTo>
                    <a:pt x="16" y="971176"/>
                  </a:lnTo>
                  <a:lnTo>
                    <a:pt x="16" y="961305"/>
                  </a:lnTo>
                  <a:close/>
                  <a:moveTo>
                    <a:pt x="3350359" y="718040"/>
                  </a:moveTo>
                  <a:lnTo>
                    <a:pt x="3360268" y="718040"/>
                  </a:lnTo>
                  <a:lnTo>
                    <a:pt x="3364287" y="722078"/>
                  </a:lnTo>
                  <a:lnTo>
                    <a:pt x="3364287" y="731948"/>
                  </a:lnTo>
                  <a:lnTo>
                    <a:pt x="3360268" y="735987"/>
                  </a:lnTo>
                  <a:lnTo>
                    <a:pt x="3350359" y="735987"/>
                  </a:lnTo>
                  <a:lnTo>
                    <a:pt x="3346340" y="731948"/>
                  </a:lnTo>
                  <a:lnTo>
                    <a:pt x="3346340" y="722078"/>
                  </a:lnTo>
                  <a:close/>
                  <a:moveTo>
                    <a:pt x="3111048" y="718040"/>
                  </a:moveTo>
                  <a:lnTo>
                    <a:pt x="3120959" y="718040"/>
                  </a:lnTo>
                  <a:lnTo>
                    <a:pt x="3124977" y="722078"/>
                  </a:lnTo>
                  <a:lnTo>
                    <a:pt x="3124977" y="731949"/>
                  </a:lnTo>
                  <a:lnTo>
                    <a:pt x="3120959" y="735987"/>
                  </a:lnTo>
                  <a:lnTo>
                    <a:pt x="3111048" y="735987"/>
                  </a:lnTo>
                  <a:lnTo>
                    <a:pt x="3107029" y="731949"/>
                  </a:lnTo>
                  <a:lnTo>
                    <a:pt x="3107029" y="722078"/>
                  </a:lnTo>
                  <a:close/>
                  <a:moveTo>
                    <a:pt x="2871737" y="718040"/>
                  </a:moveTo>
                  <a:lnTo>
                    <a:pt x="2881646" y="718040"/>
                  </a:lnTo>
                  <a:lnTo>
                    <a:pt x="2885666" y="722078"/>
                  </a:lnTo>
                  <a:lnTo>
                    <a:pt x="2885666" y="731949"/>
                  </a:lnTo>
                  <a:lnTo>
                    <a:pt x="2881646" y="735987"/>
                  </a:lnTo>
                  <a:lnTo>
                    <a:pt x="2871737" y="735987"/>
                  </a:lnTo>
                  <a:lnTo>
                    <a:pt x="2867717" y="731949"/>
                  </a:lnTo>
                  <a:lnTo>
                    <a:pt x="2867717" y="722078"/>
                  </a:lnTo>
                  <a:close/>
                  <a:moveTo>
                    <a:pt x="2632423" y="718040"/>
                  </a:moveTo>
                  <a:lnTo>
                    <a:pt x="2642334" y="718040"/>
                  </a:lnTo>
                  <a:lnTo>
                    <a:pt x="2646352" y="722078"/>
                  </a:lnTo>
                  <a:lnTo>
                    <a:pt x="2646352" y="731949"/>
                  </a:lnTo>
                  <a:lnTo>
                    <a:pt x="2642334" y="735988"/>
                  </a:lnTo>
                  <a:lnTo>
                    <a:pt x="2632423" y="735988"/>
                  </a:lnTo>
                  <a:lnTo>
                    <a:pt x="2628404" y="731949"/>
                  </a:lnTo>
                  <a:lnTo>
                    <a:pt x="2628404" y="722078"/>
                  </a:lnTo>
                  <a:close/>
                  <a:moveTo>
                    <a:pt x="2393104" y="718040"/>
                  </a:moveTo>
                  <a:lnTo>
                    <a:pt x="2403015" y="718040"/>
                  </a:lnTo>
                  <a:lnTo>
                    <a:pt x="2407034" y="722078"/>
                  </a:lnTo>
                  <a:lnTo>
                    <a:pt x="2407034" y="731949"/>
                  </a:lnTo>
                  <a:lnTo>
                    <a:pt x="2403015" y="735988"/>
                  </a:lnTo>
                  <a:lnTo>
                    <a:pt x="2393104" y="735988"/>
                  </a:lnTo>
                  <a:lnTo>
                    <a:pt x="2389087" y="731949"/>
                  </a:lnTo>
                  <a:lnTo>
                    <a:pt x="2389087" y="722078"/>
                  </a:lnTo>
                  <a:close/>
                  <a:moveTo>
                    <a:pt x="4546929" y="718028"/>
                  </a:moveTo>
                  <a:lnTo>
                    <a:pt x="4556840" y="718028"/>
                  </a:lnTo>
                  <a:lnTo>
                    <a:pt x="4560859" y="722066"/>
                  </a:lnTo>
                  <a:lnTo>
                    <a:pt x="4560859" y="731935"/>
                  </a:lnTo>
                  <a:lnTo>
                    <a:pt x="4556840" y="735975"/>
                  </a:lnTo>
                  <a:lnTo>
                    <a:pt x="4546929" y="735975"/>
                  </a:lnTo>
                  <a:lnTo>
                    <a:pt x="4542910" y="731935"/>
                  </a:lnTo>
                  <a:lnTo>
                    <a:pt x="4542910" y="722066"/>
                  </a:lnTo>
                  <a:close/>
                  <a:moveTo>
                    <a:pt x="4307612" y="718028"/>
                  </a:moveTo>
                  <a:lnTo>
                    <a:pt x="4317523" y="718028"/>
                  </a:lnTo>
                  <a:lnTo>
                    <a:pt x="4321543" y="722066"/>
                  </a:lnTo>
                  <a:lnTo>
                    <a:pt x="4321543" y="731936"/>
                  </a:lnTo>
                  <a:lnTo>
                    <a:pt x="4317523" y="735975"/>
                  </a:lnTo>
                  <a:lnTo>
                    <a:pt x="4307612" y="735975"/>
                  </a:lnTo>
                  <a:lnTo>
                    <a:pt x="4303595" y="731936"/>
                  </a:lnTo>
                  <a:lnTo>
                    <a:pt x="4303595" y="722066"/>
                  </a:lnTo>
                  <a:close/>
                  <a:moveTo>
                    <a:pt x="4068297" y="718028"/>
                  </a:moveTo>
                  <a:lnTo>
                    <a:pt x="4078210" y="718028"/>
                  </a:lnTo>
                  <a:lnTo>
                    <a:pt x="4082229" y="722066"/>
                  </a:lnTo>
                  <a:lnTo>
                    <a:pt x="4082229" y="731936"/>
                  </a:lnTo>
                  <a:lnTo>
                    <a:pt x="4078210" y="735975"/>
                  </a:lnTo>
                  <a:lnTo>
                    <a:pt x="4068297" y="735975"/>
                  </a:lnTo>
                  <a:lnTo>
                    <a:pt x="4064278" y="731936"/>
                  </a:lnTo>
                  <a:lnTo>
                    <a:pt x="4064278" y="722066"/>
                  </a:lnTo>
                  <a:close/>
                  <a:moveTo>
                    <a:pt x="3828990" y="718028"/>
                  </a:moveTo>
                  <a:lnTo>
                    <a:pt x="3838899" y="718028"/>
                  </a:lnTo>
                  <a:lnTo>
                    <a:pt x="3842917" y="722066"/>
                  </a:lnTo>
                  <a:lnTo>
                    <a:pt x="3842917" y="731936"/>
                  </a:lnTo>
                  <a:lnTo>
                    <a:pt x="3838899" y="735975"/>
                  </a:lnTo>
                  <a:lnTo>
                    <a:pt x="3828990" y="735975"/>
                  </a:lnTo>
                  <a:lnTo>
                    <a:pt x="3824971" y="731936"/>
                  </a:lnTo>
                  <a:lnTo>
                    <a:pt x="3824971" y="722066"/>
                  </a:lnTo>
                  <a:close/>
                  <a:moveTo>
                    <a:pt x="3589676" y="718028"/>
                  </a:moveTo>
                  <a:lnTo>
                    <a:pt x="3599585" y="718028"/>
                  </a:lnTo>
                  <a:lnTo>
                    <a:pt x="3603604" y="722066"/>
                  </a:lnTo>
                  <a:lnTo>
                    <a:pt x="3603604" y="731936"/>
                  </a:lnTo>
                  <a:lnTo>
                    <a:pt x="3599585" y="735975"/>
                  </a:lnTo>
                  <a:lnTo>
                    <a:pt x="3589676" y="735975"/>
                  </a:lnTo>
                  <a:lnTo>
                    <a:pt x="3585657" y="731936"/>
                  </a:lnTo>
                  <a:lnTo>
                    <a:pt x="3585657" y="722066"/>
                  </a:lnTo>
                  <a:close/>
                  <a:moveTo>
                    <a:pt x="5743412" y="718015"/>
                  </a:moveTo>
                  <a:lnTo>
                    <a:pt x="5753323" y="718015"/>
                  </a:lnTo>
                  <a:lnTo>
                    <a:pt x="5757342" y="722053"/>
                  </a:lnTo>
                  <a:lnTo>
                    <a:pt x="5757342" y="731924"/>
                  </a:lnTo>
                  <a:lnTo>
                    <a:pt x="5753323" y="735963"/>
                  </a:lnTo>
                  <a:lnTo>
                    <a:pt x="5743412" y="735963"/>
                  </a:lnTo>
                  <a:lnTo>
                    <a:pt x="5739393" y="731924"/>
                  </a:lnTo>
                  <a:lnTo>
                    <a:pt x="5739393" y="722053"/>
                  </a:lnTo>
                  <a:close/>
                  <a:moveTo>
                    <a:pt x="5504099" y="718015"/>
                  </a:moveTo>
                  <a:lnTo>
                    <a:pt x="5514010" y="718015"/>
                  </a:lnTo>
                  <a:lnTo>
                    <a:pt x="5518029" y="722053"/>
                  </a:lnTo>
                  <a:lnTo>
                    <a:pt x="5518029" y="731924"/>
                  </a:lnTo>
                  <a:lnTo>
                    <a:pt x="5514010" y="735963"/>
                  </a:lnTo>
                  <a:lnTo>
                    <a:pt x="5504099" y="735963"/>
                  </a:lnTo>
                  <a:lnTo>
                    <a:pt x="5500080" y="731924"/>
                  </a:lnTo>
                  <a:lnTo>
                    <a:pt x="5500080" y="722053"/>
                  </a:lnTo>
                  <a:close/>
                  <a:moveTo>
                    <a:pt x="5264784" y="718015"/>
                  </a:moveTo>
                  <a:lnTo>
                    <a:pt x="5274694" y="718015"/>
                  </a:lnTo>
                  <a:lnTo>
                    <a:pt x="5278713" y="722053"/>
                  </a:lnTo>
                  <a:lnTo>
                    <a:pt x="5278713" y="731924"/>
                  </a:lnTo>
                  <a:lnTo>
                    <a:pt x="5274694" y="735963"/>
                  </a:lnTo>
                  <a:lnTo>
                    <a:pt x="5264784" y="735963"/>
                  </a:lnTo>
                  <a:lnTo>
                    <a:pt x="5260765" y="731924"/>
                  </a:lnTo>
                  <a:lnTo>
                    <a:pt x="5260765" y="722053"/>
                  </a:lnTo>
                  <a:close/>
                  <a:moveTo>
                    <a:pt x="5025470" y="718015"/>
                  </a:moveTo>
                  <a:lnTo>
                    <a:pt x="5035381" y="718015"/>
                  </a:lnTo>
                  <a:lnTo>
                    <a:pt x="5039400" y="722053"/>
                  </a:lnTo>
                  <a:lnTo>
                    <a:pt x="5039400" y="731924"/>
                  </a:lnTo>
                  <a:lnTo>
                    <a:pt x="5035381" y="735963"/>
                  </a:lnTo>
                  <a:lnTo>
                    <a:pt x="5025470" y="735963"/>
                  </a:lnTo>
                  <a:lnTo>
                    <a:pt x="5021451" y="731924"/>
                  </a:lnTo>
                  <a:lnTo>
                    <a:pt x="5021451" y="722053"/>
                  </a:lnTo>
                  <a:close/>
                  <a:moveTo>
                    <a:pt x="4786241" y="718015"/>
                  </a:moveTo>
                  <a:lnTo>
                    <a:pt x="4796152" y="718015"/>
                  </a:lnTo>
                  <a:lnTo>
                    <a:pt x="4800171" y="722053"/>
                  </a:lnTo>
                  <a:lnTo>
                    <a:pt x="4800171" y="731924"/>
                  </a:lnTo>
                  <a:lnTo>
                    <a:pt x="4796152" y="735963"/>
                  </a:lnTo>
                  <a:lnTo>
                    <a:pt x="4786241" y="735963"/>
                  </a:lnTo>
                  <a:lnTo>
                    <a:pt x="4782224" y="731924"/>
                  </a:lnTo>
                  <a:lnTo>
                    <a:pt x="4782224" y="722053"/>
                  </a:lnTo>
                  <a:close/>
                  <a:moveTo>
                    <a:pt x="6939983" y="718003"/>
                  </a:moveTo>
                  <a:lnTo>
                    <a:pt x="6949894" y="718003"/>
                  </a:lnTo>
                  <a:lnTo>
                    <a:pt x="6953913" y="722041"/>
                  </a:lnTo>
                  <a:lnTo>
                    <a:pt x="6953913" y="731911"/>
                  </a:lnTo>
                  <a:lnTo>
                    <a:pt x="6949894" y="735950"/>
                  </a:lnTo>
                  <a:lnTo>
                    <a:pt x="6939983" y="735950"/>
                  </a:lnTo>
                  <a:lnTo>
                    <a:pt x="6935964" y="731911"/>
                  </a:lnTo>
                  <a:lnTo>
                    <a:pt x="6935964" y="722041"/>
                  </a:lnTo>
                  <a:close/>
                  <a:moveTo>
                    <a:pt x="6700670" y="718003"/>
                  </a:moveTo>
                  <a:lnTo>
                    <a:pt x="6710581" y="718003"/>
                  </a:lnTo>
                  <a:lnTo>
                    <a:pt x="6714600" y="722041"/>
                  </a:lnTo>
                  <a:lnTo>
                    <a:pt x="6714600" y="731912"/>
                  </a:lnTo>
                  <a:lnTo>
                    <a:pt x="6710581" y="735950"/>
                  </a:lnTo>
                  <a:lnTo>
                    <a:pt x="6700670" y="735950"/>
                  </a:lnTo>
                  <a:lnTo>
                    <a:pt x="6696651" y="731912"/>
                  </a:lnTo>
                  <a:lnTo>
                    <a:pt x="6696651" y="722041"/>
                  </a:lnTo>
                  <a:close/>
                  <a:moveTo>
                    <a:pt x="6461356" y="718003"/>
                  </a:moveTo>
                  <a:lnTo>
                    <a:pt x="6471266" y="718003"/>
                  </a:lnTo>
                  <a:lnTo>
                    <a:pt x="6475285" y="722041"/>
                  </a:lnTo>
                  <a:lnTo>
                    <a:pt x="6475285" y="731912"/>
                  </a:lnTo>
                  <a:lnTo>
                    <a:pt x="6471266" y="735950"/>
                  </a:lnTo>
                  <a:lnTo>
                    <a:pt x="6461356" y="735950"/>
                  </a:lnTo>
                  <a:lnTo>
                    <a:pt x="6457337" y="731912"/>
                  </a:lnTo>
                  <a:lnTo>
                    <a:pt x="6457337" y="722041"/>
                  </a:lnTo>
                  <a:close/>
                  <a:moveTo>
                    <a:pt x="6222042" y="718003"/>
                  </a:moveTo>
                  <a:lnTo>
                    <a:pt x="6231952" y="718003"/>
                  </a:lnTo>
                  <a:lnTo>
                    <a:pt x="6235971" y="722041"/>
                  </a:lnTo>
                  <a:lnTo>
                    <a:pt x="6235971" y="731912"/>
                  </a:lnTo>
                  <a:lnTo>
                    <a:pt x="6231952" y="735951"/>
                  </a:lnTo>
                  <a:lnTo>
                    <a:pt x="6222042" y="735951"/>
                  </a:lnTo>
                  <a:lnTo>
                    <a:pt x="6218023" y="731912"/>
                  </a:lnTo>
                  <a:lnTo>
                    <a:pt x="6218023" y="722041"/>
                  </a:lnTo>
                  <a:close/>
                  <a:moveTo>
                    <a:pt x="5982729" y="718003"/>
                  </a:moveTo>
                  <a:lnTo>
                    <a:pt x="5992639" y="718003"/>
                  </a:lnTo>
                  <a:lnTo>
                    <a:pt x="5996658" y="722041"/>
                  </a:lnTo>
                  <a:lnTo>
                    <a:pt x="5996658" y="731912"/>
                  </a:lnTo>
                  <a:lnTo>
                    <a:pt x="5992639" y="735951"/>
                  </a:lnTo>
                  <a:lnTo>
                    <a:pt x="5982729" y="735951"/>
                  </a:lnTo>
                  <a:lnTo>
                    <a:pt x="5978710" y="731912"/>
                  </a:lnTo>
                  <a:lnTo>
                    <a:pt x="5978710" y="722041"/>
                  </a:lnTo>
                  <a:close/>
                  <a:moveTo>
                    <a:pt x="8136553" y="717990"/>
                  </a:moveTo>
                  <a:lnTo>
                    <a:pt x="8146464" y="717990"/>
                  </a:lnTo>
                  <a:lnTo>
                    <a:pt x="8150483" y="722028"/>
                  </a:lnTo>
                  <a:lnTo>
                    <a:pt x="8150483" y="731899"/>
                  </a:lnTo>
                  <a:lnTo>
                    <a:pt x="8146464" y="735938"/>
                  </a:lnTo>
                  <a:lnTo>
                    <a:pt x="8136553" y="735938"/>
                  </a:lnTo>
                  <a:lnTo>
                    <a:pt x="8132534" y="731899"/>
                  </a:lnTo>
                  <a:lnTo>
                    <a:pt x="8132534" y="722028"/>
                  </a:lnTo>
                  <a:close/>
                  <a:moveTo>
                    <a:pt x="7897241" y="717990"/>
                  </a:moveTo>
                  <a:lnTo>
                    <a:pt x="7907151" y="717990"/>
                  </a:lnTo>
                  <a:lnTo>
                    <a:pt x="7911170" y="722029"/>
                  </a:lnTo>
                  <a:lnTo>
                    <a:pt x="7911170" y="731899"/>
                  </a:lnTo>
                  <a:lnTo>
                    <a:pt x="7907151" y="735938"/>
                  </a:lnTo>
                  <a:lnTo>
                    <a:pt x="7897241" y="735938"/>
                  </a:lnTo>
                  <a:lnTo>
                    <a:pt x="7893222" y="731899"/>
                  </a:lnTo>
                  <a:lnTo>
                    <a:pt x="7893222" y="722029"/>
                  </a:lnTo>
                  <a:close/>
                  <a:moveTo>
                    <a:pt x="7657926" y="717990"/>
                  </a:moveTo>
                  <a:lnTo>
                    <a:pt x="7667836" y="717990"/>
                  </a:lnTo>
                  <a:lnTo>
                    <a:pt x="7671855" y="722029"/>
                  </a:lnTo>
                  <a:lnTo>
                    <a:pt x="7671855" y="731899"/>
                  </a:lnTo>
                  <a:lnTo>
                    <a:pt x="7667836" y="735938"/>
                  </a:lnTo>
                  <a:lnTo>
                    <a:pt x="7657926" y="735938"/>
                  </a:lnTo>
                  <a:lnTo>
                    <a:pt x="7653906" y="731899"/>
                  </a:lnTo>
                  <a:lnTo>
                    <a:pt x="7653906" y="722029"/>
                  </a:lnTo>
                  <a:close/>
                  <a:moveTo>
                    <a:pt x="7418611" y="717990"/>
                  </a:moveTo>
                  <a:lnTo>
                    <a:pt x="7428521" y="717990"/>
                  </a:lnTo>
                  <a:lnTo>
                    <a:pt x="7432540" y="722029"/>
                  </a:lnTo>
                  <a:lnTo>
                    <a:pt x="7432540" y="731899"/>
                  </a:lnTo>
                  <a:lnTo>
                    <a:pt x="7428521" y="735938"/>
                  </a:lnTo>
                  <a:lnTo>
                    <a:pt x="7418611" y="735938"/>
                  </a:lnTo>
                  <a:lnTo>
                    <a:pt x="7414592" y="731899"/>
                  </a:lnTo>
                  <a:lnTo>
                    <a:pt x="7414592" y="722029"/>
                  </a:lnTo>
                  <a:close/>
                  <a:moveTo>
                    <a:pt x="7179298" y="717990"/>
                  </a:moveTo>
                  <a:lnTo>
                    <a:pt x="7189209" y="717990"/>
                  </a:lnTo>
                  <a:lnTo>
                    <a:pt x="7193228" y="722029"/>
                  </a:lnTo>
                  <a:lnTo>
                    <a:pt x="7193228" y="731899"/>
                  </a:lnTo>
                  <a:lnTo>
                    <a:pt x="7189209" y="735938"/>
                  </a:lnTo>
                  <a:lnTo>
                    <a:pt x="7179298" y="735938"/>
                  </a:lnTo>
                  <a:lnTo>
                    <a:pt x="7175279" y="731899"/>
                  </a:lnTo>
                  <a:lnTo>
                    <a:pt x="7175279" y="722029"/>
                  </a:lnTo>
                  <a:close/>
                  <a:moveTo>
                    <a:pt x="961272" y="717980"/>
                  </a:moveTo>
                  <a:lnTo>
                    <a:pt x="971182" y="717980"/>
                  </a:lnTo>
                  <a:lnTo>
                    <a:pt x="975202" y="722018"/>
                  </a:lnTo>
                  <a:lnTo>
                    <a:pt x="975202" y="731889"/>
                  </a:lnTo>
                  <a:lnTo>
                    <a:pt x="971182" y="735928"/>
                  </a:lnTo>
                  <a:lnTo>
                    <a:pt x="961272" y="735928"/>
                  </a:lnTo>
                  <a:lnTo>
                    <a:pt x="957254" y="731889"/>
                  </a:lnTo>
                  <a:lnTo>
                    <a:pt x="957254" y="722018"/>
                  </a:lnTo>
                  <a:close/>
                  <a:moveTo>
                    <a:pt x="1679219" y="717979"/>
                  </a:moveTo>
                  <a:lnTo>
                    <a:pt x="1689128" y="717979"/>
                  </a:lnTo>
                  <a:lnTo>
                    <a:pt x="1693149" y="722018"/>
                  </a:lnTo>
                  <a:lnTo>
                    <a:pt x="1693149" y="731889"/>
                  </a:lnTo>
                  <a:lnTo>
                    <a:pt x="1689128" y="735927"/>
                  </a:lnTo>
                  <a:lnTo>
                    <a:pt x="1679219" y="735927"/>
                  </a:lnTo>
                  <a:lnTo>
                    <a:pt x="1675200" y="731889"/>
                  </a:lnTo>
                  <a:lnTo>
                    <a:pt x="1675200" y="722018"/>
                  </a:lnTo>
                  <a:close/>
                  <a:moveTo>
                    <a:pt x="1439901" y="717979"/>
                  </a:moveTo>
                  <a:lnTo>
                    <a:pt x="1449811" y="717979"/>
                  </a:lnTo>
                  <a:lnTo>
                    <a:pt x="1453831" y="722018"/>
                  </a:lnTo>
                  <a:lnTo>
                    <a:pt x="1453831" y="731889"/>
                  </a:lnTo>
                  <a:lnTo>
                    <a:pt x="1449811" y="735927"/>
                  </a:lnTo>
                  <a:lnTo>
                    <a:pt x="1439901" y="735927"/>
                  </a:lnTo>
                  <a:lnTo>
                    <a:pt x="1435883" y="731889"/>
                  </a:lnTo>
                  <a:lnTo>
                    <a:pt x="1435883" y="722018"/>
                  </a:lnTo>
                  <a:close/>
                  <a:moveTo>
                    <a:pt x="1200585" y="717979"/>
                  </a:moveTo>
                  <a:lnTo>
                    <a:pt x="1210495" y="717979"/>
                  </a:lnTo>
                  <a:lnTo>
                    <a:pt x="1214513" y="722018"/>
                  </a:lnTo>
                  <a:lnTo>
                    <a:pt x="1214513" y="731889"/>
                  </a:lnTo>
                  <a:lnTo>
                    <a:pt x="1210495" y="735927"/>
                  </a:lnTo>
                  <a:lnTo>
                    <a:pt x="1200585" y="735927"/>
                  </a:lnTo>
                  <a:lnTo>
                    <a:pt x="1196566" y="731889"/>
                  </a:lnTo>
                  <a:lnTo>
                    <a:pt x="1196566" y="722018"/>
                  </a:lnTo>
                  <a:close/>
                  <a:moveTo>
                    <a:pt x="9333125" y="717978"/>
                  </a:moveTo>
                  <a:lnTo>
                    <a:pt x="9343036" y="717978"/>
                  </a:lnTo>
                  <a:lnTo>
                    <a:pt x="9347055" y="722016"/>
                  </a:lnTo>
                  <a:lnTo>
                    <a:pt x="9347055" y="731887"/>
                  </a:lnTo>
                  <a:lnTo>
                    <a:pt x="9343036" y="735926"/>
                  </a:lnTo>
                  <a:lnTo>
                    <a:pt x="9333125" y="735926"/>
                  </a:lnTo>
                  <a:lnTo>
                    <a:pt x="9329106" y="731887"/>
                  </a:lnTo>
                  <a:lnTo>
                    <a:pt x="9329106" y="722016"/>
                  </a:lnTo>
                  <a:close/>
                  <a:moveTo>
                    <a:pt x="9093811" y="717978"/>
                  </a:moveTo>
                  <a:lnTo>
                    <a:pt x="9103722" y="717978"/>
                  </a:lnTo>
                  <a:lnTo>
                    <a:pt x="9107741" y="722016"/>
                  </a:lnTo>
                  <a:lnTo>
                    <a:pt x="9107741" y="731887"/>
                  </a:lnTo>
                  <a:lnTo>
                    <a:pt x="9103722" y="735926"/>
                  </a:lnTo>
                  <a:lnTo>
                    <a:pt x="9093811" y="735926"/>
                  </a:lnTo>
                  <a:lnTo>
                    <a:pt x="9089792" y="731887"/>
                  </a:lnTo>
                  <a:lnTo>
                    <a:pt x="9089792" y="722016"/>
                  </a:lnTo>
                  <a:close/>
                  <a:moveTo>
                    <a:pt x="8854496" y="717978"/>
                  </a:moveTo>
                  <a:lnTo>
                    <a:pt x="8864407" y="717978"/>
                  </a:lnTo>
                  <a:lnTo>
                    <a:pt x="8868426" y="722016"/>
                  </a:lnTo>
                  <a:lnTo>
                    <a:pt x="8868426" y="731887"/>
                  </a:lnTo>
                  <a:lnTo>
                    <a:pt x="8864407" y="735926"/>
                  </a:lnTo>
                  <a:lnTo>
                    <a:pt x="8854496" y="735926"/>
                  </a:lnTo>
                  <a:lnTo>
                    <a:pt x="8850477" y="731887"/>
                  </a:lnTo>
                  <a:lnTo>
                    <a:pt x="8850477" y="722016"/>
                  </a:lnTo>
                  <a:close/>
                  <a:moveTo>
                    <a:pt x="8615184" y="717978"/>
                  </a:moveTo>
                  <a:lnTo>
                    <a:pt x="8625095" y="717978"/>
                  </a:lnTo>
                  <a:lnTo>
                    <a:pt x="8629114" y="722016"/>
                  </a:lnTo>
                  <a:lnTo>
                    <a:pt x="8629114" y="731887"/>
                  </a:lnTo>
                  <a:lnTo>
                    <a:pt x="8625095" y="735926"/>
                  </a:lnTo>
                  <a:lnTo>
                    <a:pt x="8615184" y="735926"/>
                  </a:lnTo>
                  <a:lnTo>
                    <a:pt x="8611165" y="731887"/>
                  </a:lnTo>
                  <a:lnTo>
                    <a:pt x="8611165" y="722016"/>
                  </a:lnTo>
                  <a:close/>
                  <a:moveTo>
                    <a:pt x="8375869" y="717978"/>
                  </a:moveTo>
                  <a:lnTo>
                    <a:pt x="8385779" y="717978"/>
                  </a:lnTo>
                  <a:lnTo>
                    <a:pt x="8389799" y="722016"/>
                  </a:lnTo>
                  <a:lnTo>
                    <a:pt x="8389799" y="731887"/>
                  </a:lnTo>
                  <a:lnTo>
                    <a:pt x="8385779" y="735926"/>
                  </a:lnTo>
                  <a:lnTo>
                    <a:pt x="8375869" y="735926"/>
                  </a:lnTo>
                  <a:lnTo>
                    <a:pt x="8371850" y="731887"/>
                  </a:lnTo>
                  <a:lnTo>
                    <a:pt x="8371850" y="722016"/>
                  </a:lnTo>
                  <a:close/>
                  <a:moveTo>
                    <a:pt x="1918514" y="717970"/>
                  </a:moveTo>
                  <a:lnTo>
                    <a:pt x="1928424" y="717970"/>
                  </a:lnTo>
                  <a:lnTo>
                    <a:pt x="1932444" y="722009"/>
                  </a:lnTo>
                  <a:lnTo>
                    <a:pt x="1932444" y="731879"/>
                  </a:lnTo>
                  <a:lnTo>
                    <a:pt x="1928424" y="735918"/>
                  </a:lnTo>
                  <a:lnTo>
                    <a:pt x="1918514" y="735918"/>
                  </a:lnTo>
                  <a:lnTo>
                    <a:pt x="1914495" y="731879"/>
                  </a:lnTo>
                  <a:lnTo>
                    <a:pt x="1914495" y="722009"/>
                  </a:lnTo>
                  <a:close/>
                  <a:moveTo>
                    <a:pt x="2157823" y="717968"/>
                  </a:moveTo>
                  <a:lnTo>
                    <a:pt x="2167733" y="717968"/>
                  </a:lnTo>
                  <a:lnTo>
                    <a:pt x="2171753" y="722006"/>
                  </a:lnTo>
                  <a:lnTo>
                    <a:pt x="2171753" y="731877"/>
                  </a:lnTo>
                  <a:lnTo>
                    <a:pt x="2167733" y="735916"/>
                  </a:lnTo>
                  <a:lnTo>
                    <a:pt x="2157823" y="735916"/>
                  </a:lnTo>
                  <a:lnTo>
                    <a:pt x="2153804" y="731877"/>
                  </a:lnTo>
                  <a:lnTo>
                    <a:pt x="2153804" y="722006"/>
                  </a:lnTo>
                  <a:close/>
                  <a:moveTo>
                    <a:pt x="9572438" y="717966"/>
                  </a:moveTo>
                  <a:lnTo>
                    <a:pt x="9582349" y="717966"/>
                  </a:lnTo>
                  <a:lnTo>
                    <a:pt x="9586368" y="722004"/>
                  </a:lnTo>
                  <a:lnTo>
                    <a:pt x="9586368" y="731875"/>
                  </a:lnTo>
                  <a:lnTo>
                    <a:pt x="9582349" y="735914"/>
                  </a:lnTo>
                  <a:lnTo>
                    <a:pt x="9572438" y="735914"/>
                  </a:lnTo>
                  <a:lnTo>
                    <a:pt x="9568419" y="731875"/>
                  </a:lnTo>
                  <a:lnTo>
                    <a:pt x="9568419" y="722004"/>
                  </a:lnTo>
                  <a:close/>
                  <a:moveTo>
                    <a:pt x="243349" y="717939"/>
                  </a:moveTo>
                  <a:lnTo>
                    <a:pt x="253260" y="717939"/>
                  </a:lnTo>
                  <a:lnTo>
                    <a:pt x="257279" y="721977"/>
                  </a:lnTo>
                  <a:lnTo>
                    <a:pt x="257279" y="731847"/>
                  </a:lnTo>
                  <a:lnTo>
                    <a:pt x="253260" y="735886"/>
                  </a:lnTo>
                  <a:lnTo>
                    <a:pt x="243349" y="735886"/>
                  </a:lnTo>
                  <a:lnTo>
                    <a:pt x="239330" y="731847"/>
                  </a:lnTo>
                  <a:lnTo>
                    <a:pt x="239330" y="721977"/>
                  </a:lnTo>
                  <a:close/>
                  <a:moveTo>
                    <a:pt x="4036" y="717939"/>
                  </a:moveTo>
                  <a:lnTo>
                    <a:pt x="13947" y="717939"/>
                  </a:lnTo>
                  <a:lnTo>
                    <a:pt x="17965" y="721978"/>
                  </a:lnTo>
                  <a:lnTo>
                    <a:pt x="17965" y="731848"/>
                  </a:lnTo>
                  <a:lnTo>
                    <a:pt x="13947" y="735886"/>
                  </a:lnTo>
                  <a:lnTo>
                    <a:pt x="4036" y="735886"/>
                  </a:lnTo>
                  <a:lnTo>
                    <a:pt x="17" y="731848"/>
                  </a:lnTo>
                  <a:lnTo>
                    <a:pt x="17" y="721978"/>
                  </a:lnTo>
                  <a:close/>
                  <a:moveTo>
                    <a:pt x="721975" y="717939"/>
                  </a:moveTo>
                  <a:lnTo>
                    <a:pt x="731885" y="717939"/>
                  </a:lnTo>
                  <a:lnTo>
                    <a:pt x="735904" y="721977"/>
                  </a:lnTo>
                  <a:lnTo>
                    <a:pt x="735904" y="731847"/>
                  </a:lnTo>
                  <a:lnTo>
                    <a:pt x="731885" y="735886"/>
                  </a:lnTo>
                  <a:lnTo>
                    <a:pt x="721975" y="735886"/>
                  </a:lnTo>
                  <a:lnTo>
                    <a:pt x="717956" y="731847"/>
                  </a:lnTo>
                  <a:lnTo>
                    <a:pt x="717956" y="721977"/>
                  </a:lnTo>
                  <a:close/>
                  <a:moveTo>
                    <a:pt x="482663" y="717939"/>
                  </a:moveTo>
                  <a:lnTo>
                    <a:pt x="492573" y="717939"/>
                  </a:lnTo>
                  <a:lnTo>
                    <a:pt x="496593" y="721977"/>
                  </a:lnTo>
                  <a:lnTo>
                    <a:pt x="496593" y="731847"/>
                  </a:lnTo>
                  <a:lnTo>
                    <a:pt x="492573" y="735886"/>
                  </a:lnTo>
                  <a:lnTo>
                    <a:pt x="482663" y="735886"/>
                  </a:lnTo>
                  <a:lnTo>
                    <a:pt x="478643" y="731847"/>
                  </a:lnTo>
                  <a:lnTo>
                    <a:pt x="478643" y="721977"/>
                  </a:lnTo>
                  <a:close/>
                  <a:moveTo>
                    <a:pt x="3350359" y="478760"/>
                  </a:moveTo>
                  <a:lnTo>
                    <a:pt x="3360268" y="478760"/>
                  </a:lnTo>
                  <a:lnTo>
                    <a:pt x="3364287" y="482801"/>
                  </a:lnTo>
                  <a:lnTo>
                    <a:pt x="3364287" y="492670"/>
                  </a:lnTo>
                  <a:lnTo>
                    <a:pt x="3360268" y="496707"/>
                  </a:lnTo>
                  <a:lnTo>
                    <a:pt x="3350359" y="496707"/>
                  </a:lnTo>
                  <a:lnTo>
                    <a:pt x="3346340" y="492670"/>
                  </a:lnTo>
                  <a:lnTo>
                    <a:pt x="3346340" y="482801"/>
                  </a:lnTo>
                  <a:close/>
                  <a:moveTo>
                    <a:pt x="3111048" y="478760"/>
                  </a:moveTo>
                  <a:lnTo>
                    <a:pt x="3120959" y="478760"/>
                  </a:lnTo>
                  <a:lnTo>
                    <a:pt x="3124977" y="482801"/>
                  </a:lnTo>
                  <a:lnTo>
                    <a:pt x="3124977" y="492670"/>
                  </a:lnTo>
                  <a:lnTo>
                    <a:pt x="3120959" y="496707"/>
                  </a:lnTo>
                  <a:lnTo>
                    <a:pt x="3111048" y="496707"/>
                  </a:lnTo>
                  <a:lnTo>
                    <a:pt x="3107029" y="492670"/>
                  </a:lnTo>
                  <a:lnTo>
                    <a:pt x="3107029" y="482801"/>
                  </a:lnTo>
                  <a:close/>
                  <a:moveTo>
                    <a:pt x="2871737" y="478760"/>
                  </a:moveTo>
                  <a:lnTo>
                    <a:pt x="2881646" y="478760"/>
                  </a:lnTo>
                  <a:lnTo>
                    <a:pt x="2885666" y="482801"/>
                  </a:lnTo>
                  <a:lnTo>
                    <a:pt x="2885666" y="492670"/>
                  </a:lnTo>
                  <a:lnTo>
                    <a:pt x="2881646" y="496707"/>
                  </a:lnTo>
                  <a:lnTo>
                    <a:pt x="2871737" y="496707"/>
                  </a:lnTo>
                  <a:lnTo>
                    <a:pt x="2867717" y="492670"/>
                  </a:lnTo>
                  <a:lnTo>
                    <a:pt x="2867717" y="482801"/>
                  </a:lnTo>
                  <a:close/>
                  <a:moveTo>
                    <a:pt x="2632423" y="478760"/>
                  </a:moveTo>
                  <a:lnTo>
                    <a:pt x="2642334" y="478760"/>
                  </a:lnTo>
                  <a:lnTo>
                    <a:pt x="2646352" y="482801"/>
                  </a:lnTo>
                  <a:lnTo>
                    <a:pt x="2646352" y="492670"/>
                  </a:lnTo>
                  <a:lnTo>
                    <a:pt x="2642334" y="496707"/>
                  </a:lnTo>
                  <a:lnTo>
                    <a:pt x="2632423" y="496707"/>
                  </a:lnTo>
                  <a:lnTo>
                    <a:pt x="2628404" y="492670"/>
                  </a:lnTo>
                  <a:lnTo>
                    <a:pt x="2628404" y="482801"/>
                  </a:lnTo>
                  <a:close/>
                  <a:moveTo>
                    <a:pt x="2393104" y="478760"/>
                  </a:moveTo>
                  <a:lnTo>
                    <a:pt x="2403015" y="478760"/>
                  </a:lnTo>
                  <a:lnTo>
                    <a:pt x="2407034" y="482801"/>
                  </a:lnTo>
                  <a:lnTo>
                    <a:pt x="2407034" y="492670"/>
                  </a:lnTo>
                  <a:lnTo>
                    <a:pt x="2403015" y="496707"/>
                  </a:lnTo>
                  <a:lnTo>
                    <a:pt x="2393104" y="496707"/>
                  </a:lnTo>
                  <a:lnTo>
                    <a:pt x="2389087" y="492670"/>
                  </a:lnTo>
                  <a:lnTo>
                    <a:pt x="2389087" y="482801"/>
                  </a:lnTo>
                  <a:close/>
                  <a:moveTo>
                    <a:pt x="4546929" y="478748"/>
                  </a:moveTo>
                  <a:lnTo>
                    <a:pt x="4556840" y="478748"/>
                  </a:lnTo>
                  <a:lnTo>
                    <a:pt x="4560859" y="482789"/>
                  </a:lnTo>
                  <a:lnTo>
                    <a:pt x="4560859" y="492657"/>
                  </a:lnTo>
                  <a:lnTo>
                    <a:pt x="4556840" y="496695"/>
                  </a:lnTo>
                  <a:lnTo>
                    <a:pt x="4546929" y="496695"/>
                  </a:lnTo>
                  <a:lnTo>
                    <a:pt x="4542910" y="492657"/>
                  </a:lnTo>
                  <a:lnTo>
                    <a:pt x="4542910" y="482789"/>
                  </a:lnTo>
                  <a:close/>
                  <a:moveTo>
                    <a:pt x="4307612" y="478748"/>
                  </a:moveTo>
                  <a:lnTo>
                    <a:pt x="4317523" y="478748"/>
                  </a:lnTo>
                  <a:lnTo>
                    <a:pt x="4321543" y="482789"/>
                  </a:lnTo>
                  <a:lnTo>
                    <a:pt x="4321543" y="492657"/>
                  </a:lnTo>
                  <a:lnTo>
                    <a:pt x="4317523" y="496695"/>
                  </a:lnTo>
                  <a:lnTo>
                    <a:pt x="4307612" y="496695"/>
                  </a:lnTo>
                  <a:lnTo>
                    <a:pt x="4303595" y="492657"/>
                  </a:lnTo>
                  <a:lnTo>
                    <a:pt x="4303595" y="482789"/>
                  </a:lnTo>
                  <a:close/>
                  <a:moveTo>
                    <a:pt x="4068297" y="478748"/>
                  </a:moveTo>
                  <a:lnTo>
                    <a:pt x="4078210" y="478748"/>
                  </a:lnTo>
                  <a:lnTo>
                    <a:pt x="4082229" y="482789"/>
                  </a:lnTo>
                  <a:lnTo>
                    <a:pt x="4082229" y="492657"/>
                  </a:lnTo>
                  <a:lnTo>
                    <a:pt x="4078210" y="496695"/>
                  </a:lnTo>
                  <a:lnTo>
                    <a:pt x="4068297" y="496695"/>
                  </a:lnTo>
                  <a:lnTo>
                    <a:pt x="4064278" y="492657"/>
                  </a:lnTo>
                  <a:lnTo>
                    <a:pt x="4064278" y="482789"/>
                  </a:lnTo>
                  <a:close/>
                  <a:moveTo>
                    <a:pt x="3828990" y="478748"/>
                  </a:moveTo>
                  <a:lnTo>
                    <a:pt x="3838899" y="478748"/>
                  </a:lnTo>
                  <a:lnTo>
                    <a:pt x="3842917" y="482789"/>
                  </a:lnTo>
                  <a:lnTo>
                    <a:pt x="3842917" y="492657"/>
                  </a:lnTo>
                  <a:lnTo>
                    <a:pt x="3838899" y="496695"/>
                  </a:lnTo>
                  <a:lnTo>
                    <a:pt x="3828990" y="496695"/>
                  </a:lnTo>
                  <a:lnTo>
                    <a:pt x="3824971" y="492657"/>
                  </a:lnTo>
                  <a:lnTo>
                    <a:pt x="3824971" y="482789"/>
                  </a:lnTo>
                  <a:close/>
                  <a:moveTo>
                    <a:pt x="3589676" y="478748"/>
                  </a:moveTo>
                  <a:lnTo>
                    <a:pt x="3599585" y="478748"/>
                  </a:lnTo>
                  <a:lnTo>
                    <a:pt x="3603604" y="482789"/>
                  </a:lnTo>
                  <a:lnTo>
                    <a:pt x="3603604" y="492657"/>
                  </a:lnTo>
                  <a:lnTo>
                    <a:pt x="3599585" y="496695"/>
                  </a:lnTo>
                  <a:lnTo>
                    <a:pt x="3589676" y="496695"/>
                  </a:lnTo>
                  <a:lnTo>
                    <a:pt x="3585657" y="492657"/>
                  </a:lnTo>
                  <a:lnTo>
                    <a:pt x="3585657" y="482789"/>
                  </a:lnTo>
                  <a:close/>
                  <a:moveTo>
                    <a:pt x="5743412" y="478736"/>
                  </a:moveTo>
                  <a:lnTo>
                    <a:pt x="5753323" y="478736"/>
                  </a:lnTo>
                  <a:lnTo>
                    <a:pt x="5757342" y="482776"/>
                  </a:lnTo>
                  <a:lnTo>
                    <a:pt x="5757342" y="492645"/>
                  </a:lnTo>
                  <a:lnTo>
                    <a:pt x="5753323" y="496683"/>
                  </a:lnTo>
                  <a:lnTo>
                    <a:pt x="5743412" y="496683"/>
                  </a:lnTo>
                  <a:lnTo>
                    <a:pt x="5739393" y="492645"/>
                  </a:lnTo>
                  <a:lnTo>
                    <a:pt x="5739393" y="482776"/>
                  </a:lnTo>
                  <a:close/>
                  <a:moveTo>
                    <a:pt x="5504099" y="478736"/>
                  </a:moveTo>
                  <a:lnTo>
                    <a:pt x="5514010" y="478736"/>
                  </a:lnTo>
                  <a:lnTo>
                    <a:pt x="5518029" y="482776"/>
                  </a:lnTo>
                  <a:lnTo>
                    <a:pt x="5518029" y="492645"/>
                  </a:lnTo>
                  <a:lnTo>
                    <a:pt x="5514010" y="496683"/>
                  </a:lnTo>
                  <a:lnTo>
                    <a:pt x="5504099" y="496683"/>
                  </a:lnTo>
                  <a:lnTo>
                    <a:pt x="5500080" y="492645"/>
                  </a:lnTo>
                  <a:lnTo>
                    <a:pt x="5500080" y="482776"/>
                  </a:lnTo>
                  <a:close/>
                  <a:moveTo>
                    <a:pt x="5264784" y="478736"/>
                  </a:moveTo>
                  <a:lnTo>
                    <a:pt x="5274694" y="478736"/>
                  </a:lnTo>
                  <a:lnTo>
                    <a:pt x="5278713" y="482776"/>
                  </a:lnTo>
                  <a:lnTo>
                    <a:pt x="5278713" y="492645"/>
                  </a:lnTo>
                  <a:lnTo>
                    <a:pt x="5274694" y="496683"/>
                  </a:lnTo>
                  <a:lnTo>
                    <a:pt x="5264784" y="496683"/>
                  </a:lnTo>
                  <a:lnTo>
                    <a:pt x="5260765" y="492645"/>
                  </a:lnTo>
                  <a:lnTo>
                    <a:pt x="5260765" y="482776"/>
                  </a:lnTo>
                  <a:close/>
                  <a:moveTo>
                    <a:pt x="5025470" y="478736"/>
                  </a:moveTo>
                  <a:lnTo>
                    <a:pt x="5035381" y="478736"/>
                  </a:lnTo>
                  <a:lnTo>
                    <a:pt x="5039400" y="482776"/>
                  </a:lnTo>
                  <a:lnTo>
                    <a:pt x="5039400" y="492645"/>
                  </a:lnTo>
                  <a:lnTo>
                    <a:pt x="5035381" y="496683"/>
                  </a:lnTo>
                  <a:lnTo>
                    <a:pt x="5025470" y="496683"/>
                  </a:lnTo>
                  <a:lnTo>
                    <a:pt x="5021451" y="492645"/>
                  </a:lnTo>
                  <a:lnTo>
                    <a:pt x="5021451" y="482776"/>
                  </a:lnTo>
                  <a:close/>
                  <a:moveTo>
                    <a:pt x="4786241" y="478736"/>
                  </a:moveTo>
                  <a:lnTo>
                    <a:pt x="4796152" y="478736"/>
                  </a:lnTo>
                  <a:lnTo>
                    <a:pt x="4800171" y="482776"/>
                  </a:lnTo>
                  <a:lnTo>
                    <a:pt x="4800171" y="492645"/>
                  </a:lnTo>
                  <a:lnTo>
                    <a:pt x="4796152" y="496683"/>
                  </a:lnTo>
                  <a:lnTo>
                    <a:pt x="4786241" y="496683"/>
                  </a:lnTo>
                  <a:lnTo>
                    <a:pt x="4782224" y="492645"/>
                  </a:lnTo>
                  <a:lnTo>
                    <a:pt x="4782224" y="482776"/>
                  </a:lnTo>
                  <a:close/>
                  <a:moveTo>
                    <a:pt x="6939983" y="478724"/>
                  </a:moveTo>
                  <a:lnTo>
                    <a:pt x="6949894" y="478724"/>
                  </a:lnTo>
                  <a:lnTo>
                    <a:pt x="6953913" y="482764"/>
                  </a:lnTo>
                  <a:lnTo>
                    <a:pt x="6953913" y="492633"/>
                  </a:lnTo>
                  <a:lnTo>
                    <a:pt x="6949894" y="496671"/>
                  </a:lnTo>
                  <a:lnTo>
                    <a:pt x="6939983" y="496671"/>
                  </a:lnTo>
                  <a:lnTo>
                    <a:pt x="6935964" y="492633"/>
                  </a:lnTo>
                  <a:lnTo>
                    <a:pt x="6935964" y="482764"/>
                  </a:lnTo>
                  <a:close/>
                  <a:moveTo>
                    <a:pt x="6700670" y="478724"/>
                  </a:moveTo>
                  <a:lnTo>
                    <a:pt x="6710581" y="478724"/>
                  </a:lnTo>
                  <a:lnTo>
                    <a:pt x="6714600" y="482764"/>
                  </a:lnTo>
                  <a:lnTo>
                    <a:pt x="6714600" y="492633"/>
                  </a:lnTo>
                  <a:lnTo>
                    <a:pt x="6710581" y="496671"/>
                  </a:lnTo>
                  <a:lnTo>
                    <a:pt x="6700670" y="496671"/>
                  </a:lnTo>
                  <a:lnTo>
                    <a:pt x="6696651" y="492633"/>
                  </a:lnTo>
                  <a:lnTo>
                    <a:pt x="6696651" y="482764"/>
                  </a:lnTo>
                  <a:close/>
                  <a:moveTo>
                    <a:pt x="6461356" y="478724"/>
                  </a:moveTo>
                  <a:lnTo>
                    <a:pt x="6471266" y="478724"/>
                  </a:lnTo>
                  <a:lnTo>
                    <a:pt x="6475285" y="482764"/>
                  </a:lnTo>
                  <a:lnTo>
                    <a:pt x="6475285" y="492633"/>
                  </a:lnTo>
                  <a:lnTo>
                    <a:pt x="6471266" y="496671"/>
                  </a:lnTo>
                  <a:lnTo>
                    <a:pt x="6461356" y="496671"/>
                  </a:lnTo>
                  <a:lnTo>
                    <a:pt x="6457337" y="492633"/>
                  </a:lnTo>
                  <a:lnTo>
                    <a:pt x="6457337" y="482764"/>
                  </a:lnTo>
                  <a:close/>
                  <a:moveTo>
                    <a:pt x="6222042" y="478724"/>
                  </a:moveTo>
                  <a:lnTo>
                    <a:pt x="6231952" y="478724"/>
                  </a:lnTo>
                  <a:lnTo>
                    <a:pt x="6235971" y="482764"/>
                  </a:lnTo>
                  <a:lnTo>
                    <a:pt x="6235971" y="492633"/>
                  </a:lnTo>
                  <a:lnTo>
                    <a:pt x="6231952" y="496671"/>
                  </a:lnTo>
                  <a:lnTo>
                    <a:pt x="6222042" y="496671"/>
                  </a:lnTo>
                  <a:lnTo>
                    <a:pt x="6218023" y="492633"/>
                  </a:lnTo>
                  <a:lnTo>
                    <a:pt x="6218023" y="482764"/>
                  </a:lnTo>
                  <a:close/>
                  <a:moveTo>
                    <a:pt x="5982729" y="478724"/>
                  </a:moveTo>
                  <a:lnTo>
                    <a:pt x="5992639" y="478724"/>
                  </a:lnTo>
                  <a:lnTo>
                    <a:pt x="5996658" y="482764"/>
                  </a:lnTo>
                  <a:lnTo>
                    <a:pt x="5996658" y="492633"/>
                  </a:lnTo>
                  <a:lnTo>
                    <a:pt x="5992639" y="496671"/>
                  </a:lnTo>
                  <a:lnTo>
                    <a:pt x="5982729" y="496671"/>
                  </a:lnTo>
                  <a:lnTo>
                    <a:pt x="5978710" y="492633"/>
                  </a:lnTo>
                  <a:lnTo>
                    <a:pt x="5978710" y="482764"/>
                  </a:lnTo>
                  <a:close/>
                  <a:moveTo>
                    <a:pt x="7897241" y="478712"/>
                  </a:moveTo>
                  <a:lnTo>
                    <a:pt x="7907151" y="478712"/>
                  </a:lnTo>
                  <a:lnTo>
                    <a:pt x="7911170" y="482751"/>
                  </a:lnTo>
                  <a:lnTo>
                    <a:pt x="7911170" y="492620"/>
                  </a:lnTo>
                  <a:lnTo>
                    <a:pt x="7907151" y="496658"/>
                  </a:lnTo>
                  <a:lnTo>
                    <a:pt x="7897241" y="496658"/>
                  </a:lnTo>
                  <a:lnTo>
                    <a:pt x="7893222" y="492620"/>
                  </a:lnTo>
                  <a:lnTo>
                    <a:pt x="7893222" y="482751"/>
                  </a:lnTo>
                  <a:close/>
                  <a:moveTo>
                    <a:pt x="7657926" y="478712"/>
                  </a:moveTo>
                  <a:lnTo>
                    <a:pt x="7667836" y="478712"/>
                  </a:lnTo>
                  <a:lnTo>
                    <a:pt x="7671855" y="482751"/>
                  </a:lnTo>
                  <a:lnTo>
                    <a:pt x="7671855" y="492620"/>
                  </a:lnTo>
                  <a:lnTo>
                    <a:pt x="7667836" y="496659"/>
                  </a:lnTo>
                  <a:lnTo>
                    <a:pt x="7657926" y="496659"/>
                  </a:lnTo>
                  <a:lnTo>
                    <a:pt x="7653906" y="492620"/>
                  </a:lnTo>
                  <a:lnTo>
                    <a:pt x="7653906" y="482751"/>
                  </a:lnTo>
                  <a:close/>
                  <a:moveTo>
                    <a:pt x="7418611" y="478712"/>
                  </a:moveTo>
                  <a:lnTo>
                    <a:pt x="7428521" y="478712"/>
                  </a:lnTo>
                  <a:lnTo>
                    <a:pt x="7432540" y="482751"/>
                  </a:lnTo>
                  <a:lnTo>
                    <a:pt x="7432540" y="492620"/>
                  </a:lnTo>
                  <a:lnTo>
                    <a:pt x="7428521" y="496659"/>
                  </a:lnTo>
                  <a:lnTo>
                    <a:pt x="7418611" y="496659"/>
                  </a:lnTo>
                  <a:lnTo>
                    <a:pt x="7414592" y="492620"/>
                  </a:lnTo>
                  <a:lnTo>
                    <a:pt x="7414592" y="482751"/>
                  </a:lnTo>
                  <a:close/>
                  <a:moveTo>
                    <a:pt x="7179298" y="478712"/>
                  </a:moveTo>
                  <a:lnTo>
                    <a:pt x="7189209" y="478712"/>
                  </a:lnTo>
                  <a:lnTo>
                    <a:pt x="7193228" y="482751"/>
                  </a:lnTo>
                  <a:lnTo>
                    <a:pt x="7193228" y="492620"/>
                  </a:lnTo>
                  <a:lnTo>
                    <a:pt x="7189209" y="496659"/>
                  </a:lnTo>
                  <a:lnTo>
                    <a:pt x="7179298" y="496659"/>
                  </a:lnTo>
                  <a:lnTo>
                    <a:pt x="7175279" y="492620"/>
                  </a:lnTo>
                  <a:lnTo>
                    <a:pt x="7175279" y="482751"/>
                  </a:lnTo>
                  <a:close/>
                  <a:moveTo>
                    <a:pt x="8136553" y="478711"/>
                  </a:moveTo>
                  <a:lnTo>
                    <a:pt x="8146464" y="478711"/>
                  </a:lnTo>
                  <a:lnTo>
                    <a:pt x="8150483" y="482751"/>
                  </a:lnTo>
                  <a:lnTo>
                    <a:pt x="8150483" y="492620"/>
                  </a:lnTo>
                  <a:lnTo>
                    <a:pt x="8146464" y="496658"/>
                  </a:lnTo>
                  <a:lnTo>
                    <a:pt x="8136553" y="496658"/>
                  </a:lnTo>
                  <a:lnTo>
                    <a:pt x="8132534" y="492620"/>
                  </a:lnTo>
                  <a:lnTo>
                    <a:pt x="8132534" y="482751"/>
                  </a:lnTo>
                  <a:close/>
                  <a:moveTo>
                    <a:pt x="9093811" y="478699"/>
                  </a:moveTo>
                  <a:lnTo>
                    <a:pt x="9103722" y="478699"/>
                  </a:lnTo>
                  <a:lnTo>
                    <a:pt x="9107741" y="482738"/>
                  </a:lnTo>
                  <a:lnTo>
                    <a:pt x="9107741" y="492608"/>
                  </a:lnTo>
                  <a:lnTo>
                    <a:pt x="9103722" y="496646"/>
                  </a:lnTo>
                  <a:lnTo>
                    <a:pt x="9093811" y="496646"/>
                  </a:lnTo>
                  <a:lnTo>
                    <a:pt x="9089792" y="492608"/>
                  </a:lnTo>
                  <a:lnTo>
                    <a:pt x="9089792" y="482738"/>
                  </a:lnTo>
                  <a:close/>
                  <a:moveTo>
                    <a:pt x="8854496" y="478699"/>
                  </a:moveTo>
                  <a:lnTo>
                    <a:pt x="8864407" y="478699"/>
                  </a:lnTo>
                  <a:lnTo>
                    <a:pt x="8868426" y="482738"/>
                  </a:lnTo>
                  <a:lnTo>
                    <a:pt x="8868426" y="492608"/>
                  </a:lnTo>
                  <a:lnTo>
                    <a:pt x="8864407" y="496647"/>
                  </a:lnTo>
                  <a:lnTo>
                    <a:pt x="8854496" y="496647"/>
                  </a:lnTo>
                  <a:lnTo>
                    <a:pt x="8850477" y="492608"/>
                  </a:lnTo>
                  <a:lnTo>
                    <a:pt x="8850477" y="482738"/>
                  </a:lnTo>
                  <a:close/>
                  <a:moveTo>
                    <a:pt x="8615184" y="478699"/>
                  </a:moveTo>
                  <a:lnTo>
                    <a:pt x="8625095" y="478699"/>
                  </a:lnTo>
                  <a:lnTo>
                    <a:pt x="8629114" y="482739"/>
                  </a:lnTo>
                  <a:lnTo>
                    <a:pt x="8629114" y="492608"/>
                  </a:lnTo>
                  <a:lnTo>
                    <a:pt x="8625095" y="496647"/>
                  </a:lnTo>
                  <a:lnTo>
                    <a:pt x="8615184" y="496647"/>
                  </a:lnTo>
                  <a:lnTo>
                    <a:pt x="8611165" y="492608"/>
                  </a:lnTo>
                  <a:lnTo>
                    <a:pt x="8611165" y="482739"/>
                  </a:lnTo>
                  <a:close/>
                  <a:moveTo>
                    <a:pt x="8375869" y="478699"/>
                  </a:moveTo>
                  <a:lnTo>
                    <a:pt x="8385779" y="478699"/>
                  </a:lnTo>
                  <a:lnTo>
                    <a:pt x="8389799" y="482739"/>
                  </a:lnTo>
                  <a:lnTo>
                    <a:pt x="8389799" y="492608"/>
                  </a:lnTo>
                  <a:lnTo>
                    <a:pt x="8385779" y="496647"/>
                  </a:lnTo>
                  <a:lnTo>
                    <a:pt x="8375869" y="496647"/>
                  </a:lnTo>
                  <a:lnTo>
                    <a:pt x="8371850" y="492608"/>
                  </a:lnTo>
                  <a:lnTo>
                    <a:pt x="8371850" y="482739"/>
                  </a:lnTo>
                  <a:close/>
                  <a:moveTo>
                    <a:pt x="9333125" y="478698"/>
                  </a:moveTo>
                  <a:lnTo>
                    <a:pt x="9343036" y="478698"/>
                  </a:lnTo>
                  <a:lnTo>
                    <a:pt x="9347055" y="482738"/>
                  </a:lnTo>
                  <a:lnTo>
                    <a:pt x="9347055" y="492608"/>
                  </a:lnTo>
                  <a:lnTo>
                    <a:pt x="9343036" y="496646"/>
                  </a:lnTo>
                  <a:lnTo>
                    <a:pt x="9333125" y="496646"/>
                  </a:lnTo>
                  <a:lnTo>
                    <a:pt x="9329106" y="492608"/>
                  </a:lnTo>
                  <a:lnTo>
                    <a:pt x="9329106" y="482738"/>
                  </a:lnTo>
                  <a:close/>
                  <a:moveTo>
                    <a:pt x="9572438" y="478687"/>
                  </a:moveTo>
                  <a:lnTo>
                    <a:pt x="9582349" y="478687"/>
                  </a:lnTo>
                  <a:lnTo>
                    <a:pt x="9586368" y="482726"/>
                  </a:lnTo>
                  <a:lnTo>
                    <a:pt x="9586368" y="492596"/>
                  </a:lnTo>
                  <a:lnTo>
                    <a:pt x="9582349" y="496634"/>
                  </a:lnTo>
                  <a:lnTo>
                    <a:pt x="9572438" y="496634"/>
                  </a:lnTo>
                  <a:lnTo>
                    <a:pt x="9568419" y="492596"/>
                  </a:lnTo>
                  <a:lnTo>
                    <a:pt x="9568419" y="482726"/>
                  </a:lnTo>
                  <a:close/>
                  <a:moveTo>
                    <a:pt x="721976" y="478660"/>
                  </a:moveTo>
                  <a:lnTo>
                    <a:pt x="731886" y="478660"/>
                  </a:lnTo>
                  <a:lnTo>
                    <a:pt x="735905" y="482698"/>
                  </a:lnTo>
                  <a:lnTo>
                    <a:pt x="735905" y="492569"/>
                  </a:lnTo>
                  <a:lnTo>
                    <a:pt x="731886" y="496608"/>
                  </a:lnTo>
                  <a:lnTo>
                    <a:pt x="721976" y="496608"/>
                  </a:lnTo>
                  <a:lnTo>
                    <a:pt x="717957" y="492569"/>
                  </a:lnTo>
                  <a:lnTo>
                    <a:pt x="717957" y="482698"/>
                  </a:lnTo>
                  <a:close/>
                  <a:moveTo>
                    <a:pt x="482664" y="478660"/>
                  </a:moveTo>
                  <a:lnTo>
                    <a:pt x="492574" y="478660"/>
                  </a:lnTo>
                  <a:lnTo>
                    <a:pt x="496593" y="482698"/>
                  </a:lnTo>
                  <a:lnTo>
                    <a:pt x="496593" y="492569"/>
                  </a:lnTo>
                  <a:lnTo>
                    <a:pt x="492574" y="496608"/>
                  </a:lnTo>
                  <a:lnTo>
                    <a:pt x="482664" y="496608"/>
                  </a:lnTo>
                  <a:lnTo>
                    <a:pt x="478645" y="492569"/>
                  </a:lnTo>
                  <a:lnTo>
                    <a:pt x="478645" y="482698"/>
                  </a:lnTo>
                  <a:close/>
                  <a:moveTo>
                    <a:pt x="243350" y="478660"/>
                  </a:moveTo>
                  <a:lnTo>
                    <a:pt x="253260" y="478660"/>
                  </a:lnTo>
                  <a:lnTo>
                    <a:pt x="257279" y="482698"/>
                  </a:lnTo>
                  <a:lnTo>
                    <a:pt x="257279" y="492569"/>
                  </a:lnTo>
                  <a:lnTo>
                    <a:pt x="253260" y="496608"/>
                  </a:lnTo>
                  <a:lnTo>
                    <a:pt x="243350" y="496608"/>
                  </a:lnTo>
                  <a:lnTo>
                    <a:pt x="239331" y="492569"/>
                  </a:lnTo>
                  <a:lnTo>
                    <a:pt x="239331" y="482698"/>
                  </a:lnTo>
                  <a:close/>
                  <a:moveTo>
                    <a:pt x="4037" y="478660"/>
                  </a:moveTo>
                  <a:lnTo>
                    <a:pt x="13947" y="478660"/>
                  </a:lnTo>
                  <a:lnTo>
                    <a:pt x="17966" y="482698"/>
                  </a:lnTo>
                  <a:lnTo>
                    <a:pt x="17966" y="492569"/>
                  </a:lnTo>
                  <a:lnTo>
                    <a:pt x="13947" y="496608"/>
                  </a:lnTo>
                  <a:lnTo>
                    <a:pt x="4037" y="496608"/>
                  </a:lnTo>
                  <a:lnTo>
                    <a:pt x="18" y="492569"/>
                  </a:lnTo>
                  <a:lnTo>
                    <a:pt x="18" y="482698"/>
                  </a:lnTo>
                  <a:close/>
                  <a:moveTo>
                    <a:pt x="1679220" y="478650"/>
                  </a:moveTo>
                  <a:lnTo>
                    <a:pt x="1689130" y="478650"/>
                  </a:lnTo>
                  <a:lnTo>
                    <a:pt x="1693149" y="482688"/>
                  </a:lnTo>
                  <a:lnTo>
                    <a:pt x="1693149" y="492559"/>
                  </a:lnTo>
                  <a:lnTo>
                    <a:pt x="1689130" y="496598"/>
                  </a:lnTo>
                  <a:lnTo>
                    <a:pt x="1679220" y="496598"/>
                  </a:lnTo>
                  <a:lnTo>
                    <a:pt x="1675200" y="492559"/>
                  </a:lnTo>
                  <a:lnTo>
                    <a:pt x="1675200" y="482688"/>
                  </a:lnTo>
                  <a:close/>
                  <a:moveTo>
                    <a:pt x="1439902" y="478650"/>
                  </a:moveTo>
                  <a:lnTo>
                    <a:pt x="1449812" y="478650"/>
                  </a:lnTo>
                  <a:lnTo>
                    <a:pt x="1453831" y="482688"/>
                  </a:lnTo>
                  <a:lnTo>
                    <a:pt x="1453831" y="492559"/>
                  </a:lnTo>
                  <a:lnTo>
                    <a:pt x="1449812" y="496598"/>
                  </a:lnTo>
                  <a:lnTo>
                    <a:pt x="1439902" y="496598"/>
                  </a:lnTo>
                  <a:lnTo>
                    <a:pt x="1435883" y="492559"/>
                  </a:lnTo>
                  <a:lnTo>
                    <a:pt x="1435883" y="482688"/>
                  </a:lnTo>
                  <a:close/>
                  <a:moveTo>
                    <a:pt x="1200585" y="478650"/>
                  </a:moveTo>
                  <a:lnTo>
                    <a:pt x="1210496" y="478650"/>
                  </a:lnTo>
                  <a:lnTo>
                    <a:pt x="1214515" y="482689"/>
                  </a:lnTo>
                  <a:lnTo>
                    <a:pt x="1214515" y="492559"/>
                  </a:lnTo>
                  <a:lnTo>
                    <a:pt x="1210496" y="496598"/>
                  </a:lnTo>
                  <a:lnTo>
                    <a:pt x="1200585" y="496598"/>
                  </a:lnTo>
                  <a:lnTo>
                    <a:pt x="1196567" y="492559"/>
                  </a:lnTo>
                  <a:lnTo>
                    <a:pt x="1196567" y="482689"/>
                  </a:lnTo>
                  <a:close/>
                  <a:moveTo>
                    <a:pt x="961273" y="478650"/>
                  </a:moveTo>
                  <a:lnTo>
                    <a:pt x="971183" y="478650"/>
                  </a:lnTo>
                  <a:lnTo>
                    <a:pt x="975202" y="482689"/>
                  </a:lnTo>
                  <a:lnTo>
                    <a:pt x="975202" y="492559"/>
                  </a:lnTo>
                  <a:lnTo>
                    <a:pt x="971183" y="496598"/>
                  </a:lnTo>
                  <a:lnTo>
                    <a:pt x="961273" y="496598"/>
                  </a:lnTo>
                  <a:lnTo>
                    <a:pt x="957254" y="492559"/>
                  </a:lnTo>
                  <a:lnTo>
                    <a:pt x="957254" y="482689"/>
                  </a:lnTo>
                  <a:close/>
                  <a:moveTo>
                    <a:pt x="1918515" y="478641"/>
                  </a:moveTo>
                  <a:lnTo>
                    <a:pt x="1928425" y="478641"/>
                  </a:lnTo>
                  <a:lnTo>
                    <a:pt x="1932444" y="482679"/>
                  </a:lnTo>
                  <a:lnTo>
                    <a:pt x="1932444" y="492550"/>
                  </a:lnTo>
                  <a:lnTo>
                    <a:pt x="1928425" y="496589"/>
                  </a:lnTo>
                  <a:lnTo>
                    <a:pt x="1918515" y="496589"/>
                  </a:lnTo>
                  <a:lnTo>
                    <a:pt x="1914495" y="492550"/>
                  </a:lnTo>
                  <a:lnTo>
                    <a:pt x="1914495" y="482679"/>
                  </a:lnTo>
                  <a:close/>
                  <a:moveTo>
                    <a:pt x="2157823" y="478638"/>
                  </a:moveTo>
                  <a:lnTo>
                    <a:pt x="2167734" y="478638"/>
                  </a:lnTo>
                  <a:lnTo>
                    <a:pt x="2171753" y="482677"/>
                  </a:lnTo>
                  <a:lnTo>
                    <a:pt x="2171753" y="492548"/>
                  </a:lnTo>
                  <a:lnTo>
                    <a:pt x="2167734" y="496587"/>
                  </a:lnTo>
                  <a:lnTo>
                    <a:pt x="2157823" y="496587"/>
                  </a:lnTo>
                  <a:lnTo>
                    <a:pt x="2153804" y="492548"/>
                  </a:lnTo>
                  <a:lnTo>
                    <a:pt x="2153804" y="482677"/>
                  </a:lnTo>
                  <a:close/>
                  <a:moveTo>
                    <a:pt x="2632423" y="239432"/>
                  </a:moveTo>
                  <a:lnTo>
                    <a:pt x="2642334" y="239432"/>
                  </a:lnTo>
                  <a:lnTo>
                    <a:pt x="2646352" y="243470"/>
                  </a:lnTo>
                  <a:lnTo>
                    <a:pt x="2646352" y="253341"/>
                  </a:lnTo>
                  <a:lnTo>
                    <a:pt x="2642334" y="257380"/>
                  </a:lnTo>
                  <a:lnTo>
                    <a:pt x="2632423" y="257380"/>
                  </a:lnTo>
                  <a:lnTo>
                    <a:pt x="2628404" y="253341"/>
                  </a:lnTo>
                  <a:lnTo>
                    <a:pt x="2628404" y="243470"/>
                  </a:lnTo>
                  <a:close/>
                  <a:moveTo>
                    <a:pt x="2393104" y="239432"/>
                  </a:moveTo>
                  <a:lnTo>
                    <a:pt x="2403015" y="239432"/>
                  </a:lnTo>
                  <a:lnTo>
                    <a:pt x="2407034" y="243470"/>
                  </a:lnTo>
                  <a:lnTo>
                    <a:pt x="2407034" y="253341"/>
                  </a:lnTo>
                  <a:lnTo>
                    <a:pt x="2403015" y="257380"/>
                  </a:lnTo>
                  <a:lnTo>
                    <a:pt x="2393104" y="257380"/>
                  </a:lnTo>
                  <a:lnTo>
                    <a:pt x="2389087" y="253341"/>
                  </a:lnTo>
                  <a:lnTo>
                    <a:pt x="2389087" y="243470"/>
                  </a:lnTo>
                  <a:close/>
                  <a:moveTo>
                    <a:pt x="3350359" y="239432"/>
                  </a:moveTo>
                  <a:lnTo>
                    <a:pt x="3360268" y="239432"/>
                  </a:lnTo>
                  <a:lnTo>
                    <a:pt x="3364287" y="243470"/>
                  </a:lnTo>
                  <a:lnTo>
                    <a:pt x="3364287" y="253341"/>
                  </a:lnTo>
                  <a:lnTo>
                    <a:pt x="3360268" y="257380"/>
                  </a:lnTo>
                  <a:lnTo>
                    <a:pt x="3350359" y="257380"/>
                  </a:lnTo>
                  <a:lnTo>
                    <a:pt x="3346340" y="253341"/>
                  </a:lnTo>
                  <a:lnTo>
                    <a:pt x="3346340" y="243470"/>
                  </a:lnTo>
                  <a:close/>
                  <a:moveTo>
                    <a:pt x="3111048" y="239432"/>
                  </a:moveTo>
                  <a:lnTo>
                    <a:pt x="3120959" y="239432"/>
                  </a:lnTo>
                  <a:lnTo>
                    <a:pt x="3124977" y="243470"/>
                  </a:lnTo>
                  <a:lnTo>
                    <a:pt x="3124977" y="253341"/>
                  </a:lnTo>
                  <a:lnTo>
                    <a:pt x="3120959" y="257380"/>
                  </a:lnTo>
                  <a:lnTo>
                    <a:pt x="3111048" y="257380"/>
                  </a:lnTo>
                  <a:lnTo>
                    <a:pt x="3107029" y="253341"/>
                  </a:lnTo>
                  <a:lnTo>
                    <a:pt x="3107029" y="243470"/>
                  </a:lnTo>
                  <a:close/>
                  <a:moveTo>
                    <a:pt x="2871737" y="239432"/>
                  </a:moveTo>
                  <a:lnTo>
                    <a:pt x="2881646" y="239432"/>
                  </a:lnTo>
                  <a:lnTo>
                    <a:pt x="2885666" y="243470"/>
                  </a:lnTo>
                  <a:lnTo>
                    <a:pt x="2885666" y="253341"/>
                  </a:lnTo>
                  <a:lnTo>
                    <a:pt x="2881646" y="257380"/>
                  </a:lnTo>
                  <a:lnTo>
                    <a:pt x="2871737" y="257380"/>
                  </a:lnTo>
                  <a:lnTo>
                    <a:pt x="2867717" y="253341"/>
                  </a:lnTo>
                  <a:lnTo>
                    <a:pt x="2867717" y="243470"/>
                  </a:lnTo>
                  <a:close/>
                  <a:moveTo>
                    <a:pt x="3828990" y="239420"/>
                  </a:moveTo>
                  <a:lnTo>
                    <a:pt x="3838899" y="239420"/>
                  </a:lnTo>
                  <a:lnTo>
                    <a:pt x="3842917" y="243457"/>
                  </a:lnTo>
                  <a:lnTo>
                    <a:pt x="3842917" y="253328"/>
                  </a:lnTo>
                  <a:lnTo>
                    <a:pt x="3838899" y="257367"/>
                  </a:lnTo>
                  <a:lnTo>
                    <a:pt x="3828990" y="257367"/>
                  </a:lnTo>
                  <a:lnTo>
                    <a:pt x="3824971" y="253328"/>
                  </a:lnTo>
                  <a:lnTo>
                    <a:pt x="3824971" y="243457"/>
                  </a:lnTo>
                  <a:close/>
                  <a:moveTo>
                    <a:pt x="3589676" y="239420"/>
                  </a:moveTo>
                  <a:lnTo>
                    <a:pt x="3599585" y="239420"/>
                  </a:lnTo>
                  <a:lnTo>
                    <a:pt x="3603604" y="243457"/>
                  </a:lnTo>
                  <a:lnTo>
                    <a:pt x="3603604" y="253328"/>
                  </a:lnTo>
                  <a:lnTo>
                    <a:pt x="3599585" y="257367"/>
                  </a:lnTo>
                  <a:lnTo>
                    <a:pt x="3589676" y="257367"/>
                  </a:lnTo>
                  <a:lnTo>
                    <a:pt x="3585657" y="253328"/>
                  </a:lnTo>
                  <a:lnTo>
                    <a:pt x="3585657" y="243457"/>
                  </a:lnTo>
                  <a:close/>
                  <a:moveTo>
                    <a:pt x="4546929" y="239419"/>
                  </a:moveTo>
                  <a:lnTo>
                    <a:pt x="4556840" y="239419"/>
                  </a:lnTo>
                  <a:lnTo>
                    <a:pt x="4560859" y="243457"/>
                  </a:lnTo>
                  <a:lnTo>
                    <a:pt x="4560859" y="253328"/>
                  </a:lnTo>
                  <a:lnTo>
                    <a:pt x="4556840" y="257367"/>
                  </a:lnTo>
                  <a:lnTo>
                    <a:pt x="4546929" y="257367"/>
                  </a:lnTo>
                  <a:lnTo>
                    <a:pt x="4542910" y="253328"/>
                  </a:lnTo>
                  <a:lnTo>
                    <a:pt x="4542910" y="243457"/>
                  </a:lnTo>
                  <a:close/>
                  <a:moveTo>
                    <a:pt x="4307612" y="239419"/>
                  </a:moveTo>
                  <a:lnTo>
                    <a:pt x="4317523" y="239419"/>
                  </a:lnTo>
                  <a:lnTo>
                    <a:pt x="4321543" y="243457"/>
                  </a:lnTo>
                  <a:lnTo>
                    <a:pt x="4321543" y="253328"/>
                  </a:lnTo>
                  <a:lnTo>
                    <a:pt x="4317523" y="257367"/>
                  </a:lnTo>
                  <a:lnTo>
                    <a:pt x="4307612" y="257367"/>
                  </a:lnTo>
                  <a:lnTo>
                    <a:pt x="4303595" y="253328"/>
                  </a:lnTo>
                  <a:lnTo>
                    <a:pt x="4303595" y="243457"/>
                  </a:lnTo>
                  <a:close/>
                  <a:moveTo>
                    <a:pt x="4068297" y="239419"/>
                  </a:moveTo>
                  <a:lnTo>
                    <a:pt x="4078210" y="239419"/>
                  </a:lnTo>
                  <a:lnTo>
                    <a:pt x="4082229" y="243457"/>
                  </a:lnTo>
                  <a:lnTo>
                    <a:pt x="4082229" y="253328"/>
                  </a:lnTo>
                  <a:lnTo>
                    <a:pt x="4078210" y="257367"/>
                  </a:lnTo>
                  <a:lnTo>
                    <a:pt x="4068297" y="257367"/>
                  </a:lnTo>
                  <a:lnTo>
                    <a:pt x="4064278" y="253328"/>
                  </a:lnTo>
                  <a:lnTo>
                    <a:pt x="4064278" y="243457"/>
                  </a:lnTo>
                  <a:close/>
                  <a:moveTo>
                    <a:pt x="5025470" y="239407"/>
                  </a:moveTo>
                  <a:lnTo>
                    <a:pt x="5035381" y="239407"/>
                  </a:lnTo>
                  <a:lnTo>
                    <a:pt x="5039400" y="243445"/>
                  </a:lnTo>
                  <a:lnTo>
                    <a:pt x="5039400" y="253316"/>
                  </a:lnTo>
                  <a:lnTo>
                    <a:pt x="5035381" y="257355"/>
                  </a:lnTo>
                  <a:lnTo>
                    <a:pt x="5025470" y="257355"/>
                  </a:lnTo>
                  <a:lnTo>
                    <a:pt x="5021451" y="253316"/>
                  </a:lnTo>
                  <a:lnTo>
                    <a:pt x="5021451" y="243445"/>
                  </a:lnTo>
                  <a:close/>
                  <a:moveTo>
                    <a:pt x="4786241" y="239407"/>
                  </a:moveTo>
                  <a:lnTo>
                    <a:pt x="4796152" y="239407"/>
                  </a:lnTo>
                  <a:lnTo>
                    <a:pt x="4800171" y="243445"/>
                  </a:lnTo>
                  <a:lnTo>
                    <a:pt x="4800171" y="253316"/>
                  </a:lnTo>
                  <a:lnTo>
                    <a:pt x="4796152" y="257355"/>
                  </a:lnTo>
                  <a:lnTo>
                    <a:pt x="4786241" y="257355"/>
                  </a:lnTo>
                  <a:lnTo>
                    <a:pt x="4782224" y="253316"/>
                  </a:lnTo>
                  <a:lnTo>
                    <a:pt x="4782224" y="243445"/>
                  </a:lnTo>
                  <a:close/>
                  <a:moveTo>
                    <a:pt x="5743412" y="239407"/>
                  </a:moveTo>
                  <a:lnTo>
                    <a:pt x="5753323" y="239407"/>
                  </a:lnTo>
                  <a:lnTo>
                    <a:pt x="5757342" y="243445"/>
                  </a:lnTo>
                  <a:lnTo>
                    <a:pt x="5757342" y="253316"/>
                  </a:lnTo>
                  <a:lnTo>
                    <a:pt x="5753323" y="257355"/>
                  </a:lnTo>
                  <a:lnTo>
                    <a:pt x="5743412" y="257355"/>
                  </a:lnTo>
                  <a:lnTo>
                    <a:pt x="5739393" y="253316"/>
                  </a:lnTo>
                  <a:lnTo>
                    <a:pt x="5739393" y="243445"/>
                  </a:lnTo>
                  <a:close/>
                  <a:moveTo>
                    <a:pt x="5504099" y="239407"/>
                  </a:moveTo>
                  <a:lnTo>
                    <a:pt x="5514010" y="239407"/>
                  </a:lnTo>
                  <a:lnTo>
                    <a:pt x="5518029" y="243445"/>
                  </a:lnTo>
                  <a:lnTo>
                    <a:pt x="5518029" y="253316"/>
                  </a:lnTo>
                  <a:lnTo>
                    <a:pt x="5514010" y="257355"/>
                  </a:lnTo>
                  <a:lnTo>
                    <a:pt x="5504099" y="257355"/>
                  </a:lnTo>
                  <a:lnTo>
                    <a:pt x="5500080" y="253316"/>
                  </a:lnTo>
                  <a:lnTo>
                    <a:pt x="5500080" y="243445"/>
                  </a:lnTo>
                  <a:close/>
                  <a:moveTo>
                    <a:pt x="5264784" y="239407"/>
                  </a:moveTo>
                  <a:lnTo>
                    <a:pt x="5274694" y="239407"/>
                  </a:lnTo>
                  <a:lnTo>
                    <a:pt x="5278713" y="243445"/>
                  </a:lnTo>
                  <a:lnTo>
                    <a:pt x="5278713" y="253316"/>
                  </a:lnTo>
                  <a:lnTo>
                    <a:pt x="5274694" y="257355"/>
                  </a:lnTo>
                  <a:lnTo>
                    <a:pt x="5264784" y="257355"/>
                  </a:lnTo>
                  <a:lnTo>
                    <a:pt x="5260765" y="253316"/>
                  </a:lnTo>
                  <a:lnTo>
                    <a:pt x="5260765" y="243445"/>
                  </a:lnTo>
                  <a:close/>
                  <a:moveTo>
                    <a:pt x="6222042" y="239395"/>
                  </a:moveTo>
                  <a:lnTo>
                    <a:pt x="6231952" y="239395"/>
                  </a:lnTo>
                  <a:lnTo>
                    <a:pt x="6235971" y="243432"/>
                  </a:lnTo>
                  <a:lnTo>
                    <a:pt x="6235971" y="253303"/>
                  </a:lnTo>
                  <a:lnTo>
                    <a:pt x="6231952" y="257342"/>
                  </a:lnTo>
                  <a:lnTo>
                    <a:pt x="6222042" y="257342"/>
                  </a:lnTo>
                  <a:lnTo>
                    <a:pt x="6218023" y="253303"/>
                  </a:lnTo>
                  <a:lnTo>
                    <a:pt x="6218023" y="243432"/>
                  </a:lnTo>
                  <a:close/>
                  <a:moveTo>
                    <a:pt x="5982729" y="239395"/>
                  </a:moveTo>
                  <a:lnTo>
                    <a:pt x="5992639" y="239395"/>
                  </a:lnTo>
                  <a:lnTo>
                    <a:pt x="5996658" y="243433"/>
                  </a:lnTo>
                  <a:lnTo>
                    <a:pt x="5996658" y="253303"/>
                  </a:lnTo>
                  <a:lnTo>
                    <a:pt x="5992639" y="257342"/>
                  </a:lnTo>
                  <a:lnTo>
                    <a:pt x="5982729" y="257342"/>
                  </a:lnTo>
                  <a:lnTo>
                    <a:pt x="5978710" y="253303"/>
                  </a:lnTo>
                  <a:lnTo>
                    <a:pt x="5978710" y="243433"/>
                  </a:lnTo>
                  <a:close/>
                  <a:moveTo>
                    <a:pt x="6939983" y="239394"/>
                  </a:moveTo>
                  <a:lnTo>
                    <a:pt x="6949894" y="239394"/>
                  </a:lnTo>
                  <a:lnTo>
                    <a:pt x="6953913" y="243432"/>
                  </a:lnTo>
                  <a:lnTo>
                    <a:pt x="6953913" y="253303"/>
                  </a:lnTo>
                  <a:lnTo>
                    <a:pt x="6949894" y="257342"/>
                  </a:lnTo>
                  <a:lnTo>
                    <a:pt x="6939983" y="257342"/>
                  </a:lnTo>
                  <a:lnTo>
                    <a:pt x="6935964" y="253303"/>
                  </a:lnTo>
                  <a:lnTo>
                    <a:pt x="6935964" y="243432"/>
                  </a:lnTo>
                  <a:close/>
                  <a:moveTo>
                    <a:pt x="6700670" y="239394"/>
                  </a:moveTo>
                  <a:lnTo>
                    <a:pt x="6710581" y="239394"/>
                  </a:lnTo>
                  <a:lnTo>
                    <a:pt x="6714600" y="243432"/>
                  </a:lnTo>
                  <a:lnTo>
                    <a:pt x="6714600" y="253303"/>
                  </a:lnTo>
                  <a:lnTo>
                    <a:pt x="6710581" y="257342"/>
                  </a:lnTo>
                  <a:lnTo>
                    <a:pt x="6700670" y="257342"/>
                  </a:lnTo>
                  <a:lnTo>
                    <a:pt x="6696651" y="253303"/>
                  </a:lnTo>
                  <a:lnTo>
                    <a:pt x="6696651" y="243432"/>
                  </a:lnTo>
                  <a:close/>
                  <a:moveTo>
                    <a:pt x="6461356" y="239394"/>
                  </a:moveTo>
                  <a:lnTo>
                    <a:pt x="6471266" y="239394"/>
                  </a:lnTo>
                  <a:lnTo>
                    <a:pt x="6475285" y="243432"/>
                  </a:lnTo>
                  <a:lnTo>
                    <a:pt x="6475285" y="253303"/>
                  </a:lnTo>
                  <a:lnTo>
                    <a:pt x="6471266" y="257342"/>
                  </a:lnTo>
                  <a:lnTo>
                    <a:pt x="6461356" y="257342"/>
                  </a:lnTo>
                  <a:lnTo>
                    <a:pt x="6457337" y="253303"/>
                  </a:lnTo>
                  <a:lnTo>
                    <a:pt x="6457337" y="243432"/>
                  </a:lnTo>
                  <a:close/>
                  <a:moveTo>
                    <a:pt x="7418611" y="239382"/>
                  </a:moveTo>
                  <a:lnTo>
                    <a:pt x="7428521" y="239382"/>
                  </a:lnTo>
                  <a:lnTo>
                    <a:pt x="7432540" y="243420"/>
                  </a:lnTo>
                  <a:lnTo>
                    <a:pt x="7432540" y="253291"/>
                  </a:lnTo>
                  <a:lnTo>
                    <a:pt x="7428521" y="257330"/>
                  </a:lnTo>
                  <a:lnTo>
                    <a:pt x="7418611" y="257330"/>
                  </a:lnTo>
                  <a:lnTo>
                    <a:pt x="7414592" y="253291"/>
                  </a:lnTo>
                  <a:lnTo>
                    <a:pt x="7414592" y="243420"/>
                  </a:lnTo>
                  <a:close/>
                  <a:moveTo>
                    <a:pt x="7179298" y="239382"/>
                  </a:moveTo>
                  <a:lnTo>
                    <a:pt x="7189209" y="239382"/>
                  </a:lnTo>
                  <a:lnTo>
                    <a:pt x="7193228" y="243421"/>
                  </a:lnTo>
                  <a:lnTo>
                    <a:pt x="7193228" y="253292"/>
                  </a:lnTo>
                  <a:lnTo>
                    <a:pt x="7189209" y="257330"/>
                  </a:lnTo>
                  <a:lnTo>
                    <a:pt x="7179298" y="257330"/>
                  </a:lnTo>
                  <a:lnTo>
                    <a:pt x="7175279" y="253292"/>
                  </a:lnTo>
                  <a:lnTo>
                    <a:pt x="7175279" y="243421"/>
                  </a:lnTo>
                  <a:close/>
                  <a:moveTo>
                    <a:pt x="8136553" y="239382"/>
                  </a:moveTo>
                  <a:lnTo>
                    <a:pt x="8146464" y="239382"/>
                  </a:lnTo>
                  <a:lnTo>
                    <a:pt x="8150483" y="243420"/>
                  </a:lnTo>
                  <a:lnTo>
                    <a:pt x="8150483" y="253291"/>
                  </a:lnTo>
                  <a:lnTo>
                    <a:pt x="8146464" y="257330"/>
                  </a:lnTo>
                  <a:lnTo>
                    <a:pt x="8136553" y="257330"/>
                  </a:lnTo>
                  <a:lnTo>
                    <a:pt x="8132534" y="253291"/>
                  </a:lnTo>
                  <a:lnTo>
                    <a:pt x="8132534" y="243420"/>
                  </a:lnTo>
                  <a:close/>
                  <a:moveTo>
                    <a:pt x="7897241" y="239382"/>
                  </a:moveTo>
                  <a:lnTo>
                    <a:pt x="7907151" y="239382"/>
                  </a:lnTo>
                  <a:lnTo>
                    <a:pt x="7911170" y="243420"/>
                  </a:lnTo>
                  <a:lnTo>
                    <a:pt x="7911170" y="253291"/>
                  </a:lnTo>
                  <a:lnTo>
                    <a:pt x="7907151" y="257330"/>
                  </a:lnTo>
                  <a:lnTo>
                    <a:pt x="7897241" y="257330"/>
                  </a:lnTo>
                  <a:lnTo>
                    <a:pt x="7893222" y="253291"/>
                  </a:lnTo>
                  <a:lnTo>
                    <a:pt x="7893222" y="243420"/>
                  </a:lnTo>
                  <a:close/>
                  <a:moveTo>
                    <a:pt x="7657926" y="239382"/>
                  </a:moveTo>
                  <a:lnTo>
                    <a:pt x="7667836" y="239382"/>
                  </a:lnTo>
                  <a:lnTo>
                    <a:pt x="7671855" y="243420"/>
                  </a:lnTo>
                  <a:lnTo>
                    <a:pt x="7671855" y="253291"/>
                  </a:lnTo>
                  <a:lnTo>
                    <a:pt x="7667836" y="257330"/>
                  </a:lnTo>
                  <a:lnTo>
                    <a:pt x="7657926" y="257330"/>
                  </a:lnTo>
                  <a:lnTo>
                    <a:pt x="7653906" y="253291"/>
                  </a:lnTo>
                  <a:lnTo>
                    <a:pt x="7653906" y="243420"/>
                  </a:lnTo>
                  <a:close/>
                  <a:moveTo>
                    <a:pt x="1679220" y="239371"/>
                  </a:moveTo>
                  <a:lnTo>
                    <a:pt x="1689131" y="239371"/>
                  </a:lnTo>
                  <a:lnTo>
                    <a:pt x="1693150" y="243409"/>
                  </a:lnTo>
                  <a:lnTo>
                    <a:pt x="1693150" y="253280"/>
                  </a:lnTo>
                  <a:lnTo>
                    <a:pt x="1689131" y="257319"/>
                  </a:lnTo>
                  <a:lnTo>
                    <a:pt x="1679220" y="257319"/>
                  </a:lnTo>
                  <a:lnTo>
                    <a:pt x="1675202" y="253280"/>
                  </a:lnTo>
                  <a:lnTo>
                    <a:pt x="1675202" y="243409"/>
                  </a:lnTo>
                  <a:close/>
                  <a:moveTo>
                    <a:pt x="1439902" y="239371"/>
                  </a:moveTo>
                  <a:lnTo>
                    <a:pt x="1449813" y="239371"/>
                  </a:lnTo>
                  <a:lnTo>
                    <a:pt x="1453832" y="243409"/>
                  </a:lnTo>
                  <a:lnTo>
                    <a:pt x="1453832" y="253280"/>
                  </a:lnTo>
                  <a:lnTo>
                    <a:pt x="1449813" y="257319"/>
                  </a:lnTo>
                  <a:lnTo>
                    <a:pt x="1439902" y="257319"/>
                  </a:lnTo>
                  <a:lnTo>
                    <a:pt x="1435884" y="253280"/>
                  </a:lnTo>
                  <a:lnTo>
                    <a:pt x="1435884" y="243409"/>
                  </a:lnTo>
                  <a:close/>
                  <a:moveTo>
                    <a:pt x="1200587" y="239371"/>
                  </a:moveTo>
                  <a:lnTo>
                    <a:pt x="1210496" y="239371"/>
                  </a:lnTo>
                  <a:lnTo>
                    <a:pt x="1214515" y="243409"/>
                  </a:lnTo>
                  <a:lnTo>
                    <a:pt x="1214515" y="253280"/>
                  </a:lnTo>
                  <a:lnTo>
                    <a:pt x="1210496" y="257319"/>
                  </a:lnTo>
                  <a:lnTo>
                    <a:pt x="1200587" y="257319"/>
                  </a:lnTo>
                  <a:lnTo>
                    <a:pt x="1196567" y="253280"/>
                  </a:lnTo>
                  <a:lnTo>
                    <a:pt x="1196567" y="243409"/>
                  </a:lnTo>
                  <a:close/>
                  <a:moveTo>
                    <a:pt x="961273" y="239371"/>
                  </a:moveTo>
                  <a:lnTo>
                    <a:pt x="971184" y="239371"/>
                  </a:lnTo>
                  <a:lnTo>
                    <a:pt x="975203" y="243409"/>
                  </a:lnTo>
                  <a:lnTo>
                    <a:pt x="975203" y="253280"/>
                  </a:lnTo>
                  <a:lnTo>
                    <a:pt x="971184" y="257319"/>
                  </a:lnTo>
                  <a:lnTo>
                    <a:pt x="961273" y="257319"/>
                  </a:lnTo>
                  <a:lnTo>
                    <a:pt x="957255" y="253280"/>
                  </a:lnTo>
                  <a:lnTo>
                    <a:pt x="957255" y="243409"/>
                  </a:lnTo>
                  <a:close/>
                  <a:moveTo>
                    <a:pt x="8615184" y="239370"/>
                  </a:moveTo>
                  <a:lnTo>
                    <a:pt x="8625095" y="239370"/>
                  </a:lnTo>
                  <a:lnTo>
                    <a:pt x="8629114" y="243408"/>
                  </a:lnTo>
                  <a:lnTo>
                    <a:pt x="8629114" y="253278"/>
                  </a:lnTo>
                  <a:lnTo>
                    <a:pt x="8625095" y="257317"/>
                  </a:lnTo>
                  <a:lnTo>
                    <a:pt x="8615184" y="257317"/>
                  </a:lnTo>
                  <a:lnTo>
                    <a:pt x="8611165" y="253278"/>
                  </a:lnTo>
                  <a:lnTo>
                    <a:pt x="8611165" y="243408"/>
                  </a:lnTo>
                  <a:close/>
                  <a:moveTo>
                    <a:pt x="8375869" y="239370"/>
                  </a:moveTo>
                  <a:lnTo>
                    <a:pt x="8385779" y="239370"/>
                  </a:lnTo>
                  <a:lnTo>
                    <a:pt x="8389799" y="243408"/>
                  </a:lnTo>
                  <a:lnTo>
                    <a:pt x="8389799" y="253279"/>
                  </a:lnTo>
                  <a:lnTo>
                    <a:pt x="8385779" y="257318"/>
                  </a:lnTo>
                  <a:lnTo>
                    <a:pt x="8375869" y="257318"/>
                  </a:lnTo>
                  <a:lnTo>
                    <a:pt x="8371850" y="253279"/>
                  </a:lnTo>
                  <a:lnTo>
                    <a:pt x="8371850" y="243408"/>
                  </a:lnTo>
                  <a:close/>
                  <a:moveTo>
                    <a:pt x="9333125" y="239369"/>
                  </a:moveTo>
                  <a:lnTo>
                    <a:pt x="9343036" y="239369"/>
                  </a:lnTo>
                  <a:lnTo>
                    <a:pt x="9347055" y="243407"/>
                  </a:lnTo>
                  <a:lnTo>
                    <a:pt x="9347055" y="253278"/>
                  </a:lnTo>
                  <a:lnTo>
                    <a:pt x="9343036" y="257317"/>
                  </a:lnTo>
                  <a:lnTo>
                    <a:pt x="9333125" y="257317"/>
                  </a:lnTo>
                  <a:lnTo>
                    <a:pt x="9329106" y="253278"/>
                  </a:lnTo>
                  <a:lnTo>
                    <a:pt x="9329106" y="243407"/>
                  </a:lnTo>
                  <a:close/>
                  <a:moveTo>
                    <a:pt x="9093811" y="239369"/>
                  </a:moveTo>
                  <a:lnTo>
                    <a:pt x="9103722" y="239369"/>
                  </a:lnTo>
                  <a:lnTo>
                    <a:pt x="9107741" y="243407"/>
                  </a:lnTo>
                  <a:lnTo>
                    <a:pt x="9107741" y="253278"/>
                  </a:lnTo>
                  <a:lnTo>
                    <a:pt x="9103722" y="257317"/>
                  </a:lnTo>
                  <a:lnTo>
                    <a:pt x="9093811" y="257317"/>
                  </a:lnTo>
                  <a:lnTo>
                    <a:pt x="9089792" y="253278"/>
                  </a:lnTo>
                  <a:lnTo>
                    <a:pt x="9089792" y="243407"/>
                  </a:lnTo>
                  <a:close/>
                  <a:moveTo>
                    <a:pt x="8854496" y="239369"/>
                  </a:moveTo>
                  <a:lnTo>
                    <a:pt x="8864407" y="239369"/>
                  </a:lnTo>
                  <a:lnTo>
                    <a:pt x="8868426" y="243407"/>
                  </a:lnTo>
                  <a:lnTo>
                    <a:pt x="8868426" y="253278"/>
                  </a:lnTo>
                  <a:lnTo>
                    <a:pt x="8864407" y="257317"/>
                  </a:lnTo>
                  <a:lnTo>
                    <a:pt x="8854496" y="257317"/>
                  </a:lnTo>
                  <a:lnTo>
                    <a:pt x="8850477" y="253278"/>
                  </a:lnTo>
                  <a:lnTo>
                    <a:pt x="8850477" y="243407"/>
                  </a:lnTo>
                  <a:close/>
                  <a:moveTo>
                    <a:pt x="1918515" y="239361"/>
                  </a:moveTo>
                  <a:lnTo>
                    <a:pt x="1928425" y="239361"/>
                  </a:lnTo>
                  <a:lnTo>
                    <a:pt x="1932444" y="243400"/>
                  </a:lnTo>
                  <a:lnTo>
                    <a:pt x="1932444" y="253271"/>
                  </a:lnTo>
                  <a:lnTo>
                    <a:pt x="1928425" y="257310"/>
                  </a:lnTo>
                  <a:lnTo>
                    <a:pt x="1918515" y="257310"/>
                  </a:lnTo>
                  <a:lnTo>
                    <a:pt x="1914495" y="253271"/>
                  </a:lnTo>
                  <a:lnTo>
                    <a:pt x="1914495" y="243400"/>
                  </a:lnTo>
                  <a:close/>
                  <a:moveTo>
                    <a:pt x="2157824" y="239359"/>
                  </a:moveTo>
                  <a:lnTo>
                    <a:pt x="2167734" y="239359"/>
                  </a:lnTo>
                  <a:lnTo>
                    <a:pt x="2171753" y="243397"/>
                  </a:lnTo>
                  <a:lnTo>
                    <a:pt x="2171753" y="253268"/>
                  </a:lnTo>
                  <a:lnTo>
                    <a:pt x="2167734" y="257307"/>
                  </a:lnTo>
                  <a:lnTo>
                    <a:pt x="2157824" y="257307"/>
                  </a:lnTo>
                  <a:lnTo>
                    <a:pt x="2153804" y="253268"/>
                  </a:lnTo>
                  <a:lnTo>
                    <a:pt x="2153804" y="243397"/>
                  </a:lnTo>
                  <a:close/>
                  <a:moveTo>
                    <a:pt x="9572438" y="239357"/>
                  </a:moveTo>
                  <a:lnTo>
                    <a:pt x="9582349" y="239357"/>
                  </a:lnTo>
                  <a:lnTo>
                    <a:pt x="9586368" y="243395"/>
                  </a:lnTo>
                  <a:lnTo>
                    <a:pt x="9586368" y="253267"/>
                  </a:lnTo>
                  <a:lnTo>
                    <a:pt x="9582349" y="257306"/>
                  </a:lnTo>
                  <a:lnTo>
                    <a:pt x="9572438" y="257306"/>
                  </a:lnTo>
                  <a:lnTo>
                    <a:pt x="9568419" y="253267"/>
                  </a:lnTo>
                  <a:lnTo>
                    <a:pt x="9568419" y="243395"/>
                  </a:lnTo>
                  <a:close/>
                  <a:moveTo>
                    <a:pt x="721976" y="239330"/>
                  </a:moveTo>
                  <a:lnTo>
                    <a:pt x="731887" y="239330"/>
                  </a:lnTo>
                  <a:lnTo>
                    <a:pt x="735906" y="243368"/>
                  </a:lnTo>
                  <a:lnTo>
                    <a:pt x="735906" y="253239"/>
                  </a:lnTo>
                  <a:lnTo>
                    <a:pt x="731887" y="257278"/>
                  </a:lnTo>
                  <a:lnTo>
                    <a:pt x="721976" y="257278"/>
                  </a:lnTo>
                  <a:lnTo>
                    <a:pt x="717958" y="253239"/>
                  </a:lnTo>
                  <a:lnTo>
                    <a:pt x="717958" y="243368"/>
                  </a:lnTo>
                  <a:close/>
                  <a:moveTo>
                    <a:pt x="482664" y="239330"/>
                  </a:moveTo>
                  <a:lnTo>
                    <a:pt x="492575" y="239330"/>
                  </a:lnTo>
                  <a:lnTo>
                    <a:pt x="496594" y="243368"/>
                  </a:lnTo>
                  <a:lnTo>
                    <a:pt x="496594" y="253239"/>
                  </a:lnTo>
                  <a:lnTo>
                    <a:pt x="492575" y="257278"/>
                  </a:lnTo>
                  <a:lnTo>
                    <a:pt x="482664" y="257278"/>
                  </a:lnTo>
                  <a:lnTo>
                    <a:pt x="478645" y="253239"/>
                  </a:lnTo>
                  <a:lnTo>
                    <a:pt x="478645" y="243368"/>
                  </a:lnTo>
                  <a:close/>
                  <a:moveTo>
                    <a:pt x="243350" y="239330"/>
                  </a:moveTo>
                  <a:lnTo>
                    <a:pt x="253261" y="239330"/>
                  </a:lnTo>
                  <a:lnTo>
                    <a:pt x="257280" y="243368"/>
                  </a:lnTo>
                  <a:lnTo>
                    <a:pt x="257280" y="253239"/>
                  </a:lnTo>
                  <a:lnTo>
                    <a:pt x="253261" y="257278"/>
                  </a:lnTo>
                  <a:lnTo>
                    <a:pt x="243350" y="257278"/>
                  </a:lnTo>
                  <a:lnTo>
                    <a:pt x="239332" y="253239"/>
                  </a:lnTo>
                  <a:lnTo>
                    <a:pt x="239332" y="243368"/>
                  </a:lnTo>
                  <a:close/>
                  <a:moveTo>
                    <a:pt x="4037" y="239330"/>
                  </a:moveTo>
                  <a:lnTo>
                    <a:pt x="13948" y="239330"/>
                  </a:lnTo>
                  <a:lnTo>
                    <a:pt x="17967" y="243368"/>
                  </a:lnTo>
                  <a:lnTo>
                    <a:pt x="17967" y="253239"/>
                  </a:lnTo>
                  <a:lnTo>
                    <a:pt x="13948" y="257278"/>
                  </a:lnTo>
                  <a:lnTo>
                    <a:pt x="4037" y="257278"/>
                  </a:lnTo>
                  <a:lnTo>
                    <a:pt x="18" y="253239"/>
                  </a:lnTo>
                  <a:lnTo>
                    <a:pt x="18" y="243368"/>
                  </a:lnTo>
                  <a:close/>
                  <a:moveTo>
                    <a:pt x="3111048" y="106"/>
                  </a:moveTo>
                  <a:lnTo>
                    <a:pt x="3120959" y="106"/>
                  </a:lnTo>
                  <a:lnTo>
                    <a:pt x="3124977" y="4144"/>
                  </a:lnTo>
                  <a:lnTo>
                    <a:pt x="3124977" y="14015"/>
                  </a:lnTo>
                  <a:lnTo>
                    <a:pt x="3120959" y="18054"/>
                  </a:lnTo>
                  <a:lnTo>
                    <a:pt x="3111048" y="18054"/>
                  </a:lnTo>
                  <a:lnTo>
                    <a:pt x="3107029" y="14015"/>
                  </a:lnTo>
                  <a:lnTo>
                    <a:pt x="3107029" y="4144"/>
                  </a:lnTo>
                  <a:close/>
                  <a:moveTo>
                    <a:pt x="2871737" y="106"/>
                  </a:moveTo>
                  <a:lnTo>
                    <a:pt x="2881646" y="106"/>
                  </a:lnTo>
                  <a:lnTo>
                    <a:pt x="2885666" y="4145"/>
                  </a:lnTo>
                  <a:lnTo>
                    <a:pt x="2885666" y="14015"/>
                  </a:lnTo>
                  <a:lnTo>
                    <a:pt x="2881646" y="18054"/>
                  </a:lnTo>
                  <a:lnTo>
                    <a:pt x="2871737" y="18054"/>
                  </a:lnTo>
                  <a:lnTo>
                    <a:pt x="2867717" y="14015"/>
                  </a:lnTo>
                  <a:lnTo>
                    <a:pt x="2867717" y="4145"/>
                  </a:lnTo>
                  <a:close/>
                  <a:moveTo>
                    <a:pt x="2632423" y="106"/>
                  </a:moveTo>
                  <a:lnTo>
                    <a:pt x="2642334" y="106"/>
                  </a:lnTo>
                  <a:lnTo>
                    <a:pt x="2646352" y="4145"/>
                  </a:lnTo>
                  <a:lnTo>
                    <a:pt x="2646352" y="14016"/>
                  </a:lnTo>
                  <a:lnTo>
                    <a:pt x="2642334" y="18055"/>
                  </a:lnTo>
                  <a:lnTo>
                    <a:pt x="2632423" y="18055"/>
                  </a:lnTo>
                  <a:lnTo>
                    <a:pt x="2628404" y="14016"/>
                  </a:lnTo>
                  <a:lnTo>
                    <a:pt x="2628404" y="4145"/>
                  </a:lnTo>
                  <a:close/>
                  <a:moveTo>
                    <a:pt x="2393104" y="106"/>
                  </a:moveTo>
                  <a:lnTo>
                    <a:pt x="2403015" y="106"/>
                  </a:lnTo>
                  <a:lnTo>
                    <a:pt x="2407034" y="4145"/>
                  </a:lnTo>
                  <a:lnTo>
                    <a:pt x="2407034" y="14016"/>
                  </a:lnTo>
                  <a:lnTo>
                    <a:pt x="2403015" y="18055"/>
                  </a:lnTo>
                  <a:lnTo>
                    <a:pt x="2393104" y="18055"/>
                  </a:lnTo>
                  <a:lnTo>
                    <a:pt x="2389087" y="14016"/>
                  </a:lnTo>
                  <a:lnTo>
                    <a:pt x="2389087" y="4145"/>
                  </a:lnTo>
                  <a:close/>
                  <a:moveTo>
                    <a:pt x="3350359" y="106"/>
                  </a:moveTo>
                  <a:lnTo>
                    <a:pt x="3360268" y="106"/>
                  </a:lnTo>
                  <a:lnTo>
                    <a:pt x="3364287" y="4144"/>
                  </a:lnTo>
                  <a:lnTo>
                    <a:pt x="3364287" y="14015"/>
                  </a:lnTo>
                  <a:lnTo>
                    <a:pt x="3360268" y="18054"/>
                  </a:lnTo>
                  <a:lnTo>
                    <a:pt x="3350359" y="18054"/>
                  </a:lnTo>
                  <a:lnTo>
                    <a:pt x="3346340" y="14015"/>
                  </a:lnTo>
                  <a:lnTo>
                    <a:pt x="3346340" y="4144"/>
                  </a:lnTo>
                  <a:close/>
                  <a:moveTo>
                    <a:pt x="4546929" y="93"/>
                  </a:moveTo>
                  <a:lnTo>
                    <a:pt x="4556840" y="93"/>
                  </a:lnTo>
                  <a:lnTo>
                    <a:pt x="4560859" y="4132"/>
                  </a:lnTo>
                  <a:lnTo>
                    <a:pt x="4560859" y="14002"/>
                  </a:lnTo>
                  <a:lnTo>
                    <a:pt x="4556840" y="18041"/>
                  </a:lnTo>
                  <a:lnTo>
                    <a:pt x="4546929" y="18041"/>
                  </a:lnTo>
                  <a:lnTo>
                    <a:pt x="4542910" y="14002"/>
                  </a:lnTo>
                  <a:lnTo>
                    <a:pt x="4542910" y="4132"/>
                  </a:lnTo>
                  <a:close/>
                  <a:moveTo>
                    <a:pt x="4307612" y="93"/>
                  </a:moveTo>
                  <a:lnTo>
                    <a:pt x="4317523" y="93"/>
                  </a:lnTo>
                  <a:lnTo>
                    <a:pt x="4321543" y="4132"/>
                  </a:lnTo>
                  <a:lnTo>
                    <a:pt x="4321543" y="14003"/>
                  </a:lnTo>
                  <a:lnTo>
                    <a:pt x="4317523" y="18042"/>
                  </a:lnTo>
                  <a:lnTo>
                    <a:pt x="4307612" y="18042"/>
                  </a:lnTo>
                  <a:lnTo>
                    <a:pt x="4303595" y="14003"/>
                  </a:lnTo>
                  <a:lnTo>
                    <a:pt x="4303595" y="4132"/>
                  </a:lnTo>
                  <a:close/>
                  <a:moveTo>
                    <a:pt x="4068297" y="93"/>
                  </a:moveTo>
                  <a:lnTo>
                    <a:pt x="4078210" y="93"/>
                  </a:lnTo>
                  <a:lnTo>
                    <a:pt x="4082229" y="4132"/>
                  </a:lnTo>
                  <a:lnTo>
                    <a:pt x="4082229" y="14003"/>
                  </a:lnTo>
                  <a:lnTo>
                    <a:pt x="4078210" y="18042"/>
                  </a:lnTo>
                  <a:lnTo>
                    <a:pt x="4068297" y="18042"/>
                  </a:lnTo>
                  <a:lnTo>
                    <a:pt x="4064278" y="14003"/>
                  </a:lnTo>
                  <a:lnTo>
                    <a:pt x="4064278" y="4132"/>
                  </a:lnTo>
                  <a:close/>
                  <a:moveTo>
                    <a:pt x="3828990" y="93"/>
                  </a:moveTo>
                  <a:lnTo>
                    <a:pt x="3838899" y="93"/>
                  </a:lnTo>
                  <a:lnTo>
                    <a:pt x="3842917" y="4132"/>
                  </a:lnTo>
                  <a:lnTo>
                    <a:pt x="3842917" y="14003"/>
                  </a:lnTo>
                  <a:lnTo>
                    <a:pt x="3838899" y="18042"/>
                  </a:lnTo>
                  <a:lnTo>
                    <a:pt x="3828990" y="18042"/>
                  </a:lnTo>
                  <a:lnTo>
                    <a:pt x="3824971" y="14003"/>
                  </a:lnTo>
                  <a:lnTo>
                    <a:pt x="3824971" y="4132"/>
                  </a:lnTo>
                  <a:close/>
                  <a:moveTo>
                    <a:pt x="3589676" y="93"/>
                  </a:moveTo>
                  <a:lnTo>
                    <a:pt x="3599585" y="93"/>
                  </a:lnTo>
                  <a:lnTo>
                    <a:pt x="3603604" y="4132"/>
                  </a:lnTo>
                  <a:lnTo>
                    <a:pt x="3603604" y="14003"/>
                  </a:lnTo>
                  <a:lnTo>
                    <a:pt x="3599585" y="18042"/>
                  </a:lnTo>
                  <a:lnTo>
                    <a:pt x="3589676" y="18042"/>
                  </a:lnTo>
                  <a:lnTo>
                    <a:pt x="3585657" y="14003"/>
                  </a:lnTo>
                  <a:lnTo>
                    <a:pt x="3585657" y="4132"/>
                  </a:lnTo>
                  <a:close/>
                  <a:moveTo>
                    <a:pt x="4786241" y="81"/>
                  </a:moveTo>
                  <a:lnTo>
                    <a:pt x="4796152" y="81"/>
                  </a:lnTo>
                  <a:lnTo>
                    <a:pt x="4800171" y="4119"/>
                  </a:lnTo>
                  <a:lnTo>
                    <a:pt x="4800171" y="13990"/>
                  </a:lnTo>
                  <a:lnTo>
                    <a:pt x="4796152" y="18029"/>
                  </a:lnTo>
                  <a:lnTo>
                    <a:pt x="4786241" y="18029"/>
                  </a:lnTo>
                  <a:lnTo>
                    <a:pt x="4782224" y="13990"/>
                  </a:lnTo>
                  <a:lnTo>
                    <a:pt x="4782224" y="4119"/>
                  </a:lnTo>
                  <a:close/>
                  <a:moveTo>
                    <a:pt x="5743412" y="80"/>
                  </a:moveTo>
                  <a:lnTo>
                    <a:pt x="5753323" y="80"/>
                  </a:lnTo>
                  <a:lnTo>
                    <a:pt x="5757342" y="4119"/>
                  </a:lnTo>
                  <a:lnTo>
                    <a:pt x="5757342" y="13990"/>
                  </a:lnTo>
                  <a:lnTo>
                    <a:pt x="5753323" y="18029"/>
                  </a:lnTo>
                  <a:lnTo>
                    <a:pt x="5743412" y="18029"/>
                  </a:lnTo>
                  <a:lnTo>
                    <a:pt x="5739393" y="13990"/>
                  </a:lnTo>
                  <a:lnTo>
                    <a:pt x="5739393" y="4119"/>
                  </a:lnTo>
                  <a:close/>
                  <a:moveTo>
                    <a:pt x="5504099" y="80"/>
                  </a:moveTo>
                  <a:lnTo>
                    <a:pt x="5514010" y="80"/>
                  </a:lnTo>
                  <a:lnTo>
                    <a:pt x="5518029" y="4119"/>
                  </a:lnTo>
                  <a:lnTo>
                    <a:pt x="5518029" y="13990"/>
                  </a:lnTo>
                  <a:lnTo>
                    <a:pt x="5514010" y="18029"/>
                  </a:lnTo>
                  <a:lnTo>
                    <a:pt x="5504099" y="18029"/>
                  </a:lnTo>
                  <a:lnTo>
                    <a:pt x="5500080" y="13990"/>
                  </a:lnTo>
                  <a:lnTo>
                    <a:pt x="5500080" y="4119"/>
                  </a:lnTo>
                  <a:close/>
                  <a:moveTo>
                    <a:pt x="5264784" y="80"/>
                  </a:moveTo>
                  <a:lnTo>
                    <a:pt x="5274694" y="80"/>
                  </a:lnTo>
                  <a:lnTo>
                    <a:pt x="5278713" y="4119"/>
                  </a:lnTo>
                  <a:lnTo>
                    <a:pt x="5278713" y="13990"/>
                  </a:lnTo>
                  <a:lnTo>
                    <a:pt x="5274694" y="18029"/>
                  </a:lnTo>
                  <a:lnTo>
                    <a:pt x="5264784" y="18029"/>
                  </a:lnTo>
                  <a:lnTo>
                    <a:pt x="5260765" y="13990"/>
                  </a:lnTo>
                  <a:lnTo>
                    <a:pt x="5260765" y="4119"/>
                  </a:lnTo>
                  <a:close/>
                  <a:moveTo>
                    <a:pt x="5025470" y="80"/>
                  </a:moveTo>
                  <a:lnTo>
                    <a:pt x="5035381" y="80"/>
                  </a:lnTo>
                  <a:lnTo>
                    <a:pt x="5039400" y="4119"/>
                  </a:lnTo>
                  <a:lnTo>
                    <a:pt x="5039400" y="13990"/>
                  </a:lnTo>
                  <a:lnTo>
                    <a:pt x="5035381" y="18029"/>
                  </a:lnTo>
                  <a:lnTo>
                    <a:pt x="5025470" y="18029"/>
                  </a:lnTo>
                  <a:lnTo>
                    <a:pt x="5021451" y="13990"/>
                  </a:lnTo>
                  <a:lnTo>
                    <a:pt x="5021451" y="4119"/>
                  </a:lnTo>
                  <a:close/>
                  <a:moveTo>
                    <a:pt x="6461356" y="68"/>
                  </a:moveTo>
                  <a:lnTo>
                    <a:pt x="6471266" y="68"/>
                  </a:lnTo>
                  <a:lnTo>
                    <a:pt x="6475285" y="4106"/>
                  </a:lnTo>
                  <a:lnTo>
                    <a:pt x="6475285" y="13976"/>
                  </a:lnTo>
                  <a:lnTo>
                    <a:pt x="6471266" y="18015"/>
                  </a:lnTo>
                  <a:lnTo>
                    <a:pt x="6461356" y="18015"/>
                  </a:lnTo>
                  <a:lnTo>
                    <a:pt x="6457337" y="13976"/>
                  </a:lnTo>
                  <a:lnTo>
                    <a:pt x="6457337" y="4106"/>
                  </a:lnTo>
                  <a:close/>
                  <a:moveTo>
                    <a:pt x="6222042" y="68"/>
                  </a:moveTo>
                  <a:lnTo>
                    <a:pt x="6231952" y="68"/>
                  </a:lnTo>
                  <a:lnTo>
                    <a:pt x="6235971" y="4106"/>
                  </a:lnTo>
                  <a:lnTo>
                    <a:pt x="6235971" y="13977"/>
                  </a:lnTo>
                  <a:lnTo>
                    <a:pt x="6231952" y="18016"/>
                  </a:lnTo>
                  <a:lnTo>
                    <a:pt x="6222042" y="18016"/>
                  </a:lnTo>
                  <a:lnTo>
                    <a:pt x="6218023" y="13977"/>
                  </a:lnTo>
                  <a:lnTo>
                    <a:pt x="6218023" y="4106"/>
                  </a:lnTo>
                  <a:close/>
                  <a:moveTo>
                    <a:pt x="5982729" y="68"/>
                  </a:moveTo>
                  <a:lnTo>
                    <a:pt x="5992639" y="68"/>
                  </a:lnTo>
                  <a:lnTo>
                    <a:pt x="5996658" y="4106"/>
                  </a:lnTo>
                  <a:lnTo>
                    <a:pt x="5996658" y="13977"/>
                  </a:lnTo>
                  <a:lnTo>
                    <a:pt x="5992639" y="18016"/>
                  </a:lnTo>
                  <a:lnTo>
                    <a:pt x="5982729" y="18016"/>
                  </a:lnTo>
                  <a:lnTo>
                    <a:pt x="5978710" y="13977"/>
                  </a:lnTo>
                  <a:lnTo>
                    <a:pt x="5978710" y="4106"/>
                  </a:lnTo>
                  <a:close/>
                  <a:moveTo>
                    <a:pt x="6939983" y="67"/>
                  </a:moveTo>
                  <a:lnTo>
                    <a:pt x="6949894" y="67"/>
                  </a:lnTo>
                  <a:lnTo>
                    <a:pt x="6953913" y="4105"/>
                  </a:lnTo>
                  <a:lnTo>
                    <a:pt x="6953913" y="13976"/>
                  </a:lnTo>
                  <a:lnTo>
                    <a:pt x="6949894" y="18015"/>
                  </a:lnTo>
                  <a:lnTo>
                    <a:pt x="6939983" y="18015"/>
                  </a:lnTo>
                  <a:lnTo>
                    <a:pt x="6935964" y="13976"/>
                  </a:lnTo>
                  <a:lnTo>
                    <a:pt x="6935964" y="4105"/>
                  </a:lnTo>
                  <a:close/>
                  <a:moveTo>
                    <a:pt x="6700670" y="67"/>
                  </a:moveTo>
                  <a:lnTo>
                    <a:pt x="6710581" y="67"/>
                  </a:lnTo>
                  <a:lnTo>
                    <a:pt x="6714600" y="4105"/>
                  </a:lnTo>
                  <a:lnTo>
                    <a:pt x="6714600" y="13976"/>
                  </a:lnTo>
                  <a:lnTo>
                    <a:pt x="6710581" y="18015"/>
                  </a:lnTo>
                  <a:lnTo>
                    <a:pt x="6700670" y="18015"/>
                  </a:lnTo>
                  <a:lnTo>
                    <a:pt x="6696651" y="13976"/>
                  </a:lnTo>
                  <a:lnTo>
                    <a:pt x="6696651" y="4105"/>
                  </a:lnTo>
                  <a:close/>
                  <a:moveTo>
                    <a:pt x="8136553" y="54"/>
                  </a:moveTo>
                  <a:lnTo>
                    <a:pt x="8146464" y="54"/>
                  </a:lnTo>
                  <a:lnTo>
                    <a:pt x="8150483" y="4093"/>
                  </a:lnTo>
                  <a:lnTo>
                    <a:pt x="8150483" y="13963"/>
                  </a:lnTo>
                  <a:lnTo>
                    <a:pt x="8146464" y="18002"/>
                  </a:lnTo>
                  <a:lnTo>
                    <a:pt x="8136553" y="18002"/>
                  </a:lnTo>
                  <a:lnTo>
                    <a:pt x="8132534" y="13963"/>
                  </a:lnTo>
                  <a:lnTo>
                    <a:pt x="8132534" y="4093"/>
                  </a:lnTo>
                  <a:close/>
                  <a:moveTo>
                    <a:pt x="7897241" y="54"/>
                  </a:moveTo>
                  <a:lnTo>
                    <a:pt x="7907151" y="54"/>
                  </a:lnTo>
                  <a:lnTo>
                    <a:pt x="7911170" y="4093"/>
                  </a:lnTo>
                  <a:lnTo>
                    <a:pt x="7911170" y="13964"/>
                  </a:lnTo>
                  <a:lnTo>
                    <a:pt x="7907151" y="18003"/>
                  </a:lnTo>
                  <a:lnTo>
                    <a:pt x="7897241" y="18003"/>
                  </a:lnTo>
                  <a:lnTo>
                    <a:pt x="7893222" y="13964"/>
                  </a:lnTo>
                  <a:lnTo>
                    <a:pt x="7893222" y="4093"/>
                  </a:lnTo>
                  <a:close/>
                  <a:moveTo>
                    <a:pt x="7657926" y="54"/>
                  </a:moveTo>
                  <a:lnTo>
                    <a:pt x="7667836" y="54"/>
                  </a:lnTo>
                  <a:lnTo>
                    <a:pt x="7671855" y="4093"/>
                  </a:lnTo>
                  <a:lnTo>
                    <a:pt x="7671855" y="13964"/>
                  </a:lnTo>
                  <a:lnTo>
                    <a:pt x="7667836" y="18003"/>
                  </a:lnTo>
                  <a:lnTo>
                    <a:pt x="7657926" y="18003"/>
                  </a:lnTo>
                  <a:lnTo>
                    <a:pt x="7653906" y="13964"/>
                  </a:lnTo>
                  <a:lnTo>
                    <a:pt x="7653906" y="4093"/>
                  </a:lnTo>
                  <a:close/>
                  <a:moveTo>
                    <a:pt x="7418611" y="54"/>
                  </a:moveTo>
                  <a:lnTo>
                    <a:pt x="7428521" y="54"/>
                  </a:lnTo>
                  <a:lnTo>
                    <a:pt x="7432540" y="4093"/>
                  </a:lnTo>
                  <a:lnTo>
                    <a:pt x="7432540" y="13964"/>
                  </a:lnTo>
                  <a:lnTo>
                    <a:pt x="7428521" y="18003"/>
                  </a:lnTo>
                  <a:lnTo>
                    <a:pt x="7418611" y="18003"/>
                  </a:lnTo>
                  <a:lnTo>
                    <a:pt x="7414592" y="13964"/>
                  </a:lnTo>
                  <a:lnTo>
                    <a:pt x="7414592" y="4093"/>
                  </a:lnTo>
                  <a:close/>
                  <a:moveTo>
                    <a:pt x="7179298" y="54"/>
                  </a:moveTo>
                  <a:lnTo>
                    <a:pt x="7189209" y="54"/>
                  </a:lnTo>
                  <a:lnTo>
                    <a:pt x="7193228" y="4093"/>
                  </a:lnTo>
                  <a:lnTo>
                    <a:pt x="7193228" y="13964"/>
                  </a:lnTo>
                  <a:lnTo>
                    <a:pt x="7189209" y="18003"/>
                  </a:lnTo>
                  <a:lnTo>
                    <a:pt x="7179298" y="18003"/>
                  </a:lnTo>
                  <a:lnTo>
                    <a:pt x="7175279" y="13964"/>
                  </a:lnTo>
                  <a:lnTo>
                    <a:pt x="7175279" y="4093"/>
                  </a:lnTo>
                  <a:close/>
                  <a:moveTo>
                    <a:pt x="8375869" y="42"/>
                  </a:moveTo>
                  <a:lnTo>
                    <a:pt x="8385779" y="42"/>
                  </a:lnTo>
                  <a:lnTo>
                    <a:pt x="8389799" y="4080"/>
                  </a:lnTo>
                  <a:lnTo>
                    <a:pt x="8389799" y="13951"/>
                  </a:lnTo>
                  <a:lnTo>
                    <a:pt x="8385779" y="17990"/>
                  </a:lnTo>
                  <a:lnTo>
                    <a:pt x="8375869" y="17990"/>
                  </a:lnTo>
                  <a:lnTo>
                    <a:pt x="8371850" y="13951"/>
                  </a:lnTo>
                  <a:lnTo>
                    <a:pt x="8371850" y="4080"/>
                  </a:lnTo>
                  <a:close/>
                  <a:moveTo>
                    <a:pt x="9333125" y="41"/>
                  </a:moveTo>
                  <a:lnTo>
                    <a:pt x="9343036" y="41"/>
                  </a:lnTo>
                  <a:lnTo>
                    <a:pt x="9347055" y="4080"/>
                  </a:lnTo>
                  <a:lnTo>
                    <a:pt x="9347055" y="13951"/>
                  </a:lnTo>
                  <a:lnTo>
                    <a:pt x="9343036" y="17990"/>
                  </a:lnTo>
                  <a:lnTo>
                    <a:pt x="9333125" y="17990"/>
                  </a:lnTo>
                  <a:lnTo>
                    <a:pt x="9329106" y="13951"/>
                  </a:lnTo>
                  <a:lnTo>
                    <a:pt x="9329106" y="4080"/>
                  </a:lnTo>
                  <a:close/>
                  <a:moveTo>
                    <a:pt x="9093811" y="41"/>
                  </a:moveTo>
                  <a:lnTo>
                    <a:pt x="9103722" y="41"/>
                  </a:lnTo>
                  <a:lnTo>
                    <a:pt x="9107741" y="4080"/>
                  </a:lnTo>
                  <a:lnTo>
                    <a:pt x="9107741" y="13951"/>
                  </a:lnTo>
                  <a:lnTo>
                    <a:pt x="9103722" y="17990"/>
                  </a:lnTo>
                  <a:lnTo>
                    <a:pt x="9093811" y="17990"/>
                  </a:lnTo>
                  <a:lnTo>
                    <a:pt x="9089792" y="13951"/>
                  </a:lnTo>
                  <a:lnTo>
                    <a:pt x="9089792" y="4080"/>
                  </a:lnTo>
                  <a:close/>
                  <a:moveTo>
                    <a:pt x="8854496" y="41"/>
                  </a:moveTo>
                  <a:lnTo>
                    <a:pt x="8864407" y="41"/>
                  </a:lnTo>
                  <a:lnTo>
                    <a:pt x="8868426" y="4080"/>
                  </a:lnTo>
                  <a:lnTo>
                    <a:pt x="8868426" y="13951"/>
                  </a:lnTo>
                  <a:lnTo>
                    <a:pt x="8864407" y="17990"/>
                  </a:lnTo>
                  <a:lnTo>
                    <a:pt x="8854496" y="17990"/>
                  </a:lnTo>
                  <a:lnTo>
                    <a:pt x="8850477" y="13951"/>
                  </a:lnTo>
                  <a:lnTo>
                    <a:pt x="8850477" y="4080"/>
                  </a:lnTo>
                  <a:close/>
                  <a:moveTo>
                    <a:pt x="8615184" y="41"/>
                  </a:moveTo>
                  <a:lnTo>
                    <a:pt x="8625095" y="41"/>
                  </a:lnTo>
                  <a:lnTo>
                    <a:pt x="8629114" y="4080"/>
                  </a:lnTo>
                  <a:lnTo>
                    <a:pt x="8629114" y="13951"/>
                  </a:lnTo>
                  <a:lnTo>
                    <a:pt x="8625095" y="17990"/>
                  </a:lnTo>
                  <a:lnTo>
                    <a:pt x="8615184" y="17990"/>
                  </a:lnTo>
                  <a:lnTo>
                    <a:pt x="8611165" y="13951"/>
                  </a:lnTo>
                  <a:lnTo>
                    <a:pt x="8611165" y="4080"/>
                  </a:lnTo>
                  <a:close/>
                  <a:moveTo>
                    <a:pt x="961275" y="41"/>
                  </a:moveTo>
                  <a:lnTo>
                    <a:pt x="971184" y="41"/>
                  </a:lnTo>
                  <a:lnTo>
                    <a:pt x="975204" y="4080"/>
                  </a:lnTo>
                  <a:lnTo>
                    <a:pt x="975204" y="13951"/>
                  </a:lnTo>
                  <a:lnTo>
                    <a:pt x="971184" y="17990"/>
                  </a:lnTo>
                  <a:lnTo>
                    <a:pt x="961275" y="17990"/>
                  </a:lnTo>
                  <a:lnTo>
                    <a:pt x="957256" y="13951"/>
                  </a:lnTo>
                  <a:lnTo>
                    <a:pt x="957256" y="4080"/>
                  </a:lnTo>
                  <a:close/>
                  <a:moveTo>
                    <a:pt x="1679221" y="41"/>
                  </a:moveTo>
                  <a:lnTo>
                    <a:pt x="1689131" y="41"/>
                  </a:lnTo>
                  <a:lnTo>
                    <a:pt x="1693151" y="4079"/>
                  </a:lnTo>
                  <a:lnTo>
                    <a:pt x="1693151" y="13950"/>
                  </a:lnTo>
                  <a:lnTo>
                    <a:pt x="1689131" y="17989"/>
                  </a:lnTo>
                  <a:lnTo>
                    <a:pt x="1679221" y="17989"/>
                  </a:lnTo>
                  <a:lnTo>
                    <a:pt x="1675203" y="13950"/>
                  </a:lnTo>
                  <a:lnTo>
                    <a:pt x="1675203" y="4079"/>
                  </a:lnTo>
                  <a:close/>
                  <a:moveTo>
                    <a:pt x="1439904" y="41"/>
                  </a:moveTo>
                  <a:lnTo>
                    <a:pt x="1449813" y="41"/>
                  </a:lnTo>
                  <a:lnTo>
                    <a:pt x="1453833" y="4079"/>
                  </a:lnTo>
                  <a:lnTo>
                    <a:pt x="1453833" y="13950"/>
                  </a:lnTo>
                  <a:lnTo>
                    <a:pt x="1449813" y="17989"/>
                  </a:lnTo>
                  <a:lnTo>
                    <a:pt x="1439904" y="17989"/>
                  </a:lnTo>
                  <a:lnTo>
                    <a:pt x="1435885" y="13950"/>
                  </a:lnTo>
                  <a:lnTo>
                    <a:pt x="1435885" y="4079"/>
                  </a:lnTo>
                  <a:close/>
                  <a:moveTo>
                    <a:pt x="1200587" y="41"/>
                  </a:moveTo>
                  <a:lnTo>
                    <a:pt x="1210497" y="41"/>
                  </a:lnTo>
                  <a:lnTo>
                    <a:pt x="1214516" y="4080"/>
                  </a:lnTo>
                  <a:lnTo>
                    <a:pt x="1214516" y="13951"/>
                  </a:lnTo>
                  <a:lnTo>
                    <a:pt x="1210497" y="17989"/>
                  </a:lnTo>
                  <a:lnTo>
                    <a:pt x="1200587" y="17989"/>
                  </a:lnTo>
                  <a:lnTo>
                    <a:pt x="1196568" y="13951"/>
                  </a:lnTo>
                  <a:lnTo>
                    <a:pt x="1196568" y="4080"/>
                  </a:lnTo>
                  <a:close/>
                  <a:moveTo>
                    <a:pt x="1918515" y="31"/>
                  </a:moveTo>
                  <a:lnTo>
                    <a:pt x="1928425" y="31"/>
                  </a:lnTo>
                  <a:lnTo>
                    <a:pt x="1932444" y="4069"/>
                  </a:lnTo>
                  <a:lnTo>
                    <a:pt x="1932444" y="13940"/>
                  </a:lnTo>
                  <a:lnTo>
                    <a:pt x="1928425" y="17979"/>
                  </a:lnTo>
                  <a:lnTo>
                    <a:pt x="1918515" y="17979"/>
                  </a:lnTo>
                  <a:lnTo>
                    <a:pt x="1914497" y="13940"/>
                  </a:lnTo>
                  <a:lnTo>
                    <a:pt x="1914497" y="4069"/>
                  </a:lnTo>
                  <a:close/>
                  <a:moveTo>
                    <a:pt x="9572438" y="29"/>
                  </a:moveTo>
                  <a:lnTo>
                    <a:pt x="9582349" y="29"/>
                  </a:lnTo>
                  <a:lnTo>
                    <a:pt x="9586368" y="4067"/>
                  </a:lnTo>
                  <a:lnTo>
                    <a:pt x="9586368" y="13938"/>
                  </a:lnTo>
                  <a:lnTo>
                    <a:pt x="9582349" y="17977"/>
                  </a:lnTo>
                  <a:lnTo>
                    <a:pt x="9572438" y="17977"/>
                  </a:lnTo>
                  <a:lnTo>
                    <a:pt x="9568419" y="13938"/>
                  </a:lnTo>
                  <a:lnTo>
                    <a:pt x="9568419" y="4067"/>
                  </a:lnTo>
                  <a:close/>
                  <a:moveTo>
                    <a:pt x="2157824" y="28"/>
                  </a:moveTo>
                  <a:lnTo>
                    <a:pt x="2167734" y="28"/>
                  </a:lnTo>
                  <a:lnTo>
                    <a:pt x="2171753" y="4067"/>
                  </a:lnTo>
                  <a:lnTo>
                    <a:pt x="2171753" y="13938"/>
                  </a:lnTo>
                  <a:lnTo>
                    <a:pt x="2167734" y="17977"/>
                  </a:lnTo>
                  <a:lnTo>
                    <a:pt x="2157824" y="17977"/>
                  </a:lnTo>
                  <a:lnTo>
                    <a:pt x="2153804" y="13938"/>
                  </a:lnTo>
                  <a:lnTo>
                    <a:pt x="2153804" y="4067"/>
                  </a:lnTo>
                  <a:close/>
                  <a:moveTo>
                    <a:pt x="721977" y="0"/>
                  </a:moveTo>
                  <a:lnTo>
                    <a:pt x="731887" y="0"/>
                  </a:lnTo>
                  <a:lnTo>
                    <a:pt x="735906" y="4039"/>
                  </a:lnTo>
                  <a:lnTo>
                    <a:pt x="735906" y="13910"/>
                  </a:lnTo>
                  <a:lnTo>
                    <a:pt x="731887" y="17949"/>
                  </a:lnTo>
                  <a:lnTo>
                    <a:pt x="721977" y="17949"/>
                  </a:lnTo>
                  <a:lnTo>
                    <a:pt x="717959" y="13910"/>
                  </a:lnTo>
                  <a:lnTo>
                    <a:pt x="717959" y="4039"/>
                  </a:lnTo>
                  <a:close/>
                  <a:moveTo>
                    <a:pt x="482665" y="0"/>
                  </a:moveTo>
                  <a:lnTo>
                    <a:pt x="492575" y="0"/>
                  </a:lnTo>
                  <a:lnTo>
                    <a:pt x="496594" y="4039"/>
                  </a:lnTo>
                  <a:lnTo>
                    <a:pt x="496594" y="13910"/>
                  </a:lnTo>
                  <a:lnTo>
                    <a:pt x="492575" y="17949"/>
                  </a:lnTo>
                  <a:lnTo>
                    <a:pt x="482665" y="17949"/>
                  </a:lnTo>
                  <a:lnTo>
                    <a:pt x="478646" y="13910"/>
                  </a:lnTo>
                  <a:lnTo>
                    <a:pt x="478646" y="4039"/>
                  </a:lnTo>
                  <a:close/>
                  <a:moveTo>
                    <a:pt x="243351" y="0"/>
                  </a:moveTo>
                  <a:lnTo>
                    <a:pt x="253261" y="0"/>
                  </a:lnTo>
                  <a:lnTo>
                    <a:pt x="257281" y="4039"/>
                  </a:lnTo>
                  <a:lnTo>
                    <a:pt x="257281" y="13910"/>
                  </a:lnTo>
                  <a:lnTo>
                    <a:pt x="253261" y="17949"/>
                  </a:lnTo>
                  <a:lnTo>
                    <a:pt x="243351" y="17949"/>
                  </a:lnTo>
                  <a:lnTo>
                    <a:pt x="239332" y="13910"/>
                  </a:lnTo>
                  <a:lnTo>
                    <a:pt x="239332" y="4039"/>
                  </a:lnTo>
                  <a:close/>
                  <a:moveTo>
                    <a:pt x="4039" y="0"/>
                  </a:moveTo>
                  <a:lnTo>
                    <a:pt x="13948" y="0"/>
                  </a:lnTo>
                  <a:lnTo>
                    <a:pt x="17967" y="4039"/>
                  </a:lnTo>
                  <a:lnTo>
                    <a:pt x="17967" y="13910"/>
                  </a:lnTo>
                  <a:lnTo>
                    <a:pt x="13948" y="17949"/>
                  </a:lnTo>
                  <a:lnTo>
                    <a:pt x="4039" y="17949"/>
                  </a:lnTo>
                  <a:lnTo>
                    <a:pt x="19" y="13910"/>
                  </a:lnTo>
                  <a:lnTo>
                    <a:pt x="19" y="4039"/>
                  </a:lnTo>
                  <a:close/>
                </a:path>
              </a:pathLst>
            </a:custGeom>
            <a:solidFill>
              <a:srgbClr val="30373B">
                <a:alpha val="29998"/>
              </a:srgbClr>
            </a:solidFill>
          </p:spPr>
          <p:txBody>
            <a:bodyPr wrap="square" lIns="0" tIns="0" rIns="0" bIns="0" rtlCol="0">
              <a:noAutofit/>
            </a:bodyPr>
            <a:lstStyle/>
            <a:p>
              <a:endParaRPr lang="en-GB" dirty="0">
                <a:solidFill>
                  <a:srgbClr val="1F2023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687E9C5-7867-450F-B7D3-7F14202E697D}"/>
                </a:ext>
              </a:extLst>
            </p:cNvPr>
            <p:cNvSpPr txBox="1"/>
            <p:nvPr userDrawn="1"/>
          </p:nvSpPr>
          <p:spPr>
            <a:xfrm>
              <a:off x="9276000" y="0"/>
              <a:ext cx="630000" cy="1620000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sz="1100">
                  <a:solidFill>
                    <a:srgbClr val="2F363B"/>
                  </a:solidFill>
                </a:defRPr>
              </a:lvl1pPr>
              <a:lvl2pPr marL="0" lvl="1" indent="0">
                <a:buSzPct val="100000"/>
                <a:buChar char="​"/>
                <a:defRPr sz="1100">
                  <a:solidFill>
                    <a:srgbClr val="2F363B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lvl="1">
                <a:buNone/>
              </a:pPr>
              <a:endParaRPr lang="de-DE">
                <a:sym typeface="Arial" panose="020B0604020202020204" pitchFamily="34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5A51B767-8122-46EE-A61C-6F1D4EA90A0C}"/>
              </a:ext>
            </a:extLst>
          </p:cNvPr>
          <p:cNvSpPr txBox="1"/>
          <p:nvPr userDrawn="1"/>
        </p:nvSpPr>
        <p:spPr>
          <a:xfrm>
            <a:off x="-1" y="962024"/>
            <a:ext cx="7776000" cy="5895976"/>
          </a:xfrm>
          <a:prstGeom prst="rect">
            <a:avLst/>
          </a:prstGeom>
          <a:solidFill>
            <a:srgbClr val="E0BCA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100">
                <a:solidFill>
                  <a:srgbClr val="2F363B"/>
                </a:solidFill>
              </a:defRPr>
            </a:lvl1pPr>
            <a:lvl2pPr marL="0" lvl="1" indent="0">
              <a:buSzPct val="100000"/>
              <a:buChar char="​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buNone/>
            </a:pPr>
            <a:endParaRPr lang="de-DE">
              <a:sym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3637FDB-F8B7-4F0A-9D10-989B949078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8413" y="2153514"/>
            <a:ext cx="6300000" cy="2160000"/>
          </a:xfrm>
        </p:spPr>
        <p:txBody>
          <a:bodyPr anchor="t" anchorCtr="0">
            <a:noAutofit/>
          </a:bodyPr>
          <a:lstStyle>
            <a:lvl1pPr algn="l">
              <a:lnSpc>
                <a:spcPct val="82000"/>
              </a:lnSpc>
              <a:defRPr sz="6000" cap="all" baseline="0">
                <a:solidFill>
                  <a:srgbClr val="1F2023"/>
                </a:solidFill>
                <a:latin typeface="Impact" panose="020B080603090205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412" y="1523514"/>
            <a:ext cx="6300000" cy="426851"/>
          </a:xfrm>
        </p:spPr>
        <p:txBody>
          <a:bodyPr rIns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600">
                <a:solidFill>
                  <a:srgbClr val="1F2023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rgbClr val="2F363B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1D3067F-1962-46D9-86B7-08FC94B365B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8861146" y="788544"/>
            <a:ext cx="1258889" cy="287891"/>
          </a:xfrm>
          <a:custGeom>
            <a:avLst/>
            <a:gdLst>
              <a:gd name="connsiteX0" fmla="*/ 6778122 w 9905999"/>
              <a:gd name="connsiteY0" fmla="*/ 2222531 h 2265361"/>
              <a:gd name="connsiteX1" fmla="*/ 7135812 w 9905999"/>
              <a:gd name="connsiteY1" fmla="*/ 2222531 h 2265361"/>
              <a:gd name="connsiteX2" fmla="*/ 7135812 w 9905999"/>
              <a:gd name="connsiteY2" fmla="*/ 2265361 h 2265361"/>
              <a:gd name="connsiteX3" fmla="*/ 6778122 w 9905999"/>
              <a:gd name="connsiteY3" fmla="*/ 2265361 h 2265361"/>
              <a:gd name="connsiteX4" fmla="*/ 6778122 w 9905999"/>
              <a:gd name="connsiteY4" fmla="*/ 2222531 h 2265361"/>
              <a:gd name="connsiteX5" fmla="*/ 6449676 w 9905999"/>
              <a:gd name="connsiteY5" fmla="*/ 1769427 h 2265361"/>
              <a:gd name="connsiteX6" fmla="*/ 6449676 w 9905999"/>
              <a:gd name="connsiteY6" fmla="*/ 1965546 h 2265361"/>
              <a:gd name="connsiteX7" fmla="*/ 6575655 w 9905999"/>
              <a:gd name="connsiteY7" fmla="*/ 1965546 h 2265361"/>
              <a:gd name="connsiteX8" fmla="*/ 6679138 w 9905999"/>
              <a:gd name="connsiteY8" fmla="*/ 1864105 h 2265361"/>
              <a:gd name="connsiteX9" fmla="*/ 6575655 w 9905999"/>
              <a:gd name="connsiteY9" fmla="*/ 1769427 h 2265361"/>
              <a:gd name="connsiteX10" fmla="*/ 6449676 w 9905999"/>
              <a:gd name="connsiteY10" fmla="*/ 1769427 h 2265361"/>
              <a:gd name="connsiteX11" fmla="*/ 5021164 w 9905999"/>
              <a:gd name="connsiteY11" fmla="*/ 1769427 h 2265361"/>
              <a:gd name="connsiteX12" fmla="*/ 5021164 w 9905999"/>
              <a:gd name="connsiteY12" fmla="*/ 1949767 h 2265361"/>
              <a:gd name="connsiteX13" fmla="*/ 5158391 w 9905999"/>
              <a:gd name="connsiteY13" fmla="*/ 1949767 h 2265361"/>
              <a:gd name="connsiteX14" fmla="*/ 5261874 w 9905999"/>
              <a:gd name="connsiteY14" fmla="*/ 1859597 h 2265361"/>
              <a:gd name="connsiteX15" fmla="*/ 5158391 w 9905999"/>
              <a:gd name="connsiteY15" fmla="*/ 1769427 h 2265361"/>
              <a:gd name="connsiteX16" fmla="*/ 5021164 w 9905999"/>
              <a:gd name="connsiteY16" fmla="*/ 1769427 h 2265361"/>
              <a:gd name="connsiteX17" fmla="*/ 5597068 w 9905999"/>
              <a:gd name="connsiteY17" fmla="*/ 1762664 h 2265361"/>
              <a:gd name="connsiteX18" fmla="*/ 5504834 w 9905999"/>
              <a:gd name="connsiteY18" fmla="*/ 1800986 h 2265361"/>
              <a:gd name="connsiteX19" fmla="*/ 5459841 w 9905999"/>
              <a:gd name="connsiteY19" fmla="*/ 1967800 h 2265361"/>
              <a:gd name="connsiteX20" fmla="*/ 5504834 w 9905999"/>
              <a:gd name="connsiteY20" fmla="*/ 2132361 h 2265361"/>
              <a:gd name="connsiteX21" fmla="*/ 5597068 w 9905999"/>
              <a:gd name="connsiteY21" fmla="*/ 2170683 h 2265361"/>
              <a:gd name="connsiteX22" fmla="*/ 5691552 w 9905999"/>
              <a:gd name="connsiteY22" fmla="*/ 2132361 h 2265361"/>
              <a:gd name="connsiteX23" fmla="*/ 5734295 w 9905999"/>
              <a:gd name="connsiteY23" fmla="*/ 1967800 h 2265361"/>
              <a:gd name="connsiteX24" fmla="*/ 5691552 w 9905999"/>
              <a:gd name="connsiteY24" fmla="*/ 1800986 h 2265361"/>
              <a:gd name="connsiteX25" fmla="*/ 5597068 w 9905999"/>
              <a:gd name="connsiteY25" fmla="*/ 1762664 h 2265361"/>
              <a:gd name="connsiteX26" fmla="*/ 654642 w 9905999"/>
              <a:gd name="connsiteY26" fmla="*/ 1762664 h 2265361"/>
              <a:gd name="connsiteX27" fmla="*/ 560157 w 9905999"/>
              <a:gd name="connsiteY27" fmla="*/ 1800986 h 2265361"/>
              <a:gd name="connsiteX28" fmla="*/ 517414 w 9905999"/>
              <a:gd name="connsiteY28" fmla="*/ 1967800 h 2265361"/>
              <a:gd name="connsiteX29" fmla="*/ 560157 w 9905999"/>
              <a:gd name="connsiteY29" fmla="*/ 2132361 h 2265361"/>
              <a:gd name="connsiteX30" fmla="*/ 654642 w 9905999"/>
              <a:gd name="connsiteY30" fmla="*/ 2170683 h 2265361"/>
              <a:gd name="connsiteX31" fmla="*/ 746876 w 9905999"/>
              <a:gd name="connsiteY31" fmla="*/ 2132361 h 2265361"/>
              <a:gd name="connsiteX32" fmla="*/ 791868 w 9905999"/>
              <a:gd name="connsiteY32" fmla="*/ 1967800 h 2265361"/>
              <a:gd name="connsiteX33" fmla="*/ 746876 w 9905999"/>
              <a:gd name="connsiteY33" fmla="*/ 1800986 h 2265361"/>
              <a:gd name="connsiteX34" fmla="*/ 654642 w 9905999"/>
              <a:gd name="connsiteY34" fmla="*/ 1762664 h 2265361"/>
              <a:gd name="connsiteX35" fmla="*/ 6386687 w 9905999"/>
              <a:gd name="connsiteY35" fmla="*/ 1710816 h 2265361"/>
              <a:gd name="connsiteX36" fmla="*/ 6575655 w 9905999"/>
              <a:gd name="connsiteY36" fmla="*/ 1710816 h 2265361"/>
              <a:gd name="connsiteX37" fmla="*/ 6706134 w 9905999"/>
              <a:gd name="connsiteY37" fmla="*/ 1755901 h 2265361"/>
              <a:gd name="connsiteX38" fmla="*/ 6744377 w 9905999"/>
              <a:gd name="connsiteY38" fmla="*/ 1864105 h 2265361"/>
              <a:gd name="connsiteX39" fmla="*/ 6701634 w 9905999"/>
              <a:gd name="connsiteY39" fmla="*/ 1981326 h 2265361"/>
              <a:gd name="connsiteX40" fmla="*/ 6577905 w 9905999"/>
              <a:gd name="connsiteY40" fmla="*/ 2024157 h 2265361"/>
              <a:gd name="connsiteX41" fmla="*/ 6449676 w 9905999"/>
              <a:gd name="connsiteY41" fmla="*/ 2024157 h 2265361"/>
              <a:gd name="connsiteX42" fmla="*/ 6449676 w 9905999"/>
              <a:gd name="connsiteY42" fmla="*/ 2222531 h 2265361"/>
              <a:gd name="connsiteX43" fmla="*/ 6386687 w 9905999"/>
              <a:gd name="connsiteY43" fmla="*/ 2222531 h 2265361"/>
              <a:gd name="connsiteX44" fmla="*/ 6386687 w 9905999"/>
              <a:gd name="connsiteY44" fmla="*/ 1710816 h 2265361"/>
              <a:gd name="connsiteX45" fmla="*/ 5889520 w 9905999"/>
              <a:gd name="connsiteY45" fmla="*/ 1710816 h 2265361"/>
              <a:gd name="connsiteX46" fmla="*/ 5954759 w 9905999"/>
              <a:gd name="connsiteY46" fmla="*/ 1710816 h 2265361"/>
              <a:gd name="connsiteX47" fmla="*/ 5954759 w 9905999"/>
              <a:gd name="connsiteY47" fmla="*/ 2035428 h 2265361"/>
              <a:gd name="connsiteX48" fmla="*/ 6076239 w 9905999"/>
              <a:gd name="connsiteY48" fmla="*/ 2172937 h 2265361"/>
              <a:gd name="connsiteX49" fmla="*/ 6199968 w 9905999"/>
              <a:gd name="connsiteY49" fmla="*/ 2035428 h 2265361"/>
              <a:gd name="connsiteX50" fmla="*/ 6199968 w 9905999"/>
              <a:gd name="connsiteY50" fmla="*/ 1710816 h 2265361"/>
              <a:gd name="connsiteX51" fmla="*/ 6262957 w 9905999"/>
              <a:gd name="connsiteY51" fmla="*/ 1710816 h 2265361"/>
              <a:gd name="connsiteX52" fmla="*/ 6262957 w 9905999"/>
              <a:gd name="connsiteY52" fmla="*/ 2035428 h 2265361"/>
              <a:gd name="connsiteX53" fmla="*/ 6076239 w 9905999"/>
              <a:gd name="connsiteY53" fmla="*/ 2231547 h 2265361"/>
              <a:gd name="connsiteX54" fmla="*/ 5889520 w 9905999"/>
              <a:gd name="connsiteY54" fmla="*/ 2035428 h 2265361"/>
              <a:gd name="connsiteX55" fmla="*/ 5889520 w 9905999"/>
              <a:gd name="connsiteY55" fmla="*/ 1710816 h 2265361"/>
              <a:gd name="connsiteX56" fmla="*/ 4958174 w 9905999"/>
              <a:gd name="connsiteY56" fmla="*/ 1710816 h 2265361"/>
              <a:gd name="connsiteX57" fmla="*/ 5158391 w 9905999"/>
              <a:gd name="connsiteY57" fmla="*/ 1710816 h 2265361"/>
              <a:gd name="connsiteX58" fmla="*/ 5288869 w 9905999"/>
              <a:gd name="connsiteY58" fmla="*/ 1755901 h 2265361"/>
              <a:gd name="connsiteX59" fmla="*/ 5329363 w 9905999"/>
              <a:gd name="connsiteY59" fmla="*/ 1859597 h 2265361"/>
              <a:gd name="connsiteX60" fmla="*/ 5288869 w 9905999"/>
              <a:gd name="connsiteY60" fmla="*/ 1961038 h 2265361"/>
              <a:gd name="connsiteX61" fmla="*/ 5228130 w 9905999"/>
              <a:gd name="connsiteY61" fmla="*/ 1997106 h 2265361"/>
              <a:gd name="connsiteX62" fmla="*/ 5331612 w 9905999"/>
              <a:gd name="connsiteY62" fmla="*/ 2222531 h 2265361"/>
              <a:gd name="connsiteX63" fmla="*/ 5259624 w 9905999"/>
              <a:gd name="connsiteY63" fmla="*/ 2222531 h 2265361"/>
              <a:gd name="connsiteX64" fmla="*/ 5162890 w 9905999"/>
              <a:gd name="connsiteY64" fmla="*/ 2010631 h 2265361"/>
              <a:gd name="connsiteX65" fmla="*/ 5021164 w 9905999"/>
              <a:gd name="connsiteY65" fmla="*/ 2010631 h 2265361"/>
              <a:gd name="connsiteX66" fmla="*/ 5021164 w 9905999"/>
              <a:gd name="connsiteY66" fmla="*/ 2222531 h 2265361"/>
              <a:gd name="connsiteX67" fmla="*/ 4958174 w 9905999"/>
              <a:gd name="connsiteY67" fmla="*/ 2222531 h 2265361"/>
              <a:gd name="connsiteX68" fmla="*/ 4958174 w 9905999"/>
              <a:gd name="connsiteY68" fmla="*/ 1710816 h 2265361"/>
              <a:gd name="connsiteX69" fmla="*/ 3309199 w 9905999"/>
              <a:gd name="connsiteY69" fmla="*/ 1710816 h 2265361"/>
              <a:gd name="connsiteX70" fmla="*/ 3381187 w 9905999"/>
              <a:gd name="connsiteY70" fmla="*/ 1710816 h 2265361"/>
              <a:gd name="connsiteX71" fmla="*/ 3633145 w 9905999"/>
              <a:gd name="connsiteY71" fmla="*/ 2123344 h 2265361"/>
              <a:gd name="connsiteX72" fmla="*/ 3633145 w 9905999"/>
              <a:gd name="connsiteY72" fmla="*/ 1710816 h 2265361"/>
              <a:gd name="connsiteX73" fmla="*/ 3693885 w 9905999"/>
              <a:gd name="connsiteY73" fmla="*/ 1710816 h 2265361"/>
              <a:gd name="connsiteX74" fmla="*/ 3693885 w 9905999"/>
              <a:gd name="connsiteY74" fmla="*/ 2222531 h 2265361"/>
              <a:gd name="connsiteX75" fmla="*/ 3621897 w 9905999"/>
              <a:gd name="connsiteY75" fmla="*/ 2222531 h 2265361"/>
              <a:gd name="connsiteX76" fmla="*/ 3372188 w 9905999"/>
              <a:gd name="connsiteY76" fmla="*/ 1810003 h 2265361"/>
              <a:gd name="connsiteX77" fmla="*/ 3372188 w 9905999"/>
              <a:gd name="connsiteY77" fmla="*/ 2222531 h 2265361"/>
              <a:gd name="connsiteX78" fmla="*/ 3309199 w 9905999"/>
              <a:gd name="connsiteY78" fmla="*/ 2222531 h 2265361"/>
              <a:gd name="connsiteX79" fmla="*/ 3309199 w 9905999"/>
              <a:gd name="connsiteY79" fmla="*/ 1710816 h 2265361"/>
              <a:gd name="connsiteX80" fmla="*/ 3106732 w 9905999"/>
              <a:gd name="connsiteY80" fmla="*/ 1710816 h 2265361"/>
              <a:gd name="connsiteX81" fmla="*/ 3171971 w 9905999"/>
              <a:gd name="connsiteY81" fmla="*/ 1710816 h 2265361"/>
              <a:gd name="connsiteX82" fmla="*/ 3171971 w 9905999"/>
              <a:gd name="connsiteY82" fmla="*/ 2222531 h 2265361"/>
              <a:gd name="connsiteX83" fmla="*/ 3106732 w 9905999"/>
              <a:gd name="connsiteY83" fmla="*/ 2222531 h 2265361"/>
              <a:gd name="connsiteX84" fmla="*/ 3106732 w 9905999"/>
              <a:gd name="connsiteY84" fmla="*/ 1710816 h 2265361"/>
              <a:gd name="connsiteX85" fmla="*/ 2663557 w 9905999"/>
              <a:gd name="connsiteY85" fmla="*/ 1710816 h 2265361"/>
              <a:gd name="connsiteX86" fmla="*/ 3032495 w 9905999"/>
              <a:gd name="connsiteY86" fmla="*/ 1710816 h 2265361"/>
              <a:gd name="connsiteX87" fmla="*/ 3032495 w 9905999"/>
              <a:gd name="connsiteY87" fmla="*/ 1769427 h 2265361"/>
              <a:gd name="connsiteX88" fmla="*/ 2879521 w 9905999"/>
              <a:gd name="connsiteY88" fmla="*/ 1769427 h 2265361"/>
              <a:gd name="connsiteX89" fmla="*/ 2879521 w 9905999"/>
              <a:gd name="connsiteY89" fmla="*/ 2222531 h 2265361"/>
              <a:gd name="connsiteX90" fmla="*/ 2814282 w 9905999"/>
              <a:gd name="connsiteY90" fmla="*/ 2222531 h 2265361"/>
              <a:gd name="connsiteX91" fmla="*/ 2814282 w 9905999"/>
              <a:gd name="connsiteY91" fmla="*/ 1769427 h 2265361"/>
              <a:gd name="connsiteX92" fmla="*/ 2663557 w 9905999"/>
              <a:gd name="connsiteY92" fmla="*/ 1769427 h 2265361"/>
              <a:gd name="connsiteX93" fmla="*/ 2663557 w 9905999"/>
              <a:gd name="connsiteY93" fmla="*/ 1710816 h 2265361"/>
              <a:gd name="connsiteX94" fmla="*/ 2416099 w 9905999"/>
              <a:gd name="connsiteY94" fmla="*/ 1710816 h 2265361"/>
              <a:gd name="connsiteX95" fmla="*/ 2481338 w 9905999"/>
              <a:gd name="connsiteY95" fmla="*/ 1710816 h 2265361"/>
              <a:gd name="connsiteX96" fmla="*/ 2481338 w 9905999"/>
              <a:gd name="connsiteY96" fmla="*/ 2163920 h 2265361"/>
              <a:gd name="connsiteX97" fmla="*/ 2726547 w 9905999"/>
              <a:gd name="connsiteY97" fmla="*/ 2163920 h 2265361"/>
              <a:gd name="connsiteX98" fmla="*/ 2726547 w 9905999"/>
              <a:gd name="connsiteY98" fmla="*/ 2222531 h 2265361"/>
              <a:gd name="connsiteX99" fmla="*/ 2416099 w 9905999"/>
              <a:gd name="connsiteY99" fmla="*/ 2222531 h 2265361"/>
              <a:gd name="connsiteX100" fmla="*/ 2416099 w 9905999"/>
              <a:gd name="connsiteY100" fmla="*/ 1710816 h 2265361"/>
              <a:gd name="connsiteX101" fmla="*/ 1918931 w 9905999"/>
              <a:gd name="connsiteY101" fmla="*/ 1710816 h 2265361"/>
              <a:gd name="connsiteX102" fmla="*/ 1984171 w 9905999"/>
              <a:gd name="connsiteY102" fmla="*/ 1710816 h 2265361"/>
              <a:gd name="connsiteX103" fmla="*/ 1984171 w 9905999"/>
              <a:gd name="connsiteY103" fmla="*/ 2035428 h 2265361"/>
              <a:gd name="connsiteX104" fmla="*/ 2105651 w 9905999"/>
              <a:gd name="connsiteY104" fmla="*/ 2172937 h 2265361"/>
              <a:gd name="connsiteX105" fmla="*/ 2229380 w 9905999"/>
              <a:gd name="connsiteY105" fmla="*/ 2035428 h 2265361"/>
              <a:gd name="connsiteX106" fmla="*/ 2229380 w 9905999"/>
              <a:gd name="connsiteY106" fmla="*/ 1710816 h 2265361"/>
              <a:gd name="connsiteX107" fmla="*/ 2292369 w 9905999"/>
              <a:gd name="connsiteY107" fmla="*/ 1710816 h 2265361"/>
              <a:gd name="connsiteX108" fmla="*/ 2292369 w 9905999"/>
              <a:gd name="connsiteY108" fmla="*/ 2035428 h 2265361"/>
              <a:gd name="connsiteX109" fmla="*/ 2105651 w 9905999"/>
              <a:gd name="connsiteY109" fmla="*/ 2231547 h 2265361"/>
              <a:gd name="connsiteX110" fmla="*/ 1918931 w 9905999"/>
              <a:gd name="connsiteY110" fmla="*/ 2035428 h 2265361"/>
              <a:gd name="connsiteX111" fmla="*/ 1918931 w 9905999"/>
              <a:gd name="connsiteY111" fmla="*/ 1710816 h 2265361"/>
              <a:gd name="connsiteX112" fmla="*/ 960591 w 9905999"/>
              <a:gd name="connsiteY112" fmla="*/ 1710816 h 2265361"/>
              <a:gd name="connsiteX113" fmla="*/ 1032578 w 9905999"/>
              <a:gd name="connsiteY113" fmla="*/ 1710816 h 2265361"/>
              <a:gd name="connsiteX114" fmla="*/ 1284537 w 9905999"/>
              <a:gd name="connsiteY114" fmla="*/ 2123344 h 2265361"/>
              <a:gd name="connsiteX115" fmla="*/ 1284537 w 9905999"/>
              <a:gd name="connsiteY115" fmla="*/ 1710816 h 2265361"/>
              <a:gd name="connsiteX116" fmla="*/ 1345276 w 9905999"/>
              <a:gd name="connsiteY116" fmla="*/ 1710816 h 2265361"/>
              <a:gd name="connsiteX117" fmla="*/ 1345276 w 9905999"/>
              <a:gd name="connsiteY117" fmla="*/ 2222531 h 2265361"/>
              <a:gd name="connsiteX118" fmla="*/ 1273289 w 9905999"/>
              <a:gd name="connsiteY118" fmla="*/ 2222531 h 2265361"/>
              <a:gd name="connsiteX119" fmla="*/ 1023580 w 9905999"/>
              <a:gd name="connsiteY119" fmla="*/ 1810003 h 2265361"/>
              <a:gd name="connsiteX120" fmla="*/ 1023580 w 9905999"/>
              <a:gd name="connsiteY120" fmla="*/ 2222531 h 2265361"/>
              <a:gd name="connsiteX121" fmla="*/ 960591 w 9905999"/>
              <a:gd name="connsiteY121" fmla="*/ 2222531 h 2265361"/>
              <a:gd name="connsiteX122" fmla="*/ 960591 w 9905999"/>
              <a:gd name="connsiteY122" fmla="*/ 1710816 h 2265361"/>
              <a:gd name="connsiteX123" fmla="*/ 5597068 w 9905999"/>
              <a:gd name="connsiteY123" fmla="*/ 1701799 h 2265361"/>
              <a:gd name="connsiteX124" fmla="*/ 5736545 w 9905999"/>
              <a:gd name="connsiteY124" fmla="*/ 1755901 h 2265361"/>
              <a:gd name="connsiteX125" fmla="*/ 5801784 w 9905999"/>
              <a:gd name="connsiteY125" fmla="*/ 1967800 h 2265361"/>
              <a:gd name="connsiteX126" fmla="*/ 5736545 w 9905999"/>
              <a:gd name="connsiteY126" fmla="*/ 2177446 h 2265361"/>
              <a:gd name="connsiteX127" fmla="*/ 5597068 w 9905999"/>
              <a:gd name="connsiteY127" fmla="*/ 2233802 h 2265361"/>
              <a:gd name="connsiteX128" fmla="*/ 5459841 w 9905999"/>
              <a:gd name="connsiteY128" fmla="*/ 2177446 h 2265361"/>
              <a:gd name="connsiteX129" fmla="*/ 5394602 w 9905999"/>
              <a:gd name="connsiteY129" fmla="*/ 1967800 h 2265361"/>
              <a:gd name="connsiteX130" fmla="*/ 5459841 w 9905999"/>
              <a:gd name="connsiteY130" fmla="*/ 1755901 h 2265361"/>
              <a:gd name="connsiteX131" fmla="*/ 5597068 w 9905999"/>
              <a:gd name="connsiteY131" fmla="*/ 1701799 h 2265361"/>
              <a:gd name="connsiteX132" fmla="*/ 4645477 w 9905999"/>
              <a:gd name="connsiteY132" fmla="*/ 1701799 h 2265361"/>
              <a:gd name="connsiteX133" fmla="*/ 4791702 w 9905999"/>
              <a:gd name="connsiteY133" fmla="*/ 1758155 h 2265361"/>
              <a:gd name="connsiteX134" fmla="*/ 4834445 w 9905999"/>
              <a:gd name="connsiteY134" fmla="*/ 1859597 h 2265361"/>
              <a:gd name="connsiteX135" fmla="*/ 4766956 w 9905999"/>
              <a:gd name="connsiteY135" fmla="*/ 1859597 h 2265361"/>
              <a:gd name="connsiteX136" fmla="*/ 4744460 w 9905999"/>
              <a:gd name="connsiteY136" fmla="*/ 1803240 h 2265361"/>
              <a:gd name="connsiteX137" fmla="*/ 4645477 w 9905999"/>
              <a:gd name="connsiteY137" fmla="*/ 1762664 h 2265361"/>
              <a:gd name="connsiteX138" fmla="*/ 4550992 w 9905999"/>
              <a:gd name="connsiteY138" fmla="*/ 1800986 h 2265361"/>
              <a:gd name="connsiteX139" fmla="*/ 4506000 w 9905999"/>
              <a:gd name="connsiteY139" fmla="*/ 1967800 h 2265361"/>
              <a:gd name="connsiteX140" fmla="*/ 4553242 w 9905999"/>
              <a:gd name="connsiteY140" fmla="*/ 2134615 h 2265361"/>
              <a:gd name="connsiteX141" fmla="*/ 4645477 w 9905999"/>
              <a:gd name="connsiteY141" fmla="*/ 2172937 h 2265361"/>
              <a:gd name="connsiteX142" fmla="*/ 4737711 w 9905999"/>
              <a:gd name="connsiteY142" fmla="*/ 2136869 h 2265361"/>
              <a:gd name="connsiteX143" fmla="*/ 4780454 w 9905999"/>
              <a:gd name="connsiteY143" fmla="*/ 2006123 h 2265361"/>
              <a:gd name="connsiteX144" fmla="*/ 4645477 w 9905999"/>
              <a:gd name="connsiteY144" fmla="*/ 2006123 h 2265361"/>
              <a:gd name="connsiteX145" fmla="*/ 4645477 w 9905999"/>
              <a:gd name="connsiteY145" fmla="*/ 1947512 h 2265361"/>
              <a:gd name="connsiteX146" fmla="*/ 4838944 w 9905999"/>
              <a:gd name="connsiteY146" fmla="*/ 1947512 h 2265361"/>
              <a:gd name="connsiteX147" fmla="*/ 4838944 w 9905999"/>
              <a:gd name="connsiteY147" fmla="*/ 2222531 h 2265361"/>
              <a:gd name="connsiteX148" fmla="*/ 4793952 w 9905999"/>
              <a:gd name="connsiteY148" fmla="*/ 2222531 h 2265361"/>
              <a:gd name="connsiteX149" fmla="*/ 4782704 w 9905999"/>
              <a:gd name="connsiteY149" fmla="*/ 2161666 h 2265361"/>
              <a:gd name="connsiteX150" fmla="*/ 4645477 w 9905999"/>
              <a:gd name="connsiteY150" fmla="*/ 2233802 h 2265361"/>
              <a:gd name="connsiteX151" fmla="*/ 4506000 w 9905999"/>
              <a:gd name="connsiteY151" fmla="*/ 2179700 h 2265361"/>
              <a:gd name="connsiteX152" fmla="*/ 4440761 w 9905999"/>
              <a:gd name="connsiteY152" fmla="*/ 1967800 h 2265361"/>
              <a:gd name="connsiteX153" fmla="*/ 4506000 w 9905999"/>
              <a:gd name="connsiteY153" fmla="*/ 1755901 h 2265361"/>
              <a:gd name="connsiteX154" fmla="*/ 4645477 w 9905999"/>
              <a:gd name="connsiteY154" fmla="*/ 1701799 h 2265361"/>
              <a:gd name="connsiteX155" fmla="*/ 4002083 w 9905999"/>
              <a:gd name="connsiteY155" fmla="*/ 1701799 h 2265361"/>
              <a:gd name="connsiteX156" fmla="*/ 4148309 w 9905999"/>
              <a:gd name="connsiteY156" fmla="*/ 1758155 h 2265361"/>
              <a:gd name="connsiteX157" fmla="*/ 4193302 w 9905999"/>
              <a:gd name="connsiteY157" fmla="*/ 1859597 h 2265361"/>
              <a:gd name="connsiteX158" fmla="*/ 4125813 w 9905999"/>
              <a:gd name="connsiteY158" fmla="*/ 1859597 h 2265361"/>
              <a:gd name="connsiteX159" fmla="*/ 4103317 w 9905999"/>
              <a:gd name="connsiteY159" fmla="*/ 1803240 h 2265361"/>
              <a:gd name="connsiteX160" fmla="*/ 4002083 w 9905999"/>
              <a:gd name="connsiteY160" fmla="*/ 1762664 h 2265361"/>
              <a:gd name="connsiteX161" fmla="*/ 3909849 w 9905999"/>
              <a:gd name="connsiteY161" fmla="*/ 1800986 h 2265361"/>
              <a:gd name="connsiteX162" fmla="*/ 3864856 w 9905999"/>
              <a:gd name="connsiteY162" fmla="*/ 1967800 h 2265361"/>
              <a:gd name="connsiteX163" fmla="*/ 3909849 w 9905999"/>
              <a:gd name="connsiteY163" fmla="*/ 2134615 h 2265361"/>
              <a:gd name="connsiteX164" fmla="*/ 4002083 w 9905999"/>
              <a:gd name="connsiteY164" fmla="*/ 2172937 h 2265361"/>
              <a:gd name="connsiteX165" fmla="*/ 4094318 w 9905999"/>
              <a:gd name="connsiteY165" fmla="*/ 2136869 h 2265361"/>
              <a:gd name="connsiteX166" fmla="*/ 4139311 w 9905999"/>
              <a:gd name="connsiteY166" fmla="*/ 2006123 h 2265361"/>
              <a:gd name="connsiteX167" fmla="*/ 4002083 w 9905999"/>
              <a:gd name="connsiteY167" fmla="*/ 2006123 h 2265361"/>
              <a:gd name="connsiteX168" fmla="*/ 4002083 w 9905999"/>
              <a:gd name="connsiteY168" fmla="*/ 1947512 h 2265361"/>
              <a:gd name="connsiteX169" fmla="*/ 4197801 w 9905999"/>
              <a:gd name="connsiteY169" fmla="*/ 1947512 h 2265361"/>
              <a:gd name="connsiteX170" fmla="*/ 4197801 w 9905999"/>
              <a:gd name="connsiteY170" fmla="*/ 2222531 h 2265361"/>
              <a:gd name="connsiteX171" fmla="*/ 4152808 w 9905999"/>
              <a:gd name="connsiteY171" fmla="*/ 2222531 h 2265361"/>
              <a:gd name="connsiteX172" fmla="*/ 4141560 w 9905999"/>
              <a:gd name="connsiteY172" fmla="*/ 2161666 h 2265361"/>
              <a:gd name="connsiteX173" fmla="*/ 4002083 w 9905999"/>
              <a:gd name="connsiteY173" fmla="*/ 2233802 h 2265361"/>
              <a:gd name="connsiteX174" fmla="*/ 3864856 w 9905999"/>
              <a:gd name="connsiteY174" fmla="*/ 2179700 h 2265361"/>
              <a:gd name="connsiteX175" fmla="*/ 3797367 w 9905999"/>
              <a:gd name="connsiteY175" fmla="*/ 1967800 h 2265361"/>
              <a:gd name="connsiteX176" fmla="*/ 3864856 w 9905999"/>
              <a:gd name="connsiteY176" fmla="*/ 1755901 h 2265361"/>
              <a:gd name="connsiteX177" fmla="*/ 4002083 w 9905999"/>
              <a:gd name="connsiteY177" fmla="*/ 1701799 h 2265361"/>
              <a:gd name="connsiteX178" fmla="*/ 1642228 w 9905999"/>
              <a:gd name="connsiteY178" fmla="*/ 1701799 h 2265361"/>
              <a:gd name="connsiteX179" fmla="*/ 1774955 w 9905999"/>
              <a:gd name="connsiteY179" fmla="*/ 1749138 h 2265361"/>
              <a:gd name="connsiteX180" fmla="*/ 1824447 w 9905999"/>
              <a:gd name="connsiteY180" fmla="*/ 1859597 h 2265361"/>
              <a:gd name="connsiteX181" fmla="*/ 1756958 w 9905999"/>
              <a:gd name="connsiteY181" fmla="*/ 1859597 h 2265361"/>
              <a:gd name="connsiteX182" fmla="*/ 1732212 w 9905999"/>
              <a:gd name="connsiteY182" fmla="*/ 1796478 h 2265361"/>
              <a:gd name="connsiteX183" fmla="*/ 1639978 w 9905999"/>
              <a:gd name="connsiteY183" fmla="*/ 1760410 h 2265361"/>
              <a:gd name="connsiteX184" fmla="*/ 1549993 w 9905999"/>
              <a:gd name="connsiteY184" fmla="*/ 1796478 h 2265361"/>
              <a:gd name="connsiteX185" fmla="*/ 1529746 w 9905999"/>
              <a:gd name="connsiteY185" fmla="*/ 1850580 h 2265361"/>
              <a:gd name="connsiteX186" fmla="*/ 1606234 w 9905999"/>
              <a:gd name="connsiteY186" fmla="*/ 1922716 h 2265361"/>
              <a:gd name="connsiteX187" fmla="*/ 1691719 w 9905999"/>
              <a:gd name="connsiteY187" fmla="*/ 1936241 h 2265361"/>
              <a:gd name="connsiteX188" fmla="*/ 1833445 w 9905999"/>
              <a:gd name="connsiteY188" fmla="*/ 2082767 h 2265361"/>
              <a:gd name="connsiteX189" fmla="*/ 1790703 w 9905999"/>
              <a:gd name="connsiteY189" fmla="*/ 2181954 h 2265361"/>
              <a:gd name="connsiteX190" fmla="*/ 1644477 w 9905999"/>
              <a:gd name="connsiteY190" fmla="*/ 2231547 h 2265361"/>
              <a:gd name="connsiteX191" fmla="*/ 1498251 w 9905999"/>
              <a:gd name="connsiteY191" fmla="*/ 2184208 h 2265361"/>
              <a:gd name="connsiteX192" fmla="*/ 1444260 w 9905999"/>
              <a:gd name="connsiteY192" fmla="*/ 2060225 h 2265361"/>
              <a:gd name="connsiteX193" fmla="*/ 1509499 w 9905999"/>
              <a:gd name="connsiteY193" fmla="*/ 2060225 h 2265361"/>
              <a:gd name="connsiteX194" fmla="*/ 1545494 w 9905999"/>
              <a:gd name="connsiteY194" fmla="*/ 2141378 h 2265361"/>
              <a:gd name="connsiteX195" fmla="*/ 1644477 w 9905999"/>
              <a:gd name="connsiteY195" fmla="*/ 2172937 h 2265361"/>
              <a:gd name="connsiteX196" fmla="*/ 1738962 w 9905999"/>
              <a:gd name="connsiteY196" fmla="*/ 2143632 h 2265361"/>
              <a:gd name="connsiteX197" fmla="*/ 1765956 w 9905999"/>
              <a:gd name="connsiteY197" fmla="*/ 2082767 h 2265361"/>
              <a:gd name="connsiteX198" fmla="*/ 1680471 w 9905999"/>
              <a:gd name="connsiteY198" fmla="*/ 2001614 h 2265361"/>
              <a:gd name="connsiteX199" fmla="*/ 1599484 w 9905999"/>
              <a:gd name="connsiteY199" fmla="*/ 1988089 h 2265361"/>
              <a:gd name="connsiteX200" fmla="*/ 1462257 w 9905999"/>
              <a:gd name="connsiteY200" fmla="*/ 1852834 h 2265361"/>
              <a:gd name="connsiteX201" fmla="*/ 1507249 w 9905999"/>
              <a:gd name="connsiteY201" fmla="*/ 1751393 h 2265361"/>
              <a:gd name="connsiteX202" fmla="*/ 1642228 w 9905999"/>
              <a:gd name="connsiteY202" fmla="*/ 1701799 h 2265361"/>
              <a:gd name="connsiteX203" fmla="*/ 654642 w 9905999"/>
              <a:gd name="connsiteY203" fmla="*/ 1701799 h 2265361"/>
              <a:gd name="connsiteX204" fmla="*/ 791868 w 9905999"/>
              <a:gd name="connsiteY204" fmla="*/ 1755901 h 2265361"/>
              <a:gd name="connsiteX205" fmla="*/ 857108 w 9905999"/>
              <a:gd name="connsiteY205" fmla="*/ 1967800 h 2265361"/>
              <a:gd name="connsiteX206" fmla="*/ 791868 w 9905999"/>
              <a:gd name="connsiteY206" fmla="*/ 2177446 h 2265361"/>
              <a:gd name="connsiteX207" fmla="*/ 654642 w 9905999"/>
              <a:gd name="connsiteY207" fmla="*/ 2233802 h 2265361"/>
              <a:gd name="connsiteX208" fmla="*/ 515164 w 9905999"/>
              <a:gd name="connsiteY208" fmla="*/ 2177446 h 2265361"/>
              <a:gd name="connsiteX209" fmla="*/ 449925 w 9905999"/>
              <a:gd name="connsiteY209" fmla="*/ 1967800 h 2265361"/>
              <a:gd name="connsiteX210" fmla="*/ 515164 w 9905999"/>
              <a:gd name="connsiteY210" fmla="*/ 1755901 h 2265361"/>
              <a:gd name="connsiteX211" fmla="*/ 654642 w 9905999"/>
              <a:gd name="connsiteY211" fmla="*/ 1701799 h 2265361"/>
              <a:gd name="connsiteX212" fmla="*/ 202466 w 9905999"/>
              <a:gd name="connsiteY212" fmla="*/ 1701799 h 2265361"/>
              <a:gd name="connsiteX213" fmla="*/ 339693 w 9905999"/>
              <a:gd name="connsiteY213" fmla="*/ 1753647 h 2265361"/>
              <a:gd name="connsiteX214" fmla="*/ 389185 w 9905999"/>
              <a:gd name="connsiteY214" fmla="*/ 1870868 h 2265361"/>
              <a:gd name="connsiteX215" fmla="*/ 323946 w 9905999"/>
              <a:gd name="connsiteY215" fmla="*/ 1870868 h 2265361"/>
              <a:gd name="connsiteX216" fmla="*/ 294701 w 9905999"/>
              <a:gd name="connsiteY216" fmla="*/ 1798732 h 2265361"/>
              <a:gd name="connsiteX217" fmla="*/ 202466 w 9905999"/>
              <a:gd name="connsiteY217" fmla="*/ 1762664 h 2265361"/>
              <a:gd name="connsiteX218" fmla="*/ 110232 w 9905999"/>
              <a:gd name="connsiteY218" fmla="*/ 1800986 h 2265361"/>
              <a:gd name="connsiteX219" fmla="*/ 67489 w 9905999"/>
              <a:gd name="connsiteY219" fmla="*/ 1967800 h 2265361"/>
              <a:gd name="connsiteX220" fmla="*/ 110232 w 9905999"/>
              <a:gd name="connsiteY220" fmla="*/ 2132361 h 2265361"/>
              <a:gd name="connsiteX221" fmla="*/ 202466 w 9905999"/>
              <a:gd name="connsiteY221" fmla="*/ 2172937 h 2265361"/>
              <a:gd name="connsiteX222" fmla="*/ 296951 w 9905999"/>
              <a:gd name="connsiteY222" fmla="*/ 2132361 h 2265361"/>
              <a:gd name="connsiteX223" fmla="*/ 323946 w 9905999"/>
              <a:gd name="connsiteY223" fmla="*/ 2060225 h 2265361"/>
              <a:gd name="connsiteX224" fmla="*/ 391435 w 9905999"/>
              <a:gd name="connsiteY224" fmla="*/ 2060225 h 2265361"/>
              <a:gd name="connsiteX225" fmla="*/ 339693 w 9905999"/>
              <a:gd name="connsiteY225" fmla="*/ 2177446 h 2265361"/>
              <a:gd name="connsiteX226" fmla="*/ 202466 w 9905999"/>
              <a:gd name="connsiteY226" fmla="*/ 2233802 h 2265361"/>
              <a:gd name="connsiteX227" fmla="*/ 65239 w 9905999"/>
              <a:gd name="connsiteY227" fmla="*/ 2177446 h 2265361"/>
              <a:gd name="connsiteX228" fmla="*/ 0 w 9905999"/>
              <a:gd name="connsiteY228" fmla="*/ 1967800 h 2265361"/>
              <a:gd name="connsiteX229" fmla="*/ 65239 w 9905999"/>
              <a:gd name="connsiteY229" fmla="*/ 1755901 h 2265361"/>
              <a:gd name="connsiteX230" fmla="*/ 202466 w 9905999"/>
              <a:gd name="connsiteY230" fmla="*/ 1701799 h 2265361"/>
              <a:gd name="connsiteX231" fmla="*/ 2227389 w 9905999"/>
              <a:gd name="connsiteY231" fmla="*/ 214047 h 2265361"/>
              <a:gd name="connsiteX232" fmla="*/ 2227389 w 9905999"/>
              <a:gd name="connsiteY232" fmla="*/ 574548 h 2265361"/>
              <a:gd name="connsiteX233" fmla="*/ 2456649 w 9905999"/>
              <a:gd name="connsiteY233" fmla="*/ 574548 h 2265361"/>
              <a:gd name="connsiteX234" fmla="*/ 2654442 w 9905999"/>
              <a:gd name="connsiteY234" fmla="*/ 394298 h 2265361"/>
              <a:gd name="connsiteX235" fmla="*/ 2456649 w 9905999"/>
              <a:gd name="connsiteY235" fmla="*/ 214047 h 2265361"/>
              <a:gd name="connsiteX236" fmla="*/ 2227389 w 9905999"/>
              <a:gd name="connsiteY236" fmla="*/ 214047 h 2265361"/>
              <a:gd name="connsiteX237" fmla="*/ 8961436 w 9905999"/>
              <a:gd name="connsiteY237" fmla="*/ 0 h 2265361"/>
              <a:gd name="connsiteX238" fmla="*/ 9905999 w 9905999"/>
              <a:gd name="connsiteY238" fmla="*/ 0 h 2265361"/>
              <a:gd name="connsiteX239" fmla="*/ 9905999 w 9905999"/>
              <a:gd name="connsiteY239" fmla="*/ 225425 h 2265361"/>
              <a:gd name="connsiteX240" fmla="*/ 9555161 w 9905999"/>
              <a:gd name="connsiteY240" fmla="*/ 225425 h 2265361"/>
              <a:gd name="connsiteX241" fmla="*/ 9555161 w 9905999"/>
              <a:gd name="connsiteY241" fmla="*/ 1214437 h 2265361"/>
              <a:gd name="connsiteX242" fmla="*/ 9315449 w 9905999"/>
              <a:gd name="connsiteY242" fmla="*/ 1214437 h 2265361"/>
              <a:gd name="connsiteX243" fmla="*/ 9315449 w 9905999"/>
              <a:gd name="connsiteY243" fmla="*/ 225425 h 2265361"/>
              <a:gd name="connsiteX244" fmla="*/ 8961436 w 9905999"/>
              <a:gd name="connsiteY244" fmla="*/ 225425 h 2265361"/>
              <a:gd name="connsiteX245" fmla="*/ 7785099 w 9905999"/>
              <a:gd name="connsiteY245" fmla="*/ 0 h 2265361"/>
              <a:gd name="connsiteX246" fmla="*/ 8035924 w 9905999"/>
              <a:gd name="connsiteY246" fmla="*/ 0 h 2265361"/>
              <a:gd name="connsiteX247" fmla="*/ 8037512 w 9905999"/>
              <a:gd name="connsiteY247" fmla="*/ 3175 h 2265361"/>
              <a:gd name="connsiteX248" fmla="*/ 8523286 w 9905999"/>
              <a:gd name="connsiteY248" fmla="*/ 774700 h 2265361"/>
              <a:gd name="connsiteX249" fmla="*/ 8523286 w 9905999"/>
              <a:gd name="connsiteY249" fmla="*/ 0 h 2265361"/>
              <a:gd name="connsiteX250" fmla="*/ 8759824 w 9905999"/>
              <a:gd name="connsiteY250" fmla="*/ 0 h 2265361"/>
              <a:gd name="connsiteX251" fmla="*/ 8759824 w 9905999"/>
              <a:gd name="connsiteY251" fmla="*/ 1214437 h 2265361"/>
              <a:gd name="connsiteX252" fmla="*/ 8518524 w 9905999"/>
              <a:gd name="connsiteY252" fmla="*/ 1214437 h 2265361"/>
              <a:gd name="connsiteX253" fmla="*/ 8024812 w 9905999"/>
              <a:gd name="connsiteY253" fmla="*/ 425450 h 2265361"/>
              <a:gd name="connsiteX254" fmla="*/ 8024812 w 9905999"/>
              <a:gd name="connsiteY254" fmla="*/ 1214437 h 2265361"/>
              <a:gd name="connsiteX255" fmla="*/ 7785099 w 9905999"/>
              <a:gd name="connsiteY255" fmla="*/ 1214437 h 2265361"/>
              <a:gd name="connsiteX256" fmla="*/ 6665911 w 9905999"/>
              <a:gd name="connsiteY256" fmla="*/ 0 h 2265361"/>
              <a:gd name="connsiteX257" fmla="*/ 7535861 w 9905999"/>
              <a:gd name="connsiteY257" fmla="*/ 0 h 2265361"/>
              <a:gd name="connsiteX258" fmla="*/ 7535861 w 9905999"/>
              <a:gd name="connsiteY258" fmla="*/ 220663 h 2265361"/>
              <a:gd name="connsiteX259" fmla="*/ 6905624 w 9905999"/>
              <a:gd name="connsiteY259" fmla="*/ 220663 h 2265361"/>
              <a:gd name="connsiteX260" fmla="*/ 6905624 w 9905999"/>
              <a:gd name="connsiteY260" fmla="*/ 473075 h 2265361"/>
              <a:gd name="connsiteX261" fmla="*/ 7459661 w 9905999"/>
              <a:gd name="connsiteY261" fmla="*/ 473075 h 2265361"/>
              <a:gd name="connsiteX262" fmla="*/ 7459661 w 9905999"/>
              <a:gd name="connsiteY262" fmla="*/ 690562 h 2265361"/>
              <a:gd name="connsiteX263" fmla="*/ 6905624 w 9905999"/>
              <a:gd name="connsiteY263" fmla="*/ 690562 h 2265361"/>
              <a:gd name="connsiteX264" fmla="*/ 6905624 w 9905999"/>
              <a:gd name="connsiteY264" fmla="*/ 993775 h 2265361"/>
              <a:gd name="connsiteX265" fmla="*/ 7535861 w 9905999"/>
              <a:gd name="connsiteY265" fmla="*/ 993775 h 2265361"/>
              <a:gd name="connsiteX266" fmla="*/ 7535861 w 9905999"/>
              <a:gd name="connsiteY266" fmla="*/ 1214437 h 2265361"/>
              <a:gd name="connsiteX267" fmla="*/ 6665911 w 9905999"/>
              <a:gd name="connsiteY267" fmla="*/ 1214437 h 2265361"/>
              <a:gd name="connsiteX268" fmla="*/ 5221286 w 9905999"/>
              <a:gd name="connsiteY268" fmla="*/ 0 h 2265361"/>
              <a:gd name="connsiteX269" fmla="*/ 5534024 w 9905999"/>
              <a:gd name="connsiteY269" fmla="*/ 0 h 2265361"/>
              <a:gd name="connsiteX270" fmla="*/ 5835649 w 9905999"/>
              <a:gd name="connsiteY270" fmla="*/ 823912 h 2265361"/>
              <a:gd name="connsiteX271" fmla="*/ 6142037 w 9905999"/>
              <a:gd name="connsiteY271" fmla="*/ 0 h 2265361"/>
              <a:gd name="connsiteX272" fmla="*/ 6438899 w 9905999"/>
              <a:gd name="connsiteY272" fmla="*/ 0 h 2265361"/>
              <a:gd name="connsiteX273" fmla="*/ 6438899 w 9905999"/>
              <a:gd name="connsiteY273" fmla="*/ 1214437 h 2265361"/>
              <a:gd name="connsiteX274" fmla="*/ 6203949 w 9905999"/>
              <a:gd name="connsiteY274" fmla="*/ 1214437 h 2265361"/>
              <a:gd name="connsiteX275" fmla="*/ 6203949 w 9905999"/>
              <a:gd name="connsiteY275" fmla="*/ 419100 h 2265361"/>
              <a:gd name="connsiteX276" fmla="*/ 5916612 w 9905999"/>
              <a:gd name="connsiteY276" fmla="*/ 1196975 h 2265361"/>
              <a:gd name="connsiteX277" fmla="*/ 5740399 w 9905999"/>
              <a:gd name="connsiteY277" fmla="*/ 1196975 h 2265361"/>
              <a:gd name="connsiteX278" fmla="*/ 5454649 w 9905999"/>
              <a:gd name="connsiteY278" fmla="*/ 409575 h 2265361"/>
              <a:gd name="connsiteX279" fmla="*/ 5454649 w 9905999"/>
              <a:gd name="connsiteY279" fmla="*/ 1214437 h 2265361"/>
              <a:gd name="connsiteX280" fmla="*/ 5221286 w 9905999"/>
              <a:gd name="connsiteY280" fmla="*/ 1214437 h 2265361"/>
              <a:gd name="connsiteX281" fmla="*/ 4098924 w 9905999"/>
              <a:gd name="connsiteY281" fmla="*/ 0 h 2265361"/>
              <a:gd name="connsiteX282" fmla="*/ 4968874 w 9905999"/>
              <a:gd name="connsiteY282" fmla="*/ 0 h 2265361"/>
              <a:gd name="connsiteX283" fmla="*/ 4968874 w 9905999"/>
              <a:gd name="connsiteY283" fmla="*/ 220663 h 2265361"/>
              <a:gd name="connsiteX284" fmla="*/ 4340224 w 9905999"/>
              <a:gd name="connsiteY284" fmla="*/ 220663 h 2265361"/>
              <a:gd name="connsiteX285" fmla="*/ 4340224 w 9905999"/>
              <a:gd name="connsiteY285" fmla="*/ 473075 h 2265361"/>
              <a:gd name="connsiteX286" fmla="*/ 4895849 w 9905999"/>
              <a:gd name="connsiteY286" fmla="*/ 473075 h 2265361"/>
              <a:gd name="connsiteX287" fmla="*/ 4895849 w 9905999"/>
              <a:gd name="connsiteY287" fmla="*/ 690562 h 2265361"/>
              <a:gd name="connsiteX288" fmla="*/ 4340224 w 9905999"/>
              <a:gd name="connsiteY288" fmla="*/ 690562 h 2265361"/>
              <a:gd name="connsiteX289" fmla="*/ 4340224 w 9905999"/>
              <a:gd name="connsiteY289" fmla="*/ 993775 h 2265361"/>
              <a:gd name="connsiteX290" fmla="*/ 4968874 w 9905999"/>
              <a:gd name="connsiteY290" fmla="*/ 993775 h 2265361"/>
              <a:gd name="connsiteX291" fmla="*/ 4968874 w 9905999"/>
              <a:gd name="connsiteY291" fmla="*/ 1214437 h 2265361"/>
              <a:gd name="connsiteX292" fmla="*/ 4098924 w 9905999"/>
              <a:gd name="connsiteY292" fmla="*/ 1214437 h 2265361"/>
              <a:gd name="connsiteX293" fmla="*/ 3079749 w 9905999"/>
              <a:gd name="connsiteY293" fmla="*/ 0 h 2265361"/>
              <a:gd name="connsiteX294" fmla="*/ 3321049 w 9905999"/>
              <a:gd name="connsiteY294" fmla="*/ 0 h 2265361"/>
              <a:gd name="connsiteX295" fmla="*/ 3321049 w 9905999"/>
              <a:gd name="connsiteY295" fmla="*/ 984250 h 2265361"/>
              <a:gd name="connsiteX296" fmla="*/ 3871912 w 9905999"/>
              <a:gd name="connsiteY296" fmla="*/ 984250 h 2265361"/>
              <a:gd name="connsiteX297" fmla="*/ 3871912 w 9905999"/>
              <a:gd name="connsiteY297" fmla="*/ 1214437 h 2265361"/>
              <a:gd name="connsiteX298" fmla="*/ 3079749 w 9905999"/>
              <a:gd name="connsiteY298" fmla="*/ 1214437 h 2265361"/>
              <a:gd name="connsiteX299" fmla="*/ 1989138 w 9905999"/>
              <a:gd name="connsiteY299" fmla="*/ 0 h 2265361"/>
              <a:gd name="connsiteX300" fmla="*/ 2465639 w 9905999"/>
              <a:gd name="connsiteY300" fmla="*/ 0 h 2265361"/>
              <a:gd name="connsiteX301" fmla="*/ 2897188 w 9905999"/>
              <a:gd name="connsiteY301" fmla="*/ 392045 h 2265361"/>
              <a:gd name="connsiteX302" fmla="*/ 2465639 w 9905999"/>
              <a:gd name="connsiteY302" fmla="*/ 786342 h 2265361"/>
              <a:gd name="connsiteX303" fmla="*/ 2227389 w 9905999"/>
              <a:gd name="connsiteY303" fmla="*/ 786342 h 2265361"/>
              <a:gd name="connsiteX304" fmla="*/ 2227389 w 9905999"/>
              <a:gd name="connsiteY304" fmla="*/ 1214437 h 2265361"/>
              <a:gd name="connsiteX305" fmla="*/ 1989138 w 9905999"/>
              <a:gd name="connsiteY305" fmla="*/ 1214437 h 2265361"/>
              <a:gd name="connsiteX306" fmla="*/ 1989138 w 9905999"/>
              <a:gd name="connsiteY306" fmla="*/ 0 h 2265361"/>
              <a:gd name="connsiteX307" fmla="*/ 520699 w 9905999"/>
              <a:gd name="connsiteY307" fmla="*/ 0 h 2265361"/>
              <a:gd name="connsiteX308" fmla="*/ 833436 w 9905999"/>
              <a:gd name="connsiteY308" fmla="*/ 0 h 2265361"/>
              <a:gd name="connsiteX309" fmla="*/ 1135061 w 9905999"/>
              <a:gd name="connsiteY309" fmla="*/ 823912 h 2265361"/>
              <a:gd name="connsiteX310" fmla="*/ 1439862 w 9905999"/>
              <a:gd name="connsiteY310" fmla="*/ 0 h 2265361"/>
              <a:gd name="connsiteX311" fmla="*/ 1736724 w 9905999"/>
              <a:gd name="connsiteY311" fmla="*/ 0 h 2265361"/>
              <a:gd name="connsiteX312" fmla="*/ 1736724 w 9905999"/>
              <a:gd name="connsiteY312" fmla="*/ 1214437 h 2265361"/>
              <a:gd name="connsiteX313" fmla="*/ 1503362 w 9905999"/>
              <a:gd name="connsiteY313" fmla="*/ 1214437 h 2265361"/>
              <a:gd name="connsiteX314" fmla="*/ 1503362 w 9905999"/>
              <a:gd name="connsiteY314" fmla="*/ 419100 h 2265361"/>
              <a:gd name="connsiteX315" fmla="*/ 1216024 w 9905999"/>
              <a:gd name="connsiteY315" fmla="*/ 1196975 h 2265361"/>
              <a:gd name="connsiteX316" fmla="*/ 1039812 w 9905999"/>
              <a:gd name="connsiteY316" fmla="*/ 1196975 h 2265361"/>
              <a:gd name="connsiteX317" fmla="*/ 754062 w 9905999"/>
              <a:gd name="connsiteY317" fmla="*/ 409575 h 2265361"/>
              <a:gd name="connsiteX318" fmla="*/ 754062 w 9905999"/>
              <a:gd name="connsiteY318" fmla="*/ 1214437 h 2265361"/>
              <a:gd name="connsiteX319" fmla="*/ 520699 w 9905999"/>
              <a:gd name="connsiteY319" fmla="*/ 1214437 h 2265361"/>
              <a:gd name="connsiteX320" fmla="*/ 25400 w 9905999"/>
              <a:gd name="connsiteY320" fmla="*/ 0 h 2265361"/>
              <a:gd name="connsiteX321" fmla="*/ 268288 w 9905999"/>
              <a:gd name="connsiteY321" fmla="*/ 0 h 2265361"/>
              <a:gd name="connsiteX322" fmla="*/ 268288 w 9905999"/>
              <a:gd name="connsiteY322" fmla="*/ 1214437 h 2265361"/>
              <a:gd name="connsiteX323" fmla="*/ 25400 w 9905999"/>
              <a:gd name="connsiteY323" fmla="*/ 1214437 h 226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</a:cxnLst>
            <a:rect l="l" t="t" r="r" b="b"/>
            <a:pathLst>
              <a:path w="9905999" h="2265361">
                <a:moveTo>
                  <a:pt x="6778122" y="2222531"/>
                </a:moveTo>
                <a:cubicBezTo>
                  <a:pt x="6778122" y="2222531"/>
                  <a:pt x="6778122" y="2222531"/>
                  <a:pt x="7135812" y="2222531"/>
                </a:cubicBezTo>
                <a:lnTo>
                  <a:pt x="7135812" y="2265361"/>
                </a:lnTo>
                <a:cubicBezTo>
                  <a:pt x="7135812" y="2265361"/>
                  <a:pt x="7135812" y="2265361"/>
                  <a:pt x="6778122" y="2265361"/>
                </a:cubicBezTo>
                <a:cubicBezTo>
                  <a:pt x="6778122" y="2265361"/>
                  <a:pt x="6778122" y="2265361"/>
                  <a:pt x="6778122" y="2222531"/>
                </a:cubicBezTo>
                <a:close/>
                <a:moveTo>
                  <a:pt x="6449676" y="1769427"/>
                </a:moveTo>
                <a:cubicBezTo>
                  <a:pt x="6449676" y="1769427"/>
                  <a:pt x="6449676" y="1769427"/>
                  <a:pt x="6449676" y="1965546"/>
                </a:cubicBezTo>
                <a:cubicBezTo>
                  <a:pt x="6449676" y="1965546"/>
                  <a:pt x="6449676" y="1965546"/>
                  <a:pt x="6575655" y="1965546"/>
                </a:cubicBezTo>
                <a:cubicBezTo>
                  <a:pt x="6643144" y="1965546"/>
                  <a:pt x="6679138" y="1933987"/>
                  <a:pt x="6679138" y="1864105"/>
                </a:cubicBezTo>
                <a:cubicBezTo>
                  <a:pt x="6679138" y="1800986"/>
                  <a:pt x="6638645" y="1769427"/>
                  <a:pt x="6575655" y="1769427"/>
                </a:cubicBezTo>
                <a:cubicBezTo>
                  <a:pt x="6575655" y="1769427"/>
                  <a:pt x="6575655" y="1769427"/>
                  <a:pt x="6449676" y="1769427"/>
                </a:cubicBezTo>
                <a:close/>
                <a:moveTo>
                  <a:pt x="5021164" y="1769427"/>
                </a:moveTo>
                <a:cubicBezTo>
                  <a:pt x="5021164" y="1769427"/>
                  <a:pt x="5021164" y="1769427"/>
                  <a:pt x="5021164" y="1949767"/>
                </a:cubicBezTo>
                <a:cubicBezTo>
                  <a:pt x="5021164" y="1949767"/>
                  <a:pt x="5021164" y="1949767"/>
                  <a:pt x="5158391" y="1949767"/>
                </a:cubicBezTo>
                <a:cubicBezTo>
                  <a:pt x="5219131" y="1949767"/>
                  <a:pt x="5261874" y="1924970"/>
                  <a:pt x="5261874" y="1859597"/>
                </a:cubicBezTo>
                <a:cubicBezTo>
                  <a:pt x="5261874" y="1794223"/>
                  <a:pt x="5219131" y="1769427"/>
                  <a:pt x="5158391" y="1769427"/>
                </a:cubicBezTo>
                <a:cubicBezTo>
                  <a:pt x="5158391" y="1769427"/>
                  <a:pt x="5158391" y="1769427"/>
                  <a:pt x="5021164" y="1769427"/>
                </a:cubicBezTo>
                <a:close/>
                <a:moveTo>
                  <a:pt x="5597068" y="1762664"/>
                </a:moveTo>
                <a:cubicBezTo>
                  <a:pt x="5563324" y="1762664"/>
                  <a:pt x="5529579" y="1776189"/>
                  <a:pt x="5504834" y="1800986"/>
                </a:cubicBezTo>
                <a:cubicBezTo>
                  <a:pt x="5462091" y="1843817"/>
                  <a:pt x="5459841" y="1913699"/>
                  <a:pt x="5459841" y="1967800"/>
                </a:cubicBezTo>
                <a:cubicBezTo>
                  <a:pt x="5459841" y="2019648"/>
                  <a:pt x="5462091" y="2089530"/>
                  <a:pt x="5504834" y="2132361"/>
                </a:cubicBezTo>
                <a:cubicBezTo>
                  <a:pt x="5529579" y="2159412"/>
                  <a:pt x="5563324" y="2170683"/>
                  <a:pt x="5597068" y="2170683"/>
                </a:cubicBezTo>
                <a:cubicBezTo>
                  <a:pt x="5633062" y="2170683"/>
                  <a:pt x="5666807" y="2159412"/>
                  <a:pt x="5691552" y="2132361"/>
                </a:cubicBezTo>
                <a:cubicBezTo>
                  <a:pt x="5732046" y="2089530"/>
                  <a:pt x="5734295" y="2019648"/>
                  <a:pt x="5734295" y="1967800"/>
                </a:cubicBezTo>
                <a:cubicBezTo>
                  <a:pt x="5734295" y="1913699"/>
                  <a:pt x="5732046" y="1843817"/>
                  <a:pt x="5691552" y="1800986"/>
                </a:cubicBezTo>
                <a:cubicBezTo>
                  <a:pt x="5666807" y="1776189"/>
                  <a:pt x="5633062" y="1762664"/>
                  <a:pt x="5597068" y="1762664"/>
                </a:cubicBezTo>
                <a:close/>
                <a:moveTo>
                  <a:pt x="654642" y="1762664"/>
                </a:moveTo>
                <a:cubicBezTo>
                  <a:pt x="618647" y="1762664"/>
                  <a:pt x="584903" y="1776189"/>
                  <a:pt x="560157" y="1800986"/>
                </a:cubicBezTo>
                <a:cubicBezTo>
                  <a:pt x="519664" y="1843817"/>
                  <a:pt x="517414" y="1913699"/>
                  <a:pt x="517414" y="1967800"/>
                </a:cubicBezTo>
                <a:cubicBezTo>
                  <a:pt x="517414" y="2019648"/>
                  <a:pt x="519664" y="2089530"/>
                  <a:pt x="560157" y="2132361"/>
                </a:cubicBezTo>
                <a:cubicBezTo>
                  <a:pt x="584903" y="2159412"/>
                  <a:pt x="618647" y="2170683"/>
                  <a:pt x="654642" y="2170683"/>
                </a:cubicBezTo>
                <a:cubicBezTo>
                  <a:pt x="688386" y="2170683"/>
                  <a:pt x="722130" y="2159412"/>
                  <a:pt x="746876" y="2132361"/>
                </a:cubicBezTo>
                <a:cubicBezTo>
                  <a:pt x="789619" y="2089530"/>
                  <a:pt x="791868" y="2019648"/>
                  <a:pt x="791868" y="1967800"/>
                </a:cubicBezTo>
                <a:cubicBezTo>
                  <a:pt x="791868" y="1913699"/>
                  <a:pt x="789619" y="1843817"/>
                  <a:pt x="746876" y="1800986"/>
                </a:cubicBezTo>
                <a:cubicBezTo>
                  <a:pt x="722130" y="1776189"/>
                  <a:pt x="688386" y="1762664"/>
                  <a:pt x="654642" y="1762664"/>
                </a:cubicBezTo>
                <a:close/>
                <a:moveTo>
                  <a:pt x="6386687" y="1710816"/>
                </a:moveTo>
                <a:cubicBezTo>
                  <a:pt x="6386687" y="1710816"/>
                  <a:pt x="6386687" y="1710816"/>
                  <a:pt x="6575655" y="1710816"/>
                </a:cubicBezTo>
                <a:cubicBezTo>
                  <a:pt x="6636395" y="1710816"/>
                  <a:pt x="6679138" y="1726596"/>
                  <a:pt x="6706134" y="1755901"/>
                </a:cubicBezTo>
                <a:cubicBezTo>
                  <a:pt x="6730880" y="1782952"/>
                  <a:pt x="6744377" y="1821274"/>
                  <a:pt x="6744377" y="1864105"/>
                </a:cubicBezTo>
                <a:cubicBezTo>
                  <a:pt x="6744377" y="1915953"/>
                  <a:pt x="6730880" y="1954275"/>
                  <a:pt x="6701634" y="1981326"/>
                </a:cubicBezTo>
                <a:cubicBezTo>
                  <a:pt x="6674639" y="2008377"/>
                  <a:pt x="6634146" y="2024157"/>
                  <a:pt x="6577905" y="2024157"/>
                </a:cubicBezTo>
                <a:cubicBezTo>
                  <a:pt x="6577905" y="2024157"/>
                  <a:pt x="6577905" y="2024157"/>
                  <a:pt x="6449676" y="2024157"/>
                </a:cubicBezTo>
                <a:cubicBezTo>
                  <a:pt x="6449676" y="2024157"/>
                  <a:pt x="6449676" y="2024157"/>
                  <a:pt x="6449676" y="2222531"/>
                </a:cubicBezTo>
                <a:cubicBezTo>
                  <a:pt x="6449676" y="2222531"/>
                  <a:pt x="6449676" y="2222531"/>
                  <a:pt x="6386687" y="2222531"/>
                </a:cubicBezTo>
                <a:cubicBezTo>
                  <a:pt x="6386687" y="2222531"/>
                  <a:pt x="6386687" y="2222531"/>
                  <a:pt x="6386687" y="1710816"/>
                </a:cubicBezTo>
                <a:close/>
                <a:moveTo>
                  <a:pt x="5889520" y="1710816"/>
                </a:moveTo>
                <a:cubicBezTo>
                  <a:pt x="5889520" y="1710816"/>
                  <a:pt x="5889520" y="1710816"/>
                  <a:pt x="5954759" y="1710816"/>
                </a:cubicBezTo>
                <a:cubicBezTo>
                  <a:pt x="5954759" y="1710816"/>
                  <a:pt x="5954759" y="1710816"/>
                  <a:pt x="5954759" y="2035428"/>
                </a:cubicBezTo>
                <a:cubicBezTo>
                  <a:pt x="5954759" y="2118835"/>
                  <a:pt x="5988503" y="2172937"/>
                  <a:pt x="6076239" y="2172937"/>
                </a:cubicBezTo>
                <a:cubicBezTo>
                  <a:pt x="6166224" y="2172937"/>
                  <a:pt x="6199968" y="2118835"/>
                  <a:pt x="6199968" y="2035428"/>
                </a:cubicBezTo>
                <a:cubicBezTo>
                  <a:pt x="6199968" y="2035428"/>
                  <a:pt x="6199968" y="2035428"/>
                  <a:pt x="6199968" y="1710816"/>
                </a:cubicBezTo>
                <a:cubicBezTo>
                  <a:pt x="6199968" y="1710816"/>
                  <a:pt x="6199968" y="1710816"/>
                  <a:pt x="6262957" y="1710816"/>
                </a:cubicBezTo>
                <a:cubicBezTo>
                  <a:pt x="6262957" y="1710816"/>
                  <a:pt x="6262957" y="1710816"/>
                  <a:pt x="6262957" y="2035428"/>
                </a:cubicBezTo>
                <a:cubicBezTo>
                  <a:pt x="6262957" y="2163920"/>
                  <a:pt x="6190969" y="2231547"/>
                  <a:pt x="6076239" y="2231547"/>
                </a:cubicBezTo>
                <a:cubicBezTo>
                  <a:pt x="5961508" y="2231547"/>
                  <a:pt x="5889520" y="2163920"/>
                  <a:pt x="5889520" y="2035428"/>
                </a:cubicBezTo>
                <a:cubicBezTo>
                  <a:pt x="5889520" y="2035428"/>
                  <a:pt x="5889520" y="2035428"/>
                  <a:pt x="5889520" y="1710816"/>
                </a:cubicBezTo>
                <a:close/>
                <a:moveTo>
                  <a:pt x="4958174" y="1710816"/>
                </a:moveTo>
                <a:cubicBezTo>
                  <a:pt x="4958174" y="1710816"/>
                  <a:pt x="4958174" y="1710816"/>
                  <a:pt x="5158391" y="1710816"/>
                </a:cubicBezTo>
                <a:cubicBezTo>
                  <a:pt x="5219131" y="1710816"/>
                  <a:pt x="5259624" y="1726596"/>
                  <a:pt x="5288869" y="1755901"/>
                </a:cubicBezTo>
                <a:cubicBezTo>
                  <a:pt x="5313615" y="1782952"/>
                  <a:pt x="5329363" y="1814512"/>
                  <a:pt x="5329363" y="1859597"/>
                </a:cubicBezTo>
                <a:cubicBezTo>
                  <a:pt x="5329363" y="1904682"/>
                  <a:pt x="5313615" y="1936241"/>
                  <a:pt x="5288869" y="1961038"/>
                </a:cubicBezTo>
                <a:cubicBezTo>
                  <a:pt x="5275372" y="1976817"/>
                  <a:pt x="5252875" y="1990343"/>
                  <a:pt x="5228130" y="1997106"/>
                </a:cubicBezTo>
                <a:cubicBezTo>
                  <a:pt x="5228130" y="1997106"/>
                  <a:pt x="5228130" y="1997106"/>
                  <a:pt x="5331612" y="2222531"/>
                </a:cubicBezTo>
                <a:lnTo>
                  <a:pt x="5259624" y="2222531"/>
                </a:lnTo>
                <a:cubicBezTo>
                  <a:pt x="5259624" y="2222531"/>
                  <a:pt x="5259624" y="2222531"/>
                  <a:pt x="5162890" y="2010631"/>
                </a:cubicBezTo>
                <a:cubicBezTo>
                  <a:pt x="5162890" y="2010631"/>
                  <a:pt x="5162890" y="2010631"/>
                  <a:pt x="5021164" y="2010631"/>
                </a:cubicBezTo>
                <a:cubicBezTo>
                  <a:pt x="5021164" y="2010631"/>
                  <a:pt x="5021164" y="2010631"/>
                  <a:pt x="5021164" y="2222531"/>
                </a:cubicBezTo>
                <a:cubicBezTo>
                  <a:pt x="5021164" y="2222531"/>
                  <a:pt x="5021164" y="2222531"/>
                  <a:pt x="4958174" y="2222531"/>
                </a:cubicBezTo>
                <a:cubicBezTo>
                  <a:pt x="4958174" y="2222531"/>
                  <a:pt x="4958174" y="2222531"/>
                  <a:pt x="4958174" y="1710816"/>
                </a:cubicBezTo>
                <a:close/>
                <a:moveTo>
                  <a:pt x="3309199" y="1710816"/>
                </a:moveTo>
                <a:cubicBezTo>
                  <a:pt x="3309199" y="1710816"/>
                  <a:pt x="3309199" y="1710816"/>
                  <a:pt x="3381187" y="1710816"/>
                </a:cubicBezTo>
                <a:cubicBezTo>
                  <a:pt x="3381187" y="1710816"/>
                  <a:pt x="3381187" y="1710816"/>
                  <a:pt x="3633145" y="2123344"/>
                </a:cubicBezTo>
                <a:cubicBezTo>
                  <a:pt x="3633145" y="2123344"/>
                  <a:pt x="3633145" y="2123344"/>
                  <a:pt x="3633145" y="1710816"/>
                </a:cubicBezTo>
                <a:cubicBezTo>
                  <a:pt x="3633145" y="1710816"/>
                  <a:pt x="3633145" y="1710816"/>
                  <a:pt x="3693885" y="1710816"/>
                </a:cubicBezTo>
                <a:cubicBezTo>
                  <a:pt x="3693885" y="1710816"/>
                  <a:pt x="3693885" y="1710816"/>
                  <a:pt x="3693885" y="2222531"/>
                </a:cubicBezTo>
                <a:lnTo>
                  <a:pt x="3621897" y="2222531"/>
                </a:lnTo>
                <a:cubicBezTo>
                  <a:pt x="3621897" y="2222531"/>
                  <a:pt x="3621897" y="2222531"/>
                  <a:pt x="3372188" y="1810003"/>
                </a:cubicBezTo>
                <a:cubicBezTo>
                  <a:pt x="3372188" y="1810003"/>
                  <a:pt x="3372188" y="1810003"/>
                  <a:pt x="3372188" y="2222531"/>
                </a:cubicBezTo>
                <a:cubicBezTo>
                  <a:pt x="3372188" y="2222531"/>
                  <a:pt x="3372188" y="2222531"/>
                  <a:pt x="3309199" y="2222531"/>
                </a:cubicBezTo>
                <a:cubicBezTo>
                  <a:pt x="3309199" y="2222531"/>
                  <a:pt x="3309199" y="2222531"/>
                  <a:pt x="3309199" y="1710816"/>
                </a:cubicBezTo>
                <a:close/>
                <a:moveTo>
                  <a:pt x="3106732" y="1710816"/>
                </a:moveTo>
                <a:cubicBezTo>
                  <a:pt x="3106732" y="1710816"/>
                  <a:pt x="3106732" y="1710816"/>
                  <a:pt x="3171971" y="1710816"/>
                </a:cubicBezTo>
                <a:lnTo>
                  <a:pt x="3171971" y="2222531"/>
                </a:lnTo>
                <a:cubicBezTo>
                  <a:pt x="3171971" y="2222531"/>
                  <a:pt x="3171971" y="2222531"/>
                  <a:pt x="3106732" y="2222531"/>
                </a:cubicBezTo>
                <a:cubicBezTo>
                  <a:pt x="3106732" y="2222531"/>
                  <a:pt x="3106732" y="2222531"/>
                  <a:pt x="3106732" y="1710816"/>
                </a:cubicBezTo>
                <a:close/>
                <a:moveTo>
                  <a:pt x="2663557" y="1710816"/>
                </a:moveTo>
                <a:cubicBezTo>
                  <a:pt x="2663557" y="1710816"/>
                  <a:pt x="2663557" y="1710816"/>
                  <a:pt x="3032495" y="1710816"/>
                </a:cubicBezTo>
                <a:cubicBezTo>
                  <a:pt x="3032495" y="1710816"/>
                  <a:pt x="3032495" y="1710816"/>
                  <a:pt x="3032495" y="1769427"/>
                </a:cubicBezTo>
                <a:lnTo>
                  <a:pt x="2879521" y="1769427"/>
                </a:lnTo>
                <a:cubicBezTo>
                  <a:pt x="2879521" y="1769427"/>
                  <a:pt x="2879521" y="1769427"/>
                  <a:pt x="2879521" y="2222531"/>
                </a:cubicBezTo>
                <a:cubicBezTo>
                  <a:pt x="2879521" y="2222531"/>
                  <a:pt x="2879521" y="2222531"/>
                  <a:pt x="2814282" y="2222531"/>
                </a:cubicBezTo>
                <a:cubicBezTo>
                  <a:pt x="2814282" y="2222531"/>
                  <a:pt x="2814282" y="2222531"/>
                  <a:pt x="2814282" y="1769427"/>
                </a:cubicBezTo>
                <a:cubicBezTo>
                  <a:pt x="2814282" y="1769427"/>
                  <a:pt x="2814282" y="1769427"/>
                  <a:pt x="2663557" y="1769427"/>
                </a:cubicBezTo>
                <a:cubicBezTo>
                  <a:pt x="2663557" y="1769427"/>
                  <a:pt x="2663557" y="1769427"/>
                  <a:pt x="2663557" y="1710816"/>
                </a:cubicBezTo>
                <a:close/>
                <a:moveTo>
                  <a:pt x="2416099" y="1710816"/>
                </a:moveTo>
                <a:cubicBezTo>
                  <a:pt x="2416099" y="1710816"/>
                  <a:pt x="2416099" y="1710816"/>
                  <a:pt x="2481338" y="1710816"/>
                </a:cubicBezTo>
                <a:cubicBezTo>
                  <a:pt x="2481338" y="1710816"/>
                  <a:pt x="2481338" y="1710816"/>
                  <a:pt x="2481338" y="2163920"/>
                </a:cubicBezTo>
                <a:cubicBezTo>
                  <a:pt x="2481338" y="2163920"/>
                  <a:pt x="2481338" y="2163920"/>
                  <a:pt x="2726547" y="2163920"/>
                </a:cubicBezTo>
                <a:cubicBezTo>
                  <a:pt x="2726547" y="2163920"/>
                  <a:pt x="2726547" y="2163920"/>
                  <a:pt x="2726547" y="2222531"/>
                </a:cubicBezTo>
                <a:lnTo>
                  <a:pt x="2416099" y="2222531"/>
                </a:lnTo>
                <a:cubicBezTo>
                  <a:pt x="2416099" y="2222531"/>
                  <a:pt x="2416099" y="2222531"/>
                  <a:pt x="2416099" y="1710816"/>
                </a:cubicBezTo>
                <a:close/>
                <a:moveTo>
                  <a:pt x="1918931" y="1710816"/>
                </a:moveTo>
                <a:cubicBezTo>
                  <a:pt x="1918931" y="1710816"/>
                  <a:pt x="1918931" y="1710816"/>
                  <a:pt x="1984171" y="1710816"/>
                </a:cubicBezTo>
                <a:cubicBezTo>
                  <a:pt x="1984171" y="1710816"/>
                  <a:pt x="1984171" y="1710816"/>
                  <a:pt x="1984171" y="2035428"/>
                </a:cubicBezTo>
                <a:cubicBezTo>
                  <a:pt x="1984171" y="2118835"/>
                  <a:pt x="2017916" y="2172937"/>
                  <a:pt x="2105651" y="2172937"/>
                </a:cubicBezTo>
                <a:cubicBezTo>
                  <a:pt x="2195636" y="2172937"/>
                  <a:pt x="2229380" y="2118835"/>
                  <a:pt x="2229380" y="2035428"/>
                </a:cubicBezTo>
                <a:cubicBezTo>
                  <a:pt x="2229380" y="2035428"/>
                  <a:pt x="2229380" y="2035428"/>
                  <a:pt x="2229380" y="1710816"/>
                </a:cubicBezTo>
                <a:cubicBezTo>
                  <a:pt x="2229380" y="1710816"/>
                  <a:pt x="2229380" y="1710816"/>
                  <a:pt x="2292369" y="1710816"/>
                </a:cubicBezTo>
                <a:cubicBezTo>
                  <a:pt x="2292369" y="1710816"/>
                  <a:pt x="2292369" y="1710816"/>
                  <a:pt x="2292369" y="2035428"/>
                </a:cubicBezTo>
                <a:cubicBezTo>
                  <a:pt x="2292369" y="2163920"/>
                  <a:pt x="2220382" y="2231547"/>
                  <a:pt x="2105651" y="2231547"/>
                </a:cubicBezTo>
                <a:cubicBezTo>
                  <a:pt x="1990920" y="2231547"/>
                  <a:pt x="1918931" y="2163920"/>
                  <a:pt x="1918931" y="2035428"/>
                </a:cubicBezTo>
                <a:cubicBezTo>
                  <a:pt x="1918931" y="2035428"/>
                  <a:pt x="1918931" y="2035428"/>
                  <a:pt x="1918931" y="1710816"/>
                </a:cubicBezTo>
                <a:close/>
                <a:moveTo>
                  <a:pt x="960591" y="1710816"/>
                </a:moveTo>
                <a:cubicBezTo>
                  <a:pt x="960591" y="1710816"/>
                  <a:pt x="960591" y="1710816"/>
                  <a:pt x="1032578" y="1710816"/>
                </a:cubicBezTo>
                <a:cubicBezTo>
                  <a:pt x="1032578" y="1710816"/>
                  <a:pt x="1032578" y="1710816"/>
                  <a:pt x="1284537" y="2123344"/>
                </a:cubicBezTo>
                <a:cubicBezTo>
                  <a:pt x="1284537" y="2123344"/>
                  <a:pt x="1284537" y="2123344"/>
                  <a:pt x="1284537" y="1710816"/>
                </a:cubicBezTo>
                <a:cubicBezTo>
                  <a:pt x="1284537" y="1710816"/>
                  <a:pt x="1284537" y="1710816"/>
                  <a:pt x="1345276" y="1710816"/>
                </a:cubicBezTo>
                <a:cubicBezTo>
                  <a:pt x="1345276" y="1710816"/>
                  <a:pt x="1345276" y="1710816"/>
                  <a:pt x="1345276" y="2222531"/>
                </a:cubicBezTo>
                <a:lnTo>
                  <a:pt x="1273289" y="2222531"/>
                </a:lnTo>
                <a:cubicBezTo>
                  <a:pt x="1273289" y="2222531"/>
                  <a:pt x="1273289" y="2222531"/>
                  <a:pt x="1023580" y="1810003"/>
                </a:cubicBezTo>
                <a:cubicBezTo>
                  <a:pt x="1023580" y="1810003"/>
                  <a:pt x="1023580" y="1810003"/>
                  <a:pt x="1023580" y="2222531"/>
                </a:cubicBezTo>
                <a:cubicBezTo>
                  <a:pt x="1023580" y="2222531"/>
                  <a:pt x="1023580" y="2222531"/>
                  <a:pt x="960591" y="2222531"/>
                </a:cubicBezTo>
                <a:cubicBezTo>
                  <a:pt x="960591" y="2222531"/>
                  <a:pt x="960591" y="2222531"/>
                  <a:pt x="960591" y="1710816"/>
                </a:cubicBezTo>
                <a:close/>
                <a:moveTo>
                  <a:pt x="5597068" y="1701799"/>
                </a:moveTo>
                <a:cubicBezTo>
                  <a:pt x="5648810" y="1701799"/>
                  <a:pt x="5698301" y="1719833"/>
                  <a:pt x="5736545" y="1755901"/>
                </a:cubicBezTo>
                <a:cubicBezTo>
                  <a:pt x="5790536" y="1810003"/>
                  <a:pt x="5801784" y="1884393"/>
                  <a:pt x="5801784" y="1967800"/>
                </a:cubicBezTo>
                <a:cubicBezTo>
                  <a:pt x="5801784" y="2048953"/>
                  <a:pt x="5790536" y="2123344"/>
                  <a:pt x="5736545" y="2177446"/>
                </a:cubicBezTo>
                <a:cubicBezTo>
                  <a:pt x="5698301" y="2213514"/>
                  <a:pt x="5648810" y="2233802"/>
                  <a:pt x="5597068" y="2233802"/>
                </a:cubicBezTo>
                <a:cubicBezTo>
                  <a:pt x="5547576" y="2233802"/>
                  <a:pt x="5495835" y="2213514"/>
                  <a:pt x="5459841" y="2177446"/>
                </a:cubicBezTo>
                <a:cubicBezTo>
                  <a:pt x="5403600" y="2123344"/>
                  <a:pt x="5394602" y="2048953"/>
                  <a:pt x="5394602" y="1967800"/>
                </a:cubicBezTo>
                <a:cubicBezTo>
                  <a:pt x="5394602" y="1884393"/>
                  <a:pt x="5403600" y="1810003"/>
                  <a:pt x="5459841" y="1755901"/>
                </a:cubicBezTo>
                <a:cubicBezTo>
                  <a:pt x="5495835" y="1719833"/>
                  <a:pt x="5547576" y="1701799"/>
                  <a:pt x="5597068" y="1701799"/>
                </a:cubicBezTo>
                <a:close/>
                <a:moveTo>
                  <a:pt x="4645477" y="1701799"/>
                </a:moveTo>
                <a:cubicBezTo>
                  <a:pt x="4701717" y="1701799"/>
                  <a:pt x="4755708" y="1722087"/>
                  <a:pt x="4791702" y="1758155"/>
                </a:cubicBezTo>
                <a:cubicBezTo>
                  <a:pt x="4816448" y="1785206"/>
                  <a:pt x="4832195" y="1816766"/>
                  <a:pt x="4834445" y="1859597"/>
                </a:cubicBezTo>
                <a:cubicBezTo>
                  <a:pt x="4834445" y="1859597"/>
                  <a:pt x="4834445" y="1859597"/>
                  <a:pt x="4766956" y="1859597"/>
                </a:cubicBezTo>
                <a:cubicBezTo>
                  <a:pt x="4764707" y="1834800"/>
                  <a:pt x="4757958" y="1819020"/>
                  <a:pt x="4744460" y="1803240"/>
                </a:cubicBezTo>
                <a:cubicBezTo>
                  <a:pt x="4721964" y="1773935"/>
                  <a:pt x="4685970" y="1762664"/>
                  <a:pt x="4645477" y="1762664"/>
                </a:cubicBezTo>
                <a:cubicBezTo>
                  <a:pt x="4609482" y="1762664"/>
                  <a:pt x="4575738" y="1776189"/>
                  <a:pt x="4550992" y="1800986"/>
                </a:cubicBezTo>
                <a:cubicBezTo>
                  <a:pt x="4510499" y="1843817"/>
                  <a:pt x="4506000" y="1913699"/>
                  <a:pt x="4506000" y="1967800"/>
                </a:cubicBezTo>
                <a:cubicBezTo>
                  <a:pt x="4506000" y="2017394"/>
                  <a:pt x="4510499" y="2091784"/>
                  <a:pt x="4553242" y="2134615"/>
                </a:cubicBezTo>
                <a:cubicBezTo>
                  <a:pt x="4577988" y="2161666"/>
                  <a:pt x="4609482" y="2172937"/>
                  <a:pt x="4645477" y="2172937"/>
                </a:cubicBezTo>
                <a:cubicBezTo>
                  <a:pt x="4681471" y="2172937"/>
                  <a:pt x="4715215" y="2159412"/>
                  <a:pt x="4737711" y="2136869"/>
                </a:cubicBezTo>
                <a:cubicBezTo>
                  <a:pt x="4771456" y="2103055"/>
                  <a:pt x="4780454" y="2053462"/>
                  <a:pt x="4780454" y="2006123"/>
                </a:cubicBezTo>
                <a:cubicBezTo>
                  <a:pt x="4780454" y="2006123"/>
                  <a:pt x="4780454" y="2006123"/>
                  <a:pt x="4645477" y="2006123"/>
                </a:cubicBezTo>
                <a:cubicBezTo>
                  <a:pt x="4645477" y="2006123"/>
                  <a:pt x="4645477" y="2006123"/>
                  <a:pt x="4645477" y="1947512"/>
                </a:cubicBezTo>
                <a:cubicBezTo>
                  <a:pt x="4645477" y="1947512"/>
                  <a:pt x="4645477" y="1947512"/>
                  <a:pt x="4838944" y="1947512"/>
                </a:cubicBezTo>
                <a:cubicBezTo>
                  <a:pt x="4838944" y="1947512"/>
                  <a:pt x="4838944" y="1947512"/>
                  <a:pt x="4838944" y="2222531"/>
                </a:cubicBezTo>
                <a:lnTo>
                  <a:pt x="4793952" y="2222531"/>
                </a:lnTo>
                <a:cubicBezTo>
                  <a:pt x="4793952" y="2222531"/>
                  <a:pt x="4793952" y="2222531"/>
                  <a:pt x="4782704" y="2161666"/>
                </a:cubicBezTo>
                <a:cubicBezTo>
                  <a:pt x="4757958" y="2204497"/>
                  <a:pt x="4701717" y="2233802"/>
                  <a:pt x="4645477" y="2233802"/>
                </a:cubicBezTo>
                <a:cubicBezTo>
                  <a:pt x="4593735" y="2233802"/>
                  <a:pt x="4544243" y="2215768"/>
                  <a:pt x="4506000" y="2179700"/>
                </a:cubicBezTo>
                <a:cubicBezTo>
                  <a:pt x="4454258" y="2130106"/>
                  <a:pt x="4440761" y="2057970"/>
                  <a:pt x="4440761" y="1967800"/>
                </a:cubicBezTo>
                <a:cubicBezTo>
                  <a:pt x="4440761" y="1884393"/>
                  <a:pt x="4452009" y="1810003"/>
                  <a:pt x="4506000" y="1755901"/>
                </a:cubicBezTo>
                <a:cubicBezTo>
                  <a:pt x="4544243" y="1719833"/>
                  <a:pt x="4593735" y="1701799"/>
                  <a:pt x="4645477" y="1701799"/>
                </a:cubicBezTo>
                <a:close/>
                <a:moveTo>
                  <a:pt x="4002083" y="1701799"/>
                </a:moveTo>
                <a:cubicBezTo>
                  <a:pt x="4060574" y="1701799"/>
                  <a:pt x="4112315" y="1722087"/>
                  <a:pt x="4148309" y="1758155"/>
                </a:cubicBezTo>
                <a:cubicBezTo>
                  <a:pt x="4173055" y="1785206"/>
                  <a:pt x="4191052" y="1816766"/>
                  <a:pt x="4193302" y="1859597"/>
                </a:cubicBezTo>
                <a:cubicBezTo>
                  <a:pt x="4193302" y="1859597"/>
                  <a:pt x="4193302" y="1859597"/>
                  <a:pt x="4125813" y="1859597"/>
                </a:cubicBezTo>
                <a:cubicBezTo>
                  <a:pt x="4123563" y="1834800"/>
                  <a:pt x="4114565" y="1819020"/>
                  <a:pt x="4103317" y="1803240"/>
                </a:cubicBezTo>
                <a:cubicBezTo>
                  <a:pt x="4078571" y="1773935"/>
                  <a:pt x="4044826" y="1762664"/>
                  <a:pt x="4002083" y="1762664"/>
                </a:cubicBezTo>
                <a:cubicBezTo>
                  <a:pt x="3968339" y="1762664"/>
                  <a:pt x="3934595" y="1776189"/>
                  <a:pt x="3909849" y="1800986"/>
                </a:cubicBezTo>
                <a:cubicBezTo>
                  <a:pt x="3867106" y="1843817"/>
                  <a:pt x="3864856" y="1913699"/>
                  <a:pt x="3864856" y="1967800"/>
                </a:cubicBezTo>
                <a:cubicBezTo>
                  <a:pt x="3864856" y="2017394"/>
                  <a:pt x="3867106" y="2091784"/>
                  <a:pt x="3909849" y="2134615"/>
                </a:cubicBezTo>
                <a:cubicBezTo>
                  <a:pt x="3934595" y="2161666"/>
                  <a:pt x="3968339" y="2172937"/>
                  <a:pt x="4002083" y="2172937"/>
                </a:cubicBezTo>
                <a:cubicBezTo>
                  <a:pt x="4038077" y="2172937"/>
                  <a:pt x="4071822" y="2159412"/>
                  <a:pt x="4094318" y="2136869"/>
                </a:cubicBezTo>
                <a:cubicBezTo>
                  <a:pt x="4130312" y="2103055"/>
                  <a:pt x="4139311" y="2053462"/>
                  <a:pt x="4139311" y="2006123"/>
                </a:cubicBezTo>
                <a:cubicBezTo>
                  <a:pt x="4139311" y="2006123"/>
                  <a:pt x="4139311" y="2006123"/>
                  <a:pt x="4002083" y="2006123"/>
                </a:cubicBezTo>
                <a:cubicBezTo>
                  <a:pt x="4002083" y="2006123"/>
                  <a:pt x="4002083" y="2006123"/>
                  <a:pt x="4002083" y="1947512"/>
                </a:cubicBezTo>
                <a:cubicBezTo>
                  <a:pt x="4002083" y="1947512"/>
                  <a:pt x="4002083" y="1947512"/>
                  <a:pt x="4197801" y="1947512"/>
                </a:cubicBezTo>
                <a:cubicBezTo>
                  <a:pt x="4197801" y="1947512"/>
                  <a:pt x="4197801" y="1947512"/>
                  <a:pt x="4197801" y="2222531"/>
                </a:cubicBezTo>
                <a:lnTo>
                  <a:pt x="4152808" y="2222531"/>
                </a:lnTo>
                <a:cubicBezTo>
                  <a:pt x="4152808" y="2222531"/>
                  <a:pt x="4152808" y="2222531"/>
                  <a:pt x="4141560" y="2161666"/>
                </a:cubicBezTo>
                <a:cubicBezTo>
                  <a:pt x="4116814" y="2204497"/>
                  <a:pt x="4060574" y="2233802"/>
                  <a:pt x="4002083" y="2233802"/>
                </a:cubicBezTo>
                <a:cubicBezTo>
                  <a:pt x="3950342" y="2233802"/>
                  <a:pt x="3900850" y="2215768"/>
                  <a:pt x="3864856" y="2179700"/>
                </a:cubicBezTo>
                <a:cubicBezTo>
                  <a:pt x="3813115" y="2130106"/>
                  <a:pt x="3797367" y="2057970"/>
                  <a:pt x="3797367" y="1967800"/>
                </a:cubicBezTo>
                <a:cubicBezTo>
                  <a:pt x="3797367" y="1884393"/>
                  <a:pt x="3808616" y="1810003"/>
                  <a:pt x="3864856" y="1755901"/>
                </a:cubicBezTo>
                <a:cubicBezTo>
                  <a:pt x="3900850" y="1719833"/>
                  <a:pt x="3950342" y="1701799"/>
                  <a:pt x="4002083" y="1701799"/>
                </a:cubicBezTo>
                <a:close/>
                <a:moveTo>
                  <a:pt x="1642228" y="1701799"/>
                </a:moveTo>
                <a:cubicBezTo>
                  <a:pt x="1691719" y="1701799"/>
                  <a:pt x="1741211" y="1717579"/>
                  <a:pt x="1774955" y="1749138"/>
                </a:cubicBezTo>
                <a:cubicBezTo>
                  <a:pt x="1806450" y="1780698"/>
                  <a:pt x="1822198" y="1816766"/>
                  <a:pt x="1824447" y="1859597"/>
                </a:cubicBezTo>
                <a:cubicBezTo>
                  <a:pt x="1824447" y="1859597"/>
                  <a:pt x="1824447" y="1859597"/>
                  <a:pt x="1756958" y="1859597"/>
                </a:cubicBezTo>
                <a:cubicBezTo>
                  <a:pt x="1754708" y="1834800"/>
                  <a:pt x="1745710" y="1812257"/>
                  <a:pt x="1732212" y="1796478"/>
                </a:cubicBezTo>
                <a:cubicBezTo>
                  <a:pt x="1711966" y="1773935"/>
                  <a:pt x="1680471" y="1760410"/>
                  <a:pt x="1639978" y="1760410"/>
                </a:cubicBezTo>
                <a:cubicBezTo>
                  <a:pt x="1603983" y="1760410"/>
                  <a:pt x="1572489" y="1769427"/>
                  <a:pt x="1549993" y="1796478"/>
                </a:cubicBezTo>
                <a:cubicBezTo>
                  <a:pt x="1536494" y="1810003"/>
                  <a:pt x="1529746" y="1828037"/>
                  <a:pt x="1529746" y="1850580"/>
                </a:cubicBezTo>
                <a:cubicBezTo>
                  <a:pt x="1529746" y="1897919"/>
                  <a:pt x="1567989" y="1918207"/>
                  <a:pt x="1606234" y="1922716"/>
                </a:cubicBezTo>
                <a:cubicBezTo>
                  <a:pt x="1635478" y="1927224"/>
                  <a:pt x="1662474" y="1931733"/>
                  <a:pt x="1691719" y="1936241"/>
                </a:cubicBezTo>
                <a:cubicBezTo>
                  <a:pt x="1774955" y="1949767"/>
                  <a:pt x="1833445" y="2001614"/>
                  <a:pt x="1833445" y="2082767"/>
                </a:cubicBezTo>
                <a:cubicBezTo>
                  <a:pt x="1833445" y="2125598"/>
                  <a:pt x="1815448" y="2157157"/>
                  <a:pt x="1790703" y="2181954"/>
                </a:cubicBezTo>
                <a:cubicBezTo>
                  <a:pt x="1754708" y="2215768"/>
                  <a:pt x="1698468" y="2231547"/>
                  <a:pt x="1644477" y="2231547"/>
                </a:cubicBezTo>
                <a:cubicBezTo>
                  <a:pt x="1581488" y="2231547"/>
                  <a:pt x="1531996" y="2215768"/>
                  <a:pt x="1498251" y="2184208"/>
                </a:cubicBezTo>
                <a:cubicBezTo>
                  <a:pt x="1466757" y="2152649"/>
                  <a:pt x="1444260" y="2109818"/>
                  <a:pt x="1444260" y="2060225"/>
                </a:cubicBezTo>
                <a:cubicBezTo>
                  <a:pt x="1444260" y="2060225"/>
                  <a:pt x="1444260" y="2060225"/>
                  <a:pt x="1509499" y="2060225"/>
                </a:cubicBezTo>
                <a:cubicBezTo>
                  <a:pt x="1509499" y="2091784"/>
                  <a:pt x="1525247" y="2121089"/>
                  <a:pt x="1545494" y="2141378"/>
                </a:cubicBezTo>
                <a:cubicBezTo>
                  <a:pt x="1570239" y="2163920"/>
                  <a:pt x="1608483" y="2172937"/>
                  <a:pt x="1644477" y="2172937"/>
                </a:cubicBezTo>
                <a:cubicBezTo>
                  <a:pt x="1682720" y="2172937"/>
                  <a:pt x="1716465" y="2166174"/>
                  <a:pt x="1738962" y="2143632"/>
                </a:cubicBezTo>
                <a:cubicBezTo>
                  <a:pt x="1754708" y="2130106"/>
                  <a:pt x="1765956" y="2109818"/>
                  <a:pt x="1765956" y="2082767"/>
                </a:cubicBezTo>
                <a:cubicBezTo>
                  <a:pt x="1765956" y="2044445"/>
                  <a:pt x="1741211" y="2010631"/>
                  <a:pt x="1680471" y="2001614"/>
                </a:cubicBezTo>
                <a:cubicBezTo>
                  <a:pt x="1680471" y="2001614"/>
                  <a:pt x="1680471" y="2001614"/>
                  <a:pt x="1599484" y="1988089"/>
                </a:cubicBezTo>
                <a:cubicBezTo>
                  <a:pt x="1522997" y="1976817"/>
                  <a:pt x="1462257" y="1933987"/>
                  <a:pt x="1462257" y="1852834"/>
                </a:cubicBezTo>
                <a:cubicBezTo>
                  <a:pt x="1462257" y="1814512"/>
                  <a:pt x="1480254" y="1778444"/>
                  <a:pt x="1507249" y="1751393"/>
                </a:cubicBezTo>
                <a:cubicBezTo>
                  <a:pt x="1543244" y="1717579"/>
                  <a:pt x="1588236" y="1701799"/>
                  <a:pt x="1642228" y="1701799"/>
                </a:cubicBezTo>
                <a:close/>
                <a:moveTo>
                  <a:pt x="654642" y="1701799"/>
                </a:moveTo>
                <a:cubicBezTo>
                  <a:pt x="704133" y="1701799"/>
                  <a:pt x="755874" y="1719833"/>
                  <a:pt x="791868" y="1755901"/>
                </a:cubicBezTo>
                <a:cubicBezTo>
                  <a:pt x="848110" y="1810003"/>
                  <a:pt x="857108" y="1884393"/>
                  <a:pt x="857108" y="1967800"/>
                </a:cubicBezTo>
                <a:cubicBezTo>
                  <a:pt x="857108" y="2048953"/>
                  <a:pt x="848110" y="2123344"/>
                  <a:pt x="791868" y="2177446"/>
                </a:cubicBezTo>
                <a:cubicBezTo>
                  <a:pt x="755874" y="2213514"/>
                  <a:pt x="704133" y="2233802"/>
                  <a:pt x="654642" y="2233802"/>
                </a:cubicBezTo>
                <a:cubicBezTo>
                  <a:pt x="602900" y="2233802"/>
                  <a:pt x="553408" y="2213514"/>
                  <a:pt x="515164" y="2177446"/>
                </a:cubicBezTo>
                <a:cubicBezTo>
                  <a:pt x="461173" y="2123344"/>
                  <a:pt x="449925" y="2048953"/>
                  <a:pt x="449925" y="1967800"/>
                </a:cubicBezTo>
                <a:cubicBezTo>
                  <a:pt x="449925" y="1884393"/>
                  <a:pt x="461173" y="1810003"/>
                  <a:pt x="515164" y="1755901"/>
                </a:cubicBezTo>
                <a:cubicBezTo>
                  <a:pt x="553408" y="1719833"/>
                  <a:pt x="602900" y="1701799"/>
                  <a:pt x="654642" y="1701799"/>
                </a:cubicBezTo>
                <a:close/>
                <a:moveTo>
                  <a:pt x="202466" y="1701799"/>
                </a:moveTo>
                <a:cubicBezTo>
                  <a:pt x="258707" y="1701799"/>
                  <a:pt x="308199" y="1722087"/>
                  <a:pt x="339693" y="1753647"/>
                </a:cubicBezTo>
                <a:cubicBezTo>
                  <a:pt x="368939" y="1782952"/>
                  <a:pt x="386936" y="1823529"/>
                  <a:pt x="389185" y="1870868"/>
                </a:cubicBezTo>
                <a:cubicBezTo>
                  <a:pt x="389185" y="1870868"/>
                  <a:pt x="389185" y="1870868"/>
                  <a:pt x="323946" y="1870868"/>
                </a:cubicBezTo>
                <a:cubicBezTo>
                  <a:pt x="321697" y="1841563"/>
                  <a:pt x="312698" y="1819020"/>
                  <a:pt x="294701" y="1798732"/>
                </a:cubicBezTo>
                <a:cubicBezTo>
                  <a:pt x="274454" y="1776189"/>
                  <a:pt x="240710" y="1762664"/>
                  <a:pt x="202466" y="1762664"/>
                </a:cubicBezTo>
                <a:cubicBezTo>
                  <a:pt x="168722" y="1762664"/>
                  <a:pt x="134978" y="1776189"/>
                  <a:pt x="110232" y="1800986"/>
                </a:cubicBezTo>
                <a:cubicBezTo>
                  <a:pt x="67489" y="1843817"/>
                  <a:pt x="67489" y="1913699"/>
                  <a:pt x="67489" y="1967800"/>
                </a:cubicBezTo>
                <a:cubicBezTo>
                  <a:pt x="67489" y="2019648"/>
                  <a:pt x="67489" y="2089530"/>
                  <a:pt x="110232" y="2132361"/>
                </a:cubicBezTo>
                <a:cubicBezTo>
                  <a:pt x="134978" y="2159412"/>
                  <a:pt x="168722" y="2172937"/>
                  <a:pt x="202466" y="2172937"/>
                </a:cubicBezTo>
                <a:cubicBezTo>
                  <a:pt x="240710" y="2172937"/>
                  <a:pt x="276704" y="2154903"/>
                  <a:pt x="296951" y="2132361"/>
                </a:cubicBezTo>
                <a:cubicBezTo>
                  <a:pt x="312698" y="2114327"/>
                  <a:pt x="323946" y="2087276"/>
                  <a:pt x="323946" y="2060225"/>
                </a:cubicBezTo>
                <a:cubicBezTo>
                  <a:pt x="323946" y="2060225"/>
                  <a:pt x="323946" y="2060225"/>
                  <a:pt x="391435" y="2060225"/>
                </a:cubicBezTo>
                <a:cubicBezTo>
                  <a:pt x="389185" y="2107564"/>
                  <a:pt x="368939" y="2148140"/>
                  <a:pt x="339693" y="2177446"/>
                </a:cubicBezTo>
                <a:cubicBezTo>
                  <a:pt x="308199" y="2209005"/>
                  <a:pt x="258707" y="2233802"/>
                  <a:pt x="202466" y="2233802"/>
                </a:cubicBezTo>
                <a:cubicBezTo>
                  <a:pt x="150725" y="2233802"/>
                  <a:pt x="101233" y="2213514"/>
                  <a:pt x="65239" y="2177446"/>
                </a:cubicBezTo>
                <a:cubicBezTo>
                  <a:pt x="8999" y="2123344"/>
                  <a:pt x="0" y="2048953"/>
                  <a:pt x="0" y="1967800"/>
                </a:cubicBezTo>
                <a:cubicBezTo>
                  <a:pt x="0" y="1884393"/>
                  <a:pt x="8999" y="1810003"/>
                  <a:pt x="65239" y="1755901"/>
                </a:cubicBezTo>
                <a:cubicBezTo>
                  <a:pt x="101233" y="1719833"/>
                  <a:pt x="150725" y="1701799"/>
                  <a:pt x="202466" y="1701799"/>
                </a:cubicBezTo>
                <a:close/>
                <a:moveTo>
                  <a:pt x="2227389" y="214047"/>
                </a:moveTo>
                <a:cubicBezTo>
                  <a:pt x="2227389" y="214047"/>
                  <a:pt x="2227389" y="214047"/>
                  <a:pt x="2227389" y="574548"/>
                </a:cubicBezTo>
                <a:cubicBezTo>
                  <a:pt x="2227389" y="574548"/>
                  <a:pt x="2227389" y="574548"/>
                  <a:pt x="2456649" y="574548"/>
                </a:cubicBezTo>
                <a:cubicBezTo>
                  <a:pt x="2584765" y="574548"/>
                  <a:pt x="2654442" y="509207"/>
                  <a:pt x="2654442" y="394298"/>
                </a:cubicBezTo>
                <a:cubicBezTo>
                  <a:pt x="2654442" y="277135"/>
                  <a:pt x="2584765" y="214047"/>
                  <a:pt x="2456649" y="214047"/>
                </a:cubicBezTo>
                <a:cubicBezTo>
                  <a:pt x="2456649" y="214047"/>
                  <a:pt x="2456649" y="214047"/>
                  <a:pt x="2227389" y="214047"/>
                </a:cubicBezTo>
                <a:close/>
                <a:moveTo>
                  <a:pt x="8961436" y="0"/>
                </a:moveTo>
                <a:lnTo>
                  <a:pt x="9905999" y="0"/>
                </a:lnTo>
                <a:lnTo>
                  <a:pt x="9905999" y="225425"/>
                </a:lnTo>
                <a:lnTo>
                  <a:pt x="9555161" y="225425"/>
                </a:lnTo>
                <a:lnTo>
                  <a:pt x="9555161" y="1214437"/>
                </a:lnTo>
                <a:lnTo>
                  <a:pt x="9315449" y="1214437"/>
                </a:lnTo>
                <a:lnTo>
                  <a:pt x="9315449" y="225425"/>
                </a:lnTo>
                <a:lnTo>
                  <a:pt x="8961436" y="225425"/>
                </a:lnTo>
                <a:close/>
                <a:moveTo>
                  <a:pt x="7785099" y="0"/>
                </a:moveTo>
                <a:lnTo>
                  <a:pt x="8035924" y="0"/>
                </a:lnTo>
                <a:lnTo>
                  <a:pt x="8037512" y="3175"/>
                </a:lnTo>
                <a:lnTo>
                  <a:pt x="8523286" y="774700"/>
                </a:lnTo>
                <a:lnTo>
                  <a:pt x="8523286" y="0"/>
                </a:lnTo>
                <a:lnTo>
                  <a:pt x="8759824" y="0"/>
                </a:lnTo>
                <a:lnTo>
                  <a:pt x="8759824" y="1214437"/>
                </a:lnTo>
                <a:lnTo>
                  <a:pt x="8518524" y="1214437"/>
                </a:lnTo>
                <a:lnTo>
                  <a:pt x="8024812" y="425450"/>
                </a:lnTo>
                <a:lnTo>
                  <a:pt x="8024812" y="1214437"/>
                </a:lnTo>
                <a:lnTo>
                  <a:pt x="7785099" y="1214437"/>
                </a:lnTo>
                <a:close/>
                <a:moveTo>
                  <a:pt x="6665911" y="0"/>
                </a:moveTo>
                <a:lnTo>
                  <a:pt x="7535861" y="0"/>
                </a:lnTo>
                <a:lnTo>
                  <a:pt x="7535861" y="220663"/>
                </a:lnTo>
                <a:lnTo>
                  <a:pt x="6905624" y="220663"/>
                </a:lnTo>
                <a:lnTo>
                  <a:pt x="6905624" y="473075"/>
                </a:lnTo>
                <a:lnTo>
                  <a:pt x="7459661" y="473075"/>
                </a:lnTo>
                <a:lnTo>
                  <a:pt x="7459661" y="690562"/>
                </a:lnTo>
                <a:lnTo>
                  <a:pt x="6905624" y="690562"/>
                </a:lnTo>
                <a:lnTo>
                  <a:pt x="6905624" y="993775"/>
                </a:lnTo>
                <a:lnTo>
                  <a:pt x="7535861" y="993775"/>
                </a:lnTo>
                <a:lnTo>
                  <a:pt x="7535861" y="1214437"/>
                </a:lnTo>
                <a:lnTo>
                  <a:pt x="6665911" y="1214437"/>
                </a:lnTo>
                <a:close/>
                <a:moveTo>
                  <a:pt x="5221286" y="0"/>
                </a:moveTo>
                <a:lnTo>
                  <a:pt x="5534024" y="0"/>
                </a:lnTo>
                <a:lnTo>
                  <a:pt x="5835649" y="823912"/>
                </a:lnTo>
                <a:lnTo>
                  <a:pt x="6142037" y="0"/>
                </a:lnTo>
                <a:lnTo>
                  <a:pt x="6438899" y="0"/>
                </a:lnTo>
                <a:lnTo>
                  <a:pt x="6438899" y="1214437"/>
                </a:lnTo>
                <a:lnTo>
                  <a:pt x="6203949" y="1214437"/>
                </a:lnTo>
                <a:lnTo>
                  <a:pt x="6203949" y="419100"/>
                </a:lnTo>
                <a:lnTo>
                  <a:pt x="5916612" y="1196975"/>
                </a:lnTo>
                <a:lnTo>
                  <a:pt x="5740399" y="1196975"/>
                </a:lnTo>
                <a:lnTo>
                  <a:pt x="5454649" y="409575"/>
                </a:lnTo>
                <a:lnTo>
                  <a:pt x="5454649" y="1214437"/>
                </a:lnTo>
                <a:lnTo>
                  <a:pt x="5221286" y="1214437"/>
                </a:lnTo>
                <a:close/>
                <a:moveTo>
                  <a:pt x="4098924" y="0"/>
                </a:moveTo>
                <a:lnTo>
                  <a:pt x="4968874" y="0"/>
                </a:lnTo>
                <a:lnTo>
                  <a:pt x="4968874" y="220663"/>
                </a:lnTo>
                <a:lnTo>
                  <a:pt x="4340224" y="220663"/>
                </a:lnTo>
                <a:lnTo>
                  <a:pt x="4340224" y="473075"/>
                </a:lnTo>
                <a:lnTo>
                  <a:pt x="4895849" y="473075"/>
                </a:lnTo>
                <a:lnTo>
                  <a:pt x="4895849" y="690562"/>
                </a:lnTo>
                <a:lnTo>
                  <a:pt x="4340224" y="690562"/>
                </a:lnTo>
                <a:lnTo>
                  <a:pt x="4340224" y="993775"/>
                </a:lnTo>
                <a:lnTo>
                  <a:pt x="4968874" y="993775"/>
                </a:lnTo>
                <a:lnTo>
                  <a:pt x="4968874" y="1214437"/>
                </a:lnTo>
                <a:lnTo>
                  <a:pt x="4098924" y="1214437"/>
                </a:lnTo>
                <a:close/>
                <a:moveTo>
                  <a:pt x="3079749" y="0"/>
                </a:moveTo>
                <a:lnTo>
                  <a:pt x="3321049" y="0"/>
                </a:lnTo>
                <a:lnTo>
                  <a:pt x="3321049" y="984250"/>
                </a:lnTo>
                <a:lnTo>
                  <a:pt x="3871912" y="984250"/>
                </a:lnTo>
                <a:lnTo>
                  <a:pt x="3871912" y="1214437"/>
                </a:lnTo>
                <a:lnTo>
                  <a:pt x="3079749" y="1214437"/>
                </a:lnTo>
                <a:close/>
                <a:moveTo>
                  <a:pt x="1989138" y="0"/>
                </a:moveTo>
                <a:cubicBezTo>
                  <a:pt x="1989138" y="0"/>
                  <a:pt x="1989138" y="0"/>
                  <a:pt x="2465639" y="0"/>
                </a:cubicBezTo>
                <a:cubicBezTo>
                  <a:pt x="2735357" y="0"/>
                  <a:pt x="2897188" y="146454"/>
                  <a:pt x="2897188" y="392045"/>
                </a:cubicBezTo>
                <a:cubicBezTo>
                  <a:pt x="2897188" y="639889"/>
                  <a:pt x="2735357" y="786342"/>
                  <a:pt x="2465639" y="786342"/>
                </a:cubicBezTo>
                <a:cubicBezTo>
                  <a:pt x="2465639" y="786342"/>
                  <a:pt x="2465639" y="786342"/>
                  <a:pt x="2227389" y="786342"/>
                </a:cubicBezTo>
                <a:cubicBezTo>
                  <a:pt x="2227389" y="786342"/>
                  <a:pt x="2227389" y="786342"/>
                  <a:pt x="2227389" y="1214437"/>
                </a:cubicBezTo>
                <a:cubicBezTo>
                  <a:pt x="2227389" y="1214437"/>
                  <a:pt x="2227389" y="1214437"/>
                  <a:pt x="1989138" y="1214437"/>
                </a:cubicBezTo>
                <a:cubicBezTo>
                  <a:pt x="1989138" y="1214437"/>
                  <a:pt x="1989138" y="1214437"/>
                  <a:pt x="1989138" y="0"/>
                </a:cubicBezTo>
                <a:close/>
                <a:moveTo>
                  <a:pt x="520699" y="0"/>
                </a:moveTo>
                <a:lnTo>
                  <a:pt x="833436" y="0"/>
                </a:lnTo>
                <a:lnTo>
                  <a:pt x="1135061" y="823912"/>
                </a:lnTo>
                <a:lnTo>
                  <a:pt x="1439862" y="0"/>
                </a:lnTo>
                <a:lnTo>
                  <a:pt x="1736724" y="0"/>
                </a:lnTo>
                <a:lnTo>
                  <a:pt x="1736724" y="1214437"/>
                </a:lnTo>
                <a:lnTo>
                  <a:pt x="1503362" y="1214437"/>
                </a:lnTo>
                <a:lnTo>
                  <a:pt x="1503362" y="419100"/>
                </a:lnTo>
                <a:lnTo>
                  <a:pt x="1216024" y="1196975"/>
                </a:lnTo>
                <a:lnTo>
                  <a:pt x="1039812" y="1196975"/>
                </a:lnTo>
                <a:lnTo>
                  <a:pt x="754062" y="409575"/>
                </a:lnTo>
                <a:lnTo>
                  <a:pt x="754062" y="1214437"/>
                </a:lnTo>
                <a:lnTo>
                  <a:pt x="520699" y="1214437"/>
                </a:lnTo>
                <a:close/>
                <a:moveTo>
                  <a:pt x="25400" y="0"/>
                </a:moveTo>
                <a:lnTo>
                  <a:pt x="268288" y="0"/>
                </a:lnTo>
                <a:lnTo>
                  <a:pt x="268288" y="1214437"/>
                </a:lnTo>
                <a:lnTo>
                  <a:pt x="25400" y="12144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>
                <a:solidFill>
                  <a:srgbClr val="1F2023"/>
                </a:solidFill>
              </a:rPr>
              <a:t> </a:t>
            </a:r>
          </a:p>
        </p:txBody>
      </p:sp>
      <p:sp>
        <p:nvSpPr>
          <p:cNvPr id="14" name="Date_GeneralDate" hidden="1">
            <a:extLst>
              <a:ext uri="{FF2B5EF4-FFF2-40B4-BE49-F238E27FC236}">
                <a16:creationId xmlns:a16="http://schemas.microsoft.com/office/drawing/2014/main" id="{36AF7DCB-7B08-4B67-89C6-197E386CB3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E4825E0E-4A71-47F2-8004-51666FB492B3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6" name="FLD_PresentationTitle" hidden="1">
            <a:extLst>
              <a:ext uri="{FF2B5EF4-FFF2-40B4-BE49-F238E27FC236}">
                <a16:creationId xmlns:a16="http://schemas.microsoft.com/office/drawing/2014/main" id="{2CD592E1-AE74-4CC3-838F-BCDDFF7EC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 algn="l">
              <a:defRPr sz="100">
                <a:noFill/>
              </a:defRPr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19" name="Slide Number Placeholder 5" hidden="1">
            <a:extLst>
              <a:ext uri="{FF2B5EF4-FFF2-40B4-BE49-F238E27FC236}">
                <a16:creationId xmlns:a16="http://schemas.microsoft.com/office/drawing/2014/main" id="{BD316983-99AE-467A-81A9-261F469719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544118-FA16-4191-91F3-CD66F29D0D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999" y="4516663"/>
            <a:ext cx="3600000" cy="1800000"/>
          </a:xfrm>
        </p:spPr>
        <p:txBody>
          <a:bodyPr rIns="0" anchor="b"/>
          <a:lstStyle>
            <a:lvl1pPr>
              <a:spcAft>
                <a:spcPts val="300"/>
              </a:spcAft>
              <a:defRPr sz="1300">
                <a:solidFill>
                  <a:srgbClr val="1F2023"/>
                </a:solidFill>
              </a:defRPr>
            </a:lvl1pPr>
            <a:lvl2pPr>
              <a:defRPr>
                <a:solidFill>
                  <a:srgbClr val="F8F5E7"/>
                </a:solidFill>
              </a:defRPr>
            </a:lvl2pPr>
            <a:lvl3pPr>
              <a:defRPr>
                <a:solidFill>
                  <a:srgbClr val="F8F5E7"/>
                </a:solidFill>
              </a:defRPr>
            </a:lvl3pPr>
            <a:lvl4pPr>
              <a:defRPr>
                <a:solidFill>
                  <a:srgbClr val="F8F5E7"/>
                </a:solidFill>
              </a:defRPr>
            </a:lvl4pPr>
            <a:lvl5pPr>
              <a:defRPr>
                <a:solidFill>
                  <a:srgbClr val="F8F5E7"/>
                </a:solidFill>
              </a:defRPr>
            </a:lvl5pPr>
          </a:lstStyle>
          <a:p>
            <a:pPr lvl="0"/>
            <a:r>
              <a:rPr lang="en-US" dirty="0"/>
              <a:t>Click to edit master name style</a:t>
            </a:r>
            <a:endParaRPr lang="de-DE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070D621-4244-4E2C-AC15-D0FD68C0EA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89948" y="3619500"/>
            <a:ext cx="2684463" cy="323536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815C104-8646-46A8-BF2D-EC29839A31CC}"/>
              </a:ext>
            </a:extLst>
          </p:cNvPr>
          <p:cNvSpPr/>
          <p:nvPr userDrawn="1"/>
        </p:nvSpPr>
        <p:spPr>
          <a:xfrm>
            <a:off x="-1273461" y="5839295"/>
            <a:ext cx="1069656" cy="522808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spAutoFit/>
          </a:bodyPr>
          <a:lstStyle/>
          <a:p>
            <a:pPr algn="l">
              <a:spcAft>
                <a:spcPts val="0"/>
              </a:spcAft>
              <a:buNone/>
            </a:pPr>
            <a:r>
              <a:rPr lang="da-DK" sz="1100" noProof="0" dirty="0" err="1">
                <a:solidFill>
                  <a:srgbClr val="2F363B"/>
                </a:solidFill>
              </a:rPr>
              <a:t>Fill</a:t>
            </a:r>
            <a:r>
              <a:rPr lang="da-DK" sz="1100" noProof="0" dirty="0">
                <a:solidFill>
                  <a:srgbClr val="2F363B"/>
                </a:solidFill>
              </a:rPr>
              <a:t> in:</a:t>
            </a:r>
          </a:p>
          <a:p>
            <a:pPr algn="l">
              <a:spcAft>
                <a:spcPts val="0"/>
              </a:spcAft>
            </a:pPr>
            <a:r>
              <a:rPr lang="da-DK" sz="1100" noProof="0" dirty="0">
                <a:solidFill>
                  <a:srgbClr val="2F363B"/>
                </a:solidFill>
              </a:rPr>
              <a:t>Authors </a:t>
            </a:r>
            <a:r>
              <a:rPr lang="da-DK" sz="1100" noProof="0" dirty="0">
                <a:solidFill>
                  <a:srgbClr val="2F363B"/>
                </a:solidFill>
                <a:sym typeface="Wingdings" panose="05000000000000000000" pitchFamily="2" charset="2"/>
              </a:rPr>
              <a:t></a:t>
            </a:r>
            <a:endParaRPr lang="da-DK" sz="1100" noProof="0" dirty="0">
              <a:solidFill>
                <a:srgbClr val="2F363B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5FA66EF-DAB2-4F98-A44E-D0D8DBEE66E6}"/>
              </a:ext>
            </a:extLst>
          </p:cNvPr>
          <p:cNvSpPr/>
          <p:nvPr userDrawn="1"/>
        </p:nvSpPr>
        <p:spPr>
          <a:xfrm>
            <a:off x="10055648" y="4364127"/>
            <a:ext cx="1100032" cy="522808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spAutoFit/>
          </a:bodyPr>
          <a:lstStyle/>
          <a:p>
            <a:pPr algn="r">
              <a:spcAft>
                <a:spcPts val="0"/>
              </a:spcAft>
              <a:buNone/>
            </a:pPr>
            <a:r>
              <a:rPr lang="da-DK" sz="1100" noProof="0" dirty="0" err="1">
                <a:solidFill>
                  <a:srgbClr val="2F363B"/>
                </a:solidFill>
              </a:rPr>
              <a:t>Fill</a:t>
            </a:r>
            <a:r>
              <a:rPr lang="da-DK" sz="1100" noProof="0" dirty="0">
                <a:solidFill>
                  <a:srgbClr val="2F363B"/>
                </a:solidFill>
              </a:rPr>
              <a:t> in:</a:t>
            </a:r>
          </a:p>
          <a:p>
            <a:pPr algn="r">
              <a:spcAft>
                <a:spcPts val="0"/>
              </a:spcAft>
            </a:pPr>
            <a:r>
              <a:rPr lang="da-DK" sz="1100" noProof="0" dirty="0">
                <a:solidFill>
                  <a:srgbClr val="2F363B"/>
                </a:solidFill>
                <a:sym typeface="Wingdings" panose="05000000000000000000" pitchFamily="2" charset="2"/>
              </a:rPr>
              <a:t> </a:t>
            </a:r>
            <a:r>
              <a:rPr lang="da-DK" sz="1100" noProof="0" dirty="0" err="1">
                <a:solidFill>
                  <a:srgbClr val="2F363B"/>
                </a:solidFill>
              </a:rPr>
              <a:t>Month</a:t>
            </a:r>
            <a:r>
              <a:rPr lang="da-DK" sz="1100" noProof="0" dirty="0">
                <a:solidFill>
                  <a:srgbClr val="2F363B"/>
                </a:solidFill>
              </a:rPr>
              <a:t>/</a:t>
            </a:r>
            <a:r>
              <a:rPr lang="da-DK" sz="1100" noProof="0" dirty="0" err="1">
                <a:solidFill>
                  <a:srgbClr val="2F363B"/>
                </a:solidFill>
              </a:rPr>
              <a:t>year</a:t>
            </a:r>
            <a:endParaRPr lang="da-DK" sz="1100" noProof="0" dirty="0">
              <a:solidFill>
                <a:srgbClr val="2F363B"/>
              </a:solidFill>
            </a:endParaRP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533BD4BF-5BA7-4D76-866E-FE127CF6B29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74411" y="4774579"/>
            <a:ext cx="1856953" cy="197361"/>
          </a:xfrm>
        </p:spPr>
        <p:txBody>
          <a:bodyPr lIns="270002" tIns="0" rIns="270002" anchor="ctr" anchorCtr="0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D: XXXXX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39ECFE7-CB66-442C-8BBE-172862213C3D}"/>
              </a:ext>
            </a:extLst>
          </p:cNvPr>
          <p:cNvSpPr/>
          <p:nvPr userDrawn="1"/>
        </p:nvSpPr>
        <p:spPr>
          <a:xfrm>
            <a:off x="5668358" y="6971796"/>
            <a:ext cx="1364901" cy="522808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spAutoFit/>
          </a:bodyPr>
          <a:lstStyle/>
          <a:p>
            <a:pPr algn="l">
              <a:spcAft>
                <a:spcPts val="0"/>
              </a:spcAft>
              <a:buNone/>
            </a:pPr>
            <a:r>
              <a:rPr lang="da-DK" sz="1100" noProof="0" dirty="0">
                <a:solidFill>
                  <a:srgbClr val="2F363B"/>
                </a:solidFill>
              </a:rPr>
              <a:t>Place </a:t>
            </a:r>
            <a:r>
              <a:rPr lang="da-DK" sz="1100" noProof="0" dirty="0" err="1">
                <a:solidFill>
                  <a:srgbClr val="2F363B"/>
                </a:solidFill>
              </a:rPr>
              <a:t>picture</a:t>
            </a:r>
            <a:r>
              <a:rPr lang="da-DK" sz="1100" noProof="0" dirty="0">
                <a:solidFill>
                  <a:srgbClr val="2F363B"/>
                </a:solidFill>
              </a:rPr>
              <a:t> from unsplash.co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1BEBE6-7FC3-49A8-8284-B9BA29F2E871}"/>
              </a:ext>
            </a:extLst>
          </p:cNvPr>
          <p:cNvSpPr txBox="1"/>
          <p:nvPr userDrawn="1"/>
        </p:nvSpPr>
        <p:spPr>
          <a:xfrm>
            <a:off x="7780742" y="5031441"/>
            <a:ext cx="1857375" cy="1285222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270000" tIns="270000" rIns="270000" bIns="0" rtlCol="0" anchor="b" anchorCtr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0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esentation may contain detailed notes to the slides.</a:t>
            </a:r>
          </a:p>
          <a:p>
            <a:pPr marL="0" marR="0" lvl="0" indent="0" algn="l" defTabSz="74295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  <a:p>
            <a:pPr marL="0" indent="0" algn="l" defTabSz="74295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GB" sz="10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nfidential. </a:t>
            </a:r>
            <a:r>
              <a:rPr lang="en-GB" sz="1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Not</a:t>
            </a:r>
            <a:r>
              <a:rPr lang="en-GB" sz="10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for further distribution.</a:t>
            </a:r>
          </a:p>
        </p:txBody>
      </p:sp>
    </p:spTree>
    <p:extLst>
      <p:ext uri="{BB962C8B-B14F-4D97-AF65-F5344CB8AC3E}">
        <p14:creationId xmlns:p14="http://schemas.microsoft.com/office/powerpoint/2010/main" val="4206001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6251D7-708F-4EDF-B479-411867725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9323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6251D7-708F-4EDF-B479-411867725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06AFB49-E12B-4074-BA43-0BEC65C723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GB" sz="5850" b="0" i="0" baseline="0" noProof="0" dirty="0">
              <a:solidFill>
                <a:srgbClr val="2F363B"/>
              </a:solidFill>
              <a:latin typeface="Impact" panose="020B0806030902050204" pitchFamily="34" charset="0"/>
              <a:ea typeface="+mj-ea"/>
              <a:cs typeface="+mj-cs"/>
              <a:sym typeface="Impact" panose="020B080603090205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0B7F21-6889-46F7-BB5C-8FDE3B947050}"/>
              </a:ext>
            </a:extLst>
          </p:cNvPr>
          <p:cNvSpPr/>
          <p:nvPr userDrawn="1"/>
        </p:nvSpPr>
        <p:spPr>
          <a:xfrm>
            <a:off x="2" y="0"/>
            <a:ext cx="9905998" cy="6858000"/>
          </a:xfrm>
          <a:prstGeom prst="rect">
            <a:avLst/>
          </a:prstGeom>
          <a:solidFill>
            <a:srgbClr val="E4B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t" anchorCtr="0"/>
          <a:lstStyle/>
          <a:p>
            <a:pPr algn="l"/>
            <a:endParaRPr lang="en-GB" sz="813" noProof="0" dirty="0">
              <a:solidFill>
                <a:srgbClr val="2F363B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850" y="2228850"/>
            <a:ext cx="7710300" cy="1779732"/>
          </a:xfrm>
          <a:noFill/>
        </p:spPr>
        <p:txBody>
          <a:bodyPr lIns="0" tIns="0" rIns="0" anchor="t" anchorCtr="0"/>
          <a:lstStyle>
            <a:lvl1pPr>
              <a:lnSpc>
                <a:spcPct val="80000"/>
              </a:lnSpc>
              <a:defRPr sz="5850" cap="all" baseline="0">
                <a:solidFill>
                  <a:srgbClr val="1F2023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2FE83F57-F57F-4919-AE4C-5C6E98678D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B7E99AFC-B080-4A6C-AA7C-205E69E53ECA}" type="datetime1">
              <a:rPr lang="en-GB" smtClean="0"/>
              <a:t>20/06/2021</a:t>
            </a:fld>
            <a:endParaRPr lang="en-GB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2491875-2F04-4145-8BFF-C7AED4F76361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7493CD3-D474-4B4D-A875-A3E6BAED887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97150" y="4008582"/>
            <a:ext cx="7710300" cy="178832"/>
          </a:xfrm>
        </p:spPr>
        <p:txBody>
          <a:bodyPr wrap="square" lIns="0" tIns="0" rIns="0" bIns="0">
            <a:spAutoFit/>
          </a:bodyPr>
          <a:lstStyle>
            <a:lvl1pPr>
              <a:defRPr lang="en-US" sz="1400" cap="none" baseline="0" dirty="0" smtClean="0">
                <a:latin typeface="+mj-lt"/>
                <a:ea typeface="+mj-ea"/>
                <a:cs typeface="+mj-cs"/>
              </a:defRPr>
            </a:lvl1pPr>
            <a:lvl2pPr>
              <a:defRPr lang="en-US" sz="1400" dirty="0" smtClean="0"/>
            </a:lvl2pPr>
            <a:lvl3pPr>
              <a:defRPr lang="en-US" sz="1000" dirty="0" smtClean="0"/>
            </a:lvl3pPr>
            <a:lvl4pPr>
              <a:defRPr lang="en-US" sz="1000" dirty="0" smtClean="0"/>
            </a:lvl4pPr>
            <a:lvl5pPr>
              <a:defRPr lang="en-US" sz="1000" dirty="0"/>
            </a:lvl5pPr>
          </a:lstStyle>
          <a:p>
            <a:pPr lvl="0">
              <a:lnSpc>
                <a:spcPct val="83000"/>
              </a:lnSpc>
              <a:spcBef>
                <a:spcPct val="0"/>
              </a:spcBef>
              <a:buNone/>
            </a:pPr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F9AC92E-663A-4662-9B26-BFEFF015F3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78179" y="6496424"/>
            <a:ext cx="256359" cy="11208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50" spc="0" baseline="0">
                <a:solidFill>
                  <a:srgbClr val="1F2023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1236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ject 2">
            <a:extLst>
              <a:ext uri="{FF2B5EF4-FFF2-40B4-BE49-F238E27FC236}">
                <a16:creationId xmlns:a16="http://schemas.microsoft.com/office/drawing/2014/main" id="{A81EE220-AC53-4153-A0FE-1F2219FBF428}"/>
              </a:ext>
            </a:extLst>
          </p:cNvPr>
          <p:cNvSpPr/>
          <p:nvPr userDrawn="1"/>
        </p:nvSpPr>
        <p:spPr>
          <a:xfrm>
            <a:off x="7171530" y="0"/>
            <a:ext cx="2734469" cy="6858000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0" y="11308556"/>
                </a:moveTo>
                <a:lnTo>
                  <a:pt x="20104099" y="11308556"/>
                </a:lnTo>
                <a:lnTo>
                  <a:pt x="20104099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E4B73B"/>
          </a:solidFill>
        </p:spPr>
        <p:txBody>
          <a:bodyPr wrap="square" lIns="0" tIns="0" rIns="0" bIns="0" rtlCol="0"/>
          <a:lstStyle/>
          <a:p>
            <a:pPr marL="0" marR="0" lvl="0" indent="0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1F2023"/>
              </a:solidFill>
              <a:effectLst/>
              <a:uLnTx/>
              <a:uFillTx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68EEBBF-213D-4D68-A9CE-7CE68854BF37}"/>
              </a:ext>
            </a:extLst>
          </p:cNvPr>
          <p:cNvSpPr/>
          <p:nvPr userDrawn="1"/>
        </p:nvSpPr>
        <p:spPr>
          <a:xfrm>
            <a:off x="-1" y="0"/>
            <a:ext cx="7171531" cy="1632813"/>
          </a:xfrm>
          <a:prstGeom prst="rect">
            <a:avLst/>
          </a:prstGeom>
          <a:solidFill>
            <a:srgbClr val="F8F5E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1F20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object 3">
            <a:extLst>
              <a:ext uri="{FF2B5EF4-FFF2-40B4-BE49-F238E27FC236}">
                <a16:creationId xmlns:a16="http://schemas.microsoft.com/office/drawing/2014/main" id="{2F8E5E3C-C8FF-4ABE-B0BE-21762DA69433}"/>
              </a:ext>
            </a:extLst>
          </p:cNvPr>
          <p:cNvSpPr/>
          <p:nvPr userDrawn="1"/>
        </p:nvSpPr>
        <p:spPr>
          <a:xfrm>
            <a:off x="0" y="1355724"/>
            <a:ext cx="8554911" cy="5502276"/>
          </a:xfrm>
          <a:custGeom>
            <a:avLst/>
            <a:gdLst/>
            <a:ahLst/>
            <a:cxnLst/>
            <a:rect l="l" t="t" r="r" b="b"/>
            <a:pathLst>
              <a:path w="16670019" h="10303510">
                <a:moveTo>
                  <a:pt x="0" y="10303351"/>
                </a:moveTo>
                <a:lnTo>
                  <a:pt x="16669649" y="10303351"/>
                </a:lnTo>
                <a:lnTo>
                  <a:pt x="16669649" y="0"/>
                </a:lnTo>
                <a:lnTo>
                  <a:pt x="0" y="0"/>
                </a:lnTo>
                <a:lnTo>
                  <a:pt x="0" y="10303351"/>
                </a:lnTo>
                <a:close/>
              </a:path>
            </a:pathLst>
          </a:custGeom>
          <a:solidFill>
            <a:srgbClr val="E2DED9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1F2023"/>
              </a:solidFill>
              <a:effectLst/>
              <a:uLnTx/>
              <a:uFillTx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4352087-9FC5-44CB-9335-2EEFDAC7657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0734" y="2138963"/>
            <a:ext cx="5842800" cy="2224886"/>
          </a:xfrm>
        </p:spPr>
        <p:txBody>
          <a:bodyPr anchor="t" anchorCtr="0">
            <a:noAutofit/>
          </a:bodyPr>
          <a:lstStyle>
            <a:lvl1pPr algn="l">
              <a:lnSpc>
                <a:spcPct val="83000"/>
              </a:lnSpc>
              <a:defRPr sz="6500" cap="all" baseline="0">
                <a:solidFill>
                  <a:srgbClr val="30373B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F4872442-83A2-43AD-891C-C24ABE2742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69999" y="5463127"/>
            <a:ext cx="5842800" cy="863537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900">
                <a:solidFill>
                  <a:srgbClr val="1F2023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chemeClr val="accent2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1694F14-D4CB-400F-818F-B8F113DF8A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999" y="6387016"/>
            <a:ext cx="5842800" cy="210634"/>
          </a:xfrm>
        </p:spPr>
        <p:txBody>
          <a:bodyPr rIns="0" anchor="b" anchorCtr="0"/>
          <a:lstStyle>
            <a:lvl1pPr>
              <a:defRPr sz="900">
                <a:solidFill>
                  <a:srgbClr val="1F2023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E4074B2-7DE7-48C5-B126-35D2D5B789C6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8861146" y="788544"/>
            <a:ext cx="1258889" cy="287891"/>
          </a:xfrm>
          <a:custGeom>
            <a:avLst/>
            <a:gdLst>
              <a:gd name="connsiteX0" fmla="*/ 6778122 w 9905999"/>
              <a:gd name="connsiteY0" fmla="*/ 2222531 h 2265361"/>
              <a:gd name="connsiteX1" fmla="*/ 7135812 w 9905999"/>
              <a:gd name="connsiteY1" fmla="*/ 2222531 h 2265361"/>
              <a:gd name="connsiteX2" fmla="*/ 7135812 w 9905999"/>
              <a:gd name="connsiteY2" fmla="*/ 2265361 h 2265361"/>
              <a:gd name="connsiteX3" fmla="*/ 6778122 w 9905999"/>
              <a:gd name="connsiteY3" fmla="*/ 2265361 h 2265361"/>
              <a:gd name="connsiteX4" fmla="*/ 6778122 w 9905999"/>
              <a:gd name="connsiteY4" fmla="*/ 2222531 h 2265361"/>
              <a:gd name="connsiteX5" fmla="*/ 6449676 w 9905999"/>
              <a:gd name="connsiteY5" fmla="*/ 1769427 h 2265361"/>
              <a:gd name="connsiteX6" fmla="*/ 6449676 w 9905999"/>
              <a:gd name="connsiteY6" fmla="*/ 1965546 h 2265361"/>
              <a:gd name="connsiteX7" fmla="*/ 6575655 w 9905999"/>
              <a:gd name="connsiteY7" fmla="*/ 1965546 h 2265361"/>
              <a:gd name="connsiteX8" fmla="*/ 6679138 w 9905999"/>
              <a:gd name="connsiteY8" fmla="*/ 1864105 h 2265361"/>
              <a:gd name="connsiteX9" fmla="*/ 6575655 w 9905999"/>
              <a:gd name="connsiteY9" fmla="*/ 1769427 h 2265361"/>
              <a:gd name="connsiteX10" fmla="*/ 6449676 w 9905999"/>
              <a:gd name="connsiteY10" fmla="*/ 1769427 h 2265361"/>
              <a:gd name="connsiteX11" fmla="*/ 5021164 w 9905999"/>
              <a:gd name="connsiteY11" fmla="*/ 1769427 h 2265361"/>
              <a:gd name="connsiteX12" fmla="*/ 5021164 w 9905999"/>
              <a:gd name="connsiteY12" fmla="*/ 1949767 h 2265361"/>
              <a:gd name="connsiteX13" fmla="*/ 5158391 w 9905999"/>
              <a:gd name="connsiteY13" fmla="*/ 1949767 h 2265361"/>
              <a:gd name="connsiteX14" fmla="*/ 5261874 w 9905999"/>
              <a:gd name="connsiteY14" fmla="*/ 1859597 h 2265361"/>
              <a:gd name="connsiteX15" fmla="*/ 5158391 w 9905999"/>
              <a:gd name="connsiteY15" fmla="*/ 1769427 h 2265361"/>
              <a:gd name="connsiteX16" fmla="*/ 5021164 w 9905999"/>
              <a:gd name="connsiteY16" fmla="*/ 1769427 h 2265361"/>
              <a:gd name="connsiteX17" fmla="*/ 5597068 w 9905999"/>
              <a:gd name="connsiteY17" fmla="*/ 1762664 h 2265361"/>
              <a:gd name="connsiteX18" fmla="*/ 5504834 w 9905999"/>
              <a:gd name="connsiteY18" fmla="*/ 1800986 h 2265361"/>
              <a:gd name="connsiteX19" fmla="*/ 5459841 w 9905999"/>
              <a:gd name="connsiteY19" fmla="*/ 1967800 h 2265361"/>
              <a:gd name="connsiteX20" fmla="*/ 5504834 w 9905999"/>
              <a:gd name="connsiteY20" fmla="*/ 2132361 h 2265361"/>
              <a:gd name="connsiteX21" fmla="*/ 5597068 w 9905999"/>
              <a:gd name="connsiteY21" fmla="*/ 2170683 h 2265361"/>
              <a:gd name="connsiteX22" fmla="*/ 5691552 w 9905999"/>
              <a:gd name="connsiteY22" fmla="*/ 2132361 h 2265361"/>
              <a:gd name="connsiteX23" fmla="*/ 5734295 w 9905999"/>
              <a:gd name="connsiteY23" fmla="*/ 1967800 h 2265361"/>
              <a:gd name="connsiteX24" fmla="*/ 5691552 w 9905999"/>
              <a:gd name="connsiteY24" fmla="*/ 1800986 h 2265361"/>
              <a:gd name="connsiteX25" fmla="*/ 5597068 w 9905999"/>
              <a:gd name="connsiteY25" fmla="*/ 1762664 h 2265361"/>
              <a:gd name="connsiteX26" fmla="*/ 654642 w 9905999"/>
              <a:gd name="connsiteY26" fmla="*/ 1762664 h 2265361"/>
              <a:gd name="connsiteX27" fmla="*/ 560157 w 9905999"/>
              <a:gd name="connsiteY27" fmla="*/ 1800986 h 2265361"/>
              <a:gd name="connsiteX28" fmla="*/ 517414 w 9905999"/>
              <a:gd name="connsiteY28" fmla="*/ 1967800 h 2265361"/>
              <a:gd name="connsiteX29" fmla="*/ 560157 w 9905999"/>
              <a:gd name="connsiteY29" fmla="*/ 2132361 h 2265361"/>
              <a:gd name="connsiteX30" fmla="*/ 654642 w 9905999"/>
              <a:gd name="connsiteY30" fmla="*/ 2170683 h 2265361"/>
              <a:gd name="connsiteX31" fmla="*/ 746876 w 9905999"/>
              <a:gd name="connsiteY31" fmla="*/ 2132361 h 2265361"/>
              <a:gd name="connsiteX32" fmla="*/ 791868 w 9905999"/>
              <a:gd name="connsiteY32" fmla="*/ 1967800 h 2265361"/>
              <a:gd name="connsiteX33" fmla="*/ 746876 w 9905999"/>
              <a:gd name="connsiteY33" fmla="*/ 1800986 h 2265361"/>
              <a:gd name="connsiteX34" fmla="*/ 654642 w 9905999"/>
              <a:gd name="connsiteY34" fmla="*/ 1762664 h 2265361"/>
              <a:gd name="connsiteX35" fmla="*/ 6386687 w 9905999"/>
              <a:gd name="connsiteY35" fmla="*/ 1710816 h 2265361"/>
              <a:gd name="connsiteX36" fmla="*/ 6575655 w 9905999"/>
              <a:gd name="connsiteY36" fmla="*/ 1710816 h 2265361"/>
              <a:gd name="connsiteX37" fmla="*/ 6706134 w 9905999"/>
              <a:gd name="connsiteY37" fmla="*/ 1755901 h 2265361"/>
              <a:gd name="connsiteX38" fmla="*/ 6744377 w 9905999"/>
              <a:gd name="connsiteY38" fmla="*/ 1864105 h 2265361"/>
              <a:gd name="connsiteX39" fmla="*/ 6701634 w 9905999"/>
              <a:gd name="connsiteY39" fmla="*/ 1981326 h 2265361"/>
              <a:gd name="connsiteX40" fmla="*/ 6577905 w 9905999"/>
              <a:gd name="connsiteY40" fmla="*/ 2024157 h 2265361"/>
              <a:gd name="connsiteX41" fmla="*/ 6449676 w 9905999"/>
              <a:gd name="connsiteY41" fmla="*/ 2024157 h 2265361"/>
              <a:gd name="connsiteX42" fmla="*/ 6449676 w 9905999"/>
              <a:gd name="connsiteY42" fmla="*/ 2222531 h 2265361"/>
              <a:gd name="connsiteX43" fmla="*/ 6386687 w 9905999"/>
              <a:gd name="connsiteY43" fmla="*/ 2222531 h 2265361"/>
              <a:gd name="connsiteX44" fmla="*/ 6386687 w 9905999"/>
              <a:gd name="connsiteY44" fmla="*/ 1710816 h 2265361"/>
              <a:gd name="connsiteX45" fmla="*/ 5889520 w 9905999"/>
              <a:gd name="connsiteY45" fmla="*/ 1710816 h 2265361"/>
              <a:gd name="connsiteX46" fmla="*/ 5954759 w 9905999"/>
              <a:gd name="connsiteY46" fmla="*/ 1710816 h 2265361"/>
              <a:gd name="connsiteX47" fmla="*/ 5954759 w 9905999"/>
              <a:gd name="connsiteY47" fmla="*/ 2035428 h 2265361"/>
              <a:gd name="connsiteX48" fmla="*/ 6076239 w 9905999"/>
              <a:gd name="connsiteY48" fmla="*/ 2172937 h 2265361"/>
              <a:gd name="connsiteX49" fmla="*/ 6199968 w 9905999"/>
              <a:gd name="connsiteY49" fmla="*/ 2035428 h 2265361"/>
              <a:gd name="connsiteX50" fmla="*/ 6199968 w 9905999"/>
              <a:gd name="connsiteY50" fmla="*/ 1710816 h 2265361"/>
              <a:gd name="connsiteX51" fmla="*/ 6262957 w 9905999"/>
              <a:gd name="connsiteY51" fmla="*/ 1710816 h 2265361"/>
              <a:gd name="connsiteX52" fmla="*/ 6262957 w 9905999"/>
              <a:gd name="connsiteY52" fmla="*/ 2035428 h 2265361"/>
              <a:gd name="connsiteX53" fmla="*/ 6076239 w 9905999"/>
              <a:gd name="connsiteY53" fmla="*/ 2231547 h 2265361"/>
              <a:gd name="connsiteX54" fmla="*/ 5889520 w 9905999"/>
              <a:gd name="connsiteY54" fmla="*/ 2035428 h 2265361"/>
              <a:gd name="connsiteX55" fmla="*/ 5889520 w 9905999"/>
              <a:gd name="connsiteY55" fmla="*/ 1710816 h 2265361"/>
              <a:gd name="connsiteX56" fmla="*/ 4958174 w 9905999"/>
              <a:gd name="connsiteY56" fmla="*/ 1710816 h 2265361"/>
              <a:gd name="connsiteX57" fmla="*/ 5158391 w 9905999"/>
              <a:gd name="connsiteY57" fmla="*/ 1710816 h 2265361"/>
              <a:gd name="connsiteX58" fmla="*/ 5288869 w 9905999"/>
              <a:gd name="connsiteY58" fmla="*/ 1755901 h 2265361"/>
              <a:gd name="connsiteX59" fmla="*/ 5329363 w 9905999"/>
              <a:gd name="connsiteY59" fmla="*/ 1859597 h 2265361"/>
              <a:gd name="connsiteX60" fmla="*/ 5288869 w 9905999"/>
              <a:gd name="connsiteY60" fmla="*/ 1961038 h 2265361"/>
              <a:gd name="connsiteX61" fmla="*/ 5228130 w 9905999"/>
              <a:gd name="connsiteY61" fmla="*/ 1997106 h 2265361"/>
              <a:gd name="connsiteX62" fmla="*/ 5331612 w 9905999"/>
              <a:gd name="connsiteY62" fmla="*/ 2222531 h 2265361"/>
              <a:gd name="connsiteX63" fmla="*/ 5259624 w 9905999"/>
              <a:gd name="connsiteY63" fmla="*/ 2222531 h 2265361"/>
              <a:gd name="connsiteX64" fmla="*/ 5162890 w 9905999"/>
              <a:gd name="connsiteY64" fmla="*/ 2010631 h 2265361"/>
              <a:gd name="connsiteX65" fmla="*/ 5021164 w 9905999"/>
              <a:gd name="connsiteY65" fmla="*/ 2010631 h 2265361"/>
              <a:gd name="connsiteX66" fmla="*/ 5021164 w 9905999"/>
              <a:gd name="connsiteY66" fmla="*/ 2222531 h 2265361"/>
              <a:gd name="connsiteX67" fmla="*/ 4958174 w 9905999"/>
              <a:gd name="connsiteY67" fmla="*/ 2222531 h 2265361"/>
              <a:gd name="connsiteX68" fmla="*/ 4958174 w 9905999"/>
              <a:gd name="connsiteY68" fmla="*/ 1710816 h 2265361"/>
              <a:gd name="connsiteX69" fmla="*/ 3309199 w 9905999"/>
              <a:gd name="connsiteY69" fmla="*/ 1710816 h 2265361"/>
              <a:gd name="connsiteX70" fmla="*/ 3381187 w 9905999"/>
              <a:gd name="connsiteY70" fmla="*/ 1710816 h 2265361"/>
              <a:gd name="connsiteX71" fmla="*/ 3633145 w 9905999"/>
              <a:gd name="connsiteY71" fmla="*/ 2123344 h 2265361"/>
              <a:gd name="connsiteX72" fmla="*/ 3633145 w 9905999"/>
              <a:gd name="connsiteY72" fmla="*/ 1710816 h 2265361"/>
              <a:gd name="connsiteX73" fmla="*/ 3693885 w 9905999"/>
              <a:gd name="connsiteY73" fmla="*/ 1710816 h 2265361"/>
              <a:gd name="connsiteX74" fmla="*/ 3693885 w 9905999"/>
              <a:gd name="connsiteY74" fmla="*/ 2222531 h 2265361"/>
              <a:gd name="connsiteX75" fmla="*/ 3621897 w 9905999"/>
              <a:gd name="connsiteY75" fmla="*/ 2222531 h 2265361"/>
              <a:gd name="connsiteX76" fmla="*/ 3372188 w 9905999"/>
              <a:gd name="connsiteY76" fmla="*/ 1810003 h 2265361"/>
              <a:gd name="connsiteX77" fmla="*/ 3372188 w 9905999"/>
              <a:gd name="connsiteY77" fmla="*/ 2222531 h 2265361"/>
              <a:gd name="connsiteX78" fmla="*/ 3309199 w 9905999"/>
              <a:gd name="connsiteY78" fmla="*/ 2222531 h 2265361"/>
              <a:gd name="connsiteX79" fmla="*/ 3309199 w 9905999"/>
              <a:gd name="connsiteY79" fmla="*/ 1710816 h 2265361"/>
              <a:gd name="connsiteX80" fmla="*/ 3106732 w 9905999"/>
              <a:gd name="connsiteY80" fmla="*/ 1710816 h 2265361"/>
              <a:gd name="connsiteX81" fmla="*/ 3171971 w 9905999"/>
              <a:gd name="connsiteY81" fmla="*/ 1710816 h 2265361"/>
              <a:gd name="connsiteX82" fmla="*/ 3171971 w 9905999"/>
              <a:gd name="connsiteY82" fmla="*/ 2222531 h 2265361"/>
              <a:gd name="connsiteX83" fmla="*/ 3106732 w 9905999"/>
              <a:gd name="connsiteY83" fmla="*/ 2222531 h 2265361"/>
              <a:gd name="connsiteX84" fmla="*/ 3106732 w 9905999"/>
              <a:gd name="connsiteY84" fmla="*/ 1710816 h 2265361"/>
              <a:gd name="connsiteX85" fmla="*/ 2663557 w 9905999"/>
              <a:gd name="connsiteY85" fmla="*/ 1710816 h 2265361"/>
              <a:gd name="connsiteX86" fmla="*/ 3032495 w 9905999"/>
              <a:gd name="connsiteY86" fmla="*/ 1710816 h 2265361"/>
              <a:gd name="connsiteX87" fmla="*/ 3032495 w 9905999"/>
              <a:gd name="connsiteY87" fmla="*/ 1769427 h 2265361"/>
              <a:gd name="connsiteX88" fmla="*/ 2879521 w 9905999"/>
              <a:gd name="connsiteY88" fmla="*/ 1769427 h 2265361"/>
              <a:gd name="connsiteX89" fmla="*/ 2879521 w 9905999"/>
              <a:gd name="connsiteY89" fmla="*/ 2222531 h 2265361"/>
              <a:gd name="connsiteX90" fmla="*/ 2814282 w 9905999"/>
              <a:gd name="connsiteY90" fmla="*/ 2222531 h 2265361"/>
              <a:gd name="connsiteX91" fmla="*/ 2814282 w 9905999"/>
              <a:gd name="connsiteY91" fmla="*/ 1769427 h 2265361"/>
              <a:gd name="connsiteX92" fmla="*/ 2663557 w 9905999"/>
              <a:gd name="connsiteY92" fmla="*/ 1769427 h 2265361"/>
              <a:gd name="connsiteX93" fmla="*/ 2663557 w 9905999"/>
              <a:gd name="connsiteY93" fmla="*/ 1710816 h 2265361"/>
              <a:gd name="connsiteX94" fmla="*/ 2416099 w 9905999"/>
              <a:gd name="connsiteY94" fmla="*/ 1710816 h 2265361"/>
              <a:gd name="connsiteX95" fmla="*/ 2481338 w 9905999"/>
              <a:gd name="connsiteY95" fmla="*/ 1710816 h 2265361"/>
              <a:gd name="connsiteX96" fmla="*/ 2481338 w 9905999"/>
              <a:gd name="connsiteY96" fmla="*/ 2163920 h 2265361"/>
              <a:gd name="connsiteX97" fmla="*/ 2726547 w 9905999"/>
              <a:gd name="connsiteY97" fmla="*/ 2163920 h 2265361"/>
              <a:gd name="connsiteX98" fmla="*/ 2726547 w 9905999"/>
              <a:gd name="connsiteY98" fmla="*/ 2222531 h 2265361"/>
              <a:gd name="connsiteX99" fmla="*/ 2416099 w 9905999"/>
              <a:gd name="connsiteY99" fmla="*/ 2222531 h 2265361"/>
              <a:gd name="connsiteX100" fmla="*/ 2416099 w 9905999"/>
              <a:gd name="connsiteY100" fmla="*/ 1710816 h 2265361"/>
              <a:gd name="connsiteX101" fmla="*/ 1918931 w 9905999"/>
              <a:gd name="connsiteY101" fmla="*/ 1710816 h 2265361"/>
              <a:gd name="connsiteX102" fmla="*/ 1984171 w 9905999"/>
              <a:gd name="connsiteY102" fmla="*/ 1710816 h 2265361"/>
              <a:gd name="connsiteX103" fmla="*/ 1984171 w 9905999"/>
              <a:gd name="connsiteY103" fmla="*/ 2035428 h 2265361"/>
              <a:gd name="connsiteX104" fmla="*/ 2105651 w 9905999"/>
              <a:gd name="connsiteY104" fmla="*/ 2172937 h 2265361"/>
              <a:gd name="connsiteX105" fmla="*/ 2229380 w 9905999"/>
              <a:gd name="connsiteY105" fmla="*/ 2035428 h 2265361"/>
              <a:gd name="connsiteX106" fmla="*/ 2229380 w 9905999"/>
              <a:gd name="connsiteY106" fmla="*/ 1710816 h 2265361"/>
              <a:gd name="connsiteX107" fmla="*/ 2292369 w 9905999"/>
              <a:gd name="connsiteY107" fmla="*/ 1710816 h 2265361"/>
              <a:gd name="connsiteX108" fmla="*/ 2292369 w 9905999"/>
              <a:gd name="connsiteY108" fmla="*/ 2035428 h 2265361"/>
              <a:gd name="connsiteX109" fmla="*/ 2105651 w 9905999"/>
              <a:gd name="connsiteY109" fmla="*/ 2231547 h 2265361"/>
              <a:gd name="connsiteX110" fmla="*/ 1918931 w 9905999"/>
              <a:gd name="connsiteY110" fmla="*/ 2035428 h 2265361"/>
              <a:gd name="connsiteX111" fmla="*/ 1918931 w 9905999"/>
              <a:gd name="connsiteY111" fmla="*/ 1710816 h 2265361"/>
              <a:gd name="connsiteX112" fmla="*/ 960591 w 9905999"/>
              <a:gd name="connsiteY112" fmla="*/ 1710816 h 2265361"/>
              <a:gd name="connsiteX113" fmla="*/ 1032578 w 9905999"/>
              <a:gd name="connsiteY113" fmla="*/ 1710816 h 2265361"/>
              <a:gd name="connsiteX114" fmla="*/ 1284537 w 9905999"/>
              <a:gd name="connsiteY114" fmla="*/ 2123344 h 2265361"/>
              <a:gd name="connsiteX115" fmla="*/ 1284537 w 9905999"/>
              <a:gd name="connsiteY115" fmla="*/ 1710816 h 2265361"/>
              <a:gd name="connsiteX116" fmla="*/ 1345276 w 9905999"/>
              <a:gd name="connsiteY116" fmla="*/ 1710816 h 2265361"/>
              <a:gd name="connsiteX117" fmla="*/ 1345276 w 9905999"/>
              <a:gd name="connsiteY117" fmla="*/ 2222531 h 2265361"/>
              <a:gd name="connsiteX118" fmla="*/ 1273289 w 9905999"/>
              <a:gd name="connsiteY118" fmla="*/ 2222531 h 2265361"/>
              <a:gd name="connsiteX119" fmla="*/ 1023580 w 9905999"/>
              <a:gd name="connsiteY119" fmla="*/ 1810003 h 2265361"/>
              <a:gd name="connsiteX120" fmla="*/ 1023580 w 9905999"/>
              <a:gd name="connsiteY120" fmla="*/ 2222531 h 2265361"/>
              <a:gd name="connsiteX121" fmla="*/ 960591 w 9905999"/>
              <a:gd name="connsiteY121" fmla="*/ 2222531 h 2265361"/>
              <a:gd name="connsiteX122" fmla="*/ 960591 w 9905999"/>
              <a:gd name="connsiteY122" fmla="*/ 1710816 h 2265361"/>
              <a:gd name="connsiteX123" fmla="*/ 5597068 w 9905999"/>
              <a:gd name="connsiteY123" fmla="*/ 1701799 h 2265361"/>
              <a:gd name="connsiteX124" fmla="*/ 5736545 w 9905999"/>
              <a:gd name="connsiteY124" fmla="*/ 1755901 h 2265361"/>
              <a:gd name="connsiteX125" fmla="*/ 5801784 w 9905999"/>
              <a:gd name="connsiteY125" fmla="*/ 1967800 h 2265361"/>
              <a:gd name="connsiteX126" fmla="*/ 5736545 w 9905999"/>
              <a:gd name="connsiteY126" fmla="*/ 2177446 h 2265361"/>
              <a:gd name="connsiteX127" fmla="*/ 5597068 w 9905999"/>
              <a:gd name="connsiteY127" fmla="*/ 2233802 h 2265361"/>
              <a:gd name="connsiteX128" fmla="*/ 5459841 w 9905999"/>
              <a:gd name="connsiteY128" fmla="*/ 2177446 h 2265361"/>
              <a:gd name="connsiteX129" fmla="*/ 5394602 w 9905999"/>
              <a:gd name="connsiteY129" fmla="*/ 1967800 h 2265361"/>
              <a:gd name="connsiteX130" fmla="*/ 5459841 w 9905999"/>
              <a:gd name="connsiteY130" fmla="*/ 1755901 h 2265361"/>
              <a:gd name="connsiteX131" fmla="*/ 5597068 w 9905999"/>
              <a:gd name="connsiteY131" fmla="*/ 1701799 h 2265361"/>
              <a:gd name="connsiteX132" fmla="*/ 4645477 w 9905999"/>
              <a:gd name="connsiteY132" fmla="*/ 1701799 h 2265361"/>
              <a:gd name="connsiteX133" fmla="*/ 4791702 w 9905999"/>
              <a:gd name="connsiteY133" fmla="*/ 1758155 h 2265361"/>
              <a:gd name="connsiteX134" fmla="*/ 4834445 w 9905999"/>
              <a:gd name="connsiteY134" fmla="*/ 1859597 h 2265361"/>
              <a:gd name="connsiteX135" fmla="*/ 4766956 w 9905999"/>
              <a:gd name="connsiteY135" fmla="*/ 1859597 h 2265361"/>
              <a:gd name="connsiteX136" fmla="*/ 4744460 w 9905999"/>
              <a:gd name="connsiteY136" fmla="*/ 1803240 h 2265361"/>
              <a:gd name="connsiteX137" fmla="*/ 4645477 w 9905999"/>
              <a:gd name="connsiteY137" fmla="*/ 1762664 h 2265361"/>
              <a:gd name="connsiteX138" fmla="*/ 4550992 w 9905999"/>
              <a:gd name="connsiteY138" fmla="*/ 1800986 h 2265361"/>
              <a:gd name="connsiteX139" fmla="*/ 4506000 w 9905999"/>
              <a:gd name="connsiteY139" fmla="*/ 1967800 h 2265361"/>
              <a:gd name="connsiteX140" fmla="*/ 4553242 w 9905999"/>
              <a:gd name="connsiteY140" fmla="*/ 2134615 h 2265361"/>
              <a:gd name="connsiteX141" fmla="*/ 4645477 w 9905999"/>
              <a:gd name="connsiteY141" fmla="*/ 2172937 h 2265361"/>
              <a:gd name="connsiteX142" fmla="*/ 4737711 w 9905999"/>
              <a:gd name="connsiteY142" fmla="*/ 2136869 h 2265361"/>
              <a:gd name="connsiteX143" fmla="*/ 4780454 w 9905999"/>
              <a:gd name="connsiteY143" fmla="*/ 2006123 h 2265361"/>
              <a:gd name="connsiteX144" fmla="*/ 4645477 w 9905999"/>
              <a:gd name="connsiteY144" fmla="*/ 2006123 h 2265361"/>
              <a:gd name="connsiteX145" fmla="*/ 4645477 w 9905999"/>
              <a:gd name="connsiteY145" fmla="*/ 1947512 h 2265361"/>
              <a:gd name="connsiteX146" fmla="*/ 4838944 w 9905999"/>
              <a:gd name="connsiteY146" fmla="*/ 1947512 h 2265361"/>
              <a:gd name="connsiteX147" fmla="*/ 4838944 w 9905999"/>
              <a:gd name="connsiteY147" fmla="*/ 2222531 h 2265361"/>
              <a:gd name="connsiteX148" fmla="*/ 4793952 w 9905999"/>
              <a:gd name="connsiteY148" fmla="*/ 2222531 h 2265361"/>
              <a:gd name="connsiteX149" fmla="*/ 4782704 w 9905999"/>
              <a:gd name="connsiteY149" fmla="*/ 2161666 h 2265361"/>
              <a:gd name="connsiteX150" fmla="*/ 4645477 w 9905999"/>
              <a:gd name="connsiteY150" fmla="*/ 2233802 h 2265361"/>
              <a:gd name="connsiteX151" fmla="*/ 4506000 w 9905999"/>
              <a:gd name="connsiteY151" fmla="*/ 2179700 h 2265361"/>
              <a:gd name="connsiteX152" fmla="*/ 4440761 w 9905999"/>
              <a:gd name="connsiteY152" fmla="*/ 1967800 h 2265361"/>
              <a:gd name="connsiteX153" fmla="*/ 4506000 w 9905999"/>
              <a:gd name="connsiteY153" fmla="*/ 1755901 h 2265361"/>
              <a:gd name="connsiteX154" fmla="*/ 4645477 w 9905999"/>
              <a:gd name="connsiteY154" fmla="*/ 1701799 h 2265361"/>
              <a:gd name="connsiteX155" fmla="*/ 4002083 w 9905999"/>
              <a:gd name="connsiteY155" fmla="*/ 1701799 h 2265361"/>
              <a:gd name="connsiteX156" fmla="*/ 4148309 w 9905999"/>
              <a:gd name="connsiteY156" fmla="*/ 1758155 h 2265361"/>
              <a:gd name="connsiteX157" fmla="*/ 4193302 w 9905999"/>
              <a:gd name="connsiteY157" fmla="*/ 1859597 h 2265361"/>
              <a:gd name="connsiteX158" fmla="*/ 4125813 w 9905999"/>
              <a:gd name="connsiteY158" fmla="*/ 1859597 h 2265361"/>
              <a:gd name="connsiteX159" fmla="*/ 4103317 w 9905999"/>
              <a:gd name="connsiteY159" fmla="*/ 1803240 h 2265361"/>
              <a:gd name="connsiteX160" fmla="*/ 4002083 w 9905999"/>
              <a:gd name="connsiteY160" fmla="*/ 1762664 h 2265361"/>
              <a:gd name="connsiteX161" fmla="*/ 3909849 w 9905999"/>
              <a:gd name="connsiteY161" fmla="*/ 1800986 h 2265361"/>
              <a:gd name="connsiteX162" fmla="*/ 3864856 w 9905999"/>
              <a:gd name="connsiteY162" fmla="*/ 1967800 h 2265361"/>
              <a:gd name="connsiteX163" fmla="*/ 3909849 w 9905999"/>
              <a:gd name="connsiteY163" fmla="*/ 2134615 h 2265361"/>
              <a:gd name="connsiteX164" fmla="*/ 4002083 w 9905999"/>
              <a:gd name="connsiteY164" fmla="*/ 2172937 h 2265361"/>
              <a:gd name="connsiteX165" fmla="*/ 4094318 w 9905999"/>
              <a:gd name="connsiteY165" fmla="*/ 2136869 h 2265361"/>
              <a:gd name="connsiteX166" fmla="*/ 4139311 w 9905999"/>
              <a:gd name="connsiteY166" fmla="*/ 2006123 h 2265361"/>
              <a:gd name="connsiteX167" fmla="*/ 4002083 w 9905999"/>
              <a:gd name="connsiteY167" fmla="*/ 2006123 h 2265361"/>
              <a:gd name="connsiteX168" fmla="*/ 4002083 w 9905999"/>
              <a:gd name="connsiteY168" fmla="*/ 1947512 h 2265361"/>
              <a:gd name="connsiteX169" fmla="*/ 4197801 w 9905999"/>
              <a:gd name="connsiteY169" fmla="*/ 1947512 h 2265361"/>
              <a:gd name="connsiteX170" fmla="*/ 4197801 w 9905999"/>
              <a:gd name="connsiteY170" fmla="*/ 2222531 h 2265361"/>
              <a:gd name="connsiteX171" fmla="*/ 4152808 w 9905999"/>
              <a:gd name="connsiteY171" fmla="*/ 2222531 h 2265361"/>
              <a:gd name="connsiteX172" fmla="*/ 4141560 w 9905999"/>
              <a:gd name="connsiteY172" fmla="*/ 2161666 h 2265361"/>
              <a:gd name="connsiteX173" fmla="*/ 4002083 w 9905999"/>
              <a:gd name="connsiteY173" fmla="*/ 2233802 h 2265361"/>
              <a:gd name="connsiteX174" fmla="*/ 3864856 w 9905999"/>
              <a:gd name="connsiteY174" fmla="*/ 2179700 h 2265361"/>
              <a:gd name="connsiteX175" fmla="*/ 3797367 w 9905999"/>
              <a:gd name="connsiteY175" fmla="*/ 1967800 h 2265361"/>
              <a:gd name="connsiteX176" fmla="*/ 3864856 w 9905999"/>
              <a:gd name="connsiteY176" fmla="*/ 1755901 h 2265361"/>
              <a:gd name="connsiteX177" fmla="*/ 4002083 w 9905999"/>
              <a:gd name="connsiteY177" fmla="*/ 1701799 h 2265361"/>
              <a:gd name="connsiteX178" fmla="*/ 1642228 w 9905999"/>
              <a:gd name="connsiteY178" fmla="*/ 1701799 h 2265361"/>
              <a:gd name="connsiteX179" fmla="*/ 1774955 w 9905999"/>
              <a:gd name="connsiteY179" fmla="*/ 1749138 h 2265361"/>
              <a:gd name="connsiteX180" fmla="*/ 1824447 w 9905999"/>
              <a:gd name="connsiteY180" fmla="*/ 1859597 h 2265361"/>
              <a:gd name="connsiteX181" fmla="*/ 1756958 w 9905999"/>
              <a:gd name="connsiteY181" fmla="*/ 1859597 h 2265361"/>
              <a:gd name="connsiteX182" fmla="*/ 1732212 w 9905999"/>
              <a:gd name="connsiteY182" fmla="*/ 1796478 h 2265361"/>
              <a:gd name="connsiteX183" fmla="*/ 1639978 w 9905999"/>
              <a:gd name="connsiteY183" fmla="*/ 1760410 h 2265361"/>
              <a:gd name="connsiteX184" fmla="*/ 1549993 w 9905999"/>
              <a:gd name="connsiteY184" fmla="*/ 1796478 h 2265361"/>
              <a:gd name="connsiteX185" fmla="*/ 1529746 w 9905999"/>
              <a:gd name="connsiteY185" fmla="*/ 1850580 h 2265361"/>
              <a:gd name="connsiteX186" fmla="*/ 1606234 w 9905999"/>
              <a:gd name="connsiteY186" fmla="*/ 1922716 h 2265361"/>
              <a:gd name="connsiteX187" fmla="*/ 1691719 w 9905999"/>
              <a:gd name="connsiteY187" fmla="*/ 1936241 h 2265361"/>
              <a:gd name="connsiteX188" fmla="*/ 1833445 w 9905999"/>
              <a:gd name="connsiteY188" fmla="*/ 2082767 h 2265361"/>
              <a:gd name="connsiteX189" fmla="*/ 1790703 w 9905999"/>
              <a:gd name="connsiteY189" fmla="*/ 2181954 h 2265361"/>
              <a:gd name="connsiteX190" fmla="*/ 1644477 w 9905999"/>
              <a:gd name="connsiteY190" fmla="*/ 2231547 h 2265361"/>
              <a:gd name="connsiteX191" fmla="*/ 1498251 w 9905999"/>
              <a:gd name="connsiteY191" fmla="*/ 2184208 h 2265361"/>
              <a:gd name="connsiteX192" fmla="*/ 1444260 w 9905999"/>
              <a:gd name="connsiteY192" fmla="*/ 2060225 h 2265361"/>
              <a:gd name="connsiteX193" fmla="*/ 1509499 w 9905999"/>
              <a:gd name="connsiteY193" fmla="*/ 2060225 h 2265361"/>
              <a:gd name="connsiteX194" fmla="*/ 1545494 w 9905999"/>
              <a:gd name="connsiteY194" fmla="*/ 2141378 h 2265361"/>
              <a:gd name="connsiteX195" fmla="*/ 1644477 w 9905999"/>
              <a:gd name="connsiteY195" fmla="*/ 2172937 h 2265361"/>
              <a:gd name="connsiteX196" fmla="*/ 1738962 w 9905999"/>
              <a:gd name="connsiteY196" fmla="*/ 2143632 h 2265361"/>
              <a:gd name="connsiteX197" fmla="*/ 1765956 w 9905999"/>
              <a:gd name="connsiteY197" fmla="*/ 2082767 h 2265361"/>
              <a:gd name="connsiteX198" fmla="*/ 1680471 w 9905999"/>
              <a:gd name="connsiteY198" fmla="*/ 2001614 h 2265361"/>
              <a:gd name="connsiteX199" fmla="*/ 1599484 w 9905999"/>
              <a:gd name="connsiteY199" fmla="*/ 1988089 h 2265361"/>
              <a:gd name="connsiteX200" fmla="*/ 1462257 w 9905999"/>
              <a:gd name="connsiteY200" fmla="*/ 1852834 h 2265361"/>
              <a:gd name="connsiteX201" fmla="*/ 1507249 w 9905999"/>
              <a:gd name="connsiteY201" fmla="*/ 1751393 h 2265361"/>
              <a:gd name="connsiteX202" fmla="*/ 1642228 w 9905999"/>
              <a:gd name="connsiteY202" fmla="*/ 1701799 h 2265361"/>
              <a:gd name="connsiteX203" fmla="*/ 654642 w 9905999"/>
              <a:gd name="connsiteY203" fmla="*/ 1701799 h 2265361"/>
              <a:gd name="connsiteX204" fmla="*/ 791868 w 9905999"/>
              <a:gd name="connsiteY204" fmla="*/ 1755901 h 2265361"/>
              <a:gd name="connsiteX205" fmla="*/ 857108 w 9905999"/>
              <a:gd name="connsiteY205" fmla="*/ 1967800 h 2265361"/>
              <a:gd name="connsiteX206" fmla="*/ 791868 w 9905999"/>
              <a:gd name="connsiteY206" fmla="*/ 2177446 h 2265361"/>
              <a:gd name="connsiteX207" fmla="*/ 654642 w 9905999"/>
              <a:gd name="connsiteY207" fmla="*/ 2233802 h 2265361"/>
              <a:gd name="connsiteX208" fmla="*/ 515164 w 9905999"/>
              <a:gd name="connsiteY208" fmla="*/ 2177446 h 2265361"/>
              <a:gd name="connsiteX209" fmla="*/ 449925 w 9905999"/>
              <a:gd name="connsiteY209" fmla="*/ 1967800 h 2265361"/>
              <a:gd name="connsiteX210" fmla="*/ 515164 w 9905999"/>
              <a:gd name="connsiteY210" fmla="*/ 1755901 h 2265361"/>
              <a:gd name="connsiteX211" fmla="*/ 654642 w 9905999"/>
              <a:gd name="connsiteY211" fmla="*/ 1701799 h 2265361"/>
              <a:gd name="connsiteX212" fmla="*/ 202466 w 9905999"/>
              <a:gd name="connsiteY212" fmla="*/ 1701799 h 2265361"/>
              <a:gd name="connsiteX213" fmla="*/ 339693 w 9905999"/>
              <a:gd name="connsiteY213" fmla="*/ 1753647 h 2265361"/>
              <a:gd name="connsiteX214" fmla="*/ 389185 w 9905999"/>
              <a:gd name="connsiteY214" fmla="*/ 1870868 h 2265361"/>
              <a:gd name="connsiteX215" fmla="*/ 323946 w 9905999"/>
              <a:gd name="connsiteY215" fmla="*/ 1870868 h 2265361"/>
              <a:gd name="connsiteX216" fmla="*/ 294701 w 9905999"/>
              <a:gd name="connsiteY216" fmla="*/ 1798732 h 2265361"/>
              <a:gd name="connsiteX217" fmla="*/ 202466 w 9905999"/>
              <a:gd name="connsiteY217" fmla="*/ 1762664 h 2265361"/>
              <a:gd name="connsiteX218" fmla="*/ 110232 w 9905999"/>
              <a:gd name="connsiteY218" fmla="*/ 1800986 h 2265361"/>
              <a:gd name="connsiteX219" fmla="*/ 67489 w 9905999"/>
              <a:gd name="connsiteY219" fmla="*/ 1967800 h 2265361"/>
              <a:gd name="connsiteX220" fmla="*/ 110232 w 9905999"/>
              <a:gd name="connsiteY220" fmla="*/ 2132361 h 2265361"/>
              <a:gd name="connsiteX221" fmla="*/ 202466 w 9905999"/>
              <a:gd name="connsiteY221" fmla="*/ 2172937 h 2265361"/>
              <a:gd name="connsiteX222" fmla="*/ 296951 w 9905999"/>
              <a:gd name="connsiteY222" fmla="*/ 2132361 h 2265361"/>
              <a:gd name="connsiteX223" fmla="*/ 323946 w 9905999"/>
              <a:gd name="connsiteY223" fmla="*/ 2060225 h 2265361"/>
              <a:gd name="connsiteX224" fmla="*/ 391435 w 9905999"/>
              <a:gd name="connsiteY224" fmla="*/ 2060225 h 2265361"/>
              <a:gd name="connsiteX225" fmla="*/ 339693 w 9905999"/>
              <a:gd name="connsiteY225" fmla="*/ 2177446 h 2265361"/>
              <a:gd name="connsiteX226" fmla="*/ 202466 w 9905999"/>
              <a:gd name="connsiteY226" fmla="*/ 2233802 h 2265361"/>
              <a:gd name="connsiteX227" fmla="*/ 65239 w 9905999"/>
              <a:gd name="connsiteY227" fmla="*/ 2177446 h 2265361"/>
              <a:gd name="connsiteX228" fmla="*/ 0 w 9905999"/>
              <a:gd name="connsiteY228" fmla="*/ 1967800 h 2265361"/>
              <a:gd name="connsiteX229" fmla="*/ 65239 w 9905999"/>
              <a:gd name="connsiteY229" fmla="*/ 1755901 h 2265361"/>
              <a:gd name="connsiteX230" fmla="*/ 202466 w 9905999"/>
              <a:gd name="connsiteY230" fmla="*/ 1701799 h 2265361"/>
              <a:gd name="connsiteX231" fmla="*/ 2227389 w 9905999"/>
              <a:gd name="connsiteY231" fmla="*/ 214047 h 2265361"/>
              <a:gd name="connsiteX232" fmla="*/ 2227389 w 9905999"/>
              <a:gd name="connsiteY232" fmla="*/ 574548 h 2265361"/>
              <a:gd name="connsiteX233" fmla="*/ 2456649 w 9905999"/>
              <a:gd name="connsiteY233" fmla="*/ 574548 h 2265361"/>
              <a:gd name="connsiteX234" fmla="*/ 2654442 w 9905999"/>
              <a:gd name="connsiteY234" fmla="*/ 394298 h 2265361"/>
              <a:gd name="connsiteX235" fmla="*/ 2456649 w 9905999"/>
              <a:gd name="connsiteY235" fmla="*/ 214047 h 2265361"/>
              <a:gd name="connsiteX236" fmla="*/ 2227389 w 9905999"/>
              <a:gd name="connsiteY236" fmla="*/ 214047 h 2265361"/>
              <a:gd name="connsiteX237" fmla="*/ 8961436 w 9905999"/>
              <a:gd name="connsiteY237" fmla="*/ 0 h 2265361"/>
              <a:gd name="connsiteX238" fmla="*/ 9905999 w 9905999"/>
              <a:gd name="connsiteY238" fmla="*/ 0 h 2265361"/>
              <a:gd name="connsiteX239" fmla="*/ 9905999 w 9905999"/>
              <a:gd name="connsiteY239" fmla="*/ 225425 h 2265361"/>
              <a:gd name="connsiteX240" fmla="*/ 9555161 w 9905999"/>
              <a:gd name="connsiteY240" fmla="*/ 225425 h 2265361"/>
              <a:gd name="connsiteX241" fmla="*/ 9555161 w 9905999"/>
              <a:gd name="connsiteY241" fmla="*/ 1214437 h 2265361"/>
              <a:gd name="connsiteX242" fmla="*/ 9315449 w 9905999"/>
              <a:gd name="connsiteY242" fmla="*/ 1214437 h 2265361"/>
              <a:gd name="connsiteX243" fmla="*/ 9315449 w 9905999"/>
              <a:gd name="connsiteY243" fmla="*/ 225425 h 2265361"/>
              <a:gd name="connsiteX244" fmla="*/ 8961436 w 9905999"/>
              <a:gd name="connsiteY244" fmla="*/ 225425 h 2265361"/>
              <a:gd name="connsiteX245" fmla="*/ 7785099 w 9905999"/>
              <a:gd name="connsiteY245" fmla="*/ 0 h 2265361"/>
              <a:gd name="connsiteX246" fmla="*/ 8035924 w 9905999"/>
              <a:gd name="connsiteY246" fmla="*/ 0 h 2265361"/>
              <a:gd name="connsiteX247" fmla="*/ 8037512 w 9905999"/>
              <a:gd name="connsiteY247" fmla="*/ 3175 h 2265361"/>
              <a:gd name="connsiteX248" fmla="*/ 8523286 w 9905999"/>
              <a:gd name="connsiteY248" fmla="*/ 774700 h 2265361"/>
              <a:gd name="connsiteX249" fmla="*/ 8523286 w 9905999"/>
              <a:gd name="connsiteY249" fmla="*/ 0 h 2265361"/>
              <a:gd name="connsiteX250" fmla="*/ 8759824 w 9905999"/>
              <a:gd name="connsiteY250" fmla="*/ 0 h 2265361"/>
              <a:gd name="connsiteX251" fmla="*/ 8759824 w 9905999"/>
              <a:gd name="connsiteY251" fmla="*/ 1214437 h 2265361"/>
              <a:gd name="connsiteX252" fmla="*/ 8518524 w 9905999"/>
              <a:gd name="connsiteY252" fmla="*/ 1214437 h 2265361"/>
              <a:gd name="connsiteX253" fmla="*/ 8024812 w 9905999"/>
              <a:gd name="connsiteY253" fmla="*/ 425450 h 2265361"/>
              <a:gd name="connsiteX254" fmla="*/ 8024812 w 9905999"/>
              <a:gd name="connsiteY254" fmla="*/ 1214437 h 2265361"/>
              <a:gd name="connsiteX255" fmla="*/ 7785099 w 9905999"/>
              <a:gd name="connsiteY255" fmla="*/ 1214437 h 2265361"/>
              <a:gd name="connsiteX256" fmla="*/ 6665911 w 9905999"/>
              <a:gd name="connsiteY256" fmla="*/ 0 h 2265361"/>
              <a:gd name="connsiteX257" fmla="*/ 7535861 w 9905999"/>
              <a:gd name="connsiteY257" fmla="*/ 0 h 2265361"/>
              <a:gd name="connsiteX258" fmla="*/ 7535861 w 9905999"/>
              <a:gd name="connsiteY258" fmla="*/ 220663 h 2265361"/>
              <a:gd name="connsiteX259" fmla="*/ 6905624 w 9905999"/>
              <a:gd name="connsiteY259" fmla="*/ 220663 h 2265361"/>
              <a:gd name="connsiteX260" fmla="*/ 6905624 w 9905999"/>
              <a:gd name="connsiteY260" fmla="*/ 473075 h 2265361"/>
              <a:gd name="connsiteX261" fmla="*/ 7459661 w 9905999"/>
              <a:gd name="connsiteY261" fmla="*/ 473075 h 2265361"/>
              <a:gd name="connsiteX262" fmla="*/ 7459661 w 9905999"/>
              <a:gd name="connsiteY262" fmla="*/ 690562 h 2265361"/>
              <a:gd name="connsiteX263" fmla="*/ 6905624 w 9905999"/>
              <a:gd name="connsiteY263" fmla="*/ 690562 h 2265361"/>
              <a:gd name="connsiteX264" fmla="*/ 6905624 w 9905999"/>
              <a:gd name="connsiteY264" fmla="*/ 993775 h 2265361"/>
              <a:gd name="connsiteX265" fmla="*/ 7535861 w 9905999"/>
              <a:gd name="connsiteY265" fmla="*/ 993775 h 2265361"/>
              <a:gd name="connsiteX266" fmla="*/ 7535861 w 9905999"/>
              <a:gd name="connsiteY266" fmla="*/ 1214437 h 2265361"/>
              <a:gd name="connsiteX267" fmla="*/ 6665911 w 9905999"/>
              <a:gd name="connsiteY267" fmla="*/ 1214437 h 2265361"/>
              <a:gd name="connsiteX268" fmla="*/ 5221286 w 9905999"/>
              <a:gd name="connsiteY268" fmla="*/ 0 h 2265361"/>
              <a:gd name="connsiteX269" fmla="*/ 5534024 w 9905999"/>
              <a:gd name="connsiteY269" fmla="*/ 0 h 2265361"/>
              <a:gd name="connsiteX270" fmla="*/ 5835649 w 9905999"/>
              <a:gd name="connsiteY270" fmla="*/ 823912 h 2265361"/>
              <a:gd name="connsiteX271" fmla="*/ 6142037 w 9905999"/>
              <a:gd name="connsiteY271" fmla="*/ 0 h 2265361"/>
              <a:gd name="connsiteX272" fmla="*/ 6438899 w 9905999"/>
              <a:gd name="connsiteY272" fmla="*/ 0 h 2265361"/>
              <a:gd name="connsiteX273" fmla="*/ 6438899 w 9905999"/>
              <a:gd name="connsiteY273" fmla="*/ 1214437 h 2265361"/>
              <a:gd name="connsiteX274" fmla="*/ 6203949 w 9905999"/>
              <a:gd name="connsiteY274" fmla="*/ 1214437 h 2265361"/>
              <a:gd name="connsiteX275" fmla="*/ 6203949 w 9905999"/>
              <a:gd name="connsiteY275" fmla="*/ 419100 h 2265361"/>
              <a:gd name="connsiteX276" fmla="*/ 5916612 w 9905999"/>
              <a:gd name="connsiteY276" fmla="*/ 1196975 h 2265361"/>
              <a:gd name="connsiteX277" fmla="*/ 5740399 w 9905999"/>
              <a:gd name="connsiteY277" fmla="*/ 1196975 h 2265361"/>
              <a:gd name="connsiteX278" fmla="*/ 5454649 w 9905999"/>
              <a:gd name="connsiteY278" fmla="*/ 409575 h 2265361"/>
              <a:gd name="connsiteX279" fmla="*/ 5454649 w 9905999"/>
              <a:gd name="connsiteY279" fmla="*/ 1214437 h 2265361"/>
              <a:gd name="connsiteX280" fmla="*/ 5221286 w 9905999"/>
              <a:gd name="connsiteY280" fmla="*/ 1214437 h 2265361"/>
              <a:gd name="connsiteX281" fmla="*/ 4098924 w 9905999"/>
              <a:gd name="connsiteY281" fmla="*/ 0 h 2265361"/>
              <a:gd name="connsiteX282" fmla="*/ 4968874 w 9905999"/>
              <a:gd name="connsiteY282" fmla="*/ 0 h 2265361"/>
              <a:gd name="connsiteX283" fmla="*/ 4968874 w 9905999"/>
              <a:gd name="connsiteY283" fmla="*/ 220663 h 2265361"/>
              <a:gd name="connsiteX284" fmla="*/ 4340224 w 9905999"/>
              <a:gd name="connsiteY284" fmla="*/ 220663 h 2265361"/>
              <a:gd name="connsiteX285" fmla="*/ 4340224 w 9905999"/>
              <a:gd name="connsiteY285" fmla="*/ 473075 h 2265361"/>
              <a:gd name="connsiteX286" fmla="*/ 4895849 w 9905999"/>
              <a:gd name="connsiteY286" fmla="*/ 473075 h 2265361"/>
              <a:gd name="connsiteX287" fmla="*/ 4895849 w 9905999"/>
              <a:gd name="connsiteY287" fmla="*/ 690562 h 2265361"/>
              <a:gd name="connsiteX288" fmla="*/ 4340224 w 9905999"/>
              <a:gd name="connsiteY288" fmla="*/ 690562 h 2265361"/>
              <a:gd name="connsiteX289" fmla="*/ 4340224 w 9905999"/>
              <a:gd name="connsiteY289" fmla="*/ 993775 h 2265361"/>
              <a:gd name="connsiteX290" fmla="*/ 4968874 w 9905999"/>
              <a:gd name="connsiteY290" fmla="*/ 993775 h 2265361"/>
              <a:gd name="connsiteX291" fmla="*/ 4968874 w 9905999"/>
              <a:gd name="connsiteY291" fmla="*/ 1214437 h 2265361"/>
              <a:gd name="connsiteX292" fmla="*/ 4098924 w 9905999"/>
              <a:gd name="connsiteY292" fmla="*/ 1214437 h 2265361"/>
              <a:gd name="connsiteX293" fmla="*/ 3079749 w 9905999"/>
              <a:gd name="connsiteY293" fmla="*/ 0 h 2265361"/>
              <a:gd name="connsiteX294" fmla="*/ 3321049 w 9905999"/>
              <a:gd name="connsiteY294" fmla="*/ 0 h 2265361"/>
              <a:gd name="connsiteX295" fmla="*/ 3321049 w 9905999"/>
              <a:gd name="connsiteY295" fmla="*/ 984250 h 2265361"/>
              <a:gd name="connsiteX296" fmla="*/ 3871912 w 9905999"/>
              <a:gd name="connsiteY296" fmla="*/ 984250 h 2265361"/>
              <a:gd name="connsiteX297" fmla="*/ 3871912 w 9905999"/>
              <a:gd name="connsiteY297" fmla="*/ 1214437 h 2265361"/>
              <a:gd name="connsiteX298" fmla="*/ 3079749 w 9905999"/>
              <a:gd name="connsiteY298" fmla="*/ 1214437 h 2265361"/>
              <a:gd name="connsiteX299" fmla="*/ 1989138 w 9905999"/>
              <a:gd name="connsiteY299" fmla="*/ 0 h 2265361"/>
              <a:gd name="connsiteX300" fmla="*/ 2465639 w 9905999"/>
              <a:gd name="connsiteY300" fmla="*/ 0 h 2265361"/>
              <a:gd name="connsiteX301" fmla="*/ 2897188 w 9905999"/>
              <a:gd name="connsiteY301" fmla="*/ 392045 h 2265361"/>
              <a:gd name="connsiteX302" fmla="*/ 2465639 w 9905999"/>
              <a:gd name="connsiteY302" fmla="*/ 786342 h 2265361"/>
              <a:gd name="connsiteX303" fmla="*/ 2227389 w 9905999"/>
              <a:gd name="connsiteY303" fmla="*/ 786342 h 2265361"/>
              <a:gd name="connsiteX304" fmla="*/ 2227389 w 9905999"/>
              <a:gd name="connsiteY304" fmla="*/ 1214437 h 2265361"/>
              <a:gd name="connsiteX305" fmla="*/ 1989138 w 9905999"/>
              <a:gd name="connsiteY305" fmla="*/ 1214437 h 2265361"/>
              <a:gd name="connsiteX306" fmla="*/ 1989138 w 9905999"/>
              <a:gd name="connsiteY306" fmla="*/ 0 h 2265361"/>
              <a:gd name="connsiteX307" fmla="*/ 520699 w 9905999"/>
              <a:gd name="connsiteY307" fmla="*/ 0 h 2265361"/>
              <a:gd name="connsiteX308" fmla="*/ 833436 w 9905999"/>
              <a:gd name="connsiteY308" fmla="*/ 0 h 2265361"/>
              <a:gd name="connsiteX309" fmla="*/ 1135061 w 9905999"/>
              <a:gd name="connsiteY309" fmla="*/ 823912 h 2265361"/>
              <a:gd name="connsiteX310" fmla="*/ 1439862 w 9905999"/>
              <a:gd name="connsiteY310" fmla="*/ 0 h 2265361"/>
              <a:gd name="connsiteX311" fmla="*/ 1736724 w 9905999"/>
              <a:gd name="connsiteY311" fmla="*/ 0 h 2265361"/>
              <a:gd name="connsiteX312" fmla="*/ 1736724 w 9905999"/>
              <a:gd name="connsiteY312" fmla="*/ 1214437 h 2265361"/>
              <a:gd name="connsiteX313" fmla="*/ 1503362 w 9905999"/>
              <a:gd name="connsiteY313" fmla="*/ 1214437 h 2265361"/>
              <a:gd name="connsiteX314" fmla="*/ 1503362 w 9905999"/>
              <a:gd name="connsiteY314" fmla="*/ 419100 h 2265361"/>
              <a:gd name="connsiteX315" fmla="*/ 1216024 w 9905999"/>
              <a:gd name="connsiteY315" fmla="*/ 1196975 h 2265361"/>
              <a:gd name="connsiteX316" fmla="*/ 1039812 w 9905999"/>
              <a:gd name="connsiteY316" fmla="*/ 1196975 h 2265361"/>
              <a:gd name="connsiteX317" fmla="*/ 754062 w 9905999"/>
              <a:gd name="connsiteY317" fmla="*/ 409575 h 2265361"/>
              <a:gd name="connsiteX318" fmla="*/ 754062 w 9905999"/>
              <a:gd name="connsiteY318" fmla="*/ 1214437 h 2265361"/>
              <a:gd name="connsiteX319" fmla="*/ 520699 w 9905999"/>
              <a:gd name="connsiteY319" fmla="*/ 1214437 h 2265361"/>
              <a:gd name="connsiteX320" fmla="*/ 25400 w 9905999"/>
              <a:gd name="connsiteY320" fmla="*/ 0 h 2265361"/>
              <a:gd name="connsiteX321" fmla="*/ 268288 w 9905999"/>
              <a:gd name="connsiteY321" fmla="*/ 0 h 2265361"/>
              <a:gd name="connsiteX322" fmla="*/ 268288 w 9905999"/>
              <a:gd name="connsiteY322" fmla="*/ 1214437 h 2265361"/>
              <a:gd name="connsiteX323" fmla="*/ 25400 w 9905999"/>
              <a:gd name="connsiteY323" fmla="*/ 1214437 h 226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</a:cxnLst>
            <a:rect l="l" t="t" r="r" b="b"/>
            <a:pathLst>
              <a:path w="9905999" h="2265361">
                <a:moveTo>
                  <a:pt x="6778122" y="2222531"/>
                </a:moveTo>
                <a:cubicBezTo>
                  <a:pt x="6778122" y="2222531"/>
                  <a:pt x="6778122" y="2222531"/>
                  <a:pt x="7135812" y="2222531"/>
                </a:cubicBezTo>
                <a:lnTo>
                  <a:pt x="7135812" y="2265361"/>
                </a:lnTo>
                <a:cubicBezTo>
                  <a:pt x="7135812" y="2265361"/>
                  <a:pt x="7135812" y="2265361"/>
                  <a:pt x="6778122" y="2265361"/>
                </a:cubicBezTo>
                <a:cubicBezTo>
                  <a:pt x="6778122" y="2265361"/>
                  <a:pt x="6778122" y="2265361"/>
                  <a:pt x="6778122" y="2222531"/>
                </a:cubicBezTo>
                <a:close/>
                <a:moveTo>
                  <a:pt x="6449676" y="1769427"/>
                </a:moveTo>
                <a:cubicBezTo>
                  <a:pt x="6449676" y="1769427"/>
                  <a:pt x="6449676" y="1769427"/>
                  <a:pt x="6449676" y="1965546"/>
                </a:cubicBezTo>
                <a:cubicBezTo>
                  <a:pt x="6449676" y="1965546"/>
                  <a:pt x="6449676" y="1965546"/>
                  <a:pt x="6575655" y="1965546"/>
                </a:cubicBezTo>
                <a:cubicBezTo>
                  <a:pt x="6643144" y="1965546"/>
                  <a:pt x="6679138" y="1933987"/>
                  <a:pt x="6679138" y="1864105"/>
                </a:cubicBezTo>
                <a:cubicBezTo>
                  <a:pt x="6679138" y="1800986"/>
                  <a:pt x="6638645" y="1769427"/>
                  <a:pt x="6575655" y="1769427"/>
                </a:cubicBezTo>
                <a:cubicBezTo>
                  <a:pt x="6575655" y="1769427"/>
                  <a:pt x="6575655" y="1769427"/>
                  <a:pt x="6449676" y="1769427"/>
                </a:cubicBezTo>
                <a:close/>
                <a:moveTo>
                  <a:pt x="5021164" y="1769427"/>
                </a:moveTo>
                <a:cubicBezTo>
                  <a:pt x="5021164" y="1769427"/>
                  <a:pt x="5021164" y="1769427"/>
                  <a:pt x="5021164" y="1949767"/>
                </a:cubicBezTo>
                <a:cubicBezTo>
                  <a:pt x="5021164" y="1949767"/>
                  <a:pt x="5021164" y="1949767"/>
                  <a:pt x="5158391" y="1949767"/>
                </a:cubicBezTo>
                <a:cubicBezTo>
                  <a:pt x="5219131" y="1949767"/>
                  <a:pt x="5261874" y="1924970"/>
                  <a:pt x="5261874" y="1859597"/>
                </a:cubicBezTo>
                <a:cubicBezTo>
                  <a:pt x="5261874" y="1794223"/>
                  <a:pt x="5219131" y="1769427"/>
                  <a:pt x="5158391" y="1769427"/>
                </a:cubicBezTo>
                <a:cubicBezTo>
                  <a:pt x="5158391" y="1769427"/>
                  <a:pt x="5158391" y="1769427"/>
                  <a:pt x="5021164" y="1769427"/>
                </a:cubicBezTo>
                <a:close/>
                <a:moveTo>
                  <a:pt x="5597068" y="1762664"/>
                </a:moveTo>
                <a:cubicBezTo>
                  <a:pt x="5563324" y="1762664"/>
                  <a:pt x="5529579" y="1776189"/>
                  <a:pt x="5504834" y="1800986"/>
                </a:cubicBezTo>
                <a:cubicBezTo>
                  <a:pt x="5462091" y="1843817"/>
                  <a:pt x="5459841" y="1913699"/>
                  <a:pt x="5459841" y="1967800"/>
                </a:cubicBezTo>
                <a:cubicBezTo>
                  <a:pt x="5459841" y="2019648"/>
                  <a:pt x="5462091" y="2089530"/>
                  <a:pt x="5504834" y="2132361"/>
                </a:cubicBezTo>
                <a:cubicBezTo>
                  <a:pt x="5529579" y="2159412"/>
                  <a:pt x="5563324" y="2170683"/>
                  <a:pt x="5597068" y="2170683"/>
                </a:cubicBezTo>
                <a:cubicBezTo>
                  <a:pt x="5633062" y="2170683"/>
                  <a:pt x="5666807" y="2159412"/>
                  <a:pt x="5691552" y="2132361"/>
                </a:cubicBezTo>
                <a:cubicBezTo>
                  <a:pt x="5732046" y="2089530"/>
                  <a:pt x="5734295" y="2019648"/>
                  <a:pt x="5734295" y="1967800"/>
                </a:cubicBezTo>
                <a:cubicBezTo>
                  <a:pt x="5734295" y="1913699"/>
                  <a:pt x="5732046" y="1843817"/>
                  <a:pt x="5691552" y="1800986"/>
                </a:cubicBezTo>
                <a:cubicBezTo>
                  <a:pt x="5666807" y="1776189"/>
                  <a:pt x="5633062" y="1762664"/>
                  <a:pt x="5597068" y="1762664"/>
                </a:cubicBezTo>
                <a:close/>
                <a:moveTo>
                  <a:pt x="654642" y="1762664"/>
                </a:moveTo>
                <a:cubicBezTo>
                  <a:pt x="618647" y="1762664"/>
                  <a:pt x="584903" y="1776189"/>
                  <a:pt x="560157" y="1800986"/>
                </a:cubicBezTo>
                <a:cubicBezTo>
                  <a:pt x="519664" y="1843817"/>
                  <a:pt x="517414" y="1913699"/>
                  <a:pt x="517414" y="1967800"/>
                </a:cubicBezTo>
                <a:cubicBezTo>
                  <a:pt x="517414" y="2019648"/>
                  <a:pt x="519664" y="2089530"/>
                  <a:pt x="560157" y="2132361"/>
                </a:cubicBezTo>
                <a:cubicBezTo>
                  <a:pt x="584903" y="2159412"/>
                  <a:pt x="618647" y="2170683"/>
                  <a:pt x="654642" y="2170683"/>
                </a:cubicBezTo>
                <a:cubicBezTo>
                  <a:pt x="688386" y="2170683"/>
                  <a:pt x="722130" y="2159412"/>
                  <a:pt x="746876" y="2132361"/>
                </a:cubicBezTo>
                <a:cubicBezTo>
                  <a:pt x="789619" y="2089530"/>
                  <a:pt x="791868" y="2019648"/>
                  <a:pt x="791868" y="1967800"/>
                </a:cubicBezTo>
                <a:cubicBezTo>
                  <a:pt x="791868" y="1913699"/>
                  <a:pt x="789619" y="1843817"/>
                  <a:pt x="746876" y="1800986"/>
                </a:cubicBezTo>
                <a:cubicBezTo>
                  <a:pt x="722130" y="1776189"/>
                  <a:pt x="688386" y="1762664"/>
                  <a:pt x="654642" y="1762664"/>
                </a:cubicBezTo>
                <a:close/>
                <a:moveTo>
                  <a:pt x="6386687" y="1710816"/>
                </a:moveTo>
                <a:cubicBezTo>
                  <a:pt x="6386687" y="1710816"/>
                  <a:pt x="6386687" y="1710816"/>
                  <a:pt x="6575655" y="1710816"/>
                </a:cubicBezTo>
                <a:cubicBezTo>
                  <a:pt x="6636395" y="1710816"/>
                  <a:pt x="6679138" y="1726596"/>
                  <a:pt x="6706134" y="1755901"/>
                </a:cubicBezTo>
                <a:cubicBezTo>
                  <a:pt x="6730880" y="1782952"/>
                  <a:pt x="6744377" y="1821274"/>
                  <a:pt x="6744377" y="1864105"/>
                </a:cubicBezTo>
                <a:cubicBezTo>
                  <a:pt x="6744377" y="1915953"/>
                  <a:pt x="6730880" y="1954275"/>
                  <a:pt x="6701634" y="1981326"/>
                </a:cubicBezTo>
                <a:cubicBezTo>
                  <a:pt x="6674639" y="2008377"/>
                  <a:pt x="6634146" y="2024157"/>
                  <a:pt x="6577905" y="2024157"/>
                </a:cubicBezTo>
                <a:cubicBezTo>
                  <a:pt x="6577905" y="2024157"/>
                  <a:pt x="6577905" y="2024157"/>
                  <a:pt x="6449676" y="2024157"/>
                </a:cubicBezTo>
                <a:cubicBezTo>
                  <a:pt x="6449676" y="2024157"/>
                  <a:pt x="6449676" y="2024157"/>
                  <a:pt x="6449676" y="2222531"/>
                </a:cubicBezTo>
                <a:cubicBezTo>
                  <a:pt x="6449676" y="2222531"/>
                  <a:pt x="6449676" y="2222531"/>
                  <a:pt x="6386687" y="2222531"/>
                </a:cubicBezTo>
                <a:cubicBezTo>
                  <a:pt x="6386687" y="2222531"/>
                  <a:pt x="6386687" y="2222531"/>
                  <a:pt x="6386687" y="1710816"/>
                </a:cubicBezTo>
                <a:close/>
                <a:moveTo>
                  <a:pt x="5889520" y="1710816"/>
                </a:moveTo>
                <a:cubicBezTo>
                  <a:pt x="5889520" y="1710816"/>
                  <a:pt x="5889520" y="1710816"/>
                  <a:pt x="5954759" y="1710816"/>
                </a:cubicBezTo>
                <a:cubicBezTo>
                  <a:pt x="5954759" y="1710816"/>
                  <a:pt x="5954759" y="1710816"/>
                  <a:pt x="5954759" y="2035428"/>
                </a:cubicBezTo>
                <a:cubicBezTo>
                  <a:pt x="5954759" y="2118835"/>
                  <a:pt x="5988503" y="2172937"/>
                  <a:pt x="6076239" y="2172937"/>
                </a:cubicBezTo>
                <a:cubicBezTo>
                  <a:pt x="6166224" y="2172937"/>
                  <a:pt x="6199968" y="2118835"/>
                  <a:pt x="6199968" y="2035428"/>
                </a:cubicBezTo>
                <a:cubicBezTo>
                  <a:pt x="6199968" y="2035428"/>
                  <a:pt x="6199968" y="2035428"/>
                  <a:pt x="6199968" y="1710816"/>
                </a:cubicBezTo>
                <a:cubicBezTo>
                  <a:pt x="6199968" y="1710816"/>
                  <a:pt x="6199968" y="1710816"/>
                  <a:pt x="6262957" y="1710816"/>
                </a:cubicBezTo>
                <a:cubicBezTo>
                  <a:pt x="6262957" y="1710816"/>
                  <a:pt x="6262957" y="1710816"/>
                  <a:pt x="6262957" y="2035428"/>
                </a:cubicBezTo>
                <a:cubicBezTo>
                  <a:pt x="6262957" y="2163920"/>
                  <a:pt x="6190969" y="2231547"/>
                  <a:pt x="6076239" y="2231547"/>
                </a:cubicBezTo>
                <a:cubicBezTo>
                  <a:pt x="5961508" y="2231547"/>
                  <a:pt x="5889520" y="2163920"/>
                  <a:pt x="5889520" y="2035428"/>
                </a:cubicBezTo>
                <a:cubicBezTo>
                  <a:pt x="5889520" y="2035428"/>
                  <a:pt x="5889520" y="2035428"/>
                  <a:pt x="5889520" y="1710816"/>
                </a:cubicBezTo>
                <a:close/>
                <a:moveTo>
                  <a:pt x="4958174" y="1710816"/>
                </a:moveTo>
                <a:cubicBezTo>
                  <a:pt x="4958174" y="1710816"/>
                  <a:pt x="4958174" y="1710816"/>
                  <a:pt x="5158391" y="1710816"/>
                </a:cubicBezTo>
                <a:cubicBezTo>
                  <a:pt x="5219131" y="1710816"/>
                  <a:pt x="5259624" y="1726596"/>
                  <a:pt x="5288869" y="1755901"/>
                </a:cubicBezTo>
                <a:cubicBezTo>
                  <a:pt x="5313615" y="1782952"/>
                  <a:pt x="5329363" y="1814512"/>
                  <a:pt x="5329363" y="1859597"/>
                </a:cubicBezTo>
                <a:cubicBezTo>
                  <a:pt x="5329363" y="1904682"/>
                  <a:pt x="5313615" y="1936241"/>
                  <a:pt x="5288869" y="1961038"/>
                </a:cubicBezTo>
                <a:cubicBezTo>
                  <a:pt x="5275372" y="1976817"/>
                  <a:pt x="5252875" y="1990343"/>
                  <a:pt x="5228130" y="1997106"/>
                </a:cubicBezTo>
                <a:cubicBezTo>
                  <a:pt x="5228130" y="1997106"/>
                  <a:pt x="5228130" y="1997106"/>
                  <a:pt x="5331612" y="2222531"/>
                </a:cubicBezTo>
                <a:lnTo>
                  <a:pt x="5259624" y="2222531"/>
                </a:lnTo>
                <a:cubicBezTo>
                  <a:pt x="5259624" y="2222531"/>
                  <a:pt x="5259624" y="2222531"/>
                  <a:pt x="5162890" y="2010631"/>
                </a:cubicBezTo>
                <a:cubicBezTo>
                  <a:pt x="5162890" y="2010631"/>
                  <a:pt x="5162890" y="2010631"/>
                  <a:pt x="5021164" y="2010631"/>
                </a:cubicBezTo>
                <a:cubicBezTo>
                  <a:pt x="5021164" y="2010631"/>
                  <a:pt x="5021164" y="2010631"/>
                  <a:pt x="5021164" y="2222531"/>
                </a:cubicBezTo>
                <a:cubicBezTo>
                  <a:pt x="5021164" y="2222531"/>
                  <a:pt x="5021164" y="2222531"/>
                  <a:pt x="4958174" y="2222531"/>
                </a:cubicBezTo>
                <a:cubicBezTo>
                  <a:pt x="4958174" y="2222531"/>
                  <a:pt x="4958174" y="2222531"/>
                  <a:pt x="4958174" y="1710816"/>
                </a:cubicBezTo>
                <a:close/>
                <a:moveTo>
                  <a:pt x="3309199" y="1710816"/>
                </a:moveTo>
                <a:cubicBezTo>
                  <a:pt x="3309199" y="1710816"/>
                  <a:pt x="3309199" y="1710816"/>
                  <a:pt x="3381187" y="1710816"/>
                </a:cubicBezTo>
                <a:cubicBezTo>
                  <a:pt x="3381187" y="1710816"/>
                  <a:pt x="3381187" y="1710816"/>
                  <a:pt x="3633145" y="2123344"/>
                </a:cubicBezTo>
                <a:cubicBezTo>
                  <a:pt x="3633145" y="2123344"/>
                  <a:pt x="3633145" y="2123344"/>
                  <a:pt x="3633145" y="1710816"/>
                </a:cubicBezTo>
                <a:cubicBezTo>
                  <a:pt x="3633145" y="1710816"/>
                  <a:pt x="3633145" y="1710816"/>
                  <a:pt x="3693885" y="1710816"/>
                </a:cubicBezTo>
                <a:cubicBezTo>
                  <a:pt x="3693885" y="1710816"/>
                  <a:pt x="3693885" y="1710816"/>
                  <a:pt x="3693885" y="2222531"/>
                </a:cubicBezTo>
                <a:lnTo>
                  <a:pt x="3621897" y="2222531"/>
                </a:lnTo>
                <a:cubicBezTo>
                  <a:pt x="3621897" y="2222531"/>
                  <a:pt x="3621897" y="2222531"/>
                  <a:pt x="3372188" y="1810003"/>
                </a:cubicBezTo>
                <a:cubicBezTo>
                  <a:pt x="3372188" y="1810003"/>
                  <a:pt x="3372188" y="1810003"/>
                  <a:pt x="3372188" y="2222531"/>
                </a:cubicBezTo>
                <a:cubicBezTo>
                  <a:pt x="3372188" y="2222531"/>
                  <a:pt x="3372188" y="2222531"/>
                  <a:pt x="3309199" y="2222531"/>
                </a:cubicBezTo>
                <a:cubicBezTo>
                  <a:pt x="3309199" y="2222531"/>
                  <a:pt x="3309199" y="2222531"/>
                  <a:pt x="3309199" y="1710816"/>
                </a:cubicBezTo>
                <a:close/>
                <a:moveTo>
                  <a:pt x="3106732" y="1710816"/>
                </a:moveTo>
                <a:cubicBezTo>
                  <a:pt x="3106732" y="1710816"/>
                  <a:pt x="3106732" y="1710816"/>
                  <a:pt x="3171971" y="1710816"/>
                </a:cubicBezTo>
                <a:lnTo>
                  <a:pt x="3171971" y="2222531"/>
                </a:lnTo>
                <a:cubicBezTo>
                  <a:pt x="3171971" y="2222531"/>
                  <a:pt x="3171971" y="2222531"/>
                  <a:pt x="3106732" y="2222531"/>
                </a:cubicBezTo>
                <a:cubicBezTo>
                  <a:pt x="3106732" y="2222531"/>
                  <a:pt x="3106732" y="2222531"/>
                  <a:pt x="3106732" y="1710816"/>
                </a:cubicBezTo>
                <a:close/>
                <a:moveTo>
                  <a:pt x="2663557" y="1710816"/>
                </a:moveTo>
                <a:cubicBezTo>
                  <a:pt x="2663557" y="1710816"/>
                  <a:pt x="2663557" y="1710816"/>
                  <a:pt x="3032495" y="1710816"/>
                </a:cubicBezTo>
                <a:cubicBezTo>
                  <a:pt x="3032495" y="1710816"/>
                  <a:pt x="3032495" y="1710816"/>
                  <a:pt x="3032495" y="1769427"/>
                </a:cubicBezTo>
                <a:lnTo>
                  <a:pt x="2879521" y="1769427"/>
                </a:lnTo>
                <a:cubicBezTo>
                  <a:pt x="2879521" y="1769427"/>
                  <a:pt x="2879521" y="1769427"/>
                  <a:pt x="2879521" y="2222531"/>
                </a:cubicBezTo>
                <a:cubicBezTo>
                  <a:pt x="2879521" y="2222531"/>
                  <a:pt x="2879521" y="2222531"/>
                  <a:pt x="2814282" y="2222531"/>
                </a:cubicBezTo>
                <a:cubicBezTo>
                  <a:pt x="2814282" y="2222531"/>
                  <a:pt x="2814282" y="2222531"/>
                  <a:pt x="2814282" y="1769427"/>
                </a:cubicBezTo>
                <a:cubicBezTo>
                  <a:pt x="2814282" y="1769427"/>
                  <a:pt x="2814282" y="1769427"/>
                  <a:pt x="2663557" y="1769427"/>
                </a:cubicBezTo>
                <a:cubicBezTo>
                  <a:pt x="2663557" y="1769427"/>
                  <a:pt x="2663557" y="1769427"/>
                  <a:pt x="2663557" y="1710816"/>
                </a:cubicBezTo>
                <a:close/>
                <a:moveTo>
                  <a:pt x="2416099" y="1710816"/>
                </a:moveTo>
                <a:cubicBezTo>
                  <a:pt x="2416099" y="1710816"/>
                  <a:pt x="2416099" y="1710816"/>
                  <a:pt x="2481338" y="1710816"/>
                </a:cubicBezTo>
                <a:cubicBezTo>
                  <a:pt x="2481338" y="1710816"/>
                  <a:pt x="2481338" y="1710816"/>
                  <a:pt x="2481338" y="2163920"/>
                </a:cubicBezTo>
                <a:cubicBezTo>
                  <a:pt x="2481338" y="2163920"/>
                  <a:pt x="2481338" y="2163920"/>
                  <a:pt x="2726547" y="2163920"/>
                </a:cubicBezTo>
                <a:cubicBezTo>
                  <a:pt x="2726547" y="2163920"/>
                  <a:pt x="2726547" y="2163920"/>
                  <a:pt x="2726547" y="2222531"/>
                </a:cubicBezTo>
                <a:lnTo>
                  <a:pt x="2416099" y="2222531"/>
                </a:lnTo>
                <a:cubicBezTo>
                  <a:pt x="2416099" y="2222531"/>
                  <a:pt x="2416099" y="2222531"/>
                  <a:pt x="2416099" y="1710816"/>
                </a:cubicBezTo>
                <a:close/>
                <a:moveTo>
                  <a:pt x="1918931" y="1710816"/>
                </a:moveTo>
                <a:cubicBezTo>
                  <a:pt x="1918931" y="1710816"/>
                  <a:pt x="1918931" y="1710816"/>
                  <a:pt x="1984171" y="1710816"/>
                </a:cubicBezTo>
                <a:cubicBezTo>
                  <a:pt x="1984171" y="1710816"/>
                  <a:pt x="1984171" y="1710816"/>
                  <a:pt x="1984171" y="2035428"/>
                </a:cubicBezTo>
                <a:cubicBezTo>
                  <a:pt x="1984171" y="2118835"/>
                  <a:pt x="2017916" y="2172937"/>
                  <a:pt x="2105651" y="2172937"/>
                </a:cubicBezTo>
                <a:cubicBezTo>
                  <a:pt x="2195636" y="2172937"/>
                  <a:pt x="2229380" y="2118835"/>
                  <a:pt x="2229380" y="2035428"/>
                </a:cubicBezTo>
                <a:cubicBezTo>
                  <a:pt x="2229380" y="2035428"/>
                  <a:pt x="2229380" y="2035428"/>
                  <a:pt x="2229380" y="1710816"/>
                </a:cubicBezTo>
                <a:cubicBezTo>
                  <a:pt x="2229380" y="1710816"/>
                  <a:pt x="2229380" y="1710816"/>
                  <a:pt x="2292369" y="1710816"/>
                </a:cubicBezTo>
                <a:cubicBezTo>
                  <a:pt x="2292369" y="1710816"/>
                  <a:pt x="2292369" y="1710816"/>
                  <a:pt x="2292369" y="2035428"/>
                </a:cubicBezTo>
                <a:cubicBezTo>
                  <a:pt x="2292369" y="2163920"/>
                  <a:pt x="2220382" y="2231547"/>
                  <a:pt x="2105651" y="2231547"/>
                </a:cubicBezTo>
                <a:cubicBezTo>
                  <a:pt x="1990920" y="2231547"/>
                  <a:pt x="1918931" y="2163920"/>
                  <a:pt x="1918931" y="2035428"/>
                </a:cubicBezTo>
                <a:cubicBezTo>
                  <a:pt x="1918931" y="2035428"/>
                  <a:pt x="1918931" y="2035428"/>
                  <a:pt x="1918931" y="1710816"/>
                </a:cubicBezTo>
                <a:close/>
                <a:moveTo>
                  <a:pt x="960591" y="1710816"/>
                </a:moveTo>
                <a:cubicBezTo>
                  <a:pt x="960591" y="1710816"/>
                  <a:pt x="960591" y="1710816"/>
                  <a:pt x="1032578" y="1710816"/>
                </a:cubicBezTo>
                <a:cubicBezTo>
                  <a:pt x="1032578" y="1710816"/>
                  <a:pt x="1032578" y="1710816"/>
                  <a:pt x="1284537" y="2123344"/>
                </a:cubicBezTo>
                <a:cubicBezTo>
                  <a:pt x="1284537" y="2123344"/>
                  <a:pt x="1284537" y="2123344"/>
                  <a:pt x="1284537" y="1710816"/>
                </a:cubicBezTo>
                <a:cubicBezTo>
                  <a:pt x="1284537" y="1710816"/>
                  <a:pt x="1284537" y="1710816"/>
                  <a:pt x="1345276" y="1710816"/>
                </a:cubicBezTo>
                <a:cubicBezTo>
                  <a:pt x="1345276" y="1710816"/>
                  <a:pt x="1345276" y="1710816"/>
                  <a:pt x="1345276" y="2222531"/>
                </a:cubicBezTo>
                <a:lnTo>
                  <a:pt x="1273289" y="2222531"/>
                </a:lnTo>
                <a:cubicBezTo>
                  <a:pt x="1273289" y="2222531"/>
                  <a:pt x="1273289" y="2222531"/>
                  <a:pt x="1023580" y="1810003"/>
                </a:cubicBezTo>
                <a:cubicBezTo>
                  <a:pt x="1023580" y="1810003"/>
                  <a:pt x="1023580" y="1810003"/>
                  <a:pt x="1023580" y="2222531"/>
                </a:cubicBezTo>
                <a:cubicBezTo>
                  <a:pt x="1023580" y="2222531"/>
                  <a:pt x="1023580" y="2222531"/>
                  <a:pt x="960591" y="2222531"/>
                </a:cubicBezTo>
                <a:cubicBezTo>
                  <a:pt x="960591" y="2222531"/>
                  <a:pt x="960591" y="2222531"/>
                  <a:pt x="960591" y="1710816"/>
                </a:cubicBezTo>
                <a:close/>
                <a:moveTo>
                  <a:pt x="5597068" y="1701799"/>
                </a:moveTo>
                <a:cubicBezTo>
                  <a:pt x="5648810" y="1701799"/>
                  <a:pt x="5698301" y="1719833"/>
                  <a:pt x="5736545" y="1755901"/>
                </a:cubicBezTo>
                <a:cubicBezTo>
                  <a:pt x="5790536" y="1810003"/>
                  <a:pt x="5801784" y="1884393"/>
                  <a:pt x="5801784" y="1967800"/>
                </a:cubicBezTo>
                <a:cubicBezTo>
                  <a:pt x="5801784" y="2048953"/>
                  <a:pt x="5790536" y="2123344"/>
                  <a:pt x="5736545" y="2177446"/>
                </a:cubicBezTo>
                <a:cubicBezTo>
                  <a:pt x="5698301" y="2213514"/>
                  <a:pt x="5648810" y="2233802"/>
                  <a:pt x="5597068" y="2233802"/>
                </a:cubicBezTo>
                <a:cubicBezTo>
                  <a:pt x="5547576" y="2233802"/>
                  <a:pt x="5495835" y="2213514"/>
                  <a:pt x="5459841" y="2177446"/>
                </a:cubicBezTo>
                <a:cubicBezTo>
                  <a:pt x="5403600" y="2123344"/>
                  <a:pt x="5394602" y="2048953"/>
                  <a:pt x="5394602" y="1967800"/>
                </a:cubicBezTo>
                <a:cubicBezTo>
                  <a:pt x="5394602" y="1884393"/>
                  <a:pt x="5403600" y="1810003"/>
                  <a:pt x="5459841" y="1755901"/>
                </a:cubicBezTo>
                <a:cubicBezTo>
                  <a:pt x="5495835" y="1719833"/>
                  <a:pt x="5547576" y="1701799"/>
                  <a:pt x="5597068" y="1701799"/>
                </a:cubicBezTo>
                <a:close/>
                <a:moveTo>
                  <a:pt x="4645477" y="1701799"/>
                </a:moveTo>
                <a:cubicBezTo>
                  <a:pt x="4701717" y="1701799"/>
                  <a:pt x="4755708" y="1722087"/>
                  <a:pt x="4791702" y="1758155"/>
                </a:cubicBezTo>
                <a:cubicBezTo>
                  <a:pt x="4816448" y="1785206"/>
                  <a:pt x="4832195" y="1816766"/>
                  <a:pt x="4834445" y="1859597"/>
                </a:cubicBezTo>
                <a:cubicBezTo>
                  <a:pt x="4834445" y="1859597"/>
                  <a:pt x="4834445" y="1859597"/>
                  <a:pt x="4766956" y="1859597"/>
                </a:cubicBezTo>
                <a:cubicBezTo>
                  <a:pt x="4764707" y="1834800"/>
                  <a:pt x="4757958" y="1819020"/>
                  <a:pt x="4744460" y="1803240"/>
                </a:cubicBezTo>
                <a:cubicBezTo>
                  <a:pt x="4721964" y="1773935"/>
                  <a:pt x="4685970" y="1762664"/>
                  <a:pt x="4645477" y="1762664"/>
                </a:cubicBezTo>
                <a:cubicBezTo>
                  <a:pt x="4609482" y="1762664"/>
                  <a:pt x="4575738" y="1776189"/>
                  <a:pt x="4550992" y="1800986"/>
                </a:cubicBezTo>
                <a:cubicBezTo>
                  <a:pt x="4510499" y="1843817"/>
                  <a:pt x="4506000" y="1913699"/>
                  <a:pt x="4506000" y="1967800"/>
                </a:cubicBezTo>
                <a:cubicBezTo>
                  <a:pt x="4506000" y="2017394"/>
                  <a:pt x="4510499" y="2091784"/>
                  <a:pt x="4553242" y="2134615"/>
                </a:cubicBezTo>
                <a:cubicBezTo>
                  <a:pt x="4577988" y="2161666"/>
                  <a:pt x="4609482" y="2172937"/>
                  <a:pt x="4645477" y="2172937"/>
                </a:cubicBezTo>
                <a:cubicBezTo>
                  <a:pt x="4681471" y="2172937"/>
                  <a:pt x="4715215" y="2159412"/>
                  <a:pt x="4737711" y="2136869"/>
                </a:cubicBezTo>
                <a:cubicBezTo>
                  <a:pt x="4771456" y="2103055"/>
                  <a:pt x="4780454" y="2053462"/>
                  <a:pt x="4780454" y="2006123"/>
                </a:cubicBezTo>
                <a:cubicBezTo>
                  <a:pt x="4780454" y="2006123"/>
                  <a:pt x="4780454" y="2006123"/>
                  <a:pt x="4645477" y="2006123"/>
                </a:cubicBezTo>
                <a:cubicBezTo>
                  <a:pt x="4645477" y="2006123"/>
                  <a:pt x="4645477" y="2006123"/>
                  <a:pt x="4645477" y="1947512"/>
                </a:cubicBezTo>
                <a:cubicBezTo>
                  <a:pt x="4645477" y="1947512"/>
                  <a:pt x="4645477" y="1947512"/>
                  <a:pt x="4838944" y="1947512"/>
                </a:cubicBezTo>
                <a:cubicBezTo>
                  <a:pt x="4838944" y="1947512"/>
                  <a:pt x="4838944" y="1947512"/>
                  <a:pt x="4838944" y="2222531"/>
                </a:cubicBezTo>
                <a:lnTo>
                  <a:pt x="4793952" y="2222531"/>
                </a:lnTo>
                <a:cubicBezTo>
                  <a:pt x="4793952" y="2222531"/>
                  <a:pt x="4793952" y="2222531"/>
                  <a:pt x="4782704" y="2161666"/>
                </a:cubicBezTo>
                <a:cubicBezTo>
                  <a:pt x="4757958" y="2204497"/>
                  <a:pt x="4701717" y="2233802"/>
                  <a:pt x="4645477" y="2233802"/>
                </a:cubicBezTo>
                <a:cubicBezTo>
                  <a:pt x="4593735" y="2233802"/>
                  <a:pt x="4544243" y="2215768"/>
                  <a:pt x="4506000" y="2179700"/>
                </a:cubicBezTo>
                <a:cubicBezTo>
                  <a:pt x="4454258" y="2130106"/>
                  <a:pt x="4440761" y="2057970"/>
                  <a:pt x="4440761" y="1967800"/>
                </a:cubicBezTo>
                <a:cubicBezTo>
                  <a:pt x="4440761" y="1884393"/>
                  <a:pt x="4452009" y="1810003"/>
                  <a:pt x="4506000" y="1755901"/>
                </a:cubicBezTo>
                <a:cubicBezTo>
                  <a:pt x="4544243" y="1719833"/>
                  <a:pt x="4593735" y="1701799"/>
                  <a:pt x="4645477" y="1701799"/>
                </a:cubicBezTo>
                <a:close/>
                <a:moveTo>
                  <a:pt x="4002083" y="1701799"/>
                </a:moveTo>
                <a:cubicBezTo>
                  <a:pt x="4060574" y="1701799"/>
                  <a:pt x="4112315" y="1722087"/>
                  <a:pt x="4148309" y="1758155"/>
                </a:cubicBezTo>
                <a:cubicBezTo>
                  <a:pt x="4173055" y="1785206"/>
                  <a:pt x="4191052" y="1816766"/>
                  <a:pt x="4193302" y="1859597"/>
                </a:cubicBezTo>
                <a:cubicBezTo>
                  <a:pt x="4193302" y="1859597"/>
                  <a:pt x="4193302" y="1859597"/>
                  <a:pt x="4125813" y="1859597"/>
                </a:cubicBezTo>
                <a:cubicBezTo>
                  <a:pt x="4123563" y="1834800"/>
                  <a:pt x="4114565" y="1819020"/>
                  <a:pt x="4103317" y="1803240"/>
                </a:cubicBezTo>
                <a:cubicBezTo>
                  <a:pt x="4078571" y="1773935"/>
                  <a:pt x="4044826" y="1762664"/>
                  <a:pt x="4002083" y="1762664"/>
                </a:cubicBezTo>
                <a:cubicBezTo>
                  <a:pt x="3968339" y="1762664"/>
                  <a:pt x="3934595" y="1776189"/>
                  <a:pt x="3909849" y="1800986"/>
                </a:cubicBezTo>
                <a:cubicBezTo>
                  <a:pt x="3867106" y="1843817"/>
                  <a:pt x="3864856" y="1913699"/>
                  <a:pt x="3864856" y="1967800"/>
                </a:cubicBezTo>
                <a:cubicBezTo>
                  <a:pt x="3864856" y="2017394"/>
                  <a:pt x="3867106" y="2091784"/>
                  <a:pt x="3909849" y="2134615"/>
                </a:cubicBezTo>
                <a:cubicBezTo>
                  <a:pt x="3934595" y="2161666"/>
                  <a:pt x="3968339" y="2172937"/>
                  <a:pt x="4002083" y="2172937"/>
                </a:cubicBezTo>
                <a:cubicBezTo>
                  <a:pt x="4038077" y="2172937"/>
                  <a:pt x="4071822" y="2159412"/>
                  <a:pt x="4094318" y="2136869"/>
                </a:cubicBezTo>
                <a:cubicBezTo>
                  <a:pt x="4130312" y="2103055"/>
                  <a:pt x="4139311" y="2053462"/>
                  <a:pt x="4139311" y="2006123"/>
                </a:cubicBezTo>
                <a:cubicBezTo>
                  <a:pt x="4139311" y="2006123"/>
                  <a:pt x="4139311" y="2006123"/>
                  <a:pt x="4002083" y="2006123"/>
                </a:cubicBezTo>
                <a:cubicBezTo>
                  <a:pt x="4002083" y="2006123"/>
                  <a:pt x="4002083" y="2006123"/>
                  <a:pt x="4002083" y="1947512"/>
                </a:cubicBezTo>
                <a:cubicBezTo>
                  <a:pt x="4002083" y="1947512"/>
                  <a:pt x="4002083" y="1947512"/>
                  <a:pt x="4197801" y="1947512"/>
                </a:cubicBezTo>
                <a:cubicBezTo>
                  <a:pt x="4197801" y="1947512"/>
                  <a:pt x="4197801" y="1947512"/>
                  <a:pt x="4197801" y="2222531"/>
                </a:cubicBezTo>
                <a:lnTo>
                  <a:pt x="4152808" y="2222531"/>
                </a:lnTo>
                <a:cubicBezTo>
                  <a:pt x="4152808" y="2222531"/>
                  <a:pt x="4152808" y="2222531"/>
                  <a:pt x="4141560" y="2161666"/>
                </a:cubicBezTo>
                <a:cubicBezTo>
                  <a:pt x="4116814" y="2204497"/>
                  <a:pt x="4060574" y="2233802"/>
                  <a:pt x="4002083" y="2233802"/>
                </a:cubicBezTo>
                <a:cubicBezTo>
                  <a:pt x="3950342" y="2233802"/>
                  <a:pt x="3900850" y="2215768"/>
                  <a:pt x="3864856" y="2179700"/>
                </a:cubicBezTo>
                <a:cubicBezTo>
                  <a:pt x="3813115" y="2130106"/>
                  <a:pt x="3797367" y="2057970"/>
                  <a:pt x="3797367" y="1967800"/>
                </a:cubicBezTo>
                <a:cubicBezTo>
                  <a:pt x="3797367" y="1884393"/>
                  <a:pt x="3808616" y="1810003"/>
                  <a:pt x="3864856" y="1755901"/>
                </a:cubicBezTo>
                <a:cubicBezTo>
                  <a:pt x="3900850" y="1719833"/>
                  <a:pt x="3950342" y="1701799"/>
                  <a:pt x="4002083" y="1701799"/>
                </a:cubicBezTo>
                <a:close/>
                <a:moveTo>
                  <a:pt x="1642228" y="1701799"/>
                </a:moveTo>
                <a:cubicBezTo>
                  <a:pt x="1691719" y="1701799"/>
                  <a:pt x="1741211" y="1717579"/>
                  <a:pt x="1774955" y="1749138"/>
                </a:cubicBezTo>
                <a:cubicBezTo>
                  <a:pt x="1806450" y="1780698"/>
                  <a:pt x="1822198" y="1816766"/>
                  <a:pt x="1824447" y="1859597"/>
                </a:cubicBezTo>
                <a:cubicBezTo>
                  <a:pt x="1824447" y="1859597"/>
                  <a:pt x="1824447" y="1859597"/>
                  <a:pt x="1756958" y="1859597"/>
                </a:cubicBezTo>
                <a:cubicBezTo>
                  <a:pt x="1754708" y="1834800"/>
                  <a:pt x="1745710" y="1812257"/>
                  <a:pt x="1732212" y="1796478"/>
                </a:cubicBezTo>
                <a:cubicBezTo>
                  <a:pt x="1711966" y="1773935"/>
                  <a:pt x="1680471" y="1760410"/>
                  <a:pt x="1639978" y="1760410"/>
                </a:cubicBezTo>
                <a:cubicBezTo>
                  <a:pt x="1603983" y="1760410"/>
                  <a:pt x="1572489" y="1769427"/>
                  <a:pt x="1549993" y="1796478"/>
                </a:cubicBezTo>
                <a:cubicBezTo>
                  <a:pt x="1536494" y="1810003"/>
                  <a:pt x="1529746" y="1828037"/>
                  <a:pt x="1529746" y="1850580"/>
                </a:cubicBezTo>
                <a:cubicBezTo>
                  <a:pt x="1529746" y="1897919"/>
                  <a:pt x="1567989" y="1918207"/>
                  <a:pt x="1606234" y="1922716"/>
                </a:cubicBezTo>
                <a:cubicBezTo>
                  <a:pt x="1635478" y="1927224"/>
                  <a:pt x="1662474" y="1931733"/>
                  <a:pt x="1691719" y="1936241"/>
                </a:cubicBezTo>
                <a:cubicBezTo>
                  <a:pt x="1774955" y="1949767"/>
                  <a:pt x="1833445" y="2001614"/>
                  <a:pt x="1833445" y="2082767"/>
                </a:cubicBezTo>
                <a:cubicBezTo>
                  <a:pt x="1833445" y="2125598"/>
                  <a:pt x="1815448" y="2157157"/>
                  <a:pt x="1790703" y="2181954"/>
                </a:cubicBezTo>
                <a:cubicBezTo>
                  <a:pt x="1754708" y="2215768"/>
                  <a:pt x="1698468" y="2231547"/>
                  <a:pt x="1644477" y="2231547"/>
                </a:cubicBezTo>
                <a:cubicBezTo>
                  <a:pt x="1581488" y="2231547"/>
                  <a:pt x="1531996" y="2215768"/>
                  <a:pt x="1498251" y="2184208"/>
                </a:cubicBezTo>
                <a:cubicBezTo>
                  <a:pt x="1466757" y="2152649"/>
                  <a:pt x="1444260" y="2109818"/>
                  <a:pt x="1444260" y="2060225"/>
                </a:cubicBezTo>
                <a:cubicBezTo>
                  <a:pt x="1444260" y="2060225"/>
                  <a:pt x="1444260" y="2060225"/>
                  <a:pt x="1509499" y="2060225"/>
                </a:cubicBezTo>
                <a:cubicBezTo>
                  <a:pt x="1509499" y="2091784"/>
                  <a:pt x="1525247" y="2121089"/>
                  <a:pt x="1545494" y="2141378"/>
                </a:cubicBezTo>
                <a:cubicBezTo>
                  <a:pt x="1570239" y="2163920"/>
                  <a:pt x="1608483" y="2172937"/>
                  <a:pt x="1644477" y="2172937"/>
                </a:cubicBezTo>
                <a:cubicBezTo>
                  <a:pt x="1682720" y="2172937"/>
                  <a:pt x="1716465" y="2166174"/>
                  <a:pt x="1738962" y="2143632"/>
                </a:cubicBezTo>
                <a:cubicBezTo>
                  <a:pt x="1754708" y="2130106"/>
                  <a:pt x="1765956" y="2109818"/>
                  <a:pt x="1765956" y="2082767"/>
                </a:cubicBezTo>
                <a:cubicBezTo>
                  <a:pt x="1765956" y="2044445"/>
                  <a:pt x="1741211" y="2010631"/>
                  <a:pt x="1680471" y="2001614"/>
                </a:cubicBezTo>
                <a:cubicBezTo>
                  <a:pt x="1680471" y="2001614"/>
                  <a:pt x="1680471" y="2001614"/>
                  <a:pt x="1599484" y="1988089"/>
                </a:cubicBezTo>
                <a:cubicBezTo>
                  <a:pt x="1522997" y="1976817"/>
                  <a:pt x="1462257" y="1933987"/>
                  <a:pt x="1462257" y="1852834"/>
                </a:cubicBezTo>
                <a:cubicBezTo>
                  <a:pt x="1462257" y="1814512"/>
                  <a:pt x="1480254" y="1778444"/>
                  <a:pt x="1507249" y="1751393"/>
                </a:cubicBezTo>
                <a:cubicBezTo>
                  <a:pt x="1543244" y="1717579"/>
                  <a:pt x="1588236" y="1701799"/>
                  <a:pt x="1642228" y="1701799"/>
                </a:cubicBezTo>
                <a:close/>
                <a:moveTo>
                  <a:pt x="654642" y="1701799"/>
                </a:moveTo>
                <a:cubicBezTo>
                  <a:pt x="704133" y="1701799"/>
                  <a:pt x="755874" y="1719833"/>
                  <a:pt x="791868" y="1755901"/>
                </a:cubicBezTo>
                <a:cubicBezTo>
                  <a:pt x="848110" y="1810003"/>
                  <a:pt x="857108" y="1884393"/>
                  <a:pt x="857108" y="1967800"/>
                </a:cubicBezTo>
                <a:cubicBezTo>
                  <a:pt x="857108" y="2048953"/>
                  <a:pt x="848110" y="2123344"/>
                  <a:pt x="791868" y="2177446"/>
                </a:cubicBezTo>
                <a:cubicBezTo>
                  <a:pt x="755874" y="2213514"/>
                  <a:pt x="704133" y="2233802"/>
                  <a:pt x="654642" y="2233802"/>
                </a:cubicBezTo>
                <a:cubicBezTo>
                  <a:pt x="602900" y="2233802"/>
                  <a:pt x="553408" y="2213514"/>
                  <a:pt x="515164" y="2177446"/>
                </a:cubicBezTo>
                <a:cubicBezTo>
                  <a:pt x="461173" y="2123344"/>
                  <a:pt x="449925" y="2048953"/>
                  <a:pt x="449925" y="1967800"/>
                </a:cubicBezTo>
                <a:cubicBezTo>
                  <a:pt x="449925" y="1884393"/>
                  <a:pt x="461173" y="1810003"/>
                  <a:pt x="515164" y="1755901"/>
                </a:cubicBezTo>
                <a:cubicBezTo>
                  <a:pt x="553408" y="1719833"/>
                  <a:pt x="602900" y="1701799"/>
                  <a:pt x="654642" y="1701799"/>
                </a:cubicBezTo>
                <a:close/>
                <a:moveTo>
                  <a:pt x="202466" y="1701799"/>
                </a:moveTo>
                <a:cubicBezTo>
                  <a:pt x="258707" y="1701799"/>
                  <a:pt x="308199" y="1722087"/>
                  <a:pt x="339693" y="1753647"/>
                </a:cubicBezTo>
                <a:cubicBezTo>
                  <a:pt x="368939" y="1782952"/>
                  <a:pt x="386936" y="1823529"/>
                  <a:pt x="389185" y="1870868"/>
                </a:cubicBezTo>
                <a:cubicBezTo>
                  <a:pt x="389185" y="1870868"/>
                  <a:pt x="389185" y="1870868"/>
                  <a:pt x="323946" y="1870868"/>
                </a:cubicBezTo>
                <a:cubicBezTo>
                  <a:pt x="321697" y="1841563"/>
                  <a:pt x="312698" y="1819020"/>
                  <a:pt x="294701" y="1798732"/>
                </a:cubicBezTo>
                <a:cubicBezTo>
                  <a:pt x="274454" y="1776189"/>
                  <a:pt x="240710" y="1762664"/>
                  <a:pt x="202466" y="1762664"/>
                </a:cubicBezTo>
                <a:cubicBezTo>
                  <a:pt x="168722" y="1762664"/>
                  <a:pt x="134978" y="1776189"/>
                  <a:pt x="110232" y="1800986"/>
                </a:cubicBezTo>
                <a:cubicBezTo>
                  <a:pt x="67489" y="1843817"/>
                  <a:pt x="67489" y="1913699"/>
                  <a:pt x="67489" y="1967800"/>
                </a:cubicBezTo>
                <a:cubicBezTo>
                  <a:pt x="67489" y="2019648"/>
                  <a:pt x="67489" y="2089530"/>
                  <a:pt x="110232" y="2132361"/>
                </a:cubicBezTo>
                <a:cubicBezTo>
                  <a:pt x="134978" y="2159412"/>
                  <a:pt x="168722" y="2172937"/>
                  <a:pt x="202466" y="2172937"/>
                </a:cubicBezTo>
                <a:cubicBezTo>
                  <a:pt x="240710" y="2172937"/>
                  <a:pt x="276704" y="2154903"/>
                  <a:pt x="296951" y="2132361"/>
                </a:cubicBezTo>
                <a:cubicBezTo>
                  <a:pt x="312698" y="2114327"/>
                  <a:pt x="323946" y="2087276"/>
                  <a:pt x="323946" y="2060225"/>
                </a:cubicBezTo>
                <a:cubicBezTo>
                  <a:pt x="323946" y="2060225"/>
                  <a:pt x="323946" y="2060225"/>
                  <a:pt x="391435" y="2060225"/>
                </a:cubicBezTo>
                <a:cubicBezTo>
                  <a:pt x="389185" y="2107564"/>
                  <a:pt x="368939" y="2148140"/>
                  <a:pt x="339693" y="2177446"/>
                </a:cubicBezTo>
                <a:cubicBezTo>
                  <a:pt x="308199" y="2209005"/>
                  <a:pt x="258707" y="2233802"/>
                  <a:pt x="202466" y="2233802"/>
                </a:cubicBezTo>
                <a:cubicBezTo>
                  <a:pt x="150725" y="2233802"/>
                  <a:pt x="101233" y="2213514"/>
                  <a:pt x="65239" y="2177446"/>
                </a:cubicBezTo>
                <a:cubicBezTo>
                  <a:pt x="8999" y="2123344"/>
                  <a:pt x="0" y="2048953"/>
                  <a:pt x="0" y="1967800"/>
                </a:cubicBezTo>
                <a:cubicBezTo>
                  <a:pt x="0" y="1884393"/>
                  <a:pt x="8999" y="1810003"/>
                  <a:pt x="65239" y="1755901"/>
                </a:cubicBezTo>
                <a:cubicBezTo>
                  <a:pt x="101233" y="1719833"/>
                  <a:pt x="150725" y="1701799"/>
                  <a:pt x="202466" y="1701799"/>
                </a:cubicBezTo>
                <a:close/>
                <a:moveTo>
                  <a:pt x="2227389" y="214047"/>
                </a:moveTo>
                <a:cubicBezTo>
                  <a:pt x="2227389" y="214047"/>
                  <a:pt x="2227389" y="214047"/>
                  <a:pt x="2227389" y="574548"/>
                </a:cubicBezTo>
                <a:cubicBezTo>
                  <a:pt x="2227389" y="574548"/>
                  <a:pt x="2227389" y="574548"/>
                  <a:pt x="2456649" y="574548"/>
                </a:cubicBezTo>
                <a:cubicBezTo>
                  <a:pt x="2584765" y="574548"/>
                  <a:pt x="2654442" y="509207"/>
                  <a:pt x="2654442" y="394298"/>
                </a:cubicBezTo>
                <a:cubicBezTo>
                  <a:pt x="2654442" y="277135"/>
                  <a:pt x="2584765" y="214047"/>
                  <a:pt x="2456649" y="214047"/>
                </a:cubicBezTo>
                <a:cubicBezTo>
                  <a:pt x="2456649" y="214047"/>
                  <a:pt x="2456649" y="214047"/>
                  <a:pt x="2227389" y="214047"/>
                </a:cubicBezTo>
                <a:close/>
                <a:moveTo>
                  <a:pt x="8961436" y="0"/>
                </a:moveTo>
                <a:lnTo>
                  <a:pt x="9905999" y="0"/>
                </a:lnTo>
                <a:lnTo>
                  <a:pt x="9905999" y="225425"/>
                </a:lnTo>
                <a:lnTo>
                  <a:pt x="9555161" y="225425"/>
                </a:lnTo>
                <a:lnTo>
                  <a:pt x="9555161" y="1214437"/>
                </a:lnTo>
                <a:lnTo>
                  <a:pt x="9315449" y="1214437"/>
                </a:lnTo>
                <a:lnTo>
                  <a:pt x="9315449" y="225425"/>
                </a:lnTo>
                <a:lnTo>
                  <a:pt x="8961436" y="225425"/>
                </a:lnTo>
                <a:close/>
                <a:moveTo>
                  <a:pt x="7785099" y="0"/>
                </a:moveTo>
                <a:lnTo>
                  <a:pt x="8035924" y="0"/>
                </a:lnTo>
                <a:lnTo>
                  <a:pt x="8037512" y="3175"/>
                </a:lnTo>
                <a:lnTo>
                  <a:pt x="8523286" y="774700"/>
                </a:lnTo>
                <a:lnTo>
                  <a:pt x="8523286" y="0"/>
                </a:lnTo>
                <a:lnTo>
                  <a:pt x="8759824" y="0"/>
                </a:lnTo>
                <a:lnTo>
                  <a:pt x="8759824" y="1214437"/>
                </a:lnTo>
                <a:lnTo>
                  <a:pt x="8518524" y="1214437"/>
                </a:lnTo>
                <a:lnTo>
                  <a:pt x="8024812" y="425450"/>
                </a:lnTo>
                <a:lnTo>
                  <a:pt x="8024812" y="1214437"/>
                </a:lnTo>
                <a:lnTo>
                  <a:pt x="7785099" y="1214437"/>
                </a:lnTo>
                <a:close/>
                <a:moveTo>
                  <a:pt x="6665911" y="0"/>
                </a:moveTo>
                <a:lnTo>
                  <a:pt x="7535861" y="0"/>
                </a:lnTo>
                <a:lnTo>
                  <a:pt x="7535861" y="220663"/>
                </a:lnTo>
                <a:lnTo>
                  <a:pt x="6905624" y="220663"/>
                </a:lnTo>
                <a:lnTo>
                  <a:pt x="6905624" y="473075"/>
                </a:lnTo>
                <a:lnTo>
                  <a:pt x="7459661" y="473075"/>
                </a:lnTo>
                <a:lnTo>
                  <a:pt x="7459661" y="690562"/>
                </a:lnTo>
                <a:lnTo>
                  <a:pt x="6905624" y="690562"/>
                </a:lnTo>
                <a:lnTo>
                  <a:pt x="6905624" y="993775"/>
                </a:lnTo>
                <a:lnTo>
                  <a:pt x="7535861" y="993775"/>
                </a:lnTo>
                <a:lnTo>
                  <a:pt x="7535861" y="1214437"/>
                </a:lnTo>
                <a:lnTo>
                  <a:pt x="6665911" y="1214437"/>
                </a:lnTo>
                <a:close/>
                <a:moveTo>
                  <a:pt x="5221286" y="0"/>
                </a:moveTo>
                <a:lnTo>
                  <a:pt x="5534024" y="0"/>
                </a:lnTo>
                <a:lnTo>
                  <a:pt x="5835649" y="823912"/>
                </a:lnTo>
                <a:lnTo>
                  <a:pt x="6142037" y="0"/>
                </a:lnTo>
                <a:lnTo>
                  <a:pt x="6438899" y="0"/>
                </a:lnTo>
                <a:lnTo>
                  <a:pt x="6438899" y="1214437"/>
                </a:lnTo>
                <a:lnTo>
                  <a:pt x="6203949" y="1214437"/>
                </a:lnTo>
                <a:lnTo>
                  <a:pt x="6203949" y="419100"/>
                </a:lnTo>
                <a:lnTo>
                  <a:pt x="5916612" y="1196975"/>
                </a:lnTo>
                <a:lnTo>
                  <a:pt x="5740399" y="1196975"/>
                </a:lnTo>
                <a:lnTo>
                  <a:pt x="5454649" y="409575"/>
                </a:lnTo>
                <a:lnTo>
                  <a:pt x="5454649" y="1214437"/>
                </a:lnTo>
                <a:lnTo>
                  <a:pt x="5221286" y="1214437"/>
                </a:lnTo>
                <a:close/>
                <a:moveTo>
                  <a:pt x="4098924" y="0"/>
                </a:moveTo>
                <a:lnTo>
                  <a:pt x="4968874" y="0"/>
                </a:lnTo>
                <a:lnTo>
                  <a:pt x="4968874" y="220663"/>
                </a:lnTo>
                <a:lnTo>
                  <a:pt x="4340224" y="220663"/>
                </a:lnTo>
                <a:lnTo>
                  <a:pt x="4340224" y="473075"/>
                </a:lnTo>
                <a:lnTo>
                  <a:pt x="4895849" y="473075"/>
                </a:lnTo>
                <a:lnTo>
                  <a:pt x="4895849" y="690562"/>
                </a:lnTo>
                <a:lnTo>
                  <a:pt x="4340224" y="690562"/>
                </a:lnTo>
                <a:lnTo>
                  <a:pt x="4340224" y="993775"/>
                </a:lnTo>
                <a:lnTo>
                  <a:pt x="4968874" y="993775"/>
                </a:lnTo>
                <a:lnTo>
                  <a:pt x="4968874" y="1214437"/>
                </a:lnTo>
                <a:lnTo>
                  <a:pt x="4098924" y="1214437"/>
                </a:lnTo>
                <a:close/>
                <a:moveTo>
                  <a:pt x="3079749" y="0"/>
                </a:moveTo>
                <a:lnTo>
                  <a:pt x="3321049" y="0"/>
                </a:lnTo>
                <a:lnTo>
                  <a:pt x="3321049" y="984250"/>
                </a:lnTo>
                <a:lnTo>
                  <a:pt x="3871912" y="984250"/>
                </a:lnTo>
                <a:lnTo>
                  <a:pt x="3871912" y="1214437"/>
                </a:lnTo>
                <a:lnTo>
                  <a:pt x="3079749" y="1214437"/>
                </a:lnTo>
                <a:close/>
                <a:moveTo>
                  <a:pt x="1989138" y="0"/>
                </a:moveTo>
                <a:cubicBezTo>
                  <a:pt x="1989138" y="0"/>
                  <a:pt x="1989138" y="0"/>
                  <a:pt x="2465639" y="0"/>
                </a:cubicBezTo>
                <a:cubicBezTo>
                  <a:pt x="2735357" y="0"/>
                  <a:pt x="2897188" y="146454"/>
                  <a:pt x="2897188" y="392045"/>
                </a:cubicBezTo>
                <a:cubicBezTo>
                  <a:pt x="2897188" y="639889"/>
                  <a:pt x="2735357" y="786342"/>
                  <a:pt x="2465639" y="786342"/>
                </a:cubicBezTo>
                <a:cubicBezTo>
                  <a:pt x="2465639" y="786342"/>
                  <a:pt x="2465639" y="786342"/>
                  <a:pt x="2227389" y="786342"/>
                </a:cubicBezTo>
                <a:cubicBezTo>
                  <a:pt x="2227389" y="786342"/>
                  <a:pt x="2227389" y="786342"/>
                  <a:pt x="2227389" y="1214437"/>
                </a:cubicBezTo>
                <a:cubicBezTo>
                  <a:pt x="2227389" y="1214437"/>
                  <a:pt x="2227389" y="1214437"/>
                  <a:pt x="1989138" y="1214437"/>
                </a:cubicBezTo>
                <a:cubicBezTo>
                  <a:pt x="1989138" y="1214437"/>
                  <a:pt x="1989138" y="1214437"/>
                  <a:pt x="1989138" y="0"/>
                </a:cubicBezTo>
                <a:close/>
                <a:moveTo>
                  <a:pt x="520699" y="0"/>
                </a:moveTo>
                <a:lnTo>
                  <a:pt x="833436" y="0"/>
                </a:lnTo>
                <a:lnTo>
                  <a:pt x="1135061" y="823912"/>
                </a:lnTo>
                <a:lnTo>
                  <a:pt x="1439862" y="0"/>
                </a:lnTo>
                <a:lnTo>
                  <a:pt x="1736724" y="0"/>
                </a:lnTo>
                <a:lnTo>
                  <a:pt x="1736724" y="1214437"/>
                </a:lnTo>
                <a:lnTo>
                  <a:pt x="1503362" y="1214437"/>
                </a:lnTo>
                <a:lnTo>
                  <a:pt x="1503362" y="419100"/>
                </a:lnTo>
                <a:lnTo>
                  <a:pt x="1216024" y="1196975"/>
                </a:lnTo>
                <a:lnTo>
                  <a:pt x="1039812" y="1196975"/>
                </a:lnTo>
                <a:lnTo>
                  <a:pt x="754062" y="409575"/>
                </a:lnTo>
                <a:lnTo>
                  <a:pt x="754062" y="1214437"/>
                </a:lnTo>
                <a:lnTo>
                  <a:pt x="520699" y="1214437"/>
                </a:lnTo>
                <a:close/>
                <a:moveTo>
                  <a:pt x="25400" y="0"/>
                </a:moveTo>
                <a:lnTo>
                  <a:pt x="268288" y="0"/>
                </a:lnTo>
                <a:lnTo>
                  <a:pt x="268288" y="1214437"/>
                </a:lnTo>
                <a:lnTo>
                  <a:pt x="25400" y="12144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>
                <a:solidFill>
                  <a:srgbClr val="1F2023"/>
                </a:solidFill>
              </a:rPr>
              <a:t> </a:t>
            </a:r>
          </a:p>
        </p:txBody>
      </p:sp>
      <p:sp>
        <p:nvSpPr>
          <p:cNvPr id="13" name="Date_GeneralDate" hidden="1">
            <a:extLst>
              <a:ext uri="{FF2B5EF4-FFF2-40B4-BE49-F238E27FC236}">
                <a16:creationId xmlns:a16="http://schemas.microsoft.com/office/drawing/2014/main" id="{78851DB5-0042-4C2F-91A2-C5610BBF01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0836F4EA-1874-46CF-A822-D9B1CF47F1A5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:a16="http://schemas.microsoft.com/office/drawing/2014/main" id="{D30AB5B8-8A8A-4E95-87C2-01B43E2A6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 algn="l">
              <a:defRPr sz="100">
                <a:noFill/>
              </a:defRPr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15" name="Slide Number Placeholder 5" hidden="1">
            <a:extLst>
              <a:ext uri="{FF2B5EF4-FFF2-40B4-BE49-F238E27FC236}">
                <a16:creationId xmlns:a16="http://schemas.microsoft.com/office/drawing/2014/main" id="{8C191AA7-E426-428B-A07B-C69D8AA11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3083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ogo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ject 2">
            <a:extLst>
              <a:ext uri="{FF2B5EF4-FFF2-40B4-BE49-F238E27FC236}">
                <a16:creationId xmlns:a16="http://schemas.microsoft.com/office/drawing/2014/main" id="{A81EE220-AC53-4153-A0FE-1F2219FBF428}"/>
              </a:ext>
            </a:extLst>
          </p:cNvPr>
          <p:cNvSpPr/>
          <p:nvPr userDrawn="1"/>
        </p:nvSpPr>
        <p:spPr>
          <a:xfrm>
            <a:off x="3452116" y="0"/>
            <a:ext cx="6453884" cy="6858000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0" y="11308556"/>
                </a:moveTo>
                <a:lnTo>
                  <a:pt x="20104099" y="11308556"/>
                </a:lnTo>
                <a:lnTo>
                  <a:pt x="20104099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8AA299"/>
          </a:solidFill>
        </p:spPr>
        <p:txBody>
          <a:bodyPr wrap="square" lIns="0" tIns="0" rIns="0" bIns="0" rtlCol="0"/>
          <a:lstStyle/>
          <a:p>
            <a:pPr marL="0" marR="0" lvl="0" indent="0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1F2023"/>
              </a:solidFill>
              <a:effectLst/>
              <a:uLnTx/>
              <a:uFillTx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B014E73-AB17-436C-A15E-6880F18048C0}"/>
              </a:ext>
            </a:extLst>
          </p:cNvPr>
          <p:cNvSpPr/>
          <p:nvPr userDrawn="1"/>
        </p:nvSpPr>
        <p:spPr>
          <a:xfrm>
            <a:off x="0" y="0"/>
            <a:ext cx="8554911" cy="5502275"/>
          </a:xfrm>
          <a:prstGeom prst="rect">
            <a:avLst/>
          </a:prstGeom>
          <a:solidFill>
            <a:srgbClr val="F8F5E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3637FDB-F8B7-4F0A-9D10-989B949078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2256" y="539750"/>
            <a:ext cx="5841813" cy="3194064"/>
          </a:xfrm>
        </p:spPr>
        <p:txBody>
          <a:bodyPr anchor="t" anchorCtr="0">
            <a:noAutofit/>
          </a:bodyPr>
          <a:lstStyle>
            <a:lvl1pPr algn="l">
              <a:lnSpc>
                <a:spcPct val="83000"/>
              </a:lnSpc>
              <a:defRPr sz="6500" cap="all" baseline="0">
                <a:solidFill>
                  <a:srgbClr val="30373B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2256" y="4011117"/>
            <a:ext cx="2816225" cy="1218483"/>
          </a:xfrm>
        </p:spPr>
        <p:txBody>
          <a:bodyPr rIns="36000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975">
                <a:solidFill>
                  <a:srgbClr val="1F2023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rgbClr val="2F363B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CA3D093D-0380-470D-91FD-8CF2680FA7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5" y="5014338"/>
            <a:ext cx="2816226" cy="210634"/>
          </a:xfrm>
        </p:spPr>
        <p:txBody>
          <a:bodyPr rIns="0" anchor="b" anchorCtr="0"/>
          <a:lstStyle>
            <a:lvl1pPr>
              <a:defRPr sz="900">
                <a:solidFill>
                  <a:srgbClr val="1F2023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32CBD7CE-0C91-4290-9606-0942684C465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52116" y="4011117"/>
            <a:ext cx="6453884" cy="2846883"/>
          </a:xfrm>
          <a:solidFill>
            <a:srgbClr val="F3F2F0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a-DK" dirty="0"/>
            </a:lvl1pPr>
          </a:lstStyle>
          <a:p>
            <a:pPr lvl="0" algn="ctr">
              <a:buNone/>
            </a:pPr>
            <a:r>
              <a:rPr lang="en-GB" dirty="0"/>
              <a:t>Click icon to add pictur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1D3067F-1962-46D9-86B7-08FC94B365B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8861146" y="788544"/>
            <a:ext cx="1258889" cy="287891"/>
          </a:xfrm>
          <a:custGeom>
            <a:avLst/>
            <a:gdLst>
              <a:gd name="connsiteX0" fmla="*/ 6778122 w 9905999"/>
              <a:gd name="connsiteY0" fmla="*/ 2222531 h 2265361"/>
              <a:gd name="connsiteX1" fmla="*/ 7135812 w 9905999"/>
              <a:gd name="connsiteY1" fmla="*/ 2222531 h 2265361"/>
              <a:gd name="connsiteX2" fmla="*/ 7135812 w 9905999"/>
              <a:gd name="connsiteY2" fmla="*/ 2265361 h 2265361"/>
              <a:gd name="connsiteX3" fmla="*/ 6778122 w 9905999"/>
              <a:gd name="connsiteY3" fmla="*/ 2265361 h 2265361"/>
              <a:gd name="connsiteX4" fmla="*/ 6778122 w 9905999"/>
              <a:gd name="connsiteY4" fmla="*/ 2222531 h 2265361"/>
              <a:gd name="connsiteX5" fmla="*/ 6449676 w 9905999"/>
              <a:gd name="connsiteY5" fmla="*/ 1769427 h 2265361"/>
              <a:gd name="connsiteX6" fmla="*/ 6449676 w 9905999"/>
              <a:gd name="connsiteY6" fmla="*/ 1965546 h 2265361"/>
              <a:gd name="connsiteX7" fmla="*/ 6575655 w 9905999"/>
              <a:gd name="connsiteY7" fmla="*/ 1965546 h 2265361"/>
              <a:gd name="connsiteX8" fmla="*/ 6679138 w 9905999"/>
              <a:gd name="connsiteY8" fmla="*/ 1864105 h 2265361"/>
              <a:gd name="connsiteX9" fmla="*/ 6575655 w 9905999"/>
              <a:gd name="connsiteY9" fmla="*/ 1769427 h 2265361"/>
              <a:gd name="connsiteX10" fmla="*/ 6449676 w 9905999"/>
              <a:gd name="connsiteY10" fmla="*/ 1769427 h 2265361"/>
              <a:gd name="connsiteX11" fmla="*/ 5021164 w 9905999"/>
              <a:gd name="connsiteY11" fmla="*/ 1769427 h 2265361"/>
              <a:gd name="connsiteX12" fmla="*/ 5021164 w 9905999"/>
              <a:gd name="connsiteY12" fmla="*/ 1949767 h 2265361"/>
              <a:gd name="connsiteX13" fmla="*/ 5158391 w 9905999"/>
              <a:gd name="connsiteY13" fmla="*/ 1949767 h 2265361"/>
              <a:gd name="connsiteX14" fmla="*/ 5261874 w 9905999"/>
              <a:gd name="connsiteY14" fmla="*/ 1859597 h 2265361"/>
              <a:gd name="connsiteX15" fmla="*/ 5158391 w 9905999"/>
              <a:gd name="connsiteY15" fmla="*/ 1769427 h 2265361"/>
              <a:gd name="connsiteX16" fmla="*/ 5021164 w 9905999"/>
              <a:gd name="connsiteY16" fmla="*/ 1769427 h 2265361"/>
              <a:gd name="connsiteX17" fmla="*/ 5597068 w 9905999"/>
              <a:gd name="connsiteY17" fmla="*/ 1762664 h 2265361"/>
              <a:gd name="connsiteX18" fmla="*/ 5504834 w 9905999"/>
              <a:gd name="connsiteY18" fmla="*/ 1800986 h 2265361"/>
              <a:gd name="connsiteX19" fmla="*/ 5459841 w 9905999"/>
              <a:gd name="connsiteY19" fmla="*/ 1967800 h 2265361"/>
              <a:gd name="connsiteX20" fmla="*/ 5504834 w 9905999"/>
              <a:gd name="connsiteY20" fmla="*/ 2132361 h 2265361"/>
              <a:gd name="connsiteX21" fmla="*/ 5597068 w 9905999"/>
              <a:gd name="connsiteY21" fmla="*/ 2170683 h 2265361"/>
              <a:gd name="connsiteX22" fmla="*/ 5691552 w 9905999"/>
              <a:gd name="connsiteY22" fmla="*/ 2132361 h 2265361"/>
              <a:gd name="connsiteX23" fmla="*/ 5734295 w 9905999"/>
              <a:gd name="connsiteY23" fmla="*/ 1967800 h 2265361"/>
              <a:gd name="connsiteX24" fmla="*/ 5691552 w 9905999"/>
              <a:gd name="connsiteY24" fmla="*/ 1800986 h 2265361"/>
              <a:gd name="connsiteX25" fmla="*/ 5597068 w 9905999"/>
              <a:gd name="connsiteY25" fmla="*/ 1762664 h 2265361"/>
              <a:gd name="connsiteX26" fmla="*/ 654642 w 9905999"/>
              <a:gd name="connsiteY26" fmla="*/ 1762664 h 2265361"/>
              <a:gd name="connsiteX27" fmla="*/ 560157 w 9905999"/>
              <a:gd name="connsiteY27" fmla="*/ 1800986 h 2265361"/>
              <a:gd name="connsiteX28" fmla="*/ 517414 w 9905999"/>
              <a:gd name="connsiteY28" fmla="*/ 1967800 h 2265361"/>
              <a:gd name="connsiteX29" fmla="*/ 560157 w 9905999"/>
              <a:gd name="connsiteY29" fmla="*/ 2132361 h 2265361"/>
              <a:gd name="connsiteX30" fmla="*/ 654642 w 9905999"/>
              <a:gd name="connsiteY30" fmla="*/ 2170683 h 2265361"/>
              <a:gd name="connsiteX31" fmla="*/ 746876 w 9905999"/>
              <a:gd name="connsiteY31" fmla="*/ 2132361 h 2265361"/>
              <a:gd name="connsiteX32" fmla="*/ 791868 w 9905999"/>
              <a:gd name="connsiteY32" fmla="*/ 1967800 h 2265361"/>
              <a:gd name="connsiteX33" fmla="*/ 746876 w 9905999"/>
              <a:gd name="connsiteY33" fmla="*/ 1800986 h 2265361"/>
              <a:gd name="connsiteX34" fmla="*/ 654642 w 9905999"/>
              <a:gd name="connsiteY34" fmla="*/ 1762664 h 2265361"/>
              <a:gd name="connsiteX35" fmla="*/ 6386687 w 9905999"/>
              <a:gd name="connsiteY35" fmla="*/ 1710816 h 2265361"/>
              <a:gd name="connsiteX36" fmla="*/ 6575655 w 9905999"/>
              <a:gd name="connsiteY36" fmla="*/ 1710816 h 2265361"/>
              <a:gd name="connsiteX37" fmla="*/ 6706134 w 9905999"/>
              <a:gd name="connsiteY37" fmla="*/ 1755901 h 2265361"/>
              <a:gd name="connsiteX38" fmla="*/ 6744377 w 9905999"/>
              <a:gd name="connsiteY38" fmla="*/ 1864105 h 2265361"/>
              <a:gd name="connsiteX39" fmla="*/ 6701634 w 9905999"/>
              <a:gd name="connsiteY39" fmla="*/ 1981326 h 2265361"/>
              <a:gd name="connsiteX40" fmla="*/ 6577905 w 9905999"/>
              <a:gd name="connsiteY40" fmla="*/ 2024157 h 2265361"/>
              <a:gd name="connsiteX41" fmla="*/ 6449676 w 9905999"/>
              <a:gd name="connsiteY41" fmla="*/ 2024157 h 2265361"/>
              <a:gd name="connsiteX42" fmla="*/ 6449676 w 9905999"/>
              <a:gd name="connsiteY42" fmla="*/ 2222531 h 2265361"/>
              <a:gd name="connsiteX43" fmla="*/ 6386687 w 9905999"/>
              <a:gd name="connsiteY43" fmla="*/ 2222531 h 2265361"/>
              <a:gd name="connsiteX44" fmla="*/ 6386687 w 9905999"/>
              <a:gd name="connsiteY44" fmla="*/ 1710816 h 2265361"/>
              <a:gd name="connsiteX45" fmla="*/ 5889520 w 9905999"/>
              <a:gd name="connsiteY45" fmla="*/ 1710816 h 2265361"/>
              <a:gd name="connsiteX46" fmla="*/ 5954759 w 9905999"/>
              <a:gd name="connsiteY46" fmla="*/ 1710816 h 2265361"/>
              <a:gd name="connsiteX47" fmla="*/ 5954759 w 9905999"/>
              <a:gd name="connsiteY47" fmla="*/ 2035428 h 2265361"/>
              <a:gd name="connsiteX48" fmla="*/ 6076239 w 9905999"/>
              <a:gd name="connsiteY48" fmla="*/ 2172937 h 2265361"/>
              <a:gd name="connsiteX49" fmla="*/ 6199968 w 9905999"/>
              <a:gd name="connsiteY49" fmla="*/ 2035428 h 2265361"/>
              <a:gd name="connsiteX50" fmla="*/ 6199968 w 9905999"/>
              <a:gd name="connsiteY50" fmla="*/ 1710816 h 2265361"/>
              <a:gd name="connsiteX51" fmla="*/ 6262957 w 9905999"/>
              <a:gd name="connsiteY51" fmla="*/ 1710816 h 2265361"/>
              <a:gd name="connsiteX52" fmla="*/ 6262957 w 9905999"/>
              <a:gd name="connsiteY52" fmla="*/ 2035428 h 2265361"/>
              <a:gd name="connsiteX53" fmla="*/ 6076239 w 9905999"/>
              <a:gd name="connsiteY53" fmla="*/ 2231547 h 2265361"/>
              <a:gd name="connsiteX54" fmla="*/ 5889520 w 9905999"/>
              <a:gd name="connsiteY54" fmla="*/ 2035428 h 2265361"/>
              <a:gd name="connsiteX55" fmla="*/ 5889520 w 9905999"/>
              <a:gd name="connsiteY55" fmla="*/ 1710816 h 2265361"/>
              <a:gd name="connsiteX56" fmla="*/ 4958174 w 9905999"/>
              <a:gd name="connsiteY56" fmla="*/ 1710816 h 2265361"/>
              <a:gd name="connsiteX57" fmla="*/ 5158391 w 9905999"/>
              <a:gd name="connsiteY57" fmla="*/ 1710816 h 2265361"/>
              <a:gd name="connsiteX58" fmla="*/ 5288869 w 9905999"/>
              <a:gd name="connsiteY58" fmla="*/ 1755901 h 2265361"/>
              <a:gd name="connsiteX59" fmla="*/ 5329363 w 9905999"/>
              <a:gd name="connsiteY59" fmla="*/ 1859597 h 2265361"/>
              <a:gd name="connsiteX60" fmla="*/ 5288869 w 9905999"/>
              <a:gd name="connsiteY60" fmla="*/ 1961038 h 2265361"/>
              <a:gd name="connsiteX61" fmla="*/ 5228130 w 9905999"/>
              <a:gd name="connsiteY61" fmla="*/ 1997106 h 2265361"/>
              <a:gd name="connsiteX62" fmla="*/ 5331612 w 9905999"/>
              <a:gd name="connsiteY62" fmla="*/ 2222531 h 2265361"/>
              <a:gd name="connsiteX63" fmla="*/ 5259624 w 9905999"/>
              <a:gd name="connsiteY63" fmla="*/ 2222531 h 2265361"/>
              <a:gd name="connsiteX64" fmla="*/ 5162890 w 9905999"/>
              <a:gd name="connsiteY64" fmla="*/ 2010631 h 2265361"/>
              <a:gd name="connsiteX65" fmla="*/ 5021164 w 9905999"/>
              <a:gd name="connsiteY65" fmla="*/ 2010631 h 2265361"/>
              <a:gd name="connsiteX66" fmla="*/ 5021164 w 9905999"/>
              <a:gd name="connsiteY66" fmla="*/ 2222531 h 2265361"/>
              <a:gd name="connsiteX67" fmla="*/ 4958174 w 9905999"/>
              <a:gd name="connsiteY67" fmla="*/ 2222531 h 2265361"/>
              <a:gd name="connsiteX68" fmla="*/ 4958174 w 9905999"/>
              <a:gd name="connsiteY68" fmla="*/ 1710816 h 2265361"/>
              <a:gd name="connsiteX69" fmla="*/ 3309199 w 9905999"/>
              <a:gd name="connsiteY69" fmla="*/ 1710816 h 2265361"/>
              <a:gd name="connsiteX70" fmla="*/ 3381187 w 9905999"/>
              <a:gd name="connsiteY70" fmla="*/ 1710816 h 2265361"/>
              <a:gd name="connsiteX71" fmla="*/ 3633145 w 9905999"/>
              <a:gd name="connsiteY71" fmla="*/ 2123344 h 2265361"/>
              <a:gd name="connsiteX72" fmla="*/ 3633145 w 9905999"/>
              <a:gd name="connsiteY72" fmla="*/ 1710816 h 2265361"/>
              <a:gd name="connsiteX73" fmla="*/ 3693885 w 9905999"/>
              <a:gd name="connsiteY73" fmla="*/ 1710816 h 2265361"/>
              <a:gd name="connsiteX74" fmla="*/ 3693885 w 9905999"/>
              <a:gd name="connsiteY74" fmla="*/ 2222531 h 2265361"/>
              <a:gd name="connsiteX75" fmla="*/ 3621897 w 9905999"/>
              <a:gd name="connsiteY75" fmla="*/ 2222531 h 2265361"/>
              <a:gd name="connsiteX76" fmla="*/ 3372188 w 9905999"/>
              <a:gd name="connsiteY76" fmla="*/ 1810003 h 2265361"/>
              <a:gd name="connsiteX77" fmla="*/ 3372188 w 9905999"/>
              <a:gd name="connsiteY77" fmla="*/ 2222531 h 2265361"/>
              <a:gd name="connsiteX78" fmla="*/ 3309199 w 9905999"/>
              <a:gd name="connsiteY78" fmla="*/ 2222531 h 2265361"/>
              <a:gd name="connsiteX79" fmla="*/ 3309199 w 9905999"/>
              <a:gd name="connsiteY79" fmla="*/ 1710816 h 2265361"/>
              <a:gd name="connsiteX80" fmla="*/ 3106732 w 9905999"/>
              <a:gd name="connsiteY80" fmla="*/ 1710816 h 2265361"/>
              <a:gd name="connsiteX81" fmla="*/ 3171971 w 9905999"/>
              <a:gd name="connsiteY81" fmla="*/ 1710816 h 2265361"/>
              <a:gd name="connsiteX82" fmla="*/ 3171971 w 9905999"/>
              <a:gd name="connsiteY82" fmla="*/ 2222531 h 2265361"/>
              <a:gd name="connsiteX83" fmla="*/ 3106732 w 9905999"/>
              <a:gd name="connsiteY83" fmla="*/ 2222531 h 2265361"/>
              <a:gd name="connsiteX84" fmla="*/ 3106732 w 9905999"/>
              <a:gd name="connsiteY84" fmla="*/ 1710816 h 2265361"/>
              <a:gd name="connsiteX85" fmla="*/ 2663557 w 9905999"/>
              <a:gd name="connsiteY85" fmla="*/ 1710816 h 2265361"/>
              <a:gd name="connsiteX86" fmla="*/ 3032495 w 9905999"/>
              <a:gd name="connsiteY86" fmla="*/ 1710816 h 2265361"/>
              <a:gd name="connsiteX87" fmla="*/ 3032495 w 9905999"/>
              <a:gd name="connsiteY87" fmla="*/ 1769427 h 2265361"/>
              <a:gd name="connsiteX88" fmla="*/ 2879521 w 9905999"/>
              <a:gd name="connsiteY88" fmla="*/ 1769427 h 2265361"/>
              <a:gd name="connsiteX89" fmla="*/ 2879521 w 9905999"/>
              <a:gd name="connsiteY89" fmla="*/ 2222531 h 2265361"/>
              <a:gd name="connsiteX90" fmla="*/ 2814282 w 9905999"/>
              <a:gd name="connsiteY90" fmla="*/ 2222531 h 2265361"/>
              <a:gd name="connsiteX91" fmla="*/ 2814282 w 9905999"/>
              <a:gd name="connsiteY91" fmla="*/ 1769427 h 2265361"/>
              <a:gd name="connsiteX92" fmla="*/ 2663557 w 9905999"/>
              <a:gd name="connsiteY92" fmla="*/ 1769427 h 2265361"/>
              <a:gd name="connsiteX93" fmla="*/ 2663557 w 9905999"/>
              <a:gd name="connsiteY93" fmla="*/ 1710816 h 2265361"/>
              <a:gd name="connsiteX94" fmla="*/ 2416099 w 9905999"/>
              <a:gd name="connsiteY94" fmla="*/ 1710816 h 2265361"/>
              <a:gd name="connsiteX95" fmla="*/ 2481338 w 9905999"/>
              <a:gd name="connsiteY95" fmla="*/ 1710816 h 2265361"/>
              <a:gd name="connsiteX96" fmla="*/ 2481338 w 9905999"/>
              <a:gd name="connsiteY96" fmla="*/ 2163920 h 2265361"/>
              <a:gd name="connsiteX97" fmla="*/ 2726547 w 9905999"/>
              <a:gd name="connsiteY97" fmla="*/ 2163920 h 2265361"/>
              <a:gd name="connsiteX98" fmla="*/ 2726547 w 9905999"/>
              <a:gd name="connsiteY98" fmla="*/ 2222531 h 2265361"/>
              <a:gd name="connsiteX99" fmla="*/ 2416099 w 9905999"/>
              <a:gd name="connsiteY99" fmla="*/ 2222531 h 2265361"/>
              <a:gd name="connsiteX100" fmla="*/ 2416099 w 9905999"/>
              <a:gd name="connsiteY100" fmla="*/ 1710816 h 2265361"/>
              <a:gd name="connsiteX101" fmla="*/ 1918931 w 9905999"/>
              <a:gd name="connsiteY101" fmla="*/ 1710816 h 2265361"/>
              <a:gd name="connsiteX102" fmla="*/ 1984171 w 9905999"/>
              <a:gd name="connsiteY102" fmla="*/ 1710816 h 2265361"/>
              <a:gd name="connsiteX103" fmla="*/ 1984171 w 9905999"/>
              <a:gd name="connsiteY103" fmla="*/ 2035428 h 2265361"/>
              <a:gd name="connsiteX104" fmla="*/ 2105651 w 9905999"/>
              <a:gd name="connsiteY104" fmla="*/ 2172937 h 2265361"/>
              <a:gd name="connsiteX105" fmla="*/ 2229380 w 9905999"/>
              <a:gd name="connsiteY105" fmla="*/ 2035428 h 2265361"/>
              <a:gd name="connsiteX106" fmla="*/ 2229380 w 9905999"/>
              <a:gd name="connsiteY106" fmla="*/ 1710816 h 2265361"/>
              <a:gd name="connsiteX107" fmla="*/ 2292369 w 9905999"/>
              <a:gd name="connsiteY107" fmla="*/ 1710816 h 2265361"/>
              <a:gd name="connsiteX108" fmla="*/ 2292369 w 9905999"/>
              <a:gd name="connsiteY108" fmla="*/ 2035428 h 2265361"/>
              <a:gd name="connsiteX109" fmla="*/ 2105651 w 9905999"/>
              <a:gd name="connsiteY109" fmla="*/ 2231547 h 2265361"/>
              <a:gd name="connsiteX110" fmla="*/ 1918931 w 9905999"/>
              <a:gd name="connsiteY110" fmla="*/ 2035428 h 2265361"/>
              <a:gd name="connsiteX111" fmla="*/ 1918931 w 9905999"/>
              <a:gd name="connsiteY111" fmla="*/ 1710816 h 2265361"/>
              <a:gd name="connsiteX112" fmla="*/ 960591 w 9905999"/>
              <a:gd name="connsiteY112" fmla="*/ 1710816 h 2265361"/>
              <a:gd name="connsiteX113" fmla="*/ 1032578 w 9905999"/>
              <a:gd name="connsiteY113" fmla="*/ 1710816 h 2265361"/>
              <a:gd name="connsiteX114" fmla="*/ 1284537 w 9905999"/>
              <a:gd name="connsiteY114" fmla="*/ 2123344 h 2265361"/>
              <a:gd name="connsiteX115" fmla="*/ 1284537 w 9905999"/>
              <a:gd name="connsiteY115" fmla="*/ 1710816 h 2265361"/>
              <a:gd name="connsiteX116" fmla="*/ 1345276 w 9905999"/>
              <a:gd name="connsiteY116" fmla="*/ 1710816 h 2265361"/>
              <a:gd name="connsiteX117" fmla="*/ 1345276 w 9905999"/>
              <a:gd name="connsiteY117" fmla="*/ 2222531 h 2265361"/>
              <a:gd name="connsiteX118" fmla="*/ 1273289 w 9905999"/>
              <a:gd name="connsiteY118" fmla="*/ 2222531 h 2265361"/>
              <a:gd name="connsiteX119" fmla="*/ 1023580 w 9905999"/>
              <a:gd name="connsiteY119" fmla="*/ 1810003 h 2265361"/>
              <a:gd name="connsiteX120" fmla="*/ 1023580 w 9905999"/>
              <a:gd name="connsiteY120" fmla="*/ 2222531 h 2265361"/>
              <a:gd name="connsiteX121" fmla="*/ 960591 w 9905999"/>
              <a:gd name="connsiteY121" fmla="*/ 2222531 h 2265361"/>
              <a:gd name="connsiteX122" fmla="*/ 960591 w 9905999"/>
              <a:gd name="connsiteY122" fmla="*/ 1710816 h 2265361"/>
              <a:gd name="connsiteX123" fmla="*/ 5597068 w 9905999"/>
              <a:gd name="connsiteY123" fmla="*/ 1701799 h 2265361"/>
              <a:gd name="connsiteX124" fmla="*/ 5736545 w 9905999"/>
              <a:gd name="connsiteY124" fmla="*/ 1755901 h 2265361"/>
              <a:gd name="connsiteX125" fmla="*/ 5801784 w 9905999"/>
              <a:gd name="connsiteY125" fmla="*/ 1967800 h 2265361"/>
              <a:gd name="connsiteX126" fmla="*/ 5736545 w 9905999"/>
              <a:gd name="connsiteY126" fmla="*/ 2177446 h 2265361"/>
              <a:gd name="connsiteX127" fmla="*/ 5597068 w 9905999"/>
              <a:gd name="connsiteY127" fmla="*/ 2233802 h 2265361"/>
              <a:gd name="connsiteX128" fmla="*/ 5459841 w 9905999"/>
              <a:gd name="connsiteY128" fmla="*/ 2177446 h 2265361"/>
              <a:gd name="connsiteX129" fmla="*/ 5394602 w 9905999"/>
              <a:gd name="connsiteY129" fmla="*/ 1967800 h 2265361"/>
              <a:gd name="connsiteX130" fmla="*/ 5459841 w 9905999"/>
              <a:gd name="connsiteY130" fmla="*/ 1755901 h 2265361"/>
              <a:gd name="connsiteX131" fmla="*/ 5597068 w 9905999"/>
              <a:gd name="connsiteY131" fmla="*/ 1701799 h 2265361"/>
              <a:gd name="connsiteX132" fmla="*/ 4645477 w 9905999"/>
              <a:gd name="connsiteY132" fmla="*/ 1701799 h 2265361"/>
              <a:gd name="connsiteX133" fmla="*/ 4791702 w 9905999"/>
              <a:gd name="connsiteY133" fmla="*/ 1758155 h 2265361"/>
              <a:gd name="connsiteX134" fmla="*/ 4834445 w 9905999"/>
              <a:gd name="connsiteY134" fmla="*/ 1859597 h 2265361"/>
              <a:gd name="connsiteX135" fmla="*/ 4766956 w 9905999"/>
              <a:gd name="connsiteY135" fmla="*/ 1859597 h 2265361"/>
              <a:gd name="connsiteX136" fmla="*/ 4744460 w 9905999"/>
              <a:gd name="connsiteY136" fmla="*/ 1803240 h 2265361"/>
              <a:gd name="connsiteX137" fmla="*/ 4645477 w 9905999"/>
              <a:gd name="connsiteY137" fmla="*/ 1762664 h 2265361"/>
              <a:gd name="connsiteX138" fmla="*/ 4550992 w 9905999"/>
              <a:gd name="connsiteY138" fmla="*/ 1800986 h 2265361"/>
              <a:gd name="connsiteX139" fmla="*/ 4506000 w 9905999"/>
              <a:gd name="connsiteY139" fmla="*/ 1967800 h 2265361"/>
              <a:gd name="connsiteX140" fmla="*/ 4553242 w 9905999"/>
              <a:gd name="connsiteY140" fmla="*/ 2134615 h 2265361"/>
              <a:gd name="connsiteX141" fmla="*/ 4645477 w 9905999"/>
              <a:gd name="connsiteY141" fmla="*/ 2172937 h 2265361"/>
              <a:gd name="connsiteX142" fmla="*/ 4737711 w 9905999"/>
              <a:gd name="connsiteY142" fmla="*/ 2136869 h 2265361"/>
              <a:gd name="connsiteX143" fmla="*/ 4780454 w 9905999"/>
              <a:gd name="connsiteY143" fmla="*/ 2006123 h 2265361"/>
              <a:gd name="connsiteX144" fmla="*/ 4645477 w 9905999"/>
              <a:gd name="connsiteY144" fmla="*/ 2006123 h 2265361"/>
              <a:gd name="connsiteX145" fmla="*/ 4645477 w 9905999"/>
              <a:gd name="connsiteY145" fmla="*/ 1947512 h 2265361"/>
              <a:gd name="connsiteX146" fmla="*/ 4838944 w 9905999"/>
              <a:gd name="connsiteY146" fmla="*/ 1947512 h 2265361"/>
              <a:gd name="connsiteX147" fmla="*/ 4838944 w 9905999"/>
              <a:gd name="connsiteY147" fmla="*/ 2222531 h 2265361"/>
              <a:gd name="connsiteX148" fmla="*/ 4793952 w 9905999"/>
              <a:gd name="connsiteY148" fmla="*/ 2222531 h 2265361"/>
              <a:gd name="connsiteX149" fmla="*/ 4782704 w 9905999"/>
              <a:gd name="connsiteY149" fmla="*/ 2161666 h 2265361"/>
              <a:gd name="connsiteX150" fmla="*/ 4645477 w 9905999"/>
              <a:gd name="connsiteY150" fmla="*/ 2233802 h 2265361"/>
              <a:gd name="connsiteX151" fmla="*/ 4506000 w 9905999"/>
              <a:gd name="connsiteY151" fmla="*/ 2179700 h 2265361"/>
              <a:gd name="connsiteX152" fmla="*/ 4440761 w 9905999"/>
              <a:gd name="connsiteY152" fmla="*/ 1967800 h 2265361"/>
              <a:gd name="connsiteX153" fmla="*/ 4506000 w 9905999"/>
              <a:gd name="connsiteY153" fmla="*/ 1755901 h 2265361"/>
              <a:gd name="connsiteX154" fmla="*/ 4645477 w 9905999"/>
              <a:gd name="connsiteY154" fmla="*/ 1701799 h 2265361"/>
              <a:gd name="connsiteX155" fmla="*/ 4002083 w 9905999"/>
              <a:gd name="connsiteY155" fmla="*/ 1701799 h 2265361"/>
              <a:gd name="connsiteX156" fmla="*/ 4148309 w 9905999"/>
              <a:gd name="connsiteY156" fmla="*/ 1758155 h 2265361"/>
              <a:gd name="connsiteX157" fmla="*/ 4193302 w 9905999"/>
              <a:gd name="connsiteY157" fmla="*/ 1859597 h 2265361"/>
              <a:gd name="connsiteX158" fmla="*/ 4125813 w 9905999"/>
              <a:gd name="connsiteY158" fmla="*/ 1859597 h 2265361"/>
              <a:gd name="connsiteX159" fmla="*/ 4103317 w 9905999"/>
              <a:gd name="connsiteY159" fmla="*/ 1803240 h 2265361"/>
              <a:gd name="connsiteX160" fmla="*/ 4002083 w 9905999"/>
              <a:gd name="connsiteY160" fmla="*/ 1762664 h 2265361"/>
              <a:gd name="connsiteX161" fmla="*/ 3909849 w 9905999"/>
              <a:gd name="connsiteY161" fmla="*/ 1800986 h 2265361"/>
              <a:gd name="connsiteX162" fmla="*/ 3864856 w 9905999"/>
              <a:gd name="connsiteY162" fmla="*/ 1967800 h 2265361"/>
              <a:gd name="connsiteX163" fmla="*/ 3909849 w 9905999"/>
              <a:gd name="connsiteY163" fmla="*/ 2134615 h 2265361"/>
              <a:gd name="connsiteX164" fmla="*/ 4002083 w 9905999"/>
              <a:gd name="connsiteY164" fmla="*/ 2172937 h 2265361"/>
              <a:gd name="connsiteX165" fmla="*/ 4094318 w 9905999"/>
              <a:gd name="connsiteY165" fmla="*/ 2136869 h 2265361"/>
              <a:gd name="connsiteX166" fmla="*/ 4139311 w 9905999"/>
              <a:gd name="connsiteY166" fmla="*/ 2006123 h 2265361"/>
              <a:gd name="connsiteX167" fmla="*/ 4002083 w 9905999"/>
              <a:gd name="connsiteY167" fmla="*/ 2006123 h 2265361"/>
              <a:gd name="connsiteX168" fmla="*/ 4002083 w 9905999"/>
              <a:gd name="connsiteY168" fmla="*/ 1947512 h 2265361"/>
              <a:gd name="connsiteX169" fmla="*/ 4197801 w 9905999"/>
              <a:gd name="connsiteY169" fmla="*/ 1947512 h 2265361"/>
              <a:gd name="connsiteX170" fmla="*/ 4197801 w 9905999"/>
              <a:gd name="connsiteY170" fmla="*/ 2222531 h 2265361"/>
              <a:gd name="connsiteX171" fmla="*/ 4152808 w 9905999"/>
              <a:gd name="connsiteY171" fmla="*/ 2222531 h 2265361"/>
              <a:gd name="connsiteX172" fmla="*/ 4141560 w 9905999"/>
              <a:gd name="connsiteY172" fmla="*/ 2161666 h 2265361"/>
              <a:gd name="connsiteX173" fmla="*/ 4002083 w 9905999"/>
              <a:gd name="connsiteY173" fmla="*/ 2233802 h 2265361"/>
              <a:gd name="connsiteX174" fmla="*/ 3864856 w 9905999"/>
              <a:gd name="connsiteY174" fmla="*/ 2179700 h 2265361"/>
              <a:gd name="connsiteX175" fmla="*/ 3797367 w 9905999"/>
              <a:gd name="connsiteY175" fmla="*/ 1967800 h 2265361"/>
              <a:gd name="connsiteX176" fmla="*/ 3864856 w 9905999"/>
              <a:gd name="connsiteY176" fmla="*/ 1755901 h 2265361"/>
              <a:gd name="connsiteX177" fmla="*/ 4002083 w 9905999"/>
              <a:gd name="connsiteY177" fmla="*/ 1701799 h 2265361"/>
              <a:gd name="connsiteX178" fmla="*/ 1642228 w 9905999"/>
              <a:gd name="connsiteY178" fmla="*/ 1701799 h 2265361"/>
              <a:gd name="connsiteX179" fmla="*/ 1774955 w 9905999"/>
              <a:gd name="connsiteY179" fmla="*/ 1749138 h 2265361"/>
              <a:gd name="connsiteX180" fmla="*/ 1824447 w 9905999"/>
              <a:gd name="connsiteY180" fmla="*/ 1859597 h 2265361"/>
              <a:gd name="connsiteX181" fmla="*/ 1756958 w 9905999"/>
              <a:gd name="connsiteY181" fmla="*/ 1859597 h 2265361"/>
              <a:gd name="connsiteX182" fmla="*/ 1732212 w 9905999"/>
              <a:gd name="connsiteY182" fmla="*/ 1796478 h 2265361"/>
              <a:gd name="connsiteX183" fmla="*/ 1639978 w 9905999"/>
              <a:gd name="connsiteY183" fmla="*/ 1760410 h 2265361"/>
              <a:gd name="connsiteX184" fmla="*/ 1549993 w 9905999"/>
              <a:gd name="connsiteY184" fmla="*/ 1796478 h 2265361"/>
              <a:gd name="connsiteX185" fmla="*/ 1529746 w 9905999"/>
              <a:gd name="connsiteY185" fmla="*/ 1850580 h 2265361"/>
              <a:gd name="connsiteX186" fmla="*/ 1606234 w 9905999"/>
              <a:gd name="connsiteY186" fmla="*/ 1922716 h 2265361"/>
              <a:gd name="connsiteX187" fmla="*/ 1691719 w 9905999"/>
              <a:gd name="connsiteY187" fmla="*/ 1936241 h 2265361"/>
              <a:gd name="connsiteX188" fmla="*/ 1833445 w 9905999"/>
              <a:gd name="connsiteY188" fmla="*/ 2082767 h 2265361"/>
              <a:gd name="connsiteX189" fmla="*/ 1790703 w 9905999"/>
              <a:gd name="connsiteY189" fmla="*/ 2181954 h 2265361"/>
              <a:gd name="connsiteX190" fmla="*/ 1644477 w 9905999"/>
              <a:gd name="connsiteY190" fmla="*/ 2231547 h 2265361"/>
              <a:gd name="connsiteX191" fmla="*/ 1498251 w 9905999"/>
              <a:gd name="connsiteY191" fmla="*/ 2184208 h 2265361"/>
              <a:gd name="connsiteX192" fmla="*/ 1444260 w 9905999"/>
              <a:gd name="connsiteY192" fmla="*/ 2060225 h 2265361"/>
              <a:gd name="connsiteX193" fmla="*/ 1509499 w 9905999"/>
              <a:gd name="connsiteY193" fmla="*/ 2060225 h 2265361"/>
              <a:gd name="connsiteX194" fmla="*/ 1545494 w 9905999"/>
              <a:gd name="connsiteY194" fmla="*/ 2141378 h 2265361"/>
              <a:gd name="connsiteX195" fmla="*/ 1644477 w 9905999"/>
              <a:gd name="connsiteY195" fmla="*/ 2172937 h 2265361"/>
              <a:gd name="connsiteX196" fmla="*/ 1738962 w 9905999"/>
              <a:gd name="connsiteY196" fmla="*/ 2143632 h 2265361"/>
              <a:gd name="connsiteX197" fmla="*/ 1765956 w 9905999"/>
              <a:gd name="connsiteY197" fmla="*/ 2082767 h 2265361"/>
              <a:gd name="connsiteX198" fmla="*/ 1680471 w 9905999"/>
              <a:gd name="connsiteY198" fmla="*/ 2001614 h 2265361"/>
              <a:gd name="connsiteX199" fmla="*/ 1599484 w 9905999"/>
              <a:gd name="connsiteY199" fmla="*/ 1988089 h 2265361"/>
              <a:gd name="connsiteX200" fmla="*/ 1462257 w 9905999"/>
              <a:gd name="connsiteY200" fmla="*/ 1852834 h 2265361"/>
              <a:gd name="connsiteX201" fmla="*/ 1507249 w 9905999"/>
              <a:gd name="connsiteY201" fmla="*/ 1751393 h 2265361"/>
              <a:gd name="connsiteX202" fmla="*/ 1642228 w 9905999"/>
              <a:gd name="connsiteY202" fmla="*/ 1701799 h 2265361"/>
              <a:gd name="connsiteX203" fmla="*/ 654642 w 9905999"/>
              <a:gd name="connsiteY203" fmla="*/ 1701799 h 2265361"/>
              <a:gd name="connsiteX204" fmla="*/ 791868 w 9905999"/>
              <a:gd name="connsiteY204" fmla="*/ 1755901 h 2265361"/>
              <a:gd name="connsiteX205" fmla="*/ 857108 w 9905999"/>
              <a:gd name="connsiteY205" fmla="*/ 1967800 h 2265361"/>
              <a:gd name="connsiteX206" fmla="*/ 791868 w 9905999"/>
              <a:gd name="connsiteY206" fmla="*/ 2177446 h 2265361"/>
              <a:gd name="connsiteX207" fmla="*/ 654642 w 9905999"/>
              <a:gd name="connsiteY207" fmla="*/ 2233802 h 2265361"/>
              <a:gd name="connsiteX208" fmla="*/ 515164 w 9905999"/>
              <a:gd name="connsiteY208" fmla="*/ 2177446 h 2265361"/>
              <a:gd name="connsiteX209" fmla="*/ 449925 w 9905999"/>
              <a:gd name="connsiteY209" fmla="*/ 1967800 h 2265361"/>
              <a:gd name="connsiteX210" fmla="*/ 515164 w 9905999"/>
              <a:gd name="connsiteY210" fmla="*/ 1755901 h 2265361"/>
              <a:gd name="connsiteX211" fmla="*/ 654642 w 9905999"/>
              <a:gd name="connsiteY211" fmla="*/ 1701799 h 2265361"/>
              <a:gd name="connsiteX212" fmla="*/ 202466 w 9905999"/>
              <a:gd name="connsiteY212" fmla="*/ 1701799 h 2265361"/>
              <a:gd name="connsiteX213" fmla="*/ 339693 w 9905999"/>
              <a:gd name="connsiteY213" fmla="*/ 1753647 h 2265361"/>
              <a:gd name="connsiteX214" fmla="*/ 389185 w 9905999"/>
              <a:gd name="connsiteY214" fmla="*/ 1870868 h 2265361"/>
              <a:gd name="connsiteX215" fmla="*/ 323946 w 9905999"/>
              <a:gd name="connsiteY215" fmla="*/ 1870868 h 2265361"/>
              <a:gd name="connsiteX216" fmla="*/ 294701 w 9905999"/>
              <a:gd name="connsiteY216" fmla="*/ 1798732 h 2265361"/>
              <a:gd name="connsiteX217" fmla="*/ 202466 w 9905999"/>
              <a:gd name="connsiteY217" fmla="*/ 1762664 h 2265361"/>
              <a:gd name="connsiteX218" fmla="*/ 110232 w 9905999"/>
              <a:gd name="connsiteY218" fmla="*/ 1800986 h 2265361"/>
              <a:gd name="connsiteX219" fmla="*/ 67489 w 9905999"/>
              <a:gd name="connsiteY219" fmla="*/ 1967800 h 2265361"/>
              <a:gd name="connsiteX220" fmla="*/ 110232 w 9905999"/>
              <a:gd name="connsiteY220" fmla="*/ 2132361 h 2265361"/>
              <a:gd name="connsiteX221" fmla="*/ 202466 w 9905999"/>
              <a:gd name="connsiteY221" fmla="*/ 2172937 h 2265361"/>
              <a:gd name="connsiteX222" fmla="*/ 296951 w 9905999"/>
              <a:gd name="connsiteY222" fmla="*/ 2132361 h 2265361"/>
              <a:gd name="connsiteX223" fmla="*/ 323946 w 9905999"/>
              <a:gd name="connsiteY223" fmla="*/ 2060225 h 2265361"/>
              <a:gd name="connsiteX224" fmla="*/ 391435 w 9905999"/>
              <a:gd name="connsiteY224" fmla="*/ 2060225 h 2265361"/>
              <a:gd name="connsiteX225" fmla="*/ 339693 w 9905999"/>
              <a:gd name="connsiteY225" fmla="*/ 2177446 h 2265361"/>
              <a:gd name="connsiteX226" fmla="*/ 202466 w 9905999"/>
              <a:gd name="connsiteY226" fmla="*/ 2233802 h 2265361"/>
              <a:gd name="connsiteX227" fmla="*/ 65239 w 9905999"/>
              <a:gd name="connsiteY227" fmla="*/ 2177446 h 2265361"/>
              <a:gd name="connsiteX228" fmla="*/ 0 w 9905999"/>
              <a:gd name="connsiteY228" fmla="*/ 1967800 h 2265361"/>
              <a:gd name="connsiteX229" fmla="*/ 65239 w 9905999"/>
              <a:gd name="connsiteY229" fmla="*/ 1755901 h 2265361"/>
              <a:gd name="connsiteX230" fmla="*/ 202466 w 9905999"/>
              <a:gd name="connsiteY230" fmla="*/ 1701799 h 2265361"/>
              <a:gd name="connsiteX231" fmla="*/ 2227389 w 9905999"/>
              <a:gd name="connsiteY231" fmla="*/ 214047 h 2265361"/>
              <a:gd name="connsiteX232" fmla="*/ 2227389 w 9905999"/>
              <a:gd name="connsiteY232" fmla="*/ 574548 h 2265361"/>
              <a:gd name="connsiteX233" fmla="*/ 2456649 w 9905999"/>
              <a:gd name="connsiteY233" fmla="*/ 574548 h 2265361"/>
              <a:gd name="connsiteX234" fmla="*/ 2654442 w 9905999"/>
              <a:gd name="connsiteY234" fmla="*/ 394298 h 2265361"/>
              <a:gd name="connsiteX235" fmla="*/ 2456649 w 9905999"/>
              <a:gd name="connsiteY235" fmla="*/ 214047 h 2265361"/>
              <a:gd name="connsiteX236" fmla="*/ 2227389 w 9905999"/>
              <a:gd name="connsiteY236" fmla="*/ 214047 h 2265361"/>
              <a:gd name="connsiteX237" fmla="*/ 8961436 w 9905999"/>
              <a:gd name="connsiteY237" fmla="*/ 0 h 2265361"/>
              <a:gd name="connsiteX238" fmla="*/ 9905999 w 9905999"/>
              <a:gd name="connsiteY238" fmla="*/ 0 h 2265361"/>
              <a:gd name="connsiteX239" fmla="*/ 9905999 w 9905999"/>
              <a:gd name="connsiteY239" fmla="*/ 225425 h 2265361"/>
              <a:gd name="connsiteX240" fmla="*/ 9555161 w 9905999"/>
              <a:gd name="connsiteY240" fmla="*/ 225425 h 2265361"/>
              <a:gd name="connsiteX241" fmla="*/ 9555161 w 9905999"/>
              <a:gd name="connsiteY241" fmla="*/ 1214437 h 2265361"/>
              <a:gd name="connsiteX242" fmla="*/ 9315449 w 9905999"/>
              <a:gd name="connsiteY242" fmla="*/ 1214437 h 2265361"/>
              <a:gd name="connsiteX243" fmla="*/ 9315449 w 9905999"/>
              <a:gd name="connsiteY243" fmla="*/ 225425 h 2265361"/>
              <a:gd name="connsiteX244" fmla="*/ 8961436 w 9905999"/>
              <a:gd name="connsiteY244" fmla="*/ 225425 h 2265361"/>
              <a:gd name="connsiteX245" fmla="*/ 7785099 w 9905999"/>
              <a:gd name="connsiteY245" fmla="*/ 0 h 2265361"/>
              <a:gd name="connsiteX246" fmla="*/ 8035924 w 9905999"/>
              <a:gd name="connsiteY246" fmla="*/ 0 h 2265361"/>
              <a:gd name="connsiteX247" fmla="*/ 8037512 w 9905999"/>
              <a:gd name="connsiteY247" fmla="*/ 3175 h 2265361"/>
              <a:gd name="connsiteX248" fmla="*/ 8523286 w 9905999"/>
              <a:gd name="connsiteY248" fmla="*/ 774700 h 2265361"/>
              <a:gd name="connsiteX249" fmla="*/ 8523286 w 9905999"/>
              <a:gd name="connsiteY249" fmla="*/ 0 h 2265361"/>
              <a:gd name="connsiteX250" fmla="*/ 8759824 w 9905999"/>
              <a:gd name="connsiteY250" fmla="*/ 0 h 2265361"/>
              <a:gd name="connsiteX251" fmla="*/ 8759824 w 9905999"/>
              <a:gd name="connsiteY251" fmla="*/ 1214437 h 2265361"/>
              <a:gd name="connsiteX252" fmla="*/ 8518524 w 9905999"/>
              <a:gd name="connsiteY252" fmla="*/ 1214437 h 2265361"/>
              <a:gd name="connsiteX253" fmla="*/ 8024812 w 9905999"/>
              <a:gd name="connsiteY253" fmla="*/ 425450 h 2265361"/>
              <a:gd name="connsiteX254" fmla="*/ 8024812 w 9905999"/>
              <a:gd name="connsiteY254" fmla="*/ 1214437 h 2265361"/>
              <a:gd name="connsiteX255" fmla="*/ 7785099 w 9905999"/>
              <a:gd name="connsiteY255" fmla="*/ 1214437 h 2265361"/>
              <a:gd name="connsiteX256" fmla="*/ 6665911 w 9905999"/>
              <a:gd name="connsiteY256" fmla="*/ 0 h 2265361"/>
              <a:gd name="connsiteX257" fmla="*/ 7535861 w 9905999"/>
              <a:gd name="connsiteY257" fmla="*/ 0 h 2265361"/>
              <a:gd name="connsiteX258" fmla="*/ 7535861 w 9905999"/>
              <a:gd name="connsiteY258" fmla="*/ 220663 h 2265361"/>
              <a:gd name="connsiteX259" fmla="*/ 6905624 w 9905999"/>
              <a:gd name="connsiteY259" fmla="*/ 220663 h 2265361"/>
              <a:gd name="connsiteX260" fmla="*/ 6905624 w 9905999"/>
              <a:gd name="connsiteY260" fmla="*/ 473075 h 2265361"/>
              <a:gd name="connsiteX261" fmla="*/ 7459661 w 9905999"/>
              <a:gd name="connsiteY261" fmla="*/ 473075 h 2265361"/>
              <a:gd name="connsiteX262" fmla="*/ 7459661 w 9905999"/>
              <a:gd name="connsiteY262" fmla="*/ 690562 h 2265361"/>
              <a:gd name="connsiteX263" fmla="*/ 6905624 w 9905999"/>
              <a:gd name="connsiteY263" fmla="*/ 690562 h 2265361"/>
              <a:gd name="connsiteX264" fmla="*/ 6905624 w 9905999"/>
              <a:gd name="connsiteY264" fmla="*/ 993775 h 2265361"/>
              <a:gd name="connsiteX265" fmla="*/ 7535861 w 9905999"/>
              <a:gd name="connsiteY265" fmla="*/ 993775 h 2265361"/>
              <a:gd name="connsiteX266" fmla="*/ 7535861 w 9905999"/>
              <a:gd name="connsiteY266" fmla="*/ 1214437 h 2265361"/>
              <a:gd name="connsiteX267" fmla="*/ 6665911 w 9905999"/>
              <a:gd name="connsiteY267" fmla="*/ 1214437 h 2265361"/>
              <a:gd name="connsiteX268" fmla="*/ 5221286 w 9905999"/>
              <a:gd name="connsiteY268" fmla="*/ 0 h 2265361"/>
              <a:gd name="connsiteX269" fmla="*/ 5534024 w 9905999"/>
              <a:gd name="connsiteY269" fmla="*/ 0 h 2265361"/>
              <a:gd name="connsiteX270" fmla="*/ 5835649 w 9905999"/>
              <a:gd name="connsiteY270" fmla="*/ 823912 h 2265361"/>
              <a:gd name="connsiteX271" fmla="*/ 6142037 w 9905999"/>
              <a:gd name="connsiteY271" fmla="*/ 0 h 2265361"/>
              <a:gd name="connsiteX272" fmla="*/ 6438899 w 9905999"/>
              <a:gd name="connsiteY272" fmla="*/ 0 h 2265361"/>
              <a:gd name="connsiteX273" fmla="*/ 6438899 w 9905999"/>
              <a:gd name="connsiteY273" fmla="*/ 1214437 h 2265361"/>
              <a:gd name="connsiteX274" fmla="*/ 6203949 w 9905999"/>
              <a:gd name="connsiteY274" fmla="*/ 1214437 h 2265361"/>
              <a:gd name="connsiteX275" fmla="*/ 6203949 w 9905999"/>
              <a:gd name="connsiteY275" fmla="*/ 419100 h 2265361"/>
              <a:gd name="connsiteX276" fmla="*/ 5916612 w 9905999"/>
              <a:gd name="connsiteY276" fmla="*/ 1196975 h 2265361"/>
              <a:gd name="connsiteX277" fmla="*/ 5740399 w 9905999"/>
              <a:gd name="connsiteY277" fmla="*/ 1196975 h 2265361"/>
              <a:gd name="connsiteX278" fmla="*/ 5454649 w 9905999"/>
              <a:gd name="connsiteY278" fmla="*/ 409575 h 2265361"/>
              <a:gd name="connsiteX279" fmla="*/ 5454649 w 9905999"/>
              <a:gd name="connsiteY279" fmla="*/ 1214437 h 2265361"/>
              <a:gd name="connsiteX280" fmla="*/ 5221286 w 9905999"/>
              <a:gd name="connsiteY280" fmla="*/ 1214437 h 2265361"/>
              <a:gd name="connsiteX281" fmla="*/ 4098924 w 9905999"/>
              <a:gd name="connsiteY281" fmla="*/ 0 h 2265361"/>
              <a:gd name="connsiteX282" fmla="*/ 4968874 w 9905999"/>
              <a:gd name="connsiteY282" fmla="*/ 0 h 2265361"/>
              <a:gd name="connsiteX283" fmla="*/ 4968874 w 9905999"/>
              <a:gd name="connsiteY283" fmla="*/ 220663 h 2265361"/>
              <a:gd name="connsiteX284" fmla="*/ 4340224 w 9905999"/>
              <a:gd name="connsiteY284" fmla="*/ 220663 h 2265361"/>
              <a:gd name="connsiteX285" fmla="*/ 4340224 w 9905999"/>
              <a:gd name="connsiteY285" fmla="*/ 473075 h 2265361"/>
              <a:gd name="connsiteX286" fmla="*/ 4895849 w 9905999"/>
              <a:gd name="connsiteY286" fmla="*/ 473075 h 2265361"/>
              <a:gd name="connsiteX287" fmla="*/ 4895849 w 9905999"/>
              <a:gd name="connsiteY287" fmla="*/ 690562 h 2265361"/>
              <a:gd name="connsiteX288" fmla="*/ 4340224 w 9905999"/>
              <a:gd name="connsiteY288" fmla="*/ 690562 h 2265361"/>
              <a:gd name="connsiteX289" fmla="*/ 4340224 w 9905999"/>
              <a:gd name="connsiteY289" fmla="*/ 993775 h 2265361"/>
              <a:gd name="connsiteX290" fmla="*/ 4968874 w 9905999"/>
              <a:gd name="connsiteY290" fmla="*/ 993775 h 2265361"/>
              <a:gd name="connsiteX291" fmla="*/ 4968874 w 9905999"/>
              <a:gd name="connsiteY291" fmla="*/ 1214437 h 2265361"/>
              <a:gd name="connsiteX292" fmla="*/ 4098924 w 9905999"/>
              <a:gd name="connsiteY292" fmla="*/ 1214437 h 2265361"/>
              <a:gd name="connsiteX293" fmla="*/ 3079749 w 9905999"/>
              <a:gd name="connsiteY293" fmla="*/ 0 h 2265361"/>
              <a:gd name="connsiteX294" fmla="*/ 3321049 w 9905999"/>
              <a:gd name="connsiteY294" fmla="*/ 0 h 2265361"/>
              <a:gd name="connsiteX295" fmla="*/ 3321049 w 9905999"/>
              <a:gd name="connsiteY295" fmla="*/ 984250 h 2265361"/>
              <a:gd name="connsiteX296" fmla="*/ 3871912 w 9905999"/>
              <a:gd name="connsiteY296" fmla="*/ 984250 h 2265361"/>
              <a:gd name="connsiteX297" fmla="*/ 3871912 w 9905999"/>
              <a:gd name="connsiteY297" fmla="*/ 1214437 h 2265361"/>
              <a:gd name="connsiteX298" fmla="*/ 3079749 w 9905999"/>
              <a:gd name="connsiteY298" fmla="*/ 1214437 h 2265361"/>
              <a:gd name="connsiteX299" fmla="*/ 1989138 w 9905999"/>
              <a:gd name="connsiteY299" fmla="*/ 0 h 2265361"/>
              <a:gd name="connsiteX300" fmla="*/ 2465639 w 9905999"/>
              <a:gd name="connsiteY300" fmla="*/ 0 h 2265361"/>
              <a:gd name="connsiteX301" fmla="*/ 2897188 w 9905999"/>
              <a:gd name="connsiteY301" fmla="*/ 392045 h 2265361"/>
              <a:gd name="connsiteX302" fmla="*/ 2465639 w 9905999"/>
              <a:gd name="connsiteY302" fmla="*/ 786342 h 2265361"/>
              <a:gd name="connsiteX303" fmla="*/ 2227389 w 9905999"/>
              <a:gd name="connsiteY303" fmla="*/ 786342 h 2265361"/>
              <a:gd name="connsiteX304" fmla="*/ 2227389 w 9905999"/>
              <a:gd name="connsiteY304" fmla="*/ 1214437 h 2265361"/>
              <a:gd name="connsiteX305" fmla="*/ 1989138 w 9905999"/>
              <a:gd name="connsiteY305" fmla="*/ 1214437 h 2265361"/>
              <a:gd name="connsiteX306" fmla="*/ 1989138 w 9905999"/>
              <a:gd name="connsiteY306" fmla="*/ 0 h 2265361"/>
              <a:gd name="connsiteX307" fmla="*/ 520699 w 9905999"/>
              <a:gd name="connsiteY307" fmla="*/ 0 h 2265361"/>
              <a:gd name="connsiteX308" fmla="*/ 833436 w 9905999"/>
              <a:gd name="connsiteY308" fmla="*/ 0 h 2265361"/>
              <a:gd name="connsiteX309" fmla="*/ 1135061 w 9905999"/>
              <a:gd name="connsiteY309" fmla="*/ 823912 h 2265361"/>
              <a:gd name="connsiteX310" fmla="*/ 1439862 w 9905999"/>
              <a:gd name="connsiteY310" fmla="*/ 0 h 2265361"/>
              <a:gd name="connsiteX311" fmla="*/ 1736724 w 9905999"/>
              <a:gd name="connsiteY311" fmla="*/ 0 h 2265361"/>
              <a:gd name="connsiteX312" fmla="*/ 1736724 w 9905999"/>
              <a:gd name="connsiteY312" fmla="*/ 1214437 h 2265361"/>
              <a:gd name="connsiteX313" fmla="*/ 1503362 w 9905999"/>
              <a:gd name="connsiteY313" fmla="*/ 1214437 h 2265361"/>
              <a:gd name="connsiteX314" fmla="*/ 1503362 w 9905999"/>
              <a:gd name="connsiteY314" fmla="*/ 419100 h 2265361"/>
              <a:gd name="connsiteX315" fmla="*/ 1216024 w 9905999"/>
              <a:gd name="connsiteY315" fmla="*/ 1196975 h 2265361"/>
              <a:gd name="connsiteX316" fmla="*/ 1039812 w 9905999"/>
              <a:gd name="connsiteY316" fmla="*/ 1196975 h 2265361"/>
              <a:gd name="connsiteX317" fmla="*/ 754062 w 9905999"/>
              <a:gd name="connsiteY317" fmla="*/ 409575 h 2265361"/>
              <a:gd name="connsiteX318" fmla="*/ 754062 w 9905999"/>
              <a:gd name="connsiteY318" fmla="*/ 1214437 h 2265361"/>
              <a:gd name="connsiteX319" fmla="*/ 520699 w 9905999"/>
              <a:gd name="connsiteY319" fmla="*/ 1214437 h 2265361"/>
              <a:gd name="connsiteX320" fmla="*/ 25400 w 9905999"/>
              <a:gd name="connsiteY320" fmla="*/ 0 h 2265361"/>
              <a:gd name="connsiteX321" fmla="*/ 268288 w 9905999"/>
              <a:gd name="connsiteY321" fmla="*/ 0 h 2265361"/>
              <a:gd name="connsiteX322" fmla="*/ 268288 w 9905999"/>
              <a:gd name="connsiteY322" fmla="*/ 1214437 h 2265361"/>
              <a:gd name="connsiteX323" fmla="*/ 25400 w 9905999"/>
              <a:gd name="connsiteY323" fmla="*/ 1214437 h 226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</a:cxnLst>
            <a:rect l="l" t="t" r="r" b="b"/>
            <a:pathLst>
              <a:path w="9905999" h="2265361">
                <a:moveTo>
                  <a:pt x="6778122" y="2222531"/>
                </a:moveTo>
                <a:cubicBezTo>
                  <a:pt x="6778122" y="2222531"/>
                  <a:pt x="6778122" y="2222531"/>
                  <a:pt x="7135812" y="2222531"/>
                </a:cubicBezTo>
                <a:lnTo>
                  <a:pt x="7135812" y="2265361"/>
                </a:lnTo>
                <a:cubicBezTo>
                  <a:pt x="7135812" y="2265361"/>
                  <a:pt x="7135812" y="2265361"/>
                  <a:pt x="6778122" y="2265361"/>
                </a:cubicBezTo>
                <a:cubicBezTo>
                  <a:pt x="6778122" y="2265361"/>
                  <a:pt x="6778122" y="2265361"/>
                  <a:pt x="6778122" y="2222531"/>
                </a:cubicBezTo>
                <a:close/>
                <a:moveTo>
                  <a:pt x="6449676" y="1769427"/>
                </a:moveTo>
                <a:cubicBezTo>
                  <a:pt x="6449676" y="1769427"/>
                  <a:pt x="6449676" y="1769427"/>
                  <a:pt x="6449676" y="1965546"/>
                </a:cubicBezTo>
                <a:cubicBezTo>
                  <a:pt x="6449676" y="1965546"/>
                  <a:pt x="6449676" y="1965546"/>
                  <a:pt x="6575655" y="1965546"/>
                </a:cubicBezTo>
                <a:cubicBezTo>
                  <a:pt x="6643144" y="1965546"/>
                  <a:pt x="6679138" y="1933987"/>
                  <a:pt x="6679138" y="1864105"/>
                </a:cubicBezTo>
                <a:cubicBezTo>
                  <a:pt x="6679138" y="1800986"/>
                  <a:pt x="6638645" y="1769427"/>
                  <a:pt x="6575655" y="1769427"/>
                </a:cubicBezTo>
                <a:cubicBezTo>
                  <a:pt x="6575655" y="1769427"/>
                  <a:pt x="6575655" y="1769427"/>
                  <a:pt x="6449676" y="1769427"/>
                </a:cubicBezTo>
                <a:close/>
                <a:moveTo>
                  <a:pt x="5021164" y="1769427"/>
                </a:moveTo>
                <a:cubicBezTo>
                  <a:pt x="5021164" y="1769427"/>
                  <a:pt x="5021164" y="1769427"/>
                  <a:pt x="5021164" y="1949767"/>
                </a:cubicBezTo>
                <a:cubicBezTo>
                  <a:pt x="5021164" y="1949767"/>
                  <a:pt x="5021164" y="1949767"/>
                  <a:pt x="5158391" y="1949767"/>
                </a:cubicBezTo>
                <a:cubicBezTo>
                  <a:pt x="5219131" y="1949767"/>
                  <a:pt x="5261874" y="1924970"/>
                  <a:pt x="5261874" y="1859597"/>
                </a:cubicBezTo>
                <a:cubicBezTo>
                  <a:pt x="5261874" y="1794223"/>
                  <a:pt x="5219131" y="1769427"/>
                  <a:pt x="5158391" y="1769427"/>
                </a:cubicBezTo>
                <a:cubicBezTo>
                  <a:pt x="5158391" y="1769427"/>
                  <a:pt x="5158391" y="1769427"/>
                  <a:pt x="5021164" y="1769427"/>
                </a:cubicBezTo>
                <a:close/>
                <a:moveTo>
                  <a:pt x="5597068" y="1762664"/>
                </a:moveTo>
                <a:cubicBezTo>
                  <a:pt x="5563324" y="1762664"/>
                  <a:pt x="5529579" y="1776189"/>
                  <a:pt x="5504834" y="1800986"/>
                </a:cubicBezTo>
                <a:cubicBezTo>
                  <a:pt x="5462091" y="1843817"/>
                  <a:pt x="5459841" y="1913699"/>
                  <a:pt x="5459841" y="1967800"/>
                </a:cubicBezTo>
                <a:cubicBezTo>
                  <a:pt x="5459841" y="2019648"/>
                  <a:pt x="5462091" y="2089530"/>
                  <a:pt x="5504834" y="2132361"/>
                </a:cubicBezTo>
                <a:cubicBezTo>
                  <a:pt x="5529579" y="2159412"/>
                  <a:pt x="5563324" y="2170683"/>
                  <a:pt x="5597068" y="2170683"/>
                </a:cubicBezTo>
                <a:cubicBezTo>
                  <a:pt x="5633062" y="2170683"/>
                  <a:pt x="5666807" y="2159412"/>
                  <a:pt x="5691552" y="2132361"/>
                </a:cubicBezTo>
                <a:cubicBezTo>
                  <a:pt x="5732046" y="2089530"/>
                  <a:pt x="5734295" y="2019648"/>
                  <a:pt x="5734295" y="1967800"/>
                </a:cubicBezTo>
                <a:cubicBezTo>
                  <a:pt x="5734295" y="1913699"/>
                  <a:pt x="5732046" y="1843817"/>
                  <a:pt x="5691552" y="1800986"/>
                </a:cubicBezTo>
                <a:cubicBezTo>
                  <a:pt x="5666807" y="1776189"/>
                  <a:pt x="5633062" y="1762664"/>
                  <a:pt x="5597068" y="1762664"/>
                </a:cubicBezTo>
                <a:close/>
                <a:moveTo>
                  <a:pt x="654642" y="1762664"/>
                </a:moveTo>
                <a:cubicBezTo>
                  <a:pt x="618647" y="1762664"/>
                  <a:pt x="584903" y="1776189"/>
                  <a:pt x="560157" y="1800986"/>
                </a:cubicBezTo>
                <a:cubicBezTo>
                  <a:pt x="519664" y="1843817"/>
                  <a:pt x="517414" y="1913699"/>
                  <a:pt x="517414" y="1967800"/>
                </a:cubicBezTo>
                <a:cubicBezTo>
                  <a:pt x="517414" y="2019648"/>
                  <a:pt x="519664" y="2089530"/>
                  <a:pt x="560157" y="2132361"/>
                </a:cubicBezTo>
                <a:cubicBezTo>
                  <a:pt x="584903" y="2159412"/>
                  <a:pt x="618647" y="2170683"/>
                  <a:pt x="654642" y="2170683"/>
                </a:cubicBezTo>
                <a:cubicBezTo>
                  <a:pt x="688386" y="2170683"/>
                  <a:pt x="722130" y="2159412"/>
                  <a:pt x="746876" y="2132361"/>
                </a:cubicBezTo>
                <a:cubicBezTo>
                  <a:pt x="789619" y="2089530"/>
                  <a:pt x="791868" y="2019648"/>
                  <a:pt x="791868" y="1967800"/>
                </a:cubicBezTo>
                <a:cubicBezTo>
                  <a:pt x="791868" y="1913699"/>
                  <a:pt x="789619" y="1843817"/>
                  <a:pt x="746876" y="1800986"/>
                </a:cubicBezTo>
                <a:cubicBezTo>
                  <a:pt x="722130" y="1776189"/>
                  <a:pt x="688386" y="1762664"/>
                  <a:pt x="654642" y="1762664"/>
                </a:cubicBezTo>
                <a:close/>
                <a:moveTo>
                  <a:pt x="6386687" y="1710816"/>
                </a:moveTo>
                <a:cubicBezTo>
                  <a:pt x="6386687" y="1710816"/>
                  <a:pt x="6386687" y="1710816"/>
                  <a:pt x="6575655" y="1710816"/>
                </a:cubicBezTo>
                <a:cubicBezTo>
                  <a:pt x="6636395" y="1710816"/>
                  <a:pt x="6679138" y="1726596"/>
                  <a:pt x="6706134" y="1755901"/>
                </a:cubicBezTo>
                <a:cubicBezTo>
                  <a:pt x="6730880" y="1782952"/>
                  <a:pt x="6744377" y="1821274"/>
                  <a:pt x="6744377" y="1864105"/>
                </a:cubicBezTo>
                <a:cubicBezTo>
                  <a:pt x="6744377" y="1915953"/>
                  <a:pt x="6730880" y="1954275"/>
                  <a:pt x="6701634" y="1981326"/>
                </a:cubicBezTo>
                <a:cubicBezTo>
                  <a:pt x="6674639" y="2008377"/>
                  <a:pt x="6634146" y="2024157"/>
                  <a:pt x="6577905" y="2024157"/>
                </a:cubicBezTo>
                <a:cubicBezTo>
                  <a:pt x="6577905" y="2024157"/>
                  <a:pt x="6577905" y="2024157"/>
                  <a:pt x="6449676" y="2024157"/>
                </a:cubicBezTo>
                <a:cubicBezTo>
                  <a:pt x="6449676" y="2024157"/>
                  <a:pt x="6449676" y="2024157"/>
                  <a:pt x="6449676" y="2222531"/>
                </a:cubicBezTo>
                <a:cubicBezTo>
                  <a:pt x="6449676" y="2222531"/>
                  <a:pt x="6449676" y="2222531"/>
                  <a:pt x="6386687" y="2222531"/>
                </a:cubicBezTo>
                <a:cubicBezTo>
                  <a:pt x="6386687" y="2222531"/>
                  <a:pt x="6386687" y="2222531"/>
                  <a:pt x="6386687" y="1710816"/>
                </a:cubicBezTo>
                <a:close/>
                <a:moveTo>
                  <a:pt x="5889520" y="1710816"/>
                </a:moveTo>
                <a:cubicBezTo>
                  <a:pt x="5889520" y="1710816"/>
                  <a:pt x="5889520" y="1710816"/>
                  <a:pt x="5954759" y="1710816"/>
                </a:cubicBezTo>
                <a:cubicBezTo>
                  <a:pt x="5954759" y="1710816"/>
                  <a:pt x="5954759" y="1710816"/>
                  <a:pt x="5954759" y="2035428"/>
                </a:cubicBezTo>
                <a:cubicBezTo>
                  <a:pt x="5954759" y="2118835"/>
                  <a:pt x="5988503" y="2172937"/>
                  <a:pt x="6076239" y="2172937"/>
                </a:cubicBezTo>
                <a:cubicBezTo>
                  <a:pt x="6166224" y="2172937"/>
                  <a:pt x="6199968" y="2118835"/>
                  <a:pt x="6199968" y="2035428"/>
                </a:cubicBezTo>
                <a:cubicBezTo>
                  <a:pt x="6199968" y="2035428"/>
                  <a:pt x="6199968" y="2035428"/>
                  <a:pt x="6199968" y="1710816"/>
                </a:cubicBezTo>
                <a:cubicBezTo>
                  <a:pt x="6199968" y="1710816"/>
                  <a:pt x="6199968" y="1710816"/>
                  <a:pt x="6262957" y="1710816"/>
                </a:cubicBezTo>
                <a:cubicBezTo>
                  <a:pt x="6262957" y="1710816"/>
                  <a:pt x="6262957" y="1710816"/>
                  <a:pt x="6262957" y="2035428"/>
                </a:cubicBezTo>
                <a:cubicBezTo>
                  <a:pt x="6262957" y="2163920"/>
                  <a:pt x="6190969" y="2231547"/>
                  <a:pt x="6076239" y="2231547"/>
                </a:cubicBezTo>
                <a:cubicBezTo>
                  <a:pt x="5961508" y="2231547"/>
                  <a:pt x="5889520" y="2163920"/>
                  <a:pt x="5889520" y="2035428"/>
                </a:cubicBezTo>
                <a:cubicBezTo>
                  <a:pt x="5889520" y="2035428"/>
                  <a:pt x="5889520" y="2035428"/>
                  <a:pt x="5889520" y="1710816"/>
                </a:cubicBezTo>
                <a:close/>
                <a:moveTo>
                  <a:pt x="4958174" y="1710816"/>
                </a:moveTo>
                <a:cubicBezTo>
                  <a:pt x="4958174" y="1710816"/>
                  <a:pt x="4958174" y="1710816"/>
                  <a:pt x="5158391" y="1710816"/>
                </a:cubicBezTo>
                <a:cubicBezTo>
                  <a:pt x="5219131" y="1710816"/>
                  <a:pt x="5259624" y="1726596"/>
                  <a:pt x="5288869" y="1755901"/>
                </a:cubicBezTo>
                <a:cubicBezTo>
                  <a:pt x="5313615" y="1782952"/>
                  <a:pt x="5329363" y="1814512"/>
                  <a:pt x="5329363" y="1859597"/>
                </a:cubicBezTo>
                <a:cubicBezTo>
                  <a:pt x="5329363" y="1904682"/>
                  <a:pt x="5313615" y="1936241"/>
                  <a:pt x="5288869" y="1961038"/>
                </a:cubicBezTo>
                <a:cubicBezTo>
                  <a:pt x="5275372" y="1976817"/>
                  <a:pt x="5252875" y="1990343"/>
                  <a:pt x="5228130" y="1997106"/>
                </a:cubicBezTo>
                <a:cubicBezTo>
                  <a:pt x="5228130" y="1997106"/>
                  <a:pt x="5228130" y="1997106"/>
                  <a:pt x="5331612" y="2222531"/>
                </a:cubicBezTo>
                <a:lnTo>
                  <a:pt x="5259624" y="2222531"/>
                </a:lnTo>
                <a:cubicBezTo>
                  <a:pt x="5259624" y="2222531"/>
                  <a:pt x="5259624" y="2222531"/>
                  <a:pt x="5162890" y="2010631"/>
                </a:cubicBezTo>
                <a:cubicBezTo>
                  <a:pt x="5162890" y="2010631"/>
                  <a:pt x="5162890" y="2010631"/>
                  <a:pt x="5021164" y="2010631"/>
                </a:cubicBezTo>
                <a:cubicBezTo>
                  <a:pt x="5021164" y="2010631"/>
                  <a:pt x="5021164" y="2010631"/>
                  <a:pt x="5021164" y="2222531"/>
                </a:cubicBezTo>
                <a:cubicBezTo>
                  <a:pt x="5021164" y="2222531"/>
                  <a:pt x="5021164" y="2222531"/>
                  <a:pt x="4958174" y="2222531"/>
                </a:cubicBezTo>
                <a:cubicBezTo>
                  <a:pt x="4958174" y="2222531"/>
                  <a:pt x="4958174" y="2222531"/>
                  <a:pt x="4958174" y="1710816"/>
                </a:cubicBezTo>
                <a:close/>
                <a:moveTo>
                  <a:pt x="3309199" y="1710816"/>
                </a:moveTo>
                <a:cubicBezTo>
                  <a:pt x="3309199" y="1710816"/>
                  <a:pt x="3309199" y="1710816"/>
                  <a:pt x="3381187" y="1710816"/>
                </a:cubicBezTo>
                <a:cubicBezTo>
                  <a:pt x="3381187" y="1710816"/>
                  <a:pt x="3381187" y="1710816"/>
                  <a:pt x="3633145" y="2123344"/>
                </a:cubicBezTo>
                <a:cubicBezTo>
                  <a:pt x="3633145" y="2123344"/>
                  <a:pt x="3633145" y="2123344"/>
                  <a:pt x="3633145" y="1710816"/>
                </a:cubicBezTo>
                <a:cubicBezTo>
                  <a:pt x="3633145" y="1710816"/>
                  <a:pt x="3633145" y="1710816"/>
                  <a:pt x="3693885" y="1710816"/>
                </a:cubicBezTo>
                <a:cubicBezTo>
                  <a:pt x="3693885" y="1710816"/>
                  <a:pt x="3693885" y="1710816"/>
                  <a:pt x="3693885" y="2222531"/>
                </a:cubicBezTo>
                <a:lnTo>
                  <a:pt x="3621897" y="2222531"/>
                </a:lnTo>
                <a:cubicBezTo>
                  <a:pt x="3621897" y="2222531"/>
                  <a:pt x="3621897" y="2222531"/>
                  <a:pt x="3372188" y="1810003"/>
                </a:cubicBezTo>
                <a:cubicBezTo>
                  <a:pt x="3372188" y="1810003"/>
                  <a:pt x="3372188" y="1810003"/>
                  <a:pt x="3372188" y="2222531"/>
                </a:cubicBezTo>
                <a:cubicBezTo>
                  <a:pt x="3372188" y="2222531"/>
                  <a:pt x="3372188" y="2222531"/>
                  <a:pt x="3309199" y="2222531"/>
                </a:cubicBezTo>
                <a:cubicBezTo>
                  <a:pt x="3309199" y="2222531"/>
                  <a:pt x="3309199" y="2222531"/>
                  <a:pt x="3309199" y="1710816"/>
                </a:cubicBezTo>
                <a:close/>
                <a:moveTo>
                  <a:pt x="3106732" y="1710816"/>
                </a:moveTo>
                <a:cubicBezTo>
                  <a:pt x="3106732" y="1710816"/>
                  <a:pt x="3106732" y="1710816"/>
                  <a:pt x="3171971" y="1710816"/>
                </a:cubicBezTo>
                <a:lnTo>
                  <a:pt x="3171971" y="2222531"/>
                </a:lnTo>
                <a:cubicBezTo>
                  <a:pt x="3171971" y="2222531"/>
                  <a:pt x="3171971" y="2222531"/>
                  <a:pt x="3106732" y="2222531"/>
                </a:cubicBezTo>
                <a:cubicBezTo>
                  <a:pt x="3106732" y="2222531"/>
                  <a:pt x="3106732" y="2222531"/>
                  <a:pt x="3106732" y="1710816"/>
                </a:cubicBezTo>
                <a:close/>
                <a:moveTo>
                  <a:pt x="2663557" y="1710816"/>
                </a:moveTo>
                <a:cubicBezTo>
                  <a:pt x="2663557" y="1710816"/>
                  <a:pt x="2663557" y="1710816"/>
                  <a:pt x="3032495" y="1710816"/>
                </a:cubicBezTo>
                <a:cubicBezTo>
                  <a:pt x="3032495" y="1710816"/>
                  <a:pt x="3032495" y="1710816"/>
                  <a:pt x="3032495" y="1769427"/>
                </a:cubicBezTo>
                <a:lnTo>
                  <a:pt x="2879521" y="1769427"/>
                </a:lnTo>
                <a:cubicBezTo>
                  <a:pt x="2879521" y="1769427"/>
                  <a:pt x="2879521" y="1769427"/>
                  <a:pt x="2879521" y="2222531"/>
                </a:cubicBezTo>
                <a:cubicBezTo>
                  <a:pt x="2879521" y="2222531"/>
                  <a:pt x="2879521" y="2222531"/>
                  <a:pt x="2814282" y="2222531"/>
                </a:cubicBezTo>
                <a:cubicBezTo>
                  <a:pt x="2814282" y="2222531"/>
                  <a:pt x="2814282" y="2222531"/>
                  <a:pt x="2814282" y="1769427"/>
                </a:cubicBezTo>
                <a:cubicBezTo>
                  <a:pt x="2814282" y="1769427"/>
                  <a:pt x="2814282" y="1769427"/>
                  <a:pt x="2663557" y="1769427"/>
                </a:cubicBezTo>
                <a:cubicBezTo>
                  <a:pt x="2663557" y="1769427"/>
                  <a:pt x="2663557" y="1769427"/>
                  <a:pt x="2663557" y="1710816"/>
                </a:cubicBezTo>
                <a:close/>
                <a:moveTo>
                  <a:pt x="2416099" y="1710816"/>
                </a:moveTo>
                <a:cubicBezTo>
                  <a:pt x="2416099" y="1710816"/>
                  <a:pt x="2416099" y="1710816"/>
                  <a:pt x="2481338" y="1710816"/>
                </a:cubicBezTo>
                <a:cubicBezTo>
                  <a:pt x="2481338" y="1710816"/>
                  <a:pt x="2481338" y="1710816"/>
                  <a:pt x="2481338" y="2163920"/>
                </a:cubicBezTo>
                <a:cubicBezTo>
                  <a:pt x="2481338" y="2163920"/>
                  <a:pt x="2481338" y="2163920"/>
                  <a:pt x="2726547" y="2163920"/>
                </a:cubicBezTo>
                <a:cubicBezTo>
                  <a:pt x="2726547" y="2163920"/>
                  <a:pt x="2726547" y="2163920"/>
                  <a:pt x="2726547" y="2222531"/>
                </a:cubicBezTo>
                <a:lnTo>
                  <a:pt x="2416099" y="2222531"/>
                </a:lnTo>
                <a:cubicBezTo>
                  <a:pt x="2416099" y="2222531"/>
                  <a:pt x="2416099" y="2222531"/>
                  <a:pt x="2416099" y="1710816"/>
                </a:cubicBezTo>
                <a:close/>
                <a:moveTo>
                  <a:pt x="1918931" y="1710816"/>
                </a:moveTo>
                <a:cubicBezTo>
                  <a:pt x="1918931" y="1710816"/>
                  <a:pt x="1918931" y="1710816"/>
                  <a:pt x="1984171" y="1710816"/>
                </a:cubicBezTo>
                <a:cubicBezTo>
                  <a:pt x="1984171" y="1710816"/>
                  <a:pt x="1984171" y="1710816"/>
                  <a:pt x="1984171" y="2035428"/>
                </a:cubicBezTo>
                <a:cubicBezTo>
                  <a:pt x="1984171" y="2118835"/>
                  <a:pt x="2017916" y="2172937"/>
                  <a:pt x="2105651" y="2172937"/>
                </a:cubicBezTo>
                <a:cubicBezTo>
                  <a:pt x="2195636" y="2172937"/>
                  <a:pt x="2229380" y="2118835"/>
                  <a:pt x="2229380" y="2035428"/>
                </a:cubicBezTo>
                <a:cubicBezTo>
                  <a:pt x="2229380" y="2035428"/>
                  <a:pt x="2229380" y="2035428"/>
                  <a:pt x="2229380" y="1710816"/>
                </a:cubicBezTo>
                <a:cubicBezTo>
                  <a:pt x="2229380" y="1710816"/>
                  <a:pt x="2229380" y="1710816"/>
                  <a:pt x="2292369" y="1710816"/>
                </a:cubicBezTo>
                <a:cubicBezTo>
                  <a:pt x="2292369" y="1710816"/>
                  <a:pt x="2292369" y="1710816"/>
                  <a:pt x="2292369" y="2035428"/>
                </a:cubicBezTo>
                <a:cubicBezTo>
                  <a:pt x="2292369" y="2163920"/>
                  <a:pt x="2220382" y="2231547"/>
                  <a:pt x="2105651" y="2231547"/>
                </a:cubicBezTo>
                <a:cubicBezTo>
                  <a:pt x="1990920" y="2231547"/>
                  <a:pt x="1918931" y="2163920"/>
                  <a:pt x="1918931" y="2035428"/>
                </a:cubicBezTo>
                <a:cubicBezTo>
                  <a:pt x="1918931" y="2035428"/>
                  <a:pt x="1918931" y="2035428"/>
                  <a:pt x="1918931" y="1710816"/>
                </a:cubicBezTo>
                <a:close/>
                <a:moveTo>
                  <a:pt x="960591" y="1710816"/>
                </a:moveTo>
                <a:cubicBezTo>
                  <a:pt x="960591" y="1710816"/>
                  <a:pt x="960591" y="1710816"/>
                  <a:pt x="1032578" y="1710816"/>
                </a:cubicBezTo>
                <a:cubicBezTo>
                  <a:pt x="1032578" y="1710816"/>
                  <a:pt x="1032578" y="1710816"/>
                  <a:pt x="1284537" y="2123344"/>
                </a:cubicBezTo>
                <a:cubicBezTo>
                  <a:pt x="1284537" y="2123344"/>
                  <a:pt x="1284537" y="2123344"/>
                  <a:pt x="1284537" y="1710816"/>
                </a:cubicBezTo>
                <a:cubicBezTo>
                  <a:pt x="1284537" y="1710816"/>
                  <a:pt x="1284537" y="1710816"/>
                  <a:pt x="1345276" y="1710816"/>
                </a:cubicBezTo>
                <a:cubicBezTo>
                  <a:pt x="1345276" y="1710816"/>
                  <a:pt x="1345276" y="1710816"/>
                  <a:pt x="1345276" y="2222531"/>
                </a:cubicBezTo>
                <a:lnTo>
                  <a:pt x="1273289" y="2222531"/>
                </a:lnTo>
                <a:cubicBezTo>
                  <a:pt x="1273289" y="2222531"/>
                  <a:pt x="1273289" y="2222531"/>
                  <a:pt x="1023580" y="1810003"/>
                </a:cubicBezTo>
                <a:cubicBezTo>
                  <a:pt x="1023580" y="1810003"/>
                  <a:pt x="1023580" y="1810003"/>
                  <a:pt x="1023580" y="2222531"/>
                </a:cubicBezTo>
                <a:cubicBezTo>
                  <a:pt x="1023580" y="2222531"/>
                  <a:pt x="1023580" y="2222531"/>
                  <a:pt x="960591" y="2222531"/>
                </a:cubicBezTo>
                <a:cubicBezTo>
                  <a:pt x="960591" y="2222531"/>
                  <a:pt x="960591" y="2222531"/>
                  <a:pt x="960591" y="1710816"/>
                </a:cubicBezTo>
                <a:close/>
                <a:moveTo>
                  <a:pt x="5597068" y="1701799"/>
                </a:moveTo>
                <a:cubicBezTo>
                  <a:pt x="5648810" y="1701799"/>
                  <a:pt x="5698301" y="1719833"/>
                  <a:pt x="5736545" y="1755901"/>
                </a:cubicBezTo>
                <a:cubicBezTo>
                  <a:pt x="5790536" y="1810003"/>
                  <a:pt x="5801784" y="1884393"/>
                  <a:pt x="5801784" y="1967800"/>
                </a:cubicBezTo>
                <a:cubicBezTo>
                  <a:pt x="5801784" y="2048953"/>
                  <a:pt x="5790536" y="2123344"/>
                  <a:pt x="5736545" y="2177446"/>
                </a:cubicBezTo>
                <a:cubicBezTo>
                  <a:pt x="5698301" y="2213514"/>
                  <a:pt x="5648810" y="2233802"/>
                  <a:pt x="5597068" y="2233802"/>
                </a:cubicBezTo>
                <a:cubicBezTo>
                  <a:pt x="5547576" y="2233802"/>
                  <a:pt x="5495835" y="2213514"/>
                  <a:pt x="5459841" y="2177446"/>
                </a:cubicBezTo>
                <a:cubicBezTo>
                  <a:pt x="5403600" y="2123344"/>
                  <a:pt x="5394602" y="2048953"/>
                  <a:pt x="5394602" y="1967800"/>
                </a:cubicBezTo>
                <a:cubicBezTo>
                  <a:pt x="5394602" y="1884393"/>
                  <a:pt x="5403600" y="1810003"/>
                  <a:pt x="5459841" y="1755901"/>
                </a:cubicBezTo>
                <a:cubicBezTo>
                  <a:pt x="5495835" y="1719833"/>
                  <a:pt x="5547576" y="1701799"/>
                  <a:pt x="5597068" y="1701799"/>
                </a:cubicBezTo>
                <a:close/>
                <a:moveTo>
                  <a:pt x="4645477" y="1701799"/>
                </a:moveTo>
                <a:cubicBezTo>
                  <a:pt x="4701717" y="1701799"/>
                  <a:pt x="4755708" y="1722087"/>
                  <a:pt x="4791702" y="1758155"/>
                </a:cubicBezTo>
                <a:cubicBezTo>
                  <a:pt x="4816448" y="1785206"/>
                  <a:pt x="4832195" y="1816766"/>
                  <a:pt x="4834445" y="1859597"/>
                </a:cubicBezTo>
                <a:cubicBezTo>
                  <a:pt x="4834445" y="1859597"/>
                  <a:pt x="4834445" y="1859597"/>
                  <a:pt x="4766956" y="1859597"/>
                </a:cubicBezTo>
                <a:cubicBezTo>
                  <a:pt x="4764707" y="1834800"/>
                  <a:pt x="4757958" y="1819020"/>
                  <a:pt x="4744460" y="1803240"/>
                </a:cubicBezTo>
                <a:cubicBezTo>
                  <a:pt x="4721964" y="1773935"/>
                  <a:pt x="4685970" y="1762664"/>
                  <a:pt x="4645477" y="1762664"/>
                </a:cubicBezTo>
                <a:cubicBezTo>
                  <a:pt x="4609482" y="1762664"/>
                  <a:pt x="4575738" y="1776189"/>
                  <a:pt x="4550992" y="1800986"/>
                </a:cubicBezTo>
                <a:cubicBezTo>
                  <a:pt x="4510499" y="1843817"/>
                  <a:pt x="4506000" y="1913699"/>
                  <a:pt x="4506000" y="1967800"/>
                </a:cubicBezTo>
                <a:cubicBezTo>
                  <a:pt x="4506000" y="2017394"/>
                  <a:pt x="4510499" y="2091784"/>
                  <a:pt x="4553242" y="2134615"/>
                </a:cubicBezTo>
                <a:cubicBezTo>
                  <a:pt x="4577988" y="2161666"/>
                  <a:pt x="4609482" y="2172937"/>
                  <a:pt x="4645477" y="2172937"/>
                </a:cubicBezTo>
                <a:cubicBezTo>
                  <a:pt x="4681471" y="2172937"/>
                  <a:pt x="4715215" y="2159412"/>
                  <a:pt x="4737711" y="2136869"/>
                </a:cubicBezTo>
                <a:cubicBezTo>
                  <a:pt x="4771456" y="2103055"/>
                  <a:pt x="4780454" y="2053462"/>
                  <a:pt x="4780454" y="2006123"/>
                </a:cubicBezTo>
                <a:cubicBezTo>
                  <a:pt x="4780454" y="2006123"/>
                  <a:pt x="4780454" y="2006123"/>
                  <a:pt x="4645477" y="2006123"/>
                </a:cubicBezTo>
                <a:cubicBezTo>
                  <a:pt x="4645477" y="2006123"/>
                  <a:pt x="4645477" y="2006123"/>
                  <a:pt x="4645477" y="1947512"/>
                </a:cubicBezTo>
                <a:cubicBezTo>
                  <a:pt x="4645477" y="1947512"/>
                  <a:pt x="4645477" y="1947512"/>
                  <a:pt x="4838944" y="1947512"/>
                </a:cubicBezTo>
                <a:cubicBezTo>
                  <a:pt x="4838944" y="1947512"/>
                  <a:pt x="4838944" y="1947512"/>
                  <a:pt x="4838944" y="2222531"/>
                </a:cubicBezTo>
                <a:lnTo>
                  <a:pt x="4793952" y="2222531"/>
                </a:lnTo>
                <a:cubicBezTo>
                  <a:pt x="4793952" y="2222531"/>
                  <a:pt x="4793952" y="2222531"/>
                  <a:pt x="4782704" y="2161666"/>
                </a:cubicBezTo>
                <a:cubicBezTo>
                  <a:pt x="4757958" y="2204497"/>
                  <a:pt x="4701717" y="2233802"/>
                  <a:pt x="4645477" y="2233802"/>
                </a:cubicBezTo>
                <a:cubicBezTo>
                  <a:pt x="4593735" y="2233802"/>
                  <a:pt x="4544243" y="2215768"/>
                  <a:pt x="4506000" y="2179700"/>
                </a:cubicBezTo>
                <a:cubicBezTo>
                  <a:pt x="4454258" y="2130106"/>
                  <a:pt x="4440761" y="2057970"/>
                  <a:pt x="4440761" y="1967800"/>
                </a:cubicBezTo>
                <a:cubicBezTo>
                  <a:pt x="4440761" y="1884393"/>
                  <a:pt x="4452009" y="1810003"/>
                  <a:pt x="4506000" y="1755901"/>
                </a:cubicBezTo>
                <a:cubicBezTo>
                  <a:pt x="4544243" y="1719833"/>
                  <a:pt x="4593735" y="1701799"/>
                  <a:pt x="4645477" y="1701799"/>
                </a:cubicBezTo>
                <a:close/>
                <a:moveTo>
                  <a:pt x="4002083" y="1701799"/>
                </a:moveTo>
                <a:cubicBezTo>
                  <a:pt x="4060574" y="1701799"/>
                  <a:pt x="4112315" y="1722087"/>
                  <a:pt x="4148309" y="1758155"/>
                </a:cubicBezTo>
                <a:cubicBezTo>
                  <a:pt x="4173055" y="1785206"/>
                  <a:pt x="4191052" y="1816766"/>
                  <a:pt x="4193302" y="1859597"/>
                </a:cubicBezTo>
                <a:cubicBezTo>
                  <a:pt x="4193302" y="1859597"/>
                  <a:pt x="4193302" y="1859597"/>
                  <a:pt x="4125813" y="1859597"/>
                </a:cubicBezTo>
                <a:cubicBezTo>
                  <a:pt x="4123563" y="1834800"/>
                  <a:pt x="4114565" y="1819020"/>
                  <a:pt x="4103317" y="1803240"/>
                </a:cubicBezTo>
                <a:cubicBezTo>
                  <a:pt x="4078571" y="1773935"/>
                  <a:pt x="4044826" y="1762664"/>
                  <a:pt x="4002083" y="1762664"/>
                </a:cubicBezTo>
                <a:cubicBezTo>
                  <a:pt x="3968339" y="1762664"/>
                  <a:pt x="3934595" y="1776189"/>
                  <a:pt x="3909849" y="1800986"/>
                </a:cubicBezTo>
                <a:cubicBezTo>
                  <a:pt x="3867106" y="1843817"/>
                  <a:pt x="3864856" y="1913699"/>
                  <a:pt x="3864856" y="1967800"/>
                </a:cubicBezTo>
                <a:cubicBezTo>
                  <a:pt x="3864856" y="2017394"/>
                  <a:pt x="3867106" y="2091784"/>
                  <a:pt x="3909849" y="2134615"/>
                </a:cubicBezTo>
                <a:cubicBezTo>
                  <a:pt x="3934595" y="2161666"/>
                  <a:pt x="3968339" y="2172937"/>
                  <a:pt x="4002083" y="2172937"/>
                </a:cubicBezTo>
                <a:cubicBezTo>
                  <a:pt x="4038077" y="2172937"/>
                  <a:pt x="4071822" y="2159412"/>
                  <a:pt x="4094318" y="2136869"/>
                </a:cubicBezTo>
                <a:cubicBezTo>
                  <a:pt x="4130312" y="2103055"/>
                  <a:pt x="4139311" y="2053462"/>
                  <a:pt x="4139311" y="2006123"/>
                </a:cubicBezTo>
                <a:cubicBezTo>
                  <a:pt x="4139311" y="2006123"/>
                  <a:pt x="4139311" y="2006123"/>
                  <a:pt x="4002083" y="2006123"/>
                </a:cubicBezTo>
                <a:cubicBezTo>
                  <a:pt x="4002083" y="2006123"/>
                  <a:pt x="4002083" y="2006123"/>
                  <a:pt x="4002083" y="1947512"/>
                </a:cubicBezTo>
                <a:cubicBezTo>
                  <a:pt x="4002083" y="1947512"/>
                  <a:pt x="4002083" y="1947512"/>
                  <a:pt x="4197801" y="1947512"/>
                </a:cubicBezTo>
                <a:cubicBezTo>
                  <a:pt x="4197801" y="1947512"/>
                  <a:pt x="4197801" y="1947512"/>
                  <a:pt x="4197801" y="2222531"/>
                </a:cubicBezTo>
                <a:lnTo>
                  <a:pt x="4152808" y="2222531"/>
                </a:lnTo>
                <a:cubicBezTo>
                  <a:pt x="4152808" y="2222531"/>
                  <a:pt x="4152808" y="2222531"/>
                  <a:pt x="4141560" y="2161666"/>
                </a:cubicBezTo>
                <a:cubicBezTo>
                  <a:pt x="4116814" y="2204497"/>
                  <a:pt x="4060574" y="2233802"/>
                  <a:pt x="4002083" y="2233802"/>
                </a:cubicBezTo>
                <a:cubicBezTo>
                  <a:pt x="3950342" y="2233802"/>
                  <a:pt x="3900850" y="2215768"/>
                  <a:pt x="3864856" y="2179700"/>
                </a:cubicBezTo>
                <a:cubicBezTo>
                  <a:pt x="3813115" y="2130106"/>
                  <a:pt x="3797367" y="2057970"/>
                  <a:pt x="3797367" y="1967800"/>
                </a:cubicBezTo>
                <a:cubicBezTo>
                  <a:pt x="3797367" y="1884393"/>
                  <a:pt x="3808616" y="1810003"/>
                  <a:pt x="3864856" y="1755901"/>
                </a:cubicBezTo>
                <a:cubicBezTo>
                  <a:pt x="3900850" y="1719833"/>
                  <a:pt x="3950342" y="1701799"/>
                  <a:pt x="4002083" y="1701799"/>
                </a:cubicBezTo>
                <a:close/>
                <a:moveTo>
                  <a:pt x="1642228" y="1701799"/>
                </a:moveTo>
                <a:cubicBezTo>
                  <a:pt x="1691719" y="1701799"/>
                  <a:pt x="1741211" y="1717579"/>
                  <a:pt x="1774955" y="1749138"/>
                </a:cubicBezTo>
                <a:cubicBezTo>
                  <a:pt x="1806450" y="1780698"/>
                  <a:pt x="1822198" y="1816766"/>
                  <a:pt x="1824447" y="1859597"/>
                </a:cubicBezTo>
                <a:cubicBezTo>
                  <a:pt x="1824447" y="1859597"/>
                  <a:pt x="1824447" y="1859597"/>
                  <a:pt x="1756958" y="1859597"/>
                </a:cubicBezTo>
                <a:cubicBezTo>
                  <a:pt x="1754708" y="1834800"/>
                  <a:pt x="1745710" y="1812257"/>
                  <a:pt x="1732212" y="1796478"/>
                </a:cubicBezTo>
                <a:cubicBezTo>
                  <a:pt x="1711966" y="1773935"/>
                  <a:pt x="1680471" y="1760410"/>
                  <a:pt x="1639978" y="1760410"/>
                </a:cubicBezTo>
                <a:cubicBezTo>
                  <a:pt x="1603983" y="1760410"/>
                  <a:pt x="1572489" y="1769427"/>
                  <a:pt x="1549993" y="1796478"/>
                </a:cubicBezTo>
                <a:cubicBezTo>
                  <a:pt x="1536494" y="1810003"/>
                  <a:pt x="1529746" y="1828037"/>
                  <a:pt x="1529746" y="1850580"/>
                </a:cubicBezTo>
                <a:cubicBezTo>
                  <a:pt x="1529746" y="1897919"/>
                  <a:pt x="1567989" y="1918207"/>
                  <a:pt x="1606234" y="1922716"/>
                </a:cubicBezTo>
                <a:cubicBezTo>
                  <a:pt x="1635478" y="1927224"/>
                  <a:pt x="1662474" y="1931733"/>
                  <a:pt x="1691719" y="1936241"/>
                </a:cubicBezTo>
                <a:cubicBezTo>
                  <a:pt x="1774955" y="1949767"/>
                  <a:pt x="1833445" y="2001614"/>
                  <a:pt x="1833445" y="2082767"/>
                </a:cubicBezTo>
                <a:cubicBezTo>
                  <a:pt x="1833445" y="2125598"/>
                  <a:pt x="1815448" y="2157157"/>
                  <a:pt x="1790703" y="2181954"/>
                </a:cubicBezTo>
                <a:cubicBezTo>
                  <a:pt x="1754708" y="2215768"/>
                  <a:pt x="1698468" y="2231547"/>
                  <a:pt x="1644477" y="2231547"/>
                </a:cubicBezTo>
                <a:cubicBezTo>
                  <a:pt x="1581488" y="2231547"/>
                  <a:pt x="1531996" y="2215768"/>
                  <a:pt x="1498251" y="2184208"/>
                </a:cubicBezTo>
                <a:cubicBezTo>
                  <a:pt x="1466757" y="2152649"/>
                  <a:pt x="1444260" y="2109818"/>
                  <a:pt x="1444260" y="2060225"/>
                </a:cubicBezTo>
                <a:cubicBezTo>
                  <a:pt x="1444260" y="2060225"/>
                  <a:pt x="1444260" y="2060225"/>
                  <a:pt x="1509499" y="2060225"/>
                </a:cubicBezTo>
                <a:cubicBezTo>
                  <a:pt x="1509499" y="2091784"/>
                  <a:pt x="1525247" y="2121089"/>
                  <a:pt x="1545494" y="2141378"/>
                </a:cubicBezTo>
                <a:cubicBezTo>
                  <a:pt x="1570239" y="2163920"/>
                  <a:pt x="1608483" y="2172937"/>
                  <a:pt x="1644477" y="2172937"/>
                </a:cubicBezTo>
                <a:cubicBezTo>
                  <a:pt x="1682720" y="2172937"/>
                  <a:pt x="1716465" y="2166174"/>
                  <a:pt x="1738962" y="2143632"/>
                </a:cubicBezTo>
                <a:cubicBezTo>
                  <a:pt x="1754708" y="2130106"/>
                  <a:pt x="1765956" y="2109818"/>
                  <a:pt x="1765956" y="2082767"/>
                </a:cubicBezTo>
                <a:cubicBezTo>
                  <a:pt x="1765956" y="2044445"/>
                  <a:pt x="1741211" y="2010631"/>
                  <a:pt x="1680471" y="2001614"/>
                </a:cubicBezTo>
                <a:cubicBezTo>
                  <a:pt x="1680471" y="2001614"/>
                  <a:pt x="1680471" y="2001614"/>
                  <a:pt x="1599484" y="1988089"/>
                </a:cubicBezTo>
                <a:cubicBezTo>
                  <a:pt x="1522997" y="1976817"/>
                  <a:pt x="1462257" y="1933987"/>
                  <a:pt x="1462257" y="1852834"/>
                </a:cubicBezTo>
                <a:cubicBezTo>
                  <a:pt x="1462257" y="1814512"/>
                  <a:pt x="1480254" y="1778444"/>
                  <a:pt x="1507249" y="1751393"/>
                </a:cubicBezTo>
                <a:cubicBezTo>
                  <a:pt x="1543244" y="1717579"/>
                  <a:pt x="1588236" y="1701799"/>
                  <a:pt x="1642228" y="1701799"/>
                </a:cubicBezTo>
                <a:close/>
                <a:moveTo>
                  <a:pt x="654642" y="1701799"/>
                </a:moveTo>
                <a:cubicBezTo>
                  <a:pt x="704133" y="1701799"/>
                  <a:pt x="755874" y="1719833"/>
                  <a:pt x="791868" y="1755901"/>
                </a:cubicBezTo>
                <a:cubicBezTo>
                  <a:pt x="848110" y="1810003"/>
                  <a:pt x="857108" y="1884393"/>
                  <a:pt x="857108" y="1967800"/>
                </a:cubicBezTo>
                <a:cubicBezTo>
                  <a:pt x="857108" y="2048953"/>
                  <a:pt x="848110" y="2123344"/>
                  <a:pt x="791868" y="2177446"/>
                </a:cubicBezTo>
                <a:cubicBezTo>
                  <a:pt x="755874" y="2213514"/>
                  <a:pt x="704133" y="2233802"/>
                  <a:pt x="654642" y="2233802"/>
                </a:cubicBezTo>
                <a:cubicBezTo>
                  <a:pt x="602900" y="2233802"/>
                  <a:pt x="553408" y="2213514"/>
                  <a:pt x="515164" y="2177446"/>
                </a:cubicBezTo>
                <a:cubicBezTo>
                  <a:pt x="461173" y="2123344"/>
                  <a:pt x="449925" y="2048953"/>
                  <a:pt x="449925" y="1967800"/>
                </a:cubicBezTo>
                <a:cubicBezTo>
                  <a:pt x="449925" y="1884393"/>
                  <a:pt x="461173" y="1810003"/>
                  <a:pt x="515164" y="1755901"/>
                </a:cubicBezTo>
                <a:cubicBezTo>
                  <a:pt x="553408" y="1719833"/>
                  <a:pt x="602900" y="1701799"/>
                  <a:pt x="654642" y="1701799"/>
                </a:cubicBezTo>
                <a:close/>
                <a:moveTo>
                  <a:pt x="202466" y="1701799"/>
                </a:moveTo>
                <a:cubicBezTo>
                  <a:pt x="258707" y="1701799"/>
                  <a:pt x="308199" y="1722087"/>
                  <a:pt x="339693" y="1753647"/>
                </a:cubicBezTo>
                <a:cubicBezTo>
                  <a:pt x="368939" y="1782952"/>
                  <a:pt x="386936" y="1823529"/>
                  <a:pt x="389185" y="1870868"/>
                </a:cubicBezTo>
                <a:cubicBezTo>
                  <a:pt x="389185" y="1870868"/>
                  <a:pt x="389185" y="1870868"/>
                  <a:pt x="323946" y="1870868"/>
                </a:cubicBezTo>
                <a:cubicBezTo>
                  <a:pt x="321697" y="1841563"/>
                  <a:pt x="312698" y="1819020"/>
                  <a:pt x="294701" y="1798732"/>
                </a:cubicBezTo>
                <a:cubicBezTo>
                  <a:pt x="274454" y="1776189"/>
                  <a:pt x="240710" y="1762664"/>
                  <a:pt x="202466" y="1762664"/>
                </a:cubicBezTo>
                <a:cubicBezTo>
                  <a:pt x="168722" y="1762664"/>
                  <a:pt x="134978" y="1776189"/>
                  <a:pt x="110232" y="1800986"/>
                </a:cubicBezTo>
                <a:cubicBezTo>
                  <a:pt x="67489" y="1843817"/>
                  <a:pt x="67489" y="1913699"/>
                  <a:pt x="67489" y="1967800"/>
                </a:cubicBezTo>
                <a:cubicBezTo>
                  <a:pt x="67489" y="2019648"/>
                  <a:pt x="67489" y="2089530"/>
                  <a:pt x="110232" y="2132361"/>
                </a:cubicBezTo>
                <a:cubicBezTo>
                  <a:pt x="134978" y="2159412"/>
                  <a:pt x="168722" y="2172937"/>
                  <a:pt x="202466" y="2172937"/>
                </a:cubicBezTo>
                <a:cubicBezTo>
                  <a:pt x="240710" y="2172937"/>
                  <a:pt x="276704" y="2154903"/>
                  <a:pt x="296951" y="2132361"/>
                </a:cubicBezTo>
                <a:cubicBezTo>
                  <a:pt x="312698" y="2114327"/>
                  <a:pt x="323946" y="2087276"/>
                  <a:pt x="323946" y="2060225"/>
                </a:cubicBezTo>
                <a:cubicBezTo>
                  <a:pt x="323946" y="2060225"/>
                  <a:pt x="323946" y="2060225"/>
                  <a:pt x="391435" y="2060225"/>
                </a:cubicBezTo>
                <a:cubicBezTo>
                  <a:pt x="389185" y="2107564"/>
                  <a:pt x="368939" y="2148140"/>
                  <a:pt x="339693" y="2177446"/>
                </a:cubicBezTo>
                <a:cubicBezTo>
                  <a:pt x="308199" y="2209005"/>
                  <a:pt x="258707" y="2233802"/>
                  <a:pt x="202466" y="2233802"/>
                </a:cubicBezTo>
                <a:cubicBezTo>
                  <a:pt x="150725" y="2233802"/>
                  <a:pt x="101233" y="2213514"/>
                  <a:pt x="65239" y="2177446"/>
                </a:cubicBezTo>
                <a:cubicBezTo>
                  <a:pt x="8999" y="2123344"/>
                  <a:pt x="0" y="2048953"/>
                  <a:pt x="0" y="1967800"/>
                </a:cubicBezTo>
                <a:cubicBezTo>
                  <a:pt x="0" y="1884393"/>
                  <a:pt x="8999" y="1810003"/>
                  <a:pt x="65239" y="1755901"/>
                </a:cubicBezTo>
                <a:cubicBezTo>
                  <a:pt x="101233" y="1719833"/>
                  <a:pt x="150725" y="1701799"/>
                  <a:pt x="202466" y="1701799"/>
                </a:cubicBezTo>
                <a:close/>
                <a:moveTo>
                  <a:pt x="2227389" y="214047"/>
                </a:moveTo>
                <a:cubicBezTo>
                  <a:pt x="2227389" y="214047"/>
                  <a:pt x="2227389" y="214047"/>
                  <a:pt x="2227389" y="574548"/>
                </a:cubicBezTo>
                <a:cubicBezTo>
                  <a:pt x="2227389" y="574548"/>
                  <a:pt x="2227389" y="574548"/>
                  <a:pt x="2456649" y="574548"/>
                </a:cubicBezTo>
                <a:cubicBezTo>
                  <a:pt x="2584765" y="574548"/>
                  <a:pt x="2654442" y="509207"/>
                  <a:pt x="2654442" y="394298"/>
                </a:cubicBezTo>
                <a:cubicBezTo>
                  <a:pt x="2654442" y="277135"/>
                  <a:pt x="2584765" y="214047"/>
                  <a:pt x="2456649" y="214047"/>
                </a:cubicBezTo>
                <a:cubicBezTo>
                  <a:pt x="2456649" y="214047"/>
                  <a:pt x="2456649" y="214047"/>
                  <a:pt x="2227389" y="214047"/>
                </a:cubicBezTo>
                <a:close/>
                <a:moveTo>
                  <a:pt x="8961436" y="0"/>
                </a:moveTo>
                <a:lnTo>
                  <a:pt x="9905999" y="0"/>
                </a:lnTo>
                <a:lnTo>
                  <a:pt x="9905999" y="225425"/>
                </a:lnTo>
                <a:lnTo>
                  <a:pt x="9555161" y="225425"/>
                </a:lnTo>
                <a:lnTo>
                  <a:pt x="9555161" y="1214437"/>
                </a:lnTo>
                <a:lnTo>
                  <a:pt x="9315449" y="1214437"/>
                </a:lnTo>
                <a:lnTo>
                  <a:pt x="9315449" y="225425"/>
                </a:lnTo>
                <a:lnTo>
                  <a:pt x="8961436" y="225425"/>
                </a:lnTo>
                <a:close/>
                <a:moveTo>
                  <a:pt x="7785099" y="0"/>
                </a:moveTo>
                <a:lnTo>
                  <a:pt x="8035924" y="0"/>
                </a:lnTo>
                <a:lnTo>
                  <a:pt x="8037512" y="3175"/>
                </a:lnTo>
                <a:lnTo>
                  <a:pt x="8523286" y="774700"/>
                </a:lnTo>
                <a:lnTo>
                  <a:pt x="8523286" y="0"/>
                </a:lnTo>
                <a:lnTo>
                  <a:pt x="8759824" y="0"/>
                </a:lnTo>
                <a:lnTo>
                  <a:pt x="8759824" y="1214437"/>
                </a:lnTo>
                <a:lnTo>
                  <a:pt x="8518524" y="1214437"/>
                </a:lnTo>
                <a:lnTo>
                  <a:pt x="8024812" y="425450"/>
                </a:lnTo>
                <a:lnTo>
                  <a:pt x="8024812" y="1214437"/>
                </a:lnTo>
                <a:lnTo>
                  <a:pt x="7785099" y="1214437"/>
                </a:lnTo>
                <a:close/>
                <a:moveTo>
                  <a:pt x="6665911" y="0"/>
                </a:moveTo>
                <a:lnTo>
                  <a:pt x="7535861" y="0"/>
                </a:lnTo>
                <a:lnTo>
                  <a:pt x="7535861" y="220663"/>
                </a:lnTo>
                <a:lnTo>
                  <a:pt x="6905624" y="220663"/>
                </a:lnTo>
                <a:lnTo>
                  <a:pt x="6905624" y="473075"/>
                </a:lnTo>
                <a:lnTo>
                  <a:pt x="7459661" y="473075"/>
                </a:lnTo>
                <a:lnTo>
                  <a:pt x="7459661" y="690562"/>
                </a:lnTo>
                <a:lnTo>
                  <a:pt x="6905624" y="690562"/>
                </a:lnTo>
                <a:lnTo>
                  <a:pt x="6905624" y="993775"/>
                </a:lnTo>
                <a:lnTo>
                  <a:pt x="7535861" y="993775"/>
                </a:lnTo>
                <a:lnTo>
                  <a:pt x="7535861" y="1214437"/>
                </a:lnTo>
                <a:lnTo>
                  <a:pt x="6665911" y="1214437"/>
                </a:lnTo>
                <a:close/>
                <a:moveTo>
                  <a:pt x="5221286" y="0"/>
                </a:moveTo>
                <a:lnTo>
                  <a:pt x="5534024" y="0"/>
                </a:lnTo>
                <a:lnTo>
                  <a:pt x="5835649" y="823912"/>
                </a:lnTo>
                <a:lnTo>
                  <a:pt x="6142037" y="0"/>
                </a:lnTo>
                <a:lnTo>
                  <a:pt x="6438899" y="0"/>
                </a:lnTo>
                <a:lnTo>
                  <a:pt x="6438899" y="1214437"/>
                </a:lnTo>
                <a:lnTo>
                  <a:pt x="6203949" y="1214437"/>
                </a:lnTo>
                <a:lnTo>
                  <a:pt x="6203949" y="419100"/>
                </a:lnTo>
                <a:lnTo>
                  <a:pt x="5916612" y="1196975"/>
                </a:lnTo>
                <a:lnTo>
                  <a:pt x="5740399" y="1196975"/>
                </a:lnTo>
                <a:lnTo>
                  <a:pt x="5454649" y="409575"/>
                </a:lnTo>
                <a:lnTo>
                  <a:pt x="5454649" y="1214437"/>
                </a:lnTo>
                <a:lnTo>
                  <a:pt x="5221286" y="1214437"/>
                </a:lnTo>
                <a:close/>
                <a:moveTo>
                  <a:pt x="4098924" y="0"/>
                </a:moveTo>
                <a:lnTo>
                  <a:pt x="4968874" y="0"/>
                </a:lnTo>
                <a:lnTo>
                  <a:pt x="4968874" y="220663"/>
                </a:lnTo>
                <a:lnTo>
                  <a:pt x="4340224" y="220663"/>
                </a:lnTo>
                <a:lnTo>
                  <a:pt x="4340224" y="473075"/>
                </a:lnTo>
                <a:lnTo>
                  <a:pt x="4895849" y="473075"/>
                </a:lnTo>
                <a:lnTo>
                  <a:pt x="4895849" y="690562"/>
                </a:lnTo>
                <a:lnTo>
                  <a:pt x="4340224" y="690562"/>
                </a:lnTo>
                <a:lnTo>
                  <a:pt x="4340224" y="993775"/>
                </a:lnTo>
                <a:lnTo>
                  <a:pt x="4968874" y="993775"/>
                </a:lnTo>
                <a:lnTo>
                  <a:pt x="4968874" y="1214437"/>
                </a:lnTo>
                <a:lnTo>
                  <a:pt x="4098924" y="1214437"/>
                </a:lnTo>
                <a:close/>
                <a:moveTo>
                  <a:pt x="3079749" y="0"/>
                </a:moveTo>
                <a:lnTo>
                  <a:pt x="3321049" y="0"/>
                </a:lnTo>
                <a:lnTo>
                  <a:pt x="3321049" y="984250"/>
                </a:lnTo>
                <a:lnTo>
                  <a:pt x="3871912" y="984250"/>
                </a:lnTo>
                <a:lnTo>
                  <a:pt x="3871912" y="1214437"/>
                </a:lnTo>
                <a:lnTo>
                  <a:pt x="3079749" y="1214437"/>
                </a:lnTo>
                <a:close/>
                <a:moveTo>
                  <a:pt x="1989138" y="0"/>
                </a:moveTo>
                <a:cubicBezTo>
                  <a:pt x="1989138" y="0"/>
                  <a:pt x="1989138" y="0"/>
                  <a:pt x="2465639" y="0"/>
                </a:cubicBezTo>
                <a:cubicBezTo>
                  <a:pt x="2735357" y="0"/>
                  <a:pt x="2897188" y="146454"/>
                  <a:pt x="2897188" y="392045"/>
                </a:cubicBezTo>
                <a:cubicBezTo>
                  <a:pt x="2897188" y="639889"/>
                  <a:pt x="2735357" y="786342"/>
                  <a:pt x="2465639" y="786342"/>
                </a:cubicBezTo>
                <a:cubicBezTo>
                  <a:pt x="2465639" y="786342"/>
                  <a:pt x="2465639" y="786342"/>
                  <a:pt x="2227389" y="786342"/>
                </a:cubicBezTo>
                <a:cubicBezTo>
                  <a:pt x="2227389" y="786342"/>
                  <a:pt x="2227389" y="786342"/>
                  <a:pt x="2227389" y="1214437"/>
                </a:cubicBezTo>
                <a:cubicBezTo>
                  <a:pt x="2227389" y="1214437"/>
                  <a:pt x="2227389" y="1214437"/>
                  <a:pt x="1989138" y="1214437"/>
                </a:cubicBezTo>
                <a:cubicBezTo>
                  <a:pt x="1989138" y="1214437"/>
                  <a:pt x="1989138" y="1214437"/>
                  <a:pt x="1989138" y="0"/>
                </a:cubicBezTo>
                <a:close/>
                <a:moveTo>
                  <a:pt x="520699" y="0"/>
                </a:moveTo>
                <a:lnTo>
                  <a:pt x="833436" y="0"/>
                </a:lnTo>
                <a:lnTo>
                  <a:pt x="1135061" y="823912"/>
                </a:lnTo>
                <a:lnTo>
                  <a:pt x="1439862" y="0"/>
                </a:lnTo>
                <a:lnTo>
                  <a:pt x="1736724" y="0"/>
                </a:lnTo>
                <a:lnTo>
                  <a:pt x="1736724" y="1214437"/>
                </a:lnTo>
                <a:lnTo>
                  <a:pt x="1503362" y="1214437"/>
                </a:lnTo>
                <a:lnTo>
                  <a:pt x="1503362" y="419100"/>
                </a:lnTo>
                <a:lnTo>
                  <a:pt x="1216024" y="1196975"/>
                </a:lnTo>
                <a:lnTo>
                  <a:pt x="1039812" y="1196975"/>
                </a:lnTo>
                <a:lnTo>
                  <a:pt x="754062" y="409575"/>
                </a:lnTo>
                <a:lnTo>
                  <a:pt x="754062" y="1214437"/>
                </a:lnTo>
                <a:lnTo>
                  <a:pt x="520699" y="1214437"/>
                </a:lnTo>
                <a:close/>
                <a:moveTo>
                  <a:pt x="25400" y="0"/>
                </a:moveTo>
                <a:lnTo>
                  <a:pt x="268288" y="0"/>
                </a:lnTo>
                <a:lnTo>
                  <a:pt x="268288" y="1214437"/>
                </a:lnTo>
                <a:lnTo>
                  <a:pt x="25400" y="12144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>
                <a:solidFill>
                  <a:srgbClr val="1F2023"/>
                </a:solidFill>
              </a:rPr>
              <a:t> </a:t>
            </a:r>
          </a:p>
        </p:txBody>
      </p:sp>
      <p:sp>
        <p:nvSpPr>
          <p:cNvPr id="14" name="Date_GeneralDate" hidden="1">
            <a:extLst>
              <a:ext uri="{FF2B5EF4-FFF2-40B4-BE49-F238E27FC236}">
                <a16:creationId xmlns:a16="http://schemas.microsoft.com/office/drawing/2014/main" id="{36AF7DCB-7B08-4B67-89C6-197E386CB3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E4825E0E-4A71-47F2-8004-51666FB492B3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6" name="FLD_PresentationTitle" hidden="1">
            <a:extLst>
              <a:ext uri="{FF2B5EF4-FFF2-40B4-BE49-F238E27FC236}">
                <a16:creationId xmlns:a16="http://schemas.microsoft.com/office/drawing/2014/main" id="{2CD592E1-AE74-4CC3-838F-BCDDFF7EC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 algn="l">
              <a:defRPr sz="100">
                <a:noFill/>
              </a:defRPr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19" name="Slide Number Placeholder 5" hidden="1">
            <a:extLst>
              <a:ext uri="{FF2B5EF4-FFF2-40B4-BE49-F238E27FC236}">
                <a16:creationId xmlns:a16="http://schemas.microsoft.com/office/drawing/2014/main" id="{BD316983-99AE-467A-81A9-261F469719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0062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ogo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468EEBBF-213D-4D68-A9CE-7CE68854BF37}"/>
              </a:ext>
            </a:extLst>
          </p:cNvPr>
          <p:cNvSpPr/>
          <p:nvPr userDrawn="1"/>
        </p:nvSpPr>
        <p:spPr>
          <a:xfrm>
            <a:off x="2767292" y="1"/>
            <a:ext cx="7138708" cy="6857999"/>
          </a:xfrm>
          <a:prstGeom prst="rect">
            <a:avLst/>
          </a:prstGeom>
          <a:solidFill>
            <a:srgbClr val="40615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1F20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2B6603F-4155-4540-8188-E26BD0148E04}"/>
              </a:ext>
            </a:extLst>
          </p:cNvPr>
          <p:cNvSpPr/>
          <p:nvPr userDrawn="1"/>
        </p:nvSpPr>
        <p:spPr>
          <a:xfrm>
            <a:off x="0" y="1192710"/>
            <a:ext cx="8554911" cy="5665290"/>
          </a:xfrm>
          <a:prstGeom prst="rect">
            <a:avLst/>
          </a:prstGeom>
          <a:solidFill>
            <a:srgbClr val="F8F5E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D91FE0B5-9691-44AE-8658-63DACE0439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69875" y="5359204"/>
            <a:ext cx="2816225" cy="970159"/>
          </a:xfrm>
        </p:spPr>
        <p:txBody>
          <a:bodyPr rIns="36000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975">
                <a:solidFill>
                  <a:srgbClr val="1F2023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rgbClr val="2F363B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B0209D8F-BA6F-43E8-8163-332BF66A17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5" y="6329363"/>
            <a:ext cx="2816226" cy="268287"/>
          </a:xfrm>
        </p:spPr>
        <p:txBody>
          <a:bodyPr rIns="0" anchor="b" anchorCtr="0"/>
          <a:lstStyle>
            <a:lvl1pPr>
              <a:defRPr sz="900">
                <a:solidFill>
                  <a:srgbClr val="1F2023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FF4E0258-33E3-4EA6-82D5-DF8741A7A7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83518" y="2114551"/>
            <a:ext cx="3493808" cy="4743448"/>
          </a:xfrm>
          <a:solidFill>
            <a:srgbClr val="F3F2F0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a-DK" dirty="0"/>
            </a:lvl1pPr>
          </a:lstStyle>
          <a:p>
            <a:pPr lvl="0" algn="ctr">
              <a:buNone/>
            </a:pPr>
            <a:r>
              <a:rPr lang="en-GB" dirty="0"/>
              <a:t>Click icon to add pictur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EBAF0D6-94B2-4C1D-A1F8-F94F8FD39F5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1333" y="2114551"/>
            <a:ext cx="4818063" cy="2976366"/>
          </a:xfrm>
        </p:spPr>
        <p:txBody>
          <a:bodyPr anchor="t" anchorCtr="0">
            <a:noAutofit/>
          </a:bodyPr>
          <a:lstStyle>
            <a:lvl1pPr algn="l">
              <a:lnSpc>
                <a:spcPct val="83000"/>
              </a:lnSpc>
              <a:defRPr sz="6000" cap="all" baseline="0">
                <a:solidFill>
                  <a:srgbClr val="30373B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F6276E3-5B28-4A6A-B1CA-832827DD36E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8861146" y="788544"/>
            <a:ext cx="1258889" cy="287891"/>
          </a:xfrm>
          <a:custGeom>
            <a:avLst/>
            <a:gdLst>
              <a:gd name="connsiteX0" fmla="*/ 6778122 w 9905999"/>
              <a:gd name="connsiteY0" fmla="*/ 2222531 h 2265361"/>
              <a:gd name="connsiteX1" fmla="*/ 7135812 w 9905999"/>
              <a:gd name="connsiteY1" fmla="*/ 2222531 h 2265361"/>
              <a:gd name="connsiteX2" fmla="*/ 7135812 w 9905999"/>
              <a:gd name="connsiteY2" fmla="*/ 2265361 h 2265361"/>
              <a:gd name="connsiteX3" fmla="*/ 6778122 w 9905999"/>
              <a:gd name="connsiteY3" fmla="*/ 2265361 h 2265361"/>
              <a:gd name="connsiteX4" fmla="*/ 6778122 w 9905999"/>
              <a:gd name="connsiteY4" fmla="*/ 2222531 h 2265361"/>
              <a:gd name="connsiteX5" fmla="*/ 6449676 w 9905999"/>
              <a:gd name="connsiteY5" fmla="*/ 1769427 h 2265361"/>
              <a:gd name="connsiteX6" fmla="*/ 6449676 w 9905999"/>
              <a:gd name="connsiteY6" fmla="*/ 1965546 h 2265361"/>
              <a:gd name="connsiteX7" fmla="*/ 6575655 w 9905999"/>
              <a:gd name="connsiteY7" fmla="*/ 1965546 h 2265361"/>
              <a:gd name="connsiteX8" fmla="*/ 6679138 w 9905999"/>
              <a:gd name="connsiteY8" fmla="*/ 1864105 h 2265361"/>
              <a:gd name="connsiteX9" fmla="*/ 6575655 w 9905999"/>
              <a:gd name="connsiteY9" fmla="*/ 1769427 h 2265361"/>
              <a:gd name="connsiteX10" fmla="*/ 6449676 w 9905999"/>
              <a:gd name="connsiteY10" fmla="*/ 1769427 h 2265361"/>
              <a:gd name="connsiteX11" fmla="*/ 5021164 w 9905999"/>
              <a:gd name="connsiteY11" fmla="*/ 1769427 h 2265361"/>
              <a:gd name="connsiteX12" fmla="*/ 5021164 w 9905999"/>
              <a:gd name="connsiteY12" fmla="*/ 1949767 h 2265361"/>
              <a:gd name="connsiteX13" fmla="*/ 5158391 w 9905999"/>
              <a:gd name="connsiteY13" fmla="*/ 1949767 h 2265361"/>
              <a:gd name="connsiteX14" fmla="*/ 5261874 w 9905999"/>
              <a:gd name="connsiteY14" fmla="*/ 1859597 h 2265361"/>
              <a:gd name="connsiteX15" fmla="*/ 5158391 w 9905999"/>
              <a:gd name="connsiteY15" fmla="*/ 1769427 h 2265361"/>
              <a:gd name="connsiteX16" fmla="*/ 5021164 w 9905999"/>
              <a:gd name="connsiteY16" fmla="*/ 1769427 h 2265361"/>
              <a:gd name="connsiteX17" fmla="*/ 5597068 w 9905999"/>
              <a:gd name="connsiteY17" fmla="*/ 1762664 h 2265361"/>
              <a:gd name="connsiteX18" fmla="*/ 5504834 w 9905999"/>
              <a:gd name="connsiteY18" fmla="*/ 1800986 h 2265361"/>
              <a:gd name="connsiteX19" fmla="*/ 5459841 w 9905999"/>
              <a:gd name="connsiteY19" fmla="*/ 1967800 h 2265361"/>
              <a:gd name="connsiteX20" fmla="*/ 5504834 w 9905999"/>
              <a:gd name="connsiteY20" fmla="*/ 2132361 h 2265361"/>
              <a:gd name="connsiteX21" fmla="*/ 5597068 w 9905999"/>
              <a:gd name="connsiteY21" fmla="*/ 2170683 h 2265361"/>
              <a:gd name="connsiteX22" fmla="*/ 5691552 w 9905999"/>
              <a:gd name="connsiteY22" fmla="*/ 2132361 h 2265361"/>
              <a:gd name="connsiteX23" fmla="*/ 5734295 w 9905999"/>
              <a:gd name="connsiteY23" fmla="*/ 1967800 h 2265361"/>
              <a:gd name="connsiteX24" fmla="*/ 5691552 w 9905999"/>
              <a:gd name="connsiteY24" fmla="*/ 1800986 h 2265361"/>
              <a:gd name="connsiteX25" fmla="*/ 5597068 w 9905999"/>
              <a:gd name="connsiteY25" fmla="*/ 1762664 h 2265361"/>
              <a:gd name="connsiteX26" fmla="*/ 654642 w 9905999"/>
              <a:gd name="connsiteY26" fmla="*/ 1762664 h 2265361"/>
              <a:gd name="connsiteX27" fmla="*/ 560157 w 9905999"/>
              <a:gd name="connsiteY27" fmla="*/ 1800986 h 2265361"/>
              <a:gd name="connsiteX28" fmla="*/ 517414 w 9905999"/>
              <a:gd name="connsiteY28" fmla="*/ 1967800 h 2265361"/>
              <a:gd name="connsiteX29" fmla="*/ 560157 w 9905999"/>
              <a:gd name="connsiteY29" fmla="*/ 2132361 h 2265361"/>
              <a:gd name="connsiteX30" fmla="*/ 654642 w 9905999"/>
              <a:gd name="connsiteY30" fmla="*/ 2170683 h 2265361"/>
              <a:gd name="connsiteX31" fmla="*/ 746876 w 9905999"/>
              <a:gd name="connsiteY31" fmla="*/ 2132361 h 2265361"/>
              <a:gd name="connsiteX32" fmla="*/ 791868 w 9905999"/>
              <a:gd name="connsiteY32" fmla="*/ 1967800 h 2265361"/>
              <a:gd name="connsiteX33" fmla="*/ 746876 w 9905999"/>
              <a:gd name="connsiteY33" fmla="*/ 1800986 h 2265361"/>
              <a:gd name="connsiteX34" fmla="*/ 654642 w 9905999"/>
              <a:gd name="connsiteY34" fmla="*/ 1762664 h 2265361"/>
              <a:gd name="connsiteX35" fmla="*/ 6386687 w 9905999"/>
              <a:gd name="connsiteY35" fmla="*/ 1710816 h 2265361"/>
              <a:gd name="connsiteX36" fmla="*/ 6575655 w 9905999"/>
              <a:gd name="connsiteY36" fmla="*/ 1710816 h 2265361"/>
              <a:gd name="connsiteX37" fmla="*/ 6706134 w 9905999"/>
              <a:gd name="connsiteY37" fmla="*/ 1755901 h 2265361"/>
              <a:gd name="connsiteX38" fmla="*/ 6744377 w 9905999"/>
              <a:gd name="connsiteY38" fmla="*/ 1864105 h 2265361"/>
              <a:gd name="connsiteX39" fmla="*/ 6701634 w 9905999"/>
              <a:gd name="connsiteY39" fmla="*/ 1981326 h 2265361"/>
              <a:gd name="connsiteX40" fmla="*/ 6577905 w 9905999"/>
              <a:gd name="connsiteY40" fmla="*/ 2024157 h 2265361"/>
              <a:gd name="connsiteX41" fmla="*/ 6449676 w 9905999"/>
              <a:gd name="connsiteY41" fmla="*/ 2024157 h 2265361"/>
              <a:gd name="connsiteX42" fmla="*/ 6449676 w 9905999"/>
              <a:gd name="connsiteY42" fmla="*/ 2222531 h 2265361"/>
              <a:gd name="connsiteX43" fmla="*/ 6386687 w 9905999"/>
              <a:gd name="connsiteY43" fmla="*/ 2222531 h 2265361"/>
              <a:gd name="connsiteX44" fmla="*/ 6386687 w 9905999"/>
              <a:gd name="connsiteY44" fmla="*/ 1710816 h 2265361"/>
              <a:gd name="connsiteX45" fmla="*/ 5889520 w 9905999"/>
              <a:gd name="connsiteY45" fmla="*/ 1710816 h 2265361"/>
              <a:gd name="connsiteX46" fmla="*/ 5954759 w 9905999"/>
              <a:gd name="connsiteY46" fmla="*/ 1710816 h 2265361"/>
              <a:gd name="connsiteX47" fmla="*/ 5954759 w 9905999"/>
              <a:gd name="connsiteY47" fmla="*/ 2035428 h 2265361"/>
              <a:gd name="connsiteX48" fmla="*/ 6076239 w 9905999"/>
              <a:gd name="connsiteY48" fmla="*/ 2172937 h 2265361"/>
              <a:gd name="connsiteX49" fmla="*/ 6199968 w 9905999"/>
              <a:gd name="connsiteY49" fmla="*/ 2035428 h 2265361"/>
              <a:gd name="connsiteX50" fmla="*/ 6199968 w 9905999"/>
              <a:gd name="connsiteY50" fmla="*/ 1710816 h 2265361"/>
              <a:gd name="connsiteX51" fmla="*/ 6262957 w 9905999"/>
              <a:gd name="connsiteY51" fmla="*/ 1710816 h 2265361"/>
              <a:gd name="connsiteX52" fmla="*/ 6262957 w 9905999"/>
              <a:gd name="connsiteY52" fmla="*/ 2035428 h 2265361"/>
              <a:gd name="connsiteX53" fmla="*/ 6076239 w 9905999"/>
              <a:gd name="connsiteY53" fmla="*/ 2231547 h 2265361"/>
              <a:gd name="connsiteX54" fmla="*/ 5889520 w 9905999"/>
              <a:gd name="connsiteY54" fmla="*/ 2035428 h 2265361"/>
              <a:gd name="connsiteX55" fmla="*/ 5889520 w 9905999"/>
              <a:gd name="connsiteY55" fmla="*/ 1710816 h 2265361"/>
              <a:gd name="connsiteX56" fmla="*/ 4958174 w 9905999"/>
              <a:gd name="connsiteY56" fmla="*/ 1710816 h 2265361"/>
              <a:gd name="connsiteX57" fmla="*/ 5158391 w 9905999"/>
              <a:gd name="connsiteY57" fmla="*/ 1710816 h 2265361"/>
              <a:gd name="connsiteX58" fmla="*/ 5288869 w 9905999"/>
              <a:gd name="connsiteY58" fmla="*/ 1755901 h 2265361"/>
              <a:gd name="connsiteX59" fmla="*/ 5329363 w 9905999"/>
              <a:gd name="connsiteY59" fmla="*/ 1859597 h 2265361"/>
              <a:gd name="connsiteX60" fmla="*/ 5288869 w 9905999"/>
              <a:gd name="connsiteY60" fmla="*/ 1961038 h 2265361"/>
              <a:gd name="connsiteX61" fmla="*/ 5228130 w 9905999"/>
              <a:gd name="connsiteY61" fmla="*/ 1997106 h 2265361"/>
              <a:gd name="connsiteX62" fmla="*/ 5331612 w 9905999"/>
              <a:gd name="connsiteY62" fmla="*/ 2222531 h 2265361"/>
              <a:gd name="connsiteX63" fmla="*/ 5259624 w 9905999"/>
              <a:gd name="connsiteY63" fmla="*/ 2222531 h 2265361"/>
              <a:gd name="connsiteX64" fmla="*/ 5162890 w 9905999"/>
              <a:gd name="connsiteY64" fmla="*/ 2010631 h 2265361"/>
              <a:gd name="connsiteX65" fmla="*/ 5021164 w 9905999"/>
              <a:gd name="connsiteY65" fmla="*/ 2010631 h 2265361"/>
              <a:gd name="connsiteX66" fmla="*/ 5021164 w 9905999"/>
              <a:gd name="connsiteY66" fmla="*/ 2222531 h 2265361"/>
              <a:gd name="connsiteX67" fmla="*/ 4958174 w 9905999"/>
              <a:gd name="connsiteY67" fmla="*/ 2222531 h 2265361"/>
              <a:gd name="connsiteX68" fmla="*/ 4958174 w 9905999"/>
              <a:gd name="connsiteY68" fmla="*/ 1710816 h 2265361"/>
              <a:gd name="connsiteX69" fmla="*/ 3309199 w 9905999"/>
              <a:gd name="connsiteY69" fmla="*/ 1710816 h 2265361"/>
              <a:gd name="connsiteX70" fmla="*/ 3381187 w 9905999"/>
              <a:gd name="connsiteY70" fmla="*/ 1710816 h 2265361"/>
              <a:gd name="connsiteX71" fmla="*/ 3633145 w 9905999"/>
              <a:gd name="connsiteY71" fmla="*/ 2123344 h 2265361"/>
              <a:gd name="connsiteX72" fmla="*/ 3633145 w 9905999"/>
              <a:gd name="connsiteY72" fmla="*/ 1710816 h 2265361"/>
              <a:gd name="connsiteX73" fmla="*/ 3693885 w 9905999"/>
              <a:gd name="connsiteY73" fmla="*/ 1710816 h 2265361"/>
              <a:gd name="connsiteX74" fmla="*/ 3693885 w 9905999"/>
              <a:gd name="connsiteY74" fmla="*/ 2222531 h 2265361"/>
              <a:gd name="connsiteX75" fmla="*/ 3621897 w 9905999"/>
              <a:gd name="connsiteY75" fmla="*/ 2222531 h 2265361"/>
              <a:gd name="connsiteX76" fmla="*/ 3372188 w 9905999"/>
              <a:gd name="connsiteY76" fmla="*/ 1810003 h 2265361"/>
              <a:gd name="connsiteX77" fmla="*/ 3372188 w 9905999"/>
              <a:gd name="connsiteY77" fmla="*/ 2222531 h 2265361"/>
              <a:gd name="connsiteX78" fmla="*/ 3309199 w 9905999"/>
              <a:gd name="connsiteY78" fmla="*/ 2222531 h 2265361"/>
              <a:gd name="connsiteX79" fmla="*/ 3309199 w 9905999"/>
              <a:gd name="connsiteY79" fmla="*/ 1710816 h 2265361"/>
              <a:gd name="connsiteX80" fmla="*/ 3106732 w 9905999"/>
              <a:gd name="connsiteY80" fmla="*/ 1710816 h 2265361"/>
              <a:gd name="connsiteX81" fmla="*/ 3171971 w 9905999"/>
              <a:gd name="connsiteY81" fmla="*/ 1710816 h 2265361"/>
              <a:gd name="connsiteX82" fmla="*/ 3171971 w 9905999"/>
              <a:gd name="connsiteY82" fmla="*/ 2222531 h 2265361"/>
              <a:gd name="connsiteX83" fmla="*/ 3106732 w 9905999"/>
              <a:gd name="connsiteY83" fmla="*/ 2222531 h 2265361"/>
              <a:gd name="connsiteX84" fmla="*/ 3106732 w 9905999"/>
              <a:gd name="connsiteY84" fmla="*/ 1710816 h 2265361"/>
              <a:gd name="connsiteX85" fmla="*/ 2663557 w 9905999"/>
              <a:gd name="connsiteY85" fmla="*/ 1710816 h 2265361"/>
              <a:gd name="connsiteX86" fmla="*/ 3032495 w 9905999"/>
              <a:gd name="connsiteY86" fmla="*/ 1710816 h 2265361"/>
              <a:gd name="connsiteX87" fmla="*/ 3032495 w 9905999"/>
              <a:gd name="connsiteY87" fmla="*/ 1769427 h 2265361"/>
              <a:gd name="connsiteX88" fmla="*/ 2879521 w 9905999"/>
              <a:gd name="connsiteY88" fmla="*/ 1769427 h 2265361"/>
              <a:gd name="connsiteX89" fmla="*/ 2879521 w 9905999"/>
              <a:gd name="connsiteY89" fmla="*/ 2222531 h 2265361"/>
              <a:gd name="connsiteX90" fmla="*/ 2814282 w 9905999"/>
              <a:gd name="connsiteY90" fmla="*/ 2222531 h 2265361"/>
              <a:gd name="connsiteX91" fmla="*/ 2814282 w 9905999"/>
              <a:gd name="connsiteY91" fmla="*/ 1769427 h 2265361"/>
              <a:gd name="connsiteX92" fmla="*/ 2663557 w 9905999"/>
              <a:gd name="connsiteY92" fmla="*/ 1769427 h 2265361"/>
              <a:gd name="connsiteX93" fmla="*/ 2663557 w 9905999"/>
              <a:gd name="connsiteY93" fmla="*/ 1710816 h 2265361"/>
              <a:gd name="connsiteX94" fmla="*/ 2416099 w 9905999"/>
              <a:gd name="connsiteY94" fmla="*/ 1710816 h 2265361"/>
              <a:gd name="connsiteX95" fmla="*/ 2481338 w 9905999"/>
              <a:gd name="connsiteY95" fmla="*/ 1710816 h 2265361"/>
              <a:gd name="connsiteX96" fmla="*/ 2481338 w 9905999"/>
              <a:gd name="connsiteY96" fmla="*/ 2163920 h 2265361"/>
              <a:gd name="connsiteX97" fmla="*/ 2726547 w 9905999"/>
              <a:gd name="connsiteY97" fmla="*/ 2163920 h 2265361"/>
              <a:gd name="connsiteX98" fmla="*/ 2726547 w 9905999"/>
              <a:gd name="connsiteY98" fmla="*/ 2222531 h 2265361"/>
              <a:gd name="connsiteX99" fmla="*/ 2416099 w 9905999"/>
              <a:gd name="connsiteY99" fmla="*/ 2222531 h 2265361"/>
              <a:gd name="connsiteX100" fmla="*/ 2416099 w 9905999"/>
              <a:gd name="connsiteY100" fmla="*/ 1710816 h 2265361"/>
              <a:gd name="connsiteX101" fmla="*/ 1918931 w 9905999"/>
              <a:gd name="connsiteY101" fmla="*/ 1710816 h 2265361"/>
              <a:gd name="connsiteX102" fmla="*/ 1984171 w 9905999"/>
              <a:gd name="connsiteY102" fmla="*/ 1710816 h 2265361"/>
              <a:gd name="connsiteX103" fmla="*/ 1984171 w 9905999"/>
              <a:gd name="connsiteY103" fmla="*/ 2035428 h 2265361"/>
              <a:gd name="connsiteX104" fmla="*/ 2105651 w 9905999"/>
              <a:gd name="connsiteY104" fmla="*/ 2172937 h 2265361"/>
              <a:gd name="connsiteX105" fmla="*/ 2229380 w 9905999"/>
              <a:gd name="connsiteY105" fmla="*/ 2035428 h 2265361"/>
              <a:gd name="connsiteX106" fmla="*/ 2229380 w 9905999"/>
              <a:gd name="connsiteY106" fmla="*/ 1710816 h 2265361"/>
              <a:gd name="connsiteX107" fmla="*/ 2292369 w 9905999"/>
              <a:gd name="connsiteY107" fmla="*/ 1710816 h 2265361"/>
              <a:gd name="connsiteX108" fmla="*/ 2292369 w 9905999"/>
              <a:gd name="connsiteY108" fmla="*/ 2035428 h 2265361"/>
              <a:gd name="connsiteX109" fmla="*/ 2105651 w 9905999"/>
              <a:gd name="connsiteY109" fmla="*/ 2231547 h 2265361"/>
              <a:gd name="connsiteX110" fmla="*/ 1918931 w 9905999"/>
              <a:gd name="connsiteY110" fmla="*/ 2035428 h 2265361"/>
              <a:gd name="connsiteX111" fmla="*/ 1918931 w 9905999"/>
              <a:gd name="connsiteY111" fmla="*/ 1710816 h 2265361"/>
              <a:gd name="connsiteX112" fmla="*/ 960591 w 9905999"/>
              <a:gd name="connsiteY112" fmla="*/ 1710816 h 2265361"/>
              <a:gd name="connsiteX113" fmla="*/ 1032578 w 9905999"/>
              <a:gd name="connsiteY113" fmla="*/ 1710816 h 2265361"/>
              <a:gd name="connsiteX114" fmla="*/ 1284537 w 9905999"/>
              <a:gd name="connsiteY114" fmla="*/ 2123344 h 2265361"/>
              <a:gd name="connsiteX115" fmla="*/ 1284537 w 9905999"/>
              <a:gd name="connsiteY115" fmla="*/ 1710816 h 2265361"/>
              <a:gd name="connsiteX116" fmla="*/ 1345276 w 9905999"/>
              <a:gd name="connsiteY116" fmla="*/ 1710816 h 2265361"/>
              <a:gd name="connsiteX117" fmla="*/ 1345276 w 9905999"/>
              <a:gd name="connsiteY117" fmla="*/ 2222531 h 2265361"/>
              <a:gd name="connsiteX118" fmla="*/ 1273289 w 9905999"/>
              <a:gd name="connsiteY118" fmla="*/ 2222531 h 2265361"/>
              <a:gd name="connsiteX119" fmla="*/ 1023580 w 9905999"/>
              <a:gd name="connsiteY119" fmla="*/ 1810003 h 2265361"/>
              <a:gd name="connsiteX120" fmla="*/ 1023580 w 9905999"/>
              <a:gd name="connsiteY120" fmla="*/ 2222531 h 2265361"/>
              <a:gd name="connsiteX121" fmla="*/ 960591 w 9905999"/>
              <a:gd name="connsiteY121" fmla="*/ 2222531 h 2265361"/>
              <a:gd name="connsiteX122" fmla="*/ 960591 w 9905999"/>
              <a:gd name="connsiteY122" fmla="*/ 1710816 h 2265361"/>
              <a:gd name="connsiteX123" fmla="*/ 5597068 w 9905999"/>
              <a:gd name="connsiteY123" fmla="*/ 1701799 h 2265361"/>
              <a:gd name="connsiteX124" fmla="*/ 5736545 w 9905999"/>
              <a:gd name="connsiteY124" fmla="*/ 1755901 h 2265361"/>
              <a:gd name="connsiteX125" fmla="*/ 5801784 w 9905999"/>
              <a:gd name="connsiteY125" fmla="*/ 1967800 h 2265361"/>
              <a:gd name="connsiteX126" fmla="*/ 5736545 w 9905999"/>
              <a:gd name="connsiteY126" fmla="*/ 2177446 h 2265361"/>
              <a:gd name="connsiteX127" fmla="*/ 5597068 w 9905999"/>
              <a:gd name="connsiteY127" fmla="*/ 2233802 h 2265361"/>
              <a:gd name="connsiteX128" fmla="*/ 5459841 w 9905999"/>
              <a:gd name="connsiteY128" fmla="*/ 2177446 h 2265361"/>
              <a:gd name="connsiteX129" fmla="*/ 5394602 w 9905999"/>
              <a:gd name="connsiteY129" fmla="*/ 1967800 h 2265361"/>
              <a:gd name="connsiteX130" fmla="*/ 5459841 w 9905999"/>
              <a:gd name="connsiteY130" fmla="*/ 1755901 h 2265361"/>
              <a:gd name="connsiteX131" fmla="*/ 5597068 w 9905999"/>
              <a:gd name="connsiteY131" fmla="*/ 1701799 h 2265361"/>
              <a:gd name="connsiteX132" fmla="*/ 4645477 w 9905999"/>
              <a:gd name="connsiteY132" fmla="*/ 1701799 h 2265361"/>
              <a:gd name="connsiteX133" fmla="*/ 4791702 w 9905999"/>
              <a:gd name="connsiteY133" fmla="*/ 1758155 h 2265361"/>
              <a:gd name="connsiteX134" fmla="*/ 4834445 w 9905999"/>
              <a:gd name="connsiteY134" fmla="*/ 1859597 h 2265361"/>
              <a:gd name="connsiteX135" fmla="*/ 4766956 w 9905999"/>
              <a:gd name="connsiteY135" fmla="*/ 1859597 h 2265361"/>
              <a:gd name="connsiteX136" fmla="*/ 4744460 w 9905999"/>
              <a:gd name="connsiteY136" fmla="*/ 1803240 h 2265361"/>
              <a:gd name="connsiteX137" fmla="*/ 4645477 w 9905999"/>
              <a:gd name="connsiteY137" fmla="*/ 1762664 h 2265361"/>
              <a:gd name="connsiteX138" fmla="*/ 4550992 w 9905999"/>
              <a:gd name="connsiteY138" fmla="*/ 1800986 h 2265361"/>
              <a:gd name="connsiteX139" fmla="*/ 4506000 w 9905999"/>
              <a:gd name="connsiteY139" fmla="*/ 1967800 h 2265361"/>
              <a:gd name="connsiteX140" fmla="*/ 4553242 w 9905999"/>
              <a:gd name="connsiteY140" fmla="*/ 2134615 h 2265361"/>
              <a:gd name="connsiteX141" fmla="*/ 4645477 w 9905999"/>
              <a:gd name="connsiteY141" fmla="*/ 2172937 h 2265361"/>
              <a:gd name="connsiteX142" fmla="*/ 4737711 w 9905999"/>
              <a:gd name="connsiteY142" fmla="*/ 2136869 h 2265361"/>
              <a:gd name="connsiteX143" fmla="*/ 4780454 w 9905999"/>
              <a:gd name="connsiteY143" fmla="*/ 2006123 h 2265361"/>
              <a:gd name="connsiteX144" fmla="*/ 4645477 w 9905999"/>
              <a:gd name="connsiteY144" fmla="*/ 2006123 h 2265361"/>
              <a:gd name="connsiteX145" fmla="*/ 4645477 w 9905999"/>
              <a:gd name="connsiteY145" fmla="*/ 1947512 h 2265361"/>
              <a:gd name="connsiteX146" fmla="*/ 4838944 w 9905999"/>
              <a:gd name="connsiteY146" fmla="*/ 1947512 h 2265361"/>
              <a:gd name="connsiteX147" fmla="*/ 4838944 w 9905999"/>
              <a:gd name="connsiteY147" fmla="*/ 2222531 h 2265361"/>
              <a:gd name="connsiteX148" fmla="*/ 4793952 w 9905999"/>
              <a:gd name="connsiteY148" fmla="*/ 2222531 h 2265361"/>
              <a:gd name="connsiteX149" fmla="*/ 4782704 w 9905999"/>
              <a:gd name="connsiteY149" fmla="*/ 2161666 h 2265361"/>
              <a:gd name="connsiteX150" fmla="*/ 4645477 w 9905999"/>
              <a:gd name="connsiteY150" fmla="*/ 2233802 h 2265361"/>
              <a:gd name="connsiteX151" fmla="*/ 4506000 w 9905999"/>
              <a:gd name="connsiteY151" fmla="*/ 2179700 h 2265361"/>
              <a:gd name="connsiteX152" fmla="*/ 4440761 w 9905999"/>
              <a:gd name="connsiteY152" fmla="*/ 1967800 h 2265361"/>
              <a:gd name="connsiteX153" fmla="*/ 4506000 w 9905999"/>
              <a:gd name="connsiteY153" fmla="*/ 1755901 h 2265361"/>
              <a:gd name="connsiteX154" fmla="*/ 4645477 w 9905999"/>
              <a:gd name="connsiteY154" fmla="*/ 1701799 h 2265361"/>
              <a:gd name="connsiteX155" fmla="*/ 4002083 w 9905999"/>
              <a:gd name="connsiteY155" fmla="*/ 1701799 h 2265361"/>
              <a:gd name="connsiteX156" fmla="*/ 4148309 w 9905999"/>
              <a:gd name="connsiteY156" fmla="*/ 1758155 h 2265361"/>
              <a:gd name="connsiteX157" fmla="*/ 4193302 w 9905999"/>
              <a:gd name="connsiteY157" fmla="*/ 1859597 h 2265361"/>
              <a:gd name="connsiteX158" fmla="*/ 4125813 w 9905999"/>
              <a:gd name="connsiteY158" fmla="*/ 1859597 h 2265361"/>
              <a:gd name="connsiteX159" fmla="*/ 4103317 w 9905999"/>
              <a:gd name="connsiteY159" fmla="*/ 1803240 h 2265361"/>
              <a:gd name="connsiteX160" fmla="*/ 4002083 w 9905999"/>
              <a:gd name="connsiteY160" fmla="*/ 1762664 h 2265361"/>
              <a:gd name="connsiteX161" fmla="*/ 3909849 w 9905999"/>
              <a:gd name="connsiteY161" fmla="*/ 1800986 h 2265361"/>
              <a:gd name="connsiteX162" fmla="*/ 3864856 w 9905999"/>
              <a:gd name="connsiteY162" fmla="*/ 1967800 h 2265361"/>
              <a:gd name="connsiteX163" fmla="*/ 3909849 w 9905999"/>
              <a:gd name="connsiteY163" fmla="*/ 2134615 h 2265361"/>
              <a:gd name="connsiteX164" fmla="*/ 4002083 w 9905999"/>
              <a:gd name="connsiteY164" fmla="*/ 2172937 h 2265361"/>
              <a:gd name="connsiteX165" fmla="*/ 4094318 w 9905999"/>
              <a:gd name="connsiteY165" fmla="*/ 2136869 h 2265361"/>
              <a:gd name="connsiteX166" fmla="*/ 4139311 w 9905999"/>
              <a:gd name="connsiteY166" fmla="*/ 2006123 h 2265361"/>
              <a:gd name="connsiteX167" fmla="*/ 4002083 w 9905999"/>
              <a:gd name="connsiteY167" fmla="*/ 2006123 h 2265361"/>
              <a:gd name="connsiteX168" fmla="*/ 4002083 w 9905999"/>
              <a:gd name="connsiteY168" fmla="*/ 1947512 h 2265361"/>
              <a:gd name="connsiteX169" fmla="*/ 4197801 w 9905999"/>
              <a:gd name="connsiteY169" fmla="*/ 1947512 h 2265361"/>
              <a:gd name="connsiteX170" fmla="*/ 4197801 w 9905999"/>
              <a:gd name="connsiteY170" fmla="*/ 2222531 h 2265361"/>
              <a:gd name="connsiteX171" fmla="*/ 4152808 w 9905999"/>
              <a:gd name="connsiteY171" fmla="*/ 2222531 h 2265361"/>
              <a:gd name="connsiteX172" fmla="*/ 4141560 w 9905999"/>
              <a:gd name="connsiteY172" fmla="*/ 2161666 h 2265361"/>
              <a:gd name="connsiteX173" fmla="*/ 4002083 w 9905999"/>
              <a:gd name="connsiteY173" fmla="*/ 2233802 h 2265361"/>
              <a:gd name="connsiteX174" fmla="*/ 3864856 w 9905999"/>
              <a:gd name="connsiteY174" fmla="*/ 2179700 h 2265361"/>
              <a:gd name="connsiteX175" fmla="*/ 3797367 w 9905999"/>
              <a:gd name="connsiteY175" fmla="*/ 1967800 h 2265361"/>
              <a:gd name="connsiteX176" fmla="*/ 3864856 w 9905999"/>
              <a:gd name="connsiteY176" fmla="*/ 1755901 h 2265361"/>
              <a:gd name="connsiteX177" fmla="*/ 4002083 w 9905999"/>
              <a:gd name="connsiteY177" fmla="*/ 1701799 h 2265361"/>
              <a:gd name="connsiteX178" fmla="*/ 1642228 w 9905999"/>
              <a:gd name="connsiteY178" fmla="*/ 1701799 h 2265361"/>
              <a:gd name="connsiteX179" fmla="*/ 1774955 w 9905999"/>
              <a:gd name="connsiteY179" fmla="*/ 1749138 h 2265361"/>
              <a:gd name="connsiteX180" fmla="*/ 1824447 w 9905999"/>
              <a:gd name="connsiteY180" fmla="*/ 1859597 h 2265361"/>
              <a:gd name="connsiteX181" fmla="*/ 1756958 w 9905999"/>
              <a:gd name="connsiteY181" fmla="*/ 1859597 h 2265361"/>
              <a:gd name="connsiteX182" fmla="*/ 1732212 w 9905999"/>
              <a:gd name="connsiteY182" fmla="*/ 1796478 h 2265361"/>
              <a:gd name="connsiteX183" fmla="*/ 1639978 w 9905999"/>
              <a:gd name="connsiteY183" fmla="*/ 1760410 h 2265361"/>
              <a:gd name="connsiteX184" fmla="*/ 1549993 w 9905999"/>
              <a:gd name="connsiteY184" fmla="*/ 1796478 h 2265361"/>
              <a:gd name="connsiteX185" fmla="*/ 1529746 w 9905999"/>
              <a:gd name="connsiteY185" fmla="*/ 1850580 h 2265361"/>
              <a:gd name="connsiteX186" fmla="*/ 1606234 w 9905999"/>
              <a:gd name="connsiteY186" fmla="*/ 1922716 h 2265361"/>
              <a:gd name="connsiteX187" fmla="*/ 1691719 w 9905999"/>
              <a:gd name="connsiteY187" fmla="*/ 1936241 h 2265361"/>
              <a:gd name="connsiteX188" fmla="*/ 1833445 w 9905999"/>
              <a:gd name="connsiteY188" fmla="*/ 2082767 h 2265361"/>
              <a:gd name="connsiteX189" fmla="*/ 1790703 w 9905999"/>
              <a:gd name="connsiteY189" fmla="*/ 2181954 h 2265361"/>
              <a:gd name="connsiteX190" fmla="*/ 1644477 w 9905999"/>
              <a:gd name="connsiteY190" fmla="*/ 2231547 h 2265361"/>
              <a:gd name="connsiteX191" fmla="*/ 1498251 w 9905999"/>
              <a:gd name="connsiteY191" fmla="*/ 2184208 h 2265361"/>
              <a:gd name="connsiteX192" fmla="*/ 1444260 w 9905999"/>
              <a:gd name="connsiteY192" fmla="*/ 2060225 h 2265361"/>
              <a:gd name="connsiteX193" fmla="*/ 1509499 w 9905999"/>
              <a:gd name="connsiteY193" fmla="*/ 2060225 h 2265361"/>
              <a:gd name="connsiteX194" fmla="*/ 1545494 w 9905999"/>
              <a:gd name="connsiteY194" fmla="*/ 2141378 h 2265361"/>
              <a:gd name="connsiteX195" fmla="*/ 1644477 w 9905999"/>
              <a:gd name="connsiteY195" fmla="*/ 2172937 h 2265361"/>
              <a:gd name="connsiteX196" fmla="*/ 1738962 w 9905999"/>
              <a:gd name="connsiteY196" fmla="*/ 2143632 h 2265361"/>
              <a:gd name="connsiteX197" fmla="*/ 1765956 w 9905999"/>
              <a:gd name="connsiteY197" fmla="*/ 2082767 h 2265361"/>
              <a:gd name="connsiteX198" fmla="*/ 1680471 w 9905999"/>
              <a:gd name="connsiteY198" fmla="*/ 2001614 h 2265361"/>
              <a:gd name="connsiteX199" fmla="*/ 1599484 w 9905999"/>
              <a:gd name="connsiteY199" fmla="*/ 1988089 h 2265361"/>
              <a:gd name="connsiteX200" fmla="*/ 1462257 w 9905999"/>
              <a:gd name="connsiteY200" fmla="*/ 1852834 h 2265361"/>
              <a:gd name="connsiteX201" fmla="*/ 1507249 w 9905999"/>
              <a:gd name="connsiteY201" fmla="*/ 1751393 h 2265361"/>
              <a:gd name="connsiteX202" fmla="*/ 1642228 w 9905999"/>
              <a:gd name="connsiteY202" fmla="*/ 1701799 h 2265361"/>
              <a:gd name="connsiteX203" fmla="*/ 654642 w 9905999"/>
              <a:gd name="connsiteY203" fmla="*/ 1701799 h 2265361"/>
              <a:gd name="connsiteX204" fmla="*/ 791868 w 9905999"/>
              <a:gd name="connsiteY204" fmla="*/ 1755901 h 2265361"/>
              <a:gd name="connsiteX205" fmla="*/ 857108 w 9905999"/>
              <a:gd name="connsiteY205" fmla="*/ 1967800 h 2265361"/>
              <a:gd name="connsiteX206" fmla="*/ 791868 w 9905999"/>
              <a:gd name="connsiteY206" fmla="*/ 2177446 h 2265361"/>
              <a:gd name="connsiteX207" fmla="*/ 654642 w 9905999"/>
              <a:gd name="connsiteY207" fmla="*/ 2233802 h 2265361"/>
              <a:gd name="connsiteX208" fmla="*/ 515164 w 9905999"/>
              <a:gd name="connsiteY208" fmla="*/ 2177446 h 2265361"/>
              <a:gd name="connsiteX209" fmla="*/ 449925 w 9905999"/>
              <a:gd name="connsiteY209" fmla="*/ 1967800 h 2265361"/>
              <a:gd name="connsiteX210" fmla="*/ 515164 w 9905999"/>
              <a:gd name="connsiteY210" fmla="*/ 1755901 h 2265361"/>
              <a:gd name="connsiteX211" fmla="*/ 654642 w 9905999"/>
              <a:gd name="connsiteY211" fmla="*/ 1701799 h 2265361"/>
              <a:gd name="connsiteX212" fmla="*/ 202466 w 9905999"/>
              <a:gd name="connsiteY212" fmla="*/ 1701799 h 2265361"/>
              <a:gd name="connsiteX213" fmla="*/ 339693 w 9905999"/>
              <a:gd name="connsiteY213" fmla="*/ 1753647 h 2265361"/>
              <a:gd name="connsiteX214" fmla="*/ 389185 w 9905999"/>
              <a:gd name="connsiteY214" fmla="*/ 1870868 h 2265361"/>
              <a:gd name="connsiteX215" fmla="*/ 323946 w 9905999"/>
              <a:gd name="connsiteY215" fmla="*/ 1870868 h 2265361"/>
              <a:gd name="connsiteX216" fmla="*/ 294701 w 9905999"/>
              <a:gd name="connsiteY216" fmla="*/ 1798732 h 2265361"/>
              <a:gd name="connsiteX217" fmla="*/ 202466 w 9905999"/>
              <a:gd name="connsiteY217" fmla="*/ 1762664 h 2265361"/>
              <a:gd name="connsiteX218" fmla="*/ 110232 w 9905999"/>
              <a:gd name="connsiteY218" fmla="*/ 1800986 h 2265361"/>
              <a:gd name="connsiteX219" fmla="*/ 67489 w 9905999"/>
              <a:gd name="connsiteY219" fmla="*/ 1967800 h 2265361"/>
              <a:gd name="connsiteX220" fmla="*/ 110232 w 9905999"/>
              <a:gd name="connsiteY220" fmla="*/ 2132361 h 2265361"/>
              <a:gd name="connsiteX221" fmla="*/ 202466 w 9905999"/>
              <a:gd name="connsiteY221" fmla="*/ 2172937 h 2265361"/>
              <a:gd name="connsiteX222" fmla="*/ 296951 w 9905999"/>
              <a:gd name="connsiteY222" fmla="*/ 2132361 h 2265361"/>
              <a:gd name="connsiteX223" fmla="*/ 323946 w 9905999"/>
              <a:gd name="connsiteY223" fmla="*/ 2060225 h 2265361"/>
              <a:gd name="connsiteX224" fmla="*/ 391435 w 9905999"/>
              <a:gd name="connsiteY224" fmla="*/ 2060225 h 2265361"/>
              <a:gd name="connsiteX225" fmla="*/ 339693 w 9905999"/>
              <a:gd name="connsiteY225" fmla="*/ 2177446 h 2265361"/>
              <a:gd name="connsiteX226" fmla="*/ 202466 w 9905999"/>
              <a:gd name="connsiteY226" fmla="*/ 2233802 h 2265361"/>
              <a:gd name="connsiteX227" fmla="*/ 65239 w 9905999"/>
              <a:gd name="connsiteY227" fmla="*/ 2177446 h 2265361"/>
              <a:gd name="connsiteX228" fmla="*/ 0 w 9905999"/>
              <a:gd name="connsiteY228" fmla="*/ 1967800 h 2265361"/>
              <a:gd name="connsiteX229" fmla="*/ 65239 w 9905999"/>
              <a:gd name="connsiteY229" fmla="*/ 1755901 h 2265361"/>
              <a:gd name="connsiteX230" fmla="*/ 202466 w 9905999"/>
              <a:gd name="connsiteY230" fmla="*/ 1701799 h 2265361"/>
              <a:gd name="connsiteX231" fmla="*/ 2227389 w 9905999"/>
              <a:gd name="connsiteY231" fmla="*/ 214047 h 2265361"/>
              <a:gd name="connsiteX232" fmla="*/ 2227389 w 9905999"/>
              <a:gd name="connsiteY232" fmla="*/ 574548 h 2265361"/>
              <a:gd name="connsiteX233" fmla="*/ 2456649 w 9905999"/>
              <a:gd name="connsiteY233" fmla="*/ 574548 h 2265361"/>
              <a:gd name="connsiteX234" fmla="*/ 2654442 w 9905999"/>
              <a:gd name="connsiteY234" fmla="*/ 394298 h 2265361"/>
              <a:gd name="connsiteX235" fmla="*/ 2456649 w 9905999"/>
              <a:gd name="connsiteY235" fmla="*/ 214047 h 2265361"/>
              <a:gd name="connsiteX236" fmla="*/ 2227389 w 9905999"/>
              <a:gd name="connsiteY236" fmla="*/ 214047 h 2265361"/>
              <a:gd name="connsiteX237" fmla="*/ 8961436 w 9905999"/>
              <a:gd name="connsiteY237" fmla="*/ 0 h 2265361"/>
              <a:gd name="connsiteX238" fmla="*/ 9905999 w 9905999"/>
              <a:gd name="connsiteY238" fmla="*/ 0 h 2265361"/>
              <a:gd name="connsiteX239" fmla="*/ 9905999 w 9905999"/>
              <a:gd name="connsiteY239" fmla="*/ 225425 h 2265361"/>
              <a:gd name="connsiteX240" fmla="*/ 9555161 w 9905999"/>
              <a:gd name="connsiteY240" fmla="*/ 225425 h 2265361"/>
              <a:gd name="connsiteX241" fmla="*/ 9555161 w 9905999"/>
              <a:gd name="connsiteY241" fmla="*/ 1214437 h 2265361"/>
              <a:gd name="connsiteX242" fmla="*/ 9315449 w 9905999"/>
              <a:gd name="connsiteY242" fmla="*/ 1214437 h 2265361"/>
              <a:gd name="connsiteX243" fmla="*/ 9315449 w 9905999"/>
              <a:gd name="connsiteY243" fmla="*/ 225425 h 2265361"/>
              <a:gd name="connsiteX244" fmla="*/ 8961436 w 9905999"/>
              <a:gd name="connsiteY244" fmla="*/ 225425 h 2265361"/>
              <a:gd name="connsiteX245" fmla="*/ 7785099 w 9905999"/>
              <a:gd name="connsiteY245" fmla="*/ 0 h 2265361"/>
              <a:gd name="connsiteX246" fmla="*/ 8035924 w 9905999"/>
              <a:gd name="connsiteY246" fmla="*/ 0 h 2265361"/>
              <a:gd name="connsiteX247" fmla="*/ 8037512 w 9905999"/>
              <a:gd name="connsiteY247" fmla="*/ 3175 h 2265361"/>
              <a:gd name="connsiteX248" fmla="*/ 8523286 w 9905999"/>
              <a:gd name="connsiteY248" fmla="*/ 774700 h 2265361"/>
              <a:gd name="connsiteX249" fmla="*/ 8523286 w 9905999"/>
              <a:gd name="connsiteY249" fmla="*/ 0 h 2265361"/>
              <a:gd name="connsiteX250" fmla="*/ 8759824 w 9905999"/>
              <a:gd name="connsiteY250" fmla="*/ 0 h 2265361"/>
              <a:gd name="connsiteX251" fmla="*/ 8759824 w 9905999"/>
              <a:gd name="connsiteY251" fmla="*/ 1214437 h 2265361"/>
              <a:gd name="connsiteX252" fmla="*/ 8518524 w 9905999"/>
              <a:gd name="connsiteY252" fmla="*/ 1214437 h 2265361"/>
              <a:gd name="connsiteX253" fmla="*/ 8024812 w 9905999"/>
              <a:gd name="connsiteY253" fmla="*/ 425450 h 2265361"/>
              <a:gd name="connsiteX254" fmla="*/ 8024812 w 9905999"/>
              <a:gd name="connsiteY254" fmla="*/ 1214437 h 2265361"/>
              <a:gd name="connsiteX255" fmla="*/ 7785099 w 9905999"/>
              <a:gd name="connsiteY255" fmla="*/ 1214437 h 2265361"/>
              <a:gd name="connsiteX256" fmla="*/ 6665911 w 9905999"/>
              <a:gd name="connsiteY256" fmla="*/ 0 h 2265361"/>
              <a:gd name="connsiteX257" fmla="*/ 7535861 w 9905999"/>
              <a:gd name="connsiteY257" fmla="*/ 0 h 2265361"/>
              <a:gd name="connsiteX258" fmla="*/ 7535861 w 9905999"/>
              <a:gd name="connsiteY258" fmla="*/ 220663 h 2265361"/>
              <a:gd name="connsiteX259" fmla="*/ 6905624 w 9905999"/>
              <a:gd name="connsiteY259" fmla="*/ 220663 h 2265361"/>
              <a:gd name="connsiteX260" fmla="*/ 6905624 w 9905999"/>
              <a:gd name="connsiteY260" fmla="*/ 473075 h 2265361"/>
              <a:gd name="connsiteX261" fmla="*/ 7459661 w 9905999"/>
              <a:gd name="connsiteY261" fmla="*/ 473075 h 2265361"/>
              <a:gd name="connsiteX262" fmla="*/ 7459661 w 9905999"/>
              <a:gd name="connsiteY262" fmla="*/ 690562 h 2265361"/>
              <a:gd name="connsiteX263" fmla="*/ 6905624 w 9905999"/>
              <a:gd name="connsiteY263" fmla="*/ 690562 h 2265361"/>
              <a:gd name="connsiteX264" fmla="*/ 6905624 w 9905999"/>
              <a:gd name="connsiteY264" fmla="*/ 993775 h 2265361"/>
              <a:gd name="connsiteX265" fmla="*/ 7535861 w 9905999"/>
              <a:gd name="connsiteY265" fmla="*/ 993775 h 2265361"/>
              <a:gd name="connsiteX266" fmla="*/ 7535861 w 9905999"/>
              <a:gd name="connsiteY266" fmla="*/ 1214437 h 2265361"/>
              <a:gd name="connsiteX267" fmla="*/ 6665911 w 9905999"/>
              <a:gd name="connsiteY267" fmla="*/ 1214437 h 2265361"/>
              <a:gd name="connsiteX268" fmla="*/ 5221286 w 9905999"/>
              <a:gd name="connsiteY268" fmla="*/ 0 h 2265361"/>
              <a:gd name="connsiteX269" fmla="*/ 5534024 w 9905999"/>
              <a:gd name="connsiteY269" fmla="*/ 0 h 2265361"/>
              <a:gd name="connsiteX270" fmla="*/ 5835649 w 9905999"/>
              <a:gd name="connsiteY270" fmla="*/ 823912 h 2265361"/>
              <a:gd name="connsiteX271" fmla="*/ 6142037 w 9905999"/>
              <a:gd name="connsiteY271" fmla="*/ 0 h 2265361"/>
              <a:gd name="connsiteX272" fmla="*/ 6438899 w 9905999"/>
              <a:gd name="connsiteY272" fmla="*/ 0 h 2265361"/>
              <a:gd name="connsiteX273" fmla="*/ 6438899 w 9905999"/>
              <a:gd name="connsiteY273" fmla="*/ 1214437 h 2265361"/>
              <a:gd name="connsiteX274" fmla="*/ 6203949 w 9905999"/>
              <a:gd name="connsiteY274" fmla="*/ 1214437 h 2265361"/>
              <a:gd name="connsiteX275" fmla="*/ 6203949 w 9905999"/>
              <a:gd name="connsiteY275" fmla="*/ 419100 h 2265361"/>
              <a:gd name="connsiteX276" fmla="*/ 5916612 w 9905999"/>
              <a:gd name="connsiteY276" fmla="*/ 1196975 h 2265361"/>
              <a:gd name="connsiteX277" fmla="*/ 5740399 w 9905999"/>
              <a:gd name="connsiteY277" fmla="*/ 1196975 h 2265361"/>
              <a:gd name="connsiteX278" fmla="*/ 5454649 w 9905999"/>
              <a:gd name="connsiteY278" fmla="*/ 409575 h 2265361"/>
              <a:gd name="connsiteX279" fmla="*/ 5454649 w 9905999"/>
              <a:gd name="connsiteY279" fmla="*/ 1214437 h 2265361"/>
              <a:gd name="connsiteX280" fmla="*/ 5221286 w 9905999"/>
              <a:gd name="connsiteY280" fmla="*/ 1214437 h 2265361"/>
              <a:gd name="connsiteX281" fmla="*/ 4098924 w 9905999"/>
              <a:gd name="connsiteY281" fmla="*/ 0 h 2265361"/>
              <a:gd name="connsiteX282" fmla="*/ 4968874 w 9905999"/>
              <a:gd name="connsiteY282" fmla="*/ 0 h 2265361"/>
              <a:gd name="connsiteX283" fmla="*/ 4968874 w 9905999"/>
              <a:gd name="connsiteY283" fmla="*/ 220663 h 2265361"/>
              <a:gd name="connsiteX284" fmla="*/ 4340224 w 9905999"/>
              <a:gd name="connsiteY284" fmla="*/ 220663 h 2265361"/>
              <a:gd name="connsiteX285" fmla="*/ 4340224 w 9905999"/>
              <a:gd name="connsiteY285" fmla="*/ 473075 h 2265361"/>
              <a:gd name="connsiteX286" fmla="*/ 4895849 w 9905999"/>
              <a:gd name="connsiteY286" fmla="*/ 473075 h 2265361"/>
              <a:gd name="connsiteX287" fmla="*/ 4895849 w 9905999"/>
              <a:gd name="connsiteY287" fmla="*/ 690562 h 2265361"/>
              <a:gd name="connsiteX288" fmla="*/ 4340224 w 9905999"/>
              <a:gd name="connsiteY288" fmla="*/ 690562 h 2265361"/>
              <a:gd name="connsiteX289" fmla="*/ 4340224 w 9905999"/>
              <a:gd name="connsiteY289" fmla="*/ 993775 h 2265361"/>
              <a:gd name="connsiteX290" fmla="*/ 4968874 w 9905999"/>
              <a:gd name="connsiteY290" fmla="*/ 993775 h 2265361"/>
              <a:gd name="connsiteX291" fmla="*/ 4968874 w 9905999"/>
              <a:gd name="connsiteY291" fmla="*/ 1214437 h 2265361"/>
              <a:gd name="connsiteX292" fmla="*/ 4098924 w 9905999"/>
              <a:gd name="connsiteY292" fmla="*/ 1214437 h 2265361"/>
              <a:gd name="connsiteX293" fmla="*/ 3079749 w 9905999"/>
              <a:gd name="connsiteY293" fmla="*/ 0 h 2265361"/>
              <a:gd name="connsiteX294" fmla="*/ 3321049 w 9905999"/>
              <a:gd name="connsiteY294" fmla="*/ 0 h 2265361"/>
              <a:gd name="connsiteX295" fmla="*/ 3321049 w 9905999"/>
              <a:gd name="connsiteY295" fmla="*/ 984250 h 2265361"/>
              <a:gd name="connsiteX296" fmla="*/ 3871912 w 9905999"/>
              <a:gd name="connsiteY296" fmla="*/ 984250 h 2265361"/>
              <a:gd name="connsiteX297" fmla="*/ 3871912 w 9905999"/>
              <a:gd name="connsiteY297" fmla="*/ 1214437 h 2265361"/>
              <a:gd name="connsiteX298" fmla="*/ 3079749 w 9905999"/>
              <a:gd name="connsiteY298" fmla="*/ 1214437 h 2265361"/>
              <a:gd name="connsiteX299" fmla="*/ 1989138 w 9905999"/>
              <a:gd name="connsiteY299" fmla="*/ 0 h 2265361"/>
              <a:gd name="connsiteX300" fmla="*/ 2465639 w 9905999"/>
              <a:gd name="connsiteY300" fmla="*/ 0 h 2265361"/>
              <a:gd name="connsiteX301" fmla="*/ 2897188 w 9905999"/>
              <a:gd name="connsiteY301" fmla="*/ 392045 h 2265361"/>
              <a:gd name="connsiteX302" fmla="*/ 2465639 w 9905999"/>
              <a:gd name="connsiteY302" fmla="*/ 786342 h 2265361"/>
              <a:gd name="connsiteX303" fmla="*/ 2227389 w 9905999"/>
              <a:gd name="connsiteY303" fmla="*/ 786342 h 2265361"/>
              <a:gd name="connsiteX304" fmla="*/ 2227389 w 9905999"/>
              <a:gd name="connsiteY304" fmla="*/ 1214437 h 2265361"/>
              <a:gd name="connsiteX305" fmla="*/ 1989138 w 9905999"/>
              <a:gd name="connsiteY305" fmla="*/ 1214437 h 2265361"/>
              <a:gd name="connsiteX306" fmla="*/ 1989138 w 9905999"/>
              <a:gd name="connsiteY306" fmla="*/ 0 h 2265361"/>
              <a:gd name="connsiteX307" fmla="*/ 520699 w 9905999"/>
              <a:gd name="connsiteY307" fmla="*/ 0 h 2265361"/>
              <a:gd name="connsiteX308" fmla="*/ 833436 w 9905999"/>
              <a:gd name="connsiteY308" fmla="*/ 0 h 2265361"/>
              <a:gd name="connsiteX309" fmla="*/ 1135061 w 9905999"/>
              <a:gd name="connsiteY309" fmla="*/ 823912 h 2265361"/>
              <a:gd name="connsiteX310" fmla="*/ 1439862 w 9905999"/>
              <a:gd name="connsiteY310" fmla="*/ 0 h 2265361"/>
              <a:gd name="connsiteX311" fmla="*/ 1736724 w 9905999"/>
              <a:gd name="connsiteY311" fmla="*/ 0 h 2265361"/>
              <a:gd name="connsiteX312" fmla="*/ 1736724 w 9905999"/>
              <a:gd name="connsiteY312" fmla="*/ 1214437 h 2265361"/>
              <a:gd name="connsiteX313" fmla="*/ 1503362 w 9905999"/>
              <a:gd name="connsiteY313" fmla="*/ 1214437 h 2265361"/>
              <a:gd name="connsiteX314" fmla="*/ 1503362 w 9905999"/>
              <a:gd name="connsiteY314" fmla="*/ 419100 h 2265361"/>
              <a:gd name="connsiteX315" fmla="*/ 1216024 w 9905999"/>
              <a:gd name="connsiteY315" fmla="*/ 1196975 h 2265361"/>
              <a:gd name="connsiteX316" fmla="*/ 1039812 w 9905999"/>
              <a:gd name="connsiteY316" fmla="*/ 1196975 h 2265361"/>
              <a:gd name="connsiteX317" fmla="*/ 754062 w 9905999"/>
              <a:gd name="connsiteY317" fmla="*/ 409575 h 2265361"/>
              <a:gd name="connsiteX318" fmla="*/ 754062 w 9905999"/>
              <a:gd name="connsiteY318" fmla="*/ 1214437 h 2265361"/>
              <a:gd name="connsiteX319" fmla="*/ 520699 w 9905999"/>
              <a:gd name="connsiteY319" fmla="*/ 1214437 h 2265361"/>
              <a:gd name="connsiteX320" fmla="*/ 25400 w 9905999"/>
              <a:gd name="connsiteY320" fmla="*/ 0 h 2265361"/>
              <a:gd name="connsiteX321" fmla="*/ 268288 w 9905999"/>
              <a:gd name="connsiteY321" fmla="*/ 0 h 2265361"/>
              <a:gd name="connsiteX322" fmla="*/ 268288 w 9905999"/>
              <a:gd name="connsiteY322" fmla="*/ 1214437 h 2265361"/>
              <a:gd name="connsiteX323" fmla="*/ 25400 w 9905999"/>
              <a:gd name="connsiteY323" fmla="*/ 1214437 h 226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</a:cxnLst>
            <a:rect l="l" t="t" r="r" b="b"/>
            <a:pathLst>
              <a:path w="9905999" h="2265361">
                <a:moveTo>
                  <a:pt x="6778122" y="2222531"/>
                </a:moveTo>
                <a:cubicBezTo>
                  <a:pt x="6778122" y="2222531"/>
                  <a:pt x="6778122" y="2222531"/>
                  <a:pt x="7135812" y="2222531"/>
                </a:cubicBezTo>
                <a:lnTo>
                  <a:pt x="7135812" y="2265361"/>
                </a:lnTo>
                <a:cubicBezTo>
                  <a:pt x="7135812" y="2265361"/>
                  <a:pt x="7135812" y="2265361"/>
                  <a:pt x="6778122" y="2265361"/>
                </a:cubicBezTo>
                <a:cubicBezTo>
                  <a:pt x="6778122" y="2265361"/>
                  <a:pt x="6778122" y="2265361"/>
                  <a:pt x="6778122" y="2222531"/>
                </a:cubicBezTo>
                <a:close/>
                <a:moveTo>
                  <a:pt x="6449676" y="1769427"/>
                </a:moveTo>
                <a:cubicBezTo>
                  <a:pt x="6449676" y="1769427"/>
                  <a:pt x="6449676" y="1769427"/>
                  <a:pt x="6449676" y="1965546"/>
                </a:cubicBezTo>
                <a:cubicBezTo>
                  <a:pt x="6449676" y="1965546"/>
                  <a:pt x="6449676" y="1965546"/>
                  <a:pt x="6575655" y="1965546"/>
                </a:cubicBezTo>
                <a:cubicBezTo>
                  <a:pt x="6643144" y="1965546"/>
                  <a:pt x="6679138" y="1933987"/>
                  <a:pt x="6679138" y="1864105"/>
                </a:cubicBezTo>
                <a:cubicBezTo>
                  <a:pt x="6679138" y="1800986"/>
                  <a:pt x="6638645" y="1769427"/>
                  <a:pt x="6575655" y="1769427"/>
                </a:cubicBezTo>
                <a:cubicBezTo>
                  <a:pt x="6575655" y="1769427"/>
                  <a:pt x="6575655" y="1769427"/>
                  <a:pt x="6449676" y="1769427"/>
                </a:cubicBezTo>
                <a:close/>
                <a:moveTo>
                  <a:pt x="5021164" y="1769427"/>
                </a:moveTo>
                <a:cubicBezTo>
                  <a:pt x="5021164" y="1769427"/>
                  <a:pt x="5021164" y="1769427"/>
                  <a:pt x="5021164" y="1949767"/>
                </a:cubicBezTo>
                <a:cubicBezTo>
                  <a:pt x="5021164" y="1949767"/>
                  <a:pt x="5021164" y="1949767"/>
                  <a:pt x="5158391" y="1949767"/>
                </a:cubicBezTo>
                <a:cubicBezTo>
                  <a:pt x="5219131" y="1949767"/>
                  <a:pt x="5261874" y="1924970"/>
                  <a:pt x="5261874" y="1859597"/>
                </a:cubicBezTo>
                <a:cubicBezTo>
                  <a:pt x="5261874" y="1794223"/>
                  <a:pt x="5219131" y="1769427"/>
                  <a:pt x="5158391" y="1769427"/>
                </a:cubicBezTo>
                <a:cubicBezTo>
                  <a:pt x="5158391" y="1769427"/>
                  <a:pt x="5158391" y="1769427"/>
                  <a:pt x="5021164" y="1769427"/>
                </a:cubicBezTo>
                <a:close/>
                <a:moveTo>
                  <a:pt x="5597068" y="1762664"/>
                </a:moveTo>
                <a:cubicBezTo>
                  <a:pt x="5563324" y="1762664"/>
                  <a:pt x="5529579" y="1776189"/>
                  <a:pt x="5504834" y="1800986"/>
                </a:cubicBezTo>
                <a:cubicBezTo>
                  <a:pt x="5462091" y="1843817"/>
                  <a:pt x="5459841" y="1913699"/>
                  <a:pt x="5459841" y="1967800"/>
                </a:cubicBezTo>
                <a:cubicBezTo>
                  <a:pt x="5459841" y="2019648"/>
                  <a:pt x="5462091" y="2089530"/>
                  <a:pt x="5504834" y="2132361"/>
                </a:cubicBezTo>
                <a:cubicBezTo>
                  <a:pt x="5529579" y="2159412"/>
                  <a:pt x="5563324" y="2170683"/>
                  <a:pt x="5597068" y="2170683"/>
                </a:cubicBezTo>
                <a:cubicBezTo>
                  <a:pt x="5633062" y="2170683"/>
                  <a:pt x="5666807" y="2159412"/>
                  <a:pt x="5691552" y="2132361"/>
                </a:cubicBezTo>
                <a:cubicBezTo>
                  <a:pt x="5732046" y="2089530"/>
                  <a:pt x="5734295" y="2019648"/>
                  <a:pt x="5734295" y="1967800"/>
                </a:cubicBezTo>
                <a:cubicBezTo>
                  <a:pt x="5734295" y="1913699"/>
                  <a:pt x="5732046" y="1843817"/>
                  <a:pt x="5691552" y="1800986"/>
                </a:cubicBezTo>
                <a:cubicBezTo>
                  <a:pt x="5666807" y="1776189"/>
                  <a:pt x="5633062" y="1762664"/>
                  <a:pt x="5597068" y="1762664"/>
                </a:cubicBezTo>
                <a:close/>
                <a:moveTo>
                  <a:pt x="654642" y="1762664"/>
                </a:moveTo>
                <a:cubicBezTo>
                  <a:pt x="618647" y="1762664"/>
                  <a:pt x="584903" y="1776189"/>
                  <a:pt x="560157" y="1800986"/>
                </a:cubicBezTo>
                <a:cubicBezTo>
                  <a:pt x="519664" y="1843817"/>
                  <a:pt x="517414" y="1913699"/>
                  <a:pt x="517414" y="1967800"/>
                </a:cubicBezTo>
                <a:cubicBezTo>
                  <a:pt x="517414" y="2019648"/>
                  <a:pt x="519664" y="2089530"/>
                  <a:pt x="560157" y="2132361"/>
                </a:cubicBezTo>
                <a:cubicBezTo>
                  <a:pt x="584903" y="2159412"/>
                  <a:pt x="618647" y="2170683"/>
                  <a:pt x="654642" y="2170683"/>
                </a:cubicBezTo>
                <a:cubicBezTo>
                  <a:pt x="688386" y="2170683"/>
                  <a:pt x="722130" y="2159412"/>
                  <a:pt x="746876" y="2132361"/>
                </a:cubicBezTo>
                <a:cubicBezTo>
                  <a:pt x="789619" y="2089530"/>
                  <a:pt x="791868" y="2019648"/>
                  <a:pt x="791868" y="1967800"/>
                </a:cubicBezTo>
                <a:cubicBezTo>
                  <a:pt x="791868" y="1913699"/>
                  <a:pt x="789619" y="1843817"/>
                  <a:pt x="746876" y="1800986"/>
                </a:cubicBezTo>
                <a:cubicBezTo>
                  <a:pt x="722130" y="1776189"/>
                  <a:pt x="688386" y="1762664"/>
                  <a:pt x="654642" y="1762664"/>
                </a:cubicBezTo>
                <a:close/>
                <a:moveTo>
                  <a:pt x="6386687" y="1710816"/>
                </a:moveTo>
                <a:cubicBezTo>
                  <a:pt x="6386687" y="1710816"/>
                  <a:pt x="6386687" y="1710816"/>
                  <a:pt x="6575655" y="1710816"/>
                </a:cubicBezTo>
                <a:cubicBezTo>
                  <a:pt x="6636395" y="1710816"/>
                  <a:pt x="6679138" y="1726596"/>
                  <a:pt x="6706134" y="1755901"/>
                </a:cubicBezTo>
                <a:cubicBezTo>
                  <a:pt x="6730880" y="1782952"/>
                  <a:pt x="6744377" y="1821274"/>
                  <a:pt x="6744377" y="1864105"/>
                </a:cubicBezTo>
                <a:cubicBezTo>
                  <a:pt x="6744377" y="1915953"/>
                  <a:pt x="6730880" y="1954275"/>
                  <a:pt x="6701634" y="1981326"/>
                </a:cubicBezTo>
                <a:cubicBezTo>
                  <a:pt x="6674639" y="2008377"/>
                  <a:pt x="6634146" y="2024157"/>
                  <a:pt x="6577905" y="2024157"/>
                </a:cubicBezTo>
                <a:cubicBezTo>
                  <a:pt x="6577905" y="2024157"/>
                  <a:pt x="6577905" y="2024157"/>
                  <a:pt x="6449676" y="2024157"/>
                </a:cubicBezTo>
                <a:cubicBezTo>
                  <a:pt x="6449676" y="2024157"/>
                  <a:pt x="6449676" y="2024157"/>
                  <a:pt x="6449676" y="2222531"/>
                </a:cubicBezTo>
                <a:cubicBezTo>
                  <a:pt x="6449676" y="2222531"/>
                  <a:pt x="6449676" y="2222531"/>
                  <a:pt x="6386687" y="2222531"/>
                </a:cubicBezTo>
                <a:cubicBezTo>
                  <a:pt x="6386687" y="2222531"/>
                  <a:pt x="6386687" y="2222531"/>
                  <a:pt x="6386687" y="1710816"/>
                </a:cubicBezTo>
                <a:close/>
                <a:moveTo>
                  <a:pt x="5889520" y="1710816"/>
                </a:moveTo>
                <a:cubicBezTo>
                  <a:pt x="5889520" y="1710816"/>
                  <a:pt x="5889520" y="1710816"/>
                  <a:pt x="5954759" y="1710816"/>
                </a:cubicBezTo>
                <a:cubicBezTo>
                  <a:pt x="5954759" y="1710816"/>
                  <a:pt x="5954759" y="1710816"/>
                  <a:pt x="5954759" y="2035428"/>
                </a:cubicBezTo>
                <a:cubicBezTo>
                  <a:pt x="5954759" y="2118835"/>
                  <a:pt x="5988503" y="2172937"/>
                  <a:pt x="6076239" y="2172937"/>
                </a:cubicBezTo>
                <a:cubicBezTo>
                  <a:pt x="6166224" y="2172937"/>
                  <a:pt x="6199968" y="2118835"/>
                  <a:pt x="6199968" y="2035428"/>
                </a:cubicBezTo>
                <a:cubicBezTo>
                  <a:pt x="6199968" y="2035428"/>
                  <a:pt x="6199968" y="2035428"/>
                  <a:pt x="6199968" y="1710816"/>
                </a:cubicBezTo>
                <a:cubicBezTo>
                  <a:pt x="6199968" y="1710816"/>
                  <a:pt x="6199968" y="1710816"/>
                  <a:pt x="6262957" y="1710816"/>
                </a:cubicBezTo>
                <a:cubicBezTo>
                  <a:pt x="6262957" y="1710816"/>
                  <a:pt x="6262957" y="1710816"/>
                  <a:pt x="6262957" y="2035428"/>
                </a:cubicBezTo>
                <a:cubicBezTo>
                  <a:pt x="6262957" y="2163920"/>
                  <a:pt x="6190969" y="2231547"/>
                  <a:pt x="6076239" y="2231547"/>
                </a:cubicBezTo>
                <a:cubicBezTo>
                  <a:pt x="5961508" y="2231547"/>
                  <a:pt x="5889520" y="2163920"/>
                  <a:pt x="5889520" y="2035428"/>
                </a:cubicBezTo>
                <a:cubicBezTo>
                  <a:pt x="5889520" y="2035428"/>
                  <a:pt x="5889520" y="2035428"/>
                  <a:pt x="5889520" y="1710816"/>
                </a:cubicBezTo>
                <a:close/>
                <a:moveTo>
                  <a:pt x="4958174" y="1710816"/>
                </a:moveTo>
                <a:cubicBezTo>
                  <a:pt x="4958174" y="1710816"/>
                  <a:pt x="4958174" y="1710816"/>
                  <a:pt x="5158391" y="1710816"/>
                </a:cubicBezTo>
                <a:cubicBezTo>
                  <a:pt x="5219131" y="1710816"/>
                  <a:pt x="5259624" y="1726596"/>
                  <a:pt x="5288869" y="1755901"/>
                </a:cubicBezTo>
                <a:cubicBezTo>
                  <a:pt x="5313615" y="1782952"/>
                  <a:pt x="5329363" y="1814512"/>
                  <a:pt x="5329363" y="1859597"/>
                </a:cubicBezTo>
                <a:cubicBezTo>
                  <a:pt x="5329363" y="1904682"/>
                  <a:pt x="5313615" y="1936241"/>
                  <a:pt x="5288869" y="1961038"/>
                </a:cubicBezTo>
                <a:cubicBezTo>
                  <a:pt x="5275372" y="1976817"/>
                  <a:pt x="5252875" y="1990343"/>
                  <a:pt x="5228130" y="1997106"/>
                </a:cubicBezTo>
                <a:cubicBezTo>
                  <a:pt x="5228130" y="1997106"/>
                  <a:pt x="5228130" y="1997106"/>
                  <a:pt x="5331612" y="2222531"/>
                </a:cubicBezTo>
                <a:lnTo>
                  <a:pt x="5259624" y="2222531"/>
                </a:lnTo>
                <a:cubicBezTo>
                  <a:pt x="5259624" y="2222531"/>
                  <a:pt x="5259624" y="2222531"/>
                  <a:pt x="5162890" y="2010631"/>
                </a:cubicBezTo>
                <a:cubicBezTo>
                  <a:pt x="5162890" y="2010631"/>
                  <a:pt x="5162890" y="2010631"/>
                  <a:pt x="5021164" y="2010631"/>
                </a:cubicBezTo>
                <a:cubicBezTo>
                  <a:pt x="5021164" y="2010631"/>
                  <a:pt x="5021164" y="2010631"/>
                  <a:pt x="5021164" y="2222531"/>
                </a:cubicBezTo>
                <a:cubicBezTo>
                  <a:pt x="5021164" y="2222531"/>
                  <a:pt x="5021164" y="2222531"/>
                  <a:pt x="4958174" y="2222531"/>
                </a:cubicBezTo>
                <a:cubicBezTo>
                  <a:pt x="4958174" y="2222531"/>
                  <a:pt x="4958174" y="2222531"/>
                  <a:pt x="4958174" y="1710816"/>
                </a:cubicBezTo>
                <a:close/>
                <a:moveTo>
                  <a:pt x="3309199" y="1710816"/>
                </a:moveTo>
                <a:cubicBezTo>
                  <a:pt x="3309199" y="1710816"/>
                  <a:pt x="3309199" y="1710816"/>
                  <a:pt x="3381187" y="1710816"/>
                </a:cubicBezTo>
                <a:cubicBezTo>
                  <a:pt x="3381187" y="1710816"/>
                  <a:pt x="3381187" y="1710816"/>
                  <a:pt x="3633145" y="2123344"/>
                </a:cubicBezTo>
                <a:cubicBezTo>
                  <a:pt x="3633145" y="2123344"/>
                  <a:pt x="3633145" y="2123344"/>
                  <a:pt x="3633145" y="1710816"/>
                </a:cubicBezTo>
                <a:cubicBezTo>
                  <a:pt x="3633145" y="1710816"/>
                  <a:pt x="3633145" y="1710816"/>
                  <a:pt x="3693885" y="1710816"/>
                </a:cubicBezTo>
                <a:cubicBezTo>
                  <a:pt x="3693885" y="1710816"/>
                  <a:pt x="3693885" y="1710816"/>
                  <a:pt x="3693885" y="2222531"/>
                </a:cubicBezTo>
                <a:lnTo>
                  <a:pt x="3621897" y="2222531"/>
                </a:lnTo>
                <a:cubicBezTo>
                  <a:pt x="3621897" y="2222531"/>
                  <a:pt x="3621897" y="2222531"/>
                  <a:pt x="3372188" y="1810003"/>
                </a:cubicBezTo>
                <a:cubicBezTo>
                  <a:pt x="3372188" y="1810003"/>
                  <a:pt x="3372188" y="1810003"/>
                  <a:pt x="3372188" y="2222531"/>
                </a:cubicBezTo>
                <a:cubicBezTo>
                  <a:pt x="3372188" y="2222531"/>
                  <a:pt x="3372188" y="2222531"/>
                  <a:pt x="3309199" y="2222531"/>
                </a:cubicBezTo>
                <a:cubicBezTo>
                  <a:pt x="3309199" y="2222531"/>
                  <a:pt x="3309199" y="2222531"/>
                  <a:pt x="3309199" y="1710816"/>
                </a:cubicBezTo>
                <a:close/>
                <a:moveTo>
                  <a:pt x="3106732" y="1710816"/>
                </a:moveTo>
                <a:cubicBezTo>
                  <a:pt x="3106732" y="1710816"/>
                  <a:pt x="3106732" y="1710816"/>
                  <a:pt x="3171971" y="1710816"/>
                </a:cubicBezTo>
                <a:lnTo>
                  <a:pt x="3171971" y="2222531"/>
                </a:lnTo>
                <a:cubicBezTo>
                  <a:pt x="3171971" y="2222531"/>
                  <a:pt x="3171971" y="2222531"/>
                  <a:pt x="3106732" y="2222531"/>
                </a:cubicBezTo>
                <a:cubicBezTo>
                  <a:pt x="3106732" y="2222531"/>
                  <a:pt x="3106732" y="2222531"/>
                  <a:pt x="3106732" y="1710816"/>
                </a:cubicBezTo>
                <a:close/>
                <a:moveTo>
                  <a:pt x="2663557" y="1710816"/>
                </a:moveTo>
                <a:cubicBezTo>
                  <a:pt x="2663557" y="1710816"/>
                  <a:pt x="2663557" y="1710816"/>
                  <a:pt x="3032495" y="1710816"/>
                </a:cubicBezTo>
                <a:cubicBezTo>
                  <a:pt x="3032495" y="1710816"/>
                  <a:pt x="3032495" y="1710816"/>
                  <a:pt x="3032495" y="1769427"/>
                </a:cubicBezTo>
                <a:lnTo>
                  <a:pt x="2879521" y="1769427"/>
                </a:lnTo>
                <a:cubicBezTo>
                  <a:pt x="2879521" y="1769427"/>
                  <a:pt x="2879521" y="1769427"/>
                  <a:pt x="2879521" y="2222531"/>
                </a:cubicBezTo>
                <a:cubicBezTo>
                  <a:pt x="2879521" y="2222531"/>
                  <a:pt x="2879521" y="2222531"/>
                  <a:pt x="2814282" y="2222531"/>
                </a:cubicBezTo>
                <a:cubicBezTo>
                  <a:pt x="2814282" y="2222531"/>
                  <a:pt x="2814282" y="2222531"/>
                  <a:pt x="2814282" y="1769427"/>
                </a:cubicBezTo>
                <a:cubicBezTo>
                  <a:pt x="2814282" y="1769427"/>
                  <a:pt x="2814282" y="1769427"/>
                  <a:pt x="2663557" y="1769427"/>
                </a:cubicBezTo>
                <a:cubicBezTo>
                  <a:pt x="2663557" y="1769427"/>
                  <a:pt x="2663557" y="1769427"/>
                  <a:pt x="2663557" y="1710816"/>
                </a:cubicBezTo>
                <a:close/>
                <a:moveTo>
                  <a:pt x="2416099" y="1710816"/>
                </a:moveTo>
                <a:cubicBezTo>
                  <a:pt x="2416099" y="1710816"/>
                  <a:pt x="2416099" y="1710816"/>
                  <a:pt x="2481338" y="1710816"/>
                </a:cubicBezTo>
                <a:cubicBezTo>
                  <a:pt x="2481338" y="1710816"/>
                  <a:pt x="2481338" y="1710816"/>
                  <a:pt x="2481338" y="2163920"/>
                </a:cubicBezTo>
                <a:cubicBezTo>
                  <a:pt x="2481338" y="2163920"/>
                  <a:pt x="2481338" y="2163920"/>
                  <a:pt x="2726547" y="2163920"/>
                </a:cubicBezTo>
                <a:cubicBezTo>
                  <a:pt x="2726547" y="2163920"/>
                  <a:pt x="2726547" y="2163920"/>
                  <a:pt x="2726547" y="2222531"/>
                </a:cubicBezTo>
                <a:lnTo>
                  <a:pt x="2416099" y="2222531"/>
                </a:lnTo>
                <a:cubicBezTo>
                  <a:pt x="2416099" y="2222531"/>
                  <a:pt x="2416099" y="2222531"/>
                  <a:pt x="2416099" y="1710816"/>
                </a:cubicBezTo>
                <a:close/>
                <a:moveTo>
                  <a:pt x="1918931" y="1710816"/>
                </a:moveTo>
                <a:cubicBezTo>
                  <a:pt x="1918931" y="1710816"/>
                  <a:pt x="1918931" y="1710816"/>
                  <a:pt x="1984171" y="1710816"/>
                </a:cubicBezTo>
                <a:cubicBezTo>
                  <a:pt x="1984171" y="1710816"/>
                  <a:pt x="1984171" y="1710816"/>
                  <a:pt x="1984171" y="2035428"/>
                </a:cubicBezTo>
                <a:cubicBezTo>
                  <a:pt x="1984171" y="2118835"/>
                  <a:pt x="2017916" y="2172937"/>
                  <a:pt x="2105651" y="2172937"/>
                </a:cubicBezTo>
                <a:cubicBezTo>
                  <a:pt x="2195636" y="2172937"/>
                  <a:pt x="2229380" y="2118835"/>
                  <a:pt x="2229380" y="2035428"/>
                </a:cubicBezTo>
                <a:cubicBezTo>
                  <a:pt x="2229380" y="2035428"/>
                  <a:pt x="2229380" y="2035428"/>
                  <a:pt x="2229380" y="1710816"/>
                </a:cubicBezTo>
                <a:cubicBezTo>
                  <a:pt x="2229380" y="1710816"/>
                  <a:pt x="2229380" y="1710816"/>
                  <a:pt x="2292369" y="1710816"/>
                </a:cubicBezTo>
                <a:cubicBezTo>
                  <a:pt x="2292369" y="1710816"/>
                  <a:pt x="2292369" y="1710816"/>
                  <a:pt x="2292369" y="2035428"/>
                </a:cubicBezTo>
                <a:cubicBezTo>
                  <a:pt x="2292369" y="2163920"/>
                  <a:pt x="2220382" y="2231547"/>
                  <a:pt x="2105651" y="2231547"/>
                </a:cubicBezTo>
                <a:cubicBezTo>
                  <a:pt x="1990920" y="2231547"/>
                  <a:pt x="1918931" y="2163920"/>
                  <a:pt x="1918931" y="2035428"/>
                </a:cubicBezTo>
                <a:cubicBezTo>
                  <a:pt x="1918931" y="2035428"/>
                  <a:pt x="1918931" y="2035428"/>
                  <a:pt x="1918931" y="1710816"/>
                </a:cubicBezTo>
                <a:close/>
                <a:moveTo>
                  <a:pt x="960591" y="1710816"/>
                </a:moveTo>
                <a:cubicBezTo>
                  <a:pt x="960591" y="1710816"/>
                  <a:pt x="960591" y="1710816"/>
                  <a:pt x="1032578" y="1710816"/>
                </a:cubicBezTo>
                <a:cubicBezTo>
                  <a:pt x="1032578" y="1710816"/>
                  <a:pt x="1032578" y="1710816"/>
                  <a:pt x="1284537" y="2123344"/>
                </a:cubicBezTo>
                <a:cubicBezTo>
                  <a:pt x="1284537" y="2123344"/>
                  <a:pt x="1284537" y="2123344"/>
                  <a:pt x="1284537" y="1710816"/>
                </a:cubicBezTo>
                <a:cubicBezTo>
                  <a:pt x="1284537" y="1710816"/>
                  <a:pt x="1284537" y="1710816"/>
                  <a:pt x="1345276" y="1710816"/>
                </a:cubicBezTo>
                <a:cubicBezTo>
                  <a:pt x="1345276" y="1710816"/>
                  <a:pt x="1345276" y="1710816"/>
                  <a:pt x="1345276" y="2222531"/>
                </a:cubicBezTo>
                <a:lnTo>
                  <a:pt x="1273289" y="2222531"/>
                </a:lnTo>
                <a:cubicBezTo>
                  <a:pt x="1273289" y="2222531"/>
                  <a:pt x="1273289" y="2222531"/>
                  <a:pt x="1023580" y="1810003"/>
                </a:cubicBezTo>
                <a:cubicBezTo>
                  <a:pt x="1023580" y="1810003"/>
                  <a:pt x="1023580" y="1810003"/>
                  <a:pt x="1023580" y="2222531"/>
                </a:cubicBezTo>
                <a:cubicBezTo>
                  <a:pt x="1023580" y="2222531"/>
                  <a:pt x="1023580" y="2222531"/>
                  <a:pt x="960591" y="2222531"/>
                </a:cubicBezTo>
                <a:cubicBezTo>
                  <a:pt x="960591" y="2222531"/>
                  <a:pt x="960591" y="2222531"/>
                  <a:pt x="960591" y="1710816"/>
                </a:cubicBezTo>
                <a:close/>
                <a:moveTo>
                  <a:pt x="5597068" y="1701799"/>
                </a:moveTo>
                <a:cubicBezTo>
                  <a:pt x="5648810" y="1701799"/>
                  <a:pt x="5698301" y="1719833"/>
                  <a:pt x="5736545" y="1755901"/>
                </a:cubicBezTo>
                <a:cubicBezTo>
                  <a:pt x="5790536" y="1810003"/>
                  <a:pt x="5801784" y="1884393"/>
                  <a:pt x="5801784" y="1967800"/>
                </a:cubicBezTo>
                <a:cubicBezTo>
                  <a:pt x="5801784" y="2048953"/>
                  <a:pt x="5790536" y="2123344"/>
                  <a:pt x="5736545" y="2177446"/>
                </a:cubicBezTo>
                <a:cubicBezTo>
                  <a:pt x="5698301" y="2213514"/>
                  <a:pt x="5648810" y="2233802"/>
                  <a:pt x="5597068" y="2233802"/>
                </a:cubicBezTo>
                <a:cubicBezTo>
                  <a:pt x="5547576" y="2233802"/>
                  <a:pt x="5495835" y="2213514"/>
                  <a:pt x="5459841" y="2177446"/>
                </a:cubicBezTo>
                <a:cubicBezTo>
                  <a:pt x="5403600" y="2123344"/>
                  <a:pt x="5394602" y="2048953"/>
                  <a:pt x="5394602" y="1967800"/>
                </a:cubicBezTo>
                <a:cubicBezTo>
                  <a:pt x="5394602" y="1884393"/>
                  <a:pt x="5403600" y="1810003"/>
                  <a:pt x="5459841" y="1755901"/>
                </a:cubicBezTo>
                <a:cubicBezTo>
                  <a:pt x="5495835" y="1719833"/>
                  <a:pt x="5547576" y="1701799"/>
                  <a:pt x="5597068" y="1701799"/>
                </a:cubicBezTo>
                <a:close/>
                <a:moveTo>
                  <a:pt x="4645477" y="1701799"/>
                </a:moveTo>
                <a:cubicBezTo>
                  <a:pt x="4701717" y="1701799"/>
                  <a:pt x="4755708" y="1722087"/>
                  <a:pt x="4791702" y="1758155"/>
                </a:cubicBezTo>
                <a:cubicBezTo>
                  <a:pt x="4816448" y="1785206"/>
                  <a:pt x="4832195" y="1816766"/>
                  <a:pt x="4834445" y="1859597"/>
                </a:cubicBezTo>
                <a:cubicBezTo>
                  <a:pt x="4834445" y="1859597"/>
                  <a:pt x="4834445" y="1859597"/>
                  <a:pt x="4766956" y="1859597"/>
                </a:cubicBezTo>
                <a:cubicBezTo>
                  <a:pt x="4764707" y="1834800"/>
                  <a:pt x="4757958" y="1819020"/>
                  <a:pt x="4744460" y="1803240"/>
                </a:cubicBezTo>
                <a:cubicBezTo>
                  <a:pt x="4721964" y="1773935"/>
                  <a:pt x="4685970" y="1762664"/>
                  <a:pt x="4645477" y="1762664"/>
                </a:cubicBezTo>
                <a:cubicBezTo>
                  <a:pt x="4609482" y="1762664"/>
                  <a:pt x="4575738" y="1776189"/>
                  <a:pt x="4550992" y="1800986"/>
                </a:cubicBezTo>
                <a:cubicBezTo>
                  <a:pt x="4510499" y="1843817"/>
                  <a:pt x="4506000" y="1913699"/>
                  <a:pt x="4506000" y="1967800"/>
                </a:cubicBezTo>
                <a:cubicBezTo>
                  <a:pt x="4506000" y="2017394"/>
                  <a:pt x="4510499" y="2091784"/>
                  <a:pt x="4553242" y="2134615"/>
                </a:cubicBezTo>
                <a:cubicBezTo>
                  <a:pt x="4577988" y="2161666"/>
                  <a:pt x="4609482" y="2172937"/>
                  <a:pt x="4645477" y="2172937"/>
                </a:cubicBezTo>
                <a:cubicBezTo>
                  <a:pt x="4681471" y="2172937"/>
                  <a:pt x="4715215" y="2159412"/>
                  <a:pt x="4737711" y="2136869"/>
                </a:cubicBezTo>
                <a:cubicBezTo>
                  <a:pt x="4771456" y="2103055"/>
                  <a:pt x="4780454" y="2053462"/>
                  <a:pt x="4780454" y="2006123"/>
                </a:cubicBezTo>
                <a:cubicBezTo>
                  <a:pt x="4780454" y="2006123"/>
                  <a:pt x="4780454" y="2006123"/>
                  <a:pt x="4645477" y="2006123"/>
                </a:cubicBezTo>
                <a:cubicBezTo>
                  <a:pt x="4645477" y="2006123"/>
                  <a:pt x="4645477" y="2006123"/>
                  <a:pt x="4645477" y="1947512"/>
                </a:cubicBezTo>
                <a:cubicBezTo>
                  <a:pt x="4645477" y="1947512"/>
                  <a:pt x="4645477" y="1947512"/>
                  <a:pt x="4838944" y="1947512"/>
                </a:cubicBezTo>
                <a:cubicBezTo>
                  <a:pt x="4838944" y="1947512"/>
                  <a:pt x="4838944" y="1947512"/>
                  <a:pt x="4838944" y="2222531"/>
                </a:cubicBezTo>
                <a:lnTo>
                  <a:pt x="4793952" y="2222531"/>
                </a:lnTo>
                <a:cubicBezTo>
                  <a:pt x="4793952" y="2222531"/>
                  <a:pt x="4793952" y="2222531"/>
                  <a:pt x="4782704" y="2161666"/>
                </a:cubicBezTo>
                <a:cubicBezTo>
                  <a:pt x="4757958" y="2204497"/>
                  <a:pt x="4701717" y="2233802"/>
                  <a:pt x="4645477" y="2233802"/>
                </a:cubicBezTo>
                <a:cubicBezTo>
                  <a:pt x="4593735" y="2233802"/>
                  <a:pt x="4544243" y="2215768"/>
                  <a:pt x="4506000" y="2179700"/>
                </a:cubicBezTo>
                <a:cubicBezTo>
                  <a:pt x="4454258" y="2130106"/>
                  <a:pt x="4440761" y="2057970"/>
                  <a:pt x="4440761" y="1967800"/>
                </a:cubicBezTo>
                <a:cubicBezTo>
                  <a:pt x="4440761" y="1884393"/>
                  <a:pt x="4452009" y="1810003"/>
                  <a:pt x="4506000" y="1755901"/>
                </a:cubicBezTo>
                <a:cubicBezTo>
                  <a:pt x="4544243" y="1719833"/>
                  <a:pt x="4593735" y="1701799"/>
                  <a:pt x="4645477" y="1701799"/>
                </a:cubicBezTo>
                <a:close/>
                <a:moveTo>
                  <a:pt x="4002083" y="1701799"/>
                </a:moveTo>
                <a:cubicBezTo>
                  <a:pt x="4060574" y="1701799"/>
                  <a:pt x="4112315" y="1722087"/>
                  <a:pt x="4148309" y="1758155"/>
                </a:cubicBezTo>
                <a:cubicBezTo>
                  <a:pt x="4173055" y="1785206"/>
                  <a:pt x="4191052" y="1816766"/>
                  <a:pt x="4193302" y="1859597"/>
                </a:cubicBezTo>
                <a:cubicBezTo>
                  <a:pt x="4193302" y="1859597"/>
                  <a:pt x="4193302" y="1859597"/>
                  <a:pt x="4125813" y="1859597"/>
                </a:cubicBezTo>
                <a:cubicBezTo>
                  <a:pt x="4123563" y="1834800"/>
                  <a:pt x="4114565" y="1819020"/>
                  <a:pt x="4103317" y="1803240"/>
                </a:cubicBezTo>
                <a:cubicBezTo>
                  <a:pt x="4078571" y="1773935"/>
                  <a:pt x="4044826" y="1762664"/>
                  <a:pt x="4002083" y="1762664"/>
                </a:cubicBezTo>
                <a:cubicBezTo>
                  <a:pt x="3968339" y="1762664"/>
                  <a:pt x="3934595" y="1776189"/>
                  <a:pt x="3909849" y="1800986"/>
                </a:cubicBezTo>
                <a:cubicBezTo>
                  <a:pt x="3867106" y="1843817"/>
                  <a:pt x="3864856" y="1913699"/>
                  <a:pt x="3864856" y="1967800"/>
                </a:cubicBezTo>
                <a:cubicBezTo>
                  <a:pt x="3864856" y="2017394"/>
                  <a:pt x="3867106" y="2091784"/>
                  <a:pt x="3909849" y="2134615"/>
                </a:cubicBezTo>
                <a:cubicBezTo>
                  <a:pt x="3934595" y="2161666"/>
                  <a:pt x="3968339" y="2172937"/>
                  <a:pt x="4002083" y="2172937"/>
                </a:cubicBezTo>
                <a:cubicBezTo>
                  <a:pt x="4038077" y="2172937"/>
                  <a:pt x="4071822" y="2159412"/>
                  <a:pt x="4094318" y="2136869"/>
                </a:cubicBezTo>
                <a:cubicBezTo>
                  <a:pt x="4130312" y="2103055"/>
                  <a:pt x="4139311" y="2053462"/>
                  <a:pt x="4139311" y="2006123"/>
                </a:cubicBezTo>
                <a:cubicBezTo>
                  <a:pt x="4139311" y="2006123"/>
                  <a:pt x="4139311" y="2006123"/>
                  <a:pt x="4002083" y="2006123"/>
                </a:cubicBezTo>
                <a:cubicBezTo>
                  <a:pt x="4002083" y="2006123"/>
                  <a:pt x="4002083" y="2006123"/>
                  <a:pt x="4002083" y="1947512"/>
                </a:cubicBezTo>
                <a:cubicBezTo>
                  <a:pt x="4002083" y="1947512"/>
                  <a:pt x="4002083" y="1947512"/>
                  <a:pt x="4197801" y="1947512"/>
                </a:cubicBezTo>
                <a:cubicBezTo>
                  <a:pt x="4197801" y="1947512"/>
                  <a:pt x="4197801" y="1947512"/>
                  <a:pt x="4197801" y="2222531"/>
                </a:cubicBezTo>
                <a:lnTo>
                  <a:pt x="4152808" y="2222531"/>
                </a:lnTo>
                <a:cubicBezTo>
                  <a:pt x="4152808" y="2222531"/>
                  <a:pt x="4152808" y="2222531"/>
                  <a:pt x="4141560" y="2161666"/>
                </a:cubicBezTo>
                <a:cubicBezTo>
                  <a:pt x="4116814" y="2204497"/>
                  <a:pt x="4060574" y="2233802"/>
                  <a:pt x="4002083" y="2233802"/>
                </a:cubicBezTo>
                <a:cubicBezTo>
                  <a:pt x="3950342" y="2233802"/>
                  <a:pt x="3900850" y="2215768"/>
                  <a:pt x="3864856" y="2179700"/>
                </a:cubicBezTo>
                <a:cubicBezTo>
                  <a:pt x="3813115" y="2130106"/>
                  <a:pt x="3797367" y="2057970"/>
                  <a:pt x="3797367" y="1967800"/>
                </a:cubicBezTo>
                <a:cubicBezTo>
                  <a:pt x="3797367" y="1884393"/>
                  <a:pt x="3808616" y="1810003"/>
                  <a:pt x="3864856" y="1755901"/>
                </a:cubicBezTo>
                <a:cubicBezTo>
                  <a:pt x="3900850" y="1719833"/>
                  <a:pt x="3950342" y="1701799"/>
                  <a:pt x="4002083" y="1701799"/>
                </a:cubicBezTo>
                <a:close/>
                <a:moveTo>
                  <a:pt x="1642228" y="1701799"/>
                </a:moveTo>
                <a:cubicBezTo>
                  <a:pt x="1691719" y="1701799"/>
                  <a:pt x="1741211" y="1717579"/>
                  <a:pt x="1774955" y="1749138"/>
                </a:cubicBezTo>
                <a:cubicBezTo>
                  <a:pt x="1806450" y="1780698"/>
                  <a:pt x="1822198" y="1816766"/>
                  <a:pt x="1824447" y="1859597"/>
                </a:cubicBezTo>
                <a:cubicBezTo>
                  <a:pt x="1824447" y="1859597"/>
                  <a:pt x="1824447" y="1859597"/>
                  <a:pt x="1756958" y="1859597"/>
                </a:cubicBezTo>
                <a:cubicBezTo>
                  <a:pt x="1754708" y="1834800"/>
                  <a:pt x="1745710" y="1812257"/>
                  <a:pt x="1732212" y="1796478"/>
                </a:cubicBezTo>
                <a:cubicBezTo>
                  <a:pt x="1711966" y="1773935"/>
                  <a:pt x="1680471" y="1760410"/>
                  <a:pt x="1639978" y="1760410"/>
                </a:cubicBezTo>
                <a:cubicBezTo>
                  <a:pt x="1603983" y="1760410"/>
                  <a:pt x="1572489" y="1769427"/>
                  <a:pt x="1549993" y="1796478"/>
                </a:cubicBezTo>
                <a:cubicBezTo>
                  <a:pt x="1536494" y="1810003"/>
                  <a:pt x="1529746" y="1828037"/>
                  <a:pt x="1529746" y="1850580"/>
                </a:cubicBezTo>
                <a:cubicBezTo>
                  <a:pt x="1529746" y="1897919"/>
                  <a:pt x="1567989" y="1918207"/>
                  <a:pt x="1606234" y="1922716"/>
                </a:cubicBezTo>
                <a:cubicBezTo>
                  <a:pt x="1635478" y="1927224"/>
                  <a:pt x="1662474" y="1931733"/>
                  <a:pt x="1691719" y="1936241"/>
                </a:cubicBezTo>
                <a:cubicBezTo>
                  <a:pt x="1774955" y="1949767"/>
                  <a:pt x="1833445" y="2001614"/>
                  <a:pt x="1833445" y="2082767"/>
                </a:cubicBezTo>
                <a:cubicBezTo>
                  <a:pt x="1833445" y="2125598"/>
                  <a:pt x="1815448" y="2157157"/>
                  <a:pt x="1790703" y="2181954"/>
                </a:cubicBezTo>
                <a:cubicBezTo>
                  <a:pt x="1754708" y="2215768"/>
                  <a:pt x="1698468" y="2231547"/>
                  <a:pt x="1644477" y="2231547"/>
                </a:cubicBezTo>
                <a:cubicBezTo>
                  <a:pt x="1581488" y="2231547"/>
                  <a:pt x="1531996" y="2215768"/>
                  <a:pt x="1498251" y="2184208"/>
                </a:cubicBezTo>
                <a:cubicBezTo>
                  <a:pt x="1466757" y="2152649"/>
                  <a:pt x="1444260" y="2109818"/>
                  <a:pt x="1444260" y="2060225"/>
                </a:cubicBezTo>
                <a:cubicBezTo>
                  <a:pt x="1444260" y="2060225"/>
                  <a:pt x="1444260" y="2060225"/>
                  <a:pt x="1509499" y="2060225"/>
                </a:cubicBezTo>
                <a:cubicBezTo>
                  <a:pt x="1509499" y="2091784"/>
                  <a:pt x="1525247" y="2121089"/>
                  <a:pt x="1545494" y="2141378"/>
                </a:cubicBezTo>
                <a:cubicBezTo>
                  <a:pt x="1570239" y="2163920"/>
                  <a:pt x="1608483" y="2172937"/>
                  <a:pt x="1644477" y="2172937"/>
                </a:cubicBezTo>
                <a:cubicBezTo>
                  <a:pt x="1682720" y="2172937"/>
                  <a:pt x="1716465" y="2166174"/>
                  <a:pt x="1738962" y="2143632"/>
                </a:cubicBezTo>
                <a:cubicBezTo>
                  <a:pt x="1754708" y="2130106"/>
                  <a:pt x="1765956" y="2109818"/>
                  <a:pt x="1765956" y="2082767"/>
                </a:cubicBezTo>
                <a:cubicBezTo>
                  <a:pt x="1765956" y="2044445"/>
                  <a:pt x="1741211" y="2010631"/>
                  <a:pt x="1680471" y="2001614"/>
                </a:cubicBezTo>
                <a:cubicBezTo>
                  <a:pt x="1680471" y="2001614"/>
                  <a:pt x="1680471" y="2001614"/>
                  <a:pt x="1599484" y="1988089"/>
                </a:cubicBezTo>
                <a:cubicBezTo>
                  <a:pt x="1522997" y="1976817"/>
                  <a:pt x="1462257" y="1933987"/>
                  <a:pt x="1462257" y="1852834"/>
                </a:cubicBezTo>
                <a:cubicBezTo>
                  <a:pt x="1462257" y="1814512"/>
                  <a:pt x="1480254" y="1778444"/>
                  <a:pt x="1507249" y="1751393"/>
                </a:cubicBezTo>
                <a:cubicBezTo>
                  <a:pt x="1543244" y="1717579"/>
                  <a:pt x="1588236" y="1701799"/>
                  <a:pt x="1642228" y="1701799"/>
                </a:cubicBezTo>
                <a:close/>
                <a:moveTo>
                  <a:pt x="654642" y="1701799"/>
                </a:moveTo>
                <a:cubicBezTo>
                  <a:pt x="704133" y="1701799"/>
                  <a:pt x="755874" y="1719833"/>
                  <a:pt x="791868" y="1755901"/>
                </a:cubicBezTo>
                <a:cubicBezTo>
                  <a:pt x="848110" y="1810003"/>
                  <a:pt x="857108" y="1884393"/>
                  <a:pt x="857108" y="1967800"/>
                </a:cubicBezTo>
                <a:cubicBezTo>
                  <a:pt x="857108" y="2048953"/>
                  <a:pt x="848110" y="2123344"/>
                  <a:pt x="791868" y="2177446"/>
                </a:cubicBezTo>
                <a:cubicBezTo>
                  <a:pt x="755874" y="2213514"/>
                  <a:pt x="704133" y="2233802"/>
                  <a:pt x="654642" y="2233802"/>
                </a:cubicBezTo>
                <a:cubicBezTo>
                  <a:pt x="602900" y="2233802"/>
                  <a:pt x="553408" y="2213514"/>
                  <a:pt x="515164" y="2177446"/>
                </a:cubicBezTo>
                <a:cubicBezTo>
                  <a:pt x="461173" y="2123344"/>
                  <a:pt x="449925" y="2048953"/>
                  <a:pt x="449925" y="1967800"/>
                </a:cubicBezTo>
                <a:cubicBezTo>
                  <a:pt x="449925" y="1884393"/>
                  <a:pt x="461173" y="1810003"/>
                  <a:pt x="515164" y="1755901"/>
                </a:cubicBezTo>
                <a:cubicBezTo>
                  <a:pt x="553408" y="1719833"/>
                  <a:pt x="602900" y="1701799"/>
                  <a:pt x="654642" y="1701799"/>
                </a:cubicBezTo>
                <a:close/>
                <a:moveTo>
                  <a:pt x="202466" y="1701799"/>
                </a:moveTo>
                <a:cubicBezTo>
                  <a:pt x="258707" y="1701799"/>
                  <a:pt x="308199" y="1722087"/>
                  <a:pt x="339693" y="1753647"/>
                </a:cubicBezTo>
                <a:cubicBezTo>
                  <a:pt x="368939" y="1782952"/>
                  <a:pt x="386936" y="1823529"/>
                  <a:pt x="389185" y="1870868"/>
                </a:cubicBezTo>
                <a:cubicBezTo>
                  <a:pt x="389185" y="1870868"/>
                  <a:pt x="389185" y="1870868"/>
                  <a:pt x="323946" y="1870868"/>
                </a:cubicBezTo>
                <a:cubicBezTo>
                  <a:pt x="321697" y="1841563"/>
                  <a:pt x="312698" y="1819020"/>
                  <a:pt x="294701" y="1798732"/>
                </a:cubicBezTo>
                <a:cubicBezTo>
                  <a:pt x="274454" y="1776189"/>
                  <a:pt x="240710" y="1762664"/>
                  <a:pt x="202466" y="1762664"/>
                </a:cubicBezTo>
                <a:cubicBezTo>
                  <a:pt x="168722" y="1762664"/>
                  <a:pt x="134978" y="1776189"/>
                  <a:pt x="110232" y="1800986"/>
                </a:cubicBezTo>
                <a:cubicBezTo>
                  <a:pt x="67489" y="1843817"/>
                  <a:pt x="67489" y="1913699"/>
                  <a:pt x="67489" y="1967800"/>
                </a:cubicBezTo>
                <a:cubicBezTo>
                  <a:pt x="67489" y="2019648"/>
                  <a:pt x="67489" y="2089530"/>
                  <a:pt x="110232" y="2132361"/>
                </a:cubicBezTo>
                <a:cubicBezTo>
                  <a:pt x="134978" y="2159412"/>
                  <a:pt x="168722" y="2172937"/>
                  <a:pt x="202466" y="2172937"/>
                </a:cubicBezTo>
                <a:cubicBezTo>
                  <a:pt x="240710" y="2172937"/>
                  <a:pt x="276704" y="2154903"/>
                  <a:pt x="296951" y="2132361"/>
                </a:cubicBezTo>
                <a:cubicBezTo>
                  <a:pt x="312698" y="2114327"/>
                  <a:pt x="323946" y="2087276"/>
                  <a:pt x="323946" y="2060225"/>
                </a:cubicBezTo>
                <a:cubicBezTo>
                  <a:pt x="323946" y="2060225"/>
                  <a:pt x="323946" y="2060225"/>
                  <a:pt x="391435" y="2060225"/>
                </a:cubicBezTo>
                <a:cubicBezTo>
                  <a:pt x="389185" y="2107564"/>
                  <a:pt x="368939" y="2148140"/>
                  <a:pt x="339693" y="2177446"/>
                </a:cubicBezTo>
                <a:cubicBezTo>
                  <a:pt x="308199" y="2209005"/>
                  <a:pt x="258707" y="2233802"/>
                  <a:pt x="202466" y="2233802"/>
                </a:cubicBezTo>
                <a:cubicBezTo>
                  <a:pt x="150725" y="2233802"/>
                  <a:pt x="101233" y="2213514"/>
                  <a:pt x="65239" y="2177446"/>
                </a:cubicBezTo>
                <a:cubicBezTo>
                  <a:pt x="8999" y="2123344"/>
                  <a:pt x="0" y="2048953"/>
                  <a:pt x="0" y="1967800"/>
                </a:cubicBezTo>
                <a:cubicBezTo>
                  <a:pt x="0" y="1884393"/>
                  <a:pt x="8999" y="1810003"/>
                  <a:pt x="65239" y="1755901"/>
                </a:cubicBezTo>
                <a:cubicBezTo>
                  <a:pt x="101233" y="1719833"/>
                  <a:pt x="150725" y="1701799"/>
                  <a:pt x="202466" y="1701799"/>
                </a:cubicBezTo>
                <a:close/>
                <a:moveTo>
                  <a:pt x="2227389" y="214047"/>
                </a:moveTo>
                <a:cubicBezTo>
                  <a:pt x="2227389" y="214047"/>
                  <a:pt x="2227389" y="214047"/>
                  <a:pt x="2227389" y="574548"/>
                </a:cubicBezTo>
                <a:cubicBezTo>
                  <a:pt x="2227389" y="574548"/>
                  <a:pt x="2227389" y="574548"/>
                  <a:pt x="2456649" y="574548"/>
                </a:cubicBezTo>
                <a:cubicBezTo>
                  <a:pt x="2584765" y="574548"/>
                  <a:pt x="2654442" y="509207"/>
                  <a:pt x="2654442" y="394298"/>
                </a:cubicBezTo>
                <a:cubicBezTo>
                  <a:pt x="2654442" y="277135"/>
                  <a:pt x="2584765" y="214047"/>
                  <a:pt x="2456649" y="214047"/>
                </a:cubicBezTo>
                <a:cubicBezTo>
                  <a:pt x="2456649" y="214047"/>
                  <a:pt x="2456649" y="214047"/>
                  <a:pt x="2227389" y="214047"/>
                </a:cubicBezTo>
                <a:close/>
                <a:moveTo>
                  <a:pt x="8961436" y="0"/>
                </a:moveTo>
                <a:lnTo>
                  <a:pt x="9905999" y="0"/>
                </a:lnTo>
                <a:lnTo>
                  <a:pt x="9905999" y="225425"/>
                </a:lnTo>
                <a:lnTo>
                  <a:pt x="9555161" y="225425"/>
                </a:lnTo>
                <a:lnTo>
                  <a:pt x="9555161" y="1214437"/>
                </a:lnTo>
                <a:lnTo>
                  <a:pt x="9315449" y="1214437"/>
                </a:lnTo>
                <a:lnTo>
                  <a:pt x="9315449" y="225425"/>
                </a:lnTo>
                <a:lnTo>
                  <a:pt x="8961436" y="225425"/>
                </a:lnTo>
                <a:close/>
                <a:moveTo>
                  <a:pt x="7785099" y="0"/>
                </a:moveTo>
                <a:lnTo>
                  <a:pt x="8035924" y="0"/>
                </a:lnTo>
                <a:lnTo>
                  <a:pt x="8037512" y="3175"/>
                </a:lnTo>
                <a:lnTo>
                  <a:pt x="8523286" y="774700"/>
                </a:lnTo>
                <a:lnTo>
                  <a:pt x="8523286" y="0"/>
                </a:lnTo>
                <a:lnTo>
                  <a:pt x="8759824" y="0"/>
                </a:lnTo>
                <a:lnTo>
                  <a:pt x="8759824" y="1214437"/>
                </a:lnTo>
                <a:lnTo>
                  <a:pt x="8518524" y="1214437"/>
                </a:lnTo>
                <a:lnTo>
                  <a:pt x="8024812" y="425450"/>
                </a:lnTo>
                <a:lnTo>
                  <a:pt x="8024812" y="1214437"/>
                </a:lnTo>
                <a:lnTo>
                  <a:pt x="7785099" y="1214437"/>
                </a:lnTo>
                <a:close/>
                <a:moveTo>
                  <a:pt x="6665911" y="0"/>
                </a:moveTo>
                <a:lnTo>
                  <a:pt x="7535861" y="0"/>
                </a:lnTo>
                <a:lnTo>
                  <a:pt x="7535861" y="220663"/>
                </a:lnTo>
                <a:lnTo>
                  <a:pt x="6905624" y="220663"/>
                </a:lnTo>
                <a:lnTo>
                  <a:pt x="6905624" y="473075"/>
                </a:lnTo>
                <a:lnTo>
                  <a:pt x="7459661" y="473075"/>
                </a:lnTo>
                <a:lnTo>
                  <a:pt x="7459661" y="690562"/>
                </a:lnTo>
                <a:lnTo>
                  <a:pt x="6905624" y="690562"/>
                </a:lnTo>
                <a:lnTo>
                  <a:pt x="6905624" y="993775"/>
                </a:lnTo>
                <a:lnTo>
                  <a:pt x="7535861" y="993775"/>
                </a:lnTo>
                <a:lnTo>
                  <a:pt x="7535861" y="1214437"/>
                </a:lnTo>
                <a:lnTo>
                  <a:pt x="6665911" y="1214437"/>
                </a:lnTo>
                <a:close/>
                <a:moveTo>
                  <a:pt x="5221286" y="0"/>
                </a:moveTo>
                <a:lnTo>
                  <a:pt x="5534024" y="0"/>
                </a:lnTo>
                <a:lnTo>
                  <a:pt x="5835649" y="823912"/>
                </a:lnTo>
                <a:lnTo>
                  <a:pt x="6142037" y="0"/>
                </a:lnTo>
                <a:lnTo>
                  <a:pt x="6438899" y="0"/>
                </a:lnTo>
                <a:lnTo>
                  <a:pt x="6438899" y="1214437"/>
                </a:lnTo>
                <a:lnTo>
                  <a:pt x="6203949" y="1214437"/>
                </a:lnTo>
                <a:lnTo>
                  <a:pt x="6203949" y="419100"/>
                </a:lnTo>
                <a:lnTo>
                  <a:pt x="5916612" y="1196975"/>
                </a:lnTo>
                <a:lnTo>
                  <a:pt x="5740399" y="1196975"/>
                </a:lnTo>
                <a:lnTo>
                  <a:pt x="5454649" y="409575"/>
                </a:lnTo>
                <a:lnTo>
                  <a:pt x="5454649" y="1214437"/>
                </a:lnTo>
                <a:lnTo>
                  <a:pt x="5221286" y="1214437"/>
                </a:lnTo>
                <a:close/>
                <a:moveTo>
                  <a:pt x="4098924" y="0"/>
                </a:moveTo>
                <a:lnTo>
                  <a:pt x="4968874" y="0"/>
                </a:lnTo>
                <a:lnTo>
                  <a:pt x="4968874" y="220663"/>
                </a:lnTo>
                <a:lnTo>
                  <a:pt x="4340224" y="220663"/>
                </a:lnTo>
                <a:lnTo>
                  <a:pt x="4340224" y="473075"/>
                </a:lnTo>
                <a:lnTo>
                  <a:pt x="4895849" y="473075"/>
                </a:lnTo>
                <a:lnTo>
                  <a:pt x="4895849" y="690562"/>
                </a:lnTo>
                <a:lnTo>
                  <a:pt x="4340224" y="690562"/>
                </a:lnTo>
                <a:lnTo>
                  <a:pt x="4340224" y="993775"/>
                </a:lnTo>
                <a:lnTo>
                  <a:pt x="4968874" y="993775"/>
                </a:lnTo>
                <a:lnTo>
                  <a:pt x="4968874" y="1214437"/>
                </a:lnTo>
                <a:lnTo>
                  <a:pt x="4098924" y="1214437"/>
                </a:lnTo>
                <a:close/>
                <a:moveTo>
                  <a:pt x="3079749" y="0"/>
                </a:moveTo>
                <a:lnTo>
                  <a:pt x="3321049" y="0"/>
                </a:lnTo>
                <a:lnTo>
                  <a:pt x="3321049" y="984250"/>
                </a:lnTo>
                <a:lnTo>
                  <a:pt x="3871912" y="984250"/>
                </a:lnTo>
                <a:lnTo>
                  <a:pt x="3871912" y="1214437"/>
                </a:lnTo>
                <a:lnTo>
                  <a:pt x="3079749" y="1214437"/>
                </a:lnTo>
                <a:close/>
                <a:moveTo>
                  <a:pt x="1989138" y="0"/>
                </a:moveTo>
                <a:cubicBezTo>
                  <a:pt x="1989138" y="0"/>
                  <a:pt x="1989138" y="0"/>
                  <a:pt x="2465639" y="0"/>
                </a:cubicBezTo>
                <a:cubicBezTo>
                  <a:pt x="2735357" y="0"/>
                  <a:pt x="2897188" y="146454"/>
                  <a:pt x="2897188" y="392045"/>
                </a:cubicBezTo>
                <a:cubicBezTo>
                  <a:pt x="2897188" y="639889"/>
                  <a:pt x="2735357" y="786342"/>
                  <a:pt x="2465639" y="786342"/>
                </a:cubicBezTo>
                <a:cubicBezTo>
                  <a:pt x="2465639" y="786342"/>
                  <a:pt x="2465639" y="786342"/>
                  <a:pt x="2227389" y="786342"/>
                </a:cubicBezTo>
                <a:cubicBezTo>
                  <a:pt x="2227389" y="786342"/>
                  <a:pt x="2227389" y="786342"/>
                  <a:pt x="2227389" y="1214437"/>
                </a:cubicBezTo>
                <a:cubicBezTo>
                  <a:pt x="2227389" y="1214437"/>
                  <a:pt x="2227389" y="1214437"/>
                  <a:pt x="1989138" y="1214437"/>
                </a:cubicBezTo>
                <a:cubicBezTo>
                  <a:pt x="1989138" y="1214437"/>
                  <a:pt x="1989138" y="1214437"/>
                  <a:pt x="1989138" y="0"/>
                </a:cubicBezTo>
                <a:close/>
                <a:moveTo>
                  <a:pt x="520699" y="0"/>
                </a:moveTo>
                <a:lnTo>
                  <a:pt x="833436" y="0"/>
                </a:lnTo>
                <a:lnTo>
                  <a:pt x="1135061" y="823912"/>
                </a:lnTo>
                <a:lnTo>
                  <a:pt x="1439862" y="0"/>
                </a:lnTo>
                <a:lnTo>
                  <a:pt x="1736724" y="0"/>
                </a:lnTo>
                <a:lnTo>
                  <a:pt x="1736724" y="1214437"/>
                </a:lnTo>
                <a:lnTo>
                  <a:pt x="1503362" y="1214437"/>
                </a:lnTo>
                <a:lnTo>
                  <a:pt x="1503362" y="419100"/>
                </a:lnTo>
                <a:lnTo>
                  <a:pt x="1216024" y="1196975"/>
                </a:lnTo>
                <a:lnTo>
                  <a:pt x="1039812" y="1196975"/>
                </a:lnTo>
                <a:lnTo>
                  <a:pt x="754062" y="409575"/>
                </a:lnTo>
                <a:lnTo>
                  <a:pt x="754062" y="1214437"/>
                </a:lnTo>
                <a:lnTo>
                  <a:pt x="520699" y="1214437"/>
                </a:lnTo>
                <a:close/>
                <a:moveTo>
                  <a:pt x="25400" y="0"/>
                </a:moveTo>
                <a:lnTo>
                  <a:pt x="268288" y="0"/>
                </a:lnTo>
                <a:lnTo>
                  <a:pt x="268288" y="1214437"/>
                </a:lnTo>
                <a:lnTo>
                  <a:pt x="25400" y="1214437"/>
                </a:lnTo>
                <a:close/>
              </a:path>
            </a:pathLst>
          </a:custGeom>
          <a:solidFill>
            <a:srgbClr val="FCFB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>
                <a:solidFill>
                  <a:srgbClr val="1F2023"/>
                </a:solidFill>
              </a:rPr>
              <a:t> </a:t>
            </a:r>
          </a:p>
        </p:txBody>
      </p:sp>
      <p:sp>
        <p:nvSpPr>
          <p:cNvPr id="13" name="Date_GeneralDate" hidden="1">
            <a:extLst>
              <a:ext uri="{FF2B5EF4-FFF2-40B4-BE49-F238E27FC236}">
                <a16:creationId xmlns:a16="http://schemas.microsoft.com/office/drawing/2014/main" id="{3D746332-4FED-48AA-8EA3-E32A610EAB2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251AF0FF-5929-4DC3-9F20-C97609046AB5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:a16="http://schemas.microsoft.com/office/drawing/2014/main" id="{F84058E3-5063-469B-85AD-813BDB17DD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 algn="l">
              <a:defRPr sz="100">
                <a:noFill/>
              </a:defRPr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15" name="Slide Number Placeholder 5" hidden="1">
            <a:extLst>
              <a:ext uri="{FF2B5EF4-FFF2-40B4-BE49-F238E27FC236}">
                <a16:creationId xmlns:a16="http://schemas.microsoft.com/office/drawing/2014/main" id="{41578D3E-544A-47FC-970D-96B403E37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5948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1334" y="1628646"/>
            <a:ext cx="9364662" cy="4689475"/>
          </a:xfrm>
        </p:spPr>
        <p:txBody>
          <a:bodyPr rIns="0"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DA03DEA2-B734-4E1A-989A-B985B71743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B2F81A-A979-4992-A111-276940B6A5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EE1D38-B652-484A-AA0A-9748447612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C71981A8-4E99-413F-87D3-97DDE53F37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97494415-EFA5-4081-B93D-7C7FB5F6E34A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E6A4146-CA24-4116-B69E-80F8FF1B7F2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3684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">
            <a:extLst>
              <a:ext uri="{FF2B5EF4-FFF2-40B4-BE49-F238E27FC236}">
                <a16:creationId xmlns:a16="http://schemas.microsoft.com/office/drawing/2014/main" id="{ED07D2CD-9B04-4C57-A9D6-B77ACEE0EB56}"/>
              </a:ext>
            </a:extLst>
          </p:cNvPr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EEEB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1334" y="1628646"/>
            <a:ext cx="9364662" cy="4689475"/>
          </a:xfrm>
        </p:spPr>
        <p:txBody>
          <a:bodyPr rIns="0"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DA03DEA2-B734-4E1A-989A-B985B71743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B2F81A-A979-4992-A111-276940B6A5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EE1D38-B652-484A-AA0A-9748447612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4" name="Freeform: Shape 21">
            <a:extLst>
              <a:ext uri="{FF2B5EF4-FFF2-40B4-BE49-F238E27FC236}">
                <a16:creationId xmlns:a16="http://schemas.microsoft.com/office/drawing/2014/main" id="{00C678A1-BF2C-44A8-B098-7D1A8D4CF19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5" name="Date_GeneralDate" hidden="1">
            <a:extLst>
              <a:ext uri="{FF2B5EF4-FFF2-40B4-BE49-F238E27FC236}">
                <a16:creationId xmlns:a16="http://schemas.microsoft.com/office/drawing/2014/main" id="{9D0EE7E6-6F87-4154-8F56-AD5EE507B02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B366AF0C-33CD-4BCD-BAC3-0A15BCA89B1A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B7B4E4-0F52-4D12-8AB4-A081882E74F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4108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2257" y="1628777"/>
            <a:ext cx="9364662" cy="4693985"/>
          </a:xfrm>
          <a:prstGeom prst="rect">
            <a:avLst/>
          </a:prstGeom>
        </p:spPr>
        <p:txBody>
          <a:bodyPr vert="horz" lIns="0" tIns="0" rIns="36000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78179" y="6496424"/>
            <a:ext cx="256359" cy="11208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50" spc="0" baseline="0">
                <a:solidFill>
                  <a:srgbClr val="1F2023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876" y="269876"/>
            <a:ext cx="8559232" cy="692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  <a:endParaRPr lang="en-GB" dirty="0"/>
          </a:p>
        </p:txBody>
      </p:sp>
      <p:sp>
        <p:nvSpPr>
          <p:cNvPr id="19" name="AutoShape 3">
            <a:extLst>
              <a:ext uri="{FF2B5EF4-FFF2-40B4-BE49-F238E27FC236}">
                <a16:creationId xmlns:a16="http://schemas.microsoft.com/office/drawing/2014/main" id="{E2867147-DB81-464E-BD80-6F15445ABCC8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2827338" y="1446213"/>
            <a:ext cx="6551612" cy="286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5" name="AutoShape 9">
            <a:extLst>
              <a:ext uri="{FF2B5EF4-FFF2-40B4-BE49-F238E27FC236}">
                <a16:creationId xmlns:a16="http://schemas.microsoft.com/office/drawing/2014/main" id="{6A98865A-4F5A-43E4-A695-43D74ED3534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2474913" y="3278188"/>
            <a:ext cx="9906000" cy="2265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44CFCE70-1EB6-4E62-B436-A8AE9BF44EE3}"/>
              </a:ext>
            </a:extLst>
          </p:cNvPr>
          <p:cNvSpPr/>
          <p:nvPr userDrawn="1">
            <p:custDataLst>
              <p:tags r:id="rId47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sp>
        <p:nvSpPr>
          <p:cNvPr id="4" name="Date_GeneralDate" hidden="1"/>
          <p:cNvSpPr>
            <a:spLocks noGrp="1"/>
          </p:cNvSpPr>
          <p:nvPr>
            <p:ph type="dt" sz="half" idx="2"/>
          </p:nvPr>
        </p:nvSpPr>
        <p:spPr>
          <a:xfrm>
            <a:off x="0" y="6864702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 cap="none" spc="0" baseline="0">
                <a:noFill/>
              </a:defRPr>
            </a:lvl1pPr>
          </a:lstStyle>
          <a:p>
            <a:fld id="{45317630-8701-4B49-BF3D-3DA5BE3CE466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3"/>
          </p:nvPr>
        </p:nvSpPr>
        <p:spPr>
          <a:xfrm>
            <a:off x="0" y="6864702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indent="0" algn="l">
              <a:buFont typeface="Arial" panose="020B0604020202020204" pitchFamily="34" charset="0"/>
              <a:buNone/>
              <a:defRPr sz="100" cap="none" spc="0" baseline="0">
                <a:noFill/>
              </a:defRPr>
            </a:lvl1pPr>
          </a:lstStyle>
          <a:p>
            <a:r>
              <a:rPr lang="en-GB"/>
              <a:t>Foo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729" r:id="rId2"/>
    <p:sldLayoutId id="2147483774" r:id="rId3"/>
    <p:sldLayoutId id="2147483777" r:id="rId4"/>
    <p:sldLayoutId id="2147483770" r:id="rId5"/>
    <p:sldLayoutId id="2147483775" r:id="rId6"/>
    <p:sldLayoutId id="2147483779" r:id="rId7"/>
    <p:sldLayoutId id="2147483748" r:id="rId8"/>
    <p:sldLayoutId id="2147483788" r:id="rId9"/>
    <p:sldLayoutId id="2147483787" r:id="rId10"/>
    <p:sldLayoutId id="2147483754" r:id="rId11"/>
    <p:sldLayoutId id="2147483776" r:id="rId12"/>
    <p:sldLayoutId id="2147483743" r:id="rId13"/>
    <p:sldLayoutId id="2147483756" r:id="rId14"/>
    <p:sldLayoutId id="2147483761" r:id="rId15"/>
    <p:sldLayoutId id="2147483780" r:id="rId16"/>
    <p:sldLayoutId id="2147483781" r:id="rId17"/>
    <p:sldLayoutId id="2147483782" r:id="rId18"/>
    <p:sldLayoutId id="2147483783" r:id="rId19"/>
    <p:sldLayoutId id="2147483791" r:id="rId20"/>
    <p:sldLayoutId id="2147483792" r:id="rId21"/>
    <p:sldLayoutId id="2147483766" r:id="rId22"/>
    <p:sldLayoutId id="2147483769" r:id="rId23"/>
    <p:sldLayoutId id="2147483768" r:id="rId24"/>
    <p:sldLayoutId id="2147483786" r:id="rId25"/>
    <p:sldLayoutId id="2147483789" r:id="rId26"/>
    <p:sldLayoutId id="2147483803" r:id="rId27"/>
    <p:sldLayoutId id="2147483790" r:id="rId28"/>
    <p:sldLayoutId id="2147483804" r:id="rId29"/>
    <p:sldLayoutId id="2147483771" r:id="rId30"/>
    <p:sldLayoutId id="2147483772" r:id="rId31"/>
    <p:sldLayoutId id="2147483785" r:id="rId32"/>
    <p:sldLayoutId id="2147483784" r:id="rId33"/>
    <p:sldLayoutId id="2147483744" r:id="rId34"/>
    <p:sldLayoutId id="2147483763" r:id="rId35"/>
    <p:sldLayoutId id="2147483793" r:id="rId36"/>
    <p:sldLayoutId id="2147483796" r:id="rId37"/>
    <p:sldLayoutId id="2147483794" r:id="rId38"/>
    <p:sldLayoutId id="2147483797" r:id="rId39"/>
    <p:sldLayoutId id="2147483798" r:id="rId40"/>
    <p:sldLayoutId id="2147483795" r:id="rId41"/>
    <p:sldLayoutId id="2147483800" r:id="rId42"/>
    <p:sldLayoutId id="2147483799" r:id="rId43"/>
    <p:sldLayoutId id="2147483802" r:id="rId44"/>
    <p:sldLayoutId id="2147483805" r:id="rId4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2100" kern="1200">
          <a:solidFill>
            <a:srgbClr val="1F2023"/>
          </a:solidFill>
          <a:latin typeface="+mj-lt"/>
          <a:ea typeface="+mj-ea"/>
          <a:cs typeface="+mj-cs"/>
        </a:defRPr>
      </a:lvl1pPr>
    </p:titleStyle>
    <p:bodyStyle>
      <a:lvl1pPr marL="0" indent="0" algn="l" defTabSz="74295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100" kern="1200">
          <a:solidFill>
            <a:srgbClr val="1F2023"/>
          </a:solidFill>
          <a:latin typeface="+mn-lt"/>
          <a:ea typeface="+mn-ea"/>
          <a:cs typeface="+mn-cs"/>
        </a:defRPr>
      </a:lvl1pPr>
      <a:lvl2pPr marL="144000" indent="-144000" algn="l" defTabSz="74295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rgbClr val="1F2023"/>
          </a:solidFill>
          <a:latin typeface="+mn-lt"/>
          <a:ea typeface="+mn-ea"/>
          <a:cs typeface="+mn-cs"/>
        </a:defRPr>
      </a:lvl2pPr>
      <a:lvl3pPr marL="288000" indent="-144000" algn="l" defTabSz="74295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rgbClr val="1F2023"/>
          </a:solidFill>
          <a:latin typeface="+mn-lt"/>
          <a:ea typeface="+mn-ea"/>
          <a:cs typeface="+mn-cs"/>
        </a:defRPr>
      </a:lvl3pPr>
      <a:lvl4pPr marL="432000" indent="-144000" algn="l" defTabSz="74295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b="0" kern="1200">
          <a:solidFill>
            <a:srgbClr val="1F2023"/>
          </a:solidFill>
          <a:latin typeface="+mn-lt"/>
          <a:ea typeface="+mn-ea"/>
          <a:cs typeface="+mn-cs"/>
        </a:defRPr>
      </a:lvl4pPr>
      <a:lvl5pPr marL="0" indent="0" algn="l" defTabSz="74295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100" b="1" kern="1200" cap="none" baseline="0">
          <a:solidFill>
            <a:srgbClr val="1F2023"/>
          </a:solidFill>
          <a:latin typeface="+mn-lt"/>
          <a:ea typeface="+mn-ea"/>
          <a:cs typeface="+mn-cs"/>
        </a:defRPr>
      </a:lvl5pPr>
      <a:lvl6pPr marL="0" indent="0" algn="l" defTabSz="74295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100" b="1" kern="1200" cap="all" baseline="0">
          <a:solidFill>
            <a:srgbClr val="1F2023"/>
          </a:solidFill>
          <a:latin typeface="+mj-lt"/>
          <a:ea typeface="+mn-ea"/>
          <a:cs typeface="+mn-cs"/>
        </a:defRPr>
      </a:lvl6pPr>
      <a:lvl7pPr marL="144000" indent="-144000" algn="l" defTabSz="74295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+mj-lt"/>
        <a:buAutoNum type="arabicPeriod"/>
        <a:defRPr sz="1100" kern="1200" baseline="0">
          <a:solidFill>
            <a:srgbClr val="1F2023"/>
          </a:solidFill>
          <a:latin typeface="+mn-lt"/>
          <a:ea typeface="+mn-ea"/>
          <a:cs typeface="+mn-cs"/>
        </a:defRPr>
      </a:lvl7pPr>
      <a:lvl8pPr marL="144000" indent="-144000" algn="l" defTabSz="74295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+mj-lt"/>
        <a:buAutoNum type="alphaUcPeriod"/>
        <a:defRPr sz="1100" kern="1200">
          <a:solidFill>
            <a:srgbClr val="1F2023"/>
          </a:solidFill>
          <a:latin typeface="+mn-lt"/>
          <a:ea typeface="+mn-ea"/>
          <a:cs typeface="+mn-cs"/>
        </a:defRPr>
      </a:lvl8pPr>
      <a:lvl9pPr marL="0" indent="0" algn="l" defTabSz="742950" rtl="0" eaLnBrk="1" latinLnBrk="0" hangingPunct="1">
        <a:lnSpc>
          <a:spcPct val="8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4800" kern="1200" cap="all" baseline="0">
          <a:solidFill>
            <a:srgbClr val="1F2023"/>
          </a:solidFill>
          <a:latin typeface="Impact" panose="020B080603090205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indent="0" algn="l" defTabSz="74295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kern="1200">
          <a:solidFill>
            <a:srgbClr val="1F2023"/>
          </a:solidFill>
          <a:latin typeface="+mn-lt"/>
          <a:ea typeface="+mn-ea"/>
          <a:cs typeface="+mn-cs"/>
        </a:defRPr>
      </a:lvl1pPr>
      <a:lvl2pPr marL="144000" indent="-144000" algn="l" defTabSz="74295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rgbClr val="1F2023"/>
          </a:solidFill>
          <a:latin typeface="+mn-lt"/>
          <a:ea typeface="+mn-ea"/>
          <a:cs typeface="+mn-cs"/>
        </a:defRPr>
      </a:lvl2pPr>
      <a:lvl3pPr marL="288000" indent="-144000" algn="l" defTabSz="74295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rgbClr val="1F2023"/>
          </a:solidFill>
          <a:latin typeface="+mn-lt"/>
          <a:ea typeface="+mn-ea"/>
          <a:cs typeface="+mn-cs"/>
        </a:defRPr>
      </a:lvl3pPr>
      <a:lvl4pPr marL="432000" indent="-144000" algn="l" defTabSz="74295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b="0" kern="1200">
          <a:solidFill>
            <a:srgbClr val="1F2023"/>
          </a:solidFill>
          <a:latin typeface="+mn-lt"/>
          <a:ea typeface="+mn-ea"/>
          <a:cs typeface="+mn-cs"/>
        </a:defRPr>
      </a:lvl4pPr>
      <a:lvl5pPr marL="0" indent="0" algn="l" defTabSz="74295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1" kern="1200" cap="none" baseline="0">
          <a:solidFill>
            <a:srgbClr val="1F2023"/>
          </a:solidFill>
          <a:latin typeface="+mn-lt"/>
          <a:ea typeface="+mn-ea"/>
          <a:cs typeface="+mn-cs"/>
        </a:defRPr>
      </a:lvl5pPr>
      <a:lvl6pPr marL="0" indent="0" algn="l" defTabSz="74295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1" kern="1200" cap="all" baseline="0">
          <a:solidFill>
            <a:srgbClr val="1F2023"/>
          </a:solidFill>
          <a:latin typeface="+mj-lt"/>
          <a:ea typeface="+mn-ea"/>
          <a:cs typeface="+mn-cs"/>
        </a:defRPr>
      </a:lvl6pPr>
      <a:lvl7pPr marL="144000" indent="-144000" algn="l" defTabSz="74295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+mj-lt"/>
        <a:buAutoNum type="arabicPeriod"/>
        <a:defRPr sz="1000" kern="1200" baseline="0">
          <a:solidFill>
            <a:srgbClr val="1F2023"/>
          </a:solidFill>
          <a:latin typeface="+mn-lt"/>
          <a:ea typeface="+mn-ea"/>
          <a:cs typeface="+mn-cs"/>
        </a:defRPr>
      </a:lvl7pPr>
      <a:lvl8pPr marL="144000" indent="-144000" algn="l" defTabSz="74295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+mj-lt"/>
        <a:buAutoNum type="alphaUcPeriod"/>
        <a:defRPr sz="1000" kern="1200">
          <a:solidFill>
            <a:srgbClr val="1F2023"/>
          </a:solidFill>
          <a:latin typeface="+mn-lt"/>
          <a:ea typeface="+mn-ea"/>
          <a:cs typeface="+mn-cs"/>
        </a:defRPr>
      </a:lvl8pPr>
      <a:lvl9pPr marL="0" indent="0" algn="l" defTabSz="742950" rtl="0" eaLnBrk="1" latinLnBrk="0" hangingPunct="1">
        <a:lnSpc>
          <a:spcPct val="8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4800" kern="1200" cap="all" baseline="0">
          <a:solidFill>
            <a:srgbClr val="1F2023"/>
          </a:solidFill>
          <a:latin typeface="Impact" panose="020B0806030902050204" pitchFamily="34" charset="0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05" userDrawn="1">
          <p15:clr>
            <a:srgbClr val="F26B43"/>
          </p15:clr>
        </p15:guide>
        <p15:guide id="2" pos="6068" userDrawn="1">
          <p15:clr>
            <a:srgbClr val="F26B43"/>
          </p15:clr>
        </p15:guide>
        <p15:guide id="3" orient="horz" pos="1025" userDrawn="1">
          <p15:clr>
            <a:srgbClr val="F26B43"/>
          </p15:clr>
        </p15:guide>
        <p15:guide id="4" orient="horz" pos="3979" userDrawn="1">
          <p15:clr>
            <a:srgbClr val="F26B43"/>
          </p15:clr>
        </p15:guide>
        <p15:guide id="5" pos="170" userDrawn="1">
          <p15:clr>
            <a:srgbClr val="F26B43"/>
          </p15:clr>
        </p15:guide>
        <p15:guide id="6" orient="horz" pos="170" userDrawn="1">
          <p15:clr>
            <a:srgbClr val="F26B43"/>
          </p15:clr>
        </p15:guide>
        <p15:guide id="7" orient="horz" pos="606" userDrawn="1">
          <p15:clr>
            <a:srgbClr val="F26B43"/>
          </p15:clr>
        </p15:guide>
        <p15:guide id="8" pos="30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2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2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9.pn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2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3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3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3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4236679-3867-494F-BF2D-B942882C90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4236679-3867-494F-BF2D-B942882C90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457E33B1-E73F-447A-82B0-B34A7DE0D7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en-GB" sz="6000" noProof="0" dirty="0">
              <a:solidFill>
                <a:srgbClr val="2F363B"/>
              </a:solidFill>
              <a:latin typeface="Impact" panose="020B0806030902050204" pitchFamily="34" charset="0"/>
              <a:ea typeface="+mj-ea"/>
              <a:cs typeface="+mj-cs"/>
              <a:sym typeface="Impact" panose="020B080603090205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DF781C0-F681-4E50-9342-ED522A0A3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150" y="303856"/>
            <a:ext cx="7710300" cy="1779732"/>
          </a:xfrm>
        </p:spPr>
        <p:txBody>
          <a:bodyPr anchor="t" anchorCtr="0"/>
          <a:lstStyle/>
          <a:p>
            <a:r>
              <a:rPr lang="en-GB" dirty="0">
                <a:sym typeface="Arial" panose="020B0604020202020204" pitchFamily="34" charset="0"/>
              </a:rPr>
              <a:t>Software development</a:t>
            </a:r>
            <a:br>
              <a:rPr lang="en-GB" dirty="0">
                <a:sym typeface="Arial" panose="020B0604020202020204" pitchFamily="34" charset="0"/>
              </a:rPr>
            </a:br>
            <a:r>
              <a:rPr lang="en-GB" dirty="0">
                <a:sym typeface="Arial" panose="020B0604020202020204" pitchFamily="34" charset="0"/>
              </a:rPr>
              <a:t>- Breakout projec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5F0230-BAC7-476B-8C0B-EAE76ABAFF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99E2C-DFD5-42D7-B40F-0170EE8AE9A3}" type="datetime1">
              <a:rPr lang="en-GB" smtClean="0"/>
              <a:pPr/>
              <a:t>20/06/2021</a:t>
            </a:fld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7E624E-DA0C-4A8F-9879-09DDB0F5D8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78179" y="6496424"/>
            <a:ext cx="256359" cy="112086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5205E8DB-FB68-4554-975D-0B85ED2C278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097150" y="1840696"/>
            <a:ext cx="7710300" cy="1813479"/>
          </a:xfrm>
        </p:spPr>
        <p:txBody>
          <a:bodyPr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>
                <a:sym typeface="Arial" panose="020B0604020202020204" pitchFamily="34" charset="0"/>
              </a:rPr>
              <a:t>Level loading with an observer patter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>
                <a:sym typeface="Arial" panose="020B0604020202020204" pitchFamily="34" charset="0"/>
              </a:rPr>
              <a:t>Switching between game stat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>
                <a:sym typeface="Arial" panose="020B0604020202020204" pitchFamily="34" charset="0"/>
              </a:rPr>
              <a:t>Powering up the player with a strategy patter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>
                <a:sym typeface="Arial" panose="020B0604020202020204" pitchFamily="34" charset="0"/>
              </a:rPr>
              <a:t>Testing the projec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>
                <a:sym typeface="Arial" panose="020B0604020202020204" pitchFamily="34" charset="0"/>
              </a:rPr>
              <a:t>The development process</a:t>
            </a:r>
          </a:p>
          <a:p>
            <a:endParaRPr lang="en-GB" dirty="0">
              <a:sym typeface="Arial" panose="020B0604020202020204" pitchFamily="34" charset="0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DBC418D-58C8-4F47-BFD4-0B1D9C80404F}"/>
              </a:ext>
            </a:extLst>
          </p:cNvPr>
          <p:cNvGrpSpPr/>
          <p:nvPr/>
        </p:nvGrpSpPr>
        <p:grpSpPr>
          <a:xfrm>
            <a:off x="1097150" y="3600270"/>
            <a:ext cx="3397950" cy="2233846"/>
            <a:chOff x="10315765" y="2524125"/>
            <a:chExt cx="2744153" cy="1804035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4E887483-EB5A-49FF-B1E3-2D67BE50EA71}"/>
                </a:ext>
              </a:extLst>
            </p:cNvPr>
            <p:cNvGrpSpPr/>
            <p:nvPr/>
          </p:nvGrpSpPr>
          <p:grpSpPr>
            <a:xfrm>
              <a:off x="10315765" y="2566035"/>
              <a:ext cx="2718435" cy="1762125"/>
              <a:chOff x="10315765" y="2566035"/>
              <a:chExt cx="2718435" cy="1762125"/>
            </a:xfrm>
          </p:grpSpPr>
          <p:sp>
            <p:nvSpPr>
              <p:cNvPr id="5" name="Freeform: Shape 4">
                <a:extLst>
                  <a:ext uri="{FF2B5EF4-FFF2-40B4-BE49-F238E27FC236}">
                    <a16:creationId xmlns:a16="http://schemas.microsoft.com/office/drawing/2014/main" id="{619B50DC-FD32-4D99-A756-C260B42F882F}"/>
                  </a:ext>
                </a:extLst>
              </p:cNvPr>
              <p:cNvSpPr/>
              <p:nvPr/>
            </p:nvSpPr>
            <p:spPr>
              <a:xfrm>
                <a:off x="12615100" y="3715703"/>
                <a:ext cx="276225" cy="542925"/>
              </a:xfrm>
              <a:custGeom>
                <a:avLst/>
                <a:gdLst>
                  <a:gd name="connsiteX0" fmla="*/ 0 w 276225"/>
                  <a:gd name="connsiteY0" fmla="*/ 0 h 542925"/>
                  <a:gd name="connsiteX1" fmla="*/ 283845 w 276225"/>
                  <a:gd name="connsiteY1" fmla="*/ 0 h 542925"/>
                  <a:gd name="connsiteX2" fmla="*/ 283845 w 276225"/>
                  <a:gd name="connsiteY2" fmla="*/ 551498 h 542925"/>
                  <a:gd name="connsiteX3" fmla="*/ 0 w 276225"/>
                  <a:gd name="connsiteY3" fmla="*/ 551498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6225" h="542925">
                    <a:moveTo>
                      <a:pt x="0" y="0"/>
                    </a:moveTo>
                    <a:lnTo>
                      <a:pt x="283845" y="0"/>
                    </a:lnTo>
                    <a:lnTo>
                      <a:pt x="283845" y="551498"/>
                    </a:lnTo>
                    <a:lnTo>
                      <a:pt x="0" y="551498"/>
                    </a:lnTo>
                    <a:close/>
                  </a:path>
                </a:pathLst>
              </a:custGeom>
              <a:solidFill>
                <a:srgbClr val="F8F5E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E35D823B-FE8E-4294-BD9D-5D7A5C8349FF}"/>
                  </a:ext>
                </a:extLst>
              </p:cNvPr>
              <p:cNvSpPr/>
              <p:nvPr/>
            </p:nvSpPr>
            <p:spPr>
              <a:xfrm>
                <a:off x="10315765" y="3176588"/>
                <a:ext cx="276225" cy="1095375"/>
              </a:xfrm>
              <a:custGeom>
                <a:avLst/>
                <a:gdLst>
                  <a:gd name="connsiteX0" fmla="*/ 0 w 276225"/>
                  <a:gd name="connsiteY0" fmla="*/ 0 h 1095375"/>
                  <a:gd name="connsiteX1" fmla="*/ 283845 w 276225"/>
                  <a:gd name="connsiteY1" fmla="*/ 0 h 1095375"/>
                  <a:gd name="connsiteX2" fmla="*/ 283845 w 276225"/>
                  <a:gd name="connsiteY2" fmla="*/ 1098233 h 1095375"/>
                  <a:gd name="connsiteX3" fmla="*/ 0 w 276225"/>
                  <a:gd name="connsiteY3" fmla="*/ 1098233 h 1095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6225" h="1095375">
                    <a:moveTo>
                      <a:pt x="0" y="0"/>
                    </a:moveTo>
                    <a:lnTo>
                      <a:pt x="283845" y="0"/>
                    </a:lnTo>
                    <a:lnTo>
                      <a:pt x="283845" y="1098233"/>
                    </a:lnTo>
                    <a:lnTo>
                      <a:pt x="0" y="1098233"/>
                    </a:lnTo>
                    <a:close/>
                  </a:path>
                </a:pathLst>
              </a:custGeom>
              <a:solidFill>
                <a:srgbClr val="F8F5E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7B4325CC-279F-46E4-9084-98ABE265638E}"/>
                  </a:ext>
                </a:extLst>
              </p:cNvPr>
              <p:cNvSpPr/>
              <p:nvPr/>
            </p:nvSpPr>
            <p:spPr>
              <a:xfrm>
                <a:off x="12662725" y="2752725"/>
                <a:ext cx="371475" cy="342900"/>
              </a:xfrm>
              <a:custGeom>
                <a:avLst/>
                <a:gdLst>
                  <a:gd name="connsiteX0" fmla="*/ 141922 w 371475"/>
                  <a:gd name="connsiteY0" fmla="*/ 0 h 342900"/>
                  <a:gd name="connsiteX1" fmla="*/ 371475 w 371475"/>
                  <a:gd name="connsiteY1" fmla="*/ 205740 h 342900"/>
                  <a:gd name="connsiteX2" fmla="*/ 229553 w 371475"/>
                  <a:gd name="connsiteY2" fmla="*/ 347663 h 342900"/>
                  <a:gd name="connsiteX3" fmla="*/ 0 w 371475"/>
                  <a:gd name="connsiteY3" fmla="*/ 141923 h 342900"/>
                  <a:gd name="connsiteX4" fmla="*/ 141922 w 371475"/>
                  <a:gd name="connsiteY4" fmla="*/ 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1475" h="342900">
                    <a:moveTo>
                      <a:pt x="141922" y="0"/>
                    </a:moveTo>
                    <a:cubicBezTo>
                      <a:pt x="141922" y="0"/>
                      <a:pt x="190500" y="192405"/>
                      <a:pt x="371475" y="205740"/>
                    </a:cubicBezTo>
                    <a:lnTo>
                      <a:pt x="229553" y="347663"/>
                    </a:lnTo>
                    <a:cubicBezTo>
                      <a:pt x="48578" y="333375"/>
                      <a:pt x="0" y="141923"/>
                      <a:pt x="0" y="141923"/>
                    </a:cubicBezTo>
                    <a:lnTo>
                      <a:pt x="141922" y="0"/>
                    </a:lnTo>
                    <a:close/>
                  </a:path>
                </a:pathLst>
              </a:custGeom>
              <a:solidFill>
                <a:srgbClr val="F8F5E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5C310098-4763-4B7C-B578-F70BA5946E36}"/>
                  </a:ext>
                </a:extLst>
              </p:cNvPr>
              <p:cNvSpPr/>
              <p:nvPr/>
            </p:nvSpPr>
            <p:spPr>
              <a:xfrm>
                <a:off x="10344340" y="2566035"/>
                <a:ext cx="352425" cy="342900"/>
              </a:xfrm>
              <a:custGeom>
                <a:avLst/>
                <a:gdLst>
                  <a:gd name="connsiteX0" fmla="*/ 0 w 352425"/>
                  <a:gd name="connsiteY0" fmla="*/ 175260 h 342900"/>
                  <a:gd name="connsiteX1" fmla="*/ 253365 w 352425"/>
                  <a:gd name="connsiteY1" fmla="*/ 0 h 342900"/>
                  <a:gd name="connsiteX2" fmla="*/ 358140 w 352425"/>
                  <a:gd name="connsiteY2" fmla="*/ 170497 h 342900"/>
                  <a:gd name="connsiteX3" fmla="*/ 104775 w 352425"/>
                  <a:gd name="connsiteY3" fmla="*/ 345758 h 342900"/>
                  <a:gd name="connsiteX4" fmla="*/ 0 w 352425"/>
                  <a:gd name="connsiteY4" fmla="*/ 17526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425" h="342900">
                    <a:moveTo>
                      <a:pt x="0" y="175260"/>
                    </a:moveTo>
                    <a:cubicBezTo>
                      <a:pt x="0" y="175260"/>
                      <a:pt x="198120" y="172403"/>
                      <a:pt x="253365" y="0"/>
                    </a:cubicBezTo>
                    <a:lnTo>
                      <a:pt x="358140" y="170497"/>
                    </a:lnTo>
                    <a:cubicBezTo>
                      <a:pt x="302895" y="342900"/>
                      <a:pt x="104775" y="345758"/>
                      <a:pt x="104775" y="345758"/>
                    </a:cubicBezTo>
                    <a:lnTo>
                      <a:pt x="0" y="175260"/>
                    </a:lnTo>
                    <a:close/>
                  </a:path>
                </a:pathLst>
              </a:custGeom>
              <a:solidFill>
                <a:srgbClr val="F8F5E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CC9D86DF-3977-480F-AFD2-24AB084156F3}"/>
                  </a:ext>
                </a:extLst>
              </p:cNvPr>
              <p:cNvSpPr/>
              <p:nvPr/>
            </p:nvSpPr>
            <p:spPr>
              <a:xfrm>
                <a:off x="10351954" y="3308985"/>
                <a:ext cx="2200275" cy="1019175"/>
              </a:xfrm>
              <a:custGeom>
                <a:avLst/>
                <a:gdLst>
                  <a:gd name="connsiteX0" fmla="*/ 2202186 w 2200275"/>
                  <a:gd name="connsiteY0" fmla="*/ 252413 h 1019175"/>
                  <a:gd name="connsiteX1" fmla="*/ 1949774 w 2200275"/>
                  <a:gd name="connsiteY1" fmla="*/ 0 h 1019175"/>
                  <a:gd name="connsiteX2" fmla="*/ 1949774 w 2200275"/>
                  <a:gd name="connsiteY2" fmla="*/ 0 h 1019175"/>
                  <a:gd name="connsiteX3" fmla="*/ 1935486 w 2200275"/>
                  <a:gd name="connsiteY3" fmla="*/ 0 h 1019175"/>
                  <a:gd name="connsiteX4" fmla="*/ 1762131 w 2200275"/>
                  <a:gd name="connsiteY4" fmla="*/ 0 h 1019175"/>
                  <a:gd name="connsiteX5" fmla="*/ 1509719 w 2200275"/>
                  <a:gd name="connsiteY5" fmla="*/ 253365 h 1019175"/>
                  <a:gd name="connsiteX6" fmla="*/ 1510671 w 2200275"/>
                  <a:gd name="connsiteY6" fmla="*/ 561023 h 1019175"/>
                  <a:gd name="connsiteX7" fmla="*/ 1508766 w 2200275"/>
                  <a:gd name="connsiteY7" fmla="*/ 673418 h 1019175"/>
                  <a:gd name="connsiteX8" fmla="*/ 1350651 w 2200275"/>
                  <a:gd name="connsiteY8" fmla="*/ 908685 h 1019175"/>
                  <a:gd name="connsiteX9" fmla="*/ 1193489 w 2200275"/>
                  <a:gd name="connsiteY9" fmla="*/ 675323 h 1019175"/>
                  <a:gd name="connsiteX10" fmla="*/ 1193489 w 2200275"/>
                  <a:gd name="connsiteY10" fmla="*/ 643890 h 1019175"/>
                  <a:gd name="connsiteX11" fmla="*/ 1193489 w 2200275"/>
                  <a:gd name="connsiteY11" fmla="*/ 413385 h 1019175"/>
                  <a:gd name="connsiteX12" fmla="*/ 941076 w 2200275"/>
                  <a:gd name="connsiteY12" fmla="*/ 160973 h 1019175"/>
                  <a:gd name="connsiteX13" fmla="*/ 941076 w 2200275"/>
                  <a:gd name="connsiteY13" fmla="*/ 160973 h 1019175"/>
                  <a:gd name="connsiteX14" fmla="*/ 925836 w 2200275"/>
                  <a:gd name="connsiteY14" fmla="*/ 160973 h 1019175"/>
                  <a:gd name="connsiteX15" fmla="*/ 752481 w 2200275"/>
                  <a:gd name="connsiteY15" fmla="*/ 160973 h 1019175"/>
                  <a:gd name="connsiteX16" fmla="*/ 501021 w 2200275"/>
                  <a:gd name="connsiteY16" fmla="*/ 414338 h 1019175"/>
                  <a:gd name="connsiteX17" fmla="*/ 501973 w 2200275"/>
                  <a:gd name="connsiteY17" fmla="*/ 771525 h 1019175"/>
                  <a:gd name="connsiteX18" fmla="*/ 345763 w 2200275"/>
                  <a:gd name="connsiteY18" fmla="*/ 1004887 h 1019175"/>
                  <a:gd name="connsiteX19" fmla="*/ 343858 w 2200275"/>
                  <a:gd name="connsiteY19" fmla="*/ 1005840 h 1019175"/>
                  <a:gd name="connsiteX20" fmla="*/ 342906 w 2200275"/>
                  <a:gd name="connsiteY20" fmla="*/ 1005840 h 1019175"/>
                  <a:gd name="connsiteX21" fmla="*/ 185743 w 2200275"/>
                  <a:gd name="connsiteY21" fmla="*/ 770573 h 1019175"/>
                  <a:gd name="connsiteX22" fmla="*/ 6 w 2200275"/>
                  <a:gd name="connsiteY22" fmla="*/ 770573 h 1019175"/>
                  <a:gd name="connsiteX23" fmla="*/ 252418 w 2200275"/>
                  <a:gd name="connsiteY23" fmla="*/ 1023937 h 1019175"/>
                  <a:gd name="connsiteX24" fmla="*/ 425773 w 2200275"/>
                  <a:gd name="connsiteY24" fmla="*/ 1023937 h 1019175"/>
                  <a:gd name="connsiteX25" fmla="*/ 438156 w 2200275"/>
                  <a:gd name="connsiteY25" fmla="*/ 1023937 h 1019175"/>
                  <a:gd name="connsiteX26" fmla="*/ 438156 w 2200275"/>
                  <a:gd name="connsiteY26" fmla="*/ 1023937 h 1019175"/>
                  <a:gd name="connsiteX27" fmla="*/ 690569 w 2200275"/>
                  <a:gd name="connsiteY27" fmla="*/ 771525 h 1019175"/>
                  <a:gd name="connsiteX28" fmla="*/ 690569 w 2200275"/>
                  <a:gd name="connsiteY28" fmla="*/ 684848 h 1019175"/>
                  <a:gd name="connsiteX29" fmla="*/ 689616 w 2200275"/>
                  <a:gd name="connsiteY29" fmla="*/ 414338 h 1019175"/>
                  <a:gd name="connsiteX30" fmla="*/ 847731 w 2200275"/>
                  <a:gd name="connsiteY30" fmla="*/ 179070 h 1019175"/>
                  <a:gd name="connsiteX31" fmla="*/ 1004894 w 2200275"/>
                  <a:gd name="connsiteY31" fmla="*/ 412432 h 1019175"/>
                  <a:gd name="connsiteX32" fmla="*/ 1004894 w 2200275"/>
                  <a:gd name="connsiteY32" fmla="*/ 673418 h 1019175"/>
                  <a:gd name="connsiteX33" fmla="*/ 1257306 w 2200275"/>
                  <a:gd name="connsiteY33" fmla="*/ 925830 h 1019175"/>
                  <a:gd name="connsiteX34" fmla="*/ 1351603 w 2200275"/>
                  <a:gd name="connsiteY34" fmla="*/ 907732 h 1019175"/>
                  <a:gd name="connsiteX35" fmla="*/ 1257306 w 2200275"/>
                  <a:gd name="connsiteY35" fmla="*/ 925830 h 1019175"/>
                  <a:gd name="connsiteX36" fmla="*/ 1272546 w 2200275"/>
                  <a:gd name="connsiteY36" fmla="*/ 925830 h 1019175"/>
                  <a:gd name="connsiteX37" fmla="*/ 1445901 w 2200275"/>
                  <a:gd name="connsiteY37" fmla="*/ 925830 h 1019175"/>
                  <a:gd name="connsiteX38" fmla="*/ 1698314 w 2200275"/>
                  <a:gd name="connsiteY38" fmla="*/ 672465 h 1019175"/>
                  <a:gd name="connsiteX39" fmla="*/ 1700219 w 2200275"/>
                  <a:gd name="connsiteY39" fmla="*/ 534353 h 1019175"/>
                  <a:gd name="connsiteX40" fmla="*/ 1699266 w 2200275"/>
                  <a:gd name="connsiteY40" fmla="*/ 252413 h 1019175"/>
                  <a:gd name="connsiteX41" fmla="*/ 1857381 w 2200275"/>
                  <a:gd name="connsiteY41" fmla="*/ 17145 h 1019175"/>
                  <a:gd name="connsiteX42" fmla="*/ 2014544 w 2200275"/>
                  <a:gd name="connsiteY42" fmla="*/ 250507 h 1019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2200275" h="1019175">
                    <a:moveTo>
                      <a:pt x="2202186" y="252413"/>
                    </a:moveTo>
                    <a:cubicBezTo>
                      <a:pt x="2202186" y="113348"/>
                      <a:pt x="2089791" y="0"/>
                      <a:pt x="1949774" y="0"/>
                    </a:cubicBezTo>
                    <a:cubicBezTo>
                      <a:pt x="1949774" y="0"/>
                      <a:pt x="1934533" y="0"/>
                      <a:pt x="1949774" y="0"/>
                    </a:cubicBezTo>
                    <a:lnTo>
                      <a:pt x="1935486" y="0"/>
                    </a:lnTo>
                    <a:lnTo>
                      <a:pt x="1762131" y="0"/>
                    </a:lnTo>
                    <a:cubicBezTo>
                      <a:pt x="1622114" y="0"/>
                      <a:pt x="1509719" y="113348"/>
                      <a:pt x="1509719" y="253365"/>
                    </a:cubicBezTo>
                    <a:cubicBezTo>
                      <a:pt x="1510671" y="353378"/>
                      <a:pt x="1510671" y="466725"/>
                      <a:pt x="1510671" y="561023"/>
                    </a:cubicBezTo>
                    <a:lnTo>
                      <a:pt x="1508766" y="673418"/>
                    </a:lnTo>
                    <a:cubicBezTo>
                      <a:pt x="1509719" y="780098"/>
                      <a:pt x="1443996" y="870585"/>
                      <a:pt x="1350651" y="908685"/>
                    </a:cubicBezTo>
                    <a:cubicBezTo>
                      <a:pt x="1258258" y="871537"/>
                      <a:pt x="1193489" y="781050"/>
                      <a:pt x="1193489" y="675323"/>
                    </a:cubicBezTo>
                    <a:lnTo>
                      <a:pt x="1193489" y="643890"/>
                    </a:lnTo>
                    <a:lnTo>
                      <a:pt x="1193489" y="413385"/>
                    </a:lnTo>
                    <a:cubicBezTo>
                      <a:pt x="1193489" y="274320"/>
                      <a:pt x="1081094" y="160973"/>
                      <a:pt x="941076" y="160973"/>
                    </a:cubicBezTo>
                    <a:cubicBezTo>
                      <a:pt x="941076" y="160973"/>
                      <a:pt x="931551" y="160973"/>
                      <a:pt x="941076" y="160973"/>
                    </a:cubicBezTo>
                    <a:lnTo>
                      <a:pt x="925836" y="160973"/>
                    </a:lnTo>
                    <a:lnTo>
                      <a:pt x="752481" y="160973"/>
                    </a:lnTo>
                    <a:cubicBezTo>
                      <a:pt x="573411" y="160973"/>
                      <a:pt x="501021" y="302895"/>
                      <a:pt x="501021" y="414338"/>
                    </a:cubicBezTo>
                    <a:cubicBezTo>
                      <a:pt x="501021" y="509587"/>
                      <a:pt x="501973" y="771525"/>
                      <a:pt x="501973" y="771525"/>
                    </a:cubicBezTo>
                    <a:cubicBezTo>
                      <a:pt x="501973" y="876300"/>
                      <a:pt x="437203" y="966787"/>
                      <a:pt x="345763" y="1004887"/>
                    </a:cubicBezTo>
                    <a:cubicBezTo>
                      <a:pt x="344811" y="1004887"/>
                      <a:pt x="344811" y="1004887"/>
                      <a:pt x="343858" y="1005840"/>
                    </a:cubicBezTo>
                    <a:lnTo>
                      <a:pt x="342906" y="1005840"/>
                    </a:lnTo>
                    <a:cubicBezTo>
                      <a:pt x="250513" y="967740"/>
                      <a:pt x="185743" y="877253"/>
                      <a:pt x="185743" y="770573"/>
                    </a:cubicBezTo>
                    <a:lnTo>
                      <a:pt x="6" y="770573"/>
                    </a:lnTo>
                    <a:cubicBezTo>
                      <a:pt x="-947" y="910590"/>
                      <a:pt x="112401" y="1023937"/>
                      <a:pt x="252418" y="1023937"/>
                    </a:cubicBezTo>
                    <a:lnTo>
                      <a:pt x="425773" y="1023937"/>
                    </a:lnTo>
                    <a:lnTo>
                      <a:pt x="438156" y="1023937"/>
                    </a:lnTo>
                    <a:lnTo>
                      <a:pt x="438156" y="1023937"/>
                    </a:lnTo>
                    <a:cubicBezTo>
                      <a:pt x="577221" y="1023937"/>
                      <a:pt x="690569" y="911543"/>
                      <a:pt x="690569" y="771525"/>
                    </a:cubicBezTo>
                    <a:lnTo>
                      <a:pt x="690569" y="684848"/>
                    </a:lnTo>
                    <a:cubicBezTo>
                      <a:pt x="690569" y="615315"/>
                      <a:pt x="690569" y="481012"/>
                      <a:pt x="689616" y="414338"/>
                    </a:cubicBezTo>
                    <a:cubicBezTo>
                      <a:pt x="688663" y="307657"/>
                      <a:pt x="754386" y="217170"/>
                      <a:pt x="847731" y="179070"/>
                    </a:cubicBezTo>
                    <a:cubicBezTo>
                      <a:pt x="940123" y="216217"/>
                      <a:pt x="1004894" y="306705"/>
                      <a:pt x="1004894" y="412432"/>
                    </a:cubicBezTo>
                    <a:lnTo>
                      <a:pt x="1004894" y="673418"/>
                    </a:lnTo>
                    <a:cubicBezTo>
                      <a:pt x="1004894" y="812482"/>
                      <a:pt x="1117289" y="925830"/>
                      <a:pt x="1257306" y="925830"/>
                    </a:cubicBezTo>
                    <a:lnTo>
                      <a:pt x="1351603" y="907732"/>
                    </a:lnTo>
                    <a:cubicBezTo>
                      <a:pt x="1322076" y="919162"/>
                      <a:pt x="1290644" y="925830"/>
                      <a:pt x="1257306" y="925830"/>
                    </a:cubicBezTo>
                    <a:lnTo>
                      <a:pt x="1272546" y="925830"/>
                    </a:lnTo>
                    <a:lnTo>
                      <a:pt x="1445901" y="925830"/>
                    </a:lnTo>
                    <a:cubicBezTo>
                      <a:pt x="1585919" y="925830"/>
                      <a:pt x="1698314" y="812482"/>
                      <a:pt x="1698314" y="672465"/>
                    </a:cubicBezTo>
                    <a:lnTo>
                      <a:pt x="1700219" y="534353"/>
                    </a:lnTo>
                    <a:cubicBezTo>
                      <a:pt x="1700219" y="445770"/>
                      <a:pt x="1700219" y="342900"/>
                      <a:pt x="1699266" y="252413"/>
                    </a:cubicBezTo>
                    <a:cubicBezTo>
                      <a:pt x="1698314" y="145732"/>
                      <a:pt x="1764036" y="55245"/>
                      <a:pt x="1857381" y="17145"/>
                    </a:cubicBezTo>
                    <a:cubicBezTo>
                      <a:pt x="1949774" y="54292"/>
                      <a:pt x="2014544" y="144780"/>
                      <a:pt x="2014544" y="250507"/>
                    </a:cubicBezTo>
                  </a:path>
                </a:pathLst>
              </a:custGeom>
              <a:solidFill>
                <a:srgbClr val="F8F5E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6849E2B4-9823-42B3-9C40-A97E31953B9C}"/>
                </a:ext>
              </a:extLst>
            </p:cNvPr>
            <p:cNvGrpSpPr/>
            <p:nvPr/>
          </p:nvGrpSpPr>
          <p:grpSpPr>
            <a:xfrm>
              <a:off x="10315765" y="2524125"/>
              <a:ext cx="2744153" cy="1781175"/>
              <a:chOff x="10315765" y="2524125"/>
              <a:chExt cx="2744153" cy="1781175"/>
            </a:xfrm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F1337EFA-B38A-4616-8B59-006A44D6E01D}"/>
                  </a:ext>
                </a:extLst>
              </p:cNvPr>
              <p:cNvSpPr/>
              <p:nvPr/>
            </p:nvSpPr>
            <p:spPr>
              <a:xfrm>
                <a:off x="12167425" y="3519488"/>
                <a:ext cx="76200" cy="714375"/>
              </a:xfrm>
              <a:custGeom>
                <a:avLst/>
                <a:gdLst>
                  <a:gd name="connsiteX0" fmla="*/ 0 w 76200"/>
                  <a:gd name="connsiteY0" fmla="*/ 717233 h 714375"/>
                  <a:gd name="connsiteX1" fmla="*/ 82868 w 76200"/>
                  <a:gd name="connsiteY1" fmla="*/ 0 h 714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200" h="714375">
                    <a:moveTo>
                      <a:pt x="0" y="717233"/>
                    </a:moveTo>
                    <a:lnTo>
                      <a:pt x="82868" y="0"/>
                    </a:lnTo>
                  </a:path>
                </a:pathLst>
              </a:custGeom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D513DED1-0850-4E21-BBA5-E599DE35C052}"/>
                  </a:ext>
                </a:extLst>
              </p:cNvPr>
              <p:cNvSpPr/>
              <p:nvPr/>
            </p:nvSpPr>
            <p:spPr>
              <a:xfrm>
                <a:off x="12196953" y="3361373"/>
                <a:ext cx="142875" cy="66675"/>
              </a:xfrm>
              <a:custGeom>
                <a:avLst/>
                <a:gdLst>
                  <a:gd name="connsiteX0" fmla="*/ 0 w 142875"/>
                  <a:gd name="connsiteY0" fmla="*/ 9525 h 66675"/>
                  <a:gd name="connsiteX1" fmla="*/ 8572 w 142875"/>
                  <a:gd name="connsiteY1" fmla="*/ 31432 h 66675"/>
                  <a:gd name="connsiteX2" fmla="*/ 144780 w 142875"/>
                  <a:gd name="connsiteY2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875" h="66675">
                    <a:moveTo>
                      <a:pt x="0" y="9525"/>
                    </a:moveTo>
                    <a:cubicBezTo>
                      <a:pt x="2858" y="19050"/>
                      <a:pt x="5715" y="25717"/>
                      <a:pt x="8572" y="31432"/>
                    </a:cubicBezTo>
                    <a:cubicBezTo>
                      <a:pt x="31433" y="82867"/>
                      <a:pt x="95250" y="83820"/>
                      <a:pt x="144780" y="0"/>
                    </a:cubicBezTo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9F08D05C-4509-4120-AFD6-AA04E38CC1BD}"/>
                  </a:ext>
                </a:extLst>
              </p:cNvPr>
              <p:cNvSpPr/>
              <p:nvPr/>
            </p:nvSpPr>
            <p:spPr>
              <a:xfrm>
                <a:off x="12192190" y="3328035"/>
                <a:ext cx="9525" cy="38100"/>
              </a:xfrm>
              <a:custGeom>
                <a:avLst/>
                <a:gdLst>
                  <a:gd name="connsiteX0" fmla="*/ 0 w 0"/>
                  <a:gd name="connsiteY0" fmla="*/ 0 h 38100"/>
                  <a:gd name="connsiteX1" fmla="*/ 4763 w 0"/>
                  <a:gd name="connsiteY1" fmla="*/ 4286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38100">
                    <a:moveTo>
                      <a:pt x="0" y="0"/>
                    </a:moveTo>
                    <a:cubicBezTo>
                      <a:pt x="0" y="12382"/>
                      <a:pt x="1905" y="34290"/>
                      <a:pt x="4763" y="42863"/>
                    </a:cubicBezTo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381243F0-2F4F-4E27-BBCB-77A4C0D59B8F}"/>
                  </a:ext>
                </a:extLst>
              </p:cNvPr>
              <p:cNvSpPr/>
              <p:nvPr/>
            </p:nvSpPr>
            <p:spPr>
              <a:xfrm>
                <a:off x="12192190" y="3081338"/>
                <a:ext cx="466725" cy="342900"/>
              </a:xfrm>
              <a:custGeom>
                <a:avLst/>
                <a:gdLst>
                  <a:gd name="connsiteX0" fmla="*/ 251460 w 466725"/>
                  <a:gd name="connsiteY0" fmla="*/ 302895 h 342900"/>
                  <a:gd name="connsiteX1" fmla="*/ 466725 w 466725"/>
                  <a:gd name="connsiteY1" fmla="*/ 193358 h 342900"/>
                  <a:gd name="connsiteX2" fmla="*/ 314325 w 466725"/>
                  <a:gd name="connsiteY2" fmla="*/ 0 h 342900"/>
                  <a:gd name="connsiteX3" fmla="*/ 163830 w 466725"/>
                  <a:gd name="connsiteY3" fmla="*/ 0 h 342900"/>
                  <a:gd name="connsiteX4" fmla="*/ 3810 w 466725"/>
                  <a:gd name="connsiteY4" fmla="*/ 121920 h 342900"/>
                  <a:gd name="connsiteX5" fmla="*/ 0 w 466725"/>
                  <a:gd name="connsiteY5" fmla="*/ 202883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6725" h="342900">
                    <a:moveTo>
                      <a:pt x="251460" y="302895"/>
                    </a:moveTo>
                    <a:cubicBezTo>
                      <a:pt x="336233" y="379095"/>
                      <a:pt x="495300" y="374333"/>
                      <a:pt x="466725" y="193358"/>
                    </a:cubicBezTo>
                    <a:cubicBezTo>
                      <a:pt x="446722" y="66675"/>
                      <a:pt x="438150" y="0"/>
                      <a:pt x="314325" y="0"/>
                    </a:cubicBezTo>
                    <a:lnTo>
                      <a:pt x="163830" y="0"/>
                    </a:lnTo>
                    <a:cubicBezTo>
                      <a:pt x="70485" y="0"/>
                      <a:pt x="9525" y="34290"/>
                      <a:pt x="3810" y="121920"/>
                    </a:cubicBezTo>
                    <a:cubicBezTo>
                      <a:pt x="2858" y="138113"/>
                      <a:pt x="953" y="177165"/>
                      <a:pt x="0" y="202883"/>
                    </a:cubicBezTo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7D316D7E-B347-47EF-AB08-658B26A9B868}"/>
                  </a:ext>
                </a:extLst>
              </p:cNvPr>
              <p:cNvSpPr/>
              <p:nvPr/>
            </p:nvSpPr>
            <p:spPr>
              <a:xfrm>
                <a:off x="12295234" y="2795588"/>
                <a:ext cx="209550" cy="285750"/>
              </a:xfrm>
              <a:custGeom>
                <a:avLst/>
                <a:gdLst>
                  <a:gd name="connsiteX0" fmla="*/ 108411 w 209550"/>
                  <a:gd name="connsiteY0" fmla="*/ 285750 h 285750"/>
                  <a:gd name="connsiteX1" fmla="*/ 778 w 209550"/>
                  <a:gd name="connsiteY1" fmla="*/ 142875 h 285750"/>
                  <a:gd name="connsiteX2" fmla="*/ 108411 w 209550"/>
                  <a:gd name="connsiteY2" fmla="*/ 0 h 285750"/>
                  <a:gd name="connsiteX3" fmla="*/ 216043 w 209550"/>
                  <a:gd name="connsiteY3" fmla="*/ 142875 h 285750"/>
                  <a:gd name="connsiteX4" fmla="*/ 198898 w 209550"/>
                  <a:gd name="connsiteY4" fmla="*/ 210502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550" h="285750">
                    <a:moveTo>
                      <a:pt x="108411" y="285750"/>
                    </a:moveTo>
                    <a:cubicBezTo>
                      <a:pt x="63643" y="285750"/>
                      <a:pt x="9351" y="231458"/>
                      <a:pt x="778" y="142875"/>
                    </a:cubicBezTo>
                    <a:cubicBezTo>
                      <a:pt x="-5889" y="64770"/>
                      <a:pt x="30306" y="0"/>
                      <a:pt x="108411" y="0"/>
                    </a:cubicBezTo>
                    <a:cubicBezTo>
                      <a:pt x="186516" y="0"/>
                      <a:pt x="222711" y="63818"/>
                      <a:pt x="216043" y="142875"/>
                    </a:cubicBezTo>
                    <a:cubicBezTo>
                      <a:pt x="214138" y="168593"/>
                      <a:pt x="207471" y="190500"/>
                      <a:pt x="198898" y="210502"/>
                    </a:cubicBezTo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1EE27A3E-02CD-4925-A763-044B23736C6D}"/>
                  </a:ext>
                </a:extLst>
              </p:cNvPr>
              <p:cNvSpPr/>
              <p:nvPr/>
            </p:nvSpPr>
            <p:spPr>
              <a:xfrm>
                <a:off x="10315765" y="252412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/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992ABD60-6E42-4DAE-8BE5-0F0DC51ADB69}"/>
                  </a:ext>
                </a:extLst>
              </p:cNvPr>
              <p:cNvSpPr/>
              <p:nvPr/>
            </p:nvSpPr>
            <p:spPr>
              <a:xfrm>
                <a:off x="12506515" y="3573780"/>
                <a:ext cx="47625" cy="657225"/>
              </a:xfrm>
              <a:custGeom>
                <a:avLst/>
                <a:gdLst>
                  <a:gd name="connsiteX0" fmla="*/ 0 w 47625"/>
                  <a:gd name="connsiteY0" fmla="*/ 662940 h 657225"/>
                  <a:gd name="connsiteX1" fmla="*/ 47625 w 47625"/>
                  <a:gd name="connsiteY1" fmla="*/ 0 h 657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5" h="657225">
                    <a:moveTo>
                      <a:pt x="0" y="662940"/>
                    </a:moveTo>
                    <a:lnTo>
                      <a:pt x="47625" y="0"/>
                    </a:lnTo>
                  </a:path>
                </a:pathLst>
              </a:custGeom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8210676E-D91E-4891-A8F4-68238384B74D}"/>
                  </a:ext>
                </a:extLst>
              </p:cNvPr>
              <p:cNvSpPr/>
              <p:nvPr/>
            </p:nvSpPr>
            <p:spPr>
              <a:xfrm>
                <a:off x="12258865" y="3668078"/>
                <a:ext cx="142875" cy="561975"/>
              </a:xfrm>
              <a:custGeom>
                <a:avLst/>
                <a:gdLst>
                  <a:gd name="connsiteX0" fmla="*/ 142875 w 142875"/>
                  <a:gd name="connsiteY0" fmla="*/ 0 h 561975"/>
                  <a:gd name="connsiteX1" fmla="*/ 0 w 142875"/>
                  <a:gd name="connsiteY1" fmla="*/ 568643 h 56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2875" h="561975">
                    <a:moveTo>
                      <a:pt x="142875" y="0"/>
                    </a:moveTo>
                    <a:lnTo>
                      <a:pt x="0" y="568643"/>
                    </a:lnTo>
                  </a:path>
                </a:pathLst>
              </a:custGeom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89C14CF0-F8DB-451E-9C06-103074090B13}"/>
                  </a:ext>
                </a:extLst>
              </p:cNvPr>
              <p:cNvSpPr/>
              <p:nvPr/>
            </p:nvSpPr>
            <p:spPr>
              <a:xfrm>
                <a:off x="12404598" y="3668078"/>
                <a:ext cx="9525" cy="571500"/>
              </a:xfrm>
              <a:custGeom>
                <a:avLst/>
                <a:gdLst>
                  <a:gd name="connsiteX0" fmla="*/ 0 w 0"/>
                  <a:gd name="connsiteY0" fmla="*/ 576263 h 571500"/>
                  <a:gd name="connsiteX1" fmla="*/ 0 w 0"/>
                  <a:gd name="connsiteY1" fmla="*/ 0 h 57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571500">
                    <a:moveTo>
                      <a:pt x="0" y="576263"/>
                    </a:moveTo>
                    <a:lnTo>
                      <a:pt x="0" y="0"/>
                    </a:lnTo>
                  </a:path>
                </a:pathLst>
              </a:custGeom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13AC0E49-F77C-40CF-8020-E9C2D743072C}"/>
                  </a:ext>
                </a:extLst>
              </p:cNvPr>
              <p:cNvSpPr/>
              <p:nvPr/>
            </p:nvSpPr>
            <p:spPr>
              <a:xfrm>
                <a:off x="10972038" y="2823881"/>
                <a:ext cx="228600" cy="257175"/>
              </a:xfrm>
              <a:custGeom>
                <a:avLst/>
                <a:gdLst>
                  <a:gd name="connsiteX0" fmla="*/ 64770 w 228600"/>
                  <a:gd name="connsiteY0" fmla="*/ 264124 h 257175"/>
                  <a:gd name="connsiteX1" fmla="*/ 199073 w 228600"/>
                  <a:gd name="connsiteY1" fmla="*/ 195544 h 257175"/>
                  <a:gd name="connsiteX2" fmla="*/ 189548 w 228600"/>
                  <a:gd name="connsiteY2" fmla="*/ 19332 h 257175"/>
                  <a:gd name="connsiteX3" fmla="*/ 22860 w 228600"/>
                  <a:gd name="connsiteY3" fmla="*/ 77434 h 257175"/>
                  <a:gd name="connsiteX4" fmla="*/ 0 w 228600"/>
                  <a:gd name="connsiteY4" fmla="*/ 142204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8600" h="257175">
                    <a:moveTo>
                      <a:pt x="64770" y="264124"/>
                    </a:moveTo>
                    <a:cubicBezTo>
                      <a:pt x="103823" y="267934"/>
                      <a:pt x="157163" y="246979"/>
                      <a:pt x="199073" y="195544"/>
                    </a:cubicBezTo>
                    <a:cubicBezTo>
                      <a:pt x="247650" y="134584"/>
                      <a:pt x="254317" y="62194"/>
                      <a:pt x="189548" y="19332"/>
                    </a:cubicBezTo>
                    <a:cubicBezTo>
                      <a:pt x="125730" y="-23531"/>
                      <a:pt x="60960" y="8854"/>
                      <a:pt x="22860" y="77434"/>
                    </a:cubicBezTo>
                    <a:cubicBezTo>
                      <a:pt x="10477" y="99342"/>
                      <a:pt x="2857" y="121249"/>
                      <a:pt x="0" y="142204"/>
                    </a:cubicBezTo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07DE38B5-09A2-4A18-8C6F-93060FB32577}"/>
                  </a:ext>
                </a:extLst>
              </p:cNvPr>
              <p:cNvSpPr/>
              <p:nvPr/>
            </p:nvSpPr>
            <p:spPr>
              <a:xfrm>
                <a:off x="10822080" y="2876550"/>
                <a:ext cx="533400" cy="619125"/>
              </a:xfrm>
              <a:custGeom>
                <a:avLst/>
                <a:gdLst>
                  <a:gd name="connsiteX0" fmla="*/ 372842 w 533400"/>
                  <a:gd name="connsiteY0" fmla="*/ 0 h 619125"/>
                  <a:gd name="connsiteX1" fmla="*/ 503335 w 533400"/>
                  <a:gd name="connsiteY1" fmla="*/ 320040 h 619125"/>
                  <a:gd name="connsiteX2" fmla="*/ 291880 w 533400"/>
                  <a:gd name="connsiteY2" fmla="*/ 218123 h 619125"/>
                  <a:gd name="connsiteX3" fmla="*/ 158530 w 533400"/>
                  <a:gd name="connsiteY3" fmla="*/ 206693 h 619125"/>
                  <a:gd name="connsiteX4" fmla="*/ 415 w 533400"/>
                  <a:gd name="connsiteY4" fmla="*/ 351473 h 619125"/>
                  <a:gd name="connsiteX5" fmla="*/ 150910 w 533400"/>
                  <a:gd name="connsiteY5" fmla="*/ 624840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3400" h="619125">
                    <a:moveTo>
                      <a:pt x="372842" y="0"/>
                    </a:moveTo>
                    <a:cubicBezTo>
                      <a:pt x="397607" y="86677"/>
                      <a:pt x="625255" y="212408"/>
                      <a:pt x="503335" y="320040"/>
                    </a:cubicBezTo>
                    <a:cubicBezTo>
                      <a:pt x="420467" y="392430"/>
                      <a:pt x="381415" y="230505"/>
                      <a:pt x="291880" y="218123"/>
                    </a:cubicBezTo>
                    <a:lnTo>
                      <a:pt x="158530" y="206693"/>
                    </a:lnTo>
                    <a:cubicBezTo>
                      <a:pt x="30895" y="201930"/>
                      <a:pt x="-4348" y="264795"/>
                      <a:pt x="415" y="351473"/>
                    </a:cubicBezTo>
                    <a:cubicBezTo>
                      <a:pt x="8987" y="493395"/>
                      <a:pt x="72805" y="587693"/>
                      <a:pt x="150910" y="624840"/>
                    </a:cubicBezTo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229B069-6661-46B2-9DA7-A66090CF63DF}"/>
                  </a:ext>
                </a:extLst>
              </p:cNvPr>
              <p:cNvSpPr/>
              <p:nvPr/>
            </p:nvSpPr>
            <p:spPr>
              <a:xfrm>
                <a:off x="11179683" y="3235643"/>
                <a:ext cx="9525" cy="209550"/>
              </a:xfrm>
              <a:custGeom>
                <a:avLst/>
                <a:gdLst>
                  <a:gd name="connsiteX0" fmla="*/ 5715 w 0"/>
                  <a:gd name="connsiteY0" fmla="*/ 212408 h 209550"/>
                  <a:gd name="connsiteX1" fmla="*/ 0 w 0"/>
                  <a:gd name="connsiteY1" fmla="*/ 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09550">
                    <a:moveTo>
                      <a:pt x="5715" y="212408"/>
                    </a:moveTo>
                    <a:lnTo>
                      <a:pt x="0" y="0"/>
                    </a:lnTo>
                  </a:path>
                </a:pathLst>
              </a:custGeom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A9F162F4-F1FF-4709-A0F3-05DA813B4E7B}"/>
                  </a:ext>
                </a:extLst>
              </p:cNvPr>
              <p:cNvSpPr/>
              <p:nvPr/>
            </p:nvSpPr>
            <p:spPr>
              <a:xfrm>
                <a:off x="11136820" y="3573780"/>
                <a:ext cx="38100" cy="657225"/>
              </a:xfrm>
              <a:custGeom>
                <a:avLst/>
                <a:gdLst>
                  <a:gd name="connsiteX0" fmla="*/ 0 w 38100"/>
                  <a:gd name="connsiteY0" fmla="*/ 662940 h 657225"/>
                  <a:gd name="connsiteX1" fmla="*/ 46672 w 38100"/>
                  <a:gd name="connsiteY1" fmla="*/ 0 h 657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100" h="657225">
                    <a:moveTo>
                      <a:pt x="0" y="662940"/>
                    </a:moveTo>
                    <a:lnTo>
                      <a:pt x="46672" y="0"/>
                    </a:lnTo>
                  </a:path>
                </a:pathLst>
              </a:custGeom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726C0696-B2D7-4C2B-9C95-E8AD9DF59FBB}"/>
                  </a:ext>
                </a:extLst>
              </p:cNvPr>
              <p:cNvSpPr/>
              <p:nvPr/>
            </p:nvSpPr>
            <p:spPr>
              <a:xfrm>
                <a:off x="11321605" y="3448050"/>
                <a:ext cx="409575" cy="742950"/>
              </a:xfrm>
              <a:custGeom>
                <a:avLst/>
                <a:gdLst>
                  <a:gd name="connsiteX0" fmla="*/ 410528 w 409575"/>
                  <a:gd name="connsiteY0" fmla="*/ 746760 h 742950"/>
                  <a:gd name="connsiteX1" fmla="*/ 252413 w 409575"/>
                  <a:gd name="connsiteY1" fmla="*/ 513397 h 742950"/>
                  <a:gd name="connsiteX2" fmla="*/ 252413 w 409575"/>
                  <a:gd name="connsiteY2" fmla="*/ 482917 h 742950"/>
                  <a:gd name="connsiteX3" fmla="*/ 252413 w 409575"/>
                  <a:gd name="connsiteY3" fmla="*/ 252413 h 742950"/>
                  <a:gd name="connsiteX4" fmla="*/ 0 w 409575"/>
                  <a:gd name="connsiteY4" fmla="*/ 0 h 742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9575" h="742950">
                    <a:moveTo>
                      <a:pt x="410528" y="746760"/>
                    </a:moveTo>
                    <a:cubicBezTo>
                      <a:pt x="318135" y="709613"/>
                      <a:pt x="252413" y="619125"/>
                      <a:pt x="252413" y="513397"/>
                    </a:cubicBezTo>
                    <a:lnTo>
                      <a:pt x="252413" y="482917"/>
                    </a:lnTo>
                    <a:lnTo>
                      <a:pt x="252413" y="252413"/>
                    </a:lnTo>
                    <a:cubicBezTo>
                      <a:pt x="252413" y="113348"/>
                      <a:pt x="140018" y="0"/>
                      <a:pt x="0" y="0"/>
                    </a:cubicBezTo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45E136FC-6A32-41FE-8E29-5C2C6FE5B7CA}"/>
                  </a:ext>
                </a:extLst>
              </p:cNvPr>
              <p:cNvSpPr/>
              <p:nvPr/>
            </p:nvSpPr>
            <p:spPr>
              <a:xfrm>
                <a:off x="11226355" y="3286125"/>
                <a:ext cx="1085850" cy="923925"/>
              </a:xfrm>
              <a:custGeom>
                <a:avLst/>
                <a:gdLst>
                  <a:gd name="connsiteX0" fmla="*/ 1090613 w 1085850"/>
                  <a:gd name="connsiteY0" fmla="*/ 0 h 923925"/>
                  <a:gd name="connsiteX1" fmla="*/ 916305 w 1085850"/>
                  <a:gd name="connsiteY1" fmla="*/ 0 h 923925"/>
                  <a:gd name="connsiteX2" fmla="*/ 663893 w 1085850"/>
                  <a:gd name="connsiteY2" fmla="*/ 253365 h 923925"/>
                  <a:gd name="connsiteX3" fmla="*/ 664845 w 1085850"/>
                  <a:gd name="connsiteY3" fmla="*/ 561022 h 923925"/>
                  <a:gd name="connsiteX4" fmla="*/ 662940 w 1085850"/>
                  <a:gd name="connsiteY4" fmla="*/ 673418 h 923925"/>
                  <a:gd name="connsiteX5" fmla="*/ 410528 w 1085850"/>
                  <a:gd name="connsiteY5" fmla="*/ 926783 h 923925"/>
                  <a:gd name="connsiteX6" fmla="*/ 410528 w 1085850"/>
                  <a:gd name="connsiteY6" fmla="*/ 926783 h 923925"/>
                  <a:gd name="connsiteX7" fmla="*/ 158115 w 1085850"/>
                  <a:gd name="connsiteY7" fmla="*/ 674370 h 923925"/>
                  <a:gd name="connsiteX8" fmla="*/ 158115 w 1085850"/>
                  <a:gd name="connsiteY8" fmla="*/ 413385 h 923925"/>
                  <a:gd name="connsiteX9" fmla="*/ 0 w 1085850"/>
                  <a:gd name="connsiteY9" fmla="*/ 180023 h 923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85850" h="923925">
                    <a:moveTo>
                      <a:pt x="1090613" y="0"/>
                    </a:moveTo>
                    <a:lnTo>
                      <a:pt x="916305" y="0"/>
                    </a:lnTo>
                    <a:cubicBezTo>
                      <a:pt x="776288" y="0"/>
                      <a:pt x="663893" y="113348"/>
                      <a:pt x="663893" y="253365"/>
                    </a:cubicBezTo>
                    <a:cubicBezTo>
                      <a:pt x="664845" y="353378"/>
                      <a:pt x="664845" y="466725"/>
                      <a:pt x="664845" y="561022"/>
                    </a:cubicBezTo>
                    <a:lnTo>
                      <a:pt x="662940" y="673418"/>
                    </a:lnTo>
                    <a:cubicBezTo>
                      <a:pt x="663893" y="813435"/>
                      <a:pt x="550545" y="926783"/>
                      <a:pt x="410528" y="926783"/>
                    </a:cubicBezTo>
                    <a:lnTo>
                      <a:pt x="410528" y="926783"/>
                    </a:lnTo>
                    <a:cubicBezTo>
                      <a:pt x="271463" y="926783"/>
                      <a:pt x="158115" y="814388"/>
                      <a:pt x="158115" y="674370"/>
                    </a:cubicBezTo>
                    <a:lnTo>
                      <a:pt x="158115" y="413385"/>
                    </a:lnTo>
                    <a:cubicBezTo>
                      <a:pt x="158115" y="307658"/>
                      <a:pt x="93345" y="217170"/>
                      <a:pt x="0" y="180023"/>
                    </a:cubicBezTo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9E64E9AC-B361-45A9-B837-920B25EE96BB}"/>
                  </a:ext>
                </a:extLst>
              </p:cNvPr>
              <p:cNvSpPr/>
              <p:nvPr/>
            </p:nvSpPr>
            <p:spPr>
              <a:xfrm>
                <a:off x="10315765" y="2524125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/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FF25E212-2BAB-4DC9-A928-A04177AA03CF}"/>
                  </a:ext>
                </a:extLst>
              </p:cNvPr>
              <p:cNvSpPr/>
              <p:nvPr/>
            </p:nvSpPr>
            <p:spPr>
              <a:xfrm>
                <a:off x="11652123" y="3286125"/>
                <a:ext cx="676275" cy="923925"/>
              </a:xfrm>
              <a:custGeom>
                <a:avLst/>
                <a:gdLst>
                  <a:gd name="connsiteX0" fmla="*/ 679133 w 676275"/>
                  <a:gd name="connsiteY0" fmla="*/ 0 h 923925"/>
                  <a:gd name="connsiteX1" fmla="*/ 679133 w 676275"/>
                  <a:gd name="connsiteY1" fmla="*/ 0 h 923925"/>
                  <a:gd name="connsiteX2" fmla="*/ 426720 w 676275"/>
                  <a:gd name="connsiteY2" fmla="*/ 253365 h 923925"/>
                  <a:gd name="connsiteX3" fmla="*/ 427672 w 676275"/>
                  <a:gd name="connsiteY3" fmla="*/ 535305 h 923925"/>
                  <a:gd name="connsiteX4" fmla="*/ 425767 w 676275"/>
                  <a:gd name="connsiteY4" fmla="*/ 673418 h 923925"/>
                  <a:gd name="connsiteX5" fmla="*/ 173355 w 676275"/>
                  <a:gd name="connsiteY5" fmla="*/ 926783 h 923925"/>
                  <a:gd name="connsiteX6" fmla="*/ 0 w 676275"/>
                  <a:gd name="connsiteY6" fmla="*/ 926783 h 923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76275" h="923925">
                    <a:moveTo>
                      <a:pt x="679133" y="0"/>
                    </a:moveTo>
                    <a:lnTo>
                      <a:pt x="679133" y="0"/>
                    </a:lnTo>
                    <a:cubicBezTo>
                      <a:pt x="539115" y="0"/>
                      <a:pt x="426720" y="113348"/>
                      <a:pt x="426720" y="253365"/>
                    </a:cubicBezTo>
                    <a:cubicBezTo>
                      <a:pt x="426720" y="344805"/>
                      <a:pt x="427672" y="446723"/>
                      <a:pt x="427672" y="535305"/>
                    </a:cubicBezTo>
                    <a:lnTo>
                      <a:pt x="425767" y="673418"/>
                    </a:lnTo>
                    <a:cubicBezTo>
                      <a:pt x="426720" y="813435"/>
                      <a:pt x="313372" y="926783"/>
                      <a:pt x="173355" y="926783"/>
                    </a:cubicBezTo>
                    <a:lnTo>
                      <a:pt x="0" y="926783"/>
                    </a:lnTo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91B3D34A-E0BC-4F16-8432-308A7E2F1A42}"/>
                  </a:ext>
                </a:extLst>
              </p:cNvPr>
              <p:cNvSpPr/>
              <p:nvPr/>
            </p:nvSpPr>
            <p:spPr>
              <a:xfrm>
                <a:off x="12331255" y="3285173"/>
                <a:ext cx="247650" cy="247650"/>
              </a:xfrm>
              <a:custGeom>
                <a:avLst/>
                <a:gdLst>
                  <a:gd name="connsiteX0" fmla="*/ 252413 w 247650"/>
                  <a:gd name="connsiteY0" fmla="*/ 252413 h 247650"/>
                  <a:gd name="connsiteX1" fmla="*/ 0 w 247650"/>
                  <a:gd name="connsiteY1" fmla="*/ 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7650" h="247650">
                    <a:moveTo>
                      <a:pt x="252413" y="252413"/>
                    </a:moveTo>
                    <a:cubicBezTo>
                      <a:pt x="252413" y="113348"/>
                      <a:pt x="140017" y="0"/>
                      <a:pt x="0" y="0"/>
                    </a:cubicBezTo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1870FD47-6F66-4EBB-948A-B3D62F407CBE}"/>
                  </a:ext>
                </a:extLst>
              </p:cNvPr>
              <p:cNvSpPr/>
              <p:nvPr/>
            </p:nvSpPr>
            <p:spPr>
              <a:xfrm>
                <a:off x="12250293" y="3299460"/>
                <a:ext cx="161925" cy="238125"/>
              </a:xfrm>
              <a:custGeom>
                <a:avLst/>
                <a:gdLst>
                  <a:gd name="connsiteX0" fmla="*/ 0 w 161925"/>
                  <a:gd name="connsiteY0" fmla="*/ 0 h 238125"/>
                  <a:gd name="connsiteX1" fmla="*/ 165735 w 161925"/>
                  <a:gd name="connsiteY1" fmla="*/ 239077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1925" h="238125">
                    <a:moveTo>
                      <a:pt x="0" y="0"/>
                    </a:moveTo>
                    <a:cubicBezTo>
                      <a:pt x="92392" y="37148"/>
                      <a:pt x="165735" y="132398"/>
                      <a:pt x="165735" y="239077"/>
                    </a:cubicBezTo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1A8274A4-9A95-481F-BD1E-119CA6B73CF8}"/>
                  </a:ext>
                </a:extLst>
              </p:cNvPr>
              <p:cNvSpPr/>
              <p:nvPr/>
            </p:nvSpPr>
            <p:spPr>
              <a:xfrm>
                <a:off x="10725340" y="3448050"/>
                <a:ext cx="581025" cy="838200"/>
              </a:xfrm>
              <a:custGeom>
                <a:avLst/>
                <a:gdLst>
                  <a:gd name="connsiteX0" fmla="*/ 0 w 581025"/>
                  <a:gd name="connsiteY0" fmla="*/ 843915 h 838200"/>
                  <a:gd name="connsiteX1" fmla="*/ 158115 w 581025"/>
                  <a:gd name="connsiteY1" fmla="*/ 610553 h 838200"/>
                  <a:gd name="connsiteX2" fmla="*/ 157163 w 581025"/>
                  <a:gd name="connsiteY2" fmla="*/ 253365 h 838200"/>
                  <a:gd name="connsiteX3" fmla="*/ 408623 w 581025"/>
                  <a:gd name="connsiteY3" fmla="*/ 0 h 838200"/>
                  <a:gd name="connsiteX4" fmla="*/ 581025 w 581025"/>
                  <a:gd name="connsiteY4" fmla="*/ 0 h 838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1025" h="838200">
                    <a:moveTo>
                      <a:pt x="0" y="843915"/>
                    </a:moveTo>
                    <a:cubicBezTo>
                      <a:pt x="92393" y="806768"/>
                      <a:pt x="158115" y="716280"/>
                      <a:pt x="158115" y="610553"/>
                    </a:cubicBezTo>
                    <a:cubicBezTo>
                      <a:pt x="158115" y="610553"/>
                      <a:pt x="157163" y="349567"/>
                      <a:pt x="157163" y="253365"/>
                    </a:cubicBezTo>
                    <a:cubicBezTo>
                      <a:pt x="156210" y="140970"/>
                      <a:pt x="228600" y="0"/>
                      <a:pt x="408623" y="0"/>
                    </a:cubicBezTo>
                    <a:lnTo>
                      <a:pt x="581025" y="0"/>
                    </a:lnTo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78BB3012-742E-4C41-A086-E8135B03E123}"/>
                  </a:ext>
                </a:extLst>
              </p:cNvPr>
              <p:cNvSpPr/>
              <p:nvPr/>
            </p:nvSpPr>
            <p:spPr>
              <a:xfrm>
                <a:off x="10380535" y="3448050"/>
                <a:ext cx="933450" cy="857250"/>
              </a:xfrm>
              <a:custGeom>
                <a:avLst/>
                <a:gdLst>
                  <a:gd name="connsiteX0" fmla="*/ 425768 w 933450"/>
                  <a:gd name="connsiteY0" fmla="*/ 862013 h 857250"/>
                  <a:gd name="connsiteX1" fmla="*/ 252412 w 933450"/>
                  <a:gd name="connsiteY1" fmla="*/ 862013 h 857250"/>
                  <a:gd name="connsiteX2" fmla="*/ 0 w 933450"/>
                  <a:gd name="connsiteY2" fmla="*/ 608647 h 857250"/>
                  <a:gd name="connsiteX3" fmla="*/ 185737 w 933450"/>
                  <a:gd name="connsiteY3" fmla="*/ 608647 h 857250"/>
                  <a:gd name="connsiteX4" fmla="*/ 438150 w 933450"/>
                  <a:gd name="connsiteY4" fmla="*/ 862013 h 857250"/>
                  <a:gd name="connsiteX5" fmla="*/ 438150 w 933450"/>
                  <a:gd name="connsiteY5" fmla="*/ 862013 h 857250"/>
                  <a:gd name="connsiteX6" fmla="*/ 690563 w 933450"/>
                  <a:gd name="connsiteY6" fmla="*/ 609600 h 857250"/>
                  <a:gd name="connsiteX7" fmla="*/ 690563 w 933450"/>
                  <a:gd name="connsiteY7" fmla="*/ 522922 h 857250"/>
                  <a:gd name="connsiteX8" fmla="*/ 689610 w 933450"/>
                  <a:gd name="connsiteY8" fmla="*/ 252413 h 857250"/>
                  <a:gd name="connsiteX9" fmla="*/ 942023 w 933450"/>
                  <a:gd name="connsiteY9" fmla="*/ 0 h 857250"/>
                  <a:gd name="connsiteX10" fmla="*/ 942023 w 933450"/>
                  <a:gd name="connsiteY10" fmla="*/ 0 h 857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33450" h="857250">
                    <a:moveTo>
                      <a:pt x="425768" y="862013"/>
                    </a:moveTo>
                    <a:lnTo>
                      <a:pt x="252412" y="862013"/>
                    </a:lnTo>
                    <a:cubicBezTo>
                      <a:pt x="112395" y="862013"/>
                      <a:pt x="0" y="748665"/>
                      <a:pt x="0" y="608647"/>
                    </a:cubicBezTo>
                    <a:lnTo>
                      <a:pt x="185737" y="608647"/>
                    </a:lnTo>
                    <a:cubicBezTo>
                      <a:pt x="184785" y="748665"/>
                      <a:pt x="298132" y="862013"/>
                      <a:pt x="438150" y="862013"/>
                    </a:cubicBezTo>
                    <a:lnTo>
                      <a:pt x="438150" y="862013"/>
                    </a:lnTo>
                    <a:cubicBezTo>
                      <a:pt x="577215" y="862013"/>
                      <a:pt x="690563" y="749618"/>
                      <a:pt x="690563" y="609600"/>
                    </a:cubicBezTo>
                    <a:lnTo>
                      <a:pt x="690563" y="522922"/>
                    </a:lnTo>
                    <a:cubicBezTo>
                      <a:pt x="690563" y="453390"/>
                      <a:pt x="690563" y="319088"/>
                      <a:pt x="689610" y="252413"/>
                    </a:cubicBezTo>
                    <a:cubicBezTo>
                      <a:pt x="689610" y="113348"/>
                      <a:pt x="802005" y="0"/>
                      <a:pt x="942023" y="0"/>
                    </a:cubicBezTo>
                    <a:lnTo>
                      <a:pt x="942023" y="0"/>
                    </a:lnTo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5D64B1DB-8041-4B4A-BD31-EDAF266D28FF}"/>
                  </a:ext>
                </a:extLst>
              </p:cNvPr>
              <p:cNvSpPr/>
              <p:nvPr/>
            </p:nvSpPr>
            <p:spPr>
              <a:xfrm>
                <a:off x="12649390" y="3685223"/>
                <a:ext cx="171450" cy="571500"/>
              </a:xfrm>
              <a:custGeom>
                <a:avLst/>
                <a:gdLst>
                  <a:gd name="connsiteX0" fmla="*/ 0 w 171450"/>
                  <a:gd name="connsiteY0" fmla="*/ 581025 h 571500"/>
                  <a:gd name="connsiteX1" fmla="*/ 0 w 171450"/>
                  <a:gd name="connsiteY1" fmla="*/ 0 h 571500"/>
                  <a:gd name="connsiteX2" fmla="*/ 171450 w 171450"/>
                  <a:gd name="connsiteY2" fmla="*/ 0 h 57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1450" h="571500">
                    <a:moveTo>
                      <a:pt x="0" y="581025"/>
                    </a:moveTo>
                    <a:lnTo>
                      <a:pt x="0" y="0"/>
                    </a:lnTo>
                    <a:lnTo>
                      <a:pt x="171450" y="0"/>
                    </a:lnTo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7B82AD7A-7ABB-4430-9E34-258E883C087C}"/>
                  </a:ext>
                </a:extLst>
              </p:cNvPr>
              <p:cNvSpPr/>
              <p:nvPr/>
            </p:nvSpPr>
            <p:spPr>
              <a:xfrm>
                <a:off x="12820840" y="3685223"/>
                <a:ext cx="104775" cy="514350"/>
              </a:xfrm>
              <a:custGeom>
                <a:avLst/>
                <a:gdLst>
                  <a:gd name="connsiteX0" fmla="*/ 113347 w 104775"/>
                  <a:gd name="connsiteY0" fmla="*/ 517207 h 514350"/>
                  <a:gd name="connsiteX1" fmla="*/ 113347 w 104775"/>
                  <a:gd name="connsiteY1" fmla="*/ 0 h 514350"/>
                  <a:gd name="connsiteX2" fmla="*/ 0 w 104775"/>
                  <a:gd name="connsiteY2" fmla="*/ 0 h 514350"/>
                  <a:gd name="connsiteX3" fmla="*/ 0 w 104775"/>
                  <a:gd name="connsiteY3" fmla="*/ 517207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5" h="514350">
                    <a:moveTo>
                      <a:pt x="113347" y="517207"/>
                    </a:moveTo>
                    <a:lnTo>
                      <a:pt x="113347" y="0"/>
                    </a:lnTo>
                    <a:lnTo>
                      <a:pt x="0" y="0"/>
                    </a:lnTo>
                    <a:lnTo>
                      <a:pt x="0" y="517207"/>
                    </a:lnTo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81BD6813-4E1C-416B-87C0-AE41496B331B}"/>
                  </a:ext>
                </a:extLst>
              </p:cNvPr>
              <p:cNvSpPr/>
              <p:nvPr/>
            </p:nvSpPr>
            <p:spPr>
              <a:xfrm>
                <a:off x="12731305" y="3862388"/>
                <a:ext cx="85725" cy="9525"/>
              </a:xfrm>
              <a:custGeom>
                <a:avLst/>
                <a:gdLst>
                  <a:gd name="connsiteX0" fmla="*/ 0 w 85725"/>
                  <a:gd name="connsiteY0" fmla="*/ 0 h 0"/>
                  <a:gd name="connsiteX1" fmla="*/ 89535 w 857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725">
                    <a:moveTo>
                      <a:pt x="0" y="0"/>
                    </a:moveTo>
                    <a:lnTo>
                      <a:pt x="89535" y="0"/>
                    </a:lnTo>
                  </a:path>
                </a:pathLst>
              </a:custGeom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B8F900CF-FE69-46B1-B4D3-FB91A6C7BA18}"/>
                  </a:ext>
                </a:extLst>
              </p:cNvPr>
              <p:cNvSpPr/>
              <p:nvPr/>
            </p:nvSpPr>
            <p:spPr>
              <a:xfrm>
                <a:off x="12693205" y="4106228"/>
                <a:ext cx="123825" cy="9525"/>
              </a:xfrm>
              <a:custGeom>
                <a:avLst/>
                <a:gdLst>
                  <a:gd name="connsiteX0" fmla="*/ 0 w 123825"/>
                  <a:gd name="connsiteY0" fmla="*/ 0 h 0"/>
                  <a:gd name="connsiteX1" fmla="*/ 127635 w 1238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3825">
                    <a:moveTo>
                      <a:pt x="0" y="0"/>
                    </a:moveTo>
                    <a:lnTo>
                      <a:pt x="127635" y="0"/>
                    </a:lnTo>
                  </a:path>
                </a:pathLst>
              </a:custGeom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C0D32AAE-8D29-4189-95C4-B32B9F76BCE7}"/>
                  </a:ext>
                </a:extLst>
              </p:cNvPr>
              <p:cNvSpPr/>
              <p:nvPr/>
            </p:nvSpPr>
            <p:spPr>
              <a:xfrm>
                <a:off x="10366248" y="3138488"/>
                <a:ext cx="104775" cy="1095375"/>
              </a:xfrm>
              <a:custGeom>
                <a:avLst/>
                <a:gdLst>
                  <a:gd name="connsiteX0" fmla="*/ 0 w 104775"/>
                  <a:gd name="connsiteY0" fmla="*/ 1098233 h 1095375"/>
                  <a:gd name="connsiteX1" fmla="*/ 0 w 104775"/>
                  <a:gd name="connsiteY1" fmla="*/ 0 h 1095375"/>
                  <a:gd name="connsiteX2" fmla="*/ 105727 w 104775"/>
                  <a:gd name="connsiteY2" fmla="*/ 0 h 1095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5" h="1095375">
                    <a:moveTo>
                      <a:pt x="0" y="1098233"/>
                    </a:moveTo>
                    <a:lnTo>
                      <a:pt x="0" y="0"/>
                    </a:lnTo>
                    <a:lnTo>
                      <a:pt x="105727" y="0"/>
                    </a:lnTo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3A870B64-2BF8-4D73-8E84-EA40949F5885}"/>
                  </a:ext>
                </a:extLst>
              </p:cNvPr>
              <p:cNvSpPr/>
              <p:nvPr/>
            </p:nvSpPr>
            <p:spPr>
              <a:xfrm>
                <a:off x="10480547" y="3138488"/>
                <a:ext cx="161925" cy="809625"/>
              </a:xfrm>
              <a:custGeom>
                <a:avLst/>
                <a:gdLst>
                  <a:gd name="connsiteX0" fmla="*/ 169545 w 161925"/>
                  <a:gd name="connsiteY0" fmla="*/ 808672 h 809625"/>
                  <a:gd name="connsiteX1" fmla="*/ 169545 w 161925"/>
                  <a:gd name="connsiteY1" fmla="*/ 0 h 809625"/>
                  <a:gd name="connsiteX2" fmla="*/ 0 w 161925"/>
                  <a:gd name="connsiteY2" fmla="*/ 0 h 809625"/>
                  <a:gd name="connsiteX3" fmla="*/ 0 w 161925"/>
                  <a:gd name="connsiteY3" fmla="*/ 814388 h 809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1925" h="809625">
                    <a:moveTo>
                      <a:pt x="169545" y="808672"/>
                    </a:moveTo>
                    <a:lnTo>
                      <a:pt x="169545" y="0"/>
                    </a:lnTo>
                    <a:lnTo>
                      <a:pt x="0" y="0"/>
                    </a:lnTo>
                    <a:lnTo>
                      <a:pt x="0" y="814388"/>
                    </a:lnTo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B0E06F1-E904-40D0-8712-B0DFDCB1F3D1}"/>
                  </a:ext>
                </a:extLst>
              </p:cNvPr>
              <p:cNvSpPr/>
              <p:nvPr/>
            </p:nvSpPr>
            <p:spPr>
              <a:xfrm>
                <a:off x="10480548" y="3210878"/>
                <a:ext cx="66675" cy="9525"/>
              </a:xfrm>
              <a:custGeom>
                <a:avLst/>
                <a:gdLst>
                  <a:gd name="connsiteX0" fmla="*/ 0 w 66675"/>
                  <a:gd name="connsiteY0" fmla="*/ 0 h 0"/>
                  <a:gd name="connsiteX1" fmla="*/ 69533 w 666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675">
                    <a:moveTo>
                      <a:pt x="0" y="0"/>
                    </a:moveTo>
                    <a:lnTo>
                      <a:pt x="69533" y="0"/>
                    </a:lnTo>
                  </a:path>
                </a:pathLst>
              </a:custGeom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74A4407E-BCF1-44D1-998A-FA57B8E5B2E6}"/>
                  </a:ext>
                </a:extLst>
              </p:cNvPr>
              <p:cNvSpPr/>
              <p:nvPr/>
            </p:nvSpPr>
            <p:spPr>
              <a:xfrm>
                <a:off x="10561510" y="3315653"/>
                <a:ext cx="85725" cy="9525"/>
              </a:xfrm>
              <a:custGeom>
                <a:avLst/>
                <a:gdLst>
                  <a:gd name="connsiteX0" fmla="*/ 0 w 85725"/>
                  <a:gd name="connsiteY0" fmla="*/ 0 h 0"/>
                  <a:gd name="connsiteX1" fmla="*/ 89535 w 857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5725">
                    <a:moveTo>
                      <a:pt x="0" y="0"/>
                    </a:moveTo>
                    <a:lnTo>
                      <a:pt x="89535" y="0"/>
                    </a:lnTo>
                  </a:path>
                </a:pathLst>
              </a:custGeom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01B228F7-DC93-4BA2-99FE-5DA126762E85}"/>
                  </a:ext>
                </a:extLst>
              </p:cNvPr>
              <p:cNvSpPr/>
              <p:nvPr/>
            </p:nvSpPr>
            <p:spPr>
              <a:xfrm>
                <a:off x="10480548" y="3599498"/>
                <a:ext cx="104775" cy="9525"/>
              </a:xfrm>
              <a:custGeom>
                <a:avLst/>
                <a:gdLst>
                  <a:gd name="connsiteX0" fmla="*/ 113348 w 104775"/>
                  <a:gd name="connsiteY0" fmla="*/ 0 h 0"/>
                  <a:gd name="connsiteX1" fmla="*/ 0 w 1047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775">
                    <a:moveTo>
                      <a:pt x="113348" y="0"/>
                    </a:moveTo>
                    <a:lnTo>
                      <a:pt x="0" y="0"/>
                    </a:lnTo>
                  </a:path>
                </a:pathLst>
              </a:custGeom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68616EF9-1B4D-4970-84BE-28FEA642532A}"/>
                  </a:ext>
                </a:extLst>
              </p:cNvPr>
              <p:cNvSpPr/>
              <p:nvPr/>
            </p:nvSpPr>
            <p:spPr>
              <a:xfrm>
                <a:off x="10536745" y="3853815"/>
                <a:ext cx="104775" cy="9525"/>
              </a:xfrm>
              <a:custGeom>
                <a:avLst/>
                <a:gdLst>
                  <a:gd name="connsiteX0" fmla="*/ 113347 w 104775"/>
                  <a:gd name="connsiteY0" fmla="*/ 0 h 0"/>
                  <a:gd name="connsiteX1" fmla="*/ 0 w 1047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775">
                    <a:moveTo>
                      <a:pt x="113347" y="0"/>
                    </a:moveTo>
                    <a:lnTo>
                      <a:pt x="0" y="0"/>
                    </a:lnTo>
                  </a:path>
                </a:pathLst>
              </a:custGeom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A1AFEBDE-7C2B-40DF-A5F0-EC1C241F8684}"/>
                  </a:ext>
                </a:extLst>
              </p:cNvPr>
              <p:cNvSpPr/>
              <p:nvPr/>
            </p:nvSpPr>
            <p:spPr>
              <a:xfrm>
                <a:off x="10480548" y="3695700"/>
                <a:ext cx="47625" cy="9525"/>
              </a:xfrm>
              <a:custGeom>
                <a:avLst/>
                <a:gdLst>
                  <a:gd name="connsiteX0" fmla="*/ 56198 w 47625"/>
                  <a:gd name="connsiteY0" fmla="*/ 0 h 0"/>
                  <a:gd name="connsiteX1" fmla="*/ 0 w 476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625">
                    <a:moveTo>
                      <a:pt x="56198" y="0"/>
                    </a:moveTo>
                    <a:lnTo>
                      <a:pt x="0" y="0"/>
                    </a:lnTo>
                  </a:path>
                </a:pathLst>
              </a:custGeom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E196A818-F9D7-4BF2-ADFA-4B4A7AD815CD}"/>
                  </a:ext>
                </a:extLst>
              </p:cNvPr>
              <p:cNvSpPr/>
              <p:nvPr/>
            </p:nvSpPr>
            <p:spPr>
              <a:xfrm>
                <a:off x="12688443" y="2723197"/>
                <a:ext cx="371475" cy="342900"/>
              </a:xfrm>
              <a:custGeom>
                <a:avLst/>
                <a:gdLst>
                  <a:gd name="connsiteX0" fmla="*/ 141922 w 371475"/>
                  <a:gd name="connsiteY0" fmla="*/ 0 h 342900"/>
                  <a:gd name="connsiteX1" fmla="*/ 371475 w 371475"/>
                  <a:gd name="connsiteY1" fmla="*/ 205740 h 342900"/>
                  <a:gd name="connsiteX2" fmla="*/ 229553 w 371475"/>
                  <a:gd name="connsiteY2" fmla="*/ 347663 h 342900"/>
                  <a:gd name="connsiteX3" fmla="*/ 0 w 371475"/>
                  <a:gd name="connsiteY3" fmla="*/ 141923 h 342900"/>
                  <a:gd name="connsiteX4" fmla="*/ 141922 w 371475"/>
                  <a:gd name="connsiteY4" fmla="*/ 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1475" h="342900">
                    <a:moveTo>
                      <a:pt x="141922" y="0"/>
                    </a:moveTo>
                    <a:cubicBezTo>
                      <a:pt x="141922" y="0"/>
                      <a:pt x="190500" y="192405"/>
                      <a:pt x="371475" y="205740"/>
                    </a:cubicBezTo>
                    <a:lnTo>
                      <a:pt x="229553" y="347663"/>
                    </a:lnTo>
                    <a:cubicBezTo>
                      <a:pt x="48577" y="333375"/>
                      <a:pt x="0" y="141923"/>
                      <a:pt x="0" y="141923"/>
                    </a:cubicBezTo>
                    <a:lnTo>
                      <a:pt x="141922" y="0"/>
                    </a:lnTo>
                    <a:close/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36BEC5C9-A2F3-4144-85E6-F466821FA9E5}"/>
                  </a:ext>
                </a:extLst>
              </p:cNvPr>
              <p:cNvSpPr/>
              <p:nvPr/>
            </p:nvSpPr>
            <p:spPr>
              <a:xfrm>
                <a:off x="10371010" y="2535555"/>
                <a:ext cx="352425" cy="342900"/>
              </a:xfrm>
              <a:custGeom>
                <a:avLst/>
                <a:gdLst>
                  <a:gd name="connsiteX0" fmla="*/ 0 w 352425"/>
                  <a:gd name="connsiteY0" fmla="*/ 175260 h 342900"/>
                  <a:gd name="connsiteX1" fmla="*/ 253365 w 352425"/>
                  <a:gd name="connsiteY1" fmla="*/ 0 h 342900"/>
                  <a:gd name="connsiteX2" fmla="*/ 358140 w 352425"/>
                  <a:gd name="connsiteY2" fmla="*/ 170498 h 342900"/>
                  <a:gd name="connsiteX3" fmla="*/ 104775 w 352425"/>
                  <a:gd name="connsiteY3" fmla="*/ 345758 h 342900"/>
                  <a:gd name="connsiteX4" fmla="*/ 0 w 352425"/>
                  <a:gd name="connsiteY4" fmla="*/ 17526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425" h="342900">
                    <a:moveTo>
                      <a:pt x="0" y="175260"/>
                    </a:moveTo>
                    <a:cubicBezTo>
                      <a:pt x="0" y="175260"/>
                      <a:pt x="198120" y="172403"/>
                      <a:pt x="253365" y="0"/>
                    </a:cubicBezTo>
                    <a:lnTo>
                      <a:pt x="358140" y="170498"/>
                    </a:lnTo>
                    <a:cubicBezTo>
                      <a:pt x="302895" y="342900"/>
                      <a:pt x="104775" y="345758"/>
                      <a:pt x="104775" y="345758"/>
                    </a:cubicBezTo>
                    <a:lnTo>
                      <a:pt x="0" y="175260"/>
                    </a:lnTo>
                    <a:close/>
                  </a:path>
                </a:pathLst>
              </a:custGeom>
              <a:noFill/>
              <a:ln w="23813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CD155F9E-CE00-4515-B831-6E65764D7344}"/>
              </a:ext>
            </a:extLst>
          </p:cNvPr>
          <p:cNvSpPr txBox="1"/>
          <p:nvPr/>
        </p:nvSpPr>
        <p:spPr>
          <a:xfrm>
            <a:off x="9191625" y="123825"/>
            <a:ext cx="609600" cy="809625"/>
          </a:xfrm>
          <a:prstGeom prst="rect">
            <a:avLst/>
          </a:prstGeom>
          <a:solidFill>
            <a:srgbClr val="E4B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>
            <a:defPPr>
              <a:defRPr lang="en-US"/>
            </a:defPPr>
            <a:lvl1pPr>
              <a:defRPr sz="1100">
                <a:solidFill>
                  <a:srgbClr val="2F363B"/>
                </a:solidFill>
              </a:defRPr>
            </a:lvl1pPr>
            <a:lvl2pPr marL="0" lvl="1" indent="0">
              <a:buSzPct val="100000"/>
              <a:buChar char="​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buNone/>
            </a:pPr>
            <a:endParaRPr lang="da-DK">
              <a:sym typeface="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2C96622-9ED3-4A7D-837B-09A8C459D0D0}"/>
              </a:ext>
            </a:extLst>
          </p:cNvPr>
          <p:cNvSpPr txBox="1"/>
          <p:nvPr/>
        </p:nvSpPr>
        <p:spPr>
          <a:xfrm>
            <a:off x="5080689" y="4606441"/>
            <a:ext cx="4425669" cy="387798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800" b="1" dirty="0"/>
              <a:t>Daniel v. Düring Kjeldsen</a:t>
            </a:r>
          </a:p>
        </p:txBody>
      </p:sp>
    </p:spTree>
    <p:extLst>
      <p:ext uri="{BB962C8B-B14F-4D97-AF65-F5344CB8AC3E}">
        <p14:creationId xmlns:p14="http://schemas.microsoft.com/office/powerpoint/2010/main" val="2382297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A4C54F5-2BF8-49A4-AE4F-D3864855AE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2254" y="2138963"/>
            <a:ext cx="7756009" cy="2224886"/>
          </a:xfrm>
        </p:spPr>
        <p:txBody>
          <a:bodyPr/>
          <a:lstStyle/>
          <a:p>
            <a:r>
              <a:rPr lang="da-DK" sz="2000" cap="none" dirty="0" err="1">
                <a:latin typeface="Lucida Console" panose="020B0609040504020204" pitchFamily="49" charset="0"/>
              </a:rPr>
              <a:t>BlockHit</a:t>
            </a:r>
            <a:r>
              <a:rPr lang="da-DK" sz="2000" cap="none" dirty="0">
                <a:latin typeface="Lucida Console" panose="020B0609040504020204" pitchFamily="49" charset="0"/>
              </a:rPr>
              <a:t>(</a:t>
            </a:r>
            <a:r>
              <a:rPr lang="da-DK" sz="2000" cap="none" dirty="0" err="1">
                <a:latin typeface="Lucida Console" panose="020B0609040504020204" pitchFamily="49" charset="0"/>
              </a:rPr>
              <a:t>int</a:t>
            </a:r>
            <a:r>
              <a:rPr lang="da-DK" sz="2000" cap="none" dirty="0">
                <a:latin typeface="Lucida Console" panose="020B0609040504020204" pitchFamily="49" charset="0"/>
              </a:rPr>
              <a:t> </a:t>
            </a:r>
            <a:r>
              <a:rPr lang="da-DK" sz="2000" cap="none" dirty="0" err="1">
                <a:latin typeface="Lucida Console" panose="020B0609040504020204" pitchFamily="49" charset="0"/>
              </a:rPr>
              <a:t>hitPoints</a:t>
            </a:r>
            <a:r>
              <a:rPr lang="da-DK" sz="2000" cap="none" dirty="0">
                <a:latin typeface="Lucida Console" panose="020B0609040504020204" pitchFamily="49" charset="0"/>
              </a:rPr>
              <a:t>) must </a:t>
            </a:r>
            <a:r>
              <a:rPr lang="da-DK" sz="2000" cap="none" dirty="0" err="1">
                <a:latin typeface="Lucida Console" panose="020B0609040504020204" pitchFamily="49" charset="0"/>
              </a:rPr>
              <a:t>subtract</a:t>
            </a:r>
            <a:r>
              <a:rPr lang="da-DK" sz="2000" cap="none" dirty="0">
                <a:latin typeface="Lucida Console" panose="020B0609040504020204" pitchFamily="49" charset="0"/>
              </a:rPr>
              <a:t> hitpoints from </a:t>
            </a:r>
            <a:r>
              <a:rPr lang="da-DK" sz="2000" cap="none" dirty="0" err="1">
                <a:latin typeface="Lucida Console" panose="020B0609040504020204" pitchFamily="49" charset="0"/>
              </a:rPr>
              <a:t>health</a:t>
            </a:r>
            <a:r>
              <a:rPr lang="da-DK" sz="2000" cap="none" dirty="0">
                <a:latin typeface="Lucida Console" panose="020B0609040504020204" pitchFamily="49" charset="0"/>
              </a:rPr>
              <a:t> </a:t>
            </a:r>
            <a:r>
              <a:rPr lang="da-DK" sz="2000" cap="none" dirty="0">
                <a:solidFill>
                  <a:schemeClr val="accent5">
                    <a:lumMod val="50000"/>
                    <a:lumOff val="50000"/>
                  </a:schemeClr>
                </a:solidFill>
                <a:latin typeface="Lucida Console" panose="020B0609040504020204" pitchFamily="49" charset="0"/>
              </a:rPr>
              <a:t>and check </a:t>
            </a:r>
            <a:r>
              <a:rPr lang="da-DK" sz="2000" cap="none" dirty="0" err="1">
                <a:solidFill>
                  <a:schemeClr val="accent5">
                    <a:lumMod val="50000"/>
                    <a:lumOff val="50000"/>
                  </a:schemeClr>
                </a:solidFill>
                <a:latin typeface="Lucida Console" panose="020B0609040504020204" pitchFamily="49" charset="0"/>
              </a:rPr>
              <a:t>if</a:t>
            </a:r>
            <a:r>
              <a:rPr lang="da-DK" sz="2000" cap="none" dirty="0">
                <a:solidFill>
                  <a:schemeClr val="accent5">
                    <a:lumMod val="50000"/>
                    <a:lumOff val="50000"/>
                  </a:schemeClr>
                </a:solidFill>
                <a:latin typeface="Lucida Console" panose="020B0609040504020204" pitchFamily="49" charset="0"/>
              </a:rPr>
              <a:t> </a:t>
            </a:r>
            <a:r>
              <a:rPr lang="da-DK" sz="2000" cap="none" dirty="0" err="1">
                <a:solidFill>
                  <a:schemeClr val="accent5">
                    <a:lumMod val="50000"/>
                    <a:lumOff val="50000"/>
                  </a:schemeClr>
                </a:solidFill>
                <a:latin typeface="Lucida Console" panose="020B0609040504020204" pitchFamily="49" charset="0"/>
              </a:rPr>
              <a:t>block</a:t>
            </a:r>
            <a:r>
              <a:rPr lang="da-DK" sz="2000" cap="none" dirty="0">
                <a:solidFill>
                  <a:schemeClr val="accent5">
                    <a:lumMod val="50000"/>
                    <a:lumOff val="50000"/>
                  </a:schemeClr>
                </a:solidFill>
                <a:latin typeface="Lucida Console" panose="020B0609040504020204" pitchFamily="49" charset="0"/>
              </a:rPr>
              <a:t> is </a:t>
            </a:r>
            <a:r>
              <a:rPr lang="da-DK" sz="2000" cap="none" dirty="0" err="1">
                <a:solidFill>
                  <a:schemeClr val="accent5">
                    <a:lumMod val="50000"/>
                    <a:lumOff val="50000"/>
                  </a:schemeClr>
                </a:solidFill>
                <a:latin typeface="Lucida Console" panose="020B0609040504020204" pitchFamily="49" charset="0"/>
              </a:rPr>
              <a:t>destroyed</a:t>
            </a:r>
            <a:r>
              <a:rPr lang="da-DK" sz="2000" cap="none" dirty="0">
                <a:solidFill>
                  <a:schemeClr val="accent5">
                    <a:lumMod val="50000"/>
                    <a:lumOff val="50000"/>
                  </a:schemeClr>
                </a:solidFill>
                <a:latin typeface="Lucida Console" panose="020B0609040504020204" pitchFamily="49" charset="0"/>
              </a:rPr>
              <a:t>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EB66C2-D5F5-4F7C-A816-0232238D13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26890-A6E3-4403-8B5F-B63FA3CC0E22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95E7D3-19E4-432C-A604-3E2AAC0A97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0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B9A90E-3121-4BF9-8D13-57BBF9E49F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255" y="3666044"/>
            <a:ext cx="6163535" cy="290553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15D0763-2CB0-40B1-B33E-A8E621674C56}"/>
              </a:ext>
            </a:extLst>
          </p:cNvPr>
          <p:cNvSpPr/>
          <p:nvPr/>
        </p:nvSpPr>
        <p:spPr>
          <a:xfrm>
            <a:off x="8775319" y="181859"/>
            <a:ext cx="1560352" cy="1417739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A794141-5826-46AF-9274-B9687B451E33}"/>
              </a:ext>
            </a:extLst>
          </p:cNvPr>
          <p:cNvSpPr/>
          <p:nvPr/>
        </p:nvSpPr>
        <p:spPr>
          <a:xfrm>
            <a:off x="8902552" y="5440261"/>
            <a:ext cx="1560352" cy="1417739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E16DA3-EF04-41FD-9019-FC80F17F3C82}"/>
              </a:ext>
            </a:extLst>
          </p:cNvPr>
          <p:cNvSpPr/>
          <p:nvPr/>
        </p:nvSpPr>
        <p:spPr>
          <a:xfrm>
            <a:off x="6435790" y="3666044"/>
            <a:ext cx="2149379" cy="3191956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0B43F5-3FE3-48B0-8140-6E3B1EC543DB}"/>
              </a:ext>
            </a:extLst>
          </p:cNvPr>
          <p:cNvSpPr txBox="1"/>
          <p:nvPr/>
        </p:nvSpPr>
        <p:spPr>
          <a:xfrm>
            <a:off x="6543413" y="3766657"/>
            <a:ext cx="3162649" cy="450893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Equivalence</a:t>
            </a:r>
            <a:r>
              <a:rPr lang="da-DK" sz="1600" dirty="0">
                <a:solidFill>
                  <a:schemeClr val="bg1"/>
                </a:solidFill>
                <a:latin typeface="Lucida Console" panose="020B0609040504020204" pitchFamily="49" charset="0"/>
              </a:rPr>
              <a:t> </a:t>
            </a:r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Partitioning</a:t>
            </a:r>
            <a:endParaRPr lang="da-DK" sz="1600" dirty="0">
              <a:solidFill>
                <a:schemeClr val="bg1"/>
              </a:solidFill>
              <a:latin typeface="Lucida Console" panose="020B0609040504020204" pitchFamily="49" charset="0"/>
            </a:endParaRPr>
          </a:p>
          <a:p>
            <a:pPr algn="l"/>
            <a:endParaRPr lang="da-DK" sz="11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8CEFFE9-B9AB-416A-9B69-D5AEE50861B9}"/>
              </a:ext>
            </a:extLst>
          </p:cNvPr>
          <p:cNvSpPr txBox="1"/>
          <p:nvPr/>
        </p:nvSpPr>
        <p:spPr>
          <a:xfrm>
            <a:off x="6838426" y="4152566"/>
            <a:ext cx="3162649" cy="2839239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da-DK" sz="1600" dirty="0">
              <a:solidFill>
                <a:schemeClr val="bg1"/>
              </a:solidFill>
              <a:latin typeface="Lucida Console" panose="020B0609040504020204" pitchFamily="49" charset="0"/>
            </a:endParaRPr>
          </a:p>
          <a:p>
            <a:pPr algn="l"/>
            <a:r>
              <a:rPr lang="da-DK" sz="1600" dirty="0">
                <a:solidFill>
                  <a:schemeClr val="bg1"/>
                </a:solidFill>
                <a:latin typeface="Lucida Console" panose="020B0609040504020204" pitchFamily="49" charset="0"/>
              </a:rPr>
              <a:t>Test suite:</a:t>
            </a:r>
          </a:p>
          <a:p>
            <a:pPr algn="l"/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hitPoints</a:t>
            </a:r>
            <a:r>
              <a:rPr lang="da-DK" sz="1600" dirty="0">
                <a:solidFill>
                  <a:schemeClr val="bg1"/>
                </a:solidFill>
                <a:latin typeface="Lucida Console" panose="020B0609040504020204" pitchFamily="49" charset="0"/>
              </a:rPr>
              <a:t> = </a:t>
            </a:r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MinValue</a:t>
            </a:r>
            <a:endParaRPr lang="da-DK" sz="1600" dirty="0">
              <a:solidFill>
                <a:schemeClr val="bg1"/>
              </a:solidFill>
              <a:latin typeface="Lucida Console" panose="020B0609040504020204" pitchFamily="49" charset="0"/>
            </a:endParaRPr>
          </a:p>
          <a:p>
            <a:pPr algn="l"/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hitPoints</a:t>
            </a:r>
            <a:r>
              <a:rPr lang="da-DK" sz="1600" dirty="0">
                <a:solidFill>
                  <a:schemeClr val="bg1"/>
                </a:solidFill>
                <a:latin typeface="Lucida Console" panose="020B0609040504020204" pitchFamily="49" charset="0"/>
              </a:rPr>
              <a:t> = -2</a:t>
            </a:r>
          </a:p>
          <a:p>
            <a:pPr algn="l"/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hitPoints</a:t>
            </a:r>
            <a:r>
              <a:rPr lang="da-DK" sz="1600" dirty="0">
                <a:solidFill>
                  <a:schemeClr val="bg1"/>
                </a:solidFill>
                <a:latin typeface="Lucida Console" panose="020B0609040504020204" pitchFamily="49" charset="0"/>
              </a:rPr>
              <a:t> = -1</a:t>
            </a:r>
          </a:p>
          <a:p>
            <a:pPr algn="l"/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hitPoints</a:t>
            </a:r>
            <a:r>
              <a:rPr lang="da-DK" sz="1600" dirty="0">
                <a:solidFill>
                  <a:schemeClr val="bg1"/>
                </a:solidFill>
                <a:latin typeface="Lucida Console" panose="020B0609040504020204" pitchFamily="49" charset="0"/>
              </a:rPr>
              <a:t> = 0</a:t>
            </a:r>
          </a:p>
          <a:p>
            <a:pPr algn="l"/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hitPoints</a:t>
            </a:r>
            <a:r>
              <a:rPr lang="da-DK" sz="1600" dirty="0">
                <a:solidFill>
                  <a:schemeClr val="bg1"/>
                </a:solidFill>
                <a:latin typeface="Lucida Console" panose="020B0609040504020204" pitchFamily="49" charset="0"/>
              </a:rPr>
              <a:t> = 1</a:t>
            </a:r>
          </a:p>
          <a:p>
            <a:pPr algn="l"/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hitPoints</a:t>
            </a:r>
            <a:r>
              <a:rPr lang="da-DK" sz="1600" dirty="0">
                <a:solidFill>
                  <a:schemeClr val="bg1"/>
                </a:solidFill>
                <a:latin typeface="Lucida Console" panose="020B0609040504020204" pitchFamily="49" charset="0"/>
              </a:rPr>
              <a:t> = 2</a:t>
            </a:r>
          </a:p>
          <a:p>
            <a:pPr algn="l"/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hitPoints</a:t>
            </a:r>
            <a:r>
              <a:rPr lang="da-DK" sz="1600" dirty="0">
                <a:solidFill>
                  <a:schemeClr val="bg1"/>
                </a:solidFill>
                <a:latin typeface="Lucida Console" panose="020B0609040504020204" pitchFamily="49" charset="0"/>
              </a:rPr>
              <a:t> = </a:t>
            </a:r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MaxValue</a:t>
            </a:r>
            <a:endParaRPr lang="da-DK" sz="1600" dirty="0">
              <a:solidFill>
                <a:schemeClr val="bg1"/>
              </a:solidFill>
              <a:latin typeface="Lucida Console" panose="020B0609040504020204" pitchFamily="49" charset="0"/>
            </a:endParaRPr>
          </a:p>
          <a:p>
            <a:pPr algn="l"/>
            <a:endParaRPr lang="da-DK" sz="1100" dirty="0"/>
          </a:p>
        </p:txBody>
      </p:sp>
      <p:pic>
        <p:nvPicPr>
          <p:cNvPr id="7" name="Graphic 6" descr="Checkmark with solid fill">
            <a:extLst>
              <a:ext uri="{FF2B5EF4-FFF2-40B4-BE49-F238E27FC236}">
                <a16:creationId xmlns:a16="http://schemas.microsoft.com/office/drawing/2014/main" id="{A6AF7DAD-CB22-4F8B-8D46-78898BB4AF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92185" y="4681832"/>
            <a:ext cx="294147" cy="294147"/>
          </a:xfrm>
          <a:prstGeom prst="rect">
            <a:avLst/>
          </a:prstGeom>
        </p:spPr>
      </p:pic>
      <p:pic>
        <p:nvPicPr>
          <p:cNvPr id="13" name="Graphic 12" descr="Checkmark with solid fill">
            <a:extLst>
              <a:ext uri="{FF2B5EF4-FFF2-40B4-BE49-F238E27FC236}">
                <a16:creationId xmlns:a16="http://schemas.microsoft.com/office/drawing/2014/main" id="{CD903320-A3CA-4027-95E3-08A8D6954C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11830" y="4962460"/>
            <a:ext cx="294147" cy="294147"/>
          </a:xfrm>
          <a:prstGeom prst="rect">
            <a:avLst/>
          </a:prstGeom>
        </p:spPr>
      </p:pic>
      <p:pic>
        <p:nvPicPr>
          <p:cNvPr id="15" name="Graphic 14" descr="Checkmark with solid fill">
            <a:extLst>
              <a:ext uri="{FF2B5EF4-FFF2-40B4-BE49-F238E27FC236}">
                <a16:creationId xmlns:a16="http://schemas.microsoft.com/office/drawing/2014/main" id="{B4A40A92-7FC4-4C29-A470-A08CDC92D1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11829" y="5278038"/>
            <a:ext cx="294147" cy="294147"/>
          </a:xfrm>
          <a:prstGeom prst="rect">
            <a:avLst/>
          </a:prstGeom>
        </p:spPr>
      </p:pic>
      <p:pic>
        <p:nvPicPr>
          <p:cNvPr id="16" name="Graphic 15" descr="Checkmark with solid fill">
            <a:extLst>
              <a:ext uri="{FF2B5EF4-FFF2-40B4-BE49-F238E27FC236}">
                <a16:creationId xmlns:a16="http://schemas.microsoft.com/office/drawing/2014/main" id="{68D477FC-ACA5-4DF3-9523-888598E6F2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07706" y="5572185"/>
            <a:ext cx="294147" cy="294147"/>
          </a:xfrm>
          <a:prstGeom prst="rect">
            <a:avLst/>
          </a:prstGeom>
        </p:spPr>
      </p:pic>
      <p:pic>
        <p:nvPicPr>
          <p:cNvPr id="17" name="Graphic 16" descr="Checkmark with solid fill">
            <a:extLst>
              <a:ext uri="{FF2B5EF4-FFF2-40B4-BE49-F238E27FC236}">
                <a16:creationId xmlns:a16="http://schemas.microsoft.com/office/drawing/2014/main" id="{8B217CB6-E5E5-440B-AD41-E2F11E0CAB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94689" y="5854983"/>
            <a:ext cx="294147" cy="294147"/>
          </a:xfrm>
          <a:prstGeom prst="rect">
            <a:avLst/>
          </a:prstGeom>
        </p:spPr>
      </p:pic>
      <p:pic>
        <p:nvPicPr>
          <p:cNvPr id="18" name="Graphic 17" descr="Checkmark with solid fill">
            <a:extLst>
              <a:ext uri="{FF2B5EF4-FFF2-40B4-BE49-F238E27FC236}">
                <a16:creationId xmlns:a16="http://schemas.microsoft.com/office/drawing/2014/main" id="{2ED01D92-0D37-473D-8466-6F2DC0B55D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92185" y="6160301"/>
            <a:ext cx="294147" cy="294147"/>
          </a:xfrm>
          <a:prstGeom prst="rect">
            <a:avLst/>
          </a:prstGeom>
        </p:spPr>
      </p:pic>
      <p:pic>
        <p:nvPicPr>
          <p:cNvPr id="19" name="Graphic 18" descr="Checkmark with solid fill">
            <a:extLst>
              <a:ext uri="{FF2B5EF4-FFF2-40B4-BE49-F238E27FC236}">
                <a16:creationId xmlns:a16="http://schemas.microsoft.com/office/drawing/2014/main" id="{F464CBB4-32F5-4710-95DA-4E1E52114D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08601" y="6486619"/>
            <a:ext cx="294147" cy="29414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EC2DC5E2-DCB0-4B81-8483-72C38F638F29}"/>
              </a:ext>
            </a:extLst>
          </p:cNvPr>
          <p:cNvSpPr txBox="1"/>
          <p:nvPr/>
        </p:nvSpPr>
        <p:spPr>
          <a:xfrm>
            <a:off x="0" y="66675"/>
            <a:ext cx="7153275" cy="997196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7200" dirty="0" err="1">
                <a:solidFill>
                  <a:srgbClr val="9A6E3A"/>
                </a:solidFill>
                <a:latin typeface="Impact" panose="020B0806030902050204" pitchFamily="34" charset="0"/>
              </a:rPr>
              <a:t>Testing</a:t>
            </a:r>
            <a:r>
              <a:rPr lang="da-DK" sz="7200" dirty="0">
                <a:solidFill>
                  <a:srgbClr val="9A6E3A"/>
                </a:solidFill>
                <a:latin typeface="Impact" panose="020B0806030902050204" pitchFamily="34" charset="0"/>
              </a:rPr>
              <a:t> the </a:t>
            </a:r>
            <a:r>
              <a:rPr lang="da-DK" sz="7200" dirty="0" err="1">
                <a:solidFill>
                  <a:srgbClr val="9A6E3A"/>
                </a:solidFill>
                <a:latin typeface="Impact" panose="020B0806030902050204" pitchFamily="34" charset="0"/>
              </a:rPr>
              <a:t>project</a:t>
            </a:r>
            <a:endParaRPr lang="da-DK" sz="7200" dirty="0">
              <a:solidFill>
                <a:srgbClr val="9A6E3A"/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0014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A4C54F5-2BF8-49A4-AE4F-D3864855AE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2254" y="2138963"/>
            <a:ext cx="7756009" cy="2224886"/>
          </a:xfrm>
        </p:spPr>
        <p:txBody>
          <a:bodyPr/>
          <a:lstStyle/>
          <a:p>
            <a:r>
              <a:rPr lang="da-DK" sz="2000" cap="none" dirty="0" err="1">
                <a:latin typeface="Lucida Console" panose="020B0609040504020204" pitchFamily="49" charset="0"/>
              </a:rPr>
              <a:t>BlockHit</a:t>
            </a:r>
            <a:r>
              <a:rPr lang="da-DK" sz="2000" cap="none" dirty="0">
                <a:latin typeface="Lucida Console" panose="020B0609040504020204" pitchFamily="49" charset="0"/>
              </a:rPr>
              <a:t>(</a:t>
            </a:r>
            <a:r>
              <a:rPr lang="da-DK" sz="2000" cap="none" dirty="0" err="1">
                <a:latin typeface="Lucida Console" panose="020B0609040504020204" pitchFamily="49" charset="0"/>
              </a:rPr>
              <a:t>int</a:t>
            </a:r>
            <a:r>
              <a:rPr lang="da-DK" sz="2000" cap="none" dirty="0">
                <a:latin typeface="Lucida Console" panose="020B0609040504020204" pitchFamily="49" charset="0"/>
              </a:rPr>
              <a:t> </a:t>
            </a:r>
            <a:r>
              <a:rPr lang="da-DK" sz="2000" cap="none" dirty="0" err="1">
                <a:latin typeface="Lucida Console" panose="020B0609040504020204" pitchFamily="49" charset="0"/>
              </a:rPr>
              <a:t>hitPoints</a:t>
            </a:r>
            <a:r>
              <a:rPr lang="da-DK" sz="2000" cap="none" dirty="0">
                <a:latin typeface="Lucida Console" panose="020B0609040504020204" pitchFamily="49" charset="0"/>
              </a:rPr>
              <a:t>) must </a:t>
            </a:r>
            <a:r>
              <a:rPr lang="da-DK" sz="2000" cap="none" dirty="0" err="1">
                <a:latin typeface="Lucida Console" panose="020B0609040504020204" pitchFamily="49" charset="0"/>
              </a:rPr>
              <a:t>subtract</a:t>
            </a:r>
            <a:r>
              <a:rPr lang="da-DK" sz="2000" cap="none" dirty="0">
                <a:latin typeface="Lucida Console" panose="020B0609040504020204" pitchFamily="49" charset="0"/>
              </a:rPr>
              <a:t> hitpoints from </a:t>
            </a:r>
            <a:r>
              <a:rPr lang="da-DK" sz="2000" cap="none" dirty="0" err="1">
                <a:latin typeface="Lucida Console" panose="020B0609040504020204" pitchFamily="49" charset="0"/>
              </a:rPr>
              <a:t>health</a:t>
            </a:r>
            <a:r>
              <a:rPr lang="da-DK" sz="2000" cap="none" dirty="0">
                <a:latin typeface="Lucida Console" panose="020B0609040504020204" pitchFamily="49" charset="0"/>
              </a:rPr>
              <a:t> </a:t>
            </a:r>
            <a:r>
              <a:rPr lang="da-DK" sz="2000" cap="none" dirty="0">
                <a:solidFill>
                  <a:schemeClr val="accent5">
                    <a:lumMod val="50000"/>
                    <a:lumOff val="50000"/>
                  </a:schemeClr>
                </a:solidFill>
                <a:latin typeface="Lucida Console" panose="020B0609040504020204" pitchFamily="49" charset="0"/>
              </a:rPr>
              <a:t>and check </a:t>
            </a:r>
            <a:r>
              <a:rPr lang="da-DK" sz="2000" cap="none" dirty="0" err="1">
                <a:solidFill>
                  <a:schemeClr val="accent5">
                    <a:lumMod val="50000"/>
                    <a:lumOff val="50000"/>
                  </a:schemeClr>
                </a:solidFill>
                <a:latin typeface="Lucida Console" panose="020B0609040504020204" pitchFamily="49" charset="0"/>
              </a:rPr>
              <a:t>if</a:t>
            </a:r>
            <a:r>
              <a:rPr lang="da-DK" sz="2000" cap="none" dirty="0">
                <a:solidFill>
                  <a:schemeClr val="accent5">
                    <a:lumMod val="50000"/>
                    <a:lumOff val="50000"/>
                  </a:schemeClr>
                </a:solidFill>
                <a:latin typeface="Lucida Console" panose="020B0609040504020204" pitchFamily="49" charset="0"/>
              </a:rPr>
              <a:t> </a:t>
            </a:r>
            <a:r>
              <a:rPr lang="da-DK" sz="2000" cap="none" dirty="0" err="1">
                <a:solidFill>
                  <a:schemeClr val="accent5">
                    <a:lumMod val="50000"/>
                    <a:lumOff val="50000"/>
                  </a:schemeClr>
                </a:solidFill>
                <a:latin typeface="Lucida Console" panose="020B0609040504020204" pitchFamily="49" charset="0"/>
              </a:rPr>
              <a:t>block</a:t>
            </a:r>
            <a:r>
              <a:rPr lang="da-DK" sz="2000" cap="none" dirty="0">
                <a:solidFill>
                  <a:schemeClr val="accent5">
                    <a:lumMod val="50000"/>
                    <a:lumOff val="50000"/>
                  </a:schemeClr>
                </a:solidFill>
                <a:latin typeface="Lucida Console" panose="020B0609040504020204" pitchFamily="49" charset="0"/>
              </a:rPr>
              <a:t> is </a:t>
            </a:r>
            <a:r>
              <a:rPr lang="da-DK" sz="2000" cap="none" dirty="0" err="1">
                <a:solidFill>
                  <a:schemeClr val="accent5">
                    <a:lumMod val="50000"/>
                    <a:lumOff val="50000"/>
                  </a:schemeClr>
                </a:solidFill>
                <a:latin typeface="Lucida Console" panose="020B0609040504020204" pitchFamily="49" charset="0"/>
              </a:rPr>
              <a:t>destroyed</a:t>
            </a:r>
            <a:r>
              <a:rPr lang="da-DK" sz="2000" cap="none" dirty="0">
                <a:solidFill>
                  <a:schemeClr val="accent5">
                    <a:lumMod val="50000"/>
                    <a:lumOff val="50000"/>
                  </a:schemeClr>
                </a:solidFill>
                <a:latin typeface="Lucida Console" panose="020B0609040504020204" pitchFamily="49" charset="0"/>
              </a:rPr>
              <a:t>.</a:t>
            </a:r>
            <a:br>
              <a:rPr lang="da-DK" sz="2000" cap="none" dirty="0">
                <a:solidFill>
                  <a:schemeClr val="accent5">
                    <a:lumMod val="50000"/>
                    <a:lumOff val="50000"/>
                  </a:schemeClr>
                </a:solidFill>
                <a:latin typeface="Lucida Console" panose="020B0609040504020204" pitchFamily="49" charset="0"/>
              </a:rPr>
            </a:br>
            <a:r>
              <a:rPr lang="da-DK" sz="2000" cap="none" dirty="0">
                <a:latin typeface="Lucida Console" panose="020B0609040504020204" pitchFamily="49" charset="0"/>
              </a:rPr>
              <a:t>Health must </a:t>
            </a:r>
            <a:r>
              <a:rPr lang="da-DK" sz="2000" cap="none" dirty="0" err="1">
                <a:latin typeface="Lucida Console" panose="020B0609040504020204" pitchFamily="49" charset="0"/>
              </a:rPr>
              <a:t>be</a:t>
            </a:r>
            <a:r>
              <a:rPr lang="da-DK" sz="2000" cap="none" dirty="0">
                <a:latin typeface="Lucida Console" panose="020B0609040504020204" pitchFamily="49" charset="0"/>
              </a:rPr>
              <a:t> </a:t>
            </a:r>
            <a:r>
              <a:rPr lang="da-DK" sz="2000" cap="none" dirty="0" err="1">
                <a:latin typeface="Lucida Console" panose="020B0609040504020204" pitchFamily="49" charset="0"/>
              </a:rPr>
              <a:t>decremented</a:t>
            </a:r>
            <a:r>
              <a:rPr lang="da-DK" sz="2000" cap="none" dirty="0">
                <a:latin typeface="Lucida Console" panose="020B0609040504020204" pitchFamily="49" charset="0"/>
              </a:rPr>
              <a:t> at </a:t>
            </a:r>
            <a:r>
              <a:rPr lang="da-DK" sz="2000" cap="none" dirty="0" err="1">
                <a:latin typeface="Lucida Console" panose="020B0609040504020204" pitchFamily="49" charset="0"/>
              </a:rPr>
              <a:t>each</a:t>
            </a:r>
            <a:r>
              <a:rPr lang="da-DK" sz="2000" cap="none" dirty="0">
                <a:latin typeface="Lucida Console" panose="020B0609040504020204" pitchFamily="49" charset="0"/>
              </a:rPr>
              <a:t> </a:t>
            </a:r>
            <a:r>
              <a:rPr lang="da-DK" sz="2000" cap="none" dirty="0" err="1">
                <a:latin typeface="Lucida Console" panose="020B0609040504020204" pitchFamily="49" charset="0"/>
              </a:rPr>
              <a:t>method</a:t>
            </a:r>
            <a:r>
              <a:rPr lang="da-DK" sz="2000" cap="none" dirty="0">
                <a:latin typeface="Lucida Console" panose="020B0609040504020204" pitchFamily="49" charset="0"/>
              </a:rPr>
              <a:t> </a:t>
            </a:r>
            <a:r>
              <a:rPr lang="da-DK" sz="2000" cap="none" dirty="0" err="1">
                <a:latin typeface="Lucida Console" panose="020B0609040504020204" pitchFamily="49" charset="0"/>
              </a:rPr>
              <a:t>call</a:t>
            </a:r>
            <a:r>
              <a:rPr lang="da-DK" sz="2000" cap="none" dirty="0">
                <a:latin typeface="Lucida Console" panose="020B0609040504020204" pitchFamily="49" charset="0"/>
              </a:rPr>
              <a:t>.</a:t>
            </a:r>
            <a:endParaRPr lang="da-DK" sz="2000" cap="none" dirty="0">
              <a:solidFill>
                <a:schemeClr val="accent5">
                  <a:lumMod val="50000"/>
                  <a:lumOff val="50000"/>
                </a:schemeClr>
              </a:solidFill>
              <a:latin typeface="Lucida Console" panose="020B0609040504020204" pitchFamily="49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EB66C2-D5F5-4F7C-A816-0232238D13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26890-A6E3-4403-8B5F-B63FA3CC0E22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95E7D3-19E4-432C-A604-3E2AAC0A97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1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B9A90E-3121-4BF9-8D13-57BBF9E49F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255" y="3666044"/>
            <a:ext cx="6163535" cy="290553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15D0763-2CB0-40B1-B33E-A8E621674C56}"/>
              </a:ext>
            </a:extLst>
          </p:cNvPr>
          <p:cNvSpPr/>
          <p:nvPr/>
        </p:nvSpPr>
        <p:spPr>
          <a:xfrm>
            <a:off x="8775319" y="181859"/>
            <a:ext cx="1560352" cy="1417739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A794141-5826-46AF-9274-B9687B451E33}"/>
              </a:ext>
            </a:extLst>
          </p:cNvPr>
          <p:cNvSpPr/>
          <p:nvPr/>
        </p:nvSpPr>
        <p:spPr>
          <a:xfrm>
            <a:off x="8902552" y="5440261"/>
            <a:ext cx="1560352" cy="1417739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E16DA3-EF04-41FD-9019-FC80F17F3C82}"/>
              </a:ext>
            </a:extLst>
          </p:cNvPr>
          <p:cNvSpPr/>
          <p:nvPr/>
        </p:nvSpPr>
        <p:spPr>
          <a:xfrm>
            <a:off x="6435790" y="3666044"/>
            <a:ext cx="2149379" cy="3191956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0B43F5-3FE3-48B0-8140-6E3B1EC543DB}"/>
              </a:ext>
            </a:extLst>
          </p:cNvPr>
          <p:cNvSpPr txBox="1"/>
          <p:nvPr/>
        </p:nvSpPr>
        <p:spPr>
          <a:xfrm>
            <a:off x="6543413" y="3766657"/>
            <a:ext cx="3162649" cy="450893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Equivalence</a:t>
            </a:r>
            <a:r>
              <a:rPr lang="da-DK" sz="1600" dirty="0">
                <a:solidFill>
                  <a:schemeClr val="bg1"/>
                </a:solidFill>
                <a:latin typeface="Lucida Console" panose="020B0609040504020204" pitchFamily="49" charset="0"/>
              </a:rPr>
              <a:t> </a:t>
            </a:r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Partitioning</a:t>
            </a:r>
            <a:endParaRPr lang="da-DK" sz="1600" dirty="0">
              <a:solidFill>
                <a:schemeClr val="bg1"/>
              </a:solidFill>
              <a:latin typeface="Lucida Console" panose="020B0609040504020204" pitchFamily="49" charset="0"/>
            </a:endParaRPr>
          </a:p>
          <a:p>
            <a:pPr algn="l"/>
            <a:endParaRPr lang="da-DK" sz="11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8CEFFE9-B9AB-416A-9B69-D5AEE50861B9}"/>
              </a:ext>
            </a:extLst>
          </p:cNvPr>
          <p:cNvSpPr txBox="1"/>
          <p:nvPr/>
        </p:nvSpPr>
        <p:spPr>
          <a:xfrm>
            <a:off x="6838426" y="4152566"/>
            <a:ext cx="3162649" cy="2839239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da-DK" sz="1600" dirty="0">
              <a:solidFill>
                <a:schemeClr val="bg1"/>
              </a:solidFill>
              <a:latin typeface="Lucida Console" panose="020B0609040504020204" pitchFamily="49" charset="0"/>
            </a:endParaRPr>
          </a:p>
          <a:p>
            <a:pPr algn="l"/>
            <a:r>
              <a:rPr lang="da-DK" sz="1600" dirty="0">
                <a:solidFill>
                  <a:schemeClr val="bg1"/>
                </a:solidFill>
                <a:latin typeface="Lucida Console" panose="020B0609040504020204" pitchFamily="49" charset="0"/>
              </a:rPr>
              <a:t>Test suite:</a:t>
            </a:r>
          </a:p>
          <a:p>
            <a:pPr algn="l"/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hitPoints</a:t>
            </a:r>
            <a:r>
              <a:rPr lang="da-DK" sz="1600" dirty="0">
                <a:solidFill>
                  <a:schemeClr val="bg1"/>
                </a:solidFill>
                <a:latin typeface="Lucida Console" panose="020B0609040504020204" pitchFamily="49" charset="0"/>
              </a:rPr>
              <a:t> = </a:t>
            </a:r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MinValue</a:t>
            </a:r>
            <a:endParaRPr lang="da-DK" sz="1600" dirty="0">
              <a:solidFill>
                <a:schemeClr val="bg1"/>
              </a:solidFill>
              <a:latin typeface="Lucida Console" panose="020B0609040504020204" pitchFamily="49" charset="0"/>
            </a:endParaRPr>
          </a:p>
          <a:p>
            <a:pPr algn="l"/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hitPoints</a:t>
            </a:r>
            <a:r>
              <a:rPr lang="da-DK" sz="1600" dirty="0">
                <a:solidFill>
                  <a:schemeClr val="bg1"/>
                </a:solidFill>
                <a:latin typeface="Lucida Console" panose="020B0609040504020204" pitchFamily="49" charset="0"/>
              </a:rPr>
              <a:t> = -2</a:t>
            </a:r>
          </a:p>
          <a:p>
            <a:pPr algn="l"/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hitPoints</a:t>
            </a:r>
            <a:r>
              <a:rPr lang="da-DK" sz="1600" dirty="0">
                <a:solidFill>
                  <a:schemeClr val="bg1"/>
                </a:solidFill>
                <a:latin typeface="Lucida Console" panose="020B0609040504020204" pitchFamily="49" charset="0"/>
              </a:rPr>
              <a:t> = -1</a:t>
            </a:r>
          </a:p>
          <a:p>
            <a:pPr algn="l"/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hitPoints</a:t>
            </a:r>
            <a:r>
              <a:rPr lang="da-DK" sz="1600" dirty="0">
                <a:solidFill>
                  <a:schemeClr val="bg1"/>
                </a:solidFill>
                <a:latin typeface="Lucida Console" panose="020B0609040504020204" pitchFamily="49" charset="0"/>
              </a:rPr>
              <a:t> = 0</a:t>
            </a:r>
          </a:p>
          <a:p>
            <a:pPr algn="l"/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hitPoints</a:t>
            </a:r>
            <a:r>
              <a:rPr lang="da-DK" sz="1600" dirty="0">
                <a:solidFill>
                  <a:schemeClr val="bg1"/>
                </a:solidFill>
                <a:latin typeface="Lucida Console" panose="020B0609040504020204" pitchFamily="49" charset="0"/>
              </a:rPr>
              <a:t> = 1</a:t>
            </a:r>
          </a:p>
          <a:p>
            <a:pPr algn="l"/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hitPoints</a:t>
            </a:r>
            <a:r>
              <a:rPr lang="da-DK" sz="1600" dirty="0">
                <a:solidFill>
                  <a:schemeClr val="bg1"/>
                </a:solidFill>
                <a:latin typeface="Lucida Console" panose="020B0609040504020204" pitchFamily="49" charset="0"/>
              </a:rPr>
              <a:t> = 2</a:t>
            </a:r>
          </a:p>
          <a:p>
            <a:pPr algn="l"/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hitPoints</a:t>
            </a:r>
            <a:r>
              <a:rPr lang="da-DK" sz="1600" dirty="0">
                <a:solidFill>
                  <a:schemeClr val="bg1"/>
                </a:solidFill>
                <a:latin typeface="Lucida Console" panose="020B0609040504020204" pitchFamily="49" charset="0"/>
              </a:rPr>
              <a:t> = </a:t>
            </a:r>
            <a:r>
              <a:rPr lang="da-DK" sz="1600" dirty="0" err="1">
                <a:solidFill>
                  <a:schemeClr val="bg1"/>
                </a:solidFill>
                <a:latin typeface="Lucida Console" panose="020B0609040504020204" pitchFamily="49" charset="0"/>
              </a:rPr>
              <a:t>MaxValue</a:t>
            </a:r>
            <a:endParaRPr lang="da-DK" sz="1600" dirty="0">
              <a:solidFill>
                <a:schemeClr val="bg1"/>
              </a:solidFill>
              <a:latin typeface="Lucida Console" panose="020B0609040504020204" pitchFamily="49" charset="0"/>
            </a:endParaRPr>
          </a:p>
          <a:p>
            <a:pPr algn="l"/>
            <a:endParaRPr lang="da-DK" sz="1100" dirty="0"/>
          </a:p>
        </p:txBody>
      </p:sp>
      <p:pic>
        <p:nvPicPr>
          <p:cNvPr id="17" name="Graphic 16" descr="Checkmark with solid fill">
            <a:extLst>
              <a:ext uri="{FF2B5EF4-FFF2-40B4-BE49-F238E27FC236}">
                <a16:creationId xmlns:a16="http://schemas.microsoft.com/office/drawing/2014/main" id="{8B217CB6-E5E5-440B-AD41-E2F11E0CAB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94689" y="5854983"/>
            <a:ext cx="294147" cy="294147"/>
          </a:xfrm>
          <a:prstGeom prst="rect">
            <a:avLst/>
          </a:prstGeom>
        </p:spPr>
      </p:pic>
      <p:pic>
        <p:nvPicPr>
          <p:cNvPr id="18" name="Graphic 17" descr="Checkmark with solid fill">
            <a:extLst>
              <a:ext uri="{FF2B5EF4-FFF2-40B4-BE49-F238E27FC236}">
                <a16:creationId xmlns:a16="http://schemas.microsoft.com/office/drawing/2014/main" id="{2ED01D92-0D37-473D-8466-6F2DC0B55D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92185" y="6160301"/>
            <a:ext cx="294147" cy="294147"/>
          </a:xfrm>
          <a:prstGeom prst="rect">
            <a:avLst/>
          </a:prstGeom>
        </p:spPr>
      </p:pic>
      <p:pic>
        <p:nvPicPr>
          <p:cNvPr id="19" name="Graphic 18" descr="Checkmark with solid fill">
            <a:extLst>
              <a:ext uri="{FF2B5EF4-FFF2-40B4-BE49-F238E27FC236}">
                <a16:creationId xmlns:a16="http://schemas.microsoft.com/office/drawing/2014/main" id="{F464CBB4-32F5-4710-95DA-4E1E52114D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08601" y="6486619"/>
            <a:ext cx="294147" cy="294147"/>
          </a:xfrm>
          <a:prstGeom prst="rect">
            <a:avLst/>
          </a:prstGeom>
        </p:spPr>
      </p:pic>
      <p:pic>
        <p:nvPicPr>
          <p:cNvPr id="20" name="Graphic 19" descr="Close with solid fill">
            <a:extLst>
              <a:ext uri="{FF2B5EF4-FFF2-40B4-BE49-F238E27FC236}">
                <a16:creationId xmlns:a16="http://schemas.microsoft.com/office/drawing/2014/main" id="{BE7E055E-A53F-4751-AE10-453E311F67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35790" y="5584641"/>
            <a:ext cx="350542" cy="350542"/>
          </a:xfrm>
          <a:prstGeom prst="rect">
            <a:avLst/>
          </a:prstGeom>
        </p:spPr>
      </p:pic>
      <p:pic>
        <p:nvPicPr>
          <p:cNvPr id="21" name="Graphic 20" descr="Close with solid fill">
            <a:extLst>
              <a:ext uri="{FF2B5EF4-FFF2-40B4-BE49-F238E27FC236}">
                <a16:creationId xmlns:a16="http://schemas.microsoft.com/office/drawing/2014/main" id="{CF2E531C-901B-4288-8989-C9CFE89B17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35790" y="5285783"/>
            <a:ext cx="350542" cy="350542"/>
          </a:xfrm>
          <a:prstGeom prst="rect">
            <a:avLst/>
          </a:prstGeom>
        </p:spPr>
      </p:pic>
      <p:pic>
        <p:nvPicPr>
          <p:cNvPr id="22" name="Graphic 21" descr="Close with solid fill">
            <a:extLst>
              <a:ext uri="{FF2B5EF4-FFF2-40B4-BE49-F238E27FC236}">
                <a16:creationId xmlns:a16="http://schemas.microsoft.com/office/drawing/2014/main" id="{A3EE42AE-5A10-4653-9E4A-CEA4DCB28D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35790" y="4979723"/>
            <a:ext cx="350542" cy="350542"/>
          </a:xfrm>
          <a:prstGeom prst="rect">
            <a:avLst/>
          </a:prstGeom>
        </p:spPr>
      </p:pic>
      <p:pic>
        <p:nvPicPr>
          <p:cNvPr id="23" name="Graphic 22" descr="Close with solid fill">
            <a:extLst>
              <a:ext uri="{FF2B5EF4-FFF2-40B4-BE49-F238E27FC236}">
                <a16:creationId xmlns:a16="http://schemas.microsoft.com/office/drawing/2014/main" id="{6F10410D-CA36-4ED8-A304-652E93433FA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35790" y="4695811"/>
            <a:ext cx="350542" cy="35054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B39F16D0-8CF6-46F4-A544-27FB8A290780}"/>
              </a:ext>
            </a:extLst>
          </p:cNvPr>
          <p:cNvSpPr txBox="1"/>
          <p:nvPr/>
        </p:nvSpPr>
        <p:spPr>
          <a:xfrm>
            <a:off x="0" y="66675"/>
            <a:ext cx="7153275" cy="997196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7200" dirty="0" err="1">
                <a:solidFill>
                  <a:srgbClr val="9A6E3A"/>
                </a:solidFill>
                <a:latin typeface="Impact" panose="020B0806030902050204" pitchFamily="34" charset="0"/>
              </a:rPr>
              <a:t>Testing</a:t>
            </a:r>
            <a:r>
              <a:rPr lang="da-DK" sz="7200" dirty="0">
                <a:solidFill>
                  <a:srgbClr val="9A6E3A"/>
                </a:solidFill>
                <a:latin typeface="Impact" panose="020B0806030902050204" pitchFamily="34" charset="0"/>
              </a:rPr>
              <a:t> the </a:t>
            </a:r>
            <a:r>
              <a:rPr lang="da-DK" sz="7200" dirty="0" err="1">
                <a:solidFill>
                  <a:srgbClr val="9A6E3A"/>
                </a:solidFill>
                <a:latin typeface="Impact" panose="020B0806030902050204" pitchFamily="34" charset="0"/>
              </a:rPr>
              <a:t>project</a:t>
            </a:r>
            <a:endParaRPr lang="da-DK" sz="7200" dirty="0">
              <a:solidFill>
                <a:srgbClr val="9A6E3A"/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3765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1C564D6-62DB-409C-8E92-A467AFBB22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" y="72038"/>
            <a:ext cx="5842800" cy="2224886"/>
          </a:xfrm>
        </p:spPr>
        <p:txBody>
          <a:bodyPr/>
          <a:lstStyle/>
          <a:p>
            <a:r>
              <a:rPr lang="da-DK" sz="4800" dirty="0">
                <a:solidFill>
                  <a:srgbClr val="9A6E3A"/>
                </a:solidFill>
              </a:rPr>
              <a:t>The </a:t>
            </a:r>
            <a:r>
              <a:rPr lang="da-DK" sz="4800" dirty="0" err="1">
                <a:solidFill>
                  <a:srgbClr val="9A6E3A"/>
                </a:solidFill>
              </a:rPr>
              <a:t>development</a:t>
            </a:r>
            <a:r>
              <a:rPr lang="da-DK" sz="4800" dirty="0">
                <a:solidFill>
                  <a:srgbClr val="9A6E3A"/>
                </a:solidFill>
              </a:rPr>
              <a:t> </a:t>
            </a:r>
            <a:r>
              <a:rPr lang="da-DK" sz="4800" dirty="0" err="1">
                <a:solidFill>
                  <a:srgbClr val="9A6E3A"/>
                </a:solidFill>
              </a:rPr>
              <a:t>process</a:t>
            </a:r>
            <a:endParaRPr lang="da-DK" sz="4800" dirty="0">
              <a:solidFill>
                <a:srgbClr val="9A6E3A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52E7D7-6DCB-46F8-9F96-C8508968E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26890-A6E3-4403-8B5F-B63FA3CC0E22}" type="datetime1">
              <a:rPr lang="en-US" smtClean="0"/>
              <a:t>6/21/2021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EA2144-CF66-4274-96D6-E42289895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483F87-BC62-418C-8119-58509ABC71DD}"/>
              </a:ext>
            </a:extLst>
          </p:cNvPr>
          <p:cNvSpPr/>
          <p:nvPr/>
        </p:nvSpPr>
        <p:spPr>
          <a:xfrm>
            <a:off x="8775319" y="181859"/>
            <a:ext cx="1560352" cy="1417739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534B551-647C-4E41-B6A0-0C0F6EA0881B}"/>
              </a:ext>
            </a:extLst>
          </p:cNvPr>
          <p:cNvSpPr/>
          <p:nvPr/>
        </p:nvSpPr>
        <p:spPr>
          <a:xfrm>
            <a:off x="8641969" y="5617794"/>
            <a:ext cx="1560352" cy="1417739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8BBE9BD-C8F6-40D8-9422-F3A9809BCFEF}"/>
              </a:ext>
            </a:extLst>
          </p:cNvPr>
          <p:cNvSpPr/>
          <p:nvPr/>
        </p:nvSpPr>
        <p:spPr>
          <a:xfrm>
            <a:off x="-85280" y="1352550"/>
            <a:ext cx="8400410" cy="55054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5C67EDB-2786-4AB8-B303-966035B2C1B0}"/>
              </a:ext>
            </a:extLst>
          </p:cNvPr>
          <p:cNvGrpSpPr/>
          <p:nvPr/>
        </p:nvGrpSpPr>
        <p:grpSpPr>
          <a:xfrm>
            <a:off x="4533900" y="1983389"/>
            <a:ext cx="2711258" cy="2293336"/>
            <a:chOff x="7146852" y="4943996"/>
            <a:chExt cx="412366" cy="414722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8EDCAF3-CBB8-45DB-8A08-C9FF33B8F6B6}"/>
                </a:ext>
              </a:extLst>
            </p:cNvPr>
            <p:cNvSpPr/>
            <p:nvPr/>
          </p:nvSpPr>
          <p:spPr>
            <a:xfrm>
              <a:off x="7338838" y="4960129"/>
              <a:ext cx="203510" cy="258513"/>
            </a:xfrm>
            <a:custGeom>
              <a:avLst/>
              <a:gdLst>
                <a:gd name="connsiteX0" fmla="*/ 151990 w 203510"/>
                <a:gd name="connsiteY0" fmla="*/ 260895 h 258513"/>
                <a:gd name="connsiteX1" fmla="*/ 125039 w 203510"/>
                <a:gd name="connsiteY1" fmla="*/ 213043 h 258513"/>
                <a:gd name="connsiteX2" fmla="*/ 125039 w 203510"/>
                <a:gd name="connsiteY2" fmla="*/ 193792 h 258513"/>
                <a:gd name="connsiteX3" fmla="*/ 2382 w 203510"/>
                <a:gd name="connsiteY3" fmla="*/ 80486 h 258513"/>
                <a:gd name="connsiteX4" fmla="*/ 2933 w 203510"/>
                <a:gd name="connsiteY4" fmla="*/ 2382 h 258513"/>
                <a:gd name="connsiteX5" fmla="*/ 203142 w 203510"/>
                <a:gd name="connsiteY5" fmla="*/ 187192 h 258513"/>
                <a:gd name="connsiteX6" fmla="*/ 201493 w 203510"/>
                <a:gd name="connsiteY6" fmla="*/ 235044 h 258513"/>
                <a:gd name="connsiteX7" fmla="*/ 151990 w 203510"/>
                <a:gd name="connsiteY7" fmla="*/ 260895 h 258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510" h="258513">
                  <a:moveTo>
                    <a:pt x="151990" y="260895"/>
                  </a:moveTo>
                  <a:lnTo>
                    <a:pt x="125039" y="213043"/>
                  </a:lnTo>
                  <a:cubicBezTo>
                    <a:pt x="125039" y="213043"/>
                    <a:pt x="125588" y="200392"/>
                    <a:pt x="125039" y="193792"/>
                  </a:cubicBezTo>
                  <a:cubicBezTo>
                    <a:pt x="119538" y="129439"/>
                    <a:pt x="66736" y="80486"/>
                    <a:pt x="2382" y="80486"/>
                  </a:cubicBezTo>
                  <a:lnTo>
                    <a:pt x="2933" y="2382"/>
                  </a:lnTo>
                  <a:cubicBezTo>
                    <a:pt x="107988" y="2932"/>
                    <a:pt x="194342" y="82686"/>
                    <a:pt x="203142" y="187192"/>
                  </a:cubicBezTo>
                  <a:cubicBezTo>
                    <a:pt x="204793" y="203142"/>
                    <a:pt x="201493" y="235044"/>
                    <a:pt x="201493" y="235044"/>
                  </a:cubicBezTo>
                  <a:lnTo>
                    <a:pt x="151990" y="260895"/>
                  </a:lnTo>
                  <a:close/>
                </a:path>
              </a:pathLst>
            </a:custGeom>
            <a:solidFill>
              <a:schemeClr val="accent2"/>
            </a:solidFill>
            <a:ln w="5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5585480-C390-449E-A105-D5385C96B8E2}"/>
                </a:ext>
              </a:extLst>
            </p:cNvPr>
            <p:cNvGrpSpPr/>
            <p:nvPr/>
          </p:nvGrpSpPr>
          <p:grpSpPr>
            <a:xfrm>
              <a:off x="7146852" y="4943996"/>
              <a:ext cx="412366" cy="414722"/>
              <a:chOff x="7146852" y="4943996"/>
              <a:chExt cx="412366" cy="414722"/>
            </a:xfrm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36050A46-08C2-4E17-A2DF-13280225AFAA}"/>
                  </a:ext>
                </a:extLst>
              </p:cNvPr>
              <p:cNvSpPr/>
              <p:nvPr/>
            </p:nvSpPr>
            <p:spPr>
              <a:xfrm>
                <a:off x="7350207" y="4943996"/>
                <a:ext cx="209011" cy="264013"/>
              </a:xfrm>
              <a:custGeom>
                <a:avLst/>
                <a:gdLst>
                  <a:gd name="connsiteX0" fmla="*/ 154372 w 209010"/>
                  <a:gd name="connsiteY0" fmla="*/ 263277 h 264013"/>
                  <a:gd name="connsiteX1" fmla="*/ 127421 w 209010"/>
                  <a:gd name="connsiteY1" fmla="*/ 215425 h 264013"/>
                  <a:gd name="connsiteX2" fmla="*/ 127421 w 209010"/>
                  <a:gd name="connsiteY2" fmla="*/ 196174 h 264013"/>
                  <a:gd name="connsiteX3" fmla="*/ 4764 w 209010"/>
                  <a:gd name="connsiteY3" fmla="*/ 82868 h 264013"/>
                  <a:gd name="connsiteX4" fmla="*/ 5315 w 209010"/>
                  <a:gd name="connsiteY4" fmla="*/ 4764 h 264013"/>
                  <a:gd name="connsiteX5" fmla="*/ 205524 w 209010"/>
                  <a:gd name="connsiteY5" fmla="*/ 189574 h 264013"/>
                  <a:gd name="connsiteX6" fmla="*/ 203875 w 209010"/>
                  <a:gd name="connsiteY6" fmla="*/ 237426 h 264013"/>
                  <a:gd name="connsiteX7" fmla="*/ 154372 w 209010"/>
                  <a:gd name="connsiteY7" fmla="*/ 263277 h 264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9010" h="264013">
                    <a:moveTo>
                      <a:pt x="154372" y="263277"/>
                    </a:moveTo>
                    <a:lnTo>
                      <a:pt x="127421" y="215425"/>
                    </a:lnTo>
                    <a:cubicBezTo>
                      <a:pt x="127421" y="215425"/>
                      <a:pt x="127971" y="202774"/>
                      <a:pt x="127421" y="196174"/>
                    </a:cubicBezTo>
                    <a:cubicBezTo>
                      <a:pt x="121920" y="131821"/>
                      <a:pt x="69118" y="82868"/>
                      <a:pt x="4764" y="82868"/>
                    </a:cubicBezTo>
                    <a:lnTo>
                      <a:pt x="5315" y="4764"/>
                    </a:lnTo>
                    <a:cubicBezTo>
                      <a:pt x="110370" y="5314"/>
                      <a:pt x="196724" y="85068"/>
                      <a:pt x="205524" y="189574"/>
                    </a:cubicBezTo>
                    <a:cubicBezTo>
                      <a:pt x="207175" y="205524"/>
                      <a:pt x="203875" y="237426"/>
                      <a:pt x="203875" y="237426"/>
                    </a:cubicBezTo>
                    <a:lnTo>
                      <a:pt x="154372" y="263277"/>
                    </a:lnTo>
                    <a:close/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21BD530B-1412-4C32-92A4-4B04E1565766}"/>
                  </a:ext>
                </a:extLst>
              </p:cNvPr>
              <p:cNvSpPr/>
              <p:nvPr/>
            </p:nvSpPr>
            <p:spPr>
              <a:xfrm>
                <a:off x="7225351" y="5210210"/>
                <a:ext cx="308016" cy="148508"/>
              </a:xfrm>
              <a:custGeom>
                <a:avLst/>
                <a:gdLst>
                  <a:gd name="connsiteX0" fmla="*/ 9715 w 308015"/>
                  <a:gd name="connsiteY0" fmla="*/ 44366 h 148507"/>
                  <a:gd name="connsiteX1" fmla="*/ 60867 w 308015"/>
                  <a:gd name="connsiteY1" fmla="*/ 47116 h 148507"/>
                  <a:gd name="connsiteX2" fmla="*/ 77918 w 308015"/>
                  <a:gd name="connsiteY2" fmla="*/ 56467 h 148507"/>
                  <a:gd name="connsiteX3" fmla="*/ 236876 w 308015"/>
                  <a:gd name="connsiteY3" fmla="*/ 4764 h 148507"/>
                  <a:gd name="connsiteX4" fmla="*/ 305079 w 308015"/>
                  <a:gd name="connsiteY4" fmla="*/ 43266 h 148507"/>
                  <a:gd name="connsiteX5" fmla="*/ 46016 w 308015"/>
                  <a:gd name="connsiteY5" fmla="*/ 127971 h 148507"/>
                  <a:gd name="connsiteX6" fmla="*/ 4764 w 308015"/>
                  <a:gd name="connsiteY6" fmla="*/ 103219 h 148507"/>
                  <a:gd name="connsiteX7" fmla="*/ 9715 w 308015"/>
                  <a:gd name="connsiteY7" fmla="*/ 44366 h 148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015" h="148507">
                    <a:moveTo>
                      <a:pt x="9715" y="44366"/>
                    </a:moveTo>
                    <a:lnTo>
                      <a:pt x="60867" y="47116"/>
                    </a:lnTo>
                    <a:cubicBezTo>
                      <a:pt x="60867" y="47116"/>
                      <a:pt x="71867" y="53717"/>
                      <a:pt x="77918" y="56467"/>
                    </a:cubicBezTo>
                    <a:cubicBezTo>
                      <a:pt x="136771" y="82868"/>
                      <a:pt x="204975" y="60867"/>
                      <a:pt x="236876" y="4764"/>
                    </a:cubicBezTo>
                    <a:lnTo>
                      <a:pt x="305079" y="43266"/>
                    </a:lnTo>
                    <a:cubicBezTo>
                      <a:pt x="253377" y="134571"/>
                      <a:pt x="141721" y="171423"/>
                      <a:pt x="46016" y="127971"/>
                    </a:cubicBezTo>
                    <a:cubicBezTo>
                      <a:pt x="31166" y="121370"/>
                      <a:pt x="4764" y="103219"/>
                      <a:pt x="4764" y="103219"/>
                    </a:cubicBezTo>
                    <a:lnTo>
                      <a:pt x="9715" y="44366"/>
                    </a:lnTo>
                    <a:close/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20A4A30E-AA67-4C6A-ACE4-4A9508A34AA2}"/>
                  </a:ext>
                </a:extLst>
              </p:cNvPr>
              <p:cNvSpPr/>
              <p:nvPr/>
            </p:nvSpPr>
            <p:spPr>
              <a:xfrm>
                <a:off x="7146852" y="4958847"/>
                <a:ext cx="176009" cy="297015"/>
              </a:xfrm>
              <a:custGeom>
                <a:avLst/>
                <a:gdLst>
                  <a:gd name="connsiteX0" fmla="*/ 171268 w 176008"/>
                  <a:gd name="connsiteY0" fmla="*/ 36666 h 297015"/>
                  <a:gd name="connsiteX1" fmla="*/ 150367 w 176008"/>
                  <a:gd name="connsiteY1" fmla="*/ 81218 h 297015"/>
                  <a:gd name="connsiteX2" fmla="*/ 133866 w 176008"/>
                  <a:gd name="connsiteY2" fmla="*/ 91669 h 297015"/>
                  <a:gd name="connsiteX3" fmla="*/ 100864 w 176008"/>
                  <a:gd name="connsiteY3" fmla="*/ 255577 h 297015"/>
                  <a:gd name="connsiteX4" fmla="*/ 33761 w 176008"/>
                  <a:gd name="connsiteY4" fmla="*/ 295729 h 297015"/>
                  <a:gd name="connsiteX5" fmla="*/ 87664 w 176008"/>
                  <a:gd name="connsiteY5" fmla="*/ 28415 h 297015"/>
                  <a:gd name="connsiteX6" fmla="*/ 129466 w 176008"/>
                  <a:gd name="connsiteY6" fmla="*/ 4764 h 297015"/>
                  <a:gd name="connsiteX7" fmla="*/ 171268 w 176008"/>
                  <a:gd name="connsiteY7" fmla="*/ 36666 h 297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6008" h="297015">
                    <a:moveTo>
                      <a:pt x="171268" y="36666"/>
                    </a:moveTo>
                    <a:lnTo>
                      <a:pt x="150367" y="81218"/>
                    </a:lnTo>
                    <a:cubicBezTo>
                      <a:pt x="150367" y="81218"/>
                      <a:pt x="139366" y="87818"/>
                      <a:pt x="133866" y="91669"/>
                    </a:cubicBezTo>
                    <a:cubicBezTo>
                      <a:pt x="81613" y="129621"/>
                      <a:pt x="67312" y="200024"/>
                      <a:pt x="100864" y="255577"/>
                    </a:cubicBezTo>
                    <a:lnTo>
                      <a:pt x="33761" y="295729"/>
                    </a:lnTo>
                    <a:cubicBezTo>
                      <a:pt x="-20142" y="205524"/>
                      <a:pt x="2959" y="90569"/>
                      <a:pt x="87664" y="28415"/>
                    </a:cubicBezTo>
                    <a:cubicBezTo>
                      <a:pt x="100864" y="19065"/>
                      <a:pt x="129466" y="4764"/>
                      <a:pt x="129466" y="4764"/>
                    </a:cubicBezTo>
                    <a:lnTo>
                      <a:pt x="171268" y="36666"/>
                    </a:lnTo>
                    <a:close/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7BC0ACF-57AD-40CC-A6E8-25F2C46166F4}"/>
              </a:ext>
            </a:extLst>
          </p:cNvPr>
          <p:cNvGrpSpPr/>
          <p:nvPr/>
        </p:nvGrpSpPr>
        <p:grpSpPr>
          <a:xfrm>
            <a:off x="962371" y="4458018"/>
            <a:ext cx="2710731" cy="1907133"/>
            <a:chOff x="1761507" y="4806166"/>
            <a:chExt cx="585833" cy="480515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9AA9385-27FC-4995-A985-6FC0591DCF2E}"/>
                </a:ext>
              </a:extLst>
            </p:cNvPr>
            <p:cNvSpPr/>
            <p:nvPr/>
          </p:nvSpPr>
          <p:spPr>
            <a:xfrm>
              <a:off x="1761507" y="4806166"/>
              <a:ext cx="585833" cy="480515"/>
            </a:xfrm>
            <a:custGeom>
              <a:avLst/>
              <a:gdLst>
                <a:gd name="connsiteX0" fmla="*/ 846106 w 847725"/>
                <a:gd name="connsiteY0" fmla="*/ 542461 h 695325"/>
                <a:gd name="connsiteX1" fmla="*/ 749808 w 847725"/>
                <a:gd name="connsiteY1" fmla="*/ 446163 h 695325"/>
                <a:gd name="connsiteX2" fmla="*/ 730377 w 847725"/>
                <a:gd name="connsiteY2" fmla="*/ 436257 h 695325"/>
                <a:gd name="connsiteX3" fmla="*/ 755809 w 847725"/>
                <a:gd name="connsiteY3" fmla="*/ 319480 h 695325"/>
                <a:gd name="connsiteX4" fmla="*/ 670084 w 847725"/>
                <a:gd name="connsiteY4" fmla="*/ 96881 h 695325"/>
                <a:gd name="connsiteX5" fmla="*/ 452056 w 847725"/>
                <a:gd name="connsiteY5" fmla="*/ 107 h 695325"/>
                <a:gd name="connsiteX6" fmla="*/ 132779 w 847725"/>
                <a:gd name="connsiteY6" fmla="*/ 303955 h 695325"/>
                <a:gd name="connsiteX7" fmla="*/ 132969 w 847725"/>
                <a:gd name="connsiteY7" fmla="*/ 321481 h 695325"/>
                <a:gd name="connsiteX8" fmla="*/ 88678 w 847725"/>
                <a:gd name="connsiteY8" fmla="*/ 332815 h 695325"/>
                <a:gd name="connsiteX9" fmla="*/ 79534 w 847725"/>
                <a:gd name="connsiteY9" fmla="*/ 396919 h 695325"/>
                <a:gd name="connsiteX10" fmla="*/ 196691 w 847725"/>
                <a:gd name="connsiteY10" fmla="*/ 466261 h 695325"/>
                <a:gd name="connsiteX11" fmla="*/ 244697 w 847725"/>
                <a:gd name="connsiteY11" fmla="*/ 453973 h 695325"/>
                <a:gd name="connsiteX12" fmla="*/ 314039 w 847725"/>
                <a:gd name="connsiteY12" fmla="*/ 336816 h 695325"/>
                <a:gd name="connsiteX13" fmla="*/ 275177 w 847725"/>
                <a:gd name="connsiteY13" fmla="*/ 285000 h 695325"/>
                <a:gd name="connsiteX14" fmla="*/ 246126 w 847725"/>
                <a:gd name="connsiteY14" fmla="*/ 292429 h 695325"/>
                <a:gd name="connsiteX15" fmla="*/ 449199 w 847725"/>
                <a:gd name="connsiteY15" fmla="*/ 112407 h 695325"/>
                <a:gd name="connsiteX16" fmla="*/ 588645 w 847725"/>
                <a:gd name="connsiteY16" fmla="*/ 174224 h 695325"/>
                <a:gd name="connsiteX17" fmla="*/ 643509 w 847725"/>
                <a:gd name="connsiteY17" fmla="*/ 316528 h 695325"/>
                <a:gd name="connsiteX18" fmla="*/ 445294 w 847725"/>
                <a:gd name="connsiteY18" fmla="*/ 510838 h 695325"/>
                <a:gd name="connsiteX19" fmla="*/ 430339 w 847725"/>
                <a:gd name="connsiteY19" fmla="*/ 512933 h 695325"/>
                <a:gd name="connsiteX20" fmla="*/ 56197 w 847725"/>
                <a:gd name="connsiteY20" fmla="*/ 512933 h 695325"/>
                <a:gd name="connsiteX21" fmla="*/ 0 w 847725"/>
                <a:gd name="connsiteY21" fmla="*/ 569131 h 695325"/>
                <a:gd name="connsiteX22" fmla="*/ 56197 w 847725"/>
                <a:gd name="connsiteY22" fmla="*/ 625328 h 695325"/>
                <a:gd name="connsiteX23" fmla="*/ 676847 w 847725"/>
                <a:gd name="connsiteY23" fmla="*/ 625328 h 695325"/>
                <a:gd name="connsiteX24" fmla="*/ 690182 w 847725"/>
                <a:gd name="connsiteY24" fmla="*/ 623709 h 695325"/>
                <a:gd name="connsiteX25" fmla="*/ 690182 w 847725"/>
                <a:gd name="connsiteY25" fmla="*/ 663333 h 695325"/>
                <a:gd name="connsiteX26" fmla="*/ 749999 w 847725"/>
                <a:gd name="connsiteY26" fmla="*/ 688098 h 695325"/>
                <a:gd name="connsiteX27" fmla="*/ 846296 w 847725"/>
                <a:gd name="connsiteY27" fmla="*/ 591800 h 695325"/>
                <a:gd name="connsiteX28" fmla="*/ 846106 w 847725"/>
                <a:gd name="connsiteY28" fmla="*/ 542461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47725" h="695325">
                  <a:moveTo>
                    <a:pt x="846106" y="542461"/>
                  </a:moveTo>
                  <a:lnTo>
                    <a:pt x="749808" y="446163"/>
                  </a:lnTo>
                  <a:cubicBezTo>
                    <a:pt x="744093" y="440448"/>
                    <a:pt x="737235" y="437305"/>
                    <a:pt x="730377" y="436257"/>
                  </a:cubicBezTo>
                  <a:cubicBezTo>
                    <a:pt x="745808" y="400443"/>
                    <a:pt x="754761" y="361105"/>
                    <a:pt x="755809" y="319480"/>
                  </a:cubicBezTo>
                  <a:cubicBezTo>
                    <a:pt x="757904" y="236232"/>
                    <a:pt x="727424" y="157174"/>
                    <a:pt x="670084" y="96881"/>
                  </a:cubicBezTo>
                  <a:cubicBezTo>
                    <a:pt x="612743" y="36588"/>
                    <a:pt x="535305" y="2203"/>
                    <a:pt x="452056" y="107"/>
                  </a:cubicBezTo>
                  <a:cubicBezTo>
                    <a:pt x="279940" y="-4370"/>
                    <a:pt x="136969" y="132124"/>
                    <a:pt x="132779" y="303955"/>
                  </a:cubicBezTo>
                  <a:cubicBezTo>
                    <a:pt x="132588" y="309765"/>
                    <a:pt x="132779" y="315670"/>
                    <a:pt x="132969" y="321481"/>
                  </a:cubicBezTo>
                  <a:lnTo>
                    <a:pt x="88678" y="332815"/>
                  </a:lnTo>
                  <a:cubicBezTo>
                    <a:pt x="58483" y="340531"/>
                    <a:pt x="52673" y="381012"/>
                    <a:pt x="79534" y="396919"/>
                  </a:cubicBezTo>
                  <a:lnTo>
                    <a:pt x="196691" y="466261"/>
                  </a:lnTo>
                  <a:cubicBezTo>
                    <a:pt x="213360" y="476071"/>
                    <a:pt x="234791" y="470642"/>
                    <a:pt x="244697" y="453973"/>
                  </a:cubicBezTo>
                  <a:lnTo>
                    <a:pt x="314039" y="336816"/>
                  </a:lnTo>
                  <a:cubicBezTo>
                    <a:pt x="329946" y="309955"/>
                    <a:pt x="305371" y="277285"/>
                    <a:pt x="275177" y="285000"/>
                  </a:cubicBezTo>
                  <a:lnTo>
                    <a:pt x="246126" y="292429"/>
                  </a:lnTo>
                  <a:cubicBezTo>
                    <a:pt x="256127" y="189464"/>
                    <a:pt x="344424" y="109930"/>
                    <a:pt x="449199" y="112407"/>
                  </a:cubicBezTo>
                  <a:cubicBezTo>
                    <a:pt x="502444" y="113740"/>
                    <a:pt x="551879" y="135648"/>
                    <a:pt x="588645" y="174224"/>
                  </a:cubicBezTo>
                  <a:cubicBezTo>
                    <a:pt x="625316" y="212800"/>
                    <a:pt x="644843" y="263283"/>
                    <a:pt x="643509" y="316528"/>
                  </a:cubicBezTo>
                  <a:cubicBezTo>
                    <a:pt x="640842" y="425017"/>
                    <a:pt x="553688" y="510361"/>
                    <a:pt x="445294" y="510838"/>
                  </a:cubicBezTo>
                  <a:cubicBezTo>
                    <a:pt x="440055" y="510838"/>
                    <a:pt x="435102" y="511600"/>
                    <a:pt x="430339" y="512933"/>
                  </a:cubicBezTo>
                  <a:lnTo>
                    <a:pt x="56197" y="512933"/>
                  </a:lnTo>
                  <a:cubicBezTo>
                    <a:pt x="25146" y="512933"/>
                    <a:pt x="0" y="538079"/>
                    <a:pt x="0" y="569131"/>
                  </a:cubicBezTo>
                  <a:cubicBezTo>
                    <a:pt x="0" y="600182"/>
                    <a:pt x="25146" y="625328"/>
                    <a:pt x="56197" y="625328"/>
                  </a:cubicBezTo>
                  <a:lnTo>
                    <a:pt x="676847" y="625328"/>
                  </a:lnTo>
                  <a:cubicBezTo>
                    <a:pt x="681418" y="625328"/>
                    <a:pt x="685895" y="624757"/>
                    <a:pt x="690182" y="623709"/>
                  </a:cubicBezTo>
                  <a:lnTo>
                    <a:pt x="690182" y="663333"/>
                  </a:lnTo>
                  <a:cubicBezTo>
                    <a:pt x="690182" y="694575"/>
                    <a:pt x="727901" y="710196"/>
                    <a:pt x="749999" y="688098"/>
                  </a:cubicBezTo>
                  <a:lnTo>
                    <a:pt x="846296" y="591800"/>
                  </a:lnTo>
                  <a:cubicBezTo>
                    <a:pt x="859726" y="578370"/>
                    <a:pt x="859726" y="556177"/>
                    <a:pt x="846106" y="54246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550599D2-BF59-4271-B08B-8CC09FE20B65}"/>
                </a:ext>
              </a:extLst>
            </p:cNvPr>
            <p:cNvGrpSpPr/>
            <p:nvPr/>
          </p:nvGrpSpPr>
          <p:grpSpPr>
            <a:xfrm>
              <a:off x="1804491" y="4843628"/>
              <a:ext cx="507568" cy="400934"/>
              <a:chOff x="1804491" y="4843628"/>
              <a:chExt cx="507568" cy="400934"/>
            </a:xfrm>
          </p:grpSpPr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7786588F-1CD7-40AC-93B0-2D43A5C9AFB0}"/>
                  </a:ext>
                </a:extLst>
              </p:cNvPr>
              <p:cNvSpPr/>
              <p:nvPr/>
            </p:nvSpPr>
            <p:spPr>
              <a:xfrm>
                <a:off x="2208452" y="5199669"/>
                <a:ext cx="98736" cy="6582"/>
              </a:xfrm>
              <a:custGeom>
                <a:avLst/>
                <a:gdLst>
                  <a:gd name="connsiteX0" fmla="*/ 0 w 142875"/>
                  <a:gd name="connsiteY0" fmla="*/ 0 h 0"/>
                  <a:gd name="connsiteX1" fmla="*/ 151638 w 1428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2875">
                    <a:moveTo>
                      <a:pt x="0" y="0"/>
                    </a:moveTo>
                    <a:lnTo>
                      <a:pt x="151638" y="0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727DB58C-CEAC-4AEC-B16F-12B79FB42242}"/>
                  </a:ext>
                </a:extLst>
              </p:cNvPr>
              <p:cNvSpPr/>
              <p:nvPr/>
            </p:nvSpPr>
            <p:spPr>
              <a:xfrm>
                <a:off x="1846486" y="5034188"/>
                <a:ext cx="85571" cy="52659"/>
              </a:xfrm>
              <a:custGeom>
                <a:avLst/>
                <a:gdLst>
                  <a:gd name="connsiteX0" fmla="*/ 131445 w 123825"/>
                  <a:gd name="connsiteY0" fmla="*/ 0 h 76200"/>
                  <a:gd name="connsiteX1" fmla="*/ 84677 w 123825"/>
                  <a:gd name="connsiteY1" fmla="*/ 84677 h 76200"/>
                  <a:gd name="connsiteX2" fmla="*/ 0 w 123825"/>
                  <a:gd name="connsiteY2" fmla="*/ 38005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3825" h="76200">
                    <a:moveTo>
                      <a:pt x="131445" y="0"/>
                    </a:moveTo>
                    <a:lnTo>
                      <a:pt x="84677" y="84677"/>
                    </a:lnTo>
                    <a:lnTo>
                      <a:pt x="0" y="38005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7E8D63B3-DA78-4818-90A0-06CD0A3B162A}"/>
                  </a:ext>
                </a:extLst>
              </p:cNvPr>
              <p:cNvSpPr/>
              <p:nvPr/>
            </p:nvSpPr>
            <p:spPr>
              <a:xfrm>
                <a:off x="2265982" y="5152408"/>
                <a:ext cx="46077" cy="92154"/>
              </a:xfrm>
              <a:custGeom>
                <a:avLst/>
                <a:gdLst>
                  <a:gd name="connsiteX0" fmla="*/ 0 w 66675"/>
                  <a:gd name="connsiteY0" fmla="*/ 0 h 133350"/>
                  <a:gd name="connsiteX1" fmla="*/ 68389 w 66675"/>
                  <a:gd name="connsiteY1" fmla="*/ 68390 h 133350"/>
                  <a:gd name="connsiteX2" fmla="*/ 0 w 66675"/>
                  <a:gd name="connsiteY2" fmla="*/ 136779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6675" h="133350">
                    <a:moveTo>
                      <a:pt x="0" y="0"/>
                    </a:moveTo>
                    <a:lnTo>
                      <a:pt x="68389" y="68390"/>
                    </a:lnTo>
                    <a:lnTo>
                      <a:pt x="0" y="136779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C4479BD8-3D2B-49DE-8F90-80794DAFD46C}"/>
                  </a:ext>
                </a:extLst>
              </p:cNvPr>
              <p:cNvSpPr/>
              <p:nvPr/>
            </p:nvSpPr>
            <p:spPr>
              <a:xfrm>
                <a:off x="1804491" y="4843628"/>
                <a:ext cx="441020" cy="355449"/>
              </a:xfrm>
              <a:custGeom>
                <a:avLst/>
                <a:gdLst>
                  <a:gd name="connsiteX0" fmla="*/ 0 w 638175"/>
                  <a:gd name="connsiteY0" fmla="*/ 515207 h 514350"/>
                  <a:gd name="connsiteX1" fmla="*/ 382048 w 638175"/>
                  <a:gd name="connsiteY1" fmla="*/ 515207 h 514350"/>
                  <a:gd name="connsiteX2" fmla="*/ 639604 w 638175"/>
                  <a:gd name="connsiteY2" fmla="*/ 257651 h 514350"/>
                  <a:gd name="connsiteX3" fmla="*/ 382048 w 638175"/>
                  <a:gd name="connsiteY3" fmla="*/ 0 h 514350"/>
                  <a:gd name="connsiteX4" fmla="*/ 124492 w 638175"/>
                  <a:gd name="connsiteY4" fmla="*/ 257556 h 514350"/>
                  <a:gd name="connsiteX5" fmla="*/ 141922 w 638175"/>
                  <a:gd name="connsiteY5" fmla="*/ 350996 h 514350"/>
                  <a:gd name="connsiteX6" fmla="*/ 145542 w 638175"/>
                  <a:gd name="connsiteY6" fmla="*/ 360426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38175" h="514350">
                    <a:moveTo>
                      <a:pt x="0" y="515207"/>
                    </a:moveTo>
                    <a:lnTo>
                      <a:pt x="382048" y="515207"/>
                    </a:lnTo>
                    <a:cubicBezTo>
                      <a:pt x="524351" y="515207"/>
                      <a:pt x="639604" y="399860"/>
                      <a:pt x="639604" y="257651"/>
                    </a:cubicBezTo>
                    <a:cubicBezTo>
                      <a:pt x="639604" y="115443"/>
                      <a:pt x="524256" y="0"/>
                      <a:pt x="382048" y="0"/>
                    </a:cubicBezTo>
                    <a:cubicBezTo>
                      <a:pt x="239839" y="0"/>
                      <a:pt x="124492" y="115348"/>
                      <a:pt x="124492" y="257556"/>
                    </a:cubicBezTo>
                    <a:cubicBezTo>
                      <a:pt x="124492" y="290513"/>
                      <a:pt x="130683" y="322040"/>
                      <a:pt x="141922" y="350996"/>
                    </a:cubicBezTo>
                    <a:lnTo>
                      <a:pt x="145542" y="360426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E39BDCC-EE11-4C9A-B191-5D64D9FBC67D}"/>
              </a:ext>
            </a:extLst>
          </p:cNvPr>
          <p:cNvGrpSpPr/>
          <p:nvPr/>
        </p:nvGrpSpPr>
        <p:grpSpPr>
          <a:xfrm>
            <a:off x="5281662" y="2610187"/>
            <a:ext cx="1157238" cy="978495"/>
            <a:chOff x="4348162" y="2933700"/>
            <a:chExt cx="1201579" cy="980503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B960323-303A-47FF-B832-875D2B81A88A}"/>
                </a:ext>
              </a:extLst>
            </p:cNvPr>
            <p:cNvSpPr/>
            <p:nvPr/>
          </p:nvSpPr>
          <p:spPr>
            <a:xfrm>
              <a:off x="4348162" y="3227642"/>
              <a:ext cx="238125" cy="371475"/>
            </a:xfrm>
            <a:custGeom>
              <a:avLst/>
              <a:gdLst>
                <a:gd name="connsiteX0" fmla="*/ 140589 w 238125"/>
                <a:gd name="connsiteY0" fmla="*/ 333661 h 371475"/>
                <a:gd name="connsiteX1" fmla="*/ 139922 w 238125"/>
                <a:gd name="connsiteY1" fmla="*/ 330898 h 371475"/>
                <a:gd name="connsiteX2" fmla="*/ 139922 w 238125"/>
                <a:gd name="connsiteY2" fmla="*/ 327469 h 371475"/>
                <a:gd name="connsiteX3" fmla="*/ 139256 w 238125"/>
                <a:gd name="connsiteY3" fmla="*/ 321278 h 371475"/>
                <a:gd name="connsiteX4" fmla="*/ 137922 w 238125"/>
                <a:gd name="connsiteY4" fmla="*/ 317849 h 371475"/>
                <a:gd name="connsiteX5" fmla="*/ 140018 w 238125"/>
                <a:gd name="connsiteY5" fmla="*/ 310324 h 371475"/>
                <a:gd name="connsiteX6" fmla="*/ 140018 w 238125"/>
                <a:gd name="connsiteY6" fmla="*/ 307562 h 371475"/>
                <a:gd name="connsiteX7" fmla="*/ 139351 w 238125"/>
                <a:gd name="connsiteY7" fmla="*/ 304133 h 371475"/>
                <a:gd name="connsiteX8" fmla="*/ 139351 w 238125"/>
                <a:gd name="connsiteY8" fmla="*/ 300704 h 371475"/>
                <a:gd name="connsiteX9" fmla="*/ 138017 w 238125"/>
                <a:gd name="connsiteY9" fmla="*/ 295180 h 371475"/>
                <a:gd name="connsiteX10" fmla="*/ 140780 w 238125"/>
                <a:gd name="connsiteY10" fmla="*/ 240983 h 371475"/>
                <a:gd name="connsiteX11" fmla="*/ 140780 w 238125"/>
                <a:gd name="connsiteY11" fmla="*/ 239649 h 371475"/>
                <a:gd name="connsiteX12" fmla="*/ 144209 w 238125"/>
                <a:gd name="connsiteY12" fmla="*/ 238982 h 371475"/>
                <a:gd name="connsiteX13" fmla="*/ 144209 w 238125"/>
                <a:gd name="connsiteY13" fmla="*/ 236220 h 371475"/>
                <a:gd name="connsiteX14" fmla="*/ 142113 w 238125"/>
                <a:gd name="connsiteY14" fmla="*/ 234124 h 371475"/>
                <a:gd name="connsiteX15" fmla="*/ 141446 w 238125"/>
                <a:gd name="connsiteY15" fmla="*/ 231362 h 371475"/>
                <a:gd name="connsiteX16" fmla="*/ 141446 w 238125"/>
                <a:gd name="connsiteY16" fmla="*/ 230029 h 371475"/>
                <a:gd name="connsiteX17" fmla="*/ 142113 w 238125"/>
                <a:gd name="connsiteY17" fmla="*/ 227933 h 371475"/>
                <a:gd name="connsiteX18" fmla="*/ 144209 w 238125"/>
                <a:gd name="connsiteY18" fmla="*/ 224504 h 371475"/>
                <a:gd name="connsiteX19" fmla="*/ 144209 w 238125"/>
                <a:gd name="connsiteY19" fmla="*/ 223838 h 371475"/>
                <a:gd name="connsiteX20" fmla="*/ 142113 w 238125"/>
                <a:gd name="connsiteY20" fmla="*/ 223171 h 371475"/>
                <a:gd name="connsiteX21" fmla="*/ 142780 w 238125"/>
                <a:gd name="connsiteY21" fmla="*/ 223838 h 371475"/>
                <a:gd name="connsiteX22" fmla="*/ 141446 w 238125"/>
                <a:gd name="connsiteY22" fmla="*/ 224504 h 371475"/>
                <a:gd name="connsiteX23" fmla="*/ 139351 w 238125"/>
                <a:gd name="connsiteY23" fmla="*/ 225838 h 371475"/>
                <a:gd name="connsiteX24" fmla="*/ 138684 w 238125"/>
                <a:gd name="connsiteY24" fmla="*/ 225171 h 371475"/>
                <a:gd name="connsiteX25" fmla="*/ 137160 w 238125"/>
                <a:gd name="connsiteY25" fmla="*/ 225171 h 371475"/>
                <a:gd name="connsiteX26" fmla="*/ 131636 w 238125"/>
                <a:gd name="connsiteY26" fmla="*/ 228600 h 371475"/>
                <a:gd name="connsiteX27" fmla="*/ 127540 w 238125"/>
                <a:gd name="connsiteY27" fmla="*/ 233363 h 371475"/>
                <a:gd name="connsiteX28" fmla="*/ 124778 w 238125"/>
                <a:gd name="connsiteY28" fmla="*/ 236792 h 371475"/>
                <a:gd name="connsiteX29" fmla="*/ 122682 w 238125"/>
                <a:gd name="connsiteY29" fmla="*/ 238887 h 371475"/>
                <a:gd name="connsiteX30" fmla="*/ 122682 w 238125"/>
                <a:gd name="connsiteY30" fmla="*/ 239554 h 371475"/>
                <a:gd name="connsiteX31" fmla="*/ 118586 w 238125"/>
                <a:gd name="connsiteY31" fmla="*/ 245745 h 371475"/>
                <a:gd name="connsiteX32" fmla="*/ 118586 w 238125"/>
                <a:gd name="connsiteY32" fmla="*/ 246412 h 371475"/>
                <a:gd name="connsiteX33" fmla="*/ 114491 w 238125"/>
                <a:gd name="connsiteY33" fmla="*/ 253937 h 371475"/>
                <a:gd name="connsiteX34" fmla="*/ 113157 w 238125"/>
                <a:gd name="connsiteY34" fmla="*/ 255270 h 371475"/>
                <a:gd name="connsiteX35" fmla="*/ 108395 w 238125"/>
                <a:gd name="connsiteY35" fmla="*/ 258032 h 371475"/>
                <a:gd name="connsiteX36" fmla="*/ 106299 w 238125"/>
                <a:gd name="connsiteY36" fmla="*/ 261461 h 371475"/>
                <a:gd name="connsiteX37" fmla="*/ 92583 w 238125"/>
                <a:gd name="connsiteY37" fmla="*/ 272415 h 371475"/>
                <a:gd name="connsiteX38" fmla="*/ 85725 w 238125"/>
                <a:gd name="connsiteY38" fmla="*/ 274606 h 371475"/>
                <a:gd name="connsiteX39" fmla="*/ 83630 w 238125"/>
                <a:gd name="connsiteY39" fmla="*/ 275939 h 371475"/>
                <a:gd name="connsiteX40" fmla="*/ 72009 w 238125"/>
                <a:gd name="connsiteY40" fmla="*/ 278035 h 371475"/>
                <a:gd name="connsiteX41" fmla="*/ 67247 w 238125"/>
                <a:gd name="connsiteY41" fmla="*/ 278035 h 371475"/>
                <a:gd name="connsiteX42" fmla="*/ 55626 w 238125"/>
                <a:gd name="connsiteY42" fmla="*/ 279368 h 371475"/>
                <a:gd name="connsiteX43" fmla="*/ 51435 w 238125"/>
                <a:gd name="connsiteY43" fmla="*/ 279368 h 371475"/>
                <a:gd name="connsiteX44" fmla="*/ 48006 w 238125"/>
                <a:gd name="connsiteY44" fmla="*/ 278035 h 371475"/>
                <a:gd name="connsiteX45" fmla="*/ 45244 w 238125"/>
                <a:gd name="connsiteY45" fmla="*/ 276701 h 371475"/>
                <a:gd name="connsiteX46" fmla="*/ 42482 w 238125"/>
                <a:gd name="connsiteY46" fmla="*/ 276701 h 371475"/>
                <a:gd name="connsiteX47" fmla="*/ 38386 w 238125"/>
                <a:gd name="connsiteY47" fmla="*/ 276035 h 371475"/>
                <a:gd name="connsiteX48" fmla="*/ 34290 w 238125"/>
                <a:gd name="connsiteY48" fmla="*/ 275368 h 371475"/>
                <a:gd name="connsiteX49" fmla="*/ 27432 w 238125"/>
                <a:gd name="connsiteY49" fmla="*/ 275368 h 371475"/>
                <a:gd name="connsiteX50" fmla="*/ 25337 w 238125"/>
                <a:gd name="connsiteY50" fmla="*/ 273272 h 371475"/>
                <a:gd name="connsiteX51" fmla="*/ 17145 w 238125"/>
                <a:gd name="connsiteY51" fmla="*/ 265081 h 371475"/>
                <a:gd name="connsiteX52" fmla="*/ 15050 w 238125"/>
                <a:gd name="connsiteY52" fmla="*/ 262985 h 371475"/>
                <a:gd name="connsiteX53" fmla="*/ 11621 w 238125"/>
                <a:gd name="connsiteY53" fmla="*/ 256127 h 371475"/>
                <a:gd name="connsiteX54" fmla="*/ 6858 w 238125"/>
                <a:gd name="connsiteY54" fmla="*/ 249936 h 371475"/>
                <a:gd name="connsiteX55" fmla="*/ 4763 w 238125"/>
                <a:gd name="connsiteY55" fmla="*/ 246507 h 371475"/>
                <a:gd name="connsiteX56" fmla="*/ 5429 w 238125"/>
                <a:gd name="connsiteY56" fmla="*/ 245173 h 371475"/>
                <a:gd name="connsiteX57" fmla="*/ 7525 w 238125"/>
                <a:gd name="connsiteY57" fmla="*/ 244507 h 371475"/>
                <a:gd name="connsiteX58" fmla="*/ 6191 w 238125"/>
                <a:gd name="connsiteY58" fmla="*/ 242411 h 371475"/>
                <a:gd name="connsiteX59" fmla="*/ 5525 w 238125"/>
                <a:gd name="connsiteY59" fmla="*/ 241745 h 371475"/>
                <a:gd name="connsiteX60" fmla="*/ 4763 w 238125"/>
                <a:gd name="connsiteY60" fmla="*/ 241745 h 371475"/>
                <a:gd name="connsiteX61" fmla="*/ 4763 w 238125"/>
                <a:gd name="connsiteY61" fmla="*/ 242411 h 371475"/>
                <a:gd name="connsiteX62" fmla="*/ 2762 w 238125"/>
                <a:gd name="connsiteY62" fmla="*/ 242411 h 371475"/>
                <a:gd name="connsiteX63" fmla="*/ 1429 w 238125"/>
                <a:gd name="connsiteY63" fmla="*/ 235553 h 371475"/>
                <a:gd name="connsiteX64" fmla="*/ 0 w 238125"/>
                <a:gd name="connsiteY64" fmla="*/ 232791 h 371475"/>
                <a:gd name="connsiteX65" fmla="*/ 667 w 238125"/>
                <a:gd name="connsiteY65" fmla="*/ 230696 h 371475"/>
                <a:gd name="connsiteX66" fmla="*/ 1334 w 238125"/>
                <a:gd name="connsiteY66" fmla="*/ 230696 h 371475"/>
                <a:gd name="connsiteX67" fmla="*/ 2000 w 238125"/>
                <a:gd name="connsiteY67" fmla="*/ 231362 h 371475"/>
                <a:gd name="connsiteX68" fmla="*/ 2000 w 238125"/>
                <a:gd name="connsiteY68" fmla="*/ 232029 h 371475"/>
                <a:gd name="connsiteX69" fmla="*/ 3334 w 238125"/>
                <a:gd name="connsiteY69" fmla="*/ 236125 h 371475"/>
                <a:gd name="connsiteX70" fmla="*/ 4000 w 238125"/>
                <a:gd name="connsiteY70" fmla="*/ 238220 h 371475"/>
                <a:gd name="connsiteX71" fmla="*/ 5334 w 238125"/>
                <a:gd name="connsiteY71" fmla="*/ 239554 h 371475"/>
                <a:gd name="connsiteX72" fmla="*/ 6001 w 238125"/>
                <a:gd name="connsiteY72" fmla="*/ 238887 h 371475"/>
                <a:gd name="connsiteX73" fmla="*/ 6001 w 238125"/>
                <a:gd name="connsiteY73" fmla="*/ 234124 h 371475"/>
                <a:gd name="connsiteX74" fmla="*/ 7334 w 238125"/>
                <a:gd name="connsiteY74" fmla="*/ 231362 h 371475"/>
                <a:gd name="connsiteX75" fmla="*/ 6668 w 238125"/>
                <a:gd name="connsiteY75" fmla="*/ 229267 h 371475"/>
                <a:gd name="connsiteX76" fmla="*/ 5334 w 238125"/>
                <a:gd name="connsiteY76" fmla="*/ 221075 h 371475"/>
                <a:gd name="connsiteX77" fmla="*/ 5334 w 238125"/>
                <a:gd name="connsiteY77" fmla="*/ 210884 h 371475"/>
                <a:gd name="connsiteX78" fmla="*/ 6001 w 238125"/>
                <a:gd name="connsiteY78" fmla="*/ 208788 h 371475"/>
                <a:gd name="connsiteX79" fmla="*/ 6001 w 238125"/>
                <a:gd name="connsiteY79" fmla="*/ 204025 h 371475"/>
                <a:gd name="connsiteX80" fmla="*/ 11525 w 238125"/>
                <a:gd name="connsiteY80" fmla="*/ 200596 h 371475"/>
                <a:gd name="connsiteX81" fmla="*/ 8763 w 238125"/>
                <a:gd name="connsiteY81" fmla="*/ 197168 h 371475"/>
                <a:gd name="connsiteX82" fmla="*/ 7429 w 238125"/>
                <a:gd name="connsiteY82" fmla="*/ 196501 h 371475"/>
                <a:gd name="connsiteX83" fmla="*/ 6858 w 238125"/>
                <a:gd name="connsiteY83" fmla="*/ 196501 h 371475"/>
                <a:gd name="connsiteX84" fmla="*/ 8192 w 238125"/>
                <a:gd name="connsiteY84" fmla="*/ 195167 h 371475"/>
                <a:gd name="connsiteX85" fmla="*/ 12287 w 238125"/>
                <a:gd name="connsiteY85" fmla="*/ 192405 h 371475"/>
                <a:gd name="connsiteX86" fmla="*/ 12287 w 238125"/>
                <a:gd name="connsiteY86" fmla="*/ 188309 h 371475"/>
                <a:gd name="connsiteX87" fmla="*/ 11621 w 238125"/>
                <a:gd name="connsiteY87" fmla="*/ 187643 h 371475"/>
                <a:gd name="connsiteX88" fmla="*/ 12954 w 238125"/>
                <a:gd name="connsiteY88" fmla="*/ 181451 h 371475"/>
                <a:gd name="connsiteX89" fmla="*/ 13621 w 238125"/>
                <a:gd name="connsiteY89" fmla="*/ 175927 h 371475"/>
                <a:gd name="connsiteX90" fmla="*/ 14288 w 238125"/>
                <a:gd name="connsiteY90" fmla="*/ 171831 h 371475"/>
                <a:gd name="connsiteX91" fmla="*/ 16383 w 238125"/>
                <a:gd name="connsiteY91" fmla="*/ 167069 h 371475"/>
                <a:gd name="connsiteX92" fmla="*/ 19145 w 238125"/>
                <a:gd name="connsiteY92" fmla="*/ 164306 h 371475"/>
                <a:gd name="connsiteX93" fmla="*/ 19145 w 238125"/>
                <a:gd name="connsiteY93" fmla="*/ 163640 h 371475"/>
                <a:gd name="connsiteX94" fmla="*/ 19812 w 238125"/>
                <a:gd name="connsiteY94" fmla="*/ 162306 h 371475"/>
                <a:gd name="connsiteX95" fmla="*/ 19812 w 238125"/>
                <a:gd name="connsiteY95" fmla="*/ 161639 h 371475"/>
                <a:gd name="connsiteX96" fmla="*/ 22574 w 238125"/>
                <a:gd name="connsiteY96" fmla="*/ 157544 h 371475"/>
                <a:gd name="connsiteX97" fmla="*/ 23241 w 238125"/>
                <a:gd name="connsiteY97" fmla="*/ 153448 h 371475"/>
                <a:gd name="connsiteX98" fmla="*/ 26003 w 238125"/>
                <a:gd name="connsiteY98" fmla="*/ 147923 h 371475"/>
                <a:gd name="connsiteX99" fmla="*/ 27337 w 238125"/>
                <a:gd name="connsiteY99" fmla="*/ 143161 h 371475"/>
                <a:gd name="connsiteX100" fmla="*/ 28670 w 238125"/>
                <a:gd name="connsiteY100" fmla="*/ 141065 h 371475"/>
                <a:gd name="connsiteX101" fmla="*/ 30766 w 238125"/>
                <a:gd name="connsiteY101" fmla="*/ 136970 h 371475"/>
                <a:gd name="connsiteX102" fmla="*/ 33623 w 238125"/>
                <a:gd name="connsiteY102" fmla="*/ 134684 h 371475"/>
                <a:gd name="connsiteX103" fmla="*/ 33623 w 238125"/>
                <a:gd name="connsiteY103" fmla="*/ 131921 h 371475"/>
                <a:gd name="connsiteX104" fmla="*/ 39148 w 238125"/>
                <a:gd name="connsiteY104" fmla="*/ 122968 h 371475"/>
                <a:gd name="connsiteX105" fmla="*/ 41243 w 238125"/>
                <a:gd name="connsiteY105" fmla="*/ 120205 h 371475"/>
                <a:gd name="connsiteX106" fmla="*/ 44672 w 238125"/>
                <a:gd name="connsiteY106" fmla="*/ 116110 h 371475"/>
                <a:gd name="connsiteX107" fmla="*/ 45339 w 238125"/>
                <a:gd name="connsiteY107" fmla="*/ 114014 h 371475"/>
                <a:gd name="connsiteX108" fmla="*/ 49435 w 238125"/>
                <a:gd name="connsiteY108" fmla="*/ 107823 h 371475"/>
                <a:gd name="connsiteX109" fmla="*/ 52197 w 238125"/>
                <a:gd name="connsiteY109" fmla="*/ 104394 h 371475"/>
                <a:gd name="connsiteX110" fmla="*/ 54293 w 238125"/>
                <a:gd name="connsiteY110" fmla="*/ 103061 h 371475"/>
                <a:gd name="connsiteX111" fmla="*/ 57722 w 238125"/>
                <a:gd name="connsiteY111" fmla="*/ 96869 h 371475"/>
                <a:gd name="connsiteX112" fmla="*/ 58388 w 238125"/>
                <a:gd name="connsiteY112" fmla="*/ 96202 h 371475"/>
                <a:gd name="connsiteX113" fmla="*/ 59055 w 238125"/>
                <a:gd name="connsiteY113" fmla="*/ 96202 h 371475"/>
                <a:gd name="connsiteX114" fmla="*/ 63151 w 238125"/>
                <a:gd name="connsiteY114" fmla="*/ 88678 h 371475"/>
                <a:gd name="connsiteX115" fmla="*/ 67247 w 238125"/>
                <a:gd name="connsiteY115" fmla="*/ 83153 h 371475"/>
                <a:gd name="connsiteX116" fmla="*/ 72009 w 238125"/>
                <a:gd name="connsiteY116" fmla="*/ 76295 h 371475"/>
                <a:gd name="connsiteX117" fmla="*/ 80963 w 238125"/>
                <a:gd name="connsiteY117" fmla="*/ 69437 h 371475"/>
                <a:gd name="connsiteX118" fmla="*/ 85058 w 238125"/>
                <a:gd name="connsiteY118" fmla="*/ 64675 h 371475"/>
                <a:gd name="connsiteX119" fmla="*/ 89154 w 238125"/>
                <a:gd name="connsiteY119" fmla="*/ 61913 h 371475"/>
                <a:gd name="connsiteX120" fmla="*/ 92583 w 238125"/>
                <a:gd name="connsiteY120" fmla="*/ 59817 h 371475"/>
                <a:gd name="connsiteX121" fmla="*/ 96679 w 238125"/>
                <a:gd name="connsiteY121" fmla="*/ 55054 h 371475"/>
                <a:gd name="connsiteX122" fmla="*/ 97346 w 238125"/>
                <a:gd name="connsiteY122" fmla="*/ 56388 h 371475"/>
                <a:gd name="connsiteX123" fmla="*/ 99441 w 238125"/>
                <a:gd name="connsiteY123" fmla="*/ 59817 h 371475"/>
                <a:gd name="connsiteX124" fmla="*/ 101537 w 238125"/>
                <a:gd name="connsiteY124" fmla="*/ 57055 h 371475"/>
                <a:gd name="connsiteX125" fmla="*/ 100203 w 238125"/>
                <a:gd name="connsiteY125" fmla="*/ 54293 h 371475"/>
                <a:gd name="connsiteX126" fmla="*/ 100203 w 238125"/>
                <a:gd name="connsiteY126" fmla="*/ 53626 h 371475"/>
                <a:gd name="connsiteX127" fmla="*/ 107728 w 238125"/>
                <a:gd name="connsiteY127" fmla="*/ 50197 h 371475"/>
                <a:gd name="connsiteX128" fmla="*/ 124873 w 238125"/>
                <a:gd name="connsiteY128" fmla="*/ 46768 h 371475"/>
                <a:gd name="connsiteX129" fmla="*/ 128969 w 238125"/>
                <a:gd name="connsiteY129" fmla="*/ 46101 h 371475"/>
                <a:gd name="connsiteX130" fmla="*/ 134493 w 238125"/>
                <a:gd name="connsiteY130" fmla="*/ 46768 h 371475"/>
                <a:gd name="connsiteX131" fmla="*/ 136589 w 238125"/>
                <a:gd name="connsiteY131" fmla="*/ 47434 h 371475"/>
                <a:gd name="connsiteX132" fmla="*/ 138684 w 238125"/>
                <a:gd name="connsiteY132" fmla="*/ 48101 h 371475"/>
                <a:gd name="connsiteX133" fmla="*/ 143447 w 238125"/>
                <a:gd name="connsiteY133" fmla="*/ 48768 h 371475"/>
                <a:gd name="connsiteX134" fmla="*/ 150305 w 238125"/>
                <a:gd name="connsiteY134" fmla="*/ 53530 h 371475"/>
                <a:gd name="connsiteX135" fmla="*/ 161925 w 238125"/>
                <a:gd name="connsiteY135" fmla="*/ 61722 h 371475"/>
                <a:gd name="connsiteX136" fmla="*/ 168116 w 238125"/>
                <a:gd name="connsiteY136" fmla="*/ 63818 h 371475"/>
                <a:gd name="connsiteX137" fmla="*/ 169450 w 238125"/>
                <a:gd name="connsiteY137" fmla="*/ 64484 h 371475"/>
                <a:gd name="connsiteX138" fmla="*/ 172212 w 238125"/>
                <a:gd name="connsiteY138" fmla="*/ 62389 h 371475"/>
                <a:gd name="connsiteX139" fmla="*/ 173546 w 238125"/>
                <a:gd name="connsiteY139" fmla="*/ 60293 h 371475"/>
                <a:gd name="connsiteX140" fmla="*/ 172879 w 238125"/>
                <a:gd name="connsiteY140" fmla="*/ 58960 h 371475"/>
                <a:gd name="connsiteX141" fmla="*/ 174974 w 238125"/>
                <a:gd name="connsiteY141" fmla="*/ 57626 h 371475"/>
                <a:gd name="connsiteX142" fmla="*/ 177070 w 238125"/>
                <a:gd name="connsiteY142" fmla="*/ 58960 h 371475"/>
                <a:gd name="connsiteX143" fmla="*/ 179165 w 238125"/>
                <a:gd name="connsiteY143" fmla="*/ 59626 h 371475"/>
                <a:gd name="connsiteX144" fmla="*/ 179832 w 238125"/>
                <a:gd name="connsiteY144" fmla="*/ 58960 h 371475"/>
                <a:gd name="connsiteX145" fmla="*/ 179832 w 238125"/>
                <a:gd name="connsiteY145" fmla="*/ 58293 h 371475"/>
                <a:gd name="connsiteX146" fmla="*/ 175069 w 238125"/>
                <a:gd name="connsiteY146" fmla="*/ 53530 h 371475"/>
                <a:gd name="connsiteX147" fmla="*/ 177165 w 238125"/>
                <a:gd name="connsiteY147" fmla="*/ 50768 h 371475"/>
                <a:gd name="connsiteX148" fmla="*/ 188786 w 238125"/>
                <a:gd name="connsiteY148" fmla="*/ 22003 h 371475"/>
                <a:gd name="connsiteX149" fmla="*/ 188786 w 238125"/>
                <a:gd name="connsiteY149" fmla="*/ 20669 h 371475"/>
                <a:gd name="connsiteX150" fmla="*/ 192881 w 238125"/>
                <a:gd name="connsiteY150" fmla="*/ 10382 h 371475"/>
                <a:gd name="connsiteX151" fmla="*/ 194215 w 238125"/>
                <a:gd name="connsiteY151" fmla="*/ 6953 h 371475"/>
                <a:gd name="connsiteX152" fmla="*/ 196310 w 238125"/>
                <a:gd name="connsiteY152" fmla="*/ 4858 h 371475"/>
                <a:gd name="connsiteX153" fmla="*/ 198406 w 238125"/>
                <a:gd name="connsiteY153" fmla="*/ 2762 h 371475"/>
                <a:gd name="connsiteX154" fmla="*/ 202502 w 238125"/>
                <a:gd name="connsiteY154" fmla="*/ 667 h 371475"/>
                <a:gd name="connsiteX155" fmla="*/ 204597 w 238125"/>
                <a:gd name="connsiteY155" fmla="*/ 667 h 371475"/>
                <a:gd name="connsiteX156" fmla="*/ 211455 w 238125"/>
                <a:gd name="connsiteY156" fmla="*/ 0 h 371475"/>
                <a:gd name="connsiteX157" fmla="*/ 215551 w 238125"/>
                <a:gd name="connsiteY157" fmla="*/ 2095 h 371475"/>
                <a:gd name="connsiteX158" fmla="*/ 216884 w 238125"/>
                <a:gd name="connsiteY158" fmla="*/ 2762 h 371475"/>
                <a:gd name="connsiteX159" fmla="*/ 225076 w 238125"/>
                <a:gd name="connsiteY159" fmla="*/ 8287 h 371475"/>
                <a:gd name="connsiteX160" fmla="*/ 231934 w 238125"/>
                <a:gd name="connsiteY160" fmla="*/ 11049 h 371475"/>
                <a:gd name="connsiteX161" fmla="*/ 237458 w 238125"/>
                <a:gd name="connsiteY161" fmla="*/ 16573 h 371475"/>
                <a:gd name="connsiteX162" fmla="*/ 240887 w 238125"/>
                <a:gd name="connsiteY162" fmla="*/ 17240 h 371475"/>
                <a:gd name="connsiteX163" fmla="*/ 242221 w 238125"/>
                <a:gd name="connsiteY163" fmla="*/ 21336 h 371475"/>
                <a:gd name="connsiteX164" fmla="*/ 242221 w 238125"/>
                <a:gd name="connsiteY164" fmla="*/ 23431 h 371475"/>
                <a:gd name="connsiteX165" fmla="*/ 225743 w 238125"/>
                <a:gd name="connsiteY165" fmla="*/ 50197 h 371475"/>
                <a:gd name="connsiteX166" fmla="*/ 225743 w 238125"/>
                <a:gd name="connsiteY166" fmla="*/ 52292 h 371475"/>
                <a:gd name="connsiteX167" fmla="*/ 225076 w 238125"/>
                <a:gd name="connsiteY167" fmla="*/ 52292 h 371475"/>
                <a:gd name="connsiteX168" fmla="*/ 223742 w 238125"/>
                <a:gd name="connsiteY168" fmla="*/ 53626 h 371475"/>
                <a:gd name="connsiteX169" fmla="*/ 223742 w 238125"/>
                <a:gd name="connsiteY169" fmla="*/ 52292 h 371475"/>
                <a:gd name="connsiteX170" fmla="*/ 222409 w 238125"/>
                <a:gd name="connsiteY170" fmla="*/ 51625 h 371475"/>
                <a:gd name="connsiteX171" fmla="*/ 219647 w 238125"/>
                <a:gd name="connsiteY171" fmla="*/ 52292 h 371475"/>
                <a:gd name="connsiteX172" fmla="*/ 219647 w 238125"/>
                <a:gd name="connsiteY172" fmla="*/ 53626 h 371475"/>
                <a:gd name="connsiteX173" fmla="*/ 224409 w 238125"/>
                <a:gd name="connsiteY173" fmla="*/ 53626 h 371475"/>
                <a:gd name="connsiteX174" fmla="*/ 224409 w 238125"/>
                <a:gd name="connsiteY174" fmla="*/ 55721 h 371475"/>
                <a:gd name="connsiteX175" fmla="*/ 222314 w 238125"/>
                <a:gd name="connsiteY175" fmla="*/ 57817 h 371475"/>
                <a:gd name="connsiteX176" fmla="*/ 222980 w 238125"/>
                <a:gd name="connsiteY176" fmla="*/ 59912 h 371475"/>
                <a:gd name="connsiteX177" fmla="*/ 224314 w 238125"/>
                <a:gd name="connsiteY177" fmla="*/ 61246 h 371475"/>
                <a:gd name="connsiteX178" fmla="*/ 223647 w 238125"/>
                <a:gd name="connsiteY178" fmla="*/ 61913 h 371475"/>
                <a:gd name="connsiteX179" fmla="*/ 224314 w 238125"/>
                <a:gd name="connsiteY179" fmla="*/ 64675 h 371475"/>
                <a:gd name="connsiteX180" fmla="*/ 223647 w 238125"/>
                <a:gd name="connsiteY180" fmla="*/ 66008 h 371475"/>
                <a:gd name="connsiteX181" fmla="*/ 222980 w 238125"/>
                <a:gd name="connsiteY181" fmla="*/ 67342 h 371475"/>
                <a:gd name="connsiteX182" fmla="*/ 219551 w 238125"/>
                <a:gd name="connsiteY182" fmla="*/ 73533 h 371475"/>
                <a:gd name="connsiteX183" fmla="*/ 218218 w 238125"/>
                <a:gd name="connsiteY183" fmla="*/ 79057 h 371475"/>
                <a:gd name="connsiteX184" fmla="*/ 218218 w 238125"/>
                <a:gd name="connsiteY184" fmla="*/ 81820 h 371475"/>
                <a:gd name="connsiteX185" fmla="*/ 214789 w 238125"/>
                <a:gd name="connsiteY185" fmla="*/ 90773 h 371475"/>
                <a:gd name="connsiteX186" fmla="*/ 214789 w 238125"/>
                <a:gd name="connsiteY186" fmla="*/ 98965 h 371475"/>
                <a:gd name="connsiteX187" fmla="*/ 212693 w 238125"/>
                <a:gd name="connsiteY187" fmla="*/ 105156 h 371475"/>
                <a:gd name="connsiteX188" fmla="*/ 211360 w 238125"/>
                <a:gd name="connsiteY188" fmla="*/ 106490 h 371475"/>
                <a:gd name="connsiteX189" fmla="*/ 212693 w 238125"/>
                <a:gd name="connsiteY189" fmla="*/ 109252 h 371475"/>
                <a:gd name="connsiteX190" fmla="*/ 212693 w 238125"/>
                <a:gd name="connsiteY190" fmla="*/ 109919 h 371475"/>
                <a:gd name="connsiteX191" fmla="*/ 210598 w 238125"/>
                <a:gd name="connsiteY191" fmla="*/ 116776 h 371475"/>
                <a:gd name="connsiteX192" fmla="*/ 207169 w 238125"/>
                <a:gd name="connsiteY192" fmla="*/ 124301 h 371475"/>
                <a:gd name="connsiteX193" fmla="*/ 207169 w 238125"/>
                <a:gd name="connsiteY193" fmla="*/ 127064 h 371475"/>
                <a:gd name="connsiteX194" fmla="*/ 205073 w 238125"/>
                <a:gd name="connsiteY194" fmla="*/ 127064 h 371475"/>
                <a:gd name="connsiteX195" fmla="*/ 205073 w 238125"/>
                <a:gd name="connsiteY195" fmla="*/ 127730 h 371475"/>
                <a:gd name="connsiteX196" fmla="*/ 205740 w 238125"/>
                <a:gd name="connsiteY196" fmla="*/ 130493 h 371475"/>
                <a:gd name="connsiteX197" fmla="*/ 205740 w 238125"/>
                <a:gd name="connsiteY197" fmla="*/ 131159 h 371475"/>
                <a:gd name="connsiteX198" fmla="*/ 201644 w 238125"/>
                <a:gd name="connsiteY198" fmla="*/ 133921 h 371475"/>
                <a:gd name="connsiteX199" fmla="*/ 200978 w 238125"/>
                <a:gd name="connsiteY199" fmla="*/ 134684 h 371475"/>
                <a:gd name="connsiteX200" fmla="*/ 200311 w 238125"/>
                <a:gd name="connsiteY200" fmla="*/ 135350 h 371475"/>
                <a:gd name="connsiteX201" fmla="*/ 201644 w 238125"/>
                <a:gd name="connsiteY201" fmla="*/ 137446 h 371475"/>
                <a:gd name="connsiteX202" fmla="*/ 202311 w 238125"/>
                <a:gd name="connsiteY202" fmla="*/ 137446 h 371475"/>
                <a:gd name="connsiteX203" fmla="*/ 203644 w 238125"/>
                <a:gd name="connsiteY203" fmla="*/ 138113 h 371475"/>
                <a:gd name="connsiteX204" fmla="*/ 203644 w 238125"/>
                <a:gd name="connsiteY204" fmla="*/ 140208 h 371475"/>
                <a:gd name="connsiteX205" fmla="*/ 202978 w 238125"/>
                <a:gd name="connsiteY205" fmla="*/ 142970 h 371475"/>
                <a:gd name="connsiteX206" fmla="*/ 200882 w 238125"/>
                <a:gd name="connsiteY206" fmla="*/ 151924 h 371475"/>
                <a:gd name="connsiteX207" fmla="*/ 200216 w 238125"/>
                <a:gd name="connsiteY207" fmla="*/ 154019 h 371475"/>
                <a:gd name="connsiteX208" fmla="*/ 196787 w 238125"/>
                <a:gd name="connsiteY208" fmla="*/ 154019 h 371475"/>
                <a:gd name="connsiteX209" fmla="*/ 194691 w 238125"/>
                <a:gd name="connsiteY209" fmla="*/ 154686 h 371475"/>
                <a:gd name="connsiteX210" fmla="*/ 193358 w 238125"/>
                <a:gd name="connsiteY210" fmla="*/ 154686 h 371475"/>
                <a:gd name="connsiteX211" fmla="*/ 192691 w 238125"/>
                <a:gd name="connsiteY211" fmla="*/ 155353 h 371475"/>
                <a:gd name="connsiteX212" fmla="*/ 190595 w 238125"/>
                <a:gd name="connsiteY212" fmla="*/ 157448 h 371475"/>
                <a:gd name="connsiteX213" fmla="*/ 187833 w 238125"/>
                <a:gd name="connsiteY213" fmla="*/ 158782 h 371475"/>
                <a:gd name="connsiteX214" fmla="*/ 186500 w 238125"/>
                <a:gd name="connsiteY214" fmla="*/ 159448 h 371475"/>
                <a:gd name="connsiteX215" fmla="*/ 184404 w 238125"/>
                <a:gd name="connsiteY215" fmla="*/ 159448 h 371475"/>
                <a:gd name="connsiteX216" fmla="*/ 183737 w 238125"/>
                <a:gd name="connsiteY216" fmla="*/ 160782 h 371475"/>
                <a:gd name="connsiteX217" fmla="*/ 184404 w 238125"/>
                <a:gd name="connsiteY217" fmla="*/ 161449 h 371475"/>
                <a:gd name="connsiteX218" fmla="*/ 187833 w 238125"/>
                <a:gd name="connsiteY218" fmla="*/ 164211 h 371475"/>
                <a:gd name="connsiteX219" fmla="*/ 189929 w 238125"/>
                <a:gd name="connsiteY219" fmla="*/ 162116 h 371475"/>
                <a:gd name="connsiteX220" fmla="*/ 190595 w 238125"/>
                <a:gd name="connsiteY220" fmla="*/ 160782 h 371475"/>
                <a:gd name="connsiteX221" fmla="*/ 191929 w 238125"/>
                <a:gd name="connsiteY221" fmla="*/ 160115 h 371475"/>
                <a:gd name="connsiteX222" fmla="*/ 194024 w 238125"/>
                <a:gd name="connsiteY222" fmla="*/ 161449 h 371475"/>
                <a:gd name="connsiteX223" fmla="*/ 196120 w 238125"/>
                <a:gd name="connsiteY223" fmla="*/ 168307 h 371475"/>
                <a:gd name="connsiteX224" fmla="*/ 196120 w 238125"/>
                <a:gd name="connsiteY224" fmla="*/ 168973 h 371475"/>
                <a:gd name="connsiteX225" fmla="*/ 195453 w 238125"/>
                <a:gd name="connsiteY225" fmla="*/ 170307 h 371475"/>
                <a:gd name="connsiteX226" fmla="*/ 194119 w 238125"/>
                <a:gd name="connsiteY226" fmla="*/ 172402 h 371475"/>
                <a:gd name="connsiteX227" fmla="*/ 194786 w 238125"/>
                <a:gd name="connsiteY227" fmla="*/ 173736 h 371475"/>
                <a:gd name="connsiteX228" fmla="*/ 194119 w 238125"/>
                <a:gd name="connsiteY228" fmla="*/ 174403 h 371475"/>
                <a:gd name="connsiteX229" fmla="*/ 194119 w 238125"/>
                <a:gd name="connsiteY229" fmla="*/ 175070 h 371475"/>
                <a:gd name="connsiteX230" fmla="*/ 194786 w 238125"/>
                <a:gd name="connsiteY230" fmla="*/ 177165 h 371475"/>
                <a:gd name="connsiteX231" fmla="*/ 194786 w 238125"/>
                <a:gd name="connsiteY231" fmla="*/ 179261 h 371475"/>
                <a:gd name="connsiteX232" fmla="*/ 193453 w 238125"/>
                <a:gd name="connsiteY232" fmla="*/ 184023 h 371475"/>
                <a:gd name="connsiteX233" fmla="*/ 192119 w 238125"/>
                <a:gd name="connsiteY233" fmla="*/ 185356 h 371475"/>
                <a:gd name="connsiteX234" fmla="*/ 190024 w 238125"/>
                <a:gd name="connsiteY234" fmla="*/ 184690 h 371475"/>
                <a:gd name="connsiteX235" fmla="*/ 187928 w 238125"/>
                <a:gd name="connsiteY235" fmla="*/ 183356 h 371475"/>
                <a:gd name="connsiteX236" fmla="*/ 185833 w 238125"/>
                <a:gd name="connsiteY236" fmla="*/ 181261 h 371475"/>
                <a:gd name="connsiteX237" fmla="*/ 183071 w 238125"/>
                <a:gd name="connsiteY237" fmla="*/ 178498 h 371475"/>
                <a:gd name="connsiteX238" fmla="*/ 182404 w 238125"/>
                <a:gd name="connsiteY238" fmla="*/ 178498 h 371475"/>
                <a:gd name="connsiteX239" fmla="*/ 181070 w 238125"/>
                <a:gd name="connsiteY239" fmla="*/ 179165 h 371475"/>
                <a:gd name="connsiteX240" fmla="*/ 181737 w 238125"/>
                <a:gd name="connsiteY240" fmla="*/ 179832 h 371475"/>
                <a:gd name="connsiteX241" fmla="*/ 183071 w 238125"/>
                <a:gd name="connsiteY241" fmla="*/ 180499 h 371475"/>
                <a:gd name="connsiteX242" fmla="*/ 183071 w 238125"/>
                <a:gd name="connsiteY242" fmla="*/ 182594 h 371475"/>
                <a:gd name="connsiteX243" fmla="*/ 184404 w 238125"/>
                <a:gd name="connsiteY243" fmla="*/ 185356 h 371475"/>
                <a:gd name="connsiteX244" fmla="*/ 185071 w 238125"/>
                <a:gd name="connsiteY244" fmla="*/ 186690 h 371475"/>
                <a:gd name="connsiteX245" fmla="*/ 182309 w 238125"/>
                <a:gd name="connsiteY245" fmla="*/ 187357 h 371475"/>
                <a:gd name="connsiteX246" fmla="*/ 181642 w 238125"/>
                <a:gd name="connsiteY246" fmla="*/ 186690 h 371475"/>
                <a:gd name="connsiteX247" fmla="*/ 181642 w 238125"/>
                <a:gd name="connsiteY247" fmla="*/ 185356 h 371475"/>
                <a:gd name="connsiteX248" fmla="*/ 180975 w 238125"/>
                <a:gd name="connsiteY248" fmla="*/ 184023 h 371475"/>
                <a:gd name="connsiteX249" fmla="*/ 180308 w 238125"/>
                <a:gd name="connsiteY249" fmla="*/ 184023 h 371475"/>
                <a:gd name="connsiteX250" fmla="*/ 179642 w 238125"/>
                <a:gd name="connsiteY250" fmla="*/ 184690 h 371475"/>
                <a:gd name="connsiteX251" fmla="*/ 178975 w 238125"/>
                <a:gd name="connsiteY251" fmla="*/ 185356 h 371475"/>
                <a:gd name="connsiteX252" fmla="*/ 177641 w 238125"/>
                <a:gd name="connsiteY252" fmla="*/ 186023 h 371475"/>
                <a:gd name="connsiteX253" fmla="*/ 176308 w 238125"/>
                <a:gd name="connsiteY253" fmla="*/ 183928 h 371475"/>
                <a:gd name="connsiteX254" fmla="*/ 174212 w 238125"/>
                <a:gd name="connsiteY254" fmla="*/ 185261 h 371475"/>
                <a:gd name="connsiteX255" fmla="*/ 174879 w 238125"/>
                <a:gd name="connsiteY255" fmla="*/ 186595 h 371475"/>
                <a:gd name="connsiteX256" fmla="*/ 179642 w 238125"/>
                <a:gd name="connsiteY256" fmla="*/ 190024 h 371475"/>
                <a:gd name="connsiteX257" fmla="*/ 180308 w 238125"/>
                <a:gd name="connsiteY257" fmla="*/ 190691 h 371475"/>
                <a:gd name="connsiteX258" fmla="*/ 182404 w 238125"/>
                <a:gd name="connsiteY258" fmla="*/ 190024 h 371475"/>
                <a:gd name="connsiteX259" fmla="*/ 183737 w 238125"/>
                <a:gd name="connsiteY259" fmla="*/ 189357 h 371475"/>
                <a:gd name="connsiteX260" fmla="*/ 187833 w 238125"/>
                <a:gd name="connsiteY260" fmla="*/ 193453 h 371475"/>
                <a:gd name="connsiteX261" fmla="*/ 186500 w 238125"/>
                <a:gd name="connsiteY261" fmla="*/ 193453 h 371475"/>
                <a:gd name="connsiteX262" fmla="*/ 184404 w 238125"/>
                <a:gd name="connsiteY262" fmla="*/ 194786 h 371475"/>
                <a:gd name="connsiteX263" fmla="*/ 182309 w 238125"/>
                <a:gd name="connsiteY263" fmla="*/ 194786 h 371475"/>
                <a:gd name="connsiteX264" fmla="*/ 180213 w 238125"/>
                <a:gd name="connsiteY264" fmla="*/ 196120 h 371475"/>
                <a:gd name="connsiteX265" fmla="*/ 176784 w 238125"/>
                <a:gd name="connsiteY265" fmla="*/ 198215 h 371475"/>
                <a:gd name="connsiteX266" fmla="*/ 176117 w 238125"/>
                <a:gd name="connsiteY266" fmla="*/ 198882 h 371475"/>
                <a:gd name="connsiteX267" fmla="*/ 178213 w 238125"/>
                <a:gd name="connsiteY267" fmla="*/ 201644 h 371475"/>
                <a:gd name="connsiteX268" fmla="*/ 180975 w 238125"/>
                <a:gd name="connsiteY268" fmla="*/ 203740 h 371475"/>
                <a:gd name="connsiteX269" fmla="*/ 187833 w 238125"/>
                <a:gd name="connsiteY269" fmla="*/ 205073 h 371475"/>
                <a:gd name="connsiteX270" fmla="*/ 189929 w 238125"/>
                <a:gd name="connsiteY270" fmla="*/ 209169 h 371475"/>
                <a:gd name="connsiteX271" fmla="*/ 190595 w 238125"/>
                <a:gd name="connsiteY271" fmla="*/ 209836 h 371475"/>
                <a:gd name="connsiteX272" fmla="*/ 190595 w 238125"/>
                <a:gd name="connsiteY272" fmla="*/ 211169 h 371475"/>
                <a:gd name="connsiteX273" fmla="*/ 189929 w 238125"/>
                <a:gd name="connsiteY273" fmla="*/ 214598 h 371475"/>
                <a:gd name="connsiteX274" fmla="*/ 188595 w 238125"/>
                <a:gd name="connsiteY274" fmla="*/ 217361 h 371475"/>
                <a:gd name="connsiteX275" fmla="*/ 188595 w 238125"/>
                <a:gd name="connsiteY275" fmla="*/ 224885 h 371475"/>
                <a:gd name="connsiteX276" fmla="*/ 187928 w 238125"/>
                <a:gd name="connsiteY276" fmla="*/ 231076 h 371475"/>
                <a:gd name="connsiteX277" fmla="*/ 188595 w 238125"/>
                <a:gd name="connsiteY277" fmla="*/ 233839 h 371475"/>
                <a:gd name="connsiteX278" fmla="*/ 187928 w 238125"/>
                <a:gd name="connsiteY278" fmla="*/ 236601 h 371475"/>
                <a:gd name="connsiteX279" fmla="*/ 186595 w 238125"/>
                <a:gd name="connsiteY279" fmla="*/ 240030 h 371475"/>
                <a:gd name="connsiteX280" fmla="*/ 187928 w 238125"/>
                <a:gd name="connsiteY280" fmla="*/ 242792 h 371475"/>
                <a:gd name="connsiteX281" fmla="*/ 187262 w 238125"/>
                <a:gd name="connsiteY281" fmla="*/ 251746 h 371475"/>
                <a:gd name="connsiteX282" fmla="*/ 186595 w 238125"/>
                <a:gd name="connsiteY282" fmla="*/ 242792 h 371475"/>
                <a:gd name="connsiteX283" fmla="*/ 185928 w 238125"/>
                <a:gd name="connsiteY283" fmla="*/ 242125 h 371475"/>
                <a:gd name="connsiteX284" fmla="*/ 185261 w 238125"/>
                <a:gd name="connsiteY284" fmla="*/ 241459 h 371475"/>
                <a:gd name="connsiteX285" fmla="*/ 183166 w 238125"/>
                <a:gd name="connsiteY285" fmla="*/ 240125 h 371475"/>
                <a:gd name="connsiteX286" fmla="*/ 181832 w 238125"/>
                <a:gd name="connsiteY286" fmla="*/ 241459 h 371475"/>
                <a:gd name="connsiteX287" fmla="*/ 180499 w 238125"/>
                <a:gd name="connsiteY287" fmla="*/ 254508 h 371475"/>
                <a:gd name="connsiteX288" fmla="*/ 179832 w 238125"/>
                <a:gd name="connsiteY288" fmla="*/ 242888 h 371475"/>
                <a:gd name="connsiteX289" fmla="*/ 178499 w 238125"/>
                <a:gd name="connsiteY289" fmla="*/ 242221 h 371475"/>
                <a:gd name="connsiteX290" fmla="*/ 179165 w 238125"/>
                <a:gd name="connsiteY290" fmla="*/ 249746 h 371475"/>
                <a:gd name="connsiteX291" fmla="*/ 172974 w 238125"/>
                <a:gd name="connsiteY291" fmla="*/ 305943 h 371475"/>
                <a:gd name="connsiteX292" fmla="*/ 172307 w 238125"/>
                <a:gd name="connsiteY292" fmla="*/ 309372 h 371475"/>
                <a:gd name="connsiteX293" fmla="*/ 174403 w 238125"/>
                <a:gd name="connsiteY293" fmla="*/ 310706 h 371475"/>
                <a:gd name="connsiteX294" fmla="*/ 175069 w 238125"/>
                <a:gd name="connsiteY294" fmla="*/ 310039 h 371475"/>
                <a:gd name="connsiteX295" fmla="*/ 176403 w 238125"/>
                <a:gd name="connsiteY295" fmla="*/ 307276 h 371475"/>
                <a:gd name="connsiteX296" fmla="*/ 177737 w 238125"/>
                <a:gd name="connsiteY296" fmla="*/ 305181 h 371475"/>
                <a:gd name="connsiteX297" fmla="*/ 180499 w 238125"/>
                <a:gd name="connsiteY297" fmla="*/ 305848 h 371475"/>
                <a:gd name="connsiteX298" fmla="*/ 182594 w 238125"/>
                <a:gd name="connsiteY298" fmla="*/ 307943 h 371475"/>
                <a:gd name="connsiteX299" fmla="*/ 183261 w 238125"/>
                <a:gd name="connsiteY299" fmla="*/ 311372 h 371475"/>
                <a:gd name="connsiteX300" fmla="*/ 183928 w 238125"/>
                <a:gd name="connsiteY300" fmla="*/ 328517 h 371475"/>
                <a:gd name="connsiteX301" fmla="*/ 183928 w 238125"/>
                <a:gd name="connsiteY301" fmla="*/ 330613 h 371475"/>
                <a:gd name="connsiteX302" fmla="*/ 181832 w 238125"/>
                <a:gd name="connsiteY302" fmla="*/ 332708 h 371475"/>
                <a:gd name="connsiteX303" fmla="*/ 181166 w 238125"/>
                <a:gd name="connsiteY303" fmla="*/ 330613 h 371475"/>
                <a:gd name="connsiteX304" fmla="*/ 181166 w 238125"/>
                <a:gd name="connsiteY304" fmla="*/ 326517 h 371475"/>
                <a:gd name="connsiteX305" fmla="*/ 179832 w 238125"/>
                <a:gd name="connsiteY305" fmla="*/ 325850 h 371475"/>
                <a:gd name="connsiteX306" fmla="*/ 179165 w 238125"/>
                <a:gd name="connsiteY306" fmla="*/ 326517 h 371475"/>
                <a:gd name="connsiteX307" fmla="*/ 177070 w 238125"/>
                <a:gd name="connsiteY307" fmla="*/ 335471 h 371475"/>
                <a:gd name="connsiteX308" fmla="*/ 177737 w 238125"/>
                <a:gd name="connsiteY308" fmla="*/ 336137 h 371475"/>
                <a:gd name="connsiteX309" fmla="*/ 179070 w 238125"/>
                <a:gd name="connsiteY309" fmla="*/ 336137 h 371475"/>
                <a:gd name="connsiteX310" fmla="*/ 181166 w 238125"/>
                <a:gd name="connsiteY310" fmla="*/ 335471 h 371475"/>
                <a:gd name="connsiteX311" fmla="*/ 182499 w 238125"/>
                <a:gd name="connsiteY311" fmla="*/ 334137 h 371475"/>
                <a:gd name="connsiteX312" fmla="*/ 183833 w 238125"/>
                <a:gd name="connsiteY312" fmla="*/ 334137 h 371475"/>
                <a:gd name="connsiteX313" fmla="*/ 177641 w 238125"/>
                <a:gd name="connsiteY313" fmla="*/ 357473 h 371475"/>
                <a:gd name="connsiteX314" fmla="*/ 178308 w 238125"/>
                <a:gd name="connsiteY314" fmla="*/ 361569 h 371475"/>
                <a:gd name="connsiteX315" fmla="*/ 178308 w 238125"/>
                <a:gd name="connsiteY315" fmla="*/ 362236 h 371475"/>
                <a:gd name="connsiteX316" fmla="*/ 176213 w 238125"/>
                <a:gd name="connsiteY316" fmla="*/ 364331 h 371475"/>
                <a:gd name="connsiteX317" fmla="*/ 165926 w 238125"/>
                <a:gd name="connsiteY317" fmla="*/ 379381 h 371475"/>
                <a:gd name="connsiteX318" fmla="*/ 164592 w 238125"/>
                <a:gd name="connsiteY318" fmla="*/ 379381 h 371475"/>
                <a:gd name="connsiteX319" fmla="*/ 163925 w 238125"/>
                <a:gd name="connsiteY319" fmla="*/ 375285 h 371475"/>
                <a:gd name="connsiteX320" fmla="*/ 163259 w 238125"/>
                <a:gd name="connsiteY320" fmla="*/ 364998 h 371475"/>
                <a:gd name="connsiteX321" fmla="*/ 163259 w 238125"/>
                <a:gd name="connsiteY321" fmla="*/ 350615 h 371475"/>
                <a:gd name="connsiteX322" fmla="*/ 162592 w 238125"/>
                <a:gd name="connsiteY322" fmla="*/ 349282 h 371475"/>
                <a:gd name="connsiteX323" fmla="*/ 158496 w 238125"/>
                <a:gd name="connsiteY323" fmla="*/ 361664 h 371475"/>
                <a:gd name="connsiteX324" fmla="*/ 157829 w 238125"/>
                <a:gd name="connsiteY324" fmla="*/ 360998 h 371475"/>
                <a:gd name="connsiteX325" fmla="*/ 156496 w 238125"/>
                <a:gd name="connsiteY325" fmla="*/ 360331 h 371475"/>
                <a:gd name="connsiteX326" fmla="*/ 151733 w 238125"/>
                <a:gd name="connsiteY326" fmla="*/ 360331 h 371475"/>
                <a:gd name="connsiteX327" fmla="*/ 145542 w 238125"/>
                <a:gd name="connsiteY327" fmla="*/ 364427 h 371475"/>
                <a:gd name="connsiteX328" fmla="*/ 140780 w 238125"/>
                <a:gd name="connsiteY328" fmla="*/ 341757 h 371475"/>
                <a:gd name="connsiteX329" fmla="*/ 140113 w 238125"/>
                <a:gd name="connsiteY329" fmla="*/ 337661 h 371475"/>
                <a:gd name="connsiteX330" fmla="*/ 140780 w 238125"/>
                <a:gd name="connsiteY330" fmla="*/ 335566 h 371475"/>
                <a:gd name="connsiteX331" fmla="*/ 140780 w 238125"/>
                <a:gd name="connsiteY331" fmla="*/ 333661 h 371475"/>
                <a:gd name="connsiteX332" fmla="*/ 0 w 238125"/>
                <a:gd name="connsiteY332" fmla="*/ 223838 h 371475"/>
                <a:gd name="connsiteX333" fmla="*/ 667 w 238125"/>
                <a:gd name="connsiteY333" fmla="*/ 223171 h 371475"/>
                <a:gd name="connsiteX334" fmla="*/ 1334 w 238125"/>
                <a:gd name="connsiteY334" fmla="*/ 223838 h 371475"/>
                <a:gd name="connsiteX335" fmla="*/ 1334 w 238125"/>
                <a:gd name="connsiteY335" fmla="*/ 228600 h 371475"/>
                <a:gd name="connsiteX336" fmla="*/ 0 w 238125"/>
                <a:gd name="connsiteY336" fmla="*/ 225171 h 371475"/>
                <a:gd name="connsiteX337" fmla="*/ 0 w 238125"/>
                <a:gd name="connsiteY337" fmla="*/ 223838 h 371475"/>
                <a:gd name="connsiteX338" fmla="*/ 107633 w 238125"/>
                <a:gd name="connsiteY338" fmla="*/ 93536 h 371475"/>
                <a:gd name="connsiteX339" fmla="*/ 106299 w 238125"/>
                <a:gd name="connsiteY339" fmla="*/ 96298 h 371475"/>
                <a:gd name="connsiteX340" fmla="*/ 106966 w 238125"/>
                <a:gd name="connsiteY340" fmla="*/ 96965 h 371475"/>
                <a:gd name="connsiteX341" fmla="*/ 106966 w 238125"/>
                <a:gd name="connsiteY341" fmla="*/ 98298 h 371475"/>
                <a:gd name="connsiteX342" fmla="*/ 103537 w 238125"/>
                <a:gd name="connsiteY342" fmla="*/ 102394 h 371475"/>
                <a:gd name="connsiteX343" fmla="*/ 96679 w 238125"/>
                <a:gd name="connsiteY343" fmla="*/ 108585 h 371475"/>
                <a:gd name="connsiteX344" fmla="*/ 96679 w 238125"/>
                <a:gd name="connsiteY344" fmla="*/ 109919 h 371475"/>
                <a:gd name="connsiteX345" fmla="*/ 92583 w 238125"/>
                <a:gd name="connsiteY345" fmla="*/ 113347 h 371475"/>
                <a:gd name="connsiteX346" fmla="*/ 89821 w 238125"/>
                <a:gd name="connsiteY346" fmla="*/ 118110 h 371475"/>
                <a:gd name="connsiteX347" fmla="*/ 85725 w 238125"/>
                <a:gd name="connsiteY347" fmla="*/ 123730 h 371475"/>
                <a:gd name="connsiteX348" fmla="*/ 85058 w 238125"/>
                <a:gd name="connsiteY348" fmla="*/ 123730 h 371475"/>
                <a:gd name="connsiteX349" fmla="*/ 85058 w 238125"/>
                <a:gd name="connsiteY349" fmla="*/ 124396 h 371475"/>
                <a:gd name="connsiteX350" fmla="*/ 80963 w 238125"/>
                <a:gd name="connsiteY350" fmla="*/ 131921 h 371475"/>
                <a:gd name="connsiteX351" fmla="*/ 79629 w 238125"/>
                <a:gd name="connsiteY351" fmla="*/ 134017 h 371475"/>
                <a:gd name="connsiteX352" fmla="*/ 79629 w 238125"/>
                <a:gd name="connsiteY352" fmla="*/ 134684 h 371475"/>
                <a:gd name="connsiteX353" fmla="*/ 77534 w 238125"/>
                <a:gd name="connsiteY353" fmla="*/ 136017 h 371475"/>
                <a:gd name="connsiteX354" fmla="*/ 73438 w 238125"/>
                <a:gd name="connsiteY354" fmla="*/ 142208 h 371475"/>
                <a:gd name="connsiteX355" fmla="*/ 72771 w 238125"/>
                <a:gd name="connsiteY355" fmla="*/ 142875 h 371475"/>
                <a:gd name="connsiteX356" fmla="*/ 72771 w 238125"/>
                <a:gd name="connsiteY356" fmla="*/ 142303 h 371475"/>
                <a:gd name="connsiteX357" fmla="*/ 70009 w 238125"/>
                <a:gd name="connsiteY357" fmla="*/ 140208 h 371475"/>
                <a:gd name="connsiteX358" fmla="*/ 68675 w 238125"/>
                <a:gd name="connsiteY358" fmla="*/ 140208 h 371475"/>
                <a:gd name="connsiteX359" fmla="*/ 66580 w 238125"/>
                <a:gd name="connsiteY359" fmla="*/ 142970 h 371475"/>
                <a:gd name="connsiteX360" fmla="*/ 67247 w 238125"/>
                <a:gd name="connsiteY360" fmla="*/ 145066 h 371475"/>
                <a:gd name="connsiteX361" fmla="*/ 69342 w 238125"/>
                <a:gd name="connsiteY361" fmla="*/ 145066 h 371475"/>
                <a:gd name="connsiteX362" fmla="*/ 70676 w 238125"/>
                <a:gd name="connsiteY362" fmla="*/ 144399 h 371475"/>
                <a:gd name="connsiteX363" fmla="*/ 70676 w 238125"/>
                <a:gd name="connsiteY363" fmla="*/ 145066 h 371475"/>
                <a:gd name="connsiteX364" fmla="*/ 71342 w 238125"/>
                <a:gd name="connsiteY364" fmla="*/ 151257 h 371475"/>
                <a:gd name="connsiteX365" fmla="*/ 70676 w 238125"/>
                <a:gd name="connsiteY365" fmla="*/ 151828 h 371475"/>
                <a:gd name="connsiteX366" fmla="*/ 68580 w 238125"/>
                <a:gd name="connsiteY366" fmla="*/ 151162 h 371475"/>
                <a:gd name="connsiteX367" fmla="*/ 67913 w 238125"/>
                <a:gd name="connsiteY367" fmla="*/ 152495 h 371475"/>
                <a:gd name="connsiteX368" fmla="*/ 66580 w 238125"/>
                <a:gd name="connsiteY368" fmla="*/ 155258 h 371475"/>
                <a:gd name="connsiteX369" fmla="*/ 63818 w 238125"/>
                <a:gd name="connsiteY369" fmla="*/ 157353 h 371475"/>
                <a:gd name="connsiteX370" fmla="*/ 62389 w 238125"/>
                <a:gd name="connsiteY370" fmla="*/ 157353 h 371475"/>
                <a:gd name="connsiteX371" fmla="*/ 61055 w 238125"/>
                <a:gd name="connsiteY371" fmla="*/ 158020 h 371475"/>
                <a:gd name="connsiteX372" fmla="*/ 61722 w 238125"/>
                <a:gd name="connsiteY372" fmla="*/ 158687 h 371475"/>
                <a:gd name="connsiteX373" fmla="*/ 63818 w 238125"/>
                <a:gd name="connsiteY373" fmla="*/ 162116 h 371475"/>
                <a:gd name="connsiteX374" fmla="*/ 65913 w 238125"/>
                <a:gd name="connsiteY374" fmla="*/ 162116 h 371475"/>
                <a:gd name="connsiteX375" fmla="*/ 63151 w 238125"/>
                <a:gd name="connsiteY375" fmla="*/ 165545 h 371475"/>
                <a:gd name="connsiteX376" fmla="*/ 61055 w 238125"/>
                <a:gd name="connsiteY376" fmla="*/ 166878 h 371475"/>
                <a:gd name="connsiteX377" fmla="*/ 60389 w 238125"/>
                <a:gd name="connsiteY377" fmla="*/ 171641 h 371475"/>
                <a:gd name="connsiteX378" fmla="*/ 58293 w 238125"/>
                <a:gd name="connsiteY378" fmla="*/ 175736 h 371475"/>
                <a:gd name="connsiteX379" fmla="*/ 56960 w 238125"/>
                <a:gd name="connsiteY379" fmla="*/ 181261 h 371475"/>
                <a:gd name="connsiteX380" fmla="*/ 57626 w 238125"/>
                <a:gd name="connsiteY380" fmla="*/ 182594 h 371475"/>
                <a:gd name="connsiteX381" fmla="*/ 58293 w 238125"/>
                <a:gd name="connsiteY381" fmla="*/ 184690 h 371475"/>
                <a:gd name="connsiteX382" fmla="*/ 56960 w 238125"/>
                <a:gd name="connsiteY382" fmla="*/ 187452 h 371475"/>
                <a:gd name="connsiteX383" fmla="*/ 52864 w 238125"/>
                <a:gd name="connsiteY383" fmla="*/ 192976 h 371475"/>
                <a:gd name="connsiteX384" fmla="*/ 48673 w 238125"/>
                <a:gd name="connsiteY384" fmla="*/ 198501 h 371475"/>
                <a:gd name="connsiteX385" fmla="*/ 48673 w 238125"/>
                <a:gd name="connsiteY385" fmla="*/ 199835 h 371475"/>
                <a:gd name="connsiteX386" fmla="*/ 47339 w 238125"/>
                <a:gd name="connsiteY386" fmla="*/ 212884 h 371475"/>
                <a:gd name="connsiteX387" fmla="*/ 48006 w 238125"/>
                <a:gd name="connsiteY387" fmla="*/ 215646 h 371475"/>
                <a:gd name="connsiteX388" fmla="*/ 48006 w 238125"/>
                <a:gd name="connsiteY388" fmla="*/ 217742 h 371475"/>
                <a:gd name="connsiteX389" fmla="*/ 47339 w 238125"/>
                <a:gd name="connsiteY389" fmla="*/ 220409 h 371475"/>
                <a:gd name="connsiteX390" fmla="*/ 48006 w 238125"/>
                <a:gd name="connsiteY390" fmla="*/ 223838 h 371475"/>
                <a:gd name="connsiteX391" fmla="*/ 48673 w 238125"/>
                <a:gd name="connsiteY391" fmla="*/ 225933 h 371475"/>
                <a:gd name="connsiteX392" fmla="*/ 48006 w 238125"/>
                <a:gd name="connsiteY392" fmla="*/ 228028 h 371475"/>
                <a:gd name="connsiteX393" fmla="*/ 48006 w 238125"/>
                <a:gd name="connsiteY393" fmla="*/ 231458 h 371475"/>
                <a:gd name="connsiteX394" fmla="*/ 49340 w 238125"/>
                <a:gd name="connsiteY394" fmla="*/ 243840 h 371475"/>
                <a:gd name="connsiteX395" fmla="*/ 50673 w 238125"/>
                <a:gd name="connsiteY395" fmla="*/ 246602 h 371475"/>
                <a:gd name="connsiteX396" fmla="*/ 54102 w 238125"/>
                <a:gd name="connsiteY396" fmla="*/ 250031 h 371475"/>
                <a:gd name="connsiteX397" fmla="*/ 57531 w 238125"/>
                <a:gd name="connsiteY397" fmla="*/ 248698 h 371475"/>
                <a:gd name="connsiteX398" fmla="*/ 60960 w 238125"/>
                <a:gd name="connsiteY398" fmla="*/ 246602 h 371475"/>
                <a:gd name="connsiteX399" fmla="*/ 66485 w 238125"/>
                <a:gd name="connsiteY399" fmla="*/ 241840 h 371475"/>
                <a:gd name="connsiteX400" fmla="*/ 73343 w 238125"/>
                <a:gd name="connsiteY400" fmla="*/ 232886 h 371475"/>
                <a:gd name="connsiteX401" fmla="*/ 75438 w 238125"/>
                <a:gd name="connsiteY401" fmla="*/ 231553 h 371475"/>
                <a:gd name="connsiteX402" fmla="*/ 83630 w 238125"/>
                <a:gd name="connsiteY402" fmla="*/ 223361 h 371475"/>
                <a:gd name="connsiteX403" fmla="*/ 87725 w 238125"/>
                <a:gd name="connsiteY403" fmla="*/ 219266 h 371475"/>
                <a:gd name="connsiteX404" fmla="*/ 96679 w 238125"/>
                <a:gd name="connsiteY404" fmla="*/ 208978 h 371475"/>
                <a:gd name="connsiteX405" fmla="*/ 104203 w 238125"/>
                <a:gd name="connsiteY405" fmla="*/ 199358 h 371475"/>
                <a:gd name="connsiteX406" fmla="*/ 109728 w 238125"/>
                <a:gd name="connsiteY406" fmla="*/ 191834 h 371475"/>
                <a:gd name="connsiteX407" fmla="*/ 111062 w 238125"/>
                <a:gd name="connsiteY407" fmla="*/ 189071 h 371475"/>
                <a:gd name="connsiteX408" fmla="*/ 115824 w 238125"/>
                <a:gd name="connsiteY408" fmla="*/ 183547 h 371475"/>
                <a:gd name="connsiteX409" fmla="*/ 117920 w 238125"/>
                <a:gd name="connsiteY409" fmla="*/ 180785 h 371475"/>
                <a:gd name="connsiteX410" fmla="*/ 125444 w 238125"/>
                <a:gd name="connsiteY410" fmla="*/ 172593 h 371475"/>
                <a:gd name="connsiteX411" fmla="*/ 126111 w 238125"/>
                <a:gd name="connsiteY411" fmla="*/ 169831 h 371475"/>
                <a:gd name="connsiteX412" fmla="*/ 128207 w 238125"/>
                <a:gd name="connsiteY412" fmla="*/ 166402 h 371475"/>
                <a:gd name="connsiteX413" fmla="*/ 133731 w 238125"/>
                <a:gd name="connsiteY413" fmla="*/ 158210 h 371475"/>
                <a:gd name="connsiteX414" fmla="*/ 137160 w 238125"/>
                <a:gd name="connsiteY414" fmla="*/ 154781 h 371475"/>
                <a:gd name="connsiteX415" fmla="*/ 137827 w 238125"/>
                <a:gd name="connsiteY415" fmla="*/ 154781 h 371475"/>
                <a:gd name="connsiteX416" fmla="*/ 138494 w 238125"/>
                <a:gd name="connsiteY416" fmla="*/ 153448 h 371475"/>
                <a:gd name="connsiteX417" fmla="*/ 138494 w 238125"/>
                <a:gd name="connsiteY417" fmla="*/ 152781 h 371475"/>
                <a:gd name="connsiteX418" fmla="*/ 139160 w 238125"/>
                <a:gd name="connsiteY418" fmla="*/ 150686 h 371475"/>
                <a:gd name="connsiteX419" fmla="*/ 140494 w 238125"/>
                <a:gd name="connsiteY419" fmla="*/ 147923 h 371475"/>
                <a:gd name="connsiteX420" fmla="*/ 144590 w 238125"/>
                <a:gd name="connsiteY420" fmla="*/ 144494 h 371475"/>
                <a:gd name="connsiteX421" fmla="*/ 148685 w 238125"/>
                <a:gd name="connsiteY421" fmla="*/ 141065 h 371475"/>
                <a:gd name="connsiteX422" fmla="*/ 149352 w 238125"/>
                <a:gd name="connsiteY422" fmla="*/ 139732 h 371475"/>
                <a:gd name="connsiteX423" fmla="*/ 148685 w 238125"/>
                <a:gd name="connsiteY423" fmla="*/ 136970 h 371475"/>
                <a:gd name="connsiteX424" fmla="*/ 146590 w 238125"/>
                <a:gd name="connsiteY424" fmla="*/ 132874 h 371475"/>
                <a:gd name="connsiteX425" fmla="*/ 148685 w 238125"/>
                <a:gd name="connsiteY425" fmla="*/ 128778 h 371475"/>
                <a:gd name="connsiteX426" fmla="*/ 151543 w 238125"/>
                <a:gd name="connsiteY426" fmla="*/ 125158 h 371475"/>
                <a:gd name="connsiteX427" fmla="*/ 152876 w 238125"/>
                <a:gd name="connsiteY427" fmla="*/ 123825 h 371475"/>
                <a:gd name="connsiteX428" fmla="*/ 154210 w 238125"/>
                <a:gd name="connsiteY428" fmla="*/ 123825 h 371475"/>
                <a:gd name="connsiteX429" fmla="*/ 156972 w 238125"/>
                <a:gd name="connsiteY429" fmla="*/ 121063 h 371475"/>
                <a:gd name="connsiteX430" fmla="*/ 157639 w 238125"/>
                <a:gd name="connsiteY430" fmla="*/ 121063 h 371475"/>
                <a:gd name="connsiteX431" fmla="*/ 158972 w 238125"/>
                <a:gd name="connsiteY431" fmla="*/ 119729 h 371475"/>
                <a:gd name="connsiteX432" fmla="*/ 161735 w 238125"/>
                <a:gd name="connsiteY432" fmla="*/ 112204 h 371475"/>
                <a:gd name="connsiteX433" fmla="*/ 163068 w 238125"/>
                <a:gd name="connsiteY433" fmla="*/ 106680 h 371475"/>
                <a:gd name="connsiteX434" fmla="*/ 163068 w 238125"/>
                <a:gd name="connsiteY434" fmla="*/ 106013 h 371475"/>
                <a:gd name="connsiteX435" fmla="*/ 162401 w 238125"/>
                <a:gd name="connsiteY435" fmla="*/ 105346 h 371475"/>
                <a:gd name="connsiteX436" fmla="*/ 163068 w 238125"/>
                <a:gd name="connsiteY436" fmla="*/ 104013 h 371475"/>
                <a:gd name="connsiteX437" fmla="*/ 163735 w 238125"/>
                <a:gd name="connsiteY437" fmla="*/ 102679 h 371475"/>
                <a:gd name="connsiteX438" fmla="*/ 163068 w 238125"/>
                <a:gd name="connsiteY438" fmla="*/ 101346 h 371475"/>
                <a:gd name="connsiteX439" fmla="*/ 162401 w 238125"/>
                <a:gd name="connsiteY439" fmla="*/ 100679 h 371475"/>
                <a:gd name="connsiteX440" fmla="*/ 163068 w 238125"/>
                <a:gd name="connsiteY440" fmla="*/ 99346 h 371475"/>
                <a:gd name="connsiteX441" fmla="*/ 162401 w 238125"/>
                <a:gd name="connsiteY441" fmla="*/ 97250 h 371475"/>
                <a:gd name="connsiteX442" fmla="*/ 155543 w 238125"/>
                <a:gd name="connsiteY442" fmla="*/ 89725 h 371475"/>
                <a:gd name="connsiteX443" fmla="*/ 152114 w 238125"/>
                <a:gd name="connsiteY443" fmla="*/ 85630 h 371475"/>
                <a:gd name="connsiteX444" fmla="*/ 150781 w 238125"/>
                <a:gd name="connsiteY444" fmla="*/ 81534 h 371475"/>
                <a:gd name="connsiteX445" fmla="*/ 146685 w 238125"/>
                <a:gd name="connsiteY445" fmla="*/ 76771 h 371475"/>
                <a:gd name="connsiteX446" fmla="*/ 143923 w 238125"/>
                <a:gd name="connsiteY446" fmla="*/ 74009 h 371475"/>
                <a:gd name="connsiteX447" fmla="*/ 134969 w 238125"/>
                <a:gd name="connsiteY447" fmla="*/ 68485 h 371475"/>
                <a:gd name="connsiteX448" fmla="*/ 132874 w 238125"/>
                <a:gd name="connsiteY448" fmla="*/ 68485 h 371475"/>
                <a:gd name="connsiteX449" fmla="*/ 130778 w 238125"/>
                <a:gd name="connsiteY449" fmla="*/ 67818 h 371475"/>
                <a:gd name="connsiteX450" fmla="*/ 127349 w 238125"/>
                <a:gd name="connsiteY450" fmla="*/ 69151 h 371475"/>
                <a:gd name="connsiteX451" fmla="*/ 121158 w 238125"/>
                <a:gd name="connsiteY451" fmla="*/ 73247 h 371475"/>
                <a:gd name="connsiteX452" fmla="*/ 119825 w 238125"/>
                <a:gd name="connsiteY452" fmla="*/ 74581 h 371475"/>
                <a:gd name="connsiteX453" fmla="*/ 118491 w 238125"/>
                <a:gd name="connsiteY453" fmla="*/ 76676 h 371475"/>
                <a:gd name="connsiteX454" fmla="*/ 115062 w 238125"/>
                <a:gd name="connsiteY454" fmla="*/ 82201 h 371475"/>
                <a:gd name="connsiteX455" fmla="*/ 115062 w 238125"/>
                <a:gd name="connsiteY455" fmla="*/ 83534 h 371475"/>
                <a:gd name="connsiteX456" fmla="*/ 110966 w 238125"/>
                <a:gd name="connsiteY456" fmla="*/ 89725 h 371475"/>
                <a:gd name="connsiteX457" fmla="*/ 110966 w 238125"/>
                <a:gd name="connsiteY457" fmla="*/ 89059 h 371475"/>
                <a:gd name="connsiteX458" fmla="*/ 108871 w 238125"/>
                <a:gd name="connsiteY458" fmla="*/ 86296 h 371475"/>
                <a:gd name="connsiteX459" fmla="*/ 108204 w 238125"/>
                <a:gd name="connsiteY459" fmla="*/ 87630 h 371475"/>
                <a:gd name="connsiteX460" fmla="*/ 111633 w 238125"/>
                <a:gd name="connsiteY460" fmla="*/ 89725 h 371475"/>
                <a:gd name="connsiteX461" fmla="*/ 107633 w 238125"/>
                <a:gd name="connsiteY461" fmla="*/ 93536 h 371475"/>
                <a:gd name="connsiteX462" fmla="*/ 71342 w 238125"/>
                <a:gd name="connsiteY462" fmla="*/ 139541 h 371475"/>
                <a:gd name="connsiteX463" fmla="*/ 72676 w 238125"/>
                <a:gd name="connsiteY463" fmla="*/ 138208 h 371475"/>
                <a:gd name="connsiteX464" fmla="*/ 72009 w 238125"/>
                <a:gd name="connsiteY464" fmla="*/ 136112 h 371475"/>
                <a:gd name="connsiteX465" fmla="*/ 70676 w 238125"/>
                <a:gd name="connsiteY465" fmla="*/ 137446 h 371475"/>
                <a:gd name="connsiteX466" fmla="*/ 71342 w 238125"/>
                <a:gd name="connsiteY466" fmla="*/ 139541 h 371475"/>
                <a:gd name="connsiteX467" fmla="*/ 137827 w 238125"/>
                <a:gd name="connsiteY467" fmla="*/ 234124 h 371475"/>
                <a:gd name="connsiteX468" fmla="*/ 137160 w 238125"/>
                <a:gd name="connsiteY468" fmla="*/ 234124 h 371475"/>
                <a:gd name="connsiteX469" fmla="*/ 135065 w 238125"/>
                <a:gd name="connsiteY469" fmla="*/ 231362 h 371475"/>
                <a:gd name="connsiteX470" fmla="*/ 135065 w 238125"/>
                <a:gd name="connsiteY470" fmla="*/ 230696 h 371475"/>
                <a:gd name="connsiteX471" fmla="*/ 135731 w 238125"/>
                <a:gd name="connsiteY471" fmla="*/ 230029 h 371475"/>
                <a:gd name="connsiteX472" fmla="*/ 136398 w 238125"/>
                <a:gd name="connsiteY472" fmla="*/ 230696 h 371475"/>
                <a:gd name="connsiteX473" fmla="*/ 137732 w 238125"/>
                <a:gd name="connsiteY473" fmla="*/ 232791 h 371475"/>
                <a:gd name="connsiteX474" fmla="*/ 137732 w 238125"/>
                <a:gd name="connsiteY474" fmla="*/ 234124 h 371475"/>
                <a:gd name="connsiteX475" fmla="*/ 168021 w 238125"/>
                <a:gd name="connsiteY475" fmla="*/ 219742 h 371475"/>
                <a:gd name="connsiteX476" fmla="*/ 167354 w 238125"/>
                <a:gd name="connsiteY476" fmla="*/ 217646 h 371475"/>
                <a:gd name="connsiteX477" fmla="*/ 168021 w 238125"/>
                <a:gd name="connsiteY477" fmla="*/ 216313 h 371475"/>
                <a:gd name="connsiteX478" fmla="*/ 168021 w 238125"/>
                <a:gd name="connsiteY478" fmla="*/ 213550 h 371475"/>
                <a:gd name="connsiteX479" fmla="*/ 167354 w 238125"/>
                <a:gd name="connsiteY479" fmla="*/ 210788 h 371475"/>
                <a:gd name="connsiteX480" fmla="*/ 167354 w 238125"/>
                <a:gd name="connsiteY480" fmla="*/ 208693 h 371475"/>
                <a:gd name="connsiteX481" fmla="*/ 166021 w 238125"/>
                <a:gd name="connsiteY481" fmla="*/ 209360 h 371475"/>
                <a:gd name="connsiteX482" fmla="*/ 164687 w 238125"/>
                <a:gd name="connsiteY482" fmla="*/ 213455 h 371475"/>
                <a:gd name="connsiteX483" fmla="*/ 164687 w 238125"/>
                <a:gd name="connsiteY483" fmla="*/ 215551 h 371475"/>
                <a:gd name="connsiteX484" fmla="*/ 166783 w 238125"/>
                <a:gd name="connsiteY484" fmla="*/ 219646 h 371475"/>
                <a:gd name="connsiteX485" fmla="*/ 168021 w 238125"/>
                <a:gd name="connsiteY485" fmla="*/ 220409 h 371475"/>
                <a:gd name="connsiteX486" fmla="*/ 168021 w 238125"/>
                <a:gd name="connsiteY486" fmla="*/ 219742 h 371475"/>
                <a:gd name="connsiteX487" fmla="*/ 170117 w 238125"/>
                <a:gd name="connsiteY487" fmla="*/ 197168 h 371475"/>
                <a:gd name="connsiteX488" fmla="*/ 168783 w 238125"/>
                <a:gd name="connsiteY488" fmla="*/ 201263 h 371475"/>
                <a:gd name="connsiteX489" fmla="*/ 169450 w 238125"/>
                <a:gd name="connsiteY489" fmla="*/ 204025 h 371475"/>
                <a:gd name="connsiteX490" fmla="*/ 170117 w 238125"/>
                <a:gd name="connsiteY490" fmla="*/ 205359 h 371475"/>
                <a:gd name="connsiteX491" fmla="*/ 169450 w 238125"/>
                <a:gd name="connsiteY491" fmla="*/ 207454 h 371475"/>
                <a:gd name="connsiteX492" fmla="*/ 169450 w 238125"/>
                <a:gd name="connsiteY492" fmla="*/ 208788 h 371475"/>
                <a:gd name="connsiteX493" fmla="*/ 170783 w 238125"/>
                <a:gd name="connsiteY493" fmla="*/ 210121 h 371475"/>
                <a:gd name="connsiteX494" fmla="*/ 172117 w 238125"/>
                <a:gd name="connsiteY494" fmla="*/ 210884 h 371475"/>
                <a:gd name="connsiteX495" fmla="*/ 172784 w 238125"/>
                <a:gd name="connsiteY495" fmla="*/ 210217 h 371475"/>
                <a:gd name="connsiteX496" fmla="*/ 172117 w 238125"/>
                <a:gd name="connsiteY496" fmla="*/ 208883 h 371475"/>
                <a:gd name="connsiteX497" fmla="*/ 171450 w 238125"/>
                <a:gd name="connsiteY497" fmla="*/ 208121 h 371475"/>
                <a:gd name="connsiteX498" fmla="*/ 172117 w 238125"/>
                <a:gd name="connsiteY498" fmla="*/ 201930 h 371475"/>
                <a:gd name="connsiteX499" fmla="*/ 172784 w 238125"/>
                <a:gd name="connsiteY499" fmla="*/ 199835 h 371475"/>
                <a:gd name="connsiteX500" fmla="*/ 172784 w 238125"/>
                <a:gd name="connsiteY500" fmla="*/ 197072 h 371475"/>
                <a:gd name="connsiteX501" fmla="*/ 170021 w 238125"/>
                <a:gd name="connsiteY501" fmla="*/ 195739 h 371475"/>
                <a:gd name="connsiteX502" fmla="*/ 171355 w 238125"/>
                <a:gd name="connsiteY502" fmla="*/ 193643 h 371475"/>
                <a:gd name="connsiteX503" fmla="*/ 171355 w 238125"/>
                <a:gd name="connsiteY503" fmla="*/ 192976 h 371475"/>
                <a:gd name="connsiteX504" fmla="*/ 168593 w 238125"/>
                <a:gd name="connsiteY504" fmla="*/ 194310 h 371475"/>
                <a:gd name="connsiteX505" fmla="*/ 169926 w 238125"/>
                <a:gd name="connsiteY505" fmla="*/ 196405 h 371475"/>
                <a:gd name="connsiteX506" fmla="*/ 169926 w 238125"/>
                <a:gd name="connsiteY506" fmla="*/ 197168 h 371475"/>
                <a:gd name="connsiteX507" fmla="*/ 170783 w 238125"/>
                <a:gd name="connsiteY507" fmla="*/ 182690 h 371475"/>
                <a:gd name="connsiteX508" fmla="*/ 170783 w 238125"/>
                <a:gd name="connsiteY508" fmla="*/ 183356 h 371475"/>
                <a:gd name="connsiteX509" fmla="*/ 171450 w 238125"/>
                <a:gd name="connsiteY509" fmla="*/ 182690 h 371475"/>
                <a:gd name="connsiteX510" fmla="*/ 170783 w 238125"/>
                <a:gd name="connsiteY510" fmla="*/ 182690 h 371475"/>
                <a:gd name="connsiteX511" fmla="*/ 176308 w 238125"/>
                <a:gd name="connsiteY511" fmla="*/ 219742 h 371475"/>
                <a:gd name="connsiteX512" fmla="*/ 181070 w 238125"/>
                <a:gd name="connsiteY512" fmla="*/ 220409 h 371475"/>
                <a:gd name="connsiteX513" fmla="*/ 181737 w 238125"/>
                <a:gd name="connsiteY513" fmla="*/ 220409 h 371475"/>
                <a:gd name="connsiteX514" fmla="*/ 183071 w 238125"/>
                <a:gd name="connsiteY514" fmla="*/ 217646 h 371475"/>
                <a:gd name="connsiteX515" fmla="*/ 182404 w 238125"/>
                <a:gd name="connsiteY515" fmla="*/ 216979 h 371475"/>
                <a:gd name="connsiteX516" fmla="*/ 178975 w 238125"/>
                <a:gd name="connsiteY516" fmla="*/ 218313 h 371475"/>
                <a:gd name="connsiteX517" fmla="*/ 176879 w 238125"/>
                <a:gd name="connsiteY517" fmla="*/ 216979 h 371475"/>
                <a:gd name="connsiteX518" fmla="*/ 176879 w 238125"/>
                <a:gd name="connsiteY518" fmla="*/ 215646 h 371475"/>
                <a:gd name="connsiteX519" fmla="*/ 176213 w 238125"/>
                <a:gd name="connsiteY519" fmla="*/ 214313 h 371475"/>
                <a:gd name="connsiteX520" fmla="*/ 172117 w 238125"/>
                <a:gd name="connsiteY520" fmla="*/ 212979 h 371475"/>
                <a:gd name="connsiteX521" fmla="*/ 170783 w 238125"/>
                <a:gd name="connsiteY521" fmla="*/ 212979 h 371475"/>
                <a:gd name="connsiteX522" fmla="*/ 174212 w 238125"/>
                <a:gd name="connsiteY522" fmla="*/ 219837 h 371475"/>
                <a:gd name="connsiteX523" fmla="*/ 176308 w 238125"/>
                <a:gd name="connsiteY523" fmla="*/ 219837 h 371475"/>
                <a:gd name="connsiteX524" fmla="*/ 174212 w 238125"/>
                <a:gd name="connsiteY524" fmla="*/ 320611 h 371475"/>
                <a:gd name="connsiteX525" fmla="*/ 176308 w 238125"/>
                <a:gd name="connsiteY525" fmla="*/ 320611 h 371475"/>
                <a:gd name="connsiteX526" fmla="*/ 176308 w 238125"/>
                <a:gd name="connsiteY526" fmla="*/ 319945 h 371475"/>
                <a:gd name="connsiteX527" fmla="*/ 174212 w 238125"/>
                <a:gd name="connsiteY527" fmla="*/ 319278 h 371475"/>
                <a:gd name="connsiteX528" fmla="*/ 174212 w 238125"/>
                <a:gd name="connsiteY528" fmla="*/ 320611 h 371475"/>
                <a:gd name="connsiteX529" fmla="*/ 176308 w 238125"/>
                <a:gd name="connsiteY529" fmla="*/ 164211 h 371475"/>
                <a:gd name="connsiteX530" fmla="*/ 174974 w 238125"/>
                <a:gd name="connsiteY530" fmla="*/ 164211 h 371475"/>
                <a:gd name="connsiteX531" fmla="*/ 176308 w 238125"/>
                <a:gd name="connsiteY531" fmla="*/ 164878 h 371475"/>
                <a:gd name="connsiteX532" fmla="*/ 174974 w 238125"/>
                <a:gd name="connsiteY532" fmla="*/ 164878 h 371475"/>
                <a:gd name="connsiteX533" fmla="*/ 183928 w 238125"/>
                <a:gd name="connsiteY533" fmla="*/ 171069 h 371475"/>
                <a:gd name="connsiteX534" fmla="*/ 184594 w 238125"/>
                <a:gd name="connsiteY534" fmla="*/ 171069 h 371475"/>
                <a:gd name="connsiteX535" fmla="*/ 176308 w 238125"/>
                <a:gd name="connsiteY535" fmla="*/ 164211 h 371475"/>
                <a:gd name="connsiteX536" fmla="*/ 176975 w 238125"/>
                <a:gd name="connsiteY536" fmla="*/ 225266 h 371475"/>
                <a:gd name="connsiteX537" fmla="*/ 178308 w 238125"/>
                <a:gd name="connsiteY537" fmla="*/ 226600 h 371475"/>
                <a:gd name="connsiteX538" fmla="*/ 177641 w 238125"/>
                <a:gd name="connsiteY538" fmla="*/ 225266 h 371475"/>
                <a:gd name="connsiteX539" fmla="*/ 176975 w 238125"/>
                <a:gd name="connsiteY539" fmla="*/ 225266 h 371475"/>
                <a:gd name="connsiteX540" fmla="*/ 177641 w 238125"/>
                <a:gd name="connsiteY540" fmla="*/ 238982 h 371475"/>
                <a:gd name="connsiteX541" fmla="*/ 177641 w 238125"/>
                <a:gd name="connsiteY541" fmla="*/ 239649 h 371475"/>
                <a:gd name="connsiteX542" fmla="*/ 178308 w 238125"/>
                <a:gd name="connsiteY542" fmla="*/ 240316 h 371475"/>
                <a:gd name="connsiteX543" fmla="*/ 178975 w 238125"/>
                <a:gd name="connsiteY543" fmla="*/ 238982 h 371475"/>
                <a:gd name="connsiteX544" fmla="*/ 177641 w 238125"/>
                <a:gd name="connsiteY544" fmla="*/ 238982 h 371475"/>
                <a:gd name="connsiteX545" fmla="*/ 180404 w 238125"/>
                <a:gd name="connsiteY545" fmla="*/ 318516 h 371475"/>
                <a:gd name="connsiteX546" fmla="*/ 179070 w 238125"/>
                <a:gd name="connsiteY546" fmla="*/ 317849 h 371475"/>
                <a:gd name="connsiteX547" fmla="*/ 178403 w 238125"/>
                <a:gd name="connsiteY547" fmla="*/ 317183 h 371475"/>
                <a:gd name="connsiteX548" fmla="*/ 177737 w 238125"/>
                <a:gd name="connsiteY548" fmla="*/ 317849 h 371475"/>
                <a:gd name="connsiteX549" fmla="*/ 179832 w 238125"/>
                <a:gd name="connsiteY549" fmla="*/ 319183 h 371475"/>
                <a:gd name="connsiteX550" fmla="*/ 180404 w 238125"/>
                <a:gd name="connsiteY550" fmla="*/ 318516 h 371475"/>
                <a:gd name="connsiteX551" fmla="*/ 182404 w 238125"/>
                <a:gd name="connsiteY551" fmla="*/ 153257 h 371475"/>
                <a:gd name="connsiteX552" fmla="*/ 182404 w 238125"/>
                <a:gd name="connsiteY552" fmla="*/ 152591 h 371475"/>
                <a:gd name="connsiteX553" fmla="*/ 181070 w 238125"/>
                <a:gd name="connsiteY553" fmla="*/ 150495 h 371475"/>
                <a:gd name="connsiteX554" fmla="*/ 180404 w 238125"/>
                <a:gd name="connsiteY554" fmla="*/ 150495 h 371475"/>
                <a:gd name="connsiteX555" fmla="*/ 179070 w 238125"/>
                <a:gd name="connsiteY555" fmla="*/ 152591 h 371475"/>
                <a:gd name="connsiteX556" fmla="*/ 179737 w 238125"/>
                <a:gd name="connsiteY556" fmla="*/ 153924 h 371475"/>
                <a:gd name="connsiteX557" fmla="*/ 181070 w 238125"/>
                <a:gd name="connsiteY557" fmla="*/ 154591 h 371475"/>
                <a:gd name="connsiteX558" fmla="*/ 182404 w 238125"/>
                <a:gd name="connsiteY558" fmla="*/ 153257 h 371475"/>
                <a:gd name="connsiteX559" fmla="*/ 179737 w 238125"/>
                <a:gd name="connsiteY559" fmla="*/ 207454 h 371475"/>
                <a:gd name="connsiteX560" fmla="*/ 180404 w 238125"/>
                <a:gd name="connsiteY560" fmla="*/ 206788 h 371475"/>
                <a:gd name="connsiteX561" fmla="*/ 179737 w 238125"/>
                <a:gd name="connsiteY561" fmla="*/ 206121 h 371475"/>
                <a:gd name="connsiteX562" fmla="*/ 179737 w 238125"/>
                <a:gd name="connsiteY562" fmla="*/ 207454 h 371475"/>
                <a:gd name="connsiteX563" fmla="*/ 183833 w 238125"/>
                <a:gd name="connsiteY563" fmla="*/ 212217 h 371475"/>
                <a:gd name="connsiteX564" fmla="*/ 185166 w 238125"/>
                <a:gd name="connsiteY564" fmla="*/ 213550 h 371475"/>
                <a:gd name="connsiteX565" fmla="*/ 185166 w 238125"/>
                <a:gd name="connsiteY565" fmla="*/ 212217 h 371475"/>
                <a:gd name="connsiteX566" fmla="*/ 186500 w 238125"/>
                <a:gd name="connsiteY566" fmla="*/ 209455 h 371475"/>
                <a:gd name="connsiteX567" fmla="*/ 184404 w 238125"/>
                <a:gd name="connsiteY567" fmla="*/ 208121 h 371475"/>
                <a:gd name="connsiteX568" fmla="*/ 183737 w 238125"/>
                <a:gd name="connsiteY568" fmla="*/ 209455 h 371475"/>
                <a:gd name="connsiteX569" fmla="*/ 183071 w 238125"/>
                <a:gd name="connsiteY569" fmla="*/ 210788 h 371475"/>
                <a:gd name="connsiteX570" fmla="*/ 183833 w 238125"/>
                <a:gd name="connsiteY570" fmla="*/ 212217 h 371475"/>
                <a:gd name="connsiteX571" fmla="*/ 185166 w 238125"/>
                <a:gd name="connsiteY571" fmla="*/ 237553 h 371475"/>
                <a:gd name="connsiteX572" fmla="*/ 185166 w 238125"/>
                <a:gd name="connsiteY572" fmla="*/ 236887 h 371475"/>
                <a:gd name="connsiteX573" fmla="*/ 183833 w 238125"/>
                <a:gd name="connsiteY573" fmla="*/ 236220 h 371475"/>
                <a:gd name="connsiteX574" fmla="*/ 183833 w 238125"/>
                <a:gd name="connsiteY574" fmla="*/ 237553 h 371475"/>
                <a:gd name="connsiteX575" fmla="*/ 185166 w 238125"/>
                <a:gd name="connsiteY575" fmla="*/ 237553 h 371475"/>
                <a:gd name="connsiteX576" fmla="*/ 186595 w 238125"/>
                <a:gd name="connsiteY576" fmla="*/ 199835 h 371475"/>
                <a:gd name="connsiteX577" fmla="*/ 185928 w 238125"/>
                <a:gd name="connsiteY577" fmla="*/ 199835 h 371475"/>
                <a:gd name="connsiteX578" fmla="*/ 184594 w 238125"/>
                <a:gd name="connsiteY578" fmla="*/ 199168 h 371475"/>
                <a:gd name="connsiteX579" fmla="*/ 185261 w 238125"/>
                <a:gd name="connsiteY579" fmla="*/ 197834 h 371475"/>
                <a:gd name="connsiteX580" fmla="*/ 185928 w 238125"/>
                <a:gd name="connsiteY580" fmla="*/ 197834 h 371475"/>
                <a:gd name="connsiteX581" fmla="*/ 188024 w 238125"/>
                <a:gd name="connsiteY581" fmla="*/ 199168 h 371475"/>
                <a:gd name="connsiteX582" fmla="*/ 186595 w 238125"/>
                <a:gd name="connsiteY582" fmla="*/ 199835 h 371475"/>
                <a:gd name="connsiteX583" fmla="*/ 187928 w 238125"/>
                <a:gd name="connsiteY583" fmla="*/ 149162 h 371475"/>
                <a:gd name="connsiteX584" fmla="*/ 187928 w 238125"/>
                <a:gd name="connsiteY584" fmla="*/ 149828 h 371475"/>
                <a:gd name="connsiteX585" fmla="*/ 188595 w 238125"/>
                <a:gd name="connsiteY585" fmla="*/ 150495 h 371475"/>
                <a:gd name="connsiteX586" fmla="*/ 190691 w 238125"/>
                <a:gd name="connsiteY586" fmla="*/ 150495 h 371475"/>
                <a:gd name="connsiteX587" fmla="*/ 190024 w 238125"/>
                <a:gd name="connsiteY587" fmla="*/ 149162 h 371475"/>
                <a:gd name="connsiteX588" fmla="*/ 188690 w 238125"/>
                <a:gd name="connsiteY588" fmla="*/ 148495 h 371475"/>
                <a:gd name="connsiteX589" fmla="*/ 187928 w 238125"/>
                <a:gd name="connsiteY589" fmla="*/ 149162 h 371475"/>
                <a:gd name="connsiteX590" fmla="*/ 189262 w 238125"/>
                <a:gd name="connsiteY590" fmla="*/ 174498 h 371475"/>
                <a:gd name="connsiteX591" fmla="*/ 187928 w 238125"/>
                <a:gd name="connsiteY591" fmla="*/ 174498 h 371475"/>
                <a:gd name="connsiteX592" fmla="*/ 187928 w 238125"/>
                <a:gd name="connsiteY592" fmla="*/ 175165 h 371475"/>
                <a:gd name="connsiteX593" fmla="*/ 188595 w 238125"/>
                <a:gd name="connsiteY593" fmla="*/ 176498 h 371475"/>
                <a:gd name="connsiteX594" fmla="*/ 189262 w 238125"/>
                <a:gd name="connsiteY594" fmla="*/ 176498 h 371475"/>
                <a:gd name="connsiteX595" fmla="*/ 190595 w 238125"/>
                <a:gd name="connsiteY595" fmla="*/ 175165 h 371475"/>
                <a:gd name="connsiteX596" fmla="*/ 189262 w 238125"/>
                <a:gd name="connsiteY596" fmla="*/ 174498 h 371475"/>
                <a:gd name="connsiteX597" fmla="*/ 189262 w 238125"/>
                <a:gd name="connsiteY597" fmla="*/ 171736 h 371475"/>
                <a:gd name="connsiteX598" fmla="*/ 189262 w 238125"/>
                <a:gd name="connsiteY598" fmla="*/ 171069 h 371475"/>
                <a:gd name="connsiteX599" fmla="*/ 188595 w 238125"/>
                <a:gd name="connsiteY599" fmla="*/ 171736 h 371475"/>
                <a:gd name="connsiteX600" fmla="*/ 189262 w 238125"/>
                <a:gd name="connsiteY600" fmla="*/ 171736 h 371475"/>
                <a:gd name="connsiteX601" fmla="*/ 190691 w 238125"/>
                <a:gd name="connsiteY601" fmla="*/ 180689 h 371475"/>
                <a:gd name="connsiteX602" fmla="*/ 191357 w 238125"/>
                <a:gd name="connsiteY602" fmla="*/ 180022 h 371475"/>
                <a:gd name="connsiteX603" fmla="*/ 190691 w 238125"/>
                <a:gd name="connsiteY603" fmla="*/ 178689 h 371475"/>
                <a:gd name="connsiteX604" fmla="*/ 189357 w 238125"/>
                <a:gd name="connsiteY604" fmla="*/ 178689 h 371475"/>
                <a:gd name="connsiteX605" fmla="*/ 190024 w 238125"/>
                <a:gd name="connsiteY605" fmla="*/ 180785 h 371475"/>
                <a:gd name="connsiteX606" fmla="*/ 190691 w 238125"/>
                <a:gd name="connsiteY606" fmla="*/ 180785 h 371475"/>
                <a:gd name="connsiteX607" fmla="*/ 191357 w 238125"/>
                <a:gd name="connsiteY607" fmla="*/ 142970 h 371475"/>
                <a:gd name="connsiteX608" fmla="*/ 192691 w 238125"/>
                <a:gd name="connsiteY608" fmla="*/ 142970 h 371475"/>
                <a:gd name="connsiteX609" fmla="*/ 194786 w 238125"/>
                <a:gd name="connsiteY609" fmla="*/ 143637 h 371475"/>
                <a:gd name="connsiteX610" fmla="*/ 196882 w 238125"/>
                <a:gd name="connsiteY610" fmla="*/ 146399 h 371475"/>
                <a:gd name="connsiteX611" fmla="*/ 198977 w 238125"/>
                <a:gd name="connsiteY611" fmla="*/ 146399 h 371475"/>
                <a:gd name="connsiteX612" fmla="*/ 198977 w 238125"/>
                <a:gd name="connsiteY612" fmla="*/ 145733 h 371475"/>
                <a:gd name="connsiteX613" fmla="*/ 192119 w 238125"/>
                <a:gd name="connsiteY613" fmla="*/ 138874 h 371475"/>
                <a:gd name="connsiteX614" fmla="*/ 191453 w 238125"/>
                <a:gd name="connsiteY614" fmla="*/ 140970 h 371475"/>
                <a:gd name="connsiteX615" fmla="*/ 191453 w 238125"/>
                <a:gd name="connsiteY615" fmla="*/ 142970 h 371475"/>
                <a:gd name="connsiteX616" fmla="*/ 191357 w 238125"/>
                <a:gd name="connsiteY616" fmla="*/ 146399 h 371475"/>
                <a:gd name="connsiteX617" fmla="*/ 192024 w 238125"/>
                <a:gd name="connsiteY617" fmla="*/ 145733 h 371475"/>
                <a:gd name="connsiteX618" fmla="*/ 191357 w 238125"/>
                <a:gd name="connsiteY618" fmla="*/ 145733 h 371475"/>
                <a:gd name="connsiteX619" fmla="*/ 191357 w 238125"/>
                <a:gd name="connsiteY619" fmla="*/ 146399 h 371475"/>
                <a:gd name="connsiteX620" fmla="*/ 198215 w 238125"/>
                <a:gd name="connsiteY620" fmla="*/ 133350 h 371475"/>
                <a:gd name="connsiteX621" fmla="*/ 198882 w 238125"/>
                <a:gd name="connsiteY621" fmla="*/ 132683 h 371475"/>
                <a:gd name="connsiteX622" fmla="*/ 199549 w 238125"/>
                <a:gd name="connsiteY622" fmla="*/ 131350 h 371475"/>
                <a:gd name="connsiteX623" fmla="*/ 198882 w 238125"/>
                <a:gd name="connsiteY623" fmla="*/ 130016 h 371475"/>
                <a:gd name="connsiteX624" fmla="*/ 194786 w 238125"/>
                <a:gd name="connsiteY624" fmla="*/ 126587 h 371475"/>
                <a:gd name="connsiteX625" fmla="*/ 192691 w 238125"/>
                <a:gd name="connsiteY625" fmla="*/ 126587 h 371475"/>
                <a:gd name="connsiteX626" fmla="*/ 192024 w 238125"/>
                <a:gd name="connsiteY626" fmla="*/ 127921 h 371475"/>
                <a:gd name="connsiteX627" fmla="*/ 192691 w 238125"/>
                <a:gd name="connsiteY627" fmla="*/ 128588 h 371475"/>
                <a:gd name="connsiteX628" fmla="*/ 196787 w 238125"/>
                <a:gd name="connsiteY628" fmla="*/ 133350 h 371475"/>
                <a:gd name="connsiteX629" fmla="*/ 198215 w 238125"/>
                <a:gd name="connsiteY629" fmla="*/ 133350 h 371475"/>
                <a:gd name="connsiteX630" fmla="*/ 196120 w 238125"/>
                <a:gd name="connsiteY630" fmla="*/ 149162 h 371475"/>
                <a:gd name="connsiteX631" fmla="*/ 198215 w 238125"/>
                <a:gd name="connsiteY631" fmla="*/ 150495 h 371475"/>
                <a:gd name="connsiteX632" fmla="*/ 198882 w 238125"/>
                <a:gd name="connsiteY632" fmla="*/ 150495 h 371475"/>
                <a:gd name="connsiteX633" fmla="*/ 198215 w 238125"/>
                <a:gd name="connsiteY633" fmla="*/ 149162 h 371475"/>
                <a:gd name="connsiteX634" fmla="*/ 196120 w 238125"/>
                <a:gd name="connsiteY634" fmla="*/ 149162 h 371475"/>
                <a:gd name="connsiteX635" fmla="*/ 198882 w 238125"/>
                <a:gd name="connsiteY635" fmla="*/ 160115 h 371475"/>
                <a:gd name="connsiteX636" fmla="*/ 198882 w 238125"/>
                <a:gd name="connsiteY636" fmla="*/ 160782 h 371475"/>
                <a:gd name="connsiteX637" fmla="*/ 198215 w 238125"/>
                <a:gd name="connsiteY637" fmla="*/ 161449 h 371475"/>
                <a:gd name="connsiteX638" fmla="*/ 196882 w 238125"/>
                <a:gd name="connsiteY638" fmla="*/ 160115 h 371475"/>
                <a:gd name="connsiteX639" fmla="*/ 198882 w 238125"/>
                <a:gd name="connsiteY639" fmla="*/ 160115 h 371475"/>
                <a:gd name="connsiteX640" fmla="*/ 205073 w 238125"/>
                <a:gd name="connsiteY640" fmla="*/ 92202 h 371475"/>
                <a:gd name="connsiteX641" fmla="*/ 202978 w 238125"/>
                <a:gd name="connsiteY641" fmla="*/ 90869 h 371475"/>
                <a:gd name="connsiteX642" fmla="*/ 200882 w 238125"/>
                <a:gd name="connsiteY642" fmla="*/ 90202 h 371475"/>
                <a:gd name="connsiteX643" fmla="*/ 199549 w 238125"/>
                <a:gd name="connsiteY643" fmla="*/ 90869 h 371475"/>
                <a:gd name="connsiteX644" fmla="*/ 200216 w 238125"/>
                <a:gd name="connsiteY644" fmla="*/ 91535 h 371475"/>
                <a:gd name="connsiteX645" fmla="*/ 200882 w 238125"/>
                <a:gd name="connsiteY645" fmla="*/ 92869 h 371475"/>
                <a:gd name="connsiteX646" fmla="*/ 201549 w 238125"/>
                <a:gd name="connsiteY646" fmla="*/ 95631 h 371475"/>
                <a:gd name="connsiteX647" fmla="*/ 202216 w 238125"/>
                <a:gd name="connsiteY647" fmla="*/ 96965 h 371475"/>
                <a:gd name="connsiteX648" fmla="*/ 202883 w 238125"/>
                <a:gd name="connsiteY648" fmla="*/ 97631 h 371475"/>
                <a:gd name="connsiteX649" fmla="*/ 206978 w 238125"/>
                <a:gd name="connsiteY649" fmla="*/ 98298 h 371475"/>
                <a:gd name="connsiteX650" fmla="*/ 207645 w 238125"/>
                <a:gd name="connsiteY650" fmla="*/ 97631 h 371475"/>
                <a:gd name="connsiteX651" fmla="*/ 207645 w 238125"/>
                <a:gd name="connsiteY651" fmla="*/ 96965 h 371475"/>
                <a:gd name="connsiteX652" fmla="*/ 205550 w 238125"/>
                <a:gd name="connsiteY652" fmla="*/ 95631 h 371475"/>
                <a:gd name="connsiteX653" fmla="*/ 205073 w 238125"/>
                <a:gd name="connsiteY653" fmla="*/ 92202 h 371475"/>
                <a:gd name="connsiteX654" fmla="*/ 203740 w 238125"/>
                <a:gd name="connsiteY654" fmla="*/ 114109 h 371475"/>
                <a:gd name="connsiteX655" fmla="*/ 203073 w 238125"/>
                <a:gd name="connsiteY655" fmla="*/ 112776 h 371475"/>
                <a:gd name="connsiteX656" fmla="*/ 200978 w 238125"/>
                <a:gd name="connsiteY656" fmla="*/ 113443 h 371475"/>
                <a:gd name="connsiteX657" fmla="*/ 200978 w 238125"/>
                <a:gd name="connsiteY657" fmla="*/ 114109 h 371475"/>
                <a:gd name="connsiteX658" fmla="*/ 203073 w 238125"/>
                <a:gd name="connsiteY658" fmla="*/ 115443 h 371475"/>
                <a:gd name="connsiteX659" fmla="*/ 203740 w 238125"/>
                <a:gd name="connsiteY659" fmla="*/ 114109 h 371475"/>
                <a:gd name="connsiteX660" fmla="*/ 206407 w 238125"/>
                <a:gd name="connsiteY660" fmla="*/ 69532 h 371475"/>
                <a:gd name="connsiteX661" fmla="*/ 202978 w 238125"/>
                <a:gd name="connsiteY661" fmla="*/ 70866 h 371475"/>
                <a:gd name="connsiteX662" fmla="*/ 202978 w 238125"/>
                <a:gd name="connsiteY662" fmla="*/ 72199 h 371475"/>
                <a:gd name="connsiteX663" fmla="*/ 206407 w 238125"/>
                <a:gd name="connsiteY663" fmla="*/ 76962 h 371475"/>
                <a:gd name="connsiteX664" fmla="*/ 206407 w 238125"/>
                <a:gd name="connsiteY664" fmla="*/ 78296 h 371475"/>
                <a:gd name="connsiteX665" fmla="*/ 207740 w 238125"/>
                <a:gd name="connsiteY665" fmla="*/ 79629 h 371475"/>
                <a:gd name="connsiteX666" fmla="*/ 208407 w 238125"/>
                <a:gd name="connsiteY666" fmla="*/ 79629 h 371475"/>
                <a:gd name="connsiteX667" fmla="*/ 211169 w 238125"/>
                <a:gd name="connsiteY667" fmla="*/ 78962 h 371475"/>
                <a:gd name="connsiteX668" fmla="*/ 212503 w 238125"/>
                <a:gd name="connsiteY668" fmla="*/ 78962 h 371475"/>
                <a:gd name="connsiteX669" fmla="*/ 213169 w 238125"/>
                <a:gd name="connsiteY669" fmla="*/ 77629 h 371475"/>
                <a:gd name="connsiteX670" fmla="*/ 210407 w 238125"/>
                <a:gd name="connsiteY670" fmla="*/ 75533 h 371475"/>
                <a:gd name="connsiteX671" fmla="*/ 209741 w 238125"/>
                <a:gd name="connsiteY671" fmla="*/ 74200 h 371475"/>
                <a:gd name="connsiteX672" fmla="*/ 211074 w 238125"/>
                <a:gd name="connsiteY672" fmla="*/ 70771 h 371475"/>
                <a:gd name="connsiteX673" fmla="*/ 206978 w 238125"/>
                <a:gd name="connsiteY673" fmla="*/ 69437 h 371475"/>
                <a:gd name="connsiteX674" fmla="*/ 206407 w 238125"/>
                <a:gd name="connsiteY674" fmla="*/ 69437 h 371475"/>
                <a:gd name="connsiteX675" fmla="*/ 206407 w 238125"/>
                <a:gd name="connsiteY675" fmla="*/ 118300 h 371475"/>
                <a:gd name="connsiteX676" fmla="*/ 207074 w 238125"/>
                <a:gd name="connsiteY676" fmla="*/ 117634 h 371475"/>
                <a:gd name="connsiteX677" fmla="*/ 206407 w 238125"/>
                <a:gd name="connsiteY677" fmla="*/ 116300 h 371475"/>
                <a:gd name="connsiteX678" fmla="*/ 205740 w 238125"/>
                <a:gd name="connsiteY678" fmla="*/ 117634 h 371475"/>
                <a:gd name="connsiteX679" fmla="*/ 206407 w 238125"/>
                <a:gd name="connsiteY679" fmla="*/ 118300 h 371475"/>
                <a:gd name="connsiteX680" fmla="*/ 209836 w 238125"/>
                <a:gd name="connsiteY680" fmla="*/ 88773 h 371475"/>
                <a:gd name="connsiteX681" fmla="*/ 208502 w 238125"/>
                <a:gd name="connsiteY681" fmla="*/ 88106 h 371475"/>
                <a:gd name="connsiteX682" fmla="*/ 207169 w 238125"/>
                <a:gd name="connsiteY682" fmla="*/ 88773 h 371475"/>
                <a:gd name="connsiteX683" fmla="*/ 207836 w 238125"/>
                <a:gd name="connsiteY683" fmla="*/ 89440 h 371475"/>
                <a:gd name="connsiteX684" fmla="*/ 209836 w 238125"/>
                <a:gd name="connsiteY684" fmla="*/ 88773 h 371475"/>
                <a:gd name="connsiteX685" fmla="*/ 214694 w 238125"/>
                <a:gd name="connsiteY685" fmla="*/ 64103 h 371475"/>
                <a:gd name="connsiteX686" fmla="*/ 214694 w 238125"/>
                <a:gd name="connsiteY686" fmla="*/ 63437 h 371475"/>
                <a:gd name="connsiteX687" fmla="*/ 213360 w 238125"/>
                <a:gd name="connsiteY687" fmla="*/ 63437 h 371475"/>
                <a:gd name="connsiteX688" fmla="*/ 212027 w 238125"/>
                <a:gd name="connsiteY688" fmla="*/ 62770 h 371475"/>
                <a:gd name="connsiteX689" fmla="*/ 211360 w 238125"/>
                <a:gd name="connsiteY689" fmla="*/ 62770 h 371475"/>
                <a:gd name="connsiteX690" fmla="*/ 210693 w 238125"/>
                <a:gd name="connsiteY690" fmla="*/ 64865 h 371475"/>
                <a:gd name="connsiteX691" fmla="*/ 211360 w 238125"/>
                <a:gd name="connsiteY691" fmla="*/ 66199 h 371475"/>
                <a:gd name="connsiteX692" fmla="*/ 214694 w 238125"/>
                <a:gd name="connsiteY692" fmla="*/ 64103 h 371475"/>
                <a:gd name="connsiteX693" fmla="*/ 218123 w 238125"/>
                <a:gd name="connsiteY693" fmla="*/ 67532 h 371475"/>
                <a:gd name="connsiteX694" fmla="*/ 217456 w 238125"/>
                <a:gd name="connsiteY694" fmla="*/ 66199 h 371475"/>
                <a:gd name="connsiteX695" fmla="*/ 215360 w 238125"/>
                <a:gd name="connsiteY695" fmla="*/ 66199 h 371475"/>
                <a:gd name="connsiteX696" fmla="*/ 216027 w 238125"/>
                <a:gd name="connsiteY696" fmla="*/ 67532 h 371475"/>
                <a:gd name="connsiteX697" fmla="*/ 218123 w 238125"/>
                <a:gd name="connsiteY697" fmla="*/ 67532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</a:cxnLst>
              <a:rect l="l" t="t" r="r" b="b"/>
              <a:pathLst>
                <a:path w="238125" h="371475">
                  <a:moveTo>
                    <a:pt x="140589" y="333661"/>
                  </a:moveTo>
                  <a:cubicBezTo>
                    <a:pt x="140589" y="332994"/>
                    <a:pt x="139922" y="331565"/>
                    <a:pt x="139922" y="330898"/>
                  </a:cubicBezTo>
                  <a:lnTo>
                    <a:pt x="139922" y="327469"/>
                  </a:lnTo>
                  <a:cubicBezTo>
                    <a:pt x="139922" y="326136"/>
                    <a:pt x="139922" y="324040"/>
                    <a:pt x="139256" y="321278"/>
                  </a:cubicBezTo>
                  <a:cubicBezTo>
                    <a:pt x="139256" y="320611"/>
                    <a:pt x="139256" y="319183"/>
                    <a:pt x="137922" y="317849"/>
                  </a:cubicBezTo>
                  <a:cubicBezTo>
                    <a:pt x="139256" y="314420"/>
                    <a:pt x="139256" y="312325"/>
                    <a:pt x="140018" y="310324"/>
                  </a:cubicBezTo>
                  <a:lnTo>
                    <a:pt x="140018" y="307562"/>
                  </a:lnTo>
                  <a:cubicBezTo>
                    <a:pt x="139351" y="304800"/>
                    <a:pt x="139351" y="304800"/>
                    <a:pt x="139351" y="304133"/>
                  </a:cubicBezTo>
                  <a:lnTo>
                    <a:pt x="139351" y="300704"/>
                  </a:lnTo>
                  <a:cubicBezTo>
                    <a:pt x="139351" y="297942"/>
                    <a:pt x="139351" y="296609"/>
                    <a:pt x="138017" y="295180"/>
                  </a:cubicBezTo>
                  <a:cubicBezTo>
                    <a:pt x="138017" y="294513"/>
                    <a:pt x="140780" y="249936"/>
                    <a:pt x="140780" y="240983"/>
                  </a:cubicBezTo>
                  <a:lnTo>
                    <a:pt x="140780" y="239649"/>
                  </a:lnTo>
                  <a:cubicBezTo>
                    <a:pt x="141446" y="238982"/>
                    <a:pt x="143542" y="238982"/>
                    <a:pt x="144209" y="238982"/>
                  </a:cubicBezTo>
                  <a:lnTo>
                    <a:pt x="144209" y="236220"/>
                  </a:lnTo>
                  <a:cubicBezTo>
                    <a:pt x="144209" y="235553"/>
                    <a:pt x="143542" y="234887"/>
                    <a:pt x="142113" y="234124"/>
                  </a:cubicBezTo>
                  <a:cubicBezTo>
                    <a:pt x="141446" y="233458"/>
                    <a:pt x="141446" y="232791"/>
                    <a:pt x="141446" y="231362"/>
                  </a:cubicBezTo>
                  <a:lnTo>
                    <a:pt x="141446" y="230029"/>
                  </a:lnTo>
                  <a:cubicBezTo>
                    <a:pt x="141446" y="229362"/>
                    <a:pt x="141446" y="228695"/>
                    <a:pt x="142113" y="227933"/>
                  </a:cubicBezTo>
                  <a:cubicBezTo>
                    <a:pt x="143447" y="227267"/>
                    <a:pt x="144209" y="226600"/>
                    <a:pt x="144209" y="224504"/>
                  </a:cubicBezTo>
                  <a:cubicBezTo>
                    <a:pt x="144875" y="224504"/>
                    <a:pt x="144209" y="223838"/>
                    <a:pt x="144209" y="223838"/>
                  </a:cubicBezTo>
                  <a:cubicBezTo>
                    <a:pt x="143542" y="223171"/>
                    <a:pt x="143542" y="223171"/>
                    <a:pt x="142113" y="223171"/>
                  </a:cubicBezTo>
                  <a:cubicBezTo>
                    <a:pt x="142780" y="223171"/>
                    <a:pt x="142780" y="223838"/>
                    <a:pt x="142780" y="223838"/>
                  </a:cubicBezTo>
                  <a:cubicBezTo>
                    <a:pt x="142780" y="224504"/>
                    <a:pt x="142113" y="224504"/>
                    <a:pt x="141446" y="224504"/>
                  </a:cubicBezTo>
                  <a:cubicBezTo>
                    <a:pt x="140780" y="225171"/>
                    <a:pt x="140113" y="225838"/>
                    <a:pt x="139351" y="225838"/>
                  </a:cubicBezTo>
                  <a:lnTo>
                    <a:pt x="138684" y="225171"/>
                  </a:lnTo>
                  <a:lnTo>
                    <a:pt x="137160" y="225171"/>
                  </a:lnTo>
                  <a:cubicBezTo>
                    <a:pt x="133731" y="225171"/>
                    <a:pt x="131636" y="226504"/>
                    <a:pt x="131636" y="228600"/>
                  </a:cubicBezTo>
                  <a:cubicBezTo>
                    <a:pt x="131636" y="230696"/>
                    <a:pt x="128873" y="232029"/>
                    <a:pt x="127540" y="233363"/>
                  </a:cubicBezTo>
                  <a:cubicBezTo>
                    <a:pt x="126206" y="234029"/>
                    <a:pt x="124778" y="234696"/>
                    <a:pt x="124778" y="236792"/>
                  </a:cubicBezTo>
                  <a:cubicBezTo>
                    <a:pt x="124778" y="238125"/>
                    <a:pt x="122682" y="237458"/>
                    <a:pt x="122682" y="238887"/>
                  </a:cubicBezTo>
                  <a:lnTo>
                    <a:pt x="122682" y="239554"/>
                  </a:lnTo>
                  <a:lnTo>
                    <a:pt x="118586" y="245745"/>
                  </a:lnTo>
                  <a:lnTo>
                    <a:pt x="118586" y="246412"/>
                  </a:lnTo>
                  <a:cubicBezTo>
                    <a:pt x="115824" y="249174"/>
                    <a:pt x="115157" y="251936"/>
                    <a:pt x="114491" y="253937"/>
                  </a:cubicBezTo>
                  <a:cubicBezTo>
                    <a:pt x="114491" y="253937"/>
                    <a:pt x="113824" y="255270"/>
                    <a:pt x="113157" y="255270"/>
                  </a:cubicBezTo>
                  <a:cubicBezTo>
                    <a:pt x="111062" y="255270"/>
                    <a:pt x="109728" y="256603"/>
                    <a:pt x="108395" y="258032"/>
                  </a:cubicBezTo>
                  <a:lnTo>
                    <a:pt x="106299" y="261461"/>
                  </a:lnTo>
                  <a:lnTo>
                    <a:pt x="92583" y="272415"/>
                  </a:lnTo>
                  <a:cubicBezTo>
                    <a:pt x="90488" y="273272"/>
                    <a:pt x="87821" y="273272"/>
                    <a:pt x="85725" y="274606"/>
                  </a:cubicBezTo>
                  <a:cubicBezTo>
                    <a:pt x="85058" y="275272"/>
                    <a:pt x="84392" y="275939"/>
                    <a:pt x="83630" y="275939"/>
                  </a:cubicBezTo>
                  <a:cubicBezTo>
                    <a:pt x="79534" y="276606"/>
                    <a:pt x="74676" y="276606"/>
                    <a:pt x="72009" y="278035"/>
                  </a:cubicBezTo>
                  <a:lnTo>
                    <a:pt x="67247" y="278035"/>
                  </a:lnTo>
                  <a:cubicBezTo>
                    <a:pt x="63151" y="278035"/>
                    <a:pt x="59055" y="278701"/>
                    <a:pt x="55626" y="279368"/>
                  </a:cubicBezTo>
                  <a:lnTo>
                    <a:pt x="51435" y="279368"/>
                  </a:lnTo>
                  <a:cubicBezTo>
                    <a:pt x="50102" y="279368"/>
                    <a:pt x="48673" y="278701"/>
                    <a:pt x="48006" y="278035"/>
                  </a:cubicBezTo>
                  <a:cubicBezTo>
                    <a:pt x="47339" y="276701"/>
                    <a:pt x="45911" y="276701"/>
                    <a:pt x="45244" y="276701"/>
                  </a:cubicBezTo>
                  <a:lnTo>
                    <a:pt x="42482" y="276701"/>
                  </a:lnTo>
                  <a:cubicBezTo>
                    <a:pt x="41148" y="276701"/>
                    <a:pt x="39719" y="276035"/>
                    <a:pt x="38386" y="276035"/>
                  </a:cubicBezTo>
                  <a:cubicBezTo>
                    <a:pt x="37052" y="275368"/>
                    <a:pt x="35624" y="275368"/>
                    <a:pt x="34290" y="275368"/>
                  </a:cubicBezTo>
                  <a:lnTo>
                    <a:pt x="27432" y="275368"/>
                  </a:lnTo>
                  <a:cubicBezTo>
                    <a:pt x="26099" y="274701"/>
                    <a:pt x="26099" y="273272"/>
                    <a:pt x="25337" y="273272"/>
                  </a:cubicBezTo>
                  <a:cubicBezTo>
                    <a:pt x="23241" y="270510"/>
                    <a:pt x="19812" y="267081"/>
                    <a:pt x="17145" y="265081"/>
                  </a:cubicBezTo>
                  <a:lnTo>
                    <a:pt x="15050" y="262985"/>
                  </a:lnTo>
                  <a:lnTo>
                    <a:pt x="11621" y="256127"/>
                  </a:lnTo>
                  <a:cubicBezTo>
                    <a:pt x="8858" y="254032"/>
                    <a:pt x="6858" y="252698"/>
                    <a:pt x="6858" y="249936"/>
                  </a:cubicBezTo>
                  <a:cubicBezTo>
                    <a:pt x="6858" y="248602"/>
                    <a:pt x="5525" y="247841"/>
                    <a:pt x="4763" y="246507"/>
                  </a:cubicBezTo>
                  <a:cubicBezTo>
                    <a:pt x="4763" y="245840"/>
                    <a:pt x="4763" y="245173"/>
                    <a:pt x="5429" y="245173"/>
                  </a:cubicBezTo>
                  <a:cubicBezTo>
                    <a:pt x="6763" y="245173"/>
                    <a:pt x="7525" y="245173"/>
                    <a:pt x="7525" y="244507"/>
                  </a:cubicBezTo>
                  <a:cubicBezTo>
                    <a:pt x="7525" y="243173"/>
                    <a:pt x="6858" y="242411"/>
                    <a:pt x="6191" y="242411"/>
                  </a:cubicBezTo>
                  <a:cubicBezTo>
                    <a:pt x="6191" y="241745"/>
                    <a:pt x="6191" y="241745"/>
                    <a:pt x="5525" y="241745"/>
                  </a:cubicBezTo>
                  <a:lnTo>
                    <a:pt x="4763" y="241745"/>
                  </a:lnTo>
                  <a:lnTo>
                    <a:pt x="4763" y="242411"/>
                  </a:lnTo>
                  <a:lnTo>
                    <a:pt x="2762" y="242411"/>
                  </a:lnTo>
                  <a:lnTo>
                    <a:pt x="1429" y="235553"/>
                  </a:lnTo>
                  <a:cubicBezTo>
                    <a:pt x="667" y="234124"/>
                    <a:pt x="0" y="234124"/>
                    <a:pt x="0" y="232791"/>
                  </a:cubicBezTo>
                  <a:cubicBezTo>
                    <a:pt x="0" y="232124"/>
                    <a:pt x="667" y="231458"/>
                    <a:pt x="667" y="230696"/>
                  </a:cubicBezTo>
                  <a:lnTo>
                    <a:pt x="1334" y="230696"/>
                  </a:lnTo>
                  <a:cubicBezTo>
                    <a:pt x="1334" y="231362"/>
                    <a:pt x="1334" y="231362"/>
                    <a:pt x="2000" y="231362"/>
                  </a:cubicBezTo>
                  <a:lnTo>
                    <a:pt x="2000" y="232029"/>
                  </a:lnTo>
                  <a:cubicBezTo>
                    <a:pt x="2000" y="234124"/>
                    <a:pt x="2667" y="234791"/>
                    <a:pt x="3334" y="236125"/>
                  </a:cubicBezTo>
                  <a:cubicBezTo>
                    <a:pt x="3334" y="236792"/>
                    <a:pt x="4000" y="237458"/>
                    <a:pt x="4000" y="238220"/>
                  </a:cubicBezTo>
                  <a:cubicBezTo>
                    <a:pt x="4667" y="239554"/>
                    <a:pt x="4667" y="239554"/>
                    <a:pt x="5334" y="239554"/>
                  </a:cubicBezTo>
                  <a:lnTo>
                    <a:pt x="6001" y="238887"/>
                  </a:lnTo>
                  <a:lnTo>
                    <a:pt x="6001" y="234124"/>
                  </a:lnTo>
                  <a:cubicBezTo>
                    <a:pt x="6001" y="233458"/>
                    <a:pt x="6001" y="232029"/>
                    <a:pt x="7334" y="231362"/>
                  </a:cubicBezTo>
                  <a:cubicBezTo>
                    <a:pt x="7334" y="231362"/>
                    <a:pt x="6668" y="230029"/>
                    <a:pt x="6668" y="229267"/>
                  </a:cubicBezTo>
                  <a:cubicBezTo>
                    <a:pt x="6001" y="227171"/>
                    <a:pt x="5334" y="223742"/>
                    <a:pt x="5334" y="221075"/>
                  </a:cubicBezTo>
                  <a:lnTo>
                    <a:pt x="5334" y="210884"/>
                  </a:lnTo>
                  <a:cubicBezTo>
                    <a:pt x="5334" y="210217"/>
                    <a:pt x="5334" y="209550"/>
                    <a:pt x="6001" y="208788"/>
                  </a:cubicBezTo>
                  <a:lnTo>
                    <a:pt x="6001" y="204025"/>
                  </a:lnTo>
                  <a:cubicBezTo>
                    <a:pt x="6668" y="202692"/>
                    <a:pt x="8763" y="201263"/>
                    <a:pt x="11525" y="200596"/>
                  </a:cubicBezTo>
                  <a:cubicBezTo>
                    <a:pt x="11525" y="199263"/>
                    <a:pt x="8763" y="198501"/>
                    <a:pt x="8763" y="197168"/>
                  </a:cubicBezTo>
                  <a:cubicBezTo>
                    <a:pt x="7429" y="197168"/>
                    <a:pt x="7429" y="197168"/>
                    <a:pt x="7429" y="196501"/>
                  </a:cubicBezTo>
                  <a:lnTo>
                    <a:pt x="6858" y="196501"/>
                  </a:lnTo>
                  <a:lnTo>
                    <a:pt x="8192" y="195167"/>
                  </a:lnTo>
                  <a:cubicBezTo>
                    <a:pt x="8858" y="194500"/>
                    <a:pt x="12287" y="194500"/>
                    <a:pt x="12287" y="192405"/>
                  </a:cubicBezTo>
                  <a:lnTo>
                    <a:pt x="12287" y="188309"/>
                  </a:lnTo>
                  <a:lnTo>
                    <a:pt x="11621" y="187643"/>
                  </a:lnTo>
                  <a:cubicBezTo>
                    <a:pt x="12287" y="185547"/>
                    <a:pt x="12287" y="182880"/>
                    <a:pt x="12954" y="181451"/>
                  </a:cubicBezTo>
                  <a:cubicBezTo>
                    <a:pt x="12954" y="179356"/>
                    <a:pt x="13621" y="178022"/>
                    <a:pt x="13621" y="175927"/>
                  </a:cubicBezTo>
                  <a:cubicBezTo>
                    <a:pt x="13621" y="173831"/>
                    <a:pt x="14288" y="173165"/>
                    <a:pt x="14288" y="171831"/>
                  </a:cubicBezTo>
                  <a:cubicBezTo>
                    <a:pt x="14954" y="170497"/>
                    <a:pt x="14954" y="169069"/>
                    <a:pt x="16383" y="167069"/>
                  </a:cubicBezTo>
                  <a:cubicBezTo>
                    <a:pt x="17050" y="165735"/>
                    <a:pt x="18479" y="164973"/>
                    <a:pt x="19145" y="164306"/>
                  </a:cubicBezTo>
                  <a:lnTo>
                    <a:pt x="19145" y="163640"/>
                  </a:lnTo>
                  <a:cubicBezTo>
                    <a:pt x="19145" y="162973"/>
                    <a:pt x="19812" y="163640"/>
                    <a:pt x="19812" y="162306"/>
                  </a:cubicBezTo>
                  <a:lnTo>
                    <a:pt x="19812" y="161639"/>
                  </a:lnTo>
                  <a:lnTo>
                    <a:pt x="22574" y="157544"/>
                  </a:lnTo>
                  <a:cubicBezTo>
                    <a:pt x="23241" y="156877"/>
                    <a:pt x="23241" y="154781"/>
                    <a:pt x="23241" y="153448"/>
                  </a:cubicBezTo>
                  <a:lnTo>
                    <a:pt x="26003" y="147923"/>
                  </a:lnTo>
                  <a:cubicBezTo>
                    <a:pt x="26003" y="145828"/>
                    <a:pt x="26670" y="143827"/>
                    <a:pt x="27337" y="143161"/>
                  </a:cubicBezTo>
                  <a:lnTo>
                    <a:pt x="28670" y="141065"/>
                  </a:lnTo>
                  <a:cubicBezTo>
                    <a:pt x="28670" y="138970"/>
                    <a:pt x="29337" y="137636"/>
                    <a:pt x="30766" y="136970"/>
                  </a:cubicBezTo>
                  <a:lnTo>
                    <a:pt x="33623" y="134684"/>
                  </a:lnTo>
                  <a:lnTo>
                    <a:pt x="33623" y="131921"/>
                  </a:lnTo>
                  <a:cubicBezTo>
                    <a:pt x="36386" y="129159"/>
                    <a:pt x="37719" y="126397"/>
                    <a:pt x="39148" y="122968"/>
                  </a:cubicBezTo>
                  <a:cubicBezTo>
                    <a:pt x="39148" y="120872"/>
                    <a:pt x="39815" y="120872"/>
                    <a:pt x="41243" y="120205"/>
                  </a:cubicBezTo>
                  <a:cubicBezTo>
                    <a:pt x="42577" y="119539"/>
                    <a:pt x="44672" y="118110"/>
                    <a:pt x="44672" y="116110"/>
                  </a:cubicBezTo>
                  <a:cubicBezTo>
                    <a:pt x="44672" y="115443"/>
                    <a:pt x="45339" y="114776"/>
                    <a:pt x="45339" y="114014"/>
                  </a:cubicBezTo>
                  <a:cubicBezTo>
                    <a:pt x="46673" y="111919"/>
                    <a:pt x="48101" y="110585"/>
                    <a:pt x="49435" y="107823"/>
                  </a:cubicBezTo>
                  <a:cubicBezTo>
                    <a:pt x="50102" y="106490"/>
                    <a:pt x="52197" y="105727"/>
                    <a:pt x="52197" y="104394"/>
                  </a:cubicBezTo>
                  <a:cubicBezTo>
                    <a:pt x="52197" y="103727"/>
                    <a:pt x="52864" y="103061"/>
                    <a:pt x="54293" y="103061"/>
                  </a:cubicBezTo>
                  <a:lnTo>
                    <a:pt x="57722" y="96869"/>
                  </a:lnTo>
                  <a:cubicBezTo>
                    <a:pt x="57722" y="96202"/>
                    <a:pt x="57722" y="96202"/>
                    <a:pt x="58388" y="96202"/>
                  </a:cubicBezTo>
                  <a:lnTo>
                    <a:pt x="59055" y="96202"/>
                  </a:lnTo>
                  <a:cubicBezTo>
                    <a:pt x="61817" y="93440"/>
                    <a:pt x="61817" y="90678"/>
                    <a:pt x="63151" y="88678"/>
                  </a:cubicBezTo>
                  <a:cubicBezTo>
                    <a:pt x="63818" y="86582"/>
                    <a:pt x="64484" y="85249"/>
                    <a:pt x="67247" y="83153"/>
                  </a:cubicBezTo>
                  <a:cubicBezTo>
                    <a:pt x="69342" y="81820"/>
                    <a:pt x="69342" y="79057"/>
                    <a:pt x="72009" y="76295"/>
                  </a:cubicBezTo>
                  <a:cubicBezTo>
                    <a:pt x="74105" y="74200"/>
                    <a:pt x="76772" y="70771"/>
                    <a:pt x="80963" y="69437"/>
                  </a:cubicBezTo>
                  <a:cubicBezTo>
                    <a:pt x="83058" y="68104"/>
                    <a:pt x="83725" y="66008"/>
                    <a:pt x="85058" y="64675"/>
                  </a:cubicBezTo>
                  <a:cubicBezTo>
                    <a:pt x="85725" y="63341"/>
                    <a:pt x="86392" y="61913"/>
                    <a:pt x="89154" y="61913"/>
                  </a:cubicBezTo>
                  <a:lnTo>
                    <a:pt x="92583" y="59817"/>
                  </a:lnTo>
                  <a:cubicBezTo>
                    <a:pt x="93917" y="58483"/>
                    <a:pt x="96012" y="57055"/>
                    <a:pt x="96679" y="55054"/>
                  </a:cubicBezTo>
                  <a:lnTo>
                    <a:pt x="97346" y="56388"/>
                  </a:lnTo>
                  <a:cubicBezTo>
                    <a:pt x="98679" y="57721"/>
                    <a:pt x="98679" y="58483"/>
                    <a:pt x="99441" y="59817"/>
                  </a:cubicBezTo>
                  <a:cubicBezTo>
                    <a:pt x="100108" y="58483"/>
                    <a:pt x="101537" y="58483"/>
                    <a:pt x="101537" y="57055"/>
                  </a:cubicBezTo>
                  <a:cubicBezTo>
                    <a:pt x="101537" y="56388"/>
                    <a:pt x="100870" y="54959"/>
                    <a:pt x="100203" y="54293"/>
                  </a:cubicBezTo>
                  <a:lnTo>
                    <a:pt x="100203" y="53626"/>
                  </a:lnTo>
                  <a:cubicBezTo>
                    <a:pt x="102965" y="52959"/>
                    <a:pt x="104966" y="51530"/>
                    <a:pt x="107728" y="50197"/>
                  </a:cubicBezTo>
                  <a:cubicBezTo>
                    <a:pt x="113919" y="47434"/>
                    <a:pt x="119348" y="47434"/>
                    <a:pt x="124873" y="46768"/>
                  </a:cubicBezTo>
                  <a:cubicBezTo>
                    <a:pt x="126206" y="46101"/>
                    <a:pt x="127635" y="46101"/>
                    <a:pt x="128969" y="46101"/>
                  </a:cubicBezTo>
                  <a:cubicBezTo>
                    <a:pt x="130302" y="46768"/>
                    <a:pt x="133064" y="46768"/>
                    <a:pt x="134493" y="46768"/>
                  </a:cubicBezTo>
                  <a:cubicBezTo>
                    <a:pt x="135160" y="46768"/>
                    <a:pt x="135827" y="47434"/>
                    <a:pt x="136589" y="47434"/>
                  </a:cubicBezTo>
                  <a:cubicBezTo>
                    <a:pt x="137351" y="47434"/>
                    <a:pt x="137922" y="48101"/>
                    <a:pt x="138684" y="48101"/>
                  </a:cubicBezTo>
                  <a:cubicBezTo>
                    <a:pt x="140018" y="48101"/>
                    <a:pt x="141446" y="48101"/>
                    <a:pt x="143447" y="48768"/>
                  </a:cubicBezTo>
                  <a:cubicBezTo>
                    <a:pt x="145542" y="50101"/>
                    <a:pt x="148209" y="51530"/>
                    <a:pt x="150305" y="53530"/>
                  </a:cubicBezTo>
                  <a:cubicBezTo>
                    <a:pt x="155067" y="56293"/>
                    <a:pt x="158496" y="59055"/>
                    <a:pt x="161925" y="61722"/>
                  </a:cubicBezTo>
                  <a:cubicBezTo>
                    <a:pt x="163259" y="63055"/>
                    <a:pt x="166688" y="63818"/>
                    <a:pt x="168116" y="63818"/>
                  </a:cubicBezTo>
                  <a:cubicBezTo>
                    <a:pt x="168783" y="64484"/>
                    <a:pt x="168783" y="64484"/>
                    <a:pt x="169450" y="64484"/>
                  </a:cubicBezTo>
                  <a:cubicBezTo>
                    <a:pt x="170117" y="64484"/>
                    <a:pt x="171545" y="63151"/>
                    <a:pt x="172212" y="62389"/>
                  </a:cubicBezTo>
                  <a:cubicBezTo>
                    <a:pt x="172879" y="61722"/>
                    <a:pt x="173546" y="61055"/>
                    <a:pt x="173546" y="60293"/>
                  </a:cubicBezTo>
                  <a:cubicBezTo>
                    <a:pt x="173546" y="59626"/>
                    <a:pt x="172879" y="59626"/>
                    <a:pt x="172879" y="58960"/>
                  </a:cubicBezTo>
                  <a:cubicBezTo>
                    <a:pt x="172879" y="58293"/>
                    <a:pt x="173546" y="57626"/>
                    <a:pt x="174974" y="57626"/>
                  </a:cubicBezTo>
                  <a:lnTo>
                    <a:pt x="177070" y="58960"/>
                  </a:lnTo>
                  <a:cubicBezTo>
                    <a:pt x="177737" y="59626"/>
                    <a:pt x="178403" y="59626"/>
                    <a:pt x="179165" y="59626"/>
                  </a:cubicBezTo>
                  <a:lnTo>
                    <a:pt x="179832" y="58960"/>
                  </a:lnTo>
                  <a:lnTo>
                    <a:pt x="179832" y="58293"/>
                  </a:lnTo>
                  <a:cubicBezTo>
                    <a:pt x="177737" y="56959"/>
                    <a:pt x="175069" y="54197"/>
                    <a:pt x="175069" y="53530"/>
                  </a:cubicBezTo>
                  <a:cubicBezTo>
                    <a:pt x="175069" y="51435"/>
                    <a:pt x="175736" y="52197"/>
                    <a:pt x="177165" y="50768"/>
                  </a:cubicBezTo>
                  <a:cubicBezTo>
                    <a:pt x="181928" y="52102"/>
                    <a:pt x="188119" y="22003"/>
                    <a:pt x="188786" y="22003"/>
                  </a:cubicBezTo>
                  <a:lnTo>
                    <a:pt x="188786" y="20669"/>
                  </a:lnTo>
                  <a:cubicBezTo>
                    <a:pt x="191548" y="17240"/>
                    <a:pt x="192215" y="13811"/>
                    <a:pt x="192881" y="10382"/>
                  </a:cubicBezTo>
                  <a:cubicBezTo>
                    <a:pt x="192881" y="9049"/>
                    <a:pt x="193548" y="8287"/>
                    <a:pt x="194215" y="6953"/>
                  </a:cubicBezTo>
                  <a:cubicBezTo>
                    <a:pt x="194881" y="6286"/>
                    <a:pt x="195548" y="6286"/>
                    <a:pt x="196310" y="4858"/>
                  </a:cubicBezTo>
                  <a:cubicBezTo>
                    <a:pt x="197072" y="3429"/>
                    <a:pt x="196977" y="2762"/>
                    <a:pt x="198406" y="2762"/>
                  </a:cubicBezTo>
                  <a:cubicBezTo>
                    <a:pt x="199739" y="1429"/>
                    <a:pt x="200501" y="667"/>
                    <a:pt x="202502" y="667"/>
                  </a:cubicBezTo>
                  <a:lnTo>
                    <a:pt x="204597" y="667"/>
                  </a:lnTo>
                  <a:cubicBezTo>
                    <a:pt x="206693" y="667"/>
                    <a:pt x="209360" y="0"/>
                    <a:pt x="211455" y="0"/>
                  </a:cubicBezTo>
                  <a:cubicBezTo>
                    <a:pt x="212789" y="0"/>
                    <a:pt x="214217" y="667"/>
                    <a:pt x="215551" y="2095"/>
                  </a:cubicBezTo>
                  <a:cubicBezTo>
                    <a:pt x="215551" y="2095"/>
                    <a:pt x="216218" y="2762"/>
                    <a:pt x="216884" y="2762"/>
                  </a:cubicBezTo>
                  <a:cubicBezTo>
                    <a:pt x="219647" y="6191"/>
                    <a:pt x="222409" y="7525"/>
                    <a:pt x="225076" y="8287"/>
                  </a:cubicBezTo>
                  <a:cubicBezTo>
                    <a:pt x="227171" y="9620"/>
                    <a:pt x="229838" y="11049"/>
                    <a:pt x="231934" y="11049"/>
                  </a:cubicBezTo>
                  <a:cubicBezTo>
                    <a:pt x="234696" y="13145"/>
                    <a:pt x="237458" y="13811"/>
                    <a:pt x="237458" y="16573"/>
                  </a:cubicBezTo>
                  <a:cubicBezTo>
                    <a:pt x="238125" y="16573"/>
                    <a:pt x="238792" y="17240"/>
                    <a:pt x="240887" y="17240"/>
                  </a:cubicBezTo>
                  <a:cubicBezTo>
                    <a:pt x="241554" y="18574"/>
                    <a:pt x="242221" y="20002"/>
                    <a:pt x="242221" y="21336"/>
                  </a:cubicBezTo>
                  <a:lnTo>
                    <a:pt x="242221" y="23431"/>
                  </a:lnTo>
                  <a:cubicBezTo>
                    <a:pt x="240887" y="24765"/>
                    <a:pt x="227171" y="51530"/>
                    <a:pt x="225743" y="50197"/>
                  </a:cubicBezTo>
                  <a:lnTo>
                    <a:pt x="225743" y="52292"/>
                  </a:lnTo>
                  <a:lnTo>
                    <a:pt x="225076" y="52292"/>
                  </a:lnTo>
                  <a:cubicBezTo>
                    <a:pt x="225076" y="52959"/>
                    <a:pt x="224409" y="53626"/>
                    <a:pt x="223742" y="53626"/>
                  </a:cubicBezTo>
                  <a:lnTo>
                    <a:pt x="223742" y="52292"/>
                  </a:lnTo>
                  <a:cubicBezTo>
                    <a:pt x="223742" y="52292"/>
                    <a:pt x="223076" y="52292"/>
                    <a:pt x="222409" y="51625"/>
                  </a:cubicBezTo>
                  <a:cubicBezTo>
                    <a:pt x="221075" y="51625"/>
                    <a:pt x="220313" y="52292"/>
                    <a:pt x="219647" y="52292"/>
                  </a:cubicBezTo>
                  <a:lnTo>
                    <a:pt x="219647" y="53626"/>
                  </a:lnTo>
                  <a:lnTo>
                    <a:pt x="224409" y="53626"/>
                  </a:lnTo>
                  <a:lnTo>
                    <a:pt x="224409" y="55721"/>
                  </a:lnTo>
                  <a:cubicBezTo>
                    <a:pt x="223076" y="56388"/>
                    <a:pt x="222314" y="57055"/>
                    <a:pt x="222314" y="57817"/>
                  </a:cubicBezTo>
                  <a:cubicBezTo>
                    <a:pt x="222314" y="58579"/>
                    <a:pt x="222980" y="59912"/>
                    <a:pt x="222980" y="59912"/>
                  </a:cubicBezTo>
                  <a:lnTo>
                    <a:pt x="224314" y="61246"/>
                  </a:lnTo>
                  <a:cubicBezTo>
                    <a:pt x="224314" y="61913"/>
                    <a:pt x="223647" y="61913"/>
                    <a:pt x="223647" y="61913"/>
                  </a:cubicBezTo>
                  <a:cubicBezTo>
                    <a:pt x="223647" y="62579"/>
                    <a:pt x="224314" y="64008"/>
                    <a:pt x="224314" y="64675"/>
                  </a:cubicBezTo>
                  <a:cubicBezTo>
                    <a:pt x="224314" y="65342"/>
                    <a:pt x="224314" y="65342"/>
                    <a:pt x="223647" y="66008"/>
                  </a:cubicBezTo>
                  <a:cubicBezTo>
                    <a:pt x="222980" y="66008"/>
                    <a:pt x="222980" y="66675"/>
                    <a:pt x="222980" y="67342"/>
                  </a:cubicBezTo>
                  <a:cubicBezTo>
                    <a:pt x="222314" y="70104"/>
                    <a:pt x="221647" y="72104"/>
                    <a:pt x="219551" y="73533"/>
                  </a:cubicBezTo>
                  <a:cubicBezTo>
                    <a:pt x="218218" y="74867"/>
                    <a:pt x="218885" y="76295"/>
                    <a:pt x="218218" y="79057"/>
                  </a:cubicBezTo>
                  <a:lnTo>
                    <a:pt x="218218" y="81820"/>
                  </a:lnTo>
                  <a:cubicBezTo>
                    <a:pt x="216122" y="85249"/>
                    <a:pt x="215456" y="88011"/>
                    <a:pt x="214789" y="90773"/>
                  </a:cubicBezTo>
                  <a:lnTo>
                    <a:pt x="214789" y="98965"/>
                  </a:lnTo>
                  <a:cubicBezTo>
                    <a:pt x="214789" y="101060"/>
                    <a:pt x="213455" y="103061"/>
                    <a:pt x="212693" y="105156"/>
                  </a:cubicBezTo>
                  <a:lnTo>
                    <a:pt x="211360" y="106490"/>
                  </a:lnTo>
                  <a:lnTo>
                    <a:pt x="212693" y="109252"/>
                  </a:lnTo>
                  <a:lnTo>
                    <a:pt x="212693" y="109919"/>
                  </a:lnTo>
                  <a:cubicBezTo>
                    <a:pt x="211360" y="112014"/>
                    <a:pt x="212027" y="114014"/>
                    <a:pt x="210598" y="116776"/>
                  </a:cubicBezTo>
                  <a:cubicBezTo>
                    <a:pt x="208502" y="119539"/>
                    <a:pt x="207169" y="120872"/>
                    <a:pt x="207169" y="124301"/>
                  </a:cubicBezTo>
                  <a:lnTo>
                    <a:pt x="207169" y="127064"/>
                  </a:lnTo>
                  <a:lnTo>
                    <a:pt x="205073" y="127064"/>
                  </a:lnTo>
                  <a:lnTo>
                    <a:pt x="205073" y="127730"/>
                  </a:lnTo>
                  <a:cubicBezTo>
                    <a:pt x="205073" y="129064"/>
                    <a:pt x="205740" y="129826"/>
                    <a:pt x="205740" y="130493"/>
                  </a:cubicBezTo>
                  <a:lnTo>
                    <a:pt x="205740" y="131159"/>
                  </a:lnTo>
                  <a:cubicBezTo>
                    <a:pt x="204406" y="133255"/>
                    <a:pt x="203644" y="133255"/>
                    <a:pt x="201644" y="133921"/>
                  </a:cubicBezTo>
                  <a:lnTo>
                    <a:pt x="200978" y="134684"/>
                  </a:lnTo>
                  <a:cubicBezTo>
                    <a:pt x="200311" y="134684"/>
                    <a:pt x="200311" y="134684"/>
                    <a:pt x="200311" y="135350"/>
                  </a:cubicBezTo>
                  <a:cubicBezTo>
                    <a:pt x="200311" y="136017"/>
                    <a:pt x="200978" y="137446"/>
                    <a:pt x="201644" y="137446"/>
                  </a:cubicBezTo>
                  <a:lnTo>
                    <a:pt x="202311" y="137446"/>
                  </a:lnTo>
                  <a:cubicBezTo>
                    <a:pt x="202978" y="137446"/>
                    <a:pt x="203644" y="137446"/>
                    <a:pt x="203644" y="138113"/>
                  </a:cubicBezTo>
                  <a:lnTo>
                    <a:pt x="203644" y="140208"/>
                  </a:lnTo>
                  <a:cubicBezTo>
                    <a:pt x="203644" y="141542"/>
                    <a:pt x="202978" y="142970"/>
                    <a:pt x="202978" y="142970"/>
                  </a:cubicBezTo>
                  <a:cubicBezTo>
                    <a:pt x="202311" y="145733"/>
                    <a:pt x="200882" y="149162"/>
                    <a:pt x="200882" y="151924"/>
                  </a:cubicBezTo>
                  <a:cubicBezTo>
                    <a:pt x="200882" y="152591"/>
                    <a:pt x="200216" y="153257"/>
                    <a:pt x="200216" y="154019"/>
                  </a:cubicBezTo>
                  <a:lnTo>
                    <a:pt x="196787" y="154019"/>
                  </a:lnTo>
                  <a:cubicBezTo>
                    <a:pt x="196120" y="154686"/>
                    <a:pt x="195453" y="154686"/>
                    <a:pt x="194691" y="154686"/>
                  </a:cubicBezTo>
                  <a:lnTo>
                    <a:pt x="193358" y="154686"/>
                  </a:lnTo>
                  <a:cubicBezTo>
                    <a:pt x="192691" y="154686"/>
                    <a:pt x="192691" y="155353"/>
                    <a:pt x="192691" y="155353"/>
                  </a:cubicBezTo>
                  <a:cubicBezTo>
                    <a:pt x="192691" y="156686"/>
                    <a:pt x="192024" y="157448"/>
                    <a:pt x="190595" y="157448"/>
                  </a:cubicBezTo>
                  <a:cubicBezTo>
                    <a:pt x="189262" y="157448"/>
                    <a:pt x="187833" y="158115"/>
                    <a:pt x="187833" y="158782"/>
                  </a:cubicBezTo>
                  <a:cubicBezTo>
                    <a:pt x="187833" y="159448"/>
                    <a:pt x="187166" y="159448"/>
                    <a:pt x="186500" y="159448"/>
                  </a:cubicBezTo>
                  <a:lnTo>
                    <a:pt x="184404" y="159448"/>
                  </a:lnTo>
                  <a:cubicBezTo>
                    <a:pt x="183737" y="160115"/>
                    <a:pt x="183737" y="160782"/>
                    <a:pt x="183737" y="160782"/>
                  </a:cubicBezTo>
                  <a:cubicBezTo>
                    <a:pt x="183737" y="161449"/>
                    <a:pt x="183737" y="161449"/>
                    <a:pt x="184404" y="161449"/>
                  </a:cubicBezTo>
                  <a:lnTo>
                    <a:pt x="187833" y="164211"/>
                  </a:lnTo>
                  <a:cubicBezTo>
                    <a:pt x="188500" y="164211"/>
                    <a:pt x="189929" y="164211"/>
                    <a:pt x="189929" y="162116"/>
                  </a:cubicBezTo>
                  <a:cubicBezTo>
                    <a:pt x="189929" y="161449"/>
                    <a:pt x="189929" y="160782"/>
                    <a:pt x="190595" y="160782"/>
                  </a:cubicBezTo>
                  <a:cubicBezTo>
                    <a:pt x="190595" y="160115"/>
                    <a:pt x="191262" y="160115"/>
                    <a:pt x="191929" y="160115"/>
                  </a:cubicBezTo>
                  <a:cubicBezTo>
                    <a:pt x="191929" y="160115"/>
                    <a:pt x="193262" y="160782"/>
                    <a:pt x="194024" y="161449"/>
                  </a:cubicBezTo>
                  <a:cubicBezTo>
                    <a:pt x="194691" y="164211"/>
                    <a:pt x="196120" y="165545"/>
                    <a:pt x="196120" y="168307"/>
                  </a:cubicBezTo>
                  <a:lnTo>
                    <a:pt x="196120" y="168973"/>
                  </a:lnTo>
                  <a:cubicBezTo>
                    <a:pt x="196120" y="169640"/>
                    <a:pt x="196120" y="169640"/>
                    <a:pt x="195453" y="170307"/>
                  </a:cubicBezTo>
                  <a:cubicBezTo>
                    <a:pt x="194786" y="170974"/>
                    <a:pt x="194119" y="171641"/>
                    <a:pt x="194119" y="172402"/>
                  </a:cubicBezTo>
                  <a:cubicBezTo>
                    <a:pt x="194119" y="173069"/>
                    <a:pt x="194786" y="173069"/>
                    <a:pt x="194786" y="173736"/>
                  </a:cubicBezTo>
                  <a:lnTo>
                    <a:pt x="194119" y="174403"/>
                  </a:lnTo>
                  <a:lnTo>
                    <a:pt x="194119" y="175070"/>
                  </a:lnTo>
                  <a:cubicBezTo>
                    <a:pt x="194119" y="175736"/>
                    <a:pt x="194786" y="176403"/>
                    <a:pt x="194786" y="177165"/>
                  </a:cubicBezTo>
                  <a:lnTo>
                    <a:pt x="194786" y="179261"/>
                  </a:lnTo>
                  <a:cubicBezTo>
                    <a:pt x="194786" y="181356"/>
                    <a:pt x="194119" y="182023"/>
                    <a:pt x="193453" y="184023"/>
                  </a:cubicBezTo>
                  <a:lnTo>
                    <a:pt x="192119" y="185356"/>
                  </a:lnTo>
                  <a:cubicBezTo>
                    <a:pt x="191453" y="185356"/>
                    <a:pt x="190786" y="185356"/>
                    <a:pt x="190024" y="184690"/>
                  </a:cubicBezTo>
                  <a:lnTo>
                    <a:pt x="187928" y="183356"/>
                  </a:lnTo>
                  <a:cubicBezTo>
                    <a:pt x="185833" y="183356"/>
                    <a:pt x="185833" y="183356"/>
                    <a:pt x="185833" y="181261"/>
                  </a:cubicBezTo>
                  <a:cubicBezTo>
                    <a:pt x="185833" y="179165"/>
                    <a:pt x="185833" y="178498"/>
                    <a:pt x="183071" y="178498"/>
                  </a:cubicBezTo>
                  <a:lnTo>
                    <a:pt x="182404" y="178498"/>
                  </a:lnTo>
                  <a:cubicBezTo>
                    <a:pt x="181737" y="178498"/>
                    <a:pt x="181737" y="179165"/>
                    <a:pt x="181070" y="179165"/>
                  </a:cubicBezTo>
                  <a:lnTo>
                    <a:pt x="181737" y="179832"/>
                  </a:lnTo>
                  <a:cubicBezTo>
                    <a:pt x="182404" y="179832"/>
                    <a:pt x="183071" y="179832"/>
                    <a:pt x="183071" y="180499"/>
                  </a:cubicBezTo>
                  <a:lnTo>
                    <a:pt x="183071" y="182594"/>
                  </a:lnTo>
                  <a:cubicBezTo>
                    <a:pt x="183071" y="183928"/>
                    <a:pt x="183737" y="184690"/>
                    <a:pt x="184404" y="185356"/>
                  </a:cubicBezTo>
                  <a:cubicBezTo>
                    <a:pt x="184404" y="186023"/>
                    <a:pt x="185738" y="186023"/>
                    <a:pt x="185071" y="186690"/>
                  </a:cubicBezTo>
                  <a:cubicBezTo>
                    <a:pt x="183737" y="187357"/>
                    <a:pt x="182975" y="187357"/>
                    <a:pt x="182309" y="187357"/>
                  </a:cubicBezTo>
                  <a:lnTo>
                    <a:pt x="181642" y="186690"/>
                  </a:lnTo>
                  <a:lnTo>
                    <a:pt x="181642" y="185356"/>
                  </a:lnTo>
                  <a:cubicBezTo>
                    <a:pt x="181642" y="184690"/>
                    <a:pt x="181642" y="184023"/>
                    <a:pt x="180975" y="184023"/>
                  </a:cubicBezTo>
                  <a:lnTo>
                    <a:pt x="180308" y="184023"/>
                  </a:lnTo>
                  <a:cubicBezTo>
                    <a:pt x="179642" y="184023"/>
                    <a:pt x="179642" y="184023"/>
                    <a:pt x="179642" y="184690"/>
                  </a:cubicBezTo>
                  <a:cubicBezTo>
                    <a:pt x="179642" y="185356"/>
                    <a:pt x="179642" y="185356"/>
                    <a:pt x="178975" y="185356"/>
                  </a:cubicBezTo>
                  <a:cubicBezTo>
                    <a:pt x="178308" y="186023"/>
                    <a:pt x="178308" y="186023"/>
                    <a:pt x="177641" y="186023"/>
                  </a:cubicBezTo>
                  <a:cubicBezTo>
                    <a:pt x="176975" y="184690"/>
                    <a:pt x="176308" y="183928"/>
                    <a:pt x="176308" y="183928"/>
                  </a:cubicBezTo>
                  <a:cubicBezTo>
                    <a:pt x="174974" y="183928"/>
                    <a:pt x="174974" y="184595"/>
                    <a:pt x="174212" y="185261"/>
                  </a:cubicBezTo>
                  <a:cubicBezTo>
                    <a:pt x="174212" y="185928"/>
                    <a:pt x="174212" y="186595"/>
                    <a:pt x="174879" y="186595"/>
                  </a:cubicBezTo>
                  <a:cubicBezTo>
                    <a:pt x="177641" y="187262"/>
                    <a:pt x="178308" y="187928"/>
                    <a:pt x="179642" y="190024"/>
                  </a:cubicBezTo>
                  <a:cubicBezTo>
                    <a:pt x="179642" y="190691"/>
                    <a:pt x="179642" y="190691"/>
                    <a:pt x="180308" y="190691"/>
                  </a:cubicBezTo>
                  <a:cubicBezTo>
                    <a:pt x="180975" y="190691"/>
                    <a:pt x="180975" y="190691"/>
                    <a:pt x="182404" y="190024"/>
                  </a:cubicBezTo>
                  <a:cubicBezTo>
                    <a:pt x="183071" y="190024"/>
                    <a:pt x="183071" y="189357"/>
                    <a:pt x="183737" y="189357"/>
                  </a:cubicBezTo>
                  <a:cubicBezTo>
                    <a:pt x="184404" y="190691"/>
                    <a:pt x="186500" y="191452"/>
                    <a:pt x="187833" y="193453"/>
                  </a:cubicBezTo>
                  <a:lnTo>
                    <a:pt x="186500" y="193453"/>
                  </a:lnTo>
                  <a:cubicBezTo>
                    <a:pt x="185833" y="194120"/>
                    <a:pt x="185166" y="194786"/>
                    <a:pt x="184404" y="194786"/>
                  </a:cubicBezTo>
                  <a:lnTo>
                    <a:pt x="182309" y="194786"/>
                  </a:lnTo>
                  <a:cubicBezTo>
                    <a:pt x="180975" y="194786"/>
                    <a:pt x="180213" y="195453"/>
                    <a:pt x="180213" y="196120"/>
                  </a:cubicBezTo>
                  <a:cubicBezTo>
                    <a:pt x="180213" y="196787"/>
                    <a:pt x="178118" y="198215"/>
                    <a:pt x="176784" y="198215"/>
                  </a:cubicBezTo>
                  <a:cubicBezTo>
                    <a:pt x="176784" y="198215"/>
                    <a:pt x="176117" y="198215"/>
                    <a:pt x="176117" y="198882"/>
                  </a:cubicBezTo>
                  <a:lnTo>
                    <a:pt x="178213" y="201644"/>
                  </a:lnTo>
                  <a:cubicBezTo>
                    <a:pt x="178213" y="202978"/>
                    <a:pt x="179546" y="203740"/>
                    <a:pt x="180975" y="203740"/>
                  </a:cubicBezTo>
                  <a:cubicBezTo>
                    <a:pt x="183071" y="203740"/>
                    <a:pt x="185071" y="204406"/>
                    <a:pt x="187833" y="205073"/>
                  </a:cubicBezTo>
                  <a:cubicBezTo>
                    <a:pt x="189167" y="207169"/>
                    <a:pt x="189929" y="207836"/>
                    <a:pt x="189929" y="209169"/>
                  </a:cubicBezTo>
                  <a:cubicBezTo>
                    <a:pt x="190595" y="209169"/>
                    <a:pt x="190595" y="209169"/>
                    <a:pt x="190595" y="209836"/>
                  </a:cubicBezTo>
                  <a:lnTo>
                    <a:pt x="190595" y="211169"/>
                  </a:lnTo>
                  <a:cubicBezTo>
                    <a:pt x="190595" y="212503"/>
                    <a:pt x="190595" y="213265"/>
                    <a:pt x="189929" y="214598"/>
                  </a:cubicBezTo>
                  <a:cubicBezTo>
                    <a:pt x="189262" y="215265"/>
                    <a:pt x="188595" y="216694"/>
                    <a:pt x="188595" y="217361"/>
                  </a:cubicBezTo>
                  <a:lnTo>
                    <a:pt x="188595" y="224885"/>
                  </a:lnTo>
                  <a:cubicBezTo>
                    <a:pt x="187928" y="226981"/>
                    <a:pt x="187928" y="228314"/>
                    <a:pt x="187928" y="231076"/>
                  </a:cubicBezTo>
                  <a:cubicBezTo>
                    <a:pt x="187928" y="231743"/>
                    <a:pt x="188595" y="233172"/>
                    <a:pt x="188595" y="233839"/>
                  </a:cubicBezTo>
                  <a:cubicBezTo>
                    <a:pt x="188595" y="234505"/>
                    <a:pt x="187928" y="235934"/>
                    <a:pt x="187928" y="236601"/>
                  </a:cubicBezTo>
                  <a:cubicBezTo>
                    <a:pt x="187262" y="237935"/>
                    <a:pt x="186595" y="238696"/>
                    <a:pt x="186595" y="240030"/>
                  </a:cubicBezTo>
                  <a:cubicBezTo>
                    <a:pt x="186595" y="241364"/>
                    <a:pt x="187262" y="242125"/>
                    <a:pt x="187928" y="242792"/>
                  </a:cubicBezTo>
                  <a:cubicBezTo>
                    <a:pt x="187928" y="248984"/>
                    <a:pt x="187262" y="251746"/>
                    <a:pt x="187262" y="251746"/>
                  </a:cubicBezTo>
                  <a:cubicBezTo>
                    <a:pt x="187262" y="251746"/>
                    <a:pt x="186595" y="247650"/>
                    <a:pt x="186595" y="242792"/>
                  </a:cubicBezTo>
                  <a:cubicBezTo>
                    <a:pt x="186595" y="242792"/>
                    <a:pt x="186595" y="242125"/>
                    <a:pt x="185928" y="242125"/>
                  </a:cubicBezTo>
                  <a:cubicBezTo>
                    <a:pt x="185261" y="242125"/>
                    <a:pt x="185261" y="241459"/>
                    <a:pt x="185261" y="241459"/>
                  </a:cubicBezTo>
                  <a:cubicBezTo>
                    <a:pt x="184594" y="240792"/>
                    <a:pt x="183928" y="240125"/>
                    <a:pt x="183166" y="240125"/>
                  </a:cubicBezTo>
                  <a:cubicBezTo>
                    <a:pt x="182404" y="240125"/>
                    <a:pt x="181832" y="240792"/>
                    <a:pt x="181832" y="241459"/>
                  </a:cubicBezTo>
                  <a:cubicBezTo>
                    <a:pt x="181166" y="249650"/>
                    <a:pt x="180499" y="254508"/>
                    <a:pt x="180499" y="254508"/>
                  </a:cubicBezTo>
                  <a:cubicBezTo>
                    <a:pt x="180499" y="254508"/>
                    <a:pt x="179832" y="251079"/>
                    <a:pt x="179832" y="242888"/>
                  </a:cubicBezTo>
                  <a:cubicBezTo>
                    <a:pt x="179832" y="242221"/>
                    <a:pt x="179165" y="242221"/>
                    <a:pt x="178499" y="242221"/>
                  </a:cubicBezTo>
                  <a:cubicBezTo>
                    <a:pt x="179165" y="242888"/>
                    <a:pt x="179165" y="245650"/>
                    <a:pt x="179165" y="249746"/>
                  </a:cubicBezTo>
                  <a:cubicBezTo>
                    <a:pt x="179165" y="266224"/>
                    <a:pt x="176403" y="303943"/>
                    <a:pt x="172974" y="305943"/>
                  </a:cubicBezTo>
                  <a:cubicBezTo>
                    <a:pt x="172307" y="307276"/>
                    <a:pt x="172307" y="307276"/>
                    <a:pt x="172307" y="309372"/>
                  </a:cubicBezTo>
                  <a:lnTo>
                    <a:pt x="174403" y="310706"/>
                  </a:lnTo>
                  <a:cubicBezTo>
                    <a:pt x="174403" y="310706"/>
                    <a:pt x="175069" y="310706"/>
                    <a:pt x="175069" y="310039"/>
                  </a:cubicBezTo>
                  <a:cubicBezTo>
                    <a:pt x="176403" y="310039"/>
                    <a:pt x="176403" y="307943"/>
                    <a:pt x="176403" y="307276"/>
                  </a:cubicBezTo>
                  <a:cubicBezTo>
                    <a:pt x="176403" y="305181"/>
                    <a:pt x="177070" y="305181"/>
                    <a:pt x="177737" y="305181"/>
                  </a:cubicBezTo>
                  <a:cubicBezTo>
                    <a:pt x="179070" y="305848"/>
                    <a:pt x="179832" y="305848"/>
                    <a:pt x="180499" y="305848"/>
                  </a:cubicBezTo>
                  <a:cubicBezTo>
                    <a:pt x="181832" y="305848"/>
                    <a:pt x="182594" y="305848"/>
                    <a:pt x="182594" y="307943"/>
                  </a:cubicBezTo>
                  <a:cubicBezTo>
                    <a:pt x="183261" y="308610"/>
                    <a:pt x="183261" y="310706"/>
                    <a:pt x="183261" y="311372"/>
                  </a:cubicBezTo>
                  <a:cubicBezTo>
                    <a:pt x="183261" y="318230"/>
                    <a:pt x="183261" y="322326"/>
                    <a:pt x="183928" y="328517"/>
                  </a:cubicBezTo>
                  <a:lnTo>
                    <a:pt x="183928" y="330613"/>
                  </a:lnTo>
                  <a:cubicBezTo>
                    <a:pt x="183261" y="332708"/>
                    <a:pt x="182594" y="332708"/>
                    <a:pt x="181832" y="332708"/>
                  </a:cubicBezTo>
                  <a:cubicBezTo>
                    <a:pt x="181166" y="332708"/>
                    <a:pt x="181166" y="332708"/>
                    <a:pt x="181166" y="330613"/>
                  </a:cubicBezTo>
                  <a:lnTo>
                    <a:pt x="181166" y="326517"/>
                  </a:lnTo>
                  <a:cubicBezTo>
                    <a:pt x="180499" y="326517"/>
                    <a:pt x="180499" y="325850"/>
                    <a:pt x="179832" y="325850"/>
                  </a:cubicBezTo>
                  <a:lnTo>
                    <a:pt x="179165" y="326517"/>
                  </a:lnTo>
                  <a:cubicBezTo>
                    <a:pt x="178499" y="332042"/>
                    <a:pt x="177070" y="334709"/>
                    <a:pt x="177070" y="335471"/>
                  </a:cubicBezTo>
                  <a:lnTo>
                    <a:pt x="177737" y="336137"/>
                  </a:lnTo>
                  <a:lnTo>
                    <a:pt x="179070" y="336137"/>
                  </a:lnTo>
                  <a:cubicBezTo>
                    <a:pt x="179737" y="336137"/>
                    <a:pt x="179737" y="336137"/>
                    <a:pt x="181166" y="335471"/>
                  </a:cubicBezTo>
                  <a:cubicBezTo>
                    <a:pt x="181166" y="334137"/>
                    <a:pt x="181832" y="334137"/>
                    <a:pt x="182499" y="334137"/>
                  </a:cubicBezTo>
                  <a:lnTo>
                    <a:pt x="183833" y="334137"/>
                  </a:lnTo>
                  <a:cubicBezTo>
                    <a:pt x="183833" y="334137"/>
                    <a:pt x="179737" y="356807"/>
                    <a:pt x="177641" y="357473"/>
                  </a:cubicBezTo>
                  <a:cubicBezTo>
                    <a:pt x="178308" y="358807"/>
                    <a:pt x="178308" y="360902"/>
                    <a:pt x="178308" y="361569"/>
                  </a:cubicBezTo>
                  <a:lnTo>
                    <a:pt x="178308" y="362236"/>
                  </a:lnTo>
                  <a:cubicBezTo>
                    <a:pt x="176975" y="362236"/>
                    <a:pt x="176213" y="363569"/>
                    <a:pt x="176213" y="364331"/>
                  </a:cubicBezTo>
                  <a:cubicBezTo>
                    <a:pt x="176213" y="367094"/>
                    <a:pt x="168021" y="378047"/>
                    <a:pt x="165926" y="379381"/>
                  </a:cubicBezTo>
                  <a:lnTo>
                    <a:pt x="164592" y="379381"/>
                  </a:lnTo>
                  <a:cubicBezTo>
                    <a:pt x="163925" y="379381"/>
                    <a:pt x="163925" y="378047"/>
                    <a:pt x="163925" y="375285"/>
                  </a:cubicBezTo>
                  <a:cubicBezTo>
                    <a:pt x="163259" y="373190"/>
                    <a:pt x="163259" y="369094"/>
                    <a:pt x="163259" y="364998"/>
                  </a:cubicBezTo>
                  <a:lnTo>
                    <a:pt x="163259" y="350615"/>
                  </a:lnTo>
                  <a:cubicBezTo>
                    <a:pt x="163259" y="349948"/>
                    <a:pt x="162592" y="349282"/>
                    <a:pt x="162592" y="349282"/>
                  </a:cubicBezTo>
                  <a:cubicBezTo>
                    <a:pt x="161925" y="349282"/>
                    <a:pt x="160496" y="361664"/>
                    <a:pt x="158496" y="361664"/>
                  </a:cubicBezTo>
                  <a:lnTo>
                    <a:pt x="157829" y="360998"/>
                  </a:lnTo>
                  <a:lnTo>
                    <a:pt x="156496" y="360331"/>
                  </a:lnTo>
                  <a:lnTo>
                    <a:pt x="151733" y="360331"/>
                  </a:lnTo>
                  <a:cubicBezTo>
                    <a:pt x="149638" y="360331"/>
                    <a:pt x="147638" y="360998"/>
                    <a:pt x="145542" y="364427"/>
                  </a:cubicBezTo>
                  <a:cubicBezTo>
                    <a:pt x="144209" y="364427"/>
                    <a:pt x="140780" y="349377"/>
                    <a:pt x="140780" y="341757"/>
                  </a:cubicBezTo>
                  <a:cubicBezTo>
                    <a:pt x="140113" y="339661"/>
                    <a:pt x="140113" y="338328"/>
                    <a:pt x="140113" y="337661"/>
                  </a:cubicBezTo>
                  <a:cubicBezTo>
                    <a:pt x="140113" y="336994"/>
                    <a:pt x="140113" y="336328"/>
                    <a:pt x="140780" y="335566"/>
                  </a:cubicBezTo>
                  <a:lnTo>
                    <a:pt x="140780" y="333661"/>
                  </a:lnTo>
                  <a:close/>
                  <a:moveTo>
                    <a:pt x="0" y="223838"/>
                  </a:moveTo>
                  <a:lnTo>
                    <a:pt x="667" y="223171"/>
                  </a:lnTo>
                  <a:lnTo>
                    <a:pt x="1334" y="223838"/>
                  </a:lnTo>
                  <a:lnTo>
                    <a:pt x="1334" y="228600"/>
                  </a:lnTo>
                  <a:cubicBezTo>
                    <a:pt x="1334" y="228600"/>
                    <a:pt x="0" y="227267"/>
                    <a:pt x="0" y="225171"/>
                  </a:cubicBezTo>
                  <a:lnTo>
                    <a:pt x="0" y="223838"/>
                  </a:lnTo>
                  <a:close/>
                  <a:moveTo>
                    <a:pt x="107633" y="93536"/>
                  </a:moveTo>
                  <a:cubicBezTo>
                    <a:pt x="106966" y="94202"/>
                    <a:pt x="106299" y="94869"/>
                    <a:pt x="106299" y="96298"/>
                  </a:cubicBezTo>
                  <a:cubicBezTo>
                    <a:pt x="106299" y="96965"/>
                    <a:pt x="106966" y="96965"/>
                    <a:pt x="106966" y="96965"/>
                  </a:cubicBezTo>
                  <a:lnTo>
                    <a:pt x="106966" y="98298"/>
                  </a:lnTo>
                  <a:cubicBezTo>
                    <a:pt x="104870" y="98965"/>
                    <a:pt x="104870" y="101060"/>
                    <a:pt x="103537" y="102394"/>
                  </a:cubicBezTo>
                  <a:cubicBezTo>
                    <a:pt x="101441" y="103727"/>
                    <a:pt x="100108" y="106490"/>
                    <a:pt x="96679" y="108585"/>
                  </a:cubicBezTo>
                  <a:lnTo>
                    <a:pt x="96679" y="109919"/>
                  </a:lnTo>
                  <a:cubicBezTo>
                    <a:pt x="96012" y="112014"/>
                    <a:pt x="93917" y="112681"/>
                    <a:pt x="92583" y="113347"/>
                  </a:cubicBezTo>
                  <a:cubicBezTo>
                    <a:pt x="90488" y="114681"/>
                    <a:pt x="89821" y="116110"/>
                    <a:pt x="89821" y="118110"/>
                  </a:cubicBezTo>
                  <a:cubicBezTo>
                    <a:pt x="89154" y="120301"/>
                    <a:pt x="89154" y="122396"/>
                    <a:pt x="85725" y="123730"/>
                  </a:cubicBezTo>
                  <a:lnTo>
                    <a:pt x="85058" y="123730"/>
                  </a:lnTo>
                  <a:lnTo>
                    <a:pt x="85058" y="124396"/>
                  </a:lnTo>
                  <a:cubicBezTo>
                    <a:pt x="85058" y="127159"/>
                    <a:pt x="82296" y="129159"/>
                    <a:pt x="80963" y="131921"/>
                  </a:cubicBezTo>
                  <a:cubicBezTo>
                    <a:pt x="80296" y="132588"/>
                    <a:pt x="79629" y="133255"/>
                    <a:pt x="79629" y="134017"/>
                  </a:cubicBezTo>
                  <a:lnTo>
                    <a:pt x="79629" y="134684"/>
                  </a:lnTo>
                  <a:cubicBezTo>
                    <a:pt x="79629" y="135350"/>
                    <a:pt x="78962" y="136017"/>
                    <a:pt x="77534" y="136017"/>
                  </a:cubicBezTo>
                  <a:cubicBezTo>
                    <a:pt x="76867" y="138113"/>
                    <a:pt x="74105" y="139446"/>
                    <a:pt x="73438" y="142208"/>
                  </a:cubicBezTo>
                  <a:cubicBezTo>
                    <a:pt x="73438" y="142875"/>
                    <a:pt x="72771" y="142875"/>
                    <a:pt x="72771" y="142875"/>
                  </a:cubicBezTo>
                  <a:lnTo>
                    <a:pt x="72771" y="142303"/>
                  </a:lnTo>
                  <a:cubicBezTo>
                    <a:pt x="71438" y="142303"/>
                    <a:pt x="70676" y="141637"/>
                    <a:pt x="70009" y="140208"/>
                  </a:cubicBezTo>
                  <a:cubicBezTo>
                    <a:pt x="69342" y="140208"/>
                    <a:pt x="68675" y="139541"/>
                    <a:pt x="68675" y="140208"/>
                  </a:cubicBezTo>
                  <a:cubicBezTo>
                    <a:pt x="68009" y="141542"/>
                    <a:pt x="68009" y="142970"/>
                    <a:pt x="66580" y="142970"/>
                  </a:cubicBezTo>
                  <a:cubicBezTo>
                    <a:pt x="66580" y="142970"/>
                    <a:pt x="67247" y="144304"/>
                    <a:pt x="67247" y="145066"/>
                  </a:cubicBezTo>
                  <a:lnTo>
                    <a:pt x="69342" y="145066"/>
                  </a:lnTo>
                  <a:cubicBezTo>
                    <a:pt x="70009" y="145066"/>
                    <a:pt x="70009" y="145066"/>
                    <a:pt x="70676" y="144399"/>
                  </a:cubicBezTo>
                  <a:lnTo>
                    <a:pt x="70676" y="145066"/>
                  </a:lnTo>
                  <a:cubicBezTo>
                    <a:pt x="70676" y="147161"/>
                    <a:pt x="70676" y="149828"/>
                    <a:pt x="71342" y="151257"/>
                  </a:cubicBezTo>
                  <a:lnTo>
                    <a:pt x="70676" y="151828"/>
                  </a:lnTo>
                  <a:cubicBezTo>
                    <a:pt x="70009" y="151828"/>
                    <a:pt x="69342" y="151828"/>
                    <a:pt x="68580" y="151162"/>
                  </a:cubicBezTo>
                  <a:cubicBezTo>
                    <a:pt x="67913" y="151162"/>
                    <a:pt x="67913" y="151162"/>
                    <a:pt x="67913" y="152495"/>
                  </a:cubicBezTo>
                  <a:cubicBezTo>
                    <a:pt x="67247" y="153829"/>
                    <a:pt x="66580" y="154591"/>
                    <a:pt x="66580" y="155258"/>
                  </a:cubicBezTo>
                  <a:cubicBezTo>
                    <a:pt x="64484" y="156591"/>
                    <a:pt x="65913" y="157353"/>
                    <a:pt x="63818" y="157353"/>
                  </a:cubicBezTo>
                  <a:lnTo>
                    <a:pt x="62389" y="157353"/>
                  </a:lnTo>
                  <a:cubicBezTo>
                    <a:pt x="61722" y="157353"/>
                    <a:pt x="61055" y="157353"/>
                    <a:pt x="61055" y="158020"/>
                  </a:cubicBezTo>
                  <a:lnTo>
                    <a:pt x="61722" y="158687"/>
                  </a:lnTo>
                  <a:lnTo>
                    <a:pt x="63818" y="162116"/>
                  </a:lnTo>
                  <a:lnTo>
                    <a:pt x="65913" y="162116"/>
                  </a:lnTo>
                  <a:cubicBezTo>
                    <a:pt x="65913" y="164211"/>
                    <a:pt x="65913" y="164878"/>
                    <a:pt x="63151" y="165545"/>
                  </a:cubicBezTo>
                  <a:cubicBezTo>
                    <a:pt x="62484" y="165545"/>
                    <a:pt x="61055" y="165545"/>
                    <a:pt x="61055" y="166878"/>
                  </a:cubicBezTo>
                  <a:cubicBezTo>
                    <a:pt x="60389" y="168973"/>
                    <a:pt x="60389" y="169640"/>
                    <a:pt x="60389" y="171641"/>
                  </a:cubicBezTo>
                  <a:cubicBezTo>
                    <a:pt x="60389" y="172974"/>
                    <a:pt x="59722" y="174403"/>
                    <a:pt x="58293" y="175736"/>
                  </a:cubicBezTo>
                  <a:cubicBezTo>
                    <a:pt x="57626" y="178498"/>
                    <a:pt x="56960" y="179832"/>
                    <a:pt x="56960" y="181261"/>
                  </a:cubicBezTo>
                  <a:cubicBezTo>
                    <a:pt x="56960" y="181261"/>
                    <a:pt x="56960" y="181927"/>
                    <a:pt x="57626" y="182594"/>
                  </a:cubicBezTo>
                  <a:cubicBezTo>
                    <a:pt x="57626" y="183261"/>
                    <a:pt x="58293" y="183928"/>
                    <a:pt x="58293" y="184690"/>
                  </a:cubicBezTo>
                  <a:cubicBezTo>
                    <a:pt x="58293" y="185356"/>
                    <a:pt x="57626" y="186785"/>
                    <a:pt x="56960" y="187452"/>
                  </a:cubicBezTo>
                  <a:cubicBezTo>
                    <a:pt x="55626" y="188786"/>
                    <a:pt x="54864" y="190881"/>
                    <a:pt x="52864" y="192976"/>
                  </a:cubicBezTo>
                  <a:cubicBezTo>
                    <a:pt x="51435" y="195072"/>
                    <a:pt x="51435" y="197168"/>
                    <a:pt x="48673" y="198501"/>
                  </a:cubicBezTo>
                  <a:lnTo>
                    <a:pt x="48673" y="199835"/>
                  </a:lnTo>
                  <a:cubicBezTo>
                    <a:pt x="48673" y="204597"/>
                    <a:pt x="47339" y="209455"/>
                    <a:pt x="47339" y="212884"/>
                  </a:cubicBezTo>
                  <a:cubicBezTo>
                    <a:pt x="47339" y="214217"/>
                    <a:pt x="48006" y="214979"/>
                    <a:pt x="48006" y="215646"/>
                  </a:cubicBezTo>
                  <a:lnTo>
                    <a:pt x="48006" y="217742"/>
                  </a:lnTo>
                  <a:cubicBezTo>
                    <a:pt x="47339" y="218408"/>
                    <a:pt x="47339" y="219742"/>
                    <a:pt x="47339" y="220409"/>
                  </a:cubicBezTo>
                  <a:cubicBezTo>
                    <a:pt x="47339" y="221742"/>
                    <a:pt x="47339" y="222504"/>
                    <a:pt x="48006" y="223838"/>
                  </a:cubicBezTo>
                  <a:cubicBezTo>
                    <a:pt x="48006" y="224504"/>
                    <a:pt x="48673" y="225171"/>
                    <a:pt x="48673" y="225933"/>
                  </a:cubicBezTo>
                  <a:cubicBezTo>
                    <a:pt x="48673" y="226600"/>
                    <a:pt x="48006" y="227267"/>
                    <a:pt x="48006" y="228028"/>
                  </a:cubicBezTo>
                  <a:lnTo>
                    <a:pt x="48006" y="231458"/>
                  </a:lnTo>
                  <a:cubicBezTo>
                    <a:pt x="48673" y="235553"/>
                    <a:pt x="49340" y="239649"/>
                    <a:pt x="49340" y="243840"/>
                  </a:cubicBezTo>
                  <a:cubicBezTo>
                    <a:pt x="49340" y="244507"/>
                    <a:pt x="50006" y="245173"/>
                    <a:pt x="50673" y="246602"/>
                  </a:cubicBezTo>
                  <a:cubicBezTo>
                    <a:pt x="52007" y="248698"/>
                    <a:pt x="52769" y="249365"/>
                    <a:pt x="54102" y="250031"/>
                  </a:cubicBezTo>
                  <a:cubicBezTo>
                    <a:pt x="54769" y="250031"/>
                    <a:pt x="56198" y="249365"/>
                    <a:pt x="57531" y="248698"/>
                  </a:cubicBezTo>
                  <a:lnTo>
                    <a:pt x="60960" y="246602"/>
                  </a:lnTo>
                  <a:cubicBezTo>
                    <a:pt x="62294" y="244507"/>
                    <a:pt x="64389" y="243173"/>
                    <a:pt x="66485" y="241840"/>
                  </a:cubicBezTo>
                  <a:cubicBezTo>
                    <a:pt x="70580" y="239077"/>
                    <a:pt x="72676" y="235648"/>
                    <a:pt x="73343" y="232886"/>
                  </a:cubicBezTo>
                  <a:cubicBezTo>
                    <a:pt x="74009" y="232220"/>
                    <a:pt x="74676" y="231553"/>
                    <a:pt x="75438" y="231553"/>
                  </a:cubicBezTo>
                  <a:cubicBezTo>
                    <a:pt x="79534" y="229457"/>
                    <a:pt x="82296" y="226790"/>
                    <a:pt x="83630" y="223361"/>
                  </a:cubicBezTo>
                  <a:cubicBezTo>
                    <a:pt x="84963" y="221266"/>
                    <a:pt x="86392" y="219266"/>
                    <a:pt x="87725" y="219266"/>
                  </a:cubicBezTo>
                  <a:cubicBezTo>
                    <a:pt x="90488" y="215170"/>
                    <a:pt x="93917" y="211741"/>
                    <a:pt x="96679" y="208978"/>
                  </a:cubicBezTo>
                  <a:lnTo>
                    <a:pt x="104203" y="199358"/>
                  </a:lnTo>
                  <a:cubicBezTo>
                    <a:pt x="106299" y="196596"/>
                    <a:pt x="108299" y="195263"/>
                    <a:pt x="109728" y="191834"/>
                  </a:cubicBezTo>
                  <a:lnTo>
                    <a:pt x="111062" y="189071"/>
                  </a:lnTo>
                  <a:cubicBezTo>
                    <a:pt x="113824" y="188404"/>
                    <a:pt x="115157" y="186309"/>
                    <a:pt x="115824" y="183547"/>
                  </a:cubicBezTo>
                  <a:lnTo>
                    <a:pt x="117920" y="180785"/>
                  </a:lnTo>
                  <a:cubicBezTo>
                    <a:pt x="120682" y="179451"/>
                    <a:pt x="122015" y="175260"/>
                    <a:pt x="125444" y="172593"/>
                  </a:cubicBezTo>
                  <a:cubicBezTo>
                    <a:pt x="126111" y="171260"/>
                    <a:pt x="126111" y="170497"/>
                    <a:pt x="126111" y="169831"/>
                  </a:cubicBezTo>
                  <a:cubicBezTo>
                    <a:pt x="126778" y="169164"/>
                    <a:pt x="126778" y="167735"/>
                    <a:pt x="128207" y="166402"/>
                  </a:cubicBezTo>
                  <a:cubicBezTo>
                    <a:pt x="130969" y="165068"/>
                    <a:pt x="132969" y="161639"/>
                    <a:pt x="133731" y="158210"/>
                  </a:cubicBezTo>
                  <a:cubicBezTo>
                    <a:pt x="135065" y="156115"/>
                    <a:pt x="135065" y="154781"/>
                    <a:pt x="137160" y="154781"/>
                  </a:cubicBezTo>
                  <a:lnTo>
                    <a:pt x="137827" y="154781"/>
                  </a:lnTo>
                  <a:cubicBezTo>
                    <a:pt x="138494" y="154781"/>
                    <a:pt x="138494" y="154115"/>
                    <a:pt x="138494" y="153448"/>
                  </a:cubicBezTo>
                  <a:lnTo>
                    <a:pt x="138494" y="152781"/>
                  </a:lnTo>
                  <a:cubicBezTo>
                    <a:pt x="138494" y="152114"/>
                    <a:pt x="138494" y="150686"/>
                    <a:pt x="139160" y="150686"/>
                  </a:cubicBezTo>
                  <a:cubicBezTo>
                    <a:pt x="139827" y="150019"/>
                    <a:pt x="140494" y="149352"/>
                    <a:pt x="140494" y="147923"/>
                  </a:cubicBezTo>
                  <a:cubicBezTo>
                    <a:pt x="141161" y="145828"/>
                    <a:pt x="143256" y="144494"/>
                    <a:pt x="144590" y="144494"/>
                  </a:cubicBezTo>
                  <a:cubicBezTo>
                    <a:pt x="146685" y="144494"/>
                    <a:pt x="148019" y="143161"/>
                    <a:pt x="148685" y="141065"/>
                  </a:cubicBezTo>
                  <a:cubicBezTo>
                    <a:pt x="149352" y="140398"/>
                    <a:pt x="149352" y="139732"/>
                    <a:pt x="149352" y="139732"/>
                  </a:cubicBezTo>
                  <a:cubicBezTo>
                    <a:pt x="148685" y="138398"/>
                    <a:pt x="148685" y="137636"/>
                    <a:pt x="148685" y="136970"/>
                  </a:cubicBezTo>
                  <a:cubicBezTo>
                    <a:pt x="147352" y="135636"/>
                    <a:pt x="146590" y="134207"/>
                    <a:pt x="146590" y="132874"/>
                  </a:cubicBezTo>
                  <a:cubicBezTo>
                    <a:pt x="146590" y="131540"/>
                    <a:pt x="147257" y="130112"/>
                    <a:pt x="148685" y="128778"/>
                  </a:cubicBezTo>
                  <a:lnTo>
                    <a:pt x="151543" y="125158"/>
                  </a:lnTo>
                  <a:cubicBezTo>
                    <a:pt x="152210" y="124492"/>
                    <a:pt x="152210" y="123825"/>
                    <a:pt x="152876" y="123825"/>
                  </a:cubicBezTo>
                  <a:lnTo>
                    <a:pt x="154210" y="123825"/>
                  </a:lnTo>
                  <a:cubicBezTo>
                    <a:pt x="155543" y="123158"/>
                    <a:pt x="155543" y="121729"/>
                    <a:pt x="156972" y="121063"/>
                  </a:cubicBezTo>
                  <a:lnTo>
                    <a:pt x="157639" y="121063"/>
                  </a:lnTo>
                  <a:cubicBezTo>
                    <a:pt x="158306" y="121063"/>
                    <a:pt x="158972" y="120396"/>
                    <a:pt x="158972" y="119729"/>
                  </a:cubicBezTo>
                  <a:cubicBezTo>
                    <a:pt x="158972" y="116967"/>
                    <a:pt x="160306" y="114205"/>
                    <a:pt x="161735" y="112204"/>
                  </a:cubicBezTo>
                  <a:cubicBezTo>
                    <a:pt x="162401" y="110871"/>
                    <a:pt x="163068" y="108775"/>
                    <a:pt x="163068" y="106680"/>
                  </a:cubicBezTo>
                  <a:lnTo>
                    <a:pt x="163068" y="106013"/>
                  </a:lnTo>
                  <a:cubicBezTo>
                    <a:pt x="162401" y="106013"/>
                    <a:pt x="162401" y="106013"/>
                    <a:pt x="162401" y="105346"/>
                  </a:cubicBezTo>
                  <a:cubicBezTo>
                    <a:pt x="162401" y="105346"/>
                    <a:pt x="162401" y="104680"/>
                    <a:pt x="163068" y="104013"/>
                  </a:cubicBezTo>
                  <a:cubicBezTo>
                    <a:pt x="163068" y="104013"/>
                    <a:pt x="163735" y="103346"/>
                    <a:pt x="163735" y="102679"/>
                  </a:cubicBezTo>
                  <a:cubicBezTo>
                    <a:pt x="163735" y="102013"/>
                    <a:pt x="163068" y="102013"/>
                    <a:pt x="163068" y="101346"/>
                  </a:cubicBezTo>
                  <a:cubicBezTo>
                    <a:pt x="162401" y="101346"/>
                    <a:pt x="162401" y="101346"/>
                    <a:pt x="162401" y="100679"/>
                  </a:cubicBezTo>
                  <a:cubicBezTo>
                    <a:pt x="162401" y="100679"/>
                    <a:pt x="162401" y="100013"/>
                    <a:pt x="163068" y="99346"/>
                  </a:cubicBezTo>
                  <a:cubicBezTo>
                    <a:pt x="163068" y="98679"/>
                    <a:pt x="163068" y="98012"/>
                    <a:pt x="162401" y="97250"/>
                  </a:cubicBezTo>
                  <a:cubicBezTo>
                    <a:pt x="159639" y="95155"/>
                    <a:pt x="157639" y="92488"/>
                    <a:pt x="155543" y="89725"/>
                  </a:cubicBezTo>
                  <a:cubicBezTo>
                    <a:pt x="154210" y="88392"/>
                    <a:pt x="152781" y="87630"/>
                    <a:pt x="152114" y="85630"/>
                  </a:cubicBezTo>
                  <a:cubicBezTo>
                    <a:pt x="152114" y="84296"/>
                    <a:pt x="151448" y="82201"/>
                    <a:pt x="150781" y="81534"/>
                  </a:cubicBezTo>
                  <a:cubicBezTo>
                    <a:pt x="148685" y="80200"/>
                    <a:pt x="148019" y="78772"/>
                    <a:pt x="146685" y="76771"/>
                  </a:cubicBezTo>
                  <a:cubicBezTo>
                    <a:pt x="145352" y="76105"/>
                    <a:pt x="145352" y="74676"/>
                    <a:pt x="143923" y="74009"/>
                  </a:cubicBezTo>
                  <a:cubicBezTo>
                    <a:pt x="139827" y="69914"/>
                    <a:pt x="139827" y="69914"/>
                    <a:pt x="134969" y="68485"/>
                  </a:cubicBezTo>
                  <a:lnTo>
                    <a:pt x="132874" y="68485"/>
                  </a:lnTo>
                  <a:cubicBezTo>
                    <a:pt x="132207" y="67818"/>
                    <a:pt x="132207" y="67818"/>
                    <a:pt x="130778" y="67818"/>
                  </a:cubicBezTo>
                  <a:cubicBezTo>
                    <a:pt x="130112" y="67818"/>
                    <a:pt x="128683" y="68485"/>
                    <a:pt x="127349" y="69151"/>
                  </a:cubicBezTo>
                  <a:cubicBezTo>
                    <a:pt x="125254" y="70485"/>
                    <a:pt x="123253" y="72580"/>
                    <a:pt x="121158" y="73247"/>
                  </a:cubicBezTo>
                  <a:lnTo>
                    <a:pt x="119825" y="74581"/>
                  </a:lnTo>
                  <a:cubicBezTo>
                    <a:pt x="119158" y="74581"/>
                    <a:pt x="118491" y="75914"/>
                    <a:pt x="118491" y="76676"/>
                  </a:cubicBezTo>
                  <a:cubicBezTo>
                    <a:pt x="115729" y="77343"/>
                    <a:pt x="115062" y="79439"/>
                    <a:pt x="115062" y="82201"/>
                  </a:cubicBezTo>
                  <a:lnTo>
                    <a:pt x="115062" y="83534"/>
                  </a:lnTo>
                  <a:cubicBezTo>
                    <a:pt x="115062" y="86296"/>
                    <a:pt x="113728" y="88297"/>
                    <a:pt x="110966" y="89725"/>
                  </a:cubicBezTo>
                  <a:lnTo>
                    <a:pt x="110966" y="89059"/>
                  </a:lnTo>
                  <a:cubicBezTo>
                    <a:pt x="110300" y="86963"/>
                    <a:pt x="109633" y="86296"/>
                    <a:pt x="108871" y="86296"/>
                  </a:cubicBezTo>
                  <a:cubicBezTo>
                    <a:pt x="108204" y="86296"/>
                    <a:pt x="108204" y="86963"/>
                    <a:pt x="108204" y="87630"/>
                  </a:cubicBezTo>
                  <a:cubicBezTo>
                    <a:pt x="108204" y="88297"/>
                    <a:pt x="108871" y="89725"/>
                    <a:pt x="111633" y="89725"/>
                  </a:cubicBezTo>
                  <a:cubicBezTo>
                    <a:pt x="110395" y="90869"/>
                    <a:pt x="111157" y="92869"/>
                    <a:pt x="107633" y="93536"/>
                  </a:cubicBezTo>
                  <a:close/>
                  <a:moveTo>
                    <a:pt x="71342" y="139541"/>
                  </a:moveTo>
                  <a:cubicBezTo>
                    <a:pt x="72009" y="139541"/>
                    <a:pt x="72676" y="138874"/>
                    <a:pt x="72676" y="138208"/>
                  </a:cubicBezTo>
                  <a:cubicBezTo>
                    <a:pt x="72676" y="137541"/>
                    <a:pt x="72676" y="136874"/>
                    <a:pt x="72009" y="136112"/>
                  </a:cubicBezTo>
                  <a:cubicBezTo>
                    <a:pt x="71342" y="136112"/>
                    <a:pt x="70676" y="136779"/>
                    <a:pt x="70676" y="137446"/>
                  </a:cubicBezTo>
                  <a:cubicBezTo>
                    <a:pt x="70676" y="138113"/>
                    <a:pt x="70676" y="139541"/>
                    <a:pt x="71342" y="139541"/>
                  </a:cubicBezTo>
                  <a:close/>
                  <a:moveTo>
                    <a:pt x="137827" y="234124"/>
                  </a:moveTo>
                  <a:lnTo>
                    <a:pt x="137160" y="234124"/>
                  </a:lnTo>
                  <a:cubicBezTo>
                    <a:pt x="135827" y="232791"/>
                    <a:pt x="135065" y="232029"/>
                    <a:pt x="135065" y="231362"/>
                  </a:cubicBezTo>
                  <a:lnTo>
                    <a:pt x="135065" y="230696"/>
                  </a:lnTo>
                  <a:lnTo>
                    <a:pt x="135731" y="230029"/>
                  </a:lnTo>
                  <a:cubicBezTo>
                    <a:pt x="135731" y="230029"/>
                    <a:pt x="136398" y="230029"/>
                    <a:pt x="136398" y="230696"/>
                  </a:cubicBezTo>
                  <a:cubicBezTo>
                    <a:pt x="137065" y="231362"/>
                    <a:pt x="137732" y="232029"/>
                    <a:pt x="137732" y="232791"/>
                  </a:cubicBezTo>
                  <a:lnTo>
                    <a:pt x="137732" y="234124"/>
                  </a:lnTo>
                  <a:close/>
                  <a:moveTo>
                    <a:pt x="168021" y="219742"/>
                  </a:moveTo>
                  <a:cubicBezTo>
                    <a:pt x="168021" y="219075"/>
                    <a:pt x="167354" y="218408"/>
                    <a:pt x="167354" y="217646"/>
                  </a:cubicBezTo>
                  <a:cubicBezTo>
                    <a:pt x="167354" y="216979"/>
                    <a:pt x="167354" y="216979"/>
                    <a:pt x="168021" y="216313"/>
                  </a:cubicBezTo>
                  <a:lnTo>
                    <a:pt x="168021" y="213550"/>
                  </a:lnTo>
                  <a:cubicBezTo>
                    <a:pt x="167354" y="212884"/>
                    <a:pt x="167354" y="211455"/>
                    <a:pt x="167354" y="210788"/>
                  </a:cubicBezTo>
                  <a:lnTo>
                    <a:pt x="167354" y="208693"/>
                  </a:lnTo>
                  <a:cubicBezTo>
                    <a:pt x="166688" y="208693"/>
                    <a:pt x="166021" y="209360"/>
                    <a:pt x="166021" y="209360"/>
                  </a:cubicBezTo>
                  <a:cubicBezTo>
                    <a:pt x="164687" y="211455"/>
                    <a:pt x="164687" y="212122"/>
                    <a:pt x="164687" y="213455"/>
                  </a:cubicBezTo>
                  <a:lnTo>
                    <a:pt x="164687" y="215551"/>
                  </a:lnTo>
                  <a:cubicBezTo>
                    <a:pt x="164687" y="217646"/>
                    <a:pt x="166021" y="218980"/>
                    <a:pt x="166783" y="219646"/>
                  </a:cubicBezTo>
                  <a:cubicBezTo>
                    <a:pt x="167354" y="220409"/>
                    <a:pt x="167354" y="220409"/>
                    <a:pt x="168021" y="220409"/>
                  </a:cubicBezTo>
                  <a:lnTo>
                    <a:pt x="168021" y="219742"/>
                  </a:lnTo>
                  <a:close/>
                  <a:moveTo>
                    <a:pt x="170117" y="197168"/>
                  </a:moveTo>
                  <a:cubicBezTo>
                    <a:pt x="169450" y="198501"/>
                    <a:pt x="168783" y="199930"/>
                    <a:pt x="168783" y="201263"/>
                  </a:cubicBezTo>
                  <a:cubicBezTo>
                    <a:pt x="168783" y="201930"/>
                    <a:pt x="168783" y="202597"/>
                    <a:pt x="169450" y="204025"/>
                  </a:cubicBezTo>
                  <a:cubicBezTo>
                    <a:pt x="169450" y="204025"/>
                    <a:pt x="170117" y="204692"/>
                    <a:pt x="170117" y="205359"/>
                  </a:cubicBezTo>
                  <a:cubicBezTo>
                    <a:pt x="170117" y="206026"/>
                    <a:pt x="169450" y="206693"/>
                    <a:pt x="169450" y="207454"/>
                  </a:cubicBezTo>
                  <a:lnTo>
                    <a:pt x="169450" y="208788"/>
                  </a:lnTo>
                  <a:cubicBezTo>
                    <a:pt x="169450" y="209455"/>
                    <a:pt x="170117" y="209455"/>
                    <a:pt x="170783" y="210121"/>
                  </a:cubicBezTo>
                  <a:cubicBezTo>
                    <a:pt x="171450" y="210884"/>
                    <a:pt x="172117" y="210884"/>
                    <a:pt x="172117" y="210884"/>
                  </a:cubicBezTo>
                  <a:lnTo>
                    <a:pt x="172784" y="210217"/>
                  </a:lnTo>
                  <a:cubicBezTo>
                    <a:pt x="172117" y="209550"/>
                    <a:pt x="172117" y="209550"/>
                    <a:pt x="172117" y="208883"/>
                  </a:cubicBezTo>
                  <a:lnTo>
                    <a:pt x="171450" y="208121"/>
                  </a:lnTo>
                  <a:cubicBezTo>
                    <a:pt x="171450" y="206026"/>
                    <a:pt x="171450" y="204025"/>
                    <a:pt x="172117" y="201930"/>
                  </a:cubicBezTo>
                  <a:cubicBezTo>
                    <a:pt x="172784" y="201263"/>
                    <a:pt x="172784" y="200596"/>
                    <a:pt x="172784" y="199835"/>
                  </a:cubicBezTo>
                  <a:lnTo>
                    <a:pt x="172784" y="197072"/>
                  </a:lnTo>
                  <a:cubicBezTo>
                    <a:pt x="172784" y="196405"/>
                    <a:pt x="171450" y="196405"/>
                    <a:pt x="170021" y="195739"/>
                  </a:cubicBezTo>
                  <a:cubicBezTo>
                    <a:pt x="170688" y="195739"/>
                    <a:pt x="170688" y="194405"/>
                    <a:pt x="171355" y="193643"/>
                  </a:cubicBezTo>
                  <a:lnTo>
                    <a:pt x="171355" y="192976"/>
                  </a:lnTo>
                  <a:cubicBezTo>
                    <a:pt x="169259" y="193643"/>
                    <a:pt x="168593" y="193643"/>
                    <a:pt x="168593" y="194310"/>
                  </a:cubicBezTo>
                  <a:cubicBezTo>
                    <a:pt x="168593" y="194977"/>
                    <a:pt x="169259" y="195644"/>
                    <a:pt x="169926" y="196405"/>
                  </a:cubicBezTo>
                  <a:lnTo>
                    <a:pt x="169926" y="197168"/>
                  </a:lnTo>
                  <a:close/>
                  <a:moveTo>
                    <a:pt x="170783" y="182690"/>
                  </a:moveTo>
                  <a:lnTo>
                    <a:pt x="170783" y="183356"/>
                  </a:lnTo>
                  <a:cubicBezTo>
                    <a:pt x="171450" y="183356"/>
                    <a:pt x="171450" y="182690"/>
                    <a:pt x="171450" y="182690"/>
                  </a:cubicBezTo>
                  <a:lnTo>
                    <a:pt x="170783" y="182690"/>
                  </a:lnTo>
                  <a:close/>
                  <a:moveTo>
                    <a:pt x="176308" y="219742"/>
                  </a:moveTo>
                  <a:cubicBezTo>
                    <a:pt x="177641" y="219742"/>
                    <a:pt x="179070" y="220409"/>
                    <a:pt x="181070" y="220409"/>
                  </a:cubicBezTo>
                  <a:lnTo>
                    <a:pt x="181737" y="220409"/>
                  </a:lnTo>
                  <a:cubicBezTo>
                    <a:pt x="182404" y="219075"/>
                    <a:pt x="183071" y="218313"/>
                    <a:pt x="183071" y="217646"/>
                  </a:cubicBezTo>
                  <a:lnTo>
                    <a:pt x="182404" y="216979"/>
                  </a:lnTo>
                  <a:cubicBezTo>
                    <a:pt x="181737" y="217646"/>
                    <a:pt x="180308" y="218313"/>
                    <a:pt x="178975" y="218313"/>
                  </a:cubicBezTo>
                  <a:cubicBezTo>
                    <a:pt x="178975" y="218313"/>
                    <a:pt x="177641" y="216979"/>
                    <a:pt x="176879" y="216979"/>
                  </a:cubicBezTo>
                  <a:lnTo>
                    <a:pt x="176879" y="215646"/>
                  </a:lnTo>
                  <a:cubicBezTo>
                    <a:pt x="176879" y="214979"/>
                    <a:pt x="176879" y="214313"/>
                    <a:pt x="176213" y="214313"/>
                  </a:cubicBezTo>
                  <a:cubicBezTo>
                    <a:pt x="174117" y="214313"/>
                    <a:pt x="172784" y="214313"/>
                    <a:pt x="172117" y="212979"/>
                  </a:cubicBezTo>
                  <a:cubicBezTo>
                    <a:pt x="171450" y="212979"/>
                    <a:pt x="170783" y="212312"/>
                    <a:pt x="170783" y="212979"/>
                  </a:cubicBezTo>
                  <a:cubicBezTo>
                    <a:pt x="171450" y="216408"/>
                    <a:pt x="172117" y="218503"/>
                    <a:pt x="174212" y="219837"/>
                  </a:cubicBezTo>
                  <a:lnTo>
                    <a:pt x="176308" y="219837"/>
                  </a:lnTo>
                  <a:close/>
                  <a:moveTo>
                    <a:pt x="174212" y="320611"/>
                  </a:moveTo>
                  <a:lnTo>
                    <a:pt x="176308" y="320611"/>
                  </a:lnTo>
                  <a:lnTo>
                    <a:pt x="176308" y="319945"/>
                  </a:lnTo>
                  <a:cubicBezTo>
                    <a:pt x="176308" y="319945"/>
                    <a:pt x="174974" y="319278"/>
                    <a:pt x="174212" y="319278"/>
                  </a:cubicBezTo>
                  <a:lnTo>
                    <a:pt x="174212" y="320611"/>
                  </a:lnTo>
                  <a:close/>
                  <a:moveTo>
                    <a:pt x="176308" y="164211"/>
                  </a:moveTo>
                  <a:lnTo>
                    <a:pt x="174974" y="164211"/>
                  </a:lnTo>
                  <a:cubicBezTo>
                    <a:pt x="174974" y="164211"/>
                    <a:pt x="175641" y="164878"/>
                    <a:pt x="176308" y="164878"/>
                  </a:cubicBezTo>
                  <a:lnTo>
                    <a:pt x="174974" y="164878"/>
                  </a:lnTo>
                  <a:cubicBezTo>
                    <a:pt x="178403" y="167640"/>
                    <a:pt x="181166" y="169640"/>
                    <a:pt x="183928" y="171069"/>
                  </a:cubicBezTo>
                  <a:cubicBezTo>
                    <a:pt x="183928" y="171736"/>
                    <a:pt x="183928" y="171069"/>
                    <a:pt x="184594" y="171069"/>
                  </a:cubicBezTo>
                  <a:cubicBezTo>
                    <a:pt x="182404" y="167640"/>
                    <a:pt x="179737" y="166306"/>
                    <a:pt x="176308" y="164211"/>
                  </a:cubicBezTo>
                  <a:close/>
                  <a:moveTo>
                    <a:pt x="176975" y="225266"/>
                  </a:moveTo>
                  <a:lnTo>
                    <a:pt x="178308" y="226600"/>
                  </a:lnTo>
                  <a:cubicBezTo>
                    <a:pt x="178308" y="226600"/>
                    <a:pt x="178308" y="225933"/>
                    <a:pt x="177641" y="225266"/>
                  </a:cubicBezTo>
                  <a:lnTo>
                    <a:pt x="176975" y="225266"/>
                  </a:lnTo>
                  <a:close/>
                  <a:moveTo>
                    <a:pt x="177641" y="238982"/>
                  </a:moveTo>
                  <a:lnTo>
                    <a:pt x="177641" y="239649"/>
                  </a:lnTo>
                  <a:cubicBezTo>
                    <a:pt x="177641" y="239649"/>
                    <a:pt x="178308" y="240983"/>
                    <a:pt x="178308" y="240316"/>
                  </a:cubicBezTo>
                  <a:cubicBezTo>
                    <a:pt x="178975" y="240316"/>
                    <a:pt x="178975" y="239649"/>
                    <a:pt x="178975" y="238982"/>
                  </a:cubicBezTo>
                  <a:lnTo>
                    <a:pt x="177641" y="238982"/>
                  </a:lnTo>
                  <a:close/>
                  <a:moveTo>
                    <a:pt x="180404" y="318516"/>
                  </a:moveTo>
                  <a:cubicBezTo>
                    <a:pt x="180404" y="318516"/>
                    <a:pt x="179737" y="317849"/>
                    <a:pt x="179070" y="317849"/>
                  </a:cubicBezTo>
                  <a:cubicBezTo>
                    <a:pt x="178403" y="317849"/>
                    <a:pt x="178403" y="317183"/>
                    <a:pt x="178403" y="317183"/>
                  </a:cubicBezTo>
                  <a:lnTo>
                    <a:pt x="177737" y="317849"/>
                  </a:lnTo>
                  <a:cubicBezTo>
                    <a:pt x="177737" y="317849"/>
                    <a:pt x="178403" y="319183"/>
                    <a:pt x="179832" y="319183"/>
                  </a:cubicBezTo>
                  <a:cubicBezTo>
                    <a:pt x="179737" y="319183"/>
                    <a:pt x="180404" y="319183"/>
                    <a:pt x="180404" y="318516"/>
                  </a:cubicBezTo>
                  <a:close/>
                  <a:moveTo>
                    <a:pt x="182404" y="153257"/>
                  </a:moveTo>
                  <a:lnTo>
                    <a:pt x="182404" y="152591"/>
                  </a:lnTo>
                  <a:cubicBezTo>
                    <a:pt x="182404" y="151257"/>
                    <a:pt x="181737" y="150495"/>
                    <a:pt x="181070" y="150495"/>
                  </a:cubicBezTo>
                  <a:lnTo>
                    <a:pt x="180404" y="150495"/>
                  </a:lnTo>
                  <a:cubicBezTo>
                    <a:pt x="179737" y="151162"/>
                    <a:pt x="179070" y="151828"/>
                    <a:pt x="179070" y="152591"/>
                  </a:cubicBezTo>
                  <a:cubicBezTo>
                    <a:pt x="179070" y="153257"/>
                    <a:pt x="179737" y="153257"/>
                    <a:pt x="179737" y="153924"/>
                  </a:cubicBezTo>
                  <a:cubicBezTo>
                    <a:pt x="180404" y="153924"/>
                    <a:pt x="181070" y="153924"/>
                    <a:pt x="181070" y="154591"/>
                  </a:cubicBezTo>
                  <a:cubicBezTo>
                    <a:pt x="181737" y="153924"/>
                    <a:pt x="182404" y="153924"/>
                    <a:pt x="182404" y="153257"/>
                  </a:cubicBezTo>
                  <a:close/>
                  <a:moveTo>
                    <a:pt x="179737" y="207454"/>
                  </a:moveTo>
                  <a:cubicBezTo>
                    <a:pt x="180404" y="207454"/>
                    <a:pt x="180404" y="206788"/>
                    <a:pt x="180404" y="206788"/>
                  </a:cubicBezTo>
                  <a:cubicBezTo>
                    <a:pt x="180404" y="206788"/>
                    <a:pt x="179737" y="206788"/>
                    <a:pt x="179737" y="206121"/>
                  </a:cubicBezTo>
                  <a:lnTo>
                    <a:pt x="179737" y="207454"/>
                  </a:lnTo>
                  <a:close/>
                  <a:moveTo>
                    <a:pt x="183833" y="212217"/>
                  </a:moveTo>
                  <a:lnTo>
                    <a:pt x="185166" y="213550"/>
                  </a:lnTo>
                  <a:lnTo>
                    <a:pt x="185166" y="212217"/>
                  </a:lnTo>
                  <a:lnTo>
                    <a:pt x="186500" y="209455"/>
                  </a:lnTo>
                  <a:cubicBezTo>
                    <a:pt x="186500" y="209455"/>
                    <a:pt x="185166" y="208121"/>
                    <a:pt x="184404" y="208121"/>
                  </a:cubicBezTo>
                  <a:cubicBezTo>
                    <a:pt x="183737" y="208121"/>
                    <a:pt x="183737" y="209455"/>
                    <a:pt x="183737" y="209455"/>
                  </a:cubicBezTo>
                  <a:cubicBezTo>
                    <a:pt x="183737" y="209455"/>
                    <a:pt x="183737" y="210121"/>
                    <a:pt x="183071" y="210788"/>
                  </a:cubicBezTo>
                  <a:cubicBezTo>
                    <a:pt x="183833" y="211550"/>
                    <a:pt x="183833" y="212217"/>
                    <a:pt x="183833" y="212217"/>
                  </a:cubicBezTo>
                  <a:close/>
                  <a:moveTo>
                    <a:pt x="185166" y="237553"/>
                  </a:moveTo>
                  <a:lnTo>
                    <a:pt x="185166" y="236887"/>
                  </a:lnTo>
                  <a:cubicBezTo>
                    <a:pt x="184499" y="236887"/>
                    <a:pt x="183833" y="236220"/>
                    <a:pt x="183833" y="236220"/>
                  </a:cubicBezTo>
                  <a:lnTo>
                    <a:pt x="183833" y="237553"/>
                  </a:lnTo>
                  <a:lnTo>
                    <a:pt x="185166" y="237553"/>
                  </a:lnTo>
                  <a:close/>
                  <a:moveTo>
                    <a:pt x="186595" y="199835"/>
                  </a:moveTo>
                  <a:lnTo>
                    <a:pt x="185928" y="199835"/>
                  </a:lnTo>
                  <a:cubicBezTo>
                    <a:pt x="185261" y="199835"/>
                    <a:pt x="184594" y="199835"/>
                    <a:pt x="184594" y="199168"/>
                  </a:cubicBezTo>
                  <a:cubicBezTo>
                    <a:pt x="184594" y="198501"/>
                    <a:pt x="184594" y="198501"/>
                    <a:pt x="185261" y="197834"/>
                  </a:cubicBezTo>
                  <a:lnTo>
                    <a:pt x="185928" y="197834"/>
                  </a:lnTo>
                  <a:cubicBezTo>
                    <a:pt x="186595" y="198501"/>
                    <a:pt x="186595" y="199168"/>
                    <a:pt x="188024" y="199168"/>
                  </a:cubicBezTo>
                  <a:lnTo>
                    <a:pt x="186595" y="199835"/>
                  </a:lnTo>
                  <a:close/>
                  <a:moveTo>
                    <a:pt x="187928" y="149162"/>
                  </a:moveTo>
                  <a:lnTo>
                    <a:pt x="187928" y="149828"/>
                  </a:lnTo>
                  <a:cubicBezTo>
                    <a:pt x="187928" y="150495"/>
                    <a:pt x="187928" y="150495"/>
                    <a:pt x="188595" y="150495"/>
                  </a:cubicBezTo>
                  <a:lnTo>
                    <a:pt x="190691" y="150495"/>
                  </a:lnTo>
                  <a:cubicBezTo>
                    <a:pt x="190691" y="150495"/>
                    <a:pt x="190691" y="149828"/>
                    <a:pt x="190024" y="149162"/>
                  </a:cubicBezTo>
                  <a:cubicBezTo>
                    <a:pt x="190024" y="148495"/>
                    <a:pt x="189357" y="148495"/>
                    <a:pt x="188690" y="148495"/>
                  </a:cubicBezTo>
                  <a:lnTo>
                    <a:pt x="187928" y="149162"/>
                  </a:lnTo>
                  <a:close/>
                  <a:moveTo>
                    <a:pt x="189262" y="174498"/>
                  </a:moveTo>
                  <a:lnTo>
                    <a:pt x="187928" y="174498"/>
                  </a:lnTo>
                  <a:lnTo>
                    <a:pt x="187928" y="175165"/>
                  </a:lnTo>
                  <a:cubicBezTo>
                    <a:pt x="187928" y="175831"/>
                    <a:pt x="188595" y="176498"/>
                    <a:pt x="188595" y="176498"/>
                  </a:cubicBezTo>
                  <a:lnTo>
                    <a:pt x="189262" y="176498"/>
                  </a:lnTo>
                  <a:cubicBezTo>
                    <a:pt x="189929" y="176498"/>
                    <a:pt x="190595" y="175831"/>
                    <a:pt x="190595" y="175165"/>
                  </a:cubicBezTo>
                  <a:cubicBezTo>
                    <a:pt x="190024" y="174498"/>
                    <a:pt x="189262" y="174498"/>
                    <a:pt x="189262" y="174498"/>
                  </a:cubicBezTo>
                  <a:close/>
                  <a:moveTo>
                    <a:pt x="189262" y="171736"/>
                  </a:moveTo>
                  <a:lnTo>
                    <a:pt x="189262" y="171069"/>
                  </a:lnTo>
                  <a:cubicBezTo>
                    <a:pt x="189262" y="171736"/>
                    <a:pt x="188595" y="171736"/>
                    <a:pt x="188595" y="171736"/>
                  </a:cubicBezTo>
                  <a:lnTo>
                    <a:pt x="189262" y="171736"/>
                  </a:lnTo>
                  <a:close/>
                  <a:moveTo>
                    <a:pt x="190691" y="180689"/>
                  </a:moveTo>
                  <a:cubicBezTo>
                    <a:pt x="190691" y="180022"/>
                    <a:pt x="191357" y="180022"/>
                    <a:pt x="191357" y="180022"/>
                  </a:cubicBezTo>
                  <a:cubicBezTo>
                    <a:pt x="191357" y="179356"/>
                    <a:pt x="190691" y="178689"/>
                    <a:pt x="190691" y="178689"/>
                  </a:cubicBezTo>
                  <a:lnTo>
                    <a:pt x="189357" y="178689"/>
                  </a:lnTo>
                  <a:cubicBezTo>
                    <a:pt x="189357" y="179356"/>
                    <a:pt x="189357" y="180022"/>
                    <a:pt x="190024" y="180785"/>
                  </a:cubicBezTo>
                  <a:lnTo>
                    <a:pt x="190691" y="180785"/>
                  </a:lnTo>
                  <a:close/>
                  <a:moveTo>
                    <a:pt x="191357" y="142970"/>
                  </a:moveTo>
                  <a:lnTo>
                    <a:pt x="192691" y="142970"/>
                  </a:lnTo>
                  <a:cubicBezTo>
                    <a:pt x="194024" y="142970"/>
                    <a:pt x="194786" y="142970"/>
                    <a:pt x="194786" y="143637"/>
                  </a:cubicBezTo>
                  <a:lnTo>
                    <a:pt x="196882" y="146399"/>
                  </a:lnTo>
                  <a:lnTo>
                    <a:pt x="198977" y="146399"/>
                  </a:lnTo>
                  <a:lnTo>
                    <a:pt x="198977" y="145733"/>
                  </a:lnTo>
                  <a:cubicBezTo>
                    <a:pt x="198311" y="142970"/>
                    <a:pt x="194881" y="140970"/>
                    <a:pt x="192119" y="138874"/>
                  </a:cubicBezTo>
                  <a:cubicBezTo>
                    <a:pt x="192119" y="140208"/>
                    <a:pt x="191453" y="140970"/>
                    <a:pt x="191453" y="140970"/>
                  </a:cubicBezTo>
                  <a:lnTo>
                    <a:pt x="191453" y="142970"/>
                  </a:lnTo>
                  <a:close/>
                  <a:moveTo>
                    <a:pt x="191357" y="146399"/>
                  </a:moveTo>
                  <a:cubicBezTo>
                    <a:pt x="191357" y="146399"/>
                    <a:pt x="192024" y="146399"/>
                    <a:pt x="192024" y="145733"/>
                  </a:cubicBezTo>
                  <a:lnTo>
                    <a:pt x="191357" y="145733"/>
                  </a:lnTo>
                  <a:lnTo>
                    <a:pt x="191357" y="146399"/>
                  </a:lnTo>
                  <a:close/>
                  <a:moveTo>
                    <a:pt x="198215" y="133350"/>
                  </a:moveTo>
                  <a:lnTo>
                    <a:pt x="198882" y="132683"/>
                  </a:lnTo>
                  <a:cubicBezTo>
                    <a:pt x="198882" y="132683"/>
                    <a:pt x="199549" y="132017"/>
                    <a:pt x="199549" y="131350"/>
                  </a:cubicBezTo>
                  <a:cubicBezTo>
                    <a:pt x="199549" y="130683"/>
                    <a:pt x="198882" y="130683"/>
                    <a:pt x="198882" y="130016"/>
                  </a:cubicBezTo>
                  <a:cubicBezTo>
                    <a:pt x="196787" y="129349"/>
                    <a:pt x="195453" y="127254"/>
                    <a:pt x="194786" y="126587"/>
                  </a:cubicBezTo>
                  <a:lnTo>
                    <a:pt x="192691" y="126587"/>
                  </a:lnTo>
                  <a:cubicBezTo>
                    <a:pt x="192024" y="127254"/>
                    <a:pt x="192024" y="127254"/>
                    <a:pt x="192024" y="127921"/>
                  </a:cubicBezTo>
                  <a:cubicBezTo>
                    <a:pt x="192024" y="128588"/>
                    <a:pt x="192024" y="128588"/>
                    <a:pt x="192691" y="128588"/>
                  </a:cubicBezTo>
                  <a:lnTo>
                    <a:pt x="196787" y="133350"/>
                  </a:lnTo>
                  <a:lnTo>
                    <a:pt x="198215" y="133350"/>
                  </a:lnTo>
                  <a:close/>
                  <a:moveTo>
                    <a:pt x="196120" y="149162"/>
                  </a:moveTo>
                  <a:cubicBezTo>
                    <a:pt x="196120" y="149828"/>
                    <a:pt x="196787" y="150495"/>
                    <a:pt x="198215" y="150495"/>
                  </a:cubicBezTo>
                  <a:lnTo>
                    <a:pt x="198882" y="150495"/>
                  </a:lnTo>
                  <a:cubicBezTo>
                    <a:pt x="198882" y="149828"/>
                    <a:pt x="198882" y="149828"/>
                    <a:pt x="198215" y="149162"/>
                  </a:cubicBezTo>
                  <a:lnTo>
                    <a:pt x="196120" y="149162"/>
                  </a:lnTo>
                  <a:close/>
                  <a:moveTo>
                    <a:pt x="198882" y="160115"/>
                  </a:moveTo>
                  <a:lnTo>
                    <a:pt x="198882" y="160782"/>
                  </a:lnTo>
                  <a:lnTo>
                    <a:pt x="198215" y="161449"/>
                  </a:lnTo>
                  <a:cubicBezTo>
                    <a:pt x="198215" y="160782"/>
                    <a:pt x="196882" y="160782"/>
                    <a:pt x="196882" y="160115"/>
                  </a:cubicBezTo>
                  <a:lnTo>
                    <a:pt x="198882" y="160115"/>
                  </a:lnTo>
                  <a:close/>
                  <a:moveTo>
                    <a:pt x="205073" y="92202"/>
                  </a:moveTo>
                  <a:cubicBezTo>
                    <a:pt x="204406" y="90869"/>
                    <a:pt x="203740" y="90869"/>
                    <a:pt x="202978" y="90869"/>
                  </a:cubicBezTo>
                  <a:cubicBezTo>
                    <a:pt x="202311" y="90202"/>
                    <a:pt x="200882" y="90202"/>
                    <a:pt x="200882" y="90202"/>
                  </a:cubicBezTo>
                  <a:cubicBezTo>
                    <a:pt x="200216" y="90202"/>
                    <a:pt x="199549" y="90202"/>
                    <a:pt x="199549" y="90869"/>
                  </a:cubicBezTo>
                  <a:lnTo>
                    <a:pt x="200216" y="91535"/>
                  </a:lnTo>
                  <a:cubicBezTo>
                    <a:pt x="200216" y="92202"/>
                    <a:pt x="200216" y="92869"/>
                    <a:pt x="200882" y="92869"/>
                  </a:cubicBezTo>
                  <a:cubicBezTo>
                    <a:pt x="201549" y="93536"/>
                    <a:pt x="201549" y="94964"/>
                    <a:pt x="201549" y="95631"/>
                  </a:cubicBezTo>
                  <a:cubicBezTo>
                    <a:pt x="202216" y="96298"/>
                    <a:pt x="202216" y="96298"/>
                    <a:pt x="202216" y="96965"/>
                  </a:cubicBezTo>
                  <a:cubicBezTo>
                    <a:pt x="202216" y="96965"/>
                    <a:pt x="202216" y="97631"/>
                    <a:pt x="202883" y="97631"/>
                  </a:cubicBezTo>
                  <a:cubicBezTo>
                    <a:pt x="204978" y="98298"/>
                    <a:pt x="205645" y="98298"/>
                    <a:pt x="206978" y="98298"/>
                  </a:cubicBezTo>
                  <a:cubicBezTo>
                    <a:pt x="207645" y="98298"/>
                    <a:pt x="207645" y="98298"/>
                    <a:pt x="207645" y="97631"/>
                  </a:cubicBezTo>
                  <a:lnTo>
                    <a:pt x="207645" y="96965"/>
                  </a:lnTo>
                  <a:cubicBezTo>
                    <a:pt x="207645" y="96965"/>
                    <a:pt x="206978" y="96298"/>
                    <a:pt x="205550" y="95631"/>
                  </a:cubicBezTo>
                  <a:cubicBezTo>
                    <a:pt x="205740" y="94964"/>
                    <a:pt x="205740" y="93536"/>
                    <a:pt x="205073" y="92202"/>
                  </a:cubicBezTo>
                  <a:close/>
                  <a:moveTo>
                    <a:pt x="203740" y="114109"/>
                  </a:moveTo>
                  <a:cubicBezTo>
                    <a:pt x="203740" y="113443"/>
                    <a:pt x="203740" y="112776"/>
                    <a:pt x="203073" y="112776"/>
                  </a:cubicBezTo>
                  <a:cubicBezTo>
                    <a:pt x="201740" y="113443"/>
                    <a:pt x="200978" y="113443"/>
                    <a:pt x="200978" y="113443"/>
                  </a:cubicBezTo>
                  <a:lnTo>
                    <a:pt x="200978" y="114109"/>
                  </a:lnTo>
                  <a:cubicBezTo>
                    <a:pt x="200978" y="114776"/>
                    <a:pt x="201644" y="115443"/>
                    <a:pt x="203073" y="115443"/>
                  </a:cubicBezTo>
                  <a:cubicBezTo>
                    <a:pt x="202978" y="114871"/>
                    <a:pt x="203740" y="114871"/>
                    <a:pt x="203740" y="114109"/>
                  </a:cubicBezTo>
                  <a:close/>
                  <a:moveTo>
                    <a:pt x="206407" y="69532"/>
                  </a:moveTo>
                  <a:cubicBezTo>
                    <a:pt x="203644" y="69532"/>
                    <a:pt x="202978" y="70199"/>
                    <a:pt x="202978" y="70866"/>
                  </a:cubicBezTo>
                  <a:lnTo>
                    <a:pt x="202978" y="72199"/>
                  </a:lnTo>
                  <a:cubicBezTo>
                    <a:pt x="205073" y="74295"/>
                    <a:pt x="205740" y="74962"/>
                    <a:pt x="206407" y="76962"/>
                  </a:cubicBezTo>
                  <a:cubicBezTo>
                    <a:pt x="205740" y="76962"/>
                    <a:pt x="206407" y="77629"/>
                    <a:pt x="206407" y="78296"/>
                  </a:cubicBezTo>
                  <a:cubicBezTo>
                    <a:pt x="206407" y="78962"/>
                    <a:pt x="207074" y="79629"/>
                    <a:pt x="207740" y="79629"/>
                  </a:cubicBezTo>
                  <a:lnTo>
                    <a:pt x="208407" y="79629"/>
                  </a:lnTo>
                  <a:cubicBezTo>
                    <a:pt x="209741" y="78962"/>
                    <a:pt x="210503" y="78962"/>
                    <a:pt x="211169" y="78962"/>
                  </a:cubicBezTo>
                  <a:lnTo>
                    <a:pt x="212503" y="78962"/>
                  </a:lnTo>
                  <a:cubicBezTo>
                    <a:pt x="213169" y="78962"/>
                    <a:pt x="213169" y="78296"/>
                    <a:pt x="213169" y="77629"/>
                  </a:cubicBezTo>
                  <a:lnTo>
                    <a:pt x="210407" y="75533"/>
                  </a:lnTo>
                  <a:cubicBezTo>
                    <a:pt x="209741" y="74867"/>
                    <a:pt x="209741" y="74200"/>
                    <a:pt x="209741" y="74200"/>
                  </a:cubicBezTo>
                  <a:cubicBezTo>
                    <a:pt x="210407" y="72866"/>
                    <a:pt x="211074" y="71438"/>
                    <a:pt x="211074" y="70771"/>
                  </a:cubicBezTo>
                  <a:cubicBezTo>
                    <a:pt x="211074" y="70104"/>
                    <a:pt x="210407" y="70104"/>
                    <a:pt x="206978" y="69437"/>
                  </a:cubicBezTo>
                  <a:lnTo>
                    <a:pt x="206407" y="69437"/>
                  </a:lnTo>
                  <a:close/>
                  <a:moveTo>
                    <a:pt x="206407" y="118300"/>
                  </a:moveTo>
                  <a:lnTo>
                    <a:pt x="207074" y="117634"/>
                  </a:lnTo>
                  <a:cubicBezTo>
                    <a:pt x="207074" y="116967"/>
                    <a:pt x="206407" y="116300"/>
                    <a:pt x="206407" y="116300"/>
                  </a:cubicBezTo>
                  <a:cubicBezTo>
                    <a:pt x="206407" y="115633"/>
                    <a:pt x="205740" y="116300"/>
                    <a:pt x="205740" y="117634"/>
                  </a:cubicBezTo>
                  <a:lnTo>
                    <a:pt x="206407" y="118300"/>
                  </a:lnTo>
                  <a:close/>
                  <a:moveTo>
                    <a:pt x="209836" y="88773"/>
                  </a:moveTo>
                  <a:cubicBezTo>
                    <a:pt x="209836" y="88773"/>
                    <a:pt x="209836" y="88106"/>
                    <a:pt x="208502" y="88106"/>
                  </a:cubicBezTo>
                  <a:cubicBezTo>
                    <a:pt x="207836" y="88106"/>
                    <a:pt x="207169" y="88106"/>
                    <a:pt x="207169" y="88773"/>
                  </a:cubicBezTo>
                  <a:cubicBezTo>
                    <a:pt x="207169" y="89440"/>
                    <a:pt x="207836" y="89440"/>
                    <a:pt x="207836" y="89440"/>
                  </a:cubicBezTo>
                  <a:cubicBezTo>
                    <a:pt x="208502" y="89440"/>
                    <a:pt x="209836" y="89440"/>
                    <a:pt x="209836" y="88773"/>
                  </a:cubicBezTo>
                  <a:close/>
                  <a:moveTo>
                    <a:pt x="214694" y="64103"/>
                  </a:moveTo>
                  <a:lnTo>
                    <a:pt x="214694" y="63437"/>
                  </a:lnTo>
                  <a:lnTo>
                    <a:pt x="213360" y="63437"/>
                  </a:lnTo>
                  <a:cubicBezTo>
                    <a:pt x="212693" y="63437"/>
                    <a:pt x="212027" y="63437"/>
                    <a:pt x="212027" y="62770"/>
                  </a:cubicBezTo>
                  <a:lnTo>
                    <a:pt x="211360" y="62770"/>
                  </a:lnTo>
                  <a:cubicBezTo>
                    <a:pt x="211360" y="63437"/>
                    <a:pt x="211360" y="64103"/>
                    <a:pt x="210693" y="64865"/>
                  </a:cubicBezTo>
                  <a:cubicBezTo>
                    <a:pt x="210693" y="64865"/>
                    <a:pt x="211360" y="65532"/>
                    <a:pt x="211360" y="66199"/>
                  </a:cubicBezTo>
                  <a:cubicBezTo>
                    <a:pt x="212598" y="66103"/>
                    <a:pt x="214027" y="65437"/>
                    <a:pt x="214694" y="64103"/>
                  </a:cubicBezTo>
                  <a:close/>
                  <a:moveTo>
                    <a:pt x="218123" y="67532"/>
                  </a:moveTo>
                  <a:cubicBezTo>
                    <a:pt x="218123" y="66866"/>
                    <a:pt x="218123" y="66199"/>
                    <a:pt x="217456" y="66199"/>
                  </a:cubicBezTo>
                  <a:lnTo>
                    <a:pt x="215360" y="66199"/>
                  </a:lnTo>
                  <a:cubicBezTo>
                    <a:pt x="215360" y="66866"/>
                    <a:pt x="216027" y="67532"/>
                    <a:pt x="216027" y="67532"/>
                  </a:cubicBezTo>
                  <a:lnTo>
                    <a:pt x="218123" y="6753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94F0A52-0E05-42BE-A6A0-5823A9DF905F}"/>
                </a:ext>
              </a:extLst>
            </p:cNvPr>
            <p:cNvSpPr/>
            <p:nvPr/>
          </p:nvSpPr>
          <p:spPr>
            <a:xfrm>
              <a:off x="4497609" y="3276028"/>
              <a:ext cx="400050" cy="638175"/>
            </a:xfrm>
            <a:custGeom>
              <a:avLst/>
              <a:gdLst>
                <a:gd name="connsiteX0" fmla="*/ 266891 w 400050"/>
                <a:gd name="connsiteY0" fmla="*/ 114491 h 638175"/>
                <a:gd name="connsiteX1" fmla="*/ 264795 w 400050"/>
                <a:gd name="connsiteY1" fmla="*/ 114491 h 638175"/>
                <a:gd name="connsiteX2" fmla="*/ 263462 w 400050"/>
                <a:gd name="connsiteY2" fmla="*/ 115157 h 638175"/>
                <a:gd name="connsiteX3" fmla="*/ 248412 w 400050"/>
                <a:gd name="connsiteY3" fmla="*/ 132969 h 638175"/>
                <a:gd name="connsiteX4" fmla="*/ 234029 w 400050"/>
                <a:gd name="connsiteY4" fmla="*/ 150114 h 638175"/>
                <a:gd name="connsiteX5" fmla="*/ 227171 w 400050"/>
                <a:gd name="connsiteY5" fmla="*/ 156972 h 638175"/>
                <a:gd name="connsiteX6" fmla="*/ 220313 w 400050"/>
                <a:gd name="connsiteY6" fmla="*/ 163830 h 638175"/>
                <a:gd name="connsiteX7" fmla="*/ 210693 w 400050"/>
                <a:gd name="connsiteY7" fmla="*/ 175451 h 638175"/>
                <a:gd name="connsiteX8" fmla="*/ 210026 w 400050"/>
                <a:gd name="connsiteY8" fmla="*/ 174784 h 638175"/>
                <a:gd name="connsiteX9" fmla="*/ 194977 w 400050"/>
                <a:gd name="connsiteY9" fmla="*/ 190595 h 638175"/>
                <a:gd name="connsiteX10" fmla="*/ 193453 w 400050"/>
                <a:gd name="connsiteY10" fmla="*/ 190595 h 638175"/>
                <a:gd name="connsiteX11" fmla="*/ 192786 w 400050"/>
                <a:gd name="connsiteY11" fmla="*/ 192691 h 638175"/>
                <a:gd name="connsiteX12" fmla="*/ 193453 w 400050"/>
                <a:gd name="connsiteY12" fmla="*/ 194024 h 638175"/>
                <a:gd name="connsiteX13" fmla="*/ 189357 w 400050"/>
                <a:gd name="connsiteY13" fmla="*/ 196120 h 638175"/>
                <a:gd name="connsiteX14" fmla="*/ 187261 w 400050"/>
                <a:gd name="connsiteY14" fmla="*/ 195453 h 638175"/>
                <a:gd name="connsiteX15" fmla="*/ 174212 w 400050"/>
                <a:gd name="connsiteY15" fmla="*/ 212598 h 638175"/>
                <a:gd name="connsiteX16" fmla="*/ 170783 w 400050"/>
                <a:gd name="connsiteY16" fmla="*/ 212598 h 638175"/>
                <a:gd name="connsiteX17" fmla="*/ 145447 w 400050"/>
                <a:gd name="connsiteY17" fmla="*/ 231077 h 638175"/>
                <a:gd name="connsiteX18" fmla="*/ 144780 w 400050"/>
                <a:gd name="connsiteY18" fmla="*/ 231077 h 638175"/>
                <a:gd name="connsiteX19" fmla="*/ 106394 w 400050"/>
                <a:gd name="connsiteY19" fmla="*/ 244793 h 638175"/>
                <a:gd name="connsiteX20" fmla="*/ 85153 w 400050"/>
                <a:gd name="connsiteY20" fmla="*/ 231077 h 638175"/>
                <a:gd name="connsiteX21" fmla="*/ 78962 w 400050"/>
                <a:gd name="connsiteY21" fmla="*/ 224885 h 638175"/>
                <a:gd name="connsiteX22" fmla="*/ 72104 w 400050"/>
                <a:gd name="connsiteY22" fmla="*/ 213265 h 638175"/>
                <a:gd name="connsiteX23" fmla="*/ 70009 w 400050"/>
                <a:gd name="connsiteY23" fmla="*/ 205740 h 638175"/>
                <a:gd name="connsiteX24" fmla="*/ 70009 w 400050"/>
                <a:gd name="connsiteY24" fmla="*/ 198882 h 638175"/>
                <a:gd name="connsiteX25" fmla="*/ 70676 w 400050"/>
                <a:gd name="connsiteY25" fmla="*/ 196120 h 638175"/>
                <a:gd name="connsiteX26" fmla="*/ 69342 w 400050"/>
                <a:gd name="connsiteY26" fmla="*/ 191357 h 638175"/>
                <a:gd name="connsiteX27" fmla="*/ 68675 w 400050"/>
                <a:gd name="connsiteY27" fmla="*/ 190024 h 638175"/>
                <a:gd name="connsiteX28" fmla="*/ 68675 w 400050"/>
                <a:gd name="connsiteY28" fmla="*/ 189167 h 638175"/>
                <a:gd name="connsiteX29" fmla="*/ 71438 w 400050"/>
                <a:gd name="connsiteY29" fmla="*/ 186404 h 638175"/>
                <a:gd name="connsiteX30" fmla="*/ 70771 w 400050"/>
                <a:gd name="connsiteY30" fmla="*/ 185738 h 638175"/>
                <a:gd name="connsiteX31" fmla="*/ 72866 w 400050"/>
                <a:gd name="connsiteY31" fmla="*/ 173355 h 638175"/>
                <a:gd name="connsiteX32" fmla="*/ 72866 w 400050"/>
                <a:gd name="connsiteY32" fmla="*/ 172688 h 638175"/>
                <a:gd name="connsiteX33" fmla="*/ 74962 w 400050"/>
                <a:gd name="connsiteY33" fmla="*/ 164497 h 638175"/>
                <a:gd name="connsiteX34" fmla="*/ 74962 w 400050"/>
                <a:gd name="connsiteY34" fmla="*/ 160401 h 638175"/>
                <a:gd name="connsiteX35" fmla="*/ 77724 w 400050"/>
                <a:gd name="connsiteY35" fmla="*/ 154210 h 638175"/>
                <a:gd name="connsiteX36" fmla="*/ 77724 w 400050"/>
                <a:gd name="connsiteY36" fmla="*/ 152114 h 638175"/>
                <a:gd name="connsiteX37" fmla="*/ 86678 w 400050"/>
                <a:gd name="connsiteY37" fmla="*/ 138398 h 638175"/>
                <a:gd name="connsiteX38" fmla="*/ 85344 w 400050"/>
                <a:gd name="connsiteY38" fmla="*/ 137065 h 638175"/>
                <a:gd name="connsiteX39" fmla="*/ 95631 w 400050"/>
                <a:gd name="connsiteY39" fmla="*/ 113062 h 638175"/>
                <a:gd name="connsiteX40" fmla="*/ 100394 w 400050"/>
                <a:gd name="connsiteY40" fmla="*/ 107537 h 638175"/>
                <a:gd name="connsiteX41" fmla="*/ 103823 w 400050"/>
                <a:gd name="connsiteY41" fmla="*/ 108204 h 638175"/>
                <a:gd name="connsiteX42" fmla="*/ 105918 w 400050"/>
                <a:gd name="connsiteY42" fmla="*/ 108204 h 638175"/>
                <a:gd name="connsiteX43" fmla="*/ 106585 w 400050"/>
                <a:gd name="connsiteY43" fmla="*/ 107537 h 638175"/>
                <a:gd name="connsiteX44" fmla="*/ 105918 w 400050"/>
                <a:gd name="connsiteY44" fmla="*/ 105442 h 638175"/>
                <a:gd name="connsiteX45" fmla="*/ 103156 w 400050"/>
                <a:gd name="connsiteY45" fmla="*/ 106109 h 638175"/>
                <a:gd name="connsiteX46" fmla="*/ 102489 w 400050"/>
                <a:gd name="connsiteY46" fmla="*/ 105442 h 638175"/>
                <a:gd name="connsiteX47" fmla="*/ 102489 w 400050"/>
                <a:gd name="connsiteY47" fmla="*/ 103442 h 638175"/>
                <a:gd name="connsiteX48" fmla="*/ 107252 w 400050"/>
                <a:gd name="connsiteY48" fmla="*/ 98679 h 638175"/>
                <a:gd name="connsiteX49" fmla="*/ 107252 w 400050"/>
                <a:gd name="connsiteY49" fmla="*/ 99346 h 638175"/>
                <a:gd name="connsiteX50" fmla="*/ 107918 w 400050"/>
                <a:gd name="connsiteY50" fmla="*/ 101441 h 638175"/>
                <a:gd name="connsiteX51" fmla="*/ 110681 w 400050"/>
                <a:gd name="connsiteY51" fmla="*/ 98679 h 638175"/>
                <a:gd name="connsiteX52" fmla="*/ 110014 w 400050"/>
                <a:gd name="connsiteY52" fmla="*/ 95917 h 638175"/>
                <a:gd name="connsiteX53" fmla="*/ 109347 w 400050"/>
                <a:gd name="connsiteY53" fmla="*/ 94583 h 638175"/>
                <a:gd name="connsiteX54" fmla="*/ 125825 w 400050"/>
                <a:gd name="connsiteY54" fmla="*/ 72676 h 638175"/>
                <a:gd name="connsiteX55" fmla="*/ 127921 w 400050"/>
                <a:gd name="connsiteY55" fmla="*/ 73343 h 638175"/>
                <a:gd name="connsiteX56" fmla="*/ 138875 w 400050"/>
                <a:gd name="connsiteY56" fmla="*/ 63722 h 638175"/>
                <a:gd name="connsiteX57" fmla="*/ 138875 w 400050"/>
                <a:gd name="connsiteY57" fmla="*/ 62389 h 638175"/>
                <a:gd name="connsiteX58" fmla="*/ 137255 w 400050"/>
                <a:gd name="connsiteY58" fmla="*/ 62389 h 638175"/>
                <a:gd name="connsiteX59" fmla="*/ 137255 w 400050"/>
                <a:gd name="connsiteY59" fmla="*/ 63722 h 638175"/>
                <a:gd name="connsiteX60" fmla="*/ 135922 w 400050"/>
                <a:gd name="connsiteY60" fmla="*/ 63056 h 638175"/>
                <a:gd name="connsiteX61" fmla="*/ 138684 w 400050"/>
                <a:gd name="connsiteY61" fmla="*/ 58960 h 638175"/>
                <a:gd name="connsiteX62" fmla="*/ 140780 w 400050"/>
                <a:gd name="connsiteY62" fmla="*/ 58960 h 638175"/>
                <a:gd name="connsiteX63" fmla="*/ 142113 w 400050"/>
                <a:gd name="connsiteY63" fmla="*/ 58293 h 638175"/>
                <a:gd name="connsiteX64" fmla="*/ 141446 w 400050"/>
                <a:gd name="connsiteY64" fmla="*/ 56198 h 638175"/>
                <a:gd name="connsiteX65" fmla="*/ 142113 w 400050"/>
                <a:gd name="connsiteY65" fmla="*/ 55531 h 638175"/>
                <a:gd name="connsiteX66" fmla="*/ 140780 w 400050"/>
                <a:gd name="connsiteY66" fmla="*/ 55531 h 638175"/>
                <a:gd name="connsiteX67" fmla="*/ 140780 w 400050"/>
                <a:gd name="connsiteY67" fmla="*/ 54864 h 638175"/>
                <a:gd name="connsiteX68" fmla="*/ 144875 w 400050"/>
                <a:gd name="connsiteY68" fmla="*/ 50102 h 638175"/>
                <a:gd name="connsiteX69" fmla="*/ 145542 w 400050"/>
                <a:gd name="connsiteY69" fmla="*/ 50102 h 638175"/>
                <a:gd name="connsiteX70" fmla="*/ 147638 w 400050"/>
                <a:gd name="connsiteY70" fmla="*/ 52197 h 638175"/>
                <a:gd name="connsiteX71" fmla="*/ 162020 w 400050"/>
                <a:gd name="connsiteY71" fmla="*/ 34385 h 638175"/>
                <a:gd name="connsiteX72" fmla="*/ 165449 w 400050"/>
                <a:gd name="connsiteY72" fmla="*/ 28861 h 638175"/>
                <a:gd name="connsiteX73" fmla="*/ 172974 w 400050"/>
                <a:gd name="connsiteY73" fmla="*/ 23336 h 638175"/>
                <a:gd name="connsiteX74" fmla="*/ 176403 w 400050"/>
                <a:gd name="connsiteY74" fmla="*/ 17145 h 638175"/>
                <a:gd name="connsiteX75" fmla="*/ 181166 w 400050"/>
                <a:gd name="connsiteY75" fmla="*/ 13716 h 638175"/>
                <a:gd name="connsiteX76" fmla="*/ 200406 w 400050"/>
                <a:gd name="connsiteY76" fmla="*/ 1334 h 638175"/>
                <a:gd name="connsiteX77" fmla="*/ 203835 w 400050"/>
                <a:gd name="connsiteY77" fmla="*/ 1334 h 638175"/>
                <a:gd name="connsiteX78" fmla="*/ 205931 w 400050"/>
                <a:gd name="connsiteY78" fmla="*/ 0 h 638175"/>
                <a:gd name="connsiteX79" fmla="*/ 207169 w 400050"/>
                <a:gd name="connsiteY79" fmla="*/ 572 h 638175"/>
                <a:gd name="connsiteX80" fmla="*/ 213360 w 400050"/>
                <a:gd name="connsiteY80" fmla="*/ 4001 h 638175"/>
                <a:gd name="connsiteX81" fmla="*/ 212693 w 400050"/>
                <a:gd name="connsiteY81" fmla="*/ 4001 h 638175"/>
                <a:gd name="connsiteX82" fmla="*/ 222980 w 400050"/>
                <a:gd name="connsiteY82" fmla="*/ 12192 h 638175"/>
                <a:gd name="connsiteX83" fmla="*/ 223647 w 400050"/>
                <a:gd name="connsiteY83" fmla="*/ 12192 h 638175"/>
                <a:gd name="connsiteX84" fmla="*/ 227076 w 400050"/>
                <a:gd name="connsiteY84" fmla="*/ 9430 h 638175"/>
                <a:gd name="connsiteX85" fmla="*/ 240125 w 400050"/>
                <a:gd name="connsiteY85" fmla="*/ 20384 h 638175"/>
                <a:gd name="connsiteX86" fmla="*/ 240792 w 400050"/>
                <a:gd name="connsiteY86" fmla="*/ 19717 h 638175"/>
                <a:gd name="connsiteX87" fmla="*/ 244221 w 400050"/>
                <a:gd name="connsiteY87" fmla="*/ 24479 h 638175"/>
                <a:gd name="connsiteX88" fmla="*/ 244888 w 400050"/>
                <a:gd name="connsiteY88" fmla="*/ 23146 h 638175"/>
                <a:gd name="connsiteX89" fmla="*/ 246221 w 400050"/>
                <a:gd name="connsiteY89" fmla="*/ 23146 h 638175"/>
                <a:gd name="connsiteX90" fmla="*/ 250317 w 400050"/>
                <a:gd name="connsiteY90" fmla="*/ 29337 h 638175"/>
                <a:gd name="connsiteX91" fmla="*/ 248984 w 400050"/>
                <a:gd name="connsiteY91" fmla="*/ 30671 h 638175"/>
                <a:gd name="connsiteX92" fmla="*/ 248317 w 400050"/>
                <a:gd name="connsiteY92" fmla="*/ 32004 h 638175"/>
                <a:gd name="connsiteX93" fmla="*/ 251746 w 400050"/>
                <a:gd name="connsiteY93" fmla="*/ 36767 h 638175"/>
                <a:gd name="connsiteX94" fmla="*/ 253079 w 400050"/>
                <a:gd name="connsiteY94" fmla="*/ 37433 h 638175"/>
                <a:gd name="connsiteX95" fmla="*/ 254413 w 400050"/>
                <a:gd name="connsiteY95" fmla="*/ 36767 h 638175"/>
                <a:gd name="connsiteX96" fmla="*/ 261271 w 400050"/>
                <a:gd name="connsiteY96" fmla="*/ 45720 h 638175"/>
                <a:gd name="connsiteX97" fmla="*/ 261937 w 400050"/>
                <a:gd name="connsiteY97" fmla="*/ 49816 h 638175"/>
                <a:gd name="connsiteX98" fmla="*/ 264033 w 400050"/>
                <a:gd name="connsiteY98" fmla="*/ 57341 h 638175"/>
                <a:gd name="connsiteX99" fmla="*/ 264700 w 400050"/>
                <a:gd name="connsiteY99" fmla="*/ 58007 h 638175"/>
                <a:gd name="connsiteX100" fmla="*/ 267462 w 400050"/>
                <a:gd name="connsiteY100" fmla="*/ 55245 h 638175"/>
                <a:gd name="connsiteX101" fmla="*/ 266795 w 400050"/>
                <a:gd name="connsiteY101" fmla="*/ 55245 h 638175"/>
                <a:gd name="connsiteX102" fmla="*/ 278416 w 400050"/>
                <a:gd name="connsiteY102" fmla="*/ 41529 h 638175"/>
                <a:gd name="connsiteX103" fmla="*/ 282512 w 400050"/>
                <a:gd name="connsiteY103" fmla="*/ 39434 h 638175"/>
                <a:gd name="connsiteX104" fmla="*/ 282512 w 400050"/>
                <a:gd name="connsiteY104" fmla="*/ 35338 h 638175"/>
                <a:gd name="connsiteX105" fmla="*/ 285941 w 400050"/>
                <a:gd name="connsiteY105" fmla="*/ 34004 h 638175"/>
                <a:gd name="connsiteX106" fmla="*/ 285274 w 400050"/>
                <a:gd name="connsiteY106" fmla="*/ 32671 h 638175"/>
                <a:gd name="connsiteX107" fmla="*/ 289370 w 400050"/>
                <a:gd name="connsiteY107" fmla="*/ 28575 h 638175"/>
                <a:gd name="connsiteX108" fmla="*/ 303752 w 400050"/>
                <a:gd name="connsiteY108" fmla="*/ 11430 h 638175"/>
                <a:gd name="connsiteX109" fmla="*/ 309277 w 400050"/>
                <a:gd name="connsiteY109" fmla="*/ 16955 h 638175"/>
                <a:gd name="connsiteX110" fmla="*/ 311372 w 400050"/>
                <a:gd name="connsiteY110" fmla="*/ 13526 h 638175"/>
                <a:gd name="connsiteX111" fmla="*/ 320993 w 400050"/>
                <a:gd name="connsiteY111" fmla="*/ 21717 h 638175"/>
                <a:gd name="connsiteX112" fmla="*/ 323088 w 400050"/>
                <a:gd name="connsiteY112" fmla="*/ 21050 h 638175"/>
                <a:gd name="connsiteX113" fmla="*/ 324422 w 400050"/>
                <a:gd name="connsiteY113" fmla="*/ 20384 h 638175"/>
                <a:gd name="connsiteX114" fmla="*/ 327184 w 400050"/>
                <a:gd name="connsiteY114" fmla="*/ 22479 h 638175"/>
                <a:gd name="connsiteX115" fmla="*/ 328517 w 400050"/>
                <a:gd name="connsiteY115" fmla="*/ 23813 h 638175"/>
                <a:gd name="connsiteX116" fmla="*/ 327851 w 400050"/>
                <a:gd name="connsiteY116" fmla="*/ 25146 h 638175"/>
                <a:gd name="connsiteX117" fmla="*/ 329946 w 400050"/>
                <a:gd name="connsiteY117" fmla="*/ 29242 h 638175"/>
                <a:gd name="connsiteX118" fmla="*/ 331280 w 400050"/>
                <a:gd name="connsiteY118" fmla="*/ 27146 h 638175"/>
                <a:gd name="connsiteX119" fmla="*/ 331946 w 400050"/>
                <a:gd name="connsiteY119" fmla="*/ 27146 h 638175"/>
                <a:gd name="connsiteX120" fmla="*/ 339471 w 400050"/>
                <a:gd name="connsiteY120" fmla="*/ 38100 h 638175"/>
                <a:gd name="connsiteX121" fmla="*/ 336709 w 400050"/>
                <a:gd name="connsiteY121" fmla="*/ 42196 h 638175"/>
                <a:gd name="connsiteX122" fmla="*/ 338042 w 400050"/>
                <a:gd name="connsiteY122" fmla="*/ 43529 h 638175"/>
                <a:gd name="connsiteX123" fmla="*/ 338042 w 400050"/>
                <a:gd name="connsiteY123" fmla="*/ 44196 h 638175"/>
                <a:gd name="connsiteX124" fmla="*/ 336709 w 400050"/>
                <a:gd name="connsiteY124" fmla="*/ 46958 h 638175"/>
                <a:gd name="connsiteX125" fmla="*/ 337376 w 400050"/>
                <a:gd name="connsiteY125" fmla="*/ 51054 h 638175"/>
                <a:gd name="connsiteX126" fmla="*/ 334613 w 400050"/>
                <a:gd name="connsiteY126" fmla="*/ 64770 h 638175"/>
                <a:gd name="connsiteX127" fmla="*/ 335947 w 400050"/>
                <a:gd name="connsiteY127" fmla="*/ 69533 h 638175"/>
                <a:gd name="connsiteX128" fmla="*/ 333185 w 400050"/>
                <a:gd name="connsiteY128" fmla="*/ 79820 h 638175"/>
                <a:gd name="connsiteX129" fmla="*/ 333185 w 400050"/>
                <a:gd name="connsiteY129" fmla="*/ 83915 h 638175"/>
                <a:gd name="connsiteX130" fmla="*/ 333851 w 400050"/>
                <a:gd name="connsiteY130" fmla="*/ 86678 h 638175"/>
                <a:gd name="connsiteX131" fmla="*/ 331756 w 400050"/>
                <a:gd name="connsiteY131" fmla="*/ 93536 h 638175"/>
                <a:gd name="connsiteX132" fmla="*/ 334518 w 400050"/>
                <a:gd name="connsiteY132" fmla="*/ 94869 h 638175"/>
                <a:gd name="connsiteX133" fmla="*/ 335185 w 400050"/>
                <a:gd name="connsiteY133" fmla="*/ 96203 h 638175"/>
                <a:gd name="connsiteX134" fmla="*/ 335852 w 400050"/>
                <a:gd name="connsiteY134" fmla="*/ 97536 h 638175"/>
                <a:gd name="connsiteX135" fmla="*/ 335185 w 400050"/>
                <a:gd name="connsiteY135" fmla="*/ 97536 h 638175"/>
                <a:gd name="connsiteX136" fmla="*/ 332423 w 400050"/>
                <a:gd name="connsiteY136" fmla="*/ 98203 h 638175"/>
                <a:gd name="connsiteX137" fmla="*/ 333756 w 400050"/>
                <a:gd name="connsiteY137" fmla="*/ 100965 h 638175"/>
                <a:gd name="connsiteX138" fmla="*/ 333089 w 400050"/>
                <a:gd name="connsiteY138" fmla="*/ 104394 h 638175"/>
                <a:gd name="connsiteX139" fmla="*/ 333756 w 400050"/>
                <a:gd name="connsiteY139" fmla="*/ 109919 h 638175"/>
                <a:gd name="connsiteX140" fmla="*/ 333756 w 400050"/>
                <a:gd name="connsiteY140" fmla="*/ 111252 h 638175"/>
                <a:gd name="connsiteX141" fmla="*/ 334423 w 400050"/>
                <a:gd name="connsiteY141" fmla="*/ 118110 h 638175"/>
                <a:gd name="connsiteX142" fmla="*/ 331661 w 400050"/>
                <a:gd name="connsiteY142" fmla="*/ 126302 h 638175"/>
                <a:gd name="connsiteX143" fmla="*/ 332994 w 400050"/>
                <a:gd name="connsiteY143" fmla="*/ 123539 h 638175"/>
                <a:gd name="connsiteX144" fmla="*/ 334328 w 400050"/>
                <a:gd name="connsiteY144" fmla="*/ 123539 h 638175"/>
                <a:gd name="connsiteX145" fmla="*/ 333661 w 400050"/>
                <a:gd name="connsiteY145" fmla="*/ 126302 h 638175"/>
                <a:gd name="connsiteX146" fmla="*/ 334994 w 400050"/>
                <a:gd name="connsiteY146" fmla="*/ 132493 h 638175"/>
                <a:gd name="connsiteX147" fmla="*/ 334328 w 400050"/>
                <a:gd name="connsiteY147" fmla="*/ 135255 h 638175"/>
                <a:gd name="connsiteX148" fmla="*/ 337090 w 400050"/>
                <a:gd name="connsiteY148" fmla="*/ 141446 h 638175"/>
                <a:gd name="connsiteX149" fmla="*/ 336423 w 400050"/>
                <a:gd name="connsiteY149" fmla="*/ 144209 h 638175"/>
                <a:gd name="connsiteX150" fmla="*/ 336423 w 400050"/>
                <a:gd name="connsiteY150" fmla="*/ 145542 h 638175"/>
                <a:gd name="connsiteX151" fmla="*/ 334328 w 400050"/>
                <a:gd name="connsiteY151" fmla="*/ 148304 h 638175"/>
                <a:gd name="connsiteX152" fmla="*/ 336423 w 400050"/>
                <a:gd name="connsiteY152" fmla="*/ 154496 h 638175"/>
                <a:gd name="connsiteX153" fmla="*/ 333661 w 400050"/>
                <a:gd name="connsiteY153" fmla="*/ 158591 h 638175"/>
                <a:gd name="connsiteX154" fmla="*/ 334328 w 400050"/>
                <a:gd name="connsiteY154" fmla="*/ 161354 h 638175"/>
                <a:gd name="connsiteX155" fmla="*/ 333661 w 400050"/>
                <a:gd name="connsiteY155" fmla="*/ 166878 h 638175"/>
                <a:gd name="connsiteX156" fmla="*/ 335756 w 400050"/>
                <a:gd name="connsiteY156" fmla="*/ 170307 h 638175"/>
                <a:gd name="connsiteX157" fmla="*/ 333661 w 400050"/>
                <a:gd name="connsiteY157" fmla="*/ 171641 h 638175"/>
                <a:gd name="connsiteX158" fmla="*/ 334994 w 400050"/>
                <a:gd name="connsiteY158" fmla="*/ 175736 h 638175"/>
                <a:gd name="connsiteX159" fmla="*/ 331565 w 400050"/>
                <a:gd name="connsiteY159" fmla="*/ 186690 h 638175"/>
                <a:gd name="connsiteX160" fmla="*/ 331565 w 400050"/>
                <a:gd name="connsiteY160" fmla="*/ 189452 h 638175"/>
                <a:gd name="connsiteX161" fmla="*/ 332899 w 400050"/>
                <a:gd name="connsiteY161" fmla="*/ 192215 h 638175"/>
                <a:gd name="connsiteX162" fmla="*/ 330803 w 400050"/>
                <a:gd name="connsiteY162" fmla="*/ 196310 h 638175"/>
                <a:gd name="connsiteX163" fmla="*/ 332899 w 400050"/>
                <a:gd name="connsiteY163" fmla="*/ 199739 h 638175"/>
                <a:gd name="connsiteX164" fmla="*/ 330803 w 400050"/>
                <a:gd name="connsiteY164" fmla="*/ 205931 h 638175"/>
                <a:gd name="connsiteX165" fmla="*/ 332137 w 400050"/>
                <a:gd name="connsiteY165" fmla="*/ 207264 h 638175"/>
                <a:gd name="connsiteX166" fmla="*/ 335566 w 400050"/>
                <a:gd name="connsiteY166" fmla="*/ 205931 h 638175"/>
                <a:gd name="connsiteX167" fmla="*/ 337661 w 400050"/>
                <a:gd name="connsiteY167" fmla="*/ 205931 h 638175"/>
                <a:gd name="connsiteX168" fmla="*/ 339757 w 400050"/>
                <a:gd name="connsiteY168" fmla="*/ 205264 h 638175"/>
                <a:gd name="connsiteX169" fmla="*/ 340424 w 400050"/>
                <a:gd name="connsiteY169" fmla="*/ 205931 h 638175"/>
                <a:gd name="connsiteX170" fmla="*/ 333566 w 400050"/>
                <a:gd name="connsiteY170" fmla="*/ 208693 h 638175"/>
                <a:gd name="connsiteX171" fmla="*/ 332899 w 400050"/>
                <a:gd name="connsiteY171" fmla="*/ 208693 h 638175"/>
                <a:gd name="connsiteX172" fmla="*/ 331565 w 400050"/>
                <a:gd name="connsiteY172" fmla="*/ 209360 h 638175"/>
                <a:gd name="connsiteX173" fmla="*/ 332899 w 400050"/>
                <a:gd name="connsiteY173" fmla="*/ 211455 h 638175"/>
                <a:gd name="connsiteX174" fmla="*/ 333566 w 400050"/>
                <a:gd name="connsiteY174" fmla="*/ 210788 h 638175"/>
                <a:gd name="connsiteX175" fmla="*/ 336328 w 400050"/>
                <a:gd name="connsiteY175" fmla="*/ 210788 h 638175"/>
                <a:gd name="connsiteX176" fmla="*/ 339757 w 400050"/>
                <a:gd name="connsiteY176" fmla="*/ 210122 h 638175"/>
                <a:gd name="connsiteX177" fmla="*/ 341852 w 400050"/>
                <a:gd name="connsiteY177" fmla="*/ 210788 h 638175"/>
                <a:gd name="connsiteX178" fmla="*/ 352806 w 400050"/>
                <a:gd name="connsiteY178" fmla="*/ 206026 h 638175"/>
                <a:gd name="connsiteX179" fmla="*/ 354140 w 400050"/>
                <a:gd name="connsiteY179" fmla="*/ 206693 h 638175"/>
                <a:gd name="connsiteX180" fmla="*/ 354140 w 400050"/>
                <a:gd name="connsiteY180" fmla="*/ 208026 h 638175"/>
                <a:gd name="connsiteX181" fmla="*/ 351377 w 400050"/>
                <a:gd name="connsiteY181" fmla="*/ 210122 h 638175"/>
                <a:gd name="connsiteX182" fmla="*/ 355473 w 400050"/>
                <a:gd name="connsiteY182" fmla="*/ 210788 h 638175"/>
                <a:gd name="connsiteX183" fmla="*/ 356140 w 400050"/>
                <a:gd name="connsiteY183" fmla="*/ 207359 h 638175"/>
                <a:gd name="connsiteX184" fmla="*/ 355473 w 400050"/>
                <a:gd name="connsiteY184" fmla="*/ 206693 h 638175"/>
                <a:gd name="connsiteX185" fmla="*/ 356140 w 400050"/>
                <a:gd name="connsiteY185" fmla="*/ 206026 h 638175"/>
                <a:gd name="connsiteX186" fmla="*/ 365760 w 400050"/>
                <a:gd name="connsiteY186" fmla="*/ 202597 h 638175"/>
                <a:gd name="connsiteX187" fmla="*/ 365760 w 400050"/>
                <a:gd name="connsiteY187" fmla="*/ 203930 h 638175"/>
                <a:gd name="connsiteX188" fmla="*/ 366427 w 400050"/>
                <a:gd name="connsiteY188" fmla="*/ 206693 h 638175"/>
                <a:gd name="connsiteX189" fmla="*/ 362331 w 400050"/>
                <a:gd name="connsiteY189" fmla="*/ 210788 h 638175"/>
                <a:gd name="connsiteX190" fmla="*/ 362331 w 400050"/>
                <a:gd name="connsiteY190" fmla="*/ 211455 h 638175"/>
                <a:gd name="connsiteX191" fmla="*/ 362998 w 400050"/>
                <a:gd name="connsiteY191" fmla="*/ 212122 h 638175"/>
                <a:gd name="connsiteX192" fmla="*/ 364903 w 400050"/>
                <a:gd name="connsiteY192" fmla="*/ 212122 h 638175"/>
                <a:gd name="connsiteX193" fmla="*/ 365570 w 400050"/>
                <a:gd name="connsiteY193" fmla="*/ 212789 h 638175"/>
                <a:gd name="connsiteX194" fmla="*/ 364903 w 400050"/>
                <a:gd name="connsiteY194" fmla="*/ 214122 h 638175"/>
                <a:gd name="connsiteX195" fmla="*/ 365570 w 400050"/>
                <a:gd name="connsiteY195" fmla="*/ 215456 h 638175"/>
                <a:gd name="connsiteX196" fmla="*/ 367665 w 400050"/>
                <a:gd name="connsiteY196" fmla="*/ 215456 h 638175"/>
                <a:gd name="connsiteX197" fmla="*/ 370427 w 400050"/>
                <a:gd name="connsiteY197" fmla="*/ 214122 h 638175"/>
                <a:gd name="connsiteX198" fmla="*/ 371761 w 400050"/>
                <a:gd name="connsiteY198" fmla="*/ 214789 h 638175"/>
                <a:gd name="connsiteX199" fmla="*/ 375857 w 400050"/>
                <a:gd name="connsiteY199" fmla="*/ 210026 h 638175"/>
                <a:gd name="connsiteX200" fmla="*/ 377190 w 400050"/>
                <a:gd name="connsiteY200" fmla="*/ 210693 h 638175"/>
                <a:gd name="connsiteX201" fmla="*/ 379286 w 400050"/>
                <a:gd name="connsiteY201" fmla="*/ 209360 h 638175"/>
                <a:gd name="connsiteX202" fmla="*/ 386810 w 400050"/>
                <a:gd name="connsiteY202" fmla="*/ 210693 h 638175"/>
                <a:gd name="connsiteX203" fmla="*/ 390239 w 400050"/>
                <a:gd name="connsiteY203" fmla="*/ 211360 h 638175"/>
                <a:gd name="connsiteX204" fmla="*/ 388144 w 400050"/>
                <a:gd name="connsiteY204" fmla="*/ 213455 h 638175"/>
                <a:gd name="connsiteX205" fmla="*/ 387477 w 400050"/>
                <a:gd name="connsiteY205" fmla="*/ 214122 h 638175"/>
                <a:gd name="connsiteX206" fmla="*/ 384715 w 400050"/>
                <a:gd name="connsiteY206" fmla="*/ 213455 h 638175"/>
                <a:gd name="connsiteX207" fmla="*/ 381286 w 400050"/>
                <a:gd name="connsiteY207" fmla="*/ 215551 h 638175"/>
                <a:gd name="connsiteX208" fmla="*/ 378524 w 400050"/>
                <a:gd name="connsiteY208" fmla="*/ 215551 h 638175"/>
                <a:gd name="connsiteX209" fmla="*/ 375761 w 400050"/>
                <a:gd name="connsiteY209" fmla="*/ 216884 h 638175"/>
                <a:gd name="connsiteX210" fmla="*/ 375095 w 400050"/>
                <a:gd name="connsiteY210" fmla="*/ 217551 h 638175"/>
                <a:gd name="connsiteX211" fmla="*/ 376428 w 400050"/>
                <a:gd name="connsiteY211" fmla="*/ 219647 h 638175"/>
                <a:gd name="connsiteX212" fmla="*/ 375761 w 400050"/>
                <a:gd name="connsiteY212" fmla="*/ 220313 h 638175"/>
                <a:gd name="connsiteX213" fmla="*/ 375761 w 400050"/>
                <a:gd name="connsiteY213" fmla="*/ 219647 h 638175"/>
                <a:gd name="connsiteX214" fmla="*/ 367570 w 400050"/>
                <a:gd name="connsiteY214" fmla="*/ 221742 h 638175"/>
                <a:gd name="connsiteX215" fmla="*/ 364808 w 400050"/>
                <a:gd name="connsiteY215" fmla="*/ 219647 h 638175"/>
                <a:gd name="connsiteX216" fmla="*/ 355187 w 400050"/>
                <a:gd name="connsiteY216" fmla="*/ 227171 h 638175"/>
                <a:gd name="connsiteX217" fmla="*/ 353092 w 400050"/>
                <a:gd name="connsiteY217" fmla="*/ 225838 h 638175"/>
                <a:gd name="connsiteX218" fmla="*/ 342805 w 400050"/>
                <a:gd name="connsiteY218" fmla="*/ 229934 h 638175"/>
                <a:gd name="connsiteX219" fmla="*/ 339376 w 400050"/>
                <a:gd name="connsiteY219" fmla="*/ 227838 h 638175"/>
                <a:gd name="connsiteX220" fmla="*/ 337280 w 400050"/>
                <a:gd name="connsiteY220" fmla="*/ 228505 h 638175"/>
                <a:gd name="connsiteX221" fmla="*/ 337280 w 400050"/>
                <a:gd name="connsiteY221" fmla="*/ 230600 h 638175"/>
                <a:gd name="connsiteX222" fmla="*/ 336614 w 400050"/>
                <a:gd name="connsiteY222" fmla="*/ 232696 h 638175"/>
                <a:gd name="connsiteX223" fmla="*/ 335280 w 400050"/>
                <a:gd name="connsiteY223" fmla="*/ 232029 h 638175"/>
                <a:gd name="connsiteX224" fmla="*/ 329089 w 400050"/>
                <a:gd name="connsiteY224" fmla="*/ 247079 h 638175"/>
                <a:gd name="connsiteX225" fmla="*/ 329089 w 400050"/>
                <a:gd name="connsiteY225" fmla="*/ 248222 h 638175"/>
                <a:gd name="connsiteX226" fmla="*/ 330422 w 400050"/>
                <a:gd name="connsiteY226" fmla="*/ 252984 h 638175"/>
                <a:gd name="connsiteX227" fmla="*/ 328327 w 400050"/>
                <a:gd name="connsiteY227" fmla="*/ 254318 h 638175"/>
                <a:gd name="connsiteX228" fmla="*/ 330422 w 400050"/>
                <a:gd name="connsiteY228" fmla="*/ 260509 h 638175"/>
                <a:gd name="connsiteX229" fmla="*/ 329089 w 400050"/>
                <a:gd name="connsiteY229" fmla="*/ 262604 h 638175"/>
                <a:gd name="connsiteX230" fmla="*/ 329089 w 400050"/>
                <a:gd name="connsiteY230" fmla="*/ 265367 h 638175"/>
                <a:gd name="connsiteX231" fmla="*/ 328422 w 400050"/>
                <a:gd name="connsiteY231" fmla="*/ 265367 h 638175"/>
                <a:gd name="connsiteX232" fmla="*/ 327755 w 400050"/>
                <a:gd name="connsiteY232" fmla="*/ 264700 h 638175"/>
                <a:gd name="connsiteX233" fmla="*/ 327089 w 400050"/>
                <a:gd name="connsiteY233" fmla="*/ 265367 h 638175"/>
                <a:gd name="connsiteX234" fmla="*/ 328422 w 400050"/>
                <a:gd name="connsiteY234" fmla="*/ 269462 h 638175"/>
                <a:gd name="connsiteX235" fmla="*/ 327755 w 400050"/>
                <a:gd name="connsiteY235" fmla="*/ 270129 h 638175"/>
                <a:gd name="connsiteX236" fmla="*/ 327755 w 400050"/>
                <a:gd name="connsiteY236" fmla="*/ 269462 h 638175"/>
                <a:gd name="connsiteX237" fmla="*/ 327089 w 400050"/>
                <a:gd name="connsiteY237" fmla="*/ 268796 h 638175"/>
                <a:gd name="connsiteX238" fmla="*/ 323660 w 400050"/>
                <a:gd name="connsiteY238" fmla="*/ 274320 h 638175"/>
                <a:gd name="connsiteX239" fmla="*/ 324326 w 400050"/>
                <a:gd name="connsiteY239" fmla="*/ 277749 h 638175"/>
                <a:gd name="connsiteX240" fmla="*/ 323660 w 400050"/>
                <a:gd name="connsiteY240" fmla="*/ 279845 h 638175"/>
                <a:gd name="connsiteX241" fmla="*/ 324326 w 400050"/>
                <a:gd name="connsiteY241" fmla="*/ 281178 h 638175"/>
                <a:gd name="connsiteX242" fmla="*/ 326422 w 400050"/>
                <a:gd name="connsiteY242" fmla="*/ 281178 h 638175"/>
                <a:gd name="connsiteX243" fmla="*/ 327089 w 400050"/>
                <a:gd name="connsiteY243" fmla="*/ 282512 h 638175"/>
                <a:gd name="connsiteX244" fmla="*/ 324993 w 400050"/>
                <a:gd name="connsiteY244" fmla="*/ 283178 h 638175"/>
                <a:gd name="connsiteX245" fmla="*/ 322898 w 400050"/>
                <a:gd name="connsiteY245" fmla="*/ 281083 h 638175"/>
                <a:gd name="connsiteX246" fmla="*/ 321564 w 400050"/>
                <a:gd name="connsiteY246" fmla="*/ 281083 h 638175"/>
                <a:gd name="connsiteX247" fmla="*/ 322898 w 400050"/>
                <a:gd name="connsiteY247" fmla="*/ 289274 h 638175"/>
                <a:gd name="connsiteX248" fmla="*/ 322231 w 400050"/>
                <a:gd name="connsiteY248" fmla="*/ 291370 h 638175"/>
                <a:gd name="connsiteX249" fmla="*/ 323564 w 400050"/>
                <a:gd name="connsiteY249" fmla="*/ 292703 h 638175"/>
                <a:gd name="connsiteX250" fmla="*/ 322231 w 400050"/>
                <a:gd name="connsiteY250" fmla="*/ 294037 h 638175"/>
                <a:gd name="connsiteX251" fmla="*/ 322231 w 400050"/>
                <a:gd name="connsiteY251" fmla="*/ 291274 h 638175"/>
                <a:gd name="connsiteX252" fmla="*/ 320897 w 400050"/>
                <a:gd name="connsiteY252" fmla="*/ 294704 h 638175"/>
                <a:gd name="connsiteX253" fmla="*/ 321564 w 400050"/>
                <a:gd name="connsiteY253" fmla="*/ 296799 h 638175"/>
                <a:gd name="connsiteX254" fmla="*/ 319469 w 400050"/>
                <a:gd name="connsiteY254" fmla="*/ 300895 h 638175"/>
                <a:gd name="connsiteX255" fmla="*/ 320135 w 400050"/>
                <a:gd name="connsiteY255" fmla="*/ 303657 h 638175"/>
                <a:gd name="connsiteX256" fmla="*/ 319469 w 400050"/>
                <a:gd name="connsiteY256" fmla="*/ 305753 h 638175"/>
                <a:gd name="connsiteX257" fmla="*/ 318802 w 400050"/>
                <a:gd name="connsiteY257" fmla="*/ 305753 h 638175"/>
                <a:gd name="connsiteX258" fmla="*/ 318802 w 400050"/>
                <a:gd name="connsiteY258" fmla="*/ 306419 h 638175"/>
                <a:gd name="connsiteX259" fmla="*/ 320135 w 400050"/>
                <a:gd name="connsiteY259" fmla="*/ 308515 h 638175"/>
                <a:gd name="connsiteX260" fmla="*/ 320135 w 400050"/>
                <a:gd name="connsiteY260" fmla="*/ 309848 h 638175"/>
                <a:gd name="connsiteX261" fmla="*/ 318802 w 400050"/>
                <a:gd name="connsiteY261" fmla="*/ 309848 h 638175"/>
                <a:gd name="connsiteX262" fmla="*/ 317468 w 400050"/>
                <a:gd name="connsiteY262" fmla="*/ 311944 h 638175"/>
                <a:gd name="connsiteX263" fmla="*/ 317468 w 400050"/>
                <a:gd name="connsiteY263" fmla="*/ 314039 h 638175"/>
                <a:gd name="connsiteX264" fmla="*/ 318135 w 400050"/>
                <a:gd name="connsiteY264" fmla="*/ 316135 h 638175"/>
                <a:gd name="connsiteX265" fmla="*/ 318135 w 400050"/>
                <a:gd name="connsiteY265" fmla="*/ 317468 h 638175"/>
                <a:gd name="connsiteX266" fmla="*/ 315373 w 400050"/>
                <a:gd name="connsiteY266" fmla="*/ 325660 h 638175"/>
                <a:gd name="connsiteX267" fmla="*/ 316706 w 400050"/>
                <a:gd name="connsiteY267" fmla="*/ 329756 h 638175"/>
                <a:gd name="connsiteX268" fmla="*/ 314611 w 400050"/>
                <a:gd name="connsiteY268" fmla="*/ 331089 h 638175"/>
                <a:gd name="connsiteX269" fmla="*/ 313944 w 400050"/>
                <a:gd name="connsiteY269" fmla="*/ 333185 h 638175"/>
                <a:gd name="connsiteX270" fmla="*/ 315278 w 400050"/>
                <a:gd name="connsiteY270" fmla="*/ 337280 h 638175"/>
                <a:gd name="connsiteX271" fmla="*/ 314611 w 400050"/>
                <a:gd name="connsiteY271" fmla="*/ 339376 h 638175"/>
                <a:gd name="connsiteX272" fmla="*/ 312515 w 400050"/>
                <a:gd name="connsiteY272" fmla="*/ 338709 h 638175"/>
                <a:gd name="connsiteX273" fmla="*/ 311182 w 400050"/>
                <a:gd name="connsiteY273" fmla="*/ 349663 h 638175"/>
                <a:gd name="connsiteX274" fmla="*/ 311182 w 400050"/>
                <a:gd name="connsiteY274" fmla="*/ 351758 h 638175"/>
                <a:gd name="connsiteX275" fmla="*/ 311849 w 400050"/>
                <a:gd name="connsiteY275" fmla="*/ 353854 h 638175"/>
                <a:gd name="connsiteX276" fmla="*/ 305657 w 400050"/>
                <a:gd name="connsiteY276" fmla="*/ 365474 h 638175"/>
                <a:gd name="connsiteX277" fmla="*/ 305657 w 400050"/>
                <a:gd name="connsiteY277" fmla="*/ 366808 h 638175"/>
                <a:gd name="connsiteX278" fmla="*/ 306991 w 400050"/>
                <a:gd name="connsiteY278" fmla="*/ 367474 h 638175"/>
                <a:gd name="connsiteX279" fmla="*/ 304895 w 400050"/>
                <a:gd name="connsiteY279" fmla="*/ 372237 h 638175"/>
                <a:gd name="connsiteX280" fmla="*/ 305562 w 400050"/>
                <a:gd name="connsiteY280" fmla="*/ 374333 h 638175"/>
                <a:gd name="connsiteX281" fmla="*/ 304229 w 400050"/>
                <a:gd name="connsiteY281" fmla="*/ 376428 h 638175"/>
                <a:gd name="connsiteX282" fmla="*/ 304229 w 400050"/>
                <a:gd name="connsiteY282" fmla="*/ 379190 h 638175"/>
                <a:gd name="connsiteX283" fmla="*/ 298704 w 400050"/>
                <a:gd name="connsiteY283" fmla="*/ 393573 h 638175"/>
                <a:gd name="connsiteX284" fmla="*/ 299371 w 400050"/>
                <a:gd name="connsiteY284" fmla="*/ 396335 h 638175"/>
                <a:gd name="connsiteX285" fmla="*/ 291846 w 400050"/>
                <a:gd name="connsiteY285" fmla="*/ 418243 h 638175"/>
                <a:gd name="connsiteX286" fmla="*/ 291560 w 400050"/>
                <a:gd name="connsiteY286" fmla="*/ 418243 h 638175"/>
                <a:gd name="connsiteX287" fmla="*/ 290894 w 400050"/>
                <a:gd name="connsiteY287" fmla="*/ 419576 h 638175"/>
                <a:gd name="connsiteX288" fmla="*/ 290227 w 400050"/>
                <a:gd name="connsiteY288" fmla="*/ 423005 h 638175"/>
                <a:gd name="connsiteX289" fmla="*/ 286131 w 400050"/>
                <a:gd name="connsiteY289" fmla="*/ 430530 h 638175"/>
                <a:gd name="connsiteX290" fmla="*/ 286798 w 400050"/>
                <a:gd name="connsiteY290" fmla="*/ 431864 h 638175"/>
                <a:gd name="connsiteX291" fmla="*/ 283369 w 400050"/>
                <a:gd name="connsiteY291" fmla="*/ 439388 h 638175"/>
                <a:gd name="connsiteX292" fmla="*/ 283369 w 400050"/>
                <a:gd name="connsiteY292" fmla="*/ 440055 h 638175"/>
                <a:gd name="connsiteX293" fmla="*/ 284036 w 400050"/>
                <a:gd name="connsiteY293" fmla="*/ 441389 h 638175"/>
                <a:gd name="connsiteX294" fmla="*/ 283369 w 400050"/>
                <a:gd name="connsiteY294" fmla="*/ 442722 h 638175"/>
                <a:gd name="connsiteX295" fmla="*/ 280607 w 400050"/>
                <a:gd name="connsiteY295" fmla="*/ 441389 h 638175"/>
                <a:gd name="connsiteX296" fmla="*/ 277844 w 400050"/>
                <a:gd name="connsiteY296" fmla="*/ 454438 h 638175"/>
                <a:gd name="connsiteX297" fmla="*/ 272320 w 400050"/>
                <a:gd name="connsiteY297" fmla="*/ 466820 h 638175"/>
                <a:gd name="connsiteX298" fmla="*/ 273653 w 400050"/>
                <a:gd name="connsiteY298" fmla="*/ 466820 h 638175"/>
                <a:gd name="connsiteX299" fmla="*/ 274987 w 400050"/>
                <a:gd name="connsiteY299" fmla="*/ 467487 h 638175"/>
                <a:gd name="connsiteX300" fmla="*/ 274320 w 400050"/>
                <a:gd name="connsiteY300" fmla="*/ 468154 h 638175"/>
                <a:gd name="connsiteX301" fmla="*/ 272987 w 400050"/>
                <a:gd name="connsiteY301" fmla="*/ 468154 h 638175"/>
                <a:gd name="connsiteX302" fmla="*/ 262033 w 400050"/>
                <a:gd name="connsiteY302" fmla="*/ 486632 h 638175"/>
                <a:gd name="connsiteX303" fmla="*/ 262700 w 400050"/>
                <a:gd name="connsiteY303" fmla="*/ 487966 h 638175"/>
                <a:gd name="connsiteX304" fmla="*/ 262033 w 400050"/>
                <a:gd name="connsiteY304" fmla="*/ 487299 h 638175"/>
                <a:gd name="connsiteX305" fmla="*/ 256508 w 400050"/>
                <a:gd name="connsiteY305" fmla="*/ 491395 h 638175"/>
                <a:gd name="connsiteX306" fmla="*/ 257842 w 400050"/>
                <a:gd name="connsiteY306" fmla="*/ 494824 h 638175"/>
                <a:gd name="connsiteX307" fmla="*/ 254413 w 400050"/>
                <a:gd name="connsiteY307" fmla="*/ 501682 h 638175"/>
                <a:gd name="connsiteX308" fmla="*/ 251651 w 400050"/>
                <a:gd name="connsiteY308" fmla="*/ 503015 h 638175"/>
                <a:gd name="connsiteX309" fmla="*/ 252317 w 400050"/>
                <a:gd name="connsiteY309" fmla="*/ 503015 h 638175"/>
                <a:gd name="connsiteX310" fmla="*/ 252984 w 400050"/>
                <a:gd name="connsiteY310" fmla="*/ 504349 h 638175"/>
                <a:gd name="connsiteX311" fmla="*/ 250889 w 400050"/>
                <a:gd name="connsiteY311" fmla="*/ 509873 h 638175"/>
                <a:gd name="connsiteX312" fmla="*/ 248793 w 400050"/>
                <a:gd name="connsiteY312" fmla="*/ 511207 h 638175"/>
                <a:gd name="connsiteX313" fmla="*/ 249460 w 400050"/>
                <a:gd name="connsiteY313" fmla="*/ 515303 h 638175"/>
                <a:gd name="connsiteX314" fmla="*/ 248793 w 400050"/>
                <a:gd name="connsiteY314" fmla="*/ 515969 h 638175"/>
                <a:gd name="connsiteX315" fmla="*/ 247459 w 400050"/>
                <a:gd name="connsiteY315" fmla="*/ 515969 h 638175"/>
                <a:gd name="connsiteX316" fmla="*/ 247459 w 400050"/>
                <a:gd name="connsiteY316" fmla="*/ 516636 h 638175"/>
                <a:gd name="connsiteX317" fmla="*/ 235839 w 400050"/>
                <a:gd name="connsiteY317" fmla="*/ 541973 h 638175"/>
                <a:gd name="connsiteX318" fmla="*/ 230315 w 400050"/>
                <a:gd name="connsiteY318" fmla="*/ 548164 h 638175"/>
                <a:gd name="connsiteX319" fmla="*/ 220028 w 400050"/>
                <a:gd name="connsiteY319" fmla="*/ 561213 h 638175"/>
                <a:gd name="connsiteX320" fmla="*/ 220694 w 400050"/>
                <a:gd name="connsiteY320" fmla="*/ 562547 h 638175"/>
                <a:gd name="connsiteX321" fmla="*/ 218599 w 400050"/>
                <a:gd name="connsiteY321" fmla="*/ 565976 h 638175"/>
                <a:gd name="connsiteX322" fmla="*/ 217932 w 400050"/>
                <a:gd name="connsiteY322" fmla="*/ 568738 h 638175"/>
                <a:gd name="connsiteX323" fmla="*/ 217265 w 400050"/>
                <a:gd name="connsiteY323" fmla="*/ 567404 h 638175"/>
                <a:gd name="connsiteX324" fmla="*/ 207645 w 400050"/>
                <a:gd name="connsiteY324" fmla="*/ 579787 h 638175"/>
                <a:gd name="connsiteX325" fmla="*/ 201454 w 400050"/>
                <a:gd name="connsiteY325" fmla="*/ 587312 h 638175"/>
                <a:gd name="connsiteX326" fmla="*/ 191167 w 400050"/>
                <a:gd name="connsiteY326" fmla="*/ 598265 h 638175"/>
                <a:gd name="connsiteX327" fmla="*/ 174689 w 400050"/>
                <a:gd name="connsiteY327" fmla="*/ 611315 h 638175"/>
                <a:gd name="connsiteX328" fmla="*/ 173355 w 400050"/>
                <a:gd name="connsiteY328" fmla="*/ 614077 h 638175"/>
                <a:gd name="connsiteX329" fmla="*/ 172022 w 400050"/>
                <a:gd name="connsiteY329" fmla="*/ 615410 h 638175"/>
                <a:gd name="connsiteX330" fmla="*/ 171355 w 400050"/>
                <a:gd name="connsiteY330" fmla="*/ 614077 h 638175"/>
                <a:gd name="connsiteX331" fmla="*/ 165164 w 400050"/>
                <a:gd name="connsiteY331" fmla="*/ 614744 h 638175"/>
                <a:gd name="connsiteX332" fmla="*/ 165830 w 400050"/>
                <a:gd name="connsiteY332" fmla="*/ 616839 h 638175"/>
                <a:gd name="connsiteX333" fmla="*/ 165164 w 400050"/>
                <a:gd name="connsiteY333" fmla="*/ 619601 h 638175"/>
                <a:gd name="connsiteX334" fmla="*/ 162401 w 400050"/>
                <a:gd name="connsiteY334" fmla="*/ 618268 h 638175"/>
                <a:gd name="connsiteX335" fmla="*/ 159163 w 400050"/>
                <a:gd name="connsiteY335" fmla="*/ 618268 h 638175"/>
                <a:gd name="connsiteX336" fmla="*/ 159163 w 400050"/>
                <a:gd name="connsiteY336" fmla="*/ 619601 h 638175"/>
                <a:gd name="connsiteX337" fmla="*/ 148209 w 400050"/>
                <a:gd name="connsiteY337" fmla="*/ 629888 h 638175"/>
                <a:gd name="connsiteX338" fmla="*/ 146114 w 400050"/>
                <a:gd name="connsiteY338" fmla="*/ 629222 h 638175"/>
                <a:gd name="connsiteX339" fmla="*/ 140589 w 400050"/>
                <a:gd name="connsiteY339" fmla="*/ 632651 h 638175"/>
                <a:gd name="connsiteX340" fmla="*/ 133731 w 400050"/>
                <a:gd name="connsiteY340" fmla="*/ 631317 h 638175"/>
                <a:gd name="connsiteX341" fmla="*/ 127540 w 400050"/>
                <a:gd name="connsiteY341" fmla="*/ 635413 h 638175"/>
                <a:gd name="connsiteX342" fmla="*/ 124778 w 400050"/>
                <a:gd name="connsiteY342" fmla="*/ 634746 h 638175"/>
                <a:gd name="connsiteX343" fmla="*/ 120015 w 400050"/>
                <a:gd name="connsiteY343" fmla="*/ 638175 h 638175"/>
                <a:gd name="connsiteX344" fmla="*/ 117253 w 400050"/>
                <a:gd name="connsiteY344" fmla="*/ 635413 h 638175"/>
                <a:gd name="connsiteX345" fmla="*/ 117920 w 400050"/>
                <a:gd name="connsiteY345" fmla="*/ 636080 h 638175"/>
                <a:gd name="connsiteX346" fmla="*/ 113157 w 400050"/>
                <a:gd name="connsiteY346" fmla="*/ 639509 h 638175"/>
                <a:gd name="connsiteX347" fmla="*/ 110395 w 400050"/>
                <a:gd name="connsiteY347" fmla="*/ 641604 h 638175"/>
                <a:gd name="connsiteX348" fmla="*/ 106299 w 400050"/>
                <a:gd name="connsiteY348" fmla="*/ 642271 h 638175"/>
                <a:gd name="connsiteX349" fmla="*/ 102203 w 400050"/>
                <a:gd name="connsiteY349" fmla="*/ 640175 h 638175"/>
                <a:gd name="connsiteX350" fmla="*/ 98774 w 400050"/>
                <a:gd name="connsiteY350" fmla="*/ 644938 h 638175"/>
                <a:gd name="connsiteX351" fmla="*/ 95345 w 400050"/>
                <a:gd name="connsiteY351" fmla="*/ 641509 h 638175"/>
                <a:gd name="connsiteX352" fmla="*/ 96679 w 400050"/>
                <a:gd name="connsiteY352" fmla="*/ 642176 h 638175"/>
                <a:gd name="connsiteX353" fmla="*/ 96679 w 400050"/>
                <a:gd name="connsiteY353" fmla="*/ 640842 h 638175"/>
                <a:gd name="connsiteX354" fmla="*/ 89821 w 400050"/>
                <a:gd name="connsiteY354" fmla="*/ 641509 h 638175"/>
                <a:gd name="connsiteX355" fmla="*/ 87725 w 400050"/>
                <a:gd name="connsiteY355" fmla="*/ 641509 h 638175"/>
                <a:gd name="connsiteX356" fmla="*/ 84963 w 400050"/>
                <a:gd name="connsiteY356" fmla="*/ 640842 h 638175"/>
                <a:gd name="connsiteX357" fmla="*/ 84296 w 400050"/>
                <a:gd name="connsiteY357" fmla="*/ 641509 h 638175"/>
                <a:gd name="connsiteX358" fmla="*/ 82201 w 400050"/>
                <a:gd name="connsiteY358" fmla="*/ 640842 h 638175"/>
                <a:gd name="connsiteX359" fmla="*/ 80105 w 400050"/>
                <a:gd name="connsiteY359" fmla="*/ 639509 h 638175"/>
                <a:gd name="connsiteX360" fmla="*/ 78200 w 400050"/>
                <a:gd name="connsiteY360" fmla="*/ 639509 h 638175"/>
                <a:gd name="connsiteX361" fmla="*/ 74105 w 400050"/>
                <a:gd name="connsiteY361" fmla="*/ 640842 h 638175"/>
                <a:gd name="connsiteX362" fmla="*/ 73438 w 400050"/>
                <a:gd name="connsiteY362" fmla="*/ 640842 h 638175"/>
                <a:gd name="connsiteX363" fmla="*/ 70009 w 400050"/>
                <a:gd name="connsiteY363" fmla="*/ 641509 h 638175"/>
                <a:gd name="connsiteX364" fmla="*/ 67247 w 400050"/>
                <a:gd name="connsiteY364" fmla="*/ 639413 h 638175"/>
                <a:gd name="connsiteX365" fmla="*/ 65913 w 400050"/>
                <a:gd name="connsiteY365" fmla="*/ 640080 h 638175"/>
                <a:gd name="connsiteX366" fmla="*/ 62484 w 400050"/>
                <a:gd name="connsiteY366" fmla="*/ 637985 h 638175"/>
                <a:gd name="connsiteX367" fmla="*/ 62484 w 400050"/>
                <a:gd name="connsiteY367" fmla="*/ 640080 h 638175"/>
                <a:gd name="connsiteX368" fmla="*/ 63151 w 400050"/>
                <a:gd name="connsiteY368" fmla="*/ 640747 h 638175"/>
                <a:gd name="connsiteX369" fmla="*/ 62484 w 400050"/>
                <a:gd name="connsiteY369" fmla="*/ 640747 h 638175"/>
                <a:gd name="connsiteX370" fmla="*/ 36386 w 400050"/>
                <a:gd name="connsiteY370" fmla="*/ 629126 h 638175"/>
                <a:gd name="connsiteX371" fmla="*/ 34290 w 400050"/>
                <a:gd name="connsiteY371" fmla="*/ 626364 h 638175"/>
                <a:gd name="connsiteX372" fmla="*/ 18478 w 400050"/>
                <a:gd name="connsiteY372" fmla="*/ 609219 h 638175"/>
                <a:gd name="connsiteX373" fmla="*/ 17240 w 400050"/>
                <a:gd name="connsiteY373" fmla="*/ 608267 h 638175"/>
                <a:gd name="connsiteX374" fmla="*/ 13811 w 400050"/>
                <a:gd name="connsiteY374" fmla="*/ 606171 h 638175"/>
                <a:gd name="connsiteX375" fmla="*/ 14478 w 400050"/>
                <a:gd name="connsiteY375" fmla="*/ 605504 h 638175"/>
                <a:gd name="connsiteX376" fmla="*/ 7620 w 400050"/>
                <a:gd name="connsiteY376" fmla="*/ 591122 h 638175"/>
                <a:gd name="connsiteX377" fmla="*/ 7620 w 400050"/>
                <a:gd name="connsiteY377" fmla="*/ 589788 h 638175"/>
                <a:gd name="connsiteX378" fmla="*/ 8287 w 400050"/>
                <a:gd name="connsiteY378" fmla="*/ 587026 h 638175"/>
                <a:gd name="connsiteX379" fmla="*/ 7620 w 400050"/>
                <a:gd name="connsiteY379" fmla="*/ 584930 h 638175"/>
                <a:gd name="connsiteX380" fmla="*/ 9715 w 400050"/>
                <a:gd name="connsiteY380" fmla="*/ 582835 h 638175"/>
                <a:gd name="connsiteX381" fmla="*/ 9715 w 400050"/>
                <a:gd name="connsiteY381" fmla="*/ 581501 h 638175"/>
                <a:gd name="connsiteX382" fmla="*/ 7620 w 400050"/>
                <a:gd name="connsiteY382" fmla="*/ 577406 h 638175"/>
                <a:gd name="connsiteX383" fmla="*/ 6953 w 400050"/>
                <a:gd name="connsiteY383" fmla="*/ 576072 h 638175"/>
                <a:gd name="connsiteX384" fmla="*/ 6953 w 400050"/>
                <a:gd name="connsiteY384" fmla="*/ 578834 h 638175"/>
                <a:gd name="connsiteX385" fmla="*/ 3524 w 400050"/>
                <a:gd name="connsiteY385" fmla="*/ 576072 h 638175"/>
                <a:gd name="connsiteX386" fmla="*/ 4191 w 400050"/>
                <a:gd name="connsiteY386" fmla="*/ 573310 h 638175"/>
                <a:gd name="connsiteX387" fmla="*/ 2096 w 400050"/>
                <a:gd name="connsiteY387" fmla="*/ 569214 h 638175"/>
                <a:gd name="connsiteX388" fmla="*/ 2096 w 400050"/>
                <a:gd name="connsiteY388" fmla="*/ 567119 h 638175"/>
                <a:gd name="connsiteX389" fmla="*/ 0 w 400050"/>
                <a:gd name="connsiteY389" fmla="*/ 563023 h 638175"/>
                <a:gd name="connsiteX390" fmla="*/ 667 w 400050"/>
                <a:gd name="connsiteY390" fmla="*/ 563023 h 638175"/>
                <a:gd name="connsiteX391" fmla="*/ 0 w 400050"/>
                <a:gd name="connsiteY391" fmla="*/ 561689 h 638175"/>
                <a:gd name="connsiteX392" fmla="*/ 2762 w 400050"/>
                <a:gd name="connsiteY392" fmla="*/ 556927 h 638175"/>
                <a:gd name="connsiteX393" fmla="*/ 667 w 400050"/>
                <a:gd name="connsiteY393" fmla="*/ 549402 h 638175"/>
                <a:gd name="connsiteX394" fmla="*/ 667 w 400050"/>
                <a:gd name="connsiteY394" fmla="*/ 544640 h 638175"/>
                <a:gd name="connsiteX395" fmla="*/ 2000 w 400050"/>
                <a:gd name="connsiteY395" fmla="*/ 541877 h 638175"/>
                <a:gd name="connsiteX396" fmla="*/ 1334 w 400050"/>
                <a:gd name="connsiteY396" fmla="*/ 538448 h 638175"/>
                <a:gd name="connsiteX397" fmla="*/ 2667 w 400050"/>
                <a:gd name="connsiteY397" fmla="*/ 529495 h 638175"/>
                <a:gd name="connsiteX398" fmla="*/ 4763 w 400050"/>
                <a:gd name="connsiteY398" fmla="*/ 528828 h 638175"/>
                <a:gd name="connsiteX399" fmla="*/ 4763 w 400050"/>
                <a:gd name="connsiteY399" fmla="*/ 530162 h 638175"/>
                <a:gd name="connsiteX400" fmla="*/ 8191 w 400050"/>
                <a:gd name="connsiteY400" fmla="*/ 534257 h 638175"/>
                <a:gd name="connsiteX401" fmla="*/ 10287 w 400050"/>
                <a:gd name="connsiteY401" fmla="*/ 534257 h 638175"/>
                <a:gd name="connsiteX402" fmla="*/ 8191 w 400050"/>
                <a:gd name="connsiteY402" fmla="*/ 529495 h 638175"/>
                <a:gd name="connsiteX403" fmla="*/ 6858 w 400050"/>
                <a:gd name="connsiteY403" fmla="*/ 529495 h 638175"/>
                <a:gd name="connsiteX404" fmla="*/ 10287 w 400050"/>
                <a:gd name="connsiteY404" fmla="*/ 528161 h 638175"/>
                <a:gd name="connsiteX405" fmla="*/ 13049 w 400050"/>
                <a:gd name="connsiteY405" fmla="*/ 531590 h 638175"/>
                <a:gd name="connsiteX406" fmla="*/ 13716 w 400050"/>
                <a:gd name="connsiteY406" fmla="*/ 531590 h 638175"/>
                <a:gd name="connsiteX407" fmla="*/ 12383 w 400050"/>
                <a:gd name="connsiteY407" fmla="*/ 536353 h 638175"/>
                <a:gd name="connsiteX408" fmla="*/ 14478 w 400050"/>
                <a:gd name="connsiteY408" fmla="*/ 540449 h 638175"/>
                <a:gd name="connsiteX409" fmla="*/ 15812 w 400050"/>
                <a:gd name="connsiteY409" fmla="*/ 552831 h 638175"/>
                <a:gd name="connsiteX410" fmla="*/ 19240 w 400050"/>
                <a:gd name="connsiteY410" fmla="*/ 561023 h 638175"/>
                <a:gd name="connsiteX411" fmla="*/ 24003 w 400050"/>
                <a:gd name="connsiteY411" fmla="*/ 554165 h 638175"/>
                <a:gd name="connsiteX412" fmla="*/ 22670 w 400050"/>
                <a:gd name="connsiteY412" fmla="*/ 551402 h 638175"/>
                <a:gd name="connsiteX413" fmla="*/ 19907 w 400050"/>
                <a:gd name="connsiteY413" fmla="*/ 548640 h 638175"/>
                <a:gd name="connsiteX414" fmla="*/ 22670 w 400050"/>
                <a:gd name="connsiteY414" fmla="*/ 540449 h 638175"/>
                <a:gd name="connsiteX415" fmla="*/ 21336 w 400050"/>
                <a:gd name="connsiteY415" fmla="*/ 534257 h 638175"/>
                <a:gd name="connsiteX416" fmla="*/ 26099 w 400050"/>
                <a:gd name="connsiteY416" fmla="*/ 522637 h 638175"/>
                <a:gd name="connsiteX417" fmla="*/ 24765 w 400050"/>
                <a:gd name="connsiteY417" fmla="*/ 519874 h 638175"/>
                <a:gd name="connsiteX418" fmla="*/ 25432 w 400050"/>
                <a:gd name="connsiteY418" fmla="*/ 512350 h 638175"/>
                <a:gd name="connsiteX419" fmla="*/ 24765 w 400050"/>
                <a:gd name="connsiteY419" fmla="*/ 507587 h 638175"/>
                <a:gd name="connsiteX420" fmla="*/ 26861 w 400050"/>
                <a:gd name="connsiteY420" fmla="*/ 508254 h 638175"/>
                <a:gd name="connsiteX421" fmla="*/ 28194 w 400050"/>
                <a:gd name="connsiteY421" fmla="*/ 505492 h 638175"/>
                <a:gd name="connsiteX422" fmla="*/ 28194 w 400050"/>
                <a:gd name="connsiteY422" fmla="*/ 504158 h 638175"/>
                <a:gd name="connsiteX423" fmla="*/ 25432 w 400050"/>
                <a:gd name="connsiteY423" fmla="*/ 503492 h 638175"/>
                <a:gd name="connsiteX424" fmla="*/ 24765 w 400050"/>
                <a:gd name="connsiteY424" fmla="*/ 502158 h 638175"/>
                <a:gd name="connsiteX425" fmla="*/ 26861 w 400050"/>
                <a:gd name="connsiteY425" fmla="*/ 496634 h 638175"/>
                <a:gd name="connsiteX426" fmla="*/ 26861 w 400050"/>
                <a:gd name="connsiteY426" fmla="*/ 495300 h 638175"/>
                <a:gd name="connsiteX427" fmla="*/ 28194 w 400050"/>
                <a:gd name="connsiteY427" fmla="*/ 491871 h 638175"/>
                <a:gd name="connsiteX428" fmla="*/ 27527 w 400050"/>
                <a:gd name="connsiteY428" fmla="*/ 487775 h 638175"/>
                <a:gd name="connsiteX429" fmla="*/ 28861 w 400050"/>
                <a:gd name="connsiteY429" fmla="*/ 487109 h 638175"/>
                <a:gd name="connsiteX430" fmla="*/ 29528 w 400050"/>
                <a:gd name="connsiteY430" fmla="*/ 487109 h 638175"/>
                <a:gd name="connsiteX431" fmla="*/ 30861 w 400050"/>
                <a:gd name="connsiteY431" fmla="*/ 485013 h 638175"/>
                <a:gd name="connsiteX432" fmla="*/ 30194 w 400050"/>
                <a:gd name="connsiteY432" fmla="*/ 484346 h 638175"/>
                <a:gd name="connsiteX433" fmla="*/ 31528 w 400050"/>
                <a:gd name="connsiteY433" fmla="*/ 480917 h 638175"/>
                <a:gd name="connsiteX434" fmla="*/ 29432 w 400050"/>
                <a:gd name="connsiteY434" fmla="*/ 478822 h 638175"/>
                <a:gd name="connsiteX435" fmla="*/ 38386 w 400050"/>
                <a:gd name="connsiteY435" fmla="*/ 470630 h 638175"/>
                <a:gd name="connsiteX436" fmla="*/ 37719 w 400050"/>
                <a:gd name="connsiteY436" fmla="*/ 470630 h 638175"/>
                <a:gd name="connsiteX437" fmla="*/ 34290 w 400050"/>
                <a:gd name="connsiteY437" fmla="*/ 466535 h 638175"/>
                <a:gd name="connsiteX438" fmla="*/ 34957 w 400050"/>
                <a:gd name="connsiteY438" fmla="*/ 466535 h 638175"/>
                <a:gd name="connsiteX439" fmla="*/ 36290 w 400050"/>
                <a:gd name="connsiteY439" fmla="*/ 467201 h 638175"/>
                <a:gd name="connsiteX440" fmla="*/ 38386 w 400050"/>
                <a:gd name="connsiteY440" fmla="*/ 465106 h 638175"/>
                <a:gd name="connsiteX441" fmla="*/ 37719 w 400050"/>
                <a:gd name="connsiteY441" fmla="*/ 463772 h 638175"/>
                <a:gd name="connsiteX442" fmla="*/ 37719 w 400050"/>
                <a:gd name="connsiteY442" fmla="*/ 463106 h 638175"/>
                <a:gd name="connsiteX443" fmla="*/ 35624 w 400050"/>
                <a:gd name="connsiteY443" fmla="*/ 463772 h 638175"/>
                <a:gd name="connsiteX444" fmla="*/ 33528 w 400050"/>
                <a:gd name="connsiteY444" fmla="*/ 461677 h 638175"/>
                <a:gd name="connsiteX445" fmla="*/ 32195 w 400050"/>
                <a:gd name="connsiteY445" fmla="*/ 463010 h 638175"/>
                <a:gd name="connsiteX446" fmla="*/ 31528 w 400050"/>
                <a:gd name="connsiteY446" fmla="*/ 461677 h 638175"/>
                <a:gd name="connsiteX447" fmla="*/ 32861 w 400050"/>
                <a:gd name="connsiteY447" fmla="*/ 458248 h 638175"/>
                <a:gd name="connsiteX448" fmla="*/ 36957 w 400050"/>
                <a:gd name="connsiteY448" fmla="*/ 461010 h 638175"/>
                <a:gd name="connsiteX449" fmla="*/ 39719 w 400050"/>
                <a:gd name="connsiteY449" fmla="*/ 458915 h 638175"/>
                <a:gd name="connsiteX450" fmla="*/ 39053 w 400050"/>
                <a:gd name="connsiteY450" fmla="*/ 458248 h 638175"/>
                <a:gd name="connsiteX451" fmla="*/ 41148 w 400050"/>
                <a:gd name="connsiteY451" fmla="*/ 448628 h 638175"/>
                <a:gd name="connsiteX452" fmla="*/ 41148 w 400050"/>
                <a:gd name="connsiteY452" fmla="*/ 447961 h 638175"/>
                <a:gd name="connsiteX453" fmla="*/ 43910 w 400050"/>
                <a:gd name="connsiteY453" fmla="*/ 446627 h 638175"/>
                <a:gd name="connsiteX454" fmla="*/ 43910 w 400050"/>
                <a:gd name="connsiteY454" fmla="*/ 445961 h 638175"/>
                <a:gd name="connsiteX455" fmla="*/ 40481 w 400050"/>
                <a:gd name="connsiteY455" fmla="*/ 446627 h 638175"/>
                <a:gd name="connsiteX456" fmla="*/ 39815 w 400050"/>
                <a:gd name="connsiteY456" fmla="*/ 445961 h 638175"/>
                <a:gd name="connsiteX457" fmla="*/ 37719 w 400050"/>
                <a:gd name="connsiteY457" fmla="*/ 452819 h 638175"/>
                <a:gd name="connsiteX458" fmla="*/ 34957 w 400050"/>
                <a:gd name="connsiteY458" fmla="*/ 452819 h 638175"/>
                <a:gd name="connsiteX459" fmla="*/ 34290 w 400050"/>
                <a:gd name="connsiteY459" fmla="*/ 450056 h 638175"/>
                <a:gd name="connsiteX460" fmla="*/ 37719 w 400050"/>
                <a:gd name="connsiteY460" fmla="*/ 443865 h 638175"/>
                <a:gd name="connsiteX461" fmla="*/ 37719 w 400050"/>
                <a:gd name="connsiteY461" fmla="*/ 441579 h 638175"/>
                <a:gd name="connsiteX462" fmla="*/ 39053 w 400050"/>
                <a:gd name="connsiteY462" fmla="*/ 440912 h 638175"/>
                <a:gd name="connsiteX463" fmla="*/ 40386 w 400050"/>
                <a:gd name="connsiteY463" fmla="*/ 441579 h 638175"/>
                <a:gd name="connsiteX464" fmla="*/ 40386 w 400050"/>
                <a:gd name="connsiteY464" fmla="*/ 439484 h 638175"/>
                <a:gd name="connsiteX465" fmla="*/ 46577 w 400050"/>
                <a:gd name="connsiteY465" fmla="*/ 429863 h 638175"/>
                <a:gd name="connsiteX466" fmla="*/ 45244 w 400050"/>
                <a:gd name="connsiteY466" fmla="*/ 425101 h 638175"/>
                <a:gd name="connsiteX467" fmla="*/ 41148 w 400050"/>
                <a:gd name="connsiteY467" fmla="*/ 431292 h 638175"/>
                <a:gd name="connsiteX468" fmla="*/ 40481 w 400050"/>
                <a:gd name="connsiteY468" fmla="*/ 430625 h 638175"/>
                <a:gd name="connsiteX469" fmla="*/ 36386 w 400050"/>
                <a:gd name="connsiteY469" fmla="*/ 436150 h 638175"/>
                <a:gd name="connsiteX470" fmla="*/ 35052 w 400050"/>
                <a:gd name="connsiteY470" fmla="*/ 437483 h 638175"/>
                <a:gd name="connsiteX471" fmla="*/ 36386 w 400050"/>
                <a:gd name="connsiteY471" fmla="*/ 439579 h 638175"/>
                <a:gd name="connsiteX472" fmla="*/ 35719 w 400050"/>
                <a:gd name="connsiteY472" fmla="*/ 440246 h 638175"/>
                <a:gd name="connsiteX473" fmla="*/ 35052 w 400050"/>
                <a:gd name="connsiteY473" fmla="*/ 440912 h 638175"/>
                <a:gd name="connsiteX474" fmla="*/ 32290 w 400050"/>
                <a:gd name="connsiteY474" fmla="*/ 437483 h 638175"/>
                <a:gd name="connsiteX475" fmla="*/ 30956 w 400050"/>
                <a:gd name="connsiteY475" fmla="*/ 439579 h 638175"/>
                <a:gd name="connsiteX476" fmla="*/ 28861 w 400050"/>
                <a:gd name="connsiteY476" fmla="*/ 436150 h 638175"/>
                <a:gd name="connsiteX477" fmla="*/ 31623 w 400050"/>
                <a:gd name="connsiteY477" fmla="*/ 433388 h 638175"/>
                <a:gd name="connsiteX478" fmla="*/ 32290 w 400050"/>
                <a:gd name="connsiteY478" fmla="*/ 434054 h 638175"/>
                <a:gd name="connsiteX479" fmla="*/ 34385 w 400050"/>
                <a:gd name="connsiteY479" fmla="*/ 433388 h 638175"/>
                <a:gd name="connsiteX480" fmla="*/ 33719 w 400050"/>
                <a:gd name="connsiteY480" fmla="*/ 432054 h 638175"/>
                <a:gd name="connsiteX481" fmla="*/ 43339 w 400050"/>
                <a:gd name="connsiteY481" fmla="*/ 419005 h 638175"/>
                <a:gd name="connsiteX482" fmla="*/ 45434 w 400050"/>
                <a:gd name="connsiteY482" fmla="*/ 416243 h 638175"/>
                <a:gd name="connsiteX483" fmla="*/ 48197 w 400050"/>
                <a:gd name="connsiteY483" fmla="*/ 413480 h 638175"/>
                <a:gd name="connsiteX484" fmla="*/ 55054 w 400050"/>
                <a:gd name="connsiteY484" fmla="*/ 404527 h 638175"/>
                <a:gd name="connsiteX485" fmla="*/ 56388 w 400050"/>
                <a:gd name="connsiteY485" fmla="*/ 405194 h 638175"/>
                <a:gd name="connsiteX486" fmla="*/ 50864 w 400050"/>
                <a:gd name="connsiteY486" fmla="*/ 412718 h 638175"/>
                <a:gd name="connsiteX487" fmla="*/ 51530 w 400050"/>
                <a:gd name="connsiteY487" fmla="*/ 414052 h 638175"/>
                <a:gd name="connsiteX488" fmla="*/ 51530 w 400050"/>
                <a:gd name="connsiteY488" fmla="*/ 415385 h 638175"/>
                <a:gd name="connsiteX489" fmla="*/ 50197 w 400050"/>
                <a:gd name="connsiteY489" fmla="*/ 419481 h 638175"/>
                <a:gd name="connsiteX490" fmla="*/ 48863 w 400050"/>
                <a:gd name="connsiteY490" fmla="*/ 421576 h 638175"/>
                <a:gd name="connsiteX491" fmla="*/ 47530 w 400050"/>
                <a:gd name="connsiteY491" fmla="*/ 422910 h 638175"/>
                <a:gd name="connsiteX492" fmla="*/ 48863 w 400050"/>
                <a:gd name="connsiteY492" fmla="*/ 424244 h 638175"/>
                <a:gd name="connsiteX493" fmla="*/ 50197 w 400050"/>
                <a:gd name="connsiteY493" fmla="*/ 424244 h 638175"/>
                <a:gd name="connsiteX494" fmla="*/ 54293 w 400050"/>
                <a:gd name="connsiteY494" fmla="*/ 418719 h 638175"/>
                <a:gd name="connsiteX495" fmla="*/ 54959 w 400050"/>
                <a:gd name="connsiteY495" fmla="*/ 415957 h 638175"/>
                <a:gd name="connsiteX496" fmla="*/ 59055 w 400050"/>
                <a:gd name="connsiteY496" fmla="*/ 412528 h 638175"/>
                <a:gd name="connsiteX497" fmla="*/ 61817 w 400050"/>
                <a:gd name="connsiteY497" fmla="*/ 409766 h 638175"/>
                <a:gd name="connsiteX498" fmla="*/ 64579 w 400050"/>
                <a:gd name="connsiteY498" fmla="*/ 406337 h 638175"/>
                <a:gd name="connsiteX499" fmla="*/ 65913 w 400050"/>
                <a:gd name="connsiteY499" fmla="*/ 406337 h 638175"/>
                <a:gd name="connsiteX500" fmla="*/ 65246 w 400050"/>
                <a:gd name="connsiteY500" fmla="*/ 407003 h 638175"/>
                <a:gd name="connsiteX501" fmla="*/ 65913 w 400050"/>
                <a:gd name="connsiteY501" fmla="*/ 407670 h 638175"/>
                <a:gd name="connsiteX502" fmla="*/ 66580 w 400050"/>
                <a:gd name="connsiteY502" fmla="*/ 407003 h 638175"/>
                <a:gd name="connsiteX503" fmla="*/ 67247 w 400050"/>
                <a:gd name="connsiteY503" fmla="*/ 407003 h 638175"/>
                <a:gd name="connsiteX504" fmla="*/ 67913 w 400050"/>
                <a:gd name="connsiteY504" fmla="*/ 406337 h 638175"/>
                <a:gd name="connsiteX505" fmla="*/ 66580 w 400050"/>
                <a:gd name="connsiteY505" fmla="*/ 402908 h 638175"/>
                <a:gd name="connsiteX506" fmla="*/ 70009 w 400050"/>
                <a:gd name="connsiteY506" fmla="*/ 400145 h 638175"/>
                <a:gd name="connsiteX507" fmla="*/ 70676 w 400050"/>
                <a:gd name="connsiteY507" fmla="*/ 397383 h 638175"/>
                <a:gd name="connsiteX508" fmla="*/ 70676 w 400050"/>
                <a:gd name="connsiteY508" fmla="*/ 396049 h 638175"/>
                <a:gd name="connsiteX509" fmla="*/ 79629 w 400050"/>
                <a:gd name="connsiteY509" fmla="*/ 385096 h 638175"/>
                <a:gd name="connsiteX510" fmla="*/ 98870 w 400050"/>
                <a:gd name="connsiteY510" fmla="*/ 362426 h 638175"/>
                <a:gd name="connsiteX511" fmla="*/ 98870 w 400050"/>
                <a:gd name="connsiteY511" fmla="*/ 358331 h 638175"/>
                <a:gd name="connsiteX512" fmla="*/ 96107 w 400050"/>
                <a:gd name="connsiteY512" fmla="*/ 360426 h 638175"/>
                <a:gd name="connsiteX513" fmla="*/ 96107 w 400050"/>
                <a:gd name="connsiteY513" fmla="*/ 359759 h 638175"/>
                <a:gd name="connsiteX514" fmla="*/ 93345 w 400050"/>
                <a:gd name="connsiteY514" fmla="*/ 360426 h 638175"/>
                <a:gd name="connsiteX515" fmla="*/ 92678 w 400050"/>
                <a:gd name="connsiteY515" fmla="*/ 361093 h 638175"/>
                <a:gd name="connsiteX516" fmla="*/ 89916 w 400050"/>
                <a:gd name="connsiteY516" fmla="*/ 363855 h 638175"/>
                <a:gd name="connsiteX517" fmla="*/ 89249 w 400050"/>
                <a:gd name="connsiteY517" fmla="*/ 363188 h 638175"/>
                <a:gd name="connsiteX518" fmla="*/ 87916 w 400050"/>
                <a:gd name="connsiteY518" fmla="*/ 364522 h 638175"/>
                <a:gd name="connsiteX519" fmla="*/ 87249 w 400050"/>
                <a:gd name="connsiteY519" fmla="*/ 363855 h 638175"/>
                <a:gd name="connsiteX520" fmla="*/ 98203 w 400050"/>
                <a:gd name="connsiteY520" fmla="*/ 352901 h 638175"/>
                <a:gd name="connsiteX521" fmla="*/ 99536 w 400050"/>
                <a:gd name="connsiteY521" fmla="*/ 350806 h 638175"/>
                <a:gd name="connsiteX522" fmla="*/ 98203 w 400050"/>
                <a:gd name="connsiteY522" fmla="*/ 350806 h 638175"/>
                <a:gd name="connsiteX523" fmla="*/ 96869 w 400050"/>
                <a:gd name="connsiteY523" fmla="*/ 350139 h 638175"/>
                <a:gd name="connsiteX524" fmla="*/ 127730 w 400050"/>
                <a:gd name="connsiteY524" fmla="*/ 325469 h 638175"/>
                <a:gd name="connsiteX525" fmla="*/ 132493 w 400050"/>
                <a:gd name="connsiteY525" fmla="*/ 321374 h 638175"/>
                <a:gd name="connsiteX526" fmla="*/ 140684 w 400050"/>
                <a:gd name="connsiteY526" fmla="*/ 314516 h 638175"/>
                <a:gd name="connsiteX527" fmla="*/ 141351 w 400050"/>
                <a:gd name="connsiteY527" fmla="*/ 315849 h 638175"/>
                <a:gd name="connsiteX528" fmla="*/ 144113 w 400050"/>
                <a:gd name="connsiteY528" fmla="*/ 311087 h 638175"/>
                <a:gd name="connsiteX529" fmla="*/ 144780 w 400050"/>
                <a:gd name="connsiteY529" fmla="*/ 311753 h 638175"/>
                <a:gd name="connsiteX530" fmla="*/ 145447 w 400050"/>
                <a:gd name="connsiteY530" fmla="*/ 310420 h 638175"/>
                <a:gd name="connsiteX531" fmla="*/ 145447 w 400050"/>
                <a:gd name="connsiteY531" fmla="*/ 309753 h 638175"/>
                <a:gd name="connsiteX532" fmla="*/ 146780 w 400050"/>
                <a:gd name="connsiteY532" fmla="*/ 310420 h 638175"/>
                <a:gd name="connsiteX533" fmla="*/ 152305 w 400050"/>
                <a:gd name="connsiteY533" fmla="*/ 304229 h 638175"/>
                <a:gd name="connsiteX534" fmla="*/ 149543 w 400050"/>
                <a:gd name="connsiteY534" fmla="*/ 303562 h 638175"/>
                <a:gd name="connsiteX535" fmla="*/ 143351 w 400050"/>
                <a:gd name="connsiteY535" fmla="*/ 306324 h 638175"/>
                <a:gd name="connsiteX536" fmla="*/ 141256 w 400050"/>
                <a:gd name="connsiteY536" fmla="*/ 305657 h 638175"/>
                <a:gd name="connsiteX537" fmla="*/ 151543 w 400050"/>
                <a:gd name="connsiteY537" fmla="*/ 298799 h 638175"/>
                <a:gd name="connsiteX538" fmla="*/ 150876 w 400050"/>
                <a:gd name="connsiteY538" fmla="*/ 297466 h 638175"/>
                <a:gd name="connsiteX539" fmla="*/ 152210 w 400050"/>
                <a:gd name="connsiteY539" fmla="*/ 296799 h 638175"/>
                <a:gd name="connsiteX540" fmla="*/ 152876 w 400050"/>
                <a:gd name="connsiteY540" fmla="*/ 298133 h 638175"/>
                <a:gd name="connsiteX541" fmla="*/ 154210 w 400050"/>
                <a:gd name="connsiteY541" fmla="*/ 298799 h 638175"/>
                <a:gd name="connsiteX542" fmla="*/ 151448 w 400050"/>
                <a:gd name="connsiteY542" fmla="*/ 298799 h 638175"/>
                <a:gd name="connsiteX543" fmla="*/ 152114 w 400050"/>
                <a:gd name="connsiteY543" fmla="*/ 304324 h 638175"/>
                <a:gd name="connsiteX544" fmla="*/ 157639 w 400050"/>
                <a:gd name="connsiteY544" fmla="*/ 300895 h 638175"/>
                <a:gd name="connsiteX545" fmla="*/ 158306 w 400050"/>
                <a:gd name="connsiteY545" fmla="*/ 301562 h 638175"/>
                <a:gd name="connsiteX546" fmla="*/ 163068 w 400050"/>
                <a:gd name="connsiteY546" fmla="*/ 296037 h 638175"/>
                <a:gd name="connsiteX547" fmla="*/ 163068 w 400050"/>
                <a:gd name="connsiteY547" fmla="*/ 295370 h 638175"/>
                <a:gd name="connsiteX548" fmla="*/ 163735 w 400050"/>
                <a:gd name="connsiteY548" fmla="*/ 295370 h 638175"/>
                <a:gd name="connsiteX549" fmla="*/ 165830 w 400050"/>
                <a:gd name="connsiteY549" fmla="*/ 294704 h 638175"/>
                <a:gd name="connsiteX550" fmla="*/ 166497 w 400050"/>
                <a:gd name="connsiteY550" fmla="*/ 294704 h 638175"/>
                <a:gd name="connsiteX551" fmla="*/ 170593 w 400050"/>
                <a:gd name="connsiteY551" fmla="*/ 291941 h 638175"/>
                <a:gd name="connsiteX552" fmla="*/ 171926 w 400050"/>
                <a:gd name="connsiteY552" fmla="*/ 291274 h 638175"/>
                <a:gd name="connsiteX553" fmla="*/ 180118 w 400050"/>
                <a:gd name="connsiteY553" fmla="*/ 286512 h 638175"/>
                <a:gd name="connsiteX554" fmla="*/ 197930 w 400050"/>
                <a:gd name="connsiteY554" fmla="*/ 275558 h 638175"/>
                <a:gd name="connsiteX555" fmla="*/ 198596 w 400050"/>
                <a:gd name="connsiteY555" fmla="*/ 275558 h 638175"/>
                <a:gd name="connsiteX556" fmla="*/ 201359 w 400050"/>
                <a:gd name="connsiteY556" fmla="*/ 272129 h 638175"/>
                <a:gd name="connsiteX557" fmla="*/ 205454 w 400050"/>
                <a:gd name="connsiteY557" fmla="*/ 277654 h 638175"/>
                <a:gd name="connsiteX558" fmla="*/ 206121 w 400050"/>
                <a:gd name="connsiteY558" fmla="*/ 276987 h 638175"/>
                <a:gd name="connsiteX559" fmla="*/ 208217 w 400050"/>
                <a:gd name="connsiteY559" fmla="*/ 274892 h 638175"/>
                <a:gd name="connsiteX560" fmla="*/ 205835 w 400050"/>
                <a:gd name="connsiteY560" fmla="*/ 274892 h 638175"/>
                <a:gd name="connsiteX561" fmla="*/ 204502 w 400050"/>
                <a:gd name="connsiteY561" fmla="*/ 273558 h 638175"/>
                <a:gd name="connsiteX562" fmla="*/ 214122 w 400050"/>
                <a:gd name="connsiteY562" fmla="*/ 266033 h 638175"/>
                <a:gd name="connsiteX563" fmla="*/ 217551 w 400050"/>
                <a:gd name="connsiteY563" fmla="*/ 270129 h 638175"/>
                <a:gd name="connsiteX564" fmla="*/ 214122 w 400050"/>
                <a:gd name="connsiteY564" fmla="*/ 272224 h 638175"/>
                <a:gd name="connsiteX565" fmla="*/ 214122 w 400050"/>
                <a:gd name="connsiteY565" fmla="*/ 272891 h 638175"/>
                <a:gd name="connsiteX566" fmla="*/ 217551 w 400050"/>
                <a:gd name="connsiteY566" fmla="*/ 270129 h 638175"/>
                <a:gd name="connsiteX567" fmla="*/ 218218 w 400050"/>
                <a:gd name="connsiteY567" fmla="*/ 270129 h 638175"/>
                <a:gd name="connsiteX568" fmla="*/ 222314 w 400050"/>
                <a:gd name="connsiteY568" fmla="*/ 268034 h 638175"/>
                <a:gd name="connsiteX569" fmla="*/ 221647 w 400050"/>
                <a:gd name="connsiteY569" fmla="*/ 266700 h 638175"/>
                <a:gd name="connsiteX570" fmla="*/ 218884 w 400050"/>
                <a:gd name="connsiteY570" fmla="*/ 266700 h 638175"/>
                <a:gd name="connsiteX571" fmla="*/ 218218 w 400050"/>
                <a:gd name="connsiteY571" fmla="*/ 265367 h 638175"/>
                <a:gd name="connsiteX572" fmla="*/ 222314 w 400050"/>
                <a:gd name="connsiteY572" fmla="*/ 263271 h 638175"/>
                <a:gd name="connsiteX573" fmla="*/ 223647 w 400050"/>
                <a:gd name="connsiteY573" fmla="*/ 263938 h 638175"/>
                <a:gd name="connsiteX574" fmla="*/ 224314 w 400050"/>
                <a:gd name="connsiteY574" fmla="*/ 262604 h 638175"/>
                <a:gd name="connsiteX575" fmla="*/ 224314 w 400050"/>
                <a:gd name="connsiteY575" fmla="*/ 261271 h 638175"/>
                <a:gd name="connsiteX576" fmla="*/ 244888 w 400050"/>
                <a:gd name="connsiteY576" fmla="*/ 250317 h 638175"/>
                <a:gd name="connsiteX577" fmla="*/ 244888 w 400050"/>
                <a:gd name="connsiteY577" fmla="*/ 248984 h 638175"/>
                <a:gd name="connsiteX578" fmla="*/ 247650 w 400050"/>
                <a:gd name="connsiteY578" fmla="*/ 246888 h 638175"/>
                <a:gd name="connsiteX579" fmla="*/ 250412 w 400050"/>
                <a:gd name="connsiteY579" fmla="*/ 248222 h 638175"/>
                <a:gd name="connsiteX580" fmla="*/ 250412 w 400050"/>
                <a:gd name="connsiteY580" fmla="*/ 247555 h 638175"/>
                <a:gd name="connsiteX581" fmla="*/ 250412 w 400050"/>
                <a:gd name="connsiteY581" fmla="*/ 246221 h 638175"/>
                <a:gd name="connsiteX582" fmla="*/ 254508 w 400050"/>
                <a:gd name="connsiteY582" fmla="*/ 244126 h 638175"/>
                <a:gd name="connsiteX583" fmla="*/ 257937 w 400050"/>
                <a:gd name="connsiteY583" fmla="*/ 246221 h 638175"/>
                <a:gd name="connsiteX584" fmla="*/ 256604 w 400050"/>
                <a:gd name="connsiteY584" fmla="*/ 248317 h 638175"/>
                <a:gd name="connsiteX585" fmla="*/ 257270 w 400050"/>
                <a:gd name="connsiteY585" fmla="*/ 248984 h 638175"/>
                <a:gd name="connsiteX586" fmla="*/ 259366 w 400050"/>
                <a:gd name="connsiteY586" fmla="*/ 246888 h 638175"/>
                <a:gd name="connsiteX587" fmla="*/ 258699 w 400050"/>
                <a:gd name="connsiteY587" fmla="*/ 243459 h 638175"/>
                <a:gd name="connsiteX588" fmla="*/ 279273 w 400050"/>
                <a:gd name="connsiteY588" fmla="*/ 234506 h 638175"/>
                <a:gd name="connsiteX589" fmla="*/ 279273 w 400050"/>
                <a:gd name="connsiteY589" fmla="*/ 233839 h 638175"/>
                <a:gd name="connsiteX590" fmla="*/ 277178 w 400050"/>
                <a:gd name="connsiteY590" fmla="*/ 229743 h 638175"/>
                <a:gd name="connsiteX591" fmla="*/ 277178 w 400050"/>
                <a:gd name="connsiteY591" fmla="*/ 229076 h 638175"/>
                <a:gd name="connsiteX592" fmla="*/ 278511 w 400050"/>
                <a:gd name="connsiteY592" fmla="*/ 229743 h 638175"/>
                <a:gd name="connsiteX593" fmla="*/ 281273 w 400050"/>
                <a:gd name="connsiteY593" fmla="*/ 231077 h 638175"/>
                <a:gd name="connsiteX594" fmla="*/ 285369 w 400050"/>
                <a:gd name="connsiteY594" fmla="*/ 228314 h 638175"/>
                <a:gd name="connsiteX595" fmla="*/ 285369 w 400050"/>
                <a:gd name="connsiteY595" fmla="*/ 227648 h 638175"/>
                <a:gd name="connsiteX596" fmla="*/ 279845 w 400050"/>
                <a:gd name="connsiteY596" fmla="*/ 229743 h 638175"/>
                <a:gd name="connsiteX597" fmla="*/ 278511 w 400050"/>
                <a:gd name="connsiteY597" fmla="*/ 227648 h 638175"/>
                <a:gd name="connsiteX598" fmla="*/ 278511 w 400050"/>
                <a:gd name="connsiteY598" fmla="*/ 226981 h 638175"/>
                <a:gd name="connsiteX599" fmla="*/ 281273 w 400050"/>
                <a:gd name="connsiteY599" fmla="*/ 225647 h 638175"/>
                <a:gd name="connsiteX600" fmla="*/ 283369 w 400050"/>
                <a:gd name="connsiteY600" fmla="*/ 226314 h 638175"/>
                <a:gd name="connsiteX601" fmla="*/ 288131 w 400050"/>
                <a:gd name="connsiteY601" fmla="*/ 201644 h 638175"/>
                <a:gd name="connsiteX602" fmla="*/ 288131 w 400050"/>
                <a:gd name="connsiteY602" fmla="*/ 196120 h 638175"/>
                <a:gd name="connsiteX603" fmla="*/ 288798 w 400050"/>
                <a:gd name="connsiteY603" fmla="*/ 193358 h 638175"/>
                <a:gd name="connsiteX604" fmla="*/ 288798 w 400050"/>
                <a:gd name="connsiteY604" fmla="*/ 190595 h 638175"/>
                <a:gd name="connsiteX605" fmla="*/ 289465 w 400050"/>
                <a:gd name="connsiteY605" fmla="*/ 187166 h 638175"/>
                <a:gd name="connsiteX606" fmla="*/ 288798 w 400050"/>
                <a:gd name="connsiteY606" fmla="*/ 182404 h 638175"/>
                <a:gd name="connsiteX607" fmla="*/ 291560 w 400050"/>
                <a:gd name="connsiteY607" fmla="*/ 141923 h 638175"/>
                <a:gd name="connsiteX608" fmla="*/ 291560 w 400050"/>
                <a:gd name="connsiteY608" fmla="*/ 137160 h 638175"/>
                <a:gd name="connsiteX609" fmla="*/ 292227 w 400050"/>
                <a:gd name="connsiteY609" fmla="*/ 130969 h 638175"/>
                <a:gd name="connsiteX610" fmla="*/ 291560 w 400050"/>
                <a:gd name="connsiteY610" fmla="*/ 124778 h 638175"/>
                <a:gd name="connsiteX611" fmla="*/ 293656 w 400050"/>
                <a:gd name="connsiteY611" fmla="*/ 111062 h 638175"/>
                <a:gd name="connsiteX612" fmla="*/ 292989 w 400050"/>
                <a:gd name="connsiteY612" fmla="*/ 105537 h 638175"/>
                <a:gd name="connsiteX613" fmla="*/ 292989 w 400050"/>
                <a:gd name="connsiteY613" fmla="*/ 103442 h 638175"/>
                <a:gd name="connsiteX614" fmla="*/ 294323 w 400050"/>
                <a:gd name="connsiteY614" fmla="*/ 98679 h 638175"/>
                <a:gd name="connsiteX615" fmla="*/ 293656 w 400050"/>
                <a:gd name="connsiteY615" fmla="*/ 93917 h 638175"/>
                <a:gd name="connsiteX616" fmla="*/ 294989 w 400050"/>
                <a:gd name="connsiteY616" fmla="*/ 85725 h 638175"/>
                <a:gd name="connsiteX617" fmla="*/ 294989 w 400050"/>
                <a:gd name="connsiteY617" fmla="*/ 82296 h 638175"/>
                <a:gd name="connsiteX618" fmla="*/ 294323 w 400050"/>
                <a:gd name="connsiteY618" fmla="*/ 80963 h 638175"/>
                <a:gd name="connsiteX619" fmla="*/ 292227 w 400050"/>
                <a:gd name="connsiteY619" fmla="*/ 80963 h 638175"/>
                <a:gd name="connsiteX620" fmla="*/ 284702 w 400050"/>
                <a:gd name="connsiteY620" fmla="*/ 87821 h 638175"/>
                <a:gd name="connsiteX621" fmla="*/ 284036 w 400050"/>
                <a:gd name="connsiteY621" fmla="*/ 88487 h 638175"/>
                <a:gd name="connsiteX622" fmla="*/ 279273 w 400050"/>
                <a:gd name="connsiteY622" fmla="*/ 99441 h 638175"/>
                <a:gd name="connsiteX623" fmla="*/ 276511 w 400050"/>
                <a:gd name="connsiteY623" fmla="*/ 102870 h 638175"/>
                <a:gd name="connsiteX624" fmla="*/ 276511 w 400050"/>
                <a:gd name="connsiteY624" fmla="*/ 103537 h 638175"/>
                <a:gd name="connsiteX625" fmla="*/ 275844 w 400050"/>
                <a:gd name="connsiteY625" fmla="*/ 102870 h 638175"/>
                <a:gd name="connsiteX626" fmla="*/ 273082 w 400050"/>
                <a:gd name="connsiteY626" fmla="*/ 104204 h 638175"/>
                <a:gd name="connsiteX627" fmla="*/ 273082 w 400050"/>
                <a:gd name="connsiteY627" fmla="*/ 104870 h 638175"/>
                <a:gd name="connsiteX628" fmla="*/ 266891 w 400050"/>
                <a:gd name="connsiteY628" fmla="*/ 114491 h 638175"/>
                <a:gd name="connsiteX629" fmla="*/ 2096 w 400050"/>
                <a:gd name="connsiteY629" fmla="*/ 524637 h 638175"/>
                <a:gd name="connsiteX630" fmla="*/ 3429 w 400050"/>
                <a:gd name="connsiteY630" fmla="*/ 521208 h 638175"/>
                <a:gd name="connsiteX631" fmla="*/ 2096 w 400050"/>
                <a:gd name="connsiteY631" fmla="*/ 518446 h 638175"/>
                <a:gd name="connsiteX632" fmla="*/ 2762 w 400050"/>
                <a:gd name="connsiteY632" fmla="*/ 517779 h 638175"/>
                <a:gd name="connsiteX633" fmla="*/ 2762 w 400050"/>
                <a:gd name="connsiteY633" fmla="*/ 516446 h 638175"/>
                <a:gd name="connsiteX634" fmla="*/ 3429 w 400050"/>
                <a:gd name="connsiteY634" fmla="*/ 513683 h 638175"/>
                <a:gd name="connsiteX635" fmla="*/ 3429 w 400050"/>
                <a:gd name="connsiteY635" fmla="*/ 508921 h 638175"/>
                <a:gd name="connsiteX636" fmla="*/ 4096 w 400050"/>
                <a:gd name="connsiteY636" fmla="*/ 508254 h 638175"/>
                <a:gd name="connsiteX637" fmla="*/ 3429 w 400050"/>
                <a:gd name="connsiteY637" fmla="*/ 506921 h 638175"/>
                <a:gd name="connsiteX638" fmla="*/ 5525 w 400050"/>
                <a:gd name="connsiteY638" fmla="*/ 502825 h 638175"/>
                <a:gd name="connsiteX639" fmla="*/ 5525 w 400050"/>
                <a:gd name="connsiteY639" fmla="*/ 501491 h 638175"/>
                <a:gd name="connsiteX640" fmla="*/ 8953 w 400050"/>
                <a:gd name="connsiteY640" fmla="*/ 487775 h 638175"/>
                <a:gd name="connsiteX641" fmla="*/ 8953 w 400050"/>
                <a:gd name="connsiteY641" fmla="*/ 487109 h 638175"/>
                <a:gd name="connsiteX642" fmla="*/ 12383 w 400050"/>
                <a:gd name="connsiteY642" fmla="*/ 478917 h 638175"/>
                <a:gd name="connsiteX643" fmla="*/ 12383 w 400050"/>
                <a:gd name="connsiteY643" fmla="*/ 478250 h 638175"/>
                <a:gd name="connsiteX644" fmla="*/ 15145 w 400050"/>
                <a:gd name="connsiteY644" fmla="*/ 468630 h 638175"/>
                <a:gd name="connsiteX645" fmla="*/ 16478 w 400050"/>
                <a:gd name="connsiteY645" fmla="*/ 467963 h 638175"/>
                <a:gd name="connsiteX646" fmla="*/ 17812 w 400050"/>
                <a:gd name="connsiteY646" fmla="*/ 468630 h 638175"/>
                <a:gd name="connsiteX647" fmla="*/ 17812 w 400050"/>
                <a:gd name="connsiteY647" fmla="*/ 469297 h 638175"/>
                <a:gd name="connsiteX648" fmla="*/ 17145 w 400050"/>
                <a:gd name="connsiteY648" fmla="*/ 472726 h 638175"/>
                <a:gd name="connsiteX649" fmla="*/ 17812 w 400050"/>
                <a:gd name="connsiteY649" fmla="*/ 472726 h 638175"/>
                <a:gd name="connsiteX650" fmla="*/ 18478 w 400050"/>
                <a:gd name="connsiteY650" fmla="*/ 475488 h 638175"/>
                <a:gd name="connsiteX651" fmla="*/ 15050 w 400050"/>
                <a:gd name="connsiteY651" fmla="*/ 478917 h 638175"/>
                <a:gd name="connsiteX652" fmla="*/ 14383 w 400050"/>
                <a:gd name="connsiteY652" fmla="*/ 478250 h 638175"/>
                <a:gd name="connsiteX653" fmla="*/ 13716 w 400050"/>
                <a:gd name="connsiteY653" fmla="*/ 480346 h 638175"/>
                <a:gd name="connsiteX654" fmla="*/ 13716 w 400050"/>
                <a:gd name="connsiteY654" fmla="*/ 481013 h 638175"/>
                <a:gd name="connsiteX655" fmla="*/ 11621 w 400050"/>
                <a:gd name="connsiteY655" fmla="*/ 487871 h 638175"/>
                <a:gd name="connsiteX656" fmla="*/ 11621 w 400050"/>
                <a:gd name="connsiteY656" fmla="*/ 489204 h 638175"/>
                <a:gd name="connsiteX657" fmla="*/ 9525 w 400050"/>
                <a:gd name="connsiteY657" fmla="*/ 496729 h 638175"/>
                <a:gd name="connsiteX658" fmla="*/ 10192 w 400050"/>
                <a:gd name="connsiteY658" fmla="*/ 498062 h 638175"/>
                <a:gd name="connsiteX659" fmla="*/ 9525 w 400050"/>
                <a:gd name="connsiteY659" fmla="*/ 501491 h 638175"/>
                <a:gd name="connsiteX660" fmla="*/ 12287 w 400050"/>
                <a:gd name="connsiteY660" fmla="*/ 507016 h 638175"/>
                <a:gd name="connsiteX661" fmla="*/ 10192 w 400050"/>
                <a:gd name="connsiteY661" fmla="*/ 509111 h 638175"/>
                <a:gd name="connsiteX662" fmla="*/ 12954 w 400050"/>
                <a:gd name="connsiteY662" fmla="*/ 512540 h 638175"/>
                <a:gd name="connsiteX663" fmla="*/ 12954 w 400050"/>
                <a:gd name="connsiteY663" fmla="*/ 513207 h 638175"/>
                <a:gd name="connsiteX664" fmla="*/ 9525 w 400050"/>
                <a:gd name="connsiteY664" fmla="*/ 512540 h 638175"/>
                <a:gd name="connsiteX665" fmla="*/ 5429 w 400050"/>
                <a:gd name="connsiteY665" fmla="*/ 516636 h 638175"/>
                <a:gd name="connsiteX666" fmla="*/ 6096 w 400050"/>
                <a:gd name="connsiteY666" fmla="*/ 518732 h 638175"/>
                <a:gd name="connsiteX667" fmla="*/ 4001 w 400050"/>
                <a:gd name="connsiteY667" fmla="*/ 524256 h 638175"/>
                <a:gd name="connsiteX668" fmla="*/ 4001 w 400050"/>
                <a:gd name="connsiteY668" fmla="*/ 524923 h 638175"/>
                <a:gd name="connsiteX669" fmla="*/ 5334 w 400050"/>
                <a:gd name="connsiteY669" fmla="*/ 525590 h 638175"/>
                <a:gd name="connsiteX670" fmla="*/ 4001 w 400050"/>
                <a:gd name="connsiteY670" fmla="*/ 526923 h 638175"/>
                <a:gd name="connsiteX671" fmla="*/ 3334 w 400050"/>
                <a:gd name="connsiteY671" fmla="*/ 525590 h 638175"/>
                <a:gd name="connsiteX672" fmla="*/ 1238 w 400050"/>
                <a:gd name="connsiteY672" fmla="*/ 525590 h 638175"/>
                <a:gd name="connsiteX673" fmla="*/ 2096 w 400050"/>
                <a:gd name="connsiteY673" fmla="*/ 524637 h 638175"/>
                <a:gd name="connsiteX674" fmla="*/ 8953 w 400050"/>
                <a:gd name="connsiteY674" fmla="*/ 542449 h 638175"/>
                <a:gd name="connsiteX675" fmla="*/ 5525 w 400050"/>
                <a:gd name="connsiteY675" fmla="*/ 538353 h 638175"/>
                <a:gd name="connsiteX676" fmla="*/ 4858 w 400050"/>
                <a:gd name="connsiteY676" fmla="*/ 539020 h 638175"/>
                <a:gd name="connsiteX677" fmla="*/ 5525 w 400050"/>
                <a:gd name="connsiteY677" fmla="*/ 539687 h 638175"/>
                <a:gd name="connsiteX678" fmla="*/ 7620 w 400050"/>
                <a:gd name="connsiteY678" fmla="*/ 546545 h 638175"/>
                <a:gd name="connsiteX679" fmla="*/ 8287 w 400050"/>
                <a:gd name="connsiteY679" fmla="*/ 545878 h 638175"/>
                <a:gd name="connsiteX680" fmla="*/ 7620 w 400050"/>
                <a:gd name="connsiteY680" fmla="*/ 545211 h 638175"/>
                <a:gd name="connsiteX681" fmla="*/ 8953 w 400050"/>
                <a:gd name="connsiteY681" fmla="*/ 542449 h 638175"/>
                <a:gd name="connsiteX682" fmla="*/ 6191 w 400050"/>
                <a:gd name="connsiteY682" fmla="*/ 509492 h 638175"/>
                <a:gd name="connsiteX683" fmla="*/ 6858 w 400050"/>
                <a:gd name="connsiteY683" fmla="*/ 510159 h 638175"/>
                <a:gd name="connsiteX684" fmla="*/ 8191 w 400050"/>
                <a:gd name="connsiteY684" fmla="*/ 508826 h 638175"/>
                <a:gd name="connsiteX685" fmla="*/ 6858 w 400050"/>
                <a:gd name="connsiteY685" fmla="*/ 509492 h 638175"/>
                <a:gd name="connsiteX686" fmla="*/ 6191 w 400050"/>
                <a:gd name="connsiteY686" fmla="*/ 509492 h 638175"/>
                <a:gd name="connsiteX687" fmla="*/ 7620 w 400050"/>
                <a:gd name="connsiteY687" fmla="*/ 583597 h 638175"/>
                <a:gd name="connsiteX688" fmla="*/ 6287 w 400050"/>
                <a:gd name="connsiteY688" fmla="*/ 581501 h 638175"/>
                <a:gd name="connsiteX689" fmla="*/ 6287 w 400050"/>
                <a:gd name="connsiteY689" fmla="*/ 580835 h 638175"/>
                <a:gd name="connsiteX690" fmla="*/ 7620 w 400050"/>
                <a:gd name="connsiteY690" fmla="*/ 582168 h 638175"/>
                <a:gd name="connsiteX691" fmla="*/ 7620 w 400050"/>
                <a:gd name="connsiteY691" fmla="*/ 583597 h 638175"/>
                <a:gd name="connsiteX692" fmla="*/ 13049 w 400050"/>
                <a:gd name="connsiteY692" fmla="*/ 519779 h 638175"/>
                <a:gd name="connsiteX693" fmla="*/ 10954 w 400050"/>
                <a:gd name="connsiteY693" fmla="*/ 523208 h 638175"/>
                <a:gd name="connsiteX694" fmla="*/ 8858 w 400050"/>
                <a:gd name="connsiteY694" fmla="*/ 521875 h 638175"/>
                <a:gd name="connsiteX695" fmla="*/ 12287 w 400050"/>
                <a:gd name="connsiteY695" fmla="*/ 517779 h 638175"/>
                <a:gd name="connsiteX696" fmla="*/ 12954 w 400050"/>
                <a:gd name="connsiteY696" fmla="*/ 519113 h 638175"/>
                <a:gd name="connsiteX697" fmla="*/ 12954 w 400050"/>
                <a:gd name="connsiteY697" fmla="*/ 519779 h 638175"/>
                <a:gd name="connsiteX698" fmla="*/ 11716 w 400050"/>
                <a:gd name="connsiteY698" fmla="*/ 545211 h 638175"/>
                <a:gd name="connsiteX699" fmla="*/ 11049 w 400050"/>
                <a:gd name="connsiteY699" fmla="*/ 546545 h 638175"/>
                <a:gd name="connsiteX700" fmla="*/ 11716 w 400050"/>
                <a:gd name="connsiteY700" fmla="*/ 547878 h 638175"/>
                <a:gd name="connsiteX701" fmla="*/ 11716 w 400050"/>
                <a:gd name="connsiteY701" fmla="*/ 548545 h 638175"/>
                <a:gd name="connsiteX702" fmla="*/ 12383 w 400050"/>
                <a:gd name="connsiteY702" fmla="*/ 549212 h 638175"/>
                <a:gd name="connsiteX703" fmla="*/ 11716 w 400050"/>
                <a:gd name="connsiteY703" fmla="*/ 545211 h 638175"/>
                <a:gd name="connsiteX704" fmla="*/ 15812 w 400050"/>
                <a:gd name="connsiteY704" fmla="*/ 539687 h 638175"/>
                <a:gd name="connsiteX705" fmla="*/ 16478 w 400050"/>
                <a:gd name="connsiteY705" fmla="*/ 539687 h 638175"/>
                <a:gd name="connsiteX706" fmla="*/ 16478 w 400050"/>
                <a:gd name="connsiteY706" fmla="*/ 534924 h 638175"/>
                <a:gd name="connsiteX707" fmla="*/ 19240 w 400050"/>
                <a:gd name="connsiteY707" fmla="*/ 535591 h 638175"/>
                <a:gd name="connsiteX708" fmla="*/ 19907 w 400050"/>
                <a:gd name="connsiteY708" fmla="*/ 536258 h 638175"/>
                <a:gd name="connsiteX709" fmla="*/ 18574 w 400050"/>
                <a:gd name="connsiteY709" fmla="*/ 540353 h 638175"/>
                <a:gd name="connsiteX710" fmla="*/ 16478 w 400050"/>
                <a:gd name="connsiteY710" fmla="*/ 540353 h 638175"/>
                <a:gd name="connsiteX711" fmla="*/ 15812 w 400050"/>
                <a:gd name="connsiteY711" fmla="*/ 539687 h 638175"/>
                <a:gd name="connsiteX712" fmla="*/ 18574 w 400050"/>
                <a:gd name="connsiteY712" fmla="*/ 464249 h 638175"/>
                <a:gd name="connsiteX713" fmla="*/ 19907 w 400050"/>
                <a:gd name="connsiteY713" fmla="*/ 460153 h 638175"/>
                <a:gd name="connsiteX714" fmla="*/ 21241 w 400050"/>
                <a:gd name="connsiteY714" fmla="*/ 460153 h 638175"/>
                <a:gd name="connsiteX715" fmla="*/ 21241 w 400050"/>
                <a:gd name="connsiteY715" fmla="*/ 461486 h 638175"/>
                <a:gd name="connsiteX716" fmla="*/ 18574 w 400050"/>
                <a:gd name="connsiteY716" fmla="*/ 464249 h 638175"/>
                <a:gd name="connsiteX717" fmla="*/ 20669 w 400050"/>
                <a:gd name="connsiteY717" fmla="*/ 554069 h 638175"/>
                <a:gd name="connsiteX718" fmla="*/ 20003 w 400050"/>
                <a:gd name="connsiteY718" fmla="*/ 553403 h 638175"/>
                <a:gd name="connsiteX719" fmla="*/ 20669 w 400050"/>
                <a:gd name="connsiteY719" fmla="*/ 552736 h 638175"/>
                <a:gd name="connsiteX720" fmla="*/ 22003 w 400050"/>
                <a:gd name="connsiteY720" fmla="*/ 553403 h 638175"/>
                <a:gd name="connsiteX721" fmla="*/ 20669 w 400050"/>
                <a:gd name="connsiteY721" fmla="*/ 554069 h 638175"/>
                <a:gd name="connsiteX722" fmla="*/ 36386 w 400050"/>
                <a:gd name="connsiteY722" fmla="*/ 595217 h 638175"/>
                <a:gd name="connsiteX723" fmla="*/ 32290 w 400050"/>
                <a:gd name="connsiteY723" fmla="*/ 589693 h 638175"/>
                <a:gd name="connsiteX724" fmla="*/ 32290 w 400050"/>
                <a:gd name="connsiteY724" fmla="*/ 589026 h 638175"/>
                <a:gd name="connsiteX725" fmla="*/ 34385 w 400050"/>
                <a:gd name="connsiteY725" fmla="*/ 586931 h 638175"/>
                <a:gd name="connsiteX726" fmla="*/ 28861 w 400050"/>
                <a:gd name="connsiteY726" fmla="*/ 573215 h 638175"/>
                <a:gd name="connsiteX727" fmla="*/ 28194 w 400050"/>
                <a:gd name="connsiteY727" fmla="*/ 572548 h 638175"/>
                <a:gd name="connsiteX728" fmla="*/ 27527 w 400050"/>
                <a:gd name="connsiteY728" fmla="*/ 573215 h 638175"/>
                <a:gd name="connsiteX729" fmla="*/ 27527 w 400050"/>
                <a:gd name="connsiteY729" fmla="*/ 574548 h 638175"/>
                <a:gd name="connsiteX730" fmla="*/ 28194 w 400050"/>
                <a:gd name="connsiteY730" fmla="*/ 575882 h 638175"/>
                <a:gd name="connsiteX731" fmla="*/ 26099 w 400050"/>
                <a:gd name="connsiteY731" fmla="*/ 577977 h 638175"/>
                <a:gd name="connsiteX732" fmla="*/ 24765 w 400050"/>
                <a:gd name="connsiteY732" fmla="*/ 575215 h 638175"/>
                <a:gd name="connsiteX733" fmla="*/ 25432 w 400050"/>
                <a:gd name="connsiteY733" fmla="*/ 573881 h 638175"/>
                <a:gd name="connsiteX734" fmla="*/ 23336 w 400050"/>
                <a:gd name="connsiteY734" fmla="*/ 573215 h 638175"/>
                <a:gd name="connsiteX735" fmla="*/ 22670 w 400050"/>
                <a:gd name="connsiteY735" fmla="*/ 574548 h 638175"/>
                <a:gd name="connsiteX736" fmla="*/ 21336 w 400050"/>
                <a:gd name="connsiteY736" fmla="*/ 577977 h 638175"/>
                <a:gd name="connsiteX737" fmla="*/ 25432 w 400050"/>
                <a:gd name="connsiteY737" fmla="*/ 582740 h 638175"/>
                <a:gd name="connsiteX738" fmla="*/ 26099 w 400050"/>
                <a:gd name="connsiteY738" fmla="*/ 581406 h 638175"/>
                <a:gd name="connsiteX739" fmla="*/ 26765 w 400050"/>
                <a:gd name="connsiteY739" fmla="*/ 580073 h 638175"/>
                <a:gd name="connsiteX740" fmla="*/ 28099 w 400050"/>
                <a:gd name="connsiteY740" fmla="*/ 578739 h 638175"/>
                <a:gd name="connsiteX741" fmla="*/ 31528 w 400050"/>
                <a:gd name="connsiteY741" fmla="*/ 589026 h 638175"/>
                <a:gd name="connsiteX742" fmla="*/ 34290 w 400050"/>
                <a:gd name="connsiteY742" fmla="*/ 595217 h 638175"/>
                <a:gd name="connsiteX743" fmla="*/ 35624 w 400050"/>
                <a:gd name="connsiteY743" fmla="*/ 595884 h 638175"/>
                <a:gd name="connsiteX744" fmla="*/ 36386 w 400050"/>
                <a:gd name="connsiteY744" fmla="*/ 595217 h 638175"/>
                <a:gd name="connsiteX745" fmla="*/ 22670 w 400050"/>
                <a:gd name="connsiteY745" fmla="*/ 455295 h 638175"/>
                <a:gd name="connsiteX746" fmla="*/ 26765 w 400050"/>
                <a:gd name="connsiteY746" fmla="*/ 445008 h 638175"/>
                <a:gd name="connsiteX747" fmla="*/ 30861 w 400050"/>
                <a:gd name="connsiteY747" fmla="*/ 448437 h 638175"/>
                <a:gd name="connsiteX748" fmla="*/ 27432 w 400050"/>
                <a:gd name="connsiteY748" fmla="*/ 449104 h 638175"/>
                <a:gd name="connsiteX749" fmla="*/ 24003 w 400050"/>
                <a:gd name="connsiteY749" fmla="*/ 456629 h 638175"/>
                <a:gd name="connsiteX750" fmla="*/ 22670 w 400050"/>
                <a:gd name="connsiteY750" fmla="*/ 455295 h 638175"/>
                <a:gd name="connsiteX751" fmla="*/ 27527 w 400050"/>
                <a:gd name="connsiteY751" fmla="*/ 443008 h 638175"/>
                <a:gd name="connsiteX752" fmla="*/ 27527 w 400050"/>
                <a:gd name="connsiteY752" fmla="*/ 442341 h 638175"/>
                <a:gd name="connsiteX753" fmla="*/ 28194 w 400050"/>
                <a:gd name="connsiteY753" fmla="*/ 443008 h 638175"/>
                <a:gd name="connsiteX754" fmla="*/ 27527 w 400050"/>
                <a:gd name="connsiteY754" fmla="*/ 443008 h 638175"/>
                <a:gd name="connsiteX755" fmla="*/ 28861 w 400050"/>
                <a:gd name="connsiteY755" fmla="*/ 525971 h 638175"/>
                <a:gd name="connsiteX756" fmla="*/ 28194 w 400050"/>
                <a:gd name="connsiteY756" fmla="*/ 528733 h 638175"/>
                <a:gd name="connsiteX757" fmla="*/ 30290 w 400050"/>
                <a:gd name="connsiteY757" fmla="*/ 525304 h 638175"/>
                <a:gd name="connsiteX758" fmla="*/ 31623 w 400050"/>
                <a:gd name="connsiteY758" fmla="*/ 525304 h 638175"/>
                <a:gd name="connsiteX759" fmla="*/ 30956 w 400050"/>
                <a:gd name="connsiteY759" fmla="*/ 521875 h 638175"/>
                <a:gd name="connsiteX760" fmla="*/ 32290 w 400050"/>
                <a:gd name="connsiteY760" fmla="*/ 511588 h 638175"/>
                <a:gd name="connsiteX761" fmla="*/ 31623 w 400050"/>
                <a:gd name="connsiteY761" fmla="*/ 509492 h 638175"/>
                <a:gd name="connsiteX762" fmla="*/ 30956 w 400050"/>
                <a:gd name="connsiteY762" fmla="*/ 508826 h 638175"/>
                <a:gd name="connsiteX763" fmla="*/ 28194 w 400050"/>
                <a:gd name="connsiteY763" fmla="*/ 521208 h 638175"/>
                <a:gd name="connsiteX764" fmla="*/ 28861 w 400050"/>
                <a:gd name="connsiteY764" fmla="*/ 524637 h 638175"/>
                <a:gd name="connsiteX765" fmla="*/ 28861 w 400050"/>
                <a:gd name="connsiteY765" fmla="*/ 525971 h 638175"/>
                <a:gd name="connsiteX766" fmla="*/ 31623 w 400050"/>
                <a:gd name="connsiteY766" fmla="*/ 505397 h 638175"/>
                <a:gd name="connsiteX767" fmla="*/ 32290 w 400050"/>
                <a:gd name="connsiteY767" fmla="*/ 505397 h 638175"/>
                <a:gd name="connsiteX768" fmla="*/ 31623 w 400050"/>
                <a:gd name="connsiteY768" fmla="*/ 504730 h 638175"/>
                <a:gd name="connsiteX769" fmla="*/ 31623 w 400050"/>
                <a:gd name="connsiteY769" fmla="*/ 505397 h 638175"/>
                <a:gd name="connsiteX770" fmla="*/ 33623 w 400050"/>
                <a:gd name="connsiteY770" fmla="*/ 423767 h 638175"/>
                <a:gd name="connsiteX771" fmla="*/ 35719 w 400050"/>
                <a:gd name="connsiteY771" fmla="*/ 424434 h 638175"/>
                <a:gd name="connsiteX772" fmla="*/ 35052 w 400050"/>
                <a:gd name="connsiteY772" fmla="*/ 426530 h 638175"/>
                <a:gd name="connsiteX773" fmla="*/ 34385 w 400050"/>
                <a:gd name="connsiteY773" fmla="*/ 425863 h 638175"/>
                <a:gd name="connsiteX774" fmla="*/ 33623 w 400050"/>
                <a:gd name="connsiteY774" fmla="*/ 423767 h 638175"/>
                <a:gd name="connsiteX775" fmla="*/ 35719 w 400050"/>
                <a:gd name="connsiteY775" fmla="*/ 422434 h 638175"/>
                <a:gd name="connsiteX776" fmla="*/ 37814 w 400050"/>
                <a:gd name="connsiteY776" fmla="*/ 420338 h 638175"/>
                <a:gd name="connsiteX777" fmla="*/ 37814 w 400050"/>
                <a:gd name="connsiteY777" fmla="*/ 422434 h 638175"/>
                <a:gd name="connsiteX778" fmla="*/ 37148 w 400050"/>
                <a:gd name="connsiteY778" fmla="*/ 423101 h 638175"/>
                <a:gd name="connsiteX779" fmla="*/ 35719 w 400050"/>
                <a:gd name="connsiteY779" fmla="*/ 422434 h 638175"/>
                <a:gd name="connsiteX780" fmla="*/ 38481 w 400050"/>
                <a:gd name="connsiteY780" fmla="*/ 600075 h 638175"/>
                <a:gd name="connsiteX781" fmla="*/ 36386 w 400050"/>
                <a:gd name="connsiteY781" fmla="*/ 597313 h 638175"/>
                <a:gd name="connsiteX782" fmla="*/ 36386 w 400050"/>
                <a:gd name="connsiteY782" fmla="*/ 599408 h 638175"/>
                <a:gd name="connsiteX783" fmla="*/ 37719 w 400050"/>
                <a:gd name="connsiteY783" fmla="*/ 600075 h 638175"/>
                <a:gd name="connsiteX784" fmla="*/ 38481 w 400050"/>
                <a:gd name="connsiteY784" fmla="*/ 600075 h 638175"/>
                <a:gd name="connsiteX785" fmla="*/ 41243 w 400050"/>
                <a:gd name="connsiteY785" fmla="*/ 604838 h 638175"/>
                <a:gd name="connsiteX786" fmla="*/ 39148 w 400050"/>
                <a:gd name="connsiteY786" fmla="*/ 601409 h 638175"/>
                <a:gd name="connsiteX787" fmla="*/ 38481 w 400050"/>
                <a:gd name="connsiteY787" fmla="*/ 602075 h 638175"/>
                <a:gd name="connsiteX788" fmla="*/ 41243 w 400050"/>
                <a:gd name="connsiteY788" fmla="*/ 604838 h 638175"/>
                <a:gd name="connsiteX789" fmla="*/ 39148 w 400050"/>
                <a:gd name="connsiteY789" fmla="*/ 419005 h 638175"/>
                <a:gd name="connsiteX790" fmla="*/ 39815 w 400050"/>
                <a:gd name="connsiteY790" fmla="*/ 414909 h 638175"/>
                <a:gd name="connsiteX791" fmla="*/ 40481 w 400050"/>
                <a:gd name="connsiteY791" fmla="*/ 414909 h 638175"/>
                <a:gd name="connsiteX792" fmla="*/ 40481 w 400050"/>
                <a:gd name="connsiteY792" fmla="*/ 418338 h 638175"/>
                <a:gd name="connsiteX793" fmla="*/ 39815 w 400050"/>
                <a:gd name="connsiteY793" fmla="*/ 419672 h 638175"/>
                <a:gd name="connsiteX794" fmla="*/ 39148 w 400050"/>
                <a:gd name="connsiteY794" fmla="*/ 419005 h 638175"/>
                <a:gd name="connsiteX795" fmla="*/ 281273 w 400050"/>
                <a:gd name="connsiteY795" fmla="*/ 259175 h 638175"/>
                <a:gd name="connsiteX796" fmla="*/ 279940 w 400050"/>
                <a:gd name="connsiteY796" fmla="*/ 259842 h 638175"/>
                <a:gd name="connsiteX797" fmla="*/ 278511 w 400050"/>
                <a:gd name="connsiteY797" fmla="*/ 257080 h 638175"/>
                <a:gd name="connsiteX798" fmla="*/ 275749 w 400050"/>
                <a:gd name="connsiteY798" fmla="*/ 259175 h 638175"/>
                <a:gd name="connsiteX799" fmla="*/ 274415 w 400050"/>
                <a:gd name="connsiteY799" fmla="*/ 259175 h 638175"/>
                <a:gd name="connsiteX800" fmla="*/ 256604 w 400050"/>
                <a:gd name="connsiteY800" fmla="*/ 268796 h 638175"/>
                <a:gd name="connsiteX801" fmla="*/ 255270 w 400050"/>
                <a:gd name="connsiteY801" fmla="*/ 268796 h 638175"/>
                <a:gd name="connsiteX802" fmla="*/ 250508 w 400050"/>
                <a:gd name="connsiteY802" fmla="*/ 272891 h 638175"/>
                <a:gd name="connsiteX803" fmla="*/ 251174 w 400050"/>
                <a:gd name="connsiteY803" fmla="*/ 273558 h 638175"/>
                <a:gd name="connsiteX804" fmla="*/ 250508 w 400050"/>
                <a:gd name="connsiteY804" fmla="*/ 274225 h 638175"/>
                <a:gd name="connsiteX805" fmla="*/ 249841 w 400050"/>
                <a:gd name="connsiteY805" fmla="*/ 273558 h 638175"/>
                <a:gd name="connsiteX806" fmla="*/ 249174 w 400050"/>
                <a:gd name="connsiteY806" fmla="*/ 274225 h 638175"/>
                <a:gd name="connsiteX807" fmla="*/ 246412 w 400050"/>
                <a:gd name="connsiteY807" fmla="*/ 272129 h 638175"/>
                <a:gd name="connsiteX808" fmla="*/ 240221 w 400050"/>
                <a:gd name="connsiteY808" fmla="*/ 279654 h 638175"/>
                <a:gd name="connsiteX809" fmla="*/ 238125 w 400050"/>
                <a:gd name="connsiteY809" fmla="*/ 279654 h 638175"/>
                <a:gd name="connsiteX810" fmla="*/ 235363 w 400050"/>
                <a:gd name="connsiteY810" fmla="*/ 280988 h 638175"/>
                <a:gd name="connsiteX811" fmla="*/ 233267 w 400050"/>
                <a:gd name="connsiteY811" fmla="*/ 282321 h 638175"/>
                <a:gd name="connsiteX812" fmla="*/ 233267 w 400050"/>
                <a:gd name="connsiteY812" fmla="*/ 281654 h 638175"/>
                <a:gd name="connsiteX813" fmla="*/ 230505 w 400050"/>
                <a:gd name="connsiteY813" fmla="*/ 284417 h 638175"/>
                <a:gd name="connsiteX814" fmla="*/ 229172 w 400050"/>
                <a:gd name="connsiteY814" fmla="*/ 284417 h 638175"/>
                <a:gd name="connsiteX815" fmla="*/ 218884 w 400050"/>
                <a:gd name="connsiteY815" fmla="*/ 290608 h 638175"/>
                <a:gd name="connsiteX816" fmla="*/ 218218 w 400050"/>
                <a:gd name="connsiteY816" fmla="*/ 291274 h 638175"/>
                <a:gd name="connsiteX817" fmla="*/ 210693 w 400050"/>
                <a:gd name="connsiteY817" fmla="*/ 296799 h 638175"/>
                <a:gd name="connsiteX818" fmla="*/ 209359 w 400050"/>
                <a:gd name="connsiteY818" fmla="*/ 296132 h 638175"/>
                <a:gd name="connsiteX819" fmla="*/ 205264 w 400050"/>
                <a:gd name="connsiteY819" fmla="*/ 299561 h 638175"/>
                <a:gd name="connsiteX820" fmla="*/ 200501 w 400050"/>
                <a:gd name="connsiteY820" fmla="*/ 300895 h 638175"/>
                <a:gd name="connsiteX821" fmla="*/ 194310 w 400050"/>
                <a:gd name="connsiteY821" fmla="*/ 307086 h 638175"/>
                <a:gd name="connsiteX822" fmla="*/ 193453 w 400050"/>
                <a:gd name="connsiteY822" fmla="*/ 307086 h 638175"/>
                <a:gd name="connsiteX823" fmla="*/ 178403 w 400050"/>
                <a:gd name="connsiteY823" fmla="*/ 316706 h 638175"/>
                <a:gd name="connsiteX824" fmla="*/ 174974 w 400050"/>
                <a:gd name="connsiteY824" fmla="*/ 320802 h 638175"/>
                <a:gd name="connsiteX825" fmla="*/ 173641 w 400050"/>
                <a:gd name="connsiteY825" fmla="*/ 320135 h 638175"/>
                <a:gd name="connsiteX826" fmla="*/ 171545 w 400050"/>
                <a:gd name="connsiteY826" fmla="*/ 321469 h 638175"/>
                <a:gd name="connsiteX827" fmla="*/ 155067 w 400050"/>
                <a:gd name="connsiteY827" fmla="*/ 337280 h 638175"/>
                <a:gd name="connsiteX828" fmla="*/ 135160 w 400050"/>
                <a:gd name="connsiteY828" fmla="*/ 356521 h 638175"/>
                <a:gd name="connsiteX829" fmla="*/ 128969 w 400050"/>
                <a:gd name="connsiteY829" fmla="*/ 359950 h 638175"/>
                <a:gd name="connsiteX830" fmla="*/ 110490 w 400050"/>
                <a:gd name="connsiteY830" fmla="*/ 380524 h 638175"/>
                <a:gd name="connsiteX831" fmla="*/ 103632 w 400050"/>
                <a:gd name="connsiteY831" fmla="*/ 389477 h 638175"/>
                <a:gd name="connsiteX832" fmla="*/ 98870 w 400050"/>
                <a:gd name="connsiteY832" fmla="*/ 396335 h 638175"/>
                <a:gd name="connsiteX833" fmla="*/ 85820 w 400050"/>
                <a:gd name="connsiteY833" fmla="*/ 415576 h 638175"/>
                <a:gd name="connsiteX834" fmla="*/ 81725 w 400050"/>
                <a:gd name="connsiteY834" fmla="*/ 421100 h 638175"/>
                <a:gd name="connsiteX835" fmla="*/ 76962 w 400050"/>
                <a:gd name="connsiteY835" fmla="*/ 428625 h 638175"/>
                <a:gd name="connsiteX836" fmla="*/ 75628 w 400050"/>
                <a:gd name="connsiteY836" fmla="*/ 427958 h 638175"/>
                <a:gd name="connsiteX837" fmla="*/ 73533 w 400050"/>
                <a:gd name="connsiteY837" fmla="*/ 431387 h 638175"/>
                <a:gd name="connsiteX838" fmla="*/ 74200 w 400050"/>
                <a:gd name="connsiteY838" fmla="*/ 433483 h 638175"/>
                <a:gd name="connsiteX839" fmla="*/ 72104 w 400050"/>
                <a:gd name="connsiteY839" fmla="*/ 438245 h 638175"/>
                <a:gd name="connsiteX840" fmla="*/ 56293 w 400050"/>
                <a:gd name="connsiteY840" fmla="*/ 469773 h 638175"/>
                <a:gd name="connsiteX841" fmla="*/ 56293 w 400050"/>
                <a:gd name="connsiteY841" fmla="*/ 470440 h 638175"/>
                <a:gd name="connsiteX842" fmla="*/ 54959 w 400050"/>
                <a:gd name="connsiteY842" fmla="*/ 473869 h 638175"/>
                <a:gd name="connsiteX843" fmla="*/ 53626 w 400050"/>
                <a:gd name="connsiteY843" fmla="*/ 475964 h 638175"/>
                <a:gd name="connsiteX844" fmla="*/ 51530 w 400050"/>
                <a:gd name="connsiteY844" fmla="*/ 480060 h 638175"/>
                <a:gd name="connsiteX845" fmla="*/ 52197 w 400050"/>
                <a:gd name="connsiteY845" fmla="*/ 482156 h 638175"/>
                <a:gd name="connsiteX846" fmla="*/ 50102 w 400050"/>
                <a:gd name="connsiteY846" fmla="*/ 483489 h 638175"/>
                <a:gd name="connsiteX847" fmla="*/ 50102 w 400050"/>
                <a:gd name="connsiteY847" fmla="*/ 485585 h 638175"/>
                <a:gd name="connsiteX848" fmla="*/ 48768 w 400050"/>
                <a:gd name="connsiteY848" fmla="*/ 488347 h 638175"/>
                <a:gd name="connsiteX849" fmla="*/ 48768 w 400050"/>
                <a:gd name="connsiteY849" fmla="*/ 490442 h 638175"/>
                <a:gd name="connsiteX850" fmla="*/ 48101 w 400050"/>
                <a:gd name="connsiteY850" fmla="*/ 494538 h 638175"/>
                <a:gd name="connsiteX851" fmla="*/ 46768 w 400050"/>
                <a:gd name="connsiteY851" fmla="*/ 499301 h 638175"/>
                <a:gd name="connsiteX852" fmla="*/ 45434 w 400050"/>
                <a:gd name="connsiteY852" fmla="*/ 501396 h 638175"/>
                <a:gd name="connsiteX853" fmla="*/ 46101 w 400050"/>
                <a:gd name="connsiteY853" fmla="*/ 504158 h 638175"/>
                <a:gd name="connsiteX854" fmla="*/ 46768 w 400050"/>
                <a:gd name="connsiteY854" fmla="*/ 504825 h 638175"/>
                <a:gd name="connsiteX855" fmla="*/ 47435 w 400050"/>
                <a:gd name="connsiteY855" fmla="*/ 506159 h 638175"/>
                <a:gd name="connsiteX856" fmla="*/ 44672 w 400050"/>
                <a:gd name="connsiteY856" fmla="*/ 517112 h 638175"/>
                <a:gd name="connsiteX857" fmla="*/ 45339 w 400050"/>
                <a:gd name="connsiteY857" fmla="*/ 521208 h 638175"/>
                <a:gd name="connsiteX858" fmla="*/ 46673 w 400050"/>
                <a:gd name="connsiteY858" fmla="*/ 530828 h 638175"/>
                <a:gd name="connsiteX859" fmla="*/ 44577 w 400050"/>
                <a:gd name="connsiteY859" fmla="*/ 535591 h 638175"/>
                <a:gd name="connsiteX860" fmla="*/ 44577 w 400050"/>
                <a:gd name="connsiteY860" fmla="*/ 539687 h 638175"/>
                <a:gd name="connsiteX861" fmla="*/ 45244 w 400050"/>
                <a:gd name="connsiteY861" fmla="*/ 543116 h 638175"/>
                <a:gd name="connsiteX862" fmla="*/ 44577 w 400050"/>
                <a:gd name="connsiteY862" fmla="*/ 545211 h 638175"/>
                <a:gd name="connsiteX863" fmla="*/ 43910 w 400050"/>
                <a:gd name="connsiteY863" fmla="*/ 545211 h 638175"/>
                <a:gd name="connsiteX864" fmla="*/ 42577 w 400050"/>
                <a:gd name="connsiteY864" fmla="*/ 546545 h 638175"/>
                <a:gd name="connsiteX865" fmla="*/ 46006 w 400050"/>
                <a:gd name="connsiteY865" fmla="*/ 552069 h 638175"/>
                <a:gd name="connsiteX866" fmla="*/ 45339 w 400050"/>
                <a:gd name="connsiteY866" fmla="*/ 553403 h 638175"/>
                <a:gd name="connsiteX867" fmla="*/ 45339 w 400050"/>
                <a:gd name="connsiteY867" fmla="*/ 556832 h 638175"/>
                <a:gd name="connsiteX868" fmla="*/ 44672 w 400050"/>
                <a:gd name="connsiteY868" fmla="*/ 558165 h 638175"/>
                <a:gd name="connsiteX869" fmla="*/ 46768 w 400050"/>
                <a:gd name="connsiteY869" fmla="*/ 565690 h 638175"/>
                <a:gd name="connsiteX870" fmla="*/ 45434 w 400050"/>
                <a:gd name="connsiteY870" fmla="*/ 566357 h 638175"/>
                <a:gd name="connsiteX871" fmla="*/ 50197 w 400050"/>
                <a:gd name="connsiteY871" fmla="*/ 569786 h 638175"/>
                <a:gd name="connsiteX872" fmla="*/ 52292 w 400050"/>
                <a:gd name="connsiteY872" fmla="*/ 572548 h 638175"/>
                <a:gd name="connsiteX873" fmla="*/ 52292 w 400050"/>
                <a:gd name="connsiteY873" fmla="*/ 575310 h 638175"/>
                <a:gd name="connsiteX874" fmla="*/ 50959 w 400050"/>
                <a:gd name="connsiteY874" fmla="*/ 581501 h 638175"/>
                <a:gd name="connsiteX875" fmla="*/ 54388 w 400050"/>
                <a:gd name="connsiteY875" fmla="*/ 588359 h 638175"/>
                <a:gd name="connsiteX876" fmla="*/ 53721 w 400050"/>
                <a:gd name="connsiteY876" fmla="*/ 589693 h 638175"/>
                <a:gd name="connsiteX877" fmla="*/ 64008 w 400050"/>
                <a:gd name="connsiteY877" fmla="*/ 599980 h 638175"/>
                <a:gd name="connsiteX878" fmla="*/ 61246 w 400050"/>
                <a:gd name="connsiteY878" fmla="*/ 599313 h 638175"/>
                <a:gd name="connsiteX879" fmla="*/ 59912 w 400050"/>
                <a:gd name="connsiteY879" fmla="*/ 599980 h 638175"/>
                <a:gd name="connsiteX880" fmla="*/ 64675 w 400050"/>
                <a:gd name="connsiteY880" fmla="*/ 606838 h 638175"/>
                <a:gd name="connsiteX881" fmla="*/ 66770 w 400050"/>
                <a:gd name="connsiteY881" fmla="*/ 606838 h 638175"/>
                <a:gd name="connsiteX882" fmla="*/ 70199 w 400050"/>
                <a:gd name="connsiteY882" fmla="*/ 609600 h 638175"/>
                <a:gd name="connsiteX883" fmla="*/ 72962 w 400050"/>
                <a:gd name="connsiteY883" fmla="*/ 610934 h 638175"/>
                <a:gd name="connsiteX884" fmla="*/ 74295 w 400050"/>
                <a:gd name="connsiteY884" fmla="*/ 611600 h 638175"/>
                <a:gd name="connsiteX885" fmla="*/ 80486 w 400050"/>
                <a:gd name="connsiteY885" fmla="*/ 614363 h 638175"/>
                <a:gd name="connsiteX886" fmla="*/ 90107 w 400050"/>
                <a:gd name="connsiteY886" fmla="*/ 613696 h 638175"/>
                <a:gd name="connsiteX887" fmla="*/ 117539 w 400050"/>
                <a:gd name="connsiteY887" fmla="*/ 602742 h 638175"/>
                <a:gd name="connsiteX888" fmla="*/ 124397 w 400050"/>
                <a:gd name="connsiteY888" fmla="*/ 599313 h 638175"/>
                <a:gd name="connsiteX889" fmla="*/ 125730 w 400050"/>
                <a:gd name="connsiteY889" fmla="*/ 599980 h 638175"/>
                <a:gd name="connsiteX890" fmla="*/ 147638 w 400050"/>
                <a:gd name="connsiteY890" fmla="*/ 583502 h 638175"/>
                <a:gd name="connsiteX891" fmla="*/ 148971 w 400050"/>
                <a:gd name="connsiteY891" fmla="*/ 584168 h 638175"/>
                <a:gd name="connsiteX892" fmla="*/ 160592 w 400050"/>
                <a:gd name="connsiteY892" fmla="*/ 569119 h 638175"/>
                <a:gd name="connsiteX893" fmla="*/ 161258 w 400050"/>
                <a:gd name="connsiteY893" fmla="*/ 567023 h 638175"/>
                <a:gd name="connsiteX894" fmla="*/ 162592 w 400050"/>
                <a:gd name="connsiteY894" fmla="*/ 567023 h 638175"/>
                <a:gd name="connsiteX895" fmla="*/ 175641 w 400050"/>
                <a:gd name="connsiteY895" fmla="*/ 553307 h 638175"/>
                <a:gd name="connsiteX896" fmla="*/ 197549 w 400050"/>
                <a:gd name="connsiteY896" fmla="*/ 514255 h 638175"/>
                <a:gd name="connsiteX897" fmla="*/ 198882 w 400050"/>
                <a:gd name="connsiteY897" fmla="*/ 513588 h 638175"/>
                <a:gd name="connsiteX898" fmla="*/ 206407 w 400050"/>
                <a:gd name="connsiteY898" fmla="*/ 503301 h 638175"/>
                <a:gd name="connsiteX899" fmla="*/ 207074 w 400050"/>
                <a:gd name="connsiteY899" fmla="*/ 502634 h 638175"/>
                <a:gd name="connsiteX900" fmla="*/ 217360 w 400050"/>
                <a:gd name="connsiteY900" fmla="*/ 478631 h 638175"/>
                <a:gd name="connsiteX901" fmla="*/ 235172 w 400050"/>
                <a:gd name="connsiteY901" fmla="*/ 443008 h 638175"/>
                <a:gd name="connsiteX902" fmla="*/ 248888 w 400050"/>
                <a:gd name="connsiteY902" fmla="*/ 404622 h 638175"/>
                <a:gd name="connsiteX903" fmla="*/ 251651 w 400050"/>
                <a:gd name="connsiteY903" fmla="*/ 392240 h 638175"/>
                <a:gd name="connsiteX904" fmla="*/ 260604 w 400050"/>
                <a:gd name="connsiteY904" fmla="*/ 366141 h 638175"/>
                <a:gd name="connsiteX905" fmla="*/ 260604 w 400050"/>
                <a:gd name="connsiteY905" fmla="*/ 361379 h 638175"/>
                <a:gd name="connsiteX906" fmla="*/ 266129 w 400050"/>
                <a:gd name="connsiteY906" fmla="*/ 345567 h 638175"/>
                <a:gd name="connsiteX907" fmla="*/ 265462 w 400050"/>
                <a:gd name="connsiteY907" fmla="*/ 338709 h 638175"/>
                <a:gd name="connsiteX908" fmla="*/ 269558 w 400050"/>
                <a:gd name="connsiteY908" fmla="*/ 329756 h 638175"/>
                <a:gd name="connsiteX909" fmla="*/ 270891 w 400050"/>
                <a:gd name="connsiteY909" fmla="*/ 324231 h 638175"/>
                <a:gd name="connsiteX910" fmla="*/ 270891 w 400050"/>
                <a:gd name="connsiteY910" fmla="*/ 322136 h 638175"/>
                <a:gd name="connsiteX911" fmla="*/ 275654 w 400050"/>
                <a:gd name="connsiteY911" fmla="*/ 299466 h 638175"/>
                <a:gd name="connsiteX912" fmla="*/ 275654 w 400050"/>
                <a:gd name="connsiteY912" fmla="*/ 295370 h 638175"/>
                <a:gd name="connsiteX913" fmla="*/ 279083 w 400050"/>
                <a:gd name="connsiteY913" fmla="*/ 280988 h 638175"/>
                <a:gd name="connsiteX914" fmla="*/ 279083 w 400050"/>
                <a:gd name="connsiteY914" fmla="*/ 279654 h 638175"/>
                <a:gd name="connsiteX915" fmla="*/ 278416 w 400050"/>
                <a:gd name="connsiteY915" fmla="*/ 275558 h 638175"/>
                <a:gd name="connsiteX916" fmla="*/ 281845 w 400050"/>
                <a:gd name="connsiteY916" fmla="*/ 263938 h 638175"/>
                <a:gd name="connsiteX917" fmla="*/ 281845 w 400050"/>
                <a:gd name="connsiteY917" fmla="*/ 261176 h 638175"/>
                <a:gd name="connsiteX918" fmla="*/ 281273 w 400050"/>
                <a:gd name="connsiteY918" fmla="*/ 259175 h 638175"/>
                <a:gd name="connsiteX919" fmla="*/ 47339 w 400050"/>
                <a:gd name="connsiteY919" fmla="*/ 419672 h 638175"/>
                <a:gd name="connsiteX920" fmla="*/ 48006 w 400050"/>
                <a:gd name="connsiteY920" fmla="*/ 421005 h 638175"/>
                <a:gd name="connsiteX921" fmla="*/ 48006 w 400050"/>
                <a:gd name="connsiteY921" fmla="*/ 418910 h 638175"/>
                <a:gd name="connsiteX922" fmla="*/ 47339 w 400050"/>
                <a:gd name="connsiteY922" fmla="*/ 419672 h 638175"/>
                <a:gd name="connsiteX923" fmla="*/ 50768 w 400050"/>
                <a:gd name="connsiteY923" fmla="*/ 598646 h 638175"/>
                <a:gd name="connsiteX924" fmla="*/ 48673 w 400050"/>
                <a:gd name="connsiteY924" fmla="*/ 595884 h 638175"/>
                <a:gd name="connsiteX925" fmla="*/ 47339 w 400050"/>
                <a:gd name="connsiteY925" fmla="*/ 597218 h 638175"/>
                <a:gd name="connsiteX926" fmla="*/ 49435 w 400050"/>
                <a:gd name="connsiteY926" fmla="*/ 601313 h 638175"/>
                <a:gd name="connsiteX927" fmla="*/ 50768 w 400050"/>
                <a:gd name="connsiteY927" fmla="*/ 601980 h 638175"/>
                <a:gd name="connsiteX928" fmla="*/ 50768 w 400050"/>
                <a:gd name="connsiteY928" fmla="*/ 598646 h 638175"/>
                <a:gd name="connsiteX929" fmla="*/ 48101 w 400050"/>
                <a:gd name="connsiteY929" fmla="*/ 404622 h 638175"/>
                <a:gd name="connsiteX930" fmla="*/ 48768 w 400050"/>
                <a:gd name="connsiteY930" fmla="*/ 403289 h 638175"/>
                <a:gd name="connsiteX931" fmla="*/ 50102 w 400050"/>
                <a:gd name="connsiteY931" fmla="*/ 403955 h 638175"/>
                <a:gd name="connsiteX932" fmla="*/ 48006 w 400050"/>
                <a:gd name="connsiteY932" fmla="*/ 405289 h 638175"/>
                <a:gd name="connsiteX933" fmla="*/ 48006 w 400050"/>
                <a:gd name="connsiteY933" fmla="*/ 404622 h 638175"/>
                <a:gd name="connsiteX934" fmla="*/ 54959 w 400050"/>
                <a:gd name="connsiteY934" fmla="*/ 424434 h 638175"/>
                <a:gd name="connsiteX935" fmla="*/ 56293 w 400050"/>
                <a:gd name="connsiteY935" fmla="*/ 423767 h 638175"/>
                <a:gd name="connsiteX936" fmla="*/ 54959 w 400050"/>
                <a:gd name="connsiteY936" fmla="*/ 423101 h 638175"/>
                <a:gd name="connsiteX937" fmla="*/ 54293 w 400050"/>
                <a:gd name="connsiteY937" fmla="*/ 423101 h 638175"/>
                <a:gd name="connsiteX938" fmla="*/ 54959 w 400050"/>
                <a:gd name="connsiteY938" fmla="*/ 424434 h 638175"/>
                <a:gd name="connsiteX939" fmla="*/ 54959 w 400050"/>
                <a:gd name="connsiteY939" fmla="*/ 395002 h 638175"/>
                <a:gd name="connsiteX940" fmla="*/ 54959 w 400050"/>
                <a:gd name="connsiteY940" fmla="*/ 394335 h 638175"/>
                <a:gd name="connsiteX941" fmla="*/ 56293 w 400050"/>
                <a:gd name="connsiteY941" fmla="*/ 392240 h 638175"/>
                <a:gd name="connsiteX942" fmla="*/ 56960 w 400050"/>
                <a:gd name="connsiteY942" fmla="*/ 392906 h 638175"/>
                <a:gd name="connsiteX943" fmla="*/ 56960 w 400050"/>
                <a:gd name="connsiteY943" fmla="*/ 395002 h 638175"/>
                <a:gd name="connsiteX944" fmla="*/ 54959 w 400050"/>
                <a:gd name="connsiteY944" fmla="*/ 395002 h 638175"/>
                <a:gd name="connsiteX945" fmla="*/ 58388 w 400050"/>
                <a:gd name="connsiteY945" fmla="*/ 608267 h 638175"/>
                <a:gd name="connsiteX946" fmla="*/ 57722 w 400050"/>
                <a:gd name="connsiteY946" fmla="*/ 607600 h 638175"/>
                <a:gd name="connsiteX947" fmla="*/ 55626 w 400050"/>
                <a:gd name="connsiteY947" fmla="*/ 607600 h 638175"/>
                <a:gd name="connsiteX948" fmla="*/ 54959 w 400050"/>
                <a:gd name="connsiteY948" fmla="*/ 608267 h 638175"/>
                <a:gd name="connsiteX949" fmla="*/ 58388 w 400050"/>
                <a:gd name="connsiteY949" fmla="*/ 609600 h 638175"/>
                <a:gd name="connsiteX950" fmla="*/ 58388 w 400050"/>
                <a:gd name="connsiteY950" fmla="*/ 608267 h 638175"/>
                <a:gd name="connsiteX951" fmla="*/ 55626 w 400050"/>
                <a:gd name="connsiteY951" fmla="*/ 600742 h 638175"/>
                <a:gd name="connsiteX952" fmla="*/ 56293 w 400050"/>
                <a:gd name="connsiteY952" fmla="*/ 600742 h 638175"/>
                <a:gd name="connsiteX953" fmla="*/ 55626 w 400050"/>
                <a:gd name="connsiteY953" fmla="*/ 600075 h 638175"/>
                <a:gd name="connsiteX954" fmla="*/ 55626 w 400050"/>
                <a:gd name="connsiteY954" fmla="*/ 600742 h 638175"/>
                <a:gd name="connsiteX955" fmla="*/ 58388 w 400050"/>
                <a:gd name="connsiteY955" fmla="*/ 410051 h 638175"/>
                <a:gd name="connsiteX956" fmla="*/ 59722 w 400050"/>
                <a:gd name="connsiteY956" fmla="*/ 407956 h 638175"/>
                <a:gd name="connsiteX957" fmla="*/ 59055 w 400050"/>
                <a:gd name="connsiteY957" fmla="*/ 410718 h 638175"/>
                <a:gd name="connsiteX958" fmla="*/ 56960 w 400050"/>
                <a:gd name="connsiteY958" fmla="*/ 410051 h 638175"/>
                <a:gd name="connsiteX959" fmla="*/ 58388 w 400050"/>
                <a:gd name="connsiteY959" fmla="*/ 410051 h 638175"/>
                <a:gd name="connsiteX960" fmla="*/ 59055 w 400050"/>
                <a:gd name="connsiteY960" fmla="*/ 399097 h 638175"/>
                <a:gd name="connsiteX961" fmla="*/ 59722 w 400050"/>
                <a:gd name="connsiteY961" fmla="*/ 398431 h 638175"/>
                <a:gd name="connsiteX962" fmla="*/ 60389 w 400050"/>
                <a:gd name="connsiteY962" fmla="*/ 399097 h 638175"/>
                <a:gd name="connsiteX963" fmla="*/ 59722 w 400050"/>
                <a:gd name="connsiteY963" fmla="*/ 400431 h 638175"/>
                <a:gd name="connsiteX964" fmla="*/ 61055 w 400050"/>
                <a:gd name="connsiteY964" fmla="*/ 403193 h 638175"/>
                <a:gd name="connsiteX965" fmla="*/ 58960 w 400050"/>
                <a:gd name="connsiteY965" fmla="*/ 405956 h 638175"/>
                <a:gd name="connsiteX966" fmla="*/ 57626 w 400050"/>
                <a:gd name="connsiteY966" fmla="*/ 405289 h 638175"/>
                <a:gd name="connsiteX967" fmla="*/ 58960 w 400050"/>
                <a:gd name="connsiteY967" fmla="*/ 403955 h 638175"/>
                <a:gd name="connsiteX968" fmla="*/ 57626 w 400050"/>
                <a:gd name="connsiteY968" fmla="*/ 402622 h 638175"/>
                <a:gd name="connsiteX969" fmla="*/ 59055 w 400050"/>
                <a:gd name="connsiteY969" fmla="*/ 399097 h 638175"/>
                <a:gd name="connsiteX970" fmla="*/ 60389 w 400050"/>
                <a:gd name="connsiteY970" fmla="*/ 604838 h 638175"/>
                <a:gd name="connsiteX971" fmla="*/ 58293 w 400050"/>
                <a:gd name="connsiteY971" fmla="*/ 605504 h 638175"/>
                <a:gd name="connsiteX972" fmla="*/ 60389 w 400050"/>
                <a:gd name="connsiteY972" fmla="*/ 607600 h 638175"/>
                <a:gd name="connsiteX973" fmla="*/ 61055 w 400050"/>
                <a:gd name="connsiteY973" fmla="*/ 607600 h 638175"/>
                <a:gd name="connsiteX974" fmla="*/ 60389 w 400050"/>
                <a:gd name="connsiteY974" fmla="*/ 604838 h 638175"/>
                <a:gd name="connsiteX975" fmla="*/ 61055 w 400050"/>
                <a:gd name="connsiteY975" fmla="*/ 395669 h 638175"/>
                <a:gd name="connsiteX976" fmla="*/ 62389 w 400050"/>
                <a:gd name="connsiteY976" fmla="*/ 395669 h 638175"/>
                <a:gd name="connsiteX977" fmla="*/ 62389 w 400050"/>
                <a:gd name="connsiteY977" fmla="*/ 397002 h 638175"/>
                <a:gd name="connsiteX978" fmla="*/ 61055 w 400050"/>
                <a:gd name="connsiteY978" fmla="*/ 395669 h 638175"/>
                <a:gd name="connsiteX979" fmla="*/ 62484 w 400050"/>
                <a:gd name="connsiteY979" fmla="*/ 399097 h 638175"/>
                <a:gd name="connsiteX980" fmla="*/ 63818 w 400050"/>
                <a:gd name="connsiteY980" fmla="*/ 399764 h 638175"/>
                <a:gd name="connsiteX981" fmla="*/ 63151 w 400050"/>
                <a:gd name="connsiteY981" fmla="*/ 399764 h 638175"/>
                <a:gd name="connsiteX982" fmla="*/ 63151 w 400050"/>
                <a:gd name="connsiteY982" fmla="*/ 400431 h 638175"/>
                <a:gd name="connsiteX983" fmla="*/ 62484 w 400050"/>
                <a:gd name="connsiteY983" fmla="*/ 399097 h 638175"/>
                <a:gd name="connsiteX984" fmla="*/ 66580 w 400050"/>
                <a:gd name="connsiteY984" fmla="*/ 391573 h 638175"/>
                <a:gd name="connsiteX985" fmla="*/ 67247 w 400050"/>
                <a:gd name="connsiteY985" fmla="*/ 391573 h 638175"/>
                <a:gd name="connsiteX986" fmla="*/ 65913 w 400050"/>
                <a:gd name="connsiteY986" fmla="*/ 393668 h 638175"/>
                <a:gd name="connsiteX987" fmla="*/ 65246 w 400050"/>
                <a:gd name="connsiteY987" fmla="*/ 392335 h 638175"/>
                <a:gd name="connsiteX988" fmla="*/ 63913 w 400050"/>
                <a:gd name="connsiteY988" fmla="*/ 392335 h 638175"/>
                <a:gd name="connsiteX989" fmla="*/ 66580 w 400050"/>
                <a:gd name="connsiteY989" fmla="*/ 391573 h 638175"/>
                <a:gd name="connsiteX990" fmla="*/ 66580 w 400050"/>
                <a:gd name="connsiteY990" fmla="*/ 394240 h 638175"/>
                <a:gd name="connsiteX991" fmla="*/ 66580 w 400050"/>
                <a:gd name="connsiteY991" fmla="*/ 395573 h 638175"/>
                <a:gd name="connsiteX992" fmla="*/ 64484 w 400050"/>
                <a:gd name="connsiteY992" fmla="*/ 397669 h 638175"/>
                <a:gd name="connsiteX993" fmla="*/ 63818 w 400050"/>
                <a:gd name="connsiteY993" fmla="*/ 396335 h 638175"/>
                <a:gd name="connsiteX994" fmla="*/ 66580 w 400050"/>
                <a:gd name="connsiteY994" fmla="*/ 394240 h 638175"/>
                <a:gd name="connsiteX995" fmla="*/ 65913 w 400050"/>
                <a:gd name="connsiteY995" fmla="*/ 386048 h 638175"/>
                <a:gd name="connsiteX996" fmla="*/ 66580 w 400050"/>
                <a:gd name="connsiteY996" fmla="*/ 385382 h 638175"/>
                <a:gd name="connsiteX997" fmla="*/ 68675 w 400050"/>
                <a:gd name="connsiteY997" fmla="*/ 386715 h 638175"/>
                <a:gd name="connsiteX998" fmla="*/ 70009 w 400050"/>
                <a:gd name="connsiteY998" fmla="*/ 386048 h 638175"/>
                <a:gd name="connsiteX999" fmla="*/ 70009 w 400050"/>
                <a:gd name="connsiteY999" fmla="*/ 384715 h 638175"/>
                <a:gd name="connsiteX1000" fmla="*/ 72104 w 400050"/>
                <a:gd name="connsiteY1000" fmla="*/ 386048 h 638175"/>
                <a:gd name="connsiteX1001" fmla="*/ 70009 w 400050"/>
                <a:gd name="connsiteY1001" fmla="*/ 388144 h 638175"/>
                <a:gd name="connsiteX1002" fmla="*/ 70009 w 400050"/>
                <a:gd name="connsiteY1002" fmla="*/ 388811 h 638175"/>
                <a:gd name="connsiteX1003" fmla="*/ 72104 w 400050"/>
                <a:gd name="connsiteY1003" fmla="*/ 388811 h 638175"/>
                <a:gd name="connsiteX1004" fmla="*/ 70771 w 400050"/>
                <a:gd name="connsiteY1004" fmla="*/ 390144 h 638175"/>
                <a:gd name="connsiteX1005" fmla="*/ 67342 w 400050"/>
                <a:gd name="connsiteY1005" fmla="*/ 387382 h 638175"/>
                <a:gd name="connsiteX1006" fmla="*/ 66008 w 400050"/>
                <a:gd name="connsiteY1006" fmla="*/ 388049 h 638175"/>
                <a:gd name="connsiteX1007" fmla="*/ 65341 w 400050"/>
                <a:gd name="connsiteY1007" fmla="*/ 387382 h 638175"/>
                <a:gd name="connsiteX1008" fmla="*/ 65913 w 400050"/>
                <a:gd name="connsiteY1008" fmla="*/ 386048 h 638175"/>
                <a:gd name="connsiteX1009" fmla="*/ 65913 w 400050"/>
                <a:gd name="connsiteY1009" fmla="*/ 381286 h 638175"/>
                <a:gd name="connsiteX1010" fmla="*/ 66580 w 400050"/>
                <a:gd name="connsiteY1010" fmla="*/ 379190 h 638175"/>
                <a:gd name="connsiteX1011" fmla="*/ 67247 w 400050"/>
                <a:gd name="connsiteY1011" fmla="*/ 380524 h 638175"/>
                <a:gd name="connsiteX1012" fmla="*/ 66580 w 400050"/>
                <a:gd name="connsiteY1012" fmla="*/ 381857 h 638175"/>
                <a:gd name="connsiteX1013" fmla="*/ 65913 w 400050"/>
                <a:gd name="connsiteY1013" fmla="*/ 381286 h 638175"/>
                <a:gd name="connsiteX1014" fmla="*/ 74105 w 400050"/>
                <a:gd name="connsiteY1014" fmla="*/ 395669 h 638175"/>
                <a:gd name="connsiteX1015" fmla="*/ 75438 w 400050"/>
                <a:gd name="connsiteY1015" fmla="*/ 397002 h 638175"/>
                <a:gd name="connsiteX1016" fmla="*/ 76772 w 400050"/>
                <a:gd name="connsiteY1016" fmla="*/ 395669 h 638175"/>
                <a:gd name="connsiteX1017" fmla="*/ 76105 w 400050"/>
                <a:gd name="connsiteY1017" fmla="*/ 394335 h 638175"/>
                <a:gd name="connsiteX1018" fmla="*/ 75438 w 400050"/>
                <a:gd name="connsiteY1018" fmla="*/ 394335 h 638175"/>
                <a:gd name="connsiteX1019" fmla="*/ 74105 w 400050"/>
                <a:gd name="connsiteY1019" fmla="*/ 395669 h 638175"/>
                <a:gd name="connsiteX1020" fmla="*/ 76200 w 400050"/>
                <a:gd name="connsiteY1020" fmla="*/ 380524 h 638175"/>
                <a:gd name="connsiteX1021" fmla="*/ 77534 w 400050"/>
                <a:gd name="connsiteY1021" fmla="*/ 381857 h 638175"/>
                <a:gd name="connsiteX1022" fmla="*/ 76867 w 400050"/>
                <a:gd name="connsiteY1022" fmla="*/ 383191 h 638175"/>
                <a:gd name="connsiteX1023" fmla="*/ 75533 w 400050"/>
                <a:gd name="connsiteY1023" fmla="*/ 384524 h 638175"/>
                <a:gd name="connsiteX1024" fmla="*/ 74867 w 400050"/>
                <a:gd name="connsiteY1024" fmla="*/ 383858 h 638175"/>
                <a:gd name="connsiteX1025" fmla="*/ 76200 w 400050"/>
                <a:gd name="connsiteY1025" fmla="*/ 380524 h 638175"/>
                <a:gd name="connsiteX1026" fmla="*/ 76200 w 400050"/>
                <a:gd name="connsiteY1026" fmla="*/ 369570 h 638175"/>
                <a:gd name="connsiteX1027" fmla="*/ 75533 w 400050"/>
                <a:gd name="connsiteY1027" fmla="*/ 368237 h 638175"/>
                <a:gd name="connsiteX1028" fmla="*/ 76867 w 400050"/>
                <a:gd name="connsiteY1028" fmla="*/ 368237 h 638175"/>
                <a:gd name="connsiteX1029" fmla="*/ 76200 w 400050"/>
                <a:gd name="connsiteY1029" fmla="*/ 369570 h 638175"/>
                <a:gd name="connsiteX1030" fmla="*/ 82391 w 400050"/>
                <a:gd name="connsiteY1030" fmla="*/ 371666 h 638175"/>
                <a:gd name="connsiteX1031" fmla="*/ 82391 w 400050"/>
                <a:gd name="connsiteY1031" fmla="*/ 372999 h 638175"/>
                <a:gd name="connsiteX1032" fmla="*/ 83058 w 400050"/>
                <a:gd name="connsiteY1032" fmla="*/ 374333 h 638175"/>
                <a:gd name="connsiteX1033" fmla="*/ 80963 w 400050"/>
                <a:gd name="connsiteY1033" fmla="*/ 377762 h 638175"/>
                <a:gd name="connsiteX1034" fmla="*/ 79629 w 400050"/>
                <a:gd name="connsiteY1034" fmla="*/ 377095 h 638175"/>
                <a:gd name="connsiteX1035" fmla="*/ 79629 w 400050"/>
                <a:gd name="connsiteY1035" fmla="*/ 379190 h 638175"/>
                <a:gd name="connsiteX1036" fmla="*/ 78962 w 400050"/>
                <a:gd name="connsiteY1036" fmla="*/ 379857 h 638175"/>
                <a:gd name="connsiteX1037" fmla="*/ 76200 w 400050"/>
                <a:gd name="connsiteY1037" fmla="*/ 378524 h 638175"/>
                <a:gd name="connsiteX1038" fmla="*/ 82391 w 400050"/>
                <a:gd name="connsiteY1038" fmla="*/ 371666 h 638175"/>
                <a:gd name="connsiteX1039" fmla="*/ 80963 w 400050"/>
                <a:gd name="connsiteY1039" fmla="*/ 363379 h 638175"/>
                <a:gd name="connsiteX1040" fmla="*/ 80963 w 400050"/>
                <a:gd name="connsiteY1040" fmla="*/ 366141 h 638175"/>
                <a:gd name="connsiteX1041" fmla="*/ 79629 w 400050"/>
                <a:gd name="connsiteY1041" fmla="*/ 364046 h 638175"/>
                <a:gd name="connsiteX1042" fmla="*/ 80296 w 400050"/>
                <a:gd name="connsiteY1042" fmla="*/ 363379 h 638175"/>
                <a:gd name="connsiteX1043" fmla="*/ 80963 w 400050"/>
                <a:gd name="connsiteY1043" fmla="*/ 363379 h 638175"/>
                <a:gd name="connsiteX1044" fmla="*/ 80963 w 400050"/>
                <a:gd name="connsiteY1044" fmla="*/ 363379 h 638175"/>
                <a:gd name="connsiteX1045" fmla="*/ 81629 w 400050"/>
                <a:gd name="connsiteY1045" fmla="*/ 360617 h 638175"/>
                <a:gd name="connsiteX1046" fmla="*/ 82296 w 400050"/>
                <a:gd name="connsiteY1046" fmla="*/ 361283 h 638175"/>
                <a:gd name="connsiteX1047" fmla="*/ 80963 w 400050"/>
                <a:gd name="connsiteY1047" fmla="*/ 363379 h 638175"/>
                <a:gd name="connsiteX1048" fmla="*/ 86487 w 400050"/>
                <a:gd name="connsiteY1048" fmla="*/ 357949 h 638175"/>
                <a:gd name="connsiteX1049" fmla="*/ 85820 w 400050"/>
                <a:gd name="connsiteY1049" fmla="*/ 357283 h 638175"/>
                <a:gd name="connsiteX1050" fmla="*/ 86487 w 400050"/>
                <a:gd name="connsiteY1050" fmla="*/ 357283 h 638175"/>
                <a:gd name="connsiteX1051" fmla="*/ 87154 w 400050"/>
                <a:gd name="connsiteY1051" fmla="*/ 354521 h 638175"/>
                <a:gd name="connsiteX1052" fmla="*/ 86487 w 400050"/>
                <a:gd name="connsiteY1052" fmla="*/ 353187 h 638175"/>
                <a:gd name="connsiteX1053" fmla="*/ 87154 w 400050"/>
                <a:gd name="connsiteY1053" fmla="*/ 352520 h 638175"/>
                <a:gd name="connsiteX1054" fmla="*/ 89249 w 400050"/>
                <a:gd name="connsiteY1054" fmla="*/ 353187 h 638175"/>
                <a:gd name="connsiteX1055" fmla="*/ 89916 w 400050"/>
                <a:gd name="connsiteY1055" fmla="*/ 351092 h 638175"/>
                <a:gd name="connsiteX1056" fmla="*/ 94012 w 400050"/>
                <a:gd name="connsiteY1056" fmla="*/ 347663 h 638175"/>
                <a:gd name="connsiteX1057" fmla="*/ 95345 w 400050"/>
                <a:gd name="connsiteY1057" fmla="*/ 348329 h 638175"/>
                <a:gd name="connsiteX1058" fmla="*/ 96679 w 400050"/>
                <a:gd name="connsiteY1058" fmla="*/ 346234 h 638175"/>
                <a:gd name="connsiteX1059" fmla="*/ 96679 w 400050"/>
                <a:gd name="connsiteY1059" fmla="*/ 348996 h 638175"/>
                <a:gd name="connsiteX1060" fmla="*/ 95345 w 400050"/>
                <a:gd name="connsiteY1060" fmla="*/ 351092 h 638175"/>
                <a:gd name="connsiteX1061" fmla="*/ 92583 w 400050"/>
                <a:gd name="connsiteY1061" fmla="*/ 352425 h 638175"/>
                <a:gd name="connsiteX1062" fmla="*/ 89154 w 400050"/>
                <a:gd name="connsiteY1062" fmla="*/ 357188 h 638175"/>
                <a:gd name="connsiteX1063" fmla="*/ 86487 w 400050"/>
                <a:gd name="connsiteY1063" fmla="*/ 357949 h 638175"/>
                <a:gd name="connsiteX1064" fmla="*/ 87154 w 400050"/>
                <a:gd name="connsiteY1064" fmla="*/ 416909 h 638175"/>
                <a:gd name="connsiteX1065" fmla="*/ 86487 w 400050"/>
                <a:gd name="connsiteY1065" fmla="*/ 421005 h 638175"/>
                <a:gd name="connsiteX1066" fmla="*/ 85820 w 400050"/>
                <a:gd name="connsiteY1066" fmla="*/ 420338 h 638175"/>
                <a:gd name="connsiteX1067" fmla="*/ 87154 w 400050"/>
                <a:gd name="connsiteY1067" fmla="*/ 416909 h 638175"/>
                <a:gd name="connsiteX1068" fmla="*/ 89916 w 400050"/>
                <a:gd name="connsiteY1068" fmla="*/ 412814 h 638175"/>
                <a:gd name="connsiteX1069" fmla="*/ 90583 w 400050"/>
                <a:gd name="connsiteY1069" fmla="*/ 413480 h 638175"/>
                <a:gd name="connsiteX1070" fmla="*/ 90583 w 400050"/>
                <a:gd name="connsiteY1070" fmla="*/ 414147 h 638175"/>
                <a:gd name="connsiteX1071" fmla="*/ 87154 w 400050"/>
                <a:gd name="connsiteY1071" fmla="*/ 416909 h 638175"/>
                <a:gd name="connsiteX1072" fmla="*/ 87821 w 400050"/>
                <a:gd name="connsiteY1072" fmla="*/ 413480 h 638175"/>
                <a:gd name="connsiteX1073" fmla="*/ 89916 w 400050"/>
                <a:gd name="connsiteY1073" fmla="*/ 412814 h 638175"/>
                <a:gd name="connsiteX1074" fmla="*/ 100870 w 400050"/>
                <a:gd name="connsiteY1074" fmla="*/ 357949 h 638175"/>
                <a:gd name="connsiteX1075" fmla="*/ 98774 w 400050"/>
                <a:gd name="connsiteY1075" fmla="*/ 358616 h 638175"/>
                <a:gd name="connsiteX1076" fmla="*/ 102203 w 400050"/>
                <a:gd name="connsiteY1076" fmla="*/ 359950 h 638175"/>
                <a:gd name="connsiteX1077" fmla="*/ 102870 w 400050"/>
                <a:gd name="connsiteY1077" fmla="*/ 359283 h 638175"/>
                <a:gd name="connsiteX1078" fmla="*/ 102870 w 400050"/>
                <a:gd name="connsiteY1078" fmla="*/ 358616 h 638175"/>
                <a:gd name="connsiteX1079" fmla="*/ 100870 w 400050"/>
                <a:gd name="connsiteY1079" fmla="*/ 357949 h 638175"/>
                <a:gd name="connsiteX1080" fmla="*/ 102203 w 400050"/>
                <a:gd name="connsiteY1080" fmla="*/ 356521 h 638175"/>
                <a:gd name="connsiteX1081" fmla="*/ 102870 w 400050"/>
                <a:gd name="connsiteY1081" fmla="*/ 356521 h 638175"/>
                <a:gd name="connsiteX1082" fmla="*/ 106966 w 400050"/>
                <a:gd name="connsiteY1082" fmla="*/ 352425 h 638175"/>
                <a:gd name="connsiteX1083" fmla="*/ 108299 w 400050"/>
                <a:gd name="connsiteY1083" fmla="*/ 350330 h 638175"/>
                <a:gd name="connsiteX1084" fmla="*/ 108966 w 400050"/>
                <a:gd name="connsiteY1084" fmla="*/ 348996 h 638175"/>
                <a:gd name="connsiteX1085" fmla="*/ 108299 w 400050"/>
                <a:gd name="connsiteY1085" fmla="*/ 348996 h 638175"/>
                <a:gd name="connsiteX1086" fmla="*/ 102108 w 400050"/>
                <a:gd name="connsiteY1086" fmla="*/ 354521 h 638175"/>
                <a:gd name="connsiteX1087" fmla="*/ 102108 w 400050"/>
                <a:gd name="connsiteY1087" fmla="*/ 356521 h 638175"/>
                <a:gd name="connsiteX1088" fmla="*/ 102965 w 400050"/>
                <a:gd name="connsiteY1088" fmla="*/ 341471 h 638175"/>
                <a:gd name="connsiteX1089" fmla="*/ 104299 w 400050"/>
                <a:gd name="connsiteY1089" fmla="*/ 338709 h 638175"/>
                <a:gd name="connsiteX1090" fmla="*/ 104299 w 400050"/>
                <a:gd name="connsiteY1090" fmla="*/ 340805 h 638175"/>
                <a:gd name="connsiteX1091" fmla="*/ 102965 w 400050"/>
                <a:gd name="connsiteY1091" fmla="*/ 342138 h 638175"/>
                <a:gd name="connsiteX1092" fmla="*/ 102965 w 400050"/>
                <a:gd name="connsiteY1092" fmla="*/ 341471 h 638175"/>
                <a:gd name="connsiteX1093" fmla="*/ 110490 w 400050"/>
                <a:gd name="connsiteY1093" fmla="*/ 335280 h 638175"/>
                <a:gd name="connsiteX1094" fmla="*/ 108395 w 400050"/>
                <a:gd name="connsiteY1094" fmla="*/ 334613 h 638175"/>
                <a:gd name="connsiteX1095" fmla="*/ 114586 w 400050"/>
                <a:gd name="connsiteY1095" fmla="*/ 327755 h 638175"/>
                <a:gd name="connsiteX1096" fmla="*/ 115253 w 400050"/>
                <a:gd name="connsiteY1096" fmla="*/ 327755 h 638175"/>
                <a:gd name="connsiteX1097" fmla="*/ 112490 w 400050"/>
                <a:gd name="connsiteY1097" fmla="*/ 332518 h 638175"/>
                <a:gd name="connsiteX1098" fmla="*/ 110490 w 400050"/>
                <a:gd name="connsiteY1098" fmla="*/ 335280 h 638175"/>
                <a:gd name="connsiteX1099" fmla="*/ 112490 w 400050"/>
                <a:gd name="connsiteY1099" fmla="*/ 93917 h 638175"/>
                <a:gd name="connsiteX1100" fmla="*/ 115919 w 400050"/>
                <a:gd name="connsiteY1100" fmla="*/ 91154 h 638175"/>
                <a:gd name="connsiteX1101" fmla="*/ 114586 w 400050"/>
                <a:gd name="connsiteY1101" fmla="*/ 91154 h 638175"/>
                <a:gd name="connsiteX1102" fmla="*/ 112490 w 400050"/>
                <a:gd name="connsiteY1102" fmla="*/ 93917 h 638175"/>
                <a:gd name="connsiteX1103" fmla="*/ 115919 w 400050"/>
                <a:gd name="connsiteY1103" fmla="*/ 90488 h 638175"/>
                <a:gd name="connsiteX1104" fmla="*/ 117253 w 400050"/>
                <a:gd name="connsiteY1104" fmla="*/ 89821 h 638175"/>
                <a:gd name="connsiteX1105" fmla="*/ 115919 w 400050"/>
                <a:gd name="connsiteY1105" fmla="*/ 87725 h 638175"/>
                <a:gd name="connsiteX1106" fmla="*/ 115919 w 400050"/>
                <a:gd name="connsiteY1106" fmla="*/ 90488 h 638175"/>
                <a:gd name="connsiteX1107" fmla="*/ 115919 w 400050"/>
                <a:gd name="connsiteY1107" fmla="*/ 342805 h 638175"/>
                <a:gd name="connsiteX1108" fmla="*/ 115919 w 400050"/>
                <a:gd name="connsiteY1108" fmla="*/ 344138 h 638175"/>
                <a:gd name="connsiteX1109" fmla="*/ 116586 w 400050"/>
                <a:gd name="connsiteY1109" fmla="*/ 344805 h 638175"/>
                <a:gd name="connsiteX1110" fmla="*/ 117253 w 400050"/>
                <a:gd name="connsiteY1110" fmla="*/ 344138 h 638175"/>
                <a:gd name="connsiteX1111" fmla="*/ 117253 w 400050"/>
                <a:gd name="connsiteY1111" fmla="*/ 343472 h 638175"/>
                <a:gd name="connsiteX1112" fmla="*/ 124778 w 400050"/>
                <a:gd name="connsiteY1112" fmla="*/ 338709 h 638175"/>
                <a:gd name="connsiteX1113" fmla="*/ 124111 w 400050"/>
                <a:gd name="connsiteY1113" fmla="*/ 337376 h 638175"/>
                <a:gd name="connsiteX1114" fmla="*/ 121349 w 400050"/>
                <a:gd name="connsiteY1114" fmla="*/ 336042 h 638175"/>
                <a:gd name="connsiteX1115" fmla="*/ 116586 w 400050"/>
                <a:gd name="connsiteY1115" fmla="*/ 340805 h 638175"/>
                <a:gd name="connsiteX1116" fmla="*/ 115919 w 400050"/>
                <a:gd name="connsiteY1116" fmla="*/ 342805 h 638175"/>
                <a:gd name="connsiteX1117" fmla="*/ 119348 w 400050"/>
                <a:gd name="connsiteY1117" fmla="*/ 326422 h 638175"/>
                <a:gd name="connsiteX1118" fmla="*/ 118682 w 400050"/>
                <a:gd name="connsiteY1118" fmla="*/ 325755 h 638175"/>
                <a:gd name="connsiteX1119" fmla="*/ 119348 w 400050"/>
                <a:gd name="connsiteY1119" fmla="*/ 325755 h 638175"/>
                <a:gd name="connsiteX1120" fmla="*/ 119348 w 400050"/>
                <a:gd name="connsiteY1120" fmla="*/ 326422 h 638175"/>
                <a:gd name="connsiteX1121" fmla="*/ 122111 w 400050"/>
                <a:gd name="connsiteY1121" fmla="*/ 323660 h 638175"/>
                <a:gd name="connsiteX1122" fmla="*/ 121444 w 400050"/>
                <a:gd name="connsiteY1122" fmla="*/ 322993 h 638175"/>
                <a:gd name="connsiteX1123" fmla="*/ 126206 w 400050"/>
                <a:gd name="connsiteY1123" fmla="*/ 318897 h 638175"/>
                <a:gd name="connsiteX1124" fmla="*/ 124873 w 400050"/>
                <a:gd name="connsiteY1124" fmla="*/ 324422 h 638175"/>
                <a:gd name="connsiteX1125" fmla="*/ 122111 w 400050"/>
                <a:gd name="connsiteY1125" fmla="*/ 323660 h 638175"/>
                <a:gd name="connsiteX1126" fmla="*/ 242126 w 400050"/>
                <a:gd name="connsiteY1126" fmla="*/ 82868 h 638175"/>
                <a:gd name="connsiteX1127" fmla="*/ 238030 w 400050"/>
                <a:gd name="connsiteY1127" fmla="*/ 82868 h 638175"/>
                <a:gd name="connsiteX1128" fmla="*/ 235268 w 400050"/>
                <a:gd name="connsiteY1128" fmla="*/ 78772 h 638175"/>
                <a:gd name="connsiteX1129" fmla="*/ 224981 w 400050"/>
                <a:gd name="connsiteY1129" fmla="*/ 65723 h 638175"/>
                <a:gd name="connsiteX1130" fmla="*/ 226314 w 400050"/>
                <a:gd name="connsiteY1130" fmla="*/ 61627 h 638175"/>
                <a:gd name="connsiteX1131" fmla="*/ 224981 w 400050"/>
                <a:gd name="connsiteY1131" fmla="*/ 58198 h 638175"/>
                <a:gd name="connsiteX1132" fmla="*/ 225647 w 400050"/>
                <a:gd name="connsiteY1132" fmla="*/ 56102 h 638175"/>
                <a:gd name="connsiteX1133" fmla="*/ 224981 w 400050"/>
                <a:gd name="connsiteY1133" fmla="*/ 54769 h 638175"/>
                <a:gd name="connsiteX1134" fmla="*/ 226314 w 400050"/>
                <a:gd name="connsiteY1134" fmla="*/ 53435 h 638175"/>
                <a:gd name="connsiteX1135" fmla="*/ 222885 w 400050"/>
                <a:gd name="connsiteY1135" fmla="*/ 45244 h 638175"/>
                <a:gd name="connsiteX1136" fmla="*/ 223552 w 400050"/>
                <a:gd name="connsiteY1136" fmla="*/ 43148 h 638175"/>
                <a:gd name="connsiteX1137" fmla="*/ 221456 w 400050"/>
                <a:gd name="connsiteY1137" fmla="*/ 36957 h 638175"/>
                <a:gd name="connsiteX1138" fmla="*/ 220123 w 400050"/>
                <a:gd name="connsiteY1138" fmla="*/ 32861 h 638175"/>
                <a:gd name="connsiteX1139" fmla="*/ 218027 w 400050"/>
                <a:gd name="connsiteY1139" fmla="*/ 32195 h 638175"/>
                <a:gd name="connsiteX1140" fmla="*/ 207074 w 400050"/>
                <a:gd name="connsiteY1140" fmla="*/ 39719 h 638175"/>
                <a:gd name="connsiteX1141" fmla="*/ 207074 w 400050"/>
                <a:gd name="connsiteY1141" fmla="*/ 38386 h 638175"/>
                <a:gd name="connsiteX1142" fmla="*/ 208407 w 400050"/>
                <a:gd name="connsiteY1142" fmla="*/ 37719 h 638175"/>
                <a:gd name="connsiteX1143" fmla="*/ 196786 w 400050"/>
                <a:gd name="connsiteY1143" fmla="*/ 49340 h 638175"/>
                <a:gd name="connsiteX1144" fmla="*/ 197453 w 400050"/>
                <a:gd name="connsiteY1144" fmla="*/ 49340 h 638175"/>
                <a:gd name="connsiteX1145" fmla="*/ 198787 w 400050"/>
                <a:gd name="connsiteY1145" fmla="*/ 51435 h 638175"/>
                <a:gd name="connsiteX1146" fmla="*/ 195358 w 400050"/>
                <a:gd name="connsiteY1146" fmla="*/ 50768 h 638175"/>
                <a:gd name="connsiteX1147" fmla="*/ 191929 w 400050"/>
                <a:gd name="connsiteY1147" fmla="*/ 54197 h 638175"/>
                <a:gd name="connsiteX1148" fmla="*/ 189833 w 400050"/>
                <a:gd name="connsiteY1148" fmla="*/ 53531 h 638175"/>
                <a:gd name="connsiteX1149" fmla="*/ 183642 w 400050"/>
                <a:gd name="connsiteY1149" fmla="*/ 65151 h 638175"/>
                <a:gd name="connsiteX1150" fmla="*/ 184309 w 400050"/>
                <a:gd name="connsiteY1150" fmla="*/ 68580 h 638175"/>
                <a:gd name="connsiteX1151" fmla="*/ 182213 w 400050"/>
                <a:gd name="connsiteY1151" fmla="*/ 67247 h 638175"/>
                <a:gd name="connsiteX1152" fmla="*/ 181547 w 400050"/>
                <a:gd name="connsiteY1152" fmla="*/ 65151 h 638175"/>
                <a:gd name="connsiteX1153" fmla="*/ 180213 w 400050"/>
                <a:gd name="connsiteY1153" fmla="*/ 74105 h 638175"/>
                <a:gd name="connsiteX1154" fmla="*/ 179546 w 400050"/>
                <a:gd name="connsiteY1154" fmla="*/ 73438 h 638175"/>
                <a:gd name="connsiteX1155" fmla="*/ 178880 w 400050"/>
                <a:gd name="connsiteY1155" fmla="*/ 73438 h 638175"/>
                <a:gd name="connsiteX1156" fmla="*/ 178880 w 400050"/>
                <a:gd name="connsiteY1156" fmla="*/ 74105 h 638175"/>
                <a:gd name="connsiteX1157" fmla="*/ 175451 w 400050"/>
                <a:gd name="connsiteY1157" fmla="*/ 78867 h 638175"/>
                <a:gd name="connsiteX1158" fmla="*/ 174784 w 400050"/>
                <a:gd name="connsiteY1158" fmla="*/ 78200 h 638175"/>
                <a:gd name="connsiteX1159" fmla="*/ 174117 w 400050"/>
                <a:gd name="connsiteY1159" fmla="*/ 78200 h 638175"/>
                <a:gd name="connsiteX1160" fmla="*/ 174117 w 400050"/>
                <a:gd name="connsiteY1160" fmla="*/ 79534 h 638175"/>
                <a:gd name="connsiteX1161" fmla="*/ 172022 w 400050"/>
                <a:gd name="connsiteY1161" fmla="*/ 80867 h 638175"/>
                <a:gd name="connsiteX1162" fmla="*/ 173355 w 400050"/>
                <a:gd name="connsiteY1162" fmla="*/ 83630 h 638175"/>
                <a:gd name="connsiteX1163" fmla="*/ 172022 w 400050"/>
                <a:gd name="connsiteY1163" fmla="*/ 83630 h 638175"/>
                <a:gd name="connsiteX1164" fmla="*/ 172022 w 400050"/>
                <a:gd name="connsiteY1164" fmla="*/ 82296 h 638175"/>
                <a:gd name="connsiteX1165" fmla="*/ 171545 w 400050"/>
                <a:gd name="connsiteY1165" fmla="*/ 81534 h 638175"/>
                <a:gd name="connsiteX1166" fmla="*/ 161258 w 400050"/>
                <a:gd name="connsiteY1166" fmla="*/ 93917 h 638175"/>
                <a:gd name="connsiteX1167" fmla="*/ 164021 w 400050"/>
                <a:gd name="connsiteY1167" fmla="*/ 97346 h 638175"/>
                <a:gd name="connsiteX1168" fmla="*/ 163354 w 400050"/>
                <a:gd name="connsiteY1168" fmla="*/ 97346 h 638175"/>
                <a:gd name="connsiteX1169" fmla="*/ 162687 w 400050"/>
                <a:gd name="connsiteY1169" fmla="*/ 98679 h 638175"/>
                <a:gd name="connsiteX1170" fmla="*/ 158591 w 400050"/>
                <a:gd name="connsiteY1170" fmla="*/ 104204 h 638175"/>
                <a:gd name="connsiteX1171" fmla="*/ 154496 w 400050"/>
                <a:gd name="connsiteY1171" fmla="*/ 110395 h 638175"/>
                <a:gd name="connsiteX1172" fmla="*/ 153829 w 400050"/>
                <a:gd name="connsiteY1172" fmla="*/ 109728 h 638175"/>
                <a:gd name="connsiteX1173" fmla="*/ 153162 w 400050"/>
                <a:gd name="connsiteY1173" fmla="*/ 110395 h 638175"/>
                <a:gd name="connsiteX1174" fmla="*/ 152495 w 400050"/>
                <a:gd name="connsiteY1174" fmla="*/ 109728 h 638175"/>
                <a:gd name="connsiteX1175" fmla="*/ 152495 w 400050"/>
                <a:gd name="connsiteY1175" fmla="*/ 114491 h 638175"/>
                <a:gd name="connsiteX1176" fmla="*/ 149733 w 400050"/>
                <a:gd name="connsiteY1176" fmla="*/ 115157 h 638175"/>
                <a:gd name="connsiteX1177" fmla="*/ 145637 w 400050"/>
                <a:gd name="connsiteY1177" fmla="*/ 119253 h 638175"/>
                <a:gd name="connsiteX1178" fmla="*/ 145637 w 400050"/>
                <a:gd name="connsiteY1178" fmla="*/ 120587 h 638175"/>
                <a:gd name="connsiteX1179" fmla="*/ 146304 w 400050"/>
                <a:gd name="connsiteY1179" fmla="*/ 121920 h 638175"/>
                <a:gd name="connsiteX1180" fmla="*/ 147638 w 400050"/>
                <a:gd name="connsiteY1180" fmla="*/ 122587 h 638175"/>
                <a:gd name="connsiteX1181" fmla="*/ 145542 w 400050"/>
                <a:gd name="connsiteY1181" fmla="*/ 126683 h 638175"/>
                <a:gd name="connsiteX1182" fmla="*/ 142780 w 400050"/>
                <a:gd name="connsiteY1182" fmla="*/ 126683 h 638175"/>
                <a:gd name="connsiteX1183" fmla="*/ 143447 w 400050"/>
                <a:gd name="connsiteY1183" fmla="*/ 130112 h 638175"/>
                <a:gd name="connsiteX1184" fmla="*/ 135255 w 400050"/>
                <a:gd name="connsiteY1184" fmla="*/ 147923 h 638175"/>
                <a:gd name="connsiteX1185" fmla="*/ 135255 w 400050"/>
                <a:gd name="connsiteY1185" fmla="*/ 152686 h 638175"/>
                <a:gd name="connsiteX1186" fmla="*/ 124301 w 400050"/>
                <a:gd name="connsiteY1186" fmla="*/ 197263 h 638175"/>
                <a:gd name="connsiteX1187" fmla="*/ 124301 w 400050"/>
                <a:gd name="connsiteY1187" fmla="*/ 201359 h 638175"/>
                <a:gd name="connsiteX1188" fmla="*/ 125635 w 400050"/>
                <a:gd name="connsiteY1188" fmla="*/ 206883 h 638175"/>
                <a:gd name="connsiteX1189" fmla="*/ 127730 w 400050"/>
                <a:gd name="connsiteY1189" fmla="*/ 207550 h 638175"/>
                <a:gd name="connsiteX1190" fmla="*/ 134588 w 400050"/>
                <a:gd name="connsiteY1190" fmla="*/ 204121 h 638175"/>
                <a:gd name="connsiteX1191" fmla="*/ 135255 w 400050"/>
                <a:gd name="connsiteY1191" fmla="*/ 200025 h 638175"/>
                <a:gd name="connsiteX1192" fmla="*/ 140780 w 400050"/>
                <a:gd name="connsiteY1192" fmla="*/ 201359 h 638175"/>
                <a:gd name="connsiteX1193" fmla="*/ 138684 w 400050"/>
                <a:gd name="connsiteY1193" fmla="*/ 200025 h 638175"/>
                <a:gd name="connsiteX1194" fmla="*/ 145542 w 400050"/>
                <a:gd name="connsiteY1194" fmla="*/ 192500 h 638175"/>
                <a:gd name="connsiteX1195" fmla="*/ 148304 w 400050"/>
                <a:gd name="connsiteY1195" fmla="*/ 194596 h 638175"/>
                <a:gd name="connsiteX1196" fmla="*/ 148971 w 400050"/>
                <a:gd name="connsiteY1196" fmla="*/ 194596 h 638175"/>
                <a:gd name="connsiteX1197" fmla="*/ 150305 w 400050"/>
                <a:gd name="connsiteY1197" fmla="*/ 189833 h 638175"/>
                <a:gd name="connsiteX1198" fmla="*/ 149638 w 400050"/>
                <a:gd name="connsiteY1198" fmla="*/ 187071 h 638175"/>
                <a:gd name="connsiteX1199" fmla="*/ 150971 w 400050"/>
                <a:gd name="connsiteY1199" fmla="*/ 187071 h 638175"/>
                <a:gd name="connsiteX1200" fmla="*/ 172879 w 400050"/>
                <a:gd name="connsiteY1200" fmla="*/ 168593 h 638175"/>
                <a:gd name="connsiteX1201" fmla="*/ 172879 w 400050"/>
                <a:gd name="connsiteY1201" fmla="*/ 165830 h 638175"/>
                <a:gd name="connsiteX1202" fmla="*/ 176308 w 400050"/>
                <a:gd name="connsiteY1202" fmla="*/ 161735 h 638175"/>
                <a:gd name="connsiteX1203" fmla="*/ 176975 w 400050"/>
                <a:gd name="connsiteY1203" fmla="*/ 161068 h 638175"/>
                <a:gd name="connsiteX1204" fmla="*/ 185166 w 400050"/>
                <a:gd name="connsiteY1204" fmla="*/ 154210 h 638175"/>
                <a:gd name="connsiteX1205" fmla="*/ 186500 w 400050"/>
                <a:gd name="connsiteY1205" fmla="*/ 152876 h 638175"/>
                <a:gd name="connsiteX1206" fmla="*/ 187833 w 400050"/>
                <a:gd name="connsiteY1206" fmla="*/ 150781 h 638175"/>
                <a:gd name="connsiteX1207" fmla="*/ 187166 w 400050"/>
                <a:gd name="connsiteY1207" fmla="*/ 148685 h 638175"/>
                <a:gd name="connsiteX1208" fmla="*/ 194024 w 400050"/>
                <a:gd name="connsiteY1208" fmla="*/ 145256 h 638175"/>
                <a:gd name="connsiteX1209" fmla="*/ 194024 w 400050"/>
                <a:gd name="connsiteY1209" fmla="*/ 142494 h 638175"/>
                <a:gd name="connsiteX1210" fmla="*/ 196120 w 400050"/>
                <a:gd name="connsiteY1210" fmla="*/ 139732 h 638175"/>
                <a:gd name="connsiteX1211" fmla="*/ 196786 w 400050"/>
                <a:gd name="connsiteY1211" fmla="*/ 139065 h 638175"/>
                <a:gd name="connsiteX1212" fmla="*/ 202978 w 400050"/>
                <a:gd name="connsiteY1212" fmla="*/ 132207 h 638175"/>
                <a:gd name="connsiteX1213" fmla="*/ 202978 w 400050"/>
                <a:gd name="connsiteY1213" fmla="*/ 130112 h 638175"/>
                <a:gd name="connsiteX1214" fmla="*/ 208502 w 400050"/>
                <a:gd name="connsiteY1214" fmla="*/ 123254 h 638175"/>
                <a:gd name="connsiteX1215" fmla="*/ 230410 w 400050"/>
                <a:gd name="connsiteY1215" fmla="*/ 103346 h 638175"/>
                <a:gd name="connsiteX1216" fmla="*/ 229743 w 400050"/>
                <a:gd name="connsiteY1216" fmla="*/ 102680 h 638175"/>
                <a:gd name="connsiteX1217" fmla="*/ 235934 w 400050"/>
                <a:gd name="connsiteY1217" fmla="*/ 95822 h 638175"/>
                <a:gd name="connsiteX1218" fmla="*/ 235268 w 400050"/>
                <a:gd name="connsiteY1218" fmla="*/ 91726 h 638175"/>
                <a:gd name="connsiteX1219" fmla="*/ 238030 w 400050"/>
                <a:gd name="connsiteY1219" fmla="*/ 94488 h 638175"/>
                <a:gd name="connsiteX1220" fmla="*/ 238697 w 400050"/>
                <a:gd name="connsiteY1220" fmla="*/ 95155 h 638175"/>
                <a:gd name="connsiteX1221" fmla="*/ 237363 w 400050"/>
                <a:gd name="connsiteY1221" fmla="*/ 96488 h 638175"/>
                <a:gd name="connsiteX1222" fmla="*/ 237363 w 400050"/>
                <a:gd name="connsiteY1222" fmla="*/ 97822 h 638175"/>
                <a:gd name="connsiteX1223" fmla="*/ 240792 w 400050"/>
                <a:gd name="connsiteY1223" fmla="*/ 94393 h 638175"/>
                <a:gd name="connsiteX1224" fmla="*/ 238697 w 400050"/>
                <a:gd name="connsiteY1224" fmla="*/ 91631 h 638175"/>
                <a:gd name="connsiteX1225" fmla="*/ 238030 w 400050"/>
                <a:gd name="connsiteY1225" fmla="*/ 91631 h 638175"/>
                <a:gd name="connsiteX1226" fmla="*/ 237363 w 400050"/>
                <a:gd name="connsiteY1226" fmla="*/ 90964 h 638175"/>
                <a:gd name="connsiteX1227" fmla="*/ 236696 w 400050"/>
                <a:gd name="connsiteY1227" fmla="*/ 90297 h 638175"/>
                <a:gd name="connsiteX1228" fmla="*/ 242221 w 400050"/>
                <a:gd name="connsiteY1228" fmla="*/ 83439 h 638175"/>
                <a:gd name="connsiteX1229" fmla="*/ 242221 w 400050"/>
                <a:gd name="connsiteY1229" fmla="*/ 82868 h 638175"/>
                <a:gd name="connsiteX1230" fmla="*/ 129635 w 400050"/>
                <a:gd name="connsiteY1230" fmla="*/ 318802 h 638175"/>
                <a:gd name="connsiteX1231" fmla="*/ 127540 w 400050"/>
                <a:gd name="connsiteY1231" fmla="*/ 318802 h 638175"/>
                <a:gd name="connsiteX1232" fmla="*/ 128873 w 400050"/>
                <a:gd name="connsiteY1232" fmla="*/ 316040 h 638175"/>
                <a:gd name="connsiteX1233" fmla="*/ 129540 w 400050"/>
                <a:gd name="connsiteY1233" fmla="*/ 316040 h 638175"/>
                <a:gd name="connsiteX1234" fmla="*/ 140494 w 400050"/>
                <a:gd name="connsiteY1234" fmla="*/ 307848 h 638175"/>
                <a:gd name="connsiteX1235" fmla="*/ 141161 w 400050"/>
                <a:gd name="connsiteY1235" fmla="*/ 308515 h 638175"/>
                <a:gd name="connsiteX1236" fmla="*/ 130874 w 400050"/>
                <a:gd name="connsiteY1236" fmla="*/ 317468 h 638175"/>
                <a:gd name="connsiteX1237" fmla="*/ 129635 w 400050"/>
                <a:gd name="connsiteY1237" fmla="*/ 318802 h 638175"/>
                <a:gd name="connsiteX1238" fmla="*/ 128969 w 400050"/>
                <a:gd name="connsiteY1238" fmla="*/ 331851 h 638175"/>
                <a:gd name="connsiteX1239" fmla="*/ 130302 w 400050"/>
                <a:gd name="connsiteY1239" fmla="*/ 332518 h 638175"/>
                <a:gd name="connsiteX1240" fmla="*/ 137160 w 400050"/>
                <a:gd name="connsiteY1240" fmla="*/ 326326 h 638175"/>
                <a:gd name="connsiteX1241" fmla="*/ 137160 w 400050"/>
                <a:gd name="connsiteY1241" fmla="*/ 325660 h 638175"/>
                <a:gd name="connsiteX1242" fmla="*/ 132398 w 400050"/>
                <a:gd name="connsiteY1242" fmla="*/ 326326 h 638175"/>
                <a:gd name="connsiteX1243" fmla="*/ 128969 w 400050"/>
                <a:gd name="connsiteY1243" fmla="*/ 331851 h 638175"/>
                <a:gd name="connsiteX1244" fmla="*/ 144113 w 400050"/>
                <a:gd name="connsiteY1244" fmla="*/ 318802 h 638175"/>
                <a:gd name="connsiteX1245" fmla="*/ 143447 w 400050"/>
                <a:gd name="connsiteY1245" fmla="*/ 319469 h 638175"/>
                <a:gd name="connsiteX1246" fmla="*/ 144113 w 400050"/>
                <a:gd name="connsiteY1246" fmla="*/ 318802 h 638175"/>
                <a:gd name="connsiteX1247" fmla="*/ 144113 w 400050"/>
                <a:gd name="connsiteY1247" fmla="*/ 318135 h 638175"/>
                <a:gd name="connsiteX1248" fmla="*/ 146209 w 400050"/>
                <a:gd name="connsiteY1248" fmla="*/ 319469 h 638175"/>
                <a:gd name="connsiteX1249" fmla="*/ 154400 w 400050"/>
                <a:gd name="connsiteY1249" fmla="*/ 313277 h 638175"/>
                <a:gd name="connsiteX1250" fmla="*/ 154400 w 400050"/>
                <a:gd name="connsiteY1250" fmla="*/ 311944 h 638175"/>
                <a:gd name="connsiteX1251" fmla="*/ 147542 w 400050"/>
                <a:gd name="connsiteY1251" fmla="*/ 315373 h 638175"/>
                <a:gd name="connsiteX1252" fmla="*/ 144113 w 400050"/>
                <a:gd name="connsiteY1252" fmla="*/ 318135 h 638175"/>
                <a:gd name="connsiteX1253" fmla="*/ 164687 w 400050"/>
                <a:gd name="connsiteY1253" fmla="*/ 292799 h 638175"/>
                <a:gd name="connsiteX1254" fmla="*/ 164021 w 400050"/>
                <a:gd name="connsiteY1254" fmla="*/ 292132 h 638175"/>
                <a:gd name="connsiteX1255" fmla="*/ 156496 w 400050"/>
                <a:gd name="connsiteY1255" fmla="*/ 298323 h 638175"/>
                <a:gd name="connsiteX1256" fmla="*/ 155162 w 400050"/>
                <a:gd name="connsiteY1256" fmla="*/ 298323 h 638175"/>
                <a:gd name="connsiteX1257" fmla="*/ 155162 w 400050"/>
                <a:gd name="connsiteY1257" fmla="*/ 294894 h 638175"/>
                <a:gd name="connsiteX1258" fmla="*/ 159258 w 400050"/>
                <a:gd name="connsiteY1258" fmla="*/ 292132 h 638175"/>
                <a:gd name="connsiteX1259" fmla="*/ 159258 w 400050"/>
                <a:gd name="connsiteY1259" fmla="*/ 291465 h 638175"/>
                <a:gd name="connsiteX1260" fmla="*/ 166116 w 400050"/>
                <a:gd name="connsiteY1260" fmla="*/ 287369 h 638175"/>
                <a:gd name="connsiteX1261" fmla="*/ 168211 w 400050"/>
                <a:gd name="connsiteY1261" fmla="*/ 287369 h 638175"/>
                <a:gd name="connsiteX1262" fmla="*/ 164687 w 400050"/>
                <a:gd name="connsiteY1262" fmla="*/ 292799 h 638175"/>
                <a:gd name="connsiteX1263" fmla="*/ 158496 w 400050"/>
                <a:gd name="connsiteY1263" fmla="*/ 307181 h 638175"/>
                <a:gd name="connsiteX1264" fmla="*/ 157829 w 400050"/>
                <a:gd name="connsiteY1264" fmla="*/ 307848 h 638175"/>
                <a:gd name="connsiteX1265" fmla="*/ 159925 w 400050"/>
                <a:gd name="connsiteY1265" fmla="*/ 309182 h 638175"/>
                <a:gd name="connsiteX1266" fmla="*/ 159925 w 400050"/>
                <a:gd name="connsiteY1266" fmla="*/ 308515 h 638175"/>
                <a:gd name="connsiteX1267" fmla="*/ 158496 w 400050"/>
                <a:gd name="connsiteY1267" fmla="*/ 307181 h 638175"/>
                <a:gd name="connsiteX1268" fmla="*/ 169450 w 400050"/>
                <a:gd name="connsiteY1268" fmla="*/ 287941 h 638175"/>
                <a:gd name="connsiteX1269" fmla="*/ 169450 w 400050"/>
                <a:gd name="connsiteY1269" fmla="*/ 287274 h 638175"/>
                <a:gd name="connsiteX1270" fmla="*/ 170117 w 400050"/>
                <a:gd name="connsiteY1270" fmla="*/ 287941 h 638175"/>
                <a:gd name="connsiteX1271" fmla="*/ 169450 w 400050"/>
                <a:gd name="connsiteY1271" fmla="*/ 287941 h 638175"/>
                <a:gd name="connsiteX1272" fmla="*/ 172212 w 400050"/>
                <a:gd name="connsiteY1272" fmla="*/ 299657 h 638175"/>
                <a:gd name="connsiteX1273" fmla="*/ 173546 w 400050"/>
                <a:gd name="connsiteY1273" fmla="*/ 298323 h 638175"/>
                <a:gd name="connsiteX1274" fmla="*/ 172879 w 400050"/>
                <a:gd name="connsiteY1274" fmla="*/ 297656 h 638175"/>
                <a:gd name="connsiteX1275" fmla="*/ 170783 w 400050"/>
                <a:gd name="connsiteY1275" fmla="*/ 298323 h 638175"/>
                <a:gd name="connsiteX1276" fmla="*/ 172212 w 400050"/>
                <a:gd name="connsiteY1276" fmla="*/ 299657 h 638175"/>
                <a:gd name="connsiteX1277" fmla="*/ 174212 w 400050"/>
                <a:gd name="connsiteY1277" fmla="*/ 283178 h 638175"/>
                <a:gd name="connsiteX1278" fmla="*/ 176308 w 400050"/>
                <a:gd name="connsiteY1278" fmla="*/ 283845 h 638175"/>
                <a:gd name="connsiteX1279" fmla="*/ 176308 w 400050"/>
                <a:gd name="connsiteY1279" fmla="*/ 284512 h 638175"/>
                <a:gd name="connsiteX1280" fmla="*/ 172879 w 400050"/>
                <a:gd name="connsiteY1280" fmla="*/ 285845 h 638175"/>
                <a:gd name="connsiteX1281" fmla="*/ 172212 w 400050"/>
                <a:gd name="connsiteY1281" fmla="*/ 285845 h 638175"/>
                <a:gd name="connsiteX1282" fmla="*/ 174212 w 400050"/>
                <a:gd name="connsiteY1282" fmla="*/ 283178 h 638175"/>
                <a:gd name="connsiteX1283" fmla="*/ 176308 w 400050"/>
                <a:gd name="connsiteY1283" fmla="*/ 295561 h 638175"/>
                <a:gd name="connsiteX1284" fmla="*/ 175641 w 400050"/>
                <a:gd name="connsiteY1284" fmla="*/ 296894 h 638175"/>
                <a:gd name="connsiteX1285" fmla="*/ 176308 w 400050"/>
                <a:gd name="connsiteY1285" fmla="*/ 296894 h 638175"/>
                <a:gd name="connsiteX1286" fmla="*/ 176308 w 400050"/>
                <a:gd name="connsiteY1286" fmla="*/ 295561 h 638175"/>
                <a:gd name="connsiteX1287" fmla="*/ 184499 w 400050"/>
                <a:gd name="connsiteY1287" fmla="*/ 279749 h 638175"/>
                <a:gd name="connsiteX1288" fmla="*/ 183166 w 400050"/>
                <a:gd name="connsiteY1288" fmla="*/ 279083 h 638175"/>
                <a:gd name="connsiteX1289" fmla="*/ 185928 w 400050"/>
                <a:gd name="connsiteY1289" fmla="*/ 274320 h 638175"/>
                <a:gd name="connsiteX1290" fmla="*/ 186595 w 400050"/>
                <a:gd name="connsiteY1290" fmla="*/ 274987 h 638175"/>
                <a:gd name="connsiteX1291" fmla="*/ 187928 w 400050"/>
                <a:gd name="connsiteY1291" fmla="*/ 275654 h 638175"/>
                <a:gd name="connsiteX1292" fmla="*/ 187928 w 400050"/>
                <a:gd name="connsiteY1292" fmla="*/ 276987 h 638175"/>
                <a:gd name="connsiteX1293" fmla="*/ 185833 w 400050"/>
                <a:gd name="connsiteY1293" fmla="*/ 279083 h 638175"/>
                <a:gd name="connsiteX1294" fmla="*/ 184499 w 400050"/>
                <a:gd name="connsiteY1294" fmla="*/ 279749 h 638175"/>
                <a:gd name="connsiteX1295" fmla="*/ 184499 w 400050"/>
                <a:gd name="connsiteY1295" fmla="*/ 288703 h 638175"/>
                <a:gd name="connsiteX1296" fmla="*/ 184499 w 400050"/>
                <a:gd name="connsiteY1296" fmla="*/ 289370 h 638175"/>
                <a:gd name="connsiteX1297" fmla="*/ 186595 w 400050"/>
                <a:gd name="connsiteY1297" fmla="*/ 290036 h 638175"/>
                <a:gd name="connsiteX1298" fmla="*/ 192119 w 400050"/>
                <a:gd name="connsiteY1298" fmla="*/ 286607 h 638175"/>
                <a:gd name="connsiteX1299" fmla="*/ 192119 w 400050"/>
                <a:gd name="connsiteY1299" fmla="*/ 285941 h 638175"/>
                <a:gd name="connsiteX1300" fmla="*/ 186595 w 400050"/>
                <a:gd name="connsiteY1300" fmla="*/ 288036 h 638175"/>
                <a:gd name="connsiteX1301" fmla="*/ 184499 w 400050"/>
                <a:gd name="connsiteY1301" fmla="*/ 288703 h 638175"/>
                <a:gd name="connsiteX1302" fmla="*/ 192119 w 400050"/>
                <a:gd name="connsiteY1302" fmla="*/ 290036 h 638175"/>
                <a:gd name="connsiteX1303" fmla="*/ 192786 w 400050"/>
                <a:gd name="connsiteY1303" fmla="*/ 290036 h 638175"/>
                <a:gd name="connsiteX1304" fmla="*/ 193453 w 400050"/>
                <a:gd name="connsiteY1304" fmla="*/ 290703 h 638175"/>
                <a:gd name="connsiteX1305" fmla="*/ 192786 w 400050"/>
                <a:gd name="connsiteY1305" fmla="*/ 289370 h 638175"/>
                <a:gd name="connsiteX1306" fmla="*/ 192119 w 400050"/>
                <a:gd name="connsiteY1306" fmla="*/ 290036 h 638175"/>
                <a:gd name="connsiteX1307" fmla="*/ 195548 w 400050"/>
                <a:gd name="connsiteY1307" fmla="*/ 270796 h 638175"/>
                <a:gd name="connsiteX1308" fmla="*/ 196215 w 400050"/>
                <a:gd name="connsiteY1308" fmla="*/ 269462 h 638175"/>
                <a:gd name="connsiteX1309" fmla="*/ 196882 w 400050"/>
                <a:gd name="connsiteY1309" fmla="*/ 268796 h 638175"/>
                <a:gd name="connsiteX1310" fmla="*/ 196882 w 400050"/>
                <a:gd name="connsiteY1310" fmla="*/ 269462 h 638175"/>
                <a:gd name="connsiteX1311" fmla="*/ 196215 w 400050"/>
                <a:gd name="connsiteY1311" fmla="*/ 270796 h 638175"/>
                <a:gd name="connsiteX1312" fmla="*/ 195548 w 400050"/>
                <a:gd name="connsiteY1312" fmla="*/ 270796 h 638175"/>
                <a:gd name="connsiteX1313" fmla="*/ 207835 w 400050"/>
                <a:gd name="connsiteY1313" fmla="*/ 263938 h 638175"/>
                <a:gd name="connsiteX1314" fmla="*/ 204407 w 400050"/>
                <a:gd name="connsiteY1314" fmla="*/ 266033 h 638175"/>
                <a:gd name="connsiteX1315" fmla="*/ 204407 w 400050"/>
                <a:gd name="connsiteY1315" fmla="*/ 268129 h 638175"/>
                <a:gd name="connsiteX1316" fmla="*/ 201644 w 400050"/>
                <a:gd name="connsiteY1316" fmla="*/ 265367 h 638175"/>
                <a:gd name="connsiteX1317" fmla="*/ 201644 w 400050"/>
                <a:gd name="connsiteY1317" fmla="*/ 264033 h 638175"/>
                <a:gd name="connsiteX1318" fmla="*/ 207169 w 400050"/>
                <a:gd name="connsiteY1318" fmla="*/ 262700 h 638175"/>
                <a:gd name="connsiteX1319" fmla="*/ 209264 w 400050"/>
                <a:gd name="connsiteY1319" fmla="*/ 263366 h 638175"/>
                <a:gd name="connsiteX1320" fmla="*/ 208598 w 400050"/>
                <a:gd name="connsiteY1320" fmla="*/ 264033 h 638175"/>
                <a:gd name="connsiteX1321" fmla="*/ 207835 w 400050"/>
                <a:gd name="connsiteY1321" fmla="*/ 264033 h 638175"/>
                <a:gd name="connsiteX1322" fmla="*/ 206502 w 400050"/>
                <a:gd name="connsiteY1322" fmla="*/ 264700 h 638175"/>
                <a:gd name="connsiteX1323" fmla="*/ 206502 w 400050"/>
                <a:gd name="connsiteY1323" fmla="*/ 266795 h 638175"/>
                <a:gd name="connsiteX1324" fmla="*/ 205835 w 400050"/>
                <a:gd name="connsiteY1324" fmla="*/ 266129 h 638175"/>
                <a:gd name="connsiteX1325" fmla="*/ 206502 w 400050"/>
                <a:gd name="connsiteY1325" fmla="*/ 264700 h 638175"/>
                <a:gd name="connsiteX1326" fmla="*/ 207835 w 400050"/>
                <a:gd name="connsiteY1326" fmla="*/ 34195 h 638175"/>
                <a:gd name="connsiteX1327" fmla="*/ 208502 w 400050"/>
                <a:gd name="connsiteY1327" fmla="*/ 32861 h 638175"/>
                <a:gd name="connsiteX1328" fmla="*/ 207835 w 400050"/>
                <a:gd name="connsiteY1328" fmla="*/ 34195 h 638175"/>
                <a:gd name="connsiteX1329" fmla="*/ 209931 w 400050"/>
                <a:gd name="connsiteY1329" fmla="*/ 272224 h 638175"/>
                <a:gd name="connsiteX1330" fmla="*/ 209931 w 400050"/>
                <a:gd name="connsiteY1330" fmla="*/ 273558 h 638175"/>
                <a:gd name="connsiteX1331" fmla="*/ 210598 w 400050"/>
                <a:gd name="connsiteY1331" fmla="*/ 272891 h 638175"/>
                <a:gd name="connsiteX1332" fmla="*/ 209931 w 400050"/>
                <a:gd name="connsiteY1332" fmla="*/ 272224 h 638175"/>
                <a:gd name="connsiteX1333" fmla="*/ 221552 w 400050"/>
                <a:gd name="connsiteY1333" fmla="*/ 274225 h 638175"/>
                <a:gd name="connsiteX1334" fmla="*/ 222218 w 400050"/>
                <a:gd name="connsiteY1334" fmla="*/ 272129 h 638175"/>
                <a:gd name="connsiteX1335" fmla="*/ 220885 w 400050"/>
                <a:gd name="connsiteY1335" fmla="*/ 271463 h 638175"/>
                <a:gd name="connsiteX1336" fmla="*/ 220885 w 400050"/>
                <a:gd name="connsiteY1336" fmla="*/ 273558 h 638175"/>
                <a:gd name="connsiteX1337" fmla="*/ 221552 w 400050"/>
                <a:gd name="connsiteY1337" fmla="*/ 274225 h 638175"/>
                <a:gd name="connsiteX1338" fmla="*/ 237363 w 400050"/>
                <a:gd name="connsiteY1338" fmla="*/ 245459 h 638175"/>
                <a:gd name="connsiteX1339" fmla="*/ 237363 w 400050"/>
                <a:gd name="connsiteY1339" fmla="*/ 244793 h 638175"/>
                <a:gd name="connsiteX1340" fmla="*/ 242126 w 400050"/>
                <a:gd name="connsiteY1340" fmla="*/ 244126 h 638175"/>
                <a:gd name="connsiteX1341" fmla="*/ 242126 w 400050"/>
                <a:gd name="connsiteY1341" fmla="*/ 244793 h 638175"/>
                <a:gd name="connsiteX1342" fmla="*/ 239363 w 400050"/>
                <a:gd name="connsiteY1342" fmla="*/ 248888 h 638175"/>
                <a:gd name="connsiteX1343" fmla="*/ 237363 w 400050"/>
                <a:gd name="connsiteY1343" fmla="*/ 245459 h 638175"/>
                <a:gd name="connsiteX1344" fmla="*/ 240125 w 400050"/>
                <a:gd name="connsiteY1344" fmla="*/ 19145 h 638175"/>
                <a:gd name="connsiteX1345" fmla="*/ 240792 w 400050"/>
                <a:gd name="connsiteY1345" fmla="*/ 19812 h 638175"/>
                <a:gd name="connsiteX1346" fmla="*/ 240792 w 400050"/>
                <a:gd name="connsiteY1346" fmla="*/ 18479 h 638175"/>
                <a:gd name="connsiteX1347" fmla="*/ 240125 w 400050"/>
                <a:gd name="connsiteY1347" fmla="*/ 19145 h 638175"/>
                <a:gd name="connsiteX1348" fmla="*/ 254508 w 400050"/>
                <a:gd name="connsiteY1348" fmla="*/ 237268 h 638175"/>
                <a:gd name="connsiteX1349" fmla="*/ 256604 w 400050"/>
                <a:gd name="connsiteY1349" fmla="*/ 237935 h 638175"/>
                <a:gd name="connsiteX1350" fmla="*/ 255937 w 400050"/>
                <a:gd name="connsiteY1350" fmla="*/ 239268 h 638175"/>
                <a:gd name="connsiteX1351" fmla="*/ 254603 w 400050"/>
                <a:gd name="connsiteY1351" fmla="*/ 238601 h 638175"/>
                <a:gd name="connsiteX1352" fmla="*/ 253270 w 400050"/>
                <a:gd name="connsiteY1352" fmla="*/ 242030 h 638175"/>
                <a:gd name="connsiteX1353" fmla="*/ 253270 w 400050"/>
                <a:gd name="connsiteY1353" fmla="*/ 243364 h 638175"/>
                <a:gd name="connsiteX1354" fmla="*/ 251174 w 400050"/>
                <a:gd name="connsiteY1354" fmla="*/ 243364 h 638175"/>
                <a:gd name="connsiteX1355" fmla="*/ 252508 w 400050"/>
                <a:gd name="connsiteY1355" fmla="*/ 242030 h 638175"/>
                <a:gd name="connsiteX1356" fmla="*/ 251841 w 400050"/>
                <a:gd name="connsiteY1356" fmla="*/ 239268 h 638175"/>
                <a:gd name="connsiteX1357" fmla="*/ 253175 w 400050"/>
                <a:gd name="connsiteY1357" fmla="*/ 237935 h 638175"/>
                <a:gd name="connsiteX1358" fmla="*/ 254508 w 400050"/>
                <a:gd name="connsiteY1358" fmla="*/ 237268 h 638175"/>
                <a:gd name="connsiteX1359" fmla="*/ 264128 w 400050"/>
                <a:gd name="connsiteY1359" fmla="*/ 234506 h 638175"/>
                <a:gd name="connsiteX1360" fmla="*/ 261366 w 400050"/>
                <a:gd name="connsiteY1360" fmla="*/ 234506 h 638175"/>
                <a:gd name="connsiteX1361" fmla="*/ 263462 w 400050"/>
                <a:gd name="connsiteY1361" fmla="*/ 232410 h 638175"/>
                <a:gd name="connsiteX1362" fmla="*/ 264128 w 400050"/>
                <a:gd name="connsiteY1362" fmla="*/ 233077 h 638175"/>
                <a:gd name="connsiteX1363" fmla="*/ 264128 w 400050"/>
                <a:gd name="connsiteY1363" fmla="*/ 234506 h 638175"/>
                <a:gd name="connsiteX1364" fmla="*/ 266129 w 400050"/>
                <a:gd name="connsiteY1364" fmla="*/ 232410 h 638175"/>
                <a:gd name="connsiteX1365" fmla="*/ 266795 w 400050"/>
                <a:gd name="connsiteY1365" fmla="*/ 231077 h 638175"/>
                <a:gd name="connsiteX1366" fmla="*/ 266795 w 400050"/>
                <a:gd name="connsiteY1366" fmla="*/ 232410 h 638175"/>
                <a:gd name="connsiteX1367" fmla="*/ 266129 w 400050"/>
                <a:gd name="connsiteY1367" fmla="*/ 233077 h 638175"/>
                <a:gd name="connsiteX1368" fmla="*/ 266129 w 400050"/>
                <a:gd name="connsiteY1368" fmla="*/ 232410 h 638175"/>
                <a:gd name="connsiteX1369" fmla="*/ 269558 w 400050"/>
                <a:gd name="connsiteY1369" fmla="*/ 233077 h 638175"/>
                <a:gd name="connsiteX1370" fmla="*/ 271653 w 400050"/>
                <a:gd name="connsiteY1370" fmla="*/ 232410 h 638175"/>
                <a:gd name="connsiteX1371" fmla="*/ 269558 w 400050"/>
                <a:gd name="connsiteY1371" fmla="*/ 233744 h 638175"/>
                <a:gd name="connsiteX1372" fmla="*/ 269558 w 400050"/>
                <a:gd name="connsiteY1372" fmla="*/ 233077 h 638175"/>
                <a:gd name="connsiteX1373" fmla="*/ 340233 w 400050"/>
                <a:gd name="connsiteY1373" fmla="*/ 220028 h 638175"/>
                <a:gd name="connsiteX1374" fmla="*/ 340900 w 400050"/>
                <a:gd name="connsiteY1374" fmla="*/ 219361 h 638175"/>
                <a:gd name="connsiteX1375" fmla="*/ 340233 w 400050"/>
                <a:gd name="connsiteY1375" fmla="*/ 218694 h 638175"/>
                <a:gd name="connsiteX1376" fmla="*/ 338900 w 400050"/>
                <a:gd name="connsiteY1376" fmla="*/ 219361 h 638175"/>
                <a:gd name="connsiteX1377" fmla="*/ 340995 w 400050"/>
                <a:gd name="connsiteY1377" fmla="*/ 222123 h 638175"/>
                <a:gd name="connsiteX1378" fmla="*/ 340995 w 400050"/>
                <a:gd name="connsiteY1378" fmla="*/ 223457 h 638175"/>
                <a:gd name="connsiteX1379" fmla="*/ 341662 w 400050"/>
                <a:gd name="connsiteY1379" fmla="*/ 222123 h 638175"/>
                <a:gd name="connsiteX1380" fmla="*/ 340233 w 400050"/>
                <a:gd name="connsiteY1380" fmla="*/ 220028 h 638175"/>
                <a:gd name="connsiteX1381" fmla="*/ 343662 w 400050"/>
                <a:gd name="connsiteY1381" fmla="*/ 228314 h 638175"/>
                <a:gd name="connsiteX1382" fmla="*/ 341567 w 400050"/>
                <a:gd name="connsiteY1382" fmla="*/ 227648 h 638175"/>
                <a:gd name="connsiteX1383" fmla="*/ 343662 w 400050"/>
                <a:gd name="connsiteY1383" fmla="*/ 228981 h 638175"/>
                <a:gd name="connsiteX1384" fmla="*/ 343662 w 400050"/>
                <a:gd name="connsiteY1384" fmla="*/ 228314 h 638175"/>
                <a:gd name="connsiteX1385" fmla="*/ 346424 w 400050"/>
                <a:gd name="connsiteY1385" fmla="*/ 213170 h 638175"/>
                <a:gd name="connsiteX1386" fmla="*/ 344329 w 400050"/>
                <a:gd name="connsiteY1386" fmla="*/ 212503 h 638175"/>
                <a:gd name="connsiteX1387" fmla="*/ 344996 w 400050"/>
                <a:gd name="connsiteY1387" fmla="*/ 215265 h 638175"/>
                <a:gd name="connsiteX1388" fmla="*/ 346424 w 400050"/>
                <a:gd name="connsiteY1388" fmla="*/ 213170 h 638175"/>
                <a:gd name="connsiteX1389" fmla="*/ 346424 w 400050"/>
                <a:gd name="connsiteY1389" fmla="*/ 225552 h 638175"/>
                <a:gd name="connsiteX1390" fmla="*/ 344329 w 400050"/>
                <a:gd name="connsiteY1390" fmla="*/ 226219 h 638175"/>
                <a:gd name="connsiteX1391" fmla="*/ 346424 w 400050"/>
                <a:gd name="connsiteY1391" fmla="*/ 226219 h 638175"/>
                <a:gd name="connsiteX1392" fmla="*/ 346424 w 400050"/>
                <a:gd name="connsiteY1392" fmla="*/ 225552 h 638175"/>
                <a:gd name="connsiteX1393" fmla="*/ 344996 w 400050"/>
                <a:gd name="connsiteY1393" fmla="*/ 220028 h 638175"/>
                <a:gd name="connsiteX1394" fmla="*/ 346329 w 400050"/>
                <a:gd name="connsiteY1394" fmla="*/ 220694 h 638175"/>
                <a:gd name="connsiteX1395" fmla="*/ 344996 w 400050"/>
                <a:gd name="connsiteY1395" fmla="*/ 220028 h 638175"/>
                <a:gd name="connsiteX1396" fmla="*/ 350520 w 400050"/>
                <a:gd name="connsiteY1396" fmla="*/ 216694 h 638175"/>
                <a:gd name="connsiteX1397" fmla="*/ 348425 w 400050"/>
                <a:gd name="connsiteY1397" fmla="*/ 218027 h 638175"/>
                <a:gd name="connsiteX1398" fmla="*/ 349758 w 400050"/>
                <a:gd name="connsiteY1398" fmla="*/ 220123 h 638175"/>
                <a:gd name="connsiteX1399" fmla="*/ 350520 w 400050"/>
                <a:gd name="connsiteY1399" fmla="*/ 216694 h 638175"/>
                <a:gd name="connsiteX1400" fmla="*/ 356711 w 400050"/>
                <a:gd name="connsiteY1400" fmla="*/ 213932 h 638175"/>
                <a:gd name="connsiteX1401" fmla="*/ 355378 w 400050"/>
                <a:gd name="connsiteY1401" fmla="*/ 214598 h 638175"/>
                <a:gd name="connsiteX1402" fmla="*/ 358807 w 400050"/>
                <a:gd name="connsiteY1402" fmla="*/ 214598 h 638175"/>
                <a:gd name="connsiteX1403" fmla="*/ 356711 w 400050"/>
                <a:gd name="connsiteY1403" fmla="*/ 213932 h 638175"/>
                <a:gd name="connsiteX1404" fmla="*/ 358045 w 400050"/>
                <a:gd name="connsiteY1404" fmla="*/ 209741 h 638175"/>
                <a:gd name="connsiteX1405" fmla="*/ 360140 w 400050"/>
                <a:gd name="connsiteY1405" fmla="*/ 209741 h 638175"/>
                <a:gd name="connsiteX1406" fmla="*/ 360140 w 400050"/>
                <a:gd name="connsiteY1406" fmla="*/ 208407 h 638175"/>
                <a:gd name="connsiteX1407" fmla="*/ 358045 w 400050"/>
                <a:gd name="connsiteY1407" fmla="*/ 209741 h 638175"/>
                <a:gd name="connsiteX1408" fmla="*/ 360140 w 400050"/>
                <a:gd name="connsiteY1408" fmla="*/ 220790 h 638175"/>
                <a:gd name="connsiteX1409" fmla="*/ 359474 w 400050"/>
                <a:gd name="connsiteY1409" fmla="*/ 220123 h 638175"/>
                <a:gd name="connsiteX1410" fmla="*/ 358807 w 400050"/>
                <a:gd name="connsiteY1410" fmla="*/ 220790 h 638175"/>
                <a:gd name="connsiteX1411" fmla="*/ 358807 w 400050"/>
                <a:gd name="connsiteY1411" fmla="*/ 222123 h 638175"/>
                <a:gd name="connsiteX1412" fmla="*/ 360140 w 400050"/>
                <a:gd name="connsiteY1412" fmla="*/ 222123 h 638175"/>
                <a:gd name="connsiteX1413" fmla="*/ 360140 w 400050"/>
                <a:gd name="connsiteY1413" fmla="*/ 220790 h 638175"/>
                <a:gd name="connsiteX1414" fmla="*/ 379286 w 400050"/>
                <a:gd name="connsiteY1414" fmla="*/ 201549 h 638175"/>
                <a:gd name="connsiteX1415" fmla="*/ 381381 w 400050"/>
                <a:gd name="connsiteY1415" fmla="*/ 202216 h 638175"/>
                <a:gd name="connsiteX1416" fmla="*/ 381381 w 400050"/>
                <a:gd name="connsiteY1416" fmla="*/ 202883 h 638175"/>
                <a:gd name="connsiteX1417" fmla="*/ 380714 w 400050"/>
                <a:gd name="connsiteY1417" fmla="*/ 202883 h 638175"/>
                <a:gd name="connsiteX1418" fmla="*/ 380048 w 400050"/>
                <a:gd name="connsiteY1418" fmla="*/ 204216 h 638175"/>
                <a:gd name="connsiteX1419" fmla="*/ 381381 w 400050"/>
                <a:gd name="connsiteY1419" fmla="*/ 206312 h 638175"/>
                <a:gd name="connsiteX1420" fmla="*/ 367665 w 400050"/>
                <a:gd name="connsiteY1420" fmla="*/ 211074 h 638175"/>
                <a:gd name="connsiteX1421" fmla="*/ 366998 w 400050"/>
                <a:gd name="connsiteY1421" fmla="*/ 208979 h 638175"/>
                <a:gd name="connsiteX1422" fmla="*/ 372523 w 400050"/>
                <a:gd name="connsiteY1422" fmla="*/ 208312 h 638175"/>
                <a:gd name="connsiteX1423" fmla="*/ 373190 w 400050"/>
                <a:gd name="connsiteY1423" fmla="*/ 207645 h 638175"/>
                <a:gd name="connsiteX1424" fmla="*/ 372523 w 400050"/>
                <a:gd name="connsiteY1424" fmla="*/ 206312 h 638175"/>
                <a:gd name="connsiteX1425" fmla="*/ 373190 w 400050"/>
                <a:gd name="connsiteY1425" fmla="*/ 204216 h 638175"/>
                <a:gd name="connsiteX1426" fmla="*/ 371856 w 400050"/>
                <a:gd name="connsiteY1426" fmla="*/ 202883 h 638175"/>
                <a:gd name="connsiteX1427" fmla="*/ 371856 w 400050"/>
                <a:gd name="connsiteY1427" fmla="*/ 201549 h 638175"/>
                <a:gd name="connsiteX1428" fmla="*/ 375285 w 400050"/>
                <a:gd name="connsiteY1428" fmla="*/ 200216 h 638175"/>
                <a:gd name="connsiteX1429" fmla="*/ 375952 w 400050"/>
                <a:gd name="connsiteY1429" fmla="*/ 201549 h 638175"/>
                <a:gd name="connsiteX1430" fmla="*/ 376619 w 400050"/>
                <a:gd name="connsiteY1430" fmla="*/ 203645 h 638175"/>
                <a:gd name="connsiteX1431" fmla="*/ 379286 w 400050"/>
                <a:gd name="connsiteY1431" fmla="*/ 201549 h 638175"/>
                <a:gd name="connsiteX1432" fmla="*/ 368999 w 400050"/>
                <a:gd name="connsiteY1432" fmla="*/ 202883 h 638175"/>
                <a:gd name="connsiteX1433" fmla="*/ 368332 w 400050"/>
                <a:gd name="connsiteY1433" fmla="*/ 203549 h 638175"/>
                <a:gd name="connsiteX1434" fmla="*/ 367665 w 400050"/>
                <a:gd name="connsiteY1434" fmla="*/ 202883 h 638175"/>
                <a:gd name="connsiteX1435" fmla="*/ 368999 w 400050"/>
                <a:gd name="connsiteY1435" fmla="*/ 202883 h 638175"/>
                <a:gd name="connsiteX1436" fmla="*/ 368999 w 400050"/>
                <a:gd name="connsiteY1436" fmla="*/ 204978 h 638175"/>
                <a:gd name="connsiteX1437" fmla="*/ 371094 w 400050"/>
                <a:gd name="connsiteY1437" fmla="*/ 206312 h 638175"/>
                <a:gd name="connsiteX1438" fmla="*/ 371761 w 400050"/>
                <a:gd name="connsiteY1438" fmla="*/ 207645 h 638175"/>
                <a:gd name="connsiteX1439" fmla="*/ 370427 w 400050"/>
                <a:gd name="connsiteY1439" fmla="*/ 206978 h 638175"/>
                <a:gd name="connsiteX1440" fmla="*/ 368332 w 400050"/>
                <a:gd name="connsiteY1440" fmla="*/ 205645 h 638175"/>
                <a:gd name="connsiteX1441" fmla="*/ 368999 w 400050"/>
                <a:gd name="connsiteY1441" fmla="*/ 204978 h 638175"/>
                <a:gd name="connsiteX1442" fmla="*/ 369761 w 400050"/>
                <a:gd name="connsiteY1442" fmla="*/ 217361 h 638175"/>
                <a:gd name="connsiteX1443" fmla="*/ 368427 w 400050"/>
                <a:gd name="connsiteY1443" fmla="*/ 220123 h 638175"/>
                <a:gd name="connsiteX1444" fmla="*/ 369094 w 400050"/>
                <a:gd name="connsiteY1444" fmla="*/ 220123 h 638175"/>
                <a:gd name="connsiteX1445" fmla="*/ 372523 w 400050"/>
                <a:gd name="connsiteY1445" fmla="*/ 218789 h 638175"/>
                <a:gd name="connsiteX1446" fmla="*/ 369761 w 400050"/>
                <a:gd name="connsiteY1446" fmla="*/ 217361 h 638175"/>
                <a:gd name="connsiteX1447" fmla="*/ 378619 w 400050"/>
                <a:gd name="connsiteY1447" fmla="*/ 200216 h 638175"/>
                <a:gd name="connsiteX1448" fmla="*/ 380714 w 400050"/>
                <a:gd name="connsiteY1448" fmla="*/ 199549 h 638175"/>
                <a:gd name="connsiteX1449" fmla="*/ 381381 w 400050"/>
                <a:gd name="connsiteY1449" fmla="*/ 200216 h 638175"/>
                <a:gd name="connsiteX1450" fmla="*/ 381381 w 400050"/>
                <a:gd name="connsiteY1450" fmla="*/ 200882 h 638175"/>
                <a:gd name="connsiteX1451" fmla="*/ 380714 w 400050"/>
                <a:gd name="connsiteY1451" fmla="*/ 200216 h 638175"/>
                <a:gd name="connsiteX1452" fmla="*/ 379381 w 400050"/>
                <a:gd name="connsiteY1452" fmla="*/ 200882 h 638175"/>
                <a:gd name="connsiteX1453" fmla="*/ 378619 w 400050"/>
                <a:gd name="connsiteY1453" fmla="*/ 200216 h 638175"/>
                <a:gd name="connsiteX1454" fmla="*/ 400622 w 400050"/>
                <a:gd name="connsiteY1454" fmla="*/ 197453 h 638175"/>
                <a:gd name="connsiteX1455" fmla="*/ 399288 w 400050"/>
                <a:gd name="connsiteY1455" fmla="*/ 196787 h 638175"/>
                <a:gd name="connsiteX1456" fmla="*/ 393097 w 400050"/>
                <a:gd name="connsiteY1456" fmla="*/ 198120 h 638175"/>
                <a:gd name="connsiteX1457" fmla="*/ 390335 w 400050"/>
                <a:gd name="connsiteY1457" fmla="*/ 201549 h 638175"/>
                <a:gd name="connsiteX1458" fmla="*/ 389668 w 400050"/>
                <a:gd name="connsiteY1458" fmla="*/ 202216 h 638175"/>
                <a:gd name="connsiteX1459" fmla="*/ 390335 w 400050"/>
                <a:gd name="connsiteY1459" fmla="*/ 202216 h 638175"/>
                <a:gd name="connsiteX1460" fmla="*/ 389001 w 400050"/>
                <a:gd name="connsiteY1460" fmla="*/ 204978 h 638175"/>
                <a:gd name="connsiteX1461" fmla="*/ 389001 w 400050"/>
                <a:gd name="connsiteY1461" fmla="*/ 204311 h 638175"/>
                <a:gd name="connsiteX1462" fmla="*/ 387668 w 400050"/>
                <a:gd name="connsiteY1462" fmla="*/ 202978 h 638175"/>
                <a:gd name="connsiteX1463" fmla="*/ 381476 w 400050"/>
                <a:gd name="connsiteY1463" fmla="*/ 201644 h 638175"/>
                <a:gd name="connsiteX1464" fmla="*/ 385572 w 400050"/>
                <a:gd name="connsiteY1464" fmla="*/ 201644 h 638175"/>
                <a:gd name="connsiteX1465" fmla="*/ 386906 w 400050"/>
                <a:gd name="connsiteY1465" fmla="*/ 200978 h 638175"/>
                <a:gd name="connsiteX1466" fmla="*/ 386239 w 400050"/>
                <a:gd name="connsiteY1466" fmla="*/ 199644 h 638175"/>
                <a:gd name="connsiteX1467" fmla="*/ 400622 w 400050"/>
                <a:gd name="connsiteY1467" fmla="*/ 196215 h 638175"/>
                <a:gd name="connsiteX1468" fmla="*/ 400622 w 400050"/>
                <a:gd name="connsiteY1468" fmla="*/ 197453 h 638175"/>
                <a:gd name="connsiteX1469" fmla="*/ 388239 w 400050"/>
                <a:gd name="connsiteY1469" fmla="*/ 194024 h 638175"/>
                <a:gd name="connsiteX1470" fmla="*/ 387572 w 400050"/>
                <a:gd name="connsiteY1470" fmla="*/ 194024 h 638175"/>
                <a:gd name="connsiteX1471" fmla="*/ 388239 w 400050"/>
                <a:gd name="connsiteY1471" fmla="*/ 193358 h 638175"/>
                <a:gd name="connsiteX1472" fmla="*/ 388239 w 400050"/>
                <a:gd name="connsiteY1472" fmla="*/ 194024 h 638175"/>
                <a:gd name="connsiteX1473" fmla="*/ 400622 w 400050"/>
                <a:gd name="connsiteY1473" fmla="*/ 202216 h 638175"/>
                <a:gd name="connsiteX1474" fmla="*/ 395859 w 400050"/>
                <a:gd name="connsiteY1474" fmla="*/ 203549 h 638175"/>
                <a:gd name="connsiteX1475" fmla="*/ 399288 w 400050"/>
                <a:gd name="connsiteY1475" fmla="*/ 200787 h 638175"/>
                <a:gd name="connsiteX1476" fmla="*/ 400622 w 400050"/>
                <a:gd name="connsiteY1476" fmla="*/ 202216 h 638175"/>
                <a:gd name="connsiteX1477" fmla="*/ 404717 w 400050"/>
                <a:gd name="connsiteY1477" fmla="*/ 195358 h 638175"/>
                <a:gd name="connsiteX1478" fmla="*/ 401955 w 400050"/>
                <a:gd name="connsiteY1478" fmla="*/ 195358 h 638175"/>
                <a:gd name="connsiteX1479" fmla="*/ 404051 w 400050"/>
                <a:gd name="connsiteY1479" fmla="*/ 194024 h 638175"/>
                <a:gd name="connsiteX1480" fmla="*/ 404717 w 400050"/>
                <a:gd name="connsiteY1480" fmla="*/ 194024 h 638175"/>
                <a:gd name="connsiteX1481" fmla="*/ 405384 w 400050"/>
                <a:gd name="connsiteY1481" fmla="*/ 194691 h 638175"/>
                <a:gd name="connsiteX1482" fmla="*/ 404717 w 400050"/>
                <a:gd name="connsiteY1482" fmla="*/ 195358 h 63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</a:cxnLst>
              <a:rect l="l" t="t" r="r" b="b"/>
              <a:pathLst>
                <a:path w="400050" h="638175">
                  <a:moveTo>
                    <a:pt x="266891" y="114491"/>
                  </a:moveTo>
                  <a:lnTo>
                    <a:pt x="264795" y="114491"/>
                  </a:lnTo>
                  <a:cubicBezTo>
                    <a:pt x="264128" y="114491"/>
                    <a:pt x="263462" y="114491"/>
                    <a:pt x="263462" y="115157"/>
                  </a:cubicBezTo>
                  <a:cubicBezTo>
                    <a:pt x="264795" y="113824"/>
                    <a:pt x="250412" y="127540"/>
                    <a:pt x="248412" y="132969"/>
                  </a:cubicBezTo>
                  <a:cubicBezTo>
                    <a:pt x="249079" y="131636"/>
                    <a:pt x="242887" y="145352"/>
                    <a:pt x="234029" y="150114"/>
                  </a:cubicBezTo>
                  <a:cubicBezTo>
                    <a:pt x="226505" y="153543"/>
                    <a:pt x="228505" y="156972"/>
                    <a:pt x="227171" y="156972"/>
                  </a:cubicBezTo>
                  <a:lnTo>
                    <a:pt x="220313" y="163830"/>
                  </a:lnTo>
                  <a:cubicBezTo>
                    <a:pt x="218218" y="169355"/>
                    <a:pt x="218218" y="170021"/>
                    <a:pt x="210693" y="175451"/>
                  </a:cubicBezTo>
                  <a:lnTo>
                    <a:pt x="210026" y="174784"/>
                  </a:lnTo>
                  <a:cubicBezTo>
                    <a:pt x="207264" y="177546"/>
                    <a:pt x="200406" y="182309"/>
                    <a:pt x="194977" y="190595"/>
                  </a:cubicBezTo>
                  <a:lnTo>
                    <a:pt x="193453" y="190595"/>
                  </a:lnTo>
                  <a:cubicBezTo>
                    <a:pt x="192786" y="191262"/>
                    <a:pt x="192786" y="191929"/>
                    <a:pt x="192786" y="192691"/>
                  </a:cubicBezTo>
                  <a:cubicBezTo>
                    <a:pt x="192786" y="193358"/>
                    <a:pt x="192786" y="193358"/>
                    <a:pt x="193453" y="194024"/>
                  </a:cubicBezTo>
                  <a:lnTo>
                    <a:pt x="189357" y="196120"/>
                  </a:lnTo>
                  <a:cubicBezTo>
                    <a:pt x="188690" y="196120"/>
                    <a:pt x="188690" y="196120"/>
                    <a:pt x="187261" y="195453"/>
                  </a:cubicBezTo>
                  <a:cubicBezTo>
                    <a:pt x="185166" y="200216"/>
                    <a:pt x="174212" y="206407"/>
                    <a:pt x="174212" y="212598"/>
                  </a:cubicBezTo>
                  <a:lnTo>
                    <a:pt x="170783" y="212598"/>
                  </a:lnTo>
                  <a:cubicBezTo>
                    <a:pt x="170783" y="212598"/>
                    <a:pt x="162592" y="213932"/>
                    <a:pt x="145447" y="231077"/>
                  </a:cubicBezTo>
                  <a:lnTo>
                    <a:pt x="144780" y="231077"/>
                  </a:lnTo>
                  <a:cubicBezTo>
                    <a:pt x="142685" y="231077"/>
                    <a:pt x="133826" y="244793"/>
                    <a:pt x="106394" y="244793"/>
                  </a:cubicBezTo>
                  <a:cubicBezTo>
                    <a:pt x="106394" y="244126"/>
                    <a:pt x="85820" y="237935"/>
                    <a:pt x="85153" y="231077"/>
                  </a:cubicBezTo>
                  <a:lnTo>
                    <a:pt x="78962" y="224885"/>
                  </a:lnTo>
                  <a:cubicBezTo>
                    <a:pt x="78962" y="224885"/>
                    <a:pt x="74200" y="220790"/>
                    <a:pt x="72104" y="213265"/>
                  </a:cubicBezTo>
                  <a:lnTo>
                    <a:pt x="70009" y="205740"/>
                  </a:lnTo>
                  <a:lnTo>
                    <a:pt x="70009" y="198882"/>
                  </a:lnTo>
                  <a:cubicBezTo>
                    <a:pt x="70009" y="198215"/>
                    <a:pt x="70676" y="198215"/>
                    <a:pt x="70676" y="196120"/>
                  </a:cubicBezTo>
                  <a:lnTo>
                    <a:pt x="69342" y="191357"/>
                  </a:lnTo>
                  <a:cubicBezTo>
                    <a:pt x="68675" y="190691"/>
                    <a:pt x="68675" y="190691"/>
                    <a:pt x="68675" y="190024"/>
                  </a:cubicBezTo>
                  <a:lnTo>
                    <a:pt x="68675" y="189167"/>
                  </a:lnTo>
                  <a:cubicBezTo>
                    <a:pt x="68675" y="187071"/>
                    <a:pt x="71438" y="187833"/>
                    <a:pt x="71438" y="186404"/>
                  </a:cubicBezTo>
                  <a:lnTo>
                    <a:pt x="70771" y="185738"/>
                  </a:lnTo>
                  <a:cubicBezTo>
                    <a:pt x="70771" y="184404"/>
                    <a:pt x="70771" y="173355"/>
                    <a:pt x="72866" y="173355"/>
                  </a:cubicBezTo>
                  <a:lnTo>
                    <a:pt x="72866" y="172688"/>
                  </a:lnTo>
                  <a:cubicBezTo>
                    <a:pt x="74200" y="165830"/>
                    <a:pt x="74962" y="166497"/>
                    <a:pt x="74962" y="164497"/>
                  </a:cubicBezTo>
                  <a:lnTo>
                    <a:pt x="74962" y="160401"/>
                  </a:lnTo>
                  <a:cubicBezTo>
                    <a:pt x="75628" y="159068"/>
                    <a:pt x="77057" y="156972"/>
                    <a:pt x="77724" y="154210"/>
                  </a:cubicBezTo>
                  <a:lnTo>
                    <a:pt x="77724" y="152114"/>
                  </a:lnTo>
                  <a:cubicBezTo>
                    <a:pt x="78391" y="148685"/>
                    <a:pt x="81153" y="141827"/>
                    <a:pt x="86678" y="138398"/>
                  </a:cubicBezTo>
                  <a:cubicBezTo>
                    <a:pt x="86678" y="137732"/>
                    <a:pt x="86011" y="137732"/>
                    <a:pt x="85344" y="137065"/>
                  </a:cubicBezTo>
                  <a:cubicBezTo>
                    <a:pt x="90107" y="132969"/>
                    <a:pt x="84011" y="129540"/>
                    <a:pt x="95631" y="113062"/>
                  </a:cubicBezTo>
                  <a:cubicBezTo>
                    <a:pt x="95631" y="109633"/>
                    <a:pt x="100394" y="108966"/>
                    <a:pt x="100394" y="107537"/>
                  </a:cubicBezTo>
                  <a:cubicBezTo>
                    <a:pt x="101060" y="107537"/>
                    <a:pt x="103156" y="107537"/>
                    <a:pt x="103823" y="108204"/>
                  </a:cubicBezTo>
                  <a:lnTo>
                    <a:pt x="105918" y="108204"/>
                  </a:lnTo>
                  <a:cubicBezTo>
                    <a:pt x="105918" y="107537"/>
                    <a:pt x="106585" y="107537"/>
                    <a:pt x="106585" y="107537"/>
                  </a:cubicBezTo>
                  <a:lnTo>
                    <a:pt x="105918" y="105442"/>
                  </a:lnTo>
                  <a:lnTo>
                    <a:pt x="103156" y="106109"/>
                  </a:lnTo>
                  <a:cubicBezTo>
                    <a:pt x="102489" y="106109"/>
                    <a:pt x="102489" y="106109"/>
                    <a:pt x="102489" y="105442"/>
                  </a:cubicBezTo>
                  <a:lnTo>
                    <a:pt x="102489" y="103442"/>
                  </a:lnTo>
                  <a:lnTo>
                    <a:pt x="107252" y="98679"/>
                  </a:lnTo>
                  <a:lnTo>
                    <a:pt x="107252" y="99346"/>
                  </a:lnTo>
                  <a:cubicBezTo>
                    <a:pt x="107252" y="100679"/>
                    <a:pt x="107252" y="101441"/>
                    <a:pt x="107918" y="101441"/>
                  </a:cubicBezTo>
                  <a:cubicBezTo>
                    <a:pt x="109252" y="98679"/>
                    <a:pt x="110681" y="100108"/>
                    <a:pt x="110681" y="98679"/>
                  </a:cubicBezTo>
                  <a:cubicBezTo>
                    <a:pt x="110681" y="98012"/>
                    <a:pt x="110681" y="97346"/>
                    <a:pt x="110014" y="95917"/>
                  </a:cubicBezTo>
                  <a:cubicBezTo>
                    <a:pt x="109347" y="95250"/>
                    <a:pt x="109347" y="95250"/>
                    <a:pt x="109347" y="94583"/>
                  </a:cubicBezTo>
                  <a:cubicBezTo>
                    <a:pt x="109347" y="88392"/>
                    <a:pt x="123063" y="76772"/>
                    <a:pt x="125825" y="72676"/>
                  </a:cubicBezTo>
                  <a:cubicBezTo>
                    <a:pt x="126492" y="72676"/>
                    <a:pt x="127159" y="73343"/>
                    <a:pt x="127921" y="73343"/>
                  </a:cubicBezTo>
                  <a:cubicBezTo>
                    <a:pt x="130016" y="69247"/>
                    <a:pt x="135446" y="67151"/>
                    <a:pt x="138875" y="63722"/>
                  </a:cubicBezTo>
                  <a:lnTo>
                    <a:pt x="138875" y="62389"/>
                  </a:lnTo>
                  <a:lnTo>
                    <a:pt x="137255" y="62389"/>
                  </a:lnTo>
                  <a:lnTo>
                    <a:pt x="137255" y="63722"/>
                  </a:lnTo>
                  <a:cubicBezTo>
                    <a:pt x="136589" y="63722"/>
                    <a:pt x="135922" y="63722"/>
                    <a:pt x="135922" y="63056"/>
                  </a:cubicBezTo>
                  <a:cubicBezTo>
                    <a:pt x="135922" y="60960"/>
                    <a:pt x="135922" y="58960"/>
                    <a:pt x="138684" y="58960"/>
                  </a:cubicBezTo>
                  <a:lnTo>
                    <a:pt x="140780" y="58960"/>
                  </a:lnTo>
                  <a:cubicBezTo>
                    <a:pt x="141446" y="58960"/>
                    <a:pt x="142113" y="58960"/>
                    <a:pt x="142113" y="58293"/>
                  </a:cubicBezTo>
                  <a:cubicBezTo>
                    <a:pt x="142113" y="57626"/>
                    <a:pt x="141446" y="56959"/>
                    <a:pt x="141446" y="56198"/>
                  </a:cubicBezTo>
                  <a:lnTo>
                    <a:pt x="142113" y="55531"/>
                  </a:lnTo>
                  <a:lnTo>
                    <a:pt x="140780" y="55531"/>
                  </a:lnTo>
                  <a:lnTo>
                    <a:pt x="140780" y="54864"/>
                  </a:lnTo>
                  <a:cubicBezTo>
                    <a:pt x="140780" y="53531"/>
                    <a:pt x="142875" y="51435"/>
                    <a:pt x="144875" y="50102"/>
                  </a:cubicBezTo>
                  <a:lnTo>
                    <a:pt x="145542" y="50102"/>
                  </a:lnTo>
                  <a:cubicBezTo>
                    <a:pt x="145542" y="50768"/>
                    <a:pt x="145542" y="50768"/>
                    <a:pt x="147638" y="52197"/>
                  </a:cubicBezTo>
                  <a:cubicBezTo>
                    <a:pt x="150400" y="48101"/>
                    <a:pt x="154496" y="38481"/>
                    <a:pt x="162020" y="34385"/>
                  </a:cubicBezTo>
                  <a:lnTo>
                    <a:pt x="165449" y="28861"/>
                  </a:lnTo>
                  <a:cubicBezTo>
                    <a:pt x="170974" y="28861"/>
                    <a:pt x="170212" y="23336"/>
                    <a:pt x="172974" y="23336"/>
                  </a:cubicBezTo>
                  <a:cubicBezTo>
                    <a:pt x="176403" y="23336"/>
                    <a:pt x="174308" y="16478"/>
                    <a:pt x="176403" y="17145"/>
                  </a:cubicBezTo>
                  <a:lnTo>
                    <a:pt x="181166" y="13716"/>
                  </a:lnTo>
                  <a:cubicBezTo>
                    <a:pt x="180499" y="15811"/>
                    <a:pt x="191453" y="1334"/>
                    <a:pt x="200406" y="1334"/>
                  </a:cubicBezTo>
                  <a:lnTo>
                    <a:pt x="203835" y="1334"/>
                  </a:lnTo>
                  <a:cubicBezTo>
                    <a:pt x="204502" y="667"/>
                    <a:pt x="205169" y="0"/>
                    <a:pt x="205931" y="0"/>
                  </a:cubicBezTo>
                  <a:cubicBezTo>
                    <a:pt x="206693" y="0"/>
                    <a:pt x="206502" y="572"/>
                    <a:pt x="207169" y="572"/>
                  </a:cubicBezTo>
                  <a:lnTo>
                    <a:pt x="213360" y="4001"/>
                  </a:lnTo>
                  <a:lnTo>
                    <a:pt x="212693" y="4001"/>
                  </a:lnTo>
                  <a:cubicBezTo>
                    <a:pt x="212693" y="4667"/>
                    <a:pt x="219551" y="7430"/>
                    <a:pt x="222980" y="12192"/>
                  </a:cubicBezTo>
                  <a:lnTo>
                    <a:pt x="223647" y="12192"/>
                  </a:lnTo>
                  <a:cubicBezTo>
                    <a:pt x="226409" y="12192"/>
                    <a:pt x="225743" y="9430"/>
                    <a:pt x="227076" y="9430"/>
                  </a:cubicBezTo>
                  <a:cubicBezTo>
                    <a:pt x="229838" y="11525"/>
                    <a:pt x="234601" y="20384"/>
                    <a:pt x="240125" y="20384"/>
                  </a:cubicBezTo>
                  <a:cubicBezTo>
                    <a:pt x="240125" y="20384"/>
                    <a:pt x="240792" y="20384"/>
                    <a:pt x="240792" y="19717"/>
                  </a:cubicBezTo>
                  <a:cubicBezTo>
                    <a:pt x="242126" y="21812"/>
                    <a:pt x="244221" y="24479"/>
                    <a:pt x="244221" y="24479"/>
                  </a:cubicBezTo>
                  <a:cubicBezTo>
                    <a:pt x="244221" y="24479"/>
                    <a:pt x="244888" y="23813"/>
                    <a:pt x="244888" y="23146"/>
                  </a:cubicBezTo>
                  <a:lnTo>
                    <a:pt x="246221" y="23146"/>
                  </a:lnTo>
                  <a:cubicBezTo>
                    <a:pt x="246221" y="25908"/>
                    <a:pt x="248317" y="27908"/>
                    <a:pt x="250317" y="29337"/>
                  </a:cubicBezTo>
                  <a:cubicBezTo>
                    <a:pt x="250317" y="30671"/>
                    <a:pt x="249650" y="30671"/>
                    <a:pt x="248984" y="30671"/>
                  </a:cubicBezTo>
                  <a:cubicBezTo>
                    <a:pt x="248317" y="30671"/>
                    <a:pt x="248317" y="30671"/>
                    <a:pt x="248317" y="32004"/>
                  </a:cubicBezTo>
                  <a:lnTo>
                    <a:pt x="251746" y="36767"/>
                  </a:lnTo>
                  <a:cubicBezTo>
                    <a:pt x="251746" y="37433"/>
                    <a:pt x="252412" y="37433"/>
                    <a:pt x="253079" y="37433"/>
                  </a:cubicBezTo>
                  <a:cubicBezTo>
                    <a:pt x="253746" y="37433"/>
                    <a:pt x="253746" y="37433"/>
                    <a:pt x="254413" y="36767"/>
                  </a:cubicBezTo>
                  <a:cubicBezTo>
                    <a:pt x="258509" y="39529"/>
                    <a:pt x="255746" y="45720"/>
                    <a:pt x="261271" y="45720"/>
                  </a:cubicBezTo>
                  <a:lnTo>
                    <a:pt x="261937" y="49816"/>
                  </a:lnTo>
                  <a:cubicBezTo>
                    <a:pt x="262604" y="51149"/>
                    <a:pt x="264033" y="54578"/>
                    <a:pt x="264033" y="57341"/>
                  </a:cubicBezTo>
                  <a:lnTo>
                    <a:pt x="264700" y="58007"/>
                  </a:lnTo>
                  <a:cubicBezTo>
                    <a:pt x="266033" y="57341"/>
                    <a:pt x="266795" y="56674"/>
                    <a:pt x="267462" y="55245"/>
                  </a:cubicBezTo>
                  <a:lnTo>
                    <a:pt x="266795" y="55245"/>
                  </a:lnTo>
                  <a:cubicBezTo>
                    <a:pt x="266795" y="54578"/>
                    <a:pt x="277082" y="49054"/>
                    <a:pt x="278416" y="41529"/>
                  </a:cubicBezTo>
                  <a:lnTo>
                    <a:pt x="282512" y="39434"/>
                  </a:lnTo>
                  <a:lnTo>
                    <a:pt x="282512" y="35338"/>
                  </a:lnTo>
                  <a:cubicBezTo>
                    <a:pt x="283178" y="34671"/>
                    <a:pt x="283845" y="34004"/>
                    <a:pt x="285941" y="34004"/>
                  </a:cubicBezTo>
                  <a:cubicBezTo>
                    <a:pt x="285941" y="33338"/>
                    <a:pt x="285274" y="32671"/>
                    <a:pt x="285274" y="32671"/>
                  </a:cubicBezTo>
                  <a:cubicBezTo>
                    <a:pt x="285274" y="29909"/>
                    <a:pt x="287369" y="29242"/>
                    <a:pt x="289370" y="28575"/>
                  </a:cubicBezTo>
                  <a:cubicBezTo>
                    <a:pt x="288036" y="30671"/>
                    <a:pt x="300990" y="11430"/>
                    <a:pt x="303752" y="11430"/>
                  </a:cubicBezTo>
                  <a:cubicBezTo>
                    <a:pt x="304419" y="11430"/>
                    <a:pt x="308515" y="16193"/>
                    <a:pt x="309277" y="16955"/>
                  </a:cubicBezTo>
                  <a:cubicBezTo>
                    <a:pt x="309277" y="16288"/>
                    <a:pt x="309944" y="13526"/>
                    <a:pt x="311372" y="13526"/>
                  </a:cubicBezTo>
                  <a:cubicBezTo>
                    <a:pt x="313468" y="13526"/>
                    <a:pt x="320326" y="21717"/>
                    <a:pt x="320993" y="21717"/>
                  </a:cubicBezTo>
                  <a:cubicBezTo>
                    <a:pt x="321659" y="21717"/>
                    <a:pt x="323088" y="21717"/>
                    <a:pt x="323088" y="21050"/>
                  </a:cubicBezTo>
                  <a:cubicBezTo>
                    <a:pt x="323088" y="21050"/>
                    <a:pt x="323755" y="20384"/>
                    <a:pt x="324422" y="20384"/>
                  </a:cubicBezTo>
                  <a:cubicBezTo>
                    <a:pt x="325088" y="20384"/>
                    <a:pt x="326517" y="21050"/>
                    <a:pt x="327184" y="22479"/>
                  </a:cubicBezTo>
                  <a:lnTo>
                    <a:pt x="328517" y="23813"/>
                  </a:lnTo>
                  <a:cubicBezTo>
                    <a:pt x="327851" y="24479"/>
                    <a:pt x="327851" y="24479"/>
                    <a:pt x="327851" y="25146"/>
                  </a:cubicBezTo>
                  <a:cubicBezTo>
                    <a:pt x="327851" y="25813"/>
                    <a:pt x="328517" y="27908"/>
                    <a:pt x="329946" y="29242"/>
                  </a:cubicBezTo>
                  <a:cubicBezTo>
                    <a:pt x="329946" y="29242"/>
                    <a:pt x="330613" y="28575"/>
                    <a:pt x="331280" y="27146"/>
                  </a:cubicBezTo>
                  <a:lnTo>
                    <a:pt x="331946" y="27146"/>
                  </a:lnTo>
                  <a:cubicBezTo>
                    <a:pt x="335375" y="31242"/>
                    <a:pt x="339471" y="32671"/>
                    <a:pt x="339471" y="38100"/>
                  </a:cubicBezTo>
                  <a:cubicBezTo>
                    <a:pt x="340138" y="38100"/>
                    <a:pt x="336709" y="39434"/>
                    <a:pt x="336709" y="42196"/>
                  </a:cubicBezTo>
                  <a:cubicBezTo>
                    <a:pt x="336709" y="42863"/>
                    <a:pt x="337376" y="42863"/>
                    <a:pt x="338042" y="43529"/>
                  </a:cubicBezTo>
                  <a:lnTo>
                    <a:pt x="338042" y="44196"/>
                  </a:lnTo>
                  <a:cubicBezTo>
                    <a:pt x="336709" y="45530"/>
                    <a:pt x="336709" y="46292"/>
                    <a:pt x="336709" y="46958"/>
                  </a:cubicBezTo>
                  <a:cubicBezTo>
                    <a:pt x="336709" y="49054"/>
                    <a:pt x="337376" y="50387"/>
                    <a:pt x="337376" y="51054"/>
                  </a:cubicBezTo>
                  <a:cubicBezTo>
                    <a:pt x="337376" y="55150"/>
                    <a:pt x="334613" y="60674"/>
                    <a:pt x="334613" y="64770"/>
                  </a:cubicBezTo>
                  <a:cubicBezTo>
                    <a:pt x="335280" y="66104"/>
                    <a:pt x="335947" y="68199"/>
                    <a:pt x="335947" y="69533"/>
                  </a:cubicBezTo>
                  <a:cubicBezTo>
                    <a:pt x="335947" y="73628"/>
                    <a:pt x="334613" y="76391"/>
                    <a:pt x="333185" y="79820"/>
                  </a:cubicBezTo>
                  <a:lnTo>
                    <a:pt x="333185" y="83915"/>
                  </a:lnTo>
                  <a:cubicBezTo>
                    <a:pt x="333851" y="85249"/>
                    <a:pt x="333851" y="86011"/>
                    <a:pt x="333851" y="86678"/>
                  </a:cubicBezTo>
                  <a:cubicBezTo>
                    <a:pt x="333851" y="88011"/>
                    <a:pt x="333185" y="92869"/>
                    <a:pt x="331756" y="93536"/>
                  </a:cubicBezTo>
                  <a:cubicBezTo>
                    <a:pt x="332423" y="93536"/>
                    <a:pt x="334518" y="93536"/>
                    <a:pt x="334518" y="94869"/>
                  </a:cubicBezTo>
                  <a:lnTo>
                    <a:pt x="335185" y="96203"/>
                  </a:lnTo>
                  <a:cubicBezTo>
                    <a:pt x="335852" y="96869"/>
                    <a:pt x="335852" y="97536"/>
                    <a:pt x="335852" y="97536"/>
                  </a:cubicBezTo>
                  <a:lnTo>
                    <a:pt x="335185" y="97536"/>
                  </a:lnTo>
                  <a:lnTo>
                    <a:pt x="332423" y="98203"/>
                  </a:lnTo>
                  <a:cubicBezTo>
                    <a:pt x="332423" y="100965"/>
                    <a:pt x="333756" y="98870"/>
                    <a:pt x="333756" y="100965"/>
                  </a:cubicBezTo>
                  <a:cubicBezTo>
                    <a:pt x="333089" y="102299"/>
                    <a:pt x="333089" y="103061"/>
                    <a:pt x="333089" y="104394"/>
                  </a:cubicBezTo>
                  <a:cubicBezTo>
                    <a:pt x="333089" y="105728"/>
                    <a:pt x="333089" y="107823"/>
                    <a:pt x="333756" y="109919"/>
                  </a:cubicBezTo>
                  <a:lnTo>
                    <a:pt x="333756" y="111252"/>
                  </a:lnTo>
                  <a:cubicBezTo>
                    <a:pt x="333756" y="116015"/>
                    <a:pt x="334423" y="116777"/>
                    <a:pt x="334423" y="118110"/>
                  </a:cubicBezTo>
                  <a:cubicBezTo>
                    <a:pt x="334423" y="119444"/>
                    <a:pt x="331661" y="123634"/>
                    <a:pt x="331661" y="126302"/>
                  </a:cubicBezTo>
                  <a:cubicBezTo>
                    <a:pt x="331661" y="124968"/>
                    <a:pt x="332994" y="123539"/>
                    <a:pt x="332994" y="123539"/>
                  </a:cubicBezTo>
                  <a:lnTo>
                    <a:pt x="334328" y="123539"/>
                  </a:lnTo>
                  <a:cubicBezTo>
                    <a:pt x="333661" y="124206"/>
                    <a:pt x="333661" y="125635"/>
                    <a:pt x="333661" y="126302"/>
                  </a:cubicBezTo>
                  <a:cubicBezTo>
                    <a:pt x="333661" y="129064"/>
                    <a:pt x="334994" y="131064"/>
                    <a:pt x="334994" y="132493"/>
                  </a:cubicBezTo>
                  <a:cubicBezTo>
                    <a:pt x="334328" y="133826"/>
                    <a:pt x="334328" y="134588"/>
                    <a:pt x="334328" y="135255"/>
                  </a:cubicBezTo>
                  <a:cubicBezTo>
                    <a:pt x="334328" y="136589"/>
                    <a:pt x="336423" y="139351"/>
                    <a:pt x="337090" y="141446"/>
                  </a:cubicBezTo>
                  <a:cubicBezTo>
                    <a:pt x="337090" y="142113"/>
                    <a:pt x="336423" y="142113"/>
                    <a:pt x="336423" y="144209"/>
                  </a:cubicBezTo>
                  <a:lnTo>
                    <a:pt x="336423" y="145542"/>
                  </a:lnTo>
                  <a:cubicBezTo>
                    <a:pt x="336423" y="147638"/>
                    <a:pt x="335756" y="148304"/>
                    <a:pt x="334328" y="148304"/>
                  </a:cubicBezTo>
                  <a:cubicBezTo>
                    <a:pt x="334328" y="148971"/>
                    <a:pt x="336423" y="153067"/>
                    <a:pt x="336423" y="154496"/>
                  </a:cubicBezTo>
                  <a:cubicBezTo>
                    <a:pt x="336423" y="155924"/>
                    <a:pt x="333661" y="157258"/>
                    <a:pt x="333661" y="158591"/>
                  </a:cubicBezTo>
                  <a:cubicBezTo>
                    <a:pt x="333661" y="159258"/>
                    <a:pt x="334328" y="160687"/>
                    <a:pt x="334328" y="161354"/>
                  </a:cubicBezTo>
                  <a:cubicBezTo>
                    <a:pt x="333661" y="163449"/>
                    <a:pt x="333661" y="165449"/>
                    <a:pt x="333661" y="166878"/>
                  </a:cubicBezTo>
                  <a:cubicBezTo>
                    <a:pt x="333661" y="167545"/>
                    <a:pt x="333661" y="168974"/>
                    <a:pt x="335756" y="170307"/>
                  </a:cubicBezTo>
                  <a:cubicBezTo>
                    <a:pt x="333661" y="170307"/>
                    <a:pt x="333661" y="170974"/>
                    <a:pt x="333661" y="171641"/>
                  </a:cubicBezTo>
                  <a:cubicBezTo>
                    <a:pt x="333661" y="173736"/>
                    <a:pt x="333661" y="174403"/>
                    <a:pt x="334994" y="175736"/>
                  </a:cubicBezTo>
                  <a:cubicBezTo>
                    <a:pt x="334994" y="176403"/>
                    <a:pt x="331565" y="180499"/>
                    <a:pt x="331565" y="186690"/>
                  </a:cubicBezTo>
                  <a:lnTo>
                    <a:pt x="331565" y="189452"/>
                  </a:lnTo>
                  <a:cubicBezTo>
                    <a:pt x="332232" y="190119"/>
                    <a:pt x="332899" y="191548"/>
                    <a:pt x="332899" y="192215"/>
                  </a:cubicBezTo>
                  <a:cubicBezTo>
                    <a:pt x="332899" y="193548"/>
                    <a:pt x="330803" y="194977"/>
                    <a:pt x="330803" y="196310"/>
                  </a:cubicBezTo>
                  <a:cubicBezTo>
                    <a:pt x="330803" y="197644"/>
                    <a:pt x="332899" y="199073"/>
                    <a:pt x="332899" y="199739"/>
                  </a:cubicBezTo>
                  <a:cubicBezTo>
                    <a:pt x="332899" y="200406"/>
                    <a:pt x="330803" y="204502"/>
                    <a:pt x="330803" y="205931"/>
                  </a:cubicBezTo>
                  <a:cubicBezTo>
                    <a:pt x="330803" y="206597"/>
                    <a:pt x="332137" y="207264"/>
                    <a:pt x="332137" y="207264"/>
                  </a:cubicBezTo>
                  <a:cubicBezTo>
                    <a:pt x="333470" y="205931"/>
                    <a:pt x="334232" y="205931"/>
                    <a:pt x="335566" y="205931"/>
                  </a:cubicBezTo>
                  <a:lnTo>
                    <a:pt x="337661" y="205931"/>
                  </a:lnTo>
                  <a:cubicBezTo>
                    <a:pt x="338328" y="205931"/>
                    <a:pt x="338995" y="205931"/>
                    <a:pt x="339757" y="205264"/>
                  </a:cubicBezTo>
                  <a:lnTo>
                    <a:pt x="340424" y="205931"/>
                  </a:lnTo>
                  <a:cubicBezTo>
                    <a:pt x="339090" y="206597"/>
                    <a:pt x="336328" y="208693"/>
                    <a:pt x="333566" y="208693"/>
                  </a:cubicBezTo>
                  <a:lnTo>
                    <a:pt x="332899" y="208693"/>
                  </a:lnTo>
                  <a:lnTo>
                    <a:pt x="331565" y="209360"/>
                  </a:lnTo>
                  <a:cubicBezTo>
                    <a:pt x="331565" y="210693"/>
                    <a:pt x="331565" y="209360"/>
                    <a:pt x="332899" y="211455"/>
                  </a:cubicBezTo>
                  <a:cubicBezTo>
                    <a:pt x="332899" y="211455"/>
                    <a:pt x="333566" y="211455"/>
                    <a:pt x="333566" y="210788"/>
                  </a:cubicBezTo>
                  <a:lnTo>
                    <a:pt x="336328" y="210788"/>
                  </a:lnTo>
                  <a:cubicBezTo>
                    <a:pt x="337661" y="210122"/>
                    <a:pt x="339090" y="210122"/>
                    <a:pt x="339757" y="210122"/>
                  </a:cubicBezTo>
                  <a:cubicBezTo>
                    <a:pt x="340424" y="210122"/>
                    <a:pt x="341090" y="210122"/>
                    <a:pt x="341852" y="210788"/>
                  </a:cubicBezTo>
                  <a:cubicBezTo>
                    <a:pt x="340519" y="210788"/>
                    <a:pt x="348710" y="208026"/>
                    <a:pt x="352806" y="206026"/>
                  </a:cubicBezTo>
                  <a:cubicBezTo>
                    <a:pt x="352806" y="206026"/>
                    <a:pt x="353473" y="206693"/>
                    <a:pt x="354140" y="206693"/>
                  </a:cubicBezTo>
                  <a:lnTo>
                    <a:pt x="354140" y="208026"/>
                  </a:lnTo>
                  <a:cubicBezTo>
                    <a:pt x="353473" y="208693"/>
                    <a:pt x="352044" y="208693"/>
                    <a:pt x="351377" y="210122"/>
                  </a:cubicBezTo>
                  <a:cubicBezTo>
                    <a:pt x="352044" y="210122"/>
                    <a:pt x="351377" y="210788"/>
                    <a:pt x="355473" y="210788"/>
                  </a:cubicBezTo>
                  <a:lnTo>
                    <a:pt x="356140" y="207359"/>
                  </a:lnTo>
                  <a:cubicBezTo>
                    <a:pt x="355473" y="207359"/>
                    <a:pt x="355473" y="206693"/>
                    <a:pt x="355473" y="206693"/>
                  </a:cubicBezTo>
                  <a:cubicBezTo>
                    <a:pt x="355473" y="206693"/>
                    <a:pt x="355473" y="206026"/>
                    <a:pt x="356140" y="206026"/>
                  </a:cubicBezTo>
                  <a:cubicBezTo>
                    <a:pt x="358902" y="205359"/>
                    <a:pt x="360902" y="202597"/>
                    <a:pt x="365760" y="202597"/>
                  </a:cubicBezTo>
                  <a:lnTo>
                    <a:pt x="365760" y="203930"/>
                  </a:lnTo>
                  <a:cubicBezTo>
                    <a:pt x="365760" y="205264"/>
                    <a:pt x="366427" y="206026"/>
                    <a:pt x="366427" y="206693"/>
                  </a:cubicBezTo>
                  <a:cubicBezTo>
                    <a:pt x="365760" y="208788"/>
                    <a:pt x="364331" y="210122"/>
                    <a:pt x="362331" y="210788"/>
                  </a:cubicBezTo>
                  <a:lnTo>
                    <a:pt x="362331" y="211455"/>
                  </a:lnTo>
                  <a:cubicBezTo>
                    <a:pt x="362998" y="211455"/>
                    <a:pt x="362998" y="212122"/>
                    <a:pt x="362998" y="212122"/>
                  </a:cubicBezTo>
                  <a:lnTo>
                    <a:pt x="364903" y="212122"/>
                  </a:lnTo>
                  <a:cubicBezTo>
                    <a:pt x="364903" y="212122"/>
                    <a:pt x="365570" y="212122"/>
                    <a:pt x="365570" y="212789"/>
                  </a:cubicBezTo>
                  <a:cubicBezTo>
                    <a:pt x="365570" y="212789"/>
                    <a:pt x="365570" y="214122"/>
                    <a:pt x="364903" y="214122"/>
                  </a:cubicBezTo>
                  <a:cubicBezTo>
                    <a:pt x="364903" y="214789"/>
                    <a:pt x="364903" y="214789"/>
                    <a:pt x="365570" y="215456"/>
                  </a:cubicBezTo>
                  <a:lnTo>
                    <a:pt x="367665" y="215456"/>
                  </a:lnTo>
                  <a:cubicBezTo>
                    <a:pt x="368999" y="215456"/>
                    <a:pt x="368999" y="214122"/>
                    <a:pt x="370427" y="214122"/>
                  </a:cubicBezTo>
                  <a:cubicBezTo>
                    <a:pt x="371094" y="214122"/>
                    <a:pt x="371094" y="214122"/>
                    <a:pt x="371761" y="214789"/>
                  </a:cubicBezTo>
                  <a:cubicBezTo>
                    <a:pt x="371761" y="214122"/>
                    <a:pt x="373856" y="210026"/>
                    <a:pt x="375857" y="210026"/>
                  </a:cubicBezTo>
                  <a:cubicBezTo>
                    <a:pt x="375857" y="210026"/>
                    <a:pt x="375857" y="210693"/>
                    <a:pt x="377190" y="210693"/>
                  </a:cubicBezTo>
                  <a:cubicBezTo>
                    <a:pt x="377190" y="210693"/>
                    <a:pt x="379286" y="210026"/>
                    <a:pt x="379286" y="209360"/>
                  </a:cubicBezTo>
                  <a:cubicBezTo>
                    <a:pt x="382048" y="210693"/>
                    <a:pt x="384810" y="210693"/>
                    <a:pt x="386810" y="210693"/>
                  </a:cubicBezTo>
                  <a:cubicBezTo>
                    <a:pt x="388811" y="210693"/>
                    <a:pt x="390239" y="210693"/>
                    <a:pt x="390239" y="211360"/>
                  </a:cubicBezTo>
                  <a:cubicBezTo>
                    <a:pt x="388144" y="212027"/>
                    <a:pt x="388144" y="212693"/>
                    <a:pt x="388144" y="213455"/>
                  </a:cubicBezTo>
                  <a:cubicBezTo>
                    <a:pt x="388144" y="213455"/>
                    <a:pt x="388144" y="214122"/>
                    <a:pt x="387477" y="214122"/>
                  </a:cubicBezTo>
                  <a:cubicBezTo>
                    <a:pt x="386144" y="214122"/>
                    <a:pt x="385382" y="214122"/>
                    <a:pt x="384715" y="213455"/>
                  </a:cubicBezTo>
                  <a:cubicBezTo>
                    <a:pt x="384715" y="213455"/>
                    <a:pt x="384715" y="215551"/>
                    <a:pt x="381286" y="215551"/>
                  </a:cubicBezTo>
                  <a:lnTo>
                    <a:pt x="378524" y="215551"/>
                  </a:lnTo>
                  <a:cubicBezTo>
                    <a:pt x="377857" y="216884"/>
                    <a:pt x="376428" y="216884"/>
                    <a:pt x="375761" y="216884"/>
                  </a:cubicBezTo>
                  <a:lnTo>
                    <a:pt x="375095" y="217551"/>
                  </a:lnTo>
                  <a:lnTo>
                    <a:pt x="376428" y="219647"/>
                  </a:lnTo>
                  <a:cubicBezTo>
                    <a:pt x="376428" y="220313"/>
                    <a:pt x="376428" y="220313"/>
                    <a:pt x="375761" y="220313"/>
                  </a:cubicBezTo>
                  <a:lnTo>
                    <a:pt x="375761" y="219647"/>
                  </a:lnTo>
                  <a:cubicBezTo>
                    <a:pt x="372999" y="220980"/>
                    <a:pt x="370999" y="221742"/>
                    <a:pt x="367570" y="221742"/>
                  </a:cubicBezTo>
                  <a:cubicBezTo>
                    <a:pt x="365474" y="219647"/>
                    <a:pt x="366236" y="219647"/>
                    <a:pt x="364808" y="219647"/>
                  </a:cubicBezTo>
                  <a:cubicBezTo>
                    <a:pt x="365474" y="219647"/>
                    <a:pt x="359283" y="225171"/>
                    <a:pt x="355187" y="227171"/>
                  </a:cubicBezTo>
                  <a:cubicBezTo>
                    <a:pt x="354521" y="226505"/>
                    <a:pt x="354521" y="227171"/>
                    <a:pt x="353092" y="225838"/>
                  </a:cubicBezTo>
                  <a:cubicBezTo>
                    <a:pt x="350996" y="225838"/>
                    <a:pt x="350330" y="226505"/>
                    <a:pt x="342805" y="229934"/>
                  </a:cubicBezTo>
                  <a:lnTo>
                    <a:pt x="339376" y="227838"/>
                  </a:lnTo>
                  <a:cubicBezTo>
                    <a:pt x="339376" y="227838"/>
                    <a:pt x="338042" y="228505"/>
                    <a:pt x="337280" y="228505"/>
                  </a:cubicBezTo>
                  <a:lnTo>
                    <a:pt x="337280" y="230600"/>
                  </a:lnTo>
                  <a:cubicBezTo>
                    <a:pt x="337280" y="231934"/>
                    <a:pt x="337280" y="231934"/>
                    <a:pt x="336614" y="232696"/>
                  </a:cubicBezTo>
                  <a:cubicBezTo>
                    <a:pt x="335947" y="232696"/>
                    <a:pt x="335947" y="232029"/>
                    <a:pt x="335280" y="232029"/>
                  </a:cubicBezTo>
                  <a:cubicBezTo>
                    <a:pt x="331184" y="232029"/>
                    <a:pt x="329089" y="242983"/>
                    <a:pt x="329089" y="247079"/>
                  </a:cubicBezTo>
                  <a:lnTo>
                    <a:pt x="329089" y="248222"/>
                  </a:lnTo>
                  <a:cubicBezTo>
                    <a:pt x="329089" y="250317"/>
                    <a:pt x="329756" y="252317"/>
                    <a:pt x="330422" y="252984"/>
                  </a:cubicBezTo>
                  <a:cubicBezTo>
                    <a:pt x="329089" y="252984"/>
                    <a:pt x="328327" y="253651"/>
                    <a:pt x="328327" y="254318"/>
                  </a:cubicBezTo>
                  <a:cubicBezTo>
                    <a:pt x="328327" y="256413"/>
                    <a:pt x="330422" y="257747"/>
                    <a:pt x="330422" y="260509"/>
                  </a:cubicBezTo>
                  <a:cubicBezTo>
                    <a:pt x="330422" y="261176"/>
                    <a:pt x="329756" y="262604"/>
                    <a:pt x="329089" y="262604"/>
                  </a:cubicBezTo>
                  <a:lnTo>
                    <a:pt x="329089" y="265367"/>
                  </a:lnTo>
                  <a:lnTo>
                    <a:pt x="328422" y="265367"/>
                  </a:lnTo>
                  <a:cubicBezTo>
                    <a:pt x="327755" y="265367"/>
                    <a:pt x="327755" y="264700"/>
                    <a:pt x="327755" y="264700"/>
                  </a:cubicBezTo>
                  <a:lnTo>
                    <a:pt x="327089" y="265367"/>
                  </a:lnTo>
                  <a:cubicBezTo>
                    <a:pt x="327089" y="265367"/>
                    <a:pt x="328422" y="268796"/>
                    <a:pt x="328422" y="269462"/>
                  </a:cubicBezTo>
                  <a:lnTo>
                    <a:pt x="327755" y="270129"/>
                  </a:lnTo>
                  <a:lnTo>
                    <a:pt x="327755" y="269462"/>
                  </a:lnTo>
                  <a:lnTo>
                    <a:pt x="327089" y="268796"/>
                  </a:lnTo>
                  <a:cubicBezTo>
                    <a:pt x="324326" y="270129"/>
                    <a:pt x="323660" y="271558"/>
                    <a:pt x="323660" y="274320"/>
                  </a:cubicBezTo>
                  <a:cubicBezTo>
                    <a:pt x="323660" y="275654"/>
                    <a:pt x="324326" y="277082"/>
                    <a:pt x="324326" y="277749"/>
                  </a:cubicBezTo>
                  <a:cubicBezTo>
                    <a:pt x="324326" y="278416"/>
                    <a:pt x="323660" y="279083"/>
                    <a:pt x="323660" y="279845"/>
                  </a:cubicBezTo>
                  <a:cubicBezTo>
                    <a:pt x="323660" y="280511"/>
                    <a:pt x="323660" y="280511"/>
                    <a:pt x="324326" y="281178"/>
                  </a:cubicBezTo>
                  <a:lnTo>
                    <a:pt x="326422" y="281178"/>
                  </a:lnTo>
                  <a:cubicBezTo>
                    <a:pt x="326422" y="281178"/>
                    <a:pt x="327089" y="281845"/>
                    <a:pt x="327089" y="282512"/>
                  </a:cubicBezTo>
                  <a:cubicBezTo>
                    <a:pt x="326422" y="282512"/>
                    <a:pt x="325755" y="283178"/>
                    <a:pt x="324993" y="283178"/>
                  </a:cubicBezTo>
                  <a:lnTo>
                    <a:pt x="322898" y="281083"/>
                  </a:lnTo>
                  <a:lnTo>
                    <a:pt x="321564" y="281083"/>
                  </a:lnTo>
                  <a:cubicBezTo>
                    <a:pt x="321564" y="285845"/>
                    <a:pt x="322898" y="288608"/>
                    <a:pt x="322898" y="289274"/>
                  </a:cubicBezTo>
                  <a:cubicBezTo>
                    <a:pt x="322898" y="289941"/>
                    <a:pt x="322231" y="290608"/>
                    <a:pt x="322231" y="291370"/>
                  </a:cubicBezTo>
                  <a:cubicBezTo>
                    <a:pt x="323564" y="291370"/>
                    <a:pt x="323564" y="292037"/>
                    <a:pt x="323564" y="292703"/>
                  </a:cubicBezTo>
                  <a:lnTo>
                    <a:pt x="322231" y="294037"/>
                  </a:lnTo>
                  <a:lnTo>
                    <a:pt x="322231" y="291274"/>
                  </a:lnTo>
                  <a:cubicBezTo>
                    <a:pt x="320897" y="291941"/>
                    <a:pt x="320897" y="292608"/>
                    <a:pt x="320897" y="294704"/>
                  </a:cubicBezTo>
                  <a:cubicBezTo>
                    <a:pt x="320897" y="296037"/>
                    <a:pt x="320897" y="296037"/>
                    <a:pt x="321564" y="296799"/>
                  </a:cubicBezTo>
                  <a:cubicBezTo>
                    <a:pt x="320897" y="296799"/>
                    <a:pt x="319469" y="300895"/>
                    <a:pt x="319469" y="300895"/>
                  </a:cubicBezTo>
                  <a:cubicBezTo>
                    <a:pt x="319469" y="301562"/>
                    <a:pt x="319469" y="301562"/>
                    <a:pt x="320135" y="303657"/>
                  </a:cubicBezTo>
                  <a:cubicBezTo>
                    <a:pt x="320135" y="304324"/>
                    <a:pt x="320135" y="304991"/>
                    <a:pt x="319469" y="305753"/>
                  </a:cubicBezTo>
                  <a:lnTo>
                    <a:pt x="318802" y="305753"/>
                  </a:lnTo>
                  <a:lnTo>
                    <a:pt x="318802" y="306419"/>
                  </a:lnTo>
                  <a:cubicBezTo>
                    <a:pt x="318802" y="307753"/>
                    <a:pt x="319469" y="308515"/>
                    <a:pt x="320135" y="308515"/>
                  </a:cubicBezTo>
                  <a:lnTo>
                    <a:pt x="320135" y="309848"/>
                  </a:lnTo>
                  <a:cubicBezTo>
                    <a:pt x="320802" y="310515"/>
                    <a:pt x="319469" y="309848"/>
                    <a:pt x="318802" y="309848"/>
                  </a:cubicBezTo>
                  <a:cubicBezTo>
                    <a:pt x="318135" y="309848"/>
                    <a:pt x="317468" y="309848"/>
                    <a:pt x="317468" y="311944"/>
                  </a:cubicBezTo>
                  <a:lnTo>
                    <a:pt x="317468" y="314039"/>
                  </a:lnTo>
                  <a:cubicBezTo>
                    <a:pt x="317468" y="314706"/>
                    <a:pt x="317468" y="315373"/>
                    <a:pt x="318135" y="316135"/>
                  </a:cubicBezTo>
                  <a:lnTo>
                    <a:pt x="318135" y="317468"/>
                  </a:lnTo>
                  <a:cubicBezTo>
                    <a:pt x="316040" y="320897"/>
                    <a:pt x="316040" y="322993"/>
                    <a:pt x="315373" y="325660"/>
                  </a:cubicBezTo>
                  <a:cubicBezTo>
                    <a:pt x="315373" y="326993"/>
                    <a:pt x="316040" y="328422"/>
                    <a:pt x="316706" y="329756"/>
                  </a:cubicBezTo>
                  <a:lnTo>
                    <a:pt x="314611" y="331089"/>
                  </a:lnTo>
                  <a:cubicBezTo>
                    <a:pt x="313944" y="332422"/>
                    <a:pt x="313944" y="332422"/>
                    <a:pt x="313944" y="333185"/>
                  </a:cubicBezTo>
                  <a:cubicBezTo>
                    <a:pt x="313944" y="334518"/>
                    <a:pt x="315278" y="335947"/>
                    <a:pt x="315278" y="337280"/>
                  </a:cubicBezTo>
                  <a:cubicBezTo>
                    <a:pt x="315278" y="337947"/>
                    <a:pt x="314611" y="339376"/>
                    <a:pt x="314611" y="339376"/>
                  </a:cubicBezTo>
                  <a:cubicBezTo>
                    <a:pt x="314611" y="339376"/>
                    <a:pt x="313944" y="339376"/>
                    <a:pt x="312515" y="338709"/>
                  </a:cubicBezTo>
                  <a:cubicBezTo>
                    <a:pt x="312515" y="340805"/>
                    <a:pt x="311182" y="346901"/>
                    <a:pt x="311182" y="349663"/>
                  </a:cubicBezTo>
                  <a:lnTo>
                    <a:pt x="311182" y="351758"/>
                  </a:lnTo>
                  <a:cubicBezTo>
                    <a:pt x="311849" y="352425"/>
                    <a:pt x="311849" y="353092"/>
                    <a:pt x="311849" y="353854"/>
                  </a:cubicBezTo>
                  <a:cubicBezTo>
                    <a:pt x="311849" y="356616"/>
                    <a:pt x="311182" y="351758"/>
                    <a:pt x="305657" y="365474"/>
                  </a:cubicBezTo>
                  <a:lnTo>
                    <a:pt x="305657" y="366808"/>
                  </a:lnTo>
                  <a:cubicBezTo>
                    <a:pt x="305657" y="366808"/>
                    <a:pt x="305657" y="367474"/>
                    <a:pt x="306991" y="367474"/>
                  </a:cubicBezTo>
                  <a:cubicBezTo>
                    <a:pt x="306991" y="370904"/>
                    <a:pt x="306991" y="370904"/>
                    <a:pt x="304895" y="372237"/>
                  </a:cubicBezTo>
                  <a:cubicBezTo>
                    <a:pt x="304895" y="372904"/>
                    <a:pt x="304895" y="373571"/>
                    <a:pt x="305562" y="374333"/>
                  </a:cubicBezTo>
                  <a:cubicBezTo>
                    <a:pt x="305562" y="374999"/>
                    <a:pt x="304895" y="375666"/>
                    <a:pt x="304229" y="376428"/>
                  </a:cubicBezTo>
                  <a:lnTo>
                    <a:pt x="304229" y="379190"/>
                  </a:lnTo>
                  <a:cubicBezTo>
                    <a:pt x="304229" y="379190"/>
                    <a:pt x="302895" y="390811"/>
                    <a:pt x="298704" y="393573"/>
                  </a:cubicBezTo>
                  <a:cubicBezTo>
                    <a:pt x="299371" y="394907"/>
                    <a:pt x="299371" y="395669"/>
                    <a:pt x="299371" y="396335"/>
                  </a:cubicBezTo>
                  <a:cubicBezTo>
                    <a:pt x="299371" y="403860"/>
                    <a:pt x="293180" y="412147"/>
                    <a:pt x="291846" y="418243"/>
                  </a:cubicBezTo>
                  <a:lnTo>
                    <a:pt x="291560" y="418243"/>
                  </a:lnTo>
                  <a:cubicBezTo>
                    <a:pt x="291560" y="418243"/>
                    <a:pt x="290894" y="418910"/>
                    <a:pt x="290894" y="419576"/>
                  </a:cubicBezTo>
                  <a:lnTo>
                    <a:pt x="290227" y="423005"/>
                  </a:lnTo>
                  <a:cubicBezTo>
                    <a:pt x="287465" y="425101"/>
                    <a:pt x="286131" y="429863"/>
                    <a:pt x="286131" y="430530"/>
                  </a:cubicBezTo>
                  <a:cubicBezTo>
                    <a:pt x="286131" y="431197"/>
                    <a:pt x="286131" y="431864"/>
                    <a:pt x="286798" y="431864"/>
                  </a:cubicBezTo>
                  <a:cubicBezTo>
                    <a:pt x="286798" y="433959"/>
                    <a:pt x="284702" y="435293"/>
                    <a:pt x="283369" y="439388"/>
                  </a:cubicBezTo>
                  <a:lnTo>
                    <a:pt x="283369" y="440055"/>
                  </a:lnTo>
                  <a:lnTo>
                    <a:pt x="284036" y="441389"/>
                  </a:lnTo>
                  <a:cubicBezTo>
                    <a:pt x="284036" y="442722"/>
                    <a:pt x="283369" y="442722"/>
                    <a:pt x="283369" y="442722"/>
                  </a:cubicBezTo>
                  <a:cubicBezTo>
                    <a:pt x="282702" y="442722"/>
                    <a:pt x="283369" y="441389"/>
                    <a:pt x="280607" y="441389"/>
                  </a:cubicBezTo>
                  <a:cubicBezTo>
                    <a:pt x="280607" y="451676"/>
                    <a:pt x="279273" y="448247"/>
                    <a:pt x="277844" y="454438"/>
                  </a:cubicBezTo>
                  <a:cubicBezTo>
                    <a:pt x="277178" y="454438"/>
                    <a:pt x="275082" y="464058"/>
                    <a:pt x="272320" y="466820"/>
                  </a:cubicBezTo>
                  <a:lnTo>
                    <a:pt x="273653" y="466820"/>
                  </a:lnTo>
                  <a:cubicBezTo>
                    <a:pt x="274320" y="467487"/>
                    <a:pt x="274987" y="467487"/>
                    <a:pt x="274987" y="467487"/>
                  </a:cubicBezTo>
                  <a:lnTo>
                    <a:pt x="274320" y="468154"/>
                  </a:lnTo>
                  <a:lnTo>
                    <a:pt x="272987" y="468154"/>
                  </a:lnTo>
                  <a:cubicBezTo>
                    <a:pt x="274320" y="468154"/>
                    <a:pt x="262033" y="479774"/>
                    <a:pt x="262033" y="486632"/>
                  </a:cubicBezTo>
                  <a:cubicBezTo>
                    <a:pt x="262700" y="487299"/>
                    <a:pt x="262700" y="487966"/>
                    <a:pt x="262700" y="487966"/>
                  </a:cubicBezTo>
                  <a:lnTo>
                    <a:pt x="262033" y="487299"/>
                  </a:lnTo>
                  <a:cubicBezTo>
                    <a:pt x="259937" y="489395"/>
                    <a:pt x="259271" y="491395"/>
                    <a:pt x="256508" y="491395"/>
                  </a:cubicBezTo>
                  <a:cubicBezTo>
                    <a:pt x="255842" y="491395"/>
                    <a:pt x="257842" y="494157"/>
                    <a:pt x="257842" y="494824"/>
                  </a:cubicBezTo>
                  <a:cubicBezTo>
                    <a:pt x="257842" y="496157"/>
                    <a:pt x="254413" y="498920"/>
                    <a:pt x="254413" y="501682"/>
                  </a:cubicBezTo>
                  <a:cubicBezTo>
                    <a:pt x="254413" y="502349"/>
                    <a:pt x="251651" y="502349"/>
                    <a:pt x="251651" y="503015"/>
                  </a:cubicBezTo>
                  <a:lnTo>
                    <a:pt x="252317" y="503015"/>
                  </a:lnTo>
                  <a:cubicBezTo>
                    <a:pt x="252984" y="503682"/>
                    <a:pt x="252984" y="503682"/>
                    <a:pt x="252984" y="504349"/>
                  </a:cubicBezTo>
                  <a:lnTo>
                    <a:pt x="250889" y="509873"/>
                  </a:lnTo>
                  <a:cubicBezTo>
                    <a:pt x="249555" y="510540"/>
                    <a:pt x="249555" y="511207"/>
                    <a:pt x="248793" y="511207"/>
                  </a:cubicBezTo>
                  <a:cubicBezTo>
                    <a:pt x="248793" y="512540"/>
                    <a:pt x="248793" y="515303"/>
                    <a:pt x="249460" y="515303"/>
                  </a:cubicBezTo>
                  <a:cubicBezTo>
                    <a:pt x="249460" y="515969"/>
                    <a:pt x="249460" y="515969"/>
                    <a:pt x="248793" y="515969"/>
                  </a:cubicBezTo>
                  <a:lnTo>
                    <a:pt x="247459" y="515969"/>
                  </a:lnTo>
                  <a:lnTo>
                    <a:pt x="247459" y="516636"/>
                  </a:lnTo>
                  <a:cubicBezTo>
                    <a:pt x="247459" y="520732"/>
                    <a:pt x="235839" y="520065"/>
                    <a:pt x="235839" y="541973"/>
                  </a:cubicBezTo>
                  <a:cubicBezTo>
                    <a:pt x="230315" y="543306"/>
                    <a:pt x="232410" y="548164"/>
                    <a:pt x="230315" y="548164"/>
                  </a:cubicBezTo>
                  <a:cubicBezTo>
                    <a:pt x="229648" y="552260"/>
                    <a:pt x="226885" y="561213"/>
                    <a:pt x="220028" y="561213"/>
                  </a:cubicBezTo>
                  <a:cubicBezTo>
                    <a:pt x="220694" y="561880"/>
                    <a:pt x="220694" y="561880"/>
                    <a:pt x="220694" y="562547"/>
                  </a:cubicBezTo>
                  <a:cubicBezTo>
                    <a:pt x="220694" y="563880"/>
                    <a:pt x="218599" y="564642"/>
                    <a:pt x="218599" y="565976"/>
                  </a:cubicBezTo>
                  <a:cubicBezTo>
                    <a:pt x="217932" y="568071"/>
                    <a:pt x="217932" y="568738"/>
                    <a:pt x="217932" y="568738"/>
                  </a:cubicBezTo>
                  <a:cubicBezTo>
                    <a:pt x="217932" y="568738"/>
                    <a:pt x="217265" y="568071"/>
                    <a:pt x="217265" y="567404"/>
                  </a:cubicBezTo>
                  <a:cubicBezTo>
                    <a:pt x="213170" y="569500"/>
                    <a:pt x="209741" y="576358"/>
                    <a:pt x="207645" y="579787"/>
                  </a:cubicBezTo>
                  <a:lnTo>
                    <a:pt x="201454" y="587312"/>
                  </a:lnTo>
                  <a:cubicBezTo>
                    <a:pt x="198025" y="590741"/>
                    <a:pt x="191167" y="593503"/>
                    <a:pt x="191167" y="598265"/>
                  </a:cubicBezTo>
                  <a:cubicBezTo>
                    <a:pt x="191167" y="598265"/>
                    <a:pt x="174689" y="609886"/>
                    <a:pt x="174689" y="611315"/>
                  </a:cubicBezTo>
                  <a:lnTo>
                    <a:pt x="173355" y="614077"/>
                  </a:lnTo>
                  <a:cubicBezTo>
                    <a:pt x="172688" y="615410"/>
                    <a:pt x="172022" y="615410"/>
                    <a:pt x="172022" y="615410"/>
                  </a:cubicBezTo>
                  <a:cubicBezTo>
                    <a:pt x="172022" y="615410"/>
                    <a:pt x="171355" y="615410"/>
                    <a:pt x="171355" y="614077"/>
                  </a:cubicBezTo>
                  <a:cubicBezTo>
                    <a:pt x="169259" y="614077"/>
                    <a:pt x="167259" y="614077"/>
                    <a:pt x="165164" y="614744"/>
                  </a:cubicBezTo>
                  <a:cubicBezTo>
                    <a:pt x="165830" y="615410"/>
                    <a:pt x="165830" y="616077"/>
                    <a:pt x="165830" y="616839"/>
                  </a:cubicBezTo>
                  <a:cubicBezTo>
                    <a:pt x="165830" y="618935"/>
                    <a:pt x="165830" y="618935"/>
                    <a:pt x="165164" y="619601"/>
                  </a:cubicBezTo>
                  <a:cubicBezTo>
                    <a:pt x="164497" y="619601"/>
                    <a:pt x="163068" y="618935"/>
                    <a:pt x="162401" y="618268"/>
                  </a:cubicBezTo>
                  <a:lnTo>
                    <a:pt x="159163" y="618268"/>
                  </a:lnTo>
                  <a:lnTo>
                    <a:pt x="159163" y="619601"/>
                  </a:lnTo>
                  <a:cubicBezTo>
                    <a:pt x="159163" y="618935"/>
                    <a:pt x="152972" y="629888"/>
                    <a:pt x="148209" y="629888"/>
                  </a:cubicBezTo>
                  <a:cubicBezTo>
                    <a:pt x="147542" y="629888"/>
                    <a:pt x="146876" y="629888"/>
                    <a:pt x="146114" y="629222"/>
                  </a:cubicBezTo>
                  <a:cubicBezTo>
                    <a:pt x="144018" y="629222"/>
                    <a:pt x="143351" y="632651"/>
                    <a:pt x="140589" y="632651"/>
                  </a:cubicBezTo>
                  <a:cubicBezTo>
                    <a:pt x="139256" y="632651"/>
                    <a:pt x="137160" y="631984"/>
                    <a:pt x="133731" y="631317"/>
                  </a:cubicBezTo>
                  <a:cubicBezTo>
                    <a:pt x="133064" y="634746"/>
                    <a:pt x="130302" y="634746"/>
                    <a:pt x="127540" y="635413"/>
                  </a:cubicBezTo>
                  <a:cubicBezTo>
                    <a:pt x="126206" y="635413"/>
                    <a:pt x="125444" y="635413"/>
                    <a:pt x="124778" y="634746"/>
                  </a:cubicBezTo>
                  <a:cubicBezTo>
                    <a:pt x="124111" y="634746"/>
                    <a:pt x="122682" y="634746"/>
                    <a:pt x="120015" y="638175"/>
                  </a:cubicBezTo>
                  <a:cubicBezTo>
                    <a:pt x="119348" y="638175"/>
                    <a:pt x="117920" y="635413"/>
                    <a:pt x="117253" y="635413"/>
                  </a:cubicBezTo>
                  <a:lnTo>
                    <a:pt x="117920" y="636080"/>
                  </a:lnTo>
                  <a:cubicBezTo>
                    <a:pt x="117920" y="636746"/>
                    <a:pt x="113157" y="635413"/>
                    <a:pt x="113157" y="639509"/>
                  </a:cubicBezTo>
                  <a:lnTo>
                    <a:pt x="110395" y="641604"/>
                  </a:lnTo>
                  <a:cubicBezTo>
                    <a:pt x="109061" y="641604"/>
                    <a:pt x="106966" y="641604"/>
                    <a:pt x="106299" y="642271"/>
                  </a:cubicBezTo>
                  <a:cubicBezTo>
                    <a:pt x="105632" y="642271"/>
                    <a:pt x="106299" y="640175"/>
                    <a:pt x="102203" y="640175"/>
                  </a:cubicBezTo>
                  <a:cubicBezTo>
                    <a:pt x="100870" y="642938"/>
                    <a:pt x="101537" y="644938"/>
                    <a:pt x="98774" y="644938"/>
                  </a:cubicBezTo>
                  <a:cubicBezTo>
                    <a:pt x="96679" y="644938"/>
                    <a:pt x="95345" y="641509"/>
                    <a:pt x="95345" y="641509"/>
                  </a:cubicBezTo>
                  <a:lnTo>
                    <a:pt x="96679" y="642176"/>
                  </a:lnTo>
                  <a:lnTo>
                    <a:pt x="96679" y="640842"/>
                  </a:lnTo>
                  <a:cubicBezTo>
                    <a:pt x="94583" y="640842"/>
                    <a:pt x="92583" y="641509"/>
                    <a:pt x="89821" y="641509"/>
                  </a:cubicBezTo>
                  <a:lnTo>
                    <a:pt x="87725" y="641509"/>
                  </a:lnTo>
                  <a:cubicBezTo>
                    <a:pt x="87059" y="641509"/>
                    <a:pt x="85630" y="641509"/>
                    <a:pt x="84963" y="640842"/>
                  </a:cubicBezTo>
                  <a:cubicBezTo>
                    <a:pt x="84963" y="640842"/>
                    <a:pt x="84963" y="641509"/>
                    <a:pt x="84296" y="641509"/>
                  </a:cubicBezTo>
                  <a:cubicBezTo>
                    <a:pt x="84963" y="640842"/>
                    <a:pt x="83630" y="640842"/>
                    <a:pt x="82201" y="640842"/>
                  </a:cubicBezTo>
                  <a:cubicBezTo>
                    <a:pt x="80867" y="640842"/>
                    <a:pt x="80105" y="640842"/>
                    <a:pt x="80105" y="639509"/>
                  </a:cubicBezTo>
                  <a:lnTo>
                    <a:pt x="78200" y="639509"/>
                  </a:lnTo>
                  <a:cubicBezTo>
                    <a:pt x="76105" y="639509"/>
                    <a:pt x="75438" y="640842"/>
                    <a:pt x="74105" y="640842"/>
                  </a:cubicBezTo>
                  <a:lnTo>
                    <a:pt x="73438" y="640842"/>
                  </a:lnTo>
                  <a:lnTo>
                    <a:pt x="70009" y="641509"/>
                  </a:lnTo>
                  <a:cubicBezTo>
                    <a:pt x="70009" y="641509"/>
                    <a:pt x="68675" y="639413"/>
                    <a:pt x="67247" y="639413"/>
                  </a:cubicBezTo>
                  <a:cubicBezTo>
                    <a:pt x="66580" y="640080"/>
                    <a:pt x="66580" y="640080"/>
                    <a:pt x="65913" y="640080"/>
                  </a:cubicBezTo>
                  <a:cubicBezTo>
                    <a:pt x="63818" y="640080"/>
                    <a:pt x="63818" y="637985"/>
                    <a:pt x="62484" y="637985"/>
                  </a:cubicBezTo>
                  <a:lnTo>
                    <a:pt x="62484" y="640080"/>
                  </a:lnTo>
                  <a:lnTo>
                    <a:pt x="63151" y="640747"/>
                  </a:lnTo>
                  <a:lnTo>
                    <a:pt x="62484" y="640747"/>
                  </a:lnTo>
                  <a:cubicBezTo>
                    <a:pt x="62484" y="640747"/>
                    <a:pt x="62484" y="640080"/>
                    <a:pt x="36386" y="629126"/>
                  </a:cubicBezTo>
                  <a:lnTo>
                    <a:pt x="34290" y="626364"/>
                  </a:lnTo>
                  <a:cubicBezTo>
                    <a:pt x="31528" y="626364"/>
                    <a:pt x="22670" y="618173"/>
                    <a:pt x="18478" y="609219"/>
                  </a:cubicBezTo>
                  <a:lnTo>
                    <a:pt x="17240" y="608267"/>
                  </a:lnTo>
                  <a:cubicBezTo>
                    <a:pt x="15907" y="606171"/>
                    <a:pt x="14478" y="606933"/>
                    <a:pt x="13811" y="606171"/>
                  </a:cubicBezTo>
                  <a:lnTo>
                    <a:pt x="14478" y="605504"/>
                  </a:lnTo>
                  <a:cubicBezTo>
                    <a:pt x="14478" y="606171"/>
                    <a:pt x="8953" y="591788"/>
                    <a:pt x="7620" y="591122"/>
                  </a:cubicBezTo>
                  <a:lnTo>
                    <a:pt x="7620" y="589788"/>
                  </a:lnTo>
                  <a:cubicBezTo>
                    <a:pt x="7620" y="589121"/>
                    <a:pt x="8287" y="587693"/>
                    <a:pt x="8287" y="587026"/>
                  </a:cubicBezTo>
                  <a:cubicBezTo>
                    <a:pt x="8287" y="586359"/>
                    <a:pt x="7620" y="585692"/>
                    <a:pt x="7620" y="584930"/>
                  </a:cubicBezTo>
                  <a:cubicBezTo>
                    <a:pt x="8953" y="584930"/>
                    <a:pt x="9715" y="583597"/>
                    <a:pt x="9715" y="582835"/>
                  </a:cubicBezTo>
                  <a:lnTo>
                    <a:pt x="9715" y="581501"/>
                  </a:lnTo>
                  <a:cubicBezTo>
                    <a:pt x="9049" y="579406"/>
                    <a:pt x="7620" y="578072"/>
                    <a:pt x="7620" y="577406"/>
                  </a:cubicBezTo>
                  <a:cubicBezTo>
                    <a:pt x="7620" y="576072"/>
                    <a:pt x="6953" y="576072"/>
                    <a:pt x="6953" y="576072"/>
                  </a:cubicBezTo>
                  <a:lnTo>
                    <a:pt x="6953" y="578834"/>
                  </a:lnTo>
                  <a:cubicBezTo>
                    <a:pt x="5620" y="578168"/>
                    <a:pt x="3524" y="578168"/>
                    <a:pt x="3524" y="576072"/>
                  </a:cubicBezTo>
                  <a:cubicBezTo>
                    <a:pt x="3524" y="575405"/>
                    <a:pt x="4191" y="573977"/>
                    <a:pt x="4191" y="573310"/>
                  </a:cubicBezTo>
                  <a:cubicBezTo>
                    <a:pt x="2858" y="572643"/>
                    <a:pt x="2096" y="570548"/>
                    <a:pt x="2096" y="569214"/>
                  </a:cubicBezTo>
                  <a:lnTo>
                    <a:pt x="2096" y="567119"/>
                  </a:lnTo>
                  <a:cubicBezTo>
                    <a:pt x="0" y="565023"/>
                    <a:pt x="0" y="563690"/>
                    <a:pt x="0" y="563023"/>
                  </a:cubicBezTo>
                  <a:lnTo>
                    <a:pt x="667" y="563023"/>
                  </a:lnTo>
                  <a:cubicBezTo>
                    <a:pt x="667" y="563023"/>
                    <a:pt x="0" y="562356"/>
                    <a:pt x="0" y="561689"/>
                  </a:cubicBezTo>
                  <a:cubicBezTo>
                    <a:pt x="2096" y="561023"/>
                    <a:pt x="2096" y="558260"/>
                    <a:pt x="2762" y="556927"/>
                  </a:cubicBezTo>
                  <a:cubicBezTo>
                    <a:pt x="1429" y="554831"/>
                    <a:pt x="667" y="551402"/>
                    <a:pt x="667" y="549402"/>
                  </a:cubicBezTo>
                  <a:lnTo>
                    <a:pt x="667" y="544640"/>
                  </a:lnTo>
                  <a:cubicBezTo>
                    <a:pt x="1334" y="543973"/>
                    <a:pt x="2000" y="543306"/>
                    <a:pt x="2000" y="541877"/>
                  </a:cubicBezTo>
                  <a:cubicBezTo>
                    <a:pt x="2000" y="540544"/>
                    <a:pt x="1334" y="539115"/>
                    <a:pt x="1334" y="538448"/>
                  </a:cubicBezTo>
                  <a:lnTo>
                    <a:pt x="2667" y="529495"/>
                  </a:lnTo>
                  <a:lnTo>
                    <a:pt x="4763" y="528828"/>
                  </a:lnTo>
                  <a:lnTo>
                    <a:pt x="4763" y="530162"/>
                  </a:lnTo>
                  <a:cubicBezTo>
                    <a:pt x="4763" y="533591"/>
                    <a:pt x="5429" y="533591"/>
                    <a:pt x="8191" y="534257"/>
                  </a:cubicBezTo>
                  <a:lnTo>
                    <a:pt x="10287" y="534257"/>
                  </a:lnTo>
                  <a:lnTo>
                    <a:pt x="8191" y="529495"/>
                  </a:lnTo>
                  <a:lnTo>
                    <a:pt x="6858" y="529495"/>
                  </a:lnTo>
                  <a:cubicBezTo>
                    <a:pt x="7525" y="528828"/>
                    <a:pt x="9620" y="528161"/>
                    <a:pt x="10287" y="528161"/>
                  </a:cubicBezTo>
                  <a:cubicBezTo>
                    <a:pt x="13049" y="528161"/>
                    <a:pt x="10954" y="531590"/>
                    <a:pt x="13049" y="531590"/>
                  </a:cubicBezTo>
                  <a:lnTo>
                    <a:pt x="13716" y="531590"/>
                  </a:lnTo>
                  <a:cubicBezTo>
                    <a:pt x="12383" y="533686"/>
                    <a:pt x="12383" y="535686"/>
                    <a:pt x="12383" y="536353"/>
                  </a:cubicBezTo>
                  <a:cubicBezTo>
                    <a:pt x="12383" y="538448"/>
                    <a:pt x="13049" y="539782"/>
                    <a:pt x="14478" y="540449"/>
                  </a:cubicBezTo>
                  <a:lnTo>
                    <a:pt x="15812" y="552831"/>
                  </a:lnTo>
                  <a:cubicBezTo>
                    <a:pt x="15812" y="554927"/>
                    <a:pt x="15812" y="555593"/>
                    <a:pt x="19240" y="561023"/>
                  </a:cubicBezTo>
                  <a:cubicBezTo>
                    <a:pt x="23336" y="553498"/>
                    <a:pt x="24003" y="556927"/>
                    <a:pt x="24003" y="554165"/>
                  </a:cubicBezTo>
                  <a:cubicBezTo>
                    <a:pt x="22670" y="552831"/>
                    <a:pt x="22670" y="552831"/>
                    <a:pt x="22670" y="551402"/>
                  </a:cubicBezTo>
                  <a:cubicBezTo>
                    <a:pt x="22670" y="547973"/>
                    <a:pt x="19907" y="550069"/>
                    <a:pt x="19907" y="548640"/>
                  </a:cubicBezTo>
                  <a:cubicBezTo>
                    <a:pt x="21241" y="544544"/>
                    <a:pt x="22670" y="543878"/>
                    <a:pt x="22670" y="540449"/>
                  </a:cubicBezTo>
                  <a:cubicBezTo>
                    <a:pt x="22670" y="536353"/>
                    <a:pt x="21336" y="535686"/>
                    <a:pt x="21336" y="534257"/>
                  </a:cubicBezTo>
                  <a:cubicBezTo>
                    <a:pt x="21336" y="533591"/>
                    <a:pt x="26099" y="529495"/>
                    <a:pt x="26099" y="522637"/>
                  </a:cubicBezTo>
                  <a:cubicBezTo>
                    <a:pt x="26099" y="521303"/>
                    <a:pt x="26099" y="520541"/>
                    <a:pt x="24765" y="519874"/>
                  </a:cubicBezTo>
                  <a:cubicBezTo>
                    <a:pt x="24765" y="517112"/>
                    <a:pt x="24765" y="514350"/>
                    <a:pt x="25432" y="512350"/>
                  </a:cubicBezTo>
                  <a:cubicBezTo>
                    <a:pt x="24765" y="511016"/>
                    <a:pt x="24765" y="510254"/>
                    <a:pt x="24765" y="507587"/>
                  </a:cubicBezTo>
                  <a:cubicBezTo>
                    <a:pt x="24765" y="507587"/>
                    <a:pt x="25432" y="508254"/>
                    <a:pt x="26861" y="508254"/>
                  </a:cubicBezTo>
                  <a:cubicBezTo>
                    <a:pt x="28194" y="508254"/>
                    <a:pt x="28194" y="506921"/>
                    <a:pt x="28194" y="505492"/>
                  </a:cubicBezTo>
                  <a:lnTo>
                    <a:pt x="28194" y="504158"/>
                  </a:lnTo>
                  <a:lnTo>
                    <a:pt x="25432" y="503492"/>
                  </a:lnTo>
                  <a:cubicBezTo>
                    <a:pt x="24765" y="502825"/>
                    <a:pt x="24765" y="502158"/>
                    <a:pt x="24765" y="502158"/>
                  </a:cubicBezTo>
                  <a:cubicBezTo>
                    <a:pt x="26861" y="500824"/>
                    <a:pt x="25432" y="499396"/>
                    <a:pt x="26861" y="496634"/>
                  </a:cubicBezTo>
                  <a:lnTo>
                    <a:pt x="26861" y="495300"/>
                  </a:lnTo>
                  <a:cubicBezTo>
                    <a:pt x="28194" y="494633"/>
                    <a:pt x="28194" y="493205"/>
                    <a:pt x="28194" y="491871"/>
                  </a:cubicBezTo>
                  <a:cubicBezTo>
                    <a:pt x="28194" y="490538"/>
                    <a:pt x="28194" y="489109"/>
                    <a:pt x="27527" y="487775"/>
                  </a:cubicBezTo>
                  <a:cubicBezTo>
                    <a:pt x="27527" y="487775"/>
                    <a:pt x="28194" y="487109"/>
                    <a:pt x="28861" y="487109"/>
                  </a:cubicBezTo>
                  <a:lnTo>
                    <a:pt x="29528" y="487109"/>
                  </a:lnTo>
                  <a:cubicBezTo>
                    <a:pt x="30861" y="487109"/>
                    <a:pt x="30861" y="486442"/>
                    <a:pt x="30861" y="485013"/>
                  </a:cubicBezTo>
                  <a:cubicBezTo>
                    <a:pt x="30194" y="485013"/>
                    <a:pt x="30194" y="484346"/>
                    <a:pt x="30194" y="484346"/>
                  </a:cubicBezTo>
                  <a:cubicBezTo>
                    <a:pt x="30194" y="483680"/>
                    <a:pt x="31528" y="482251"/>
                    <a:pt x="31528" y="480917"/>
                  </a:cubicBezTo>
                  <a:cubicBezTo>
                    <a:pt x="31528" y="478822"/>
                    <a:pt x="31528" y="478822"/>
                    <a:pt x="29432" y="478822"/>
                  </a:cubicBezTo>
                  <a:cubicBezTo>
                    <a:pt x="30099" y="478155"/>
                    <a:pt x="36957" y="473297"/>
                    <a:pt x="38386" y="470630"/>
                  </a:cubicBezTo>
                  <a:lnTo>
                    <a:pt x="37719" y="470630"/>
                  </a:lnTo>
                  <a:cubicBezTo>
                    <a:pt x="36386" y="470630"/>
                    <a:pt x="34290" y="467201"/>
                    <a:pt x="34290" y="466535"/>
                  </a:cubicBezTo>
                  <a:lnTo>
                    <a:pt x="34957" y="466535"/>
                  </a:lnTo>
                  <a:cubicBezTo>
                    <a:pt x="35624" y="467201"/>
                    <a:pt x="35624" y="467201"/>
                    <a:pt x="36290" y="467201"/>
                  </a:cubicBezTo>
                  <a:cubicBezTo>
                    <a:pt x="37624" y="467201"/>
                    <a:pt x="38386" y="465868"/>
                    <a:pt x="38386" y="465106"/>
                  </a:cubicBezTo>
                  <a:cubicBezTo>
                    <a:pt x="38386" y="464344"/>
                    <a:pt x="37719" y="464439"/>
                    <a:pt x="37719" y="463772"/>
                  </a:cubicBezTo>
                  <a:lnTo>
                    <a:pt x="37719" y="463106"/>
                  </a:lnTo>
                  <a:cubicBezTo>
                    <a:pt x="37052" y="463106"/>
                    <a:pt x="36386" y="463772"/>
                    <a:pt x="35624" y="463772"/>
                  </a:cubicBezTo>
                  <a:cubicBezTo>
                    <a:pt x="35624" y="463772"/>
                    <a:pt x="34290" y="461677"/>
                    <a:pt x="33528" y="461677"/>
                  </a:cubicBezTo>
                  <a:cubicBezTo>
                    <a:pt x="32861" y="461677"/>
                    <a:pt x="32861" y="462344"/>
                    <a:pt x="32195" y="463010"/>
                  </a:cubicBezTo>
                  <a:lnTo>
                    <a:pt x="31528" y="461677"/>
                  </a:lnTo>
                  <a:cubicBezTo>
                    <a:pt x="31528" y="461010"/>
                    <a:pt x="31528" y="458248"/>
                    <a:pt x="32861" y="458248"/>
                  </a:cubicBezTo>
                  <a:cubicBezTo>
                    <a:pt x="36290" y="458248"/>
                    <a:pt x="36290" y="461010"/>
                    <a:pt x="36957" y="461010"/>
                  </a:cubicBezTo>
                  <a:cubicBezTo>
                    <a:pt x="36957" y="460343"/>
                    <a:pt x="39053" y="458915"/>
                    <a:pt x="39719" y="458915"/>
                  </a:cubicBezTo>
                  <a:lnTo>
                    <a:pt x="39053" y="458248"/>
                  </a:lnTo>
                  <a:cubicBezTo>
                    <a:pt x="39053" y="452723"/>
                    <a:pt x="41148" y="450723"/>
                    <a:pt x="41148" y="448628"/>
                  </a:cubicBezTo>
                  <a:lnTo>
                    <a:pt x="41148" y="447961"/>
                  </a:lnTo>
                  <a:cubicBezTo>
                    <a:pt x="43244" y="447294"/>
                    <a:pt x="43244" y="446627"/>
                    <a:pt x="43910" y="446627"/>
                  </a:cubicBezTo>
                  <a:lnTo>
                    <a:pt x="43910" y="445961"/>
                  </a:lnTo>
                  <a:cubicBezTo>
                    <a:pt x="43244" y="445961"/>
                    <a:pt x="41148" y="446627"/>
                    <a:pt x="40481" y="446627"/>
                  </a:cubicBezTo>
                  <a:lnTo>
                    <a:pt x="39815" y="445961"/>
                  </a:lnTo>
                  <a:cubicBezTo>
                    <a:pt x="39815" y="445961"/>
                    <a:pt x="37719" y="450723"/>
                    <a:pt x="37719" y="452819"/>
                  </a:cubicBezTo>
                  <a:lnTo>
                    <a:pt x="34957" y="452819"/>
                  </a:lnTo>
                  <a:lnTo>
                    <a:pt x="34290" y="450056"/>
                  </a:lnTo>
                  <a:cubicBezTo>
                    <a:pt x="34957" y="450056"/>
                    <a:pt x="37719" y="445294"/>
                    <a:pt x="37719" y="443865"/>
                  </a:cubicBezTo>
                  <a:lnTo>
                    <a:pt x="37719" y="441579"/>
                  </a:lnTo>
                  <a:cubicBezTo>
                    <a:pt x="38386" y="440912"/>
                    <a:pt x="38386" y="440912"/>
                    <a:pt x="39053" y="440912"/>
                  </a:cubicBezTo>
                  <a:lnTo>
                    <a:pt x="40386" y="441579"/>
                  </a:lnTo>
                  <a:lnTo>
                    <a:pt x="40386" y="439484"/>
                  </a:lnTo>
                  <a:cubicBezTo>
                    <a:pt x="40386" y="437388"/>
                    <a:pt x="46577" y="437388"/>
                    <a:pt x="46577" y="429863"/>
                  </a:cubicBezTo>
                  <a:lnTo>
                    <a:pt x="45244" y="425101"/>
                  </a:lnTo>
                  <a:cubicBezTo>
                    <a:pt x="42482" y="425101"/>
                    <a:pt x="45244" y="431292"/>
                    <a:pt x="41148" y="431292"/>
                  </a:cubicBezTo>
                  <a:lnTo>
                    <a:pt x="40481" y="430625"/>
                  </a:lnTo>
                  <a:cubicBezTo>
                    <a:pt x="37719" y="430625"/>
                    <a:pt x="39148" y="436150"/>
                    <a:pt x="36386" y="436150"/>
                  </a:cubicBezTo>
                  <a:lnTo>
                    <a:pt x="35052" y="437483"/>
                  </a:lnTo>
                  <a:cubicBezTo>
                    <a:pt x="35052" y="438817"/>
                    <a:pt x="36386" y="439579"/>
                    <a:pt x="36386" y="439579"/>
                  </a:cubicBezTo>
                  <a:cubicBezTo>
                    <a:pt x="36386" y="440246"/>
                    <a:pt x="35719" y="440246"/>
                    <a:pt x="35719" y="440246"/>
                  </a:cubicBezTo>
                  <a:cubicBezTo>
                    <a:pt x="35052" y="440246"/>
                    <a:pt x="35052" y="440246"/>
                    <a:pt x="35052" y="440912"/>
                  </a:cubicBezTo>
                  <a:cubicBezTo>
                    <a:pt x="32957" y="438817"/>
                    <a:pt x="32290" y="437483"/>
                    <a:pt x="32290" y="437483"/>
                  </a:cubicBezTo>
                  <a:cubicBezTo>
                    <a:pt x="30956" y="438817"/>
                    <a:pt x="30956" y="439579"/>
                    <a:pt x="30956" y="439579"/>
                  </a:cubicBezTo>
                  <a:cubicBezTo>
                    <a:pt x="30956" y="439579"/>
                    <a:pt x="28861" y="437483"/>
                    <a:pt x="28861" y="436150"/>
                  </a:cubicBezTo>
                  <a:cubicBezTo>
                    <a:pt x="28861" y="433388"/>
                    <a:pt x="30956" y="433388"/>
                    <a:pt x="31623" y="433388"/>
                  </a:cubicBezTo>
                  <a:cubicBezTo>
                    <a:pt x="31623" y="434054"/>
                    <a:pt x="32290" y="434054"/>
                    <a:pt x="32290" y="434054"/>
                  </a:cubicBezTo>
                  <a:cubicBezTo>
                    <a:pt x="32957" y="434054"/>
                    <a:pt x="33623" y="433388"/>
                    <a:pt x="34385" y="433388"/>
                  </a:cubicBezTo>
                  <a:cubicBezTo>
                    <a:pt x="33719" y="432721"/>
                    <a:pt x="33719" y="432721"/>
                    <a:pt x="33719" y="432054"/>
                  </a:cubicBezTo>
                  <a:cubicBezTo>
                    <a:pt x="33719" y="430721"/>
                    <a:pt x="35052" y="424529"/>
                    <a:pt x="43339" y="419005"/>
                  </a:cubicBezTo>
                  <a:lnTo>
                    <a:pt x="45434" y="416243"/>
                  </a:lnTo>
                  <a:cubicBezTo>
                    <a:pt x="45434" y="414147"/>
                    <a:pt x="46768" y="414147"/>
                    <a:pt x="48197" y="413480"/>
                  </a:cubicBezTo>
                  <a:cubicBezTo>
                    <a:pt x="48197" y="410718"/>
                    <a:pt x="49530" y="404527"/>
                    <a:pt x="55054" y="404527"/>
                  </a:cubicBezTo>
                  <a:lnTo>
                    <a:pt x="56388" y="405194"/>
                  </a:lnTo>
                  <a:cubicBezTo>
                    <a:pt x="56388" y="405860"/>
                    <a:pt x="53626" y="409956"/>
                    <a:pt x="50864" y="412718"/>
                  </a:cubicBezTo>
                  <a:cubicBezTo>
                    <a:pt x="50864" y="412718"/>
                    <a:pt x="50864" y="413385"/>
                    <a:pt x="51530" y="414052"/>
                  </a:cubicBezTo>
                  <a:lnTo>
                    <a:pt x="51530" y="415385"/>
                  </a:lnTo>
                  <a:cubicBezTo>
                    <a:pt x="50864" y="416719"/>
                    <a:pt x="50864" y="418814"/>
                    <a:pt x="50197" y="419481"/>
                  </a:cubicBezTo>
                  <a:lnTo>
                    <a:pt x="48863" y="421576"/>
                  </a:lnTo>
                  <a:cubicBezTo>
                    <a:pt x="48197" y="422243"/>
                    <a:pt x="47530" y="422243"/>
                    <a:pt x="47530" y="422910"/>
                  </a:cubicBezTo>
                  <a:cubicBezTo>
                    <a:pt x="47530" y="423577"/>
                    <a:pt x="48197" y="423577"/>
                    <a:pt x="48863" y="424244"/>
                  </a:cubicBezTo>
                  <a:lnTo>
                    <a:pt x="50197" y="424244"/>
                  </a:lnTo>
                  <a:lnTo>
                    <a:pt x="54293" y="418719"/>
                  </a:lnTo>
                  <a:cubicBezTo>
                    <a:pt x="54959" y="418719"/>
                    <a:pt x="54959" y="417386"/>
                    <a:pt x="54959" y="415957"/>
                  </a:cubicBezTo>
                  <a:cubicBezTo>
                    <a:pt x="54959" y="414528"/>
                    <a:pt x="55626" y="412528"/>
                    <a:pt x="59055" y="412528"/>
                  </a:cubicBezTo>
                  <a:lnTo>
                    <a:pt x="61817" y="409766"/>
                  </a:lnTo>
                  <a:cubicBezTo>
                    <a:pt x="61817" y="407003"/>
                    <a:pt x="63151" y="407003"/>
                    <a:pt x="64579" y="406337"/>
                  </a:cubicBezTo>
                  <a:lnTo>
                    <a:pt x="65913" y="406337"/>
                  </a:lnTo>
                  <a:lnTo>
                    <a:pt x="65246" y="407003"/>
                  </a:lnTo>
                  <a:cubicBezTo>
                    <a:pt x="65246" y="407003"/>
                    <a:pt x="65246" y="407670"/>
                    <a:pt x="65913" y="407670"/>
                  </a:cubicBezTo>
                  <a:lnTo>
                    <a:pt x="66580" y="407003"/>
                  </a:lnTo>
                  <a:lnTo>
                    <a:pt x="67247" y="407003"/>
                  </a:lnTo>
                  <a:lnTo>
                    <a:pt x="67913" y="406337"/>
                  </a:lnTo>
                  <a:cubicBezTo>
                    <a:pt x="67247" y="405670"/>
                    <a:pt x="66580" y="404241"/>
                    <a:pt x="66580" y="402908"/>
                  </a:cubicBezTo>
                  <a:lnTo>
                    <a:pt x="70009" y="400145"/>
                  </a:lnTo>
                  <a:cubicBezTo>
                    <a:pt x="70676" y="400145"/>
                    <a:pt x="70676" y="398812"/>
                    <a:pt x="70676" y="397383"/>
                  </a:cubicBezTo>
                  <a:lnTo>
                    <a:pt x="70676" y="396049"/>
                  </a:lnTo>
                  <a:cubicBezTo>
                    <a:pt x="75438" y="394716"/>
                    <a:pt x="68580" y="396049"/>
                    <a:pt x="79629" y="385096"/>
                  </a:cubicBezTo>
                  <a:cubicBezTo>
                    <a:pt x="80296" y="383762"/>
                    <a:pt x="89249" y="367284"/>
                    <a:pt x="98870" y="362426"/>
                  </a:cubicBezTo>
                  <a:lnTo>
                    <a:pt x="98870" y="358331"/>
                  </a:lnTo>
                  <a:cubicBezTo>
                    <a:pt x="96774" y="358331"/>
                    <a:pt x="96774" y="359664"/>
                    <a:pt x="96107" y="360426"/>
                  </a:cubicBezTo>
                  <a:lnTo>
                    <a:pt x="96107" y="359759"/>
                  </a:lnTo>
                  <a:cubicBezTo>
                    <a:pt x="95440" y="359759"/>
                    <a:pt x="93345" y="359759"/>
                    <a:pt x="93345" y="360426"/>
                  </a:cubicBezTo>
                  <a:lnTo>
                    <a:pt x="92678" y="361093"/>
                  </a:lnTo>
                  <a:cubicBezTo>
                    <a:pt x="92678" y="363188"/>
                    <a:pt x="92012" y="361093"/>
                    <a:pt x="89916" y="363855"/>
                  </a:cubicBezTo>
                  <a:lnTo>
                    <a:pt x="89249" y="363188"/>
                  </a:lnTo>
                  <a:cubicBezTo>
                    <a:pt x="87916" y="363188"/>
                    <a:pt x="88583" y="364522"/>
                    <a:pt x="87916" y="364522"/>
                  </a:cubicBezTo>
                  <a:cubicBezTo>
                    <a:pt x="87916" y="364522"/>
                    <a:pt x="87249" y="364522"/>
                    <a:pt x="87249" y="363855"/>
                  </a:cubicBezTo>
                  <a:cubicBezTo>
                    <a:pt x="87249" y="364522"/>
                    <a:pt x="88583" y="357664"/>
                    <a:pt x="98203" y="352901"/>
                  </a:cubicBezTo>
                  <a:cubicBezTo>
                    <a:pt x="98870" y="352235"/>
                    <a:pt x="99536" y="350806"/>
                    <a:pt x="99536" y="350806"/>
                  </a:cubicBezTo>
                  <a:lnTo>
                    <a:pt x="98203" y="350806"/>
                  </a:lnTo>
                  <a:cubicBezTo>
                    <a:pt x="97536" y="350806"/>
                    <a:pt x="96869" y="350806"/>
                    <a:pt x="96869" y="350139"/>
                  </a:cubicBezTo>
                  <a:cubicBezTo>
                    <a:pt x="96869" y="348806"/>
                    <a:pt x="102394" y="343948"/>
                    <a:pt x="127730" y="325469"/>
                  </a:cubicBezTo>
                  <a:lnTo>
                    <a:pt x="132493" y="321374"/>
                  </a:lnTo>
                  <a:cubicBezTo>
                    <a:pt x="132493" y="323469"/>
                    <a:pt x="135255" y="314516"/>
                    <a:pt x="140684" y="314516"/>
                  </a:cubicBezTo>
                  <a:cubicBezTo>
                    <a:pt x="140684" y="315182"/>
                    <a:pt x="141351" y="315849"/>
                    <a:pt x="141351" y="315849"/>
                  </a:cubicBezTo>
                  <a:cubicBezTo>
                    <a:pt x="142018" y="315849"/>
                    <a:pt x="142685" y="311087"/>
                    <a:pt x="144113" y="311087"/>
                  </a:cubicBezTo>
                  <a:lnTo>
                    <a:pt x="144780" y="311753"/>
                  </a:lnTo>
                  <a:lnTo>
                    <a:pt x="145447" y="310420"/>
                  </a:lnTo>
                  <a:lnTo>
                    <a:pt x="145447" y="309753"/>
                  </a:lnTo>
                  <a:cubicBezTo>
                    <a:pt x="145447" y="309753"/>
                    <a:pt x="146114" y="309753"/>
                    <a:pt x="146780" y="310420"/>
                  </a:cubicBezTo>
                  <a:cubicBezTo>
                    <a:pt x="148114" y="309753"/>
                    <a:pt x="150209" y="306324"/>
                    <a:pt x="152305" y="304229"/>
                  </a:cubicBezTo>
                  <a:cubicBezTo>
                    <a:pt x="150971" y="303562"/>
                    <a:pt x="150209" y="303562"/>
                    <a:pt x="149543" y="303562"/>
                  </a:cubicBezTo>
                  <a:cubicBezTo>
                    <a:pt x="148209" y="303562"/>
                    <a:pt x="146780" y="306324"/>
                    <a:pt x="143351" y="306324"/>
                  </a:cubicBezTo>
                  <a:lnTo>
                    <a:pt x="141256" y="305657"/>
                  </a:lnTo>
                  <a:cubicBezTo>
                    <a:pt x="145352" y="304991"/>
                    <a:pt x="148781" y="298799"/>
                    <a:pt x="151543" y="298799"/>
                  </a:cubicBezTo>
                  <a:cubicBezTo>
                    <a:pt x="151543" y="298133"/>
                    <a:pt x="150876" y="298133"/>
                    <a:pt x="150876" y="297466"/>
                  </a:cubicBezTo>
                  <a:lnTo>
                    <a:pt x="152210" y="296799"/>
                  </a:lnTo>
                  <a:cubicBezTo>
                    <a:pt x="152876" y="296799"/>
                    <a:pt x="152876" y="297466"/>
                    <a:pt x="152876" y="298133"/>
                  </a:cubicBezTo>
                  <a:lnTo>
                    <a:pt x="154210" y="298799"/>
                  </a:lnTo>
                  <a:lnTo>
                    <a:pt x="151448" y="298799"/>
                  </a:lnTo>
                  <a:cubicBezTo>
                    <a:pt x="151448" y="300133"/>
                    <a:pt x="152114" y="302895"/>
                    <a:pt x="152114" y="304324"/>
                  </a:cubicBezTo>
                  <a:cubicBezTo>
                    <a:pt x="154210" y="304324"/>
                    <a:pt x="155543" y="302990"/>
                    <a:pt x="157639" y="300895"/>
                  </a:cubicBezTo>
                  <a:lnTo>
                    <a:pt x="158306" y="301562"/>
                  </a:lnTo>
                  <a:cubicBezTo>
                    <a:pt x="158972" y="300228"/>
                    <a:pt x="162401" y="296799"/>
                    <a:pt x="163068" y="296037"/>
                  </a:cubicBezTo>
                  <a:lnTo>
                    <a:pt x="163068" y="295370"/>
                  </a:lnTo>
                  <a:lnTo>
                    <a:pt x="163735" y="295370"/>
                  </a:lnTo>
                  <a:cubicBezTo>
                    <a:pt x="164402" y="295370"/>
                    <a:pt x="165068" y="295370"/>
                    <a:pt x="165830" y="294704"/>
                  </a:cubicBezTo>
                  <a:lnTo>
                    <a:pt x="166497" y="294704"/>
                  </a:lnTo>
                  <a:cubicBezTo>
                    <a:pt x="167164" y="291941"/>
                    <a:pt x="169259" y="292608"/>
                    <a:pt x="170593" y="291941"/>
                  </a:cubicBezTo>
                  <a:lnTo>
                    <a:pt x="171926" y="291274"/>
                  </a:lnTo>
                  <a:cubicBezTo>
                    <a:pt x="174022" y="288512"/>
                    <a:pt x="176689" y="287846"/>
                    <a:pt x="180118" y="286512"/>
                  </a:cubicBezTo>
                  <a:cubicBezTo>
                    <a:pt x="180118" y="286512"/>
                    <a:pt x="191738" y="275558"/>
                    <a:pt x="197930" y="275558"/>
                  </a:cubicBezTo>
                  <a:lnTo>
                    <a:pt x="198596" y="275558"/>
                  </a:lnTo>
                  <a:cubicBezTo>
                    <a:pt x="198596" y="274225"/>
                    <a:pt x="200692" y="273463"/>
                    <a:pt x="201359" y="272129"/>
                  </a:cubicBezTo>
                  <a:cubicBezTo>
                    <a:pt x="202025" y="273463"/>
                    <a:pt x="204121" y="277654"/>
                    <a:pt x="205454" y="277654"/>
                  </a:cubicBezTo>
                  <a:cubicBezTo>
                    <a:pt x="205454" y="276987"/>
                    <a:pt x="206121" y="276987"/>
                    <a:pt x="206121" y="276987"/>
                  </a:cubicBezTo>
                  <a:cubicBezTo>
                    <a:pt x="208217" y="275654"/>
                    <a:pt x="208217" y="274892"/>
                    <a:pt x="208217" y="274892"/>
                  </a:cubicBezTo>
                  <a:lnTo>
                    <a:pt x="205835" y="274892"/>
                  </a:lnTo>
                  <a:lnTo>
                    <a:pt x="204502" y="273558"/>
                  </a:lnTo>
                  <a:cubicBezTo>
                    <a:pt x="204502" y="273558"/>
                    <a:pt x="210693" y="266033"/>
                    <a:pt x="214122" y="266033"/>
                  </a:cubicBezTo>
                  <a:cubicBezTo>
                    <a:pt x="214789" y="266033"/>
                    <a:pt x="216218" y="267367"/>
                    <a:pt x="217551" y="270129"/>
                  </a:cubicBezTo>
                  <a:cubicBezTo>
                    <a:pt x="215456" y="270129"/>
                    <a:pt x="214789" y="270796"/>
                    <a:pt x="214122" y="272224"/>
                  </a:cubicBezTo>
                  <a:lnTo>
                    <a:pt x="214122" y="272891"/>
                  </a:lnTo>
                  <a:lnTo>
                    <a:pt x="217551" y="270129"/>
                  </a:lnTo>
                  <a:lnTo>
                    <a:pt x="218218" y="270129"/>
                  </a:lnTo>
                  <a:cubicBezTo>
                    <a:pt x="219551" y="270129"/>
                    <a:pt x="222314" y="270129"/>
                    <a:pt x="222314" y="268034"/>
                  </a:cubicBezTo>
                  <a:lnTo>
                    <a:pt x="221647" y="266700"/>
                  </a:lnTo>
                  <a:lnTo>
                    <a:pt x="218884" y="266700"/>
                  </a:lnTo>
                  <a:cubicBezTo>
                    <a:pt x="218218" y="266033"/>
                    <a:pt x="218218" y="266033"/>
                    <a:pt x="218218" y="265367"/>
                  </a:cubicBezTo>
                  <a:cubicBezTo>
                    <a:pt x="218884" y="264700"/>
                    <a:pt x="221647" y="264700"/>
                    <a:pt x="222314" y="263271"/>
                  </a:cubicBezTo>
                  <a:cubicBezTo>
                    <a:pt x="222980" y="263271"/>
                    <a:pt x="223647" y="263938"/>
                    <a:pt x="223647" y="263938"/>
                  </a:cubicBezTo>
                  <a:cubicBezTo>
                    <a:pt x="224314" y="263938"/>
                    <a:pt x="224314" y="263271"/>
                    <a:pt x="224314" y="262604"/>
                  </a:cubicBezTo>
                  <a:lnTo>
                    <a:pt x="224314" y="261271"/>
                  </a:lnTo>
                  <a:cubicBezTo>
                    <a:pt x="223647" y="261271"/>
                    <a:pt x="230505" y="250317"/>
                    <a:pt x="244888" y="250317"/>
                  </a:cubicBezTo>
                  <a:lnTo>
                    <a:pt x="244888" y="248984"/>
                  </a:lnTo>
                  <a:cubicBezTo>
                    <a:pt x="246221" y="248984"/>
                    <a:pt x="246983" y="248317"/>
                    <a:pt x="247650" y="246888"/>
                  </a:cubicBezTo>
                  <a:cubicBezTo>
                    <a:pt x="248317" y="246888"/>
                    <a:pt x="249746" y="248222"/>
                    <a:pt x="250412" y="248222"/>
                  </a:cubicBezTo>
                  <a:cubicBezTo>
                    <a:pt x="249746" y="248222"/>
                    <a:pt x="250412" y="247555"/>
                    <a:pt x="250412" y="247555"/>
                  </a:cubicBezTo>
                  <a:lnTo>
                    <a:pt x="250412" y="246221"/>
                  </a:lnTo>
                  <a:cubicBezTo>
                    <a:pt x="252508" y="246221"/>
                    <a:pt x="253841" y="244126"/>
                    <a:pt x="254508" y="244126"/>
                  </a:cubicBezTo>
                  <a:cubicBezTo>
                    <a:pt x="257270" y="244126"/>
                    <a:pt x="257270" y="246221"/>
                    <a:pt x="257937" y="246221"/>
                  </a:cubicBezTo>
                  <a:cubicBezTo>
                    <a:pt x="257270" y="246221"/>
                    <a:pt x="257270" y="248317"/>
                    <a:pt x="256604" y="248317"/>
                  </a:cubicBezTo>
                  <a:cubicBezTo>
                    <a:pt x="256604" y="248317"/>
                    <a:pt x="257270" y="248317"/>
                    <a:pt x="257270" y="248984"/>
                  </a:cubicBezTo>
                  <a:lnTo>
                    <a:pt x="259366" y="246888"/>
                  </a:lnTo>
                  <a:cubicBezTo>
                    <a:pt x="258699" y="246221"/>
                    <a:pt x="258699" y="244126"/>
                    <a:pt x="258699" y="243459"/>
                  </a:cubicBezTo>
                  <a:cubicBezTo>
                    <a:pt x="258699" y="240697"/>
                    <a:pt x="271748" y="234506"/>
                    <a:pt x="279273" y="234506"/>
                  </a:cubicBezTo>
                  <a:lnTo>
                    <a:pt x="279273" y="233839"/>
                  </a:lnTo>
                  <a:cubicBezTo>
                    <a:pt x="278606" y="233839"/>
                    <a:pt x="278606" y="231077"/>
                    <a:pt x="277178" y="229743"/>
                  </a:cubicBezTo>
                  <a:lnTo>
                    <a:pt x="277178" y="229076"/>
                  </a:lnTo>
                  <a:lnTo>
                    <a:pt x="278511" y="229743"/>
                  </a:lnTo>
                  <a:cubicBezTo>
                    <a:pt x="278511" y="230410"/>
                    <a:pt x="279178" y="230410"/>
                    <a:pt x="281273" y="231077"/>
                  </a:cubicBezTo>
                  <a:cubicBezTo>
                    <a:pt x="282607" y="231077"/>
                    <a:pt x="285369" y="230410"/>
                    <a:pt x="285369" y="228314"/>
                  </a:cubicBezTo>
                  <a:lnTo>
                    <a:pt x="285369" y="227648"/>
                  </a:lnTo>
                  <a:cubicBezTo>
                    <a:pt x="281940" y="229743"/>
                    <a:pt x="280607" y="229743"/>
                    <a:pt x="279845" y="229743"/>
                  </a:cubicBezTo>
                  <a:cubicBezTo>
                    <a:pt x="279083" y="229743"/>
                    <a:pt x="279178" y="229076"/>
                    <a:pt x="278511" y="227648"/>
                  </a:cubicBezTo>
                  <a:lnTo>
                    <a:pt x="278511" y="226981"/>
                  </a:lnTo>
                  <a:cubicBezTo>
                    <a:pt x="279178" y="226314"/>
                    <a:pt x="279845" y="225647"/>
                    <a:pt x="281273" y="225647"/>
                  </a:cubicBezTo>
                  <a:cubicBezTo>
                    <a:pt x="281940" y="225647"/>
                    <a:pt x="282607" y="225647"/>
                    <a:pt x="283369" y="226314"/>
                  </a:cubicBezTo>
                  <a:cubicBezTo>
                    <a:pt x="288893" y="224981"/>
                    <a:pt x="284702" y="213932"/>
                    <a:pt x="288131" y="201644"/>
                  </a:cubicBezTo>
                  <a:lnTo>
                    <a:pt x="288131" y="196120"/>
                  </a:lnTo>
                  <a:cubicBezTo>
                    <a:pt x="288798" y="195453"/>
                    <a:pt x="288798" y="194024"/>
                    <a:pt x="288798" y="193358"/>
                  </a:cubicBezTo>
                  <a:lnTo>
                    <a:pt x="288798" y="190595"/>
                  </a:lnTo>
                  <a:cubicBezTo>
                    <a:pt x="288798" y="189929"/>
                    <a:pt x="288798" y="188500"/>
                    <a:pt x="289465" y="187166"/>
                  </a:cubicBezTo>
                  <a:cubicBezTo>
                    <a:pt x="288798" y="186500"/>
                    <a:pt x="288798" y="183737"/>
                    <a:pt x="288798" y="182404"/>
                  </a:cubicBezTo>
                  <a:cubicBezTo>
                    <a:pt x="288798" y="158401"/>
                    <a:pt x="291560" y="160496"/>
                    <a:pt x="291560" y="141923"/>
                  </a:cubicBezTo>
                  <a:lnTo>
                    <a:pt x="291560" y="137160"/>
                  </a:lnTo>
                  <a:cubicBezTo>
                    <a:pt x="291560" y="135065"/>
                    <a:pt x="292227" y="133064"/>
                    <a:pt x="292227" y="130969"/>
                  </a:cubicBezTo>
                  <a:cubicBezTo>
                    <a:pt x="292227" y="128873"/>
                    <a:pt x="291560" y="126873"/>
                    <a:pt x="291560" y="124778"/>
                  </a:cubicBezTo>
                  <a:cubicBezTo>
                    <a:pt x="291560" y="123444"/>
                    <a:pt x="293656" y="122682"/>
                    <a:pt x="293656" y="111062"/>
                  </a:cubicBezTo>
                  <a:cubicBezTo>
                    <a:pt x="293656" y="108966"/>
                    <a:pt x="292989" y="107633"/>
                    <a:pt x="292989" y="105537"/>
                  </a:cubicBezTo>
                  <a:lnTo>
                    <a:pt x="292989" y="103442"/>
                  </a:lnTo>
                  <a:cubicBezTo>
                    <a:pt x="293656" y="102108"/>
                    <a:pt x="294323" y="100679"/>
                    <a:pt x="294323" y="98679"/>
                  </a:cubicBezTo>
                  <a:cubicBezTo>
                    <a:pt x="294323" y="97346"/>
                    <a:pt x="293656" y="95250"/>
                    <a:pt x="293656" y="93917"/>
                  </a:cubicBezTo>
                  <a:cubicBezTo>
                    <a:pt x="294323" y="91154"/>
                    <a:pt x="293656" y="87725"/>
                    <a:pt x="294989" y="85725"/>
                  </a:cubicBezTo>
                  <a:lnTo>
                    <a:pt x="294989" y="82296"/>
                  </a:lnTo>
                  <a:cubicBezTo>
                    <a:pt x="294989" y="82296"/>
                    <a:pt x="294323" y="81629"/>
                    <a:pt x="294323" y="80963"/>
                  </a:cubicBezTo>
                  <a:lnTo>
                    <a:pt x="292227" y="80963"/>
                  </a:lnTo>
                  <a:cubicBezTo>
                    <a:pt x="292227" y="85058"/>
                    <a:pt x="290894" y="87821"/>
                    <a:pt x="284702" y="87821"/>
                  </a:cubicBezTo>
                  <a:lnTo>
                    <a:pt x="284036" y="88487"/>
                  </a:lnTo>
                  <a:cubicBezTo>
                    <a:pt x="284036" y="94012"/>
                    <a:pt x="279273" y="94679"/>
                    <a:pt x="279273" y="99441"/>
                  </a:cubicBezTo>
                  <a:lnTo>
                    <a:pt x="276511" y="102870"/>
                  </a:lnTo>
                  <a:lnTo>
                    <a:pt x="276511" y="103537"/>
                  </a:lnTo>
                  <a:cubicBezTo>
                    <a:pt x="275844" y="103537"/>
                    <a:pt x="275844" y="102870"/>
                    <a:pt x="275844" y="102870"/>
                  </a:cubicBezTo>
                  <a:cubicBezTo>
                    <a:pt x="274511" y="102870"/>
                    <a:pt x="273082" y="103537"/>
                    <a:pt x="273082" y="104204"/>
                  </a:cubicBezTo>
                  <a:lnTo>
                    <a:pt x="273082" y="104870"/>
                  </a:lnTo>
                  <a:cubicBezTo>
                    <a:pt x="270320" y="108299"/>
                    <a:pt x="270320" y="107633"/>
                    <a:pt x="266891" y="114491"/>
                  </a:cubicBezTo>
                  <a:close/>
                  <a:moveTo>
                    <a:pt x="2096" y="524637"/>
                  </a:moveTo>
                  <a:cubicBezTo>
                    <a:pt x="2762" y="523304"/>
                    <a:pt x="3429" y="522542"/>
                    <a:pt x="3429" y="521208"/>
                  </a:cubicBezTo>
                  <a:cubicBezTo>
                    <a:pt x="3429" y="519874"/>
                    <a:pt x="2096" y="517779"/>
                    <a:pt x="2096" y="518446"/>
                  </a:cubicBezTo>
                  <a:cubicBezTo>
                    <a:pt x="2096" y="518446"/>
                    <a:pt x="2096" y="517779"/>
                    <a:pt x="2762" y="517779"/>
                  </a:cubicBezTo>
                  <a:lnTo>
                    <a:pt x="2762" y="516446"/>
                  </a:lnTo>
                  <a:cubicBezTo>
                    <a:pt x="3429" y="515779"/>
                    <a:pt x="3429" y="515779"/>
                    <a:pt x="3429" y="513683"/>
                  </a:cubicBezTo>
                  <a:lnTo>
                    <a:pt x="3429" y="508921"/>
                  </a:lnTo>
                  <a:cubicBezTo>
                    <a:pt x="4096" y="508921"/>
                    <a:pt x="4096" y="508921"/>
                    <a:pt x="4096" y="508254"/>
                  </a:cubicBezTo>
                  <a:cubicBezTo>
                    <a:pt x="4096" y="507587"/>
                    <a:pt x="4096" y="507587"/>
                    <a:pt x="3429" y="506921"/>
                  </a:cubicBezTo>
                  <a:cubicBezTo>
                    <a:pt x="3429" y="504825"/>
                    <a:pt x="4763" y="504158"/>
                    <a:pt x="5525" y="502825"/>
                  </a:cubicBezTo>
                  <a:lnTo>
                    <a:pt x="5525" y="501491"/>
                  </a:lnTo>
                  <a:cubicBezTo>
                    <a:pt x="5525" y="500824"/>
                    <a:pt x="6858" y="491871"/>
                    <a:pt x="8953" y="487775"/>
                  </a:cubicBezTo>
                  <a:lnTo>
                    <a:pt x="8953" y="487109"/>
                  </a:lnTo>
                  <a:cubicBezTo>
                    <a:pt x="10287" y="483680"/>
                    <a:pt x="11049" y="480917"/>
                    <a:pt x="12383" y="478917"/>
                  </a:cubicBezTo>
                  <a:lnTo>
                    <a:pt x="12383" y="478250"/>
                  </a:lnTo>
                  <a:cubicBezTo>
                    <a:pt x="13049" y="474821"/>
                    <a:pt x="15145" y="472059"/>
                    <a:pt x="15145" y="468630"/>
                  </a:cubicBezTo>
                  <a:lnTo>
                    <a:pt x="16478" y="467963"/>
                  </a:lnTo>
                  <a:cubicBezTo>
                    <a:pt x="16478" y="467963"/>
                    <a:pt x="17145" y="468630"/>
                    <a:pt x="17812" y="468630"/>
                  </a:cubicBezTo>
                  <a:lnTo>
                    <a:pt x="17812" y="469297"/>
                  </a:lnTo>
                  <a:cubicBezTo>
                    <a:pt x="17812" y="469964"/>
                    <a:pt x="17812" y="472059"/>
                    <a:pt x="17145" y="472726"/>
                  </a:cubicBezTo>
                  <a:lnTo>
                    <a:pt x="17812" y="472726"/>
                  </a:lnTo>
                  <a:cubicBezTo>
                    <a:pt x="17812" y="472726"/>
                    <a:pt x="17812" y="474059"/>
                    <a:pt x="18478" y="475488"/>
                  </a:cubicBezTo>
                  <a:lnTo>
                    <a:pt x="15050" y="478917"/>
                  </a:lnTo>
                  <a:lnTo>
                    <a:pt x="14383" y="478250"/>
                  </a:lnTo>
                  <a:cubicBezTo>
                    <a:pt x="13716" y="478250"/>
                    <a:pt x="13716" y="479584"/>
                    <a:pt x="13716" y="480346"/>
                  </a:cubicBezTo>
                  <a:lnTo>
                    <a:pt x="13716" y="481013"/>
                  </a:lnTo>
                  <a:cubicBezTo>
                    <a:pt x="13716" y="482346"/>
                    <a:pt x="13716" y="487871"/>
                    <a:pt x="11621" y="487871"/>
                  </a:cubicBezTo>
                  <a:lnTo>
                    <a:pt x="11621" y="489204"/>
                  </a:lnTo>
                  <a:cubicBezTo>
                    <a:pt x="11621" y="491299"/>
                    <a:pt x="11621" y="493967"/>
                    <a:pt x="9525" y="496729"/>
                  </a:cubicBezTo>
                  <a:cubicBezTo>
                    <a:pt x="9525" y="497396"/>
                    <a:pt x="9525" y="497396"/>
                    <a:pt x="10192" y="498062"/>
                  </a:cubicBezTo>
                  <a:cubicBezTo>
                    <a:pt x="10192" y="500158"/>
                    <a:pt x="9525" y="500824"/>
                    <a:pt x="9525" y="501491"/>
                  </a:cubicBezTo>
                  <a:cubicBezTo>
                    <a:pt x="9525" y="502825"/>
                    <a:pt x="12287" y="505587"/>
                    <a:pt x="12287" y="507016"/>
                  </a:cubicBezTo>
                  <a:cubicBezTo>
                    <a:pt x="12287" y="507683"/>
                    <a:pt x="10192" y="509111"/>
                    <a:pt x="10192" y="509111"/>
                  </a:cubicBezTo>
                  <a:cubicBezTo>
                    <a:pt x="10192" y="510445"/>
                    <a:pt x="12954" y="509111"/>
                    <a:pt x="12954" y="512540"/>
                  </a:cubicBezTo>
                  <a:lnTo>
                    <a:pt x="12954" y="513207"/>
                  </a:lnTo>
                  <a:cubicBezTo>
                    <a:pt x="10859" y="512540"/>
                    <a:pt x="10192" y="512540"/>
                    <a:pt x="9525" y="512540"/>
                  </a:cubicBezTo>
                  <a:cubicBezTo>
                    <a:pt x="8858" y="512540"/>
                    <a:pt x="5429" y="512540"/>
                    <a:pt x="5429" y="516636"/>
                  </a:cubicBezTo>
                  <a:cubicBezTo>
                    <a:pt x="5429" y="517303"/>
                    <a:pt x="6096" y="517970"/>
                    <a:pt x="6096" y="518732"/>
                  </a:cubicBezTo>
                  <a:cubicBezTo>
                    <a:pt x="6096" y="522161"/>
                    <a:pt x="4001" y="522827"/>
                    <a:pt x="4001" y="524256"/>
                  </a:cubicBezTo>
                  <a:lnTo>
                    <a:pt x="4001" y="524923"/>
                  </a:lnTo>
                  <a:lnTo>
                    <a:pt x="5334" y="525590"/>
                  </a:lnTo>
                  <a:cubicBezTo>
                    <a:pt x="5334" y="526256"/>
                    <a:pt x="5334" y="526923"/>
                    <a:pt x="4001" y="526923"/>
                  </a:cubicBezTo>
                  <a:cubicBezTo>
                    <a:pt x="4001" y="526923"/>
                    <a:pt x="3334" y="526256"/>
                    <a:pt x="3334" y="525590"/>
                  </a:cubicBezTo>
                  <a:lnTo>
                    <a:pt x="1238" y="525590"/>
                  </a:lnTo>
                  <a:lnTo>
                    <a:pt x="2096" y="524637"/>
                  </a:lnTo>
                  <a:close/>
                  <a:moveTo>
                    <a:pt x="8953" y="542449"/>
                  </a:moveTo>
                  <a:cubicBezTo>
                    <a:pt x="8953" y="541782"/>
                    <a:pt x="6858" y="539687"/>
                    <a:pt x="5525" y="538353"/>
                  </a:cubicBezTo>
                  <a:lnTo>
                    <a:pt x="4858" y="539020"/>
                  </a:lnTo>
                  <a:lnTo>
                    <a:pt x="5525" y="539687"/>
                  </a:lnTo>
                  <a:cubicBezTo>
                    <a:pt x="7620" y="546545"/>
                    <a:pt x="6191" y="546545"/>
                    <a:pt x="7620" y="546545"/>
                  </a:cubicBezTo>
                  <a:cubicBezTo>
                    <a:pt x="7620" y="546545"/>
                    <a:pt x="8287" y="546545"/>
                    <a:pt x="8287" y="545878"/>
                  </a:cubicBezTo>
                  <a:cubicBezTo>
                    <a:pt x="8287" y="545878"/>
                    <a:pt x="8287" y="545211"/>
                    <a:pt x="7620" y="545211"/>
                  </a:cubicBezTo>
                  <a:cubicBezTo>
                    <a:pt x="7620" y="544449"/>
                    <a:pt x="8287" y="543116"/>
                    <a:pt x="8953" y="542449"/>
                  </a:cubicBezTo>
                  <a:close/>
                  <a:moveTo>
                    <a:pt x="6191" y="509492"/>
                  </a:moveTo>
                  <a:cubicBezTo>
                    <a:pt x="6191" y="510159"/>
                    <a:pt x="6858" y="510159"/>
                    <a:pt x="6858" y="510159"/>
                  </a:cubicBezTo>
                  <a:lnTo>
                    <a:pt x="8191" y="508826"/>
                  </a:lnTo>
                  <a:cubicBezTo>
                    <a:pt x="6858" y="508826"/>
                    <a:pt x="6858" y="508826"/>
                    <a:pt x="6858" y="509492"/>
                  </a:cubicBezTo>
                  <a:lnTo>
                    <a:pt x="6191" y="509492"/>
                  </a:lnTo>
                  <a:close/>
                  <a:moveTo>
                    <a:pt x="7620" y="583597"/>
                  </a:moveTo>
                  <a:cubicBezTo>
                    <a:pt x="6953" y="583597"/>
                    <a:pt x="6287" y="582263"/>
                    <a:pt x="6287" y="581501"/>
                  </a:cubicBezTo>
                  <a:lnTo>
                    <a:pt x="6287" y="580835"/>
                  </a:lnTo>
                  <a:cubicBezTo>
                    <a:pt x="6953" y="581501"/>
                    <a:pt x="7620" y="581501"/>
                    <a:pt x="7620" y="582168"/>
                  </a:cubicBezTo>
                  <a:lnTo>
                    <a:pt x="7620" y="583597"/>
                  </a:lnTo>
                  <a:close/>
                  <a:moveTo>
                    <a:pt x="13049" y="519779"/>
                  </a:moveTo>
                  <a:cubicBezTo>
                    <a:pt x="13049" y="521875"/>
                    <a:pt x="12383" y="522542"/>
                    <a:pt x="10954" y="523208"/>
                  </a:cubicBezTo>
                  <a:cubicBezTo>
                    <a:pt x="9620" y="523208"/>
                    <a:pt x="8858" y="522542"/>
                    <a:pt x="8858" y="521875"/>
                  </a:cubicBezTo>
                  <a:cubicBezTo>
                    <a:pt x="9525" y="521208"/>
                    <a:pt x="12287" y="517779"/>
                    <a:pt x="12287" y="517779"/>
                  </a:cubicBezTo>
                  <a:lnTo>
                    <a:pt x="12954" y="519113"/>
                  </a:lnTo>
                  <a:lnTo>
                    <a:pt x="12954" y="519779"/>
                  </a:lnTo>
                  <a:close/>
                  <a:moveTo>
                    <a:pt x="11716" y="545211"/>
                  </a:moveTo>
                  <a:cubicBezTo>
                    <a:pt x="11716" y="545211"/>
                    <a:pt x="11049" y="545211"/>
                    <a:pt x="11049" y="546545"/>
                  </a:cubicBezTo>
                  <a:cubicBezTo>
                    <a:pt x="11049" y="546545"/>
                    <a:pt x="11049" y="547211"/>
                    <a:pt x="11716" y="547878"/>
                  </a:cubicBezTo>
                  <a:lnTo>
                    <a:pt x="11716" y="548545"/>
                  </a:lnTo>
                  <a:cubicBezTo>
                    <a:pt x="12383" y="548545"/>
                    <a:pt x="12383" y="549212"/>
                    <a:pt x="12383" y="549212"/>
                  </a:cubicBezTo>
                  <a:cubicBezTo>
                    <a:pt x="12383" y="548640"/>
                    <a:pt x="12383" y="547878"/>
                    <a:pt x="11716" y="545211"/>
                  </a:cubicBezTo>
                  <a:close/>
                  <a:moveTo>
                    <a:pt x="15812" y="539687"/>
                  </a:moveTo>
                  <a:lnTo>
                    <a:pt x="16478" y="539687"/>
                  </a:lnTo>
                  <a:lnTo>
                    <a:pt x="16478" y="534924"/>
                  </a:lnTo>
                  <a:cubicBezTo>
                    <a:pt x="17145" y="535591"/>
                    <a:pt x="18574" y="535591"/>
                    <a:pt x="19240" y="535591"/>
                  </a:cubicBezTo>
                  <a:cubicBezTo>
                    <a:pt x="19907" y="535591"/>
                    <a:pt x="19907" y="535591"/>
                    <a:pt x="19907" y="536258"/>
                  </a:cubicBezTo>
                  <a:cubicBezTo>
                    <a:pt x="19240" y="536924"/>
                    <a:pt x="19907" y="538353"/>
                    <a:pt x="18574" y="540353"/>
                  </a:cubicBezTo>
                  <a:lnTo>
                    <a:pt x="16478" y="540353"/>
                  </a:lnTo>
                  <a:cubicBezTo>
                    <a:pt x="16478" y="540353"/>
                    <a:pt x="15812" y="540353"/>
                    <a:pt x="15812" y="539687"/>
                  </a:cubicBezTo>
                  <a:close/>
                  <a:moveTo>
                    <a:pt x="18574" y="464249"/>
                  </a:moveTo>
                  <a:cubicBezTo>
                    <a:pt x="18574" y="463582"/>
                    <a:pt x="19907" y="460820"/>
                    <a:pt x="19907" y="460153"/>
                  </a:cubicBezTo>
                  <a:lnTo>
                    <a:pt x="21241" y="460153"/>
                  </a:lnTo>
                  <a:lnTo>
                    <a:pt x="21241" y="461486"/>
                  </a:lnTo>
                  <a:cubicBezTo>
                    <a:pt x="21336" y="463582"/>
                    <a:pt x="19240" y="464249"/>
                    <a:pt x="18574" y="464249"/>
                  </a:cubicBezTo>
                  <a:close/>
                  <a:moveTo>
                    <a:pt x="20669" y="554069"/>
                  </a:moveTo>
                  <a:cubicBezTo>
                    <a:pt x="20003" y="554069"/>
                    <a:pt x="20003" y="553403"/>
                    <a:pt x="20003" y="553403"/>
                  </a:cubicBezTo>
                  <a:cubicBezTo>
                    <a:pt x="20003" y="553403"/>
                    <a:pt x="20003" y="552736"/>
                    <a:pt x="20669" y="552736"/>
                  </a:cubicBezTo>
                  <a:cubicBezTo>
                    <a:pt x="20669" y="552736"/>
                    <a:pt x="20669" y="553403"/>
                    <a:pt x="22003" y="553403"/>
                  </a:cubicBezTo>
                  <a:lnTo>
                    <a:pt x="20669" y="554069"/>
                  </a:lnTo>
                  <a:close/>
                  <a:moveTo>
                    <a:pt x="36386" y="595217"/>
                  </a:moveTo>
                  <a:cubicBezTo>
                    <a:pt x="35719" y="592455"/>
                    <a:pt x="35052" y="590455"/>
                    <a:pt x="32290" y="589693"/>
                  </a:cubicBezTo>
                  <a:lnTo>
                    <a:pt x="32290" y="589026"/>
                  </a:lnTo>
                  <a:cubicBezTo>
                    <a:pt x="32957" y="589026"/>
                    <a:pt x="34385" y="589026"/>
                    <a:pt x="34385" y="586931"/>
                  </a:cubicBezTo>
                  <a:cubicBezTo>
                    <a:pt x="34385" y="584835"/>
                    <a:pt x="33052" y="580739"/>
                    <a:pt x="28861" y="573215"/>
                  </a:cubicBezTo>
                  <a:lnTo>
                    <a:pt x="28194" y="572548"/>
                  </a:lnTo>
                  <a:cubicBezTo>
                    <a:pt x="28194" y="572548"/>
                    <a:pt x="27527" y="572548"/>
                    <a:pt x="27527" y="573215"/>
                  </a:cubicBezTo>
                  <a:lnTo>
                    <a:pt x="27527" y="574548"/>
                  </a:lnTo>
                  <a:cubicBezTo>
                    <a:pt x="27527" y="575215"/>
                    <a:pt x="28194" y="574548"/>
                    <a:pt x="28194" y="575882"/>
                  </a:cubicBezTo>
                  <a:lnTo>
                    <a:pt x="26099" y="577977"/>
                  </a:lnTo>
                  <a:cubicBezTo>
                    <a:pt x="24765" y="577977"/>
                    <a:pt x="24765" y="575882"/>
                    <a:pt x="24765" y="575215"/>
                  </a:cubicBezTo>
                  <a:cubicBezTo>
                    <a:pt x="24765" y="574548"/>
                    <a:pt x="24765" y="574548"/>
                    <a:pt x="25432" y="573881"/>
                  </a:cubicBezTo>
                  <a:lnTo>
                    <a:pt x="23336" y="573215"/>
                  </a:lnTo>
                  <a:lnTo>
                    <a:pt x="22670" y="574548"/>
                  </a:lnTo>
                  <a:cubicBezTo>
                    <a:pt x="22670" y="575215"/>
                    <a:pt x="21336" y="576644"/>
                    <a:pt x="21336" y="577977"/>
                  </a:cubicBezTo>
                  <a:cubicBezTo>
                    <a:pt x="21336" y="579311"/>
                    <a:pt x="21336" y="578644"/>
                    <a:pt x="25432" y="582740"/>
                  </a:cubicBezTo>
                  <a:cubicBezTo>
                    <a:pt x="26099" y="582740"/>
                    <a:pt x="26099" y="582073"/>
                    <a:pt x="26099" y="581406"/>
                  </a:cubicBezTo>
                  <a:cubicBezTo>
                    <a:pt x="26099" y="580739"/>
                    <a:pt x="26099" y="580073"/>
                    <a:pt x="26765" y="580073"/>
                  </a:cubicBezTo>
                  <a:lnTo>
                    <a:pt x="28099" y="578739"/>
                  </a:lnTo>
                  <a:cubicBezTo>
                    <a:pt x="28765" y="578072"/>
                    <a:pt x="28765" y="582835"/>
                    <a:pt x="31528" y="589026"/>
                  </a:cubicBezTo>
                  <a:lnTo>
                    <a:pt x="34290" y="595217"/>
                  </a:lnTo>
                  <a:lnTo>
                    <a:pt x="35624" y="595884"/>
                  </a:lnTo>
                  <a:cubicBezTo>
                    <a:pt x="35719" y="595884"/>
                    <a:pt x="36386" y="595884"/>
                    <a:pt x="36386" y="595217"/>
                  </a:cubicBezTo>
                  <a:close/>
                  <a:moveTo>
                    <a:pt x="22670" y="455295"/>
                  </a:moveTo>
                  <a:cubicBezTo>
                    <a:pt x="24003" y="451199"/>
                    <a:pt x="24003" y="445008"/>
                    <a:pt x="26765" y="445008"/>
                  </a:cubicBezTo>
                  <a:cubicBezTo>
                    <a:pt x="28099" y="445008"/>
                    <a:pt x="28861" y="446342"/>
                    <a:pt x="30861" y="448437"/>
                  </a:cubicBezTo>
                  <a:lnTo>
                    <a:pt x="27432" y="449104"/>
                  </a:lnTo>
                  <a:cubicBezTo>
                    <a:pt x="27432" y="453866"/>
                    <a:pt x="24670" y="456629"/>
                    <a:pt x="24003" y="456629"/>
                  </a:cubicBezTo>
                  <a:cubicBezTo>
                    <a:pt x="23336" y="456057"/>
                    <a:pt x="22670" y="456057"/>
                    <a:pt x="22670" y="455295"/>
                  </a:cubicBezTo>
                  <a:close/>
                  <a:moveTo>
                    <a:pt x="27527" y="443008"/>
                  </a:moveTo>
                  <a:lnTo>
                    <a:pt x="27527" y="442341"/>
                  </a:lnTo>
                  <a:lnTo>
                    <a:pt x="28194" y="443008"/>
                  </a:lnTo>
                  <a:lnTo>
                    <a:pt x="27527" y="443008"/>
                  </a:lnTo>
                  <a:close/>
                  <a:moveTo>
                    <a:pt x="28861" y="525971"/>
                  </a:moveTo>
                  <a:cubicBezTo>
                    <a:pt x="28861" y="526637"/>
                    <a:pt x="28861" y="527304"/>
                    <a:pt x="28194" y="528733"/>
                  </a:cubicBezTo>
                  <a:cubicBezTo>
                    <a:pt x="29528" y="528733"/>
                    <a:pt x="28861" y="525304"/>
                    <a:pt x="30290" y="525304"/>
                  </a:cubicBezTo>
                  <a:lnTo>
                    <a:pt x="31623" y="525304"/>
                  </a:lnTo>
                  <a:cubicBezTo>
                    <a:pt x="30956" y="523970"/>
                    <a:pt x="30956" y="522542"/>
                    <a:pt x="30956" y="521875"/>
                  </a:cubicBezTo>
                  <a:cubicBezTo>
                    <a:pt x="30956" y="519779"/>
                    <a:pt x="32290" y="515017"/>
                    <a:pt x="32290" y="511588"/>
                  </a:cubicBezTo>
                  <a:cubicBezTo>
                    <a:pt x="31623" y="510254"/>
                    <a:pt x="31623" y="509492"/>
                    <a:pt x="31623" y="509492"/>
                  </a:cubicBezTo>
                  <a:lnTo>
                    <a:pt x="30956" y="508826"/>
                  </a:lnTo>
                  <a:cubicBezTo>
                    <a:pt x="29623" y="512255"/>
                    <a:pt x="28194" y="517779"/>
                    <a:pt x="28194" y="521208"/>
                  </a:cubicBezTo>
                  <a:cubicBezTo>
                    <a:pt x="28194" y="522542"/>
                    <a:pt x="28194" y="523304"/>
                    <a:pt x="28861" y="524637"/>
                  </a:cubicBezTo>
                  <a:lnTo>
                    <a:pt x="28861" y="525971"/>
                  </a:lnTo>
                  <a:close/>
                  <a:moveTo>
                    <a:pt x="31623" y="505397"/>
                  </a:moveTo>
                  <a:lnTo>
                    <a:pt x="32290" y="505397"/>
                  </a:lnTo>
                  <a:cubicBezTo>
                    <a:pt x="32290" y="504730"/>
                    <a:pt x="32290" y="504730"/>
                    <a:pt x="31623" y="504730"/>
                  </a:cubicBezTo>
                  <a:lnTo>
                    <a:pt x="31623" y="505397"/>
                  </a:lnTo>
                  <a:close/>
                  <a:moveTo>
                    <a:pt x="33623" y="423767"/>
                  </a:moveTo>
                  <a:lnTo>
                    <a:pt x="35719" y="424434"/>
                  </a:lnTo>
                  <a:cubicBezTo>
                    <a:pt x="35052" y="425101"/>
                    <a:pt x="35052" y="426530"/>
                    <a:pt x="35052" y="426530"/>
                  </a:cubicBezTo>
                  <a:lnTo>
                    <a:pt x="34385" y="425863"/>
                  </a:lnTo>
                  <a:cubicBezTo>
                    <a:pt x="34290" y="425863"/>
                    <a:pt x="33623" y="424434"/>
                    <a:pt x="33623" y="423767"/>
                  </a:cubicBezTo>
                  <a:close/>
                  <a:moveTo>
                    <a:pt x="35719" y="422434"/>
                  </a:moveTo>
                  <a:cubicBezTo>
                    <a:pt x="35719" y="422434"/>
                    <a:pt x="36386" y="421100"/>
                    <a:pt x="37814" y="420338"/>
                  </a:cubicBezTo>
                  <a:lnTo>
                    <a:pt x="37814" y="422434"/>
                  </a:lnTo>
                  <a:lnTo>
                    <a:pt x="37148" y="423101"/>
                  </a:lnTo>
                  <a:lnTo>
                    <a:pt x="35719" y="422434"/>
                  </a:lnTo>
                  <a:close/>
                  <a:moveTo>
                    <a:pt x="38481" y="600075"/>
                  </a:moveTo>
                  <a:cubicBezTo>
                    <a:pt x="38481" y="597980"/>
                    <a:pt x="37814" y="597980"/>
                    <a:pt x="36386" y="597313"/>
                  </a:cubicBezTo>
                  <a:lnTo>
                    <a:pt x="36386" y="599408"/>
                  </a:lnTo>
                  <a:lnTo>
                    <a:pt x="37719" y="600075"/>
                  </a:lnTo>
                  <a:lnTo>
                    <a:pt x="38481" y="600075"/>
                  </a:lnTo>
                  <a:close/>
                  <a:moveTo>
                    <a:pt x="41243" y="604838"/>
                  </a:moveTo>
                  <a:lnTo>
                    <a:pt x="39148" y="601409"/>
                  </a:lnTo>
                  <a:lnTo>
                    <a:pt x="38481" y="602075"/>
                  </a:lnTo>
                  <a:cubicBezTo>
                    <a:pt x="38481" y="604171"/>
                    <a:pt x="39815" y="604838"/>
                    <a:pt x="41243" y="604838"/>
                  </a:cubicBezTo>
                  <a:close/>
                  <a:moveTo>
                    <a:pt x="39148" y="419005"/>
                  </a:moveTo>
                  <a:cubicBezTo>
                    <a:pt x="39148" y="416243"/>
                    <a:pt x="39148" y="415576"/>
                    <a:pt x="39815" y="414909"/>
                  </a:cubicBezTo>
                  <a:lnTo>
                    <a:pt x="40481" y="414909"/>
                  </a:lnTo>
                  <a:lnTo>
                    <a:pt x="40481" y="418338"/>
                  </a:lnTo>
                  <a:cubicBezTo>
                    <a:pt x="40481" y="419672"/>
                    <a:pt x="40481" y="419672"/>
                    <a:pt x="39815" y="419672"/>
                  </a:cubicBezTo>
                  <a:cubicBezTo>
                    <a:pt x="39815" y="419005"/>
                    <a:pt x="39148" y="419005"/>
                    <a:pt x="39148" y="419005"/>
                  </a:cubicBezTo>
                  <a:close/>
                  <a:moveTo>
                    <a:pt x="281273" y="259175"/>
                  </a:moveTo>
                  <a:cubicBezTo>
                    <a:pt x="280607" y="259175"/>
                    <a:pt x="280607" y="259842"/>
                    <a:pt x="279940" y="259842"/>
                  </a:cubicBezTo>
                  <a:cubicBezTo>
                    <a:pt x="279178" y="261271"/>
                    <a:pt x="279178" y="257080"/>
                    <a:pt x="278511" y="257080"/>
                  </a:cubicBezTo>
                  <a:cubicBezTo>
                    <a:pt x="277844" y="257080"/>
                    <a:pt x="276416" y="257747"/>
                    <a:pt x="275749" y="259175"/>
                  </a:cubicBezTo>
                  <a:lnTo>
                    <a:pt x="274415" y="259175"/>
                  </a:lnTo>
                  <a:cubicBezTo>
                    <a:pt x="272320" y="259842"/>
                    <a:pt x="262033" y="268796"/>
                    <a:pt x="256604" y="268796"/>
                  </a:cubicBezTo>
                  <a:lnTo>
                    <a:pt x="255270" y="268796"/>
                  </a:lnTo>
                  <a:cubicBezTo>
                    <a:pt x="255270" y="269462"/>
                    <a:pt x="251174" y="272891"/>
                    <a:pt x="250508" y="272891"/>
                  </a:cubicBezTo>
                  <a:cubicBezTo>
                    <a:pt x="250508" y="273558"/>
                    <a:pt x="251174" y="273558"/>
                    <a:pt x="251174" y="273558"/>
                  </a:cubicBezTo>
                  <a:lnTo>
                    <a:pt x="250508" y="274225"/>
                  </a:lnTo>
                  <a:cubicBezTo>
                    <a:pt x="250508" y="274225"/>
                    <a:pt x="249841" y="274225"/>
                    <a:pt x="249841" y="273558"/>
                  </a:cubicBezTo>
                  <a:cubicBezTo>
                    <a:pt x="249841" y="274225"/>
                    <a:pt x="249174" y="274225"/>
                    <a:pt x="249174" y="274225"/>
                  </a:cubicBezTo>
                  <a:cubicBezTo>
                    <a:pt x="248507" y="274225"/>
                    <a:pt x="247841" y="272129"/>
                    <a:pt x="246412" y="272129"/>
                  </a:cubicBezTo>
                  <a:cubicBezTo>
                    <a:pt x="245078" y="272129"/>
                    <a:pt x="240887" y="277654"/>
                    <a:pt x="240221" y="279654"/>
                  </a:cubicBezTo>
                  <a:lnTo>
                    <a:pt x="238125" y="279654"/>
                  </a:lnTo>
                  <a:cubicBezTo>
                    <a:pt x="237458" y="279654"/>
                    <a:pt x="236792" y="280321"/>
                    <a:pt x="235363" y="280988"/>
                  </a:cubicBezTo>
                  <a:lnTo>
                    <a:pt x="233267" y="282321"/>
                  </a:lnTo>
                  <a:lnTo>
                    <a:pt x="233267" y="281654"/>
                  </a:lnTo>
                  <a:cubicBezTo>
                    <a:pt x="232601" y="281654"/>
                    <a:pt x="230505" y="282988"/>
                    <a:pt x="230505" y="284417"/>
                  </a:cubicBezTo>
                  <a:lnTo>
                    <a:pt x="229172" y="284417"/>
                  </a:lnTo>
                  <a:cubicBezTo>
                    <a:pt x="227838" y="284417"/>
                    <a:pt x="224409" y="285083"/>
                    <a:pt x="218884" y="290608"/>
                  </a:cubicBezTo>
                  <a:lnTo>
                    <a:pt x="218218" y="291274"/>
                  </a:lnTo>
                  <a:cubicBezTo>
                    <a:pt x="214122" y="291274"/>
                    <a:pt x="216122" y="293370"/>
                    <a:pt x="210693" y="296799"/>
                  </a:cubicBezTo>
                  <a:cubicBezTo>
                    <a:pt x="210026" y="296132"/>
                    <a:pt x="210026" y="296132"/>
                    <a:pt x="209359" y="296132"/>
                  </a:cubicBezTo>
                  <a:cubicBezTo>
                    <a:pt x="207264" y="296132"/>
                    <a:pt x="205931" y="299561"/>
                    <a:pt x="205264" y="299561"/>
                  </a:cubicBezTo>
                  <a:lnTo>
                    <a:pt x="200501" y="300895"/>
                  </a:lnTo>
                  <a:cubicBezTo>
                    <a:pt x="200501" y="302228"/>
                    <a:pt x="196406" y="306419"/>
                    <a:pt x="194310" y="307086"/>
                  </a:cubicBezTo>
                  <a:lnTo>
                    <a:pt x="193453" y="307086"/>
                  </a:lnTo>
                  <a:cubicBezTo>
                    <a:pt x="190691" y="307086"/>
                    <a:pt x="187261" y="316706"/>
                    <a:pt x="178403" y="316706"/>
                  </a:cubicBezTo>
                  <a:lnTo>
                    <a:pt x="174974" y="320802"/>
                  </a:lnTo>
                  <a:cubicBezTo>
                    <a:pt x="174308" y="320135"/>
                    <a:pt x="173641" y="320135"/>
                    <a:pt x="173641" y="320135"/>
                  </a:cubicBezTo>
                  <a:cubicBezTo>
                    <a:pt x="172974" y="320135"/>
                    <a:pt x="172307" y="320802"/>
                    <a:pt x="171545" y="321469"/>
                  </a:cubicBezTo>
                  <a:cubicBezTo>
                    <a:pt x="173641" y="322136"/>
                    <a:pt x="157829" y="328327"/>
                    <a:pt x="155067" y="337280"/>
                  </a:cubicBezTo>
                  <a:cubicBezTo>
                    <a:pt x="148876" y="337280"/>
                    <a:pt x="159830" y="340709"/>
                    <a:pt x="135160" y="356521"/>
                  </a:cubicBezTo>
                  <a:lnTo>
                    <a:pt x="128969" y="359950"/>
                  </a:lnTo>
                  <a:cubicBezTo>
                    <a:pt x="128969" y="370904"/>
                    <a:pt x="126873" y="355854"/>
                    <a:pt x="110490" y="380524"/>
                  </a:cubicBezTo>
                  <a:lnTo>
                    <a:pt x="103632" y="389477"/>
                  </a:lnTo>
                  <a:cubicBezTo>
                    <a:pt x="102299" y="390811"/>
                    <a:pt x="98870" y="393573"/>
                    <a:pt x="98870" y="396335"/>
                  </a:cubicBezTo>
                  <a:cubicBezTo>
                    <a:pt x="98870" y="399097"/>
                    <a:pt x="85820" y="406622"/>
                    <a:pt x="85820" y="415576"/>
                  </a:cubicBezTo>
                  <a:lnTo>
                    <a:pt x="81725" y="421100"/>
                  </a:lnTo>
                  <a:cubicBezTo>
                    <a:pt x="81725" y="419767"/>
                    <a:pt x="80391" y="428625"/>
                    <a:pt x="76962" y="428625"/>
                  </a:cubicBezTo>
                  <a:cubicBezTo>
                    <a:pt x="76295" y="428625"/>
                    <a:pt x="75628" y="427958"/>
                    <a:pt x="75628" y="427958"/>
                  </a:cubicBezTo>
                  <a:cubicBezTo>
                    <a:pt x="74962" y="427958"/>
                    <a:pt x="73533" y="430721"/>
                    <a:pt x="73533" y="431387"/>
                  </a:cubicBezTo>
                  <a:cubicBezTo>
                    <a:pt x="73533" y="432054"/>
                    <a:pt x="73533" y="432721"/>
                    <a:pt x="74200" y="433483"/>
                  </a:cubicBezTo>
                  <a:lnTo>
                    <a:pt x="72104" y="438245"/>
                  </a:lnTo>
                  <a:cubicBezTo>
                    <a:pt x="72104" y="443008"/>
                    <a:pt x="57055" y="460915"/>
                    <a:pt x="56293" y="469773"/>
                  </a:cubicBezTo>
                  <a:lnTo>
                    <a:pt x="56293" y="470440"/>
                  </a:lnTo>
                  <a:cubicBezTo>
                    <a:pt x="56293" y="471773"/>
                    <a:pt x="56293" y="471773"/>
                    <a:pt x="54959" y="473869"/>
                  </a:cubicBezTo>
                  <a:lnTo>
                    <a:pt x="53626" y="475964"/>
                  </a:lnTo>
                  <a:cubicBezTo>
                    <a:pt x="52959" y="478060"/>
                    <a:pt x="51530" y="478726"/>
                    <a:pt x="51530" y="480060"/>
                  </a:cubicBezTo>
                  <a:cubicBezTo>
                    <a:pt x="52197" y="480727"/>
                    <a:pt x="52197" y="481394"/>
                    <a:pt x="52197" y="482156"/>
                  </a:cubicBezTo>
                  <a:cubicBezTo>
                    <a:pt x="52197" y="483489"/>
                    <a:pt x="50864" y="483489"/>
                    <a:pt x="50102" y="483489"/>
                  </a:cubicBezTo>
                  <a:lnTo>
                    <a:pt x="50102" y="485585"/>
                  </a:lnTo>
                  <a:cubicBezTo>
                    <a:pt x="48768" y="486251"/>
                    <a:pt x="48768" y="486918"/>
                    <a:pt x="48768" y="488347"/>
                  </a:cubicBezTo>
                  <a:lnTo>
                    <a:pt x="48768" y="490442"/>
                  </a:lnTo>
                  <a:cubicBezTo>
                    <a:pt x="48768" y="491776"/>
                    <a:pt x="48768" y="493205"/>
                    <a:pt x="48101" y="494538"/>
                  </a:cubicBezTo>
                  <a:lnTo>
                    <a:pt x="46768" y="499301"/>
                  </a:lnTo>
                  <a:cubicBezTo>
                    <a:pt x="46768" y="499967"/>
                    <a:pt x="46768" y="500634"/>
                    <a:pt x="45434" y="501396"/>
                  </a:cubicBezTo>
                  <a:cubicBezTo>
                    <a:pt x="46101" y="502730"/>
                    <a:pt x="46101" y="503492"/>
                    <a:pt x="46101" y="504158"/>
                  </a:cubicBezTo>
                  <a:lnTo>
                    <a:pt x="46768" y="504825"/>
                  </a:lnTo>
                  <a:cubicBezTo>
                    <a:pt x="47435" y="504825"/>
                    <a:pt x="47435" y="505492"/>
                    <a:pt x="47435" y="506159"/>
                  </a:cubicBezTo>
                  <a:cubicBezTo>
                    <a:pt x="47435" y="508254"/>
                    <a:pt x="44672" y="514350"/>
                    <a:pt x="44672" y="517112"/>
                  </a:cubicBezTo>
                  <a:cubicBezTo>
                    <a:pt x="44672" y="520541"/>
                    <a:pt x="45339" y="520541"/>
                    <a:pt x="45339" y="521208"/>
                  </a:cubicBezTo>
                  <a:lnTo>
                    <a:pt x="46673" y="530828"/>
                  </a:lnTo>
                  <a:cubicBezTo>
                    <a:pt x="46673" y="534924"/>
                    <a:pt x="44577" y="532162"/>
                    <a:pt x="44577" y="535591"/>
                  </a:cubicBezTo>
                  <a:lnTo>
                    <a:pt x="44577" y="539687"/>
                  </a:lnTo>
                  <a:cubicBezTo>
                    <a:pt x="44577" y="541020"/>
                    <a:pt x="44577" y="542449"/>
                    <a:pt x="45244" y="543116"/>
                  </a:cubicBezTo>
                  <a:cubicBezTo>
                    <a:pt x="44577" y="544449"/>
                    <a:pt x="44577" y="545211"/>
                    <a:pt x="44577" y="545211"/>
                  </a:cubicBezTo>
                  <a:lnTo>
                    <a:pt x="43910" y="545211"/>
                  </a:lnTo>
                  <a:cubicBezTo>
                    <a:pt x="43244" y="545878"/>
                    <a:pt x="42577" y="545878"/>
                    <a:pt x="42577" y="546545"/>
                  </a:cubicBezTo>
                  <a:cubicBezTo>
                    <a:pt x="42577" y="546545"/>
                    <a:pt x="44672" y="551307"/>
                    <a:pt x="46006" y="552069"/>
                  </a:cubicBezTo>
                  <a:cubicBezTo>
                    <a:pt x="46006" y="552069"/>
                    <a:pt x="46006" y="553403"/>
                    <a:pt x="45339" y="553403"/>
                  </a:cubicBezTo>
                  <a:lnTo>
                    <a:pt x="45339" y="556832"/>
                  </a:lnTo>
                  <a:cubicBezTo>
                    <a:pt x="44672" y="556832"/>
                    <a:pt x="44672" y="557498"/>
                    <a:pt x="44672" y="558165"/>
                  </a:cubicBezTo>
                  <a:cubicBezTo>
                    <a:pt x="44672" y="563690"/>
                    <a:pt x="46768" y="564356"/>
                    <a:pt x="46768" y="565690"/>
                  </a:cubicBezTo>
                  <a:cubicBezTo>
                    <a:pt x="46768" y="566357"/>
                    <a:pt x="46101" y="566357"/>
                    <a:pt x="45434" y="566357"/>
                  </a:cubicBezTo>
                  <a:cubicBezTo>
                    <a:pt x="45434" y="569119"/>
                    <a:pt x="52292" y="576644"/>
                    <a:pt x="50197" y="569786"/>
                  </a:cubicBezTo>
                  <a:cubicBezTo>
                    <a:pt x="51530" y="571881"/>
                    <a:pt x="52292" y="571881"/>
                    <a:pt x="52292" y="572548"/>
                  </a:cubicBezTo>
                  <a:lnTo>
                    <a:pt x="52292" y="575310"/>
                  </a:lnTo>
                  <a:cubicBezTo>
                    <a:pt x="52292" y="576644"/>
                    <a:pt x="52292" y="577406"/>
                    <a:pt x="50959" y="581501"/>
                  </a:cubicBezTo>
                  <a:cubicBezTo>
                    <a:pt x="52292" y="582835"/>
                    <a:pt x="53054" y="587026"/>
                    <a:pt x="54388" y="588359"/>
                  </a:cubicBezTo>
                  <a:cubicBezTo>
                    <a:pt x="53721" y="589026"/>
                    <a:pt x="53721" y="589026"/>
                    <a:pt x="53721" y="589693"/>
                  </a:cubicBezTo>
                  <a:cubicBezTo>
                    <a:pt x="53721" y="589693"/>
                    <a:pt x="64008" y="596551"/>
                    <a:pt x="64008" y="599980"/>
                  </a:cubicBezTo>
                  <a:cubicBezTo>
                    <a:pt x="61246" y="599980"/>
                    <a:pt x="62675" y="599313"/>
                    <a:pt x="61246" y="599313"/>
                  </a:cubicBezTo>
                  <a:cubicBezTo>
                    <a:pt x="60579" y="599313"/>
                    <a:pt x="59912" y="599313"/>
                    <a:pt x="59912" y="599980"/>
                  </a:cubicBezTo>
                  <a:cubicBezTo>
                    <a:pt x="60579" y="601313"/>
                    <a:pt x="63341" y="606171"/>
                    <a:pt x="64675" y="606838"/>
                  </a:cubicBezTo>
                  <a:lnTo>
                    <a:pt x="66770" y="606838"/>
                  </a:lnTo>
                  <a:lnTo>
                    <a:pt x="70199" y="609600"/>
                  </a:lnTo>
                  <a:cubicBezTo>
                    <a:pt x="70866" y="610934"/>
                    <a:pt x="71533" y="610934"/>
                    <a:pt x="72962" y="610934"/>
                  </a:cubicBezTo>
                  <a:lnTo>
                    <a:pt x="74295" y="611600"/>
                  </a:lnTo>
                  <a:cubicBezTo>
                    <a:pt x="76390" y="614363"/>
                    <a:pt x="78391" y="614363"/>
                    <a:pt x="80486" y="614363"/>
                  </a:cubicBezTo>
                  <a:cubicBezTo>
                    <a:pt x="83915" y="613696"/>
                    <a:pt x="86678" y="613696"/>
                    <a:pt x="90107" y="613696"/>
                  </a:cubicBezTo>
                  <a:cubicBezTo>
                    <a:pt x="91440" y="613029"/>
                    <a:pt x="112014" y="609600"/>
                    <a:pt x="117539" y="602742"/>
                  </a:cubicBezTo>
                  <a:lnTo>
                    <a:pt x="124397" y="599313"/>
                  </a:lnTo>
                  <a:cubicBezTo>
                    <a:pt x="125063" y="599980"/>
                    <a:pt x="125063" y="599980"/>
                    <a:pt x="125730" y="599980"/>
                  </a:cubicBezTo>
                  <a:cubicBezTo>
                    <a:pt x="125730" y="599980"/>
                    <a:pt x="143542" y="589026"/>
                    <a:pt x="147638" y="583502"/>
                  </a:cubicBezTo>
                  <a:lnTo>
                    <a:pt x="148971" y="584168"/>
                  </a:lnTo>
                  <a:cubicBezTo>
                    <a:pt x="151067" y="580739"/>
                    <a:pt x="154496" y="579406"/>
                    <a:pt x="160592" y="569119"/>
                  </a:cubicBezTo>
                  <a:cubicBezTo>
                    <a:pt x="160592" y="567023"/>
                    <a:pt x="160592" y="567023"/>
                    <a:pt x="161258" y="567023"/>
                  </a:cubicBezTo>
                  <a:lnTo>
                    <a:pt x="162592" y="567023"/>
                  </a:lnTo>
                  <a:cubicBezTo>
                    <a:pt x="164687" y="567023"/>
                    <a:pt x="168783" y="564928"/>
                    <a:pt x="175641" y="553307"/>
                  </a:cubicBezTo>
                  <a:cubicBezTo>
                    <a:pt x="175641" y="548545"/>
                    <a:pt x="197549" y="551974"/>
                    <a:pt x="197549" y="514255"/>
                  </a:cubicBezTo>
                  <a:lnTo>
                    <a:pt x="198882" y="513588"/>
                  </a:lnTo>
                  <a:cubicBezTo>
                    <a:pt x="200978" y="513588"/>
                    <a:pt x="203645" y="505397"/>
                    <a:pt x="206407" y="503301"/>
                  </a:cubicBezTo>
                  <a:lnTo>
                    <a:pt x="207074" y="502634"/>
                  </a:lnTo>
                  <a:cubicBezTo>
                    <a:pt x="208407" y="495110"/>
                    <a:pt x="214598" y="488918"/>
                    <a:pt x="217360" y="478631"/>
                  </a:cubicBezTo>
                  <a:cubicBezTo>
                    <a:pt x="218694" y="477298"/>
                    <a:pt x="225552" y="454628"/>
                    <a:pt x="235172" y="443008"/>
                  </a:cubicBezTo>
                  <a:cubicBezTo>
                    <a:pt x="237268" y="425863"/>
                    <a:pt x="235172" y="446437"/>
                    <a:pt x="248888" y="404622"/>
                  </a:cubicBezTo>
                  <a:lnTo>
                    <a:pt x="251651" y="392240"/>
                  </a:lnTo>
                  <a:cubicBezTo>
                    <a:pt x="250317" y="393573"/>
                    <a:pt x="260604" y="371666"/>
                    <a:pt x="260604" y="366141"/>
                  </a:cubicBezTo>
                  <a:lnTo>
                    <a:pt x="260604" y="361379"/>
                  </a:lnTo>
                  <a:cubicBezTo>
                    <a:pt x="262700" y="357949"/>
                    <a:pt x="262700" y="350425"/>
                    <a:pt x="266129" y="345567"/>
                  </a:cubicBezTo>
                  <a:cubicBezTo>
                    <a:pt x="266129" y="342805"/>
                    <a:pt x="265462" y="341471"/>
                    <a:pt x="265462" y="338709"/>
                  </a:cubicBezTo>
                  <a:cubicBezTo>
                    <a:pt x="266129" y="336614"/>
                    <a:pt x="269558" y="329089"/>
                    <a:pt x="269558" y="329756"/>
                  </a:cubicBezTo>
                  <a:cubicBezTo>
                    <a:pt x="269558" y="326993"/>
                    <a:pt x="270224" y="325660"/>
                    <a:pt x="270891" y="324231"/>
                  </a:cubicBezTo>
                  <a:lnTo>
                    <a:pt x="270891" y="322136"/>
                  </a:lnTo>
                  <a:cubicBezTo>
                    <a:pt x="270891" y="318040"/>
                    <a:pt x="271558" y="307753"/>
                    <a:pt x="275654" y="299466"/>
                  </a:cubicBezTo>
                  <a:lnTo>
                    <a:pt x="275654" y="295370"/>
                  </a:lnTo>
                  <a:cubicBezTo>
                    <a:pt x="276320" y="289846"/>
                    <a:pt x="278416" y="285750"/>
                    <a:pt x="279083" y="280988"/>
                  </a:cubicBezTo>
                  <a:lnTo>
                    <a:pt x="279083" y="279654"/>
                  </a:lnTo>
                  <a:cubicBezTo>
                    <a:pt x="278416" y="278987"/>
                    <a:pt x="278416" y="277559"/>
                    <a:pt x="278416" y="275558"/>
                  </a:cubicBezTo>
                  <a:cubicBezTo>
                    <a:pt x="278416" y="271463"/>
                    <a:pt x="281845" y="266605"/>
                    <a:pt x="281845" y="263938"/>
                  </a:cubicBezTo>
                  <a:lnTo>
                    <a:pt x="281845" y="261176"/>
                  </a:lnTo>
                  <a:cubicBezTo>
                    <a:pt x="281940" y="261271"/>
                    <a:pt x="281940" y="258509"/>
                    <a:pt x="281273" y="259175"/>
                  </a:cubicBezTo>
                  <a:close/>
                  <a:moveTo>
                    <a:pt x="47339" y="419672"/>
                  </a:moveTo>
                  <a:lnTo>
                    <a:pt x="48006" y="421005"/>
                  </a:lnTo>
                  <a:lnTo>
                    <a:pt x="48006" y="418910"/>
                  </a:lnTo>
                  <a:cubicBezTo>
                    <a:pt x="47339" y="419005"/>
                    <a:pt x="47339" y="419672"/>
                    <a:pt x="47339" y="419672"/>
                  </a:cubicBezTo>
                  <a:close/>
                  <a:moveTo>
                    <a:pt x="50768" y="598646"/>
                  </a:moveTo>
                  <a:cubicBezTo>
                    <a:pt x="50768" y="597980"/>
                    <a:pt x="49435" y="595884"/>
                    <a:pt x="48673" y="595884"/>
                  </a:cubicBezTo>
                  <a:lnTo>
                    <a:pt x="47339" y="597218"/>
                  </a:lnTo>
                  <a:cubicBezTo>
                    <a:pt x="47339" y="598551"/>
                    <a:pt x="48006" y="599980"/>
                    <a:pt x="49435" y="601313"/>
                  </a:cubicBezTo>
                  <a:lnTo>
                    <a:pt x="50768" y="601980"/>
                  </a:lnTo>
                  <a:lnTo>
                    <a:pt x="50768" y="598646"/>
                  </a:lnTo>
                  <a:close/>
                  <a:moveTo>
                    <a:pt x="48101" y="404622"/>
                  </a:moveTo>
                  <a:cubicBezTo>
                    <a:pt x="48101" y="404622"/>
                    <a:pt x="48101" y="403955"/>
                    <a:pt x="48768" y="403289"/>
                  </a:cubicBezTo>
                  <a:lnTo>
                    <a:pt x="50102" y="403955"/>
                  </a:lnTo>
                  <a:cubicBezTo>
                    <a:pt x="48768" y="403955"/>
                    <a:pt x="48768" y="404622"/>
                    <a:pt x="48006" y="405289"/>
                  </a:cubicBezTo>
                  <a:lnTo>
                    <a:pt x="48006" y="404622"/>
                  </a:lnTo>
                  <a:close/>
                  <a:moveTo>
                    <a:pt x="54959" y="424434"/>
                  </a:moveTo>
                  <a:lnTo>
                    <a:pt x="56293" y="423767"/>
                  </a:lnTo>
                  <a:cubicBezTo>
                    <a:pt x="56293" y="423101"/>
                    <a:pt x="55626" y="423101"/>
                    <a:pt x="54959" y="423101"/>
                  </a:cubicBezTo>
                  <a:lnTo>
                    <a:pt x="54293" y="423101"/>
                  </a:lnTo>
                  <a:cubicBezTo>
                    <a:pt x="54197" y="423767"/>
                    <a:pt x="54959" y="424434"/>
                    <a:pt x="54959" y="424434"/>
                  </a:cubicBezTo>
                  <a:close/>
                  <a:moveTo>
                    <a:pt x="54959" y="395002"/>
                  </a:moveTo>
                  <a:lnTo>
                    <a:pt x="54959" y="394335"/>
                  </a:lnTo>
                  <a:cubicBezTo>
                    <a:pt x="56293" y="393001"/>
                    <a:pt x="55626" y="392240"/>
                    <a:pt x="56293" y="392240"/>
                  </a:cubicBezTo>
                  <a:lnTo>
                    <a:pt x="56960" y="392906"/>
                  </a:lnTo>
                  <a:lnTo>
                    <a:pt x="56960" y="395002"/>
                  </a:lnTo>
                  <a:lnTo>
                    <a:pt x="54959" y="395002"/>
                  </a:lnTo>
                  <a:close/>
                  <a:moveTo>
                    <a:pt x="58388" y="608267"/>
                  </a:moveTo>
                  <a:cubicBezTo>
                    <a:pt x="58388" y="607600"/>
                    <a:pt x="57722" y="607600"/>
                    <a:pt x="57722" y="607600"/>
                  </a:cubicBezTo>
                  <a:lnTo>
                    <a:pt x="55626" y="607600"/>
                  </a:lnTo>
                  <a:cubicBezTo>
                    <a:pt x="54959" y="607600"/>
                    <a:pt x="54959" y="607600"/>
                    <a:pt x="54959" y="608267"/>
                  </a:cubicBezTo>
                  <a:cubicBezTo>
                    <a:pt x="54959" y="609600"/>
                    <a:pt x="57722" y="609600"/>
                    <a:pt x="58388" y="609600"/>
                  </a:cubicBezTo>
                  <a:lnTo>
                    <a:pt x="58388" y="608267"/>
                  </a:lnTo>
                  <a:close/>
                  <a:moveTo>
                    <a:pt x="55626" y="600742"/>
                  </a:moveTo>
                  <a:lnTo>
                    <a:pt x="56293" y="600742"/>
                  </a:lnTo>
                  <a:lnTo>
                    <a:pt x="55626" y="600075"/>
                  </a:lnTo>
                  <a:lnTo>
                    <a:pt x="55626" y="600742"/>
                  </a:lnTo>
                  <a:close/>
                  <a:moveTo>
                    <a:pt x="58388" y="410051"/>
                  </a:moveTo>
                  <a:cubicBezTo>
                    <a:pt x="59055" y="407956"/>
                    <a:pt x="59722" y="407956"/>
                    <a:pt x="59722" y="407956"/>
                  </a:cubicBezTo>
                  <a:cubicBezTo>
                    <a:pt x="59722" y="410051"/>
                    <a:pt x="59722" y="410051"/>
                    <a:pt x="59055" y="410718"/>
                  </a:cubicBezTo>
                  <a:cubicBezTo>
                    <a:pt x="59055" y="410718"/>
                    <a:pt x="58388" y="410718"/>
                    <a:pt x="56960" y="410051"/>
                  </a:cubicBezTo>
                  <a:lnTo>
                    <a:pt x="58388" y="410051"/>
                  </a:lnTo>
                  <a:close/>
                  <a:moveTo>
                    <a:pt x="59055" y="399097"/>
                  </a:moveTo>
                  <a:cubicBezTo>
                    <a:pt x="59055" y="399097"/>
                    <a:pt x="59722" y="399097"/>
                    <a:pt x="59722" y="398431"/>
                  </a:cubicBezTo>
                  <a:lnTo>
                    <a:pt x="60389" y="399097"/>
                  </a:lnTo>
                  <a:cubicBezTo>
                    <a:pt x="60389" y="399097"/>
                    <a:pt x="60389" y="400431"/>
                    <a:pt x="59722" y="400431"/>
                  </a:cubicBezTo>
                  <a:cubicBezTo>
                    <a:pt x="59722" y="403193"/>
                    <a:pt x="61055" y="401098"/>
                    <a:pt x="61055" y="403193"/>
                  </a:cubicBezTo>
                  <a:lnTo>
                    <a:pt x="58960" y="405956"/>
                  </a:lnTo>
                  <a:lnTo>
                    <a:pt x="57626" y="405289"/>
                  </a:lnTo>
                  <a:cubicBezTo>
                    <a:pt x="58293" y="404622"/>
                    <a:pt x="58960" y="404622"/>
                    <a:pt x="58960" y="403955"/>
                  </a:cubicBezTo>
                  <a:lnTo>
                    <a:pt x="57626" y="402622"/>
                  </a:lnTo>
                  <a:cubicBezTo>
                    <a:pt x="57626" y="399097"/>
                    <a:pt x="58388" y="399097"/>
                    <a:pt x="59055" y="399097"/>
                  </a:cubicBezTo>
                  <a:close/>
                  <a:moveTo>
                    <a:pt x="60389" y="604838"/>
                  </a:moveTo>
                  <a:lnTo>
                    <a:pt x="58293" y="605504"/>
                  </a:lnTo>
                  <a:cubicBezTo>
                    <a:pt x="58293" y="605504"/>
                    <a:pt x="58293" y="606171"/>
                    <a:pt x="60389" y="607600"/>
                  </a:cubicBezTo>
                  <a:lnTo>
                    <a:pt x="61055" y="607600"/>
                  </a:lnTo>
                  <a:cubicBezTo>
                    <a:pt x="60389" y="606933"/>
                    <a:pt x="60389" y="606171"/>
                    <a:pt x="60389" y="604838"/>
                  </a:cubicBezTo>
                  <a:close/>
                  <a:moveTo>
                    <a:pt x="61055" y="395669"/>
                  </a:moveTo>
                  <a:lnTo>
                    <a:pt x="62389" y="395669"/>
                  </a:lnTo>
                  <a:lnTo>
                    <a:pt x="62389" y="397002"/>
                  </a:lnTo>
                  <a:cubicBezTo>
                    <a:pt x="61055" y="397002"/>
                    <a:pt x="61055" y="395669"/>
                    <a:pt x="61055" y="395669"/>
                  </a:cubicBezTo>
                  <a:close/>
                  <a:moveTo>
                    <a:pt x="62484" y="399097"/>
                  </a:moveTo>
                  <a:lnTo>
                    <a:pt x="63818" y="399764"/>
                  </a:lnTo>
                  <a:cubicBezTo>
                    <a:pt x="63151" y="400431"/>
                    <a:pt x="63151" y="399764"/>
                    <a:pt x="63151" y="399764"/>
                  </a:cubicBezTo>
                  <a:lnTo>
                    <a:pt x="63151" y="400431"/>
                  </a:lnTo>
                  <a:lnTo>
                    <a:pt x="62484" y="399097"/>
                  </a:lnTo>
                  <a:close/>
                  <a:moveTo>
                    <a:pt x="66580" y="391573"/>
                  </a:moveTo>
                  <a:lnTo>
                    <a:pt x="67247" y="391573"/>
                  </a:lnTo>
                  <a:cubicBezTo>
                    <a:pt x="67247" y="392240"/>
                    <a:pt x="66580" y="393668"/>
                    <a:pt x="65913" y="393668"/>
                  </a:cubicBezTo>
                  <a:cubicBezTo>
                    <a:pt x="65913" y="393668"/>
                    <a:pt x="65246" y="393668"/>
                    <a:pt x="65246" y="392335"/>
                  </a:cubicBezTo>
                  <a:lnTo>
                    <a:pt x="63913" y="392335"/>
                  </a:lnTo>
                  <a:cubicBezTo>
                    <a:pt x="65246" y="391573"/>
                    <a:pt x="65913" y="391573"/>
                    <a:pt x="66580" y="391573"/>
                  </a:cubicBezTo>
                  <a:close/>
                  <a:moveTo>
                    <a:pt x="66580" y="394240"/>
                  </a:moveTo>
                  <a:lnTo>
                    <a:pt x="66580" y="395573"/>
                  </a:lnTo>
                  <a:cubicBezTo>
                    <a:pt x="66580" y="396240"/>
                    <a:pt x="65913" y="397669"/>
                    <a:pt x="64484" y="397669"/>
                  </a:cubicBezTo>
                  <a:cubicBezTo>
                    <a:pt x="64484" y="397669"/>
                    <a:pt x="63818" y="397669"/>
                    <a:pt x="63818" y="396335"/>
                  </a:cubicBezTo>
                  <a:cubicBezTo>
                    <a:pt x="63818" y="396335"/>
                    <a:pt x="64484" y="395002"/>
                    <a:pt x="66580" y="394240"/>
                  </a:cubicBezTo>
                  <a:close/>
                  <a:moveTo>
                    <a:pt x="65913" y="386048"/>
                  </a:moveTo>
                  <a:lnTo>
                    <a:pt x="66580" y="385382"/>
                  </a:lnTo>
                  <a:cubicBezTo>
                    <a:pt x="67247" y="386715"/>
                    <a:pt x="67913" y="386715"/>
                    <a:pt x="68675" y="386715"/>
                  </a:cubicBezTo>
                  <a:cubicBezTo>
                    <a:pt x="69437" y="386715"/>
                    <a:pt x="69342" y="386715"/>
                    <a:pt x="70009" y="386048"/>
                  </a:cubicBezTo>
                  <a:lnTo>
                    <a:pt x="70009" y="384715"/>
                  </a:lnTo>
                  <a:cubicBezTo>
                    <a:pt x="70676" y="386048"/>
                    <a:pt x="70676" y="386048"/>
                    <a:pt x="72104" y="386048"/>
                  </a:cubicBezTo>
                  <a:cubicBezTo>
                    <a:pt x="72104" y="387382"/>
                    <a:pt x="71438" y="386048"/>
                    <a:pt x="70009" y="388144"/>
                  </a:cubicBezTo>
                  <a:lnTo>
                    <a:pt x="70009" y="388811"/>
                  </a:lnTo>
                  <a:lnTo>
                    <a:pt x="72104" y="388811"/>
                  </a:lnTo>
                  <a:cubicBezTo>
                    <a:pt x="72104" y="388811"/>
                    <a:pt x="72104" y="390144"/>
                    <a:pt x="70771" y="390144"/>
                  </a:cubicBezTo>
                  <a:cubicBezTo>
                    <a:pt x="69437" y="390144"/>
                    <a:pt x="68009" y="387382"/>
                    <a:pt x="67342" y="387382"/>
                  </a:cubicBezTo>
                  <a:cubicBezTo>
                    <a:pt x="66675" y="387382"/>
                    <a:pt x="65246" y="388049"/>
                    <a:pt x="66008" y="388049"/>
                  </a:cubicBezTo>
                  <a:cubicBezTo>
                    <a:pt x="66008" y="388049"/>
                    <a:pt x="65341" y="388049"/>
                    <a:pt x="65341" y="387382"/>
                  </a:cubicBezTo>
                  <a:cubicBezTo>
                    <a:pt x="65341" y="386715"/>
                    <a:pt x="65246" y="386715"/>
                    <a:pt x="65913" y="386048"/>
                  </a:cubicBezTo>
                  <a:close/>
                  <a:moveTo>
                    <a:pt x="65913" y="381286"/>
                  </a:moveTo>
                  <a:cubicBezTo>
                    <a:pt x="65913" y="380619"/>
                    <a:pt x="65913" y="379190"/>
                    <a:pt x="66580" y="379190"/>
                  </a:cubicBezTo>
                  <a:cubicBezTo>
                    <a:pt x="67247" y="379190"/>
                    <a:pt x="67247" y="380524"/>
                    <a:pt x="67247" y="380524"/>
                  </a:cubicBezTo>
                  <a:cubicBezTo>
                    <a:pt x="67247" y="381191"/>
                    <a:pt x="67247" y="381857"/>
                    <a:pt x="66580" y="381857"/>
                  </a:cubicBezTo>
                  <a:cubicBezTo>
                    <a:pt x="65913" y="381857"/>
                    <a:pt x="65913" y="381953"/>
                    <a:pt x="65913" y="381286"/>
                  </a:cubicBezTo>
                  <a:close/>
                  <a:moveTo>
                    <a:pt x="74105" y="395669"/>
                  </a:moveTo>
                  <a:lnTo>
                    <a:pt x="75438" y="397002"/>
                  </a:lnTo>
                  <a:cubicBezTo>
                    <a:pt x="76105" y="397002"/>
                    <a:pt x="76772" y="396335"/>
                    <a:pt x="76772" y="395669"/>
                  </a:cubicBezTo>
                  <a:cubicBezTo>
                    <a:pt x="76772" y="395669"/>
                    <a:pt x="76105" y="395669"/>
                    <a:pt x="76105" y="394335"/>
                  </a:cubicBezTo>
                  <a:lnTo>
                    <a:pt x="75438" y="394335"/>
                  </a:lnTo>
                  <a:cubicBezTo>
                    <a:pt x="74771" y="394240"/>
                    <a:pt x="75533" y="395669"/>
                    <a:pt x="74105" y="395669"/>
                  </a:cubicBezTo>
                  <a:close/>
                  <a:moveTo>
                    <a:pt x="76200" y="380524"/>
                  </a:moveTo>
                  <a:cubicBezTo>
                    <a:pt x="76200" y="381191"/>
                    <a:pt x="77534" y="381191"/>
                    <a:pt x="77534" y="381857"/>
                  </a:cubicBezTo>
                  <a:cubicBezTo>
                    <a:pt x="77534" y="381857"/>
                    <a:pt x="77534" y="382524"/>
                    <a:pt x="76867" y="383191"/>
                  </a:cubicBezTo>
                  <a:lnTo>
                    <a:pt x="75533" y="384524"/>
                  </a:lnTo>
                  <a:lnTo>
                    <a:pt x="74867" y="383858"/>
                  </a:lnTo>
                  <a:cubicBezTo>
                    <a:pt x="74771" y="381953"/>
                    <a:pt x="75533" y="381286"/>
                    <a:pt x="76200" y="380524"/>
                  </a:cubicBezTo>
                  <a:close/>
                  <a:moveTo>
                    <a:pt x="76200" y="369570"/>
                  </a:moveTo>
                  <a:cubicBezTo>
                    <a:pt x="76200" y="369570"/>
                    <a:pt x="75533" y="368903"/>
                    <a:pt x="75533" y="368237"/>
                  </a:cubicBezTo>
                  <a:lnTo>
                    <a:pt x="76867" y="368237"/>
                  </a:lnTo>
                  <a:cubicBezTo>
                    <a:pt x="76867" y="368903"/>
                    <a:pt x="76867" y="369570"/>
                    <a:pt x="76200" y="369570"/>
                  </a:cubicBezTo>
                  <a:close/>
                  <a:moveTo>
                    <a:pt x="82391" y="371666"/>
                  </a:moveTo>
                  <a:lnTo>
                    <a:pt x="82391" y="372999"/>
                  </a:lnTo>
                  <a:lnTo>
                    <a:pt x="83058" y="374333"/>
                  </a:lnTo>
                  <a:cubicBezTo>
                    <a:pt x="83058" y="374333"/>
                    <a:pt x="82391" y="377762"/>
                    <a:pt x="80963" y="377762"/>
                  </a:cubicBezTo>
                  <a:cubicBezTo>
                    <a:pt x="80963" y="377762"/>
                    <a:pt x="80296" y="377762"/>
                    <a:pt x="79629" y="377095"/>
                  </a:cubicBezTo>
                  <a:lnTo>
                    <a:pt x="79629" y="379190"/>
                  </a:lnTo>
                  <a:cubicBezTo>
                    <a:pt x="79629" y="379857"/>
                    <a:pt x="79629" y="379857"/>
                    <a:pt x="78962" y="379857"/>
                  </a:cubicBezTo>
                  <a:cubicBezTo>
                    <a:pt x="76867" y="379857"/>
                    <a:pt x="76200" y="378524"/>
                    <a:pt x="76200" y="378524"/>
                  </a:cubicBezTo>
                  <a:cubicBezTo>
                    <a:pt x="76867" y="375761"/>
                    <a:pt x="80963" y="374428"/>
                    <a:pt x="82391" y="371666"/>
                  </a:cubicBezTo>
                  <a:close/>
                  <a:moveTo>
                    <a:pt x="80963" y="363379"/>
                  </a:moveTo>
                  <a:lnTo>
                    <a:pt x="80963" y="366141"/>
                  </a:lnTo>
                  <a:cubicBezTo>
                    <a:pt x="80296" y="366141"/>
                    <a:pt x="80296" y="364046"/>
                    <a:pt x="79629" y="364046"/>
                  </a:cubicBezTo>
                  <a:cubicBezTo>
                    <a:pt x="79629" y="364046"/>
                    <a:pt x="80296" y="364046"/>
                    <a:pt x="80296" y="363379"/>
                  </a:cubicBezTo>
                  <a:lnTo>
                    <a:pt x="80963" y="363379"/>
                  </a:lnTo>
                  <a:close/>
                  <a:moveTo>
                    <a:pt x="80963" y="363379"/>
                  </a:moveTo>
                  <a:cubicBezTo>
                    <a:pt x="80963" y="362712"/>
                    <a:pt x="80963" y="362045"/>
                    <a:pt x="81629" y="360617"/>
                  </a:cubicBezTo>
                  <a:cubicBezTo>
                    <a:pt x="81629" y="361283"/>
                    <a:pt x="82296" y="361283"/>
                    <a:pt x="82296" y="361283"/>
                  </a:cubicBezTo>
                  <a:cubicBezTo>
                    <a:pt x="83058" y="362045"/>
                    <a:pt x="80963" y="363379"/>
                    <a:pt x="80963" y="363379"/>
                  </a:cubicBezTo>
                  <a:close/>
                  <a:moveTo>
                    <a:pt x="86487" y="357949"/>
                  </a:moveTo>
                  <a:lnTo>
                    <a:pt x="85820" y="357283"/>
                  </a:lnTo>
                  <a:lnTo>
                    <a:pt x="86487" y="357283"/>
                  </a:lnTo>
                  <a:cubicBezTo>
                    <a:pt x="87154" y="356616"/>
                    <a:pt x="87154" y="355187"/>
                    <a:pt x="87154" y="354521"/>
                  </a:cubicBezTo>
                  <a:cubicBezTo>
                    <a:pt x="86487" y="353854"/>
                    <a:pt x="86487" y="353854"/>
                    <a:pt x="86487" y="353187"/>
                  </a:cubicBezTo>
                  <a:cubicBezTo>
                    <a:pt x="86487" y="353187"/>
                    <a:pt x="86487" y="352520"/>
                    <a:pt x="87154" y="352520"/>
                  </a:cubicBezTo>
                  <a:cubicBezTo>
                    <a:pt x="87821" y="352520"/>
                    <a:pt x="88487" y="353187"/>
                    <a:pt x="89249" y="353187"/>
                  </a:cubicBezTo>
                  <a:cubicBezTo>
                    <a:pt x="89249" y="353187"/>
                    <a:pt x="89916" y="350425"/>
                    <a:pt x="89916" y="351092"/>
                  </a:cubicBezTo>
                  <a:cubicBezTo>
                    <a:pt x="94012" y="348996"/>
                    <a:pt x="92678" y="347663"/>
                    <a:pt x="94012" y="347663"/>
                  </a:cubicBezTo>
                  <a:cubicBezTo>
                    <a:pt x="94012" y="347663"/>
                    <a:pt x="94678" y="348329"/>
                    <a:pt x="95345" y="348329"/>
                  </a:cubicBezTo>
                  <a:cubicBezTo>
                    <a:pt x="96012" y="346234"/>
                    <a:pt x="96012" y="346234"/>
                    <a:pt x="96679" y="346234"/>
                  </a:cubicBezTo>
                  <a:lnTo>
                    <a:pt x="96679" y="348996"/>
                  </a:lnTo>
                  <a:cubicBezTo>
                    <a:pt x="96679" y="349663"/>
                    <a:pt x="96012" y="350330"/>
                    <a:pt x="95345" y="351092"/>
                  </a:cubicBezTo>
                  <a:lnTo>
                    <a:pt x="92583" y="352425"/>
                  </a:lnTo>
                  <a:cubicBezTo>
                    <a:pt x="92583" y="351092"/>
                    <a:pt x="89154" y="357188"/>
                    <a:pt x="89154" y="357188"/>
                  </a:cubicBezTo>
                  <a:cubicBezTo>
                    <a:pt x="87821" y="357283"/>
                    <a:pt x="87154" y="357949"/>
                    <a:pt x="86487" y="357949"/>
                  </a:cubicBezTo>
                  <a:close/>
                  <a:moveTo>
                    <a:pt x="87154" y="416909"/>
                  </a:moveTo>
                  <a:cubicBezTo>
                    <a:pt x="87154" y="419672"/>
                    <a:pt x="86487" y="420338"/>
                    <a:pt x="86487" y="421005"/>
                  </a:cubicBezTo>
                  <a:lnTo>
                    <a:pt x="85820" y="420338"/>
                  </a:lnTo>
                  <a:cubicBezTo>
                    <a:pt x="85820" y="419672"/>
                    <a:pt x="86487" y="418243"/>
                    <a:pt x="87154" y="416909"/>
                  </a:cubicBezTo>
                  <a:close/>
                  <a:moveTo>
                    <a:pt x="89916" y="412814"/>
                  </a:moveTo>
                  <a:cubicBezTo>
                    <a:pt x="90583" y="412814"/>
                    <a:pt x="90583" y="413480"/>
                    <a:pt x="90583" y="413480"/>
                  </a:cubicBezTo>
                  <a:lnTo>
                    <a:pt x="90583" y="414147"/>
                  </a:lnTo>
                  <a:cubicBezTo>
                    <a:pt x="89916" y="415481"/>
                    <a:pt x="87821" y="416243"/>
                    <a:pt x="87154" y="416909"/>
                  </a:cubicBezTo>
                  <a:cubicBezTo>
                    <a:pt x="87154" y="415576"/>
                    <a:pt x="87821" y="414814"/>
                    <a:pt x="87821" y="413480"/>
                  </a:cubicBezTo>
                  <a:cubicBezTo>
                    <a:pt x="88487" y="413480"/>
                    <a:pt x="89249" y="412814"/>
                    <a:pt x="89916" y="412814"/>
                  </a:cubicBezTo>
                  <a:close/>
                  <a:moveTo>
                    <a:pt x="100870" y="357949"/>
                  </a:moveTo>
                  <a:cubicBezTo>
                    <a:pt x="100203" y="357949"/>
                    <a:pt x="99536" y="357949"/>
                    <a:pt x="98774" y="358616"/>
                  </a:cubicBezTo>
                  <a:cubicBezTo>
                    <a:pt x="99441" y="359283"/>
                    <a:pt x="101537" y="359950"/>
                    <a:pt x="102203" y="359950"/>
                  </a:cubicBezTo>
                  <a:cubicBezTo>
                    <a:pt x="102203" y="359950"/>
                    <a:pt x="102870" y="359950"/>
                    <a:pt x="102870" y="359283"/>
                  </a:cubicBezTo>
                  <a:lnTo>
                    <a:pt x="102870" y="358616"/>
                  </a:lnTo>
                  <a:cubicBezTo>
                    <a:pt x="101537" y="357949"/>
                    <a:pt x="101537" y="357949"/>
                    <a:pt x="100870" y="357949"/>
                  </a:cubicBezTo>
                  <a:close/>
                  <a:moveTo>
                    <a:pt x="102203" y="356521"/>
                  </a:moveTo>
                  <a:lnTo>
                    <a:pt x="102870" y="356521"/>
                  </a:lnTo>
                  <a:cubicBezTo>
                    <a:pt x="106299" y="356521"/>
                    <a:pt x="104965" y="352425"/>
                    <a:pt x="106966" y="352425"/>
                  </a:cubicBezTo>
                  <a:lnTo>
                    <a:pt x="108299" y="350330"/>
                  </a:lnTo>
                  <a:cubicBezTo>
                    <a:pt x="108966" y="350330"/>
                    <a:pt x="108966" y="348996"/>
                    <a:pt x="108966" y="348996"/>
                  </a:cubicBezTo>
                  <a:lnTo>
                    <a:pt x="108299" y="348996"/>
                  </a:lnTo>
                  <a:cubicBezTo>
                    <a:pt x="108299" y="348996"/>
                    <a:pt x="103537" y="351092"/>
                    <a:pt x="102108" y="354521"/>
                  </a:cubicBezTo>
                  <a:lnTo>
                    <a:pt x="102108" y="356521"/>
                  </a:lnTo>
                  <a:close/>
                  <a:moveTo>
                    <a:pt x="102965" y="341471"/>
                  </a:moveTo>
                  <a:cubicBezTo>
                    <a:pt x="102965" y="340805"/>
                    <a:pt x="103632" y="339376"/>
                    <a:pt x="104299" y="338709"/>
                  </a:cubicBezTo>
                  <a:lnTo>
                    <a:pt x="104299" y="340805"/>
                  </a:lnTo>
                  <a:cubicBezTo>
                    <a:pt x="104299" y="341471"/>
                    <a:pt x="103632" y="342138"/>
                    <a:pt x="102965" y="342138"/>
                  </a:cubicBezTo>
                  <a:lnTo>
                    <a:pt x="102965" y="341471"/>
                  </a:lnTo>
                  <a:close/>
                  <a:moveTo>
                    <a:pt x="110490" y="335280"/>
                  </a:moveTo>
                  <a:lnTo>
                    <a:pt x="108395" y="334613"/>
                  </a:lnTo>
                  <a:cubicBezTo>
                    <a:pt x="108395" y="331184"/>
                    <a:pt x="111824" y="329851"/>
                    <a:pt x="114586" y="327755"/>
                  </a:cubicBezTo>
                  <a:lnTo>
                    <a:pt x="115253" y="327755"/>
                  </a:lnTo>
                  <a:cubicBezTo>
                    <a:pt x="114586" y="330518"/>
                    <a:pt x="114586" y="331851"/>
                    <a:pt x="112490" y="332518"/>
                  </a:cubicBezTo>
                  <a:lnTo>
                    <a:pt x="110490" y="335280"/>
                  </a:lnTo>
                  <a:close/>
                  <a:moveTo>
                    <a:pt x="112490" y="93917"/>
                  </a:moveTo>
                  <a:cubicBezTo>
                    <a:pt x="114586" y="91821"/>
                    <a:pt x="115919" y="91821"/>
                    <a:pt x="115919" y="91154"/>
                  </a:cubicBezTo>
                  <a:lnTo>
                    <a:pt x="114586" y="91154"/>
                  </a:lnTo>
                  <a:cubicBezTo>
                    <a:pt x="112490" y="91154"/>
                    <a:pt x="112490" y="91821"/>
                    <a:pt x="112490" y="93917"/>
                  </a:cubicBezTo>
                  <a:close/>
                  <a:moveTo>
                    <a:pt x="115919" y="90488"/>
                  </a:moveTo>
                  <a:cubicBezTo>
                    <a:pt x="116586" y="90488"/>
                    <a:pt x="117253" y="90488"/>
                    <a:pt x="117253" y="89821"/>
                  </a:cubicBezTo>
                  <a:cubicBezTo>
                    <a:pt x="117253" y="89154"/>
                    <a:pt x="116586" y="89154"/>
                    <a:pt x="115919" y="87725"/>
                  </a:cubicBezTo>
                  <a:lnTo>
                    <a:pt x="115919" y="90488"/>
                  </a:lnTo>
                  <a:close/>
                  <a:moveTo>
                    <a:pt x="115919" y="342805"/>
                  </a:moveTo>
                  <a:lnTo>
                    <a:pt x="115919" y="344138"/>
                  </a:lnTo>
                  <a:lnTo>
                    <a:pt x="116586" y="344805"/>
                  </a:lnTo>
                  <a:cubicBezTo>
                    <a:pt x="117253" y="344805"/>
                    <a:pt x="117253" y="344138"/>
                    <a:pt x="117253" y="344138"/>
                  </a:cubicBezTo>
                  <a:lnTo>
                    <a:pt x="117253" y="343472"/>
                  </a:lnTo>
                  <a:cubicBezTo>
                    <a:pt x="117253" y="344138"/>
                    <a:pt x="119348" y="338709"/>
                    <a:pt x="124778" y="338709"/>
                  </a:cubicBezTo>
                  <a:lnTo>
                    <a:pt x="124111" y="337376"/>
                  </a:lnTo>
                  <a:cubicBezTo>
                    <a:pt x="122777" y="336042"/>
                    <a:pt x="121349" y="336042"/>
                    <a:pt x="121349" y="336042"/>
                  </a:cubicBezTo>
                  <a:cubicBezTo>
                    <a:pt x="119253" y="337376"/>
                    <a:pt x="119253" y="340805"/>
                    <a:pt x="116586" y="340805"/>
                  </a:cubicBezTo>
                  <a:cubicBezTo>
                    <a:pt x="115919" y="341471"/>
                    <a:pt x="115919" y="342138"/>
                    <a:pt x="115919" y="342805"/>
                  </a:cubicBezTo>
                  <a:close/>
                  <a:moveTo>
                    <a:pt x="119348" y="326422"/>
                  </a:moveTo>
                  <a:cubicBezTo>
                    <a:pt x="119348" y="326422"/>
                    <a:pt x="118682" y="326422"/>
                    <a:pt x="118682" y="325755"/>
                  </a:cubicBezTo>
                  <a:lnTo>
                    <a:pt x="119348" y="325755"/>
                  </a:lnTo>
                  <a:lnTo>
                    <a:pt x="119348" y="326422"/>
                  </a:lnTo>
                  <a:close/>
                  <a:moveTo>
                    <a:pt x="122111" y="323660"/>
                  </a:moveTo>
                  <a:lnTo>
                    <a:pt x="121444" y="322993"/>
                  </a:lnTo>
                  <a:cubicBezTo>
                    <a:pt x="122111" y="321659"/>
                    <a:pt x="125540" y="318897"/>
                    <a:pt x="126206" y="318897"/>
                  </a:cubicBezTo>
                  <a:cubicBezTo>
                    <a:pt x="126206" y="320993"/>
                    <a:pt x="125540" y="322326"/>
                    <a:pt x="124873" y="324422"/>
                  </a:cubicBezTo>
                  <a:cubicBezTo>
                    <a:pt x="124206" y="324326"/>
                    <a:pt x="124206" y="324326"/>
                    <a:pt x="122111" y="323660"/>
                  </a:cubicBezTo>
                  <a:close/>
                  <a:moveTo>
                    <a:pt x="242126" y="82868"/>
                  </a:moveTo>
                  <a:lnTo>
                    <a:pt x="238030" y="82868"/>
                  </a:lnTo>
                  <a:cubicBezTo>
                    <a:pt x="235934" y="82868"/>
                    <a:pt x="235934" y="82201"/>
                    <a:pt x="235268" y="78772"/>
                  </a:cubicBezTo>
                  <a:cubicBezTo>
                    <a:pt x="235268" y="80105"/>
                    <a:pt x="224981" y="69818"/>
                    <a:pt x="224981" y="65723"/>
                  </a:cubicBezTo>
                  <a:cubicBezTo>
                    <a:pt x="224981" y="63627"/>
                    <a:pt x="224981" y="62960"/>
                    <a:pt x="226314" y="61627"/>
                  </a:cubicBezTo>
                  <a:cubicBezTo>
                    <a:pt x="226314" y="60293"/>
                    <a:pt x="224981" y="59531"/>
                    <a:pt x="224981" y="58198"/>
                  </a:cubicBezTo>
                  <a:cubicBezTo>
                    <a:pt x="224981" y="57531"/>
                    <a:pt x="224981" y="56864"/>
                    <a:pt x="225647" y="56102"/>
                  </a:cubicBezTo>
                  <a:cubicBezTo>
                    <a:pt x="225647" y="56102"/>
                    <a:pt x="224981" y="55435"/>
                    <a:pt x="224981" y="54769"/>
                  </a:cubicBezTo>
                  <a:cubicBezTo>
                    <a:pt x="224981" y="54102"/>
                    <a:pt x="225647" y="54102"/>
                    <a:pt x="226314" y="53435"/>
                  </a:cubicBezTo>
                  <a:cubicBezTo>
                    <a:pt x="225647" y="50673"/>
                    <a:pt x="223552" y="47244"/>
                    <a:pt x="222885" y="45244"/>
                  </a:cubicBezTo>
                  <a:cubicBezTo>
                    <a:pt x="222885" y="44577"/>
                    <a:pt x="223552" y="43148"/>
                    <a:pt x="223552" y="43148"/>
                  </a:cubicBezTo>
                  <a:cubicBezTo>
                    <a:pt x="222885" y="41053"/>
                    <a:pt x="222885" y="38386"/>
                    <a:pt x="221456" y="36957"/>
                  </a:cubicBezTo>
                  <a:lnTo>
                    <a:pt x="220123" y="32861"/>
                  </a:lnTo>
                  <a:cubicBezTo>
                    <a:pt x="219456" y="32195"/>
                    <a:pt x="218789" y="32195"/>
                    <a:pt x="218027" y="32195"/>
                  </a:cubicBezTo>
                  <a:cubicBezTo>
                    <a:pt x="211836" y="32195"/>
                    <a:pt x="213932" y="36290"/>
                    <a:pt x="207074" y="39719"/>
                  </a:cubicBezTo>
                  <a:lnTo>
                    <a:pt x="207074" y="38386"/>
                  </a:lnTo>
                  <a:cubicBezTo>
                    <a:pt x="207740" y="38386"/>
                    <a:pt x="208407" y="38386"/>
                    <a:pt x="208407" y="37719"/>
                  </a:cubicBezTo>
                  <a:cubicBezTo>
                    <a:pt x="204978" y="37719"/>
                    <a:pt x="196786" y="45910"/>
                    <a:pt x="196786" y="49340"/>
                  </a:cubicBezTo>
                  <a:lnTo>
                    <a:pt x="197453" y="49340"/>
                  </a:lnTo>
                  <a:cubicBezTo>
                    <a:pt x="198787" y="50673"/>
                    <a:pt x="198787" y="51435"/>
                    <a:pt x="198787" y="51435"/>
                  </a:cubicBezTo>
                  <a:lnTo>
                    <a:pt x="195358" y="50768"/>
                  </a:lnTo>
                  <a:lnTo>
                    <a:pt x="191929" y="54197"/>
                  </a:lnTo>
                  <a:cubicBezTo>
                    <a:pt x="190595" y="54197"/>
                    <a:pt x="189833" y="53531"/>
                    <a:pt x="189833" y="53531"/>
                  </a:cubicBezTo>
                  <a:cubicBezTo>
                    <a:pt x="189833" y="55626"/>
                    <a:pt x="183642" y="59722"/>
                    <a:pt x="183642" y="65151"/>
                  </a:cubicBezTo>
                  <a:lnTo>
                    <a:pt x="184309" y="68580"/>
                  </a:lnTo>
                  <a:cubicBezTo>
                    <a:pt x="184309" y="68580"/>
                    <a:pt x="183642" y="68580"/>
                    <a:pt x="182213" y="67247"/>
                  </a:cubicBezTo>
                  <a:lnTo>
                    <a:pt x="181547" y="65151"/>
                  </a:lnTo>
                  <a:cubicBezTo>
                    <a:pt x="181547" y="73343"/>
                    <a:pt x="180213" y="70676"/>
                    <a:pt x="180213" y="74105"/>
                  </a:cubicBezTo>
                  <a:cubicBezTo>
                    <a:pt x="179546" y="74771"/>
                    <a:pt x="179546" y="73438"/>
                    <a:pt x="179546" y="73438"/>
                  </a:cubicBezTo>
                  <a:lnTo>
                    <a:pt x="178880" y="73438"/>
                  </a:lnTo>
                  <a:lnTo>
                    <a:pt x="178880" y="74105"/>
                  </a:lnTo>
                  <a:cubicBezTo>
                    <a:pt x="178880" y="78200"/>
                    <a:pt x="174784" y="78200"/>
                    <a:pt x="175451" y="78867"/>
                  </a:cubicBezTo>
                  <a:lnTo>
                    <a:pt x="174784" y="78200"/>
                  </a:lnTo>
                  <a:lnTo>
                    <a:pt x="174117" y="78200"/>
                  </a:lnTo>
                  <a:lnTo>
                    <a:pt x="174117" y="79534"/>
                  </a:lnTo>
                  <a:cubicBezTo>
                    <a:pt x="172784" y="80201"/>
                    <a:pt x="172022" y="80201"/>
                    <a:pt x="172022" y="80867"/>
                  </a:cubicBezTo>
                  <a:cubicBezTo>
                    <a:pt x="172688" y="82963"/>
                    <a:pt x="173355" y="83630"/>
                    <a:pt x="173355" y="83630"/>
                  </a:cubicBezTo>
                  <a:lnTo>
                    <a:pt x="172022" y="83630"/>
                  </a:lnTo>
                  <a:lnTo>
                    <a:pt x="172022" y="82296"/>
                  </a:lnTo>
                  <a:lnTo>
                    <a:pt x="171545" y="81534"/>
                  </a:lnTo>
                  <a:cubicBezTo>
                    <a:pt x="164687" y="84296"/>
                    <a:pt x="170879" y="89726"/>
                    <a:pt x="161258" y="93917"/>
                  </a:cubicBezTo>
                  <a:lnTo>
                    <a:pt x="164021" y="97346"/>
                  </a:lnTo>
                  <a:lnTo>
                    <a:pt x="163354" y="97346"/>
                  </a:lnTo>
                  <a:cubicBezTo>
                    <a:pt x="162687" y="97346"/>
                    <a:pt x="162687" y="98679"/>
                    <a:pt x="162687" y="98679"/>
                  </a:cubicBezTo>
                  <a:lnTo>
                    <a:pt x="158591" y="104204"/>
                  </a:lnTo>
                  <a:cubicBezTo>
                    <a:pt x="157925" y="104204"/>
                    <a:pt x="154496" y="108966"/>
                    <a:pt x="154496" y="110395"/>
                  </a:cubicBezTo>
                  <a:lnTo>
                    <a:pt x="153829" y="109728"/>
                  </a:lnTo>
                  <a:lnTo>
                    <a:pt x="153162" y="110395"/>
                  </a:lnTo>
                  <a:cubicBezTo>
                    <a:pt x="153162" y="110395"/>
                    <a:pt x="152495" y="110395"/>
                    <a:pt x="152495" y="109728"/>
                  </a:cubicBezTo>
                  <a:lnTo>
                    <a:pt x="152495" y="114491"/>
                  </a:lnTo>
                  <a:lnTo>
                    <a:pt x="149733" y="115157"/>
                  </a:lnTo>
                  <a:cubicBezTo>
                    <a:pt x="149733" y="116491"/>
                    <a:pt x="146304" y="117920"/>
                    <a:pt x="145637" y="119253"/>
                  </a:cubicBezTo>
                  <a:lnTo>
                    <a:pt x="145637" y="120587"/>
                  </a:lnTo>
                  <a:cubicBezTo>
                    <a:pt x="145637" y="121253"/>
                    <a:pt x="145637" y="121253"/>
                    <a:pt x="146304" y="121920"/>
                  </a:cubicBezTo>
                  <a:lnTo>
                    <a:pt x="147638" y="122587"/>
                  </a:lnTo>
                  <a:cubicBezTo>
                    <a:pt x="146304" y="123920"/>
                    <a:pt x="146304" y="126016"/>
                    <a:pt x="145542" y="126683"/>
                  </a:cubicBezTo>
                  <a:lnTo>
                    <a:pt x="142780" y="126683"/>
                  </a:lnTo>
                  <a:cubicBezTo>
                    <a:pt x="143447" y="128778"/>
                    <a:pt x="143447" y="128778"/>
                    <a:pt x="143447" y="130112"/>
                  </a:cubicBezTo>
                  <a:cubicBezTo>
                    <a:pt x="139351" y="130112"/>
                    <a:pt x="140684" y="130112"/>
                    <a:pt x="135255" y="147923"/>
                  </a:cubicBezTo>
                  <a:lnTo>
                    <a:pt x="135255" y="152686"/>
                  </a:lnTo>
                  <a:cubicBezTo>
                    <a:pt x="132493" y="154019"/>
                    <a:pt x="124301" y="178022"/>
                    <a:pt x="124301" y="197263"/>
                  </a:cubicBezTo>
                  <a:lnTo>
                    <a:pt x="124301" y="201359"/>
                  </a:lnTo>
                  <a:cubicBezTo>
                    <a:pt x="124301" y="203454"/>
                    <a:pt x="124301" y="204788"/>
                    <a:pt x="125635" y="206883"/>
                  </a:cubicBezTo>
                  <a:lnTo>
                    <a:pt x="127730" y="207550"/>
                  </a:lnTo>
                  <a:cubicBezTo>
                    <a:pt x="129064" y="207550"/>
                    <a:pt x="128397" y="204121"/>
                    <a:pt x="134588" y="204121"/>
                  </a:cubicBezTo>
                  <a:cubicBezTo>
                    <a:pt x="134588" y="203454"/>
                    <a:pt x="134588" y="200025"/>
                    <a:pt x="135255" y="200025"/>
                  </a:cubicBezTo>
                  <a:cubicBezTo>
                    <a:pt x="135922" y="200692"/>
                    <a:pt x="137351" y="201359"/>
                    <a:pt x="140780" y="201359"/>
                  </a:cubicBezTo>
                  <a:lnTo>
                    <a:pt x="138684" y="200025"/>
                  </a:lnTo>
                  <a:cubicBezTo>
                    <a:pt x="138684" y="200692"/>
                    <a:pt x="139351" y="196596"/>
                    <a:pt x="145542" y="192500"/>
                  </a:cubicBezTo>
                  <a:cubicBezTo>
                    <a:pt x="146209" y="192500"/>
                    <a:pt x="146876" y="193167"/>
                    <a:pt x="148304" y="194596"/>
                  </a:cubicBezTo>
                  <a:lnTo>
                    <a:pt x="148971" y="194596"/>
                  </a:lnTo>
                  <a:cubicBezTo>
                    <a:pt x="150305" y="193262"/>
                    <a:pt x="149638" y="189833"/>
                    <a:pt x="150305" y="189833"/>
                  </a:cubicBezTo>
                  <a:lnTo>
                    <a:pt x="149638" y="187071"/>
                  </a:lnTo>
                  <a:lnTo>
                    <a:pt x="150971" y="187071"/>
                  </a:lnTo>
                  <a:cubicBezTo>
                    <a:pt x="154400" y="187071"/>
                    <a:pt x="157829" y="174689"/>
                    <a:pt x="172879" y="168593"/>
                  </a:cubicBezTo>
                  <a:lnTo>
                    <a:pt x="172879" y="165830"/>
                  </a:lnTo>
                  <a:lnTo>
                    <a:pt x="176308" y="161735"/>
                  </a:lnTo>
                  <a:lnTo>
                    <a:pt x="176975" y="161068"/>
                  </a:lnTo>
                  <a:cubicBezTo>
                    <a:pt x="179737" y="158972"/>
                    <a:pt x="181070" y="158306"/>
                    <a:pt x="185166" y="154210"/>
                  </a:cubicBezTo>
                  <a:lnTo>
                    <a:pt x="186500" y="152876"/>
                  </a:lnTo>
                  <a:cubicBezTo>
                    <a:pt x="187166" y="152876"/>
                    <a:pt x="187833" y="151543"/>
                    <a:pt x="187833" y="150781"/>
                  </a:cubicBezTo>
                  <a:cubicBezTo>
                    <a:pt x="187166" y="150114"/>
                    <a:pt x="187166" y="149447"/>
                    <a:pt x="187166" y="148685"/>
                  </a:cubicBezTo>
                  <a:cubicBezTo>
                    <a:pt x="187166" y="147352"/>
                    <a:pt x="191262" y="145256"/>
                    <a:pt x="194024" y="145256"/>
                  </a:cubicBezTo>
                  <a:lnTo>
                    <a:pt x="194024" y="142494"/>
                  </a:lnTo>
                  <a:cubicBezTo>
                    <a:pt x="194024" y="141827"/>
                    <a:pt x="194691" y="141161"/>
                    <a:pt x="196120" y="139732"/>
                  </a:cubicBezTo>
                  <a:lnTo>
                    <a:pt x="196786" y="139065"/>
                  </a:lnTo>
                  <a:cubicBezTo>
                    <a:pt x="198882" y="134303"/>
                    <a:pt x="202978" y="134969"/>
                    <a:pt x="202978" y="132207"/>
                  </a:cubicBezTo>
                  <a:lnTo>
                    <a:pt x="202978" y="130112"/>
                  </a:lnTo>
                  <a:cubicBezTo>
                    <a:pt x="203645" y="127349"/>
                    <a:pt x="208502" y="126683"/>
                    <a:pt x="208502" y="123254"/>
                  </a:cubicBezTo>
                  <a:cubicBezTo>
                    <a:pt x="216027" y="123254"/>
                    <a:pt x="209169" y="105442"/>
                    <a:pt x="230410" y="103346"/>
                  </a:cubicBezTo>
                  <a:lnTo>
                    <a:pt x="229743" y="102680"/>
                  </a:lnTo>
                  <a:cubicBezTo>
                    <a:pt x="229743" y="101346"/>
                    <a:pt x="231077" y="95822"/>
                    <a:pt x="235934" y="95822"/>
                  </a:cubicBezTo>
                  <a:lnTo>
                    <a:pt x="235268" y="91726"/>
                  </a:lnTo>
                  <a:cubicBezTo>
                    <a:pt x="235268" y="92393"/>
                    <a:pt x="235268" y="90392"/>
                    <a:pt x="238030" y="94488"/>
                  </a:cubicBezTo>
                  <a:lnTo>
                    <a:pt x="238697" y="95155"/>
                  </a:lnTo>
                  <a:cubicBezTo>
                    <a:pt x="238030" y="95822"/>
                    <a:pt x="237363" y="95822"/>
                    <a:pt x="237363" y="96488"/>
                  </a:cubicBezTo>
                  <a:lnTo>
                    <a:pt x="237363" y="97822"/>
                  </a:lnTo>
                  <a:cubicBezTo>
                    <a:pt x="239459" y="97155"/>
                    <a:pt x="239459" y="95726"/>
                    <a:pt x="240792" y="94393"/>
                  </a:cubicBezTo>
                  <a:cubicBezTo>
                    <a:pt x="240125" y="91631"/>
                    <a:pt x="239459" y="91631"/>
                    <a:pt x="238697" y="91631"/>
                  </a:cubicBezTo>
                  <a:lnTo>
                    <a:pt x="238030" y="91631"/>
                  </a:lnTo>
                  <a:cubicBezTo>
                    <a:pt x="238030" y="91631"/>
                    <a:pt x="237363" y="91631"/>
                    <a:pt x="237363" y="90964"/>
                  </a:cubicBezTo>
                  <a:cubicBezTo>
                    <a:pt x="236696" y="90964"/>
                    <a:pt x="236696" y="90297"/>
                    <a:pt x="236696" y="90297"/>
                  </a:cubicBezTo>
                  <a:cubicBezTo>
                    <a:pt x="240125" y="88202"/>
                    <a:pt x="242221" y="86868"/>
                    <a:pt x="242221" y="83439"/>
                  </a:cubicBezTo>
                  <a:lnTo>
                    <a:pt x="242221" y="82868"/>
                  </a:lnTo>
                  <a:close/>
                  <a:moveTo>
                    <a:pt x="129635" y="318802"/>
                  </a:moveTo>
                  <a:lnTo>
                    <a:pt x="127540" y="318802"/>
                  </a:lnTo>
                  <a:cubicBezTo>
                    <a:pt x="127540" y="316706"/>
                    <a:pt x="128207" y="316040"/>
                    <a:pt x="128873" y="316040"/>
                  </a:cubicBezTo>
                  <a:lnTo>
                    <a:pt x="129540" y="316040"/>
                  </a:lnTo>
                  <a:cubicBezTo>
                    <a:pt x="129540" y="316040"/>
                    <a:pt x="134303" y="309848"/>
                    <a:pt x="140494" y="307848"/>
                  </a:cubicBezTo>
                  <a:lnTo>
                    <a:pt x="141161" y="308515"/>
                  </a:lnTo>
                  <a:cubicBezTo>
                    <a:pt x="137732" y="314706"/>
                    <a:pt x="134303" y="309848"/>
                    <a:pt x="130874" y="317468"/>
                  </a:cubicBezTo>
                  <a:cubicBezTo>
                    <a:pt x="131064" y="318802"/>
                    <a:pt x="130397" y="318802"/>
                    <a:pt x="129635" y="318802"/>
                  </a:cubicBezTo>
                  <a:close/>
                  <a:moveTo>
                    <a:pt x="128969" y="331851"/>
                  </a:moveTo>
                  <a:lnTo>
                    <a:pt x="130302" y="332518"/>
                  </a:lnTo>
                  <a:cubicBezTo>
                    <a:pt x="130969" y="329756"/>
                    <a:pt x="137160" y="331184"/>
                    <a:pt x="137160" y="326326"/>
                  </a:cubicBezTo>
                  <a:lnTo>
                    <a:pt x="137160" y="325660"/>
                  </a:lnTo>
                  <a:cubicBezTo>
                    <a:pt x="135065" y="325660"/>
                    <a:pt x="134398" y="325660"/>
                    <a:pt x="132398" y="326326"/>
                  </a:cubicBezTo>
                  <a:cubicBezTo>
                    <a:pt x="131731" y="327755"/>
                    <a:pt x="131064" y="329851"/>
                    <a:pt x="128969" y="331851"/>
                  </a:cubicBezTo>
                  <a:close/>
                  <a:moveTo>
                    <a:pt x="144113" y="318802"/>
                  </a:moveTo>
                  <a:cubicBezTo>
                    <a:pt x="144113" y="318802"/>
                    <a:pt x="143447" y="318802"/>
                    <a:pt x="143447" y="319469"/>
                  </a:cubicBezTo>
                  <a:cubicBezTo>
                    <a:pt x="143351" y="319564"/>
                    <a:pt x="144113" y="319564"/>
                    <a:pt x="144113" y="318802"/>
                  </a:cubicBezTo>
                  <a:close/>
                  <a:moveTo>
                    <a:pt x="144113" y="318135"/>
                  </a:moveTo>
                  <a:cubicBezTo>
                    <a:pt x="144780" y="318135"/>
                    <a:pt x="146209" y="319469"/>
                    <a:pt x="146209" y="319469"/>
                  </a:cubicBezTo>
                  <a:cubicBezTo>
                    <a:pt x="147542" y="316706"/>
                    <a:pt x="150305" y="315373"/>
                    <a:pt x="154400" y="313277"/>
                  </a:cubicBezTo>
                  <a:lnTo>
                    <a:pt x="154400" y="311944"/>
                  </a:lnTo>
                  <a:cubicBezTo>
                    <a:pt x="151638" y="312611"/>
                    <a:pt x="150305" y="314706"/>
                    <a:pt x="147542" y="315373"/>
                  </a:cubicBezTo>
                  <a:cubicBezTo>
                    <a:pt x="146114" y="316135"/>
                    <a:pt x="144113" y="316135"/>
                    <a:pt x="144113" y="318135"/>
                  </a:cubicBezTo>
                  <a:close/>
                  <a:moveTo>
                    <a:pt x="164687" y="292799"/>
                  </a:moveTo>
                  <a:cubicBezTo>
                    <a:pt x="164021" y="292799"/>
                    <a:pt x="164021" y="292799"/>
                    <a:pt x="164021" y="292132"/>
                  </a:cubicBezTo>
                  <a:cubicBezTo>
                    <a:pt x="162687" y="293465"/>
                    <a:pt x="156496" y="294894"/>
                    <a:pt x="156496" y="298323"/>
                  </a:cubicBezTo>
                  <a:lnTo>
                    <a:pt x="155162" y="298323"/>
                  </a:lnTo>
                  <a:lnTo>
                    <a:pt x="155162" y="294894"/>
                  </a:lnTo>
                  <a:cubicBezTo>
                    <a:pt x="156496" y="294894"/>
                    <a:pt x="157258" y="292132"/>
                    <a:pt x="159258" y="292132"/>
                  </a:cubicBezTo>
                  <a:lnTo>
                    <a:pt x="159258" y="291465"/>
                  </a:lnTo>
                  <a:cubicBezTo>
                    <a:pt x="162687" y="291465"/>
                    <a:pt x="164021" y="288703"/>
                    <a:pt x="166116" y="287369"/>
                  </a:cubicBezTo>
                  <a:lnTo>
                    <a:pt x="168211" y="287369"/>
                  </a:lnTo>
                  <a:cubicBezTo>
                    <a:pt x="166687" y="291370"/>
                    <a:pt x="166021" y="291370"/>
                    <a:pt x="164687" y="292799"/>
                  </a:cubicBezTo>
                  <a:close/>
                  <a:moveTo>
                    <a:pt x="158496" y="307181"/>
                  </a:moveTo>
                  <a:lnTo>
                    <a:pt x="157829" y="307848"/>
                  </a:lnTo>
                  <a:lnTo>
                    <a:pt x="159925" y="309182"/>
                  </a:lnTo>
                  <a:lnTo>
                    <a:pt x="159925" y="308515"/>
                  </a:lnTo>
                  <a:lnTo>
                    <a:pt x="158496" y="307181"/>
                  </a:lnTo>
                  <a:close/>
                  <a:moveTo>
                    <a:pt x="169450" y="287941"/>
                  </a:moveTo>
                  <a:lnTo>
                    <a:pt x="169450" y="287274"/>
                  </a:lnTo>
                  <a:lnTo>
                    <a:pt x="170117" y="287941"/>
                  </a:lnTo>
                  <a:lnTo>
                    <a:pt x="169450" y="287941"/>
                  </a:lnTo>
                  <a:close/>
                  <a:moveTo>
                    <a:pt x="172212" y="299657"/>
                  </a:moveTo>
                  <a:cubicBezTo>
                    <a:pt x="172879" y="299657"/>
                    <a:pt x="173546" y="298990"/>
                    <a:pt x="173546" y="298323"/>
                  </a:cubicBezTo>
                  <a:cubicBezTo>
                    <a:pt x="173546" y="298323"/>
                    <a:pt x="173546" y="297656"/>
                    <a:pt x="172879" y="297656"/>
                  </a:cubicBezTo>
                  <a:cubicBezTo>
                    <a:pt x="172879" y="297656"/>
                    <a:pt x="170783" y="297656"/>
                    <a:pt x="170783" y="298323"/>
                  </a:cubicBezTo>
                  <a:cubicBezTo>
                    <a:pt x="170783" y="298228"/>
                    <a:pt x="170783" y="298990"/>
                    <a:pt x="172212" y="299657"/>
                  </a:cubicBezTo>
                  <a:close/>
                  <a:moveTo>
                    <a:pt x="174212" y="283178"/>
                  </a:moveTo>
                  <a:cubicBezTo>
                    <a:pt x="174212" y="283178"/>
                    <a:pt x="174879" y="283178"/>
                    <a:pt x="176308" y="283845"/>
                  </a:cubicBezTo>
                  <a:lnTo>
                    <a:pt x="176308" y="284512"/>
                  </a:lnTo>
                  <a:cubicBezTo>
                    <a:pt x="174212" y="284512"/>
                    <a:pt x="174212" y="285845"/>
                    <a:pt x="172879" y="285845"/>
                  </a:cubicBezTo>
                  <a:lnTo>
                    <a:pt x="172212" y="285845"/>
                  </a:lnTo>
                  <a:lnTo>
                    <a:pt x="174212" y="283178"/>
                  </a:lnTo>
                  <a:close/>
                  <a:moveTo>
                    <a:pt x="176308" y="295561"/>
                  </a:moveTo>
                  <a:cubicBezTo>
                    <a:pt x="176308" y="296228"/>
                    <a:pt x="175641" y="296228"/>
                    <a:pt x="175641" y="296894"/>
                  </a:cubicBezTo>
                  <a:lnTo>
                    <a:pt x="176308" y="296894"/>
                  </a:lnTo>
                  <a:lnTo>
                    <a:pt x="176308" y="295561"/>
                  </a:lnTo>
                  <a:close/>
                  <a:moveTo>
                    <a:pt x="184499" y="279749"/>
                  </a:moveTo>
                  <a:cubicBezTo>
                    <a:pt x="183833" y="279749"/>
                    <a:pt x="183166" y="279083"/>
                    <a:pt x="183166" y="279083"/>
                  </a:cubicBezTo>
                  <a:cubicBezTo>
                    <a:pt x="184499" y="277749"/>
                    <a:pt x="183833" y="274987"/>
                    <a:pt x="185928" y="274320"/>
                  </a:cubicBezTo>
                  <a:lnTo>
                    <a:pt x="186595" y="274987"/>
                  </a:lnTo>
                  <a:cubicBezTo>
                    <a:pt x="187261" y="274987"/>
                    <a:pt x="187928" y="275654"/>
                    <a:pt x="187928" y="275654"/>
                  </a:cubicBezTo>
                  <a:lnTo>
                    <a:pt x="187928" y="276987"/>
                  </a:lnTo>
                  <a:cubicBezTo>
                    <a:pt x="185833" y="276987"/>
                    <a:pt x="186595" y="279083"/>
                    <a:pt x="185833" y="279083"/>
                  </a:cubicBezTo>
                  <a:cubicBezTo>
                    <a:pt x="185928" y="279749"/>
                    <a:pt x="184499" y="279749"/>
                    <a:pt x="184499" y="279749"/>
                  </a:cubicBezTo>
                  <a:close/>
                  <a:moveTo>
                    <a:pt x="184499" y="288703"/>
                  </a:moveTo>
                  <a:lnTo>
                    <a:pt x="184499" y="289370"/>
                  </a:lnTo>
                  <a:cubicBezTo>
                    <a:pt x="185166" y="289370"/>
                    <a:pt x="185833" y="290036"/>
                    <a:pt x="186595" y="290036"/>
                  </a:cubicBezTo>
                  <a:cubicBezTo>
                    <a:pt x="188690" y="290036"/>
                    <a:pt x="189357" y="286607"/>
                    <a:pt x="192119" y="286607"/>
                  </a:cubicBezTo>
                  <a:lnTo>
                    <a:pt x="192119" y="285941"/>
                  </a:lnTo>
                  <a:lnTo>
                    <a:pt x="186595" y="288036"/>
                  </a:lnTo>
                  <a:cubicBezTo>
                    <a:pt x="184499" y="287941"/>
                    <a:pt x="184499" y="288703"/>
                    <a:pt x="184499" y="288703"/>
                  </a:cubicBezTo>
                  <a:close/>
                  <a:moveTo>
                    <a:pt x="192119" y="290036"/>
                  </a:moveTo>
                  <a:lnTo>
                    <a:pt x="192786" y="290036"/>
                  </a:lnTo>
                  <a:cubicBezTo>
                    <a:pt x="192786" y="290703"/>
                    <a:pt x="193453" y="290703"/>
                    <a:pt x="193453" y="290703"/>
                  </a:cubicBezTo>
                  <a:cubicBezTo>
                    <a:pt x="193453" y="291370"/>
                    <a:pt x="193453" y="289370"/>
                    <a:pt x="192786" y="289370"/>
                  </a:cubicBezTo>
                  <a:cubicBezTo>
                    <a:pt x="192119" y="289370"/>
                    <a:pt x="192119" y="290036"/>
                    <a:pt x="192119" y="290036"/>
                  </a:cubicBezTo>
                  <a:close/>
                  <a:moveTo>
                    <a:pt x="195548" y="270796"/>
                  </a:moveTo>
                  <a:lnTo>
                    <a:pt x="196215" y="269462"/>
                  </a:lnTo>
                  <a:cubicBezTo>
                    <a:pt x="196215" y="268796"/>
                    <a:pt x="196215" y="268796"/>
                    <a:pt x="196882" y="268796"/>
                  </a:cubicBezTo>
                  <a:lnTo>
                    <a:pt x="196882" y="269462"/>
                  </a:lnTo>
                  <a:cubicBezTo>
                    <a:pt x="196215" y="270129"/>
                    <a:pt x="196215" y="270796"/>
                    <a:pt x="196215" y="270796"/>
                  </a:cubicBezTo>
                  <a:lnTo>
                    <a:pt x="195548" y="270796"/>
                  </a:lnTo>
                  <a:close/>
                  <a:moveTo>
                    <a:pt x="207835" y="263938"/>
                  </a:moveTo>
                  <a:cubicBezTo>
                    <a:pt x="205740" y="263938"/>
                    <a:pt x="204407" y="264605"/>
                    <a:pt x="204407" y="266033"/>
                  </a:cubicBezTo>
                  <a:lnTo>
                    <a:pt x="204407" y="268129"/>
                  </a:lnTo>
                  <a:cubicBezTo>
                    <a:pt x="201644" y="266033"/>
                    <a:pt x="201644" y="267462"/>
                    <a:pt x="201644" y="265367"/>
                  </a:cubicBezTo>
                  <a:lnTo>
                    <a:pt x="201644" y="264033"/>
                  </a:lnTo>
                  <a:cubicBezTo>
                    <a:pt x="203740" y="264033"/>
                    <a:pt x="205073" y="263366"/>
                    <a:pt x="207169" y="262700"/>
                  </a:cubicBezTo>
                  <a:lnTo>
                    <a:pt x="209264" y="263366"/>
                  </a:lnTo>
                  <a:cubicBezTo>
                    <a:pt x="209264" y="264033"/>
                    <a:pt x="208598" y="264033"/>
                    <a:pt x="208598" y="264033"/>
                  </a:cubicBezTo>
                  <a:lnTo>
                    <a:pt x="207835" y="264033"/>
                  </a:lnTo>
                  <a:close/>
                  <a:moveTo>
                    <a:pt x="206502" y="264700"/>
                  </a:moveTo>
                  <a:lnTo>
                    <a:pt x="206502" y="266795"/>
                  </a:lnTo>
                  <a:cubicBezTo>
                    <a:pt x="205835" y="266795"/>
                    <a:pt x="205835" y="266795"/>
                    <a:pt x="205835" y="266129"/>
                  </a:cubicBezTo>
                  <a:cubicBezTo>
                    <a:pt x="205835" y="264700"/>
                    <a:pt x="206502" y="264700"/>
                    <a:pt x="206502" y="264700"/>
                  </a:cubicBezTo>
                  <a:close/>
                  <a:moveTo>
                    <a:pt x="207835" y="34195"/>
                  </a:moveTo>
                  <a:cubicBezTo>
                    <a:pt x="207835" y="34195"/>
                    <a:pt x="208502" y="34195"/>
                    <a:pt x="208502" y="32861"/>
                  </a:cubicBezTo>
                  <a:cubicBezTo>
                    <a:pt x="208502" y="32861"/>
                    <a:pt x="207835" y="32861"/>
                    <a:pt x="207835" y="34195"/>
                  </a:cubicBezTo>
                  <a:close/>
                  <a:moveTo>
                    <a:pt x="209931" y="272224"/>
                  </a:moveTo>
                  <a:lnTo>
                    <a:pt x="209931" y="273558"/>
                  </a:lnTo>
                  <a:lnTo>
                    <a:pt x="210598" y="272891"/>
                  </a:lnTo>
                  <a:lnTo>
                    <a:pt x="209931" y="272224"/>
                  </a:lnTo>
                  <a:close/>
                  <a:moveTo>
                    <a:pt x="221552" y="274225"/>
                  </a:moveTo>
                  <a:cubicBezTo>
                    <a:pt x="221552" y="274225"/>
                    <a:pt x="222218" y="273558"/>
                    <a:pt x="222218" y="272129"/>
                  </a:cubicBezTo>
                  <a:cubicBezTo>
                    <a:pt x="221552" y="272129"/>
                    <a:pt x="221552" y="272129"/>
                    <a:pt x="220885" y="271463"/>
                  </a:cubicBezTo>
                  <a:lnTo>
                    <a:pt x="220885" y="273558"/>
                  </a:lnTo>
                  <a:lnTo>
                    <a:pt x="221552" y="274225"/>
                  </a:lnTo>
                  <a:close/>
                  <a:moveTo>
                    <a:pt x="237363" y="245459"/>
                  </a:moveTo>
                  <a:lnTo>
                    <a:pt x="237363" y="244793"/>
                  </a:lnTo>
                  <a:cubicBezTo>
                    <a:pt x="239459" y="244793"/>
                    <a:pt x="240125" y="244126"/>
                    <a:pt x="242126" y="244126"/>
                  </a:cubicBezTo>
                  <a:lnTo>
                    <a:pt x="242126" y="244793"/>
                  </a:lnTo>
                  <a:cubicBezTo>
                    <a:pt x="240030" y="246126"/>
                    <a:pt x="240030" y="250317"/>
                    <a:pt x="239363" y="248888"/>
                  </a:cubicBezTo>
                  <a:cubicBezTo>
                    <a:pt x="239459" y="246793"/>
                    <a:pt x="237363" y="248888"/>
                    <a:pt x="237363" y="245459"/>
                  </a:cubicBezTo>
                  <a:close/>
                  <a:moveTo>
                    <a:pt x="240125" y="19145"/>
                  </a:moveTo>
                  <a:cubicBezTo>
                    <a:pt x="240125" y="19145"/>
                    <a:pt x="240125" y="19812"/>
                    <a:pt x="240792" y="19812"/>
                  </a:cubicBezTo>
                  <a:lnTo>
                    <a:pt x="240792" y="18479"/>
                  </a:lnTo>
                  <a:cubicBezTo>
                    <a:pt x="240125" y="18479"/>
                    <a:pt x="240125" y="19145"/>
                    <a:pt x="240125" y="19145"/>
                  </a:cubicBezTo>
                  <a:close/>
                  <a:moveTo>
                    <a:pt x="254508" y="237268"/>
                  </a:moveTo>
                  <a:cubicBezTo>
                    <a:pt x="255175" y="237268"/>
                    <a:pt x="255175" y="237935"/>
                    <a:pt x="256604" y="237935"/>
                  </a:cubicBezTo>
                  <a:lnTo>
                    <a:pt x="255937" y="239268"/>
                  </a:lnTo>
                  <a:cubicBezTo>
                    <a:pt x="255270" y="239268"/>
                    <a:pt x="254603" y="238601"/>
                    <a:pt x="254603" y="238601"/>
                  </a:cubicBezTo>
                  <a:cubicBezTo>
                    <a:pt x="253936" y="238601"/>
                    <a:pt x="253936" y="239935"/>
                    <a:pt x="253270" y="242030"/>
                  </a:cubicBezTo>
                  <a:lnTo>
                    <a:pt x="253270" y="243364"/>
                  </a:lnTo>
                  <a:lnTo>
                    <a:pt x="251174" y="243364"/>
                  </a:lnTo>
                  <a:lnTo>
                    <a:pt x="252508" y="242030"/>
                  </a:lnTo>
                  <a:cubicBezTo>
                    <a:pt x="251841" y="240697"/>
                    <a:pt x="251841" y="239935"/>
                    <a:pt x="251841" y="239268"/>
                  </a:cubicBezTo>
                  <a:cubicBezTo>
                    <a:pt x="251841" y="238601"/>
                    <a:pt x="251841" y="237935"/>
                    <a:pt x="253175" y="237935"/>
                  </a:cubicBezTo>
                  <a:cubicBezTo>
                    <a:pt x="253175" y="237935"/>
                    <a:pt x="253841" y="237268"/>
                    <a:pt x="254508" y="237268"/>
                  </a:cubicBezTo>
                  <a:close/>
                  <a:moveTo>
                    <a:pt x="264128" y="234506"/>
                  </a:moveTo>
                  <a:lnTo>
                    <a:pt x="261366" y="234506"/>
                  </a:lnTo>
                  <a:cubicBezTo>
                    <a:pt x="262033" y="234506"/>
                    <a:pt x="262700" y="233172"/>
                    <a:pt x="263462" y="232410"/>
                  </a:cubicBezTo>
                  <a:lnTo>
                    <a:pt x="264128" y="233077"/>
                  </a:lnTo>
                  <a:lnTo>
                    <a:pt x="264128" y="234506"/>
                  </a:lnTo>
                  <a:close/>
                  <a:moveTo>
                    <a:pt x="266129" y="232410"/>
                  </a:moveTo>
                  <a:cubicBezTo>
                    <a:pt x="266129" y="231077"/>
                    <a:pt x="266129" y="231077"/>
                    <a:pt x="266795" y="231077"/>
                  </a:cubicBezTo>
                  <a:lnTo>
                    <a:pt x="266795" y="232410"/>
                  </a:lnTo>
                  <a:cubicBezTo>
                    <a:pt x="266795" y="232410"/>
                    <a:pt x="266795" y="233077"/>
                    <a:pt x="266129" y="233077"/>
                  </a:cubicBezTo>
                  <a:lnTo>
                    <a:pt x="266129" y="232410"/>
                  </a:lnTo>
                  <a:close/>
                  <a:moveTo>
                    <a:pt x="269558" y="233077"/>
                  </a:moveTo>
                  <a:cubicBezTo>
                    <a:pt x="269558" y="232410"/>
                    <a:pt x="270224" y="232410"/>
                    <a:pt x="271653" y="232410"/>
                  </a:cubicBezTo>
                  <a:cubicBezTo>
                    <a:pt x="271653" y="233077"/>
                    <a:pt x="270320" y="233744"/>
                    <a:pt x="269558" y="233744"/>
                  </a:cubicBezTo>
                  <a:lnTo>
                    <a:pt x="269558" y="233077"/>
                  </a:lnTo>
                  <a:close/>
                  <a:moveTo>
                    <a:pt x="340233" y="220028"/>
                  </a:moveTo>
                  <a:lnTo>
                    <a:pt x="340900" y="219361"/>
                  </a:lnTo>
                  <a:lnTo>
                    <a:pt x="340233" y="218694"/>
                  </a:lnTo>
                  <a:cubicBezTo>
                    <a:pt x="339566" y="218694"/>
                    <a:pt x="338900" y="219361"/>
                    <a:pt x="338900" y="219361"/>
                  </a:cubicBezTo>
                  <a:lnTo>
                    <a:pt x="340995" y="222123"/>
                  </a:lnTo>
                  <a:lnTo>
                    <a:pt x="340995" y="223457"/>
                  </a:lnTo>
                  <a:cubicBezTo>
                    <a:pt x="340995" y="223457"/>
                    <a:pt x="341662" y="223457"/>
                    <a:pt x="341662" y="222123"/>
                  </a:cubicBezTo>
                  <a:cubicBezTo>
                    <a:pt x="340900" y="221456"/>
                    <a:pt x="340233" y="220790"/>
                    <a:pt x="340233" y="220028"/>
                  </a:cubicBezTo>
                  <a:close/>
                  <a:moveTo>
                    <a:pt x="343662" y="228314"/>
                  </a:moveTo>
                  <a:lnTo>
                    <a:pt x="341567" y="227648"/>
                  </a:lnTo>
                  <a:cubicBezTo>
                    <a:pt x="341567" y="227648"/>
                    <a:pt x="342900" y="228981"/>
                    <a:pt x="343662" y="228981"/>
                  </a:cubicBezTo>
                  <a:lnTo>
                    <a:pt x="343662" y="228314"/>
                  </a:lnTo>
                  <a:close/>
                  <a:moveTo>
                    <a:pt x="346424" y="213170"/>
                  </a:moveTo>
                  <a:lnTo>
                    <a:pt x="344329" y="212503"/>
                  </a:lnTo>
                  <a:cubicBezTo>
                    <a:pt x="344329" y="213170"/>
                    <a:pt x="344329" y="215265"/>
                    <a:pt x="344996" y="215265"/>
                  </a:cubicBezTo>
                  <a:cubicBezTo>
                    <a:pt x="344996" y="215265"/>
                    <a:pt x="346424" y="215265"/>
                    <a:pt x="346424" y="213170"/>
                  </a:cubicBezTo>
                  <a:close/>
                  <a:moveTo>
                    <a:pt x="346424" y="225552"/>
                  </a:moveTo>
                  <a:lnTo>
                    <a:pt x="344329" y="226219"/>
                  </a:lnTo>
                  <a:lnTo>
                    <a:pt x="346424" y="226219"/>
                  </a:lnTo>
                  <a:lnTo>
                    <a:pt x="346424" y="225552"/>
                  </a:lnTo>
                  <a:close/>
                  <a:moveTo>
                    <a:pt x="344996" y="220028"/>
                  </a:moveTo>
                  <a:lnTo>
                    <a:pt x="346329" y="220694"/>
                  </a:lnTo>
                  <a:cubicBezTo>
                    <a:pt x="345758" y="220028"/>
                    <a:pt x="345758" y="220028"/>
                    <a:pt x="344996" y="220028"/>
                  </a:cubicBezTo>
                  <a:close/>
                  <a:moveTo>
                    <a:pt x="350520" y="216694"/>
                  </a:moveTo>
                  <a:cubicBezTo>
                    <a:pt x="349187" y="216694"/>
                    <a:pt x="348425" y="216694"/>
                    <a:pt x="348425" y="218027"/>
                  </a:cubicBezTo>
                  <a:cubicBezTo>
                    <a:pt x="348425" y="218694"/>
                    <a:pt x="349758" y="220790"/>
                    <a:pt x="349758" y="220123"/>
                  </a:cubicBezTo>
                  <a:cubicBezTo>
                    <a:pt x="350520" y="218027"/>
                    <a:pt x="350520" y="217361"/>
                    <a:pt x="350520" y="216694"/>
                  </a:cubicBezTo>
                  <a:close/>
                  <a:moveTo>
                    <a:pt x="356711" y="213932"/>
                  </a:moveTo>
                  <a:cubicBezTo>
                    <a:pt x="356045" y="213932"/>
                    <a:pt x="355378" y="214598"/>
                    <a:pt x="355378" y="214598"/>
                  </a:cubicBezTo>
                  <a:lnTo>
                    <a:pt x="358807" y="214598"/>
                  </a:lnTo>
                  <a:cubicBezTo>
                    <a:pt x="358045" y="213932"/>
                    <a:pt x="357378" y="213932"/>
                    <a:pt x="356711" y="213932"/>
                  </a:cubicBezTo>
                  <a:close/>
                  <a:moveTo>
                    <a:pt x="358045" y="209741"/>
                  </a:moveTo>
                  <a:lnTo>
                    <a:pt x="360140" y="209741"/>
                  </a:lnTo>
                  <a:lnTo>
                    <a:pt x="360140" y="208407"/>
                  </a:lnTo>
                  <a:cubicBezTo>
                    <a:pt x="359474" y="208407"/>
                    <a:pt x="358045" y="209074"/>
                    <a:pt x="358045" y="209741"/>
                  </a:cubicBezTo>
                  <a:close/>
                  <a:moveTo>
                    <a:pt x="360140" y="220790"/>
                  </a:moveTo>
                  <a:cubicBezTo>
                    <a:pt x="360140" y="220123"/>
                    <a:pt x="360140" y="220123"/>
                    <a:pt x="359474" y="220123"/>
                  </a:cubicBezTo>
                  <a:cubicBezTo>
                    <a:pt x="359474" y="220123"/>
                    <a:pt x="358807" y="220123"/>
                    <a:pt x="358807" y="220790"/>
                  </a:cubicBezTo>
                  <a:lnTo>
                    <a:pt x="358807" y="222123"/>
                  </a:lnTo>
                  <a:lnTo>
                    <a:pt x="360140" y="222123"/>
                  </a:lnTo>
                  <a:lnTo>
                    <a:pt x="360140" y="220790"/>
                  </a:lnTo>
                  <a:close/>
                  <a:moveTo>
                    <a:pt x="379286" y="201549"/>
                  </a:moveTo>
                  <a:cubicBezTo>
                    <a:pt x="379286" y="201549"/>
                    <a:pt x="380619" y="201549"/>
                    <a:pt x="381381" y="202216"/>
                  </a:cubicBezTo>
                  <a:lnTo>
                    <a:pt x="381381" y="202883"/>
                  </a:lnTo>
                  <a:lnTo>
                    <a:pt x="380714" y="202883"/>
                  </a:lnTo>
                  <a:cubicBezTo>
                    <a:pt x="380048" y="203549"/>
                    <a:pt x="380048" y="203549"/>
                    <a:pt x="380048" y="204216"/>
                  </a:cubicBezTo>
                  <a:cubicBezTo>
                    <a:pt x="380048" y="204883"/>
                    <a:pt x="380048" y="205550"/>
                    <a:pt x="381381" y="206312"/>
                  </a:cubicBezTo>
                  <a:cubicBezTo>
                    <a:pt x="381381" y="209741"/>
                    <a:pt x="368999" y="209074"/>
                    <a:pt x="367665" y="211074"/>
                  </a:cubicBezTo>
                  <a:lnTo>
                    <a:pt x="366998" y="208979"/>
                  </a:lnTo>
                  <a:cubicBezTo>
                    <a:pt x="368332" y="208979"/>
                    <a:pt x="369094" y="208312"/>
                    <a:pt x="372523" y="208312"/>
                  </a:cubicBezTo>
                  <a:lnTo>
                    <a:pt x="373190" y="207645"/>
                  </a:lnTo>
                  <a:cubicBezTo>
                    <a:pt x="372523" y="206978"/>
                    <a:pt x="372523" y="206978"/>
                    <a:pt x="372523" y="206312"/>
                  </a:cubicBezTo>
                  <a:cubicBezTo>
                    <a:pt x="372523" y="205645"/>
                    <a:pt x="372523" y="204978"/>
                    <a:pt x="373190" y="204216"/>
                  </a:cubicBezTo>
                  <a:cubicBezTo>
                    <a:pt x="373190" y="203549"/>
                    <a:pt x="371094" y="203549"/>
                    <a:pt x="371856" y="202883"/>
                  </a:cubicBezTo>
                  <a:lnTo>
                    <a:pt x="371856" y="201549"/>
                  </a:lnTo>
                  <a:cubicBezTo>
                    <a:pt x="372523" y="201549"/>
                    <a:pt x="373190" y="200882"/>
                    <a:pt x="375285" y="200216"/>
                  </a:cubicBezTo>
                  <a:cubicBezTo>
                    <a:pt x="375952" y="200216"/>
                    <a:pt x="375952" y="200216"/>
                    <a:pt x="375952" y="201549"/>
                  </a:cubicBezTo>
                  <a:lnTo>
                    <a:pt x="376619" y="203645"/>
                  </a:lnTo>
                  <a:lnTo>
                    <a:pt x="379286" y="201549"/>
                  </a:lnTo>
                  <a:close/>
                  <a:moveTo>
                    <a:pt x="368999" y="202883"/>
                  </a:moveTo>
                  <a:cubicBezTo>
                    <a:pt x="368999" y="203549"/>
                    <a:pt x="368332" y="203549"/>
                    <a:pt x="368332" y="203549"/>
                  </a:cubicBezTo>
                  <a:cubicBezTo>
                    <a:pt x="368332" y="203549"/>
                    <a:pt x="367665" y="203549"/>
                    <a:pt x="367665" y="202883"/>
                  </a:cubicBezTo>
                  <a:lnTo>
                    <a:pt x="368999" y="202883"/>
                  </a:lnTo>
                  <a:close/>
                  <a:moveTo>
                    <a:pt x="368999" y="204978"/>
                  </a:moveTo>
                  <a:cubicBezTo>
                    <a:pt x="369665" y="204978"/>
                    <a:pt x="369665" y="204978"/>
                    <a:pt x="371094" y="206312"/>
                  </a:cubicBezTo>
                  <a:lnTo>
                    <a:pt x="371761" y="207645"/>
                  </a:lnTo>
                  <a:lnTo>
                    <a:pt x="370427" y="206978"/>
                  </a:lnTo>
                  <a:lnTo>
                    <a:pt x="368332" y="205645"/>
                  </a:lnTo>
                  <a:cubicBezTo>
                    <a:pt x="368332" y="204978"/>
                    <a:pt x="368999" y="204978"/>
                    <a:pt x="368999" y="204978"/>
                  </a:cubicBezTo>
                  <a:close/>
                  <a:moveTo>
                    <a:pt x="369761" y="217361"/>
                  </a:moveTo>
                  <a:lnTo>
                    <a:pt x="368427" y="220123"/>
                  </a:lnTo>
                  <a:lnTo>
                    <a:pt x="369094" y="220123"/>
                  </a:lnTo>
                  <a:cubicBezTo>
                    <a:pt x="371189" y="220123"/>
                    <a:pt x="371189" y="220123"/>
                    <a:pt x="372523" y="218789"/>
                  </a:cubicBezTo>
                  <a:cubicBezTo>
                    <a:pt x="371761" y="219361"/>
                    <a:pt x="372428" y="217361"/>
                    <a:pt x="369761" y="217361"/>
                  </a:cubicBezTo>
                  <a:close/>
                  <a:moveTo>
                    <a:pt x="378619" y="200216"/>
                  </a:moveTo>
                  <a:cubicBezTo>
                    <a:pt x="379286" y="199549"/>
                    <a:pt x="380714" y="199549"/>
                    <a:pt x="380714" y="199549"/>
                  </a:cubicBezTo>
                  <a:lnTo>
                    <a:pt x="381381" y="200216"/>
                  </a:lnTo>
                  <a:lnTo>
                    <a:pt x="381381" y="200882"/>
                  </a:lnTo>
                  <a:cubicBezTo>
                    <a:pt x="380714" y="200882"/>
                    <a:pt x="380714" y="200216"/>
                    <a:pt x="380714" y="200216"/>
                  </a:cubicBezTo>
                  <a:cubicBezTo>
                    <a:pt x="380714" y="200216"/>
                    <a:pt x="379381" y="200216"/>
                    <a:pt x="379381" y="200882"/>
                  </a:cubicBezTo>
                  <a:lnTo>
                    <a:pt x="378619" y="200216"/>
                  </a:lnTo>
                  <a:close/>
                  <a:moveTo>
                    <a:pt x="400622" y="197453"/>
                  </a:moveTo>
                  <a:cubicBezTo>
                    <a:pt x="399955" y="197453"/>
                    <a:pt x="399955" y="196787"/>
                    <a:pt x="399288" y="196787"/>
                  </a:cubicBezTo>
                  <a:cubicBezTo>
                    <a:pt x="397193" y="196787"/>
                    <a:pt x="395192" y="198120"/>
                    <a:pt x="393097" y="198120"/>
                  </a:cubicBezTo>
                  <a:lnTo>
                    <a:pt x="390335" y="201549"/>
                  </a:lnTo>
                  <a:lnTo>
                    <a:pt x="389668" y="202216"/>
                  </a:lnTo>
                  <a:lnTo>
                    <a:pt x="390335" y="202216"/>
                  </a:lnTo>
                  <a:cubicBezTo>
                    <a:pt x="390335" y="203549"/>
                    <a:pt x="390335" y="203549"/>
                    <a:pt x="389001" y="204978"/>
                  </a:cubicBezTo>
                  <a:lnTo>
                    <a:pt x="389001" y="204311"/>
                  </a:lnTo>
                  <a:lnTo>
                    <a:pt x="387668" y="202978"/>
                  </a:lnTo>
                  <a:lnTo>
                    <a:pt x="381476" y="201644"/>
                  </a:lnTo>
                  <a:lnTo>
                    <a:pt x="385572" y="201644"/>
                  </a:lnTo>
                  <a:lnTo>
                    <a:pt x="386906" y="200978"/>
                  </a:lnTo>
                  <a:cubicBezTo>
                    <a:pt x="386906" y="200978"/>
                    <a:pt x="386906" y="200311"/>
                    <a:pt x="386239" y="199644"/>
                  </a:cubicBezTo>
                  <a:cubicBezTo>
                    <a:pt x="386239" y="196215"/>
                    <a:pt x="395192" y="196215"/>
                    <a:pt x="400622" y="196215"/>
                  </a:cubicBezTo>
                  <a:lnTo>
                    <a:pt x="400622" y="197453"/>
                  </a:lnTo>
                  <a:close/>
                  <a:moveTo>
                    <a:pt x="388239" y="194024"/>
                  </a:moveTo>
                  <a:lnTo>
                    <a:pt x="387572" y="194024"/>
                  </a:lnTo>
                  <a:lnTo>
                    <a:pt x="388239" y="193358"/>
                  </a:lnTo>
                  <a:lnTo>
                    <a:pt x="388239" y="194024"/>
                  </a:lnTo>
                  <a:close/>
                  <a:moveTo>
                    <a:pt x="400622" y="202216"/>
                  </a:moveTo>
                  <a:cubicBezTo>
                    <a:pt x="398526" y="203549"/>
                    <a:pt x="397859" y="203549"/>
                    <a:pt x="395859" y="203549"/>
                  </a:cubicBezTo>
                  <a:lnTo>
                    <a:pt x="399288" y="200787"/>
                  </a:lnTo>
                  <a:lnTo>
                    <a:pt x="400622" y="202216"/>
                  </a:lnTo>
                  <a:close/>
                  <a:moveTo>
                    <a:pt x="404717" y="195358"/>
                  </a:moveTo>
                  <a:lnTo>
                    <a:pt x="401955" y="195358"/>
                  </a:lnTo>
                  <a:lnTo>
                    <a:pt x="404051" y="194024"/>
                  </a:lnTo>
                  <a:lnTo>
                    <a:pt x="404717" y="194024"/>
                  </a:lnTo>
                  <a:lnTo>
                    <a:pt x="405384" y="194691"/>
                  </a:lnTo>
                  <a:cubicBezTo>
                    <a:pt x="405384" y="195358"/>
                    <a:pt x="404717" y="195358"/>
                    <a:pt x="404717" y="19535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DDEC667-0BBC-4A3D-A50B-1A7D58E5AB4D}"/>
                </a:ext>
              </a:extLst>
            </p:cNvPr>
            <p:cNvSpPr/>
            <p:nvPr/>
          </p:nvSpPr>
          <p:spPr>
            <a:xfrm>
              <a:off x="4893468" y="3240596"/>
              <a:ext cx="219075" cy="314325"/>
            </a:xfrm>
            <a:custGeom>
              <a:avLst/>
              <a:gdLst>
                <a:gd name="connsiteX0" fmla="*/ 73247 w 219075"/>
                <a:gd name="connsiteY0" fmla="*/ 135445 h 314325"/>
                <a:gd name="connsiteX1" fmla="*/ 72581 w 219075"/>
                <a:gd name="connsiteY1" fmla="*/ 136779 h 314325"/>
                <a:gd name="connsiteX2" fmla="*/ 71914 w 219075"/>
                <a:gd name="connsiteY2" fmla="*/ 138113 h 314325"/>
                <a:gd name="connsiteX3" fmla="*/ 71914 w 219075"/>
                <a:gd name="connsiteY3" fmla="*/ 139446 h 314325"/>
                <a:gd name="connsiteX4" fmla="*/ 71247 w 219075"/>
                <a:gd name="connsiteY4" fmla="*/ 140113 h 314325"/>
                <a:gd name="connsiteX5" fmla="*/ 71247 w 219075"/>
                <a:gd name="connsiteY5" fmla="*/ 141446 h 314325"/>
                <a:gd name="connsiteX6" fmla="*/ 70580 w 219075"/>
                <a:gd name="connsiteY6" fmla="*/ 146971 h 314325"/>
                <a:gd name="connsiteX7" fmla="*/ 70580 w 219075"/>
                <a:gd name="connsiteY7" fmla="*/ 147638 h 314325"/>
                <a:gd name="connsiteX8" fmla="*/ 69247 w 219075"/>
                <a:gd name="connsiteY8" fmla="*/ 148971 h 314325"/>
                <a:gd name="connsiteX9" fmla="*/ 69247 w 219075"/>
                <a:gd name="connsiteY9" fmla="*/ 152400 h 314325"/>
                <a:gd name="connsiteX10" fmla="*/ 68580 w 219075"/>
                <a:gd name="connsiteY10" fmla="*/ 153067 h 314325"/>
                <a:gd name="connsiteX11" fmla="*/ 68580 w 219075"/>
                <a:gd name="connsiteY11" fmla="*/ 155162 h 314325"/>
                <a:gd name="connsiteX12" fmla="*/ 67246 w 219075"/>
                <a:gd name="connsiteY12" fmla="*/ 157924 h 314325"/>
                <a:gd name="connsiteX13" fmla="*/ 66580 w 219075"/>
                <a:gd name="connsiteY13" fmla="*/ 160687 h 314325"/>
                <a:gd name="connsiteX14" fmla="*/ 65913 w 219075"/>
                <a:gd name="connsiteY14" fmla="*/ 161353 h 314325"/>
                <a:gd name="connsiteX15" fmla="*/ 64579 w 219075"/>
                <a:gd name="connsiteY15" fmla="*/ 163449 h 314325"/>
                <a:gd name="connsiteX16" fmla="*/ 64579 w 219075"/>
                <a:gd name="connsiteY16" fmla="*/ 164783 h 314325"/>
                <a:gd name="connsiteX17" fmla="*/ 65246 w 219075"/>
                <a:gd name="connsiteY17" fmla="*/ 166878 h 314325"/>
                <a:gd name="connsiteX18" fmla="*/ 65246 w 219075"/>
                <a:gd name="connsiteY18" fmla="*/ 167545 h 314325"/>
                <a:gd name="connsiteX19" fmla="*/ 63151 w 219075"/>
                <a:gd name="connsiteY19" fmla="*/ 167545 h 314325"/>
                <a:gd name="connsiteX20" fmla="*/ 63818 w 219075"/>
                <a:gd name="connsiteY20" fmla="*/ 170307 h 314325"/>
                <a:gd name="connsiteX21" fmla="*/ 63818 w 219075"/>
                <a:gd name="connsiteY21" fmla="*/ 170974 h 314325"/>
                <a:gd name="connsiteX22" fmla="*/ 63151 w 219075"/>
                <a:gd name="connsiteY22" fmla="*/ 172307 h 314325"/>
                <a:gd name="connsiteX23" fmla="*/ 63151 w 219075"/>
                <a:gd name="connsiteY23" fmla="*/ 174403 h 314325"/>
                <a:gd name="connsiteX24" fmla="*/ 61055 w 219075"/>
                <a:gd name="connsiteY24" fmla="*/ 175069 h 314325"/>
                <a:gd name="connsiteX25" fmla="*/ 61722 w 219075"/>
                <a:gd name="connsiteY25" fmla="*/ 177832 h 314325"/>
                <a:gd name="connsiteX26" fmla="*/ 61722 w 219075"/>
                <a:gd name="connsiteY26" fmla="*/ 181927 h 314325"/>
                <a:gd name="connsiteX27" fmla="*/ 60389 w 219075"/>
                <a:gd name="connsiteY27" fmla="*/ 184023 h 314325"/>
                <a:gd name="connsiteX28" fmla="*/ 60389 w 219075"/>
                <a:gd name="connsiteY28" fmla="*/ 187452 h 314325"/>
                <a:gd name="connsiteX29" fmla="*/ 60389 w 219075"/>
                <a:gd name="connsiteY29" fmla="*/ 188119 h 314325"/>
                <a:gd name="connsiteX30" fmla="*/ 59055 w 219075"/>
                <a:gd name="connsiteY30" fmla="*/ 189452 h 314325"/>
                <a:gd name="connsiteX31" fmla="*/ 59722 w 219075"/>
                <a:gd name="connsiteY31" fmla="*/ 192215 h 314325"/>
                <a:gd name="connsiteX32" fmla="*/ 59722 w 219075"/>
                <a:gd name="connsiteY32" fmla="*/ 195643 h 314325"/>
                <a:gd name="connsiteX33" fmla="*/ 59055 w 219075"/>
                <a:gd name="connsiteY33" fmla="*/ 196310 h 314325"/>
                <a:gd name="connsiteX34" fmla="*/ 58388 w 219075"/>
                <a:gd name="connsiteY34" fmla="*/ 196977 h 314325"/>
                <a:gd name="connsiteX35" fmla="*/ 56293 w 219075"/>
                <a:gd name="connsiteY35" fmla="*/ 200406 h 314325"/>
                <a:gd name="connsiteX36" fmla="*/ 56293 w 219075"/>
                <a:gd name="connsiteY36" fmla="*/ 201073 h 314325"/>
                <a:gd name="connsiteX37" fmla="*/ 57626 w 219075"/>
                <a:gd name="connsiteY37" fmla="*/ 205168 h 314325"/>
                <a:gd name="connsiteX38" fmla="*/ 55531 w 219075"/>
                <a:gd name="connsiteY38" fmla="*/ 207931 h 314325"/>
                <a:gd name="connsiteX39" fmla="*/ 56198 w 219075"/>
                <a:gd name="connsiteY39" fmla="*/ 210026 h 314325"/>
                <a:gd name="connsiteX40" fmla="*/ 56198 w 219075"/>
                <a:gd name="connsiteY40" fmla="*/ 212122 h 314325"/>
                <a:gd name="connsiteX41" fmla="*/ 53435 w 219075"/>
                <a:gd name="connsiteY41" fmla="*/ 214217 h 314325"/>
                <a:gd name="connsiteX42" fmla="*/ 52102 w 219075"/>
                <a:gd name="connsiteY42" fmla="*/ 215551 h 314325"/>
                <a:gd name="connsiteX43" fmla="*/ 52769 w 219075"/>
                <a:gd name="connsiteY43" fmla="*/ 216217 h 314325"/>
                <a:gd name="connsiteX44" fmla="*/ 54769 w 219075"/>
                <a:gd name="connsiteY44" fmla="*/ 218503 h 314325"/>
                <a:gd name="connsiteX45" fmla="*/ 56102 w 219075"/>
                <a:gd name="connsiteY45" fmla="*/ 219837 h 314325"/>
                <a:gd name="connsiteX46" fmla="*/ 56102 w 219075"/>
                <a:gd name="connsiteY46" fmla="*/ 221170 h 314325"/>
                <a:gd name="connsiteX47" fmla="*/ 54007 w 219075"/>
                <a:gd name="connsiteY47" fmla="*/ 223266 h 314325"/>
                <a:gd name="connsiteX48" fmla="*/ 54674 w 219075"/>
                <a:gd name="connsiteY48" fmla="*/ 234220 h 314325"/>
                <a:gd name="connsiteX49" fmla="*/ 54674 w 219075"/>
                <a:gd name="connsiteY49" fmla="*/ 234887 h 314325"/>
                <a:gd name="connsiteX50" fmla="*/ 53340 w 219075"/>
                <a:gd name="connsiteY50" fmla="*/ 236220 h 314325"/>
                <a:gd name="connsiteX51" fmla="*/ 54674 w 219075"/>
                <a:gd name="connsiteY51" fmla="*/ 237553 h 314325"/>
                <a:gd name="connsiteX52" fmla="*/ 54674 w 219075"/>
                <a:gd name="connsiteY52" fmla="*/ 241649 h 314325"/>
                <a:gd name="connsiteX53" fmla="*/ 53340 w 219075"/>
                <a:gd name="connsiteY53" fmla="*/ 243745 h 314325"/>
                <a:gd name="connsiteX54" fmla="*/ 53340 w 219075"/>
                <a:gd name="connsiteY54" fmla="*/ 266414 h 314325"/>
                <a:gd name="connsiteX55" fmla="*/ 52673 w 219075"/>
                <a:gd name="connsiteY55" fmla="*/ 267081 h 314325"/>
                <a:gd name="connsiteX56" fmla="*/ 54007 w 219075"/>
                <a:gd name="connsiteY56" fmla="*/ 267748 h 314325"/>
                <a:gd name="connsiteX57" fmla="*/ 54769 w 219075"/>
                <a:gd name="connsiteY57" fmla="*/ 269176 h 314325"/>
                <a:gd name="connsiteX58" fmla="*/ 56864 w 219075"/>
                <a:gd name="connsiteY58" fmla="*/ 271939 h 314325"/>
                <a:gd name="connsiteX59" fmla="*/ 56864 w 219075"/>
                <a:gd name="connsiteY59" fmla="*/ 276035 h 314325"/>
                <a:gd name="connsiteX60" fmla="*/ 57531 w 219075"/>
                <a:gd name="connsiteY60" fmla="*/ 277368 h 314325"/>
                <a:gd name="connsiteX61" fmla="*/ 57531 w 219075"/>
                <a:gd name="connsiteY61" fmla="*/ 279464 h 314325"/>
                <a:gd name="connsiteX62" fmla="*/ 58198 w 219075"/>
                <a:gd name="connsiteY62" fmla="*/ 280130 h 314325"/>
                <a:gd name="connsiteX63" fmla="*/ 59531 w 219075"/>
                <a:gd name="connsiteY63" fmla="*/ 282226 h 314325"/>
                <a:gd name="connsiteX64" fmla="*/ 60865 w 219075"/>
                <a:gd name="connsiteY64" fmla="*/ 283559 h 314325"/>
                <a:gd name="connsiteX65" fmla="*/ 60865 w 219075"/>
                <a:gd name="connsiteY65" fmla="*/ 284226 h 314325"/>
                <a:gd name="connsiteX66" fmla="*/ 61531 w 219075"/>
                <a:gd name="connsiteY66" fmla="*/ 284226 h 314325"/>
                <a:gd name="connsiteX67" fmla="*/ 67723 w 219075"/>
                <a:gd name="connsiteY67" fmla="*/ 284893 h 314325"/>
                <a:gd name="connsiteX68" fmla="*/ 72485 w 219075"/>
                <a:gd name="connsiteY68" fmla="*/ 284893 h 314325"/>
                <a:gd name="connsiteX69" fmla="*/ 73819 w 219075"/>
                <a:gd name="connsiteY69" fmla="*/ 284226 h 314325"/>
                <a:gd name="connsiteX70" fmla="*/ 76581 w 219075"/>
                <a:gd name="connsiteY70" fmla="*/ 282892 h 314325"/>
                <a:gd name="connsiteX71" fmla="*/ 77915 w 219075"/>
                <a:gd name="connsiteY71" fmla="*/ 281559 h 314325"/>
                <a:gd name="connsiteX72" fmla="*/ 80010 w 219075"/>
                <a:gd name="connsiteY72" fmla="*/ 280225 h 314325"/>
                <a:gd name="connsiteX73" fmla="*/ 82106 w 219075"/>
                <a:gd name="connsiteY73" fmla="*/ 279559 h 314325"/>
                <a:gd name="connsiteX74" fmla="*/ 85535 w 219075"/>
                <a:gd name="connsiteY74" fmla="*/ 278225 h 314325"/>
                <a:gd name="connsiteX75" fmla="*/ 95155 w 219075"/>
                <a:gd name="connsiteY75" fmla="*/ 270700 h 314325"/>
                <a:gd name="connsiteX76" fmla="*/ 98584 w 219075"/>
                <a:gd name="connsiteY76" fmla="*/ 268605 h 314325"/>
                <a:gd name="connsiteX77" fmla="*/ 102679 w 219075"/>
                <a:gd name="connsiteY77" fmla="*/ 264509 h 314325"/>
                <a:gd name="connsiteX78" fmla="*/ 106775 w 219075"/>
                <a:gd name="connsiteY78" fmla="*/ 260414 h 314325"/>
                <a:gd name="connsiteX79" fmla="*/ 108109 w 219075"/>
                <a:gd name="connsiteY79" fmla="*/ 259080 h 314325"/>
                <a:gd name="connsiteX80" fmla="*/ 108109 w 219075"/>
                <a:gd name="connsiteY80" fmla="*/ 258413 h 314325"/>
                <a:gd name="connsiteX81" fmla="*/ 110871 w 219075"/>
                <a:gd name="connsiteY81" fmla="*/ 256318 h 314325"/>
                <a:gd name="connsiteX82" fmla="*/ 112967 w 219075"/>
                <a:gd name="connsiteY82" fmla="*/ 254222 h 314325"/>
                <a:gd name="connsiteX83" fmla="*/ 115729 w 219075"/>
                <a:gd name="connsiteY83" fmla="*/ 252127 h 314325"/>
                <a:gd name="connsiteX84" fmla="*/ 117062 w 219075"/>
                <a:gd name="connsiteY84" fmla="*/ 252127 h 314325"/>
                <a:gd name="connsiteX85" fmla="*/ 117062 w 219075"/>
                <a:gd name="connsiteY85" fmla="*/ 250031 h 314325"/>
                <a:gd name="connsiteX86" fmla="*/ 122587 w 219075"/>
                <a:gd name="connsiteY86" fmla="*/ 245936 h 314325"/>
                <a:gd name="connsiteX87" fmla="*/ 126683 w 219075"/>
                <a:gd name="connsiteY87" fmla="*/ 242506 h 314325"/>
                <a:gd name="connsiteX88" fmla="*/ 130112 w 219075"/>
                <a:gd name="connsiteY88" fmla="*/ 238411 h 314325"/>
                <a:gd name="connsiteX89" fmla="*/ 134207 w 219075"/>
                <a:gd name="connsiteY89" fmla="*/ 234315 h 314325"/>
                <a:gd name="connsiteX90" fmla="*/ 138303 w 219075"/>
                <a:gd name="connsiteY90" fmla="*/ 230219 h 314325"/>
                <a:gd name="connsiteX91" fmla="*/ 138970 w 219075"/>
                <a:gd name="connsiteY91" fmla="*/ 228886 h 314325"/>
                <a:gd name="connsiteX92" fmla="*/ 139637 w 219075"/>
                <a:gd name="connsiteY92" fmla="*/ 228219 h 314325"/>
                <a:gd name="connsiteX93" fmla="*/ 142399 w 219075"/>
                <a:gd name="connsiteY93" fmla="*/ 226886 h 314325"/>
                <a:gd name="connsiteX94" fmla="*/ 145161 w 219075"/>
                <a:gd name="connsiteY94" fmla="*/ 224790 h 314325"/>
                <a:gd name="connsiteX95" fmla="*/ 147256 w 219075"/>
                <a:gd name="connsiteY95" fmla="*/ 222028 h 314325"/>
                <a:gd name="connsiteX96" fmla="*/ 150019 w 219075"/>
                <a:gd name="connsiteY96" fmla="*/ 219932 h 314325"/>
                <a:gd name="connsiteX97" fmla="*/ 151352 w 219075"/>
                <a:gd name="connsiteY97" fmla="*/ 217837 h 314325"/>
                <a:gd name="connsiteX98" fmla="*/ 152686 w 219075"/>
                <a:gd name="connsiteY98" fmla="*/ 217170 h 314325"/>
                <a:gd name="connsiteX99" fmla="*/ 156781 w 219075"/>
                <a:gd name="connsiteY99" fmla="*/ 213074 h 314325"/>
                <a:gd name="connsiteX100" fmla="*/ 159544 w 219075"/>
                <a:gd name="connsiteY100" fmla="*/ 209645 h 314325"/>
                <a:gd name="connsiteX101" fmla="*/ 161639 w 219075"/>
                <a:gd name="connsiteY101" fmla="*/ 207550 h 314325"/>
                <a:gd name="connsiteX102" fmla="*/ 163735 w 219075"/>
                <a:gd name="connsiteY102" fmla="*/ 206216 h 314325"/>
                <a:gd name="connsiteX103" fmla="*/ 165830 w 219075"/>
                <a:gd name="connsiteY103" fmla="*/ 203454 h 314325"/>
                <a:gd name="connsiteX104" fmla="*/ 165830 w 219075"/>
                <a:gd name="connsiteY104" fmla="*/ 201359 h 314325"/>
                <a:gd name="connsiteX105" fmla="*/ 166497 w 219075"/>
                <a:gd name="connsiteY105" fmla="*/ 200692 h 314325"/>
                <a:gd name="connsiteX106" fmla="*/ 169259 w 219075"/>
                <a:gd name="connsiteY106" fmla="*/ 199358 h 314325"/>
                <a:gd name="connsiteX107" fmla="*/ 172021 w 219075"/>
                <a:gd name="connsiteY107" fmla="*/ 196596 h 314325"/>
                <a:gd name="connsiteX108" fmla="*/ 172021 w 219075"/>
                <a:gd name="connsiteY108" fmla="*/ 195929 h 314325"/>
                <a:gd name="connsiteX109" fmla="*/ 173355 w 219075"/>
                <a:gd name="connsiteY109" fmla="*/ 194596 h 314325"/>
                <a:gd name="connsiteX110" fmla="*/ 173355 w 219075"/>
                <a:gd name="connsiteY110" fmla="*/ 193929 h 314325"/>
                <a:gd name="connsiteX111" fmla="*/ 174022 w 219075"/>
                <a:gd name="connsiteY111" fmla="*/ 193262 h 314325"/>
                <a:gd name="connsiteX112" fmla="*/ 176784 w 219075"/>
                <a:gd name="connsiteY112" fmla="*/ 189833 h 314325"/>
                <a:gd name="connsiteX113" fmla="*/ 176784 w 219075"/>
                <a:gd name="connsiteY113" fmla="*/ 188500 h 314325"/>
                <a:gd name="connsiteX114" fmla="*/ 178879 w 219075"/>
                <a:gd name="connsiteY114" fmla="*/ 187833 h 314325"/>
                <a:gd name="connsiteX115" fmla="*/ 179546 w 219075"/>
                <a:gd name="connsiteY115" fmla="*/ 187833 h 314325"/>
                <a:gd name="connsiteX116" fmla="*/ 179546 w 219075"/>
                <a:gd name="connsiteY116" fmla="*/ 186499 h 314325"/>
                <a:gd name="connsiteX117" fmla="*/ 180880 w 219075"/>
                <a:gd name="connsiteY117" fmla="*/ 183737 h 314325"/>
                <a:gd name="connsiteX118" fmla="*/ 184309 w 219075"/>
                <a:gd name="connsiteY118" fmla="*/ 180975 h 314325"/>
                <a:gd name="connsiteX119" fmla="*/ 185642 w 219075"/>
                <a:gd name="connsiteY119" fmla="*/ 179642 h 314325"/>
                <a:gd name="connsiteX120" fmla="*/ 184975 w 219075"/>
                <a:gd name="connsiteY120" fmla="*/ 178975 h 314325"/>
                <a:gd name="connsiteX121" fmla="*/ 186309 w 219075"/>
                <a:gd name="connsiteY121" fmla="*/ 176879 h 314325"/>
                <a:gd name="connsiteX122" fmla="*/ 189071 w 219075"/>
                <a:gd name="connsiteY122" fmla="*/ 174117 h 314325"/>
                <a:gd name="connsiteX123" fmla="*/ 191834 w 219075"/>
                <a:gd name="connsiteY123" fmla="*/ 171355 h 314325"/>
                <a:gd name="connsiteX124" fmla="*/ 191834 w 219075"/>
                <a:gd name="connsiteY124" fmla="*/ 170688 h 314325"/>
                <a:gd name="connsiteX125" fmla="*/ 193929 w 219075"/>
                <a:gd name="connsiteY125" fmla="*/ 169354 h 314325"/>
                <a:gd name="connsiteX126" fmla="*/ 196025 w 219075"/>
                <a:gd name="connsiteY126" fmla="*/ 167259 h 314325"/>
                <a:gd name="connsiteX127" fmla="*/ 196691 w 219075"/>
                <a:gd name="connsiteY127" fmla="*/ 165925 h 314325"/>
                <a:gd name="connsiteX128" fmla="*/ 197358 w 219075"/>
                <a:gd name="connsiteY128" fmla="*/ 165259 h 314325"/>
                <a:gd name="connsiteX129" fmla="*/ 198692 w 219075"/>
                <a:gd name="connsiteY129" fmla="*/ 161830 h 314325"/>
                <a:gd name="connsiteX130" fmla="*/ 202121 w 219075"/>
                <a:gd name="connsiteY130" fmla="*/ 159734 h 314325"/>
                <a:gd name="connsiteX131" fmla="*/ 202121 w 219075"/>
                <a:gd name="connsiteY131" fmla="*/ 158401 h 314325"/>
                <a:gd name="connsiteX132" fmla="*/ 203454 w 219075"/>
                <a:gd name="connsiteY132" fmla="*/ 156305 h 314325"/>
                <a:gd name="connsiteX133" fmla="*/ 204788 w 219075"/>
                <a:gd name="connsiteY133" fmla="*/ 154210 h 314325"/>
                <a:gd name="connsiteX134" fmla="*/ 204788 w 219075"/>
                <a:gd name="connsiteY134" fmla="*/ 153543 h 314325"/>
                <a:gd name="connsiteX135" fmla="*/ 206121 w 219075"/>
                <a:gd name="connsiteY135" fmla="*/ 152210 h 314325"/>
                <a:gd name="connsiteX136" fmla="*/ 206788 w 219075"/>
                <a:gd name="connsiteY136" fmla="*/ 150114 h 314325"/>
                <a:gd name="connsiteX137" fmla="*/ 206788 w 219075"/>
                <a:gd name="connsiteY137" fmla="*/ 149447 h 314325"/>
                <a:gd name="connsiteX138" fmla="*/ 208121 w 219075"/>
                <a:gd name="connsiteY138" fmla="*/ 147352 h 314325"/>
                <a:gd name="connsiteX139" fmla="*/ 208788 w 219075"/>
                <a:gd name="connsiteY139" fmla="*/ 146018 h 314325"/>
                <a:gd name="connsiteX140" fmla="*/ 211550 w 219075"/>
                <a:gd name="connsiteY140" fmla="*/ 143923 h 314325"/>
                <a:gd name="connsiteX141" fmla="*/ 212217 w 219075"/>
                <a:gd name="connsiteY141" fmla="*/ 144590 h 314325"/>
                <a:gd name="connsiteX142" fmla="*/ 212217 w 219075"/>
                <a:gd name="connsiteY142" fmla="*/ 145256 h 314325"/>
                <a:gd name="connsiteX143" fmla="*/ 212884 w 219075"/>
                <a:gd name="connsiteY143" fmla="*/ 144590 h 314325"/>
                <a:gd name="connsiteX144" fmla="*/ 212884 w 219075"/>
                <a:gd name="connsiteY144" fmla="*/ 143923 h 314325"/>
                <a:gd name="connsiteX145" fmla="*/ 212217 w 219075"/>
                <a:gd name="connsiteY145" fmla="*/ 143923 h 314325"/>
                <a:gd name="connsiteX146" fmla="*/ 212217 w 219075"/>
                <a:gd name="connsiteY146" fmla="*/ 143256 h 314325"/>
                <a:gd name="connsiteX147" fmla="*/ 213550 w 219075"/>
                <a:gd name="connsiteY147" fmla="*/ 142589 h 314325"/>
                <a:gd name="connsiteX148" fmla="*/ 213550 w 219075"/>
                <a:gd name="connsiteY148" fmla="*/ 141256 h 314325"/>
                <a:gd name="connsiteX149" fmla="*/ 216313 w 219075"/>
                <a:gd name="connsiteY149" fmla="*/ 138493 h 314325"/>
                <a:gd name="connsiteX150" fmla="*/ 216979 w 219075"/>
                <a:gd name="connsiteY150" fmla="*/ 139160 h 314325"/>
                <a:gd name="connsiteX151" fmla="*/ 221075 w 219075"/>
                <a:gd name="connsiteY151" fmla="*/ 139827 h 314325"/>
                <a:gd name="connsiteX152" fmla="*/ 221075 w 219075"/>
                <a:gd name="connsiteY152" fmla="*/ 138493 h 314325"/>
                <a:gd name="connsiteX153" fmla="*/ 221075 w 219075"/>
                <a:gd name="connsiteY153" fmla="*/ 136398 h 314325"/>
                <a:gd name="connsiteX154" fmla="*/ 223838 w 219075"/>
                <a:gd name="connsiteY154" fmla="*/ 132969 h 314325"/>
                <a:gd name="connsiteX155" fmla="*/ 224504 w 219075"/>
                <a:gd name="connsiteY155" fmla="*/ 132969 h 314325"/>
                <a:gd name="connsiteX156" fmla="*/ 226219 w 219075"/>
                <a:gd name="connsiteY156" fmla="*/ 133445 h 314325"/>
                <a:gd name="connsiteX157" fmla="*/ 226886 w 219075"/>
                <a:gd name="connsiteY157" fmla="*/ 139637 h 314325"/>
                <a:gd name="connsiteX158" fmla="*/ 225552 w 219075"/>
                <a:gd name="connsiteY158" fmla="*/ 140303 h 314325"/>
                <a:gd name="connsiteX159" fmla="*/ 223456 w 219075"/>
                <a:gd name="connsiteY159" fmla="*/ 143066 h 314325"/>
                <a:gd name="connsiteX160" fmla="*/ 223456 w 219075"/>
                <a:gd name="connsiteY160" fmla="*/ 143732 h 314325"/>
                <a:gd name="connsiteX161" fmla="*/ 221361 w 219075"/>
                <a:gd name="connsiteY161" fmla="*/ 145066 h 314325"/>
                <a:gd name="connsiteX162" fmla="*/ 220027 w 219075"/>
                <a:gd name="connsiteY162" fmla="*/ 147828 h 314325"/>
                <a:gd name="connsiteX163" fmla="*/ 219361 w 219075"/>
                <a:gd name="connsiteY163" fmla="*/ 148495 h 314325"/>
                <a:gd name="connsiteX164" fmla="*/ 220694 w 219075"/>
                <a:gd name="connsiteY164" fmla="*/ 149162 h 314325"/>
                <a:gd name="connsiteX165" fmla="*/ 221361 w 219075"/>
                <a:gd name="connsiteY165" fmla="*/ 149162 h 314325"/>
                <a:gd name="connsiteX166" fmla="*/ 221361 w 219075"/>
                <a:gd name="connsiteY166" fmla="*/ 151257 h 314325"/>
                <a:gd name="connsiteX167" fmla="*/ 220027 w 219075"/>
                <a:gd name="connsiteY167" fmla="*/ 151924 h 314325"/>
                <a:gd name="connsiteX168" fmla="*/ 219361 w 219075"/>
                <a:gd name="connsiteY168" fmla="*/ 154686 h 314325"/>
                <a:gd name="connsiteX169" fmla="*/ 219361 w 219075"/>
                <a:gd name="connsiteY169" fmla="*/ 155353 h 314325"/>
                <a:gd name="connsiteX170" fmla="*/ 218694 w 219075"/>
                <a:gd name="connsiteY170" fmla="*/ 156686 h 314325"/>
                <a:gd name="connsiteX171" fmla="*/ 217361 w 219075"/>
                <a:gd name="connsiteY171" fmla="*/ 158020 h 314325"/>
                <a:gd name="connsiteX172" fmla="*/ 217361 w 219075"/>
                <a:gd name="connsiteY172" fmla="*/ 158687 h 314325"/>
                <a:gd name="connsiteX173" fmla="*/ 218027 w 219075"/>
                <a:gd name="connsiteY173" fmla="*/ 159353 h 314325"/>
                <a:gd name="connsiteX174" fmla="*/ 217361 w 219075"/>
                <a:gd name="connsiteY174" fmla="*/ 161449 h 314325"/>
                <a:gd name="connsiteX175" fmla="*/ 216027 w 219075"/>
                <a:gd name="connsiteY175" fmla="*/ 162116 h 314325"/>
                <a:gd name="connsiteX176" fmla="*/ 215360 w 219075"/>
                <a:gd name="connsiteY176" fmla="*/ 162782 h 314325"/>
                <a:gd name="connsiteX177" fmla="*/ 214027 w 219075"/>
                <a:gd name="connsiteY177" fmla="*/ 164878 h 314325"/>
                <a:gd name="connsiteX178" fmla="*/ 214027 w 219075"/>
                <a:gd name="connsiteY178" fmla="*/ 166973 h 314325"/>
                <a:gd name="connsiteX179" fmla="*/ 210598 w 219075"/>
                <a:gd name="connsiteY179" fmla="*/ 169736 h 314325"/>
                <a:gd name="connsiteX180" fmla="*/ 209931 w 219075"/>
                <a:gd name="connsiteY180" fmla="*/ 172498 h 314325"/>
                <a:gd name="connsiteX181" fmla="*/ 208598 w 219075"/>
                <a:gd name="connsiteY181" fmla="*/ 173831 h 314325"/>
                <a:gd name="connsiteX182" fmla="*/ 208598 w 219075"/>
                <a:gd name="connsiteY182" fmla="*/ 175927 h 314325"/>
                <a:gd name="connsiteX183" fmla="*/ 207931 w 219075"/>
                <a:gd name="connsiteY183" fmla="*/ 176593 h 314325"/>
                <a:gd name="connsiteX184" fmla="*/ 207931 w 219075"/>
                <a:gd name="connsiteY184" fmla="*/ 177260 h 314325"/>
                <a:gd name="connsiteX185" fmla="*/ 207264 w 219075"/>
                <a:gd name="connsiteY185" fmla="*/ 178594 h 314325"/>
                <a:gd name="connsiteX186" fmla="*/ 207264 w 219075"/>
                <a:gd name="connsiteY186" fmla="*/ 179927 h 314325"/>
                <a:gd name="connsiteX187" fmla="*/ 205931 w 219075"/>
                <a:gd name="connsiteY187" fmla="*/ 179927 h 314325"/>
                <a:gd name="connsiteX188" fmla="*/ 206597 w 219075"/>
                <a:gd name="connsiteY188" fmla="*/ 183356 h 314325"/>
                <a:gd name="connsiteX189" fmla="*/ 204502 w 219075"/>
                <a:gd name="connsiteY189" fmla="*/ 186118 h 314325"/>
                <a:gd name="connsiteX190" fmla="*/ 204502 w 219075"/>
                <a:gd name="connsiteY190" fmla="*/ 188881 h 314325"/>
                <a:gd name="connsiteX191" fmla="*/ 203835 w 219075"/>
                <a:gd name="connsiteY191" fmla="*/ 190214 h 314325"/>
                <a:gd name="connsiteX192" fmla="*/ 201073 w 219075"/>
                <a:gd name="connsiteY192" fmla="*/ 190214 h 314325"/>
                <a:gd name="connsiteX193" fmla="*/ 200406 w 219075"/>
                <a:gd name="connsiteY193" fmla="*/ 190881 h 314325"/>
                <a:gd name="connsiteX194" fmla="*/ 201740 w 219075"/>
                <a:gd name="connsiteY194" fmla="*/ 192215 h 314325"/>
                <a:gd name="connsiteX195" fmla="*/ 202406 w 219075"/>
                <a:gd name="connsiteY195" fmla="*/ 193548 h 314325"/>
                <a:gd name="connsiteX196" fmla="*/ 198977 w 219075"/>
                <a:gd name="connsiteY196" fmla="*/ 193548 h 314325"/>
                <a:gd name="connsiteX197" fmla="*/ 196215 w 219075"/>
                <a:gd name="connsiteY197" fmla="*/ 196310 h 314325"/>
                <a:gd name="connsiteX198" fmla="*/ 197548 w 219075"/>
                <a:gd name="connsiteY198" fmla="*/ 198406 h 314325"/>
                <a:gd name="connsiteX199" fmla="*/ 198215 w 219075"/>
                <a:gd name="connsiteY199" fmla="*/ 199072 h 314325"/>
                <a:gd name="connsiteX200" fmla="*/ 194786 w 219075"/>
                <a:gd name="connsiteY200" fmla="*/ 201168 h 314325"/>
                <a:gd name="connsiteX201" fmla="*/ 193453 w 219075"/>
                <a:gd name="connsiteY201" fmla="*/ 201835 h 314325"/>
                <a:gd name="connsiteX202" fmla="*/ 194786 w 219075"/>
                <a:gd name="connsiteY202" fmla="*/ 202501 h 314325"/>
                <a:gd name="connsiteX203" fmla="*/ 196882 w 219075"/>
                <a:gd name="connsiteY203" fmla="*/ 205930 h 314325"/>
                <a:gd name="connsiteX204" fmla="*/ 196882 w 219075"/>
                <a:gd name="connsiteY204" fmla="*/ 206597 h 314325"/>
                <a:gd name="connsiteX205" fmla="*/ 196215 w 219075"/>
                <a:gd name="connsiteY205" fmla="*/ 207264 h 314325"/>
                <a:gd name="connsiteX206" fmla="*/ 196215 w 219075"/>
                <a:gd name="connsiteY206" fmla="*/ 206597 h 314325"/>
                <a:gd name="connsiteX207" fmla="*/ 194881 w 219075"/>
                <a:gd name="connsiteY207" fmla="*/ 205930 h 314325"/>
                <a:gd name="connsiteX208" fmla="*/ 194215 w 219075"/>
                <a:gd name="connsiteY208" fmla="*/ 205930 h 314325"/>
                <a:gd name="connsiteX209" fmla="*/ 190119 w 219075"/>
                <a:gd name="connsiteY209" fmla="*/ 208693 h 314325"/>
                <a:gd name="connsiteX210" fmla="*/ 189452 w 219075"/>
                <a:gd name="connsiteY210" fmla="*/ 209360 h 314325"/>
                <a:gd name="connsiteX211" fmla="*/ 190119 w 219075"/>
                <a:gd name="connsiteY211" fmla="*/ 213455 h 314325"/>
                <a:gd name="connsiteX212" fmla="*/ 188786 w 219075"/>
                <a:gd name="connsiteY212" fmla="*/ 214122 h 314325"/>
                <a:gd name="connsiteX213" fmla="*/ 184690 w 219075"/>
                <a:gd name="connsiteY213" fmla="*/ 215455 h 314325"/>
                <a:gd name="connsiteX214" fmla="*/ 184023 w 219075"/>
                <a:gd name="connsiteY214" fmla="*/ 216789 h 314325"/>
                <a:gd name="connsiteX215" fmla="*/ 184023 w 219075"/>
                <a:gd name="connsiteY215" fmla="*/ 217456 h 314325"/>
                <a:gd name="connsiteX216" fmla="*/ 181927 w 219075"/>
                <a:gd name="connsiteY216" fmla="*/ 220885 h 314325"/>
                <a:gd name="connsiteX217" fmla="*/ 180594 w 219075"/>
                <a:gd name="connsiteY217" fmla="*/ 220885 h 314325"/>
                <a:gd name="connsiteX218" fmla="*/ 177832 w 219075"/>
                <a:gd name="connsiteY218" fmla="*/ 224314 h 314325"/>
                <a:gd name="connsiteX219" fmla="*/ 177832 w 219075"/>
                <a:gd name="connsiteY219" fmla="*/ 224980 h 314325"/>
                <a:gd name="connsiteX220" fmla="*/ 176498 w 219075"/>
                <a:gd name="connsiteY220" fmla="*/ 227743 h 314325"/>
                <a:gd name="connsiteX221" fmla="*/ 175165 w 219075"/>
                <a:gd name="connsiteY221" fmla="*/ 229838 h 314325"/>
                <a:gd name="connsiteX222" fmla="*/ 175831 w 219075"/>
                <a:gd name="connsiteY222" fmla="*/ 231172 h 314325"/>
                <a:gd name="connsiteX223" fmla="*/ 175165 w 219075"/>
                <a:gd name="connsiteY223" fmla="*/ 231839 h 314325"/>
                <a:gd name="connsiteX224" fmla="*/ 173069 w 219075"/>
                <a:gd name="connsiteY224" fmla="*/ 233934 h 314325"/>
                <a:gd name="connsiteX225" fmla="*/ 172402 w 219075"/>
                <a:gd name="connsiteY225" fmla="*/ 234601 h 314325"/>
                <a:gd name="connsiteX226" fmla="*/ 172402 w 219075"/>
                <a:gd name="connsiteY226" fmla="*/ 235267 h 314325"/>
                <a:gd name="connsiteX227" fmla="*/ 166211 w 219075"/>
                <a:gd name="connsiteY227" fmla="*/ 235267 h 314325"/>
                <a:gd name="connsiteX228" fmla="*/ 164878 w 219075"/>
                <a:gd name="connsiteY228" fmla="*/ 235934 h 314325"/>
                <a:gd name="connsiteX229" fmla="*/ 164211 w 219075"/>
                <a:gd name="connsiteY229" fmla="*/ 239363 h 314325"/>
                <a:gd name="connsiteX230" fmla="*/ 163544 w 219075"/>
                <a:gd name="connsiteY230" fmla="*/ 239363 h 314325"/>
                <a:gd name="connsiteX231" fmla="*/ 160115 w 219075"/>
                <a:gd name="connsiteY231" fmla="*/ 242792 h 314325"/>
                <a:gd name="connsiteX232" fmla="*/ 155353 w 219075"/>
                <a:gd name="connsiteY232" fmla="*/ 246888 h 314325"/>
                <a:gd name="connsiteX233" fmla="*/ 152590 w 219075"/>
                <a:gd name="connsiteY233" fmla="*/ 248221 h 314325"/>
                <a:gd name="connsiteX234" fmla="*/ 151257 w 219075"/>
                <a:gd name="connsiteY234" fmla="*/ 249555 h 314325"/>
                <a:gd name="connsiteX235" fmla="*/ 151924 w 219075"/>
                <a:gd name="connsiteY235" fmla="*/ 250889 h 314325"/>
                <a:gd name="connsiteX236" fmla="*/ 151257 w 219075"/>
                <a:gd name="connsiteY236" fmla="*/ 252222 h 314325"/>
                <a:gd name="connsiteX237" fmla="*/ 148495 w 219075"/>
                <a:gd name="connsiteY237" fmla="*/ 253555 h 314325"/>
                <a:gd name="connsiteX238" fmla="*/ 147161 w 219075"/>
                <a:gd name="connsiteY238" fmla="*/ 255651 h 314325"/>
                <a:gd name="connsiteX239" fmla="*/ 146494 w 219075"/>
                <a:gd name="connsiteY239" fmla="*/ 257746 h 314325"/>
                <a:gd name="connsiteX240" fmla="*/ 145828 w 219075"/>
                <a:gd name="connsiteY240" fmla="*/ 258413 h 314325"/>
                <a:gd name="connsiteX241" fmla="*/ 143732 w 219075"/>
                <a:gd name="connsiteY241" fmla="*/ 259080 h 314325"/>
                <a:gd name="connsiteX242" fmla="*/ 140970 w 219075"/>
                <a:gd name="connsiteY242" fmla="*/ 260414 h 314325"/>
                <a:gd name="connsiteX243" fmla="*/ 140303 w 219075"/>
                <a:gd name="connsiteY243" fmla="*/ 260414 h 314325"/>
                <a:gd name="connsiteX244" fmla="*/ 139637 w 219075"/>
                <a:gd name="connsiteY244" fmla="*/ 261080 h 314325"/>
                <a:gd name="connsiteX245" fmla="*/ 139637 w 219075"/>
                <a:gd name="connsiteY245" fmla="*/ 261747 h 314325"/>
                <a:gd name="connsiteX246" fmla="*/ 137541 w 219075"/>
                <a:gd name="connsiteY246" fmla="*/ 265176 h 314325"/>
                <a:gd name="connsiteX247" fmla="*/ 135446 w 219075"/>
                <a:gd name="connsiteY247" fmla="*/ 267271 h 314325"/>
                <a:gd name="connsiteX248" fmla="*/ 135446 w 219075"/>
                <a:gd name="connsiteY248" fmla="*/ 267938 h 314325"/>
                <a:gd name="connsiteX249" fmla="*/ 134779 w 219075"/>
                <a:gd name="connsiteY249" fmla="*/ 268605 h 314325"/>
                <a:gd name="connsiteX250" fmla="*/ 132683 w 219075"/>
                <a:gd name="connsiteY250" fmla="*/ 268605 h 314325"/>
                <a:gd name="connsiteX251" fmla="*/ 127159 w 219075"/>
                <a:gd name="connsiteY251" fmla="*/ 274796 h 314325"/>
                <a:gd name="connsiteX252" fmla="*/ 125825 w 219075"/>
                <a:gd name="connsiteY252" fmla="*/ 275463 h 314325"/>
                <a:gd name="connsiteX253" fmla="*/ 127159 w 219075"/>
                <a:gd name="connsiteY253" fmla="*/ 276130 h 314325"/>
                <a:gd name="connsiteX254" fmla="*/ 128492 w 219075"/>
                <a:gd name="connsiteY254" fmla="*/ 277463 h 314325"/>
                <a:gd name="connsiteX255" fmla="*/ 128492 w 219075"/>
                <a:gd name="connsiteY255" fmla="*/ 278130 h 314325"/>
                <a:gd name="connsiteX256" fmla="*/ 129159 w 219075"/>
                <a:gd name="connsiteY256" fmla="*/ 283655 h 314325"/>
                <a:gd name="connsiteX257" fmla="*/ 129826 w 219075"/>
                <a:gd name="connsiteY257" fmla="*/ 284321 h 314325"/>
                <a:gd name="connsiteX258" fmla="*/ 131921 w 219075"/>
                <a:gd name="connsiteY258" fmla="*/ 283655 h 314325"/>
                <a:gd name="connsiteX259" fmla="*/ 134684 w 219075"/>
                <a:gd name="connsiteY259" fmla="*/ 283655 h 314325"/>
                <a:gd name="connsiteX260" fmla="*/ 132588 w 219075"/>
                <a:gd name="connsiteY260" fmla="*/ 286417 h 314325"/>
                <a:gd name="connsiteX261" fmla="*/ 131921 w 219075"/>
                <a:gd name="connsiteY261" fmla="*/ 287084 h 314325"/>
                <a:gd name="connsiteX262" fmla="*/ 129826 w 219075"/>
                <a:gd name="connsiteY262" fmla="*/ 287084 h 314325"/>
                <a:gd name="connsiteX263" fmla="*/ 125730 w 219075"/>
                <a:gd name="connsiteY263" fmla="*/ 291179 h 314325"/>
                <a:gd name="connsiteX264" fmla="*/ 122301 w 219075"/>
                <a:gd name="connsiteY264" fmla="*/ 293275 h 314325"/>
                <a:gd name="connsiteX265" fmla="*/ 118872 w 219075"/>
                <a:gd name="connsiteY265" fmla="*/ 296704 h 314325"/>
                <a:gd name="connsiteX266" fmla="*/ 117538 w 219075"/>
                <a:gd name="connsiteY266" fmla="*/ 297370 h 314325"/>
                <a:gd name="connsiteX267" fmla="*/ 114110 w 219075"/>
                <a:gd name="connsiteY267" fmla="*/ 300799 h 314325"/>
                <a:gd name="connsiteX268" fmla="*/ 110014 w 219075"/>
                <a:gd name="connsiteY268" fmla="*/ 302133 h 314325"/>
                <a:gd name="connsiteX269" fmla="*/ 106585 w 219075"/>
                <a:gd name="connsiteY269" fmla="*/ 305562 h 314325"/>
                <a:gd name="connsiteX270" fmla="*/ 105918 w 219075"/>
                <a:gd name="connsiteY270" fmla="*/ 305562 h 314325"/>
                <a:gd name="connsiteX271" fmla="*/ 103156 w 219075"/>
                <a:gd name="connsiteY271" fmla="*/ 306229 h 314325"/>
                <a:gd name="connsiteX272" fmla="*/ 102489 w 219075"/>
                <a:gd name="connsiteY272" fmla="*/ 306229 h 314325"/>
                <a:gd name="connsiteX273" fmla="*/ 99727 w 219075"/>
                <a:gd name="connsiteY273" fmla="*/ 307562 h 314325"/>
                <a:gd name="connsiteX274" fmla="*/ 96298 w 219075"/>
                <a:gd name="connsiteY274" fmla="*/ 308229 h 314325"/>
                <a:gd name="connsiteX275" fmla="*/ 94964 w 219075"/>
                <a:gd name="connsiteY275" fmla="*/ 308229 h 314325"/>
                <a:gd name="connsiteX276" fmla="*/ 91535 w 219075"/>
                <a:gd name="connsiteY276" fmla="*/ 308896 h 314325"/>
                <a:gd name="connsiteX277" fmla="*/ 90202 w 219075"/>
                <a:gd name="connsiteY277" fmla="*/ 310991 h 314325"/>
                <a:gd name="connsiteX278" fmla="*/ 87440 w 219075"/>
                <a:gd name="connsiteY278" fmla="*/ 311658 h 314325"/>
                <a:gd name="connsiteX279" fmla="*/ 86106 w 219075"/>
                <a:gd name="connsiteY279" fmla="*/ 312325 h 314325"/>
                <a:gd name="connsiteX280" fmla="*/ 85439 w 219075"/>
                <a:gd name="connsiteY280" fmla="*/ 312325 h 314325"/>
                <a:gd name="connsiteX281" fmla="*/ 83344 w 219075"/>
                <a:gd name="connsiteY281" fmla="*/ 312992 h 314325"/>
                <a:gd name="connsiteX282" fmla="*/ 77819 w 219075"/>
                <a:gd name="connsiteY282" fmla="*/ 312992 h 314325"/>
                <a:gd name="connsiteX283" fmla="*/ 76486 w 219075"/>
                <a:gd name="connsiteY283" fmla="*/ 314325 h 314325"/>
                <a:gd name="connsiteX284" fmla="*/ 75819 w 219075"/>
                <a:gd name="connsiteY284" fmla="*/ 314992 h 314325"/>
                <a:gd name="connsiteX285" fmla="*/ 72390 w 219075"/>
                <a:gd name="connsiteY285" fmla="*/ 312896 h 314325"/>
                <a:gd name="connsiteX286" fmla="*/ 69628 w 219075"/>
                <a:gd name="connsiteY286" fmla="*/ 312896 h 314325"/>
                <a:gd name="connsiteX287" fmla="*/ 65532 w 219075"/>
                <a:gd name="connsiteY287" fmla="*/ 310134 h 314325"/>
                <a:gd name="connsiteX288" fmla="*/ 62770 w 219075"/>
                <a:gd name="connsiteY288" fmla="*/ 312230 h 314325"/>
                <a:gd name="connsiteX289" fmla="*/ 62103 w 219075"/>
                <a:gd name="connsiteY289" fmla="*/ 312896 h 314325"/>
                <a:gd name="connsiteX290" fmla="*/ 59341 w 219075"/>
                <a:gd name="connsiteY290" fmla="*/ 313563 h 314325"/>
                <a:gd name="connsiteX291" fmla="*/ 56578 w 219075"/>
                <a:gd name="connsiteY291" fmla="*/ 312896 h 314325"/>
                <a:gd name="connsiteX292" fmla="*/ 55912 w 219075"/>
                <a:gd name="connsiteY292" fmla="*/ 311563 h 314325"/>
                <a:gd name="connsiteX293" fmla="*/ 54578 w 219075"/>
                <a:gd name="connsiteY293" fmla="*/ 312896 h 314325"/>
                <a:gd name="connsiteX294" fmla="*/ 54578 w 219075"/>
                <a:gd name="connsiteY294" fmla="*/ 313563 h 314325"/>
                <a:gd name="connsiteX295" fmla="*/ 44291 w 219075"/>
                <a:gd name="connsiteY295" fmla="*/ 313563 h 314325"/>
                <a:gd name="connsiteX296" fmla="*/ 43625 w 219075"/>
                <a:gd name="connsiteY296" fmla="*/ 312896 h 314325"/>
                <a:gd name="connsiteX297" fmla="*/ 40196 w 219075"/>
                <a:gd name="connsiteY297" fmla="*/ 310134 h 314325"/>
                <a:gd name="connsiteX298" fmla="*/ 36767 w 219075"/>
                <a:gd name="connsiteY298" fmla="*/ 310134 h 314325"/>
                <a:gd name="connsiteX299" fmla="*/ 34004 w 219075"/>
                <a:gd name="connsiteY299" fmla="*/ 309467 h 314325"/>
                <a:gd name="connsiteX300" fmla="*/ 29908 w 219075"/>
                <a:gd name="connsiteY300" fmla="*/ 308134 h 314325"/>
                <a:gd name="connsiteX301" fmla="*/ 29242 w 219075"/>
                <a:gd name="connsiteY301" fmla="*/ 308134 h 314325"/>
                <a:gd name="connsiteX302" fmla="*/ 27146 w 219075"/>
                <a:gd name="connsiteY302" fmla="*/ 307467 h 314325"/>
                <a:gd name="connsiteX303" fmla="*/ 24384 w 219075"/>
                <a:gd name="connsiteY303" fmla="*/ 307467 h 314325"/>
                <a:gd name="connsiteX304" fmla="*/ 21622 w 219075"/>
                <a:gd name="connsiteY304" fmla="*/ 304705 h 314325"/>
                <a:gd name="connsiteX305" fmla="*/ 18859 w 219075"/>
                <a:gd name="connsiteY305" fmla="*/ 304038 h 314325"/>
                <a:gd name="connsiteX306" fmla="*/ 17526 w 219075"/>
                <a:gd name="connsiteY306" fmla="*/ 304038 h 314325"/>
                <a:gd name="connsiteX307" fmla="*/ 16193 w 219075"/>
                <a:gd name="connsiteY307" fmla="*/ 300609 h 314325"/>
                <a:gd name="connsiteX308" fmla="*/ 14859 w 219075"/>
                <a:gd name="connsiteY308" fmla="*/ 299275 h 314325"/>
                <a:gd name="connsiteX309" fmla="*/ 10763 w 219075"/>
                <a:gd name="connsiteY309" fmla="*/ 296513 h 314325"/>
                <a:gd name="connsiteX310" fmla="*/ 10763 w 219075"/>
                <a:gd name="connsiteY310" fmla="*/ 295846 h 314325"/>
                <a:gd name="connsiteX311" fmla="*/ 9430 w 219075"/>
                <a:gd name="connsiteY311" fmla="*/ 294513 h 314325"/>
                <a:gd name="connsiteX312" fmla="*/ 8096 w 219075"/>
                <a:gd name="connsiteY312" fmla="*/ 292417 h 314325"/>
                <a:gd name="connsiteX313" fmla="*/ 7429 w 219075"/>
                <a:gd name="connsiteY313" fmla="*/ 292417 h 314325"/>
                <a:gd name="connsiteX314" fmla="*/ 7429 w 219075"/>
                <a:gd name="connsiteY314" fmla="*/ 291751 h 314325"/>
                <a:gd name="connsiteX315" fmla="*/ 6763 w 219075"/>
                <a:gd name="connsiteY315" fmla="*/ 289655 h 314325"/>
                <a:gd name="connsiteX316" fmla="*/ 6763 w 219075"/>
                <a:gd name="connsiteY316" fmla="*/ 288989 h 314325"/>
                <a:gd name="connsiteX317" fmla="*/ 4667 w 219075"/>
                <a:gd name="connsiteY317" fmla="*/ 286226 h 314325"/>
                <a:gd name="connsiteX318" fmla="*/ 4667 w 219075"/>
                <a:gd name="connsiteY318" fmla="*/ 284893 h 314325"/>
                <a:gd name="connsiteX319" fmla="*/ 4000 w 219075"/>
                <a:gd name="connsiteY319" fmla="*/ 282131 h 314325"/>
                <a:gd name="connsiteX320" fmla="*/ 4000 w 219075"/>
                <a:gd name="connsiteY320" fmla="*/ 281464 h 314325"/>
                <a:gd name="connsiteX321" fmla="*/ 3334 w 219075"/>
                <a:gd name="connsiteY321" fmla="*/ 279368 h 314325"/>
                <a:gd name="connsiteX322" fmla="*/ 3334 w 219075"/>
                <a:gd name="connsiteY322" fmla="*/ 278701 h 314325"/>
                <a:gd name="connsiteX323" fmla="*/ 2000 w 219075"/>
                <a:gd name="connsiteY323" fmla="*/ 278035 h 314325"/>
                <a:gd name="connsiteX324" fmla="*/ 2000 w 219075"/>
                <a:gd name="connsiteY324" fmla="*/ 276701 h 314325"/>
                <a:gd name="connsiteX325" fmla="*/ 2667 w 219075"/>
                <a:gd name="connsiteY325" fmla="*/ 273272 h 314325"/>
                <a:gd name="connsiteX326" fmla="*/ 2667 w 219075"/>
                <a:gd name="connsiteY326" fmla="*/ 271272 h 314325"/>
                <a:gd name="connsiteX327" fmla="*/ 1333 w 219075"/>
                <a:gd name="connsiteY327" fmla="*/ 267176 h 314325"/>
                <a:gd name="connsiteX328" fmla="*/ 667 w 219075"/>
                <a:gd name="connsiteY328" fmla="*/ 264414 h 314325"/>
                <a:gd name="connsiteX329" fmla="*/ 667 w 219075"/>
                <a:gd name="connsiteY329" fmla="*/ 256889 h 314325"/>
                <a:gd name="connsiteX330" fmla="*/ 1333 w 219075"/>
                <a:gd name="connsiteY330" fmla="*/ 256222 h 314325"/>
                <a:gd name="connsiteX331" fmla="*/ 0 w 219075"/>
                <a:gd name="connsiteY331" fmla="*/ 254889 h 314325"/>
                <a:gd name="connsiteX332" fmla="*/ 0 w 219075"/>
                <a:gd name="connsiteY332" fmla="*/ 253555 h 314325"/>
                <a:gd name="connsiteX333" fmla="*/ 1333 w 219075"/>
                <a:gd name="connsiteY333" fmla="*/ 252889 h 314325"/>
                <a:gd name="connsiteX334" fmla="*/ 2000 w 219075"/>
                <a:gd name="connsiteY334" fmla="*/ 252889 h 314325"/>
                <a:gd name="connsiteX335" fmla="*/ 1333 w 219075"/>
                <a:gd name="connsiteY335" fmla="*/ 249460 h 314325"/>
                <a:gd name="connsiteX336" fmla="*/ 667 w 219075"/>
                <a:gd name="connsiteY336" fmla="*/ 248793 h 314325"/>
                <a:gd name="connsiteX337" fmla="*/ 0 w 219075"/>
                <a:gd name="connsiteY337" fmla="*/ 246031 h 314325"/>
                <a:gd name="connsiteX338" fmla="*/ 667 w 219075"/>
                <a:gd name="connsiteY338" fmla="*/ 245364 h 314325"/>
                <a:gd name="connsiteX339" fmla="*/ 2000 w 219075"/>
                <a:gd name="connsiteY339" fmla="*/ 244030 h 314325"/>
                <a:gd name="connsiteX340" fmla="*/ 1333 w 219075"/>
                <a:gd name="connsiteY340" fmla="*/ 242697 h 314325"/>
                <a:gd name="connsiteX341" fmla="*/ 2667 w 219075"/>
                <a:gd name="connsiteY341" fmla="*/ 241364 h 314325"/>
                <a:gd name="connsiteX342" fmla="*/ 2667 w 219075"/>
                <a:gd name="connsiteY342" fmla="*/ 234505 h 314325"/>
                <a:gd name="connsiteX343" fmla="*/ 3334 w 219075"/>
                <a:gd name="connsiteY343" fmla="*/ 231076 h 314325"/>
                <a:gd name="connsiteX344" fmla="*/ 3334 w 219075"/>
                <a:gd name="connsiteY344" fmla="*/ 228314 h 314325"/>
                <a:gd name="connsiteX345" fmla="*/ 4000 w 219075"/>
                <a:gd name="connsiteY345" fmla="*/ 226981 h 314325"/>
                <a:gd name="connsiteX346" fmla="*/ 4667 w 219075"/>
                <a:gd name="connsiteY346" fmla="*/ 225647 h 314325"/>
                <a:gd name="connsiteX347" fmla="*/ 4000 w 219075"/>
                <a:gd name="connsiteY347" fmla="*/ 224980 h 314325"/>
                <a:gd name="connsiteX348" fmla="*/ 3334 w 219075"/>
                <a:gd name="connsiteY348" fmla="*/ 223647 h 314325"/>
                <a:gd name="connsiteX349" fmla="*/ 4667 w 219075"/>
                <a:gd name="connsiteY349" fmla="*/ 222314 h 314325"/>
                <a:gd name="connsiteX350" fmla="*/ 4667 w 219075"/>
                <a:gd name="connsiteY350" fmla="*/ 220218 h 314325"/>
                <a:gd name="connsiteX351" fmla="*/ 5334 w 219075"/>
                <a:gd name="connsiteY351" fmla="*/ 218122 h 314325"/>
                <a:gd name="connsiteX352" fmla="*/ 6001 w 219075"/>
                <a:gd name="connsiteY352" fmla="*/ 216789 h 314325"/>
                <a:gd name="connsiteX353" fmla="*/ 4667 w 219075"/>
                <a:gd name="connsiteY353" fmla="*/ 216122 h 314325"/>
                <a:gd name="connsiteX354" fmla="*/ 3334 w 219075"/>
                <a:gd name="connsiteY354" fmla="*/ 216122 h 314325"/>
                <a:gd name="connsiteX355" fmla="*/ 2667 w 219075"/>
                <a:gd name="connsiteY355" fmla="*/ 214789 h 314325"/>
                <a:gd name="connsiteX356" fmla="*/ 3334 w 219075"/>
                <a:gd name="connsiteY356" fmla="*/ 214122 h 314325"/>
                <a:gd name="connsiteX357" fmla="*/ 3334 w 219075"/>
                <a:gd name="connsiteY357" fmla="*/ 212789 h 314325"/>
                <a:gd name="connsiteX358" fmla="*/ 4000 w 219075"/>
                <a:gd name="connsiteY358" fmla="*/ 212122 h 314325"/>
                <a:gd name="connsiteX359" fmla="*/ 4667 w 219075"/>
                <a:gd name="connsiteY359" fmla="*/ 212789 h 314325"/>
                <a:gd name="connsiteX360" fmla="*/ 4667 w 219075"/>
                <a:gd name="connsiteY360" fmla="*/ 213455 h 314325"/>
                <a:gd name="connsiteX361" fmla="*/ 5334 w 219075"/>
                <a:gd name="connsiteY361" fmla="*/ 212789 h 314325"/>
                <a:gd name="connsiteX362" fmla="*/ 6001 w 219075"/>
                <a:gd name="connsiteY362" fmla="*/ 212122 h 314325"/>
                <a:gd name="connsiteX363" fmla="*/ 6668 w 219075"/>
                <a:gd name="connsiteY363" fmla="*/ 210788 h 314325"/>
                <a:gd name="connsiteX364" fmla="*/ 6001 w 219075"/>
                <a:gd name="connsiteY364" fmla="*/ 209455 h 314325"/>
                <a:gd name="connsiteX365" fmla="*/ 6001 w 219075"/>
                <a:gd name="connsiteY365" fmla="*/ 208788 h 314325"/>
                <a:gd name="connsiteX366" fmla="*/ 6668 w 219075"/>
                <a:gd name="connsiteY366" fmla="*/ 204025 h 314325"/>
                <a:gd name="connsiteX367" fmla="*/ 6001 w 219075"/>
                <a:gd name="connsiteY367" fmla="*/ 201263 h 314325"/>
                <a:gd name="connsiteX368" fmla="*/ 7334 w 219075"/>
                <a:gd name="connsiteY368" fmla="*/ 198501 h 314325"/>
                <a:gd name="connsiteX369" fmla="*/ 7334 w 219075"/>
                <a:gd name="connsiteY369" fmla="*/ 197834 h 314325"/>
                <a:gd name="connsiteX370" fmla="*/ 7334 w 219075"/>
                <a:gd name="connsiteY370" fmla="*/ 191643 h 314325"/>
                <a:gd name="connsiteX371" fmla="*/ 6668 w 219075"/>
                <a:gd name="connsiteY371" fmla="*/ 186880 h 314325"/>
                <a:gd name="connsiteX372" fmla="*/ 8001 w 219075"/>
                <a:gd name="connsiteY372" fmla="*/ 182785 h 314325"/>
                <a:gd name="connsiteX373" fmla="*/ 8001 w 219075"/>
                <a:gd name="connsiteY373" fmla="*/ 178022 h 314325"/>
                <a:gd name="connsiteX374" fmla="*/ 9334 w 219075"/>
                <a:gd name="connsiteY374" fmla="*/ 176689 h 314325"/>
                <a:gd name="connsiteX375" fmla="*/ 11430 w 219075"/>
                <a:gd name="connsiteY375" fmla="*/ 174593 h 314325"/>
                <a:gd name="connsiteX376" fmla="*/ 11430 w 219075"/>
                <a:gd name="connsiteY376" fmla="*/ 172498 h 314325"/>
                <a:gd name="connsiteX377" fmla="*/ 10097 w 219075"/>
                <a:gd name="connsiteY377" fmla="*/ 171831 h 314325"/>
                <a:gd name="connsiteX378" fmla="*/ 10763 w 219075"/>
                <a:gd name="connsiteY378" fmla="*/ 171164 h 314325"/>
                <a:gd name="connsiteX379" fmla="*/ 11430 w 219075"/>
                <a:gd name="connsiteY379" fmla="*/ 170497 h 314325"/>
                <a:gd name="connsiteX380" fmla="*/ 11430 w 219075"/>
                <a:gd name="connsiteY380" fmla="*/ 169831 h 314325"/>
                <a:gd name="connsiteX381" fmla="*/ 10097 w 219075"/>
                <a:gd name="connsiteY381" fmla="*/ 168497 h 314325"/>
                <a:gd name="connsiteX382" fmla="*/ 11430 w 219075"/>
                <a:gd name="connsiteY382" fmla="*/ 166402 h 314325"/>
                <a:gd name="connsiteX383" fmla="*/ 12097 w 219075"/>
                <a:gd name="connsiteY383" fmla="*/ 165735 h 314325"/>
                <a:gd name="connsiteX384" fmla="*/ 11430 w 219075"/>
                <a:gd name="connsiteY384" fmla="*/ 164401 h 314325"/>
                <a:gd name="connsiteX385" fmla="*/ 13525 w 219075"/>
                <a:gd name="connsiteY385" fmla="*/ 161639 h 314325"/>
                <a:gd name="connsiteX386" fmla="*/ 14192 w 219075"/>
                <a:gd name="connsiteY386" fmla="*/ 160972 h 314325"/>
                <a:gd name="connsiteX387" fmla="*/ 13525 w 219075"/>
                <a:gd name="connsiteY387" fmla="*/ 160972 h 314325"/>
                <a:gd name="connsiteX388" fmla="*/ 14192 w 219075"/>
                <a:gd name="connsiteY388" fmla="*/ 158210 h 314325"/>
                <a:gd name="connsiteX389" fmla="*/ 15526 w 219075"/>
                <a:gd name="connsiteY389" fmla="*/ 156877 h 314325"/>
                <a:gd name="connsiteX390" fmla="*/ 16193 w 219075"/>
                <a:gd name="connsiteY390" fmla="*/ 155543 h 314325"/>
                <a:gd name="connsiteX391" fmla="*/ 16193 w 219075"/>
                <a:gd name="connsiteY391" fmla="*/ 154876 h 314325"/>
                <a:gd name="connsiteX392" fmla="*/ 17526 w 219075"/>
                <a:gd name="connsiteY392" fmla="*/ 152781 h 314325"/>
                <a:gd name="connsiteX393" fmla="*/ 17526 w 219075"/>
                <a:gd name="connsiteY393" fmla="*/ 146494 h 314325"/>
                <a:gd name="connsiteX394" fmla="*/ 18859 w 219075"/>
                <a:gd name="connsiteY394" fmla="*/ 143732 h 314325"/>
                <a:gd name="connsiteX395" fmla="*/ 18859 w 219075"/>
                <a:gd name="connsiteY395" fmla="*/ 142399 h 314325"/>
                <a:gd name="connsiteX396" fmla="*/ 20193 w 219075"/>
                <a:gd name="connsiteY396" fmla="*/ 138303 h 314325"/>
                <a:gd name="connsiteX397" fmla="*/ 19526 w 219075"/>
                <a:gd name="connsiteY397" fmla="*/ 135541 h 314325"/>
                <a:gd name="connsiteX398" fmla="*/ 20860 w 219075"/>
                <a:gd name="connsiteY398" fmla="*/ 134207 h 314325"/>
                <a:gd name="connsiteX399" fmla="*/ 20860 w 219075"/>
                <a:gd name="connsiteY399" fmla="*/ 133541 h 314325"/>
                <a:gd name="connsiteX400" fmla="*/ 20193 w 219075"/>
                <a:gd name="connsiteY400" fmla="*/ 131445 h 314325"/>
                <a:gd name="connsiteX401" fmla="*/ 20193 w 219075"/>
                <a:gd name="connsiteY401" fmla="*/ 129349 h 314325"/>
                <a:gd name="connsiteX402" fmla="*/ 20860 w 219075"/>
                <a:gd name="connsiteY402" fmla="*/ 128683 h 314325"/>
                <a:gd name="connsiteX403" fmla="*/ 22955 w 219075"/>
                <a:gd name="connsiteY403" fmla="*/ 125920 h 314325"/>
                <a:gd name="connsiteX404" fmla="*/ 22289 w 219075"/>
                <a:gd name="connsiteY404" fmla="*/ 124587 h 314325"/>
                <a:gd name="connsiteX405" fmla="*/ 30480 w 219075"/>
                <a:gd name="connsiteY405" fmla="*/ 102679 h 314325"/>
                <a:gd name="connsiteX406" fmla="*/ 30480 w 219075"/>
                <a:gd name="connsiteY406" fmla="*/ 102013 h 314325"/>
                <a:gd name="connsiteX407" fmla="*/ 31814 w 219075"/>
                <a:gd name="connsiteY407" fmla="*/ 99250 h 314325"/>
                <a:gd name="connsiteX408" fmla="*/ 31814 w 219075"/>
                <a:gd name="connsiteY408" fmla="*/ 98584 h 314325"/>
                <a:gd name="connsiteX409" fmla="*/ 33909 w 219075"/>
                <a:gd name="connsiteY409" fmla="*/ 96488 h 314325"/>
                <a:gd name="connsiteX410" fmla="*/ 35243 w 219075"/>
                <a:gd name="connsiteY410" fmla="*/ 95821 h 314325"/>
                <a:gd name="connsiteX411" fmla="*/ 35243 w 219075"/>
                <a:gd name="connsiteY411" fmla="*/ 95059 h 314325"/>
                <a:gd name="connsiteX412" fmla="*/ 36576 w 219075"/>
                <a:gd name="connsiteY412" fmla="*/ 92297 h 314325"/>
                <a:gd name="connsiteX413" fmla="*/ 36576 w 219075"/>
                <a:gd name="connsiteY413" fmla="*/ 89535 h 314325"/>
                <a:gd name="connsiteX414" fmla="*/ 37243 w 219075"/>
                <a:gd name="connsiteY414" fmla="*/ 88868 h 314325"/>
                <a:gd name="connsiteX415" fmla="*/ 38576 w 219075"/>
                <a:gd name="connsiteY415" fmla="*/ 86773 h 314325"/>
                <a:gd name="connsiteX416" fmla="*/ 39910 w 219075"/>
                <a:gd name="connsiteY416" fmla="*/ 84011 h 314325"/>
                <a:gd name="connsiteX417" fmla="*/ 39910 w 219075"/>
                <a:gd name="connsiteY417" fmla="*/ 82677 h 314325"/>
                <a:gd name="connsiteX418" fmla="*/ 42005 w 219075"/>
                <a:gd name="connsiteY418" fmla="*/ 80581 h 314325"/>
                <a:gd name="connsiteX419" fmla="*/ 42005 w 219075"/>
                <a:gd name="connsiteY419" fmla="*/ 79915 h 314325"/>
                <a:gd name="connsiteX420" fmla="*/ 42672 w 219075"/>
                <a:gd name="connsiteY420" fmla="*/ 79248 h 314325"/>
                <a:gd name="connsiteX421" fmla="*/ 44768 w 219075"/>
                <a:gd name="connsiteY421" fmla="*/ 75819 h 314325"/>
                <a:gd name="connsiteX422" fmla="*/ 45434 w 219075"/>
                <a:gd name="connsiteY422" fmla="*/ 75819 h 314325"/>
                <a:gd name="connsiteX423" fmla="*/ 49530 w 219075"/>
                <a:gd name="connsiteY423" fmla="*/ 73723 h 314325"/>
                <a:gd name="connsiteX424" fmla="*/ 51625 w 219075"/>
                <a:gd name="connsiteY424" fmla="*/ 73723 h 314325"/>
                <a:gd name="connsiteX425" fmla="*/ 54388 w 219075"/>
                <a:gd name="connsiteY425" fmla="*/ 71628 h 314325"/>
                <a:gd name="connsiteX426" fmla="*/ 56483 w 219075"/>
                <a:gd name="connsiteY426" fmla="*/ 69532 h 314325"/>
                <a:gd name="connsiteX427" fmla="*/ 57150 w 219075"/>
                <a:gd name="connsiteY427" fmla="*/ 70199 h 314325"/>
                <a:gd name="connsiteX428" fmla="*/ 57817 w 219075"/>
                <a:gd name="connsiteY428" fmla="*/ 70199 h 314325"/>
                <a:gd name="connsiteX429" fmla="*/ 64008 w 219075"/>
                <a:gd name="connsiteY429" fmla="*/ 66770 h 314325"/>
                <a:gd name="connsiteX430" fmla="*/ 66104 w 219075"/>
                <a:gd name="connsiteY430" fmla="*/ 67437 h 314325"/>
                <a:gd name="connsiteX431" fmla="*/ 68199 w 219075"/>
                <a:gd name="connsiteY431" fmla="*/ 68770 h 314325"/>
                <a:gd name="connsiteX432" fmla="*/ 70961 w 219075"/>
                <a:gd name="connsiteY432" fmla="*/ 68770 h 314325"/>
                <a:gd name="connsiteX433" fmla="*/ 71628 w 219075"/>
                <a:gd name="connsiteY433" fmla="*/ 69437 h 314325"/>
                <a:gd name="connsiteX434" fmla="*/ 76390 w 219075"/>
                <a:gd name="connsiteY434" fmla="*/ 73533 h 314325"/>
                <a:gd name="connsiteX435" fmla="*/ 77057 w 219075"/>
                <a:gd name="connsiteY435" fmla="*/ 73533 h 314325"/>
                <a:gd name="connsiteX436" fmla="*/ 78391 w 219075"/>
                <a:gd name="connsiteY436" fmla="*/ 74200 h 314325"/>
                <a:gd name="connsiteX437" fmla="*/ 79724 w 219075"/>
                <a:gd name="connsiteY437" fmla="*/ 76295 h 314325"/>
                <a:gd name="connsiteX438" fmla="*/ 80391 w 219075"/>
                <a:gd name="connsiteY438" fmla="*/ 76962 h 314325"/>
                <a:gd name="connsiteX439" fmla="*/ 81058 w 219075"/>
                <a:gd name="connsiteY439" fmla="*/ 76295 h 314325"/>
                <a:gd name="connsiteX440" fmla="*/ 82391 w 219075"/>
                <a:gd name="connsiteY440" fmla="*/ 75628 h 314325"/>
                <a:gd name="connsiteX441" fmla="*/ 83058 w 219075"/>
                <a:gd name="connsiteY441" fmla="*/ 74962 h 314325"/>
                <a:gd name="connsiteX442" fmla="*/ 84392 w 219075"/>
                <a:gd name="connsiteY442" fmla="*/ 75628 h 314325"/>
                <a:gd name="connsiteX443" fmla="*/ 82296 w 219075"/>
                <a:gd name="connsiteY443" fmla="*/ 81153 h 314325"/>
                <a:gd name="connsiteX444" fmla="*/ 83629 w 219075"/>
                <a:gd name="connsiteY444" fmla="*/ 81820 h 314325"/>
                <a:gd name="connsiteX445" fmla="*/ 85725 w 219075"/>
                <a:gd name="connsiteY445" fmla="*/ 82487 h 314325"/>
                <a:gd name="connsiteX446" fmla="*/ 87058 w 219075"/>
                <a:gd name="connsiteY446" fmla="*/ 82487 h 314325"/>
                <a:gd name="connsiteX447" fmla="*/ 88392 w 219075"/>
                <a:gd name="connsiteY447" fmla="*/ 84582 h 314325"/>
                <a:gd name="connsiteX448" fmla="*/ 91154 w 219075"/>
                <a:gd name="connsiteY448" fmla="*/ 85916 h 314325"/>
                <a:gd name="connsiteX449" fmla="*/ 91821 w 219075"/>
                <a:gd name="connsiteY449" fmla="*/ 85916 h 314325"/>
                <a:gd name="connsiteX450" fmla="*/ 92488 w 219075"/>
                <a:gd name="connsiteY450" fmla="*/ 92107 h 314325"/>
                <a:gd name="connsiteX451" fmla="*/ 91821 w 219075"/>
                <a:gd name="connsiteY451" fmla="*/ 93440 h 314325"/>
                <a:gd name="connsiteX452" fmla="*/ 91154 w 219075"/>
                <a:gd name="connsiteY452" fmla="*/ 94774 h 314325"/>
                <a:gd name="connsiteX453" fmla="*/ 89821 w 219075"/>
                <a:gd name="connsiteY453" fmla="*/ 96107 h 314325"/>
                <a:gd name="connsiteX454" fmla="*/ 88487 w 219075"/>
                <a:gd name="connsiteY454" fmla="*/ 98203 h 314325"/>
                <a:gd name="connsiteX455" fmla="*/ 88487 w 219075"/>
                <a:gd name="connsiteY455" fmla="*/ 98869 h 314325"/>
                <a:gd name="connsiteX456" fmla="*/ 87821 w 219075"/>
                <a:gd name="connsiteY456" fmla="*/ 100965 h 314325"/>
                <a:gd name="connsiteX457" fmla="*/ 85725 w 219075"/>
                <a:gd name="connsiteY457" fmla="*/ 103061 h 314325"/>
                <a:gd name="connsiteX458" fmla="*/ 85725 w 219075"/>
                <a:gd name="connsiteY458" fmla="*/ 104394 h 314325"/>
                <a:gd name="connsiteX459" fmla="*/ 73342 w 219075"/>
                <a:gd name="connsiteY459" fmla="*/ 131826 h 314325"/>
                <a:gd name="connsiteX460" fmla="*/ 72676 w 219075"/>
                <a:gd name="connsiteY460" fmla="*/ 132493 h 314325"/>
                <a:gd name="connsiteX461" fmla="*/ 72676 w 219075"/>
                <a:gd name="connsiteY461" fmla="*/ 134588 h 314325"/>
                <a:gd name="connsiteX462" fmla="*/ 73247 w 219075"/>
                <a:gd name="connsiteY462" fmla="*/ 135445 h 314325"/>
                <a:gd name="connsiteX463" fmla="*/ 82201 w 219075"/>
                <a:gd name="connsiteY463" fmla="*/ 29146 h 314325"/>
                <a:gd name="connsiteX464" fmla="*/ 80105 w 219075"/>
                <a:gd name="connsiteY464" fmla="*/ 28480 h 314325"/>
                <a:gd name="connsiteX465" fmla="*/ 77343 w 219075"/>
                <a:gd name="connsiteY465" fmla="*/ 30575 h 314325"/>
                <a:gd name="connsiteX466" fmla="*/ 76676 w 219075"/>
                <a:gd name="connsiteY466" fmla="*/ 31242 h 314325"/>
                <a:gd name="connsiteX467" fmla="*/ 75343 w 219075"/>
                <a:gd name="connsiteY467" fmla="*/ 30575 h 314325"/>
                <a:gd name="connsiteX468" fmla="*/ 71914 w 219075"/>
                <a:gd name="connsiteY468" fmla="*/ 27813 h 314325"/>
                <a:gd name="connsiteX469" fmla="*/ 67151 w 219075"/>
                <a:gd name="connsiteY469" fmla="*/ 27813 h 314325"/>
                <a:gd name="connsiteX470" fmla="*/ 67818 w 219075"/>
                <a:gd name="connsiteY470" fmla="*/ 26479 h 314325"/>
                <a:gd name="connsiteX471" fmla="*/ 65723 w 219075"/>
                <a:gd name="connsiteY471" fmla="*/ 25146 h 314325"/>
                <a:gd name="connsiteX472" fmla="*/ 64389 w 219075"/>
                <a:gd name="connsiteY472" fmla="*/ 23813 h 314325"/>
                <a:gd name="connsiteX473" fmla="*/ 61627 w 219075"/>
                <a:gd name="connsiteY473" fmla="*/ 20383 h 314325"/>
                <a:gd name="connsiteX474" fmla="*/ 60960 w 219075"/>
                <a:gd name="connsiteY474" fmla="*/ 19717 h 314325"/>
                <a:gd name="connsiteX475" fmla="*/ 60960 w 219075"/>
                <a:gd name="connsiteY475" fmla="*/ 16954 h 314325"/>
                <a:gd name="connsiteX476" fmla="*/ 59626 w 219075"/>
                <a:gd name="connsiteY476" fmla="*/ 15621 h 314325"/>
                <a:gd name="connsiteX477" fmla="*/ 60293 w 219075"/>
                <a:gd name="connsiteY477" fmla="*/ 14288 h 314325"/>
                <a:gd name="connsiteX478" fmla="*/ 62389 w 219075"/>
                <a:gd name="connsiteY478" fmla="*/ 13621 h 314325"/>
                <a:gd name="connsiteX479" fmla="*/ 63055 w 219075"/>
                <a:gd name="connsiteY479" fmla="*/ 13621 h 314325"/>
                <a:gd name="connsiteX480" fmla="*/ 69913 w 219075"/>
                <a:gd name="connsiteY480" fmla="*/ 9525 h 314325"/>
                <a:gd name="connsiteX481" fmla="*/ 72009 w 219075"/>
                <a:gd name="connsiteY481" fmla="*/ 8192 h 314325"/>
                <a:gd name="connsiteX482" fmla="*/ 73342 w 219075"/>
                <a:gd name="connsiteY482" fmla="*/ 7525 h 314325"/>
                <a:gd name="connsiteX483" fmla="*/ 74676 w 219075"/>
                <a:gd name="connsiteY483" fmla="*/ 6191 h 314325"/>
                <a:gd name="connsiteX484" fmla="*/ 82201 w 219075"/>
                <a:gd name="connsiteY484" fmla="*/ 0 h 314325"/>
                <a:gd name="connsiteX485" fmla="*/ 84296 w 219075"/>
                <a:gd name="connsiteY485" fmla="*/ 667 h 314325"/>
                <a:gd name="connsiteX486" fmla="*/ 87725 w 219075"/>
                <a:gd name="connsiteY486" fmla="*/ 1333 h 314325"/>
                <a:gd name="connsiteX487" fmla="*/ 89059 w 219075"/>
                <a:gd name="connsiteY487" fmla="*/ 3429 h 314325"/>
                <a:gd name="connsiteX488" fmla="*/ 88392 w 219075"/>
                <a:gd name="connsiteY488" fmla="*/ 4763 h 314325"/>
                <a:gd name="connsiteX489" fmla="*/ 88392 w 219075"/>
                <a:gd name="connsiteY489" fmla="*/ 5429 h 314325"/>
                <a:gd name="connsiteX490" fmla="*/ 91821 w 219075"/>
                <a:gd name="connsiteY490" fmla="*/ 5429 h 314325"/>
                <a:gd name="connsiteX491" fmla="*/ 91154 w 219075"/>
                <a:gd name="connsiteY491" fmla="*/ 6763 h 314325"/>
                <a:gd name="connsiteX492" fmla="*/ 93250 w 219075"/>
                <a:gd name="connsiteY492" fmla="*/ 8858 h 314325"/>
                <a:gd name="connsiteX493" fmla="*/ 94583 w 219075"/>
                <a:gd name="connsiteY493" fmla="*/ 9525 h 314325"/>
                <a:gd name="connsiteX494" fmla="*/ 100108 w 219075"/>
                <a:gd name="connsiteY494" fmla="*/ 9525 h 314325"/>
                <a:gd name="connsiteX495" fmla="*/ 100775 w 219075"/>
                <a:gd name="connsiteY495" fmla="*/ 8192 h 314325"/>
                <a:gd name="connsiteX496" fmla="*/ 102870 w 219075"/>
                <a:gd name="connsiteY496" fmla="*/ 8192 h 314325"/>
                <a:gd name="connsiteX497" fmla="*/ 106299 w 219075"/>
                <a:gd name="connsiteY497" fmla="*/ 10954 h 314325"/>
                <a:gd name="connsiteX498" fmla="*/ 104204 w 219075"/>
                <a:gd name="connsiteY498" fmla="*/ 17145 h 314325"/>
                <a:gd name="connsiteX499" fmla="*/ 106966 w 219075"/>
                <a:gd name="connsiteY499" fmla="*/ 17812 h 314325"/>
                <a:gd name="connsiteX500" fmla="*/ 109728 w 219075"/>
                <a:gd name="connsiteY500" fmla="*/ 17812 h 314325"/>
                <a:gd name="connsiteX501" fmla="*/ 110395 w 219075"/>
                <a:gd name="connsiteY501" fmla="*/ 18478 h 314325"/>
                <a:gd name="connsiteX502" fmla="*/ 111728 w 219075"/>
                <a:gd name="connsiteY502" fmla="*/ 21241 h 314325"/>
                <a:gd name="connsiteX503" fmla="*/ 113062 w 219075"/>
                <a:gd name="connsiteY503" fmla="*/ 24670 h 314325"/>
                <a:gd name="connsiteX504" fmla="*/ 110966 w 219075"/>
                <a:gd name="connsiteY504" fmla="*/ 25336 h 314325"/>
                <a:gd name="connsiteX505" fmla="*/ 108871 w 219075"/>
                <a:gd name="connsiteY505" fmla="*/ 26670 h 314325"/>
                <a:gd name="connsiteX506" fmla="*/ 107537 w 219075"/>
                <a:gd name="connsiteY506" fmla="*/ 27337 h 314325"/>
                <a:gd name="connsiteX507" fmla="*/ 104775 w 219075"/>
                <a:gd name="connsiteY507" fmla="*/ 28003 h 314325"/>
                <a:gd name="connsiteX508" fmla="*/ 102013 w 219075"/>
                <a:gd name="connsiteY508" fmla="*/ 28003 h 314325"/>
                <a:gd name="connsiteX509" fmla="*/ 101346 w 219075"/>
                <a:gd name="connsiteY509" fmla="*/ 28670 h 314325"/>
                <a:gd name="connsiteX510" fmla="*/ 92392 w 219075"/>
                <a:gd name="connsiteY510" fmla="*/ 28670 h 314325"/>
                <a:gd name="connsiteX511" fmla="*/ 91059 w 219075"/>
                <a:gd name="connsiteY511" fmla="*/ 29337 h 314325"/>
                <a:gd name="connsiteX512" fmla="*/ 90392 w 219075"/>
                <a:gd name="connsiteY512" fmla="*/ 30004 h 314325"/>
                <a:gd name="connsiteX513" fmla="*/ 83534 w 219075"/>
                <a:gd name="connsiteY513" fmla="*/ 30004 h 314325"/>
                <a:gd name="connsiteX514" fmla="*/ 82201 w 219075"/>
                <a:gd name="connsiteY514" fmla="*/ 29146 h 314325"/>
                <a:gd name="connsiteX515" fmla="*/ 109633 w 219075"/>
                <a:gd name="connsiteY515" fmla="*/ 291846 h 314325"/>
                <a:gd name="connsiteX516" fmla="*/ 110966 w 219075"/>
                <a:gd name="connsiteY516" fmla="*/ 289750 h 314325"/>
                <a:gd name="connsiteX517" fmla="*/ 110966 w 219075"/>
                <a:gd name="connsiteY517" fmla="*/ 289084 h 314325"/>
                <a:gd name="connsiteX518" fmla="*/ 112300 w 219075"/>
                <a:gd name="connsiteY518" fmla="*/ 289084 h 314325"/>
                <a:gd name="connsiteX519" fmla="*/ 113633 w 219075"/>
                <a:gd name="connsiteY519" fmla="*/ 288417 h 314325"/>
                <a:gd name="connsiteX520" fmla="*/ 117729 w 219075"/>
                <a:gd name="connsiteY520" fmla="*/ 284988 h 314325"/>
                <a:gd name="connsiteX521" fmla="*/ 118396 w 219075"/>
                <a:gd name="connsiteY521" fmla="*/ 284321 h 314325"/>
                <a:gd name="connsiteX522" fmla="*/ 117729 w 219075"/>
                <a:gd name="connsiteY522" fmla="*/ 284321 h 314325"/>
                <a:gd name="connsiteX523" fmla="*/ 115633 w 219075"/>
                <a:gd name="connsiteY523" fmla="*/ 282988 h 314325"/>
                <a:gd name="connsiteX524" fmla="*/ 114967 w 219075"/>
                <a:gd name="connsiteY524" fmla="*/ 283655 h 314325"/>
                <a:gd name="connsiteX525" fmla="*/ 114967 w 219075"/>
                <a:gd name="connsiteY525" fmla="*/ 284321 h 314325"/>
                <a:gd name="connsiteX526" fmla="*/ 110204 w 219075"/>
                <a:gd name="connsiteY526" fmla="*/ 287750 h 314325"/>
                <a:gd name="connsiteX527" fmla="*/ 108109 w 219075"/>
                <a:gd name="connsiteY527" fmla="*/ 287750 h 314325"/>
                <a:gd name="connsiteX528" fmla="*/ 107442 w 219075"/>
                <a:gd name="connsiteY528" fmla="*/ 290513 h 314325"/>
                <a:gd name="connsiteX529" fmla="*/ 106775 w 219075"/>
                <a:gd name="connsiteY529" fmla="*/ 291179 h 314325"/>
                <a:gd name="connsiteX530" fmla="*/ 108109 w 219075"/>
                <a:gd name="connsiteY530" fmla="*/ 291846 h 314325"/>
                <a:gd name="connsiteX531" fmla="*/ 109633 w 219075"/>
                <a:gd name="connsiteY531" fmla="*/ 291846 h 314325"/>
                <a:gd name="connsiteX532" fmla="*/ 130207 w 219075"/>
                <a:gd name="connsiteY532" fmla="*/ 276796 h 314325"/>
                <a:gd name="connsiteX533" fmla="*/ 131540 w 219075"/>
                <a:gd name="connsiteY533" fmla="*/ 276796 h 314325"/>
                <a:gd name="connsiteX534" fmla="*/ 131540 w 219075"/>
                <a:gd name="connsiteY534" fmla="*/ 277463 h 314325"/>
                <a:gd name="connsiteX535" fmla="*/ 132207 w 219075"/>
                <a:gd name="connsiteY535" fmla="*/ 277463 h 314325"/>
                <a:gd name="connsiteX536" fmla="*/ 134302 w 219075"/>
                <a:gd name="connsiteY536" fmla="*/ 278797 h 314325"/>
                <a:gd name="connsiteX537" fmla="*/ 134969 w 219075"/>
                <a:gd name="connsiteY537" fmla="*/ 279464 h 314325"/>
                <a:gd name="connsiteX538" fmla="*/ 134969 w 219075"/>
                <a:gd name="connsiteY538" fmla="*/ 280797 h 314325"/>
                <a:gd name="connsiteX539" fmla="*/ 132874 w 219075"/>
                <a:gd name="connsiteY539" fmla="*/ 281464 h 314325"/>
                <a:gd name="connsiteX540" fmla="*/ 132207 w 219075"/>
                <a:gd name="connsiteY540" fmla="*/ 280130 h 314325"/>
                <a:gd name="connsiteX541" fmla="*/ 130873 w 219075"/>
                <a:gd name="connsiteY541" fmla="*/ 279464 h 314325"/>
                <a:gd name="connsiteX542" fmla="*/ 131540 w 219075"/>
                <a:gd name="connsiteY542" fmla="*/ 278130 h 314325"/>
                <a:gd name="connsiteX543" fmla="*/ 131540 w 219075"/>
                <a:gd name="connsiteY543" fmla="*/ 277463 h 314325"/>
                <a:gd name="connsiteX544" fmla="*/ 130207 w 219075"/>
                <a:gd name="connsiteY544" fmla="*/ 277463 h 314325"/>
                <a:gd name="connsiteX545" fmla="*/ 130207 w 219075"/>
                <a:gd name="connsiteY545" fmla="*/ 276796 h 314325"/>
                <a:gd name="connsiteX546" fmla="*/ 134302 w 219075"/>
                <a:gd name="connsiteY546" fmla="*/ 275368 h 314325"/>
                <a:gd name="connsiteX547" fmla="*/ 133636 w 219075"/>
                <a:gd name="connsiteY547" fmla="*/ 274701 h 314325"/>
                <a:gd name="connsiteX548" fmla="*/ 134302 w 219075"/>
                <a:gd name="connsiteY548" fmla="*/ 274034 h 314325"/>
                <a:gd name="connsiteX549" fmla="*/ 135636 w 219075"/>
                <a:gd name="connsiteY549" fmla="*/ 274701 h 314325"/>
                <a:gd name="connsiteX550" fmla="*/ 134302 w 219075"/>
                <a:gd name="connsiteY550" fmla="*/ 275368 h 314325"/>
                <a:gd name="connsiteX551" fmla="*/ 136398 w 219075"/>
                <a:gd name="connsiteY551" fmla="*/ 283655 h 314325"/>
                <a:gd name="connsiteX552" fmla="*/ 135731 w 219075"/>
                <a:gd name="connsiteY552" fmla="*/ 282988 h 314325"/>
                <a:gd name="connsiteX553" fmla="*/ 137065 w 219075"/>
                <a:gd name="connsiteY553" fmla="*/ 281654 h 314325"/>
                <a:gd name="connsiteX554" fmla="*/ 137731 w 219075"/>
                <a:gd name="connsiteY554" fmla="*/ 281654 h 314325"/>
                <a:gd name="connsiteX555" fmla="*/ 137731 w 219075"/>
                <a:gd name="connsiteY555" fmla="*/ 282321 h 314325"/>
                <a:gd name="connsiteX556" fmla="*/ 138398 w 219075"/>
                <a:gd name="connsiteY556" fmla="*/ 283655 h 314325"/>
                <a:gd name="connsiteX557" fmla="*/ 137065 w 219075"/>
                <a:gd name="connsiteY557" fmla="*/ 284321 h 314325"/>
                <a:gd name="connsiteX558" fmla="*/ 136398 w 219075"/>
                <a:gd name="connsiteY558" fmla="*/ 283655 h 314325"/>
                <a:gd name="connsiteX559" fmla="*/ 138398 w 219075"/>
                <a:gd name="connsiteY559" fmla="*/ 277463 h 314325"/>
                <a:gd name="connsiteX560" fmla="*/ 138398 w 219075"/>
                <a:gd name="connsiteY560" fmla="*/ 272701 h 314325"/>
                <a:gd name="connsiteX561" fmla="*/ 139065 w 219075"/>
                <a:gd name="connsiteY561" fmla="*/ 272701 h 314325"/>
                <a:gd name="connsiteX562" fmla="*/ 143827 w 219075"/>
                <a:gd name="connsiteY562" fmla="*/ 266510 h 314325"/>
                <a:gd name="connsiteX563" fmla="*/ 145161 w 219075"/>
                <a:gd name="connsiteY563" fmla="*/ 266510 h 314325"/>
                <a:gd name="connsiteX564" fmla="*/ 146494 w 219075"/>
                <a:gd name="connsiteY564" fmla="*/ 268605 h 314325"/>
                <a:gd name="connsiteX565" fmla="*/ 142399 w 219075"/>
                <a:gd name="connsiteY565" fmla="*/ 272701 h 314325"/>
                <a:gd name="connsiteX566" fmla="*/ 141065 w 219075"/>
                <a:gd name="connsiteY566" fmla="*/ 274796 h 314325"/>
                <a:gd name="connsiteX567" fmla="*/ 141065 w 219075"/>
                <a:gd name="connsiteY567" fmla="*/ 277559 h 314325"/>
                <a:gd name="connsiteX568" fmla="*/ 138970 w 219075"/>
                <a:gd name="connsiteY568" fmla="*/ 280321 h 314325"/>
                <a:gd name="connsiteX569" fmla="*/ 138303 w 219075"/>
                <a:gd name="connsiteY569" fmla="*/ 280321 h 314325"/>
                <a:gd name="connsiteX570" fmla="*/ 136969 w 219075"/>
                <a:gd name="connsiteY570" fmla="*/ 278987 h 314325"/>
                <a:gd name="connsiteX571" fmla="*/ 138398 w 219075"/>
                <a:gd name="connsiteY571" fmla="*/ 277463 h 314325"/>
                <a:gd name="connsiteX572" fmla="*/ 149447 w 219075"/>
                <a:gd name="connsiteY572" fmla="*/ 258890 h 314325"/>
                <a:gd name="connsiteX573" fmla="*/ 149447 w 219075"/>
                <a:gd name="connsiteY573" fmla="*/ 258223 h 314325"/>
                <a:gd name="connsiteX574" fmla="*/ 152210 w 219075"/>
                <a:gd name="connsiteY574" fmla="*/ 258223 h 314325"/>
                <a:gd name="connsiteX575" fmla="*/ 155638 w 219075"/>
                <a:gd name="connsiteY575" fmla="*/ 257556 h 314325"/>
                <a:gd name="connsiteX576" fmla="*/ 156972 w 219075"/>
                <a:gd name="connsiteY576" fmla="*/ 256222 h 314325"/>
                <a:gd name="connsiteX577" fmla="*/ 158306 w 219075"/>
                <a:gd name="connsiteY577" fmla="*/ 255556 h 314325"/>
                <a:gd name="connsiteX578" fmla="*/ 160401 w 219075"/>
                <a:gd name="connsiteY578" fmla="*/ 253460 h 314325"/>
                <a:gd name="connsiteX579" fmla="*/ 161735 w 219075"/>
                <a:gd name="connsiteY579" fmla="*/ 252127 h 314325"/>
                <a:gd name="connsiteX580" fmla="*/ 161735 w 219075"/>
                <a:gd name="connsiteY580" fmla="*/ 250793 h 314325"/>
                <a:gd name="connsiteX581" fmla="*/ 162401 w 219075"/>
                <a:gd name="connsiteY581" fmla="*/ 249460 h 314325"/>
                <a:gd name="connsiteX582" fmla="*/ 163735 w 219075"/>
                <a:gd name="connsiteY582" fmla="*/ 249460 h 314325"/>
                <a:gd name="connsiteX583" fmla="*/ 163735 w 219075"/>
                <a:gd name="connsiteY583" fmla="*/ 250126 h 314325"/>
                <a:gd name="connsiteX584" fmla="*/ 163735 w 219075"/>
                <a:gd name="connsiteY584" fmla="*/ 250793 h 314325"/>
                <a:gd name="connsiteX585" fmla="*/ 165830 w 219075"/>
                <a:gd name="connsiteY585" fmla="*/ 252127 h 314325"/>
                <a:gd name="connsiteX586" fmla="*/ 165830 w 219075"/>
                <a:gd name="connsiteY586" fmla="*/ 253460 h 314325"/>
                <a:gd name="connsiteX587" fmla="*/ 166497 w 219075"/>
                <a:gd name="connsiteY587" fmla="*/ 254794 h 314325"/>
                <a:gd name="connsiteX588" fmla="*/ 166497 w 219075"/>
                <a:gd name="connsiteY588" fmla="*/ 255461 h 314325"/>
                <a:gd name="connsiteX589" fmla="*/ 162401 w 219075"/>
                <a:gd name="connsiteY589" fmla="*/ 258890 h 314325"/>
                <a:gd name="connsiteX590" fmla="*/ 161735 w 219075"/>
                <a:gd name="connsiteY590" fmla="*/ 259556 h 314325"/>
                <a:gd name="connsiteX591" fmla="*/ 158972 w 219075"/>
                <a:gd name="connsiteY591" fmla="*/ 259556 h 314325"/>
                <a:gd name="connsiteX592" fmla="*/ 157639 w 219075"/>
                <a:gd name="connsiteY592" fmla="*/ 260223 h 314325"/>
                <a:gd name="connsiteX593" fmla="*/ 158972 w 219075"/>
                <a:gd name="connsiteY593" fmla="*/ 260890 h 314325"/>
                <a:gd name="connsiteX594" fmla="*/ 159639 w 219075"/>
                <a:gd name="connsiteY594" fmla="*/ 261556 h 314325"/>
                <a:gd name="connsiteX595" fmla="*/ 160306 w 219075"/>
                <a:gd name="connsiteY595" fmla="*/ 261556 h 314325"/>
                <a:gd name="connsiteX596" fmla="*/ 159639 w 219075"/>
                <a:gd name="connsiteY596" fmla="*/ 262890 h 314325"/>
                <a:gd name="connsiteX597" fmla="*/ 156877 w 219075"/>
                <a:gd name="connsiteY597" fmla="*/ 264223 h 314325"/>
                <a:gd name="connsiteX598" fmla="*/ 156210 w 219075"/>
                <a:gd name="connsiteY598" fmla="*/ 264223 h 314325"/>
                <a:gd name="connsiteX599" fmla="*/ 154115 w 219075"/>
                <a:gd name="connsiteY599" fmla="*/ 263557 h 314325"/>
                <a:gd name="connsiteX600" fmla="*/ 154115 w 219075"/>
                <a:gd name="connsiteY600" fmla="*/ 260794 h 314325"/>
                <a:gd name="connsiteX601" fmla="*/ 153448 w 219075"/>
                <a:gd name="connsiteY601" fmla="*/ 261461 h 314325"/>
                <a:gd name="connsiteX602" fmla="*/ 151352 w 219075"/>
                <a:gd name="connsiteY602" fmla="*/ 264223 h 314325"/>
                <a:gd name="connsiteX603" fmla="*/ 149257 w 219075"/>
                <a:gd name="connsiteY603" fmla="*/ 264223 h 314325"/>
                <a:gd name="connsiteX604" fmla="*/ 148590 w 219075"/>
                <a:gd name="connsiteY604" fmla="*/ 261461 h 314325"/>
                <a:gd name="connsiteX605" fmla="*/ 149447 w 219075"/>
                <a:gd name="connsiteY605" fmla="*/ 258890 h 314325"/>
                <a:gd name="connsiteX606" fmla="*/ 154210 w 219075"/>
                <a:gd name="connsiteY606" fmla="*/ 254794 h 314325"/>
                <a:gd name="connsiteX607" fmla="*/ 154877 w 219075"/>
                <a:gd name="connsiteY607" fmla="*/ 254127 h 314325"/>
                <a:gd name="connsiteX608" fmla="*/ 155543 w 219075"/>
                <a:gd name="connsiteY608" fmla="*/ 254794 h 314325"/>
                <a:gd name="connsiteX609" fmla="*/ 155543 w 219075"/>
                <a:gd name="connsiteY609" fmla="*/ 256127 h 314325"/>
                <a:gd name="connsiteX610" fmla="*/ 154877 w 219075"/>
                <a:gd name="connsiteY610" fmla="*/ 256127 h 314325"/>
                <a:gd name="connsiteX611" fmla="*/ 154210 w 219075"/>
                <a:gd name="connsiteY611" fmla="*/ 254794 h 314325"/>
                <a:gd name="connsiteX612" fmla="*/ 177546 w 219075"/>
                <a:gd name="connsiteY612" fmla="*/ 241078 h 314325"/>
                <a:gd name="connsiteX613" fmla="*/ 176879 w 219075"/>
                <a:gd name="connsiteY613" fmla="*/ 242411 h 314325"/>
                <a:gd name="connsiteX614" fmla="*/ 176879 w 219075"/>
                <a:gd name="connsiteY614" fmla="*/ 243078 h 314325"/>
                <a:gd name="connsiteX615" fmla="*/ 176213 w 219075"/>
                <a:gd name="connsiteY615" fmla="*/ 243078 h 314325"/>
                <a:gd name="connsiteX616" fmla="*/ 174879 w 219075"/>
                <a:gd name="connsiteY616" fmla="*/ 240983 h 314325"/>
                <a:gd name="connsiteX617" fmla="*/ 174212 w 219075"/>
                <a:gd name="connsiteY617" fmla="*/ 240316 h 314325"/>
                <a:gd name="connsiteX618" fmla="*/ 174879 w 219075"/>
                <a:gd name="connsiteY618" fmla="*/ 239649 h 314325"/>
                <a:gd name="connsiteX619" fmla="*/ 176975 w 219075"/>
                <a:gd name="connsiteY619" fmla="*/ 237553 h 314325"/>
                <a:gd name="connsiteX620" fmla="*/ 178308 w 219075"/>
                <a:gd name="connsiteY620" fmla="*/ 237553 h 314325"/>
                <a:gd name="connsiteX621" fmla="*/ 178975 w 219075"/>
                <a:gd name="connsiteY621" fmla="*/ 238220 h 314325"/>
                <a:gd name="connsiteX622" fmla="*/ 178975 w 219075"/>
                <a:gd name="connsiteY622" fmla="*/ 238887 h 314325"/>
                <a:gd name="connsiteX623" fmla="*/ 178308 w 219075"/>
                <a:gd name="connsiteY623" fmla="*/ 239554 h 314325"/>
                <a:gd name="connsiteX624" fmla="*/ 177546 w 219075"/>
                <a:gd name="connsiteY624" fmla="*/ 241078 h 314325"/>
                <a:gd name="connsiteX625" fmla="*/ 180975 w 219075"/>
                <a:gd name="connsiteY625" fmla="*/ 209550 h 314325"/>
                <a:gd name="connsiteX626" fmla="*/ 181642 w 219075"/>
                <a:gd name="connsiteY626" fmla="*/ 210884 h 314325"/>
                <a:gd name="connsiteX627" fmla="*/ 181642 w 219075"/>
                <a:gd name="connsiteY627" fmla="*/ 209550 h 314325"/>
                <a:gd name="connsiteX628" fmla="*/ 180975 w 219075"/>
                <a:gd name="connsiteY628" fmla="*/ 209550 h 314325"/>
                <a:gd name="connsiteX629" fmla="*/ 189167 w 219075"/>
                <a:gd name="connsiteY629" fmla="*/ 204025 h 314325"/>
                <a:gd name="connsiteX630" fmla="*/ 189833 w 219075"/>
                <a:gd name="connsiteY630" fmla="*/ 204692 h 314325"/>
                <a:gd name="connsiteX631" fmla="*/ 190500 w 219075"/>
                <a:gd name="connsiteY631" fmla="*/ 203359 h 314325"/>
                <a:gd name="connsiteX632" fmla="*/ 189833 w 219075"/>
                <a:gd name="connsiteY632" fmla="*/ 202692 h 314325"/>
                <a:gd name="connsiteX633" fmla="*/ 189167 w 219075"/>
                <a:gd name="connsiteY633" fmla="*/ 204025 h 314325"/>
                <a:gd name="connsiteX634" fmla="*/ 204978 w 219075"/>
                <a:gd name="connsiteY634" fmla="*/ 179356 h 314325"/>
                <a:gd name="connsiteX635" fmla="*/ 204311 w 219075"/>
                <a:gd name="connsiteY635" fmla="*/ 180689 h 314325"/>
                <a:gd name="connsiteX636" fmla="*/ 204311 w 219075"/>
                <a:gd name="connsiteY636" fmla="*/ 180022 h 314325"/>
                <a:gd name="connsiteX637" fmla="*/ 203644 w 219075"/>
                <a:gd name="connsiteY637" fmla="*/ 180689 h 314325"/>
                <a:gd name="connsiteX638" fmla="*/ 202978 w 219075"/>
                <a:gd name="connsiteY638" fmla="*/ 181356 h 314325"/>
                <a:gd name="connsiteX639" fmla="*/ 202311 w 219075"/>
                <a:gd name="connsiteY639" fmla="*/ 181356 h 314325"/>
                <a:gd name="connsiteX640" fmla="*/ 201644 w 219075"/>
                <a:gd name="connsiteY640" fmla="*/ 182023 h 314325"/>
                <a:gd name="connsiteX641" fmla="*/ 202311 w 219075"/>
                <a:gd name="connsiteY641" fmla="*/ 182023 h 314325"/>
                <a:gd name="connsiteX642" fmla="*/ 200977 w 219075"/>
                <a:gd name="connsiteY642" fmla="*/ 182690 h 314325"/>
                <a:gd name="connsiteX643" fmla="*/ 198882 w 219075"/>
                <a:gd name="connsiteY643" fmla="*/ 183356 h 314325"/>
                <a:gd name="connsiteX644" fmla="*/ 194786 w 219075"/>
                <a:gd name="connsiteY644" fmla="*/ 185452 h 314325"/>
                <a:gd name="connsiteX645" fmla="*/ 195453 w 219075"/>
                <a:gd name="connsiteY645" fmla="*/ 185452 h 314325"/>
                <a:gd name="connsiteX646" fmla="*/ 198882 w 219075"/>
                <a:gd name="connsiteY646" fmla="*/ 184118 h 314325"/>
                <a:gd name="connsiteX647" fmla="*/ 195453 w 219075"/>
                <a:gd name="connsiteY647" fmla="*/ 188214 h 314325"/>
                <a:gd name="connsiteX648" fmla="*/ 196120 w 219075"/>
                <a:gd name="connsiteY648" fmla="*/ 188214 h 314325"/>
                <a:gd name="connsiteX649" fmla="*/ 196787 w 219075"/>
                <a:gd name="connsiteY649" fmla="*/ 188881 h 314325"/>
                <a:gd name="connsiteX650" fmla="*/ 197453 w 219075"/>
                <a:gd name="connsiteY650" fmla="*/ 188214 h 314325"/>
                <a:gd name="connsiteX651" fmla="*/ 200882 w 219075"/>
                <a:gd name="connsiteY651" fmla="*/ 186880 h 314325"/>
                <a:gd name="connsiteX652" fmla="*/ 202216 w 219075"/>
                <a:gd name="connsiteY652" fmla="*/ 186880 h 314325"/>
                <a:gd name="connsiteX653" fmla="*/ 202216 w 219075"/>
                <a:gd name="connsiteY653" fmla="*/ 185547 h 314325"/>
                <a:gd name="connsiteX654" fmla="*/ 203549 w 219075"/>
                <a:gd name="connsiteY654" fmla="*/ 184214 h 314325"/>
                <a:gd name="connsiteX655" fmla="*/ 204216 w 219075"/>
                <a:gd name="connsiteY655" fmla="*/ 183547 h 314325"/>
                <a:gd name="connsiteX656" fmla="*/ 204216 w 219075"/>
                <a:gd name="connsiteY656" fmla="*/ 180785 h 314325"/>
                <a:gd name="connsiteX657" fmla="*/ 204978 w 219075"/>
                <a:gd name="connsiteY657" fmla="*/ 179356 h 314325"/>
                <a:gd name="connsiteX658" fmla="*/ 200215 w 219075"/>
                <a:gd name="connsiteY658" fmla="*/ 202025 h 314325"/>
                <a:gd name="connsiteX659" fmla="*/ 198882 w 219075"/>
                <a:gd name="connsiteY659" fmla="*/ 202025 h 314325"/>
                <a:gd name="connsiteX660" fmla="*/ 199549 w 219075"/>
                <a:gd name="connsiteY660" fmla="*/ 201359 h 314325"/>
                <a:gd name="connsiteX661" fmla="*/ 200215 w 219075"/>
                <a:gd name="connsiteY661" fmla="*/ 202025 h 314325"/>
                <a:gd name="connsiteX662" fmla="*/ 205645 w 219075"/>
                <a:gd name="connsiteY662" fmla="*/ 162877 h 314325"/>
                <a:gd name="connsiteX663" fmla="*/ 205645 w 219075"/>
                <a:gd name="connsiteY663" fmla="*/ 164211 h 314325"/>
                <a:gd name="connsiteX664" fmla="*/ 206978 w 219075"/>
                <a:gd name="connsiteY664" fmla="*/ 164878 h 314325"/>
                <a:gd name="connsiteX665" fmla="*/ 206978 w 219075"/>
                <a:gd name="connsiteY665" fmla="*/ 162116 h 314325"/>
                <a:gd name="connsiteX666" fmla="*/ 205645 w 219075"/>
                <a:gd name="connsiteY666" fmla="*/ 162877 h 314325"/>
                <a:gd name="connsiteX667" fmla="*/ 211836 w 219075"/>
                <a:gd name="connsiteY667" fmla="*/ 177355 h 314325"/>
                <a:gd name="connsiteX668" fmla="*/ 211169 w 219075"/>
                <a:gd name="connsiteY668" fmla="*/ 177355 h 314325"/>
                <a:gd name="connsiteX669" fmla="*/ 211169 w 219075"/>
                <a:gd name="connsiteY669" fmla="*/ 176689 h 314325"/>
                <a:gd name="connsiteX670" fmla="*/ 212503 w 219075"/>
                <a:gd name="connsiteY670" fmla="*/ 176022 h 314325"/>
                <a:gd name="connsiteX671" fmla="*/ 212503 w 219075"/>
                <a:gd name="connsiteY671" fmla="*/ 176689 h 314325"/>
                <a:gd name="connsiteX672" fmla="*/ 211836 w 219075"/>
                <a:gd name="connsiteY672" fmla="*/ 177355 h 314325"/>
                <a:gd name="connsiteX673" fmla="*/ 212503 w 219075"/>
                <a:gd name="connsiteY673" fmla="*/ 161544 h 314325"/>
                <a:gd name="connsiteX674" fmla="*/ 213836 w 219075"/>
                <a:gd name="connsiteY674" fmla="*/ 160211 h 314325"/>
                <a:gd name="connsiteX675" fmla="*/ 213169 w 219075"/>
                <a:gd name="connsiteY675" fmla="*/ 160211 h 314325"/>
                <a:gd name="connsiteX676" fmla="*/ 211836 w 219075"/>
                <a:gd name="connsiteY676" fmla="*/ 160877 h 314325"/>
                <a:gd name="connsiteX677" fmla="*/ 212503 w 219075"/>
                <a:gd name="connsiteY677" fmla="*/ 161544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</a:cxnLst>
              <a:rect l="l" t="t" r="r" b="b"/>
              <a:pathLst>
                <a:path w="219075" h="314325">
                  <a:moveTo>
                    <a:pt x="73247" y="135445"/>
                  </a:moveTo>
                  <a:cubicBezTo>
                    <a:pt x="73247" y="136112"/>
                    <a:pt x="72581" y="136779"/>
                    <a:pt x="72581" y="136779"/>
                  </a:cubicBezTo>
                  <a:cubicBezTo>
                    <a:pt x="71914" y="137446"/>
                    <a:pt x="71914" y="137446"/>
                    <a:pt x="71914" y="138113"/>
                  </a:cubicBezTo>
                  <a:lnTo>
                    <a:pt x="71914" y="139446"/>
                  </a:lnTo>
                  <a:cubicBezTo>
                    <a:pt x="71914" y="139446"/>
                    <a:pt x="71247" y="139446"/>
                    <a:pt x="71247" y="140113"/>
                  </a:cubicBezTo>
                  <a:lnTo>
                    <a:pt x="71247" y="141446"/>
                  </a:lnTo>
                  <a:cubicBezTo>
                    <a:pt x="71247" y="143542"/>
                    <a:pt x="70580" y="145542"/>
                    <a:pt x="70580" y="146971"/>
                  </a:cubicBezTo>
                  <a:lnTo>
                    <a:pt x="70580" y="147638"/>
                  </a:lnTo>
                  <a:cubicBezTo>
                    <a:pt x="70580" y="148304"/>
                    <a:pt x="69913" y="148304"/>
                    <a:pt x="69247" y="148971"/>
                  </a:cubicBezTo>
                  <a:lnTo>
                    <a:pt x="69247" y="152400"/>
                  </a:lnTo>
                  <a:lnTo>
                    <a:pt x="68580" y="153067"/>
                  </a:lnTo>
                  <a:lnTo>
                    <a:pt x="68580" y="155162"/>
                  </a:lnTo>
                  <a:cubicBezTo>
                    <a:pt x="68580" y="155829"/>
                    <a:pt x="68580" y="157258"/>
                    <a:pt x="67246" y="157924"/>
                  </a:cubicBezTo>
                  <a:cubicBezTo>
                    <a:pt x="67246" y="158591"/>
                    <a:pt x="67246" y="160020"/>
                    <a:pt x="66580" y="160687"/>
                  </a:cubicBezTo>
                  <a:cubicBezTo>
                    <a:pt x="66580" y="161353"/>
                    <a:pt x="66580" y="161353"/>
                    <a:pt x="65913" y="161353"/>
                  </a:cubicBezTo>
                  <a:cubicBezTo>
                    <a:pt x="64579" y="162020"/>
                    <a:pt x="65246" y="162687"/>
                    <a:pt x="64579" y="163449"/>
                  </a:cubicBezTo>
                  <a:cubicBezTo>
                    <a:pt x="64579" y="164116"/>
                    <a:pt x="65246" y="164783"/>
                    <a:pt x="64579" y="164783"/>
                  </a:cubicBezTo>
                  <a:cubicBezTo>
                    <a:pt x="64579" y="166116"/>
                    <a:pt x="64579" y="166116"/>
                    <a:pt x="65246" y="166878"/>
                  </a:cubicBezTo>
                  <a:lnTo>
                    <a:pt x="65246" y="167545"/>
                  </a:lnTo>
                  <a:lnTo>
                    <a:pt x="63151" y="167545"/>
                  </a:lnTo>
                  <a:cubicBezTo>
                    <a:pt x="63818" y="168878"/>
                    <a:pt x="63818" y="169640"/>
                    <a:pt x="63818" y="170307"/>
                  </a:cubicBezTo>
                  <a:lnTo>
                    <a:pt x="63818" y="170974"/>
                  </a:lnTo>
                  <a:cubicBezTo>
                    <a:pt x="63818" y="170974"/>
                    <a:pt x="63151" y="171641"/>
                    <a:pt x="63151" y="172307"/>
                  </a:cubicBezTo>
                  <a:lnTo>
                    <a:pt x="63151" y="174403"/>
                  </a:lnTo>
                  <a:cubicBezTo>
                    <a:pt x="61817" y="175069"/>
                    <a:pt x="61055" y="175069"/>
                    <a:pt x="61055" y="175069"/>
                  </a:cubicBezTo>
                  <a:cubicBezTo>
                    <a:pt x="61055" y="175736"/>
                    <a:pt x="61055" y="176403"/>
                    <a:pt x="61722" y="177832"/>
                  </a:cubicBezTo>
                  <a:lnTo>
                    <a:pt x="61722" y="181927"/>
                  </a:lnTo>
                  <a:cubicBezTo>
                    <a:pt x="61722" y="182594"/>
                    <a:pt x="61055" y="183261"/>
                    <a:pt x="60389" y="184023"/>
                  </a:cubicBezTo>
                  <a:lnTo>
                    <a:pt x="60389" y="187452"/>
                  </a:lnTo>
                  <a:cubicBezTo>
                    <a:pt x="61055" y="188119"/>
                    <a:pt x="60389" y="188119"/>
                    <a:pt x="60389" y="188119"/>
                  </a:cubicBezTo>
                  <a:lnTo>
                    <a:pt x="59055" y="189452"/>
                  </a:lnTo>
                  <a:cubicBezTo>
                    <a:pt x="59722" y="190786"/>
                    <a:pt x="59722" y="191548"/>
                    <a:pt x="59722" y="192215"/>
                  </a:cubicBezTo>
                  <a:lnTo>
                    <a:pt x="59722" y="195643"/>
                  </a:lnTo>
                  <a:cubicBezTo>
                    <a:pt x="59722" y="196310"/>
                    <a:pt x="59055" y="196310"/>
                    <a:pt x="59055" y="196310"/>
                  </a:cubicBezTo>
                  <a:lnTo>
                    <a:pt x="58388" y="196977"/>
                  </a:lnTo>
                  <a:cubicBezTo>
                    <a:pt x="58388" y="198311"/>
                    <a:pt x="58388" y="199072"/>
                    <a:pt x="56293" y="200406"/>
                  </a:cubicBezTo>
                  <a:lnTo>
                    <a:pt x="56293" y="201073"/>
                  </a:lnTo>
                  <a:cubicBezTo>
                    <a:pt x="56959" y="202406"/>
                    <a:pt x="57626" y="203835"/>
                    <a:pt x="57626" y="205168"/>
                  </a:cubicBezTo>
                  <a:cubicBezTo>
                    <a:pt x="56959" y="206502"/>
                    <a:pt x="56959" y="207931"/>
                    <a:pt x="55531" y="207931"/>
                  </a:cubicBezTo>
                  <a:cubicBezTo>
                    <a:pt x="55531" y="207931"/>
                    <a:pt x="55531" y="209264"/>
                    <a:pt x="56198" y="210026"/>
                  </a:cubicBezTo>
                  <a:lnTo>
                    <a:pt x="56198" y="212122"/>
                  </a:lnTo>
                  <a:cubicBezTo>
                    <a:pt x="55531" y="213455"/>
                    <a:pt x="54102" y="214217"/>
                    <a:pt x="53435" y="214217"/>
                  </a:cubicBezTo>
                  <a:lnTo>
                    <a:pt x="52102" y="215551"/>
                  </a:lnTo>
                  <a:lnTo>
                    <a:pt x="52769" y="216217"/>
                  </a:lnTo>
                  <a:cubicBezTo>
                    <a:pt x="54769" y="217075"/>
                    <a:pt x="54769" y="217742"/>
                    <a:pt x="54769" y="218503"/>
                  </a:cubicBezTo>
                  <a:cubicBezTo>
                    <a:pt x="54769" y="219837"/>
                    <a:pt x="56102" y="219837"/>
                    <a:pt x="56102" y="219837"/>
                  </a:cubicBezTo>
                  <a:lnTo>
                    <a:pt x="56102" y="221170"/>
                  </a:lnTo>
                  <a:cubicBezTo>
                    <a:pt x="54769" y="221837"/>
                    <a:pt x="54007" y="222504"/>
                    <a:pt x="54007" y="223266"/>
                  </a:cubicBezTo>
                  <a:cubicBezTo>
                    <a:pt x="54007" y="227362"/>
                    <a:pt x="54674" y="230791"/>
                    <a:pt x="54674" y="234220"/>
                  </a:cubicBezTo>
                  <a:lnTo>
                    <a:pt x="54674" y="234887"/>
                  </a:lnTo>
                  <a:lnTo>
                    <a:pt x="53340" y="236220"/>
                  </a:lnTo>
                  <a:cubicBezTo>
                    <a:pt x="53340" y="236887"/>
                    <a:pt x="54007" y="236887"/>
                    <a:pt x="54674" y="237553"/>
                  </a:cubicBezTo>
                  <a:lnTo>
                    <a:pt x="54674" y="241649"/>
                  </a:lnTo>
                  <a:cubicBezTo>
                    <a:pt x="53340" y="242316"/>
                    <a:pt x="53340" y="242983"/>
                    <a:pt x="53340" y="243745"/>
                  </a:cubicBezTo>
                  <a:lnTo>
                    <a:pt x="53340" y="266414"/>
                  </a:lnTo>
                  <a:cubicBezTo>
                    <a:pt x="53340" y="267081"/>
                    <a:pt x="52673" y="267081"/>
                    <a:pt x="52673" y="267081"/>
                  </a:cubicBezTo>
                  <a:cubicBezTo>
                    <a:pt x="53340" y="267748"/>
                    <a:pt x="54007" y="267748"/>
                    <a:pt x="54007" y="267748"/>
                  </a:cubicBezTo>
                  <a:cubicBezTo>
                    <a:pt x="54007" y="267748"/>
                    <a:pt x="54769" y="268510"/>
                    <a:pt x="54769" y="269176"/>
                  </a:cubicBezTo>
                  <a:cubicBezTo>
                    <a:pt x="54769" y="270510"/>
                    <a:pt x="54769" y="271272"/>
                    <a:pt x="56864" y="271939"/>
                  </a:cubicBezTo>
                  <a:lnTo>
                    <a:pt x="56864" y="276035"/>
                  </a:lnTo>
                  <a:cubicBezTo>
                    <a:pt x="57531" y="276701"/>
                    <a:pt x="57531" y="276701"/>
                    <a:pt x="57531" y="277368"/>
                  </a:cubicBezTo>
                  <a:lnTo>
                    <a:pt x="57531" y="279464"/>
                  </a:lnTo>
                  <a:lnTo>
                    <a:pt x="58198" y="280130"/>
                  </a:lnTo>
                  <a:cubicBezTo>
                    <a:pt x="58865" y="280130"/>
                    <a:pt x="58865" y="281464"/>
                    <a:pt x="59531" y="282226"/>
                  </a:cubicBezTo>
                  <a:cubicBezTo>
                    <a:pt x="60198" y="282892"/>
                    <a:pt x="60865" y="282892"/>
                    <a:pt x="60865" y="283559"/>
                  </a:cubicBezTo>
                  <a:lnTo>
                    <a:pt x="60865" y="284226"/>
                  </a:lnTo>
                  <a:lnTo>
                    <a:pt x="61531" y="284226"/>
                  </a:lnTo>
                  <a:cubicBezTo>
                    <a:pt x="62865" y="284893"/>
                    <a:pt x="64960" y="284893"/>
                    <a:pt x="67723" y="284893"/>
                  </a:cubicBezTo>
                  <a:lnTo>
                    <a:pt x="72485" y="284893"/>
                  </a:lnTo>
                  <a:cubicBezTo>
                    <a:pt x="73152" y="284893"/>
                    <a:pt x="73152" y="284893"/>
                    <a:pt x="73819" y="284226"/>
                  </a:cubicBezTo>
                  <a:cubicBezTo>
                    <a:pt x="73819" y="283559"/>
                    <a:pt x="75914" y="284226"/>
                    <a:pt x="76581" y="282892"/>
                  </a:cubicBezTo>
                  <a:lnTo>
                    <a:pt x="77915" y="281559"/>
                  </a:lnTo>
                  <a:cubicBezTo>
                    <a:pt x="77915" y="281559"/>
                    <a:pt x="79248" y="280225"/>
                    <a:pt x="80010" y="280225"/>
                  </a:cubicBezTo>
                  <a:cubicBezTo>
                    <a:pt x="81344" y="280225"/>
                    <a:pt x="81344" y="280225"/>
                    <a:pt x="82106" y="279559"/>
                  </a:cubicBezTo>
                  <a:cubicBezTo>
                    <a:pt x="82772" y="278892"/>
                    <a:pt x="84201" y="278892"/>
                    <a:pt x="85535" y="278225"/>
                  </a:cubicBezTo>
                  <a:lnTo>
                    <a:pt x="95155" y="270700"/>
                  </a:lnTo>
                  <a:cubicBezTo>
                    <a:pt x="96488" y="270700"/>
                    <a:pt x="97250" y="269367"/>
                    <a:pt x="98584" y="268605"/>
                  </a:cubicBezTo>
                  <a:cubicBezTo>
                    <a:pt x="99250" y="266510"/>
                    <a:pt x="100679" y="265843"/>
                    <a:pt x="102679" y="264509"/>
                  </a:cubicBezTo>
                  <a:cubicBezTo>
                    <a:pt x="104013" y="262414"/>
                    <a:pt x="105442" y="261747"/>
                    <a:pt x="106775" y="260414"/>
                  </a:cubicBezTo>
                  <a:cubicBezTo>
                    <a:pt x="107442" y="259747"/>
                    <a:pt x="108109" y="259747"/>
                    <a:pt x="108109" y="259080"/>
                  </a:cubicBezTo>
                  <a:lnTo>
                    <a:pt x="108109" y="258413"/>
                  </a:lnTo>
                  <a:cubicBezTo>
                    <a:pt x="109442" y="257746"/>
                    <a:pt x="109442" y="256318"/>
                    <a:pt x="110871" y="256318"/>
                  </a:cubicBezTo>
                  <a:cubicBezTo>
                    <a:pt x="112204" y="256318"/>
                    <a:pt x="112204" y="254984"/>
                    <a:pt x="112967" y="254222"/>
                  </a:cubicBezTo>
                  <a:cubicBezTo>
                    <a:pt x="112967" y="253555"/>
                    <a:pt x="114300" y="252127"/>
                    <a:pt x="115729" y="252127"/>
                  </a:cubicBezTo>
                  <a:lnTo>
                    <a:pt x="117062" y="252127"/>
                  </a:lnTo>
                  <a:lnTo>
                    <a:pt x="117062" y="250031"/>
                  </a:lnTo>
                  <a:cubicBezTo>
                    <a:pt x="118396" y="248698"/>
                    <a:pt x="119825" y="247269"/>
                    <a:pt x="122587" y="245936"/>
                  </a:cubicBezTo>
                  <a:cubicBezTo>
                    <a:pt x="123920" y="244602"/>
                    <a:pt x="124682" y="243173"/>
                    <a:pt x="126683" y="242506"/>
                  </a:cubicBezTo>
                  <a:cubicBezTo>
                    <a:pt x="126683" y="239744"/>
                    <a:pt x="128016" y="239744"/>
                    <a:pt x="130112" y="238411"/>
                  </a:cubicBezTo>
                  <a:cubicBezTo>
                    <a:pt x="132207" y="237077"/>
                    <a:pt x="133540" y="235648"/>
                    <a:pt x="134207" y="234315"/>
                  </a:cubicBezTo>
                  <a:cubicBezTo>
                    <a:pt x="135541" y="232981"/>
                    <a:pt x="136969" y="232219"/>
                    <a:pt x="138303" y="230219"/>
                  </a:cubicBezTo>
                  <a:cubicBezTo>
                    <a:pt x="138303" y="230219"/>
                    <a:pt x="138303" y="228886"/>
                    <a:pt x="138970" y="228886"/>
                  </a:cubicBezTo>
                  <a:cubicBezTo>
                    <a:pt x="138970" y="228886"/>
                    <a:pt x="138970" y="228219"/>
                    <a:pt x="139637" y="228219"/>
                  </a:cubicBezTo>
                  <a:cubicBezTo>
                    <a:pt x="140303" y="228219"/>
                    <a:pt x="141732" y="228219"/>
                    <a:pt x="142399" y="226886"/>
                  </a:cubicBezTo>
                  <a:cubicBezTo>
                    <a:pt x="143065" y="226219"/>
                    <a:pt x="144494" y="224790"/>
                    <a:pt x="145161" y="224790"/>
                  </a:cubicBezTo>
                  <a:cubicBezTo>
                    <a:pt x="146494" y="224123"/>
                    <a:pt x="146494" y="222694"/>
                    <a:pt x="147256" y="222028"/>
                  </a:cubicBezTo>
                  <a:lnTo>
                    <a:pt x="150019" y="219932"/>
                  </a:lnTo>
                  <a:cubicBezTo>
                    <a:pt x="150686" y="219932"/>
                    <a:pt x="151352" y="218599"/>
                    <a:pt x="151352" y="217837"/>
                  </a:cubicBezTo>
                  <a:lnTo>
                    <a:pt x="152686" y="217170"/>
                  </a:lnTo>
                  <a:cubicBezTo>
                    <a:pt x="153352" y="214408"/>
                    <a:pt x="155448" y="213741"/>
                    <a:pt x="156781" y="213074"/>
                  </a:cubicBezTo>
                  <a:cubicBezTo>
                    <a:pt x="158115" y="211741"/>
                    <a:pt x="158115" y="210312"/>
                    <a:pt x="159544" y="209645"/>
                  </a:cubicBezTo>
                  <a:cubicBezTo>
                    <a:pt x="160877" y="208978"/>
                    <a:pt x="160877" y="207550"/>
                    <a:pt x="161639" y="207550"/>
                  </a:cubicBezTo>
                  <a:cubicBezTo>
                    <a:pt x="162973" y="206883"/>
                    <a:pt x="162973" y="206216"/>
                    <a:pt x="163735" y="206216"/>
                  </a:cubicBezTo>
                  <a:lnTo>
                    <a:pt x="165830" y="203454"/>
                  </a:lnTo>
                  <a:lnTo>
                    <a:pt x="165830" y="201359"/>
                  </a:lnTo>
                  <a:cubicBezTo>
                    <a:pt x="165830" y="200692"/>
                    <a:pt x="165830" y="200692"/>
                    <a:pt x="166497" y="200692"/>
                  </a:cubicBezTo>
                  <a:cubicBezTo>
                    <a:pt x="167164" y="200692"/>
                    <a:pt x="169259" y="199358"/>
                    <a:pt x="169259" y="199358"/>
                  </a:cubicBezTo>
                  <a:cubicBezTo>
                    <a:pt x="170593" y="198692"/>
                    <a:pt x="171355" y="198025"/>
                    <a:pt x="172021" y="196596"/>
                  </a:cubicBezTo>
                  <a:lnTo>
                    <a:pt x="172021" y="195929"/>
                  </a:lnTo>
                  <a:cubicBezTo>
                    <a:pt x="172021" y="195263"/>
                    <a:pt x="173355" y="195263"/>
                    <a:pt x="173355" y="194596"/>
                  </a:cubicBezTo>
                  <a:lnTo>
                    <a:pt x="173355" y="193929"/>
                  </a:lnTo>
                  <a:lnTo>
                    <a:pt x="174022" y="193262"/>
                  </a:lnTo>
                  <a:cubicBezTo>
                    <a:pt x="174022" y="191929"/>
                    <a:pt x="175355" y="191167"/>
                    <a:pt x="176784" y="189833"/>
                  </a:cubicBezTo>
                  <a:cubicBezTo>
                    <a:pt x="177451" y="189833"/>
                    <a:pt x="176784" y="189167"/>
                    <a:pt x="176784" y="188500"/>
                  </a:cubicBezTo>
                  <a:cubicBezTo>
                    <a:pt x="177451" y="187833"/>
                    <a:pt x="178117" y="187833"/>
                    <a:pt x="178879" y="187833"/>
                  </a:cubicBezTo>
                  <a:lnTo>
                    <a:pt x="179546" y="187833"/>
                  </a:lnTo>
                  <a:lnTo>
                    <a:pt x="179546" y="186499"/>
                  </a:lnTo>
                  <a:cubicBezTo>
                    <a:pt x="179546" y="185166"/>
                    <a:pt x="180213" y="184404"/>
                    <a:pt x="180880" y="183737"/>
                  </a:cubicBezTo>
                  <a:cubicBezTo>
                    <a:pt x="182975" y="183737"/>
                    <a:pt x="183642" y="181642"/>
                    <a:pt x="184309" y="180975"/>
                  </a:cubicBezTo>
                  <a:cubicBezTo>
                    <a:pt x="184975" y="180308"/>
                    <a:pt x="185642" y="180308"/>
                    <a:pt x="185642" y="179642"/>
                  </a:cubicBezTo>
                  <a:lnTo>
                    <a:pt x="184975" y="178975"/>
                  </a:lnTo>
                  <a:cubicBezTo>
                    <a:pt x="185642" y="177641"/>
                    <a:pt x="187071" y="177641"/>
                    <a:pt x="186309" y="176879"/>
                  </a:cubicBezTo>
                  <a:cubicBezTo>
                    <a:pt x="187642" y="176213"/>
                    <a:pt x="189071" y="175546"/>
                    <a:pt x="189071" y="174117"/>
                  </a:cubicBezTo>
                  <a:cubicBezTo>
                    <a:pt x="190405" y="173450"/>
                    <a:pt x="191834" y="172784"/>
                    <a:pt x="191834" y="171355"/>
                  </a:cubicBezTo>
                  <a:lnTo>
                    <a:pt x="191834" y="170688"/>
                  </a:lnTo>
                  <a:cubicBezTo>
                    <a:pt x="191834" y="170021"/>
                    <a:pt x="192500" y="169354"/>
                    <a:pt x="193929" y="169354"/>
                  </a:cubicBezTo>
                  <a:cubicBezTo>
                    <a:pt x="195263" y="168688"/>
                    <a:pt x="194596" y="168021"/>
                    <a:pt x="196025" y="167259"/>
                  </a:cubicBezTo>
                  <a:cubicBezTo>
                    <a:pt x="196691" y="167259"/>
                    <a:pt x="196691" y="166592"/>
                    <a:pt x="196691" y="165925"/>
                  </a:cubicBezTo>
                  <a:cubicBezTo>
                    <a:pt x="197358" y="165925"/>
                    <a:pt x="197358" y="165925"/>
                    <a:pt x="197358" y="165259"/>
                  </a:cubicBezTo>
                  <a:cubicBezTo>
                    <a:pt x="197358" y="163163"/>
                    <a:pt x="197358" y="163163"/>
                    <a:pt x="198692" y="161830"/>
                  </a:cubicBezTo>
                  <a:cubicBezTo>
                    <a:pt x="199358" y="161830"/>
                    <a:pt x="201454" y="160496"/>
                    <a:pt x="202121" y="159734"/>
                  </a:cubicBezTo>
                  <a:lnTo>
                    <a:pt x="202121" y="158401"/>
                  </a:lnTo>
                  <a:cubicBezTo>
                    <a:pt x="202121" y="157734"/>
                    <a:pt x="202787" y="157067"/>
                    <a:pt x="203454" y="156305"/>
                  </a:cubicBezTo>
                  <a:cubicBezTo>
                    <a:pt x="204121" y="154972"/>
                    <a:pt x="204788" y="154972"/>
                    <a:pt x="204788" y="154210"/>
                  </a:cubicBezTo>
                  <a:lnTo>
                    <a:pt x="204788" y="153543"/>
                  </a:lnTo>
                  <a:cubicBezTo>
                    <a:pt x="206121" y="152876"/>
                    <a:pt x="205454" y="152210"/>
                    <a:pt x="206121" y="152210"/>
                  </a:cubicBezTo>
                  <a:cubicBezTo>
                    <a:pt x="206788" y="151543"/>
                    <a:pt x="206788" y="150876"/>
                    <a:pt x="206788" y="150114"/>
                  </a:cubicBezTo>
                  <a:lnTo>
                    <a:pt x="206788" y="149447"/>
                  </a:lnTo>
                  <a:cubicBezTo>
                    <a:pt x="206788" y="148780"/>
                    <a:pt x="206788" y="148780"/>
                    <a:pt x="208121" y="147352"/>
                  </a:cubicBezTo>
                  <a:lnTo>
                    <a:pt x="208788" y="146018"/>
                  </a:lnTo>
                  <a:lnTo>
                    <a:pt x="211550" y="143923"/>
                  </a:lnTo>
                  <a:cubicBezTo>
                    <a:pt x="211550" y="143923"/>
                    <a:pt x="211550" y="144590"/>
                    <a:pt x="212217" y="144590"/>
                  </a:cubicBezTo>
                  <a:cubicBezTo>
                    <a:pt x="211550" y="145256"/>
                    <a:pt x="212217" y="145256"/>
                    <a:pt x="212217" y="145256"/>
                  </a:cubicBezTo>
                  <a:cubicBezTo>
                    <a:pt x="212217" y="145256"/>
                    <a:pt x="212884" y="145256"/>
                    <a:pt x="212884" y="144590"/>
                  </a:cubicBezTo>
                  <a:cubicBezTo>
                    <a:pt x="213550" y="144590"/>
                    <a:pt x="212884" y="143923"/>
                    <a:pt x="212884" y="143923"/>
                  </a:cubicBezTo>
                  <a:lnTo>
                    <a:pt x="212217" y="143923"/>
                  </a:lnTo>
                  <a:lnTo>
                    <a:pt x="212217" y="143256"/>
                  </a:lnTo>
                  <a:cubicBezTo>
                    <a:pt x="212217" y="143256"/>
                    <a:pt x="213550" y="143256"/>
                    <a:pt x="213550" y="142589"/>
                  </a:cubicBezTo>
                  <a:lnTo>
                    <a:pt x="213550" y="141256"/>
                  </a:lnTo>
                  <a:cubicBezTo>
                    <a:pt x="214884" y="139922"/>
                    <a:pt x="214884" y="139160"/>
                    <a:pt x="216313" y="138493"/>
                  </a:cubicBezTo>
                  <a:lnTo>
                    <a:pt x="216979" y="139160"/>
                  </a:lnTo>
                  <a:cubicBezTo>
                    <a:pt x="218313" y="139827"/>
                    <a:pt x="219742" y="139827"/>
                    <a:pt x="221075" y="139827"/>
                  </a:cubicBezTo>
                  <a:cubicBezTo>
                    <a:pt x="221742" y="139827"/>
                    <a:pt x="221075" y="139160"/>
                    <a:pt x="221075" y="138493"/>
                  </a:cubicBezTo>
                  <a:lnTo>
                    <a:pt x="221075" y="136398"/>
                  </a:lnTo>
                  <a:cubicBezTo>
                    <a:pt x="221075" y="135065"/>
                    <a:pt x="222409" y="134302"/>
                    <a:pt x="223838" y="132969"/>
                  </a:cubicBezTo>
                  <a:lnTo>
                    <a:pt x="224504" y="132969"/>
                  </a:lnTo>
                  <a:lnTo>
                    <a:pt x="226219" y="133445"/>
                  </a:lnTo>
                  <a:cubicBezTo>
                    <a:pt x="226219" y="135541"/>
                    <a:pt x="226219" y="136874"/>
                    <a:pt x="226886" y="139637"/>
                  </a:cubicBezTo>
                  <a:cubicBezTo>
                    <a:pt x="226886" y="139637"/>
                    <a:pt x="226219" y="139637"/>
                    <a:pt x="225552" y="140303"/>
                  </a:cubicBezTo>
                  <a:cubicBezTo>
                    <a:pt x="225552" y="140970"/>
                    <a:pt x="224885" y="141637"/>
                    <a:pt x="223456" y="143066"/>
                  </a:cubicBezTo>
                  <a:lnTo>
                    <a:pt x="223456" y="143732"/>
                  </a:lnTo>
                  <a:cubicBezTo>
                    <a:pt x="223456" y="144399"/>
                    <a:pt x="222790" y="144399"/>
                    <a:pt x="221361" y="145066"/>
                  </a:cubicBezTo>
                  <a:cubicBezTo>
                    <a:pt x="220027" y="146399"/>
                    <a:pt x="220694" y="146399"/>
                    <a:pt x="220027" y="147828"/>
                  </a:cubicBezTo>
                  <a:cubicBezTo>
                    <a:pt x="219361" y="147828"/>
                    <a:pt x="219361" y="148495"/>
                    <a:pt x="219361" y="148495"/>
                  </a:cubicBezTo>
                  <a:lnTo>
                    <a:pt x="220694" y="149162"/>
                  </a:lnTo>
                  <a:lnTo>
                    <a:pt x="221361" y="149162"/>
                  </a:lnTo>
                  <a:lnTo>
                    <a:pt x="221361" y="151257"/>
                  </a:lnTo>
                  <a:cubicBezTo>
                    <a:pt x="220694" y="151924"/>
                    <a:pt x="220027" y="151924"/>
                    <a:pt x="220027" y="151924"/>
                  </a:cubicBezTo>
                  <a:cubicBezTo>
                    <a:pt x="220027" y="153257"/>
                    <a:pt x="219361" y="153257"/>
                    <a:pt x="219361" y="154686"/>
                  </a:cubicBezTo>
                  <a:lnTo>
                    <a:pt x="219361" y="155353"/>
                  </a:lnTo>
                  <a:cubicBezTo>
                    <a:pt x="219361" y="156019"/>
                    <a:pt x="219361" y="156019"/>
                    <a:pt x="218694" y="156686"/>
                  </a:cubicBezTo>
                  <a:cubicBezTo>
                    <a:pt x="218027" y="157353"/>
                    <a:pt x="217361" y="157353"/>
                    <a:pt x="217361" y="158020"/>
                  </a:cubicBezTo>
                  <a:cubicBezTo>
                    <a:pt x="216694" y="158020"/>
                    <a:pt x="217361" y="158020"/>
                    <a:pt x="217361" y="158687"/>
                  </a:cubicBezTo>
                  <a:cubicBezTo>
                    <a:pt x="218027" y="158687"/>
                    <a:pt x="218027" y="159353"/>
                    <a:pt x="218027" y="159353"/>
                  </a:cubicBezTo>
                  <a:cubicBezTo>
                    <a:pt x="218027" y="160020"/>
                    <a:pt x="218027" y="160687"/>
                    <a:pt x="217361" y="161449"/>
                  </a:cubicBezTo>
                  <a:cubicBezTo>
                    <a:pt x="217361" y="161449"/>
                    <a:pt x="216694" y="162116"/>
                    <a:pt x="216027" y="162116"/>
                  </a:cubicBezTo>
                  <a:cubicBezTo>
                    <a:pt x="215360" y="162116"/>
                    <a:pt x="215360" y="162116"/>
                    <a:pt x="215360" y="162782"/>
                  </a:cubicBezTo>
                  <a:cubicBezTo>
                    <a:pt x="214694" y="163449"/>
                    <a:pt x="215360" y="164116"/>
                    <a:pt x="214027" y="164878"/>
                  </a:cubicBezTo>
                  <a:lnTo>
                    <a:pt x="214027" y="166973"/>
                  </a:lnTo>
                  <a:lnTo>
                    <a:pt x="210598" y="169736"/>
                  </a:lnTo>
                  <a:cubicBezTo>
                    <a:pt x="210598" y="170402"/>
                    <a:pt x="209931" y="171069"/>
                    <a:pt x="209931" y="172498"/>
                  </a:cubicBezTo>
                  <a:cubicBezTo>
                    <a:pt x="208598" y="172498"/>
                    <a:pt x="208598" y="173165"/>
                    <a:pt x="208598" y="173831"/>
                  </a:cubicBezTo>
                  <a:lnTo>
                    <a:pt x="208598" y="175927"/>
                  </a:lnTo>
                  <a:lnTo>
                    <a:pt x="207931" y="176593"/>
                  </a:lnTo>
                  <a:lnTo>
                    <a:pt x="207931" y="177260"/>
                  </a:lnTo>
                  <a:cubicBezTo>
                    <a:pt x="207931" y="177260"/>
                    <a:pt x="207931" y="177927"/>
                    <a:pt x="207264" y="178594"/>
                  </a:cubicBezTo>
                  <a:lnTo>
                    <a:pt x="207264" y="179927"/>
                  </a:lnTo>
                  <a:lnTo>
                    <a:pt x="205931" y="179927"/>
                  </a:lnTo>
                  <a:cubicBezTo>
                    <a:pt x="205931" y="181261"/>
                    <a:pt x="205931" y="182690"/>
                    <a:pt x="206597" y="183356"/>
                  </a:cubicBezTo>
                  <a:cubicBezTo>
                    <a:pt x="206597" y="184023"/>
                    <a:pt x="204502" y="185452"/>
                    <a:pt x="204502" y="186118"/>
                  </a:cubicBezTo>
                  <a:lnTo>
                    <a:pt x="204502" y="188881"/>
                  </a:lnTo>
                  <a:cubicBezTo>
                    <a:pt x="204502" y="189547"/>
                    <a:pt x="204502" y="190214"/>
                    <a:pt x="203835" y="190214"/>
                  </a:cubicBezTo>
                  <a:lnTo>
                    <a:pt x="201073" y="190214"/>
                  </a:lnTo>
                  <a:cubicBezTo>
                    <a:pt x="200406" y="190214"/>
                    <a:pt x="200406" y="190881"/>
                    <a:pt x="200406" y="190881"/>
                  </a:cubicBezTo>
                  <a:cubicBezTo>
                    <a:pt x="200406" y="191548"/>
                    <a:pt x="201073" y="192215"/>
                    <a:pt x="201740" y="192215"/>
                  </a:cubicBezTo>
                  <a:cubicBezTo>
                    <a:pt x="202406" y="192881"/>
                    <a:pt x="202406" y="192881"/>
                    <a:pt x="202406" y="193548"/>
                  </a:cubicBezTo>
                  <a:lnTo>
                    <a:pt x="198977" y="193548"/>
                  </a:lnTo>
                  <a:cubicBezTo>
                    <a:pt x="198311" y="194881"/>
                    <a:pt x="196215" y="194881"/>
                    <a:pt x="196215" y="196310"/>
                  </a:cubicBezTo>
                  <a:cubicBezTo>
                    <a:pt x="196882" y="197644"/>
                    <a:pt x="196215" y="197644"/>
                    <a:pt x="197548" y="198406"/>
                  </a:cubicBezTo>
                  <a:lnTo>
                    <a:pt x="198215" y="199072"/>
                  </a:lnTo>
                  <a:cubicBezTo>
                    <a:pt x="196120" y="199739"/>
                    <a:pt x="195453" y="200406"/>
                    <a:pt x="194786" y="201168"/>
                  </a:cubicBezTo>
                  <a:lnTo>
                    <a:pt x="193453" y="201835"/>
                  </a:lnTo>
                  <a:cubicBezTo>
                    <a:pt x="193453" y="201835"/>
                    <a:pt x="193453" y="202501"/>
                    <a:pt x="194786" y="202501"/>
                  </a:cubicBezTo>
                  <a:cubicBezTo>
                    <a:pt x="196120" y="203168"/>
                    <a:pt x="196882" y="204597"/>
                    <a:pt x="196882" y="205930"/>
                  </a:cubicBezTo>
                  <a:lnTo>
                    <a:pt x="196882" y="206597"/>
                  </a:lnTo>
                  <a:cubicBezTo>
                    <a:pt x="196882" y="207264"/>
                    <a:pt x="196215" y="207264"/>
                    <a:pt x="196215" y="207264"/>
                  </a:cubicBezTo>
                  <a:lnTo>
                    <a:pt x="196215" y="206597"/>
                  </a:lnTo>
                  <a:cubicBezTo>
                    <a:pt x="195548" y="205930"/>
                    <a:pt x="195548" y="205930"/>
                    <a:pt x="194881" y="205930"/>
                  </a:cubicBezTo>
                  <a:lnTo>
                    <a:pt x="194215" y="205930"/>
                  </a:lnTo>
                  <a:cubicBezTo>
                    <a:pt x="192881" y="205930"/>
                    <a:pt x="192119" y="207264"/>
                    <a:pt x="190119" y="208693"/>
                  </a:cubicBezTo>
                  <a:lnTo>
                    <a:pt x="189452" y="209360"/>
                  </a:lnTo>
                  <a:cubicBezTo>
                    <a:pt x="190119" y="211455"/>
                    <a:pt x="190119" y="212789"/>
                    <a:pt x="190119" y="213455"/>
                  </a:cubicBezTo>
                  <a:cubicBezTo>
                    <a:pt x="190119" y="213455"/>
                    <a:pt x="189452" y="214122"/>
                    <a:pt x="188786" y="214122"/>
                  </a:cubicBezTo>
                  <a:cubicBezTo>
                    <a:pt x="187452" y="214122"/>
                    <a:pt x="186023" y="214122"/>
                    <a:pt x="184690" y="215455"/>
                  </a:cubicBezTo>
                  <a:cubicBezTo>
                    <a:pt x="184023" y="216122"/>
                    <a:pt x="184023" y="216789"/>
                    <a:pt x="184023" y="216789"/>
                  </a:cubicBezTo>
                  <a:lnTo>
                    <a:pt x="184023" y="217456"/>
                  </a:lnTo>
                  <a:cubicBezTo>
                    <a:pt x="184023" y="218789"/>
                    <a:pt x="183356" y="219551"/>
                    <a:pt x="181927" y="220885"/>
                  </a:cubicBezTo>
                  <a:lnTo>
                    <a:pt x="180594" y="220885"/>
                  </a:lnTo>
                  <a:cubicBezTo>
                    <a:pt x="179927" y="221551"/>
                    <a:pt x="178498" y="222218"/>
                    <a:pt x="177832" y="224314"/>
                  </a:cubicBezTo>
                  <a:lnTo>
                    <a:pt x="177832" y="224980"/>
                  </a:lnTo>
                  <a:cubicBezTo>
                    <a:pt x="177832" y="225647"/>
                    <a:pt x="177165" y="226314"/>
                    <a:pt x="176498" y="227743"/>
                  </a:cubicBezTo>
                  <a:cubicBezTo>
                    <a:pt x="175831" y="228410"/>
                    <a:pt x="175165" y="228410"/>
                    <a:pt x="175165" y="229838"/>
                  </a:cubicBezTo>
                  <a:cubicBezTo>
                    <a:pt x="175165" y="230505"/>
                    <a:pt x="175831" y="231172"/>
                    <a:pt x="175831" y="231172"/>
                  </a:cubicBezTo>
                  <a:cubicBezTo>
                    <a:pt x="175831" y="231839"/>
                    <a:pt x="175165" y="231839"/>
                    <a:pt x="175165" y="231839"/>
                  </a:cubicBezTo>
                  <a:cubicBezTo>
                    <a:pt x="174498" y="231839"/>
                    <a:pt x="173069" y="232505"/>
                    <a:pt x="173069" y="233934"/>
                  </a:cubicBezTo>
                  <a:cubicBezTo>
                    <a:pt x="173069" y="234601"/>
                    <a:pt x="173069" y="234601"/>
                    <a:pt x="172402" y="234601"/>
                  </a:cubicBezTo>
                  <a:cubicBezTo>
                    <a:pt x="173069" y="235267"/>
                    <a:pt x="172402" y="235267"/>
                    <a:pt x="172402" y="235267"/>
                  </a:cubicBezTo>
                  <a:lnTo>
                    <a:pt x="166211" y="235267"/>
                  </a:lnTo>
                  <a:cubicBezTo>
                    <a:pt x="165544" y="235267"/>
                    <a:pt x="164878" y="235267"/>
                    <a:pt x="164878" y="235934"/>
                  </a:cubicBezTo>
                  <a:cubicBezTo>
                    <a:pt x="164878" y="237268"/>
                    <a:pt x="164878" y="238030"/>
                    <a:pt x="164211" y="239363"/>
                  </a:cubicBezTo>
                  <a:lnTo>
                    <a:pt x="163544" y="239363"/>
                  </a:lnTo>
                  <a:cubicBezTo>
                    <a:pt x="162211" y="239363"/>
                    <a:pt x="160782" y="240697"/>
                    <a:pt x="160115" y="242792"/>
                  </a:cubicBezTo>
                  <a:cubicBezTo>
                    <a:pt x="159448" y="244126"/>
                    <a:pt x="158020" y="245554"/>
                    <a:pt x="155353" y="246888"/>
                  </a:cubicBezTo>
                  <a:cubicBezTo>
                    <a:pt x="154019" y="246888"/>
                    <a:pt x="153257" y="246888"/>
                    <a:pt x="152590" y="248221"/>
                  </a:cubicBezTo>
                  <a:cubicBezTo>
                    <a:pt x="151924" y="248888"/>
                    <a:pt x="151257" y="248888"/>
                    <a:pt x="151257" y="249555"/>
                  </a:cubicBezTo>
                  <a:cubicBezTo>
                    <a:pt x="151257" y="250222"/>
                    <a:pt x="151924" y="250222"/>
                    <a:pt x="151924" y="250889"/>
                  </a:cubicBezTo>
                  <a:cubicBezTo>
                    <a:pt x="151924" y="251555"/>
                    <a:pt x="151257" y="252222"/>
                    <a:pt x="151257" y="252222"/>
                  </a:cubicBezTo>
                  <a:cubicBezTo>
                    <a:pt x="149923" y="252889"/>
                    <a:pt x="149923" y="253555"/>
                    <a:pt x="148495" y="253555"/>
                  </a:cubicBezTo>
                  <a:cubicBezTo>
                    <a:pt x="147161" y="254222"/>
                    <a:pt x="147828" y="255651"/>
                    <a:pt x="147161" y="255651"/>
                  </a:cubicBezTo>
                  <a:cubicBezTo>
                    <a:pt x="147161" y="256985"/>
                    <a:pt x="146494" y="256985"/>
                    <a:pt x="146494" y="257746"/>
                  </a:cubicBezTo>
                  <a:cubicBezTo>
                    <a:pt x="146494" y="258413"/>
                    <a:pt x="146494" y="258413"/>
                    <a:pt x="145828" y="258413"/>
                  </a:cubicBezTo>
                  <a:cubicBezTo>
                    <a:pt x="145161" y="259080"/>
                    <a:pt x="144494" y="259080"/>
                    <a:pt x="143732" y="259080"/>
                  </a:cubicBezTo>
                  <a:cubicBezTo>
                    <a:pt x="142399" y="259080"/>
                    <a:pt x="142399" y="260414"/>
                    <a:pt x="140970" y="260414"/>
                  </a:cubicBezTo>
                  <a:lnTo>
                    <a:pt x="140303" y="260414"/>
                  </a:lnTo>
                  <a:cubicBezTo>
                    <a:pt x="140303" y="261080"/>
                    <a:pt x="138970" y="261080"/>
                    <a:pt x="139637" y="261080"/>
                  </a:cubicBezTo>
                  <a:lnTo>
                    <a:pt x="139637" y="261747"/>
                  </a:lnTo>
                  <a:cubicBezTo>
                    <a:pt x="139637" y="263081"/>
                    <a:pt x="138970" y="263842"/>
                    <a:pt x="137541" y="265176"/>
                  </a:cubicBezTo>
                  <a:cubicBezTo>
                    <a:pt x="136208" y="265843"/>
                    <a:pt x="135446" y="265843"/>
                    <a:pt x="135446" y="267271"/>
                  </a:cubicBezTo>
                  <a:lnTo>
                    <a:pt x="135446" y="267938"/>
                  </a:lnTo>
                  <a:cubicBezTo>
                    <a:pt x="135446" y="268605"/>
                    <a:pt x="134779" y="268605"/>
                    <a:pt x="134779" y="268605"/>
                  </a:cubicBezTo>
                  <a:lnTo>
                    <a:pt x="132683" y="268605"/>
                  </a:lnTo>
                  <a:cubicBezTo>
                    <a:pt x="131350" y="271367"/>
                    <a:pt x="129254" y="272701"/>
                    <a:pt x="127159" y="274796"/>
                  </a:cubicBezTo>
                  <a:cubicBezTo>
                    <a:pt x="126492" y="275463"/>
                    <a:pt x="125825" y="275463"/>
                    <a:pt x="125825" y="275463"/>
                  </a:cubicBezTo>
                  <a:cubicBezTo>
                    <a:pt x="125825" y="275463"/>
                    <a:pt x="126492" y="276130"/>
                    <a:pt x="127159" y="276130"/>
                  </a:cubicBezTo>
                  <a:lnTo>
                    <a:pt x="128492" y="277463"/>
                  </a:lnTo>
                  <a:lnTo>
                    <a:pt x="128492" y="278130"/>
                  </a:lnTo>
                  <a:cubicBezTo>
                    <a:pt x="128492" y="279464"/>
                    <a:pt x="128492" y="281559"/>
                    <a:pt x="129159" y="283655"/>
                  </a:cubicBezTo>
                  <a:lnTo>
                    <a:pt x="129826" y="284321"/>
                  </a:lnTo>
                  <a:cubicBezTo>
                    <a:pt x="130492" y="284321"/>
                    <a:pt x="131159" y="284321"/>
                    <a:pt x="131921" y="283655"/>
                  </a:cubicBezTo>
                  <a:lnTo>
                    <a:pt x="134684" y="283655"/>
                  </a:lnTo>
                  <a:lnTo>
                    <a:pt x="132588" y="286417"/>
                  </a:lnTo>
                  <a:lnTo>
                    <a:pt x="131921" y="287084"/>
                  </a:lnTo>
                  <a:lnTo>
                    <a:pt x="129826" y="287084"/>
                  </a:lnTo>
                  <a:cubicBezTo>
                    <a:pt x="128492" y="289179"/>
                    <a:pt x="127063" y="290513"/>
                    <a:pt x="125730" y="291179"/>
                  </a:cubicBezTo>
                  <a:cubicBezTo>
                    <a:pt x="124396" y="292513"/>
                    <a:pt x="124396" y="293275"/>
                    <a:pt x="122301" y="293275"/>
                  </a:cubicBezTo>
                  <a:cubicBezTo>
                    <a:pt x="120967" y="294608"/>
                    <a:pt x="120967" y="296704"/>
                    <a:pt x="118872" y="296704"/>
                  </a:cubicBezTo>
                  <a:cubicBezTo>
                    <a:pt x="118205" y="296704"/>
                    <a:pt x="117538" y="297370"/>
                    <a:pt x="117538" y="297370"/>
                  </a:cubicBezTo>
                  <a:cubicBezTo>
                    <a:pt x="116205" y="298037"/>
                    <a:pt x="114776" y="299466"/>
                    <a:pt x="114110" y="300799"/>
                  </a:cubicBezTo>
                  <a:cubicBezTo>
                    <a:pt x="112776" y="301466"/>
                    <a:pt x="111347" y="302133"/>
                    <a:pt x="110014" y="302133"/>
                  </a:cubicBezTo>
                  <a:cubicBezTo>
                    <a:pt x="108680" y="302133"/>
                    <a:pt x="107918" y="304229"/>
                    <a:pt x="106585" y="305562"/>
                  </a:cubicBezTo>
                  <a:lnTo>
                    <a:pt x="105918" y="305562"/>
                  </a:lnTo>
                  <a:cubicBezTo>
                    <a:pt x="105251" y="305562"/>
                    <a:pt x="104585" y="306229"/>
                    <a:pt x="103156" y="306229"/>
                  </a:cubicBezTo>
                  <a:lnTo>
                    <a:pt x="102489" y="306229"/>
                  </a:lnTo>
                  <a:cubicBezTo>
                    <a:pt x="101822" y="306229"/>
                    <a:pt x="101156" y="307562"/>
                    <a:pt x="99727" y="307562"/>
                  </a:cubicBezTo>
                  <a:cubicBezTo>
                    <a:pt x="98393" y="307562"/>
                    <a:pt x="96965" y="308229"/>
                    <a:pt x="96298" y="308229"/>
                  </a:cubicBezTo>
                  <a:lnTo>
                    <a:pt x="94964" y="308229"/>
                  </a:lnTo>
                  <a:cubicBezTo>
                    <a:pt x="93631" y="308229"/>
                    <a:pt x="92869" y="308229"/>
                    <a:pt x="91535" y="308896"/>
                  </a:cubicBezTo>
                  <a:cubicBezTo>
                    <a:pt x="91535" y="310229"/>
                    <a:pt x="90869" y="310991"/>
                    <a:pt x="90202" y="310991"/>
                  </a:cubicBezTo>
                  <a:cubicBezTo>
                    <a:pt x="89535" y="310991"/>
                    <a:pt x="88106" y="311658"/>
                    <a:pt x="87440" y="311658"/>
                  </a:cubicBezTo>
                  <a:cubicBezTo>
                    <a:pt x="86773" y="312325"/>
                    <a:pt x="86106" y="312325"/>
                    <a:pt x="86106" y="312325"/>
                  </a:cubicBezTo>
                  <a:lnTo>
                    <a:pt x="85439" y="312325"/>
                  </a:lnTo>
                  <a:cubicBezTo>
                    <a:pt x="84773" y="312992"/>
                    <a:pt x="84773" y="312992"/>
                    <a:pt x="83344" y="312992"/>
                  </a:cubicBezTo>
                  <a:lnTo>
                    <a:pt x="77819" y="312992"/>
                  </a:lnTo>
                  <a:cubicBezTo>
                    <a:pt x="77152" y="312992"/>
                    <a:pt x="77152" y="313658"/>
                    <a:pt x="76486" y="314325"/>
                  </a:cubicBezTo>
                  <a:cubicBezTo>
                    <a:pt x="75819" y="314325"/>
                    <a:pt x="75819" y="314992"/>
                    <a:pt x="75819" y="314992"/>
                  </a:cubicBezTo>
                  <a:cubicBezTo>
                    <a:pt x="75152" y="312896"/>
                    <a:pt x="73723" y="312896"/>
                    <a:pt x="72390" y="312896"/>
                  </a:cubicBezTo>
                  <a:lnTo>
                    <a:pt x="69628" y="312896"/>
                  </a:lnTo>
                  <a:cubicBezTo>
                    <a:pt x="68294" y="310801"/>
                    <a:pt x="66865" y="310134"/>
                    <a:pt x="65532" y="310134"/>
                  </a:cubicBezTo>
                  <a:cubicBezTo>
                    <a:pt x="64865" y="311467"/>
                    <a:pt x="63437" y="311467"/>
                    <a:pt x="62770" y="312230"/>
                  </a:cubicBezTo>
                  <a:lnTo>
                    <a:pt x="62103" y="312896"/>
                  </a:lnTo>
                  <a:cubicBezTo>
                    <a:pt x="61436" y="313563"/>
                    <a:pt x="60007" y="313563"/>
                    <a:pt x="59341" y="313563"/>
                  </a:cubicBezTo>
                  <a:cubicBezTo>
                    <a:pt x="58007" y="313563"/>
                    <a:pt x="57245" y="313563"/>
                    <a:pt x="56578" y="312896"/>
                  </a:cubicBezTo>
                  <a:cubicBezTo>
                    <a:pt x="55912" y="312230"/>
                    <a:pt x="55912" y="311563"/>
                    <a:pt x="55912" y="311563"/>
                  </a:cubicBezTo>
                  <a:cubicBezTo>
                    <a:pt x="55245" y="311563"/>
                    <a:pt x="55245" y="312230"/>
                    <a:pt x="54578" y="312896"/>
                  </a:cubicBezTo>
                  <a:lnTo>
                    <a:pt x="54578" y="313563"/>
                  </a:lnTo>
                  <a:lnTo>
                    <a:pt x="44291" y="313563"/>
                  </a:lnTo>
                  <a:cubicBezTo>
                    <a:pt x="43625" y="313563"/>
                    <a:pt x="43625" y="312896"/>
                    <a:pt x="43625" y="312896"/>
                  </a:cubicBezTo>
                  <a:cubicBezTo>
                    <a:pt x="42958" y="311563"/>
                    <a:pt x="40862" y="311563"/>
                    <a:pt x="40196" y="310134"/>
                  </a:cubicBezTo>
                  <a:lnTo>
                    <a:pt x="36767" y="310134"/>
                  </a:lnTo>
                  <a:cubicBezTo>
                    <a:pt x="35433" y="309467"/>
                    <a:pt x="34671" y="309467"/>
                    <a:pt x="34004" y="309467"/>
                  </a:cubicBezTo>
                  <a:cubicBezTo>
                    <a:pt x="31909" y="309467"/>
                    <a:pt x="30575" y="309467"/>
                    <a:pt x="29908" y="308134"/>
                  </a:cubicBezTo>
                  <a:lnTo>
                    <a:pt x="29242" y="308134"/>
                  </a:lnTo>
                  <a:cubicBezTo>
                    <a:pt x="28575" y="308134"/>
                    <a:pt x="27908" y="307467"/>
                    <a:pt x="27146" y="307467"/>
                  </a:cubicBezTo>
                  <a:lnTo>
                    <a:pt x="24384" y="307467"/>
                  </a:lnTo>
                  <a:cubicBezTo>
                    <a:pt x="23050" y="306800"/>
                    <a:pt x="21622" y="306134"/>
                    <a:pt x="21622" y="304705"/>
                  </a:cubicBezTo>
                  <a:cubicBezTo>
                    <a:pt x="20288" y="304705"/>
                    <a:pt x="19526" y="304705"/>
                    <a:pt x="18859" y="304038"/>
                  </a:cubicBezTo>
                  <a:lnTo>
                    <a:pt x="17526" y="304038"/>
                  </a:lnTo>
                  <a:cubicBezTo>
                    <a:pt x="16859" y="303371"/>
                    <a:pt x="16859" y="301942"/>
                    <a:pt x="16193" y="300609"/>
                  </a:cubicBezTo>
                  <a:cubicBezTo>
                    <a:pt x="15526" y="300609"/>
                    <a:pt x="14859" y="299942"/>
                    <a:pt x="14859" y="299275"/>
                  </a:cubicBezTo>
                  <a:cubicBezTo>
                    <a:pt x="12764" y="298609"/>
                    <a:pt x="12097" y="297180"/>
                    <a:pt x="10763" y="296513"/>
                  </a:cubicBezTo>
                  <a:lnTo>
                    <a:pt x="10763" y="295846"/>
                  </a:lnTo>
                  <a:cubicBezTo>
                    <a:pt x="10763" y="295180"/>
                    <a:pt x="10097" y="295180"/>
                    <a:pt x="9430" y="294513"/>
                  </a:cubicBezTo>
                  <a:cubicBezTo>
                    <a:pt x="9430" y="293180"/>
                    <a:pt x="8763" y="293180"/>
                    <a:pt x="8096" y="292417"/>
                  </a:cubicBezTo>
                  <a:lnTo>
                    <a:pt x="7429" y="292417"/>
                  </a:lnTo>
                  <a:lnTo>
                    <a:pt x="7429" y="291751"/>
                  </a:lnTo>
                  <a:cubicBezTo>
                    <a:pt x="7429" y="291084"/>
                    <a:pt x="6763" y="290417"/>
                    <a:pt x="6763" y="289655"/>
                  </a:cubicBezTo>
                  <a:lnTo>
                    <a:pt x="6763" y="288989"/>
                  </a:lnTo>
                  <a:cubicBezTo>
                    <a:pt x="7429" y="288322"/>
                    <a:pt x="5429" y="287655"/>
                    <a:pt x="4667" y="286226"/>
                  </a:cubicBezTo>
                  <a:lnTo>
                    <a:pt x="4667" y="284893"/>
                  </a:lnTo>
                  <a:cubicBezTo>
                    <a:pt x="4667" y="283559"/>
                    <a:pt x="4000" y="283559"/>
                    <a:pt x="4000" y="282131"/>
                  </a:cubicBezTo>
                  <a:lnTo>
                    <a:pt x="4000" y="281464"/>
                  </a:lnTo>
                  <a:cubicBezTo>
                    <a:pt x="4000" y="280797"/>
                    <a:pt x="3334" y="280797"/>
                    <a:pt x="3334" y="279368"/>
                  </a:cubicBezTo>
                  <a:lnTo>
                    <a:pt x="3334" y="278701"/>
                  </a:lnTo>
                  <a:cubicBezTo>
                    <a:pt x="3334" y="278035"/>
                    <a:pt x="2667" y="278035"/>
                    <a:pt x="2000" y="278035"/>
                  </a:cubicBezTo>
                  <a:lnTo>
                    <a:pt x="2000" y="276701"/>
                  </a:lnTo>
                  <a:cubicBezTo>
                    <a:pt x="2667" y="275368"/>
                    <a:pt x="2667" y="274606"/>
                    <a:pt x="2667" y="273272"/>
                  </a:cubicBezTo>
                  <a:lnTo>
                    <a:pt x="2667" y="271272"/>
                  </a:lnTo>
                  <a:cubicBezTo>
                    <a:pt x="2667" y="269176"/>
                    <a:pt x="2000" y="267843"/>
                    <a:pt x="1333" y="267176"/>
                  </a:cubicBezTo>
                  <a:cubicBezTo>
                    <a:pt x="1333" y="265843"/>
                    <a:pt x="1333" y="265081"/>
                    <a:pt x="667" y="264414"/>
                  </a:cubicBezTo>
                  <a:lnTo>
                    <a:pt x="667" y="256889"/>
                  </a:lnTo>
                  <a:cubicBezTo>
                    <a:pt x="667" y="256889"/>
                    <a:pt x="1333" y="256889"/>
                    <a:pt x="1333" y="256222"/>
                  </a:cubicBezTo>
                  <a:cubicBezTo>
                    <a:pt x="1333" y="256222"/>
                    <a:pt x="0" y="255556"/>
                    <a:pt x="0" y="254889"/>
                  </a:cubicBezTo>
                  <a:lnTo>
                    <a:pt x="0" y="253555"/>
                  </a:lnTo>
                  <a:cubicBezTo>
                    <a:pt x="667" y="252889"/>
                    <a:pt x="1333" y="252889"/>
                    <a:pt x="1333" y="252889"/>
                  </a:cubicBezTo>
                  <a:lnTo>
                    <a:pt x="2000" y="252889"/>
                  </a:lnTo>
                  <a:cubicBezTo>
                    <a:pt x="2000" y="252222"/>
                    <a:pt x="2000" y="250793"/>
                    <a:pt x="1333" y="249460"/>
                  </a:cubicBezTo>
                  <a:lnTo>
                    <a:pt x="667" y="248793"/>
                  </a:lnTo>
                  <a:cubicBezTo>
                    <a:pt x="0" y="248126"/>
                    <a:pt x="0" y="246697"/>
                    <a:pt x="0" y="246031"/>
                  </a:cubicBezTo>
                  <a:lnTo>
                    <a:pt x="667" y="245364"/>
                  </a:lnTo>
                  <a:cubicBezTo>
                    <a:pt x="1333" y="244697"/>
                    <a:pt x="2000" y="244697"/>
                    <a:pt x="2000" y="244030"/>
                  </a:cubicBezTo>
                  <a:cubicBezTo>
                    <a:pt x="2000" y="244030"/>
                    <a:pt x="1333" y="243364"/>
                    <a:pt x="1333" y="242697"/>
                  </a:cubicBezTo>
                  <a:cubicBezTo>
                    <a:pt x="1333" y="242030"/>
                    <a:pt x="1333" y="242030"/>
                    <a:pt x="2667" y="241364"/>
                  </a:cubicBezTo>
                  <a:lnTo>
                    <a:pt x="2667" y="234505"/>
                  </a:lnTo>
                  <a:cubicBezTo>
                    <a:pt x="2667" y="233172"/>
                    <a:pt x="2667" y="231743"/>
                    <a:pt x="3334" y="231076"/>
                  </a:cubicBezTo>
                  <a:lnTo>
                    <a:pt x="3334" y="228314"/>
                  </a:lnTo>
                  <a:cubicBezTo>
                    <a:pt x="3334" y="227647"/>
                    <a:pt x="3334" y="226981"/>
                    <a:pt x="4000" y="226981"/>
                  </a:cubicBezTo>
                  <a:cubicBezTo>
                    <a:pt x="4000" y="226981"/>
                    <a:pt x="4667" y="226314"/>
                    <a:pt x="4667" y="225647"/>
                  </a:cubicBezTo>
                  <a:cubicBezTo>
                    <a:pt x="4667" y="224980"/>
                    <a:pt x="4000" y="224980"/>
                    <a:pt x="4000" y="224980"/>
                  </a:cubicBezTo>
                  <a:cubicBezTo>
                    <a:pt x="3334" y="224314"/>
                    <a:pt x="3334" y="223647"/>
                    <a:pt x="3334" y="223647"/>
                  </a:cubicBezTo>
                  <a:cubicBezTo>
                    <a:pt x="4000" y="222980"/>
                    <a:pt x="4667" y="222980"/>
                    <a:pt x="4667" y="222314"/>
                  </a:cubicBezTo>
                  <a:cubicBezTo>
                    <a:pt x="4667" y="220980"/>
                    <a:pt x="5334" y="220218"/>
                    <a:pt x="4667" y="220218"/>
                  </a:cubicBezTo>
                  <a:cubicBezTo>
                    <a:pt x="4667" y="218885"/>
                    <a:pt x="5334" y="218885"/>
                    <a:pt x="5334" y="218122"/>
                  </a:cubicBezTo>
                  <a:cubicBezTo>
                    <a:pt x="5334" y="217456"/>
                    <a:pt x="6001" y="216789"/>
                    <a:pt x="6001" y="216789"/>
                  </a:cubicBezTo>
                  <a:cubicBezTo>
                    <a:pt x="6001" y="216122"/>
                    <a:pt x="5334" y="216122"/>
                    <a:pt x="4667" y="216122"/>
                  </a:cubicBezTo>
                  <a:lnTo>
                    <a:pt x="3334" y="216122"/>
                  </a:lnTo>
                  <a:cubicBezTo>
                    <a:pt x="2667" y="216122"/>
                    <a:pt x="2667" y="215455"/>
                    <a:pt x="2667" y="214789"/>
                  </a:cubicBezTo>
                  <a:cubicBezTo>
                    <a:pt x="3334" y="214789"/>
                    <a:pt x="3334" y="214789"/>
                    <a:pt x="3334" y="214122"/>
                  </a:cubicBezTo>
                  <a:lnTo>
                    <a:pt x="3334" y="212789"/>
                  </a:lnTo>
                  <a:lnTo>
                    <a:pt x="4000" y="212122"/>
                  </a:lnTo>
                  <a:cubicBezTo>
                    <a:pt x="4000" y="212122"/>
                    <a:pt x="4000" y="212789"/>
                    <a:pt x="4667" y="212789"/>
                  </a:cubicBezTo>
                  <a:lnTo>
                    <a:pt x="4667" y="213455"/>
                  </a:lnTo>
                  <a:cubicBezTo>
                    <a:pt x="4667" y="212789"/>
                    <a:pt x="5334" y="212789"/>
                    <a:pt x="5334" y="212789"/>
                  </a:cubicBezTo>
                  <a:cubicBezTo>
                    <a:pt x="6001" y="212789"/>
                    <a:pt x="6001" y="212122"/>
                    <a:pt x="6001" y="212122"/>
                  </a:cubicBezTo>
                  <a:cubicBezTo>
                    <a:pt x="6668" y="211455"/>
                    <a:pt x="6668" y="211455"/>
                    <a:pt x="6668" y="210788"/>
                  </a:cubicBezTo>
                  <a:cubicBezTo>
                    <a:pt x="6668" y="210788"/>
                    <a:pt x="6668" y="210121"/>
                    <a:pt x="6001" y="209455"/>
                  </a:cubicBezTo>
                  <a:lnTo>
                    <a:pt x="6001" y="208788"/>
                  </a:lnTo>
                  <a:cubicBezTo>
                    <a:pt x="6001" y="207454"/>
                    <a:pt x="6668" y="205359"/>
                    <a:pt x="6668" y="204025"/>
                  </a:cubicBezTo>
                  <a:cubicBezTo>
                    <a:pt x="6001" y="203359"/>
                    <a:pt x="6001" y="201930"/>
                    <a:pt x="6001" y="201263"/>
                  </a:cubicBezTo>
                  <a:cubicBezTo>
                    <a:pt x="6001" y="200596"/>
                    <a:pt x="6001" y="199168"/>
                    <a:pt x="7334" y="198501"/>
                  </a:cubicBezTo>
                  <a:cubicBezTo>
                    <a:pt x="8001" y="198501"/>
                    <a:pt x="7334" y="198501"/>
                    <a:pt x="7334" y="197834"/>
                  </a:cubicBezTo>
                  <a:lnTo>
                    <a:pt x="7334" y="191643"/>
                  </a:lnTo>
                  <a:cubicBezTo>
                    <a:pt x="6668" y="190310"/>
                    <a:pt x="6668" y="188214"/>
                    <a:pt x="6668" y="186880"/>
                  </a:cubicBezTo>
                  <a:cubicBezTo>
                    <a:pt x="8001" y="185547"/>
                    <a:pt x="8001" y="184118"/>
                    <a:pt x="8001" y="182785"/>
                  </a:cubicBezTo>
                  <a:lnTo>
                    <a:pt x="8001" y="178022"/>
                  </a:lnTo>
                  <a:cubicBezTo>
                    <a:pt x="8001" y="177355"/>
                    <a:pt x="8668" y="177355"/>
                    <a:pt x="9334" y="176689"/>
                  </a:cubicBezTo>
                  <a:cubicBezTo>
                    <a:pt x="9334" y="176022"/>
                    <a:pt x="10001" y="175355"/>
                    <a:pt x="11430" y="174593"/>
                  </a:cubicBezTo>
                  <a:lnTo>
                    <a:pt x="11430" y="172498"/>
                  </a:lnTo>
                  <a:cubicBezTo>
                    <a:pt x="11430" y="172498"/>
                    <a:pt x="10097" y="172498"/>
                    <a:pt x="10097" y="171831"/>
                  </a:cubicBezTo>
                  <a:cubicBezTo>
                    <a:pt x="10097" y="171831"/>
                    <a:pt x="10763" y="171831"/>
                    <a:pt x="10763" y="171164"/>
                  </a:cubicBezTo>
                  <a:cubicBezTo>
                    <a:pt x="10763" y="170497"/>
                    <a:pt x="11430" y="170497"/>
                    <a:pt x="11430" y="170497"/>
                  </a:cubicBezTo>
                  <a:lnTo>
                    <a:pt x="11430" y="169831"/>
                  </a:lnTo>
                  <a:cubicBezTo>
                    <a:pt x="11430" y="169164"/>
                    <a:pt x="10763" y="168497"/>
                    <a:pt x="10097" y="168497"/>
                  </a:cubicBezTo>
                  <a:cubicBezTo>
                    <a:pt x="10097" y="168497"/>
                    <a:pt x="10763" y="167830"/>
                    <a:pt x="11430" y="166402"/>
                  </a:cubicBezTo>
                  <a:cubicBezTo>
                    <a:pt x="11430" y="166402"/>
                    <a:pt x="12097" y="166402"/>
                    <a:pt x="12097" y="165735"/>
                  </a:cubicBezTo>
                  <a:cubicBezTo>
                    <a:pt x="11430" y="165068"/>
                    <a:pt x="11430" y="165068"/>
                    <a:pt x="11430" y="164401"/>
                  </a:cubicBezTo>
                  <a:cubicBezTo>
                    <a:pt x="11430" y="163735"/>
                    <a:pt x="12764" y="162306"/>
                    <a:pt x="13525" y="161639"/>
                  </a:cubicBezTo>
                  <a:lnTo>
                    <a:pt x="14192" y="160972"/>
                  </a:lnTo>
                  <a:lnTo>
                    <a:pt x="13525" y="160972"/>
                  </a:lnTo>
                  <a:cubicBezTo>
                    <a:pt x="13525" y="159639"/>
                    <a:pt x="13525" y="158877"/>
                    <a:pt x="14192" y="158210"/>
                  </a:cubicBezTo>
                  <a:lnTo>
                    <a:pt x="15526" y="156877"/>
                  </a:lnTo>
                  <a:cubicBezTo>
                    <a:pt x="16193" y="156877"/>
                    <a:pt x="16193" y="156210"/>
                    <a:pt x="16193" y="155543"/>
                  </a:cubicBezTo>
                  <a:lnTo>
                    <a:pt x="16193" y="154876"/>
                  </a:lnTo>
                  <a:cubicBezTo>
                    <a:pt x="16193" y="154210"/>
                    <a:pt x="16859" y="153543"/>
                    <a:pt x="17526" y="152781"/>
                  </a:cubicBezTo>
                  <a:lnTo>
                    <a:pt x="17526" y="146494"/>
                  </a:lnTo>
                  <a:cubicBezTo>
                    <a:pt x="18859" y="145828"/>
                    <a:pt x="18859" y="145161"/>
                    <a:pt x="18859" y="143732"/>
                  </a:cubicBezTo>
                  <a:lnTo>
                    <a:pt x="18859" y="142399"/>
                  </a:lnTo>
                  <a:cubicBezTo>
                    <a:pt x="19526" y="141732"/>
                    <a:pt x="18859" y="139637"/>
                    <a:pt x="20193" y="138303"/>
                  </a:cubicBezTo>
                  <a:cubicBezTo>
                    <a:pt x="19526" y="137636"/>
                    <a:pt x="19526" y="136969"/>
                    <a:pt x="19526" y="135541"/>
                  </a:cubicBezTo>
                  <a:cubicBezTo>
                    <a:pt x="19526" y="134874"/>
                    <a:pt x="20193" y="134207"/>
                    <a:pt x="20860" y="134207"/>
                  </a:cubicBezTo>
                  <a:lnTo>
                    <a:pt x="20860" y="133541"/>
                  </a:lnTo>
                  <a:cubicBezTo>
                    <a:pt x="20193" y="132874"/>
                    <a:pt x="20193" y="132207"/>
                    <a:pt x="20193" y="131445"/>
                  </a:cubicBezTo>
                  <a:lnTo>
                    <a:pt x="20193" y="129349"/>
                  </a:lnTo>
                  <a:cubicBezTo>
                    <a:pt x="20193" y="129349"/>
                    <a:pt x="20193" y="128683"/>
                    <a:pt x="20860" y="128683"/>
                  </a:cubicBezTo>
                  <a:cubicBezTo>
                    <a:pt x="22955" y="127349"/>
                    <a:pt x="22955" y="126587"/>
                    <a:pt x="22955" y="125920"/>
                  </a:cubicBezTo>
                  <a:cubicBezTo>
                    <a:pt x="22955" y="125254"/>
                    <a:pt x="22955" y="125254"/>
                    <a:pt x="22289" y="124587"/>
                  </a:cubicBezTo>
                  <a:cubicBezTo>
                    <a:pt x="24384" y="125920"/>
                    <a:pt x="31242" y="101251"/>
                    <a:pt x="30480" y="102679"/>
                  </a:cubicBezTo>
                  <a:lnTo>
                    <a:pt x="30480" y="102013"/>
                  </a:lnTo>
                  <a:cubicBezTo>
                    <a:pt x="31814" y="101346"/>
                    <a:pt x="31814" y="99917"/>
                    <a:pt x="31814" y="99250"/>
                  </a:cubicBezTo>
                  <a:lnTo>
                    <a:pt x="31814" y="98584"/>
                  </a:lnTo>
                  <a:cubicBezTo>
                    <a:pt x="33147" y="97917"/>
                    <a:pt x="33909" y="97250"/>
                    <a:pt x="33909" y="96488"/>
                  </a:cubicBezTo>
                  <a:cubicBezTo>
                    <a:pt x="34576" y="95821"/>
                    <a:pt x="35243" y="95821"/>
                    <a:pt x="35243" y="95821"/>
                  </a:cubicBezTo>
                  <a:lnTo>
                    <a:pt x="35243" y="95059"/>
                  </a:lnTo>
                  <a:cubicBezTo>
                    <a:pt x="35243" y="93726"/>
                    <a:pt x="35909" y="92964"/>
                    <a:pt x="36576" y="92297"/>
                  </a:cubicBezTo>
                  <a:lnTo>
                    <a:pt x="36576" y="89535"/>
                  </a:lnTo>
                  <a:cubicBezTo>
                    <a:pt x="36576" y="88868"/>
                    <a:pt x="36576" y="88868"/>
                    <a:pt x="37243" y="88868"/>
                  </a:cubicBezTo>
                  <a:cubicBezTo>
                    <a:pt x="37909" y="88201"/>
                    <a:pt x="37909" y="86773"/>
                    <a:pt x="38576" y="86773"/>
                  </a:cubicBezTo>
                  <a:cubicBezTo>
                    <a:pt x="38576" y="85439"/>
                    <a:pt x="39243" y="84677"/>
                    <a:pt x="39910" y="84011"/>
                  </a:cubicBezTo>
                  <a:cubicBezTo>
                    <a:pt x="40576" y="84011"/>
                    <a:pt x="39910" y="83344"/>
                    <a:pt x="39910" y="82677"/>
                  </a:cubicBezTo>
                  <a:cubicBezTo>
                    <a:pt x="40576" y="82010"/>
                    <a:pt x="40576" y="81343"/>
                    <a:pt x="42005" y="80581"/>
                  </a:cubicBezTo>
                  <a:lnTo>
                    <a:pt x="42005" y="79915"/>
                  </a:lnTo>
                  <a:cubicBezTo>
                    <a:pt x="42005" y="79915"/>
                    <a:pt x="42005" y="79248"/>
                    <a:pt x="42672" y="79248"/>
                  </a:cubicBezTo>
                  <a:lnTo>
                    <a:pt x="44768" y="75819"/>
                  </a:lnTo>
                  <a:lnTo>
                    <a:pt x="45434" y="75819"/>
                  </a:lnTo>
                  <a:cubicBezTo>
                    <a:pt x="46768" y="75819"/>
                    <a:pt x="48197" y="74486"/>
                    <a:pt x="49530" y="73723"/>
                  </a:cubicBezTo>
                  <a:lnTo>
                    <a:pt x="51625" y="73723"/>
                  </a:lnTo>
                  <a:cubicBezTo>
                    <a:pt x="52292" y="72390"/>
                    <a:pt x="52959" y="71628"/>
                    <a:pt x="54388" y="71628"/>
                  </a:cubicBezTo>
                  <a:lnTo>
                    <a:pt x="56483" y="69532"/>
                  </a:lnTo>
                  <a:lnTo>
                    <a:pt x="57150" y="70199"/>
                  </a:lnTo>
                  <a:lnTo>
                    <a:pt x="57817" y="70199"/>
                  </a:lnTo>
                  <a:cubicBezTo>
                    <a:pt x="59912" y="70199"/>
                    <a:pt x="63341" y="66103"/>
                    <a:pt x="64008" y="66770"/>
                  </a:cubicBezTo>
                  <a:cubicBezTo>
                    <a:pt x="64675" y="66770"/>
                    <a:pt x="64675" y="66770"/>
                    <a:pt x="66104" y="67437"/>
                  </a:cubicBezTo>
                  <a:lnTo>
                    <a:pt x="68199" y="68770"/>
                  </a:lnTo>
                  <a:lnTo>
                    <a:pt x="70961" y="68770"/>
                  </a:lnTo>
                  <a:lnTo>
                    <a:pt x="71628" y="69437"/>
                  </a:lnTo>
                  <a:cubicBezTo>
                    <a:pt x="71628" y="70771"/>
                    <a:pt x="73723" y="72199"/>
                    <a:pt x="76390" y="73533"/>
                  </a:cubicBezTo>
                  <a:lnTo>
                    <a:pt x="77057" y="73533"/>
                  </a:lnTo>
                  <a:cubicBezTo>
                    <a:pt x="77724" y="73533"/>
                    <a:pt x="78391" y="73533"/>
                    <a:pt x="78391" y="74200"/>
                  </a:cubicBezTo>
                  <a:cubicBezTo>
                    <a:pt x="78391" y="74867"/>
                    <a:pt x="78391" y="75533"/>
                    <a:pt x="79724" y="76295"/>
                  </a:cubicBezTo>
                  <a:cubicBezTo>
                    <a:pt x="79724" y="76295"/>
                    <a:pt x="79724" y="76962"/>
                    <a:pt x="80391" y="76962"/>
                  </a:cubicBezTo>
                  <a:cubicBezTo>
                    <a:pt x="81058" y="76962"/>
                    <a:pt x="81058" y="76962"/>
                    <a:pt x="81058" y="76295"/>
                  </a:cubicBezTo>
                  <a:cubicBezTo>
                    <a:pt x="81725" y="76295"/>
                    <a:pt x="82391" y="76295"/>
                    <a:pt x="82391" y="75628"/>
                  </a:cubicBezTo>
                  <a:cubicBezTo>
                    <a:pt x="82391" y="74962"/>
                    <a:pt x="83058" y="74962"/>
                    <a:pt x="83058" y="74962"/>
                  </a:cubicBezTo>
                  <a:cubicBezTo>
                    <a:pt x="83725" y="74962"/>
                    <a:pt x="83725" y="74962"/>
                    <a:pt x="84392" y="75628"/>
                  </a:cubicBezTo>
                  <a:cubicBezTo>
                    <a:pt x="85058" y="76295"/>
                    <a:pt x="81629" y="81153"/>
                    <a:pt x="82296" y="81153"/>
                  </a:cubicBezTo>
                  <a:cubicBezTo>
                    <a:pt x="82963" y="81153"/>
                    <a:pt x="83629" y="81153"/>
                    <a:pt x="83629" y="81820"/>
                  </a:cubicBezTo>
                  <a:cubicBezTo>
                    <a:pt x="84296" y="82487"/>
                    <a:pt x="84963" y="82487"/>
                    <a:pt x="85725" y="82487"/>
                  </a:cubicBezTo>
                  <a:lnTo>
                    <a:pt x="87058" y="82487"/>
                  </a:lnTo>
                  <a:lnTo>
                    <a:pt x="88392" y="84582"/>
                  </a:lnTo>
                  <a:cubicBezTo>
                    <a:pt x="89059" y="85249"/>
                    <a:pt x="89725" y="85916"/>
                    <a:pt x="91154" y="85916"/>
                  </a:cubicBezTo>
                  <a:lnTo>
                    <a:pt x="91821" y="85916"/>
                  </a:lnTo>
                  <a:cubicBezTo>
                    <a:pt x="91821" y="88011"/>
                    <a:pt x="91821" y="90011"/>
                    <a:pt x="92488" y="92107"/>
                  </a:cubicBezTo>
                  <a:cubicBezTo>
                    <a:pt x="92488" y="92773"/>
                    <a:pt x="91821" y="93440"/>
                    <a:pt x="91821" y="93440"/>
                  </a:cubicBezTo>
                  <a:cubicBezTo>
                    <a:pt x="91154" y="93440"/>
                    <a:pt x="91154" y="94107"/>
                    <a:pt x="91154" y="94774"/>
                  </a:cubicBezTo>
                  <a:cubicBezTo>
                    <a:pt x="91154" y="95441"/>
                    <a:pt x="89821" y="95441"/>
                    <a:pt x="89821" y="96107"/>
                  </a:cubicBezTo>
                  <a:cubicBezTo>
                    <a:pt x="89821" y="96774"/>
                    <a:pt x="89821" y="96774"/>
                    <a:pt x="88487" y="98203"/>
                  </a:cubicBezTo>
                  <a:lnTo>
                    <a:pt x="88487" y="98869"/>
                  </a:lnTo>
                  <a:cubicBezTo>
                    <a:pt x="87821" y="99536"/>
                    <a:pt x="87821" y="100203"/>
                    <a:pt x="87821" y="100965"/>
                  </a:cubicBezTo>
                  <a:cubicBezTo>
                    <a:pt x="87154" y="100965"/>
                    <a:pt x="85725" y="101632"/>
                    <a:pt x="85725" y="103061"/>
                  </a:cubicBezTo>
                  <a:lnTo>
                    <a:pt x="85725" y="104394"/>
                  </a:lnTo>
                  <a:cubicBezTo>
                    <a:pt x="83629" y="107823"/>
                    <a:pt x="76105" y="125635"/>
                    <a:pt x="73342" y="131826"/>
                  </a:cubicBezTo>
                  <a:cubicBezTo>
                    <a:pt x="74009" y="131826"/>
                    <a:pt x="73342" y="132493"/>
                    <a:pt x="72676" y="132493"/>
                  </a:cubicBezTo>
                  <a:lnTo>
                    <a:pt x="72676" y="134588"/>
                  </a:lnTo>
                  <a:cubicBezTo>
                    <a:pt x="73247" y="134779"/>
                    <a:pt x="74009" y="135445"/>
                    <a:pt x="73247" y="135445"/>
                  </a:cubicBezTo>
                  <a:close/>
                  <a:moveTo>
                    <a:pt x="82201" y="29146"/>
                  </a:moveTo>
                  <a:cubicBezTo>
                    <a:pt x="81534" y="28480"/>
                    <a:pt x="80105" y="28480"/>
                    <a:pt x="80105" y="28480"/>
                  </a:cubicBezTo>
                  <a:cubicBezTo>
                    <a:pt x="79438" y="29146"/>
                    <a:pt x="78010" y="30575"/>
                    <a:pt x="77343" y="30575"/>
                  </a:cubicBezTo>
                  <a:cubicBezTo>
                    <a:pt x="77343" y="31242"/>
                    <a:pt x="77343" y="31242"/>
                    <a:pt x="76676" y="31242"/>
                  </a:cubicBezTo>
                  <a:cubicBezTo>
                    <a:pt x="76010" y="31242"/>
                    <a:pt x="75343" y="31242"/>
                    <a:pt x="75343" y="30575"/>
                  </a:cubicBezTo>
                  <a:lnTo>
                    <a:pt x="71914" y="27813"/>
                  </a:lnTo>
                  <a:lnTo>
                    <a:pt x="67151" y="27813"/>
                  </a:lnTo>
                  <a:cubicBezTo>
                    <a:pt x="67151" y="27813"/>
                    <a:pt x="67151" y="27146"/>
                    <a:pt x="67818" y="26479"/>
                  </a:cubicBezTo>
                  <a:cubicBezTo>
                    <a:pt x="67151" y="25146"/>
                    <a:pt x="67151" y="25146"/>
                    <a:pt x="65723" y="25146"/>
                  </a:cubicBezTo>
                  <a:cubicBezTo>
                    <a:pt x="64389" y="25146"/>
                    <a:pt x="64389" y="24479"/>
                    <a:pt x="64389" y="23813"/>
                  </a:cubicBezTo>
                  <a:lnTo>
                    <a:pt x="61627" y="20383"/>
                  </a:lnTo>
                  <a:cubicBezTo>
                    <a:pt x="60960" y="20383"/>
                    <a:pt x="60960" y="20383"/>
                    <a:pt x="60960" y="19717"/>
                  </a:cubicBezTo>
                  <a:lnTo>
                    <a:pt x="60960" y="16954"/>
                  </a:lnTo>
                  <a:cubicBezTo>
                    <a:pt x="60293" y="16288"/>
                    <a:pt x="59626" y="16288"/>
                    <a:pt x="59626" y="15621"/>
                  </a:cubicBezTo>
                  <a:cubicBezTo>
                    <a:pt x="59626" y="14954"/>
                    <a:pt x="60293" y="14954"/>
                    <a:pt x="60293" y="14288"/>
                  </a:cubicBezTo>
                  <a:cubicBezTo>
                    <a:pt x="60960" y="13621"/>
                    <a:pt x="61627" y="13621"/>
                    <a:pt x="62389" y="13621"/>
                  </a:cubicBezTo>
                  <a:lnTo>
                    <a:pt x="63055" y="13621"/>
                  </a:lnTo>
                  <a:cubicBezTo>
                    <a:pt x="65151" y="12954"/>
                    <a:pt x="67818" y="10858"/>
                    <a:pt x="69913" y="9525"/>
                  </a:cubicBezTo>
                  <a:cubicBezTo>
                    <a:pt x="69913" y="8192"/>
                    <a:pt x="71247" y="8192"/>
                    <a:pt x="72009" y="8192"/>
                  </a:cubicBezTo>
                  <a:cubicBezTo>
                    <a:pt x="72771" y="8192"/>
                    <a:pt x="73342" y="8192"/>
                    <a:pt x="73342" y="7525"/>
                  </a:cubicBezTo>
                  <a:cubicBezTo>
                    <a:pt x="74009" y="7525"/>
                    <a:pt x="74009" y="6191"/>
                    <a:pt x="74676" y="6191"/>
                  </a:cubicBezTo>
                  <a:cubicBezTo>
                    <a:pt x="76010" y="5524"/>
                    <a:pt x="80867" y="0"/>
                    <a:pt x="82201" y="0"/>
                  </a:cubicBezTo>
                  <a:cubicBezTo>
                    <a:pt x="82201" y="0"/>
                    <a:pt x="82867" y="667"/>
                    <a:pt x="84296" y="667"/>
                  </a:cubicBezTo>
                  <a:cubicBezTo>
                    <a:pt x="85630" y="667"/>
                    <a:pt x="86392" y="667"/>
                    <a:pt x="87725" y="1333"/>
                  </a:cubicBezTo>
                  <a:cubicBezTo>
                    <a:pt x="89059" y="2667"/>
                    <a:pt x="89059" y="2667"/>
                    <a:pt x="89059" y="3429"/>
                  </a:cubicBezTo>
                  <a:cubicBezTo>
                    <a:pt x="89059" y="4096"/>
                    <a:pt x="89059" y="4096"/>
                    <a:pt x="88392" y="4763"/>
                  </a:cubicBezTo>
                  <a:lnTo>
                    <a:pt x="88392" y="5429"/>
                  </a:lnTo>
                  <a:lnTo>
                    <a:pt x="91821" y="5429"/>
                  </a:lnTo>
                  <a:cubicBezTo>
                    <a:pt x="91821" y="5429"/>
                    <a:pt x="91154" y="6096"/>
                    <a:pt x="91154" y="6763"/>
                  </a:cubicBezTo>
                  <a:cubicBezTo>
                    <a:pt x="91154" y="7429"/>
                    <a:pt x="92488" y="8096"/>
                    <a:pt x="93250" y="8858"/>
                  </a:cubicBezTo>
                  <a:lnTo>
                    <a:pt x="94583" y="9525"/>
                  </a:lnTo>
                  <a:lnTo>
                    <a:pt x="100108" y="9525"/>
                  </a:lnTo>
                  <a:cubicBezTo>
                    <a:pt x="100775" y="9525"/>
                    <a:pt x="100775" y="8192"/>
                    <a:pt x="100775" y="8192"/>
                  </a:cubicBezTo>
                  <a:lnTo>
                    <a:pt x="102870" y="8192"/>
                  </a:lnTo>
                  <a:lnTo>
                    <a:pt x="106299" y="10954"/>
                  </a:lnTo>
                  <a:cubicBezTo>
                    <a:pt x="106299" y="10954"/>
                    <a:pt x="103537" y="17145"/>
                    <a:pt x="104204" y="17145"/>
                  </a:cubicBezTo>
                  <a:cubicBezTo>
                    <a:pt x="106299" y="17812"/>
                    <a:pt x="106299" y="17812"/>
                    <a:pt x="106966" y="17812"/>
                  </a:cubicBezTo>
                  <a:lnTo>
                    <a:pt x="109728" y="17812"/>
                  </a:lnTo>
                  <a:lnTo>
                    <a:pt x="110395" y="18478"/>
                  </a:lnTo>
                  <a:cubicBezTo>
                    <a:pt x="110395" y="19812"/>
                    <a:pt x="110395" y="20574"/>
                    <a:pt x="111728" y="21241"/>
                  </a:cubicBezTo>
                  <a:cubicBezTo>
                    <a:pt x="113062" y="21907"/>
                    <a:pt x="113062" y="23336"/>
                    <a:pt x="113062" y="24670"/>
                  </a:cubicBezTo>
                  <a:cubicBezTo>
                    <a:pt x="112395" y="25336"/>
                    <a:pt x="111728" y="25336"/>
                    <a:pt x="110966" y="25336"/>
                  </a:cubicBezTo>
                  <a:cubicBezTo>
                    <a:pt x="110204" y="25336"/>
                    <a:pt x="110300" y="26670"/>
                    <a:pt x="108871" y="26670"/>
                  </a:cubicBezTo>
                  <a:cubicBezTo>
                    <a:pt x="108204" y="26670"/>
                    <a:pt x="107537" y="26670"/>
                    <a:pt x="107537" y="27337"/>
                  </a:cubicBezTo>
                  <a:cubicBezTo>
                    <a:pt x="106204" y="28003"/>
                    <a:pt x="105442" y="28003"/>
                    <a:pt x="104775" y="28003"/>
                  </a:cubicBezTo>
                  <a:lnTo>
                    <a:pt x="102013" y="28003"/>
                  </a:lnTo>
                  <a:cubicBezTo>
                    <a:pt x="102013" y="28670"/>
                    <a:pt x="102013" y="28670"/>
                    <a:pt x="101346" y="28670"/>
                  </a:cubicBezTo>
                  <a:lnTo>
                    <a:pt x="92392" y="28670"/>
                  </a:lnTo>
                  <a:cubicBezTo>
                    <a:pt x="91726" y="28670"/>
                    <a:pt x="91059" y="29337"/>
                    <a:pt x="91059" y="29337"/>
                  </a:cubicBezTo>
                  <a:lnTo>
                    <a:pt x="90392" y="30004"/>
                  </a:lnTo>
                  <a:lnTo>
                    <a:pt x="83534" y="30004"/>
                  </a:lnTo>
                  <a:cubicBezTo>
                    <a:pt x="82867" y="29813"/>
                    <a:pt x="82867" y="29146"/>
                    <a:pt x="82201" y="29146"/>
                  </a:cubicBezTo>
                  <a:close/>
                  <a:moveTo>
                    <a:pt x="109633" y="291846"/>
                  </a:moveTo>
                  <a:cubicBezTo>
                    <a:pt x="110300" y="291179"/>
                    <a:pt x="110966" y="291179"/>
                    <a:pt x="110966" y="289750"/>
                  </a:cubicBezTo>
                  <a:lnTo>
                    <a:pt x="110966" y="289084"/>
                  </a:lnTo>
                  <a:lnTo>
                    <a:pt x="112300" y="289084"/>
                  </a:lnTo>
                  <a:cubicBezTo>
                    <a:pt x="112967" y="289084"/>
                    <a:pt x="112967" y="289084"/>
                    <a:pt x="113633" y="288417"/>
                  </a:cubicBezTo>
                  <a:cubicBezTo>
                    <a:pt x="114300" y="287084"/>
                    <a:pt x="115729" y="286321"/>
                    <a:pt x="117729" y="284988"/>
                  </a:cubicBezTo>
                  <a:lnTo>
                    <a:pt x="118396" y="284321"/>
                  </a:lnTo>
                  <a:lnTo>
                    <a:pt x="117729" y="284321"/>
                  </a:lnTo>
                  <a:cubicBezTo>
                    <a:pt x="116396" y="283655"/>
                    <a:pt x="115633" y="282988"/>
                    <a:pt x="115633" y="282988"/>
                  </a:cubicBezTo>
                  <a:cubicBezTo>
                    <a:pt x="114967" y="282988"/>
                    <a:pt x="114967" y="283655"/>
                    <a:pt x="114967" y="283655"/>
                  </a:cubicBezTo>
                  <a:lnTo>
                    <a:pt x="114967" y="284321"/>
                  </a:lnTo>
                  <a:lnTo>
                    <a:pt x="110204" y="287750"/>
                  </a:lnTo>
                  <a:lnTo>
                    <a:pt x="108109" y="287750"/>
                  </a:lnTo>
                  <a:cubicBezTo>
                    <a:pt x="107442" y="289084"/>
                    <a:pt x="107442" y="289846"/>
                    <a:pt x="107442" y="290513"/>
                  </a:cubicBezTo>
                  <a:cubicBezTo>
                    <a:pt x="106775" y="290513"/>
                    <a:pt x="106775" y="291179"/>
                    <a:pt x="106775" y="291179"/>
                  </a:cubicBezTo>
                  <a:cubicBezTo>
                    <a:pt x="106775" y="291846"/>
                    <a:pt x="107442" y="291846"/>
                    <a:pt x="108109" y="291846"/>
                  </a:cubicBezTo>
                  <a:lnTo>
                    <a:pt x="109633" y="291846"/>
                  </a:lnTo>
                  <a:close/>
                  <a:moveTo>
                    <a:pt x="130207" y="276796"/>
                  </a:moveTo>
                  <a:lnTo>
                    <a:pt x="131540" y="276796"/>
                  </a:lnTo>
                  <a:lnTo>
                    <a:pt x="131540" y="277463"/>
                  </a:lnTo>
                  <a:lnTo>
                    <a:pt x="132207" y="277463"/>
                  </a:lnTo>
                  <a:cubicBezTo>
                    <a:pt x="133540" y="277463"/>
                    <a:pt x="134302" y="277463"/>
                    <a:pt x="134302" y="278797"/>
                  </a:cubicBezTo>
                  <a:lnTo>
                    <a:pt x="134969" y="279464"/>
                  </a:lnTo>
                  <a:lnTo>
                    <a:pt x="134969" y="280797"/>
                  </a:lnTo>
                  <a:cubicBezTo>
                    <a:pt x="134302" y="281464"/>
                    <a:pt x="132874" y="281464"/>
                    <a:pt x="132874" y="281464"/>
                  </a:cubicBezTo>
                  <a:cubicBezTo>
                    <a:pt x="132874" y="280797"/>
                    <a:pt x="132207" y="280130"/>
                    <a:pt x="132207" y="280130"/>
                  </a:cubicBezTo>
                  <a:cubicBezTo>
                    <a:pt x="131540" y="280130"/>
                    <a:pt x="130873" y="280130"/>
                    <a:pt x="130873" y="279464"/>
                  </a:cubicBezTo>
                  <a:cubicBezTo>
                    <a:pt x="130873" y="279464"/>
                    <a:pt x="131540" y="278797"/>
                    <a:pt x="131540" y="278130"/>
                  </a:cubicBezTo>
                  <a:lnTo>
                    <a:pt x="131540" y="277463"/>
                  </a:lnTo>
                  <a:lnTo>
                    <a:pt x="130207" y="277463"/>
                  </a:lnTo>
                  <a:lnTo>
                    <a:pt x="130207" y="276796"/>
                  </a:lnTo>
                  <a:close/>
                  <a:moveTo>
                    <a:pt x="134302" y="275368"/>
                  </a:moveTo>
                  <a:cubicBezTo>
                    <a:pt x="134302" y="275368"/>
                    <a:pt x="133636" y="275368"/>
                    <a:pt x="133636" y="274701"/>
                  </a:cubicBezTo>
                  <a:cubicBezTo>
                    <a:pt x="133636" y="274034"/>
                    <a:pt x="133636" y="274034"/>
                    <a:pt x="134302" y="274034"/>
                  </a:cubicBezTo>
                  <a:cubicBezTo>
                    <a:pt x="134969" y="274034"/>
                    <a:pt x="134969" y="274034"/>
                    <a:pt x="135636" y="274701"/>
                  </a:cubicBezTo>
                  <a:cubicBezTo>
                    <a:pt x="134969" y="275368"/>
                    <a:pt x="134969" y="275368"/>
                    <a:pt x="134302" y="275368"/>
                  </a:cubicBezTo>
                  <a:close/>
                  <a:moveTo>
                    <a:pt x="136398" y="283655"/>
                  </a:moveTo>
                  <a:lnTo>
                    <a:pt x="135731" y="282988"/>
                  </a:lnTo>
                  <a:lnTo>
                    <a:pt x="137065" y="281654"/>
                  </a:lnTo>
                  <a:lnTo>
                    <a:pt x="137731" y="281654"/>
                  </a:lnTo>
                  <a:lnTo>
                    <a:pt x="137731" y="282321"/>
                  </a:lnTo>
                  <a:cubicBezTo>
                    <a:pt x="138398" y="282988"/>
                    <a:pt x="138398" y="283655"/>
                    <a:pt x="138398" y="283655"/>
                  </a:cubicBezTo>
                  <a:cubicBezTo>
                    <a:pt x="138398" y="284321"/>
                    <a:pt x="137731" y="284321"/>
                    <a:pt x="137065" y="284321"/>
                  </a:cubicBezTo>
                  <a:cubicBezTo>
                    <a:pt x="136398" y="284321"/>
                    <a:pt x="136398" y="284321"/>
                    <a:pt x="136398" y="283655"/>
                  </a:cubicBezTo>
                  <a:close/>
                  <a:moveTo>
                    <a:pt x="138398" y="277463"/>
                  </a:moveTo>
                  <a:lnTo>
                    <a:pt x="138398" y="272701"/>
                  </a:lnTo>
                  <a:lnTo>
                    <a:pt x="139065" y="272701"/>
                  </a:lnTo>
                  <a:cubicBezTo>
                    <a:pt x="140398" y="269939"/>
                    <a:pt x="142494" y="268605"/>
                    <a:pt x="143827" y="266510"/>
                  </a:cubicBezTo>
                  <a:lnTo>
                    <a:pt x="145161" y="266510"/>
                  </a:lnTo>
                  <a:cubicBezTo>
                    <a:pt x="145828" y="266510"/>
                    <a:pt x="147256" y="268605"/>
                    <a:pt x="146494" y="268605"/>
                  </a:cubicBezTo>
                  <a:cubicBezTo>
                    <a:pt x="145161" y="269939"/>
                    <a:pt x="144399" y="271367"/>
                    <a:pt x="142399" y="272701"/>
                  </a:cubicBezTo>
                  <a:cubicBezTo>
                    <a:pt x="141732" y="273367"/>
                    <a:pt x="141065" y="274034"/>
                    <a:pt x="141065" y="274796"/>
                  </a:cubicBezTo>
                  <a:lnTo>
                    <a:pt x="141065" y="277559"/>
                  </a:lnTo>
                  <a:cubicBezTo>
                    <a:pt x="141065" y="278225"/>
                    <a:pt x="140398" y="278892"/>
                    <a:pt x="138970" y="280321"/>
                  </a:cubicBezTo>
                  <a:lnTo>
                    <a:pt x="138303" y="280321"/>
                  </a:lnTo>
                  <a:cubicBezTo>
                    <a:pt x="137636" y="279654"/>
                    <a:pt x="137636" y="278987"/>
                    <a:pt x="136969" y="278987"/>
                  </a:cubicBezTo>
                  <a:lnTo>
                    <a:pt x="138398" y="277463"/>
                  </a:lnTo>
                  <a:close/>
                  <a:moveTo>
                    <a:pt x="149447" y="258890"/>
                  </a:moveTo>
                  <a:lnTo>
                    <a:pt x="149447" y="258223"/>
                  </a:lnTo>
                  <a:lnTo>
                    <a:pt x="152210" y="258223"/>
                  </a:lnTo>
                  <a:cubicBezTo>
                    <a:pt x="153543" y="258223"/>
                    <a:pt x="154305" y="258223"/>
                    <a:pt x="155638" y="257556"/>
                  </a:cubicBezTo>
                  <a:cubicBezTo>
                    <a:pt x="156305" y="256222"/>
                    <a:pt x="156305" y="256222"/>
                    <a:pt x="156972" y="256222"/>
                  </a:cubicBezTo>
                  <a:cubicBezTo>
                    <a:pt x="157639" y="256222"/>
                    <a:pt x="157639" y="256222"/>
                    <a:pt x="158306" y="255556"/>
                  </a:cubicBezTo>
                  <a:cubicBezTo>
                    <a:pt x="158972" y="254222"/>
                    <a:pt x="161068" y="254222"/>
                    <a:pt x="160401" y="253460"/>
                  </a:cubicBezTo>
                  <a:cubicBezTo>
                    <a:pt x="161068" y="252793"/>
                    <a:pt x="161068" y="252127"/>
                    <a:pt x="161735" y="252127"/>
                  </a:cubicBezTo>
                  <a:lnTo>
                    <a:pt x="161735" y="250793"/>
                  </a:lnTo>
                  <a:cubicBezTo>
                    <a:pt x="161735" y="250126"/>
                    <a:pt x="161735" y="250126"/>
                    <a:pt x="162401" y="249460"/>
                  </a:cubicBezTo>
                  <a:lnTo>
                    <a:pt x="163735" y="249460"/>
                  </a:lnTo>
                  <a:cubicBezTo>
                    <a:pt x="163735" y="249460"/>
                    <a:pt x="164402" y="249460"/>
                    <a:pt x="163735" y="250126"/>
                  </a:cubicBezTo>
                  <a:cubicBezTo>
                    <a:pt x="163735" y="250793"/>
                    <a:pt x="164402" y="250793"/>
                    <a:pt x="163735" y="250793"/>
                  </a:cubicBezTo>
                  <a:cubicBezTo>
                    <a:pt x="164402" y="251460"/>
                    <a:pt x="165068" y="252127"/>
                    <a:pt x="165830" y="252127"/>
                  </a:cubicBezTo>
                  <a:lnTo>
                    <a:pt x="165830" y="253460"/>
                  </a:lnTo>
                  <a:cubicBezTo>
                    <a:pt x="165830" y="254127"/>
                    <a:pt x="165830" y="254794"/>
                    <a:pt x="166497" y="254794"/>
                  </a:cubicBezTo>
                  <a:lnTo>
                    <a:pt x="166497" y="255461"/>
                  </a:lnTo>
                  <a:cubicBezTo>
                    <a:pt x="165163" y="256794"/>
                    <a:pt x="164402" y="258223"/>
                    <a:pt x="162401" y="258890"/>
                  </a:cubicBezTo>
                  <a:cubicBezTo>
                    <a:pt x="162401" y="259556"/>
                    <a:pt x="162401" y="259556"/>
                    <a:pt x="161735" y="259556"/>
                  </a:cubicBezTo>
                  <a:lnTo>
                    <a:pt x="158972" y="259556"/>
                  </a:lnTo>
                  <a:cubicBezTo>
                    <a:pt x="158306" y="259556"/>
                    <a:pt x="157639" y="260223"/>
                    <a:pt x="157639" y="260223"/>
                  </a:cubicBezTo>
                  <a:cubicBezTo>
                    <a:pt x="157639" y="260223"/>
                    <a:pt x="158306" y="260890"/>
                    <a:pt x="158972" y="260890"/>
                  </a:cubicBezTo>
                  <a:cubicBezTo>
                    <a:pt x="158972" y="260890"/>
                    <a:pt x="159639" y="260890"/>
                    <a:pt x="159639" y="261556"/>
                  </a:cubicBezTo>
                  <a:lnTo>
                    <a:pt x="160306" y="261556"/>
                  </a:lnTo>
                  <a:cubicBezTo>
                    <a:pt x="160306" y="262223"/>
                    <a:pt x="160306" y="262223"/>
                    <a:pt x="159639" y="262890"/>
                  </a:cubicBezTo>
                  <a:cubicBezTo>
                    <a:pt x="158972" y="262890"/>
                    <a:pt x="157544" y="263557"/>
                    <a:pt x="156877" y="264223"/>
                  </a:cubicBezTo>
                  <a:lnTo>
                    <a:pt x="156210" y="264223"/>
                  </a:lnTo>
                  <a:cubicBezTo>
                    <a:pt x="155543" y="264223"/>
                    <a:pt x="154877" y="264223"/>
                    <a:pt x="154115" y="263557"/>
                  </a:cubicBezTo>
                  <a:lnTo>
                    <a:pt x="154115" y="260794"/>
                  </a:lnTo>
                  <a:lnTo>
                    <a:pt x="153448" y="261461"/>
                  </a:lnTo>
                  <a:cubicBezTo>
                    <a:pt x="153448" y="262128"/>
                    <a:pt x="152114" y="263557"/>
                    <a:pt x="151352" y="264223"/>
                  </a:cubicBezTo>
                  <a:lnTo>
                    <a:pt x="149257" y="264223"/>
                  </a:lnTo>
                  <a:cubicBezTo>
                    <a:pt x="149257" y="262890"/>
                    <a:pt x="148590" y="262128"/>
                    <a:pt x="148590" y="261461"/>
                  </a:cubicBezTo>
                  <a:cubicBezTo>
                    <a:pt x="148685" y="260985"/>
                    <a:pt x="148685" y="260318"/>
                    <a:pt x="149447" y="258890"/>
                  </a:cubicBezTo>
                  <a:close/>
                  <a:moveTo>
                    <a:pt x="154210" y="254794"/>
                  </a:moveTo>
                  <a:lnTo>
                    <a:pt x="154877" y="254127"/>
                  </a:lnTo>
                  <a:lnTo>
                    <a:pt x="155543" y="254794"/>
                  </a:lnTo>
                  <a:lnTo>
                    <a:pt x="155543" y="256127"/>
                  </a:lnTo>
                  <a:lnTo>
                    <a:pt x="154877" y="256127"/>
                  </a:lnTo>
                  <a:lnTo>
                    <a:pt x="154210" y="254794"/>
                  </a:lnTo>
                  <a:close/>
                  <a:moveTo>
                    <a:pt x="177546" y="241078"/>
                  </a:moveTo>
                  <a:cubicBezTo>
                    <a:pt x="176879" y="241744"/>
                    <a:pt x="176879" y="242411"/>
                    <a:pt x="176879" y="242411"/>
                  </a:cubicBezTo>
                  <a:lnTo>
                    <a:pt x="176879" y="243078"/>
                  </a:lnTo>
                  <a:cubicBezTo>
                    <a:pt x="176879" y="243078"/>
                    <a:pt x="176213" y="243745"/>
                    <a:pt x="176213" y="243078"/>
                  </a:cubicBezTo>
                  <a:lnTo>
                    <a:pt x="174879" y="240983"/>
                  </a:lnTo>
                  <a:cubicBezTo>
                    <a:pt x="174212" y="240983"/>
                    <a:pt x="174212" y="240316"/>
                    <a:pt x="174212" y="240316"/>
                  </a:cubicBezTo>
                  <a:cubicBezTo>
                    <a:pt x="174212" y="240316"/>
                    <a:pt x="174212" y="239649"/>
                    <a:pt x="174879" y="239649"/>
                  </a:cubicBezTo>
                  <a:cubicBezTo>
                    <a:pt x="175546" y="238316"/>
                    <a:pt x="176213" y="238316"/>
                    <a:pt x="176975" y="237553"/>
                  </a:cubicBezTo>
                  <a:lnTo>
                    <a:pt x="178308" y="237553"/>
                  </a:lnTo>
                  <a:lnTo>
                    <a:pt x="178975" y="238220"/>
                  </a:lnTo>
                  <a:lnTo>
                    <a:pt x="178975" y="238887"/>
                  </a:lnTo>
                  <a:lnTo>
                    <a:pt x="178308" y="239554"/>
                  </a:lnTo>
                  <a:cubicBezTo>
                    <a:pt x="178879" y="239744"/>
                    <a:pt x="178213" y="241078"/>
                    <a:pt x="177546" y="241078"/>
                  </a:cubicBezTo>
                  <a:close/>
                  <a:moveTo>
                    <a:pt x="180975" y="209550"/>
                  </a:moveTo>
                  <a:cubicBezTo>
                    <a:pt x="180975" y="210217"/>
                    <a:pt x="180975" y="210217"/>
                    <a:pt x="181642" y="210884"/>
                  </a:cubicBezTo>
                  <a:lnTo>
                    <a:pt x="181642" y="209550"/>
                  </a:lnTo>
                  <a:lnTo>
                    <a:pt x="180975" y="209550"/>
                  </a:lnTo>
                  <a:close/>
                  <a:moveTo>
                    <a:pt x="189167" y="204025"/>
                  </a:moveTo>
                  <a:cubicBezTo>
                    <a:pt x="189167" y="204692"/>
                    <a:pt x="189167" y="204692"/>
                    <a:pt x="189833" y="204692"/>
                  </a:cubicBezTo>
                  <a:cubicBezTo>
                    <a:pt x="190500" y="204692"/>
                    <a:pt x="190500" y="204025"/>
                    <a:pt x="190500" y="203359"/>
                  </a:cubicBezTo>
                  <a:cubicBezTo>
                    <a:pt x="190500" y="202692"/>
                    <a:pt x="190500" y="202692"/>
                    <a:pt x="189833" y="202692"/>
                  </a:cubicBezTo>
                  <a:cubicBezTo>
                    <a:pt x="189167" y="203359"/>
                    <a:pt x="189167" y="203359"/>
                    <a:pt x="189167" y="204025"/>
                  </a:cubicBezTo>
                  <a:close/>
                  <a:moveTo>
                    <a:pt x="204978" y="179356"/>
                  </a:moveTo>
                  <a:cubicBezTo>
                    <a:pt x="204978" y="179356"/>
                    <a:pt x="204311" y="180022"/>
                    <a:pt x="204311" y="180689"/>
                  </a:cubicBezTo>
                  <a:lnTo>
                    <a:pt x="204311" y="180022"/>
                  </a:lnTo>
                  <a:cubicBezTo>
                    <a:pt x="203644" y="180022"/>
                    <a:pt x="203644" y="180022"/>
                    <a:pt x="203644" y="180689"/>
                  </a:cubicBezTo>
                  <a:lnTo>
                    <a:pt x="202978" y="181356"/>
                  </a:lnTo>
                  <a:lnTo>
                    <a:pt x="202311" y="181356"/>
                  </a:lnTo>
                  <a:lnTo>
                    <a:pt x="201644" y="182023"/>
                  </a:lnTo>
                  <a:lnTo>
                    <a:pt x="202311" y="182023"/>
                  </a:lnTo>
                  <a:cubicBezTo>
                    <a:pt x="202311" y="182023"/>
                    <a:pt x="201644" y="182690"/>
                    <a:pt x="200977" y="182690"/>
                  </a:cubicBezTo>
                  <a:cubicBezTo>
                    <a:pt x="200311" y="183356"/>
                    <a:pt x="200311" y="183356"/>
                    <a:pt x="198882" y="183356"/>
                  </a:cubicBezTo>
                  <a:cubicBezTo>
                    <a:pt x="197548" y="183356"/>
                    <a:pt x="195453" y="184023"/>
                    <a:pt x="194786" y="185452"/>
                  </a:cubicBezTo>
                  <a:lnTo>
                    <a:pt x="195453" y="185452"/>
                  </a:lnTo>
                  <a:cubicBezTo>
                    <a:pt x="196120" y="185452"/>
                    <a:pt x="196787" y="185452"/>
                    <a:pt x="198882" y="184118"/>
                  </a:cubicBezTo>
                  <a:cubicBezTo>
                    <a:pt x="195453" y="187547"/>
                    <a:pt x="195453" y="187547"/>
                    <a:pt x="195453" y="188214"/>
                  </a:cubicBezTo>
                  <a:lnTo>
                    <a:pt x="196120" y="188214"/>
                  </a:lnTo>
                  <a:cubicBezTo>
                    <a:pt x="196120" y="188881"/>
                    <a:pt x="196787" y="188881"/>
                    <a:pt x="196787" y="188881"/>
                  </a:cubicBezTo>
                  <a:lnTo>
                    <a:pt x="197453" y="188214"/>
                  </a:lnTo>
                  <a:cubicBezTo>
                    <a:pt x="198787" y="187547"/>
                    <a:pt x="198787" y="186880"/>
                    <a:pt x="200882" y="186880"/>
                  </a:cubicBezTo>
                  <a:lnTo>
                    <a:pt x="202216" y="186880"/>
                  </a:lnTo>
                  <a:lnTo>
                    <a:pt x="202216" y="185547"/>
                  </a:lnTo>
                  <a:cubicBezTo>
                    <a:pt x="202216" y="184880"/>
                    <a:pt x="203549" y="184214"/>
                    <a:pt x="203549" y="184214"/>
                  </a:cubicBezTo>
                  <a:cubicBezTo>
                    <a:pt x="203549" y="184214"/>
                    <a:pt x="204883" y="184214"/>
                    <a:pt x="204216" y="183547"/>
                  </a:cubicBezTo>
                  <a:lnTo>
                    <a:pt x="204216" y="180785"/>
                  </a:lnTo>
                  <a:lnTo>
                    <a:pt x="204978" y="179356"/>
                  </a:lnTo>
                  <a:close/>
                  <a:moveTo>
                    <a:pt x="200215" y="202025"/>
                  </a:moveTo>
                  <a:lnTo>
                    <a:pt x="198882" y="202025"/>
                  </a:lnTo>
                  <a:cubicBezTo>
                    <a:pt x="198882" y="201359"/>
                    <a:pt x="199549" y="201359"/>
                    <a:pt x="199549" y="201359"/>
                  </a:cubicBezTo>
                  <a:lnTo>
                    <a:pt x="200215" y="202025"/>
                  </a:lnTo>
                  <a:close/>
                  <a:moveTo>
                    <a:pt x="205645" y="162877"/>
                  </a:moveTo>
                  <a:lnTo>
                    <a:pt x="205645" y="164211"/>
                  </a:lnTo>
                  <a:cubicBezTo>
                    <a:pt x="206312" y="164211"/>
                    <a:pt x="206312" y="164211"/>
                    <a:pt x="206978" y="164878"/>
                  </a:cubicBezTo>
                  <a:lnTo>
                    <a:pt x="206978" y="162116"/>
                  </a:lnTo>
                  <a:cubicBezTo>
                    <a:pt x="206312" y="162877"/>
                    <a:pt x="206312" y="162877"/>
                    <a:pt x="205645" y="162877"/>
                  </a:cubicBezTo>
                  <a:close/>
                  <a:moveTo>
                    <a:pt x="211836" y="177355"/>
                  </a:moveTo>
                  <a:lnTo>
                    <a:pt x="211169" y="177355"/>
                  </a:lnTo>
                  <a:lnTo>
                    <a:pt x="211169" y="176689"/>
                  </a:lnTo>
                  <a:cubicBezTo>
                    <a:pt x="211836" y="176022"/>
                    <a:pt x="212503" y="176022"/>
                    <a:pt x="212503" y="176022"/>
                  </a:cubicBezTo>
                  <a:lnTo>
                    <a:pt x="212503" y="176689"/>
                  </a:lnTo>
                  <a:cubicBezTo>
                    <a:pt x="212503" y="177355"/>
                    <a:pt x="212503" y="177355"/>
                    <a:pt x="211836" y="177355"/>
                  </a:cubicBezTo>
                  <a:close/>
                  <a:moveTo>
                    <a:pt x="212503" y="161544"/>
                  </a:moveTo>
                  <a:lnTo>
                    <a:pt x="213836" y="160211"/>
                  </a:lnTo>
                  <a:lnTo>
                    <a:pt x="213169" y="160211"/>
                  </a:lnTo>
                  <a:cubicBezTo>
                    <a:pt x="212503" y="160211"/>
                    <a:pt x="212503" y="160211"/>
                    <a:pt x="211836" y="160877"/>
                  </a:cubicBezTo>
                  <a:lnTo>
                    <a:pt x="212503" y="16154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F729A4B-4C57-40C9-9DF7-6D4B7E4C92CB}"/>
                </a:ext>
              </a:extLst>
            </p:cNvPr>
            <p:cNvSpPr/>
            <p:nvPr/>
          </p:nvSpPr>
          <p:spPr>
            <a:xfrm>
              <a:off x="5087588" y="2933700"/>
              <a:ext cx="228600" cy="628650"/>
            </a:xfrm>
            <a:custGeom>
              <a:avLst/>
              <a:gdLst>
                <a:gd name="connsiteX0" fmla="*/ 12192 w 228600"/>
                <a:gd name="connsiteY0" fmla="*/ 596741 h 628650"/>
                <a:gd name="connsiteX1" fmla="*/ 10858 w 228600"/>
                <a:gd name="connsiteY1" fmla="*/ 595408 h 628650"/>
                <a:gd name="connsiteX2" fmla="*/ 12192 w 228600"/>
                <a:gd name="connsiteY2" fmla="*/ 591979 h 628650"/>
                <a:gd name="connsiteX3" fmla="*/ 11525 w 228600"/>
                <a:gd name="connsiteY3" fmla="*/ 591312 h 628650"/>
                <a:gd name="connsiteX4" fmla="*/ 8763 w 228600"/>
                <a:gd name="connsiteY4" fmla="*/ 587216 h 628650"/>
                <a:gd name="connsiteX5" fmla="*/ 8096 w 228600"/>
                <a:gd name="connsiteY5" fmla="*/ 587216 h 628650"/>
                <a:gd name="connsiteX6" fmla="*/ 8763 w 228600"/>
                <a:gd name="connsiteY6" fmla="*/ 584454 h 628650"/>
                <a:gd name="connsiteX7" fmla="*/ 8763 w 228600"/>
                <a:gd name="connsiteY7" fmla="*/ 579692 h 628650"/>
                <a:gd name="connsiteX8" fmla="*/ 7430 w 228600"/>
                <a:gd name="connsiteY8" fmla="*/ 575596 h 628650"/>
                <a:gd name="connsiteX9" fmla="*/ 3334 w 228600"/>
                <a:gd name="connsiteY9" fmla="*/ 569405 h 628650"/>
                <a:gd name="connsiteX10" fmla="*/ 4001 w 228600"/>
                <a:gd name="connsiteY10" fmla="*/ 567309 h 628650"/>
                <a:gd name="connsiteX11" fmla="*/ 3334 w 228600"/>
                <a:gd name="connsiteY11" fmla="*/ 566642 h 628650"/>
                <a:gd name="connsiteX12" fmla="*/ 2000 w 228600"/>
                <a:gd name="connsiteY12" fmla="*/ 559784 h 628650"/>
                <a:gd name="connsiteX13" fmla="*/ 667 w 228600"/>
                <a:gd name="connsiteY13" fmla="*/ 557022 h 628650"/>
                <a:gd name="connsiteX14" fmla="*/ 667 w 228600"/>
                <a:gd name="connsiteY14" fmla="*/ 556260 h 628650"/>
                <a:gd name="connsiteX15" fmla="*/ 0 w 228600"/>
                <a:gd name="connsiteY15" fmla="*/ 543878 h 628650"/>
                <a:gd name="connsiteX16" fmla="*/ 2096 w 228600"/>
                <a:gd name="connsiteY16" fmla="*/ 508921 h 628650"/>
                <a:gd name="connsiteX17" fmla="*/ 4191 w 228600"/>
                <a:gd name="connsiteY17" fmla="*/ 504825 h 628650"/>
                <a:gd name="connsiteX18" fmla="*/ 4858 w 228600"/>
                <a:gd name="connsiteY18" fmla="*/ 500063 h 628650"/>
                <a:gd name="connsiteX19" fmla="*/ 6191 w 228600"/>
                <a:gd name="connsiteY19" fmla="*/ 498729 h 628650"/>
                <a:gd name="connsiteX20" fmla="*/ 5525 w 228600"/>
                <a:gd name="connsiteY20" fmla="*/ 497396 h 628650"/>
                <a:gd name="connsiteX21" fmla="*/ 6858 w 228600"/>
                <a:gd name="connsiteY21" fmla="*/ 491871 h 628650"/>
                <a:gd name="connsiteX22" fmla="*/ 4763 w 228600"/>
                <a:gd name="connsiteY22" fmla="*/ 489109 h 628650"/>
                <a:gd name="connsiteX23" fmla="*/ 5429 w 228600"/>
                <a:gd name="connsiteY23" fmla="*/ 487013 h 628650"/>
                <a:gd name="connsiteX24" fmla="*/ 5429 w 228600"/>
                <a:gd name="connsiteY24" fmla="*/ 485680 h 628650"/>
                <a:gd name="connsiteX25" fmla="*/ 6763 w 228600"/>
                <a:gd name="connsiteY25" fmla="*/ 480917 h 628650"/>
                <a:gd name="connsiteX26" fmla="*/ 5429 w 228600"/>
                <a:gd name="connsiteY26" fmla="*/ 478822 h 628650"/>
                <a:gd name="connsiteX27" fmla="*/ 5429 w 228600"/>
                <a:gd name="connsiteY27" fmla="*/ 476726 h 628650"/>
                <a:gd name="connsiteX28" fmla="*/ 8192 w 228600"/>
                <a:gd name="connsiteY28" fmla="*/ 471202 h 628650"/>
                <a:gd name="connsiteX29" fmla="*/ 8192 w 228600"/>
                <a:gd name="connsiteY29" fmla="*/ 469868 h 628650"/>
                <a:gd name="connsiteX30" fmla="*/ 8858 w 228600"/>
                <a:gd name="connsiteY30" fmla="*/ 467773 h 628650"/>
                <a:gd name="connsiteX31" fmla="*/ 8858 w 228600"/>
                <a:gd name="connsiteY31" fmla="*/ 463010 h 628650"/>
                <a:gd name="connsiteX32" fmla="*/ 9525 w 228600"/>
                <a:gd name="connsiteY32" fmla="*/ 454819 h 628650"/>
                <a:gd name="connsiteX33" fmla="*/ 9525 w 228600"/>
                <a:gd name="connsiteY33" fmla="*/ 452057 h 628650"/>
                <a:gd name="connsiteX34" fmla="*/ 10192 w 228600"/>
                <a:gd name="connsiteY34" fmla="*/ 450723 h 628650"/>
                <a:gd name="connsiteX35" fmla="*/ 10192 w 228600"/>
                <a:gd name="connsiteY35" fmla="*/ 449390 h 628650"/>
                <a:gd name="connsiteX36" fmla="*/ 9525 w 228600"/>
                <a:gd name="connsiteY36" fmla="*/ 448056 h 628650"/>
                <a:gd name="connsiteX37" fmla="*/ 11621 w 228600"/>
                <a:gd name="connsiteY37" fmla="*/ 440531 h 628650"/>
                <a:gd name="connsiteX38" fmla="*/ 11621 w 228600"/>
                <a:gd name="connsiteY38" fmla="*/ 439198 h 628650"/>
                <a:gd name="connsiteX39" fmla="*/ 13716 w 228600"/>
                <a:gd name="connsiteY39" fmla="*/ 435102 h 628650"/>
                <a:gd name="connsiteX40" fmla="*/ 13716 w 228600"/>
                <a:gd name="connsiteY40" fmla="*/ 428625 h 628650"/>
                <a:gd name="connsiteX41" fmla="*/ 14383 w 228600"/>
                <a:gd name="connsiteY41" fmla="*/ 427292 h 628650"/>
                <a:gd name="connsiteX42" fmla="*/ 15050 w 228600"/>
                <a:gd name="connsiteY42" fmla="*/ 426625 h 628650"/>
                <a:gd name="connsiteX43" fmla="*/ 14383 w 228600"/>
                <a:gd name="connsiteY43" fmla="*/ 424529 h 628650"/>
                <a:gd name="connsiteX44" fmla="*/ 15050 w 228600"/>
                <a:gd name="connsiteY44" fmla="*/ 421100 h 628650"/>
                <a:gd name="connsiteX45" fmla="*/ 16383 w 228600"/>
                <a:gd name="connsiteY45" fmla="*/ 417671 h 628650"/>
                <a:gd name="connsiteX46" fmla="*/ 16383 w 228600"/>
                <a:gd name="connsiteY46" fmla="*/ 417005 h 628650"/>
                <a:gd name="connsiteX47" fmla="*/ 15716 w 228600"/>
                <a:gd name="connsiteY47" fmla="*/ 414242 h 628650"/>
                <a:gd name="connsiteX48" fmla="*/ 15716 w 228600"/>
                <a:gd name="connsiteY48" fmla="*/ 412909 h 628650"/>
                <a:gd name="connsiteX49" fmla="*/ 17050 w 228600"/>
                <a:gd name="connsiteY49" fmla="*/ 410813 h 628650"/>
                <a:gd name="connsiteX50" fmla="*/ 17717 w 228600"/>
                <a:gd name="connsiteY50" fmla="*/ 410147 h 628650"/>
                <a:gd name="connsiteX51" fmla="*/ 17050 w 228600"/>
                <a:gd name="connsiteY51" fmla="*/ 409480 h 628650"/>
                <a:gd name="connsiteX52" fmla="*/ 19145 w 228600"/>
                <a:gd name="connsiteY52" fmla="*/ 404717 h 628650"/>
                <a:gd name="connsiteX53" fmla="*/ 18479 w 228600"/>
                <a:gd name="connsiteY53" fmla="*/ 404050 h 628650"/>
                <a:gd name="connsiteX54" fmla="*/ 19145 w 228600"/>
                <a:gd name="connsiteY54" fmla="*/ 399955 h 628650"/>
                <a:gd name="connsiteX55" fmla="*/ 19145 w 228600"/>
                <a:gd name="connsiteY55" fmla="*/ 397859 h 628650"/>
                <a:gd name="connsiteX56" fmla="*/ 21241 w 228600"/>
                <a:gd name="connsiteY56" fmla="*/ 389668 h 628650"/>
                <a:gd name="connsiteX57" fmla="*/ 21908 w 228600"/>
                <a:gd name="connsiteY57" fmla="*/ 389001 h 628650"/>
                <a:gd name="connsiteX58" fmla="*/ 21241 w 228600"/>
                <a:gd name="connsiteY58" fmla="*/ 388334 h 628650"/>
                <a:gd name="connsiteX59" fmla="*/ 23336 w 228600"/>
                <a:gd name="connsiteY59" fmla="*/ 383572 h 628650"/>
                <a:gd name="connsiteX60" fmla="*/ 24003 w 228600"/>
                <a:gd name="connsiteY60" fmla="*/ 379476 h 628650"/>
                <a:gd name="connsiteX61" fmla="*/ 24003 w 228600"/>
                <a:gd name="connsiteY61" fmla="*/ 378809 h 628650"/>
                <a:gd name="connsiteX62" fmla="*/ 23336 w 228600"/>
                <a:gd name="connsiteY62" fmla="*/ 377476 h 628650"/>
                <a:gd name="connsiteX63" fmla="*/ 24003 w 228600"/>
                <a:gd name="connsiteY63" fmla="*/ 376142 h 628650"/>
                <a:gd name="connsiteX64" fmla="*/ 27432 w 228600"/>
                <a:gd name="connsiteY64" fmla="*/ 371380 h 628650"/>
                <a:gd name="connsiteX65" fmla="*/ 26099 w 228600"/>
                <a:gd name="connsiteY65" fmla="*/ 367284 h 628650"/>
                <a:gd name="connsiteX66" fmla="*/ 26099 w 228600"/>
                <a:gd name="connsiteY66" fmla="*/ 365950 h 628650"/>
                <a:gd name="connsiteX67" fmla="*/ 29528 w 228600"/>
                <a:gd name="connsiteY67" fmla="*/ 357759 h 628650"/>
                <a:gd name="connsiteX68" fmla="*/ 30861 w 228600"/>
                <a:gd name="connsiteY68" fmla="*/ 352997 h 628650"/>
                <a:gd name="connsiteX69" fmla="*/ 30194 w 228600"/>
                <a:gd name="connsiteY69" fmla="*/ 352330 h 628650"/>
                <a:gd name="connsiteX70" fmla="*/ 32290 w 228600"/>
                <a:gd name="connsiteY70" fmla="*/ 348234 h 628650"/>
                <a:gd name="connsiteX71" fmla="*/ 33623 w 228600"/>
                <a:gd name="connsiteY71" fmla="*/ 340709 h 628650"/>
                <a:gd name="connsiteX72" fmla="*/ 33623 w 228600"/>
                <a:gd name="connsiteY72" fmla="*/ 337947 h 628650"/>
                <a:gd name="connsiteX73" fmla="*/ 35719 w 228600"/>
                <a:gd name="connsiteY73" fmla="*/ 330422 h 628650"/>
                <a:gd name="connsiteX74" fmla="*/ 37052 w 228600"/>
                <a:gd name="connsiteY74" fmla="*/ 326326 h 628650"/>
                <a:gd name="connsiteX75" fmla="*/ 37719 w 228600"/>
                <a:gd name="connsiteY75" fmla="*/ 322231 h 628650"/>
                <a:gd name="connsiteX76" fmla="*/ 40481 w 228600"/>
                <a:gd name="connsiteY76" fmla="*/ 315373 h 628650"/>
                <a:gd name="connsiteX77" fmla="*/ 39815 w 228600"/>
                <a:gd name="connsiteY77" fmla="*/ 314039 h 628650"/>
                <a:gd name="connsiteX78" fmla="*/ 40481 w 228600"/>
                <a:gd name="connsiteY78" fmla="*/ 309944 h 628650"/>
                <a:gd name="connsiteX79" fmla="*/ 40481 w 228600"/>
                <a:gd name="connsiteY79" fmla="*/ 307848 h 628650"/>
                <a:gd name="connsiteX80" fmla="*/ 41148 w 228600"/>
                <a:gd name="connsiteY80" fmla="*/ 307181 h 628650"/>
                <a:gd name="connsiteX81" fmla="*/ 40481 w 228600"/>
                <a:gd name="connsiteY81" fmla="*/ 304419 h 628650"/>
                <a:gd name="connsiteX82" fmla="*/ 43244 w 228600"/>
                <a:gd name="connsiteY82" fmla="*/ 301657 h 628650"/>
                <a:gd name="connsiteX83" fmla="*/ 43244 w 228600"/>
                <a:gd name="connsiteY83" fmla="*/ 297561 h 628650"/>
                <a:gd name="connsiteX84" fmla="*/ 45339 w 228600"/>
                <a:gd name="connsiteY84" fmla="*/ 294799 h 628650"/>
                <a:gd name="connsiteX85" fmla="*/ 44672 w 228600"/>
                <a:gd name="connsiteY85" fmla="*/ 293465 h 628650"/>
                <a:gd name="connsiteX86" fmla="*/ 44672 w 228600"/>
                <a:gd name="connsiteY86" fmla="*/ 291465 h 628650"/>
                <a:gd name="connsiteX87" fmla="*/ 46768 w 228600"/>
                <a:gd name="connsiteY87" fmla="*/ 286703 h 628650"/>
                <a:gd name="connsiteX88" fmla="*/ 48101 w 228600"/>
                <a:gd name="connsiteY88" fmla="*/ 284607 h 628650"/>
                <a:gd name="connsiteX89" fmla="*/ 48768 w 228600"/>
                <a:gd name="connsiteY89" fmla="*/ 282512 h 628650"/>
                <a:gd name="connsiteX90" fmla="*/ 48101 w 228600"/>
                <a:gd name="connsiteY90" fmla="*/ 281845 h 628650"/>
                <a:gd name="connsiteX91" fmla="*/ 48101 w 228600"/>
                <a:gd name="connsiteY91" fmla="*/ 279749 h 628650"/>
                <a:gd name="connsiteX92" fmla="*/ 50864 w 228600"/>
                <a:gd name="connsiteY92" fmla="*/ 276320 h 628650"/>
                <a:gd name="connsiteX93" fmla="*/ 50864 w 228600"/>
                <a:gd name="connsiteY93" fmla="*/ 274987 h 628650"/>
                <a:gd name="connsiteX94" fmla="*/ 50864 w 228600"/>
                <a:gd name="connsiteY94" fmla="*/ 270891 h 628650"/>
                <a:gd name="connsiteX95" fmla="*/ 51530 w 228600"/>
                <a:gd name="connsiteY95" fmla="*/ 268796 h 628650"/>
                <a:gd name="connsiteX96" fmla="*/ 52864 w 228600"/>
                <a:gd name="connsiteY96" fmla="*/ 265367 h 628650"/>
                <a:gd name="connsiteX97" fmla="*/ 53531 w 228600"/>
                <a:gd name="connsiteY97" fmla="*/ 261271 h 628650"/>
                <a:gd name="connsiteX98" fmla="*/ 54197 w 228600"/>
                <a:gd name="connsiteY98" fmla="*/ 255746 h 628650"/>
                <a:gd name="connsiteX99" fmla="*/ 56960 w 228600"/>
                <a:gd name="connsiteY99" fmla="*/ 252317 h 628650"/>
                <a:gd name="connsiteX100" fmla="*/ 57626 w 228600"/>
                <a:gd name="connsiteY100" fmla="*/ 244793 h 628650"/>
                <a:gd name="connsiteX101" fmla="*/ 58293 w 228600"/>
                <a:gd name="connsiteY101" fmla="*/ 240030 h 628650"/>
                <a:gd name="connsiteX102" fmla="*/ 59627 w 228600"/>
                <a:gd name="connsiteY102" fmla="*/ 237268 h 628650"/>
                <a:gd name="connsiteX103" fmla="*/ 58960 w 228600"/>
                <a:gd name="connsiteY103" fmla="*/ 234506 h 628650"/>
                <a:gd name="connsiteX104" fmla="*/ 59627 w 228600"/>
                <a:gd name="connsiteY104" fmla="*/ 233172 h 628650"/>
                <a:gd name="connsiteX105" fmla="*/ 61722 w 228600"/>
                <a:gd name="connsiteY105" fmla="*/ 230410 h 628650"/>
                <a:gd name="connsiteX106" fmla="*/ 63056 w 228600"/>
                <a:gd name="connsiteY106" fmla="*/ 222218 h 628650"/>
                <a:gd name="connsiteX107" fmla="*/ 64389 w 228600"/>
                <a:gd name="connsiteY107" fmla="*/ 218123 h 628650"/>
                <a:gd name="connsiteX108" fmla="*/ 66485 w 228600"/>
                <a:gd name="connsiteY108" fmla="*/ 209169 h 628650"/>
                <a:gd name="connsiteX109" fmla="*/ 67818 w 228600"/>
                <a:gd name="connsiteY109" fmla="*/ 207074 h 628650"/>
                <a:gd name="connsiteX110" fmla="*/ 70580 w 228600"/>
                <a:gd name="connsiteY110" fmla="*/ 201549 h 628650"/>
                <a:gd name="connsiteX111" fmla="*/ 71247 w 228600"/>
                <a:gd name="connsiteY111" fmla="*/ 198787 h 628650"/>
                <a:gd name="connsiteX112" fmla="*/ 71247 w 228600"/>
                <a:gd name="connsiteY112" fmla="*/ 197453 h 628650"/>
                <a:gd name="connsiteX113" fmla="*/ 74676 w 228600"/>
                <a:gd name="connsiteY113" fmla="*/ 187166 h 628650"/>
                <a:gd name="connsiteX114" fmla="*/ 75343 w 228600"/>
                <a:gd name="connsiteY114" fmla="*/ 187166 h 628650"/>
                <a:gd name="connsiteX115" fmla="*/ 75343 w 228600"/>
                <a:gd name="connsiteY115" fmla="*/ 186500 h 628650"/>
                <a:gd name="connsiteX116" fmla="*/ 76676 w 228600"/>
                <a:gd name="connsiteY116" fmla="*/ 183737 h 628650"/>
                <a:gd name="connsiteX117" fmla="*/ 77343 w 228600"/>
                <a:gd name="connsiteY117" fmla="*/ 178213 h 628650"/>
                <a:gd name="connsiteX118" fmla="*/ 79439 w 228600"/>
                <a:gd name="connsiteY118" fmla="*/ 177546 h 628650"/>
                <a:gd name="connsiteX119" fmla="*/ 78772 w 228600"/>
                <a:gd name="connsiteY119" fmla="*/ 174784 h 628650"/>
                <a:gd name="connsiteX120" fmla="*/ 79439 w 228600"/>
                <a:gd name="connsiteY120" fmla="*/ 170021 h 628650"/>
                <a:gd name="connsiteX121" fmla="*/ 80772 w 228600"/>
                <a:gd name="connsiteY121" fmla="*/ 163830 h 628650"/>
                <a:gd name="connsiteX122" fmla="*/ 82868 w 228600"/>
                <a:gd name="connsiteY122" fmla="*/ 159068 h 628650"/>
                <a:gd name="connsiteX123" fmla="*/ 83534 w 228600"/>
                <a:gd name="connsiteY123" fmla="*/ 157734 h 628650"/>
                <a:gd name="connsiteX124" fmla="*/ 85630 w 228600"/>
                <a:gd name="connsiteY124" fmla="*/ 151543 h 628650"/>
                <a:gd name="connsiteX125" fmla="*/ 85630 w 228600"/>
                <a:gd name="connsiteY125" fmla="*/ 150209 h 628650"/>
                <a:gd name="connsiteX126" fmla="*/ 86963 w 228600"/>
                <a:gd name="connsiteY126" fmla="*/ 147447 h 628650"/>
                <a:gd name="connsiteX127" fmla="*/ 86963 w 228600"/>
                <a:gd name="connsiteY127" fmla="*/ 146114 h 628650"/>
                <a:gd name="connsiteX128" fmla="*/ 88297 w 228600"/>
                <a:gd name="connsiteY128" fmla="*/ 141351 h 628650"/>
                <a:gd name="connsiteX129" fmla="*/ 89630 w 228600"/>
                <a:gd name="connsiteY129" fmla="*/ 140684 h 628650"/>
                <a:gd name="connsiteX130" fmla="*/ 88964 w 228600"/>
                <a:gd name="connsiteY130" fmla="*/ 139351 h 628650"/>
                <a:gd name="connsiteX131" fmla="*/ 92393 w 228600"/>
                <a:gd name="connsiteY131" fmla="*/ 135922 h 628650"/>
                <a:gd name="connsiteX132" fmla="*/ 91059 w 228600"/>
                <a:gd name="connsiteY132" fmla="*/ 133160 h 628650"/>
                <a:gd name="connsiteX133" fmla="*/ 92393 w 228600"/>
                <a:gd name="connsiteY133" fmla="*/ 131826 h 628650"/>
                <a:gd name="connsiteX134" fmla="*/ 97155 w 228600"/>
                <a:gd name="connsiteY134" fmla="*/ 114681 h 628650"/>
                <a:gd name="connsiteX135" fmla="*/ 97822 w 228600"/>
                <a:gd name="connsiteY135" fmla="*/ 114014 h 628650"/>
                <a:gd name="connsiteX136" fmla="*/ 99155 w 228600"/>
                <a:gd name="connsiteY136" fmla="*/ 110585 h 628650"/>
                <a:gd name="connsiteX137" fmla="*/ 99155 w 228600"/>
                <a:gd name="connsiteY137" fmla="*/ 109919 h 628650"/>
                <a:gd name="connsiteX138" fmla="*/ 101918 w 228600"/>
                <a:gd name="connsiteY138" fmla="*/ 105156 h 628650"/>
                <a:gd name="connsiteX139" fmla="*/ 102584 w 228600"/>
                <a:gd name="connsiteY139" fmla="*/ 101727 h 628650"/>
                <a:gd name="connsiteX140" fmla="*/ 102584 w 228600"/>
                <a:gd name="connsiteY140" fmla="*/ 101060 h 628650"/>
                <a:gd name="connsiteX141" fmla="*/ 106013 w 228600"/>
                <a:gd name="connsiteY141" fmla="*/ 92869 h 628650"/>
                <a:gd name="connsiteX142" fmla="*/ 106013 w 228600"/>
                <a:gd name="connsiteY142" fmla="*/ 91916 h 628650"/>
                <a:gd name="connsiteX143" fmla="*/ 108109 w 228600"/>
                <a:gd name="connsiteY143" fmla="*/ 87154 h 628650"/>
                <a:gd name="connsiteX144" fmla="*/ 109442 w 228600"/>
                <a:gd name="connsiteY144" fmla="*/ 85058 h 628650"/>
                <a:gd name="connsiteX145" fmla="*/ 109442 w 228600"/>
                <a:gd name="connsiteY145" fmla="*/ 82963 h 628650"/>
                <a:gd name="connsiteX146" fmla="*/ 110109 w 228600"/>
                <a:gd name="connsiteY146" fmla="*/ 81629 h 628650"/>
                <a:gd name="connsiteX147" fmla="*/ 114872 w 228600"/>
                <a:gd name="connsiteY147" fmla="*/ 70676 h 628650"/>
                <a:gd name="connsiteX148" fmla="*/ 118967 w 228600"/>
                <a:gd name="connsiteY148" fmla="*/ 56960 h 628650"/>
                <a:gd name="connsiteX149" fmla="*/ 118967 w 228600"/>
                <a:gd name="connsiteY149" fmla="*/ 56198 h 628650"/>
                <a:gd name="connsiteX150" fmla="*/ 123063 w 228600"/>
                <a:gd name="connsiteY150" fmla="*/ 48006 h 628650"/>
                <a:gd name="connsiteX151" fmla="*/ 127159 w 228600"/>
                <a:gd name="connsiteY151" fmla="*/ 39815 h 628650"/>
                <a:gd name="connsiteX152" fmla="*/ 127826 w 228600"/>
                <a:gd name="connsiteY152" fmla="*/ 38481 h 628650"/>
                <a:gd name="connsiteX153" fmla="*/ 129159 w 228600"/>
                <a:gd name="connsiteY153" fmla="*/ 34385 h 628650"/>
                <a:gd name="connsiteX154" fmla="*/ 130493 w 228600"/>
                <a:gd name="connsiteY154" fmla="*/ 31623 h 628650"/>
                <a:gd name="connsiteX155" fmla="*/ 130493 w 228600"/>
                <a:gd name="connsiteY155" fmla="*/ 29528 h 628650"/>
                <a:gd name="connsiteX156" fmla="*/ 133255 w 228600"/>
                <a:gd name="connsiteY156" fmla="*/ 24765 h 628650"/>
                <a:gd name="connsiteX157" fmla="*/ 137351 w 228600"/>
                <a:gd name="connsiteY157" fmla="*/ 19241 h 628650"/>
                <a:gd name="connsiteX158" fmla="*/ 141446 w 228600"/>
                <a:gd name="connsiteY158" fmla="*/ 13716 h 628650"/>
                <a:gd name="connsiteX159" fmla="*/ 147638 w 228600"/>
                <a:gd name="connsiteY159" fmla="*/ 7525 h 628650"/>
                <a:gd name="connsiteX160" fmla="*/ 151067 w 228600"/>
                <a:gd name="connsiteY160" fmla="*/ 3429 h 628650"/>
                <a:gd name="connsiteX161" fmla="*/ 153829 w 228600"/>
                <a:gd name="connsiteY161" fmla="*/ 2762 h 628650"/>
                <a:gd name="connsiteX162" fmla="*/ 161354 w 228600"/>
                <a:gd name="connsiteY162" fmla="*/ 667 h 628650"/>
                <a:gd name="connsiteX163" fmla="*/ 169259 w 228600"/>
                <a:gd name="connsiteY163" fmla="*/ 0 h 628650"/>
                <a:gd name="connsiteX164" fmla="*/ 172688 w 228600"/>
                <a:gd name="connsiteY164" fmla="*/ 667 h 628650"/>
                <a:gd name="connsiteX165" fmla="*/ 175451 w 228600"/>
                <a:gd name="connsiteY165" fmla="*/ 667 h 628650"/>
                <a:gd name="connsiteX166" fmla="*/ 179546 w 228600"/>
                <a:gd name="connsiteY166" fmla="*/ 2762 h 628650"/>
                <a:gd name="connsiteX167" fmla="*/ 183642 w 228600"/>
                <a:gd name="connsiteY167" fmla="*/ 6858 h 628650"/>
                <a:gd name="connsiteX168" fmla="*/ 189833 w 228600"/>
                <a:gd name="connsiteY168" fmla="*/ 10954 h 628650"/>
                <a:gd name="connsiteX169" fmla="*/ 193262 w 228600"/>
                <a:gd name="connsiteY169" fmla="*/ 14383 h 628650"/>
                <a:gd name="connsiteX170" fmla="*/ 196025 w 228600"/>
                <a:gd name="connsiteY170" fmla="*/ 19907 h 628650"/>
                <a:gd name="connsiteX171" fmla="*/ 197358 w 228600"/>
                <a:gd name="connsiteY171" fmla="*/ 22670 h 628650"/>
                <a:gd name="connsiteX172" fmla="*/ 200787 w 228600"/>
                <a:gd name="connsiteY172" fmla="*/ 27432 h 628650"/>
                <a:gd name="connsiteX173" fmla="*/ 201454 w 228600"/>
                <a:gd name="connsiteY173" fmla="*/ 29528 h 628650"/>
                <a:gd name="connsiteX174" fmla="*/ 202787 w 228600"/>
                <a:gd name="connsiteY174" fmla="*/ 31623 h 628650"/>
                <a:gd name="connsiteX175" fmla="*/ 204883 w 228600"/>
                <a:gd name="connsiteY175" fmla="*/ 37814 h 628650"/>
                <a:gd name="connsiteX176" fmla="*/ 204883 w 228600"/>
                <a:gd name="connsiteY176" fmla="*/ 48768 h 628650"/>
                <a:gd name="connsiteX177" fmla="*/ 206216 w 228600"/>
                <a:gd name="connsiteY177" fmla="*/ 54293 h 628650"/>
                <a:gd name="connsiteX178" fmla="*/ 208979 w 228600"/>
                <a:gd name="connsiteY178" fmla="*/ 62484 h 628650"/>
                <a:gd name="connsiteX179" fmla="*/ 208979 w 228600"/>
                <a:gd name="connsiteY179" fmla="*/ 65913 h 628650"/>
                <a:gd name="connsiteX180" fmla="*/ 208312 w 228600"/>
                <a:gd name="connsiteY180" fmla="*/ 67247 h 628650"/>
                <a:gd name="connsiteX181" fmla="*/ 209645 w 228600"/>
                <a:gd name="connsiteY181" fmla="*/ 70676 h 628650"/>
                <a:gd name="connsiteX182" fmla="*/ 208979 w 228600"/>
                <a:gd name="connsiteY182" fmla="*/ 74771 h 628650"/>
                <a:gd name="connsiteX183" fmla="*/ 209645 w 228600"/>
                <a:gd name="connsiteY183" fmla="*/ 79534 h 628650"/>
                <a:gd name="connsiteX184" fmla="*/ 210979 w 228600"/>
                <a:gd name="connsiteY184" fmla="*/ 85058 h 628650"/>
                <a:gd name="connsiteX185" fmla="*/ 210979 w 228600"/>
                <a:gd name="connsiteY185" fmla="*/ 86392 h 628650"/>
                <a:gd name="connsiteX186" fmla="*/ 210312 w 228600"/>
                <a:gd name="connsiteY186" fmla="*/ 91916 h 628650"/>
                <a:gd name="connsiteX187" fmla="*/ 210312 w 228600"/>
                <a:gd name="connsiteY187" fmla="*/ 94678 h 628650"/>
                <a:gd name="connsiteX188" fmla="*/ 210979 w 228600"/>
                <a:gd name="connsiteY188" fmla="*/ 96774 h 628650"/>
                <a:gd name="connsiteX189" fmla="*/ 210312 w 228600"/>
                <a:gd name="connsiteY189" fmla="*/ 100203 h 628650"/>
                <a:gd name="connsiteX190" fmla="*/ 209645 w 228600"/>
                <a:gd name="connsiteY190" fmla="*/ 103632 h 628650"/>
                <a:gd name="connsiteX191" fmla="*/ 207550 w 228600"/>
                <a:gd name="connsiteY191" fmla="*/ 106394 h 628650"/>
                <a:gd name="connsiteX192" fmla="*/ 208217 w 228600"/>
                <a:gd name="connsiteY192" fmla="*/ 109157 h 628650"/>
                <a:gd name="connsiteX193" fmla="*/ 208217 w 228600"/>
                <a:gd name="connsiteY193" fmla="*/ 112586 h 628650"/>
                <a:gd name="connsiteX194" fmla="*/ 204121 w 228600"/>
                <a:gd name="connsiteY194" fmla="*/ 116015 h 628650"/>
                <a:gd name="connsiteX195" fmla="*/ 206216 w 228600"/>
                <a:gd name="connsiteY195" fmla="*/ 117348 h 628650"/>
                <a:gd name="connsiteX196" fmla="*/ 206216 w 228600"/>
                <a:gd name="connsiteY196" fmla="*/ 118682 h 628650"/>
                <a:gd name="connsiteX197" fmla="*/ 205550 w 228600"/>
                <a:gd name="connsiteY197" fmla="*/ 119348 h 628650"/>
                <a:gd name="connsiteX198" fmla="*/ 206883 w 228600"/>
                <a:gd name="connsiteY198" fmla="*/ 121444 h 628650"/>
                <a:gd name="connsiteX199" fmla="*/ 206883 w 228600"/>
                <a:gd name="connsiteY199" fmla="*/ 122777 h 628650"/>
                <a:gd name="connsiteX200" fmla="*/ 204121 w 228600"/>
                <a:gd name="connsiteY200" fmla="*/ 126206 h 628650"/>
                <a:gd name="connsiteX201" fmla="*/ 206216 w 228600"/>
                <a:gd name="connsiteY201" fmla="*/ 130302 h 628650"/>
                <a:gd name="connsiteX202" fmla="*/ 206883 w 228600"/>
                <a:gd name="connsiteY202" fmla="*/ 130302 h 628650"/>
                <a:gd name="connsiteX203" fmla="*/ 206883 w 228600"/>
                <a:gd name="connsiteY203" fmla="*/ 136493 h 628650"/>
                <a:gd name="connsiteX204" fmla="*/ 201359 w 228600"/>
                <a:gd name="connsiteY204" fmla="*/ 145447 h 628650"/>
                <a:gd name="connsiteX205" fmla="*/ 202025 w 228600"/>
                <a:gd name="connsiteY205" fmla="*/ 146780 h 628650"/>
                <a:gd name="connsiteX206" fmla="*/ 201359 w 228600"/>
                <a:gd name="connsiteY206" fmla="*/ 147447 h 628650"/>
                <a:gd name="connsiteX207" fmla="*/ 199263 w 228600"/>
                <a:gd name="connsiteY207" fmla="*/ 148781 h 628650"/>
                <a:gd name="connsiteX208" fmla="*/ 199263 w 228600"/>
                <a:gd name="connsiteY208" fmla="*/ 150876 h 628650"/>
                <a:gd name="connsiteX209" fmla="*/ 196501 w 228600"/>
                <a:gd name="connsiteY209" fmla="*/ 154305 h 628650"/>
                <a:gd name="connsiteX210" fmla="*/ 196501 w 228600"/>
                <a:gd name="connsiteY210" fmla="*/ 154972 h 628650"/>
                <a:gd name="connsiteX211" fmla="*/ 195834 w 228600"/>
                <a:gd name="connsiteY211" fmla="*/ 159734 h 628650"/>
                <a:gd name="connsiteX212" fmla="*/ 195167 w 228600"/>
                <a:gd name="connsiteY212" fmla="*/ 163163 h 628650"/>
                <a:gd name="connsiteX213" fmla="*/ 194501 w 228600"/>
                <a:gd name="connsiteY213" fmla="*/ 165926 h 628650"/>
                <a:gd name="connsiteX214" fmla="*/ 191072 w 228600"/>
                <a:gd name="connsiteY214" fmla="*/ 172117 h 628650"/>
                <a:gd name="connsiteX215" fmla="*/ 191072 w 228600"/>
                <a:gd name="connsiteY215" fmla="*/ 173450 h 628650"/>
                <a:gd name="connsiteX216" fmla="*/ 190405 w 228600"/>
                <a:gd name="connsiteY216" fmla="*/ 176213 h 628650"/>
                <a:gd name="connsiteX217" fmla="*/ 189738 w 228600"/>
                <a:gd name="connsiteY217" fmla="*/ 178308 h 628650"/>
                <a:gd name="connsiteX218" fmla="*/ 190405 w 228600"/>
                <a:gd name="connsiteY218" fmla="*/ 181070 h 628650"/>
                <a:gd name="connsiteX219" fmla="*/ 191072 w 228600"/>
                <a:gd name="connsiteY219" fmla="*/ 181737 h 628650"/>
                <a:gd name="connsiteX220" fmla="*/ 190405 w 228600"/>
                <a:gd name="connsiteY220" fmla="*/ 182404 h 628650"/>
                <a:gd name="connsiteX221" fmla="*/ 189071 w 228600"/>
                <a:gd name="connsiteY221" fmla="*/ 186500 h 628650"/>
                <a:gd name="connsiteX222" fmla="*/ 189738 w 228600"/>
                <a:gd name="connsiteY222" fmla="*/ 187166 h 628650"/>
                <a:gd name="connsiteX223" fmla="*/ 190405 w 228600"/>
                <a:gd name="connsiteY223" fmla="*/ 187166 h 628650"/>
                <a:gd name="connsiteX224" fmla="*/ 189738 w 228600"/>
                <a:gd name="connsiteY224" fmla="*/ 189262 h 628650"/>
                <a:gd name="connsiteX225" fmla="*/ 189071 w 228600"/>
                <a:gd name="connsiteY225" fmla="*/ 190595 h 628650"/>
                <a:gd name="connsiteX226" fmla="*/ 187738 w 228600"/>
                <a:gd name="connsiteY226" fmla="*/ 191929 h 628650"/>
                <a:gd name="connsiteX227" fmla="*/ 188405 w 228600"/>
                <a:gd name="connsiteY227" fmla="*/ 191929 h 628650"/>
                <a:gd name="connsiteX228" fmla="*/ 187071 w 228600"/>
                <a:gd name="connsiteY228" fmla="*/ 196691 h 628650"/>
                <a:gd name="connsiteX229" fmla="*/ 187071 w 228600"/>
                <a:gd name="connsiteY229" fmla="*/ 198025 h 628650"/>
                <a:gd name="connsiteX230" fmla="*/ 183642 w 228600"/>
                <a:gd name="connsiteY230" fmla="*/ 199358 h 628650"/>
                <a:gd name="connsiteX231" fmla="*/ 182309 w 228600"/>
                <a:gd name="connsiteY231" fmla="*/ 201454 h 628650"/>
                <a:gd name="connsiteX232" fmla="*/ 184404 w 228600"/>
                <a:gd name="connsiteY232" fmla="*/ 203549 h 628650"/>
                <a:gd name="connsiteX233" fmla="*/ 186500 w 228600"/>
                <a:gd name="connsiteY233" fmla="*/ 204216 h 628650"/>
                <a:gd name="connsiteX234" fmla="*/ 184404 w 228600"/>
                <a:gd name="connsiteY234" fmla="*/ 204883 h 628650"/>
                <a:gd name="connsiteX235" fmla="*/ 180975 w 228600"/>
                <a:gd name="connsiteY235" fmla="*/ 208979 h 628650"/>
                <a:gd name="connsiteX236" fmla="*/ 178880 w 228600"/>
                <a:gd name="connsiteY236" fmla="*/ 212408 h 628650"/>
                <a:gd name="connsiteX237" fmla="*/ 177546 w 228600"/>
                <a:gd name="connsiteY237" fmla="*/ 217170 h 628650"/>
                <a:gd name="connsiteX238" fmla="*/ 177546 w 228600"/>
                <a:gd name="connsiteY238" fmla="*/ 217837 h 628650"/>
                <a:gd name="connsiteX239" fmla="*/ 177546 w 228600"/>
                <a:gd name="connsiteY239" fmla="*/ 219170 h 628650"/>
                <a:gd name="connsiteX240" fmla="*/ 176879 w 228600"/>
                <a:gd name="connsiteY240" fmla="*/ 219170 h 628650"/>
                <a:gd name="connsiteX241" fmla="*/ 174784 w 228600"/>
                <a:gd name="connsiteY241" fmla="*/ 222599 h 628650"/>
                <a:gd name="connsiteX242" fmla="*/ 174117 w 228600"/>
                <a:gd name="connsiteY242" fmla="*/ 226028 h 628650"/>
                <a:gd name="connsiteX243" fmla="*/ 174117 w 228600"/>
                <a:gd name="connsiteY243" fmla="*/ 226695 h 628650"/>
                <a:gd name="connsiteX244" fmla="*/ 174784 w 228600"/>
                <a:gd name="connsiteY244" fmla="*/ 226028 h 628650"/>
                <a:gd name="connsiteX245" fmla="*/ 177546 w 228600"/>
                <a:gd name="connsiteY245" fmla="*/ 221933 h 628650"/>
                <a:gd name="connsiteX246" fmla="*/ 178213 w 228600"/>
                <a:gd name="connsiteY246" fmla="*/ 222599 h 628650"/>
                <a:gd name="connsiteX247" fmla="*/ 177546 w 228600"/>
                <a:gd name="connsiteY247" fmla="*/ 223266 h 628650"/>
                <a:gd name="connsiteX248" fmla="*/ 176213 w 228600"/>
                <a:gd name="connsiteY248" fmla="*/ 228791 h 628650"/>
                <a:gd name="connsiteX249" fmla="*/ 174117 w 228600"/>
                <a:gd name="connsiteY249" fmla="*/ 230124 h 628650"/>
                <a:gd name="connsiteX250" fmla="*/ 166592 w 228600"/>
                <a:gd name="connsiteY250" fmla="*/ 231458 h 628650"/>
                <a:gd name="connsiteX251" fmla="*/ 165259 w 228600"/>
                <a:gd name="connsiteY251" fmla="*/ 232124 h 628650"/>
                <a:gd name="connsiteX252" fmla="*/ 163163 w 228600"/>
                <a:gd name="connsiteY252" fmla="*/ 237649 h 628650"/>
                <a:gd name="connsiteX253" fmla="*/ 162497 w 228600"/>
                <a:gd name="connsiteY253" fmla="*/ 238982 h 628650"/>
                <a:gd name="connsiteX254" fmla="*/ 165259 w 228600"/>
                <a:gd name="connsiteY254" fmla="*/ 241744 h 628650"/>
                <a:gd name="connsiteX255" fmla="*/ 167354 w 228600"/>
                <a:gd name="connsiteY255" fmla="*/ 241744 h 628650"/>
                <a:gd name="connsiteX256" fmla="*/ 166688 w 228600"/>
                <a:gd name="connsiteY256" fmla="*/ 242411 h 628650"/>
                <a:gd name="connsiteX257" fmla="*/ 166688 w 228600"/>
                <a:gd name="connsiteY257" fmla="*/ 243078 h 628650"/>
                <a:gd name="connsiteX258" fmla="*/ 166021 w 228600"/>
                <a:gd name="connsiteY258" fmla="*/ 243745 h 628650"/>
                <a:gd name="connsiteX259" fmla="*/ 168783 w 228600"/>
                <a:gd name="connsiteY259" fmla="*/ 243745 h 628650"/>
                <a:gd name="connsiteX260" fmla="*/ 168783 w 228600"/>
                <a:gd name="connsiteY260" fmla="*/ 245078 h 628650"/>
                <a:gd name="connsiteX261" fmla="*/ 167450 w 228600"/>
                <a:gd name="connsiteY261" fmla="*/ 246412 h 628650"/>
                <a:gd name="connsiteX262" fmla="*/ 166116 w 228600"/>
                <a:gd name="connsiteY262" fmla="*/ 247079 h 628650"/>
                <a:gd name="connsiteX263" fmla="*/ 166783 w 228600"/>
                <a:gd name="connsiteY263" fmla="*/ 248412 h 628650"/>
                <a:gd name="connsiteX264" fmla="*/ 165449 w 228600"/>
                <a:gd name="connsiteY264" fmla="*/ 249079 h 628650"/>
                <a:gd name="connsiteX265" fmla="*/ 162687 w 228600"/>
                <a:gd name="connsiteY265" fmla="*/ 251841 h 628650"/>
                <a:gd name="connsiteX266" fmla="*/ 161354 w 228600"/>
                <a:gd name="connsiteY266" fmla="*/ 251841 h 628650"/>
                <a:gd name="connsiteX267" fmla="*/ 157925 w 228600"/>
                <a:gd name="connsiteY267" fmla="*/ 252508 h 628650"/>
                <a:gd name="connsiteX268" fmla="*/ 157258 w 228600"/>
                <a:gd name="connsiteY268" fmla="*/ 253175 h 628650"/>
                <a:gd name="connsiteX269" fmla="*/ 156591 w 228600"/>
                <a:gd name="connsiteY269" fmla="*/ 255270 h 628650"/>
                <a:gd name="connsiteX270" fmla="*/ 157258 w 228600"/>
                <a:gd name="connsiteY270" fmla="*/ 255270 h 628650"/>
                <a:gd name="connsiteX271" fmla="*/ 158591 w 228600"/>
                <a:gd name="connsiteY271" fmla="*/ 258032 h 628650"/>
                <a:gd name="connsiteX272" fmla="*/ 157925 w 228600"/>
                <a:gd name="connsiteY272" fmla="*/ 258699 h 628650"/>
                <a:gd name="connsiteX273" fmla="*/ 157925 w 228600"/>
                <a:gd name="connsiteY273" fmla="*/ 259366 h 628650"/>
                <a:gd name="connsiteX274" fmla="*/ 159258 w 228600"/>
                <a:gd name="connsiteY274" fmla="*/ 260699 h 628650"/>
                <a:gd name="connsiteX275" fmla="*/ 157925 w 228600"/>
                <a:gd name="connsiteY275" fmla="*/ 263462 h 628650"/>
                <a:gd name="connsiteX276" fmla="*/ 157925 w 228600"/>
                <a:gd name="connsiteY276" fmla="*/ 264128 h 628650"/>
                <a:gd name="connsiteX277" fmla="*/ 160687 w 228600"/>
                <a:gd name="connsiteY277" fmla="*/ 264128 h 628650"/>
                <a:gd name="connsiteX278" fmla="*/ 160020 w 228600"/>
                <a:gd name="connsiteY278" fmla="*/ 264795 h 628650"/>
                <a:gd name="connsiteX279" fmla="*/ 157258 w 228600"/>
                <a:gd name="connsiteY279" fmla="*/ 268224 h 628650"/>
                <a:gd name="connsiteX280" fmla="*/ 155924 w 228600"/>
                <a:gd name="connsiteY280" fmla="*/ 270320 h 628650"/>
                <a:gd name="connsiteX281" fmla="*/ 155924 w 228600"/>
                <a:gd name="connsiteY281" fmla="*/ 271653 h 628650"/>
                <a:gd name="connsiteX282" fmla="*/ 154591 w 228600"/>
                <a:gd name="connsiteY282" fmla="*/ 273749 h 628650"/>
                <a:gd name="connsiteX283" fmla="*/ 155258 w 228600"/>
                <a:gd name="connsiteY283" fmla="*/ 274415 h 628650"/>
                <a:gd name="connsiteX284" fmla="*/ 152114 w 228600"/>
                <a:gd name="connsiteY284" fmla="*/ 274415 h 628650"/>
                <a:gd name="connsiteX285" fmla="*/ 151448 w 228600"/>
                <a:gd name="connsiteY285" fmla="*/ 277178 h 628650"/>
                <a:gd name="connsiteX286" fmla="*/ 150781 w 228600"/>
                <a:gd name="connsiteY286" fmla="*/ 279940 h 628650"/>
                <a:gd name="connsiteX287" fmla="*/ 150781 w 228600"/>
                <a:gd name="connsiteY287" fmla="*/ 282035 h 628650"/>
                <a:gd name="connsiteX288" fmla="*/ 149447 w 228600"/>
                <a:gd name="connsiteY288" fmla="*/ 282702 h 628650"/>
                <a:gd name="connsiteX289" fmla="*/ 148781 w 228600"/>
                <a:gd name="connsiteY289" fmla="*/ 282035 h 628650"/>
                <a:gd name="connsiteX290" fmla="*/ 146018 w 228600"/>
                <a:gd name="connsiteY290" fmla="*/ 278606 h 628650"/>
                <a:gd name="connsiteX291" fmla="*/ 144685 w 228600"/>
                <a:gd name="connsiteY291" fmla="*/ 277940 h 628650"/>
                <a:gd name="connsiteX292" fmla="*/ 143351 w 228600"/>
                <a:gd name="connsiteY292" fmla="*/ 281369 h 628650"/>
                <a:gd name="connsiteX293" fmla="*/ 143351 w 228600"/>
                <a:gd name="connsiteY293" fmla="*/ 282035 h 628650"/>
                <a:gd name="connsiteX294" fmla="*/ 145447 w 228600"/>
                <a:gd name="connsiteY294" fmla="*/ 284798 h 628650"/>
                <a:gd name="connsiteX295" fmla="*/ 144113 w 228600"/>
                <a:gd name="connsiteY295" fmla="*/ 286131 h 628650"/>
                <a:gd name="connsiteX296" fmla="*/ 144113 w 228600"/>
                <a:gd name="connsiteY296" fmla="*/ 288227 h 628650"/>
                <a:gd name="connsiteX297" fmla="*/ 145447 w 228600"/>
                <a:gd name="connsiteY297" fmla="*/ 288227 h 628650"/>
                <a:gd name="connsiteX298" fmla="*/ 145447 w 228600"/>
                <a:gd name="connsiteY298" fmla="*/ 288893 h 628650"/>
                <a:gd name="connsiteX299" fmla="*/ 142685 w 228600"/>
                <a:gd name="connsiteY299" fmla="*/ 290227 h 628650"/>
                <a:gd name="connsiteX300" fmla="*/ 137922 w 228600"/>
                <a:gd name="connsiteY300" fmla="*/ 294989 h 628650"/>
                <a:gd name="connsiteX301" fmla="*/ 138589 w 228600"/>
                <a:gd name="connsiteY301" fmla="*/ 294989 h 628650"/>
                <a:gd name="connsiteX302" fmla="*/ 142685 w 228600"/>
                <a:gd name="connsiteY302" fmla="*/ 292894 h 628650"/>
                <a:gd name="connsiteX303" fmla="*/ 144780 w 228600"/>
                <a:gd name="connsiteY303" fmla="*/ 292894 h 628650"/>
                <a:gd name="connsiteX304" fmla="*/ 143447 w 228600"/>
                <a:gd name="connsiteY304" fmla="*/ 294989 h 628650"/>
                <a:gd name="connsiteX305" fmla="*/ 142113 w 228600"/>
                <a:gd name="connsiteY305" fmla="*/ 295656 h 628650"/>
                <a:gd name="connsiteX306" fmla="*/ 139351 w 228600"/>
                <a:gd name="connsiteY306" fmla="*/ 298418 h 628650"/>
                <a:gd name="connsiteX307" fmla="*/ 140018 w 228600"/>
                <a:gd name="connsiteY307" fmla="*/ 299752 h 628650"/>
                <a:gd name="connsiteX308" fmla="*/ 138684 w 228600"/>
                <a:gd name="connsiteY308" fmla="*/ 301085 h 628650"/>
                <a:gd name="connsiteX309" fmla="*/ 139351 w 228600"/>
                <a:gd name="connsiteY309" fmla="*/ 303181 h 628650"/>
                <a:gd name="connsiteX310" fmla="*/ 140018 w 228600"/>
                <a:gd name="connsiteY310" fmla="*/ 304514 h 628650"/>
                <a:gd name="connsiteX311" fmla="*/ 139351 w 228600"/>
                <a:gd name="connsiteY311" fmla="*/ 305181 h 628650"/>
                <a:gd name="connsiteX312" fmla="*/ 138017 w 228600"/>
                <a:gd name="connsiteY312" fmla="*/ 306515 h 628650"/>
                <a:gd name="connsiteX313" fmla="*/ 137351 w 228600"/>
                <a:gd name="connsiteY313" fmla="*/ 308610 h 628650"/>
                <a:gd name="connsiteX314" fmla="*/ 134588 w 228600"/>
                <a:gd name="connsiteY314" fmla="*/ 309277 h 628650"/>
                <a:gd name="connsiteX315" fmla="*/ 132493 w 228600"/>
                <a:gd name="connsiteY315" fmla="*/ 308610 h 628650"/>
                <a:gd name="connsiteX316" fmla="*/ 129731 w 228600"/>
                <a:gd name="connsiteY316" fmla="*/ 309944 h 628650"/>
                <a:gd name="connsiteX317" fmla="*/ 127635 w 228600"/>
                <a:gd name="connsiteY317" fmla="*/ 311277 h 628650"/>
                <a:gd name="connsiteX318" fmla="*/ 130397 w 228600"/>
                <a:gd name="connsiteY318" fmla="*/ 313373 h 628650"/>
                <a:gd name="connsiteX319" fmla="*/ 131064 w 228600"/>
                <a:gd name="connsiteY319" fmla="*/ 311277 h 628650"/>
                <a:gd name="connsiteX320" fmla="*/ 133160 w 228600"/>
                <a:gd name="connsiteY320" fmla="*/ 314039 h 628650"/>
                <a:gd name="connsiteX321" fmla="*/ 131064 w 228600"/>
                <a:gd name="connsiteY321" fmla="*/ 317468 h 628650"/>
                <a:gd name="connsiteX322" fmla="*/ 130397 w 228600"/>
                <a:gd name="connsiteY322" fmla="*/ 319564 h 628650"/>
                <a:gd name="connsiteX323" fmla="*/ 129731 w 228600"/>
                <a:gd name="connsiteY323" fmla="*/ 322993 h 628650"/>
                <a:gd name="connsiteX324" fmla="*/ 127635 w 228600"/>
                <a:gd name="connsiteY324" fmla="*/ 324326 h 628650"/>
                <a:gd name="connsiteX325" fmla="*/ 129731 w 228600"/>
                <a:gd name="connsiteY325" fmla="*/ 324993 h 628650"/>
                <a:gd name="connsiteX326" fmla="*/ 129731 w 228600"/>
                <a:gd name="connsiteY326" fmla="*/ 326326 h 628650"/>
                <a:gd name="connsiteX327" fmla="*/ 127635 w 228600"/>
                <a:gd name="connsiteY327" fmla="*/ 327660 h 628650"/>
                <a:gd name="connsiteX328" fmla="*/ 126302 w 228600"/>
                <a:gd name="connsiteY328" fmla="*/ 328327 h 628650"/>
                <a:gd name="connsiteX329" fmla="*/ 124968 w 228600"/>
                <a:gd name="connsiteY329" fmla="*/ 330422 h 628650"/>
                <a:gd name="connsiteX330" fmla="*/ 123635 w 228600"/>
                <a:gd name="connsiteY330" fmla="*/ 333185 h 628650"/>
                <a:gd name="connsiteX331" fmla="*/ 123635 w 228600"/>
                <a:gd name="connsiteY331" fmla="*/ 337947 h 628650"/>
                <a:gd name="connsiteX332" fmla="*/ 120872 w 228600"/>
                <a:gd name="connsiteY332" fmla="*/ 340709 h 628650"/>
                <a:gd name="connsiteX333" fmla="*/ 122968 w 228600"/>
                <a:gd name="connsiteY333" fmla="*/ 343472 h 628650"/>
                <a:gd name="connsiteX334" fmla="*/ 120206 w 228600"/>
                <a:gd name="connsiteY334" fmla="*/ 343472 h 628650"/>
                <a:gd name="connsiteX335" fmla="*/ 117443 w 228600"/>
                <a:gd name="connsiteY335" fmla="*/ 345567 h 628650"/>
                <a:gd name="connsiteX336" fmla="*/ 118777 w 228600"/>
                <a:gd name="connsiteY336" fmla="*/ 346900 h 628650"/>
                <a:gd name="connsiteX337" fmla="*/ 117443 w 228600"/>
                <a:gd name="connsiteY337" fmla="*/ 349663 h 628650"/>
                <a:gd name="connsiteX338" fmla="*/ 117443 w 228600"/>
                <a:gd name="connsiteY338" fmla="*/ 350996 h 628650"/>
                <a:gd name="connsiteX339" fmla="*/ 116777 w 228600"/>
                <a:gd name="connsiteY339" fmla="*/ 354425 h 628650"/>
                <a:gd name="connsiteX340" fmla="*/ 112681 w 228600"/>
                <a:gd name="connsiteY340" fmla="*/ 359950 h 628650"/>
                <a:gd name="connsiteX341" fmla="*/ 112681 w 228600"/>
                <a:gd name="connsiteY341" fmla="*/ 362712 h 628650"/>
                <a:gd name="connsiteX342" fmla="*/ 110585 w 228600"/>
                <a:gd name="connsiteY342" fmla="*/ 365474 h 628650"/>
                <a:gd name="connsiteX343" fmla="*/ 109252 w 228600"/>
                <a:gd name="connsiteY343" fmla="*/ 370237 h 628650"/>
                <a:gd name="connsiteX344" fmla="*/ 105823 w 228600"/>
                <a:gd name="connsiteY344" fmla="*/ 375761 h 628650"/>
                <a:gd name="connsiteX345" fmla="*/ 105823 w 228600"/>
                <a:gd name="connsiteY345" fmla="*/ 377857 h 628650"/>
                <a:gd name="connsiteX346" fmla="*/ 100298 w 228600"/>
                <a:gd name="connsiteY346" fmla="*/ 381286 h 628650"/>
                <a:gd name="connsiteX347" fmla="*/ 99631 w 228600"/>
                <a:gd name="connsiteY347" fmla="*/ 382619 h 628650"/>
                <a:gd name="connsiteX348" fmla="*/ 99631 w 228600"/>
                <a:gd name="connsiteY348" fmla="*/ 383953 h 628650"/>
                <a:gd name="connsiteX349" fmla="*/ 51626 w 228600"/>
                <a:gd name="connsiteY349" fmla="*/ 477869 h 628650"/>
                <a:gd name="connsiteX350" fmla="*/ 51626 w 228600"/>
                <a:gd name="connsiteY350" fmla="*/ 479203 h 628650"/>
                <a:gd name="connsiteX351" fmla="*/ 48863 w 228600"/>
                <a:gd name="connsiteY351" fmla="*/ 485394 h 628650"/>
                <a:gd name="connsiteX352" fmla="*/ 48863 w 228600"/>
                <a:gd name="connsiteY352" fmla="*/ 487490 h 628650"/>
                <a:gd name="connsiteX353" fmla="*/ 49530 w 228600"/>
                <a:gd name="connsiteY353" fmla="*/ 489585 h 628650"/>
                <a:gd name="connsiteX354" fmla="*/ 48863 w 228600"/>
                <a:gd name="connsiteY354" fmla="*/ 490252 h 628650"/>
                <a:gd name="connsiteX355" fmla="*/ 48197 w 228600"/>
                <a:gd name="connsiteY355" fmla="*/ 492347 h 628650"/>
                <a:gd name="connsiteX356" fmla="*/ 44101 w 228600"/>
                <a:gd name="connsiteY356" fmla="*/ 496443 h 628650"/>
                <a:gd name="connsiteX357" fmla="*/ 48197 w 228600"/>
                <a:gd name="connsiteY357" fmla="*/ 499872 h 628650"/>
                <a:gd name="connsiteX358" fmla="*/ 48197 w 228600"/>
                <a:gd name="connsiteY358" fmla="*/ 500539 h 628650"/>
                <a:gd name="connsiteX359" fmla="*/ 48863 w 228600"/>
                <a:gd name="connsiteY359" fmla="*/ 501872 h 628650"/>
                <a:gd name="connsiteX360" fmla="*/ 48863 w 228600"/>
                <a:gd name="connsiteY360" fmla="*/ 511493 h 628650"/>
                <a:gd name="connsiteX361" fmla="*/ 48197 w 228600"/>
                <a:gd name="connsiteY361" fmla="*/ 516255 h 628650"/>
                <a:gd name="connsiteX362" fmla="*/ 48197 w 228600"/>
                <a:gd name="connsiteY362" fmla="*/ 523780 h 628650"/>
                <a:gd name="connsiteX363" fmla="*/ 50959 w 228600"/>
                <a:gd name="connsiteY363" fmla="*/ 527209 h 628650"/>
                <a:gd name="connsiteX364" fmla="*/ 50292 w 228600"/>
                <a:gd name="connsiteY364" fmla="*/ 536162 h 628650"/>
                <a:gd name="connsiteX365" fmla="*/ 50959 w 228600"/>
                <a:gd name="connsiteY365" fmla="*/ 538925 h 628650"/>
                <a:gd name="connsiteX366" fmla="*/ 50292 w 228600"/>
                <a:gd name="connsiteY366" fmla="*/ 540258 h 628650"/>
                <a:gd name="connsiteX367" fmla="*/ 51626 w 228600"/>
                <a:gd name="connsiteY367" fmla="*/ 543020 h 628650"/>
                <a:gd name="connsiteX368" fmla="*/ 50959 w 228600"/>
                <a:gd name="connsiteY368" fmla="*/ 545116 h 628650"/>
                <a:gd name="connsiteX369" fmla="*/ 50959 w 228600"/>
                <a:gd name="connsiteY369" fmla="*/ 549212 h 628650"/>
                <a:gd name="connsiteX370" fmla="*/ 51626 w 228600"/>
                <a:gd name="connsiteY370" fmla="*/ 551307 h 628650"/>
                <a:gd name="connsiteX371" fmla="*/ 50292 w 228600"/>
                <a:gd name="connsiteY371" fmla="*/ 554736 h 628650"/>
                <a:gd name="connsiteX372" fmla="*/ 51626 w 228600"/>
                <a:gd name="connsiteY372" fmla="*/ 554736 h 628650"/>
                <a:gd name="connsiteX373" fmla="*/ 52292 w 228600"/>
                <a:gd name="connsiteY373" fmla="*/ 557498 h 628650"/>
                <a:gd name="connsiteX374" fmla="*/ 51626 w 228600"/>
                <a:gd name="connsiteY374" fmla="*/ 558832 h 628650"/>
                <a:gd name="connsiteX375" fmla="*/ 52292 w 228600"/>
                <a:gd name="connsiteY375" fmla="*/ 561594 h 628650"/>
                <a:gd name="connsiteX376" fmla="*/ 52292 w 228600"/>
                <a:gd name="connsiteY376" fmla="*/ 562261 h 628650"/>
                <a:gd name="connsiteX377" fmla="*/ 53626 w 228600"/>
                <a:gd name="connsiteY377" fmla="*/ 566357 h 628650"/>
                <a:gd name="connsiteX378" fmla="*/ 53626 w 228600"/>
                <a:gd name="connsiteY378" fmla="*/ 567690 h 628650"/>
                <a:gd name="connsiteX379" fmla="*/ 55721 w 228600"/>
                <a:gd name="connsiteY379" fmla="*/ 573215 h 628650"/>
                <a:gd name="connsiteX380" fmla="*/ 55721 w 228600"/>
                <a:gd name="connsiteY380" fmla="*/ 574548 h 628650"/>
                <a:gd name="connsiteX381" fmla="*/ 57055 w 228600"/>
                <a:gd name="connsiteY381" fmla="*/ 577977 h 628650"/>
                <a:gd name="connsiteX382" fmla="*/ 94774 w 228600"/>
                <a:gd name="connsiteY382" fmla="*/ 597884 h 628650"/>
                <a:gd name="connsiteX383" fmla="*/ 105061 w 228600"/>
                <a:gd name="connsiteY383" fmla="*/ 596551 h 628650"/>
                <a:gd name="connsiteX384" fmla="*/ 229838 w 228600"/>
                <a:gd name="connsiteY384" fmla="*/ 449104 h 628650"/>
                <a:gd name="connsiteX385" fmla="*/ 233267 w 228600"/>
                <a:gd name="connsiteY385" fmla="*/ 446342 h 628650"/>
                <a:gd name="connsiteX386" fmla="*/ 235363 w 228600"/>
                <a:gd name="connsiteY386" fmla="*/ 449104 h 628650"/>
                <a:gd name="connsiteX387" fmla="*/ 83820 w 228600"/>
                <a:gd name="connsiteY387" fmla="*/ 634937 h 628650"/>
                <a:gd name="connsiteX388" fmla="*/ 81058 w 228600"/>
                <a:gd name="connsiteY388" fmla="*/ 634937 h 628650"/>
                <a:gd name="connsiteX389" fmla="*/ 13145 w 228600"/>
                <a:gd name="connsiteY389" fmla="*/ 600647 h 628650"/>
                <a:gd name="connsiteX390" fmla="*/ 12192 w 228600"/>
                <a:gd name="connsiteY390" fmla="*/ 596741 h 628650"/>
                <a:gd name="connsiteX391" fmla="*/ 148685 w 228600"/>
                <a:gd name="connsiteY391" fmla="*/ 76105 h 628650"/>
                <a:gd name="connsiteX392" fmla="*/ 147352 w 228600"/>
                <a:gd name="connsiteY392" fmla="*/ 76772 h 628650"/>
                <a:gd name="connsiteX393" fmla="*/ 146018 w 228600"/>
                <a:gd name="connsiteY393" fmla="*/ 78105 h 628650"/>
                <a:gd name="connsiteX394" fmla="*/ 146685 w 228600"/>
                <a:gd name="connsiteY394" fmla="*/ 78772 h 628650"/>
                <a:gd name="connsiteX395" fmla="*/ 149447 w 228600"/>
                <a:gd name="connsiteY395" fmla="*/ 79439 h 628650"/>
                <a:gd name="connsiteX396" fmla="*/ 145352 w 228600"/>
                <a:gd name="connsiteY396" fmla="*/ 83534 h 628650"/>
                <a:gd name="connsiteX397" fmla="*/ 143256 w 228600"/>
                <a:gd name="connsiteY397" fmla="*/ 86963 h 628650"/>
                <a:gd name="connsiteX398" fmla="*/ 143256 w 228600"/>
                <a:gd name="connsiteY398" fmla="*/ 87630 h 628650"/>
                <a:gd name="connsiteX399" fmla="*/ 142589 w 228600"/>
                <a:gd name="connsiteY399" fmla="*/ 90392 h 628650"/>
                <a:gd name="connsiteX400" fmla="*/ 139160 w 228600"/>
                <a:gd name="connsiteY400" fmla="*/ 91726 h 628650"/>
                <a:gd name="connsiteX401" fmla="*/ 139160 w 228600"/>
                <a:gd name="connsiteY401" fmla="*/ 93059 h 628650"/>
                <a:gd name="connsiteX402" fmla="*/ 139827 w 228600"/>
                <a:gd name="connsiteY402" fmla="*/ 94393 h 628650"/>
                <a:gd name="connsiteX403" fmla="*/ 142589 w 228600"/>
                <a:gd name="connsiteY403" fmla="*/ 96488 h 628650"/>
                <a:gd name="connsiteX404" fmla="*/ 143256 w 228600"/>
                <a:gd name="connsiteY404" fmla="*/ 97155 h 628650"/>
                <a:gd name="connsiteX405" fmla="*/ 142589 w 228600"/>
                <a:gd name="connsiteY405" fmla="*/ 97155 h 628650"/>
                <a:gd name="connsiteX406" fmla="*/ 139160 w 228600"/>
                <a:gd name="connsiteY406" fmla="*/ 97822 h 628650"/>
                <a:gd name="connsiteX407" fmla="*/ 139160 w 228600"/>
                <a:gd name="connsiteY407" fmla="*/ 99155 h 628650"/>
                <a:gd name="connsiteX408" fmla="*/ 137827 w 228600"/>
                <a:gd name="connsiteY408" fmla="*/ 101918 h 628650"/>
                <a:gd name="connsiteX409" fmla="*/ 137160 w 228600"/>
                <a:gd name="connsiteY409" fmla="*/ 101918 h 628650"/>
                <a:gd name="connsiteX410" fmla="*/ 134398 w 228600"/>
                <a:gd name="connsiteY410" fmla="*/ 106680 h 628650"/>
                <a:gd name="connsiteX411" fmla="*/ 133731 w 228600"/>
                <a:gd name="connsiteY411" fmla="*/ 110109 h 628650"/>
                <a:gd name="connsiteX412" fmla="*/ 133731 w 228600"/>
                <a:gd name="connsiteY412" fmla="*/ 110776 h 628650"/>
                <a:gd name="connsiteX413" fmla="*/ 136493 w 228600"/>
                <a:gd name="connsiteY413" fmla="*/ 110109 h 628650"/>
                <a:gd name="connsiteX414" fmla="*/ 139256 w 228600"/>
                <a:gd name="connsiteY414" fmla="*/ 110109 h 628650"/>
                <a:gd name="connsiteX415" fmla="*/ 139256 w 228600"/>
                <a:gd name="connsiteY415" fmla="*/ 110776 h 628650"/>
                <a:gd name="connsiteX416" fmla="*/ 137922 w 228600"/>
                <a:gd name="connsiteY416" fmla="*/ 111443 h 628650"/>
                <a:gd name="connsiteX417" fmla="*/ 137255 w 228600"/>
                <a:gd name="connsiteY417" fmla="*/ 114205 h 628650"/>
                <a:gd name="connsiteX418" fmla="*/ 137255 w 228600"/>
                <a:gd name="connsiteY418" fmla="*/ 114872 h 628650"/>
                <a:gd name="connsiteX419" fmla="*/ 136589 w 228600"/>
                <a:gd name="connsiteY419" fmla="*/ 118301 h 628650"/>
                <a:gd name="connsiteX420" fmla="*/ 135922 w 228600"/>
                <a:gd name="connsiteY420" fmla="*/ 124492 h 628650"/>
                <a:gd name="connsiteX421" fmla="*/ 134588 w 228600"/>
                <a:gd name="connsiteY421" fmla="*/ 127254 h 628650"/>
                <a:gd name="connsiteX422" fmla="*/ 135255 w 228600"/>
                <a:gd name="connsiteY422" fmla="*/ 129350 h 628650"/>
                <a:gd name="connsiteX423" fmla="*/ 133160 w 228600"/>
                <a:gd name="connsiteY423" fmla="*/ 130683 h 628650"/>
                <a:gd name="connsiteX424" fmla="*/ 132493 w 228600"/>
                <a:gd name="connsiteY424" fmla="*/ 133445 h 628650"/>
                <a:gd name="connsiteX425" fmla="*/ 131826 w 228600"/>
                <a:gd name="connsiteY425" fmla="*/ 136874 h 628650"/>
                <a:gd name="connsiteX426" fmla="*/ 132493 w 228600"/>
                <a:gd name="connsiteY426" fmla="*/ 140970 h 628650"/>
                <a:gd name="connsiteX427" fmla="*/ 131826 w 228600"/>
                <a:gd name="connsiteY427" fmla="*/ 145733 h 628650"/>
                <a:gd name="connsiteX428" fmla="*/ 130207 w 228600"/>
                <a:gd name="connsiteY428" fmla="*/ 145733 h 628650"/>
                <a:gd name="connsiteX429" fmla="*/ 128873 w 228600"/>
                <a:gd name="connsiteY429" fmla="*/ 149828 h 628650"/>
                <a:gd name="connsiteX430" fmla="*/ 128873 w 228600"/>
                <a:gd name="connsiteY430" fmla="*/ 150495 h 628650"/>
                <a:gd name="connsiteX431" fmla="*/ 112395 w 228600"/>
                <a:gd name="connsiteY431" fmla="*/ 182690 h 628650"/>
                <a:gd name="connsiteX432" fmla="*/ 113729 w 228600"/>
                <a:gd name="connsiteY432" fmla="*/ 189548 h 628650"/>
                <a:gd name="connsiteX433" fmla="*/ 113729 w 228600"/>
                <a:gd name="connsiteY433" fmla="*/ 192310 h 628650"/>
                <a:gd name="connsiteX434" fmla="*/ 111633 w 228600"/>
                <a:gd name="connsiteY434" fmla="*/ 201930 h 628650"/>
                <a:gd name="connsiteX435" fmla="*/ 111633 w 228600"/>
                <a:gd name="connsiteY435" fmla="*/ 208121 h 628650"/>
                <a:gd name="connsiteX436" fmla="*/ 110966 w 228600"/>
                <a:gd name="connsiteY436" fmla="*/ 208788 h 628650"/>
                <a:gd name="connsiteX437" fmla="*/ 106204 w 228600"/>
                <a:gd name="connsiteY437" fmla="*/ 217742 h 628650"/>
                <a:gd name="connsiteX438" fmla="*/ 104108 w 228600"/>
                <a:gd name="connsiteY438" fmla="*/ 225933 h 628650"/>
                <a:gd name="connsiteX439" fmla="*/ 100013 w 228600"/>
                <a:gd name="connsiteY439" fmla="*/ 225933 h 628650"/>
                <a:gd name="connsiteX440" fmla="*/ 100013 w 228600"/>
                <a:gd name="connsiteY440" fmla="*/ 229362 h 628650"/>
                <a:gd name="connsiteX441" fmla="*/ 102108 w 228600"/>
                <a:gd name="connsiteY441" fmla="*/ 229362 h 628650"/>
                <a:gd name="connsiteX442" fmla="*/ 102775 w 228600"/>
                <a:gd name="connsiteY442" fmla="*/ 231458 h 628650"/>
                <a:gd name="connsiteX443" fmla="*/ 101441 w 228600"/>
                <a:gd name="connsiteY443" fmla="*/ 234220 h 628650"/>
                <a:gd name="connsiteX444" fmla="*/ 100108 w 228600"/>
                <a:gd name="connsiteY444" fmla="*/ 236315 h 628650"/>
                <a:gd name="connsiteX445" fmla="*/ 99441 w 228600"/>
                <a:gd name="connsiteY445" fmla="*/ 236982 h 628650"/>
                <a:gd name="connsiteX446" fmla="*/ 97346 w 228600"/>
                <a:gd name="connsiteY446" fmla="*/ 241078 h 628650"/>
                <a:gd name="connsiteX447" fmla="*/ 96679 w 228600"/>
                <a:gd name="connsiteY447" fmla="*/ 242411 h 628650"/>
                <a:gd name="connsiteX448" fmla="*/ 96012 w 228600"/>
                <a:gd name="connsiteY448" fmla="*/ 245174 h 628650"/>
                <a:gd name="connsiteX449" fmla="*/ 96012 w 228600"/>
                <a:gd name="connsiteY449" fmla="*/ 246507 h 628650"/>
                <a:gd name="connsiteX450" fmla="*/ 98774 w 228600"/>
                <a:gd name="connsiteY450" fmla="*/ 247174 h 628650"/>
                <a:gd name="connsiteX451" fmla="*/ 94679 w 228600"/>
                <a:gd name="connsiteY451" fmla="*/ 262985 h 628650"/>
                <a:gd name="connsiteX452" fmla="*/ 94679 w 228600"/>
                <a:gd name="connsiteY452" fmla="*/ 265081 h 628650"/>
                <a:gd name="connsiteX453" fmla="*/ 92583 w 228600"/>
                <a:gd name="connsiteY453" fmla="*/ 271939 h 628650"/>
                <a:gd name="connsiteX454" fmla="*/ 92583 w 228600"/>
                <a:gd name="connsiteY454" fmla="*/ 272606 h 628650"/>
                <a:gd name="connsiteX455" fmla="*/ 89821 w 228600"/>
                <a:gd name="connsiteY455" fmla="*/ 278797 h 628650"/>
                <a:gd name="connsiteX456" fmla="*/ 89821 w 228600"/>
                <a:gd name="connsiteY456" fmla="*/ 281559 h 628650"/>
                <a:gd name="connsiteX457" fmla="*/ 87725 w 228600"/>
                <a:gd name="connsiteY457" fmla="*/ 289751 h 628650"/>
                <a:gd name="connsiteX458" fmla="*/ 86392 w 228600"/>
                <a:gd name="connsiteY458" fmla="*/ 290417 h 628650"/>
                <a:gd name="connsiteX459" fmla="*/ 86392 w 228600"/>
                <a:gd name="connsiteY459" fmla="*/ 289084 h 628650"/>
                <a:gd name="connsiteX460" fmla="*/ 85058 w 228600"/>
                <a:gd name="connsiteY460" fmla="*/ 289084 h 628650"/>
                <a:gd name="connsiteX461" fmla="*/ 83725 w 228600"/>
                <a:gd name="connsiteY461" fmla="*/ 291179 h 628650"/>
                <a:gd name="connsiteX462" fmla="*/ 83725 w 228600"/>
                <a:gd name="connsiteY462" fmla="*/ 292513 h 628650"/>
                <a:gd name="connsiteX463" fmla="*/ 85058 w 228600"/>
                <a:gd name="connsiteY463" fmla="*/ 292513 h 628650"/>
                <a:gd name="connsiteX464" fmla="*/ 85725 w 228600"/>
                <a:gd name="connsiteY464" fmla="*/ 295275 h 628650"/>
                <a:gd name="connsiteX465" fmla="*/ 84392 w 228600"/>
                <a:gd name="connsiteY465" fmla="*/ 297371 h 628650"/>
                <a:gd name="connsiteX466" fmla="*/ 85725 w 228600"/>
                <a:gd name="connsiteY466" fmla="*/ 299466 h 628650"/>
                <a:gd name="connsiteX467" fmla="*/ 80963 w 228600"/>
                <a:gd name="connsiteY467" fmla="*/ 311087 h 628650"/>
                <a:gd name="connsiteX468" fmla="*/ 80963 w 228600"/>
                <a:gd name="connsiteY468" fmla="*/ 313182 h 628650"/>
                <a:gd name="connsiteX469" fmla="*/ 80963 w 228600"/>
                <a:gd name="connsiteY469" fmla="*/ 313849 h 628650"/>
                <a:gd name="connsiteX470" fmla="*/ 78200 w 228600"/>
                <a:gd name="connsiteY470" fmla="*/ 317945 h 628650"/>
                <a:gd name="connsiteX471" fmla="*/ 78200 w 228600"/>
                <a:gd name="connsiteY471" fmla="*/ 320707 h 628650"/>
                <a:gd name="connsiteX472" fmla="*/ 77533 w 228600"/>
                <a:gd name="connsiteY472" fmla="*/ 326898 h 628650"/>
                <a:gd name="connsiteX473" fmla="*/ 77533 w 228600"/>
                <a:gd name="connsiteY473" fmla="*/ 327565 h 628650"/>
                <a:gd name="connsiteX474" fmla="*/ 74105 w 228600"/>
                <a:gd name="connsiteY474" fmla="*/ 337852 h 628650"/>
                <a:gd name="connsiteX475" fmla="*/ 74105 w 228600"/>
                <a:gd name="connsiteY475" fmla="*/ 339947 h 628650"/>
                <a:gd name="connsiteX476" fmla="*/ 73438 w 228600"/>
                <a:gd name="connsiteY476" fmla="*/ 344710 h 628650"/>
                <a:gd name="connsiteX477" fmla="*/ 71342 w 228600"/>
                <a:gd name="connsiteY477" fmla="*/ 353663 h 628650"/>
                <a:gd name="connsiteX478" fmla="*/ 70009 w 228600"/>
                <a:gd name="connsiteY478" fmla="*/ 354997 h 628650"/>
                <a:gd name="connsiteX479" fmla="*/ 70009 w 228600"/>
                <a:gd name="connsiteY479" fmla="*/ 357759 h 628650"/>
                <a:gd name="connsiteX480" fmla="*/ 67913 w 228600"/>
                <a:gd name="connsiteY480" fmla="*/ 359855 h 628650"/>
                <a:gd name="connsiteX481" fmla="*/ 67913 w 228600"/>
                <a:gd name="connsiteY481" fmla="*/ 369475 h 628650"/>
                <a:gd name="connsiteX482" fmla="*/ 67247 w 228600"/>
                <a:gd name="connsiteY482" fmla="*/ 372904 h 628650"/>
                <a:gd name="connsiteX483" fmla="*/ 66580 w 228600"/>
                <a:gd name="connsiteY483" fmla="*/ 374999 h 628650"/>
                <a:gd name="connsiteX484" fmla="*/ 65913 w 228600"/>
                <a:gd name="connsiteY484" fmla="*/ 377095 h 628650"/>
                <a:gd name="connsiteX485" fmla="*/ 66580 w 228600"/>
                <a:gd name="connsiteY485" fmla="*/ 380524 h 628650"/>
                <a:gd name="connsiteX486" fmla="*/ 67247 w 228600"/>
                <a:gd name="connsiteY486" fmla="*/ 381191 h 628650"/>
                <a:gd name="connsiteX487" fmla="*/ 67913 w 228600"/>
                <a:gd name="connsiteY487" fmla="*/ 380524 h 628650"/>
                <a:gd name="connsiteX488" fmla="*/ 70009 w 228600"/>
                <a:gd name="connsiteY488" fmla="*/ 374999 h 628650"/>
                <a:gd name="connsiteX489" fmla="*/ 70676 w 228600"/>
                <a:gd name="connsiteY489" fmla="*/ 374333 h 628650"/>
                <a:gd name="connsiteX490" fmla="*/ 72771 w 228600"/>
                <a:gd name="connsiteY490" fmla="*/ 370904 h 628650"/>
                <a:gd name="connsiteX491" fmla="*/ 75533 w 228600"/>
                <a:gd name="connsiteY491" fmla="*/ 365379 h 628650"/>
                <a:gd name="connsiteX492" fmla="*/ 80296 w 228600"/>
                <a:gd name="connsiteY492" fmla="*/ 357854 h 628650"/>
                <a:gd name="connsiteX493" fmla="*/ 80963 w 228600"/>
                <a:gd name="connsiteY493" fmla="*/ 356521 h 628650"/>
                <a:gd name="connsiteX494" fmla="*/ 83058 w 228600"/>
                <a:gd name="connsiteY494" fmla="*/ 355187 h 628650"/>
                <a:gd name="connsiteX495" fmla="*/ 87154 w 228600"/>
                <a:gd name="connsiteY495" fmla="*/ 344234 h 628650"/>
                <a:gd name="connsiteX496" fmla="*/ 90583 w 228600"/>
                <a:gd name="connsiteY496" fmla="*/ 340138 h 628650"/>
                <a:gd name="connsiteX497" fmla="*/ 90583 w 228600"/>
                <a:gd name="connsiteY497" fmla="*/ 338804 h 628650"/>
                <a:gd name="connsiteX498" fmla="*/ 91250 w 228600"/>
                <a:gd name="connsiteY498" fmla="*/ 335375 h 628650"/>
                <a:gd name="connsiteX499" fmla="*/ 95345 w 228600"/>
                <a:gd name="connsiteY499" fmla="*/ 327850 h 628650"/>
                <a:gd name="connsiteX500" fmla="*/ 100108 w 228600"/>
                <a:gd name="connsiteY500" fmla="*/ 318230 h 628650"/>
                <a:gd name="connsiteX501" fmla="*/ 104870 w 228600"/>
                <a:gd name="connsiteY501" fmla="*/ 307943 h 628650"/>
                <a:gd name="connsiteX502" fmla="*/ 108966 w 228600"/>
                <a:gd name="connsiteY502" fmla="*/ 304514 h 628650"/>
                <a:gd name="connsiteX503" fmla="*/ 112395 w 228600"/>
                <a:gd name="connsiteY503" fmla="*/ 296323 h 628650"/>
                <a:gd name="connsiteX504" fmla="*/ 117158 w 228600"/>
                <a:gd name="connsiteY504" fmla="*/ 285369 h 628650"/>
                <a:gd name="connsiteX505" fmla="*/ 124016 w 228600"/>
                <a:gd name="connsiteY505" fmla="*/ 274415 h 628650"/>
                <a:gd name="connsiteX506" fmla="*/ 126778 w 228600"/>
                <a:gd name="connsiteY506" fmla="*/ 268224 h 628650"/>
                <a:gd name="connsiteX507" fmla="*/ 128111 w 228600"/>
                <a:gd name="connsiteY507" fmla="*/ 265462 h 628650"/>
                <a:gd name="connsiteX508" fmla="*/ 128111 w 228600"/>
                <a:gd name="connsiteY508" fmla="*/ 264795 h 628650"/>
                <a:gd name="connsiteX509" fmla="*/ 129445 w 228600"/>
                <a:gd name="connsiteY509" fmla="*/ 261366 h 628650"/>
                <a:gd name="connsiteX510" fmla="*/ 132207 w 228600"/>
                <a:gd name="connsiteY510" fmla="*/ 257270 h 628650"/>
                <a:gd name="connsiteX511" fmla="*/ 132874 w 228600"/>
                <a:gd name="connsiteY511" fmla="*/ 256604 h 628650"/>
                <a:gd name="connsiteX512" fmla="*/ 139065 w 228600"/>
                <a:gd name="connsiteY512" fmla="*/ 241554 h 628650"/>
                <a:gd name="connsiteX513" fmla="*/ 139732 w 228600"/>
                <a:gd name="connsiteY513" fmla="*/ 237458 h 628650"/>
                <a:gd name="connsiteX514" fmla="*/ 143828 w 228600"/>
                <a:gd name="connsiteY514" fmla="*/ 227171 h 628650"/>
                <a:gd name="connsiteX515" fmla="*/ 150019 w 228600"/>
                <a:gd name="connsiteY515" fmla="*/ 220980 h 628650"/>
                <a:gd name="connsiteX516" fmla="*/ 150019 w 228600"/>
                <a:gd name="connsiteY516" fmla="*/ 218123 h 628650"/>
                <a:gd name="connsiteX517" fmla="*/ 151352 w 228600"/>
                <a:gd name="connsiteY517" fmla="*/ 214694 h 628650"/>
                <a:gd name="connsiteX518" fmla="*/ 154781 w 228600"/>
                <a:gd name="connsiteY518" fmla="*/ 201644 h 628650"/>
                <a:gd name="connsiteX519" fmla="*/ 158877 w 228600"/>
                <a:gd name="connsiteY519" fmla="*/ 193453 h 628650"/>
                <a:gd name="connsiteX520" fmla="*/ 160973 w 228600"/>
                <a:gd name="connsiteY520" fmla="*/ 187262 h 628650"/>
                <a:gd name="connsiteX521" fmla="*/ 161639 w 228600"/>
                <a:gd name="connsiteY521" fmla="*/ 182499 h 628650"/>
                <a:gd name="connsiteX522" fmla="*/ 162306 w 228600"/>
                <a:gd name="connsiteY522" fmla="*/ 179070 h 628650"/>
                <a:gd name="connsiteX523" fmla="*/ 164402 w 228600"/>
                <a:gd name="connsiteY523" fmla="*/ 172212 h 628650"/>
                <a:gd name="connsiteX524" fmla="*/ 167831 w 228600"/>
                <a:gd name="connsiteY524" fmla="*/ 161925 h 628650"/>
                <a:gd name="connsiteX525" fmla="*/ 169164 w 228600"/>
                <a:gd name="connsiteY525" fmla="*/ 159830 h 628650"/>
                <a:gd name="connsiteX526" fmla="*/ 170498 w 228600"/>
                <a:gd name="connsiteY526" fmla="*/ 153638 h 628650"/>
                <a:gd name="connsiteX527" fmla="*/ 171164 w 228600"/>
                <a:gd name="connsiteY527" fmla="*/ 147447 h 628650"/>
                <a:gd name="connsiteX528" fmla="*/ 171164 w 228600"/>
                <a:gd name="connsiteY528" fmla="*/ 144018 h 628650"/>
                <a:gd name="connsiteX529" fmla="*/ 172498 w 228600"/>
                <a:gd name="connsiteY529" fmla="*/ 133731 h 628650"/>
                <a:gd name="connsiteX530" fmla="*/ 173831 w 228600"/>
                <a:gd name="connsiteY530" fmla="*/ 123444 h 628650"/>
                <a:gd name="connsiteX531" fmla="*/ 173831 w 228600"/>
                <a:gd name="connsiteY531" fmla="*/ 119348 h 628650"/>
                <a:gd name="connsiteX532" fmla="*/ 174498 w 228600"/>
                <a:gd name="connsiteY532" fmla="*/ 115253 h 628650"/>
                <a:gd name="connsiteX533" fmla="*/ 174498 w 228600"/>
                <a:gd name="connsiteY533" fmla="*/ 114586 h 628650"/>
                <a:gd name="connsiteX534" fmla="*/ 175831 w 228600"/>
                <a:gd name="connsiteY534" fmla="*/ 103632 h 628650"/>
                <a:gd name="connsiteX535" fmla="*/ 175831 w 228600"/>
                <a:gd name="connsiteY535" fmla="*/ 97441 h 628650"/>
                <a:gd name="connsiteX536" fmla="*/ 174498 w 228600"/>
                <a:gd name="connsiteY536" fmla="*/ 91916 h 628650"/>
                <a:gd name="connsiteX537" fmla="*/ 173831 w 228600"/>
                <a:gd name="connsiteY537" fmla="*/ 87154 h 628650"/>
                <a:gd name="connsiteX538" fmla="*/ 174498 w 228600"/>
                <a:gd name="connsiteY538" fmla="*/ 85058 h 628650"/>
                <a:gd name="connsiteX539" fmla="*/ 173831 w 228600"/>
                <a:gd name="connsiteY539" fmla="*/ 80963 h 628650"/>
                <a:gd name="connsiteX540" fmla="*/ 173831 w 228600"/>
                <a:gd name="connsiteY540" fmla="*/ 76200 h 628650"/>
                <a:gd name="connsiteX541" fmla="*/ 173165 w 228600"/>
                <a:gd name="connsiteY541" fmla="*/ 73438 h 628650"/>
                <a:gd name="connsiteX542" fmla="*/ 169736 w 228600"/>
                <a:gd name="connsiteY542" fmla="*/ 67247 h 628650"/>
                <a:gd name="connsiteX543" fmla="*/ 168402 w 228600"/>
                <a:gd name="connsiteY543" fmla="*/ 64484 h 628650"/>
                <a:gd name="connsiteX544" fmla="*/ 168402 w 228600"/>
                <a:gd name="connsiteY544" fmla="*/ 61722 h 628650"/>
                <a:gd name="connsiteX545" fmla="*/ 168402 w 228600"/>
                <a:gd name="connsiteY545" fmla="*/ 60389 h 628650"/>
                <a:gd name="connsiteX546" fmla="*/ 160211 w 228600"/>
                <a:gd name="connsiteY546" fmla="*/ 54864 h 628650"/>
                <a:gd name="connsiteX547" fmla="*/ 160211 w 228600"/>
                <a:gd name="connsiteY547" fmla="*/ 52102 h 628650"/>
                <a:gd name="connsiteX548" fmla="*/ 157448 w 228600"/>
                <a:gd name="connsiteY548" fmla="*/ 52102 h 628650"/>
                <a:gd name="connsiteX549" fmla="*/ 156781 w 228600"/>
                <a:gd name="connsiteY549" fmla="*/ 53435 h 628650"/>
                <a:gd name="connsiteX550" fmla="*/ 156781 w 228600"/>
                <a:gd name="connsiteY550" fmla="*/ 59627 h 628650"/>
                <a:gd name="connsiteX551" fmla="*/ 153353 w 228600"/>
                <a:gd name="connsiteY551" fmla="*/ 60960 h 628650"/>
                <a:gd name="connsiteX552" fmla="*/ 150590 w 228600"/>
                <a:gd name="connsiteY552" fmla="*/ 64389 h 628650"/>
                <a:gd name="connsiteX553" fmla="*/ 149924 w 228600"/>
                <a:gd name="connsiteY553" fmla="*/ 67151 h 628650"/>
                <a:gd name="connsiteX554" fmla="*/ 150590 w 228600"/>
                <a:gd name="connsiteY554" fmla="*/ 69914 h 628650"/>
                <a:gd name="connsiteX555" fmla="*/ 149924 w 228600"/>
                <a:gd name="connsiteY555" fmla="*/ 74676 h 628650"/>
                <a:gd name="connsiteX556" fmla="*/ 147828 w 228600"/>
                <a:gd name="connsiteY556" fmla="*/ 75343 h 628650"/>
                <a:gd name="connsiteX557" fmla="*/ 148685 w 228600"/>
                <a:gd name="connsiteY557" fmla="*/ 76105 h 628650"/>
                <a:gd name="connsiteX558" fmla="*/ 137731 w 228600"/>
                <a:gd name="connsiteY558" fmla="*/ 301085 h 628650"/>
                <a:gd name="connsiteX559" fmla="*/ 136398 w 228600"/>
                <a:gd name="connsiteY559" fmla="*/ 300419 h 628650"/>
                <a:gd name="connsiteX560" fmla="*/ 135731 w 228600"/>
                <a:gd name="connsiteY560" fmla="*/ 300419 h 628650"/>
                <a:gd name="connsiteX561" fmla="*/ 132969 w 228600"/>
                <a:gd name="connsiteY561" fmla="*/ 303181 h 628650"/>
                <a:gd name="connsiteX562" fmla="*/ 137731 w 228600"/>
                <a:gd name="connsiteY562" fmla="*/ 301085 h 628650"/>
                <a:gd name="connsiteX563" fmla="*/ 145923 w 228600"/>
                <a:gd name="connsiteY563" fmla="*/ 85058 h 628650"/>
                <a:gd name="connsiteX564" fmla="*/ 143161 w 228600"/>
                <a:gd name="connsiteY564" fmla="*/ 87059 h 628650"/>
                <a:gd name="connsiteX565" fmla="*/ 143828 w 228600"/>
                <a:gd name="connsiteY565" fmla="*/ 87725 h 628650"/>
                <a:gd name="connsiteX566" fmla="*/ 145923 w 228600"/>
                <a:gd name="connsiteY566" fmla="*/ 89059 h 628650"/>
                <a:gd name="connsiteX567" fmla="*/ 147256 w 228600"/>
                <a:gd name="connsiteY567" fmla="*/ 87725 h 628650"/>
                <a:gd name="connsiteX568" fmla="*/ 147256 w 228600"/>
                <a:gd name="connsiteY568" fmla="*/ 87059 h 628650"/>
                <a:gd name="connsiteX569" fmla="*/ 145923 w 228600"/>
                <a:gd name="connsiteY569" fmla="*/ 85058 h 628650"/>
                <a:gd name="connsiteX570" fmla="*/ 148685 w 228600"/>
                <a:gd name="connsiteY570" fmla="*/ 76105 h 628650"/>
                <a:gd name="connsiteX571" fmla="*/ 151448 w 228600"/>
                <a:gd name="connsiteY571" fmla="*/ 76772 h 628650"/>
                <a:gd name="connsiteX572" fmla="*/ 152114 w 228600"/>
                <a:gd name="connsiteY572" fmla="*/ 73343 h 628650"/>
                <a:gd name="connsiteX573" fmla="*/ 150019 w 228600"/>
                <a:gd name="connsiteY573" fmla="*/ 74676 h 628650"/>
                <a:gd name="connsiteX574" fmla="*/ 150019 w 228600"/>
                <a:gd name="connsiteY574" fmla="*/ 76010 h 628650"/>
                <a:gd name="connsiteX575" fmla="*/ 148685 w 228600"/>
                <a:gd name="connsiteY575" fmla="*/ 76010 h 628650"/>
                <a:gd name="connsiteX576" fmla="*/ 153448 w 228600"/>
                <a:gd name="connsiteY576" fmla="*/ 68580 h 628650"/>
                <a:gd name="connsiteX577" fmla="*/ 152114 w 228600"/>
                <a:gd name="connsiteY577" fmla="*/ 67913 h 628650"/>
                <a:gd name="connsiteX578" fmla="*/ 151448 w 228600"/>
                <a:gd name="connsiteY578" fmla="*/ 68580 h 628650"/>
                <a:gd name="connsiteX579" fmla="*/ 152114 w 228600"/>
                <a:gd name="connsiteY579" fmla="*/ 70676 h 628650"/>
                <a:gd name="connsiteX580" fmla="*/ 154210 w 228600"/>
                <a:gd name="connsiteY580" fmla="*/ 70676 h 628650"/>
                <a:gd name="connsiteX581" fmla="*/ 153448 w 228600"/>
                <a:gd name="connsiteY581" fmla="*/ 68580 h 628650"/>
                <a:gd name="connsiteX582" fmla="*/ 161068 w 228600"/>
                <a:gd name="connsiteY582" fmla="*/ 251746 h 628650"/>
                <a:gd name="connsiteX583" fmla="*/ 161735 w 228600"/>
                <a:gd name="connsiteY583" fmla="*/ 249650 h 628650"/>
                <a:gd name="connsiteX584" fmla="*/ 159639 w 228600"/>
                <a:gd name="connsiteY584" fmla="*/ 247555 h 628650"/>
                <a:gd name="connsiteX585" fmla="*/ 157544 w 228600"/>
                <a:gd name="connsiteY585" fmla="*/ 251651 h 628650"/>
                <a:gd name="connsiteX586" fmla="*/ 161068 w 228600"/>
                <a:gd name="connsiteY586" fmla="*/ 251651 h 628650"/>
                <a:gd name="connsiteX587" fmla="*/ 193262 w 228600"/>
                <a:gd name="connsiteY587" fmla="*/ 190024 h 628650"/>
                <a:gd name="connsiteX588" fmla="*/ 193262 w 228600"/>
                <a:gd name="connsiteY588" fmla="*/ 189357 h 628650"/>
                <a:gd name="connsiteX589" fmla="*/ 193929 w 228600"/>
                <a:gd name="connsiteY589" fmla="*/ 190024 h 628650"/>
                <a:gd name="connsiteX590" fmla="*/ 191167 w 228600"/>
                <a:gd name="connsiteY590" fmla="*/ 192119 h 628650"/>
                <a:gd name="connsiteX591" fmla="*/ 193262 w 228600"/>
                <a:gd name="connsiteY591" fmla="*/ 190024 h 62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</a:cxnLst>
              <a:rect l="l" t="t" r="r" b="b"/>
              <a:pathLst>
                <a:path w="228600" h="628650">
                  <a:moveTo>
                    <a:pt x="12192" y="596741"/>
                  </a:moveTo>
                  <a:cubicBezTo>
                    <a:pt x="12192" y="596741"/>
                    <a:pt x="12192" y="596075"/>
                    <a:pt x="10858" y="595408"/>
                  </a:cubicBezTo>
                  <a:cubicBezTo>
                    <a:pt x="10858" y="594741"/>
                    <a:pt x="12192" y="593312"/>
                    <a:pt x="12192" y="591979"/>
                  </a:cubicBezTo>
                  <a:cubicBezTo>
                    <a:pt x="12192" y="591979"/>
                    <a:pt x="11525" y="591979"/>
                    <a:pt x="11525" y="591312"/>
                  </a:cubicBezTo>
                  <a:cubicBezTo>
                    <a:pt x="10192" y="590645"/>
                    <a:pt x="9430" y="588550"/>
                    <a:pt x="8763" y="587216"/>
                  </a:cubicBezTo>
                  <a:lnTo>
                    <a:pt x="8096" y="587216"/>
                  </a:lnTo>
                  <a:cubicBezTo>
                    <a:pt x="8763" y="585883"/>
                    <a:pt x="8763" y="584454"/>
                    <a:pt x="8763" y="584454"/>
                  </a:cubicBezTo>
                  <a:lnTo>
                    <a:pt x="8763" y="579692"/>
                  </a:lnTo>
                  <a:cubicBezTo>
                    <a:pt x="8763" y="578358"/>
                    <a:pt x="8096" y="576929"/>
                    <a:pt x="7430" y="575596"/>
                  </a:cubicBezTo>
                  <a:cubicBezTo>
                    <a:pt x="7430" y="574929"/>
                    <a:pt x="3334" y="570833"/>
                    <a:pt x="3334" y="569405"/>
                  </a:cubicBezTo>
                  <a:cubicBezTo>
                    <a:pt x="3334" y="568738"/>
                    <a:pt x="4001" y="568071"/>
                    <a:pt x="4001" y="567309"/>
                  </a:cubicBezTo>
                  <a:cubicBezTo>
                    <a:pt x="4001" y="567309"/>
                    <a:pt x="4001" y="566642"/>
                    <a:pt x="3334" y="566642"/>
                  </a:cubicBezTo>
                  <a:cubicBezTo>
                    <a:pt x="2000" y="565309"/>
                    <a:pt x="2000" y="562547"/>
                    <a:pt x="2000" y="559784"/>
                  </a:cubicBezTo>
                  <a:cubicBezTo>
                    <a:pt x="2000" y="558451"/>
                    <a:pt x="667" y="558451"/>
                    <a:pt x="667" y="557022"/>
                  </a:cubicBezTo>
                  <a:lnTo>
                    <a:pt x="667" y="556260"/>
                  </a:lnTo>
                  <a:cubicBezTo>
                    <a:pt x="0" y="552164"/>
                    <a:pt x="0" y="548069"/>
                    <a:pt x="0" y="543878"/>
                  </a:cubicBezTo>
                  <a:cubicBezTo>
                    <a:pt x="0" y="533591"/>
                    <a:pt x="2096" y="521208"/>
                    <a:pt x="2096" y="508921"/>
                  </a:cubicBezTo>
                  <a:cubicBezTo>
                    <a:pt x="2762" y="507587"/>
                    <a:pt x="4191" y="505492"/>
                    <a:pt x="4191" y="504825"/>
                  </a:cubicBezTo>
                  <a:cubicBezTo>
                    <a:pt x="4191" y="502730"/>
                    <a:pt x="4191" y="500729"/>
                    <a:pt x="4858" y="500063"/>
                  </a:cubicBezTo>
                  <a:cubicBezTo>
                    <a:pt x="6191" y="499396"/>
                    <a:pt x="6191" y="499396"/>
                    <a:pt x="6191" y="498729"/>
                  </a:cubicBezTo>
                  <a:cubicBezTo>
                    <a:pt x="6191" y="498062"/>
                    <a:pt x="6191" y="498062"/>
                    <a:pt x="5525" y="497396"/>
                  </a:cubicBezTo>
                  <a:cubicBezTo>
                    <a:pt x="5525" y="496062"/>
                    <a:pt x="6191" y="492633"/>
                    <a:pt x="6858" y="491871"/>
                  </a:cubicBezTo>
                  <a:cubicBezTo>
                    <a:pt x="5525" y="491204"/>
                    <a:pt x="4763" y="489775"/>
                    <a:pt x="4763" y="489109"/>
                  </a:cubicBezTo>
                  <a:cubicBezTo>
                    <a:pt x="4763" y="488442"/>
                    <a:pt x="5429" y="487775"/>
                    <a:pt x="5429" y="487013"/>
                  </a:cubicBezTo>
                  <a:lnTo>
                    <a:pt x="5429" y="485680"/>
                  </a:lnTo>
                  <a:cubicBezTo>
                    <a:pt x="5429" y="483584"/>
                    <a:pt x="6763" y="482251"/>
                    <a:pt x="6763" y="480917"/>
                  </a:cubicBezTo>
                  <a:cubicBezTo>
                    <a:pt x="6763" y="480250"/>
                    <a:pt x="6096" y="479584"/>
                    <a:pt x="5429" y="478822"/>
                  </a:cubicBezTo>
                  <a:lnTo>
                    <a:pt x="5429" y="476726"/>
                  </a:lnTo>
                  <a:cubicBezTo>
                    <a:pt x="7525" y="475393"/>
                    <a:pt x="8192" y="472631"/>
                    <a:pt x="8192" y="471202"/>
                  </a:cubicBezTo>
                  <a:lnTo>
                    <a:pt x="8192" y="469868"/>
                  </a:lnTo>
                  <a:cubicBezTo>
                    <a:pt x="8192" y="469201"/>
                    <a:pt x="8192" y="468535"/>
                    <a:pt x="8858" y="467773"/>
                  </a:cubicBezTo>
                  <a:lnTo>
                    <a:pt x="8858" y="463010"/>
                  </a:lnTo>
                  <a:cubicBezTo>
                    <a:pt x="8858" y="460248"/>
                    <a:pt x="8858" y="457486"/>
                    <a:pt x="9525" y="454819"/>
                  </a:cubicBezTo>
                  <a:lnTo>
                    <a:pt x="9525" y="452057"/>
                  </a:lnTo>
                  <a:cubicBezTo>
                    <a:pt x="10192" y="451390"/>
                    <a:pt x="10192" y="451390"/>
                    <a:pt x="10192" y="450723"/>
                  </a:cubicBezTo>
                  <a:lnTo>
                    <a:pt x="10192" y="449390"/>
                  </a:lnTo>
                  <a:cubicBezTo>
                    <a:pt x="9525" y="448723"/>
                    <a:pt x="9525" y="448056"/>
                    <a:pt x="9525" y="448056"/>
                  </a:cubicBezTo>
                  <a:cubicBezTo>
                    <a:pt x="10192" y="445294"/>
                    <a:pt x="11621" y="443294"/>
                    <a:pt x="11621" y="440531"/>
                  </a:cubicBezTo>
                  <a:lnTo>
                    <a:pt x="11621" y="439198"/>
                  </a:lnTo>
                  <a:cubicBezTo>
                    <a:pt x="12954" y="438531"/>
                    <a:pt x="12954" y="435769"/>
                    <a:pt x="13716" y="435102"/>
                  </a:cubicBezTo>
                  <a:lnTo>
                    <a:pt x="13716" y="428625"/>
                  </a:lnTo>
                  <a:cubicBezTo>
                    <a:pt x="13716" y="427958"/>
                    <a:pt x="13716" y="427958"/>
                    <a:pt x="14383" y="427292"/>
                  </a:cubicBezTo>
                  <a:lnTo>
                    <a:pt x="15050" y="426625"/>
                  </a:lnTo>
                  <a:cubicBezTo>
                    <a:pt x="14383" y="425958"/>
                    <a:pt x="14383" y="425291"/>
                    <a:pt x="14383" y="424529"/>
                  </a:cubicBezTo>
                  <a:cubicBezTo>
                    <a:pt x="14383" y="423196"/>
                    <a:pt x="15050" y="421767"/>
                    <a:pt x="15050" y="421100"/>
                  </a:cubicBezTo>
                  <a:cubicBezTo>
                    <a:pt x="15716" y="419005"/>
                    <a:pt x="15716" y="417671"/>
                    <a:pt x="16383" y="417671"/>
                  </a:cubicBezTo>
                  <a:cubicBezTo>
                    <a:pt x="16383" y="417005"/>
                    <a:pt x="17050" y="417005"/>
                    <a:pt x="16383" y="417005"/>
                  </a:cubicBezTo>
                  <a:cubicBezTo>
                    <a:pt x="15716" y="415671"/>
                    <a:pt x="15716" y="414909"/>
                    <a:pt x="15716" y="414242"/>
                  </a:cubicBezTo>
                  <a:lnTo>
                    <a:pt x="15716" y="412909"/>
                  </a:lnTo>
                  <a:cubicBezTo>
                    <a:pt x="15716" y="412242"/>
                    <a:pt x="16383" y="412242"/>
                    <a:pt x="17050" y="410813"/>
                  </a:cubicBezTo>
                  <a:cubicBezTo>
                    <a:pt x="17050" y="410813"/>
                    <a:pt x="17717" y="410813"/>
                    <a:pt x="17717" y="410147"/>
                  </a:cubicBezTo>
                  <a:cubicBezTo>
                    <a:pt x="17717" y="410147"/>
                    <a:pt x="17717" y="409480"/>
                    <a:pt x="17050" y="409480"/>
                  </a:cubicBezTo>
                  <a:cubicBezTo>
                    <a:pt x="17050" y="408146"/>
                    <a:pt x="19145" y="406051"/>
                    <a:pt x="19145" y="404717"/>
                  </a:cubicBezTo>
                  <a:lnTo>
                    <a:pt x="18479" y="404050"/>
                  </a:lnTo>
                  <a:cubicBezTo>
                    <a:pt x="19145" y="402717"/>
                    <a:pt x="19145" y="399955"/>
                    <a:pt x="19145" y="399955"/>
                  </a:cubicBezTo>
                  <a:lnTo>
                    <a:pt x="19145" y="397859"/>
                  </a:lnTo>
                  <a:cubicBezTo>
                    <a:pt x="19812" y="395097"/>
                    <a:pt x="19812" y="393097"/>
                    <a:pt x="21241" y="389668"/>
                  </a:cubicBezTo>
                  <a:cubicBezTo>
                    <a:pt x="21908" y="389668"/>
                    <a:pt x="21908" y="389001"/>
                    <a:pt x="21908" y="389001"/>
                  </a:cubicBezTo>
                  <a:cubicBezTo>
                    <a:pt x="21908" y="389001"/>
                    <a:pt x="21908" y="388334"/>
                    <a:pt x="21241" y="388334"/>
                  </a:cubicBezTo>
                  <a:cubicBezTo>
                    <a:pt x="21908" y="387001"/>
                    <a:pt x="22574" y="384239"/>
                    <a:pt x="23336" y="383572"/>
                  </a:cubicBezTo>
                  <a:cubicBezTo>
                    <a:pt x="23336" y="382238"/>
                    <a:pt x="24003" y="380810"/>
                    <a:pt x="24003" y="379476"/>
                  </a:cubicBezTo>
                  <a:lnTo>
                    <a:pt x="24003" y="378809"/>
                  </a:lnTo>
                  <a:cubicBezTo>
                    <a:pt x="23336" y="378143"/>
                    <a:pt x="23336" y="377476"/>
                    <a:pt x="23336" y="377476"/>
                  </a:cubicBezTo>
                  <a:cubicBezTo>
                    <a:pt x="23336" y="376142"/>
                    <a:pt x="24003" y="376142"/>
                    <a:pt x="24003" y="376142"/>
                  </a:cubicBezTo>
                  <a:cubicBezTo>
                    <a:pt x="24670" y="374809"/>
                    <a:pt x="25337" y="373380"/>
                    <a:pt x="27432" y="371380"/>
                  </a:cubicBezTo>
                  <a:cubicBezTo>
                    <a:pt x="27432" y="370713"/>
                    <a:pt x="26099" y="368618"/>
                    <a:pt x="26099" y="367284"/>
                  </a:cubicBezTo>
                  <a:lnTo>
                    <a:pt x="26099" y="365950"/>
                  </a:lnTo>
                  <a:cubicBezTo>
                    <a:pt x="28861" y="362522"/>
                    <a:pt x="28861" y="361188"/>
                    <a:pt x="29528" y="357759"/>
                  </a:cubicBezTo>
                  <a:cubicBezTo>
                    <a:pt x="29528" y="357092"/>
                    <a:pt x="30194" y="353663"/>
                    <a:pt x="30861" y="352997"/>
                  </a:cubicBezTo>
                  <a:lnTo>
                    <a:pt x="30194" y="352330"/>
                  </a:lnTo>
                  <a:cubicBezTo>
                    <a:pt x="30194" y="349568"/>
                    <a:pt x="30861" y="348901"/>
                    <a:pt x="32290" y="348234"/>
                  </a:cubicBezTo>
                  <a:lnTo>
                    <a:pt x="33623" y="340709"/>
                  </a:lnTo>
                  <a:lnTo>
                    <a:pt x="33623" y="337947"/>
                  </a:lnTo>
                  <a:cubicBezTo>
                    <a:pt x="33623" y="335185"/>
                    <a:pt x="34290" y="333185"/>
                    <a:pt x="35719" y="330422"/>
                  </a:cubicBezTo>
                  <a:cubicBezTo>
                    <a:pt x="35719" y="329756"/>
                    <a:pt x="37052" y="326993"/>
                    <a:pt x="37052" y="326326"/>
                  </a:cubicBezTo>
                  <a:cubicBezTo>
                    <a:pt x="37719" y="324993"/>
                    <a:pt x="37719" y="322231"/>
                    <a:pt x="37719" y="322231"/>
                  </a:cubicBezTo>
                  <a:cubicBezTo>
                    <a:pt x="38386" y="319469"/>
                    <a:pt x="38386" y="318135"/>
                    <a:pt x="40481" y="315373"/>
                  </a:cubicBezTo>
                  <a:lnTo>
                    <a:pt x="39815" y="314039"/>
                  </a:lnTo>
                  <a:cubicBezTo>
                    <a:pt x="39815" y="311277"/>
                    <a:pt x="39815" y="310610"/>
                    <a:pt x="40481" y="309944"/>
                  </a:cubicBezTo>
                  <a:lnTo>
                    <a:pt x="40481" y="307848"/>
                  </a:lnTo>
                  <a:cubicBezTo>
                    <a:pt x="41148" y="307848"/>
                    <a:pt x="41148" y="307181"/>
                    <a:pt x="41148" y="307181"/>
                  </a:cubicBezTo>
                  <a:cubicBezTo>
                    <a:pt x="41148" y="306515"/>
                    <a:pt x="40481" y="305848"/>
                    <a:pt x="40481" y="304419"/>
                  </a:cubicBezTo>
                  <a:cubicBezTo>
                    <a:pt x="42577" y="303086"/>
                    <a:pt x="43244" y="301657"/>
                    <a:pt x="43244" y="301657"/>
                  </a:cubicBezTo>
                  <a:lnTo>
                    <a:pt x="43244" y="297561"/>
                  </a:lnTo>
                  <a:cubicBezTo>
                    <a:pt x="43910" y="296894"/>
                    <a:pt x="45339" y="296228"/>
                    <a:pt x="45339" y="294799"/>
                  </a:cubicBezTo>
                  <a:cubicBezTo>
                    <a:pt x="45339" y="294132"/>
                    <a:pt x="44672" y="293465"/>
                    <a:pt x="44672" y="293465"/>
                  </a:cubicBezTo>
                  <a:lnTo>
                    <a:pt x="44672" y="291465"/>
                  </a:lnTo>
                  <a:cubicBezTo>
                    <a:pt x="46768" y="290132"/>
                    <a:pt x="46768" y="288703"/>
                    <a:pt x="46768" y="286703"/>
                  </a:cubicBezTo>
                  <a:cubicBezTo>
                    <a:pt x="46768" y="286036"/>
                    <a:pt x="47435" y="285369"/>
                    <a:pt x="48101" y="284607"/>
                  </a:cubicBezTo>
                  <a:cubicBezTo>
                    <a:pt x="48101" y="283940"/>
                    <a:pt x="48768" y="283274"/>
                    <a:pt x="48768" y="282512"/>
                  </a:cubicBezTo>
                  <a:cubicBezTo>
                    <a:pt x="48768" y="282512"/>
                    <a:pt x="48768" y="281845"/>
                    <a:pt x="48101" y="281845"/>
                  </a:cubicBezTo>
                  <a:lnTo>
                    <a:pt x="48101" y="279749"/>
                  </a:lnTo>
                  <a:cubicBezTo>
                    <a:pt x="48101" y="279083"/>
                    <a:pt x="50864" y="278416"/>
                    <a:pt x="50864" y="276320"/>
                  </a:cubicBezTo>
                  <a:cubicBezTo>
                    <a:pt x="50864" y="275654"/>
                    <a:pt x="51530" y="274987"/>
                    <a:pt x="50864" y="274987"/>
                  </a:cubicBezTo>
                  <a:lnTo>
                    <a:pt x="50864" y="270891"/>
                  </a:lnTo>
                  <a:cubicBezTo>
                    <a:pt x="51530" y="270224"/>
                    <a:pt x="51530" y="269558"/>
                    <a:pt x="51530" y="268796"/>
                  </a:cubicBezTo>
                  <a:cubicBezTo>
                    <a:pt x="52197" y="268129"/>
                    <a:pt x="52197" y="265367"/>
                    <a:pt x="52864" y="265367"/>
                  </a:cubicBezTo>
                  <a:cubicBezTo>
                    <a:pt x="52864" y="264033"/>
                    <a:pt x="52864" y="263271"/>
                    <a:pt x="53531" y="261271"/>
                  </a:cubicBezTo>
                  <a:cubicBezTo>
                    <a:pt x="53531" y="259175"/>
                    <a:pt x="53531" y="257842"/>
                    <a:pt x="54197" y="255746"/>
                  </a:cubicBezTo>
                  <a:cubicBezTo>
                    <a:pt x="54197" y="255080"/>
                    <a:pt x="56960" y="252317"/>
                    <a:pt x="56960" y="252317"/>
                  </a:cubicBezTo>
                  <a:cubicBezTo>
                    <a:pt x="56960" y="249555"/>
                    <a:pt x="56960" y="248222"/>
                    <a:pt x="57626" y="244793"/>
                  </a:cubicBezTo>
                  <a:cubicBezTo>
                    <a:pt x="57626" y="243459"/>
                    <a:pt x="58293" y="242030"/>
                    <a:pt x="58293" y="240030"/>
                  </a:cubicBezTo>
                  <a:cubicBezTo>
                    <a:pt x="59627" y="238697"/>
                    <a:pt x="59627" y="237935"/>
                    <a:pt x="59627" y="237268"/>
                  </a:cubicBezTo>
                  <a:cubicBezTo>
                    <a:pt x="58960" y="235934"/>
                    <a:pt x="58960" y="235172"/>
                    <a:pt x="58960" y="234506"/>
                  </a:cubicBezTo>
                  <a:cubicBezTo>
                    <a:pt x="58960" y="233839"/>
                    <a:pt x="58960" y="233839"/>
                    <a:pt x="59627" y="233172"/>
                  </a:cubicBezTo>
                  <a:cubicBezTo>
                    <a:pt x="59627" y="232505"/>
                    <a:pt x="60960" y="231077"/>
                    <a:pt x="61722" y="230410"/>
                  </a:cubicBezTo>
                  <a:cubicBezTo>
                    <a:pt x="61722" y="227648"/>
                    <a:pt x="62389" y="223552"/>
                    <a:pt x="63056" y="222218"/>
                  </a:cubicBezTo>
                  <a:cubicBezTo>
                    <a:pt x="63056" y="219456"/>
                    <a:pt x="64389" y="218789"/>
                    <a:pt x="64389" y="218123"/>
                  </a:cubicBezTo>
                  <a:lnTo>
                    <a:pt x="66485" y="209169"/>
                  </a:lnTo>
                  <a:cubicBezTo>
                    <a:pt x="66485" y="209169"/>
                    <a:pt x="67151" y="208502"/>
                    <a:pt x="67818" y="207074"/>
                  </a:cubicBezTo>
                  <a:cubicBezTo>
                    <a:pt x="67818" y="205740"/>
                    <a:pt x="69914" y="204311"/>
                    <a:pt x="70580" y="201549"/>
                  </a:cubicBezTo>
                  <a:cubicBezTo>
                    <a:pt x="71247" y="200216"/>
                    <a:pt x="71914" y="198787"/>
                    <a:pt x="71247" y="198787"/>
                  </a:cubicBezTo>
                  <a:lnTo>
                    <a:pt x="71247" y="197453"/>
                  </a:lnTo>
                  <a:cubicBezTo>
                    <a:pt x="72581" y="193358"/>
                    <a:pt x="73343" y="189929"/>
                    <a:pt x="74676" y="187166"/>
                  </a:cubicBezTo>
                  <a:lnTo>
                    <a:pt x="75343" y="187166"/>
                  </a:lnTo>
                  <a:lnTo>
                    <a:pt x="75343" y="186500"/>
                  </a:lnTo>
                  <a:cubicBezTo>
                    <a:pt x="75343" y="185166"/>
                    <a:pt x="76010" y="185166"/>
                    <a:pt x="76676" y="183737"/>
                  </a:cubicBezTo>
                  <a:cubicBezTo>
                    <a:pt x="76676" y="183071"/>
                    <a:pt x="77343" y="179642"/>
                    <a:pt x="77343" y="178213"/>
                  </a:cubicBezTo>
                  <a:cubicBezTo>
                    <a:pt x="79439" y="178213"/>
                    <a:pt x="79439" y="177546"/>
                    <a:pt x="79439" y="177546"/>
                  </a:cubicBezTo>
                  <a:cubicBezTo>
                    <a:pt x="78772" y="176879"/>
                    <a:pt x="78772" y="175451"/>
                    <a:pt x="78772" y="174784"/>
                  </a:cubicBezTo>
                  <a:cubicBezTo>
                    <a:pt x="78772" y="173450"/>
                    <a:pt x="79439" y="172022"/>
                    <a:pt x="79439" y="170021"/>
                  </a:cubicBezTo>
                  <a:cubicBezTo>
                    <a:pt x="80105" y="167926"/>
                    <a:pt x="80772" y="165926"/>
                    <a:pt x="80772" y="163830"/>
                  </a:cubicBezTo>
                  <a:cubicBezTo>
                    <a:pt x="80772" y="163163"/>
                    <a:pt x="80772" y="161068"/>
                    <a:pt x="82868" y="159068"/>
                  </a:cubicBezTo>
                  <a:cubicBezTo>
                    <a:pt x="83534" y="159068"/>
                    <a:pt x="83534" y="158401"/>
                    <a:pt x="83534" y="157734"/>
                  </a:cubicBezTo>
                  <a:cubicBezTo>
                    <a:pt x="83534" y="155639"/>
                    <a:pt x="84868" y="153638"/>
                    <a:pt x="85630" y="151543"/>
                  </a:cubicBezTo>
                  <a:lnTo>
                    <a:pt x="85630" y="150209"/>
                  </a:lnTo>
                  <a:cubicBezTo>
                    <a:pt x="85630" y="148876"/>
                    <a:pt x="86963" y="148876"/>
                    <a:pt x="86963" y="147447"/>
                  </a:cubicBezTo>
                  <a:lnTo>
                    <a:pt x="86963" y="146114"/>
                  </a:lnTo>
                  <a:cubicBezTo>
                    <a:pt x="86963" y="144780"/>
                    <a:pt x="87630" y="142685"/>
                    <a:pt x="88297" y="141351"/>
                  </a:cubicBezTo>
                  <a:cubicBezTo>
                    <a:pt x="89630" y="141351"/>
                    <a:pt x="89630" y="140684"/>
                    <a:pt x="89630" y="140684"/>
                  </a:cubicBezTo>
                  <a:cubicBezTo>
                    <a:pt x="88964" y="140018"/>
                    <a:pt x="88964" y="140018"/>
                    <a:pt x="88964" y="139351"/>
                  </a:cubicBezTo>
                  <a:cubicBezTo>
                    <a:pt x="88964" y="138017"/>
                    <a:pt x="90297" y="137255"/>
                    <a:pt x="92393" y="135922"/>
                  </a:cubicBezTo>
                  <a:cubicBezTo>
                    <a:pt x="92393" y="135922"/>
                    <a:pt x="92393" y="135255"/>
                    <a:pt x="91059" y="133160"/>
                  </a:cubicBezTo>
                  <a:cubicBezTo>
                    <a:pt x="91059" y="132493"/>
                    <a:pt x="91059" y="132493"/>
                    <a:pt x="92393" y="131826"/>
                  </a:cubicBezTo>
                  <a:cubicBezTo>
                    <a:pt x="95155" y="127064"/>
                    <a:pt x="96488" y="122206"/>
                    <a:pt x="97155" y="114681"/>
                  </a:cubicBezTo>
                  <a:lnTo>
                    <a:pt x="97822" y="114014"/>
                  </a:lnTo>
                  <a:cubicBezTo>
                    <a:pt x="98489" y="113348"/>
                    <a:pt x="98489" y="111252"/>
                    <a:pt x="99155" y="110585"/>
                  </a:cubicBezTo>
                  <a:lnTo>
                    <a:pt x="99155" y="109919"/>
                  </a:lnTo>
                  <a:cubicBezTo>
                    <a:pt x="99155" y="107823"/>
                    <a:pt x="101251" y="107156"/>
                    <a:pt x="101918" y="105156"/>
                  </a:cubicBezTo>
                  <a:cubicBezTo>
                    <a:pt x="102584" y="105156"/>
                    <a:pt x="102584" y="103823"/>
                    <a:pt x="102584" y="101727"/>
                  </a:cubicBezTo>
                  <a:lnTo>
                    <a:pt x="102584" y="101060"/>
                  </a:lnTo>
                  <a:cubicBezTo>
                    <a:pt x="103918" y="98965"/>
                    <a:pt x="103918" y="96298"/>
                    <a:pt x="106013" y="92869"/>
                  </a:cubicBezTo>
                  <a:lnTo>
                    <a:pt x="106013" y="91916"/>
                  </a:lnTo>
                  <a:cubicBezTo>
                    <a:pt x="106680" y="89821"/>
                    <a:pt x="106680" y="88487"/>
                    <a:pt x="108109" y="87154"/>
                  </a:cubicBezTo>
                  <a:cubicBezTo>
                    <a:pt x="108776" y="86487"/>
                    <a:pt x="109442" y="86487"/>
                    <a:pt x="109442" y="85058"/>
                  </a:cubicBezTo>
                  <a:lnTo>
                    <a:pt x="109442" y="82963"/>
                  </a:lnTo>
                  <a:cubicBezTo>
                    <a:pt x="109442" y="82963"/>
                    <a:pt x="109442" y="82296"/>
                    <a:pt x="110109" y="81629"/>
                  </a:cubicBezTo>
                  <a:cubicBezTo>
                    <a:pt x="110776" y="78200"/>
                    <a:pt x="111443" y="75438"/>
                    <a:pt x="114872" y="70676"/>
                  </a:cubicBezTo>
                  <a:cubicBezTo>
                    <a:pt x="115538" y="66580"/>
                    <a:pt x="116205" y="62484"/>
                    <a:pt x="118967" y="56960"/>
                  </a:cubicBezTo>
                  <a:lnTo>
                    <a:pt x="118967" y="56198"/>
                  </a:lnTo>
                  <a:lnTo>
                    <a:pt x="123063" y="48006"/>
                  </a:lnTo>
                  <a:cubicBezTo>
                    <a:pt x="123730" y="45244"/>
                    <a:pt x="125158" y="43910"/>
                    <a:pt x="127159" y="39815"/>
                  </a:cubicBezTo>
                  <a:cubicBezTo>
                    <a:pt x="127159" y="39815"/>
                    <a:pt x="127159" y="39148"/>
                    <a:pt x="127826" y="38481"/>
                  </a:cubicBezTo>
                  <a:cubicBezTo>
                    <a:pt x="127826" y="35719"/>
                    <a:pt x="128492" y="35052"/>
                    <a:pt x="129159" y="34385"/>
                  </a:cubicBezTo>
                  <a:lnTo>
                    <a:pt x="130493" y="31623"/>
                  </a:lnTo>
                  <a:lnTo>
                    <a:pt x="130493" y="29528"/>
                  </a:lnTo>
                  <a:cubicBezTo>
                    <a:pt x="131159" y="28194"/>
                    <a:pt x="133255" y="26099"/>
                    <a:pt x="133255" y="24765"/>
                  </a:cubicBezTo>
                  <a:cubicBezTo>
                    <a:pt x="135350" y="23432"/>
                    <a:pt x="136684" y="21336"/>
                    <a:pt x="137351" y="19241"/>
                  </a:cubicBezTo>
                  <a:lnTo>
                    <a:pt x="141446" y="13716"/>
                  </a:lnTo>
                  <a:cubicBezTo>
                    <a:pt x="142780" y="11621"/>
                    <a:pt x="144209" y="8954"/>
                    <a:pt x="147638" y="7525"/>
                  </a:cubicBezTo>
                  <a:cubicBezTo>
                    <a:pt x="148304" y="6858"/>
                    <a:pt x="148971" y="4096"/>
                    <a:pt x="151067" y="3429"/>
                  </a:cubicBezTo>
                  <a:cubicBezTo>
                    <a:pt x="153162" y="3429"/>
                    <a:pt x="153162" y="3429"/>
                    <a:pt x="153829" y="2762"/>
                  </a:cubicBezTo>
                  <a:cubicBezTo>
                    <a:pt x="156591" y="2096"/>
                    <a:pt x="158591" y="2096"/>
                    <a:pt x="161354" y="667"/>
                  </a:cubicBezTo>
                  <a:cubicBezTo>
                    <a:pt x="163735" y="0"/>
                    <a:pt x="165830" y="0"/>
                    <a:pt x="169259" y="0"/>
                  </a:cubicBezTo>
                  <a:cubicBezTo>
                    <a:pt x="170593" y="0"/>
                    <a:pt x="171355" y="0"/>
                    <a:pt x="172688" y="667"/>
                  </a:cubicBezTo>
                  <a:lnTo>
                    <a:pt x="175451" y="667"/>
                  </a:lnTo>
                  <a:cubicBezTo>
                    <a:pt x="177546" y="667"/>
                    <a:pt x="178880" y="2000"/>
                    <a:pt x="179546" y="2762"/>
                  </a:cubicBezTo>
                  <a:cubicBezTo>
                    <a:pt x="181642" y="3429"/>
                    <a:pt x="182309" y="4096"/>
                    <a:pt x="183642" y="6858"/>
                  </a:cubicBezTo>
                  <a:cubicBezTo>
                    <a:pt x="185738" y="7525"/>
                    <a:pt x="187071" y="8954"/>
                    <a:pt x="189833" y="10954"/>
                  </a:cubicBezTo>
                  <a:cubicBezTo>
                    <a:pt x="189833" y="12287"/>
                    <a:pt x="192596" y="13049"/>
                    <a:pt x="193262" y="14383"/>
                  </a:cubicBezTo>
                  <a:lnTo>
                    <a:pt x="196025" y="19907"/>
                  </a:lnTo>
                  <a:cubicBezTo>
                    <a:pt x="196025" y="19907"/>
                    <a:pt x="197358" y="22003"/>
                    <a:pt x="197358" y="22670"/>
                  </a:cubicBezTo>
                  <a:cubicBezTo>
                    <a:pt x="200787" y="23336"/>
                    <a:pt x="200787" y="25432"/>
                    <a:pt x="200787" y="27432"/>
                  </a:cubicBezTo>
                  <a:cubicBezTo>
                    <a:pt x="200787" y="28099"/>
                    <a:pt x="201454" y="28766"/>
                    <a:pt x="201454" y="29528"/>
                  </a:cubicBezTo>
                  <a:cubicBezTo>
                    <a:pt x="202121" y="29528"/>
                    <a:pt x="202121" y="30861"/>
                    <a:pt x="202787" y="31623"/>
                  </a:cubicBezTo>
                  <a:cubicBezTo>
                    <a:pt x="202787" y="34385"/>
                    <a:pt x="204883" y="35052"/>
                    <a:pt x="204883" y="37814"/>
                  </a:cubicBezTo>
                  <a:lnTo>
                    <a:pt x="204883" y="48768"/>
                  </a:lnTo>
                  <a:cubicBezTo>
                    <a:pt x="204883" y="52197"/>
                    <a:pt x="204883" y="54293"/>
                    <a:pt x="206216" y="54293"/>
                  </a:cubicBezTo>
                  <a:cubicBezTo>
                    <a:pt x="208979" y="57055"/>
                    <a:pt x="208312" y="60484"/>
                    <a:pt x="208979" y="62484"/>
                  </a:cubicBezTo>
                  <a:lnTo>
                    <a:pt x="208979" y="65913"/>
                  </a:lnTo>
                  <a:cubicBezTo>
                    <a:pt x="208312" y="66485"/>
                    <a:pt x="208312" y="67247"/>
                    <a:pt x="208312" y="67247"/>
                  </a:cubicBezTo>
                  <a:cubicBezTo>
                    <a:pt x="208979" y="70009"/>
                    <a:pt x="210407" y="70009"/>
                    <a:pt x="209645" y="70676"/>
                  </a:cubicBezTo>
                  <a:cubicBezTo>
                    <a:pt x="209645" y="72771"/>
                    <a:pt x="209645" y="74105"/>
                    <a:pt x="208979" y="74771"/>
                  </a:cubicBezTo>
                  <a:cubicBezTo>
                    <a:pt x="208979" y="76867"/>
                    <a:pt x="209645" y="78200"/>
                    <a:pt x="209645" y="79534"/>
                  </a:cubicBezTo>
                  <a:cubicBezTo>
                    <a:pt x="209645" y="80867"/>
                    <a:pt x="210312" y="83630"/>
                    <a:pt x="210979" y="85058"/>
                  </a:cubicBezTo>
                  <a:lnTo>
                    <a:pt x="210979" y="86392"/>
                  </a:lnTo>
                  <a:cubicBezTo>
                    <a:pt x="210312" y="88487"/>
                    <a:pt x="210312" y="90488"/>
                    <a:pt x="210312" y="91916"/>
                  </a:cubicBezTo>
                  <a:lnTo>
                    <a:pt x="210312" y="94678"/>
                  </a:lnTo>
                  <a:cubicBezTo>
                    <a:pt x="210312" y="95345"/>
                    <a:pt x="210979" y="96012"/>
                    <a:pt x="210979" y="96774"/>
                  </a:cubicBezTo>
                  <a:cubicBezTo>
                    <a:pt x="210312" y="98870"/>
                    <a:pt x="210312" y="99536"/>
                    <a:pt x="210312" y="100203"/>
                  </a:cubicBezTo>
                  <a:cubicBezTo>
                    <a:pt x="210312" y="101537"/>
                    <a:pt x="210312" y="102299"/>
                    <a:pt x="209645" y="103632"/>
                  </a:cubicBezTo>
                  <a:cubicBezTo>
                    <a:pt x="208312" y="104299"/>
                    <a:pt x="207550" y="104966"/>
                    <a:pt x="207550" y="106394"/>
                  </a:cubicBezTo>
                  <a:cubicBezTo>
                    <a:pt x="207550" y="107061"/>
                    <a:pt x="207550" y="108490"/>
                    <a:pt x="208217" y="109157"/>
                  </a:cubicBezTo>
                  <a:lnTo>
                    <a:pt x="208217" y="112586"/>
                  </a:lnTo>
                  <a:cubicBezTo>
                    <a:pt x="208217" y="113252"/>
                    <a:pt x="207550" y="115348"/>
                    <a:pt x="204121" y="116015"/>
                  </a:cubicBezTo>
                  <a:cubicBezTo>
                    <a:pt x="204121" y="116681"/>
                    <a:pt x="204121" y="117348"/>
                    <a:pt x="206216" y="117348"/>
                  </a:cubicBezTo>
                  <a:lnTo>
                    <a:pt x="206216" y="118682"/>
                  </a:lnTo>
                  <a:cubicBezTo>
                    <a:pt x="205550" y="118682"/>
                    <a:pt x="205550" y="119348"/>
                    <a:pt x="205550" y="119348"/>
                  </a:cubicBezTo>
                  <a:cubicBezTo>
                    <a:pt x="205550" y="120015"/>
                    <a:pt x="206216" y="120682"/>
                    <a:pt x="206883" y="121444"/>
                  </a:cubicBezTo>
                  <a:lnTo>
                    <a:pt x="206883" y="122777"/>
                  </a:lnTo>
                  <a:cubicBezTo>
                    <a:pt x="204788" y="124111"/>
                    <a:pt x="204121" y="124873"/>
                    <a:pt x="204121" y="126206"/>
                  </a:cubicBezTo>
                  <a:cubicBezTo>
                    <a:pt x="204121" y="127540"/>
                    <a:pt x="204788" y="128302"/>
                    <a:pt x="206216" y="130302"/>
                  </a:cubicBezTo>
                  <a:lnTo>
                    <a:pt x="206883" y="130302"/>
                  </a:lnTo>
                  <a:lnTo>
                    <a:pt x="206883" y="136493"/>
                  </a:lnTo>
                  <a:cubicBezTo>
                    <a:pt x="206216" y="139922"/>
                    <a:pt x="203454" y="144018"/>
                    <a:pt x="201359" y="145447"/>
                  </a:cubicBezTo>
                  <a:cubicBezTo>
                    <a:pt x="201359" y="146114"/>
                    <a:pt x="202025" y="146780"/>
                    <a:pt x="202025" y="146780"/>
                  </a:cubicBezTo>
                  <a:cubicBezTo>
                    <a:pt x="202025" y="147447"/>
                    <a:pt x="201359" y="147447"/>
                    <a:pt x="201359" y="147447"/>
                  </a:cubicBezTo>
                  <a:cubicBezTo>
                    <a:pt x="200025" y="147447"/>
                    <a:pt x="199263" y="147447"/>
                    <a:pt x="199263" y="148781"/>
                  </a:cubicBezTo>
                  <a:lnTo>
                    <a:pt x="199263" y="150876"/>
                  </a:lnTo>
                  <a:cubicBezTo>
                    <a:pt x="197168" y="152210"/>
                    <a:pt x="196501" y="152972"/>
                    <a:pt x="196501" y="154305"/>
                  </a:cubicBezTo>
                  <a:lnTo>
                    <a:pt x="196501" y="154972"/>
                  </a:lnTo>
                  <a:cubicBezTo>
                    <a:pt x="196501" y="156305"/>
                    <a:pt x="195834" y="157734"/>
                    <a:pt x="195834" y="159734"/>
                  </a:cubicBezTo>
                  <a:cubicBezTo>
                    <a:pt x="195167" y="161830"/>
                    <a:pt x="195167" y="162497"/>
                    <a:pt x="195167" y="163163"/>
                  </a:cubicBezTo>
                  <a:cubicBezTo>
                    <a:pt x="195167" y="164497"/>
                    <a:pt x="194501" y="165259"/>
                    <a:pt x="194501" y="165926"/>
                  </a:cubicBezTo>
                  <a:cubicBezTo>
                    <a:pt x="193834" y="168688"/>
                    <a:pt x="193834" y="171450"/>
                    <a:pt x="191072" y="172117"/>
                  </a:cubicBezTo>
                  <a:lnTo>
                    <a:pt x="191072" y="173450"/>
                  </a:lnTo>
                  <a:cubicBezTo>
                    <a:pt x="191072" y="173450"/>
                    <a:pt x="191072" y="175546"/>
                    <a:pt x="190405" y="176213"/>
                  </a:cubicBezTo>
                  <a:cubicBezTo>
                    <a:pt x="189738" y="176879"/>
                    <a:pt x="189738" y="177546"/>
                    <a:pt x="189738" y="178308"/>
                  </a:cubicBezTo>
                  <a:cubicBezTo>
                    <a:pt x="189738" y="178975"/>
                    <a:pt x="189738" y="180404"/>
                    <a:pt x="190405" y="181070"/>
                  </a:cubicBezTo>
                  <a:lnTo>
                    <a:pt x="191072" y="181737"/>
                  </a:lnTo>
                  <a:cubicBezTo>
                    <a:pt x="191072" y="181737"/>
                    <a:pt x="191072" y="182404"/>
                    <a:pt x="190405" y="182404"/>
                  </a:cubicBezTo>
                  <a:cubicBezTo>
                    <a:pt x="189071" y="183737"/>
                    <a:pt x="189071" y="186500"/>
                    <a:pt x="189071" y="186500"/>
                  </a:cubicBezTo>
                  <a:cubicBezTo>
                    <a:pt x="189071" y="187166"/>
                    <a:pt x="189071" y="187166"/>
                    <a:pt x="189738" y="187166"/>
                  </a:cubicBezTo>
                  <a:lnTo>
                    <a:pt x="190405" y="187166"/>
                  </a:lnTo>
                  <a:cubicBezTo>
                    <a:pt x="190405" y="188500"/>
                    <a:pt x="190405" y="189262"/>
                    <a:pt x="189738" y="189262"/>
                  </a:cubicBezTo>
                  <a:cubicBezTo>
                    <a:pt x="189071" y="189929"/>
                    <a:pt x="189071" y="189929"/>
                    <a:pt x="189071" y="190595"/>
                  </a:cubicBezTo>
                  <a:cubicBezTo>
                    <a:pt x="189071" y="190595"/>
                    <a:pt x="187738" y="191262"/>
                    <a:pt x="187738" y="191929"/>
                  </a:cubicBezTo>
                  <a:lnTo>
                    <a:pt x="188405" y="191929"/>
                  </a:lnTo>
                  <a:cubicBezTo>
                    <a:pt x="188405" y="193262"/>
                    <a:pt x="188405" y="195358"/>
                    <a:pt x="187071" y="196691"/>
                  </a:cubicBezTo>
                  <a:lnTo>
                    <a:pt x="187071" y="198025"/>
                  </a:lnTo>
                  <a:cubicBezTo>
                    <a:pt x="187071" y="198692"/>
                    <a:pt x="186404" y="198692"/>
                    <a:pt x="183642" y="199358"/>
                  </a:cubicBezTo>
                  <a:cubicBezTo>
                    <a:pt x="183642" y="199358"/>
                    <a:pt x="182309" y="200692"/>
                    <a:pt x="182309" y="201454"/>
                  </a:cubicBezTo>
                  <a:cubicBezTo>
                    <a:pt x="182309" y="203549"/>
                    <a:pt x="182975" y="203549"/>
                    <a:pt x="184404" y="203549"/>
                  </a:cubicBezTo>
                  <a:cubicBezTo>
                    <a:pt x="186500" y="203549"/>
                    <a:pt x="186500" y="203549"/>
                    <a:pt x="186500" y="204216"/>
                  </a:cubicBezTo>
                  <a:lnTo>
                    <a:pt x="184404" y="204883"/>
                  </a:lnTo>
                  <a:cubicBezTo>
                    <a:pt x="183071" y="206216"/>
                    <a:pt x="181642" y="207645"/>
                    <a:pt x="180975" y="208979"/>
                  </a:cubicBezTo>
                  <a:cubicBezTo>
                    <a:pt x="178880" y="208979"/>
                    <a:pt x="179642" y="211074"/>
                    <a:pt x="178880" y="212408"/>
                  </a:cubicBezTo>
                  <a:cubicBezTo>
                    <a:pt x="178118" y="213741"/>
                    <a:pt x="177546" y="215837"/>
                    <a:pt x="177546" y="217170"/>
                  </a:cubicBezTo>
                  <a:cubicBezTo>
                    <a:pt x="176879" y="217837"/>
                    <a:pt x="177546" y="217837"/>
                    <a:pt x="177546" y="217837"/>
                  </a:cubicBezTo>
                  <a:lnTo>
                    <a:pt x="177546" y="219170"/>
                  </a:lnTo>
                  <a:lnTo>
                    <a:pt x="176879" y="219170"/>
                  </a:lnTo>
                  <a:cubicBezTo>
                    <a:pt x="176879" y="221266"/>
                    <a:pt x="174784" y="221266"/>
                    <a:pt x="174784" y="222599"/>
                  </a:cubicBezTo>
                  <a:cubicBezTo>
                    <a:pt x="174784" y="223266"/>
                    <a:pt x="174117" y="223933"/>
                    <a:pt x="174117" y="226028"/>
                  </a:cubicBezTo>
                  <a:lnTo>
                    <a:pt x="174117" y="226695"/>
                  </a:lnTo>
                  <a:cubicBezTo>
                    <a:pt x="174784" y="226695"/>
                    <a:pt x="174784" y="226028"/>
                    <a:pt x="174784" y="226028"/>
                  </a:cubicBezTo>
                  <a:cubicBezTo>
                    <a:pt x="174784" y="224695"/>
                    <a:pt x="177546" y="221933"/>
                    <a:pt x="177546" y="221933"/>
                  </a:cubicBezTo>
                  <a:cubicBezTo>
                    <a:pt x="178213" y="221933"/>
                    <a:pt x="178213" y="221933"/>
                    <a:pt x="178213" y="222599"/>
                  </a:cubicBezTo>
                  <a:lnTo>
                    <a:pt x="177546" y="223266"/>
                  </a:lnTo>
                  <a:cubicBezTo>
                    <a:pt x="176879" y="223933"/>
                    <a:pt x="176213" y="226695"/>
                    <a:pt x="176213" y="228791"/>
                  </a:cubicBezTo>
                  <a:cubicBezTo>
                    <a:pt x="176213" y="229457"/>
                    <a:pt x="174879" y="230124"/>
                    <a:pt x="174117" y="230124"/>
                  </a:cubicBezTo>
                  <a:cubicBezTo>
                    <a:pt x="171355" y="230124"/>
                    <a:pt x="170021" y="230124"/>
                    <a:pt x="166592" y="231458"/>
                  </a:cubicBezTo>
                  <a:cubicBezTo>
                    <a:pt x="166592" y="231458"/>
                    <a:pt x="165259" y="231458"/>
                    <a:pt x="165259" y="232124"/>
                  </a:cubicBezTo>
                  <a:cubicBezTo>
                    <a:pt x="163163" y="232791"/>
                    <a:pt x="163163" y="236220"/>
                    <a:pt x="163163" y="237649"/>
                  </a:cubicBezTo>
                  <a:cubicBezTo>
                    <a:pt x="163163" y="238316"/>
                    <a:pt x="162497" y="238316"/>
                    <a:pt x="162497" y="238982"/>
                  </a:cubicBezTo>
                  <a:cubicBezTo>
                    <a:pt x="162497" y="239649"/>
                    <a:pt x="163163" y="241078"/>
                    <a:pt x="165259" y="241744"/>
                  </a:cubicBezTo>
                  <a:lnTo>
                    <a:pt x="167354" y="241744"/>
                  </a:lnTo>
                  <a:cubicBezTo>
                    <a:pt x="167354" y="241744"/>
                    <a:pt x="167354" y="242411"/>
                    <a:pt x="166688" y="242411"/>
                  </a:cubicBezTo>
                  <a:lnTo>
                    <a:pt x="166688" y="243078"/>
                  </a:lnTo>
                  <a:cubicBezTo>
                    <a:pt x="166021" y="243078"/>
                    <a:pt x="166021" y="243745"/>
                    <a:pt x="166021" y="243745"/>
                  </a:cubicBezTo>
                  <a:lnTo>
                    <a:pt x="168783" y="243745"/>
                  </a:lnTo>
                  <a:lnTo>
                    <a:pt x="168783" y="245078"/>
                  </a:lnTo>
                  <a:cubicBezTo>
                    <a:pt x="168116" y="245078"/>
                    <a:pt x="167450" y="246412"/>
                    <a:pt x="167450" y="246412"/>
                  </a:cubicBezTo>
                  <a:cubicBezTo>
                    <a:pt x="166116" y="246412"/>
                    <a:pt x="166116" y="247079"/>
                    <a:pt x="166116" y="247079"/>
                  </a:cubicBezTo>
                  <a:cubicBezTo>
                    <a:pt x="166116" y="247745"/>
                    <a:pt x="166783" y="248412"/>
                    <a:pt x="166783" y="248412"/>
                  </a:cubicBezTo>
                  <a:cubicBezTo>
                    <a:pt x="166783" y="249079"/>
                    <a:pt x="166116" y="249079"/>
                    <a:pt x="165449" y="249079"/>
                  </a:cubicBezTo>
                  <a:cubicBezTo>
                    <a:pt x="165449" y="250412"/>
                    <a:pt x="164116" y="251841"/>
                    <a:pt x="162687" y="251841"/>
                  </a:cubicBezTo>
                  <a:lnTo>
                    <a:pt x="161354" y="251841"/>
                  </a:lnTo>
                  <a:cubicBezTo>
                    <a:pt x="160687" y="252508"/>
                    <a:pt x="160687" y="252508"/>
                    <a:pt x="157925" y="252508"/>
                  </a:cubicBezTo>
                  <a:cubicBezTo>
                    <a:pt x="157925" y="252508"/>
                    <a:pt x="157258" y="252508"/>
                    <a:pt x="157258" y="253175"/>
                  </a:cubicBezTo>
                  <a:cubicBezTo>
                    <a:pt x="157258" y="253175"/>
                    <a:pt x="156591" y="254508"/>
                    <a:pt x="156591" y="255270"/>
                  </a:cubicBezTo>
                  <a:lnTo>
                    <a:pt x="157258" y="255270"/>
                  </a:lnTo>
                  <a:cubicBezTo>
                    <a:pt x="157925" y="255937"/>
                    <a:pt x="158591" y="257366"/>
                    <a:pt x="158591" y="258032"/>
                  </a:cubicBezTo>
                  <a:cubicBezTo>
                    <a:pt x="158591" y="258032"/>
                    <a:pt x="158591" y="258699"/>
                    <a:pt x="157925" y="258699"/>
                  </a:cubicBezTo>
                  <a:lnTo>
                    <a:pt x="157925" y="259366"/>
                  </a:lnTo>
                  <a:cubicBezTo>
                    <a:pt x="158591" y="259366"/>
                    <a:pt x="159258" y="260033"/>
                    <a:pt x="159258" y="260699"/>
                  </a:cubicBezTo>
                  <a:cubicBezTo>
                    <a:pt x="159258" y="261366"/>
                    <a:pt x="157925" y="262795"/>
                    <a:pt x="157925" y="263462"/>
                  </a:cubicBezTo>
                  <a:lnTo>
                    <a:pt x="157925" y="264128"/>
                  </a:lnTo>
                  <a:lnTo>
                    <a:pt x="160687" y="264128"/>
                  </a:lnTo>
                  <a:lnTo>
                    <a:pt x="160020" y="264795"/>
                  </a:lnTo>
                  <a:cubicBezTo>
                    <a:pt x="157258" y="266891"/>
                    <a:pt x="157258" y="267557"/>
                    <a:pt x="157258" y="268224"/>
                  </a:cubicBezTo>
                  <a:cubicBezTo>
                    <a:pt x="157258" y="268891"/>
                    <a:pt x="156591" y="268891"/>
                    <a:pt x="155924" y="270320"/>
                  </a:cubicBezTo>
                  <a:lnTo>
                    <a:pt x="155924" y="271653"/>
                  </a:lnTo>
                  <a:cubicBezTo>
                    <a:pt x="155924" y="272987"/>
                    <a:pt x="155258" y="273749"/>
                    <a:pt x="154591" y="273749"/>
                  </a:cubicBezTo>
                  <a:lnTo>
                    <a:pt x="155258" y="274415"/>
                  </a:lnTo>
                  <a:lnTo>
                    <a:pt x="152114" y="274415"/>
                  </a:lnTo>
                  <a:lnTo>
                    <a:pt x="151448" y="277178"/>
                  </a:lnTo>
                  <a:cubicBezTo>
                    <a:pt x="150781" y="277844"/>
                    <a:pt x="150781" y="279273"/>
                    <a:pt x="150781" y="279940"/>
                  </a:cubicBezTo>
                  <a:lnTo>
                    <a:pt x="150781" y="282035"/>
                  </a:lnTo>
                  <a:cubicBezTo>
                    <a:pt x="150114" y="282702"/>
                    <a:pt x="149447" y="282702"/>
                    <a:pt x="149447" y="282702"/>
                  </a:cubicBezTo>
                  <a:cubicBezTo>
                    <a:pt x="149447" y="282702"/>
                    <a:pt x="148781" y="282702"/>
                    <a:pt x="148781" y="282035"/>
                  </a:cubicBezTo>
                  <a:cubicBezTo>
                    <a:pt x="148114" y="281369"/>
                    <a:pt x="146018" y="280702"/>
                    <a:pt x="146018" y="278606"/>
                  </a:cubicBezTo>
                  <a:cubicBezTo>
                    <a:pt x="146018" y="277940"/>
                    <a:pt x="145352" y="277940"/>
                    <a:pt x="144685" y="277940"/>
                  </a:cubicBezTo>
                  <a:cubicBezTo>
                    <a:pt x="144018" y="278606"/>
                    <a:pt x="143351" y="280035"/>
                    <a:pt x="143351" y="281369"/>
                  </a:cubicBezTo>
                  <a:lnTo>
                    <a:pt x="143351" y="282035"/>
                  </a:lnTo>
                  <a:cubicBezTo>
                    <a:pt x="144685" y="282702"/>
                    <a:pt x="144685" y="284131"/>
                    <a:pt x="145447" y="284798"/>
                  </a:cubicBezTo>
                  <a:lnTo>
                    <a:pt x="144113" y="286131"/>
                  </a:lnTo>
                  <a:lnTo>
                    <a:pt x="144113" y="288227"/>
                  </a:lnTo>
                  <a:lnTo>
                    <a:pt x="145447" y="288227"/>
                  </a:lnTo>
                  <a:lnTo>
                    <a:pt x="145447" y="288893"/>
                  </a:lnTo>
                  <a:cubicBezTo>
                    <a:pt x="144780" y="288893"/>
                    <a:pt x="144113" y="290227"/>
                    <a:pt x="142685" y="290227"/>
                  </a:cubicBezTo>
                  <a:cubicBezTo>
                    <a:pt x="140589" y="290894"/>
                    <a:pt x="137922" y="294989"/>
                    <a:pt x="137922" y="294989"/>
                  </a:cubicBezTo>
                  <a:lnTo>
                    <a:pt x="138589" y="294989"/>
                  </a:lnTo>
                  <a:cubicBezTo>
                    <a:pt x="139256" y="294989"/>
                    <a:pt x="141351" y="292894"/>
                    <a:pt x="142685" y="292894"/>
                  </a:cubicBezTo>
                  <a:lnTo>
                    <a:pt x="144780" y="292894"/>
                  </a:lnTo>
                  <a:cubicBezTo>
                    <a:pt x="144780" y="292894"/>
                    <a:pt x="144113" y="294989"/>
                    <a:pt x="143447" y="294989"/>
                  </a:cubicBezTo>
                  <a:cubicBezTo>
                    <a:pt x="143447" y="294989"/>
                    <a:pt x="142113" y="294989"/>
                    <a:pt x="142113" y="295656"/>
                  </a:cubicBezTo>
                  <a:cubicBezTo>
                    <a:pt x="140018" y="296323"/>
                    <a:pt x="139351" y="296990"/>
                    <a:pt x="139351" y="298418"/>
                  </a:cubicBezTo>
                  <a:cubicBezTo>
                    <a:pt x="139351" y="299085"/>
                    <a:pt x="140018" y="299752"/>
                    <a:pt x="140018" y="299752"/>
                  </a:cubicBezTo>
                  <a:cubicBezTo>
                    <a:pt x="140018" y="300419"/>
                    <a:pt x="140018" y="300419"/>
                    <a:pt x="138684" y="301085"/>
                  </a:cubicBezTo>
                  <a:cubicBezTo>
                    <a:pt x="138684" y="302419"/>
                    <a:pt x="139351" y="303181"/>
                    <a:pt x="139351" y="303181"/>
                  </a:cubicBezTo>
                  <a:cubicBezTo>
                    <a:pt x="140018" y="303848"/>
                    <a:pt x="140018" y="304514"/>
                    <a:pt x="140018" y="304514"/>
                  </a:cubicBezTo>
                  <a:cubicBezTo>
                    <a:pt x="140018" y="305181"/>
                    <a:pt x="140018" y="305181"/>
                    <a:pt x="139351" y="305181"/>
                  </a:cubicBezTo>
                  <a:cubicBezTo>
                    <a:pt x="139351" y="305848"/>
                    <a:pt x="138684" y="306515"/>
                    <a:pt x="138017" y="306515"/>
                  </a:cubicBezTo>
                  <a:cubicBezTo>
                    <a:pt x="138017" y="307848"/>
                    <a:pt x="137351" y="308610"/>
                    <a:pt x="137351" y="308610"/>
                  </a:cubicBezTo>
                  <a:cubicBezTo>
                    <a:pt x="137351" y="309277"/>
                    <a:pt x="134588" y="309277"/>
                    <a:pt x="134588" y="309277"/>
                  </a:cubicBezTo>
                  <a:cubicBezTo>
                    <a:pt x="133922" y="308610"/>
                    <a:pt x="133255" y="308610"/>
                    <a:pt x="132493" y="308610"/>
                  </a:cubicBezTo>
                  <a:cubicBezTo>
                    <a:pt x="131731" y="308610"/>
                    <a:pt x="130397" y="309277"/>
                    <a:pt x="129731" y="309944"/>
                  </a:cubicBezTo>
                  <a:cubicBezTo>
                    <a:pt x="127635" y="309944"/>
                    <a:pt x="127635" y="309944"/>
                    <a:pt x="127635" y="311277"/>
                  </a:cubicBezTo>
                  <a:lnTo>
                    <a:pt x="130397" y="313373"/>
                  </a:lnTo>
                  <a:cubicBezTo>
                    <a:pt x="130397" y="311277"/>
                    <a:pt x="131064" y="311277"/>
                    <a:pt x="131064" y="311277"/>
                  </a:cubicBezTo>
                  <a:cubicBezTo>
                    <a:pt x="131731" y="311277"/>
                    <a:pt x="133160" y="313373"/>
                    <a:pt x="133160" y="314039"/>
                  </a:cubicBezTo>
                  <a:lnTo>
                    <a:pt x="131064" y="317468"/>
                  </a:lnTo>
                  <a:cubicBezTo>
                    <a:pt x="130397" y="318135"/>
                    <a:pt x="130397" y="318802"/>
                    <a:pt x="130397" y="319564"/>
                  </a:cubicBezTo>
                  <a:cubicBezTo>
                    <a:pt x="130397" y="320231"/>
                    <a:pt x="130397" y="320231"/>
                    <a:pt x="129731" y="322993"/>
                  </a:cubicBezTo>
                  <a:cubicBezTo>
                    <a:pt x="129731" y="322993"/>
                    <a:pt x="127635" y="323660"/>
                    <a:pt x="127635" y="324326"/>
                  </a:cubicBezTo>
                  <a:cubicBezTo>
                    <a:pt x="127635" y="324326"/>
                    <a:pt x="128969" y="324993"/>
                    <a:pt x="129731" y="324993"/>
                  </a:cubicBezTo>
                  <a:lnTo>
                    <a:pt x="129731" y="326326"/>
                  </a:lnTo>
                  <a:cubicBezTo>
                    <a:pt x="129731" y="326993"/>
                    <a:pt x="129064" y="327660"/>
                    <a:pt x="127635" y="327660"/>
                  </a:cubicBezTo>
                  <a:cubicBezTo>
                    <a:pt x="126968" y="327660"/>
                    <a:pt x="126302" y="327660"/>
                    <a:pt x="126302" y="328327"/>
                  </a:cubicBezTo>
                  <a:cubicBezTo>
                    <a:pt x="126302" y="328327"/>
                    <a:pt x="126302" y="328994"/>
                    <a:pt x="124968" y="330422"/>
                  </a:cubicBezTo>
                  <a:cubicBezTo>
                    <a:pt x="124968" y="331089"/>
                    <a:pt x="123635" y="333185"/>
                    <a:pt x="123635" y="333185"/>
                  </a:cubicBezTo>
                  <a:lnTo>
                    <a:pt x="123635" y="337947"/>
                  </a:lnTo>
                  <a:cubicBezTo>
                    <a:pt x="123635" y="338614"/>
                    <a:pt x="120872" y="340043"/>
                    <a:pt x="120872" y="340709"/>
                  </a:cubicBezTo>
                  <a:cubicBezTo>
                    <a:pt x="120872" y="342043"/>
                    <a:pt x="122968" y="343472"/>
                    <a:pt x="122968" y="343472"/>
                  </a:cubicBezTo>
                  <a:lnTo>
                    <a:pt x="120206" y="343472"/>
                  </a:lnTo>
                  <a:cubicBezTo>
                    <a:pt x="118110" y="343472"/>
                    <a:pt x="117443" y="344805"/>
                    <a:pt x="117443" y="345567"/>
                  </a:cubicBezTo>
                  <a:cubicBezTo>
                    <a:pt x="118110" y="345567"/>
                    <a:pt x="118777" y="346234"/>
                    <a:pt x="118777" y="346900"/>
                  </a:cubicBezTo>
                  <a:cubicBezTo>
                    <a:pt x="118777" y="347567"/>
                    <a:pt x="117443" y="348996"/>
                    <a:pt x="117443" y="349663"/>
                  </a:cubicBezTo>
                  <a:lnTo>
                    <a:pt x="117443" y="350996"/>
                  </a:lnTo>
                  <a:cubicBezTo>
                    <a:pt x="117443" y="351663"/>
                    <a:pt x="117443" y="352330"/>
                    <a:pt x="116777" y="354425"/>
                  </a:cubicBezTo>
                  <a:cubicBezTo>
                    <a:pt x="114681" y="355092"/>
                    <a:pt x="114014" y="356521"/>
                    <a:pt x="112681" y="359950"/>
                  </a:cubicBezTo>
                  <a:lnTo>
                    <a:pt x="112681" y="362712"/>
                  </a:lnTo>
                  <a:cubicBezTo>
                    <a:pt x="112681" y="364046"/>
                    <a:pt x="112014" y="364808"/>
                    <a:pt x="110585" y="365474"/>
                  </a:cubicBezTo>
                  <a:cubicBezTo>
                    <a:pt x="109919" y="368237"/>
                    <a:pt x="109252" y="368903"/>
                    <a:pt x="109252" y="370237"/>
                  </a:cubicBezTo>
                  <a:cubicBezTo>
                    <a:pt x="107156" y="372999"/>
                    <a:pt x="105823" y="374333"/>
                    <a:pt x="105823" y="375761"/>
                  </a:cubicBezTo>
                  <a:lnTo>
                    <a:pt x="105823" y="377857"/>
                  </a:lnTo>
                  <a:cubicBezTo>
                    <a:pt x="105156" y="379952"/>
                    <a:pt x="101060" y="380619"/>
                    <a:pt x="100298" y="381286"/>
                  </a:cubicBezTo>
                  <a:cubicBezTo>
                    <a:pt x="99631" y="381953"/>
                    <a:pt x="99631" y="381953"/>
                    <a:pt x="99631" y="382619"/>
                  </a:cubicBezTo>
                  <a:cubicBezTo>
                    <a:pt x="99631" y="383286"/>
                    <a:pt x="99631" y="383953"/>
                    <a:pt x="99631" y="383953"/>
                  </a:cubicBezTo>
                  <a:cubicBezTo>
                    <a:pt x="95536" y="384620"/>
                    <a:pt x="51626" y="466916"/>
                    <a:pt x="51626" y="477869"/>
                  </a:cubicBezTo>
                  <a:cubicBezTo>
                    <a:pt x="51626" y="478536"/>
                    <a:pt x="51626" y="479203"/>
                    <a:pt x="51626" y="479203"/>
                  </a:cubicBezTo>
                  <a:cubicBezTo>
                    <a:pt x="52292" y="479870"/>
                    <a:pt x="49530" y="483965"/>
                    <a:pt x="48863" y="485394"/>
                  </a:cubicBezTo>
                  <a:lnTo>
                    <a:pt x="48863" y="487490"/>
                  </a:lnTo>
                  <a:cubicBezTo>
                    <a:pt x="48863" y="488823"/>
                    <a:pt x="49530" y="489585"/>
                    <a:pt x="49530" y="489585"/>
                  </a:cubicBezTo>
                  <a:cubicBezTo>
                    <a:pt x="49530" y="490252"/>
                    <a:pt x="48863" y="490252"/>
                    <a:pt x="48863" y="490252"/>
                  </a:cubicBezTo>
                  <a:cubicBezTo>
                    <a:pt x="48197" y="490252"/>
                    <a:pt x="48197" y="492347"/>
                    <a:pt x="48197" y="492347"/>
                  </a:cubicBezTo>
                  <a:cubicBezTo>
                    <a:pt x="46101" y="495110"/>
                    <a:pt x="44101" y="495776"/>
                    <a:pt x="44101" y="496443"/>
                  </a:cubicBezTo>
                  <a:cubicBezTo>
                    <a:pt x="44101" y="497110"/>
                    <a:pt x="45434" y="497776"/>
                    <a:pt x="48197" y="499872"/>
                  </a:cubicBezTo>
                  <a:lnTo>
                    <a:pt x="48197" y="500539"/>
                  </a:lnTo>
                  <a:cubicBezTo>
                    <a:pt x="48863" y="501206"/>
                    <a:pt x="48863" y="501206"/>
                    <a:pt x="48863" y="501872"/>
                  </a:cubicBezTo>
                  <a:lnTo>
                    <a:pt x="48863" y="511493"/>
                  </a:lnTo>
                  <a:cubicBezTo>
                    <a:pt x="48863" y="513588"/>
                    <a:pt x="48863" y="514922"/>
                    <a:pt x="48197" y="516255"/>
                  </a:cubicBezTo>
                  <a:lnTo>
                    <a:pt x="48197" y="523780"/>
                  </a:lnTo>
                  <a:cubicBezTo>
                    <a:pt x="48197" y="525875"/>
                    <a:pt x="50292" y="525113"/>
                    <a:pt x="50959" y="527209"/>
                  </a:cubicBezTo>
                  <a:cubicBezTo>
                    <a:pt x="50292" y="528542"/>
                    <a:pt x="50292" y="534067"/>
                    <a:pt x="50292" y="536162"/>
                  </a:cubicBezTo>
                  <a:cubicBezTo>
                    <a:pt x="50959" y="536829"/>
                    <a:pt x="50959" y="538258"/>
                    <a:pt x="50959" y="538925"/>
                  </a:cubicBezTo>
                  <a:cubicBezTo>
                    <a:pt x="50959" y="539591"/>
                    <a:pt x="50959" y="540258"/>
                    <a:pt x="50292" y="540258"/>
                  </a:cubicBezTo>
                  <a:cubicBezTo>
                    <a:pt x="50959" y="540925"/>
                    <a:pt x="51626" y="541592"/>
                    <a:pt x="51626" y="543020"/>
                  </a:cubicBezTo>
                  <a:cubicBezTo>
                    <a:pt x="51626" y="543687"/>
                    <a:pt x="50959" y="544354"/>
                    <a:pt x="50959" y="545116"/>
                  </a:cubicBezTo>
                  <a:lnTo>
                    <a:pt x="50959" y="549212"/>
                  </a:lnTo>
                  <a:cubicBezTo>
                    <a:pt x="51626" y="549878"/>
                    <a:pt x="51626" y="550545"/>
                    <a:pt x="51626" y="551307"/>
                  </a:cubicBezTo>
                  <a:cubicBezTo>
                    <a:pt x="51626" y="551974"/>
                    <a:pt x="51626" y="553403"/>
                    <a:pt x="50292" y="554736"/>
                  </a:cubicBezTo>
                  <a:lnTo>
                    <a:pt x="51626" y="554736"/>
                  </a:lnTo>
                  <a:cubicBezTo>
                    <a:pt x="52292" y="555403"/>
                    <a:pt x="52292" y="555403"/>
                    <a:pt x="52292" y="557498"/>
                  </a:cubicBezTo>
                  <a:cubicBezTo>
                    <a:pt x="51626" y="558165"/>
                    <a:pt x="51626" y="558832"/>
                    <a:pt x="51626" y="558832"/>
                  </a:cubicBezTo>
                  <a:cubicBezTo>
                    <a:pt x="51626" y="559499"/>
                    <a:pt x="51626" y="560927"/>
                    <a:pt x="52292" y="561594"/>
                  </a:cubicBezTo>
                  <a:lnTo>
                    <a:pt x="52292" y="562261"/>
                  </a:lnTo>
                  <a:cubicBezTo>
                    <a:pt x="53626" y="563594"/>
                    <a:pt x="53626" y="565023"/>
                    <a:pt x="53626" y="566357"/>
                  </a:cubicBezTo>
                  <a:lnTo>
                    <a:pt x="53626" y="567690"/>
                  </a:lnTo>
                  <a:cubicBezTo>
                    <a:pt x="53626" y="569024"/>
                    <a:pt x="53626" y="570452"/>
                    <a:pt x="55721" y="573215"/>
                  </a:cubicBezTo>
                  <a:lnTo>
                    <a:pt x="55721" y="574548"/>
                  </a:lnTo>
                  <a:cubicBezTo>
                    <a:pt x="56388" y="575882"/>
                    <a:pt x="57055" y="576644"/>
                    <a:pt x="57055" y="577977"/>
                  </a:cubicBezTo>
                  <a:cubicBezTo>
                    <a:pt x="57055" y="577977"/>
                    <a:pt x="68675" y="597884"/>
                    <a:pt x="94774" y="597884"/>
                  </a:cubicBezTo>
                  <a:cubicBezTo>
                    <a:pt x="97536" y="597884"/>
                    <a:pt x="100965" y="597218"/>
                    <a:pt x="105061" y="596551"/>
                  </a:cubicBezTo>
                  <a:cubicBezTo>
                    <a:pt x="138017" y="590360"/>
                    <a:pt x="229838" y="449104"/>
                    <a:pt x="229838" y="449104"/>
                  </a:cubicBezTo>
                  <a:cubicBezTo>
                    <a:pt x="229838" y="449104"/>
                    <a:pt x="231934" y="446342"/>
                    <a:pt x="233267" y="446342"/>
                  </a:cubicBezTo>
                  <a:cubicBezTo>
                    <a:pt x="233934" y="446342"/>
                    <a:pt x="234601" y="447008"/>
                    <a:pt x="235363" y="449104"/>
                  </a:cubicBezTo>
                  <a:cubicBezTo>
                    <a:pt x="236696" y="455295"/>
                    <a:pt x="148971" y="634937"/>
                    <a:pt x="83820" y="634937"/>
                  </a:cubicBezTo>
                  <a:cubicBezTo>
                    <a:pt x="83153" y="634937"/>
                    <a:pt x="81725" y="634937"/>
                    <a:pt x="81058" y="634937"/>
                  </a:cubicBezTo>
                  <a:cubicBezTo>
                    <a:pt x="61151" y="633603"/>
                    <a:pt x="37148" y="630841"/>
                    <a:pt x="13145" y="600647"/>
                  </a:cubicBezTo>
                  <a:cubicBezTo>
                    <a:pt x="12859" y="600170"/>
                    <a:pt x="12192" y="598742"/>
                    <a:pt x="12192" y="596741"/>
                  </a:cubicBezTo>
                  <a:close/>
                  <a:moveTo>
                    <a:pt x="148685" y="76105"/>
                  </a:moveTo>
                  <a:cubicBezTo>
                    <a:pt x="148019" y="76105"/>
                    <a:pt x="147352" y="76772"/>
                    <a:pt x="147352" y="76772"/>
                  </a:cubicBezTo>
                  <a:cubicBezTo>
                    <a:pt x="146685" y="76772"/>
                    <a:pt x="146018" y="77438"/>
                    <a:pt x="146018" y="78105"/>
                  </a:cubicBezTo>
                  <a:cubicBezTo>
                    <a:pt x="146018" y="78772"/>
                    <a:pt x="146018" y="78772"/>
                    <a:pt x="146685" y="78772"/>
                  </a:cubicBezTo>
                  <a:cubicBezTo>
                    <a:pt x="149447" y="78772"/>
                    <a:pt x="149447" y="78772"/>
                    <a:pt x="149447" y="79439"/>
                  </a:cubicBezTo>
                  <a:cubicBezTo>
                    <a:pt x="146685" y="80772"/>
                    <a:pt x="145352" y="82868"/>
                    <a:pt x="145352" y="83534"/>
                  </a:cubicBezTo>
                  <a:cubicBezTo>
                    <a:pt x="144685" y="84201"/>
                    <a:pt x="144018" y="84868"/>
                    <a:pt x="143256" y="86963"/>
                  </a:cubicBezTo>
                  <a:lnTo>
                    <a:pt x="143256" y="87630"/>
                  </a:lnTo>
                  <a:cubicBezTo>
                    <a:pt x="143256" y="88297"/>
                    <a:pt x="143256" y="90392"/>
                    <a:pt x="142589" y="90392"/>
                  </a:cubicBezTo>
                  <a:cubicBezTo>
                    <a:pt x="141923" y="91059"/>
                    <a:pt x="140494" y="91726"/>
                    <a:pt x="139160" y="91726"/>
                  </a:cubicBezTo>
                  <a:lnTo>
                    <a:pt x="139160" y="93059"/>
                  </a:lnTo>
                  <a:cubicBezTo>
                    <a:pt x="139160" y="93726"/>
                    <a:pt x="139160" y="94393"/>
                    <a:pt x="139827" y="94393"/>
                  </a:cubicBezTo>
                  <a:cubicBezTo>
                    <a:pt x="141161" y="94393"/>
                    <a:pt x="142589" y="96488"/>
                    <a:pt x="142589" y="96488"/>
                  </a:cubicBezTo>
                  <a:lnTo>
                    <a:pt x="143256" y="97155"/>
                  </a:lnTo>
                  <a:lnTo>
                    <a:pt x="142589" y="97155"/>
                  </a:lnTo>
                  <a:cubicBezTo>
                    <a:pt x="140494" y="97155"/>
                    <a:pt x="140494" y="97822"/>
                    <a:pt x="139160" y="97822"/>
                  </a:cubicBezTo>
                  <a:lnTo>
                    <a:pt x="139160" y="99155"/>
                  </a:lnTo>
                  <a:cubicBezTo>
                    <a:pt x="139160" y="101251"/>
                    <a:pt x="137827" y="101918"/>
                    <a:pt x="137827" y="101918"/>
                  </a:cubicBezTo>
                  <a:lnTo>
                    <a:pt x="137160" y="101918"/>
                  </a:lnTo>
                  <a:cubicBezTo>
                    <a:pt x="136493" y="103251"/>
                    <a:pt x="134398" y="105347"/>
                    <a:pt x="134398" y="106680"/>
                  </a:cubicBezTo>
                  <a:cubicBezTo>
                    <a:pt x="134398" y="108014"/>
                    <a:pt x="133731" y="108776"/>
                    <a:pt x="133731" y="110109"/>
                  </a:cubicBezTo>
                  <a:lnTo>
                    <a:pt x="133731" y="110776"/>
                  </a:lnTo>
                  <a:cubicBezTo>
                    <a:pt x="135827" y="110109"/>
                    <a:pt x="135827" y="110109"/>
                    <a:pt x="136493" y="110109"/>
                  </a:cubicBezTo>
                  <a:lnTo>
                    <a:pt x="139256" y="110109"/>
                  </a:lnTo>
                  <a:lnTo>
                    <a:pt x="139256" y="110776"/>
                  </a:lnTo>
                  <a:cubicBezTo>
                    <a:pt x="139256" y="110776"/>
                    <a:pt x="139256" y="111443"/>
                    <a:pt x="137922" y="111443"/>
                  </a:cubicBezTo>
                  <a:cubicBezTo>
                    <a:pt x="137255" y="112109"/>
                    <a:pt x="137255" y="112776"/>
                    <a:pt x="137255" y="114205"/>
                  </a:cubicBezTo>
                  <a:lnTo>
                    <a:pt x="137255" y="114872"/>
                  </a:lnTo>
                  <a:cubicBezTo>
                    <a:pt x="137255" y="115538"/>
                    <a:pt x="137255" y="116967"/>
                    <a:pt x="136589" y="118301"/>
                  </a:cubicBezTo>
                  <a:cubicBezTo>
                    <a:pt x="135922" y="118967"/>
                    <a:pt x="135922" y="123825"/>
                    <a:pt x="135922" y="124492"/>
                  </a:cubicBezTo>
                  <a:cubicBezTo>
                    <a:pt x="135922" y="125159"/>
                    <a:pt x="134588" y="126587"/>
                    <a:pt x="134588" y="127254"/>
                  </a:cubicBezTo>
                  <a:cubicBezTo>
                    <a:pt x="134588" y="127921"/>
                    <a:pt x="134588" y="127921"/>
                    <a:pt x="135255" y="129350"/>
                  </a:cubicBezTo>
                  <a:cubicBezTo>
                    <a:pt x="135255" y="129350"/>
                    <a:pt x="133160" y="130016"/>
                    <a:pt x="133160" y="130683"/>
                  </a:cubicBezTo>
                  <a:cubicBezTo>
                    <a:pt x="132493" y="131350"/>
                    <a:pt x="132493" y="133445"/>
                    <a:pt x="132493" y="133445"/>
                  </a:cubicBezTo>
                  <a:cubicBezTo>
                    <a:pt x="132493" y="134112"/>
                    <a:pt x="132493" y="134779"/>
                    <a:pt x="131826" y="136874"/>
                  </a:cubicBezTo>
                  <a:cubicBezTo>
                    <a:pt x="131826" y="138208"/>
                    <a:pt x="132493" y="139637"/>
                    <a:pt x="132493" y="140970"/>
                  </a:cubicBezTo>
                  <a:cubicBezTo>
                    <a:pt x="132493" y="143066"/>
                    <a:pt x="131826" y="144399"/>
                    <a:pt x="131826" y="145733"/>
                  </a:cubicBezTo>
                  <a:lnTo>
                    <a:pt x="130207" y="145733"/>
                  </a:lnTo>
                  <a:cubicBezTo>
                    <a:pt x="129540" y="147066"/>
                    <a:pt x="130207" y="147828"/>
                    <a:pt x="128873" y="149828"/>
                  </a:cubicBezTo>
                  <a:lnTo>
                    <a:pt x="128873" y="150495"/>
                  </a:lnTo>
                  <a:cubicBezTo>
                    <a:pt x="128873" y="150495"/>
                    <a:pt x="112395" y="168307"/>
                    <a:pt x="112395" y="182690"/>
                  </a:cubicBezTo>
                  <a:cubicBezTo>
                    <a:pt x="112395" y="185452"/>
                    <a:pt x="112395" y="187452"/>
                    <a:pt x="113729" y="189548"/>
                  </a:cubicBezTo>
                  <a:lnTo>
                    <a:pt x="113729" y="192310"/>
                  </a:lnTo>
                  <a:cubicBezTo>
                    <a:pt x="113062" y="197072"/>
                    <a:pt x="112395" y="200501"/>
                    <a:pt x="111633" y="201930"/>
                  </a:cubicBezTo>
                  <a:lnTo>
                    <a:pt x="111633" y="208121"/>
                  </a:lnTo>
                  <a:lnTo>
                    <a:pt x="110966" y="208788"/>
                  </a:lnTo>
                  <a:cubicBezTo>
                    <a:pt x="107537" y="212217"/>
                    <a:pt x="106871" y="215646"/>
                    <a:pt x="106204" y="217742"/>
                  </a:cubicBezTo>
                  <a:cubicBezTo>
                    <a:pt x="106204" y="220504"/>
                    <a:pt x="105537" y="221171"/>
                    <a:pt x="104108" y="225933"/>
                  </a:cubicBezTo>
                  <a:lnTo>
                    <a:pt x="100013" y="225933"/>
                  </a:lnTo>
                  <a:lnTo>
                    <a:pt x="100013" y="229362"/>
                  </a:lnTo>
                  <a:lnTo>
                    <a:pt x="102108" y="229362"/>
                  </a:lnTo>
                  <a:cubicBezTo>
                    <a:pt x="102108" y="230029"/>
                    <a:pt x="102775" y="231458"/>
                    <a:pt x="102775" y="231458"/>
                  </a:cubicBezTo>
                  <a:cubicBezTo>
                    <a:pt x="102108" y="232791"/>
                    <a:pt x="101441" y="233553"/>
                    <a:pt x="101441" y="234220"/>
                  </a:cubicBezTo>
                  <a:cubicBezTo>
                    <a:pt x="101441" y="234220"/>
                    <a:pt x="100108" y="235553"/>
                    <a:pt x="100108" y="236315"/>
                  </a:cubicBezTo>
                  <a:lnTo>
                    <a:pt x="99441" y="236982"/>
                  </a:lnTo>
                  <a:cubicBezTo>
                    <a:pt x="97346" y="237649"/>
                    <a:pt x="97346" y="239078"/>
                    <a:pt x="97346" y="241078"/>
                  </a:cubicBezTo>
                  <a:cubicBezTo>
                    <a:pt x="97346" y="241078"/>
                    <a:pt x="96679" y="241744"/>
                    <a:pt x="96679" y="242411"/>
                  </a:cubicBezTo>
                  <a:cubicBezTo>
                    <a:pt x="96679" y="243078"/>
                    <a:pt x="96679" y="243745"/>
                    <a:pt x="96012" y="245174"/>
                  </a:cubicBezTo>
                  <a:lnTo>
                    <a:pt x="96012" y="246507"/>
                  </a:lnTo>
                  <a:lnTo>
                    <a:pt x="98774" y="247174"/>
                  </a:lnTo>
                  <a:cubicBezTo>
                    <a:pt x="98108" y="251269"/>
                    <a:pt x="95345" y="258128"/>
                    <a:pt x="94679" y="262985"/>
                  </a:cubicBezTo>
                  <a:lnTo>
                    <a:pt x="94679" y="265081"/>
                  </a:lnTo>
                  <a:cubicBezTo>
                    <a:pt x="93345" y="268510"/>
                    <a:pt x="92583" y="270605"/>
                    <a:pt x="92583" y="271939"/>
                  </a:cubicBezTo>
                  <a:lnTo>
                    <a:pt x="92583" y="272606"/>
                  </a:lnTo>
                  <a:cubicBezTo>
                    <a:pt x="91916" y="276035"/>
                    <a:pt x="90488" y="277368"/>
                    <a:pt x="89821" y="278797"/>
                  </a:cubicBezTo>
                  <a:lnTo>
                    <a:pt x="89821" y="281559"/>
                  </a:lnTo>
                  <a:lnTo>
                    <a:pt x="87725" y="289751"/>
                  </a:lnTo>
                  <a:cubicBezTo>
                    <a:pt x="87725" y="289751"/>
                    <a:pt x="87058" y="290417"/>
                    <a:pt x="86392" y="290417"/>
                  </a:cubicBezTo>
                  <a:lnTo>
                    <a:pt x="86392" y="289084"/>
                  </a:lnTo>
                  <a:lnTo>
                    <a:pt x="85058" y="289084"/>
                  </a:lnTo>
                  <a:cubicBezTo>
                    <a:pt x="84392" y="289751"/>
                    <a:pt x="83725" y="290417"/>
                    <a:pt x="83725" y="291179"/>
                  </a:cubicBezTo>
                  <a:lnTo>
                    <a:pt x="83725" y="292513"/>
                  </a:lnTo>
                  <a:lnTo>
                    <a:pt x="85058" y="292513"/>
                  </a:lnTo>
                  <a:lnTo>
                    <a:pt x="85725" y="295275"/>
                  </a:lnTo>
                  <a:cubicBezTo>
                    <a:pt x="85058" y="295942"/>
                    <a:pt x="84392" y="296609"/>
                    <a:pt x="84392" y="297371"/>
                  </a:cubicBezTo>
                  <a:cubicBezTo>
                    <a:pt x="84392" y="298133"/>
                    <a:pt x="85058" y="298704"/>
                    <a:pt x="85725" y="299466"/>
                  </a:cubicBezTo>
                  <a:cubicBezTo>
                    <a:pt x="83630" y="304229"/>
                    <a:pt x="83630" y="306991"/>
                    <a:pt x="80963" y="311087"/>
                  </a:cubicBezTo>
                  <a:cubicBezTo>
                    <a:pt x="80963" y="311753"/>
                    <a:pt x="80963" y="312420"/>
                    <a:pt x="80963" y="313182"/>
                  </a:cubicBezTo>
                  <a:lnTo>
                    <a:pt x="80963" y="313849"/>
                  </a:lnTo>
                  <a:cubicBezTo>
                    <a:pt x="80963" y="315182"/>
                    <a:pt x="78200" y="317278"/>
                    <a:pt x="78200" y="317945"/>
                  </a:cubicBezTo>
                  <a:lnTo>
                    <a:pt x="78200" y="320707"/>
                  </a:lnTo>
                  <a:cubicBezTo>
                    <a:pt x="78200" y="322040"/>
                    <a:pt x="77533" y="325469"/>
                    <a:pt x="77533" y="326898"/>
                  </a:cubicBezTo>
                  <a:lnTo>
                    <a:pt x="77533" y="327565"/>
                  </a:lnTo>
                  <a:cubicBezTo>
                    <a:pt x="76867" y="330327"/>
                    <a:pt x="76200" y="334423"/>
                    <a:pt x="74105" y="337852"/>
                  </a:cubicBezTo>
                  <a:lnTo>
                    <a:pt x="74105" y="339947"/>
                  </a:lnTo>
                  <a:cubicBezTo>
                    <a:pt x="74105" y="342043"/>
                    <a:pt x="74105" y="344043"/>
                    <a:pt x="73438" y="344710"/>
                  </a:cubicBezTo>
                  <a:cubicBezTo>
                    <a:pt x="73438" y="348139"/>
                    <a:pt x="72104" y="352901"/>
                    <a:pt x="71342" y="353663"/>
                  </a:cubicBezTo>
                  <a:cubicBezTo>
                    <a:pt x="70009" y="353663"/>
                    <a:pt x="70009" y="354997"/>
                    <a:pt x="70009" y="354997"/>
                  </a:cubicBezTo>
                  <a:lnTo>
                    <a:pt x="70009" y="357759"/>
                  </a:lnTo>
                  <a:cubicBezTo>
                    <a:pt x="70009" y="358426"/>
                    <a:pt x="68675" y="359093"/>
                    <a:pt x="67913" y="359855"/>
                  </a:cubicBezTo>
                  <a:lnTo>
                    <a:pt x="67913" y="369475"/>
                  </a:lnTo>
                  <a:cubicBezTo>
                    <a:pt x="67913" y="370808"/>
                    <a:pt x="67913" y="370808"/>
                    <a:pt x="67247" y="372904"/>
                  </a:cubicBezTo>
                  <a:cubicBezTo>
                    <a:pt x="66580" y="374237"/>
                    <a:pt x="66580" y="374999"/>
                    <a:pt x="66580" y="374999"/>
                  </a:cubicBezTo>
                  <a:cubicBezTo>
                    <a:pt x="65913" y="375666"/>
                    <a:pt x="65913" y="376333"/>
                    <a:pt x="65913" y="377095"/>
                  </a:cubicBezTo>
                  <a:cubicBezTo>
                    <a:pt x="65913" y="377762"/>
                    <a:pt x="65913" y="379857"/>
                    <a:pt x="66580" y="380524"/>
                  </a:cubicBezTo>
                  <a:cubicBezTo>
                    <a:pt x="66580" y="380524"/>
                    <a:pt x="67247" y="380524"/>
                    <a:pt x="67247" y="381191"/>
                  </a:cubicBezTo>
                  <a:cubicBezTo>
                    <a:pt x="67913" y="381191"/>
                    <a:pt x="67913" y="380524"/>
                    <a:pt x="67913" y="380524"/>
                  </a:cubicBezTo>
                  <a:cubicBezTo>
                    <a:pt x="67913" y="377762"/>
                    <a:pt x="69247" y="375761"/>
                    <a:pt x="70009" y="374999"/>
                  </a:cubicBezTo>
                  <a:cubicBezTo>
                    <a:pt x="70009" y="374999"/>
                    <a:pt x="70009" y="374333"/>
                    <a:pt x="70676" y="374333"/>
                  </a:cubicBezTo>
                  <a:cubicBezTo>
                    <a:pt x="71342" y="372999"/>
                    <a:pt x="72771" y="371570"/>
                    <a:pt x="72771" y="370904"/>
                  </a:cubicBezTo>
                  <a:cubicBezTo>
                    <a:pt x="72771" y="370237"/>
                    <a:pt x="74867" y="366808"/>
                    <a:pt x="75533" y="365379"/>
                  </a:cubicBezTo>
                  <a:cubicBezTo>
                    <a:pt x="75533" y="361950"/>
                    <a:pt x="77629" y="359855"/>
                    <a:pt x="80296" y="357854"/>
                  </a:cubicBezTo>
                  <a:lnTo>
                    <a:pt x="80963" y="356521"/>
                  </a:lnTo>
                  <a:cubicBezTo>
                    <a:pt x="82296" y="355854"/>
                    <a:pt x="82296" y="355187"/>
                    <a:pt x="83058" y="355187"/>
                  </a:cubicBezTo>
                  <a:cubicBezTo>
                    <a:pt x="83725" y="351758"/>
                    <a:pt x="85154" y="347663"/>
                    <a:pt x="87154" y="344234"/>
                  </a:cubicBezTo>
                  <a:cubicBezTo>
                    <a:pt x="88487" y="342138"/>
                    <a:pt x="89916" y="340138"/>
                    <a:pt x="90583" y="340138"/>
                  </a:cubicBezTo>
                  <a:lnTo>
                    <a:pt x="90583" y="338804"/>
                  </a:lnTo>
                  <a:cubicBezTo>
                    <a:pt x="90583" y="338138"/>
                    <a:pt x="91250" y="335375"/>
                    <a:pt x="91250" y="335375"/>
                  </a:cubicBezTo>
                  <a:cubicBezTo>
                    <a:pt x="94012" y="334709"/>
                    <a:pt x="95345" y="330613"/>
                    <a:pt x="95345" y="327850"/>
                  </a:cubicBezTo>
                  <a:lnTo>
                    <a:pt x="100108" y="318230"/>
                  </a:lnTo>
                  <a:cubicBezTo>
                    <a:pt x="100775" y="317564"/>
                    <a:pt x="104204" y="311372"/>
                    <a:pt x="104870" y="307943"/>
                  </a:cubicBezTo>
                  <a:lnTo>
                    <a:pt x="108966" y="304514"/>
                  </a:lnTo>
                  <a:cubicBezTo>
                    <a:pt x="110300" y="301085"/>
                    <a:pt x="112395" y="300419"/>
                    <a:pt x="112395" y="296323"/>
                  </a:cubicBezTo>
                  <a:cubicBezTo>
                    <a:pt x="113729" y="292227"/>
                    <a:pt x="116491" y="289465"/>
                    <a:pt x="117158" y="285369"/>
                  </a:cubicBezTo>
                  <a:cubicBezTo>
                    <a:pt x="119253" y="283274"/>
                    <a:pt x="121253" y="278511"/>
                    <a:pt x="124016" y="274415"/>
                  </a:cubicBezTo>
                  <a:cubicBezTo>
                    <a:pt x="124016" y="273082"/>
                    <a:pt x="124682" y="271653"/>
                    <a:pt x="126778" y="268224"/>
                  </a:cubicBezTo>
                  <a:lnTo>
                    <a:pt x="128111" y="265462"/>
                  </a:lnTo>
                  <a:lnTo>
                    <a:pt x="128111" y="264795"/>
                  </a:lnTo>
                  <a:cubicBezTo>
                    <a:pt x="128111" y="264128"/>
                    <a:pt x="128778" y="263462"/>
                    <a:pt x="129445" y="261366"/>
                  </a:cubicBezTo>
                  <a:cubicBezTo>
                    <a:pt x="130778" y="260699"/>
                    <a:pt x="130778" y="260699"/>
                    <a:pt x="132207" y="257270"/>
                  </a:cubicBezTo>
                  <a:lnTo>
                    <a:pt x="132874" y="256604"/>
                  </a:lnTo>
                  <a:cubicBezTo>
                    <a:pt x="133541" y="251841"/>
                    <a:pt x="136303" y="246317"/>
                    <a:pt x="139065" y="241554"/>
                  </a:cubicBezTo>
                  <a:cubicBezTo>
                    <a:pt x="139732" y="238792"/>
                    <a:pt x="139732" y="238125"/>
                    <a:pt x="139732" y="237458"/>
                  </a:cubicBezTo>
                  <a:cubicBezTo>
                    <a:pt x="142494" y="234696"/>
                    <a:pt x="143828" y="227838"/>
                    <a:pt x="143828" y="227171"/>
                  </a:cubicBezTo>
                  <a:cubicBezTo>
                    <a:pt x="145161" y="226505"/>
                    <a:pt x="145923" y="223076"/>
                    <a:pt x="150019" y="220980"/>
                  </a:cubicBezTo>
                  <a:lnTo>
                    <a:pt x="150019" y="218123"/>
                  </a:lnTo>
                  <a:cubicBezTo>
                    <a:pt x="151352" y="216789"/>
                    <a:pt x="151352" y="216027"/>
                    <a:pt x="151352" y="214694"/>
                  </a:cubicBezTo>
                  <a:cubicBezTo>
                    <a:pt x="154115" y="209169"/>
                    <a:pt x="154115" y="205073"/>
                    <a:pt x="154781" y="201644"/>
                  </a:cubicBezTo>
                  <a:cubicBezTo>
                    <a:pt x="156115" y="199549"/>
                    <a:pt x="156115" y="195453"/>
                    <a:pt x="158877" y="193453"/>
                  </a:cubicBezTo>
                  <a:cubicBezTo>
                    <a:pt x="160211" y="192119"/>
                    <a:pt x="159544" y="190691"/>
                    <a:pt x="160973" y="187262"/>
                  </a:cubicBezTo>
                  <a:cubicBezTo>
                    <a:pt x="160973" y="185166"/>
                    <a:pt x="160973" y="185166"/>
                    <a:pt x="161639" y="182499"/>
                  </a:cubicBezTo>
                  <a:cubicBezTo>
                    <a:pt x="161639" y="181832"/>
                    <a:pt x="162306" y="181166"/>
                    <a:pt x="162306" y="179070"/>
                  </a:cubicBezTo>
                  <a:cubicBezTo>
                    <a:pt x="162973" y="176975"/>
                    <a:pt x="164402" y="174308"/>
                    <a:pt x="164402" y="172212"/>
                  </a:cubicBezTo>
                  <a:cubicBezTo>
                    <a:pt x="166497" y="168783"/>
                    <a:pt x="167831" y="166021"/>
                    <a:pt x="167831" y="161925"/>
                  </a:cubicBezTo>
                  <a:cubicBezTo>
                    <a:pt x="168497" y="161925"/>
                    <a:pt x="168497" y="160592"/>
                    <a:pt x="169164" y="159830"/>
                  </a:cubicBezTo>
                  <a:cubicBezTo>
                    <a:pt x="169164" y="157067"/>
                    <a:pt x="169164" y="155734"/>
                    <a:pt x="170498" y="153638"/>
                  </a:cubicBezTo>
                  <a:cubicBezTo>
                    <a:pt x="171164" y="150876"/>
                    <a:pt x="171164" y="150209"/>
                    <a:pt x="171164" y="147447"/>
                  </a:cubicBezTo>
                  <a:lnTo>
                    <a:pt x="171164" y="144018"/>
                  </a:lnTo>
                  <a:cubicBezTo>
                    <a:pt x="172498" y="139256"/>
                    <a:pt x="171831" y="135827"/>
                    <a:pt x="172498" y="133731"/>
                  </a:cubicBezTo>
                  <a:cubicBezTo>
                    <a:pt x="173831" y="130969"/>
                    <a:pt x="173831" y="126873"/>
                    <a:pt x="173831" y="123444"/>
                  </a:cubicBezTo>
                  <a:lnTo>
                    <a:pt x="173831" y="119348"/>
                  </a:lnTo>
                  <a:cubicBezTo>
                    <a:pt x="173831" y="118682"/>
                    <a:pt x="174498" y="117253"/>
                    <a:pt x="174498" y="115253"/>
                  </a:cubicBezTo>
                  <a:lnTo>
                    <a:pt x="174498" y="114586"/>
                  </a:lnTo>
                  <a:cubicBezTo>
                    <a:pt x="174498" y="110490"/>
                    <a:pt x="175831" y="107728"/>
                    <a:pt x="175831" y="103632"/>
                  </a:cubicBezTo>
                  <a:lnTo>
                    <a:pt x="175831" y="97441"/>
                  </a:lnTo>
                  <a:cubicBezTo>
                    <a:pt x="175165" y="94678"/>
                    <a:pt x="174498" y="93345"/>
                    <a:pt x="174498" y="91916"/>
                  </a:cubicBezTo>
                  <a:cubicBezTo>
                    <a:pt x="174498" y="90488"/>
                    <a:pt x="174498" y="87821"/>
                    <a:pt x="173831" y="87154"/>
                  </a:cubicBezTo>
                  <a:cubicBezTo>
                    <a:pt x="173831" y="85820"/>
                    <a:pt x="173831" y="85820"/>
                    <a:pt x="174498" y="85058"/>
                  </a:cubicBezTo>
                  <a:cubicBezTo>
                    <a:pt x="174498" y="83725"/>
                    <a:pt x="173831" y="82296"/>
                    <a:pt x="173831" y="80963"/>
                  </a:cubicBezTo>
                  <a:lnTo>
                    <a:pt x="173831" y="76200"/>
                  </a:lnTo>
                  <a:cubicBezTo>
                    <a:pt x="173165" y="74867"/>
                    <a:pt x="173165" y="74105"/>
                    <a:pt x="173165" y="73438"/>
                  </a:cubicBezTo>
                  <a:cubicBezTo>
                    <a:pt x="172498" y="70009"/>
                    <a:pt x="169736" y="69342"/>
                    <a:pt x="169736" y="67247"/>
                  </a:cubicBezTo>
                  <a:cubicBezTo>
                    <a:pt x="169069" y="66580"/>
                    <a:pt x="168402" y="65151"/>
                    <a:pt x="168402" y="64484"/>
                  </a:cubicBezTo>
                  <a:cubicBezTo>
                    <a:pt x="168402" y="63818"/>
                    <a:pt x="168402" y="62389"/>
                    <a:pt x="168402" y="61722"/>
                  </a:cubicBezTo>
                  <a:cubicBezTo>
                    <a:pt x="168402" y="61055"/>
                    <a:pt x="168402" y="60389"/>
                    <a:pt x="168402" y="60389"/>
                  </a:cubicBezTo>
                  <a:cubicBezTo>
                    <a:pt x="164973" y="56960"/>
                    <a:pt x="164306" y="55626"/>
                    <a:pt x="160211" y="54864"/>
                  </a:cubicBezTo>
                  <a:lnTo>
                    <a:pt x="160211" y="52102"/>
                  </a:lnTo>
                  <a:cubicBezTo>
                    <a:pt x="160211" y="51435"/>
                    <a:pt x="159544" y="52102"/>
                    <a:pt x="157448" y="52102"/>
                  </a:cubicBezTo>
                  <a:cubicBezTo>
                    <a:pt x="157448" y="52769"/>
                    <a:pt x="156781" y="52769"/>
                    <a:pt x="156781" y="53435"/>
                  </a:cubicBezTo>
                  <a:lnTo>
                    <a:pt x="156781" y="59627"/>
                  </a:lnTo>
                  <a:cubicBezTo>
                    <a:pt x="156115" y="60293"/>
                    <a:pt x="154686" y="60960"/>
                    <a:pt x="153353" y="60960"/>
                  </a:cubicBezTo>
                  <a:cubicBezTo>
                    <a:pt x="151257" y="63056"/>
                    <a:pt x="150590" y="63722"/>
                    <a:pt x="150590" y="64389"/>
                  </a:cubicBezTo>
                  <a:cubicBezTo>
                    <a:pt x="150590" y="65723"/>
                    <a:pt x="150590" y="66485"/>
                    <a:pt x="149924" y="67151"/>
                  </a:cubicBezTo>
                  <a:cubicBezTo>
                    <a:pt x="149924" y="67818"/>
                    <a:pt x="149924" y="69247"/>
                    <a:pt x="150590" y="69914"/>
                  </a:cubicBezTo>
                  <a:cubicBezTo>
                    <a:pt x="149924" y="70580"/>
                    <a:pt x="149924" y="73343"/>
                    <a:pt x="149924" y="74676"/>
                  </a:cubicBezTo>
                  <a:cubicBezTo>
                    <a:pt x="149257" y="74676"/>
                    <a:pt x="148590" y="75343"/>
                    <a:pt x="147828" y="75343"/>
                  </a:cubicBezTo>
                  <a:lnTo>
                    <a:pt x="148685" y="76105"/>
                  </a:lnTo>
                  <a:close/>
                  <a:moveTo>
                    <a:pt x="137731" y="301085"/>
                  </a:moveTo>
                  <a:cubicBezTo>
                    <a:pt x="137731" y="301085"/>
                    <a:pt x="137731" y="300419"/>
                    <a:pt x="136398" y="300419"/>
                  </a:cubicBezTo>
                  <a:lnTo>
                    <a:pt x="135731" y="300419"/>
                  </a:lnTo>
                  <a:cubicBezTo>
                    <a:pt x="135731" y="301085"/>
                    <a:pt x="133636" y="301752"/>
                    <a:pt x="132969" y="303181"/>
                  </a:cubicBezTo>
                  <a:cubicBezTo>
                    <a:pt x="132874" y="303181"/>
                    <a:pt x="135636" y="303181"/>
                    <a:pt x="137731" y="301085"/>
                  </a:cubicBezTo>
                  <a:close/>
                  <a:moveTo>
                    <a:pt x="145923" y="85058"/>
                  </a:moveTo>
                  <a:cubicBezTo>
                    <a:pt x="143923" y="85725"/>
                    <a:pt x="143161" y="86392"/>
                    <a:pt x="143161" y="87059"/>
                  </a:cubicBezTo>
                  <a:cubicBezTo>
                    <a:pt x="143161" y="87725"/>
                    <a:pt x="143161" y="87725"/>
                    <a:pt x="143828" y="87725"/>
                  </a:cubicBezTo>
                  <a:lnTo>
                    <a:pt x="145923" y="89059"/>
                  </a:lnTo>
                  <a:cubicBezTo>
                    <a:pt x="146590" y="87725"/>
                    <a:pt x="146590" y="87725"/>
                    <a:pt x="147256" y="87725"/>
                  </a:cubicBezTo>
                  <a:lnTo>
                    <a:pt x="147256" y="87059"/>
                  </a:lnTo>
                  <a:cubicBezTo>
                    <a:pt x="147352" y="86392"/>
                    <a:pt x="147352" y="86392"/>
                    <a:pt x="145923" y="85058"/>
                  </a:cubicBezTo>
                  <a:close/>
                  <a:moveTo>
                    <a:pt x="148685" y="76105"/>
                  </a:moveTo>
                  <a:cubicBezTo>
                    <a:pt x="150019" y="76772"/>
                    <a:pt x="150781" y="76772"/>
                    <a:pt x="151448" y="76772"/>
                  </a:cubicBezTo>
                  <a:cubicBezTo>
                    <a:pt x="151448" y="76772"/>
                    <a:pt x="152114" y="74009"/>
                    <a:pt x="152114" y="73343"/>
                  </a:cubicBezTo>
                  <a:cubicBezTo>
                    <a:pt x="151448" y="73343"/>
                    <a:pt x="150781" y="74009"/>
                    <a:pt x="150019" y="74676"/>
                  </a:cubicBezTo>
                  <a:lnTo>
                    <a:pt x="150019" y="76010"/>
                  </a:lnTo>
                  <a:lnTo>
                    <a:pt x="148685" y="76010"/>
                  </a:lnTo>
                  <a:close/>
                  <a:moveTo>
                    <a:pt x="153448" y="68580"/>
                  </a:moveTo>
                  <a:lnTo>
                    <a:pt x="152114" y="67913"/>
                  </a:lnTo>
                  <a:cubicBezTo>
                    <a:pt x="152114" y="67913"/>
                    <a:pt x="151448" y="67913"/>
                    <a:pt x="151448" y="68580"/>
                  </a:cubicBezTo>
                  <a:cubicBezTo>
                    <a:pt x="151448" y="69247"/>
                    <a:pt x="152114" y="69914"/>
                    <a:pt x="152114" y="70676"/>
                  </a:cubicBezTo>
                  <a:lnTo>
                    <a:pt x="154210" y="70676"/>
                  </a:lnTo>
                  <a:lnTo>
                    <a:pt x="153448" y="68580"/>
                  </a:lnTo>
                  <a:close/>
                  <a:moveTo>
                    <a:pt x="161068" y="251746"/>
                  </a:moveTo>
                  <a:cubicBezTo>
                    <a:pt x="161068" y="251079"/>
                    <a:pt x="161735" y="249650"/>
                    <a:pt x="161735" y="249650"/>
                  </a:cubicBezTo>
                  <a:cubicBezTo>
                    <a:pt x="160401" y="247555"/>
                    <a:pt x="159639" y="247555"/>
                    <a:pt x="159639" y="247555"/>
                  </a:cubicBezTo>
                  <a:cubicBezTo>
                    <a:pt x="157544" y="249650"/>
                    <a:pt x="157544" y="249650"/>
                    <a:pt x="157544" y="251651"/>
                  </a:cubicBezTo>
                  <a:lnTo>
                    <a:pt x="161068" y="251651"/>
                  </a:lnTo>
                  <a:close/>
                  <a:moveTo>
                    <a:pt x="193262" y="190024"/>
                  </a:moveTo>
                  <a:lnTo>
                    <a:pt x="193262" y="189357"/>
                  </a:lnTo>
                  <a:cubicBezTo>
                    <a:pt x="193929" y="189357"/>
                    <a:pt x="193929" y="190024"/>
                    <a:pt x="193929" y="190024"/>
                  </a:cubicBezTo>
                  <a:cubicBezTo>
                    <a:pt x="193929" y="190024"/>
                    <a:pt x="193262" y="190691"/>
                    <a:pt x="191167" y="192119"/>
                  </a:cubicBezTo>
                  <a:cubicBezTo>
                    <a:pt x="193262" y="190691"/>
                    <a:pt x="193262" y="190024"/>
                    <a:pt x="193262" y="19002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993E080-369E-4F38-A890-7679ED758A9B}"/>
                </a:ext>
              </a:extLst>
            </p:cNvPr>
            <p:cNvSpPr/>
            <p:nvPr/>
          </p:nvSpPr>
          <p:spPr>
            <a:xfrm>
              <a:off x="5283041" y="3253740"/>
              <a:ext cx="266700" cy="314325"/>
            </a:xfrm>
            <a:custGeom>
              <a:avLst/>
              <a:gdLst>
                <a:gd name="connsiteX0" fmla="*/ 262509 w 266700"/>
                <a:gd name="connsiteY0" fmla="*/ 161449 h 314325"/>
                <a:gd name="connsiteX1" fmla="*/ 260413 w 266700"/>
                <a:gd name="connsiteY1" fmla="*/ 166211 h 314325"/>
                <a:gd name="connsiteX2" fmla="*/ 254889 w 266700"/>
                <a:gd name="connsiteY2" fmla="*/ 170974 h 314325"/>
                <a:gd name="connsiteX3" fmla="*/ 253555 w 266700"/>
                <a:gd name="connsiteY3" fmla="*/ 173736 h 314325"/>
                <a:gd name="connsiteX4" fmla="*/ 252889 w 266700"/>
                <a:gd name="connsiteY4" fmla="*/ 175070 h 314325"/>
                <a:gd name="connsiteX5" fmla="*/ 254222 w 266700"/>
                <a:gd name="connsiteY5" fmla="*/ 177832 h 314325"/>
                <a:gd name="connsiteX6" fmla="*/ 255556 w 266700"/>
                <a:gd name="connsiteY6" fmla="*/ 178499 h 314325"/>
                <a:gd name="connsiteX7" fmla="*/ 258318 w 266700"/>
                <a:gd name="connsiteY7" fmla="*/ 179165 h 314325"/>
                <a:gd name="connsiteX8" fmla="*/ 258985 w 266700"/>
                <a:gd name="connsiteY8" fmla="*/ 178499 h 314325"/>
                <a:gd name="connsiteX9" fmla="*/ 260318 w 266700"/>
                <a:gd name="connsiteY9" fmla="*/ 179165 h 314325"/>
                <a:gd name="connsiteX10" fmla="*/ 254794 w 266700"/>
                <a:gd name="connsiteY10" fmla="*/ 187357 h 314325"/>
                <a:gd name="connsiteX11" fmla="*/ 252698 w 266700"/>
                <a:gd name="connsiteY11" fmla="*/ 191453 h 314325"/>
                <a:gd name="connsiteX12" fmla="*/ 250603 w 266700"/>
                <a:gd name="connsiteY12" fmla="*/ 192119 h 314325"/>
                <a:gd name="connsiteX13" fmla="*/ 251269 w 266700"/>
                <a:gd name="connsiteY13" fmla="*/ 190024 h 314325"/>
                <a:gd name="connsiteX14" fmla="*/ 250603 w 266700"/>
                <a:gd name="connsiteY14" fmla="*/ 187262 h 314325"/>
                <a:gd name="connsiteX15" fmla="*/ 252698 w 266700"/>
                <a:gd name="connsiteY15" fmla="*/ 181737 h 314325"/>
                <a:gd name="connsiteX16" fmla="*/ 253365 w 266700"/>
                <a:gd name="connsiteY16" fmla="*/ 180404 h 314325"/>
                <a:gd name="connsiteX17" fmla="*/ 252698 w 266700"/>
                <a:gd name="connsiteY17" fmla="*/ 180404 h 314325"/>
                <a:gd name="connsiteX18" fmla="*/ 251365 w 266700"/>
                <a:gd name="connsiteY18" fmla="*/ 180404 h 314325"/>
                <a:gd name="connsiteX19" fmla="*/ 248602 w 266700"/>
                <a:gd name="connsiteY19" fmla="*/ 183833 h 314325"/>
                <a:gd name="connsiteX20" fmla="*/ 246507 w 266700"/>
                <a:gd name="connsiteY20" fmla="*/ 185928 h 314325"/>
                <a:gd name="connsiteX21" fmla="*/ 245840 w 266700"/>
                <a:gd name="connsiteY21" fmla="*/ 185928 h 314325"/>
                <a:gd name="connsiteX22" fmla="*/ 244507 w 266700"/>
                <a:gd name="connsiteY22" fmla="*/ 185261 h 314325"/>
                <a:gd name="connsiteX23" fmla="*/ 244507 w 266700"/>
                <a:gd name="connsiteY23" fmla="*/ 183928 h 314325"/>
                <a:gd name="connsiteX24" fmla="*/ 243840 w 266700"/>
                <a:gd name="connsiteY24" fmla="*/ 182594 h 314325"/>
                <a:gd name="connsiteX25" fmla="*/ 243173 w 266700"/>
                <a:gd name="connsiteY25" fmla="*/ 183928 h 314325"/>
                <a:gd name="connsiteX26" fmla="*/ 241078 w 266700"/>
                <a:gd name="connsiteY26" fmla="*/ 185261 h 314325"/>
                <a:gd name="connsiteX27" fmla="*/ 241078 w 266700"/>
                <a:gd name="connsiteY27" fmla="*/ 190024 h 314325"/>
                <a:gd name="connsiteX28" fmla="*/ 240411 w 266700"/>
                <a:gd name="connsiteY28" fmla="*/ 190691 h 314325"/>
                <a:gd name="connsiteX29" fmla="*/ 235648 w 266700"/>
                <a:gd name="connsiteY29" fmla="*/ 188595 h 314325"/>
                <a:gd name="connsiteX30" fmla="*/ 234315 w 266700"/>
                <a:gd name="connsiteY30" fmla="*/ 189262 h 314325"/>
                <a:gd name="connsiteX31" fmla="*/ 234982 w 266700"/>
                <a:gd name="connsiteY31" fmla="*/ 191357 h 314325"/>
                <a:gd name="connsiteX32" fmla="*/ 233648 w 266700"/>
                <a:gd name="connsiteY32" fmla="*/ 193453 h 314325"/>
                <a:gd name="connsiteX33" fmla="*/ 228124 w 266700"/>
                <a:gd name="connsiteY33" fmla="*/ 201644 h 314325"/>
                <a:gd name="connsiteX34" fmla="*/ 227457 w 266700"/>
                <a:gd name="connsiteY34" fmla="*/ 202311 h 314325"/>
                <a:gd name="connsiteX35" fmla="*/ 226123 w 266700"/>
                <a:gd name="connsiteY35" fmla="*/ 202311 h 314325"/>
                <a:gd name="connsiteX36" fmla="*/ 225457 w 266700"/>
                <a:gd name="connsiteY36" fmla="*/ 202978 h 314325"/>
                <a:gd name="connsiteX37" fmla="*/ 225457 w 266700"/>
                <a:gd name="connsiteY37" fmla="*/ 204311 h 314325"/>
                <a:gd name="connsiteX38" fmla="*/ 224123 w 266700"/>
                <a:gd name="connsiteY38" fmla="*/ 207740 h 314325"/>
                <a:gd name="connsiteX39" fmla="*/ 220027 w 266700"/>
                <a:gd name="connsiteY39" fmla="*/ 211169 h 314325"/>
                <a:gd name="connsiteX40" fmla="*/ 216598 w 266700"/>
                <a:gd name="connsiteY40" fmla="*/ 212503 h 314325"/>
                <a:gd name="connsiteX41" fmla="*/ 215265 w 266700"/>
                <a:gd name="connsiteY41" fmla="*/ 213836 h 314325"/>
                <a:gd name="connsiteX42" fmla="*/ 213931 w 266700"/>
                <a:gd name="connsiteY42" fmla="*/ 214503 h 314325"/>
                <a:gd name="connsiteX43" fmla="*/ 215265 w 266700"/>
                <a:gd name="connsiteY43" fmla="*/ 215170 h 314325"/>
                <a:gd name="connsiteX44" fmla="*/ 215932 w 266700"/>
                <a:gd name="connsiteY44" fmla="*/ 215837 h 314325"/>
                <a:gd name="connsiteX45" fmla="*/ 217265 w 266700"/>
                <a:gd name="connsiteY45" fmla="*/ 217170 h 314325"/>
                <a:gd name="connsiteX46" fmla="*/ 214503 w 266700"/>
                <a:gd name="connsiteY46" fmla="*/ 220599 h 314325"/>
                <a:gd name="connsiteX47" fmla="*/ 211741 w 266700"/>
                <a:gd name="connsiteY47" fmla="*/ 221933 h 314325"/>
                <a:gd name="connsiteX48" fmla="*/ 206978 w 266700"/>
                <a:gd name="connsiteY48" fmla="*/ 224695 h 314325"/>
                <a:gd name="connsiteX49" fmla="*/ 204883 w 266700"/>
                <a:gd name="connsiteY49" fmla="*/ 230219 h 314325"/>
                <a:gd name="connsiteX50" fmla="*/ 203549 w 266700"/>
                <a:gd name="connsiteY50" fmla="*/ 234982 h 314325"/>
                <a:gd name="connsiteX51" fmla="*/ 204216 w 266700"/>
                <a:gd name="connsiteY51" fmla="*/ 236315 h 314325"/>
                <a:gd name="connsiteX52" fmla="*/ 204883 w 266700"/>
                <a:gd name="connsiteY52" fmla="*/ 236982 h 314325"/>
                <a:gd name="connsiteX53" fmla="*/ 204216 w 266700"/>
                <a:gd name="connsiteY53" fmla="*/ 237649 h 314325"/>
                <a:gd name="connsiteX54" fmla="*/ 203549 w 266700"/>
                <a:gd name="connsiteY54" fmla="*/ 238982 h 314325"/>
                <a:gd name="connsiteX55" fmla="*/ 204216 w 266700"/>
                <a:gd name="connsiteY55" fmla="*/ 240316 h 314325"/>
                <a:gd name="connsiteX56" fmla="*/ 204883 w 266700"/>
                <a:gd name="connsiteY56" fmla="*/ 240983 h 314325"/>
                <a:gd name="connsiteX57" fmla="*/ 205550 w 266700"/>
                <a:gd name="connsiteY57" fmla="*/ 240316 h 314325"/>
                <a:gd name="connsiteX58" fmla="*/ 208312 w 266700"/>
                <a:gd name="connsiteY58" fmla="*/ 236887 h 314325"/>
                <a:gd name="connsiteX59" fmla="*/ 208312 w 266700"/>
                <a:gd name="connsiteY59" fmla="*/ 236220 h 314325"/>
                <a:gd name="connsiteX60" fmla="*/ 210407 w 266700"/>
                <a:gd name="connsiteY60" fmla="*/ 234125 h 314325"/>
                <a:gd name="connsiteX61" fmla="*/ 214503 w 266700"/>
                <a:gd name="connsiteY61" fmla="*/ 231362 h 314325"/>
                <a:gd name="connsiteX62" fmla="*/ 215836 w 266700"/>
                <a:gd name="connsiteY62" fmla="*/ 228600 h 314325"/>
                <a:gd name="connsiteX63" fmla="*/ 217170 w 266700"/>
                <a:gd name="connsiteY63" fmla="*/ 229267 h 314325"/>
                <a:gd name="connsiteX64" fmla="*/ 214408 w 266700"/>
                <a:gd name="connsiteY64" fmla="*/ 233363 h 314325"/>
                <a:gd name="connsiteX65" fmla="*/ 213741 w 266700"/>
                <a:gd name="connsiteY65" fmla="*/ 234029 h 314325"/>
                <a:gd name="connsiteX66" fmla="*/ 213741 w 266700"/>
                <a:gd name="connsiteY66" fmla="*/ 234696 h 314325"/>
                <a:gd name="connsiteX67" fmla="*/ 209645 w 266700"/>
                <a:gd name="connsiteY67" fmla="*/ 240221 h 314325"/>
                <a:gd name="connsiteX68" fmla="*/ 205550 w 266700"/>
                <a:gd name="connsiteY68" fmla="*/ 244983 h 314325"/>
                <a:gd name="connsiteX69" fmla="*/ 199358 w 266700"/>
                <a:gd name="connsiteY69" fmla="*/ 250508 h 314325"/>
                <a:gd name="connsiteX70" fmla="*/ 197263 w 266700"/>
                <a:gd name="connsiteY70" fmla="*/ 251841 h 314325"/>
                <a:gd name="connsiteX71" fmla="*/ 196596 w 266700"/>
                <a:gd name="connsiteY71" fmla="*/ 251841 h 314325"/>
                <a:gd name="connsiteX72" fmla="*/ 193834 w 266700"/>
                <a:gd name="connsiteY72" fmla="*/ 249079 h 314325"/>
                <a:gd name="connsiteX73" fmla="*/ 193167 w 266700"/>
                <a:gd name="connsiteY73" fmla="*/ 248412 h 314325"/>
                <a:gd name="connsiteX74" fmla="*/ 193167 w 266700"/>
                <a:gd name="connsiteY74" fmla="*/ 247745 h 314325"/>
                <a:gd name="connsiteX75" fmla="*/ 193834 w 266700"/>
                <a:gd name="connsiteY75" fmla="*/ 247079 h 314325"/>
                <a:gd name="connsiteX76" fmla="*/ 195167 w 266700"/>
                <a:gd name="connsiteY76" fmla="*/ 245745 h 314325"/>
                <a:gd name="connsiteX77" fmla="*/ 195834 w 266700"/>
                <a:gd name="connsiteY77" fmla="*/ 245078 h 314325"/>
                <a:gd name="connsiteX78" fmla="*/ 195167 w 266700"/>
                <a:gd name="connsiteY78" fmla="*/ 244412 h 314325"/>
                <a:gd name="connsiteX79" fmla="*/ 193834 w 266700"/>
                <a:gd name="connsiteY79" fmla="*/ 243078 h 314325"/>
                <a:gd name="connsiteX80" fmla="*/ 195167 w 266700"/>
                <a:gd name="connsiteY80" fmla="*/ 242411 h 314325"/>
                <a:gd name="connsiteX81" fmla="*/ 195167 w 266700"/>
                <a:gd name="connsiteY81" fmla="*/ 241745 h 314325"/>
                <a:gd name="connsiteX82" fmla="*/ 195834 w 266700"/>
                <a:gd name="connsiteY82" fmla="*/ 241078 h 314325"/>
                <a:gd name="connsiteX83" fmla="*/ 195834 w 266700"/>
                <a:gd name="connsiteY83" fmla="*/ 240983 h 314325"/>
                <a:gd name="connsiteX84" fmla="*/ 194500 w 266700"/>
                <a:gd name="connsiteY84" fmla="*/ 240316 h 314325"/>
                <a:gd name="connsiteX85" fmla="*/ 193834 w 266700"/>
                <a:gd name="connsiteY85" fmla="*/ 240316 h 314325"/>
                <a:gd name="connsiteX86" fmla="*/ 188309 w 266700"/>
                <a:gd name="connsiteY86" fmla="*/ 245840 h 314325"/>
                <a:gd name="connsiteX87" fmla="*/ 187642 w 266700"/>
                <a:gd name="connsiteY87" fmla="*/ 246507 h 314325"/>
                <a:gd name="connsiteX88" fmla="*/ 188309 w 266700"/>
                <a:gd name="connsiteY88" fmla="*/ 247174 h 314325"/>
                <a:gd name="connsiteX89" fmla="*/ 189643 w 266700"/>
                <a:gd name="connsiteY89" fmla="*/ 247174 h 314325"/>
                <a:gd name="connsiteX90" fmla="*/ 190309 w 266700"/>
                <a:gd name="connsiteY90" fmla="*/ 247841 h 314325"/>
                <a:gd name="connsiteX91" fmla="*/ 188976 w 266700"/>
                <a:gd name="connsiteY91" fmla="*/ 248507 h 314325"/>
                <a:gd name="connsiteX92" fmla="*/ 186214 w 266700"/>
                <a:gd name="connsiteY92" fmla="*/ 252603 h 314325"/>
                <a:gd name="connsiteX93" fmla="*/ 186214 w 266700"/>
                <a:gd name="connsiteY93" fmla="*/ 253937 h 314325"/>
                <a:gd name="connsiteX94" fmla="*/ 186880 w 266700"/>
                <a:gd name="connsiteY94" fmla="*/ 256699 h 314325"/>
                <a:gd name="connsiteX95" fmla="*/ 186880 w 266700"/>
                <a:gd name="connsiteY95" fmla="*/ 257366 h 314325"/>
                <a:gd name="connsiteX96" fmla="*/ 185547 w 266700"/>
                <a:gd name="connsiteY96" fmla="*/ 258699 h 314325"/>
                <a:gd name="connsiteX97" fmla="*/ 184880 w 266700"/>
                <a:gd name="connsiteY97" fmla="*/ 259366 h 314325"/>
                <a:gd name="connsiteX98" fmla="*/ 185547 w 266700"/>
                <a:gd name="connsiteY98" fmla="*/ 259366 h 314325"/>
                <a:gd name="connsiteX99" fmla="*/ 186214 w 266700"/>
                <a:gd name="connsiteY99" fmla="*/ 260699 h 314325"/>
                <a:gd name="connsiteX100" fmla="*/ 186880 w 266700"/>
                <a:gd name="connsiteY100" fmla="*/ 262033 h 314325"/>
                <a:gd name="connsiteX101" fmla="*/ 184785 w 266700"/>
                <a:gd name="connsiteY101" fmla="*/ 264128 h 314325"/>
                <a:gd name="connsiteX102" fmla="*/ 181356 w 266700"/>
                <a:gd name="connsiteY102" fmla="*/ 264795 h 314325"/>
                <a:gd name="connsiteX103" fmla="*/ 180023 w 266700"/>
                <a:gd name="connsiteY103" fmla="*/ 266129 h 314325"/>
                <a:gd name="connsiteX104" fmla="*/ 180689 w 266700"/>
                <a:gd name="connsiteY104" fmla="*/ 267462 h 314325"/>
                <a:gd name="connsiteX105" fmla="*/ 181356 w 266700"/>
                <a:gd name="connsiteY105" fmla="*/ 268796 h 314325"/>
                <a:gd name="connsiteX106" fmla="*/ 181356 w 266700"/>
                <a:gd name="connsiteY106" fmla="*/ 269462 h 314325"/>
                <a:gd name="connsiteX107" fmla="*/ 180023 w 266700"/>
                <a:gd name="connsiteY107" fmla="*/ 269462 h 314325"/>
                <a:gd name="connsiteX108" fmla="*/ 176594 w 266700"/>
                <a:gd name="connsiteY108" fmla="*/ 268129 h 314325"/>
                <a:gd name="connsiteX109" fmla="*/ 175260 w 266700"/>
                <a:gd name="connsiteY109" fmla="*/ 268129 h 314325"/>
                <a:gd name="connsiteX110" fmla="*/ 173927 w 266700"/>
                <a:gd name="connsiteY110" fmla="*/ 266795 h 314325"/>
                <a:gd name="connsiteX111" fmla="*/ 176022 w 266700"/>
                <a:gd name="connsiteY111" fmla="*/ 264700 h 314325"/>
                <a:gd name="connsiteX112" fmla="*/ 175355 w 266700"/>
                <a:gd name="connsiteY112" fmla="*/ 264033 h 314325"/>
                <a:gd name="connsiteX113" fmla="*/ 176022 w 266700"/>
                <a:gd name="connsiteY113" fmla="*/ 263366 h 314325"/>
                <a:gd name="connsiteX114" fmla="*/ 173260 w 266700"/>
                <a:gd name="connsiteY114" fmla="*/ 264033 h 314325"/>
                <a:gd name="connsiteX115" fmla="*/ 166402 w 266700"/>
                <a:gd name="connsiteY115" fmla="*/ 264033 h 314325"/>
                <a:gd name="connsiteX116" fmla="*/ 165735 w 266700"/>
                <a:gd name="connsiteY116" fmla="*/ 266129 h 314325"/>
                <a:gd name="connsiteX117" fmla="*/ 170498 w 266700"/>
                <a:gd name="connsiteY117" fmla="*/ 270224 h 314325"/>
                <a:gd name="connsiteX118" fmla="*/ 171164 w 266700"/>
                <a:gd name="connsiteY118" fmla="*/ 270891 h 314325"/>
                <a:gd name="connsiteX119" fmla="*/ 171164 w 266700"/>
                <a:gd name="connsiteY119" fmla="*/ 271558 h 314325"/>
                <a:gd name="connsiteX120" fmla="*/ 171831 w 266700"/>
                <a:gd name="connsiteY120" fmla="*/ 272891 h 314325"/>
                <a:gd name="connsiteX121" fmla="*/ 171831 w 266700"/>
                <a:gd name="connsiteY121" fmla="*/ 274987 h 314325"/>
                <a:gd name="connsiteX122" fmla="*/ 165640 w 266700"/>
                <a:gd name="connsiteY122" fmla="*/ 282512 h 314325"/>
                <a:gd name="connsiteX123" fmla="*/ 162877 w 266700"/>
                <a:gd name="connsiteY123" fmla="*/ 284607 h 314325"/>
                <a:gd name="connsiteX124" fmla="*/ 158782 w 266700"/>
                <a:gd name="connsiteY124" fmla="*/ 289370 h 314325"/>
                <a:gd name="connsiteX125" fmla="*/ 152590 w 266700"/>
                <a:gd name="connsiteY125" fmla="*/ 294132 h 314325"/>
                <a:gd name="connsiteX126" fmla="*/ 147828 w 266700"/>
                <a:gd name="connsiteY126" fmla="*/ 297561 h 314325"/>
                <a:gd name="connsiteX127" fmla="*/ 140970 w 266700"/>
                <a:gd name="connsiteY127" fmla="*/ 302323 h 314325"/>
                <a:gd name="connsiteX128" fmla="*/ 136874 w 266700"/>
                <a:gd name="connsiteY128" fmla="*/ 305086 h 314325"/>
                <a:gd name="connsiteX129" fmla="*/ 131350 w 266700"/>
                <a:gd name="connsiteY129" fmla="*/ 307848 h 314325"/>
                <a:gd name="connsiteX130" fmla="*/ 116967 w 266700"/>
                <a:gd name="connsiteY130" fmla="*/ 314706 h 314325"/>
                <a:gd name="connsiteX131" fmla="*/ 113538 w 266700"/>
                <a:gd name="connsiteY131" fmla="*/ 318135 h 314325"/>
                <a:gd name="connsiteX132" fmla="*/ 108775 w 266700"/>
                <a:gd name="connsiteY132" fmla="*/ 318135 h 314325"/>
                <a:gd name="connsiteX133" fmla="*/ 106680 w 266700"/>
                <a:gd name="connsiteY133" fmla="*/ 318802 h 314325"/>
                <a:gd name="connsiteX134" fmla="*/ 101917 w 266700"/>
                <a:gd name="connsiteY134" fmla="*/ 320897 h 314325"/>
                <a:gd name="connsiteX135" fmla="*/ 97155 w 266700"/>
                <a:gd name="connsiteY135" fmla="*/ 321564 h 314325"/>
                <a:gd name="connsiteX136" fmla="*/ 93726 w 266700"/>
                <a:gd name="connsiteY136" fmla="*/ 322898 h 314325"/>
                <a:gd name="connsiteX137" fmla="*/ 92392 w 266700"/>
                <a:gd name="connsiteY137" fmla="*/ 323564 h 314325"/>
                <a:gd name="connsiteX138" fmla="*/ 91726 w 266700"/>
                <a:gd name="connsiteY138" fmla="*/ 322898 h 314325"/>
                <a:gd name="connsiteX139" fmla="*/ 88297 w 266700"/>
                <a:gd name="connsiteY139" fmla="*/ 322231 h 314325"/>
                <a:gd name="connsiteX140" fmla="*/ 84868 w 266700"/>
                <a:gd name="connsiteY140" fmla="*/ 322898 h 314325"/>
                <a:gd name="connsiteX141" fmla="*/ 81439 w 266700"/>
                <a:gd name="connsiteY141" fmla="*/ 323564 h 314325"/>
                <a:gd name="connsiteX142" fmla="*/ 73247 w 266700"/>
                <a:gd name="connsiteY142" fmla="*/ 323564 h 314325"/>
                <a:gd name="connsiteX143" fmla="*/ 69818 w 266700"/>
                <a:gd name="connsiteY143" fmla="*/ 322898 h 314325"/>
                <a:gd name="connsiteX144" fmla="*/ 58865 w 266700"/>
                <a:gd name="connsiteY144" fmla="*/ 322898 h 314325"/>
                <a:gd name="connsiteX145" fmla="*/ 56102 w 266700"/>
                <a:gd name="connsiteY145" fmla="*/ 322231 h 314325"/>
                <a:gd name="connsiteX146" fmla="*/ 54007 w 266700"/>
                <a:gd name="connsiteY146" fmla="*/ 321564 h 314325"/>
                <a:gd name="connsiteX147" fmla="*/ 43720 w 266700"/>
                <a:gd name="connsiteY147" fmla="*/ 319469 h 314325"/>
                <a:gd name="connsiteX148" fmla="*/ 42386 w 266700"/>
                <a:gd name="connsiteY148" fmla="*/ 318802 h 314325"/>
                <a:gd name="connsiteX149" fmla="*/ 38290 w 266700"/>
                <a:gd name="connsiteY149" fmla="*/ 316706 h 314325"/>
                <a:gd name="connsiteX150" fmla="*/ 35528 w 266700"/>
                <a:gd name="connsiteY150" fmla="*/ 314611 h 314325"/>
                <a:gd name="connsiteX151" fmla="*/ 31432 w 266700"/>
                <a:gd name="connsiteY151" fmla="*/ 311848 h 314325"/>
                <a:gd name="connsiteX152" fmla="*/ 26670 w 266700"/>
                <a:gd name="connsiteY152" fmla="*/ 311848 h 314325"/>
                <a:gd name="connsiteX153" fmla="*/ 26003 w 266700"/>
                <a:gd name="connsiteY153" fmla="*/ 310515 h 314325"/>
                <a:gd name="connsiteX154" fmla="*/ 27337 w 266700"/>
                <a:gd name="connsiteY154" fmla="*/ 309182 h 314325"/>
                <a:gd name="connsiteX155" fmla="*/ 27337 w 266700"/>
                <a:gd name="connsiteY155" fmla="*/ 308515 h 314325"/>
                <a:gd name="connsiteX156" fmla="*/ 26670 w 266700"/>
                <a:gd name="connsiteY156" fmla="*/ 307848 h 314325"/>
                <a:gd name="connsiteX157" fmla="*/ 25336 w 266700"/>
                <a:gd name="connsiteY157" fmla="*/ 307181 h 314325"/>
                <a:gd name="connsiteX158" fmla="*/ 21241 w 266700"/>
                <a:gd name="connsiteY158" fmla="*/ 305848 h 314325"/>
                <a:gd name="connsiteX159" fmla="*/ 20574 w 266700"/>
                <a:gd name="connsiteY159" fmla="*/ 305848 h 314325"/>
                <a:gd name="connsiteX160" fmla="*/ 19907 w 266700"/>
                <a:gd name="connsiteY160" fmla="*/ 305181 h 314325"/>
                <a:gd name="connsiteX161" fmla="*/ 20574 w 266700"/>
                <a:gd name="connsiteY161" fmla="*/ 303848 h 314325"/>
                <a:gd name="connsiteX162" fmla="*/ 20574 w 266700"/>
                <a:gd name="connsiteY162" fmla="*/ 302514 h 314325"/>
                <a:gd name="connsiteX163" fmla="*/ 17812 w 266700"/>
                <a:gd name="connsiteY163" fmla="*/ 302514 h 314325"/>
                <a:gd name="connsiteX164" fmla="*/ 17145 w 266700"/>
                <a:gd name="connsiteY164" fmla="*/ 300419 h 314325"/>
                <a:gd name="connsiteX165" fmla="*/ 17812 w 266700"/>
                <a:gd name="connsiteY165" fmla="*/ 300419 h 314325"/>
                <a:gd name="connsiteX166" fmla="*/ 19145 w 266700"/>
                <a:gd name="connsiteY166" fmla="*/ 297656 h 314325"/>
                <a:gd name="connsiteX167" fmla="*/ 17050 w 266700"/>
                <a:gd name="connsiteY167" fmla="*/ 294227 h 314325"/>
                <a:gd name="connsiteX168" fmla="*/ 5429 w 266700"/>
                <a:gd name="connsiteY168" fmla="*/ 277749 h 314325"/>
                <a:gd name="connsiteX169" fmla="*/ 4096 w 266700"/>
                <a:gd name="connsiteY169" fmla="*/ 273653 h 314325"/>
                <a:gd name="connsiteX170" fmla="*/ 2000 w 266700"/>
                <a:gd name="connsiteY170" fmla="*/ 266795 h 314325"/>
                <a:gd name="connsiteX171" fmla="*/ 2000 w 266700"/>
                <a:gd name="connsiteY171" fmla="*/ 259271 h 314325"/>
                <a:gd name="connsiteX172" fmla="*/ 1333 w 266700"/>
                <a:gd name="connsiteY172" fmla="*/ 255842 h 314325"/>
                <a:gd name="connsiteX173" fmla="*/ 2000 w 266700"/>
                <a:gd name="connsiteY173" fmla="*/ 253746 h 314325"/>
                <a:gd name="connsiteX174" fmla="*/ 2000 w 266700"/>
                <a:gd name="connsiteY174" fmla="*/ 249650 h 314325"/>
                <a:gd name="connsiteX175" fmla="*/ 2667 w 266700"/>
                <a:gd name="connsiteY175" fmla="*/ 247555 h 314325"/>
                <a:gd name="connsiteX176" fmla="*/ 2000 w 266700"/>
                <a:gd name="connsiteY176" fmla="*/ 245459 h 314325"/>
                <a:gd name="connsiteX177" fmla="*/ 1333 w 266700"/>
                <a:gd name="connsiteY177" fmla="*/ 241364 h 314325"/>
                <a:gd name="connsiteX178" fmla="*/ 1333 w 266700"/>
                <a:gd name="connsiteY178" fmla="*/ 240030 h 314325"/>
                <a:gd name="connsiteX179" fmla="*/ 2000 w 266700"/>
                <a:gd name="connsiteY179" fmla="*/ 237268 h 314325"/>
                <a:gd name="connsiteX180" fmla="*/ 667 w 266700"/>
                <a:gd name="connsiteY180" fmla="*/ 235172 h 314325"/>
                <a:gd name="connsiteX181" fmla="*/ 0 w 266700"/>
                <a:gd name="connsiteY181" fmla="*/ 233077 h 314325"/>
                <a:gd name="connsiteX182" fmla="*/ 1333 w 266700"/>
                <a:gd name="connsiteY182" fmla="*/ 229648 h 314325"/>
                <a:gd name="connsiteX183" fmla="*/ 667 w 266700"/>
                <a:gd name="connsiteY183" fmla="*/ 226219 h 314325"/>
                <a:gd name="connsiteX184" fmla="*/ 1333 w 266700"/>
                <a:gd name="connsiteY184" fmla="*/ 217265 h 314325"/>
                <a:gd name="connsiteX185" fmla="*/ 667 w 266700"/>
                <a:gd name="connsiteY185" fmla="*/ 215170 h 314325"/>
                <a:gd name="connsiteX186" fmla="*/ 2000 w 266700"/>
                <a:gd name="connsiteY186" fmla="*/ 211741 h 314325"/>
                <a:gd name="connsiteX187" fmla="*/ 2667 w 266700"/>
                <a:gd name="connsiteY187" fmla="*/ 210407 h 314325"/>
                <a:gd name="connsiteX188" fmla="*/ 4000 w 266700"/>
                <a:gd name="connsiteY188" fmla="*/ 212503 h 314325"/>
                <a:gd name="connsiteX189" fmla="*/ 4000 w 266700"/>
                <a:gd name="connsiteY189" fmla="*/ 213836 h 314325"/>
                <a:gd name="connsiteX190" fmla="*/ 4667 w 266700"/>
                <a:gd name="connsiteY190" fmla="*/ 213170 h 314325"/>
                <a:gd name="connsiteX191" fmla="*/ 4667 w 266700"/>
                <a:gd name="connsiteY191" fmla="*/ 206978 h 314325"/>
                <a:gd name="connsiteX192" fmla="*/ 5334 w 266700"/>
                <a:gd name="connsiteY192" fmla="*/ 205645 h 314325"/>
                <a:gd name="connsiteX193" fmla="*/ 6667 w 266700"/>
                <a:gd name="connsiteY193" fmla="*/ 204311 h 314325"/>
                <a:gd name="connsiteX194" fmla="*/ 6001 w 266700"/>
                <a:gd name="connsiteY194" fmla="*/ 204311 h 314325"/>
                <a:gd name="connsiteX195" fmla="*/ 4667 w 266700"/>
                <a:gd name="connsiteY195" fmla="*/ 198787 h 314325"/>
                <a:gd name="connsiteX196" fmla="*/ 4667 w 266700"/>
                <a:gd name="connsiteY196" fmla="*/ 197453 h 314325"/>
                <a:gd name="connsiteX197" fmla="*/ 4000 w 266700"/>
                <a:gd name="connsiteY197" fmla="*/ 196120 h 314325"/>
                <a:gd name="connsiteX198" fmla="*/ 4667 w 266700"/>
                <a:gd name="connsiteY198" fmla="*/ 192024 h 314325"/>
                <a:gd name="connsiteX199" fmla="*/ 4667 w 266700"/>
                <a:gd name="connsiteY199" fmla="*/ 189929 h 314325"/>
                <a:gd name="connsiteX200" fmla="*/ 5334 w 266700"/>
                <a:gd name="connsiteY200" fmla="*/ 187166 h 314325"/>
                <a:gd name="connsiteX201" fmla="*/ 6667 w 266700"/>
                <a:gd name="connsiteY201" fmla="*/ 186500 h 314325"/>
                <a:gd name="connsiteX202" fmla="*/ 8001 w 266700"/>
                <a:gd name="connsiteY202" fmla="*/ 185166 h 314325"/>
                <a:gd name="connsiteX203" fmla="*/ 8668 w 266700"/>
                <a:gd name="connsiteY203" fmla="*/ 184499 h 314325"/>
                <a:gd name="connsiteX204" fmla="*/ 8668 w 266700"/>
                <a:gd name="connsiteY204" fmla="*/ 183833 h 314325"/>
                <a:gd name="connsiteX205" fmla="*/ 8096 w 266700"/>
                <a:gd name="connsiteY205" fmla="*/ 183356 h 314325"/>
                <a:gd name="connsiteX206" fmla="*/ 6763 w 266700"/>
                <a:gd name="connsiteY206" fmla="*/ 184023 h 314325"/>
                <a:gd name="connsiteX207" fmla="*/ 6096 w 266700"/>
                <a:gd name="connsiteY207" fmla="*/ 184023 h 314325"/>
                <a:gd name="connsiteX208" fmla="*/ 6763 w 266700"/>
                <a:gd name="connsiteY208" fmla="*/ 181928 h 314325"/>
                <a:gd name="connsiteX209" fmla="*/ 7429 w 266700"/>
                <a:gd name="connsiteY209" fmla="*/ 179832 h 314325"/>
                <a:gd name="connsiteX210" fmla="*/ 6096 w 266700"/>
                <a:gd name="connsiteY210" fmla="*/ 176403 h 314325"/>
                <a:gd name="connsiteX211" fmla="*/ 6763 w 266700"/>
                <a:gd name="connsiteY211" fmla="*/ 175070 h 314325"/>
                <a:gd name="connsiteX212" fmla="*/ 6096 w 266700"/>
                <a:gd name="connsiteY212" fmla="*/ 172974 h 314325"/>
                <a:gd name="connsiteX213" fmla="*/ 6096 w 266700"/>
                <a:gd name="connsiteY213" fmla="*/ 172403 h 314325"/>
                <a:gd name="connsiteX214" fmla="*/ 8858 w 266700"/>
                <a:gd name="connsiteY214" fmla="*/ 165545 h 314325"/>
                <a:gd name="connsiteX215" fmla="*/ 8192 w 266700"/>
                <a:gd name="connsiteY215" fmla="*/ 162782 h 314325"/>
                <a:gd name="connsiteX216" fmla="*/ 9525 w 266700"/>
                <a:gd name="connsiteY216" fmla="*/ 157258 h 314325"/>
                <a:gd name="connsiteX217" fmla="*/ 9525 w 266700"/>
                <a:gd name="connsiteY217" fmla="*/ 155924 h 314325"/>
                <a:gd name="connsiteX218" fmla="*/ 11621 w 266700"/>
                <a:gd name="connsiteY218" fmla="*/ 153829 h 314325"/>
                <a:gd name="connsiteX219" fmla="*/ 12287 w 266700"/>
                <a:gd name="connsiteY219" fmla="*/ 152495 h 314325"/>
                <a:gd name="connsiteX220" fmla="*/ 11621 w 266700"/>
                <a:gd name="connsiteY220" fmla="*/ 150400 h 314325"/>
                <a:gd name="connsiteX221" fmla="*/ 12287 w 266700"/>
                <a:gd name="connsiteY221" fmla="*/ 146971 h 314325"/>
                <a:gd name="connsiteX222" fmla="*/ 12954 w 266700"/>
                <a:gd name="connsiteY222" fmla="*/ 145637 h 314325"/>
                <a:gd name="connsiteX223" fmla="*/ 14288 w 266700"/>
                <a:gd name="connsiteY223" fmla="*/ 142875 h 314325"/>
                <a:gd name="connsiteX224" fmla="*/ 14288 w 266700"/>
                <a:gd name="connsiteY224" fmla="*/ 138779 h 314325"/>
                <a:gd name="connsiteX225" fmla="*/ 14954 w 266700"/>
                <a:gd name="connsiteY225" fmla="*/ 131921 h 314325"/>
                <a:gd name="connsiteX226" fmla="*/ 19050 w 266700"/>
                <a:gd name="connsiteY226" fmla="*/ 125063 h 314325"/>
                <a:gd name="connsiteX227" fmla="*/ 20383 w 266700"/>
                <a:gd name="connsiteY227" fmla="*/ 121634 h 314325"/>
                <a:gd name="connsiteX228" fmla="*/ 19717 w 266700"/>
                <a:gd name="connsiteY228" fmla="*/ 118872 h 314325"/>
                <a:gd name="connsiteX229" fmla="*/ 21050 w 266700"/>
                <a:gd name="connsiteY229" fmla="*/ 115443 h 314325"/>
                <a:gd name="connsiteX230" fmla="*/ 26575 w 266700"/>
                <a:gd name="connsiteY230" fmla="*/ 103061 h 314325"/>
                <a:gd name="connsiteX231" fmla="*/ 27908 w 266700"/>
                <a:gd name="connsiteY231" fmla="*/ 97536 h 314325"/>
                <a:gd name="connsiteX232" fmla="*/ 30004 w 266700"/>
                <a:gd name="connsiteY232" fmla="*/ 92012 h 314325"/>
                <a:gd name="connsiteX233" fmla="*/ 32099 w 266700"/>
                <a:gd name="connsiteY233" fmla="*/ 90678 h 314325"/>
                <a:gd name="connsiteX234" fmla="*/ 34861 w 266700"/>
                <a:gd name="connsiteY234" fmla="*/ 83153 h 314325"/>
                <a:gd name="connsiteX235" fmla="*/ 39624 w 266700"/>
                <a:gd name="connsiteY235" fmla="*/ 73533 h 314325"/>
                <a:gd name="connsiteX236" fmla="*/ 40957 w 266700"/>
                <a:gd name="connsiteY236" fmla="*/ 68009 h 314325"/>
                <a:gd name="connsiteX237" fmla="*/ 42291 w 266700"/>
                <a:gd name="connsiteY237" fmla="*/ 65913 h 314325"/>
                <a:gd name="connsiteX238" fmla="*/ 47053 w 266700"/>
                <a:gd name="connsiteY238" fmla="*/ 59722 h 314325"/>
                <a:gd name="connsiteX239" fmla="*/ 52578 w 266700"/>
                <a:gd name="connsiteY239" fmla="*/ 50102 h 314325"/>
                <a:gd name="connsiteX240" fmla="*/ 52578 w 266700"/>
                <a:gd name="connsiteY240" fmla="*/ 49435 h 314325"/>
                <a:gd name="connsiteX241" fmla="*/ 56007 w 266700"/>
                <a:gd name="connsiteY241" fmla="*/ 43910 h 314325"/>
                <a:gd name="connsiteX242" fmla="*/ 56007 w 266700"/>
                <a:gd name="connsiteY242" fmla="*/ 43244 h 314325"/>
                <a:gd name="connsiteX243" fmla="*/ 63532 w 266700"/>
                <a:gd name="connsiteY243" fmla="*/ 30861 h 314325"/>
                <a:gd name="connsiteX244" fmla="*/ 73152 w 266700"/>
                <a:gd name="connsiteY244" fmla="*/ 20574 h 314325"/>
                <a:gd name="connsiteX245" fmla="*/ 75248 w 266700"/>
                <a:gd name="connsiteY245" fmla="*/ 17145 h 314325"/>
                <a:gd name="connsiteX246" fmla="*/ 79343 w 266700"/>
                <a:gd name="connsiteY246" fmla="*/ 14383 h 314325"/>
                <a:gd name="connsiteX247" fmla="*/ 86201 w 266700"/>
                <a:gd name="connsiteY247" fmla="*/ 9620 h 314325"/>
                <a:gd name="connsiteX248" fmla="*/ 87535 w 266700"/>
                <a:gd name="connsiteY248" fmla="*/ 8954 h 314325"/>
                <a:gd name="connsiteX249" fmla="*/ 96488 w 266700"/>
                <a:gd name="connsiteY249" fmla="*/ 3429 h 314325"/>
                <a:gd name="connsiteX250" fmla="*/ 102013 w 266700"/>
                <a:gd name="connsiteY250" fmla="*/ 1334 h 314325"/>
                <a:gd name="connsiteX251" fmla="*/ 108204 w 266700"/>
                <a:gd name="connsiteY251" fmla="*/ 0 h 314325"/>
                <a:gd name="connsiteX252" fmla="*/ 120586 w 266700"/>
                <a:gd name="connsiteY252" fmla="*/ 0 h 314325"/>
                <a:gd name="connsiteX253" fmla="*/ 125349 w 266700"/>
                <a:gd name="connsiteY253" fmla="*/ 3429 h 314325"/>
                <a:gd name="connsiteX254" fmla="*/ 126682 w 266700"/>
                <a:gd name="connsiteY254" fmla="*/ 4763 h 314325"/>
                <a:gd name="connsiteX255" fmla="*/ 132874 w 266700"/>
                <a:gd name="connsiteY255" fmla="*/ 8858 h 314325"/>
                <a:gd name="connsiteX256" fmla="*/ 135636 w 266700"/>
                <a:gd name="connsiteY256" fmla="*/ 10954 h 314325"/>
                <a:gd name="connsiteX257" fmla="*/ 137731 w 266700"/>
                <a:gd name="connsiteY257" fmla="*/ 12287 h 314325"/>
                <a:gd name="connsiteX258" fmla="*/ 139065 w 266700"/>
                <a:gd name="connsiteY258" fmla="*/ 14383 h 314325"/>
                <a:gd name="connsiteX259" fmla="*/ 143161 w 266700"/>
                <a:gd name="connsiteY259" fmla="*/ 15716 h 314325"/>
                <a:gd name="connsiteX260" fmla="*/ 144494 w 266700"/>
                <a:gd name="connsiteY260" fmla="*/ 15716 h 314325"/>
                <a:gd name="connsiteX261" fmla="*/ 148590 w 266700"/>
                <a:gd name="connsiteY261" fmla="*/ 18479 h 314325"/>
                <a:gd name="connsiteX262" fmla="*/ 149257 w 266700"/>
                <a:gd name="connsiteY262" fmla="*/ 20574 h 314325"/>
                <a:gd name="connsiteX263" fmla="*/ 148590 w 266700"/>
                <a:gd name="connsiteY263" fmla="*/ 21908 h 314325"/>
                <a:gd name="connsiteX264" fmla="*/ 143827 w 266700"/>
                <a:gd name="connsiteY264" fmla="*/ 23241 h 314325"/>
                <a:gd name="connsiteX265" fmla="*/ 143161 w 266700"/>
                <a:gd name="connsiteY265" fmla="*/ 23908 h 314325"/>
                <a:gd name="connsiteX266" fmla="*/ 142494 w 266700"/>
                <a:gd name="connsiteY266" fmla="*/ 21812 h 314325"/>
                <a:gd name="connsiteX267" fmla="*/ 142494 w 266700"/>
                <a:gd name="connsiteY267" fmla="*/ 20479 h 314325"/>
                <a:gd name="connsiteX268" fmla="*/ 140398 w 266700"/>
                <a:gd name="connsiteY268" fmla="*/ 20479 h 314325"/>
                <a:gd name="connsiteX269" fmla="*/ 137636 w 266700"/>
                <a:gd name="connsiteY269" fmla="*/ 24575 h 314325"/>
                <a:gd name="connsiteX270" fmla="*/ 138303 w 266700"/>
                <a:gd name="connsiteY270" fmla="*/ 25908 h 314325"/>
                <a:gd name="connsiteX271" fmla="*/ 138970 w 266700"/>
                <a:gd name="connsiteY271" fmla="*/ 26575 h 314325"/>
                <a:gd name="connsiteX272" fmla="*/ 140303 w 266700"/>
                <a:gd name="connsiteY272" fmla="*/ 30004 h 314325"/>
                <a:gd name="connsiteX273" fmla="*/ 141637 w 266700"/>
                <a:gd name="connsiteY273" fmla="*/ 31337 h 314325"/>
                <a:gd name="connsiteX274" fmla="*/ 142970 w 266700"/>
                <a:gd name="connsiteY274" fmla="*/ 30671 h 314325"/>
                <a:gd name="connsiteX275" fmla="*/ 144304 w 266700"/>
                <a:gd name="connsiteY275" fmla="*/ 32766 h 314325"/>
                <a:gd name="connsiteX276" fmla="*/ 145637 w 266700"/>
                <a:gd name="connsiteY276" fmla="*/ 35528 h 314325"/>
                <a:gd name="connsiteX277" fmla="*/ 144971 w 266700"/>
                <a:gd name="connsiteY277" fmla="*/ 36862 h 314325"/>
                <a:gd name="connsiteX278" fmla="*/ 146304 w 266700"/>
                <a:gd name="connsiteY278" fmla="*/ 39624 h 314325"/>
                <a:gd name="connsiteX279" fmla="*/ 147638 w 266700"/>
                <a:gd name="connsiteY279" fmla="*/ 39624 h 314325"/>
                <a:gd name="connsiteX280" fmla="*/ 147638 w 266700"/>
                <a:gd name="connsiteY280" fmla="*/ 36195 h 314325"/>
                <a:gd name="connsiteX281" fmla="*/ 146971 w 266700"/>
                <a:gd name="connsiteY281" fmla="*/ 30004 h 314325"/>
                <a:gd name="connsiteX282" fmla="*/ 150400 w 266700"/>
                <a:gd name="connsiteY282" fmla="*/ 26575 h 314325"/>
                <a:gd name="connsiteX283" fmla="*/ 153162 w 266700"/>
                <a:gd name="connsiteY283" fmla="*/ 27242 h 314325"/>
                <a:gd name="connsiteX284" fmla="*/ 152495 w 266700"/>
                <a:gd name="connsiteY284" fmla="*/ 28575 h 314325"/>
                <a:gd name="connsiteX285" fmla="*/ 155924 w 266700"/>
                <a:gd name="connsiteY285" fmla="*/ 31337 h 314325"/>
                <a:gd name="connsiteX286" fmla="*/ 156591 w 266700"/>
                <a:gd name="connsiteY286" fmla="*/ 33433 h 314325"/>
                <a:gd name="connsiteX287" fmla="*/ 156591 w 266700"/>
                <a:gd name="connsiteY287" fmla="*/ 34100 h 314325"/>
                <a:gd name="connsiteX288" fmla="*/ 154496 w 266700"/>
                <a:gd name="connsiteY288" fmla="*/ 36195 h 314325"/>
                <a:gd name="connsiteX289" fmla="*/ 155829 w 266700"/>
                <a:gd name="connsiteY289" fmla="*/ 38291 h 314325"/>
                <a:gd name="connsiteX290" fmla="*/ 157163 w 266700"/>
                <a:gd name="connsiteY290" fmla="*/ 39624 h 314325"/>
                <a:gd name="connsiteX291" fmla="*/ 156496 w 266700"/>
                <a:gd name="connsiteY291" fmla="*/ 41720 h 314325"/>
                <a:gd name="connsiteX292" fmla="*/ 155829 w 266700"/>
                <a:gd name="connsiteY292" fmla="*/ 43053 h 314325"/>
                <a:gd name="connsiteX293" fmla="*/ 153734 w 266700"/>
                <a:gd name="connsiteY293" fmla="*/ 45815 h 314325"/>
                <a:gd name="connsiteX294" fmla="*/ 154400 w 266700"/>
                <a:gd name="connsiteY294" fmla="*/ 47911 h 314325"/>
                <a:gd name="connsiteX295" fmla="*/ 155067 w 266700"/>
                <a:gd name="connsiteY295" fmla="*/ 48578 h 314325"/>
                <a:gd name="connsiteX296" fmla="*/ 157163 w 266700"/>
                <a:gd name="connsiteY296" fmla="*/ 48578 h 314325"/>
                <a:gd name="connsiteX297" fmla="*/ 157163 w 266700"/>
                <a:gd name="connsiteY297" fmla="*/ 49244 h 314325"/>
                <a:gd name="connsiteX298" fmla="*/ 155067 w 266700"/>
                <a:gd name="connsiteY298" fmla="*/ 54007 h 314325"/>
                <a:gd name="connsiteX299" fmla="*/ 154400 w 266700"/>
                <a:gd name="connsiteY299" fmla="*/ 55340 h 314325"/>
                <a:gd name="connsiteX300" fmla="*/ 155067 w 266700"/>
                <a:gd name="connsiteY300" fmla="*/ 57436 h 314325"/>
                <a:gd name="connsiteX301" fmla="*/ 156400 w 266700"/>
                <a:gd name="connsiteY301" fmla="*/ 60865 h 314325"/>
                <a:gd name="connsiteX302" fmla="*/ 156400 w 266700"/>
                <a:gd name="connsiteY302" fmla="*/ 63627 h 314325"/>
                <a:gd name="connsiteX303" fmla="*/ 155067 w 266700"/>
                <a:gd name="connsiteY303" fmla="*/ 65723 h 314325"/>
                <a:gd name="connsiteX304" fmla="*/ 152305 w 266700"/>
                <a:gd name="connsiteY304" fmla="*/ 71914 h 314325"/>
                <a:gd name="connsiteX305" fmla="*/ 152971 w 266700"/>
                <a:gd name="connsiteY305" fmla="*/ 74009 h 314325"/>
                <a:gd name="connsiteX306" fmla="*/ 147447 w 266700"/>
                <a:gd name="connsiteY306" fmla="*/ 84963 h 314325"/>
                <a:gd name="connsiteX307" fmla="*/ 148114 w 266700"/>
                <a:gd name="connsiteY307" fmla="*/ 87059 h 314325"/>
                <a:gd name="connsiteX308" fmla="*/ 146018 w 266700"/>
                <a:gd name="connsiteY308" fmla="*/ 91821 h 314325"/>
                <a:gd name="connsiteX309" fmla="*/ 143256 w 266700"/>
                <a:gd name="connsiteY309" fmla="*/ 98679 h 314325"/>
                <a:gd name="connsiteX310" fmla="*/ 143256 w 266700"/>
                <a:gd name="connsiteY310" fmla="*/ 100013 h 314325"/>
                <a:gd name="connsiteX311" fmla="*/ 137731 w 266700"/>
                <a:gd name="connsiteY311" fmla="*/ 109633 h 314325"/>
                <a:gd name="connsiteX312" fmla="*/ 134969 w 266700"/>
                <a:gd name="connsiteY312" fmla="*/ 112395 h 314325"/>
                <a:gd name="connsiteX313" fmla="*/ 131540 w 266700"/>
                <a:gd name="connsiteY313" fmla="*/ 117920 h 314325"/>
                <a:gd name="connsiteX314" fmla="*/ 131540 w 266700"/>
                <a:gd name="connsiteY314" fmla="*/ 118586 h 314325"/>
                <a:gd name="connsiteX315" fmla="*/ 130207 w 266700"/>
                <a:gd name="connsiteY315" fmla="*/ 119920 h 314325"/>
                <a:gd name="connsiteX316" fmla="*/ 128111 w 266700"/>
                <a:gd name="connsiteY316" fmla="*/ 124016 h 314325"/>
                <a:gd name="connsiteX317" fmla="*/ 128111 w 266700"/>
                <a:gd name="connsiteY317" fmla="*/ 124682 h 314325"/>
                <a:gd name="connsiteX318" fmla="*/ 126778 w 266700"/>
                <a:gd name="connsiteY318" fmla="*/ 126778 h 314325"/>
                <a:gd name="connsiteX319" fmla="*/ 122682 w 266700"/>
                <a:gd name="connsiteY319" fmla="*/ 130207 h 314325"/>
                <a:gd name="connsiteX320" fmla="*/ 115824 w 266700"/>
                <a:gd name="connsiteY320" fmla="*/ 139160 h 314325"/>
                <a:gd name="connsiteX321" fmla="*/ 105537 w 266700"/>
                <a:gd name="connsiteY321" fmla="*/ 151543 h 314325"/>
                <a:gd name="connsiteX322" fmla="*/ 100775 w 266700"/>
                <a:gd name="connsiteY322" fmla="*/ 154972 h 314325"/>
                <a:gd name="connsiteX323" fmla="*/ 98012 w 266700"/>
                <a:gd name="connsiteY323" fmla="*/ 156305 h 314325"/>
                <a:gd name="connsiteX324" fmla="*/ 93250 w 266700"/>
                <a:gd name="connsiteY324" fmla="*/ 160401 h 314325"/>
                <a:gd name="connsiteX325" fmla="*/ 85058 w 266700"/>
                <a:gd name="connsiteY325" fmla="*/ 163163 h 314325"/>
                <a:gd name="connsiteX326" fmla="*/ 82296 w 266700"/>
                <a:gd name="connsiteY326" fmla="*/ 163830 h 314325"/>
                <a:gd name="connsiteX327" fmla="*/ 70675 w 266700"/>
                <a:gd name="connsiteY327" fmla="*/ 165926 h 314325"/>
                <a:gd name="connsiteX328" fmla="*/ 63817 w 266700"/>
                <a:gd name="connsiteY328" fmla="*/ 167259 h 314325"/>
                <a:gd name="connsiteX329" fmla="*/ 60388 w 266700"/>
                <a:gd name="connsiteY329" fmla="*/ 167926 h 314325"/>
                <a:gd name="connsiteX330" fmla="*/ 55626 w 266700"/>
                <a:gd name="connsiteY330" fmla="*/ 166592 h 314325"/>
                <a:gd name="connsiteX331" fmla="*/ 52197 w 266700"/>
                <a:gd name="connsiteY331" fmla="*/ 165926 h 314325"/>
                <a:gd name="connsiteX332" fmla="*/ 50863 w 266700"/>
                <a:gd name="connsiteY332" fmla="*/ 167259 h 314325"/>
                <a:gd name="connsiteX333" fmla="*/ 47434 w 266700"/>
                <a:gd name="connsiteY333" fmla="*/ 176213 h 314325"/>
                <a:gd name="connsiteX334" fmla="*/ 48101 w 266700"/>
                <a:gd name="connsiteY334" fmla="*/ 180308 h 314325"/>
                <a:gd name="connsiteX335" fmla="*/ 48768 w 266700"/>
                <a:gd name="connsiteY335" fmla="*/ 183737 h 314325"/>
                <a:gd name="connsiteX336" fmla="*/ 48101 w 266700"/>
                <a:gd name="connsiteY336" fmla="*/ 185071 h 314325"/>
                <a:gd name="connsiteX337" fmla="*/ 46006 w 266700"/>
                <a:gd name="connsiteY337" fmla="*/ 188500 h 314325"/>
                <a:gd name="connsiteX338" fmla="*/ 46673 w 266700"/>
                <a:gd name="connsiteY338" fmla="*/ 190595 h 314325"/>
                <a:gd name="connsiteX339" fmla="*/ 44577 w 266700"/>
                <a:gd name="connsiteY339" fmla="*/ 196120 h 314325"/>
                <a:gd name="connsiteX340" fmla="*/ 44577 w 266700"/>
                <a:gd name="connsiteY340" fmla="*/ 204311 h 314325"/>
                <a:gd name="connsiteX341" fmla="*/ 45244 w 266700"/>
                <a:gd name="connsiteY341" fmla="*/ 207740 h 314325"/>
                <a:gd name="connsiteX342" fmla="*/ 44577 w 266700"/>
                <a:gd name="connsiteY342" fmla="*/ 209074 h 314325"/>
                <a:gd name="connsiteX343" fmla="*/ 43910 w 266700"/>
                <a:gd name="connsiteY343" fmla="*/ 213170 h 314325"/>
                <a:gd name="connsiteX344" fmla="*/ 43244 w 266700"/>
                <a:gd name="connsiteY344" fmla="*/ 215265 h 314325"/>
                <a:gd name="connsiteX345" fmla="*/ 43910 w 266700"/>
                <a:gd name="connsiteY345" fmla="*/ 217361 h 314325"/>
                <a:gd name="connsiteX346" fmla="*/ 44577 w 266700"/>
                <a:gd name="connsiteY346" fmla="*/ 219456 h 314325"/>
                <a:gd name="connsiteX347" fmla="*/ 43910 w 266700"/>
                <a:gd name="connsiteY347" fmla="*/ 220790 h 314325"/>
                <a:gd name="connsiteX348" fmla="*/ 43910 w 266700"/>
                <a:gd name="connsiteY348" fmla="*/ 221456 h 314325"/>
                <a:gd name="connsiteX349" fmla="*/ 44577 w 266700"/>
                <a:gd name="connsiteY349" fmla="*/ 223552 h 314325"/>
                <a:gd name="connsiteX350" fmla="*/ 43910 w 266700"/>
                <a:gd name="connsiteY350" fmla="*/ 227648 h 314325"/>
                <a:gd name="connsiteX351" fmla="*/ 43910 w 266700"/>
                <a:gd name="connsiteY351" fmla="*/ 231743 h 314325"/>
                <a:gd name="connsiteX352" fmla="*/ 45244 w 266700"/>
                <a:gd name="connsiteY352" fmla="*/ 235172 h 314325"/>
                <a:gd name="connsiteX353" fmla="*/ 45244 w 266700"/>
                <a:gd name="connsiteY353" fmla="*/ 244126 h 314325"/>
                <a:gd name="connsiteX354" fmla="*/ 43910 w 266700"/>
                <a:gd name="connsiteY354" fmla="*/ 248222 h 314325"/>
                <a:gd name="connsiteX355" fmla="*/ 45244 w 266700"/>
                <a:gd name="connsiteY355" fmla="*/ 250984 h 314325"/>
                <a:gd name="connsiteX356" fmla="*/ 45244 w 266700"/>
                <a:gd name="connsiteY356" fmla="*/ 253079 h 314325"/>
                <a:gd name="connsiteX357" fmla="*/ 45910 w 266700"/>
                <a:gd name="connsiteY357" fmla="*/ 254413 h 314325"/>
                <a:gd name="connsiteX358" fmla="*/ 49340 w 266700"/>
                <a:gd name="connsiteY358" fmla="*/ 260604 h 314325"/>
                <a:gd name="connsiteX359" fmla="*/ 49340 w 266700"/>
                <a:gd name="connsiteY359" fmla="*/ 263366 h 314325"/>
                <a:gd name="connsiteX360" fmla="*/ 48673 w 266700"/>
                <a:gd name="connsiteY360" fmla="*/ 265462 h 314325"/>
                <a:gd name="connsiteX361" fmla="*/ 51435 w 266700"/>
                <a:gd name="connsiteY361" fmla="*/ 268891 h 314325"/>
                <a:gd name="connsiteX362" fmla="*/ 54864 w 266700"/>
                <a:gd name="connsiteY362" fmla="*/ 275749 h 314325"/>
                <a:gd name="connsiteX363" fmla="*/ 55531 w 266700"/>
                <a:gd name="connsiteY363" fmla="*/ 276416 h 314325"/>
                <a:gd name="connsiteX364" fmla="*/ 58293 w 266700"/>
                <a:gd name="connsiteY364" fmla="*/ 281940 h 314325"/>
                <a:gd name="connsiteX365" fmla="*/ 58293 w 266700"/>
                <a:gd name="connsiteY365" fmla="*/ 282607 h 314325"/>
                <a:gd name="connsiteX366" fmla="*/ 61722 w 266700"/>
                <a:gd name="connsiteY366" fmla="*/ 286036 h 314325"/>
                <a:gd name="connsiteX367" fmla="*/ 64484 w 266700"/>
                <a:gd name="connsiteY367" fmla="*/ 289465 h 314325"/>
                <a:gd name="connsiteX368" fmla="*/ 73438 w 266700"/>
                <a:gd name="connsiteY368" fmla="*/ 293561 h 314325"/>
                <a:gd name="connsiteX369" fmla="*/ 76867 w 266700"/>
                <a:gd name="connsiteY369" fmla="*/ 292894 h 314325"/>
                <a:gd name="connsiteX370" fmla="*/ 80296 w 266700"/>
                <a:gd name="connsiteY370" fmla="*/ 292227 h 314325"/>
                <a:gd name="connsiteX371" fmla="*/ 96774 w 266700"/>
                <a:gd name="connsiteY371" fmla="*/ 288131 h 314325"/>
                <a:gd name="connsiteX372" fmla="*/ 108394 w 266700"/>
                <a:gd name="connsiteY372" fmla="*/ 281273 h 314325"/>
                <a:gd name="connsiteX373" fmla="*/ 115919 w 266700"/>
                <a:gd name="connsiteY373" fmla="*/ 277844 h 314325"/>
                <a:gd name="connsiteX374" fmla="*/ 128302 w 266700"/>
                <a:gd name="connsiteY374" fmla="*/ 268224 h 314325"/>
                <a:gd name="connsiteX375" fmla="*/ 137922 w 266700"/>
                <a:gd name="connsiteY375" fmla="*/ 260699 h 314325"/>
                <a:gd name="connsiteX376" fmla="*/ 144780 w 266700"/>
                <a:gd name="connsiteY376" fmla="*/ 253175 h 314325"/>
                <a:gd name="connsiteX377" fmla="*/ 154400 w 266700"/>
                <a:gd name="connsiteY377" fmla="*/ 244983 h 314325"/>
                <a:gd name="connsiteX378" fmla="*/ 159163 w 266700"/>
                <a:gd name="connsiteY378" fmla="*/ 240221 h 314325"/>
                <a:gd name="connsiteX379" fmla="*/ 161258 w 266700"/>
                <a:gd name="connsiteY379" fmla="*/ 238125 h 314325"/>
                <a:gd name="connsiteX380" fmla="*/ 161925 w 266700"/>
                <a:gd name="connsiteY380" fmla="*/ 236030 h 314325"/>
                <a:gd name="connsiteX381" fmla="*/ 169450 w 266700"/>
                <a:gd name="connsiteY381" fmla="*/ 230505 h 314325"/>
                <a:gd name="connsiteX382" fmla="*/ 175641 w 266700"/>
                <a:gd name="connsiteY382" fmla="*/ 223647 h 314325"/>
                <a:gd name="connsiteX383" fmla="*/ 184594 w 266700"/>
                <a:gd name="connsiteY383" fmla="*/ 212693 h 314325"/>
                <a:gd name="connsiteX384" fmla="*/ 197644 w 266700"/>
                <a:gd name="connsiteY384" fmla="*/ 198311 h 314325"/>
                <a:gd name="connsiteX385" fmla="*/ 198311 w 266700"/>
                <a:gd name="connsiteY385" fmla="*/ 197644 h 314325"/>
                <a:gd name="connsiteX386" fmla="*/ 204502 w 266700"/>
                <a:gd name="connsiteY386" fmla="*/ 190786 h 314325"/>
                <a:gd name="connsiteX387" fmla="*/ 212693 w 266700"/>
                <a:gd name="connsiteY387" fmla="*/ 180499 h 314325"/>
                <a:gd name="connsiteX388" fmla="*/ 215455 w 266700"/>
                <a:gd name="connsiteY388" fmla="*/ 175736 h 314325"/>
                <a:gd name="connsiteX389" fmla="*/ 225076 w 266700"/>
                <a:gd name="connsiteY389" fmla="*/ 164783 h 314325"/>
                <a:gd name="connsiteX390" fmla="*/ 224409 w 266700"/>
                <a:gd name="connsiteY390" fmla="*/ 164116 h 314325"/>
                <a:gd name="connsiteX391" fmla="*/ 232600 w 266700"/>
                <a:gd name="connsiteY391" fmla="*/ 151733 h 314325"/>
                <a:gd name="connsiteX392" fmla="*/ 233267 w 266700"/>
                <a:gd name="connsiteY392" fmla="*/ 148971 h 314325"/>
                <a:gd name="connsiteX393" fmla="*/ 238030 w 266700"/>
                <a:gd name="connsiteY393" fmla="*/ 144209 h 314325"/>
                <a:gd name="connsiteX394" fmla="*/ 240125 w 266700"/>
                <a:gd name="connsiteY394" fmla="*/ 138017 h 314325"/>
                <a:gd name="connsiteX395" fmla="*/ 240792 w 266700"/>
                <a:gd name="connsiteY395" fmla="*/ 138684 h 314325"/>
                <a:gd name="connsiteX396" fmla="*/ 240792 w 266700"/>
                <a:gd name="connsiteY396" fmla="*/ 140018 h 314325"/>
                <a:gd name="connsiteX397" fmla="*/ 241459 w 266700"/>
                <a:gd name="connsiteY397" fmla="*/ 140018 h 314325"/>
                <a:gd name="connsiteX398" fmla="*/ 242792 w 266700"/>
                <a:gd name="connsiteY398" fmla="*/ 137922 h 314325"/>
                <a:gd name="connsiteX399" fmla="*/ 242792 w 266700"/>
                <a:gd name="connsiteY399" fmla="*/ 136589 h 314325"/>
                <a:gd name="connsiteX400" fmla="*/ 244126 w 266700"/>
                <a:gd name="connsiteY400" fmla="*/ 132493 h 314325"/>
                <a:gd name="connsiteX401" fmla="*/ 244792 w 266700"/>
                <a:gd name="connsiteY401" fmla="*/ 130397 h 314325"/>
                <a:gd name="connsiteX402" fmla="*/ 246888 w 266700"/>
                <a:gd name="connsiteY402" fmla="*/ 127635 h 314325"/>
                <a:gd name="connsiteX403" fmla="*/ 248221 w 266700"/>
                <a:gd name="connsiteY403" fmla="*/ 122111 h 314325"/>
                <a:gd name="connsiteX404" fmla="*/ 250317 w 266700"/>
                <a:gd name="connsiteY404" fmla="*/ 119348 h 314325"/>
                <a:gd name="connsiteX405" fmla="*/ 251650 w 266700"/>
                <a:gd name="connsiteY405" fmla="*/ 118015 h 314325"/>
                <a:gd name="connsiteX406" fmla="*/ 251650 w 266700"/>
                <a:gd name="connsiteY406" fmla="*/ 116205 h 314325"/>
                <a:gd name="connsiteX407" fmla="*/ 255746 w 266700"/>
                <a:gd name="connsiteY407" fmla="*/ 112109 h 314325"/>
                <a:gd name="connsiteX408" fmla="*/ 255746 w 266700"/>
                <a:gd name="connsiteY408" fmla="*/ 111443 h 314325"/>
                <a:gd name="connsiteX409" fmla="*/ 256413 w 266700"/>
                <a:gd name="connsiteY409" fmla="*/ 110109 h 314325"/>
                <a:gd name="connsiteX410" fmla="*/ 256413 w 266700"/>
                <a:gd name="connsiteY410" fmla="*/ 108585 h 314325"/>
                <a:gd name="connsiteX411" fmla="*/ 258509 w 266700"/>
                <a:gd name="connsiteY411" fmla="*/ 105823 h 314325"/>
                <a:gd name="connsiteX412" fmla="*/ 261271 w 266700"/>
                <a:gd name="connsiteY412" fmla="*/ 102394 h 314325"/>
                <a:gd name="connsiteX413" fmla="*/ 261938 w 266700"/>
                <a:gd name="connsiteY413" fmla="*/ 102394 h 314325"/>
                <a:gd name="connsiteX414" fmla="*/ 262604 w 266700"/>
                <a:gd name="connsiteY414" fmla="*/ 103061 h 314325"/>
                <a:gd name="connsiteX415" fmla="*/ 263271 w 266700"/>
                <a:gd name="connsiteY415" fmla="*/ 105156 h 314325"/>
                <a:gd name="connsiteX416" fmla="*/ 264605 w 266700"/>
                <a:gd name="connsiteY416" fmla="*/ 105823 h 314325"/>
                <a:gd name="connsiteX417" fmla="*/ 266700 w 266700"/>
                <a:gd name="connsiteY417" fmla="*/ 106490 h 314325"/>
                <a:gd name="connsiteX418" fmla="*/ 266033 w 266700"/>
                <a:gd name="connsiteY418" fmla="*/ 107156 h 314325"/>
                <a:gd name="connsiteX419" fmla="*/ 264700 w 266700"/>
                <a:gd name="connsiteY419" fmla="*/ 113348 h 314325"/>
                <a:gd name="connsiteX420" fmla="*/ 261271 w 266700"/>
                <a:gd name="connsiteY420" fmla="*/ 115443 h 314325"/>
                <a:gd name="connsiteX421" fmla="*/ 259937 w 266700"/>
                <a:gd name="connsiteY421" fmla="*/ 115443 h 314325"/>
                <a:gd name="connsiteX422" fmla="*/ 257842 w 266700"/>
                <a:gd name="connsiteY422" fmla="*/ 116777 h 314325"/>
                <a:gd name="connsiteX423" fmla="*/ 259937 w 266700"/>
                <a:gd name="connsiteY423" fmla="*/ 121539 h 314325"/>
                <a:gd name="connsiteX424" fmla="*/ 261271 w 266700"/>
                <a:gd name="connsiteY424" fmla="*/ 123635 h 314325"/>
                <a:gd name="connsiteX425" fmla="*/ 261271 w 266700"/>
                <a:gd name="connsiteY425" fmla="*/ 124968 h 314325"/>
                <a:gd name="connsiteX426" fmla="*/ 261271 w 266700"/>
                <a:gd name="connsiteY426" fmla="*/ 126302 h 314325"/>
                <a:gd name="connsiteX427" fmla="*/ 261271 w 266700"/>
                <a:gd name="connsiteY427" fmla="*/ 127635 h 314325"/>
                <a:gd name="connsiteX428" fmla="*/ 259937 w 266700"/>
                <a:gd name="connsiteY428" fmla="*/ 132398 h 314325"/>
                <a:gd name="connsiteX429" fmla="*/ 259271 w 266700"/>
                <a:gd name="connsiteY429" fmla="*/ 135160 h 314325"/>
                <a:gd name="connsiteX430" fmla="*/ 258604 w 266700"/>
                <a:gd name="connsiteY430" fmla="*/ 135160 h 314325"/>
                <a:gd name="connsiteX431" fmla="*/ 258604 w 266700"/>
                <a:gd name="connsiteY431" fmla="*/ 131064 h 314325"/>
                <a:gd name="connsiteX432" fmla="*/ 257937 w 266700"/>
                <a:gd name="connsiteY432" fmla="*/ 131064 h 314325"/>
                <a:gd name="connsiteX433" fmla="*/ 256603 w 266700"/>
                <a:gd name="connsiteY433" fmla="*/ 126302 h 314325"/>
                <a:gd name="connsiteX434" fmla="*/ 257270 w 266700"/>
                <a:gd name="connsiteY434" fmla="*/ 124968 h 314325"/>
                <a:gd name="connsiteX435" fmla="*/ 255937 w 266700"/>
                <a:gd name="connsiteY435" fmla="*/ 124301 h 314325"/>
                <a:gd name="connsiteX436" fmla="*/ 255270 w 266700"/>
                <a:gd name="connsiteY436" fmla="*/ 124968 h 314325"/>
                <a:gd name="connsiteX437" fmla="*/ 251841 w 266700"/>
                <a:gd name="connsiteY437" fmla="*/ 131159 h 314325"/>
                <a:gd name="connsiteX438" fmla="*/ 250507 w 266700"/>
                <a:gd name="connsiteY438" fmla="*/ 134588 h 314325"/>
                <a:gd name="connsiteX439" fmla="*/ 248412 w 266700"/>
                <a:gd name="connsiteY439" fmla="*/ 135922 h 314325"/>
                <a:gd name="connsiteX440" fmla="*/ 246317 w 266700"/>
                <a:gd name="connsiteY440" fmla="*/ 138017 h 314325"/>
                <a:gd name="connsiteX441" fmla="*/ 246317 w 266700"/>
                <a:gd name="connsiteY441" fmla="*/ 138684 h 314325"/>
                <a:gd name="connsiteX442" fmla="*/ 245650 w 266700"/>
                <a:gd name="connsiteY442" fmla="*/ 140780 h 314325"/>
                <a:gd name="connsiteX443" fmla="*/ 243554 w 266700"/>
                <a:gd name="connsiteY443" fmla="*/ 148971 h 314325"/>
                <a:gd name="connsiteX444" fmla="*/ 243554 w 266700"/>
                <a:gd name="connsiteY444" fmla="*/ 149638 h 314325"/>
                <a:gd name="connsiteX445" fmla="*/ 244888 w 266700"/>
                <a:gd name="connsiteY445" fmla="*/ 149638 h 314325"/>
                <a:gd name="connsiteX446" fmla="*/ 246983 w 266700"/>
                <a:gd name="connsiteY446" fmla="*/ 146876 h 314325"/>
                <a:gd name="connsiteX447" fmla="*/ 249746 w 266700"/>
                <a:gd name="connsiteY447" fmla="*/ 144113 h 314325"/>
                <a:gd name="connsiteX448" fmla="*/ 253175 w 266700"/>
                <a:gd name="connsiteY448" fmla="*/ 142780 h 314325"/>
                <a:gd name="connsiteX449" fmla="*/ 253841 w 266700"/>
                <a:gd name="connsiteY449" fmla="*/ 142780 h 314325"/>
                <a:gd name="connsiteX450" fmla="*/ 252508 w 266700"/>
                <a:gd name="connsiteY450" fmla="*/ 148304 h 314325"/>
                <a:gd name="connsiteX451" fmla="*/ 250412 w 266700"/>
                <a:gd name="connsiteY451" fmla="*/ 150400 h 314325"/>
                <a:gd name="connsiteX452" fmla="*/ 252508 w 266700"/>
                <a:gd name="connsiteY452" fmla="*/ 153162 h 314325"/>
                <a:gd name="connsiteX453" fmla="*/ 254603 w 266700"/>
                <a:gd name="connsiteY453" fmla="*/ 153829 h 314325"/>
                <a:gd name="connsiteX454" fmla="*/ 255270 w 266700"/>
                <a:gd name="connsiteY454" fmla="*/ 156591 h 314325"/>
                <a:gd name="connsiteX455" fmla="*/ 255270 w 266700"/>
                <a:gd name="connsiteY455" fmla="*/ 158687 h 314325"/>
                <a:gd name="connsiteX456" fmla="*/ 255937 w 266700"/>
                <a:gd name="connsiteY456" fmla="*/ 160020 h 314325"/>
                <a:gd name="connsiteX457" fmla="*/ 260032 w 266700"/>
                <a:gd name="connsiteY457" fmla="*/ 160020 h 314325"/>
                <a:gd name="connsiteX458" fmla="*/ 262509 w 266700"/>
                <a:gd name="connsiteY458" fmla="*/ 161449 h 314325"/>
                <a:gd name="connsiteX459" fmla="*/ 3334 w 266700"/>
                <a:gd name="connsiteY459" fmla="*/ 256032 h 314325"/>
                <a:gd name="connsiteX460" fmla="*/ 3334 w 266700"/>
                <a:gd name="connsiteY460" fmla="*/ 256699 h 314325"/>
                <a:gd name="connsiteX461" fmla="*/ 4000 w 266700"/>
                <a:gd name="connsiteY461" fmla="*/ 257366 h 314325"/>
                <a:gd name="connsiteX462" fmla="*/ 4667 w 266700"/>
                <a:gd name="connsiteY462" fmla="*/ 257366 h 314325"/>
                <a:gd name="connsiteX463" fmla="*/ 3334 w 266700"/>
                <a:gd name="connsiteY463" fmla="*/ 256032 h 314325"/>
                <a:gd name="connsiteX464" fmla="*/ 44482 w 266700"/>
                <a:gd name="connsiteY464" fmla="*/ 101060 h 314325"/>
                <a:gd name="connsiteX465" fmla="*/ 45815 w 266700"/>
                <a:gd name="connsiteY465" fmla="*/ 96965 h 314325"/>
                <a:gd name="connsiteX466" fmla="*/ 45815 w 266700"/>
                <a:gd name="connsiteY466" fmla="*/ 94869 h 314325"/>
                <a:gd name="connsiteX467" fmla="*/ 49244 w 266700"/>
                <a:gd name="connsiteY467" fmla="*/ 90107 h 314325"/>
                <a:gd name="connsiteX468" fmla="*/ 51340 w 266700"/>
                <a:gd name="connsiteY468" fmla="*/ 84582 h 314325"/>
                <a:gd name="connsiteX469" fmla="*/ 52006 w 266700"/>
                <a:gd name="connsiteY469" fmla="*/ 83915 h 314325"/>
                <a:gd name="connsiteX470" fmla="*/ 54102 w 266700"/>
                <a:gd name="connsiteY470" fmla="*/ 81153 h 314325"/>
                <a:gd name="connsiteX471" fmla="*/ 58198 w 266700"/>
                <a:gd name="connsiteY471" fmla="*/ 68771 h 314325"/>
                <a:gd name="connsiteX472" fmla="*/ 57531 w 266700"/>
                <a:gd name="connsiteY472" fmla="*/ 68104 h 314325"/>
                <a:gd name="connsiteX473" fmla="*/ 57531 w 266700"/>
                <a:gd name="connsiteY473" fmla="*/ 67437 h 314325"/>
                <a:gd name="connsiteX474" fmla="*/ 55435 w 266700"/>
                <a:gd name="connsiteY474" fmla="*/ 69533 h 314325"/>
                <a:gd name="connsiteX475" fmla="*/ 54102 w 266700"/>
                <a:gd name="connsiteY475" fmla="*/ 73628 h 314325"/>
                <a:gd name="connsiteX476" fmla="*/ 51340 w 266700"/>
                <a:gd name="connsiteY476" fmla="*/ 79820 h 314325"/>
                <a:gd name="connsiteX477" fmla="*/ 47244 w 266700"/>
                <a:gd name="connsiteY477" fmla="*/ 85344 h 314325"/>
                <a:gd name="connsiteX478" fmla="*/ 44482 w 266700"/>
                <a:gd name="connsiteY478" fmla="*/ 91535 h 314325"/>
                <a:gd name="connsiteX479" fmla="*/ 45148 w 266700"/>
                <a:gd name="connsiteY479" fmla="*/ 92869 h 314325"/>
                <a:gd name="connsiteX480" fmla="*/ 42386 w 266700"/>
                <a:gd name="connsiteY480" fmla="*/ 96965 h 314325"/>
                <a:gd name="connsiteX481" fmla="*/ 39624 w 266700"/>
                <a:gd name="connsiteY481" fmla="*/ 105918 h 314325"/>
                <a:gd name="connsiteX482" fmla="*/ 38290 w 266700"/>
                <a:gd name="connsiteY482" fmla="*/ 112776 h 314325"/>
                <a:gd name="connsiteX483" fmla="*/ 37624 w 266700"/>
                <a:gd name="connsiteY483" fmla="*/ 113443 h 314325"/>
                <a:gd name="connsiteX484" fmla="*/ 38290 w 266700"/>
                <a:gd name="connsiteY484" fmla="*/ 114110 h 314325"/>
                <a:gd name="connsiteX485" fmla="*/ 38957 w 266700"/>
                <a:gd name="connsiteY485" fmla="*/ 113443 h 314325"/>
                <a:gd name="connsiteX486" fmla="*/ 39624 w 266700"/>
                <a:gd name="connsiteY486" fmla="*/ 112109 h 314325"/>
                <a:gd name="connsiteX487" fmla="*/ 39624 w 266700"/>
                <a:gd name="connsiteY487" fmla="*/ 110776 h 314325"/>
                <a:gd name="connsiteX488" fmla="*/ 40957 w 266700"/>
                <a:gd name="connsiteY488" fmla="*/ 107347 h 314325"/>
                <a:gd name="connsiteX489" fmla="*/ 44482 w 266700"/>
                <a:gd name="connsiteY489" fmla="*/ 101060 h 314325"/>
                <a:gd name="connsiteX490" fmla="*/ 65056 w 266700"/>
                <a:gd name="connsiteY490" fmla="*/ 116872 h 314325"/>
                <a:gd name="connsiteX491" fmla="*/ 63722 w 266700"/>
                <a:gd name="connsiteY491" fmla="*/ 120968 h 314325"/>
                <a:gd name="connsiteX492" fmla="*/ 63722 w 266700"/>
                <a:gd name="connsiteY492" fmla="*/ 123730 h 314325"/>
                <a:gd name="connsiteX493" fmla="*/ 70580 w 266700"/>
                <a:gd name="connsiteY493" fmla="*/ 129921 h 314325"/>
                <a:gd name="connsiteX494" fmla="*/ 72676 w 266700"/>
                <a:gd name="connsiteY494" fmla="*/ 129921 h 314325"/>
                <a:gd name="connsiteX495" fmla="*/ 74009 w 266700"/>
                <a:gd name="connsiteY495" fmla="*/ 128588 h 314325"/>
                <a:gd name="connsiteX496" fmla="*/ 79534 w 266700"/>
                <a:gd name="connsiteY496" fmla="*/ 122396 h 314325"/>
                <a:gd name="connsiteX497" fmla="*/ 87058 w 266700"/>
                <a:gd name="connsiteY497" fmla="*/ 112776 h 314325"/>
                <a:gd name="connsiteX498" fmla="*/ 89154 w 266700"/>
                <a:gd name="connsiteY498" fmla="*/ 110014 h 314325"/>
                <a:gd name="connsiteX499" fmla="*/ 92583 w 266700"/>
                <a:gd name="connsiteY499" fmla="*/ 105251 h 314325"/>
                <a:gd name="connsiteX500" fmla="*/ 96012 w 266700"/>
                <a:gd name="connsiteY500" fmla="*/ 99727 h 314325"/>
                <a:gd name="connsiteX501" fmla="*/ 97346 w 266700"/>
                <a:gd name="connsiteY501" fmla="*/ 95631 h 314325"/>
                <a:gd name="connsiteX502" fmla="*/ 102108 w 266700"/>
                <a:gd name="connsiteY502" fmla="*/ 89440 h 314325"/>
                <a:gd name="connsiteX503" fmla="*/ 105537 w 266700"/>
                <a:gd name="connsiteY503" fmla="*/ 82582 h 314325"/>
                <a:gd name="connsiteX504" fmla="*/ 106204 w 266700"/>
                <a:gd name="connsiteY504" fmla="*/ 77057 h 314325"/>
                <a:gd name="connsiteX505" fmla="*/ 108966 w 266700"/>
                <a:gd name="connsiteY505" fmla="*/ 70866 h 314325"/>
                <a:gd name="connsiteX506" fmla="*/ 111728 w 266700"/>
                <a:gd name="connsiteY506" fmla="*/ 64675 h 314325"/>
                <a:gd name="connsiteX507" fmla="*/ 113824 w 266700"/>
                <a:gd name="connsiteY507" fmla="*/ 59150 h 314325"/>
                <a:gd name="connsiteX508" fmla="*/ 113157 w 266700"/>
                <a:gd name="connsiteY508" fmla="*/ 57055 h 314325"/>
                <a:gd name="connsiteX509" fmla="*/ 113157 w 266700"/>
                <a:gd name="connsiteY509" fmla="*/ 55721 h 314325"/>
                <a:gd name="connsiteX510" fmla="*/ 114490 w 266700"/>
                <a:gd name="connsiteY510" fmla="*/ 54388 h 314325"/>
                <a:gd name="connsiteX511" fmla="*/ 115824 w 266700"/>
                <a:gd name="connsiteY511" fmla="*/ 54388 h 314325"/>
                <a:gd name="connsiteX512" fmla="*/ 116491 w 266700"/>
                <a:gd name="connsiteY512" fmla="*/ 53054 h 314325"/>
                <a:gd name="connsiteX513" fmla="*/ 115824 w 266700"/>
                <a:gd name="connsiteY513" fmla="*/ 52388 h 314325"/>
                <a:gd name="connsiteX514" fmla="*/ 115824 w 266700"/>
                <a:gd name="connsiteY514" fmla="*/ 51721 h 314325"/>
                <a:gd name="connsiteX515" fmla="*/ 115157 w 266700"/>
                <a:gd name="connsiteY515" fmla="*/ 51054 h 314325"/>
                <a:gd name="connsiteX516" fmla="*/ 114490 w 266700"/>
                <a:gd name="connsiteY516" fmla="*/ 49721 h 314325"/>
                <a:gd name="connsiteX517" fmla="*/ 115157 w 266700"/>
                <a:gd name="connsiteY517" fmla="*/ 48387 h 314325"/>
                <a:gd name="connsiteX518" fmla="*/ 115824 w 266700"/>
                <a:gd name="connsiteY518" fmla="*/ 47054 h 314325"/>
                <a:gd name="connsiteX519" fmla="*/ 114490 w 266700"/>
                <a:gd name="connsiteY519" fmla="*/ 46387 h 314325"/>
                <a:gd name="connsiteX520" fmla="*/ 114490 w 266700"/>
                <a:gd name="connsiteY520" fmla="*/ 45053 h 314325"/>
                <a:gd name="connsiteX521" fmla="*/ 115824 w 266700"/>
                <a:gd name="connsiteY521" fmla="*/ 42291 h 314325"/>
                <a:gd name="connsiteX522" fmla="*/ 115157 w 266700"/>
                <a:gd name="connsiteY522" fmla="*/ 39529 h 314325"/>
                <a:gd name="connsiteX523" fmla="*/ 113824 w 266700"/>
                <a:gd name="connsiteY523" fmla="*/ 34004 h 314325"/>
                <a:gd name="connsiteX524" fmla="*/ 113824 w 266700"/>
                <a:gd name="connsiteY524" fmla="*/ 33338 h 314325"/>
                <a:gd name="connsiteX525" fmla="*/ 114490 w 266700"/>
                <a:gd name="connsiteY525" fmla="*/ 32671 h 314325"/>
                <a:gd name="connsiteX526" fmla="*/ 115157 w 266700"/>
                <a:gd name="connsiteY526" fmla="*/ 32004 h 314325"/>
                <a:gd name="connsiteX527" fmla="*/ 115824 w 266700"/>
                <a:gd name="connsiteY527" fmla="*/ 30671 h 314325"/>
                <a:gd name="connsiteX528" fmla="*/ 111728 w 266700"/>
                <a:gd name="connsiteY528" fmla="*/ 30671 h 314325"/>
                <a:gd name="connsiteX529" fmla="*/ 105537 w 266700"/>
                <a:gd name="connsiteY529" fmla="*/ 38862 h 314325"/>
                <a:gd name="connsiteX530" fmla="*/ 104870 w 266700"/>
                <a:gd name="connsiteY530" fmla="*/ 39529 h 314325"/>
                <a:gd name="connsiteX531" fmla="*/ 104870 w 266700"/>
                <a:gd name="connsiteY531" fmla="*/ 40196 h 314325"/>
                <a:gd name="connsiteX532" fmla="*/ 96679 w 266700"/>
                <a:gd name="connsiteY532" fmla="*/ 50483 h 314325"/>
                <a:gd name="connsiteX533" fmla="*/ 96012 w 266700"/>
                <a:gd name="connsiteY533" fmla="*/ 51149 h 314325"/>
                <a:gd name="connsiteX534" fmla="*/ 90488 w 266700"/>
                <a:gd name="connsiteY534" fmla="*/ 57341 h 314325"/>
                <a:gd name="connsiteX535" fmla="*/ 89154 w 266700"/>
                <a:gd name="connsiteY535" fmla="*/ 60103 h 314325"/>
                <a:gd name="connsiteX536" fmla="*/ 89154 w 266700"/>
                <a:gd name="connsiteY536" fmla="*/ 60770 h 314325"/>
                <a:gd name="connsiteX537" fmla="*/ 86392 w 266700"/>
                <a:gd name="connsiteY537" fmla="*/ 64865 h 314325"/>
                <a:gd name="connsiteX538" fmla="*/ 83629 w 266700"/>
                <a:gd name="connsiteY538" fmla="*/ 68961 h 314325"/>
                <a:gd name="connsiteX539" fmla="*/ 82296 w 266700"/>
                <a:gd name="connsiteY539" fmla="*/ 70295 h 314325"/>
                <a:gd name="connsiteX540" fmla="*/ 82963 w 266700"/>
                <a:gd name="connsiteY540" fmla="*/ 74390 h 314325"/>
                <a:gd name="connsiteX541" fmla="*/ 80200 w 266700"/>
                <a:gd name="connsiteY541" fmla="*/ 78486 h 314325"/>
                <a:gd name="connsiteX542" fmla="*/ 80200 w 266700"/>
                <a:gd name="connsiteY542" fmla="*/ 80582 h 314325"/>
                <a:gd name="connsiteX543" fmla="*/ 78105 w 266700"/>
                <a:gd name="connsiteY543" fmla="*/ 82677 h 314325"/>
                <a:gd name="connsiteX544" fmla="*/ 75343 w 266700"/>
                <a:gd name="connsiteY544" fmla="*/ 88202 h 314325"/>
                <a:gd name="connsiteX545" fmla="*/ 75343 w 266700"/>
                <a:gd name="connsiteY545" fmla="*/ 89535 h 314325"/>
                <a:gd name="connsiteX546" fmla="*/ 73247 w 266700"/>
                <a:gd name="connsiteY546" fmla="*/ 92297 h 314325"/>
                <a:gd name="connsiteX547" fmla="*/ 70485 w 266700"/>
                <a:gd name="connsiteY547" fmla="*/ 95060 h 314325"/>
                <a:gd name="connsiteX548" fmla="*/ 70485 w 266700"/>
                <a:gd name="connsiteY548" fmla="*/ 95726 h 314325"/>
                <a:gd name="connsiteX549" fmla="*/ 65723 w 266700"/>
                <a:gd name="connsiteY549" fmla="*/ 110776 h 314325"/>
                <a:gd name="connsiteX550" fmla="*/ 65723 w 266700"/>
                <a:gd name="connsiteY550" fmla="*/ 114872 h 314325"/>
                <a:gd name="connsiteX551" fmla="*/ 65056 w 266700"/>
                <a:gd name="connsiteY551" fmla="*/ 116872 h 314325"/>
                <a:gd name="connsiteX552" fmla="*/ 133636 w 266700"/>
                <a:gd name="connsiteY552" fmla="*/ 65437 h 314325"/>
                <a:gd name="connsiteX553" fmla="*/ 134969 w 266700"/>
                <a:gd name="connsiteY553" fmla="*/ 64770 h 314325"/>
                <a:gd name="connsiteX554" fmla="*/ 135636 w 266700"/>
                <a:gd name="connsiteY554" fmla="*/ 62675 h 314325"/>
                <a:gd name="connsiteX555" fmla="*/ 135636 w 266700"/>
                <a:gd name="connsiteY555" fmla="*/ 62008 h 314325"/>
                <a:gd name="connsiteX556" fmla="*/ 134969 w 266700"/>
                <a:gd name="connsiteY556" fmla="*/ 61341 h 314325"/>
                <a:gd name="connsiteX557" fmla="*/ 134302 w 266700"/>
                <a:gd name="connsiteY557" fmla="*/ 61341 h 314325"/>
                <a:gd name="connsiteX558" fmla="*/ 132969 w 266700"/>
                <a:gd name="connsiteY558" fmla="*/ 63437 h 314325"/>
                <a:gd name="connsiteX559" fmla="*/ 133636 w 266700"/>
                <a:gd name="connsiteY559" fmla="*/ 65437 h 314325"/>
                <a:gd name="connsiteX560" fmla="*/ 133636 w 266700"/>
                <a:gd name="connsiteY560" fmla="*/ 30385 h 314325"/>
                <a:gd name="connsiteX561" fmla="*/ 134302 w 266700"/>
                <a:gd name="connsiteY561" fmla="*/ 31718 h 314325"/>
                <a:gd name="connsiteX562" fmla="*/ 135636 w 266700"/>
                <a:gd name="connsiteY562" fmla="*/ 33052 h 314325"/>
                <a:gd name="connsiteX563" fmla="*/ 136969 w 266700"/>
                <a:gd name="connsiteY563" fmla="*/ 31718 h 314325"/>
                <a:gd name="connsiteX564" fmla="*/ 134874 w 266700"/>
                <a:gd name="connsiteY564" fmla="*/ 28956 h 314325"/>
                <a:gd name="connsiteX565" fmla="*/ 134207 w 266700"/>
                <a:gd name="connsiteY565" fmla="*/ 28956 h 314325"/>
                <a:gd name="connsiteX566" fmla="*/ 133636 w 266700"/>
                <a:gd name="connsiteY566" fmla="*/ 30385 h 314325"/>
                <a:gd name="connsiteX567" fmla="*/ 137731 w 266700"/>
                <a:gd name="connsiteY567" fmla="*/ 35909 h 314325"/>
                <a:gd name="connsiteX568" fmla="*/ 134969 w 266700"/>
                <a:gd name="connsiteY568" fmla="*/ 36576 h 314325"/>
                <a:gd name="connsiteX569" fmla="*/ 134969 w 266700"/>
                <a:gd name="connsiteY569" fmla="*/ 40005 h 314325"/>
                <a:gd name="connsiteX570" fmla="*/ 135636 w 266700"/>
                <a:gd name="connsiteY570" fmla="*/ 43434 h 314325"/>
                <a:gd name="connsiteX571" fmla="*/ 134302 w 266700"/>
                <a:gd name="connsiteY571" fmla="*/ 46196 h 314325"/>
                <a:gd name="connsiteX572" fmla="*/ 135636 w 266700"/>
                <a:gd name="connsiteY572" fmla="*/ 50959 h 314325"/>
                <a:gd name="connsiteX573" fmla="*/ 134302 w 266700"/>
                <a:gd name="connsiteY573" fmla="*/ 53054 h 314325"/>
                <a:gd name="connsiteX574" fmla="*/ 134302 w 266700"/>
                <a:gd name="connsiteY574" fmla="*/ 54388 h 314325"/>
                <a:gd name="connsiteX575" fmla="*/ 134969 w 266700"/>
                <a:gd name="connsiteY575" fmla="*/ 55055 h 314325"/>
                <a:gd name="connsiteX576" fmla="*/ 136303 w 266700"/>
                <a:gd name="connsiteY576" fmla="*/ 54388 h 314325"/>
                <a:gd name="connsiteX577" fmla="*/ 139065 w 266700"/>
                <a:gd name="connsiteY577" fmla="*/ 53721 h 314325"/>
                <a:gd name="connsiteX578" fmla="*/ 143827 w 266700"/>
                <a:gd name="connsiteY578" fmla="*/ 47530 h 314325"/>
                <a:gd name="connsiteX579" fmla="*/ 143827 w 266700"/>
                <a:gd name="connsiteY579" fmla="*/ 44768 h 314325"/>
                <a:gd name="connsiteX580" fmla="*/ 142494 w 266700"/>
                <a:gd name="connsiteY580" fmla="*/ 42672 h 314325"/>
                <a:gd name="connsiteX581" fmla="*/ 139732 w 266700"/>
                <a:gd name="connsiteY581" fmla="*/ 39910 h 314325"/>
                <a:gd name="connsiteX582" fmla="*/ 138398 w 266700"/>
                <a:gd name="connsiteY582" fmla="*/ 36481 h 314325"/>
                <a:gd name="connsiteX583" fmla="*/ 137731 w 266700"/>
                <a:gd name="connsiteY583" fmla="*/ 35909 h 314325"/>
                <a:gd name="connsiteX584" fmla="*/ 140494 w 266700"/>
                <a:gd name="connsiteY584" fmla="*/ 38672 h 314325"/>
                <a:gd name="connsiteX585" fmla="*/ 141827 w 266700"/>
                <a:gd name="connsiteY585" fmla="*/ 39338 h 314325"/>
                <a:gd name="connsiteX586" fmla="*/ 142494 w 266700"/>
                <a:gd name="connsiteY586" fmla="*/ 39338 h 314325"/>
                <a:gd name="connsiteX587" fmla="*/ 142494 w 266700"/>
                <a:gd name="connsiteY587" fmla="*/ 38005 h 314325"/>
                <a:gd name="connsiteX588" fmla="*/ 141827 w 266700"/>
                <a:gd name="connsiteY588" fmla="*/ 36671 h 314325"/>
                <a:gd name="connsiteX589" fmla="*/ 141161 w 266700"/>
                <a:gd name="connsiteY589" fmla="*/ 37338 h 314325"/>
                <a:gd name="connsiteX590" fmla="*/ 140494 w 266700"/>
                <a:gd name="connsiteY590" fmla="*/ 38672 h 314325"/>
                <a:gd name="connsiteX591" fmla="*/ 143161 w 266700"/>
                <a:gd name="connsiteY591" fmla="*/ 57912 h 314325"/>
                <a:gd name="connsiteX592" fmla="*/ 143161 w 266700"/>
                <a:gd name="connsiteY592" fmla="*/ 58579 h 314325"/>
                <a:gd name="connsiteX593" fmla="*/ 144494 w 266700"/>
                <a:gd name="connsiteY593" fmla="*/ 64103 h 314325"/>
                <a:gd name="connsiteX594" fmla="*/ 145828 w 266700"/>
                <a:gd name="connsiteY594" fmla="*/ 64103 h 314325"/>
                <a:gd name="connsiteX595" fmla="*/ 148590 w 266700"/>
                <a:gd name="connsiteY595" fmla="*/ 60674 h 314325"/>
                <a:gd name="connsiteX596" fmla="*/ 147923 w 266700"/>
                <a:gd name="connsiteY596" fmla="*/ 59341 h 314325"/>
                <a:gd name="connsiteX597" fmla="*/ 147256 w 266700"/>
                <a:gd name="connsiteY597" fmla="*/ 58007 h 314325"/>
                <a:gd name="connsiteX598" fmla="*/ 147923 w 266700"/>
                <a:gd name="connsiteY598" fmla="*/ 56674 h 314325"/>
                <a:gd name="connsiteX599" fmla="*/ 147923 w 266700"/>
                <a:gd name="connsiteY599" fmla="*/ 56007 h 314325"/>
                <a:gd name="connsiteX600" fmla="*/ 145828 w 266700"/>
                <a:gd name="connsiteY600" fmla="*/ 55340 h 314325"/>
                <a:gd name="connsiteX601" fmla="*/ 143161 w 266700"/>
                <a:gd name="connsiteY601" fmla="*/ 57912 h 314325"/>
                <a:gd name="connsiteX602" fmla="*/ 145923 w 266700"/>
                <a:gd name="connsiteY602" fmla="*/ 49625 h 314325"/>
                <a:gd name="connsiteX603" fmla="*/ 145923 w 266700"/>
                <a:gd name="connsiteY603" fmla="*/ 52388 h 314325"/>
                <a:gd name="connsiteX604" fmla="*/ 146590 w 266700"/>
                <a:gd name="connsiteY604" fmla="*/ 53054 h 314325"/>
                <a:gd name="connsiteX605" fmla="*/ 150019 w 266700"/>
                <a:gd name="connsiteY605" fmla="*/ 49625 h 314325"/>
                <a:gd name="connsiteX606" fmla="*/ 150019 w 266700"/>
                <a:gd name="connsiteY606" fmla="*/ 48959 h 314325"/>
                <a:gd name="connsiteX607" fmla="*/ 147256 w 266700"/>
                <a:gd name="connsiteY607" fmla="*/ 46196 h 314325"/>
                <a:gd name="connsiteX608" fmla="*/ 146590 w 266700"/>
                <a:gd name="connsiteY608" fmla="*/ 46196 h 314325"/>
                <a:gd name="connsiteX609" fmla="*/ 145923 w 266700"/>
                <a:gd name="connsiteY609" fmla="*/ 49625 h 314325"/>
                <a:gd name="connsiteX610" fmla="*/ 176784 w 266700"/>
                <a:gd name="connsiteY610" fmla="*/ 260890 h 314325"/>
                <a:gd name="connsiteX611" fmla="*/ 176117 w 266700"/>
                <a:gd name="connsiteY611" fmla="*/ 259556 h 314325"/>
                <a:gd name="connsiteX612" fmla="*/ 174784 w 266700"/>
                <a:gd name="connsiteY612" fmla="*/ 259556 h 314325"/>
                <a:gd name="connsiteX613" fmla="*/ 174117 w 266700"/>
                <a:gd name="connsiteY613" fmla="*/ 260890 h 314325"/>
                <a:gd name="connsiteX614" fmla="*/ 175450 w 266700"/>
                <a:gd name="connsiteY614" fmla="*/ 261557 h 314325"/>
                <a:gd name="connsiteX615" fmla="*/ 176117 w 266700"/>
                <a:gd name="connsiteY615" fmla="*/ 261557 h 314325"/>
                <a:gd name="connsiteX616" fmla="*/ 176784 w 266700"/>
                <a:gd name="connsiteY616" fmla="*/ 260890 h 314325"/>
                <a:gd name="connsiteX617" fmla="*/ 191929 w 266700"/>
                <a:gd name="connsiteY617" fmla="*/ 257461 h 314325"/>
                <a:gd name="connsiteX618" fmla="*/ 191262 w 266700"/>
                <a:gd name="connsiteY618" fmla="*/ 258128 h 314325"/>
                <a:gd name="connsiteX619" fmla="*/ 190595 w 266700"/>
                <a:gd name="connsiteY619" fmla="*/ 257461 h 314325"/>
                <a:gd name="connsiteX620" fmla="*/ 191262 w 266700"/>
                <a:gd name="connsiteY620" fmla="*/ 256794 h 314325"/>
                <a:gd name="connsiteX621" fmla="*/ 191929 w 266700"/>
                <a:gd name="connsiteY621" fmla="*/ 257461 h 314325"/>
                <a:gd name="connsiteX622" fmla="*/ 229648 w 266700"/>
                <a:gd name="connsiteY622" fmla="*/ 217646 h 314325"/>
                <a:gd name="connsiteX623" fmla="*/ 226219 w 266700"/>
                <a:gd name="connsiteY623" fmla="*/ 221075 h 314325"/>
                <a:gd name="connsiteX624" fmla="*/ 224885 w 266700"/>
                <a:gd name="connsiteY624" fmla="*/ 222409 h 314325"/>
                <a:gd name="connsiteX625" fmla="*/ 224219 w 266700"/>
                <a:gd name="connsiteY625" fmla="*/ 221075 h 314325"/>
                <a:gd name="connsiteX626" fmla="*/ 222123 w 266700"/>
                <a:gd name="connsiteY626" fmla="*/ 218980 h 314325"/>
                <a:gd name="connsiteX627" fmla="*/ 220790 w 266700"/>
                <a:gd name="connsiteY627" fmla="*/ 217646 h 314325"/>
                <a:gd name="connsiteX628" fmla="*/ 220790 w 266700"/>
                <a:gd name="connsiteY628" fmla="*/ 216313 h 314325"/>
                <a:gd name="connsiteX629" fmla="*/ 224219 w 266700"/>
                <a:gd name="connsiteY629" fmla="*/ 214217 h 314325"/>
                <a:gd name="connsiteX630" fmla="*/ 224885 w 266700"/>
                <a:gd name="connsiteY630" fmla="*/ 214884 h 314325"/>
                <a:gd name="connsiteX631" fmla="*/ 228314 w 266700"/>
                <a:gd name="connsiteY631" fmla="*/ 216218 h 314325"/>
                <a:gd name="connsiteX632" fmla="*/ 229648 w 266700"/>
                <a:gd name="connsiteY632" fmla="*/ 217646 h 314325"/>
                <a:gd name="connsiteX633" fmla="*/ 233744 w 266700"/>
                <a:gd name="connsiteY633" fmla="*/ 203930 h 314325"/>
                <a:gd name="connsiteX634" fmla="*/ 233744 w 266700"/>
                <a:gd name="connsiteY634" fmla="*/ 204597 h 314325"/>
                <a:gd name="connsiteX635" fmla="*/ 229648 w 266700"/>
                <a:gd name="connsiteY635" fmla="*/ 208693 h 314325"/>
                <a:gd name="connsiteX636" fmla="*/ 228981 w 266700"/>
                <a:gd name="connsiteY636" fmla="*/ 208693 h 314325"/>
                <a:gd name="connsiteX637" fmla="*/ 228314 w 266700"/>
                <a:gd name="connsiteY637" fmla="*/ 208026 h 314325"/>
                <a:gd name="connsiteX638" fmla="*/ 228981 w 266700"/>
                <a:gd name="connsiteY638" fmla="*/ 206693 h 314325"/>
                <a:gd name="connsiteX639" fmla="*/ 231077 w 266700"/>
                <a:gd name="connsiteY639" fmla="*/ 204597 h 314325"/>
                <a:gd name="connsiteX640" fmla="*/ 231077 w 266700"/>
                <a:gd name="connsiteY640" fmla="*/ 203264 h 314325"/>
                <a:gd name="connsiteX641" fmla="*/ 231743 w 266700"/>
                <a:gd name="connsiteY641" fmla="*/ 203264 h 314325"/>
                <a:gd name="connsiteX642" fmla="*/ 233744 w 266700"/>
                <a:gd name="connsiteY642" fmla="*/ 203930 h 314325"/>
                <a:gd name="connsiteX643" fmla="*/ 249460 w 266700"/>
                <a:gd name="connsiteY643" fmla="*/ 192977 h 314325"/>
                <a:gd name="connsiteX644" fmla="*/ 250793 w 266700"/>
                <a:gd name="connsiteY644" fmla="*/ 192310 h 314325"/>
                <a:gd name="connsiteX645" fmla="*/ 248698 w 266700"/>
                <a:gd name="connsiteY645" fmla="*/ 197072 h 314325"/>
                <a:gd name="connsiteX646" fmla="*/ 247364 w 266700"/>
                <a:gd name="connsiteY646" fmla="*/ 197739 h 314325"/>
                <a:gd name="connsiteX647" fmla="*/ 247364 w 266700"/>
                <a:gd name="connsiteY647" fmla="*/ 195644 h 314325"/>
                <a:gd name="connsiteX648" fmla="*/ 249460 w 266700"/>
                <a:gd name="connsiteY648" fmla="*/ 192977 h 314325"/>
                <a:gd name="connsiteX649" fmla="*/ 251555 w 266700"/>
                <a:gd name="connsiteY649" fmla="*/ 158020 h 314325"/>
                <a:gd name="connsiteX650" fmla="*/ 250888 w 266700"/>
                <a:gd name="connsiteY650" fmla="*/ 155258 h 314325"/>
                <a:gd name="connsiteX651" fmla="*/ 250222 w 266700"/>
                <a:gd name="connsiteY651" fmla="*/ 155258 h 314325"/>
                <a:gd name="connsiteX652" fmla="*/ 250222 w 266700"/>
                <a:gd name="connsiteY652" fmla="*/ 156591 h 314325"/>
                <a:gd name="connsiteX653" fmla="*/ 250888 w 266700"/>
                <a:gd name="connsiteY653" fmla="*/ 157925 h 314325"/>
                <a:gd name="connsiteX654" fmla="*/ 250888 w 266700"/>
                <a:gd name="connsiteY654" fmla="*/ 158591 h 314325"/>
                <a:gd name="connsiteX655" fmla="*/ 251555 w 266700"/>
                <a:gd name="connsiteY655" fmla="*/ 158020 h 314325"/>
                <a:gd name="connsiteX656" fmla="*/ 254317 w 266700"/>
                <a:gd name="connsiteY656" fmla="*/ 138779 h 314325"/>
                <a:gd name="connsiteX657" fmla="*/ 254317 w 266700"/>
                <a:gd name="connsiteY657" fmla="*/ 139446 h 314325"/>
                <a:gd name="connsiteX658" fmla="*/ 251555 w 266700"/>
                <a:gd name="connsiteY658" fmla="*/ 141542 h 314325"/>
                <a:gd name="connsiteX659" fmla="*/ 250888 w 266700"/>
                <a:gd name="connsiteY659" fmla="*/ 140875 h 314325"/>
                <a:gd name="connsiteX660" fmla="*/ 250888 w 266700"/>
                <a:gd name="connsiteY660" fmla="*/ 140208 h 314325"/>
                <a:gd name="connsiteX661" fmla="*/ 252984 w 266700"/>
                <a:gd name="connsiteY661" fmla="*/ 138113 h 314325"/>
                <a:gd name="connsiteX662" fmla="*/ 254317 w 266700"/>
                <a:gd name="connsiteY662" fmla="*/ 138779 h 314325"/>
                <a:gd name="connsiteX663" fmla="*/ 267367 w 266700"/>
                <a:gd name="connsiteY663" fmla="*/ 147066 h 314325"/>
                <a:gd name="connsiteX664" fmla="*/ 267367 w 266700"/>
                <a:gd name="connsiteY664" fmla="*/ 147733 h 314325"/>
                <a:gd name="connsiteX665" fmla="*/ 266033 w 266700"/>
                <a:gd name="connsiteY665" fmla="*/ 151829 h 314325"/>
                <a:gd name="connsiteX666" fmla="*/ 265271 w 266700"/>
                <a:gd name="connsiteY666" fmla="*/ 153924 h 314325"/>
                <a:gd name="connsiteX667" fmla="*/ 264605 w 266700"/>
                <a:gd name="connsiteY667" fmla="*/ 156020 h 314325"/>
                <a:gd name="connsiteX668" fmla="*/ 262509 w 266700"/>
                <a:gd name="connsiteY668" fmla="*/ 158115 h 314325"/>
                <a:gd name="connsiteX669" fmla="*/ 260413 w 266700"/>
                <a:gd name="connsiteY669" fmla="*/ 156020 h 314325"/>
                <a:gd name="connsiteX670" fmla="*/ 262509 w 266700"/>
                <a:gd name="connsiteY670" fmla="*/ 150495 h 314325"/>
                <a:gd name="connsiteX671" fmla="*/ 262509 w 266700"/>
                <a:gd name="connsiteY671" fmla="*/ 148400 h 314325"/>
                <a:gd name="connsiteX672" fmla="*/ 263176 w 266700"/>
                <a:gd name="connsiteY672" fmla="*/ 145637 h 314325"/>
                <a:gd name="connsiteX673" fmla="*/ 265271 w 266700"/>
                <a:gd name="connsiteY673" fmla="*/ 140113 h 314325"/>
                <a:gd name="connsiteX674" fmla="*/ 265271 w 266700"/>
                <a:gd name="connsiteY674" fmla="*/ 138779 h 314325"/>
                <a:gd name="connsiteX675" fmla="*/ 265938 w 266700"/>
                <a:gd name="connsiteY675" fmla="*/ 137446 h 314325"/>
                <a:gd name="connsiteX676" fmla="*/ 266605 w 266700"/>
                <a:gd name="connsiteY676" fmla="*/ 137446 h 314325"/>
                <a:gd name="connsiteX677" fmla="*/ 267271 w 266700"/>
                <a:gd name="connsiteY677" fmla="*/ 137446 h 314325"/>
                <a:gd name="connsiteX678" fmla="*/ 267938 w 266700"/>
                <a:gd name="connsiteY678" fmla="*/ 138779 h 314325"/>
                <a:gd name="connsiteX679" fmla="*/ 267271 w 266700"/>
                <a:gd name="connsiteY679" fmla="*/ 139446 h 314325"/>
                <a:gd name="connsiteX680" fmla="*/ 265938 w 266700"/>
                <a:gd name="connsiteY680" fmla="*/ 142208 h 314325"/>
                <a:gd name="connsiteX681" fmla="*/ 265271 w 266700"/>
                <a:gd name="connsiteY681" fmla="*/ 143542 h 314325"/>
                <a:gd name="connsiteX682" fmla="*/ 266605 w 266700"/>
                <a:gd name="connsiteY682" fmla="*/ 144875 h 314325"/>
                <a:gd name="connsiteX683" fmla="*/ 267367 w 266700"/>
                <a:gd name="connsiteY683" fmla="*/ 147066 h 314325"/>
                <a:gd name="connsiteX684" fmla="*/ 260509 w 266700"/>
                <a:gd name="connsiteY684" fmla="*/ 98298 h 314325"/>
                <a:gd name="connsiteX685" fmla="*/ 261842 w 266700"/>
                <a:gd name="connsiteY685" fmla="*/ 96203 h 314325"/>
                <a:gd name="connsiteX686" fmla="*/ 265271 w 266700"/>
                <a:gd name="connsiteY686" fmla="*/ 96203 h 314325"/>
                <a:gd name="connsiteX687" fmla="*/ 264605 w 266700"/>
                <a:gd name="connsiteY687" fmla="*/ 98298 h 314325"/>
                <a:gd name="connsiteX688" fmla="*/ 265271 w 266700"/>
                <a:gd name="connsiteY688" fmla="*/ 98965 h 314325"/>
                <a:gd name="connsiteX689" fmla="*/ 263938 w 266700"/>
                <a:gd name="connsiteY689" fmla="*/ 100298 h 314325"/>
                <a:gd name="connsiteX690" fmla="*/ 260509 w 266700"/>
                <a:gd name="connsiteY690" fmla="*/ 98298 h 314325"/>
                <a:gd name="connsiteX691" fmla="*/ 268700 w 266700"/>
                <a:gd name="connsiteY691" fmla="*/ 167640 h 314325"/>
                <a:gd name="connsiteX692" fmla="*/ 266605 w 266700"/>
                <a:gd name="connsiteY692" fmla="*/ 169736 h 314325"/>
                <a:gd name="connsiteX693" fmla="*/ 267938 w 266700"/>
                <a:gd name="connsiteY693" fmla="*/ 166307 h 314325"/>
                <a:gd name="connsiteX694" fmla="*/ 268605 w 266700"/>
                <a:gd name="connsiteY694" fmla="*/ 166973 h 314325"/>
                <a:gd name="connsiteX695" fmla="*/ 268605 w 266700"/>
                <a:gd name="connsiteY695" fmla="*/ 167640 h 314325"/>
                <a:gd name="connsiteX696" fmla="*/ 272796 w 266700"/>
                <a:gd name="connsiteY696" fmla="*/ 158687 h 314325"/>
                <a:gd name="connsiteX697" fmla="*/ 272129 w 266700"/>
                <a:gd name="connsiteY697" fmla="*/ 156591 h 314325"/>
                <a:gd name="connsiteX698" fmla="*/ 272796 w 266700"/>
                <a:gd name="connsiteY698" fmla="*/ 155258 h 314325"/>
                <a:gd name="connsiteX699" fmla="*/ 273463 w 266700"/>
                <a:gd name="connsiteY699" fmla="*/ 154591 h 314325"/>
                <a:gd name="connsiteX700" fmla="*/ 274130 w 266700"/>
                <a:gd name="connsiteY700" fmla="*/ 155258 h 314325"/>
                <a:gd name="connsiteX701" fmla="*/ 272796 w 266700"/>
                <a:gd name="connsiteY701" fmla="*/ 158687 h 314325"/>
                <a:gd name="connsiteX702" fmla="*/ 272129 w 266700"/>
                <a:gd name="connsiteY702" fmla="*/ 159353 h 314325"/>
                <a:gd name="connsiteX703" fmla="*/ 272796 w 266700"/>
                <a:gd name="connsiteY703" fmla="*/ 158687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</a:cxnLst>
              <a:rect l="l" t="t" r="r" b="b"/>
              <a:pathLst>
                <a:path w="266700" h="314325">
                  <a:moveTo>
                    <a:pt x="262509" y="161449"/>
                  </a:moveTo>
                  <a:cubicBezTo>
                    <a:pt x="260413" y="163544"/>
                    <a:pt x="260413" y="164878"/>
                    <a:pt x="260413" y="166211"/>
                  </a:cubicBezTo>
                  <a:cubicBezTo>
                    <a:pt x="259080" y="168307"/>
                    <a:pt x="257651" y="169640"/>
                    <a:pt x="254889" y="170974"/>
                  </a:cubicBezTo>
                  <a:cubicBezTo>
                    <a:pt x="254222" y="171641"/>
                    <a:pt x="253555" y="173069"/>
                    <a:pt x="253555" y="173736"/>
                  </a:cubicBezTo>
                  <a:cubicBezTo>
                    <a:pt x="253555" y="174403"/>
                    <a:pt x="252889" y="174403"/>
                    <a:pt x="252889" y="175070"/>
                  </a:cubicBezTo>
                  <a:cubicBezTo>
                    <a:pt x="252889" y="175736"/>
                    <a:pt x="253555" y="177165"/>
                    <a:pt x="254222" y="177832"/>
                  </a:cubicBezTo>
                  <a:cubicBezTo>
                    <a:pt x="254889" y="177832"/>
                    <a:pt x="255556" y="178499"/>
                    <a:pt x="255556" y="178499"/>
                  </a:cubicBezTo>
                  <a:cubicBezTo>
                    <a:pt x="256889" y="179165"/>
                    <a:pt x="256889" y="179165"/>
                    <a:pt x="258318" y="179165"/>
                  </a:cubicBezTo>
                  <a:lnTo>
                    <a:pt x="258985" y="178499"/>
                  </a:lnTo>
                  <a:cubicBezTo>
                    <a:pt x="259652" y="178499"/>
                    <a:pt x="260318" y="178499"/>
                    <a:pt x="260318" y="179165"/>
                  </a:cubicBezTo>
                  <a:cubicBezTo>
                    <a:pt x="258985" y="182594"/>
                    <a:pt x="256889" y="185357"/>
                    <a:pt x="254794" y="187357"/>
                  </a:cubicBezTo>
                  <a:cubicBezTo>
                    <a:pt x="253460" y="188690"/>
                    <a:pt x="252698" y="190119"/>
                    <a:pt x="252698" y="191453"/>
                  </a:cubicBezTo>
                  <a:cubicBezTo>
                    <a:pt x="252698" y="192119"/>
                    <a:pt x="251365" y="192119"/>
                    <a:pt x="250603" y="192119"/>
                  </a:cubicBezTo>
                  <a:cubicBezTo>
                    <a:pt x="250603" y="191453"/>
                    <a:pt x="251269" y="190786"/>
                    <a:pt x="251269" y="190024"/>
                  </a:cubicBezTo>
                  <a:cubicBezTo>
                    <a:pt x="251269" y="189357"/>
                    <a:pt x="250603" y="188690"/>
                    <a:pt x="250603" y="187262"/>
                  </a:cubicBezTo>
                  <a:cubicBezTo>
                    <a:pt x="250603" y="185166"/>
                    <a:pt x="251936" y="183833"/>
                    <a:pt x="252698" y="181737"/>
                  </a:cubicBezTo>
                  <a:cubicBezTo>
                    <a:pt x="253365" y="181070"/>
                    <a:pt x="253365" y="180404"/>
                    <a:pt x="253365" y="180404"/>
                  </a:cubicBezTo>
                  <a:lnTo>
                    <a:pt x="252698" y="180404"/>
                  </a:lnTo>
                  <a:cubicBezTo>
                    <a:pt x="252698" y="179737"/>
                    <a:pt x="252031" y="180404"/>
                    <a:pt x="251365" y="180404"/>
                  </a:cubicBezTo>
                  <a:cubicBezTo>
                    <a:pt x="249269" y="180404"/>
                    <a:pt x="248602" y="181737"/>
                    <a:pt x="248602" y="183833"/>
                  </a:cubicBezTo>
                  <a:cubicBezTo>
                    <a:pt x="247936" y="185166"/>
                    <a:pt x="247269" y="185166"/>
                    <a:pt x="246507" y="185928"/>
                  </a:cubicBezTo>
                  <a:lnTo>
                    <a:pt x="245840" y="185928"/>
                  </a:lnTo>
                  <a:cubicBezTo>
                    <a:pt x="245173" y="185928"/>
                    <a:pt x="245173" y="185928"/>
                    <a:pt x="244507" y="185261"/>
                  </a:cubicBezTo>
                  <a:lnTo>
                    <a:pt x="244507" y="183928"/>
                  </a:lnTo>
                  <a:cubicBezTo>
                    <a:pt x="244507" y="183261"/>
                    <a:pt x="244507" y="182594"/>
                    <a:pt x="243840" y="182594"/>
                  </a:cubicBezTo>
                  <a:cubicBezTo>
                    <a:pt x="243173" y="182594"/>
                    <a:pt x="243173" y="183261"/>
                    <a:pt x="243173" y="183928"/>
                  </a:cubicBezTo>
                  <a:cubicBezTo>
                    <a:pt x="241840" y="183928"/>
                    <a:pt x="241078" y="185261"/>
                    <a:pt x="241078" y="185261"/>
                  </a:cubicBezTo>
                  <a:lnTo>
                    <a:pt x="241078" y="190024"/>
                  </a:lnTo>
                  <a:cubicBezTo>
                    <a:pt x="240411" y="190024"/>
                    <a:pt x="241078" y="190691"/>
                    <a:pt x="240411" y="190691"/>
                  </a:cubicBezTo>
                  <a:cubicBezTo>
                    <a:pt x="238315" y="190024"/>
                    <a:pt x="236315" y="190024"/>
                    <a:pt x="235648" y="188595"/>
                  </a:cubicBezTo>
                  <a:cubicBezTo>
                    <a:pt x="235648" y="188595"/>
                    <a:pt x="234315" y="188595"/>
                    <a:pt x="234315" y="189262"/>
                  </a:cubicBezTo>
                  <a:cubicBezTo>
                    <a:pt x="234315" y="189929"/>
                    <a:pt x="234315" y="189929"/>
                    <a:pt x="234982" y="191357"/>
                  </a:cubicBezTo>
                  <a:cubicBezTo>
                    <a:pt x="234982" y="192024"/>
                    <a:pt x="234982" y="192691"/>
                    <a:pt x="233648" y="193453"/>
                  </a:cubicBezTo>
                  <a:cubicBezTo>
                    <a:pt x="230886" y="196215"/>
                    <a:pt x="230219" y="198215"/>
                    <a:pt x="228124" y="201644"/>
                  </a:cubicBezTo>
                  <a:cubicBezTo>
                    <a:pt x="228124" y="201644"/>
                    <a:pt x="228124" y="202311"/>
                    <a:pt x="227457" y="202311"/>
                  </a:cubicBezTo>
                  <a:lnTo>
                    <a:pt x="226123" y="202311"/>
                  </a:lnTo>
                  <a:cubicBezTo>
                    <a:pt x="225457" y="202311"/>
                    <a:pt x="225457" y="202311"/>
                    <a:pt x="225457" y="202978"/>
                  </a:cubicBezTo>
                  <a:lnTo>
                    <a:pt x="225457" y="204311"/>
                  </a:lnTo>
                  <a:cubicBezTo>
                    <a:pt x="225457" y="205645"/>
                    <a:pt x="224123" y="206407"/>
                    <a:pt x="224123" y="207740"/>
                  </a:cubicBezTo>
                  <a:cubicBezTo>
                    <a:pt x="222790" y="209074"/>
                    <a:pt x="220694" y="209074"/>
                    <a:pt x="220027" y="211169"/>
                  </a:cubicBezTo>
                  <a:cubicBezTo>
                    <a:pt x="220027" y="212503"/>
                    <a:pt x="218694" y="212503"/>
                    <a:pt x="216598" y="212503"/>
                  </a:cubicBezTo>
                  <a:cubicBezTo>
                    <a:pt x="216598" y="212503"/>
                    <a:pt x="215265" y="213170"/>
                    <a:pt x="215265" y="213836"/>
                  </a:cubicBezTo>
                  <a:cubicBezTo>
                    <a:pt x="214598" y="213836"/>
                    <a:pt x="213931" y="214503"/>
                    <a:pt x="213931" y="214503"/>
                  </a:cubicBezTo>
                  <a:cubicBezTo>
                    <a:pt x="213931" y="214503"/>
                    <a:pt x="214598" y="215170"/>
                    <a:pt x="215265" y="215170"/>
                  </a:cubicBezTo>
                  <a:cubicBezTo>
                    <a:pt x="215265" y="215837"/>
                    <a:pt x="215265" y="215837"/>
                    <a:pt x="215932" y="215837"/>
                  </a:cubicBezTo>
                  <a:lnTo>
                    <a:pt x="217265" y="217170"/>
                  </a:lnTo>
                  <a:cubicBezTo>
                    <a:pt x="216598" y="218504"/>
                    <a:pt x="215932" y="220599"/>
                    <a:pt x="214503" y="220599"/>
                  </a:cubicBezTo>
                  <a:cubicBezTo>
                    <a:pt x="213836" y="221266"/>
                    <a:pt x="212407" y="221933"/>
                    <a:pt x="211741" y="221933"/>
                  </a:cubicBezTo>
                  <a:cubicBezTo>
                    <a:pt x="209645" y="222599"/>
                    <a:pt x="208978" y="223266"/>
                    <a:pt x="206978" y="224695"/>
                  </a:cubicBezTo>
                  <a:cubicBezTo>
                    <a:pt x="204978" y="226124"/>
                    <a:pt x="204883" y="228124"/>
                    <a:pt x="204883" y="230219"/>
                  </a:cubicBezTo>
                  <a:lnTo>
                    <a:pt x="203549" y="234982"/>
                  </a:lnTo>
                  <a:cubicBezTo>
                    <a:pt x="202882" y="234982"/>
                    <a:pt x="203549" y="235649"/>
                    <a:pt x="204216" y="236315"/>
                  </a:cubicBezTo>
                  <a:cubicBezTo>
                    <a:pt x="204216" y="236982"/>
                    <a:pt x="204883" y="236982"/>
                    <a:pt x="204883" y="236982"/>
                  </a:cubicBezTo>
                  <a:lnTo>
                    <a:pt x="204216" y="237649"/>
                  </a:lnTo>
                  <a:cubicBezTo>
                    <a:pt x="203549" y="238316"/>
                    <a:pt x="203549" y="238316"/>
                    <a:pt x="203549" y="238982"/>
                  </a:cubicBezTo>
                  <a:cubicBezTo>
                    <a:pt x="203549" y="239649"/>
                    <a:pt x="203549" y="240316"/>
                    <a:pt x="204216" y="240316"/>
                  </a:cubicBezTo>
                  <a:cubicBezTo>
                    <a:pt x="204216" y="240983"/>
                    <a:pt x="204216" y="240983"/>
                    <a:pt x="204883" y="240983"/>
                  </a:cubicBezTo>
                  <a:cubicBezTo>
                    <a:pt x="204883" y="240983"/>
                    <a:pt x="205550" y="240983"/>
                    <a:pt x="205550" y="240316"/>
                  </a:cubicBezTo>
                  <a:cubicBezTo>
                    <a:pt x="206883" y="239649"/>
                    <a:pt x="208312" y="238220"/>
                    <a:pt x="208312" y="236887"/>
                  </a:cubicBezTo>
                  <a:lnTo>
                    <a:pt x="208312" y="236220"/>
                  </a:lnTo>
                  <a:cubicBezTo>
                    <a:pt x="208312" y="235553"/>
                    <a:pt x="208978" y="234125"/>
                    <a:pt x="210407" y="234125"/>
                  </a:cubicBezTo>
                  <a:cubicBezTo>
                    <a:pt x="211741" y="234125"/>
                    <a:pt x="212503" y="232791"/>
                    <a:pt x="214503" y="231362"/>
                  </a:cubicBezTo>
                  <a:cubicBezTo>
                    <a:pt x="214503" y="230696"/>
                    <a:pt x="215170" y="229267"/>
                    <a:pt x="215836" y="228600"/>
                  </a:cubicBezTo>
                  <a:cubicBezTo>
                    <a:pt x="216503" y="228600"/>
                    <a:pt x="216503" y="228600"/>
                    <a:pt x="217170" y="229267"/>
                  </a:cubicBezTo>
                  <a:cubicBezTo>
                    <a:pt x="216503" y="230600"/>
                    <a:pt x="215836" y="232029"/>
                    <a:pt x="214408" y="233363"/>
                  </a:cubicBezTo>
                  <a:lnTo>
                    <a:pt x="213741" y="234029"/>
                  </a:lnTo>
                  <a:lnTo>
                    <a:pt x="213741" y="234696"/>
                  </a:lnTo>
                  <a:cubicBezTo>
                    <a:pt x="213741" y="236792"/>
                    <a:pt x="211646" y="238125"/>
                    <a:pt x="209645" y="240221"/>
                  </a:cubicBezTo>
                  <a:cubicBezTo>
                    <a:pt x="208978" y="242316"/>
                    <a:pt x="206883" y="242983"/>
                    <a:pt x="205550" y="244983"/>
                  </a:cubicBezTo>
                  <a:cubicBezTo>
                    <a:pt x="204216" y="247079"/>
                    <a:pt x="201454" y="248412"/>
                    <a:pt x="199358" y="250508"/>
                  </a:cubicBezTo>
                  <a:cubicBezTo>
                    <a:pt x="199358" y="250508"/>
                    <a:pt x="198692" y="251174"/>
                    <a:pt x="197263" y="251841"/>
                  </a:cubicBezTo>
                  <a:lnTo>
                    <a:pt x="196596" y="251841"/>
                  </a:lnTo>
                  <a:cubicBezTo>
                    <a:pt x="195929" y="249746"/>
                    <a:pt x="195929" y="249079"/>
                    <a:pt x="193834" y="249079"/>
                  </a:cubicBezTo>
                  <a:cubicBezTo>
                    <a:pt x="193834" y="249079"/>
                    <a:pt x="193167" y="249079"/>
                    <a:pt x="193167" y="248412"/>
                  </a:cubicBezTo>
                  <a:lnTo>
                    <a:pt x="193167" y="247745"/>
                  </a:lnTo>
                  <a:cubicBezTo>
                    <a:pt x="193167" y="247079"/>
                    <a:pt x="193167" y="247079"/>
                    <a:pt x="193834" y="247079"/>
                  </a:cubicBezTo>
                  <a:cubicBezTo>
                    <a:pt x="194500" y="247079"/>
                    <a:pt x="195167" y="246412"/>
                    <a:pt x="195167" y="245745"/>
                  </a:cubicBezTo>
                  <a:lnTo>
                    <a:pt x="195834" y="245078"/>
                  </a:lnTo>
                  <a:cubicBezTo>
                    <a:pt x="195834" y="245078"/>
                    <a:pt x="195167" y="245078"/>
                    <a:pt x="195167" y="244412"/>
                  </a:cubicBezTo>
                  <a:lnTo>
                    <a:pt x="193834" y="243078"/>
                  </a:lnTo>
                  <a:cubicBezTo>
                    <a:pt x="193834" y="243078"/>
                    <a:pt x="194500" y="243078"/>
                    <a:pt x="195167" y="242411"/>
                  </a:cubicBezTo>
                  <a:lnTo>
                    <a:pt x="195167" y="241745"/>
                  </a:lnTo>
                  <a:cubicBezTo>
                    <a:pt x="195167" y="241078"/>
                    <a:pt x="195167" y="241078"/>
                    <a:pt x="195834" y="241078"/>
                  </a:cubicBezTo>
                  <a:lnTo>
                    <a:pt x="195834" y="240983"/>
                  </a:lnTo>
                  <a:cubicBezTo>
                    <a:pt x="195167" y="240316"/>
                    <a:pt x="195167" y="240316"/>
                    <a:pt x="194500" y="240316"/>
                  </a:cubicBezTo>
                  <a:lnTo>
                    <a:pt x="193834" y="240316"/>
                  </a:lnTo>
                  <a:cubicBezTo>
                    <a:pt x="191071" y="241649"/>
                    <a:pt x="189738" y="243078"/>
                    <a:pt x="188309" y="245840"/>
                  </a:cubicBezTo>
                  <a:lnTo>
                    <a:pt x="187642" y="246507"/>
                  </a:lnTo>
                  <a:cubicBezTo>
                    <a:pt x="187642" y="246507"/>
                    <a:pt x="187642" y="247174"/>
                    <a:pt x="188309" y="247174"/>
                  </a:cubicBezTo>
                  <a:lnTo>
                    <a:pt x="189643" y="247174"/>
                  </a:lnTo>
                  <a:lnTo>
                    <a:pt x="190309" y="247841"/>
                  </a:lnTo>
                  <a:cubicBezTo>
                    <a:pt x="190309" y="247841"/>
                    <a:pt x="189643" y="247841"/>
                    <a:pt x="188976" y="248507"/>
                  </a:cubicBezTo>
                  <a:cubicBezTo>
                    <a:pt x="186880" y="249841"/>
                    <a:pt x="187642" y="251936"/>
                    <a:pt x="186214" y="252603"/>
                  </a:cubicBezTo>
                  <a:lnTo>
                    <a:pt x="186214" y="253937"/>
                  </a:lnTo>
                  <a:cubicBezTo>
                    <a:pt x="186880" y="254603"/>
                    <a:pt x="186880" y="256032"/>
                    <a:pt x="186880" y="256699"/>
                  </a:cubicBezTo>
                  <a:lnTo>
                    <a:pt x="186880" y="257366"/>
                  </a:lnTo>
                  <a:cubicBezTo>
                    <a:pt x="186214" y="257366"/>
                    <a:pt x="185547" y="258032"/>
                    <a:pt x="185547" y="258699"/>
                  </a:cubicBezTo>
                  <a:lnTo>
                    <a:pt x="184880" y="259366"/>
                  </a:lnTo>
                  <a:lnTo>
                    <a:pt x="185547" y="259366"/>
                  </a:lnTo>
                  <a:cubicBezTo>
                    <a:pt x="185547" y="260033"/>
                    <a:pt x="185547" y="260033"/>
                    <a:pt x="186214" y="260699"/>
                  </a:cubicBezTo>
                  <a:cubicBezTo>
                    <a:pt x="186880" y="260699"/>
                    <a:pt x="186880" y="261366"/>
                    <a:pt x="186880" y="262033"/>
                  </a:cubicBezTo>
                  <a:cubicBezTo>
                    <a:pt x="186880" y="263366"/>
                    <a:pt x="185547" y="264128"/>
                    <a:pt x="184785" y="264128"/>
                  </a:cubicBezTo>
                  <a:cubicBezTo>
                    <a:pt x="183452" y="264128"/>
                    <a:pt x="182690" y="264128"/>
                    <a:pt x="181356" y="264795"/>
                  </a:cubicBezTo>
                  <a:cubicBezTo>
                    <a:pt x="180689" y="265462"/>
                    <a:pt x="180023" y="265462"/>
                    <a:pt x="180023" y="266129"/>
                  </a:cubicBezTo>
                  <a:cubicBezTo>
                    <a:pt x="180023" y="266795"/>
                    <a:pt x="180689" y="266795"/>
                    <a:pt x="180689" y="267462"/>
                  </a:cubicBezTo>
                  <a:cubicBezTo>
                    <a:pt x="181356" y="268129"/>
                    <a:pt x="181356" y="268129"/>
                    <a:pt x="181356" y="268796"/>
                  </a:cubicBezTo>
                  <a:lnTo>
                    <a:pt x="181356" y="269462"/>
                  </a:lnTo>
                  <a:lnTo>
                    <a:pt x="180023" y="269462"/>
                  </a:lnTo>
                  <a:cubicBezTo>
                    <a:pt x="179356" y="268796"/>
                    <a:pt x="177927" y="268129"/>
                    <a:pt x="176594" y="268129"/>
                  </a:cubicBezTo>
                  <a:lnTo>
                    <a:pt x="175260" y="268129"/>
                  </a:lnTo>
                  <a:cubicBezTo>
                    <a:pt x="174593" y="267462"/>
                    <a:pt x="173927" y="267462"/>
                    <a:pt x="173927" y="266795"/>
                  </a:cubicBezTo>
                  <a:lnTo>
                    <a:pt x="176022" y="264700"/>
                  </a:lnTo>
                  <a:cubicBezTo>
                    <a:pt x="176022" y="264033"/>
                    <a:pt x="176022" y="264033"/>
                    <a:pt x="175355" y="264033"/>
                  </a:cubicBezTo>
                  <a:lnTo>
                    <a:pt x="176022" y="263366"/>
                  </a:lnTo>
                  <a:cubicBezTo>
                    <a:pt x="175355" y="263366"/>
                    <a:pt x="173927" y="264033"/>
                    <a:pt x="173260" y="264033"/>
                  </a:cubicBezTo>
                  <a:lnTo>
                    <a:pt x="166402" y="264033"/>
                  </a:lnTo>
                  <a:cubicBezTo>
                    <a:pt x="165735" y="264033"/>
                    <a:pt x="165735" y="265367"/>
                    <a:pt x="165735" y="266129"/>
                  </a:cubicBezTo>
                  <a:cubicBezTo>
                    <a:pt x="166402" y="267462"/>
                    <a:pt x="168497" y="269558"/>
                    <a:pt x="170498" y="270224"/>
                  </a:cubicBezTo>
                  <a:cubicBezTo>
                    <a:pt x="171164" y="270224"/>
                    <a:pt x="171164" y="270224"/>
                    <a:pt x="171164" y="270891"/>
                  </a:cubicBezTo>
                  <a:lnTo>
                    <a:pt x="171164" y="271558"/>
                  </a:lnTo>
                  <a:cubicBezTo>
                    <a:pt x="171164" y="271558"/>
                    <a:pt x="171831" y="272225"/>
                    <a:pt x="171831" y="272891"/>
                  </a:cubicBezTo>
                  <a:lnTo>
                    <a:pt x="171831" y="274987"/>
                  </a:lnTo>
                  <a:lnTo>
                    <a:pt x="165640" y="282512"/>
                  </a:lnTo>
                  <a:cubicBezTo>
                    <a:pt x="164306" y="282512"/>
                    <a:pt x="163544" y="283178"/>
                    <a:pt x="162877" y="284607"/>
                  </a:cubicBezTo>
                  <a:cubicBezTo>
                    <a:pt x="162211" y="286036"/>
                    <a:pt x="160782" y="288036"/>
                    <a:pt x="158782" y="289370"/>
                  </a:cubicBezTo>
                  <a:lnTo>
                    <a:pt x="152590" y="294132"/>
                  </a:lnTo>
                  <a:cubicBezTo>
                    <a:pt x="151924" y="294799"/>
                    <a:pt x="149161" y="295466"/>
                    <a:pt x="147828" y="297561"/>
                  </a:cubicBezTo>
                  <a:cubicBezTo>
                    <a:pt x="144399" y="297561"/>
                    <a:pt x="143065" y="300323"/>
                    <a:pt x="140970" y="302323"/>
                  </a:cubicBezTo>
                  <a:lnTo>
                    <a:pt x="136874" y="305086"/>
                  </a:lnTo>
                  <a:cubicBezTo>
                    <a:pt x="134779" y="305753"/>
                    <a:pt x="132778" y="306419"/>
                    <a:pt x="131350" y="307848"/>
                  </a:cubicBezTo>
                  <a:cubicBezTo>
                    <a:pt x="127254" y="309944"/>
                    <a:pt x="121729" y="313373"/>
                    <a:pt x="116967" y="314706"/>
                  </a:cubicBezTo>
                  <a:cubicBezTo>
                    <a:pt x="115633" y="315373"/>
                    <a:pt x="114871" y="316802"/>
                    <a:pt x="113538" y="318135"/>
                  </a:cubicBezTo>
                  <a:lnTo>
                    <a:pt x="108775" y="318135"/>
                  </a:lnTo>
                  <a:cubicBezTo>
                    <a:pt x="108775" y="318135"/>
                    <a:pt x="107442" y="318802"/>
                    <a:pt x="106680" y="318802"/>
                  </a:cubicBezTo>
                  <a:lnTo>
                    <a:pt x="101917" y="320897"/>
                  </a:lnTo>
                  <a:cubicBezTo>
                    <a:pt x="100584" y="320897"/>
                    <a:pt x="98488" y="320897"/>
                    <a:pt x="97155" y="321564"/>
                  </a:cubicBezTo>
                  <a:cubicBezTo>
                    <a:pt x="95821" y="321564"/>
                    <a:pt x="95059" y="322898"/>
                    <a:pt x="93726" y="322898"/>
                  </a:cubicBezTo>
                  <a:cubicBezTo>
                    <a:pt x="93059" y="323564"/>
                    <a:pt x="92392" y="323564"/>
                    <a:pt x="92392" y="323564"/>
                  </a:cubicBezTo>
                  <a:cubicBezTo>
                    <a:pt x="91726" y="323564"/>
                    <a:pt x="91726" y="323564"/>
                    <a:pt x="91726" y="322898"/>
                  </a:cubicBezTo>
                  <a:cubicBezTo>
                    <a:pt x="90392" y="322898"/>
                    <a:pt x="89630" y="322231"/>
                    <a:pt x="88297" y="322231"/>
                  </a:cubicBezTo>
                  <a:cubicBezTo>
                    <a:pt x="86963" y="322231"/>
                    <a:pt x="85534" y="322898"/>
                    <a:pt x="84868" y="322898"/>
                  </a:cubicBezTo>
                  <a:cubicBezTo>
                    <a:pt x="83534" y="323564"/>
                    <a:pt x="82772" y="323564"/>
                    <a:pt x="81439" y="323564"/>
                  </a:cubicBezTo>
                  <a:lnTo>
                    <a:pt x="73247" y="323564"/>
                  </a:lnTo>
                  <a:cubicBezTo>
                    <a:pt x="71914" y="322898"/>
                    <a:pt x="70485" y="322898"/>
                    <a:pt x="69818" y="322898"/>
                  </a:cubicBezTo>
                  <a:lnTo>
                    <a:pt x="58865" y="322898"/>
                  </a:lnTo>
                  <a:cubicBezTo>
                    <a:pt x="58198" y="322898"/>
                    <a:pt x="57531" y="322231"/>
                    <a:pt x="56102" y="322231"/>
                  </a:cubicBezTo>
                  <a:cubicBezTo>
                    <a:pt x="55435" y="322231"/>
                    <a:pt x="54007" y="321564"/>
                    <a:pt x="54007" y="321564"/>
                  </a:cubicBezTo>
                  <a:cubicBezTo>
                    <a:pt x="50578" y="321564"/>
                    <a:pt x="47149" y="320897"/>
                    <a:pt x="43720" y="319469"/>
                  </a:cubicBezTo>
                  <a:cubicBezTo>
                    <a:pt x="43720" y="319469"/>
                    <a:pt x="43053" y="319469"/>
                    <a:pt x="42386" y="318802"/>
                  </a:cubicBezTo>
                  <a:cubicBezTo>
                    <a:pt x="41053" y="316706"/>
                    <a:pt x="41053" y="316706"/>
                    <a:pt x="38290" y="316706"/>
                  </a:cubicBezTo>
                  <a:cubicBezTo>
                    <a:pt x="36957" y="316706"/>
                    <a:pt x="36195" y="316040"/>
                    <a:pt x="35528" y="314611"/>
                  </a:cubicBezTo>
                  <a:cubicBezTo>
                    <a:pt x="34195" y="311848"/>
                    <a:pt x="34195" y="311848"/>
                    <a:pt x="31432" y="311848"/>
                  </a:cubicBezTo>
                  <a:lnTo>
                    <a:pt x="26670" y="311848"/>
                  </a:lnTo>
                  <a:cubicBezTo>
                    <a:pt x="26670" y="311848"/>
                    <a:pt x="26003" y="311182"/>
                    <a:pt x="26003" y="310515"/>
                  </a:cubicBezTo>
                  <a:cubicBezTo>
                    <a:pt x="26003" y="309848"/>
                    <a:pt x="26670" y="309848"/>
                    <a:pt x="27337" y="309182"/>
                  </a:cubicBezTo>
                  <a:lnTo>
                    <a:pt x="27337" y="308515"/>
                  </a:lnTo>
                  <a:lnTo>
                    <a:pt x="26670" y="307848"/>
                  </a:lnTo>
                  <a:cubicBezTo>
                    <a:pt x="26670" y="307181"/>
                    <a:pt x="26003" y="307181"/>
                    <a:pt x="25336" y="307181"/>
                  </a:cubicBezTo>
                  <a:cubicBezTo>
                    <a:pt x="24003" y="307181"/>
                    <a:pt x="22574" y="307181"/>
                    <a:pt x="21241" y="305848"/>
                  </a:cubicBezTo>
                  <a:lnTo>
                    <a:pt x="20574" y="305848"/>
                  </a:lnTo>
                  <a:cubicBezTo>
                    <a:pt x="20574" y="305848"/>
                    <a:pt x="19907" y="305848"/>
                    <a:pt x="19907" y="305181"/>
                  </a:cubicBezTo>
                  <a:cubicBezTo>
                    <a:pt x="19907" y="305181"/>
                    <a:pt x="20574" y="304514"/>
                    <a:pt x="20574" y="303848"/>
                  </a:cubicBezTo>
                  <a:lnTo>
                    <a:pt x="20574" y="302514"/>
                  </a:lnTo>
                  <a:lnTo>
                    <a:pt x="17812" y="302514"/>
                  </a:lnTo>
                  <a:cubicBezTo>
                    <a:pt x="17145" y="302514"/>
                    <a:pt x="17145" y="301181"/>
                    <a:pt x="17145" y="300419"/>
                  </a:cubicBezTo>
                  <a:lnTo>
                    <a:pt x="17812" y="300419"/>
                  </a:lnTo>
                  <a:cubicBezTo>
                    <a:pt x="17812" y="299085"/>
                    <a:pt x="19145" y="299085"/>
                    <a:pt x="19145" y="297656"/>
                  </a:cubicBezTo>
                  <a:cubicBezTo>
                    <a:pt x="19145" y="296228"/>
                    <a:pt x="19145" y="294894"/>
                    <a:pt x="17050" y="294227"/>
                  </a:cubicBezTo>
                  <a:cubicBezTo>
                    <a:pt x="5429" y="287369"/>
                    <a:pt x="12954" y="285274"/>
                    <a:pt x="5429" y="277749"/>
                  </a:cubicBezTo>
                  <a:cubicBezTo>
                    <a:pt x="4763" y="276416"/>
                    <a:pt x="4096" y="274987"/>
                    <a:pt x="4096" y="273653"/>
                  </a:cubicBezTo>
                  <a:cubicBezTo>
                    <a:pt x="3429" y="271558"/>
                    <a:pt x="3429" y="268891"/>
                    <a:pt x="2000" y="266795"/>
                  </a:cubicBezTo>
                  <a:lnTo>
                    <a:pt x="2000" y="259271"/>
                  </a:lnTo>
                  <a:cubicBezTo>
                    <a:pt x="1333" y="257937"/>
                    <a:pt x="1333" y="257175"/>
                    <a:pt x="1333" y="255842"/>
                  </a:cubicBezTo>
                  <a:cubicBezTo>
                    <a:pt x="1333" y="255175"/>
                    <a:pt x="1333" y="254508"/>
                    <a:pt x="2000" y="253746"/>
                  </a:cubicBezTo>
                  <a:lnTo>
                    <a:pt x="2000" y="249650"/>
                  </a:lnTo>
                  <a:cubicBezTo>
                    <a:pt x="2000" y="248984"/>
                    <a:pt x="2667" y="248317"/>
                    <a:pt x="2667" y="247555"/>
                  </a:cubicBezTo>
                  <a:cubicBezTo>
                    <a:pt x="2667" y="246888"/>
                    <a:pt x="2000" y="246221"/>
                    <a:pt x="2000" y="245459"/>
                  </a:cubicBezTo>
                  <a:cubicBezTo>
                    <a:pt x="1333" y="244126"/>
                    <a:pt x="1333" y="242697"/>
                    <a:pt x="1333" y="241364"/>
                  </a:cubicBezTo>
                  <a:lnTo>
                    <a:pt x="1333" y="240030"/>
                  </a:lnTo>
                  <a:cubicBezTo>
                    <a:pt x="2000" y="239363"/>
                    <a:pt x="2000" y="237935"/>
                    <a:pt x="2000" y="237268"/>
                  </a:cubicBezTo>
                  <a:cubicBezTo>
                    <a:pt x="2000" y="236601"/>
                    <a:pt x="2000" y="235934"/>
                    <a:pt x="667" y="235172"/>
                  </a:cubicBezTo>
                  <a:cubicBezTo>
                    <a:pt x="667" y="234506"/>
                    <a:pt x="0" y="233839"/>
                    <a:pt x="0" y="233077"/>
                  </a:cubicBezTo>
                  <a:cubicBezTo>
                    <a:pt x="0" y="232410"/>
                    <a:pt x="667" y="230981"/>
                    <a:pt x="1333" y="229648"/>
                  </a:cubicBezTo>
                  <a:cubicBezTo>
                    <a:pt x="667" y="228314"/>
                    <a:pt x="667" y="227552"/>
                    <a:pt x="667" y="226219"/>
                  </a:cubicBezTo>
                  <a:cubicBezTo>
                    <a:pt x="1333" y="223457"/>
                    <a:pt x="1333" y="220694"/>
                    <a:pt x="1333" y="217265"/>
                  </a:cubicBezTo>
                  <a:cubicBezTo>
                    <a:pt x="1333" y="216599"/>
                    <a:pt x="667" y="215932"/>
                    <a:pt x="667" y="215170"/>
                  </a:cubicBezTo>
                  <a:cubicBezTo>
                    <a:pt x="667" y="213836"/>
                    <a:pt x="1333" y="213074"/>
                    <a:pt x="2000" y="211741"/>
                  </a:cubicBezTo>
                  <a:cubicBezTo>
                    <a:pt x="2000" y="211074"/>
                    <a:pt x="2000" y="210407"/>
                    <a:pt x="2667" y="210407"/>
                  </a:cubicBezTo>
                  <a:cubicBezTo>
                    <a:pt x="4000" y="210407"/>
                    <a:pt x="4000" y="211074"/>
                    <a:pt x="4000" y="212503"/>
                  </a:cubicBezTo>
                  <a:lnTo>
                    <a:pt x="4000" y="213836"/>
                  </a:lnTo>
                  <a:cubicBezTo>
                    <a:pt x="4667" y="213836"/>
                    <a:pt x="4667" y="213836"/>
                    <a:pt x="4667" y="213170"/>
                  </a:cubicBezTo>
                  <a:lnTo>
                    <a:pt x="4667" y="206978"/>
                  </a:lnTo>
                  <a:cubicBezTo>
                    <a:pt x="4667" y="206312"/>
                    <a:pt x="4667" y="206312"/>
                    <a:pt x="5334" y="205645"/>
                  </a:cubicBezTo>
                  <a:lnTo>
                    <a:pt x="6667" y="204311"/>
                  </a:lnTo>
                  <a:lnTo>
                    <a:pt x="6001" y="204311"/>
                  </a:lnTo>
                  <a:cubicBezTo>
                    <a:pt x="4667" y="202978"/>
                    <a:pt x="4667" y="200882"/>
                    <a:pt x="4667" y="198787"/>
                  </a:cubicBezTo>
                  <a:lnTo>
                    <a:pt x="4667" y="197453"/>
                  </a:lnTo>
                  <a:cubicBezTo>
                    <a:pt x="4667" y="196787"/>
                    <a:pt x="4667" y="196787"/>
                    <a:pt x="4000" y="196120"/>
                  </a:cubicBezTo>
                  <a:cubicBezTo>
                    <a:pt x="4667" y="194786"/>
                    <a:pt x="4667" y="193358"/>
                    <a:pt x="4667" y="192024"/>
                  </a:cubicBezTo>
                  <a:lnTo>
                    <a:pt x="4667" y="189929"/>
                  </a:lnTo>
                  <a:cubicBezTo>
                    <a:pt x="4667" y="188595"/>
                    <a:pt x="4667" y="187833"/>
                    <a:pt x="5334" y="187166"/>
                  </a:cubicBezTo>
                  <a:cubicBezTo>
                    <a:pt x="5334" y="186500"/>
                    <a:pt x="6001" y="186500"/>
                    <a:pt x="6667" y="186500"/>
                  </a:cubicBezTo>
                  <a:cubicBezTo>
                    <a:pt x="7334" y="186500"/>
                    <a:pt x="8001" y="185833"/>
                    <a:pt x="8001" y="185166"/>
                  </a:cubicBezTo>
                  <a:cubicBezTo>
                    <a:pt x="8668" y="185166"/>
                    <a:pt x="8668" y="185166"/>
                    <a:pt x="8668" y="184499"/>
                  </a:cubicBezTo>
                  <a:lnTo>
                    <a:pt x="8668" y="183833"/>
                  </a:lnTo>
                  <a:lnTo>
                    <a:pt x="8096" y="183356"/>
                  </a:lnTo>
                  <a:cubicBezTo>
                    <a:pt x="7429" y="183356"/>
                    <a:pt x="7429" y="184023"/>
                    <a:pt x="6763" y="184023"/>
                  </a:cubicBezTo>
                  <a:lnTo>
                    <a:pt x="6096" y="184023"/>
                  </a:lnTo>
                  <a:cubicBezTo>
                    <a:pt x="6096" y="182690"/>
                    <a:pt x="6096" y="182690"/>
                    <a:pt x="6763" y="181928"/>
                  </a:cubicBezTo>
                  <a:cubicBezTo>
                    <a:pt x="7429" y="181261"/>
                    <a:pt x="7429" y="180594"/>
                    <a:pt x="7429" y="179832"/>
                  </a:cubicBezTo>
                  <a:cubicBezTo>
                    <a:pt x="7429" y="179165"/>
                    <a:pt x="6763" y="177737"/>
                    <a:pt x="6096" y="176403"/>
                  </a:cubicBezTo>
                  <a:cubicBezTo>
                    <a:pt x="6096" y="175736"/>
                    <a:pt x="6763" y="175736"/>
                    <a:pt x="6763" y="175070"/>
                  </a:cubicBezTo>
                  <a:cubicBezTo>
                    <a:pt x="6763" y="174403"/>
                    <a:pt x="6096" y="173736"/>
                    <a:pt x="6096" y="172974"/>
                  </a:cubicBezTo>
                  <a:lnTo>
                    <a:pt x="6096" y="172403"/>
                  </a:lnTo>
                  <a:cubicBezTo>
                    <a:pt x="8192" y="169640"/>
                    <a:pt x="6763" y="167640"/>
                    <a:pt x="8858" y="165545"/>
                  </a:cubicBezTo>
                  <a:cubicBezTo>
                    <a:pt x="8858" y="164878"/>
                    <a:pt x="8192" y="163449"/>
                    <a:pt x="8192" y="162782"/>
                  </a:cubicBezTo>
                  <a:cubicBezTo>
                    <a:pt x="8858" y="160687"/>
                    <a:pt x="9525" y="159353"/>
                    <a:pt x="9525" y="157258"/>
                  </a:cubicBezTo>
                  <a:lnTo>
                    <a:pt x="9525" y="155924"/>
                  </a:lnTo>
                  <a:cubicBezTo>
                    <a:pt x="9525" y="155258"/>
                    <a:pt x="10192" y="154591"/>
                    <a:pt x="11621" y="153829"/>
                  </a:cubicBezTo>
                  <a:cubicBezTo>
                    <a:pt x="11621" y="153829"/>
                    <a:pt x="12287" y="153162"/>
                    <a:pt x="12287" y="152495"/>
                  </a:cubicBezTo>
                  <a:cubicBezTo>
                    <a:pt x="11621" y="151829"/>
                    <a:pt x="11621" y="151162"/>
                    <a:pt x="11621" y="150400"/>
                  </a:cubicBezTo>
                  <a:cubicBezTo>
                    <a:pt x="11621" y="149066"/>
                    <a:pt x="12287" y="148304"/>
                    <a:pt x="12287" y="146971"/>
                  </a:cubicBezTo>
                  <a:cubicBezTo>
                    <a:pt x="12287" y="146304"/>
                    <a:pt x="12954" y="145637"/>
                    <a:pt x="12954" y="145637"/>
                  </a:cubicBezTo>
                  <a:cubicBezTo>
                    <a:pt x="14288" y="144971"/>
                    <a:pt x="14288" y="144304"/>
                    <a:pt x="14288" y="142875"/>
                  </a:cubicBezTo>
                  <a:lnTo>
                    <a:pt x="14288" y="138779"/>
                  </a:lnTo>
                  <a:cubicBezTo>
                    <a:pt x="14288" y="136684"/>
                    <a:pt x="14954" y="134017"/>
                    <a:pt x="14954" y="131921"/>
                  </a:cubicBezTo>
                  <a:lnTo>
                    <a:pt x="19050" y="125063"/>
                  </a:lnTo>
                  <a:cubicBezTo>
                    <a:pt x="19050" y="123730"/>
                    <a:pt x="19717" y="122968"/>
                    <a:pt x="20383" y="121634"/>
                  </a:cubicBezTo>
                  <a:cubicBezTo>
                    <a:pt x="20383" y="120968"/>
                    <a:pt x="19717" y="119539"/>
                    <a:pt x="19717" y="118872"/>
                  </a:cubicBezTo>
                  <a:cubicBezTo>
                    <a:pt x="19717" y="117539"/>
                    <a:pt x="20383" y="116110"/>
                    <a:pt x="21050" y="115443"/>
                  </a:cubicBezTo>
                  <a:cubicBezTo>
                    <a:pt x="22384" y="111347"/>
                    <a:pt x="24479" y="107252"/>
                    <a:pt x="26575" y="103061"/>
                  </a:cubicBezTo>
                  <a:cubicBezTo>
                    <a:pt x="27242" y="100965"/>
                    <a:pt x="27908" y="98965"/>
                    <a:pt x="27908" y="97536"/>
                  </a:cubicBezTo>
                  <a:lnTo>
                    <a:pt x="30004" y="92012"/>
                  </a:lnTo>
                  <a:lnTo>
                    <a:pt x="32099" y="90678"/>
                  </a:lnTo>
                  <a:cubicBezTo>
                    <a:pt x="33433" y="87916"/>
                    <a:pt x="34195" y="85916"/>
                    <a:pt x="34861" y="83153"/>
                  </a:cubicBezTo>
                  <a:cubicBezTo>
                    <a:pt x="36195" y="79724"/>
                    <a:pt x="37624" y="76295"/>
                    <a:pt x="39624" y="73533"/>
                  </a:cubicBezTo>
                  <a:cubicBezTo>
                    <a:pt x="39624" y="71438"/>
                    <a:pt x="40957" y="70104"/>
                    <a:pt x="40957" y="68009"/>
                  </a:cubicBezTo>
                  <a:lnTo>
                    <a:pt x="42291" y="65913"/>
                  </a:lnTo>
                  <a:lnTo>
                    <a:pt x="47053" y="59722"/>
                  </a:lnTo>
                  <a:cubicBezTo>
                    <a:pt x="47053" y="56293"/>
                    <a:pt x="49149" y="52864"/>
                    <a:pt x="52578" y="50102"/>
                  </a:cubicBezTo>
                  <a:lnTo>
                    <a:pt x="52578" y="49435"/>
                  </a:lnTo>
                  <a:cubicBezTo>
                    <a:pt x="52578" y="46673"/>
                    <a:pt x="53911" y="46006"/>
                    <a:pt x="56007" y="43910"/>
                  </a:cubicBezTo>
                  <a:lnTo>
                    <a:pt x="56007" y="43244"/>
                  </a:lnTo>
                  <a:cubicBezTo>
                    <a:pt x="57340" y="38481"/>
                    <a:pt x="61531" y="35052"/>
                    <a:pt x="63532" y="30861"/>
                  </a:cubicBezTo>
                  <a:lnTo>
                    <a:pt x="73152" y="20574"/>
                  </a:lnTo>
                  <a:cubicBezTo>
                    <a:pt x="73819" y="19907"/>
                    <a:pt x="74486" y="19241"/>
                    <a:pt x="75248" y="17145"/>
                  </a:cubicBezTo>
                  <a:cubicBezTo>
                    <a:pt x="75914" y="15811"/>
                    <a:pt x="77343" y="14383"/>
                    <a:pt x="79343" y="14383"/>
                  </a:cubicBezTo>
                  <a:cubicBezTo>
                    <a:pt x="82105" y="12287"/>
                    <a:pt x="84868" y="11621"/>
                    <a:pt x="86201" y="9620"/>
                  </a:cubicBezTo>
                  <a:cubicBezTo>
                    <a:pt x="86201" y="9620"/>
                    <a:pt x="86868" y="9620"/>
                    <a:pt x="87535" y="8954"/>
                  </a:cubicBezTo>
                  <a:cubicBezTo>
                    <a:pt x="89630" y="6858"/>
                    <a:pt x="93059" y="5525"/>
                    <a:pt x="96488" y="3429"/>
                  </a:cubicBezTo>
                  <a:lnTo>
                    <a:pt x="102013" y="1334"/>
                  </a:lnTo>
                  <a:cubicBezTo>
                    <a:pt x="104775" y="667"/>
                    <a:pt x="106108" y="0"/>
                    <a:pt x="108204" y="0"/>
                  </a:cubicBezTo>
                  <a:lnTo>
                    <a:pt x="120586" y="0"/>
                  </a:lnTo>
                  <a:lnTo>
                    <a:pt x="125349" y="3429"/>
                  </a:lnTo>
                  <a:cubicBezTo>
                    <a:pt x="126016" y="4096"/>
                    <a:pt x="126016" y="4763"/>
                    <a:pt x="126682" y="4763"/>
                  </a:cubicBezTo>
                  <a:lnTo>
                    <a:pt x="132874" y="8858"/>
                  </a:lnTo>
                  <a:cubicBezTo>
                    <a:pt x="133540" y="9525"/>
                    <a:pt x="134207" y="10954"/>
                    <a:pt x="135636" y="10954"/>
                  </a:cubicBezTo>
                  <a:cubicBezTo>
                    <a:pt x="136303" y="10954"/>
                    <a:pt x="136969" y="11621"/>
                    <a:pt x="137731" y="12287"/>
                  </a:cubicBezTo>
                  <a:cubicBezTo>
                    <a:pt x="138398" y="12287"/>
                    <a:pt x="138398" y="13621"/>
                    <a:pt x="139065" y="14383"/>
                  </a:cubicBezTo>
                  <a:cubicBezTo>
                    <a:pt x="139732" y="15050"/>
                    <a:pt x="141827" y="15716"/>
                    <a:pt x="143161" y="15716"/>
                  </a:cubicBezTo>
                  <a:lnTo>
                    <a:pt x="144494" y="15716"/>
                  </a:lnTo>
                  <a:cubicBezTo>
                    <a:pt x="146590" y="15716"/>
                    <a:pt x="147256" y="17050"/>
                    <a:pt x="148590" y="18479"/>
                  </a:cubicBezTo>
                  <a:cubicBezTo>
                    <a:pt x="149257" y="19145"/>
                    <a:pt x="149257" y="19812"/>
                    <a:pt x="149257" y="20574"/>
                  </a:cubicBezTo>
                  <a:cubicBezTo>
                    <a:pt x="149257" y="21241"/>
                    <a:pt x="149257" y="21908"/>
                    <a:pt x="148590" y="21908"/>
                  </a:cubicBezTo>
                  <a:lnTo>
                    <a:pt x="143827" y="23241"/>
                  </a:lnTo>
                  <a:cubicBezTo>
                    <a:pt x="143161" y="23241"/>
                    <a:pt x="143161" y="23908"/>
                    <a:pt x="143161" y="23908"/>
                  </a:cubicBezTo>
                  <a:cubicBezTo>
                    <a:pt x="142494" y="23908"/>
                    <a:pt x="142494" y="23241"/>
                    <a:pt x="142494" y="21812"/>
                  </a:cubicBezTo>
                  <a:lnTo>
                    <a:pt x="142494" y="20479"/>
                  </a:lnTo>
                  <a:lnTo>
                    <a:pt x="140398" y="20479"/>
                  </a:lnTo>
                  <a:cubicBezTo>
                    <a:pt x="139065" y="21146"/>
                    <a:pt x="138303" y="23241"/>
                    <a:pt x="137636" y="24575"/>
                  </a:cubicBezTo>
                  <a:cubicBezTo>
                    <a:pt x="137636" y="25241"/>
                    <a:pt x="137636" y="25241"/>
                    <a:pt x="138303" y="25908"/>
                  </a:cubicBezTo>
                  <a:cubicBezTo>
                    <a:pt x="138303" y="26575"/>
                    <a:pt x="138970" y="26575"/>
                    <a:pt x="138970" y="26575"/>
                  </a:cubicBezTo>
                  <a:cubicBezTo>
                    <a:pt x="140303" y="27242"/>
                    <a:pt x="140303" y="28670"/>
                    <a:pt x="140303" y="30004"/>
                  </a:cubicBezTo>
                  <a:cubicBezTo>
                    <a:pt x="140303" y="31337"/>
                    <a:pt x="140970" y="31337"/>
                    <a:pt x="141637" y="31337"/>
                  </a:cubicBezTo>
                  <a:cubicBezTo>
                    <a:pt x="142303" y="31337"/>
                    <a:pt x="142970" y="30671"/>
                    <a:pt x="142970" y="30671"/>
                  </a:cubicBezTo>
                  <a:cubicBezTo>
                    <a:pt x="143637" y="30671"/>
                    <a:pt x="143637" y="31337"/>
                    <a:pt x="144304" y="32766"/>
                  </a:cubicBezTo>
                  <a:cubicBezTo>
                    <a:pt x="144971" y="33433"/>
                    <a:pt x="145637" y="34862"/>
                    <a:pt x="145637" y="35528"/>
                  </a:cubicBezTo>
                  <a:cubicBezTo>
                    <a:pt x="145637" y="36195"/>
                    <a:pt x="144971" y="36195"/>
                    <a:pt x="144971" y="36862"/>
                  </a:cubicBezTo>
                  <a:cubicBezTo>
                    <a:pt x="144971" y="38195"/>
                    <a:pt x="145637" y="38195"/>
                    <a:pt x="146304" y="39624"/>
                  </a:cubicBezTo>
                  <a:lnTo>
                    <a:pt x="147638" y="39624"/>
                  </a:lnTo>
                  <a:lnTo>
                    <a:pt x="147638" y="36195"/>
                  </a:lnTo>
                  <a:cubicBezTo>
                    <a:pt x="147638" y="34100"/>
                    <a:pt x="146971" y="32099"/>
                    <a:pt x="146971" y="30004"/>
                  </a:cubicBezTo>
                  <a:cubicBezTo>
                    <a:pt x="147638" y="28670"/>
                    <a:pt x="149066" y="27242"/>
                    <a:pt x="150400" y="26575"/>
                  </a:cubicBezTo>
                  <a:cubicBezTo>
                    <a:pt x="151067" y="26575"/>
                    <a:pt x="152495" y="26575"/>
                    <a:pt x="153162" y="27242"/>
                  </a:cubicBezTo>
                  <a:cubicBezTo>
                    <a:pt x="153162" y="27908"/>
                    <a:pt x="152495" y="28575"/>
                    <a:pt x="152495" y="28575"/>
                  </a:cubicBezTo>
                  <a:cubicBezTo>
                    <a:pt x="152495" y="30671"/>
                    <a:pt x="153829" y="31337"/>
                    <a:pt x="155924" y="31337"/>
                  </a:cubicBezTo>
                  <a:cubicBezTo>
                    <a:pt x="156591" y="31337"/>
                    <a:pt x="156591" y="32671"/>
                    <a:pt x="156591" y="33433"/>
                  </a:cubicBezTo>
                  <a:lnTo>
                    <a:pt x="156591" y="34100"/>
                  </a:lnTo>
                  <a:cubicBezTo>
                    <a:pt x="155257" y="35433"/>
                    <a:pt x="154496" y="35433"/>
                    <a:pt x="154496" y="36195"/>
                  </a:cubicBezTo>
                  <a:cubicBezTo>
                    <a:pt x="154496" y="36862"/>
                    <a:pt x="155162" y="37529"/>
                    <a:pt x="155829" y="38291"/>
                  </a:cubicBezTo>
                  <a:cubicBezTo>
                    <a:pt x="155829" y="38957"/>
                    <a:pt x="156496" y="39624"/>
                    <a:pt x="157163" y="39624"/>
                  </a:cubicBezTo>
                  <a:cubicBezTo>
                    <a:pt x="157163" y="40291"/>
                    <a:pt x="157163" y="40958"/>
                    <a:pt x="156496" y="41720"/>
                  </a:cubicBezTo>
                  <a:cubicBezTo>
                    <a:pt x="156496" y="42386"/>
                    <a:pt x="156496" y="43053"/>
                    <a:pt x="155829" y="43053"/>
                  </a:cubicBezTo>
                  <a:cubicBezTo>
                    <a:pt x="154496" y="43720"/>
                    <a:pt x="153734" y="44387"/>
                    <a:pt x="153734" y="45815"/>
                  </a:cubicBezTo>
                  <a:cubicBezTo>
                    <a:pt x="153734" y="46482"/>
                    <a:pt x="154400" y="47149"/>
                    <a:pt x="154400" y="47911"/>
                  </a:cubicBezTo>
                  <a:cubicBezTo>
                    <a:pt x="154400" y="48578"/>
                    <a:pt x="154400" y="48578"/>
                    <a:pt x="155067" y="48578"/>
                  </a:cubicBezTo>
                  <a:lnTo>
                    <a:pt x="157163" y="48578"/>
                  </a:lnTo>
                  <a:lnTo>
                    <a:pt x="157163" y="49244"/>
                  </a:lnTo>
                  <a:cubicBezTo>
                    <a:pt x="157163" y="50578"/>
                    <a:pt x="155829" y="52673"/>
                    <a:pt x="155067" y="54007"/>
                  </a:cubicBezTo>
                  <a:cubicBezTo>
                    <a:pt x="154400" y="54674"/>
                    <a:pt x="154400" y="54674"/>
                    <a:pt x="154400" y="55340"/>
                  </a:cubicBezTo>
                  <a:cubicBezTo>
                    <a:pt x="154400" y="56007"/>
                    <a:pt x="154400" y="56674"/>
                    <a:pt x="155067" y="57436"/>
                  </a:cubicBezTo>
                  <a:cubicBezTo>
                    <a:pt x="156400" y="58769"/>
                    <a:pt x="156400" y="59531"/>
                    <a:pt x="156400" y="60865"/>
                  </a:cubicBezTo>
                  <a:lnTo>
                    <a:pt x="156400" y="63627"/>
                  </a:lnTo>
                  <a:cubicBezTo>
                    <a:pt x="156400" y="64294"/>
                    <a:pt x="155734" y="64960"/>
                    <a:pt x="155067" y="65723"/>
                  </a:cubicBezTo>
                  <a:cubicBezTo>
                    <a:pt x="152971" y="67818"/>
                    <a:pt x="152305" y="69818"/>
                    <a:pt x="152305" y="71914"/>
                  </a:cubicBezTo>
                  <a:cubicBezTo>
                    <a:pt x="152971" y="72581"/>
                    <a:pt x="152971" y="73247"/>
                    <a:pt x="152971" y="74009"/>
                  </a:cubicBezTo>
                  <a:cubicBezTo>
                    <a:pt x="150209" y="77438"/>
                    <a:pt x="150209" y="81534"/>
                    <a:pt x="147447" y="84963"/>
                  </a:cubicBezTo>
                  <a:cubicBezTo>
                    <a:pt x="148114" y="85630"/>
                    <a:pt x="148114" y="86297"/>
                    <a:pt x="148114" y="87059"/>
                  </a:cubicBezTo>
                  <a:cubicBezTo>
                    <a:pt x="148114" y="88392"/>
                    <a:pt x="146780" y="90488"/>
                    <a:pt x="146018" y="91821"/>
                  </a:cubicBezTo>
                  <a:cubicBezTo>
                    <a:pt x="144685" y="93155"/>
                    <a:pt x="143256" y="95917"/>
                    <a:pt x="143256" y="98679"/>
                  </a:cubicBezTo>
                  <a:lnTo>
                    <a:pt x="143256" y="100013"/>
                  </a:lnTo>
                  <a:cubicBezTo>
                    <a:pt x="142589" y="103442"/>
                    <a:pt x="139827" y="106871"/>
                    <a:pt x="137731" y="109633"/>
                  </a:cubicBezTo>
                  <a:cubicBezTo>
                    <a:pt x="136398" y="110300"/>
                    <a:pt x="136398" y="111728"/>
                    <a:pt x="134969" y="112395"/>
                  </a:cubicBezTo>
                  <a:cubicBezTo>
                    <a:pt x="133636" y="113729"/>
                    <a:pt x="131540" y="115824"/>
                    <a:pt x="131540" y="117920"/>
                  </a:cubicBezTo>
                  <a:lnTo>
                    <a:pt x="131540" y="118586"/>
                  </a:lnTo>
                  <a:cubicBezTo>
                    <a:pt x="131540" y="119253"/>
                    <a:pt x="130873" y="119253"/>
                    <a:pt x="130207" y="119920"/>
                  </a:cubicBezTo>
                  <a:cubicBezTo>
                    <a:pt x="130207" y="122015"/>
                    <a:pt x="128111" y="122682"/>
                    <a:pt x="128111" y="124016"/>
                  </a:cubicBezTo>
                  <a:lnTo>
                    <a:pt x="128111" y="124682"/>
                  </a:lnTo>
                  <a:cubicBezTo>
                    <a:pt x="128111" y="126016"/>
                    <a:pt x="127444" y="126016"/>
                    <a:pt x="126778" y="126778"/>
                  </a:cubicBezTo>
                  <a:cubicBezTo>
                    <a:pt x="125444" y="128111"/>
                    <a:pt x="124015" y="129540"/>
                    <a:pt x="122682" y="130207"/>
                  </a:cubicBezTo>
                  <a:cubicBezTo>
                    <a:pt x="119920" y="132969"/>
                    <a:pt x="117157" y="135731"/>
                    <a:pt x="115824" y="139160"/>
                  </a:cubicBezTo>
                  <a:cubicBezTo>
                    <a:pt x="112395" y="143923"/>
                    <a:pt x="108966" y="148114"/>
                    <a:pt x="105537" y="151543"/>
                  </a:cubicBezTo>
                  <a:cubicBezTo>
                    <a:pt x="104870" y="152876"/>
                    <a:pt x="102775" y="154305"/>
                    <a:pt x="100775" y="154972"/>
                  </a:cubicBezTo>
                  <a:cubicBezTo>
                    <a:pt x="99441" y="154972"/>
                    <a:pt x="98679" y="154972"/>
                    <a:pt x="98012" y="156305"/>
                  </a:cubicBezTo>
                  <a:lnTo>
                    <a:pt x="93250" y="160401"/>
                  </a:lnTo>
                  <a:cubicBezTo>
                    <a:pt x="89821" y="162497"/>
                    <a:pt x="87725" y="163163"/>
                    <a:pt x="85058" y="163163"/>
                  </a:cubicBezTo>
                  <a:cubicBezTo>
                    <a:pt x="84392" y="163163"/>
                    <a:pt x="83725" y="163163"/>
                    <a:pt x="82296" y="163830"/>
                  </a:cubicBezTo>
                  <a:cubicBezTo>
                    <a:pt x="79534" y="165926"/>
                    <a:pt x="74771" y="165926"/>
                    <a:pt x="70675" y="165926"/>
                  </a:cubicBezTo>
                  <a:cubicBezTo>
                    <a:pt x="67913" y="165926"/>
                    <a:pt x="66580" y="166592"/>
                    <a:pt x="63817" y="167259"/>
                  </a:cubicBezTo>
                  <a:cubicBezTo>
                    <a:pt x="62484" y="167259"/>
                    <a:pt x="61722" y="167926"/>
                    <a:pt x="60388" y="167926"/>
                  </a:cubicBezTo>
                  <a:cubicBezTo>
                    <a:pt x="59055" y="167926"/>
                    <a:pt x="56959" y="167259"/>
                    <a:pt x="55626" y="166592"/>
                  </a:cubicBezTo>
                  <a:cubicBezTo>
                    <a:pt x="54292" y="165926"/>
                    <a:pt x="53530" y="165926"/>
                    <a:pt x="52197" y="165926"/>
                  </a:cubicBezTo>
                  <a:cubicBezTo>
                    <a:pt x="51530" y="165926"/>
                    <a:pt x="50863" y="165926"/>
                    <a:pt x="50863" y="167259"/>
                  </a:cubicBezTo>
                  <a:cubicBezTo>
                    <a:pt x="48768" y="170688"/>
                    <a:pt x="48101" y="173450"/>
                    <a:pt x="47434" y="176213"/>
                  </a:cubicBezTo>
                  <a:cubicBezTo>
                    <a:pt x="47434" y="177546"/>
                    <a:pt x="47434" y="178975"/>
                    <a:pt x="48101" y="180308"/>
                  </a:cubicBezTo>
                  <a:cubicBezTo>
                    <a:pt x="48768" y="180975"/>
                    <a:pt x="48768" y="182404"/>
                    <a:pt x="48768" y="183737"/>
                  </a:cubicBezTo>
                  <a:cubicBezTo>
                    <a:pt x="48768" y="183737"/>
                    <a:pt x="48768" y="184404"/>
                    <a:pt x="48101" y="185071"/>
                  </a:cubicBezTo>
                  <a:cubicBezTo>
                    <a:pt x="46768" y="185738"/>
                    <a:pt x="46006" y="187166"/>
                    <a:pt x="46006" y="188500"/>
                  </a:cubicBezTo>
                  <a:cubicBezTo>
                    <a:pt x="46006" y="189167"/>
                    <a:pt x="46673" y="189833"/>
                    <a:pt x="46673" y="190595"/>
                  </a:cubicBezTo>
                  <a:cubicBezTo>
                    <a:pt x="46006" y="192691"/>
                    <a:pt x="44577" y="194024"/>
                    <a:pt x="44577" y="196120"/>
                  </a:cubicBezTo>
                  <a:lnTo>
                    <a:pt x="44577" y="204311"/>
                  </a:lnTo>
                  <a:cubicBezTo>
                    <a:pt x="44577" y="205645"/>
                    <a:pt x="45244" y="207074"/>
                    <a:pt x="45244" y="207740"/>
                  </a:cubicBezTo>
                  <a:cubicBezTo>
                    <a:pt x="45244" y="208407"/>
                    <a:pt x="45244" y="208407"/>
                    <a:pt x="44577" y="209074"/>
                  </a:cubicBezTo>
                  <a:cubicBezTo>
                    <a:pt x="43910" y="209741"/>
                    <a:pt x="43910" y="211836"/>
                    <a:pt x="43910" y="213170"/>
                  </a:cubicBezTo>
                  <a:cubicBezTo>
                    <a:pt x="43910" y="213836"/>
                    <a:pt x="43244" y="214503"/>
                    <a:pt x="43244" y="215265"/>
                  </a:cubicBezTo>
                  <a:cubicBezTo>
                    <a:pt x="43244" y="215932"/>
                    <a:pt x="43910" y="217361"/>
                    <a:pt x="43910" y="217361"/>
                  </a:cubicBezTo>
                  <a:cubicBezTo>
                    <a:pt x="43910" y="218027"/>
                    <a:pt x="44577" y="218694"/>
                    <a:pt x="44577" y="219456"/>
                  </a:cubicBezTo>
                  <a:cubicBezTo>
                    <a:pt x="44577" y="220123"/>
                    <a:pt x="43910" y="220123"/>
                    <a:pt x="43910" y="220790"/>
                  </a:cubicBezTo>
                  <a:lnTo>
                    <a:pt x="43910" y="221456"/>
                  </a:lnTo>
                  <a:cubicBezTo>
                    <a:pt x="44577" y="222123"/>
                    <a:pt x="44577" y="222790"/>
                    <a:pt x="44577" y="223552"/>
                  </a:cubicBezTo>
                  <a:cubicBezTo>
                    <a:pt x="44577" y="224885"/>
                    <a:pt x="43910" y="226314"/>
                    <a:pt x="43910" y="227648"/>
                  </a:cubicBezTo>
                  <a:lnTo>
                    <a:pt x="43910" y="231743"/>
                  </a:lnTo>
                  <a:cubicBezTo>
                    <a:pt x="43910" y="233077"/>
                    <a:pt x="43910" y="234506"/>
                    <a:pt x="45244" y="235172"/>
                  </a:cubicBezTo>
                  <a:lnTo>
                    <a:pt x="45244" y="244126"/>
                  </a:lnTo>
                  <a:cubicBezTo>
                    <a:pt x="44577" y="245459"/>
                    <a:pt x="43910" y="246888"/>
                    <a:pt x="43910" y="248222"/>
                  </a:cubicBezTo>
                  <a:cubicBezTo>
                    <a:pt x="43910" y="248888"/>
                    <a:pt x="44577" y="250317"/>
                    <a:pt x="45244" y="250984"/>
                  </a:cubicBezTo>
                  <a:lnTo>
                    <a:pt x="45244" y="253079"/>
                  </a:lnTo>
                  <a:cubicBezTo>
                    <a:pt x="45244" y="253746"/>
                    <a:pt x="45244" y="254413"/>
                    <a:pt x="45910" y="254413"/>
                  </a:cubicBezTo>
                  <a:cubicBezTo>
                    <a:pt x="49340" y="255746"/>
                    <a:pt x="48673" y="258509"/>
                    <a:pt x="49340" y="260604"/>
                  </a:cubicBezTo>
                  <a:lnTo>
                    <a:pt x="49340" y="263366"/>
                  </a:lnTo>
                  <a:cubicBezTo>
                    <a:pt x="49340" y="264033"/>
                    <a:pt x="48673" y="264700"/>
                    <a:pt x="48673" y="265462"/>
                  </a:cubicBezTo>
                  <a:cubicBezTo>
                    <a:pt x="48673" y="266795"/>
                    <a:pt x="49340" y="267557"/>
                    <a:pt x="51435" y="268891"/>
                  </a:cubicBezTo>
                  <a:cubicBezTo>
                    <a:pt x="52102" y="270986"/>
                    <a:pt x="52769" y="273653"/>
                    <a:pt x="54864" y="275749"/>
                  </a:cubicBezTo>
                  <a:cubicBezTo>
                    <a:pt x="55531" y="275749"/>
                    <a:pt x="55531" y="276416"/>
                    <a:pt x="55531" y="276416"/>
                  </a:cubicBezTo>
                  <a:cubicBezTo>
                    <a:pt x="55531" y="279178"/>
                    <a:pt x="56198" y="280511"/>
                    <a:pt x="58293" y="281940"/>
                  </a:cubicBezTo>
                  <a:lnTo>
                    <a:pt x="58293" y="282607"/>
                  </a:lnTo>
                  <a:cubicBezTo>
                    <a:pt x="59627" y="283940"/>
                    <a:pt x="60388" y="285369"/>
                    <a:pt x="61722" y="286036"/>
                  </a:cubicBezTo>
                  <a:lnTo>
                    <a:pt x="64484" y="289465"/>
                  </a:lnTo>
                  <a:cubicBezTo>
                    <a:pt x="67246" y="292227"/>
                    <a:pt x="70009" y="293561"/>
                    <a:pt x="73438" y="293561"/>
                  </a:cubicBezTo>
                  <a:cubicBezTo>
                    <a:pt x="74771" y="293561"/>
                    <a:pt x="75533" y="293561"/>
                    <a:pt x="76867" y="292894"/>
                  </a:cubicBezTo>
                  <a:cubicBezTo>
                    <a:pt x="78200" y="292227"/>
                    <a:pt x="78962" y="292227"/>
                    <a:pt x="80296" y="292227"/>
                  </a:cubicBezTo>
                  <a:cubicBezTo>
                    <a:pt x="85820" y="292227"/>
                    <a:pt x="91250" y="290132"/>
                    <a:pt x="96774" y="288131"/>
                  </a:cubicBezTo>
                  <a:cubicBezTo>
                    <a:pt x="101536" y="286036"/>
                    <a:pt x="105727" y="284036"/>
                    <a:pt x="108394" y="281273"/>
                  </a:cubicBezTo>
                  <a:cubicBezTo>
                    <a:pt x="110490" y="279940"/>
                    <a:pt x="113919" y="279178"/>
                    <a:pt x="115919" y="277844"/>
                  </a:cubicBezTo>
                  <a:cubicBezTo>
                    <a:pt x="119348" y="274415"/>
                    <a:pt x="124111" y="271653"/>
                    <a:pt x="128302" y="268224"/>
                  </a:cubicBezTo>
                  <a:cubicBezTo>
                    <a:pt x="131731" y="266129"/>
                    <a:pt x="134493" y="263462"/>
                    <a:pt x="137922" y="260699"/>
                  </a:cubicBezTo>
                  <a:cubicBezTo>
                    <a:pt x="140684" y="258604"/>
                    <a:pt x="142684" y="255937"/>
                    <a:pt x="144780" y="253175"/>
                  </a:cubicBezTo>
                  <a:cubicBezTo>
                    <a:pt x="148209" y="251079"/>
                    <a:pt x="151638" y="247650"/>
                    <a:pt x="154400" y="244983"/>
                  </a:cubicBezTo>
                  <a:cubicBezTo>
                    <a:pt x="156496" y="243650"/>
                    <a:pt x="157163" y="241554"/>
                    <a:pt x="159163" y="240221"/>
                  </a:cubicBezTo>
                  <a:cubicBezTo>
                    <a:pt x="160496" y="239554"/>
                    <a:pt x="161258" y="238125"/>
                    <a:pt x="161258" y="238125"/>
                  </a:cubicBezTo>
                  <a:cubicBezTo>
                    <a:pt x="161925" y="237458"/>
                    <a:pt x="161925" y="236792"/>
                    <a:pt x="161925" y="236030"/>
                  </a:cubicBezTo>
                  <a:cubicBezTo>
                    <a:pt x="165354" y="234696"/>
                    <a:pt x="167450" y="231934"/>
                    <a:pt x="169450" y="230505"/>
                  </a:cubicBezTo>
                  <a:cubicBezTo>
                    <a:pt x="170783" y="228410"/>
                    <a:pt x="172879" y="225743"/>
                    <a:pt x="175641" y="223647"/>
                  </a:cubicBezTo>
                  <a:cubicBezTo>
                    <a:pt x="179070" y="220218"/>
                    <a:pt x="181165" y="216122"/>
                    <a:pt x="184594" y="212693"/>
                  </a:cubicBezTo>
                  <a:lnTo>
                    <a:pt x="197644" y="198311"/>
                  </a:lnTo>
                  <a:cubicBezTo>
                    <a:pt x="197644" y="198311"/>
                    <a:pt x="198311" y="198311"/>
                    <a:pt x="198311" y="197644"/>
                  </a:cubicBezTo>
                  <a:cubicBezTo>
                    <a:pt x="200406" y="196310"/>
                    <a:pt x="201740" y="193548"/>
                    <a:pt x="204502" y="190786"/>
                  </a:cubicBezTo>
                  <a:cubicBezTo>
                    <a:pt x="206597" y="187357"/>
                    <a:pt x="210026" y="183261"/>
                    <a:pt x="212693" y="180499"/>
                  </a:cubicBezTo>
                  <a:cubicBezTo>
                    <a:pt x="214027" y="179165"/>
                    <a:pt x="215455" y="177737"/>
                    <a:pt x="215455" y="175736"/>
                  </a:cubicBezTo>
                  <a:cubicBezTo>
                    <a:pt x="218218" y="171641"/>
                    <a:pt x="221647" y="168212"/>
                    <a:pt x="225076" y="164783"/>
                  </a:cubicBezTo>
                  <a:lnTo>
                    <a:pt x="224409" y="164116"/>
                  </a:lnTo>
                  <a:cubicBezTo>
                    <a:pt x="226504" y="160020"/>
                    <a:pt x="229171" y="156591"/>
                    <a:pt x="232600" y="151733"/>
                  </a:cubicBezTo>
                  <a:cubicBezTo>
                    <a:pt x="232600" y="151067"/>
                    <a:pt x="233267" y="150400"/>
                    <a:pt x="233267" y="148971"/>
                  </a:cubicBezTo>
                  <a:cubicBezTo>
                    <a:pt x="233934" y="146876"/>
                    <a:pt x="237363" y="146209"/>
                    <a:pt x="238030" y="144209"/>
                  </a:cubicBezTo>
                  <a:cubicBezTo>
                    <a:pt x="238030" y="141446"/>
                    <a:pt x="239363" y="140113"/>
                    <a:pt x="240125" y="138017"/>
                  </a:cubicBezTo>
                  <a:cubicBezTo>
                    <a:pt x="240792" y="138017"/>
                    <a:pt x="240792" y="138017"/>
                    <a:pt x="240792" y="138684"/>
                  </a:cubicBezTo>
                  <a:lnTo>
                    <a:pt x="240792" y="140018"/>
                  </a:lnTo>
                  <a:lnTo>
                    <a:pt x="241459" y="140018"/>
                  </a:lnTo>
                  <a:cubicBezTo>
                    <a:pt x="242125" y="139351"/>
                    <a:pt x="242792" y="138684"/>
                    <a:pt x="242792" y="137922"/>
                  </a:cubicBezTo>
                  <a:lnTo>
                    <a:pt x="242792" y="136589"/>
                  </a:lnTo>
                  <a:cubicBezTo>
                    <a:pt x="242792" y="135255"/>
                    <a:pt x="243459" y="133826"/>
                    <a:pt x="244126" y="132493"/>
                  </a:cubicBezTo>
                  <a:cubicBezTo>
                    <a:pt x="244792" y="132493"/>
                    <a:pt x="244792" y="131159"/>
                    <a:pt x="244792" y="130397"/>
                  </a:cubicBezTo>
                  <a:cubicBezTo>
                    <a:pt x="245459" y="129731"/>
                    <a:pt x="245459" y="127635"/>
                    <a:pt x="246888" y="127635"/>
                  </a:cubicBezTo>
                  <a:cubicBezTo>
                    <a:pt x="248221" y="126302"/>
                    <a:pt x="247555" y="124206"/>
                    <a:pt x="248221" y="122111"/>
                  </a:cubicBezTo>
                  <a:cubicBezTo>
                    <a:pt x="248221" y="120777"/>
                    <a:pt x="248888" y="119348"/>
                    <a:pt x="250317" y="119348"/>
                  </a:cubicBezTo>
                  <a:cubicBezTo>
                    <a:pt x="251650" y="119348"/>
                    <a:pt x="251650" y="118682"/>
                    <a:pt x="251650" y="118015"/>
                  </a:cubicBezTo>
                  <a:lnTo>
                    <a:pt x="251650" y="116205"/>
                  </a:lnTo>
                  <a:cubicBezTo>
                    <a:pt x="252317" y="112776"/>
                    <a:pt x="251650" y="113443"/>
                    <a:pt x="255746" y="112109"/>
                  </a:cubicBezTo>
                  <a:lnTo>
                    <a:pt x="255746" y="111443"/>
                  </a:lnTo>
                  <a:cubicBezTo>
                    <a:pt x="256413" y="110776"/>
                    <a:pt x="256413" y="110776"/>
                    <a:pt x="256413" y="110109"/>
                  </a:cubicBezTo>
                  <a:lnTo>
                    <a:pt x="256413" y="108585"/>
                  </a:lnTo>
                  <a:cubicBezTo>
                    <a:pt x="256413" y="107252"/>
                    <a:pt x="257080" y="105823"/>
                    <a:pt x="258509" y="105823"/>
                  </a:cubicBezTo>
                  <a:lnTo>
                    <a:pt x="261271" y="102394"/>
                  </a:lnTo>
                  <a:lnTo>
                    <a:pt x="261938" y="102394"/>
                  </a:lnTo>
                  <a:cubicBezTo>
                    <a:pt x="261938" y="102394"/>
                    <a:pt x="262604" y="102394"/>
                    <a:pt x="262604" y="103061"/>
                  </a:cubicBezTo>
                  <a:cubicBezTo>
                    <a:pt x="262604" y="103727"/>
                    <a:pt x="263271" y="104394"/>
                    <a:pt x="263271" y="105156"/>
                  </a:cubicBezTo>
                  <a:cubicBezTo>
                    <a:pt x="263271" y="105156"/>
                    <a:pt x="263938" y="105823"/>
                    <a:pt x="264605" y="105823"/>
                  </a:cubicBezTo>
                  <a:cubicBezTo>
                    <a:pt x="265938" y="105823"/>
                    <a:pt x="266700" y="105823"/>
                    <a:pt x="266700" y="106490"/>
                  </a:cubicBezTo>
                  <a:cubicBezTo>
                    <a:pt x="266700" y="106490"/>
                    <a:pt x="266033" y="106490"/>
                    <a:pt x="266033" y="107156"/>
                  </a:cubicBezTo>
                  <a:cubicBezTo>
                    <a:pt x="266033" y="109919"/>
                    <a:pt x="265367" y="111919"/>
                    <a:pt x="264700" y="113348"/>
                  </a:cubicBezTo>
                  <a:cubicBezTo>
                    <a:pt x="264033" y="114776"/>
                    <a:pt x="262604" y="115443"/>
                    <a:pt x="261271" y="115443"/>
                  </a:cubicBezTo>
                  <a:lnTo>
                    <a:pt x="259937" y="115443"/>
                  </a:lnTo>
                  <a:cubicBezTo>
                    <a:pt x="259271" y="115443"/>
                    <a:pt x="258604" y="116110"/>
                    <a:pt x="257842" y="116777"/>
                  </a:cubicBezTo>
                  <a:cubicBezTo>
                    <a:pt x="257842" y="118110"/>
                    <a:pt x="258509" y="120206"/>
                    <a:pt x="259937" y="121539"/>
                  </a:cubicBezTo>
                  <a:cubicBezTo>
                    <a:pt x="260604" y="121539"/>
                    <a:pt x="260604" y="122873"/>
                    <a:pt x="261271" y="123635"/>
                  </a:cubicBezTo>
                  <a:cubicBezTo>
                    <a:pt x="261271" y="124301"/>
                    <a:pt x="261938" y="124968"/>
                    <a:pt x="261271" y="124968"/>
                  </a:cubicBezTo>
                  <a:cubicBezTo>
                    <a:pt x="261271" y="125635"/>
                    <a:pt x="260604" y="126302"/>
                    <a:pt x="261271" y="126302"/>
                  </a:cubicBezTo>
                  <a:lnTo>
                    <a:pt x="261271" y="127635"/>
                  </a:lnTo>
                  <a:cubicBezTo>
                    <a:pt x="261271" y="128969"/>
                    <a:pt x="260604" y="131064"/>
                    <a:pt x="259937" y="132398"/>
                  </a:cubicBezTo>
                  <a:cubicBezTo>
                    <a:pt x="259937" y="133064"/>
                    <a:pt x="259937" y="134493"/>
                    <a:pt x="259271" y="135160"/>
                  </a:cubicBezTo>
                  <a:lnTo>
                    <a:pt x="258604" y="135160"/>
                  </a:lnTo>
                  <a:lnTo>
                    <a:pt x="258604" y="131064"/>
                  </a:lnTo>
                  <a:lnTo>
                    <a:pt x="257937" y="131064"/>
                  </a:lnTo>
                  <a:cubicBezTo>
                    <a:pt x="256603" y="129731"/>
                    <a:pt x="257270" y="127635"/>
                    <a:pt x="256603" y="126302"/>
                  </a:cubicBezTo>
                  <a:cubicBezTo>
                    <a:pt x="256603" y="125635"/>
                    <a:pt x="257270" y="124968"/>
                    <a:pt x="257270" y="124968"/>
                  </a:cubicBezTo>
                  <a:cubicBezTo>
                    <a:pt x="257270" y="124968"/>
                    <a:pt x="256603" y="124968"/>
                    <a:pt x="255937" y="124301"/>
                  </a:cubicBezTo>
                  <a:cubicBezTo>
                    <a:pt x="255270" y="124301"/>
                    <a:pt x="255270" y="124968"/>
                    <a:pt x="255270" y="124968"/>
                  </a:cubicBezTo>
                  <a:cubicBezTo>
                    <a:pt x="254603" y="127064"/>
                    <a:pt x="253175" y="129064"/>
                    <a:pt x="251841" y="131159"/>
                  </a:cubicBezTo>
                  <a:lnTo>
                    <a:pt x="250507" y="134588"/>
                  </a:lnTo>
                  <a:cubicBezTo>
                    <a:pt x="249841" y="134588"/>
                    <a:pt x="249174" y="135255"/>
                    <a:pt x="248412" y="135922"/>
                  </a:cubicBezTo>
                  <a:cubicBezTo>
                    <a:pt x="247078" y="135922"/>
                    <a:pt x="246317" y="136589"/>
                    <a:pt x="246317" y="138017"/>
                  </a:cubicBezTo>
                  <a:lnTo>
                    <a:pt x="246317" y="138684"/>
                  </a:lnTo>
                  <a:cubicBezTo>
                    <a:pt x="246317" y="139351"/>
                    <a:pt x="245650" y="140018"/>
                    <a:pt x="245650" y="140780"/>
                  </a:cubicBezTo>
                  <a:cubicBezTo>
                    <a:pt x="245650" y="144209"/>
                    <a:pt x="244316" y="146304"/>
                    <a:pt x="243554" y="148971"/>
                  </a:cubicBezTo>
                  <a:cubicBezTo>
                    <a:pt x="242888" y="148971"/>
                    <a:pt x="243554" y="149638"/>
                    <a:pt x="243554" y="149638"/>
                  </a:cubicBezTo>
                  <a:lnTo>
                    <a:pt x="244888" y="149638"/>
                  </a:lnTo>
                  <a:cubicBezTo>
                    <a:pt x="245554" y="148971"/>
                    <a:pt x="246983" y="148304"/>
                    <a:pt x="246983" y="146876"/>
                  </a:cubicBezTo>
                  <a:cubicBezTo>
                    <a:pt x="247650" y="145542"/>
                    <a:pt x="248317" y="144113"/>
                    <a:pt x="249746" y="144113"/>
                  </a:cubicBezTo>
                  <a:cubicBezTo>
                    <a:pt x="251079" y="144113"/>
                    <a:pt x="252508" y="144113"/>
                    <a:pt x="253175" y="142780"/>
                  </a:cubicBezTo>
                  <a:cubicBezTo>
                    <a:pt x="253841" y="142113"/>
                    <a:pt x="253841" y="142780"/>
                    <a:pt x="253841" y="142780"/>
                  </a:cubicBezTo>
                  <a:cubicBezTo>
                    <a:pt x="253841" y="144875"/>
                    <a:pt x="253841" y="146876"/>
                    <a:pt x="252508" y="148304"/>
                  </a:cubicBezTo>
                  <a:cubicBezTo>
                    <a:pt x="251841" y="148971"/>
                    <a:pt x="250412" y="149638"/>
                    <a:pt x="250412" y="150400"/>
                  </a:cubicBezTo>
                  <a:lnTo>
                    <a:pt x="252508" y="153162"/>
                  </a:lnTo>
                  <a:cubicBezTo>
                    <a:pt x="253841" y="153829"/>
                    <a:pt x="253841" y="153829"/>
                    <a:pt x="254603" y="153829"/>
                  </a:cubicBezTo>
                  <a:cubicBezTo>
                    <a:pt x="255270" y="154496"/>
                    <a:pt x="255270" y="155924"/>
                    <a:pt x="255270" y="156591"/>
                  </a:cubicBezTo>
                  <a:lnTo>
                    <a:pt x="255270" y="158687"/>
                  </a:lnTo>
                  <a:cubicBezTo>
                    <a:pt x="255270" y="158687"/>
                    <a:pt x="255270" y="160020"/>
                    <a:pt x="255937" y="160020"/>
                  </a:cubicBezTo>
                  <a:lnTo>
                    <a:pt x="260032" y="160020"/>
                  </a:lnTo>
                  <a:cubicBezTo>
                    <a:pt x="262509" y="160020"/>
                    <a:pt x="262509" y="160782"/>
                    <a:pt x="262509" y="161449"/>
                  </a:cubicBezTo>
                  <a:close/>
                  <a:moveTo>
                    <a:pt x="3334" y="256032"/>
                  </a:moveTo>
                  <a:lnTo>
                    <a:pt x="3334" y="256699"/>
                  </a:lnTo>
                  <a:lnTo>
                    <a:pt x="4000" y="257366"/>
                  </a:lnTo>
                  <a:lnTo>
                    <a:pt x="4667" y="257366"/>
                  </a:lnTo>
                  <a:cubicBezTo>
                    <a:pt x="4667" y="256794"/>
                    <a:pt x="4000" y="256032"/>
                    <a:pt x="3334" y="256032"/>
                  </a:cubicBezTo>
                  <a:close/>
                  <a:moveTo>
                    <a:pt x="44482" y="101060"/>
                  </a:moveTo>
                  <a:cubicBezTo>
                    <a:pt x="45815" y="99727"/>
                    <a:pt x="45815" y="98298"/>
                    <a:pt x="45815" y="96965"/>
                  </a:cubicBezTo>
                  <a:lnTo>
                    <a:pt x="45815" y="94869"/>
                  </a:lnTo>
                  <a:cubicBezTo>
                    <a:pt x="46482" y="92774"/>
                    <a:pt x="47911" y="92107"/>
                    <a:pt x="49244" y="90107"/>
                  </a:cubicBezTo>
                  <a:cubicBezTo>
                    <a:pt x="49911" y="88011"/>
                    <a:pt x="51340" y="86678"/>
                    <a:pt x="51340" y="84582"/>
                  </a:cubicBezTo>
                  <a:lnTo>
                    <a:pt x="52006" y="83915"/>
                  </a:lnTo>
                  <a:lnTo>
                    <a:pt x="54102" y="81153"/>
                  </a:lnTo>
                  <a:cubicBezTo>
                    <a:pt x="54769" y="77057"/>
                    <a:pt x="56864" y="72962"/>
                    <a:pt x="58198" y="68771"/>
                  </a:cubicBezTo>
                  <a:cubicBezTo>
                    <a:pt x="58198" y="68104"/>
                    <a:pt x="57531" y="68104"/>
                    <a:pt x="57531" y="68104"/>
                  </a:cubicBezTo>
                  <a:lnTo>
                    <a:pt x="57531" y="67437"/>
                  </a:lnTo>
                  <a:cubicBezTo>
                    <a:pt x="56198" y="68104"/>
                    <a:pt x="55435" y="68771"/>
                    <a:pt x="55435" y="69533"/>
                  </a:cubicBezTo>
                  <a:cubicBezTo>
                    <a:pt x="54769" y="70866"/>
                    <a:pt x="54102" y="72295"/>
                    <a:pt x="54102" y="73628"/>
                  </a:cubicBezTo>
                  <a:cubicBezTo>
                    <a:pt x="52769" y="74962"/>
                    <a:pt x="51340" y="77724"/>
                    <a:pt x="51340" y="79820"/>
                  </a:cubicBezTo>
                  <a:cubicBezTo>
                    <a:pt x="50006" y="81915"/>
                    <a:pt x="49244" y="83249"/>
                    <a:pt x="47244" y="85344"/>
                  </a:cubicBezTo>
                  <a:cubicBezTo>
                    <a:pt x="47244" y="87440"/>
                    <a:pt x="46577" y="89440"/>
                    <a:pt x="44482" y="91535"/>
                  </a:cubicBezTo>
                  <a:cubicBezTo>
                    <a:pt x="44482" y="92202"/>
                    <a:pt x="45148" y="92202"/>
                    <a:pt x="45148" y="92869"/>
                  </a:cubicBezTo>
                  <a:cubicBezTo>
                    <a:pt x="45148" y="94202"/>
                    <a:pt x="43053" y="95631"/>
                    <a:pt x="42386" y="96965"/>
                  </a:cubicBezTo>
                  <a:cubicBezTo>
                    <a:pt x="42386" y="99727"/>
                    <a:pt x="41053" y="102489"/>
                    <a:pt x="39624" y="105918"/>
                  </a:cubicBezTo>
                  <a:cubicBezTo>
                    <a:pt x="38957" y="108680"/>
                    <a:pt x="38290" y="110681"/>
                    <a:pt x="38290" y="112776"/>
                  </a:cubicBezTo>
                  <a:lnTo>
                    <a:pt x="37624" y="113443"/>
                  </a:lnTo>
                  <a:cubicBezTo>
                    <a:pt x="37624" y="113443"/>
                    <a:pt x="37624" y="114110"/>
                    <a:pt x="38290" y="114110"/>
                  </a:cubicBezTo>
                  <a:lnTo>
                    <a:pt x="38957" y="113443"/>
                  </a:lnTo>
                  <a:cubicBezTo>
                    <a:pt x="39624" y="112776"/>
                    <a:pt x="39624" y="112776"/>
                    <a:pt x="39624" y="112109"/>
                  </a:cubicBezTo>
                  <a:lnTo>
                    <a:pt x="39624" y="110776"/>
                  </a:lnTo>
                  <a:cubicBezTo>
                    <a:pt x="39624" y="109442"/>
                    <a:pt x="40291" y="108014"/>
                    <a:pt x="40957" y="107347"/>
                  </a:cubicBezTo>
                  <a:cubicBezTo>
                    <a:pt x="42386" y="105156"/>
                    <a:pt x="43720" y="103156"/>
                    <a:pt x="44482" y="101060"/>
                  </a:cubicBezTo>
                  <a:close/>
                  <a:moveTo>
                    <a:pt x="65056" y="116872"/>
                  </a:moveTo>
                  <a:cubicBezTo>
                    <a:pt x="64389" y="117539"/>
                    <a:pt x="63722" y="118967"/>
                    <a:pt x="63722" y="120968"/>
                  </a:cubicBezTo>
                  <a:lnTo>
                    <a:pt x="63722" y="123730"/>
                  </a:lnTo>
                  <a:cubicBezTo>
                    <a:pt x="67151" y="125063"/>
                    <a:pt x="69247" y="127159"/>
                    <a:pt x="70580" y="129921"/>
                  </a:cubicBezTo>
                  <a:lnTo>
                    <a:pt x="72676" y="129921"/>
                  </a:lnTo>
                  <a:cubicBezTo>
                    <a:pt x="73342" y="129921"/>
                    <a:pt x="73342" y="129254"/>
                    <a:pt x="74009" y="128588"/>
                  </a:cubicBezTo>
                  <a:cubicBezTo>
                    <a:pt x="75343" y="126492"/>
                    <a:pt x="76771" y="124492"/>
                    <a:pt x="79534" y="122396"/>
                  </a:cubicBezTo>
                  <a:cubicBezTo>
                    <a:pt x="82296" y="119634"/>
                    <a:pt x="84296" y="116872"/>
                    <a:pt x="87058" y="112776"/>
                  </a:cubicBezTo>
                  <a:cubicBezTo>
                    <a:pt x="87725" y="112109"/>
                    <a:pt x="87725" y="110681"/>
                    <a:pt x="89154" y="110014"/>
                  </a:cubicBezTo>
                  <a:lnTo>
                    <a:pt x="92583" y="105251"/>
                  </a:lnTo>
                  <a:cubicBezTo>
                    <a:pt x="93917" y="103156"/>
                    <a:pt x="94678" y="101156"/>
                    <a:pt x="96012" y="99727"/>
                  </a:cubicBezTo>
                  <a:cubicBezTo>
                    <a:pt x="96012" y="98393"/>
                    <a:pt x="96679" y="96965"/>
                    <a:pt x="97346" y="95631"/>
                  </a:cubicBezTo>
                  <a:cubicBezTo>
                    <a:pt x="98679" y="93536"/>
                    <a:pt x="100108" y="91535"/>
                    <a:pt x="102108" y="89440"/>
                  </a:cubicBezTo>
                  <a:cubicBezTo>
                    <a:pt x="104203" y="88106"/>
                    <a:pt x="104203" y="84677"/>
                    <a:pt x="105537" y="82582"/>
                  </a:cubicBezTo>
                  <a:cubicBezTo>
                    <a:pt x="106204" y="80486"/>
                    <a:pt x="106204" y="78486"/>
                    <a:pt x="106204" y="77057"/>
                  </a:cubicBezTo>
                  <a:cubicBezTo>
                    <a:pt x="108966" y="74962"/>
                    <a:pt x="108966" y="72962"/>
                    <a:pt x="108966" y="70866"/>
                  </a:cubicBezTo>
                  <a:cubicBezTo>
                    <a:pt x="109633" y="68771"/>
                    <a:pt x="110300" y="66770"/>
                    <a:pt x="111728" y="64675"/>
                  </a:cubicBezTo>
                  <a:cubicBezTo>
                    <a:pt x="112395" y="63341"/>
                    <a:pt x="113824" y="61246"/>
                    <a:pt x="113824" y="59150"/>
                  </a:cubicBezTo>
                  <a:cubicBezTo>
                    <a:pt x="113824" y="58484"/>
                    <a:pt x="113824" y="57817"/>
                    <a:pt x="113157" y="57055"/>
                  </a:cubicBezTo>
                  <a:lnTo>
                    <a:pt x="113157" y="55721"/>
                  </a:lnTo>
                  <a:cubicBezTo>
                    <a:pt x="113157" y="54388"/>
                    <a:pt x="113157" y="54388"/>
                    <a:pt x="114490" y="54388"/>
                  </a:cubicBezTo>
                  <a:lnTo>
                    <a:pt x="115824" y="54388"/>
                  </a:lnTo>
                  <a:cubicBezTo>
                    <a:pt x="115824" y="53721"/>
                    <a:pt x="116491" y="53054"/>
                    <a:pt x="116491" y="53054"/>
                  </a:cubicBezTo>
                  <a:cubicBezTo>
                    <a:pt x="116491" y="53054"/>
                    <a:pt x="115824" y="53054"/>
                    <a:pt x="115824" y="52388"/>
                  </a:cubicBezTo>
                  <a:lnTo>
                    <a:pt x="115824" y="51721"/>
                  </a:lnTo>
                  <a:cubicBezTo>
                    <a:pt x="115824" y="51054"/>
                    <a:pt x="115824" y="51054"/>
                    <a:pt x="115157" y="51054"/>
                  </a:cubicBezTo>
                  <a:cubicBezTo>
                    <a:pt x="114490" y="51054"/>
                    <a:pt x="114490" y="50387"/>
                    <a:pt x="114490" y="49721"/>
                  </a:cubicBezTo>
                  <a:cubicBezTo>
                    <a:pt x="114490" y="49054"/>
                    <a:pt x="114490" y="49054"/>
                    <a:pt x="115157" y="48387"/>
                  </a:cubicBezTo>
                  <a:cubicBezTo>
                    <a:pt x="115824" y="47720"/>
                    <a:pt x="115824" y="47054"/>
                    <a:pt x="115824" y="47054"/>
                  </a:cubicBezTo>
                  <a:lnTo>
                    <a:pt x="114490" y="46387"/>
                  </a:lnTo>
                  <a:cubicBezTo>
                    <a:pt x="114490" y="45720"/>
                    <a:pt x="113824" y="45053"/>
                    <a:pt x="114490" y="45053"/>
                  </a:cubicBezTo>
                  <a:cubicBezTo>
                    <a:pt x="115824" y="43720"/>
                    <a:pt x="115824" y="42958"/>
                    <a:pt x="115824" y="42291"/>
                  </a:cubicBezTo>
                  <a:cubicBezTo>
                    <a:pt x="115824" y="41624"/>
                    <a:pt x="115824" y="40196"/>
                    <a:pt x="115157" y="39529"/>
                  </a:cubicBezTo>
                  <a:cubicBezTo>
                    <a:pt x="114490" y="37433"/>
                    <a:pt x="115157" y="36100"/>
                    <a:pt x="113824" y="34004"/>
                  </a:cubicBezTo>
                  <a:lnTo>
                    <a:pt x="113824" y="33338"/>
                  </a:lnTo>
                  <a:cubicBezTo>
                    <a:pt x="113824" y="32671"/>
                    <a:pt x="113824" y="32671"/>
                    <a:pt x="114490" y="32671"/>
                  </a:cubicBezTo>
                  <a:cubicBezTo>
                    <a:pt x="114490" y="32004"/>
                    <a:pt x="114490" y="32004"/>
                    <a:pt x="115157" y="32004"/>
                  </a:cubicBezTo>
                  <a:cubicBezTo>
                    <a:pt x="115157" y="32004"/>
                    <a:pt x="115157" y="31337"/>
                    <a:pt x="115824" y="30671"/>
                  </a:cubicBezTo>
                  <a:lnTo>
                    <a:pt x="111728" y="30671"/>
                  </a:lnTo>
                  <a:cubicBezTo>
                    <a:pt x="109633" y="33433"/>
                    <a:pt x="107632" y="35433"/>
                    <a:pt x="105537" y="38862"/>
                  </a:cubicBezTo>
                  <a:cubicBezTo>
                    <a:pt x="104870" y="38862"/>
                    <a:pt x="104870" y="39529"/>
                    <a:pt x="104870" y="39529"/>
                  </a:cubicBezTo>
                  <a:lnTo>
                    <a:pt x="104870" y="40196"/>
                  </a:lnTo>
                  <a:cubicBezTo>
                    <a:pt x="101441" y="43625"/>
                    <a:pt x="98012" y="46387"/>
                    <a:pt x="96679" y="50483"/>
                  </a:cubicBezTo>
                  <a:lnTo>
                    <a:pt x="96012" y="51149"/>
                  </a:lnTo>
                  <a:cubicBezTo>
                    <a:pt x="93917" y="53245"/>
                    <a:pt x="91916" y="54578"/>
                    <a:pt x="90488" y="57341"/>
                  </a:cubicBezTo>
                  <a:cubicBezTo>
                    <a:pt x="89821" y="58007"/>
                    <a:pt x="89154" y="58674"/>
                    <a:pt x="89154" y="60103"/>
                  </a:cubicBezTo>
                  <a:lnTo>
                    <a:pt x="89154" y="60770"/>
                  </a:lnTo>
                  <a:cubicBezTo>
                    <a:pt x="88487" y="62865"/>
                    <a:pt x="87058" y="63532"/>
                    <a:pt x="86392" y="64865"/>
                  </a:cubicBezTo>
                  <a:cubicBezTo>
                    <a:pt x="86392" y="66199"/>
                    <a:pt x="85058" y="67628"/>
                    <a:pt x="83629" y="68961"/>
                  </a:cubicBezTo>
                  <a:cubicBezTo>
                    <a:pt x="82963" y="68961"/>
                    <a:pt x="82296" y="70295"/>
                    <a:pt x="82296" y="70295"/>
                  </a:cubicBezTo>
                  <a:cubicBezTo>
                    <a:pt x="82296" y="72390"/>
                    <a:pt x="82963" y="73724"/>
                    <a:pt x="82963" y="74390"/>
                  </a:cubicBezTo>
                  <a:cubicBezTo>
                    <a:pt x="81629" y="75724"/>
                    <a:pt x="80200" y="77153"/>
                    <a:pt x="80200" y="78486"/>
                  </a:cubicBezTo>
                  <a:lnTo>
                    <a:pt x="80200" y="80582"/>
                  </a:lnTo>
                  <a:cubicBezTo>
                    <a:pt x="78867" y="81915"/>
                    <a:pt x="78105" y="81915"/>
                    <a:pt x="78105" y="82677"/>
                  </a:cubicBezTo>
                  <a:cubicBezTo>
                    <a:pt x="76771" y="84011"/>
                    <a:pt x="75343" y="86106"/>
                    <a:pt x="75343" y="88202"/>
                  </a:cubicBezTo>
                  <a:lnTo>
                    <a:pt x="75343" y="89535"/>
                  </a:lnTo>
                  <a:cubicBezTo>
                    <a:pt x="75343" y="90869"/>
                    <a:pt x="74009" y="91631"/>
                    <a:pt x="73247" y="92297"/>
                  </a:cubicBezTo>
                  <a:lnTo>
                    <a:pt x="70485" y="95060"/>
                  </a:lnTo>
                  <a:lnTo>
                    <a:pt x="70485" y="95726"/>
                  </a:lnTo>
                  <a:cubicBezTo>
                    <a:pt x="70485" y="99822"/>
                    <a:pt x="67723" y="106013"/>
                    <a:pt x="65723" y="110776"/>
                  </a:cubicBezTo>
                  <a:lnTo>
                    <a:pt x="65723" y="114872"/>
                  </a:lnTo>
                  <a:cubicBezTo>
                    <a:pt x="65723" y="115443"/>
                    <a:pt x="65723" y="116205"/>
                    <a:pt x="65056" y="116872"/>
                  </a:cubicBezTo>
                  <a:close/>
                  <a:moveTo>
                    <a:pt x="133636" y="65437"/>
                  </a:moveTo>
                  <a:cubicBezTo>
                    <a:pt x="134302" y="65437"/>
                    <a:pt x="134969" y="65437"/>
                    <a:pt x="134969" y="64770"/>
                  </a:cubicBezTo>
                  <a:cubicBezTo>
                    <a:pt x="135636" y="64103"/>
                    <a:pt x="135636" y="63437"/>
                    <a:pt x="135636" y="62675"/>
                  </a:cubicBezTo>
                  <a:lnTo>
                    <a:pt x="135636" y="62008"/>
                  </a:lnTo>
                  <a:lnTo>
                    <a:pt x="134969" y="61341"/>
                  </a:lnTo>
                  <a:lnTo>
                    <a:pt x="134302" y="61341"/>
                  </a:lnTo>
                  <a:cubicBezTo>
                    <a:pt x="134302" y="62008"/>
                    <a:pt x="132969" y="62675"/>
                    <a:pt x="132969" y="63437"/>
                  </a:cubicBezTo>
                  <a:cubicBezTo>
                    <a:pt x="132874" y="64008"/>
                    <a:pt x="132874" y="64770"/>
                    <a:pt x="133636" y="65437"/>
                  </a:cubicBezTo>
                  <a:close/>
                  <a:moveTo>
                    <a:pt x="133636" y="30385"/>
                  </a:moveTo>
                  <a:cubicBezTo>
                    <a:pt x="133636" y="31052"/>
                    <a:pt x="133636" y="31718"/>
                    <a:pt x="134302" y="31718"/>
                  </a:cubicBezTo>
                  <a:cubicBezTo>
                    <a:pt x="134302" y="32385"/>
                    <a:pt x="134969" y="33052"/>
                    <a:pt x="135636" y="33052"/>
                  </a:cubicBezTo>
                  <a:cubicBezTo>
                    <a:pt x="136303" y="33052"/>
                    <a:pt x="136969" y="31718"/>
                    <a:pt x="136969" y="31718"/>
                  </a:cubicBezTo>
                  <a:lnTo>
                    <a:pt x="134874" y="28956"/>
                  </a:lnTo>
                  <a:lnTo>
                    <a:pt x="134207" y="28956"/>
                  </a:lnTo>
                  <a:cubicBezTo>
                    <a:pt x="133636" y="29051"/>
                    <a:pt x="133636" y="30385"/>
                    <a:pt x="133636" y="30385"/>
                  </a:cubicBezTo>
                  <a:close/>
                  <a:moveTo>
                    <a:pt x="137731" y="35909"/>
                  </a:moveTo>
                  <a:cubicBezTo>
                    <a:pt x="136398" y="35909"/>
                    <a:pt x="135636" y="35909"/>
                    <a:pt x="134969" y="36576"/>
                  </a:cubicBezTo>
                  <a:lnTo>
                    <a:pt x="134969" y="40005"/>
                  </a:lnTo>
                  <a:cubicBezTo>
                    <a:pt x="134969" y="41339"/>
                    <a:pt x="134969" y="42767"/>
                    <a:pt x="135636" y="43434"/>
                  </a:cubicBezTo>
                  <a:cubicBezTo>
                    <a:pt x="135636" y="44101"/>
                    <a:pt x="134969" y="45530"/>
                    <a:pt x="134302" y="46196"/>
                  </a:cubicBezTo>
                  <a:cubicBezTo>
                    <a:pt x="134302" y="47530"/>
                    <a:pt x="134302" y="48959"/>
                    <a:pt x="135636" y="50959"/>
                  </a:cubicBezTo>
                  <a:cubicBezTo>
                    <a:pt x="135636" y="50959"/>
                    <a:pt x="134969" y="52292"/>
                    <a:pt x="134302" y="53054"/>
                  </a:cubicBezTo>
                  <a:lnTo>
                    <a:pt x="134302" y="54388"/>
                  </a:lnTo>
                  <a:cubicBezTo>
                    <a:pt x="134302" y="55055"/>
                    <a:pt x="134302" y="55055"/>
                    <a:pt x="134969" y="55055"/>
                  </a:cubicBezTo>
                  <a:cubicBezTo>
                    <a:pt x="134969" y="55055"/>
                    <a:pt x="135636" y="55055"/>
                    <a:pt x="136303" y="54388"/>
                  </a:cubicBezTo>
                  <a:cubicBezTo>
                    <a:pt x="136969" y="54388"/>
                    <a:pt x="138398" y="54388"/>
                    <a:pt x="139065" y="53721"/>
                  </a:cubicBezTo>
                  <a:cubicBezTo>
                    <a:pt x="142494" y="53054"/>
                    <a:pt x="143827" y="50959"/>
                    <a:pt x="143827" y="47530"/>
                  </a:cubicBezTo>
                  <a:lnTo>
                    <a:pt x="143827" y="44768"/>
                  </a:lnTo>
                  <a:cubicBezTo>
                    <a:pt x="143827" y="44101"/>
                    <a:pt x="143161" y="43434"/>
                    <a:pt x="142494" y="42672"/>
                  </a:cubicBezTo>
                  <a:cubicBezTo>
                    <a:pt x="141827" y="41339"/>
                    <a:pt x="140398" y="41339"/>
                    <a:pt x="139732" y="39910"/>
                  </a:cubicBezTo>
                  <a:cubicBezTo>
                    <a:pt x="138398" y="39243"/>
                    <a:pt x="139065" y="37814"/>
                    <a:pt x="138398" y="36481"/>
                  </a:cubicBezTo>
                  <a:cubicBezTo>
                    <a:pt x="139065" y="35909"/>
                    <a:pt x="137731" y="35909"/>
                    <a:pt x="137731" y="35909"/>
                  </a:cubicBezTo>
                  <a:close/>
                  <a:moveTo>
                    <a:pt x="140494" y="38672"/>
                  </a:moveTo>
                  <a:cubicBezTo>
                    <a:pt x="141161" y="38672"/>
                    <a:pt x="141161" y="39338"/>
                    <a:pt x="141827" y="39338"/>
                  </a:cubicBezTo>
                  <a:lnTo>
                    <a:pt x="142494" y="39338"/>
                  </a:lnTo>
                  <a:lnTo>
                    <a:pt x="142494" y="38005"/>
                  </a:lnTo>
                  <a:cubicBezTo>
                    <a:pt x="142494" y="37338"/>
                    <a:pt x="141827" y="36671"/>
                    <a:pt x="141827" y="36671"/>
                  </a:cubicBezTo>
                  <a:lnTo>
                    <a:pt x="141161" y="37338"/>
                  </a:lnTo>
                  <a:cubicBezTo>
                    <a:pt x="140494" y="38005"/>
                    <a:pt x="140494" y="38672"/>
                    <a:pt x="140494" y="38672"/>
                  </a:cubicBezTo>
                  <a:close/>
                  <a:moveTo>
                    <a:pt x="143161" y="57912"/>
                  </a:moveTo>
                  <a:lnTo>
                    <a:pt x="143161" y="58579"/>
                  </a:lnTo>
                  <a:lnTo>
                    <a:pt x="144494" y="64103"/>
                  </a:lnTo>
                  <a:lnTo>
                    <a:pt x="145828" y="64103"/>
                  </a:lnTo>
                  <a:cubicBezTo>
                    <a:pt x="146494" y="62770"/>
                    <a:pt x="147161" y="61341"/>
                    <a:pt x="148590" y="60674"/>
                  </a:cubicBezTo>
                  <a:lnTo>
                    <a:pt x="147923" y="59341"/>
                  </a:lnTo>
                  <a:cubicBezTo>
                    <a:pt x="147256" y="59341"/>
                    <a:pt x="147256" y="58674"/>
                    <a:pt x="147256" y="58007"/>
                  </a:cubicBezTo>
                  <a:cubicBezTo>
                    <a:pt x="147256" y="57341"/>
                    <a:pt x="147256" y="57341"/>
                    <a:pt x="147923" y="56674"/>
                  </a:cubicBezTo>
                  <a:lnTo>
                    <a:pt x="147923" y="56007"/>
                  </a:lnTo>
                  <a:cubicBezTo>
                    <a:pt x="147256" y="55340"/>
                    <a:pt x="146590" y="55340"/>
                    <a:pt x="145828" y="55340"/>
                  </a:cubicBezTo>
                  <a:cubicBezTo>
                    <a:pt x="144590" y="55817"/>
                    <a:pt x="144590" y="57150"/>
                    <a:pt x="143161" y="57912"/>
                  </a:cubicBezTo>
                  <a:close/>
                  <a:moveTo>
                    <a:pt x="145923" y="49625"/>
                  </a:moveTo>
                  <a:lnTo>
                    <a:pt x="145923" y="52388"/>
                  </a:lnTo>
                  <a:cubicBezTo>
                    <a:pt x="145923" y="53054"/>
                    <a:pt x="146590" y="53054"/>
                    <a:pt x="146590" y="53054"/>
                  </a:cubicBezTo>
                  <a:cubicBezTo>
                    <a:pt x="148685" y="51721"/>
                    <a:pt x="148685" y="50959"/>
                    <a:pt x="150019" y="49625"/>
                  </a:cubicBezTo>
                  <a:lnTo>
                    <a:pt x="150019" y="48959"/>
                  </a:lnTo>
                  <a:cubicBezTo>
                    <a:pt x="149352" y="48292"/>
                    <a:pt x="148685" y="46863"/>
                    <a:pt x="147256" y="46196"/>
                  </a:cubicBezTo>
                  <a:lnTo>
                    <a:pt x="146590" y="46196"/>
                  </a:lnTo>
                  <a:cubicBezTo>
                    <a:pt x="146590" y="47625"/>
                    <a:pt x="145923" y="48959"/>
                    <a:pt x="145923" y="49625"/>
                  </a:cubicBezTo>
                  <a:close/>
                  <a:moveTo>
                    <a:pt x="176784" y="260890"/>
                  </a:moveTo>
                  <a:cubicBezTo>
                    <a:pt x="176117" y="260223"/>
                    <a:pt x="176117" y="260223"/>
                    <a:pt x="176117" y="259556"/>
                  </a:cubicBezTo>
                  <a:lnTo>
                    <a:pt x="174784" y="259556"/>
                  </a:lnTo>
                  <a:cubicBezTo>
                    <a:pt x="174784" y="259556"/>
                    <a:pt x="174117" y="260223"/>
                    <a:pt x="174117" y="260890"/>
                  </a:cubicBezTo>
                  <a:cubicBezTo>
                    <a:pt x="174117" y="260890"/>
                    <a:pt x="174117" y="261557"/>
                    <a:pt x="175450" y="261557"/>
                  </a:cubicBezTo>
                  <a:lnTo>
                    <a:pt x="176117" y="261557"/>
                  </a:lnTo>
                  <a:cubicBezTo>
                    <a:pt x="176117" y="260890"/>
                    <a:pt x="176784" y="260890"/>
                    <a:pt x="176784" y="260890"/>
                  </a:cubicBezTo>
                  <a:close/>
                  <a:moveTo>
                    <a:pt x="191929" y="257461"/>
                  </a:moveTo>
                  <a:cubicBezTo>
                    <a:pt x="191929" y="257461"/>
                    <a:pt x="191929" y="258128"/>
                    <a:pt x="191262" y="258128"/>
                  </a:cubicBezTo>
                  <a:cubicBezTo>
                    <a:pt x="191262" y="258128"/>
                    <a:pt x="190595" y="258128"/>
                    <a:pt x="190595" y="257461"/>
                  </a:cubicBezTo>
                  <a:cubicBezTo>
                    <a:pt x="190595" y="257461"/>
                    <a:pt x="191262" y="257461"/>
                    <a:pt x="191262" y="256794"/>
                  </a:cubicBezTo>
                  <a:cubicBezTo>
                    <a:pt x="191929" y="256794"/>
                    <a:pt x="191929" y="257461"/>
                    <a:pt x="191929" y="257461"/>
                  </a:cubicBezTo>
                  <a:close/>
                  <a:moveTo>
                    <a:pt x="229648" y="217646"/>
                  </a:moveTo>
                  <a:lnTo>
                    <a:pt x="226219" y="221075"/>
                  </a:lnTo>
                  <a:cubicBezTo>
                    <a:pt x="225552" y="221742"/>
                    <a:pt x="225552" y="222409"/>
                    <a:pt x="224885" y="222409"/>
                  </a:cubicBezTo>
                  <a:cubicBezTo>
                    <a:pt x="224219" y="222409"/>
                    <a:pt x="224219" y="221742"/>
                    <a:pt x="224219" y="221075"/>
                  </a:cubicBezTo>
                  <a:cubicBezTo>
                    <a:pt x="224219" y="219742"/>
                    <a:pt x="223552" y="218980"/>
                    <a:pt x="222123" y="218980"/>
                  </a:cubicBezTo>
                  <a:cubicBezTo>
                    <a:pt x="221456" y="218980"/>
                    <a:pt x="220790" y="218980"/>
                    <a:pt x="220790" y="217646"/>
                  </a:cubicBezTo>
                  <a:lnTo>
                    <a:pt x="220790" y="216313"/>
                  </a:lnTo>
                  <a:cubicBezTo>
                    <a:pt x="221456" y="215646"/>
                    <a:pt x="222885" y="215646"/>
                    <a:pt x="224219" y="214217"/>
                  </a:cubicBezTo>
                  <a:cubicBezTo>
                    <a:pt x="224219" y="214217"/>
                    <a:pt x="224885" y="214217"/>
                    <a:pt x="224885" y="214884"/>
                  </a:cubicBezTo>
                  <a:cubicBezTo>
                    <a:pt x="226219" y="216218"/>
                    <a:pt x="226981" y="216218"/>
                    <a:pt x="228314" y="216218"/>
                  </a:cubicBezTo>
                  <a:cubicBezTo>
                    <a:pt x="228886" y="216980"/>
                    <a:pt x="229648" y="216980"/>
                    <a:pt x="229648" y="217646"/>
                  </a:cubicBezTo>
                  <a:close/>
                  <a:moveTo>
                    <a:pt x="233744" y="203930"/>
                  </a:moveTo>
                  <a:lnTo>
                    <a:pt x="233744" y="204597"/>
                  </a:lnTo>
                  <a:cubicBezTo>
                    <a:pt x="233744" y="206693"/>
                    <a:pt x="231648" y="208693"/>
                    <a:pt x="229648" y="208693"/>
                  </a:cubicBezTo>
                  <a:lnTo>
                    <a:pt x="228981" y="208693"/>
                  </a:lnTo>
                  <a:lnTo>
                    <a:pt x="228314" y="208026"/>
                  </a:lnTo>
                  <a:cubicBezTo>
                    <a:pt x="228314" y="208026"/>
                    <a:pt x="228314" y="206693"/>
                    <a:pt x="228981" y="206693"/>
                  </a:cubicBezTo>
                  <a:cubicBezTo>
                    <a:pt x="230315" y="206693"/>
                    <a:pt x="231077" y="206026"/>
                    <a:pt x="231077" y="204597"/>
                  </a:cubicBezTo>
                  <a:lnTo>
                    <a:pt x="231077" y="203264"/>
                  </a:lnTo>
                  <a:lnTo>
                    <a:pt x="231743" y="203264"/>
                  </a:lnTo>
                  <a:cubicBezTo>
                    <a:pt x="232315" y="203264"/>
                    <a:pt x="233077" y="203264"/>
                    <a:pt x="233744" y="203930"/>
                  </a:cubicBezTo>
                  <a:close/>
                  <a:moveTo>
                    <a:pt x="249460" y="192977"/>
                  </a:moveTo>
                  <a:cubicBezTo>
                    <a:pt x="249460" y="192310"/>
                    <a:pt x="250127" y="192310"/>
                    <a:pt x="250793" y="192310"/>
                  </a:cubicBezTo>
                  <a:cubicBezTo>
                    <a:pt x="250127" y="193643"/>
                    <a:pt x="248698" y="195072"/>
                    <a:pt x="248698" y="197072"/>
                  </a:cubicBezTo>
                  <a:cubicBezTo>
                    <a:pt x="248031" y="197739"/>
                    <a:pt x="247364" y="198406"/>
                    <a:pt x="247364" y="197739"/>
                  </a:cubicBezTo>
                  <a:lnTo>
                    <a:pt x="247364" y="195644"/>
                  </a:lnTo>
                  <a:cubicBezTo>
                    <a:pt x="247459" y="195072"/>
                    <a:pt x="247459" y="193643"/>
                    <a:pt x="249460" y="192977"/>
                  </a:cubicBezTo>
                  <a:close/>
                  <a:moveTo>
                    <a:pt x="251555" y="158020"/>
                  </a:moveTo>
                  <a:cubicBezTo>
                    <a:pt x="250888" y="157353"/>
                    <a:pt x="250888" y="156686"/>
                    <a:pt x="250888" y="155258"/>
                  </a:cubicBezTo>
                  <a:lnTo>
                    <a:pt x="250222" y="155258"/>
                  </a:lnTo>
                  <a:lnTo>
                    <a:pt x="250222" y="156591"/>
                  </a:lnTo>
                  <a:cubicBezTo>
                    <a:pt x="250222" y="156591"/>
                    <a:pt x="250222" y="157258"/>
                    <a:pt x="250888" y="157925"/>
                  </a:cubicBezTo>
                  <a:lnTo>
                    <a:pt x="250888" y="158591"/>
                  </a:lnTo>
                  <a:cubicBezTo>
                    <a:pt x="251555" y="158687"/>
                    <a:pt x="251555" y="158020"/>
                    <a:pt x="251555" y="158020"/>
                  </a:cubicBezTo>
                  <a:close/>
                  <a:moveTo>
                    <a:pt x="254317" y="138779"/>
                  </a:moveTo>
                  <a:lnTo>
                    <a:pt x="254317" y="139446"/>
                  </a:lnTo>
                  <a:cubicBezTo>
                    <a:pt x="253651" y="140780"/>
                    <a:pt x="252984" y="140780"/>
                    <a:pt x="251555" y="141542"/>
                  </a:cubicBezTo>
                  <a:cubicBezTo>
                    <a:pt x="251555" y="140875"/>
                    <a:pt x="250888" y="140875"/>
                    <a:pt x="250888" y="140875"/>
                  </a:cubicBezTo>
                  <a:lnTo>
                    <a:pt x="250888" y="140208"/>
                  </a:lnTo>
                  <a:lnTo>
                    <a:pt x="252984" y="138113"/>
                  </a:lnTo>
                  <a:cubicBezTo>
                    <a:pt x="252222" y="137446"/>
                    <a:pt x="253651" y="138113"/>
                    <a:pt x="254317" y="138779"/>
                  </a:cubicBezTo>
                  <a:close/>
                  <a:moveTo>
                    <a:pt x="267367" y="147066"/>
                  </a:moveTo>
                  <a:lnTo>
                    <a:pt x="267367" y="147733"/>
                  </a:lnTo>
                  <a:lnTo>
                    <a:pt x="266033" y="151829"/>
                  </a:lnTo>
                  <a:cubicBezTo>
                    <a:pt x="265271" y="152495"/>
                    <a:pt x="265271" y="153924"/>
                    <a:pt x="265271" y="153924"/>
                  </a:cubicBezTo>
                  <a:cubicBezTo>
                    <a:pt x="264605" y="155258"/>
                    <a:pt x="264605" y="155258"/>
                    <a:pt x="264605" y="156020"/>
                  </a:cubicBezTo>
                  <a:cubicBezTo>
                    <a:pt x="264605" y="157353"/>
                    <a:pt x="264605" y="158115"/>
                    <a:pt x="262509" y="158115"/>
                  </a:cubicBezTo>
                  <a:cubicBezTo>
                    <a:pt x="261842" y="158115"/>
                    <a:pt x="259747" y="156782"/>
                    <a:pt x="260413" y="156020"/>
                  </a:cubicBezTo>
                  <a:cubicBezTo>
                    <a:pt x="262509" y="153924"/>
                    <a:pt x="262509" y="151924"/>
                    <a:pt x="262509" y="150495"/>
                  </a:cubicBezTo>
                  <a:lnTo>
                    <a:pt x="262509" y="148400"/>
                  </a:lnTo>
                  <a:cubicBezTo>
                    <a:pt x="262509" y="147733"/>
                    <a:pt x="262509" y="146304"/>
                    <a:pt x="263176" y="145637"/>
                  </a:cubicBezTo>
                  <a:cubicBezTo>
                    <a:pt x="263176" y="143542"/>
                    <a:pt x="263842" y="141542"/>
                    <a:pt x="265271" y="140113"/>
                  </a:cubicBezTo>
                  <a:lnTo>
                    <a:pt x="265271" y="138779"/>
                  </a:lnTo>
                  <a:cubicBezTo>
                    <a:pt x="265271" y="138113"/>
                    <a:pt x="265271" y="137446"/>
                    <a:pt x="265938" y="137446"/>
                  </a:cubicBezTo>
                  <a:cubicBezTo>
                    <a:pt x="265938" y="136779"/>
                    <a:pt x="266605" y="137446"/>
                    <a:pt x="266605" y="137446"/>
                  </a:cubicBezTo>
                  <a:lnTo>
                    <a:pt x="267271" y="137446"/>
                  </a:lnTo>
                  <a:cubicBezTo>
                    <a:pt x="267271" y="138113"/>
                    <a:pt x="267938" y="138779"/>
                    <a:pt x="267938" y="138779"/>
                  </a:cubicBezTo>
                  <a:cubicBezTo>
                    <a:pt x="267938" y="139446"/>
                    <a:pt x="267271" y="139446"/>
                    <a:pt x="267271" y="139446"/>
                  </a:cubicBezTo>
                  <a:cubicBezTo>
                    <a:pt x="267271" y="140113"/>
                    <a:pt x="266605" y="140780"/>
                    <a:pt x="265938" y="142208"/>
                  </a:cubicBezTo>
                  <a:cubicBezTo>
                    <a:pt x="265938" y="142875"/>
                    <a:pt x="265271" y="142875"/>
                    <a:pt x="265271" y="143542"/>
                  </a:cubicBezTo>
                  <a:cubicBezTo>
                    <a:pt x="265271" y="144209"/>
                    <a:pt x="265938" y="144209"/>
                    <a:pt x="266605" y="144875"/>
                  </a:cubicBezTo>
                  <a:cubicBezTo>
                    <a:pt x="267367" y="145637"/>
                    <a:pt x="267367" y="146304"/>
                    <a:pt x="267367" y="147066"/>
                  </a:cubicBezTo>
                  <a:close/>
                  <a:moveTo>
                    <a:pt x="260509" y="98298"/>
                  </a:moveTo>
                  <a:cubicBezTo>
                    <a:pt x="260509" y="97631"/>
                    <a:pt x="261175" y="96203"/>
                    <a:pt x="261842" y="96203"/>
                  </a:cubicBezTo>
                  <a:lnTo>
                    <a:pt x="265271" y="96203"/>
                  </a:lnTo>
                  <a:cubicBezTo>
                    <a:pt x="264605" y="96869"/>
                    <a:pt x="264605" y="97536"/>
                    <a:pt x="264605" y="98298"/>
                  </a:cubicBezTo>
                  <a:cubicBezTo>
                    <a:pt x="265271" y="98298"/>
                    <a:pt x="265271" y="98298"/>
                    <a:pt x="265271" y="98965"/>
                  </a:cubicBezTo>
                  <a:cubicBezTo>
                    <a:pt x="265271" y="99632"/>
                    <a:pt x="264605" y="100298"/>
                    <a:pt x="263938" y="100298"/>
                  </a:cubicBezTo>
                  <a:cubicBezTo>
                    <a:pt x="262509" y="100394"/>
                    <a:pt x="261842" y="99727"/>
                    <a:pt x="260509" y="98298"/>
                  </a:cubicBezTo>
                  <a:close/>
                  <a:moveTo>
                    <a:pt x="268700" y="167640"/>
                  </a:moveTo>
                  <a:cubicBezTo>
                    <a:pt x="268700" y="168307"/>
                    <a:pt x="267367" y="169736"/>
                    <a:pt x="266605" y="169736"/>
                  </a:cubicBezTo>
                  <a:cubicBezTo>
                    <a:pt x="266605" y="168402"/>
                    <a:pt x="267271" y="167640"/>
                    <a:pt x="267938" y="166307"/>
                  </a:cubicBezTo>
                  <a:lnTo>
                    <a:pt x="268605" y="166973"/>
                  </a:lnTo>
                  <a:lnTo>
                    <a:pt x="268605" y="167640"/>
                  </a:lnTo>
                  <a:close/>
                  <a:moveTo>
                    <a:pt x="272796" y="158687"/>
                  </a:moveTo>
                  <a:cubicBezTo>
                    <a:pt x="272129" y="158020"/>
                    <a:pt x="272129" y="157353"/>
                    <a:pt x="272129" y="156591"/>
                  </a:cubicBezTo>
                  <a:cubicBezTo>
                    <a:pt x="272129" y="155924"/>
                    <a:pt x="272129" y="155258"/>
                    <a:pt x="272796" y="155258"/>
                  </a:cubicBezTo>
                  <a:cubicBezTo>
                    <a:pt x="272796" y="154591"/>
                    <a:pt x="273463" y="154591"/>
                    <a:pt x="273463" y="154591"/>
                  </a:cubicBezTo>
                  <a:cubicBezTo>
                    <a:pt x="274130" y="154591"/>
                    <a:pt x="274130" y="155258"/>
                    <a:pt x="274130" y="155258"/>
                  </a:cubicBezTo>
                  <a:cubicBezTo>
                    <a:pt x="274225" y="156591"/>
                    <a:pt x="274225" y="158020"/>
                    <a:pt x="272796" y="158687"/>
                  </a:cubicBezTo>
                  <a:cubicBezTo>
                    <a:pt x="272796" y="159353"/>
                    <a:pt x="272796" y="159353"/>
                    <a:pt x="272129" y="159353"/>
                  </a:cubicBezTo>
                  <a:cubicBezTo>
                    <a:pt x="272129" y="158687"/>
                    <a:pt x="272129" y="158687"/>
                    <a:pt x="272796" y="15868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8971230-E32F-4DDF-86F5-A06CBF1AD6E9}"/>
              </a:ext>
            </a:extLst>
          </p:cNvPr>
          <p:cNvGrpSpPr/>
          <p:nvPr/>
        </p:nvGrpSpPr>
        <p:grpSpPr>
          <a:xfrm>
            <a:off x="2055277" y="5135508"/>
            <a:ext cx="881278" cy="454180"/>
            <a:chOff x="5492527" y="3260609"/>
            <a:chExt cx="883643" cy="351730"/>
          </a:xfrm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1FD780C7-92BA-490E-88EA-77AD0471E5D8}"/>
                </a:ext>
              </a:extLst>
            </p:cNvPr>
            <p:cNvSpPr/>
            <p:nvPr/>
          </p:nvSpPr>
          <p:spPr>
            <a:xfrm>
              <a:off x="5492527" y="3329150"/>
              <a:ext cx="163596" cy="265138"/>
            </a:xfrm>
            <a:custGeom>
              <a:avLst/>
              <a:gdLst>
                <a:gd name="connsiteX0" fmla="*/ 68259 w 163595"/>
                <a:gd name="connsiteY0" fmla="*/ 59515 h 265137"/>
                <a:gd name="connsiteX1" fmla="*/ 67695 w 163595"/>
                <a:gd name="connsiteY1" fmla="*/ 60361 h 265137"/>
                <a:gd name="connsiteX2" fmla="*/ 66848 w 163595"/>
                <a:gd name="connsiteY2" fmla="*/ 61207 h 265137"/>
                <a:gd name="connsiteX3" fmla="*/ 65438 w 163595"/>
                <a:gd name="connsiteY3" fmla="*/ 63182 h 265137"/>
                <a:gd name="connsiteX4" fmla="*/ 66284 w 163595"/>
                <a:gd name="connsiteY4" fmla="*/ 63464 h 265137"/>
                <a:gd name="connsiteX5" fmla="*/ 65156 w 163595"/>
                <a:gd name="connsiteY5" fmla="*/ 64874 h 265137"/>
                <a:gd name="connsiteX6" fmla="*/ 64028 w 163595"/>
                <a:gd name="connsiteY6" fmla="*/ 66566 h 265137"/>
                <a:gd name="connsiteX7" fmla="*/ 62900 w 163595"/>
                <a:gd name="connsiteY7" fmla="*/ 67131 h 265137"/>
                <a:gd name="connsiteX8" fmla="*/ 62336 w 163595"/>
                <a:gd name="connsiteY8" fmla="*/ 66849 h 265137"/>
                <a:gd name="connsiteX9" fmla="*/ 61772 w 163595"/>
                <a:gd name="connsiteY9" fmla="*/ 67413 h 265137"/>
                <a:gd name="connsiteX10" fmla="*/ 62336 w 163595"/>
                <a:gd name="connsiteY10" fmla="*/ 67695 h 265137"/>
                <a:gd name="connsiteX11" fmla="*/ 62618 w 163595"/>
                <a:gd name="connsiteY11" fmla="*/ 67977 h 265137"/>
                <a:gd name="connsiteX12" fmla="*/ 60643 w 163595"/>
                <a:gd name="connsiteY12" fmla="*/ 71644 h 265137"/>
                <a:gd name="connsiteX13" fmla="*/ 59797 w 163595"/>
                <a:gd name="connsiteY13" fmla="*/ 73054 h 265137"/>
                <a:gd name="connsiteX14" fmla="*/ 58669 w 163595"/>
                <a:gd name="connsiteY14" fmla="*/ 74464 h 265137"/>
                <a:gd name="connsiteX15" fmla="*/ 58105 w 163595"/>
                <a:gd name="connsiteY15" fmla="*/ 75310 h 265137"/>
                <a:gd name="connsiteX16" fmla="*/ 57823 w 163595"/>
                <a:gd name="connsiteY16" fmla="*/ 75592 h 265137"/>
                <a:gd name="connsiteX17" fmla="*/ 57541 w 163595"/>
                <a:gd name="connsiteY17" fmla="*/ 75592 h 265137"/>
                <a:gd name="connsiteX18" fmla="*/ 57541 w 163595"/>
                <a:gd name="connsiteY18" fmla="*/ 74746 h 265137"/>
                <a:gd name="connsiteX19" fmla="*/ 56976 w 163595"/>
                <a:gd name="connsiteY19" fmla="*/ 74746 h 265137"/>
                <a:gd name="connsiteX20" fmla="*/ 56130 w 163595"/>
                <a:gd name="connsiteY20" fmla="*/ 75592 h 265137"/>
                <a:gd name="connsiteX21" fmla="*/ 56130 w 163595"/>
                <a:gd name="connsiteY21" fmla="*/ 76157 h 265137"/>
                <a:gd name="connsiteX22" fmla="*/ 56694 w 163595"/>
                <a:gd name="connsiteY22" fmla="*/ 76157 h 265137"/>
                <a:gd name="connsiteX23" fmla="*/ 56694 w 163595"/>
                <a:gd name="connsiteY23" fmla="*/ 76439 h 265137"/>
                <a:gd name="connsiteX24" fmla="*/ 56976 w 163595"/>
                <a:gd name="connsiteY24" fmla="*/ 76721 h 265137"/>
                <a:gd name="connsiteX25" fmla="*/ 56694 w 163595"/>
                <a:gd name="connsiteY25" fmla="*/ 77003 h 265137"/>
                <a:gd name="connsiteX26" fmla="*/ 55566 w 163595"/>
                <a:gd name="connsiteY26" fmla="*/ 77003 h 265137"/>
                <a:gd name="connsiteX27" fmla="*/ 55002 w 163595"/>
                <a:gd name="connsiteY27" fmla="*/ 77285 h 265137"/>
                <a:gd name="connsiteX28" fmla="*/ 55002 w 163595"/>
                <a:gd name="connsiteY28" fmla="*/ 78131 h 265137"/>
                <a:gd name="connsiteX29" fmla="*/ 55566 w 163595"/>
                <a:gd name="connsiteY29" fmla="*/ 78413 h 265137"/>
                <a:gd name="connsiteX30" fmla="*/ 55848 w 163595"/>
                <a:gd name="connsiteY30" fmla="*/ 78977 h 265137"/>
                <a:gd name="connsiteX31" fmla="*/ 55566 w 163595"/>
                <a:gd name="connsiteY31" fmla="*/ 79259 h 265137"/>
                <a:gd name="connsiteX32" fmla="*/ 54438 w 163595"/>
                <a:gd name="connsiteY32" fmla="*/ 79823 h 265137"/>
                <a:gd name="connsiteX33" fmla="*/ 52745 w 163595"/>
                <a:gd name="connsiteY33" fmla="*/ 80387 h 265137"/>
                <a:gd name="connsiteX34" fmla="*/ 52745 w 163595"/>
                <a:gd name="connsiteY34" fmla="*/ 80670 h 265137"/>
                <a:gd name="connsiteX35" fmla="*/ 53310 w 163595"/>
                <a:gd name="connsiteY35" fmla="*/ 81516 h 265137"/>
                <a:gd name="connsiteX36" fmla="*/ 53310 w 163595"/>
                <a:gd name="connsiteY36" fmla="*/ 81798 h 265137"/>
                <a:gd name="connsiteX37" fmla="*/ 53027 w 163595"/>
                <a:gd name="connsiteY37" fmla="*/ 82080 h 265137"/>
                <a:gd name="connsiteX38" fmla="*/ 52745 w 163595"/>
                <a:gd name="connsiteY38" fmla="*/ 82362 h 265137"/>
                <a:gd name="connsiteX39" fmla="*/ 52463 w 163595"/>
                <a:gd name="connsiteY39" fmla="*/ 82926 h 265137"/>
                <a:gd name="connsiteX40" fmla="*/ 52745 w 163595"/>
                <a:gd name="connsiteY40" fmla="*/ 83490 h 265137"/>
                <a:gd name="connsiteX41" fmla="*/ 53027 w 163595"/>
                <a:gd name="connsiteY41" fmla="*/ 84054 h 265137"/>
                <a:gd name="connsiteX42" fmla="*/ 52745 w 163595"/>
                <a:gd name="connsiteY42" fmla="*/ 84900 h 265137"/>
                <a:gd name="connsiteX43" fmla="*/ 52181 w 163595"/>
                <a:gd name="connsiteY43" fmla="*/ 86029 h 265137"/>
                <a:gd name="connsiteX44" fmla="*/ 51335 w 163595"/>
                <a:gd name="connsiteY44" fmla="*/ 86311 h 265137"/>
                <a:gd name="connsiteX45" fmla="*/ 50489 w 163595"/>
                <a:gd name="connsiteY45" fmla="*/ 86593 h 265137"/>
                <a:gd name="connsiteX46" fmla="*/ 50489 w 163595"/>
                <a:gd name="connsiteY46" fmla="*/ 87157 h 265137"/>
                <a:gd name="connsiteX47" fmla="*/ 50771 w 163595"/>
                <a:gd name="connsiteY47" fmla="*/ 87439 h 265137"/>
                <a:gd name="connsiteX48" fmla="*/ 50489 w 163595"/>
                <a:gd name="connsiteY48" fmla="*/ 88003 h 265137"/>
                <a:gd name="connsiteX49" fmla="*/ 49925 w 163595"/>
                <a:gd name="connsiteY49" fmla="*/ 88003 h 265137"/>
                <a:gd name="connsiteX50" fmla="*/ 49361 w 163595"/>
                <a:gd name="connsiteY50" fmla="*/ 88285 h 265137"/>
                <a:gd name="connsiteX51" fmla="*/ 49079 w 163595"/>
                <a:gd name="connsiteY51" fmla="*/ 89413 h 265137"/>
                <a:gd name="connsiteX52" fmla="*/ 49079 w 163595"/>
                <a:gd name="connsiteY52" fmla="*/ 89696 h 265137"/>
                <a:gd name="connsiteX53" fmla="*/ 49643 w 163595"/>
                <a:gd name="connsiteY53" fmla="*/ 90824 h 265137"/>
                <a:gd name="connsiteX54" fmla="*/ 49361 w 163595"/>
                <a:gd name="connsiteY54" fmla="*/ 91388 h 265137"/>
                <a:gd name="connsiteX55" fmla="*/ 47668 w 163595"/>
                <a:gd name="connsiteY55" fmla="*/ 95055 h 265137"/>
                <a:gd name="connsiteX56" fmla="*/ 46258 w 163595"/>
                <a:gd name="connsiteY56" fmla="*/ 95901 h 265137"/>
                <a:gd name="connsiteX57" fmla="*/ 45694 w 163595"/>
                <a:gd name="connsiteY57" fmla="*/ 96465 h 265137"/>
                <a:gd name="connsiteX58" fmla="*/ 45412 w 163595"/>
                <a:gd name="connsiteY58" fmla="*/ 97029 h 265137"/>
                <a:gd name="connsiteX59" fmla="*/ 45694 w 163595"/>
                <a:gd name="connsiteY59" fmla="*/ 97311 h 265137"/>
                <a:gd name="connsiteX60" fmla="*/ 45976 w 163595"/>
                <a:gd name="connsiteY60" fmla="*/ 97311 h 265137"/>
                <a:gd name="connsiteX61" fmla="*/ 46540 w 163595"/>
                <a:gd name="connsiteY61" fmla="*/ 97593 h 265137"/>
                <a:gd name="connsiteX62" fmla="*/ 46258 w 163595"/>
                <a:gd name="connsiteY62" fmla="*/ 97875 h 265137"/>
                <a:gd name="connsiteX63" fmla="*/ 44848 w 163595"/>
                <a:gd name="connsiteY63" fmla="*/ 99004 h 265137"/>
                <a:gd name="connsiteX64" fmla="*/ 44566 w 163595"/>
                <a:gd name="connsiteY64" fmla="*/ 99286 h 265137"/>
                <a:gd name="connsiteX65" fmla="*/ 44848 w 163595"/>
                <a:gd name="connsiteY65" fmla="*/ 99568 h 265137"/>
                <a:gd name="connsiteX66" fmla="*/ 45130 w 163595"/>
                <a:gd name="connsiteY66" fmla="*/ 100132 h 265137"/>
                <a:gd name="connsiteX67" fmla="*/ 44848 w 163595"/>
                <a:gd name="connsiteY67" fmla="*/ 100696 h 265137"/>
                <a:gd name="connsiteX68" fmla="*/ 44002 w 163595"/>
                <a:gd name="connsiteY68" fmla="*/ 102952 h 265137"/>
                <a:gd name="connsiteX69" fmla="*/ 43720 w 163595"/>
                <a:gd name="connsiteY69" fmla="*/ 103799 h 265137"/>
                <a:gd name="connsiteX70" fmla="*/ 42027 w 163595"/>
                <a:gd name="connsiteY70" fmla="*/ 106055 h 265137"/>
                <a:gd name="connsiteX71" fmla="*/ 41463 w 163595"/>
                <a:gd name="connsiteY71" fmla="*/ 107183 h 265137"/>
                <a:gd name="connsiteX72" fmla="*/ 40617 w 163595"/>
                <a:gd name="connsiteY72" fmla="*/ 109440 h 265137"/>
                <a:gd name="connsiteX73" fmla="*/ 39489 w 163595"/>
                <a:gd name="connsiteY73" fmla="*/ 111978 h 265137"/>
                <a:gd name="connsiteX74" fmla="*/ 38642 w 163595"/>
                <a:gd name="connsiteY74" fmla="*/ 113107 h 265137"/>
                <a:gd name="connsiteX75" fmla="*/ 38360 w 163595"/>
                <a:gd name="connsiteY75" fmla="*/ 113953 h 265137"/>
                <a:gd name="connsiteX76" fmla="*/ 38360 w 163595"/>
                <a:gd name="connsiteY76" fmla="*/ 114517 h 265137"/>
                <a:gd name="connsiteX77" fmla="*/ 37796 w 163595"/>
                <a:gd name="connsiteY77" fmla="*/ 116773 h 265137"/>
                <a:gd name="connsiteX78" fmla="*/ 37232 w 163595"/>
                <a:gd name="connsiteY78" fmla="*/ 118184 h 265137"/>
                <a:gd name="connsiteX79" fmla="*/ 35258 w 163595"/>
                <a:gd name="connsiteY79" fmla="*/ 124389 h 265137"/>
                <a:gd name="connsiteX80" fmla="*/ 34693 w 163595"/>
                <a:gd name="connsiteY80" fmla="*/ 128902 h 265137"/>
                <a:gd name="connsiteX81" fmla="*/ 34976 w 163595"/>
                <a:gd name="connsiteY81" fmla="*/ 130030 h 265137"/>
                <a:gd name="connsiteX82" fmla="*/ 34976 w 163595"/>
                <a:gd name="connsiteY82" fmla="*/ 130312 h 265137"/>
                <a:gd name="connsiteX83" fmla="*/ 34411 w 163595"/>
                <a:gd name="connsiteY83" fmla="*/ 131159 h 265137"/>
                <a:gd name="connsiteX84" fmla="*/ 33565 w 163595"/>
                <a:gd name="connsiteY84" fmla="*/ 132287 h 265137"/>
                <a:gd name="connsiteX85" fmla="*/ 32719 w 163595"/>
                <a:gd name="connsiteY85" fmla="*/ 132569 h 265137"/>
                <a:gd name="connsiteX86" fmla="*/ 32437 w 163595"/>
                <a:gd name="connsiteY86" fmla="*/ 132569 h 265137"/>
                <a:gd name="connsiteX87" fmla="*/ 31027 w 163595"/>
                <a:gd name="connsiteY87" fmla="*/ 131441 h 265137"/>
                <a:gd name="connsiteX88" fmla="*/ 30745 w 163595"/>
                <a:gd name="connsiteY88" fmla="*/ 131159 h 265137"/>
                <a:gd name="connsiteX89" fmla="*/ 30180 w 163595"/>
                <a:gd name="connsiteY89" fmla="*/ 131723 h 265137"/>
                <a:gd name="connsiteX90" fmla="*/ 29616 w 163595"/>
                <a:gd name="connsiteY90" fmla="*/ 133133 h 265137"/>
                <a:gd name="connsiteX91" fmla="*/ 29052 w 163595"/>
                <a:gd name="connsiteY91" fmla="*/ 133697 h 265137"/>
                <a:gd name="connsiteX92" fmla="*/ 28770 w 163595"/>
                <a:gd name="connsiteY92" fmla="*/ 133133 h 265137"/>
                <a:gd name="connsiteX93" fmla="*/ 27924 w 163595"/>
                <a:gd name="connsiteY93" fmla="*/ 132287 h 265137"/>
                <a:gd name="connsiteX94" fmla="*/ 27642 w 163595"/>
                <a:gd name="connsiteY94" fmla="*/ 132569 h 265137"/>
                <a:gd name="connsiteX95" fmla="*/ 27642 w 163595"/>
                <a:gd name="connsiteY95" fmla="*/ 133133 h 265137"/>
                <a:gd name="connsiteX96" fmla="*/ 27078 w 163595"/>
                <a:gd name="connsiteY96" fmla="*/ 135389 h 265137"/>
                <a:gd name="connsiteX97" fmla="*/ 26796 w 163595"/>
                <a:gd name="connsiteY97" fmla="*/ 136518 h 265137"/>
                <a:gd name="connsiteX98" fmla="*/ 26514 w 163595"/>
                <a:gd name="connsiteY98" fmla="*/ 137082 h 265137"/>
                <a:gd name="connsiteX99" fmla="*/ 27360 w 163595"/>
                <a:gd name="connsiteY99" fmla="*/ 137364 h 265137"/>
                <a:gd name="connsiteX100" fmla="*/ 27924 w 163595"/>
                <a:gd name="connsiteY100" fmla="*/ 137646 h 265137"/>
                <a:gd name="connsiteX101" fmla="*/ 27360 w 163595"/>
                <a:gd name="connsiteY101" fmla="*/ 139056 h 265137"/>
                <a:gd name="connsiteX102" fmla="*/ 25950 w 163595"/>
                <a:gd name="connsiteY102" fmla="*/ 143005 h 265137"/>
                <a:gd name="connsiteX103" fmla="*/ 25668 w 163595"/>
                <a:gd name="connsiteY103" fmla="*/ 145544 h 265137"/>
                <a:gd name="connsiteX104" fmla="*/ 25104 w 163595"/>
                <a:gd name="connsiteY104" fmla="*/ 146108 h 265137"/>
                <a:gd name="connsiteX105" fmla="*/ 24821 w 163595"/>
                <a:gd name="connsiteY105" fmla="*/ 146108 h 265137"/>
                <a:gd name="connsiteX106" fmla="*/ 25104 w 163595"/>
                <a:gd name="connsiteY106" fmla="*/ 146390 h 265137"/>
                <a:gd name="connsiteX107" fmla="*/ 25668 w 163595"/>
                <a:gd name="connsiteY107" fmla="*/ 146954 h 265137"/>
                <a:gd name="connsiteX108" fmla="*/ 25104 w 163595"/>
                <a:gd name="connsiteY108" fmla="*/ 147800 h 265137"/>
                <a:gd name="connsiteX109" fmla="*/ 25386 w 163595"/>
                <a:gd name="connsiteY109" fmla="*/ 148364 h 265137"/>
                <a:gd name="connsiteX110" fmla="*/ 25104 w 163595"/>
                <a:gd name="connsiteY110" fmla="*/ 149493 h 265137"/>
                <a:gd name="connsiteX111" fmla="*/ 25104 w 163595"/>
                <a:gd name="connsiteY111" fmla="*/ 149775 h 265137"/>
                <a:gd name="connsiteX112" fmla="*/ 24821 w 163595"/>
                <a:gd name="connsiteY112" fmla="*/ 150057 h 265137"/>
                <a:gd name="connsiteX113" fmla="*/ 24539 w 163595"/>
                <a:gd name="connsiteY113" fmla="*/ 150621 h 265137"/>
                <a:gd name="connsiteX114" fmla="*/ 24539 w 163595"/>
                <a:gd name="connsiteY114" fmla="*/ 150903 h 265137"/>
                <a:gd name="connsiteX115" fmla="*/ 24821 w 163595"/>
                <a:gd name="connsiteY115" fmla="*/ 153441 h 265137"/>
                <a:gd name="connsiteX116" fmla="*/ 23693 w 163595"/>
                <a:gd name="connsiteY116" fmla="*/ 154852 h 265137"/>
                <a:gd name="connsiteX117" fmla="*/ 23411 w 163595"/>
                <a:gd name="connsiteY117" fmla="*/ 155416 h 265137"/>
                <a:gd name="connsiteX118" fmla="*/ 23693 w 163595"/>
                <a:gd name="connsiteY118" fmla="*/ 155980 h 265137"/>
                <a:gd name="connsiteX119" fmla="*/ 24257 w 163595"/>
                <a:gd name="connsiteY119" fmla="*/ 156826 h 265137"/>
                <a:gd name="connsiteX120" fmla="*/ 24257 w 163595"/>
                <a:gd name="connsiteY120" fmla="*/ 157108 h 265137"/>
                <a:gd name="connsiteX121" fmla="*/ 23129 w 163595"/>
                <a:gd name="connsiteY121" fmla="*/ 160775 h 265137"/>
                <a:gd name="connsiteX122" fmla="*/ 23129 w 163595"/>
                <a:gd name="connsiteY122" fmla="*/ 161621 h 265137"/>
                <a:gd name="connsiteX123" fmla="*/ 22847 w 163595"/>
                <a:gd name="connsiteY123" fmla="*/ 161903 h 265137"/>
                <a:gd name="connsiteX124" fmla="*/ 22565 w 163595"/>
                <a:gd name="connsiteY124" fmla="*/ 163031 h 265137"/>
                <a:gd name="connsiteX125" fmla="*/ 22283 w 163595"/>
                <a:gd name="connsiteY125" fmla="*/ 163878 h 265137"/>
                <a:gd name="connsiteX126" fmla="*/ 22001 w 163595"/>
                <a:gd name="connsiteY126" fmla="*/ 165852 h 265137"/>
                <a:gd name="connsiteX127" fmla="*/ 22001 w 163595"/>
                <a:gd name="connsiteY127" fmla="*/ 167262 h 265137"/>
                <a:gd name="connsiteX128" fmla="*/ 22283 w 163595"/>
                <a:gd name="connsiteY128" fmla="*/ 167827 h 265137"/>
                <a:gd name="connsiteX129" fmla="*/ 22001 w 163595"/>
                <a:gd name="connsiteY129" fmla="*/ 168673 h 265137"/>
                <a:gd name="connsiteX130" fmla="*/ 20873 w 163595"/>
                <a:gd name="connsiteY130" fmla="*/ 171775 h 265137"/>
                <a:gd name="connsiteX131" fmla="*/ 20873 w 163595"/>
                <a:gd name="connsiteY131" fmla="*/ 172904 h 265137"/>
                <a:gd name="connsiteX132" fmla="*/ 20308 w 163595"/>
                <a:gd name="connsiteY132" fmla="*/ 174032 h 265137"/>
                <a:gd name="connsiteX133" fmla="*/ 20026 w 163595"/>
                <a:gd name="connsiteY133" fmla="*/ 174878 h 265137"/>
                <a:gd name="connsiteX134" fmla="*/ 20026 w 163595"/>
                <a:gd name="connsiteY134" fmla="*/ 176006 h 265137"/>
                <a:gd name="connsiteX135" fmla="*/ 19744 w 163595"/>
                <a:gd name="connsiteY135" fmla="*/ 176570 h 265137"/>
                <a:gd name="connsiteX136" fmla="*/ 20026 w 163595"/>
                <a:gd name="connsiteY136" fmla="*/ 177135 h 265137"/>
                <a:gd name="connsiteX137" fmla="*/ 20308 w 163595"/>
                <a:gd name="connsiteY137" fmla="*/ 177417 h 265137"/>
                <a:gd name="connsiteX138" fmla="*/ 20308 w 163595"/>
                <a:gd name="connsiteY138" fmla="*/ 178827 h 265137"/>
                <a:gd name="connsiteX139" fmla="*/ 19744 w 163595"/>
                <a:gd name="connsiteY139" fmla="*/ 180237 h 265137"/>
                <a:gd name="connsiteX140" fmla="*/ 19744 w 163595"/>
                <a:gd name="connsiteY140" fmla="*/ 180519 h 265137"/>
                <a:gd name="connsiteX141" fmla="*/ 20026 w 163595"/>
                <a:gd name="connsiteY141" fmla="*/ 181648 h 265137"/>
                <a:gd name="connsiteX142" fmla="*/ 19744 w 163595"/>
                <a:gd name="connsiteY142" fmla="*/ 182776 h 265137"/>
                <a:gd name="connsiteX143" fmla="*/ 19462 w 163595"/>
                <a:gd name="connsiteY143" fmla="*/ 183058 h 265137"/>
                <a:gd name="connsiteX144" fmla="*/ 19744 w 163595"/>
                <a:gd name="connsiteY144" fmla="*/ 183904 h 265137"/>
                <a:gd name="connsiteX145" fmla="*/ 19180 w 163595"/>
                <a:gd name="connsiteY145" fmla="*/ 185032 h 265137"/>
                <a:gd name="connsiteX146" fmla="*/ 18898 w 163595"/>
                <a:gd name="connsiteY146" fmla="*/ 185596 h 265137"/>
                <a:gd name="connsiteX147" fmla="*/ 18898 w 163595"/>
                <a:gd name="connsiteY147" fmla="*/ 185878 h 265137"/>
                <a:gd name="connsiteX148" fmla="*/ 19462 w 163595"/>
                <a:gd name="connsiteY148" fmla="*/ 186161 h 265137"/>
                <a:gd name="connsiteX149" fmla="*/ 19180 w 163595"/>
                <a:gd name="connsiteY149" fmla="*/ 187007 h 265137"/>
                <a:gd name="connsiteX150" fmla="*/ 19180 w 163595"/>
                <a:gd name="connsiteY150" fmla="*/ 190109 h 265137"/>
                <a:gd name="connsiteX151" fmla="*/ 19462 w 163595"/>
                <a:gd name="connsiteY151" fmla="*/ 192930 h 265137"/>
                <a:gd name="connsiteX152" fmla="*/ 19180 w 163595"/>
                <a:gd name="connsiteY152" fmla="*/ 194622 h 265137"/>
                <a:gd name="connsiteX153" fmla="*/ 19180 w 163595"/>
                <a:gd name="connsiteY153" fmla="*/ 197725 h 265137"/>
                <a:gd name="connsiteX154" fmla="*/ 18616 w 163595"/>
                <a:gd name="connsiteY154" fmla="*/ 199982 h 265137"/>
                <a:gd name="connsiteX155" fmla="*/ 18334 w 163595"/>
                <a:gd name="connsiteY155" fmla="*/ 200264 h 265137"/>
                <a:gd name="connsiteX156" fmla="*/ 18616 w 163595"/>
                <a:gd name="connsiteY156" fmla="*/ 200546 h 265137"/>
                <a:gd name="connsiteX157" fmla="*/ 18898 w 163595"/>
                <a:gd name="connsiteY157" fmla="*/ 201392 h 265137"/>
                <a:gd name="connsiteX158" fmla="*/ 18616 w 163595"/>
                <a:gd name="connsiteY158" fmla="*/ 201956 h 265137"/>
                <a:gd name="connsiteX159" fmla="*/ 18334 w 163595"/>
                <a:gd name="connsiteY159" fmla="*/ 202520 h 265137"/>
                <a:gd name="connsiteX160" fmla="*/ 18898 w 163595"/>
                <a:gd name="connsiteY160" fmla="*/ 203084 h 265137"/>
                <a:gd name="connsiteX161" fmla="*/ 18616 w 163595"/>
                <a:gd name="connsiteY161" fmla="*/ 203366 h 265137"/>
                <a:gd name="connsiteX162" fmla="*/ 18334 w 163595"/>
                <a:gd name="connsiteY162" fmla="*/ 203930 h 265137"/>
                <a:gd name="connsiteX163" fmla="*/ 18052 w 163595"/>
                <a:gd name="connsiteY163" fmla="*/ 204494 h 265137"/>
                <a:gd name="connsiteX164" fmla="*/ 18334 w 163595"/>
                <a:gd name="connsiteY164" fmla="*/ 205059 h 265137"/>
                <a:gd name="connsiteX165" fmla="*/ 18334 w 163595"/>
                <a:gd name="connsiteY165" fmla="*/ 207315 h 265137"/>
                <a:gd name="connsiteX166" fmla="*/ 17770 w 163595"/>
                <a:gd name="connsiteY166" fmla="*/ 209854 h 265137"/>
                <a:gd name="connsiteX167" fmla="*/ 17770 w 163595"/>
                <a:gd name="connsiteY167" fmla="*/ 210700 h 265137"/>
                <a:gd name="connsiteX168" fmla="*/ 18334 w 163595"/>
                <a:gd name="connsiteY168" fmla="*/ 211828 h 265137"/>
                <a:gd name="connsiteX169" fmla="*/ 18052 w 163595"/>
                <a:gd name="connsiteY169" fmla="*/ 212674 h 265137"/>
                <a:gd name="connsiteX170" fmla="*/ 17770 w 163595"/>
                <a:gd name="connsiteY170" fmla="*/ 213520 h 265137"/>
                <a:gd name="connsiteX171" fmla="*/ 18052 w 163595"/>
                <a:gd name="connsiteY171" fmla="*/ 214931 h 265137"/>
                <a:gd name="connsiteX172" fmla="*/ 17770 w 163595"/>
                <a:gd name="connsiteY172" fmla="*/ 217469 h 265137"/>
                <a:gd name="connsiteX173" fmla="*/ 17488 w 163595"/>
                <a:gd name="connsiteY173" fmla="*/ 218880 h 265137"/>
                <a:gd name="connsiteX174" fmla="*/ 17770 w 163595"/>
                <a:gd name="connsiteY174" fmla="*/ 219444 h 265137"/>
                <a:gd name="connsiteX175" fmla="*/ 18052 w 163595"/>
                <a:gd name="connsiteY175" fmla="*/ 220572 h 265137"/>
                <a:gd name="connsiteX176" fmla="*/ 17770 w 163595"/>
                <a:gd name="connsiteY176" fmla="*/ 224239 h 265137"/>
                <a:gd name="connsiteX177" fmla="*/ 17488 w 163595"/>
                <a:gd name="connsiteY177" fmla="*/ 225367 h 265137"/>
                <a:gd name="connsiteX178" fmla="*/ 17770 w 163595"/>
                <a:gd name="connsiteY178" fmla="*/ 226495 h 265137"/>
                <a:gd name="connsiteX179" fmla="*/ 18052 w 163595"/>
                <a:gd name="connsiteY179" fmla="*/ 227341 h 265137"/>
                <a:gd name="connsiteX180" fmla="*/ 17488 w 163595"/>
                <a:gd name="connsiteY180" fmla="*/ 228752 h 265137"/>
                <a:gd name="connsiteX181" fmla="*/ 17206 w 163595"/>
                <a:gd name="connsiteY181" fmla="*/ 229598 h 265137"/>
                <a:gd name="connsiteX182" fmla="*/ 17770 w 163595"/>
                <a:gd name="connsiteY182" fmla="*/ 232137 h 265137"/>
                <a:gd name="connsiteX183" fmla="*/ 18052 w 163595"/>
                <a:gd name="connsiteY183" fmla="*/ 233829 h 265137"/>
                <a:gd name="connsiteX184" fmla="*/ 17770 w 163595"/>
                <a:gd name="connsiteY184" fmla="*/ 235521 h 265137"/>
                <a:gd name="connsiteX185" fmla="*/ 17770 w 163595"/>
                <a:gd name="connsiteY185" fmla="*/ 238060 h 265137"/>
                <a:gd name="connsiteX186" fmla="*/ 18052 w 163595"/>
                <a:gd name="connsiteY186" fmla="*/ 239188 h 265137"/>
                <a:gd name="connsiteX187" fmla="*/ 17770 w 163595"/>
                <a:gd name="connsiteY187" fmla="*/ 240598 h 265137"/>
                <a:gd name="connsiteX188" fmla="*/ 18052 w 163595"/>
                <a:gd name="connsiteY188" fmla="*/ 241445 h 265137"/>
                <a:gd name="connsiteX189" fmla="*/ 18334 w 163595"/>
                <a:gd name="connsiteY189" fmla="*/ 242009 h 265137"/>
                <a:gd name="connsiteX190" fmla="*/ 18616 w 163595"/>
                <a:gd name="connsiteY190" fmla="*/ 245958 h 265137"/>
                <a:gd name="connsiteX191" fmla="*/ 18616 w 163595"/>
                <a:gd name="connsiteY191" fmla="*/ 246804 h 265137"/>
                <a:gd name="connsiteX192" fmla="*/ 18052 w 163595"/>
                <a:gd name="connsiteY192" fmla="*/ 247932 h 265137"/>
                <a:gd name="connsiteX193" fmla="*/ 18334 w 163595"/>
                <a:gd name="connsiteY193" fmla="*/ 249060 h 265137"/>
                <a:gd name="connsiteX194" fmla="*/ 18334 w 163595"/>
                <a:gd name="connsiteY194" fmla="*/ 249624 h 265137"/>
                <a:gd name="connsiteX195" fmla="*/ 18052 w 163595"/>
                <a:gd name="connsiteY195" fmla="*/ 250753 h 265137"/>
                <a:gd name="connsiteX196" fmla="*/ 18616 w 163595"/>
                <a:gd name="connsiteY196" fmla="*/ 254701 h 265137"/>
                <a:gd name="connsiteX197" fmla="*/ 18898 w 163595"/>
                <a:gd name="connsiteY197" fmla="*/ 255548 h 265137"/>
                <a:gd name="connsiteX198" fmla="*/ 18616 w 163595"/>
                <a:gd name="connsiteY198" fmla="*/ 256112 h 265137"/>
                <a:gd name="connsiteX199" fmla="*/ 18334 w 163595"/>
                <a:gd name="connsiteY199" fmla="*/ 256958 h 265137"/>
                <a:gd name="connsiteX200" fmla="*/ 18334 w 163595"/>
                <a:gd name="connsiteY200" fmla="*/ 257522 h 265137"/>
                <a:gd name="connsiteX201" fmla="*/ 18052 w 163595"/>
                <a:gd name="connsiteY201" fmla="*/ 258086 h 265137"/>
                <a:gd name="connsiteX202" fmla="*/ 17488 w 163595"/>
                <a:gd name="connsiteY202" fmla="*/ 258086 h 265137"/>
                <a:gd name="connsiteX203" fmla="*/ 17206 w 163595"/>
                <a:gd name="connsiteY203" fmla="*/ 257804 h 265137"/>
                <a:gd name="connsiteX204" fmla="*/ 16924 w 163595"/>
                <a:gd name="connsiteY204" fmla="*/ 258086 h 265137"/>
                <a:gd name="connsiteX205" fmla="*/ 15231 w 163595"/>
                <a:gd name="connsiteY205" fmla="*/ 260061 h 265137"/>
                <a:gd name="connsiteX206" fmla="*/ 14667 w 163595"/>
                <a:gd name="connsiteY206" fmla="*/ 260625 h 265137"/>
                <a:gd name="connsiteX207" fmla="*/ 13821 w 163595"/>
                <a:gd name="connsiteY207" fmla="*/ 261189 h 265137"/>
                <a:gd name="connsiteX208" fmla="*/ 13257 w 163595"/>
                <a:gd name="connsiteY208" fmla="*/ 260907 h 265137"/>
                <a:gd name="connsiteX209" fmla="*/ 11564 w 163595"/>
                <a:gd name="connsiteY209" fmla="*/ 260343 h 265137"/>
                <a:gd name="connsiteX210" fmla="*/ 11282 w 163595"/>
                <a:gd name="connsiteY210" fmla="*/ 260625 h 265137"/>
                <a:gd name="connsiteX211" fmla="*/ 11000 w 163595"/>
                <a:gd name="connsiteY211" fmla="*/ 261753 h 265137"/>
                <a:gd name="connsiteX212" fmla="*/ 10718 w 163595"/>
                <a:gd name="connsiteY212" fmla="*/ 262317 h 265137"/>
                <a:gd name="connsiteX213" fmla="*/ 10154 w 163595"/>
                <a:gd name="connsiteY213" fmla="*/ 262317 h 265137"/>
                <a:gd name="connsiteX214" fmla="*/ 8744 w 163595"/>
                <a:gd name="connsiteY214" fmla="*/ 260625 h 265137"/>
                <a:gd name="connsiteX215" fmla="*/ 8744 w 163595"/>
                <a:gd name="connsiteY215" fmla="*/ 260343 h 265137"/>
                <a:gd name="connsiteX216" fmla="*/ 7898 w 163595"/>
                <a:gd name="connsiteY216" fmla="*/ 259214 h 265137"/>
                <a:gd name="connsiteX217" fmla="*/ 7616 w 163595"/>
                <a:gd name="connsiteY217" fmla="*/ 259214 h 265137"/>
                <a:gd name="connsiteX218" fmla="*/ 7616 w 163595"/>
                <a:gd name="connsiteY218" fmla="*/ 260343 h 265137"/>
                <a:gd name="connsiteX219" fmla="*/ 7898 w 163595"/>
                <a:gd name="connsiteY219" fmla="*/ 261189 h 265137"/>
                <a:gd name="connsiteX220" fmla="*/ 8180 w 163595"/>
                <a:gd name="connsiteY220" fmla="*/ 261753 h 265137"/>
                <a:gd name="connsiteX221" fmla="*/ 7616 w 163595"/>
                <a:gd name="connsiteY221" fmla="*/ 262317 h 265137"/>
                <a:gd name="connsiteX222" fmla="*/ 7334 w 163595"/>
                <a:gd name="connsiteY222" fmla="*/ 262881 h 265137"/>
                <a:gd name="connsiteX223" fmla="*/ 7052 w 163595"/>
                <a:gd name="connsiteY223" fmla="*/ 263163 h 265137"/>
                <a:gd name="connsiteX224" fmla="*/ 6770 w 163595"/>
                <a:gd name="connsiteY224" fmla="*/ 262881 h 265137"/>
                <a:gd name="connsiteX225" fmla="*/ 6205 w 163595"/>
                <a:gd name="connsiteY225" fmla="*/ 261471 h 265137"/>
                <a:gd name="connsiteX226" fmla="*/ 5641 w 163595"/>
                <a:gd name="connsiteY226" fmla="*/ 261471 h 265137"/>
                <a:gd name="connsiteX227" fmla="*/ 5359 w 163595"/>
                <a:gd name="connsiteY227" fmla="*/ 262599 h 265137"/>
                <a:gd name="connsiteX228" fmla="*/ 5641 w 163595"/>
                <a:gd name="connsiteY228" fmla="*/ 263163 h 265137"/>
                <a:gd name="connsiteX229" fmla="*/ 5641 w 163595"/>
                <a:gd name="connsiteY229" fmla="*/ 264292 h 265137"/>
                <a:gd name="connsiteX230" fmla="*/ 5923 w 163595"/>
                <a:gd name="connsiteY230" fmla="*/ 265138 h 265137"/>
                <a:gd name="connsiteX231" fmla="*/ 5641 w 163595"/>
                <a:gd name="connsiteY231" fmla="*/ 265138 h 265137"/>
                <a:gd name="connsiteX232" fmla="*/ 4795 w 163595"/>
                <a:gd name="connsiteY232" fmla="*/ 264856 h 265137"/>
                <a:gd name="connsiteX233" fmla="*/ 4231 w 163595"/>
                <a:gd name="connsiteY233" fmla="*/ 264009 h 265137"/>
                <a:gd name="connsiteX234" fmla="*/ 3949 w 163595"/>
                <a:gd name="connsiteY234" fmla="*/ 262317 h 265137"/>
                <a:gd name="connsiteX235" fmla="*/ 3667 w 163595"/>
                <a:gd name="connsiteY235" fmla="*/ 260907 h 265137"/>
                <a:gd name="connsiteX236" fmla="*/ 3667 w 163595"/>
                <a:gd name="connsiteY236" fmla="*/ 260061 h 265137"/>
                <a:gd name="connsiteX237" fmla="*/ 2821 w 163595"/>
                <a:gd name="connsiteY237" fmla="*/ 258650 h 265137"/>
                <a:gd name="connsiteX238" fmla="*/ 2256 w 163595"/>
                <a:gd name="connsiteY238" fmla="*/ 257522 h 265137"/>
                <a:gd name="connsiteX239" fmla="*/ 2539 w 163595"/>
                <a:gd name="connsiteY239" fmla="*/ 256394 h 265137"/>
                <a:gd name="connsiteX240" fmla="*/ 2256 w 163595"/>
                <a:gd name="connsiteY240" fmla="*/ 255266 h 265137"/>
                <a:gd name="connsiteX241" fmla="*/ 1692 w 163595"/>
                <a:gd name="connsiteY241" fmla="*/ 254419 h 265137"/>
                <a:gd name="connsiteX242" fmla="*/ 1974 w 163595"/>
                <a:gd name="connsiteY242" fmla="*/ 253573 h 265137"/>
                <a:gd name="connsiteX243" fmla="*/ 1692 w 163595"/>
                <a:gd name="connsiteY243" fmla="*/ 252727 h 265137"/>
                <a:gd name="connsiteX244" fmla="*/ 1128 w 163595"/>
                <a:gd name="connsiteY244" fmla="*/ 251599 h 265137"/>
                <a:gd name="connsiteX245" fmla="*/ 1410 w 163595"/>
                <a:gd name="connsiteY245" fmla="*/ 250753 h 265137"/>
                <a:gd name="connsiteX246" fmla="*/ 1974 w 163595"/>
                <a:gd name="connsiteY246" fmla="*/ 248496 h 265137"/>
                <a:gd name="connsiteX247" fmla="*/ 1974 w 163595"/>
                <a:gd name="connsiteY247" fmla="*/ 247650 h 265137"/>
                <a:gd name="connsiteX248" fmla="*/ 2256 w 163595"/>
                <a:gd name="connsiteY248" fmla="*/ 247086 h 265137"/>
                <a:gd name="connsiteX249" fmla="*/ 1974 w 163595"/>
                <a:gd name="connsiteY249" fmla="*/ 246240 h 265137"/>
                <a:gd name="connsiteX250" fmla="*/ 1410 w 163595"/>
                <a:gd name="connsiteY250" fmla="*/ 244829 h 265137"/>
                <a:gd name="connsiteX251" fmla="*/ 1692 w 163595"/>
                <a:gd name="connsiteY251" fmla="*/ 243983 h 265137"/>
                <a:gd name="connsiteX252" fmla="*/ 1410 w 163595"/>
                <a:gd name="connsiteY252" fmla="*/ 243701 h 265137"/>
                <a:gd name="connsiteX253" fmla="*/ 846 w 163595"/>
                <a:gd name="connsiteY253" fmla="*/ 243137 h 265137"/>
                <a:gd name="connsiteX254" fmla="*/ 564 w 163595"/>
                <a:gd name="connsiteY254" fmla="*/ 239752 h 265137"/>
                <a:gd name="connsiteX255" fmla="*/ 0 w 163595"/>
                <a:gd name="connsiteY255" fmla="*/ 238342 h 265137"/>
                <a:gd name="connsiteX256" fmla="*/ 282 w 163595"/>
                <a:gd name="connsiteY256" fmla="*/ 237214 h 265137"/>
                <a:gd name="connsiteX257" fmla="*/ 282 w 163595"/>
                <a:gd name="connsiteY257" fmla="*/ 229034 h 265137"/>
                <a:gd name="connsiteX258" fmla="*/ 564 w 163595"/>
                <a:gd name="connsiteY258" fmla="*/ 227059 h 265137"/>
                <a:gd name="connsiteX259" fmla="*/ 282 w 163595"/>
                <a:gd name="connsiteY259" fmla="*/ 226213 h 265137"/>
                <a:gd name="connsiteX260" fmla="*/ 282 w 163595"/>
                <a:gd name="connsiteY260" fmla="*/ 225085 h 265137"/>
                <a:gd name="connsiteX261" fmla="*/ 564 w 163595"/>
                <a:gd name="connsiteY261" fmla="*/ 223957 h 265137"/>
                <a:gd name="connsiteX262" fmla="*/ 564 w 163595"/>
                <a:gd name="connsiteY262" fmla="*/ 221700 h 265137"/>
                <a:gd name="connsiteX263" fmla="*/ 1128 w 163595"/>
                <a:gd name="connsiteY263" fmla="*/ 220290 h 265137"/>
                <a:gd name="connsiteX264" fmla="*/ 1410 w 163595"/>
                <a:gd name="connsiteY264" fmla="*/ 219726 h 265137"/>
                <a:gd name="connsiteX265" fmla="*/ 1410 w 163595"/>
                <a:gd name="connsiteY265" fmla="*/ 219444 h 265137"/>
                <a:gd name="connsiteX266" fmla="*/ 1128 w 163595"/>
                <a:gd name="connsiteY266" fmla="*/ 218598 h 265137"/>
                <a:gd name="connsiteX267" fmla="*/ 1692 w 163595"/>
                <a:gd name="connsiteY267" fmla="*/ 216905 h 265137"/>
                <a:gd name="connsiteX268" fmla="*/ 1974 w 163595"/>
                <a:gd name="connsiteY268" fmla="*/ 216059 h 265137"/>
                <a:gd name="connsiteX269" fmla="*/ 1692 w 163595"/>
                <a:gd name="connsiteY269" fmla="*/ 215495 h 265137"/>
                <a:gd name="connsiteX270" fmla="*/ 1410 w 163595"/>
                <a:gd name="connsiteY270" fmla="*/ 215213 h 265137"/>
                <a:gd name="connsiteX271" fmla="*/ 1692 w 163595"/>
                <a:gd name="connsiteY271" fmla="*/ 214367 h 265137"/>
                <a:gd name="connsiteX272" fmla="*/ 1128 w 163595"/>
                <a:gd name="connsiteY272" fmla="*/ 212392 h 265137"/>
                <a:gd name="connsiteX273" fmla="*/ 846 w 163595"/>
                <a:gd name="connsiteY273" fmla="*/ 211546 h 265137"/>
                <a:gd name="connsiteX274" fmla="*/ 846 w 163595"/>
                <a:gd name="connsiteY274" fmla="*/ 207033 h 265137"/>
                <a:gd name="connsiteX275" fmla="*/ 1128 w 163595"/>
                <a:gd name="connsiteY275" fmla="*/ 205623 h 265137"/>
                <a:gd name="connsiteX276" fmla="*/ 1128 w 163595"/>
                <a:gd name="connsiteY276" fmla="*/ 201110 h 265137"/>
                <a:gd name="connsiteX277" fmla="*/ 1692 w 163595"/>
                <a:gd name="connsiteY277" fmla="*/ 198853 h 265137"/>
                <a:gd name="connsiteX278" fmla="*/ 1692 w 163595"/>
                <a:gd name="connsiteY278" fmla="*/ 197443 h 265137"/>
                <a:gd name="connsiteX279" fmla="*/ 1974 w 163595"/>
                <a:gd name="connsiteY279" fmla="*/ 194340 h 265137"/>
                <a:gd name="connsiteX280" fmla="*/ 2256 w 163595"/>
                <a:gd name="connsiteY280" fmla="*/ 193494 h 265137"/>
                <a:gd name="connsiteX281" fmla="*/ 2539 w 163595"/>
                <a:gd name="connsiteY281" fmla="*/ 192930 h 265137"/>
                <a:gd name="connsiteX282" fmla="*/ 2539 w 163595"/>
                <a:gd name="connsiteY282" fmla="*/ 192366 h 265137"/>
                <a:gd name="connsiteX283" fmla="*/ 2256 w 163595"/>
                <a:gd name="connsiteY283" fmla="*/ 191520 h 265137"/>
                <a:gd name="connsiteX284" fmla="*/ 2256 w 163595"/>
                <a:gd name="connsiteY284" fmla="*/ 186725 h 265137"/>
                <a:gd name="connsiteX285" fmla="*/ 2539 w 163595"/>
                <a:gd name="connsiteY285" fmla="*/ 185314 h 265137"/>
                <a:gd name="connsiteX286" fmla="*/ 3103 w 163595"/>
                <a:gd name="connsiteY286" fmla="*/ 182212 h 265137"/>
                <a:gd name="connsiteX287" fmla="*/ 3385 w 163595"/>
                <a:gd name="connsiteY287" fmla="*/ 181648 h 265137"/>
                <a:gd name="connsiteX288" fmla="*/ 3103 w 163595"/>
                <a:gd name="connsiteY288" fmla="*/ 180801 h 265137"/>
                <a:gd name="connsiteX289" fmla="*/ 2821 w 163595"/>
                <a:gd name="connsiteY289" fmla="*/ 179955 h 265137"/>
                <a:gd name="connsiteX290" fmla="*/ 3667 w 163595"/>
                <a:gd name="connsiteY290" fmla="*/ 177135 h 265137"/>
                <a:gd name="connsiteX291" fmla="*/ 4513 w 163595"/>
                <a:gd name="connsiteY291" fmla="*/ 175724 h 265137"/>
                <a:gd name="connsiteX292" fmla="*/ 4795 w 163595"/>
                <a:gd name="connsiteY292" fmla="*/ 175160 h 265137"/>
                <a:gd name="connsiteX293" fmla="*/ 4513 w 163595"/>
                <a:gd name="connsiteY293" fmla="*/ 174314 h 265137"/>
                <a:gd name="connsiteX294" fmla="*/ 3949 w 163595"/>
                <a:gd name="connsiteY294" fmla="*/ 173750 h 265137"/>
                <a:gd name="connsiteX295" fmla="*/ 4231 w 163595"/>
                <a:gd name="connsiteY295" fmla="*/ 173186 h 265137"/>
                <a:gd name="connsiteX296" fmla="*/ 4795 w 163595"/>
                <a:gd name="connsiteY296" fmla="*/ 170929 h 265137"/>
                <a:gd name="connsiteX297" fmla="*/ 4795 w 163595"/>
                <a:gd name="connsiteY297" fmla="*/ 170365 h 265137"/>
                <a:gd name="connsiteX298" fmla="*/ 5077 w 163595"/>
                <a:gd name="connsiteY298" fmla="*/ 169519 h 265137"/>
                <a:gd name="connsiteX299" fmla="*/ 5077 w 163595"/>
                <a:gd name="connsiteY299" fmla="*/ 168955 h 265137"/>
                <a:gd name="connsiteX300" fmla="*/ 5359 w 163595"/>
                <a:gd name="connsiteY300" fmla="*/ 166980 h 265137"/>
                <a:gd name="connsiteX301" fmla="*/ 6205 w 163595"/>
                <a:gd name="connsiteY301" fmla="*/ 163031 h 265137"/>
                <a:gd name="connsiteX302" fmla="*/ 6487 w 163595"/>
                <a:gd name="connsiteY302" fmla="*/ 162467 h 265137"/>
                <a:gd name="connsiteX303" fmla="*/ 6770 w 163595"/>
                <a:gd name="connsiteY303" fmla="*/ 161903 h 265137"/>
                <a:gd name="connsiteX304" fmla="*/ 6487 w 163595"/>
                <a:gd name="connsiteY304" fmla="*/ 161057 h 265137"/>
                <a:gd name="connsiteX305" fmla="*/ 6205 w 163595"/>
                <a:gd name="connsiteY305" fmla="*/ 159365 h 265137"/>
                <a:gd name="connsiteX306" fmla="*/ 7334 w 163595"/>
                <a:gd name="connsiteY306" fmla="*/ 157672 h 265137"/>
                <a:gd name="connsiteX307" fmla="*/ 7616 w 163595"/>
                <a:gd name="connsiteY307" fmla="*/ 157108 h 265137"/>
                <a:gd name="connsiteX308" fmla="*/ 7616 w 163595"/>
                <a:gd name="connsiteY308" fmla="*/ 156826 h 265137"/>
                <a:gd name="connsiteX309" fmla="*/ 7334 w 163595"/>
                <a:gd name="connsiteY309" fmla="*/ 156262 h 265137"/>
                <a:gd name="connsiteX310" fmla="*/ 7052 w 163595"/>
                <a:gd name="connsiteY310" fmla="*/ 155698 h 265137"/>
                <a:gd name="connsiteX311" fmla="*/ 7616 w 163595"/>
                <a:gd name="connsiteY311" fmla="*/ 155134 h 265137"/>
                <a:gd name="connsiteX312" fmla="*/ 7898 w 163595"/>
                <a:gd name="connsiteY312" fmla="*/ 154852 h 265137"/>
                <a:gd name="connsiteX313" fmla="*/ 7616 w 163595"/>
                <a:gd name="connsiteY313" fmla="*/ 154570 h 265137"/>
                <a:gd name="connsiteX314" fmla="*/ 7052 w 163595"/>
                <a:gd name="connsiteY314" fmla="*/ 154288 h 265137"/>
                <a:gd name="connsiteX315" fmla="*/ 7616 w 163595"/>
                <a:gd name="connsiteY315" fmla="*/ 153723 h 265137"/>
                <a:gd name="connsiteX316" fmla="*/ 7898 w 163595"/>
                <a:gd name="connsiteY316" fmla="*/ 153159 h 265137"/>
                <a:gd name="connsiteX317" fmla="*/ 8180 w 163595"/>
                <a:gd name="connsiteY317" fmla="*/ 152595 h 265137"/>
                <a:gd name="connsiteX318" fmla="*/ 7898 w 163595"/>
                <a:gd name="connsiteY318" fmla="*/ 152031 h 265137"/>
                <a:gd name="connsiteX319" fmla="*/ 7616 w 163595"/>
                <a:gd name="connsiteY319" fmla="*/ 151749 h 265137"/>
                <a:gd name="connsiteX320" fmla="*/ 7334 w 163595"/>
                <a:gd name="connsiteY320" fmla="*/ 151185 h 265137"/>
                <a:gd name="connsiteX321" fmla="*/ 7616 w 163595"/>
                <a:gd name="connsiteY321" fmla="*/ 150621 h 265137"/>
                <a:gd name="connsiteX322" fmla="*/ 8744 w 163595"/>
                <a:gd name="connsiteY322" fmla="*/ 149493 h 265137"/>
                <a:gd name="connsiteX323" fmla="*/ 9026 w 163595"/>
                <a:gd name="connsiteY323" fmla="*/ 148928 h 265137"/>
                <a:gd name="connsiteX324" fmla="*/ 8744 w 163595"/>
                <a:gd name="connsiteY324" fmla="*/ 148082 h 265137"/>
                <a:gd name="connsiteX325" fmla="*/ 8462 w 163595"/>
                <a:gd name="connsiteY325" fmla="*/ 147518 h 265137"/>
                <a:gd name="connsiteX326" fmla="*/ 8744 w 163595"/>
                <a:gd name="connsiteY326" fmla="*/ 146672 h 265137"/>
                <a:gd name="connsiteX327" fmla="*/ 8462 w 163595"/>
                <a:gd name="connsiteY327" fmla="*/ 145262 h 265137"/>
                <a:gd name="connsiteX328" fmla="*/ 8462 w 163595"/>
                <a:gd name="connsiteY328" fmla="*/ 144697 h 265137"/>
                <a:gd name="connsiteX329" fmla="*/ 9590 w 163595"/>
                <a:gd name="connsiteY329" fmla="*/ 142723 h 265137"/>
                <a:gd name="connsiteX330" fmla="*/ 9590 w 163595"/>
                <a:gd name="connsiteY330" fmla="*/ 142441 h 265137"/>
                <a:gd name="connsiteX331" fmla="*/ 9308 w 163595"/>
                <a:gd name="connsiteY331" fmla="*/ 141595 h 265137"/>
                <a:gd name="connsiteX332" fmla="*/ 10436 w 163595"/>
                <a:gd name="connsiteY332" fmla="*/ 139620 h 265137"/>
                <a:gd name="connsiteX333" fmla="*/ 10718 w 163595"/>
                <a:gd name="connsiteY333" fmla="*/ 139338 h 265137"/>
                <a:gd name="connsiteX334" fmla="*/ 10154 w 163595"/>
                <a:gd name="connsiteY334" fmla="*/ 138774 h 265137"/>
                <a:gd name="connsiteX335" fmla="*/ 9590 w 163595"/>
                <a:gd name="connsiteY335" fmla="*/ 138210 h 265137"/>
                <a:gd name="connsiteX336" fmla="*/ 9872 w 163595"/>
                <a:gd name="connsiteY336" fmla="*/ 137928 h 265137"/>
                <a:gd name="connsiteX337" fmla="*/ 10154 w 163595"/>
                <a:gd name="connsiteY337" fmla="*/ 137646 h 265137"/>
                <a:gd name="connsiteX338" fmla="*/ 10154 w 163595"/>
                <a:gd name="connsiteY338" fmla="*/ 137082 h 265137"/>
                <a:gd name="connsiteX339" fmla="*/ 10718 w 163595"/>
                <a:gd name="connsiteY339" fmla="*/ 136518 h 265137"/>
                <a:gd name="connsiteX340" fmla="*/ 11282 w 163595"/>
                <a:gd name="connsiteY340" fmla="*/ 135954 h 265137"/>
                <a:gd name="connsiteX341" fmla="*/ 11000 w 163595"/>
                <a:gd name="connsiteY341" fmla="*/ 135107 h 265137"/>
                <a:gd name="connsiteX342" fmla="*/ 11282 w 163595"/>
                <a:gd name="connsiteY342" fmla="*/ 133979 h 265137"/>
                <a:gd name="connsiteX343" fmla="*/ 11282 w 163595"/>
                <a:gd name="connsiteY343" fmla="*/ 133697 h 265137"/>
                <a:gd name="connsiteX344" fmla="*/ 11564 w 163595"/>
                <a:gd name="connsiteY344" fmla="*/ 131723 h 265137"/>
                <a:gd name="connsiteX345" fmla="*/ 21719 w 163595"/>
                <a:gd name="connsiteY345" fmla="*/ 84618 h 265137"/>
                <a:gd name="connsiteX346" fmla="*/ 21719 w 163595"/>
                <a:gd name="connsiteY346" fmla="*/ 84336 h 265137"/>
                <a:gd name="connsiteX347" fmla="*/ 23975 w 163595"/>
                <a:gd name="connsiteY347" fmla="*/ 79823 h 265137"/>
                <a:gd name="connsiteX348" fmla="*/ 24539 w 163595"/>
                <a:gd name="connsiteY348" fmla="*/ 78977 h 265137"/>
                <a:gd name="connsiteX349" fmla="*/ 24821 w 163595"/>
                <a:gd name="connsiteY349" fmla="*/ 78131 h 265137"/>
                <a:gd name="connsiteX350" fmla="*/ 24821 w 163595"/>
                <a:gd name="connsiteY350" fmla="*/ 77567 h 265137"/>
                <a:gd name="connsiteX351" fmla="*/ 25104 w 163595"/>
                <a:gd name="connsiteY351" fmla="*/ 76439 h 265137"/>
                <a:gd name="connsiteX352" fmla="*/ 25950 w 163595"/>
                <a:gd name="connsiteY352" fmla="*/ 75028 h 265137"/>
                <a:gd name="connsiteX353" fmla="*/ 26796 w 163595"/>
                <a:gd name="connsiteY353" fmla="*/ 73054 h 265137"/>
                <a:gd name="connsiteX354" fmla="*/ 26796 w 163595"/>
                <a:gd name="connsiteY354" fmla="*/ 72208 h 265137"/>
                <a:gd name="connsiteX355" fmla="*/ 27924 w 163595"/>
                <a:gd name="connsiteY355" fmla="*/ 68823 h 265137"/>
                <a:gd name="connsiteX356" fmla="*/ 28206 w 163595"/>
                <a:gd name="connsiteY356" fmla="*/ 68259 h 265137"/>
                <a:gd name="connsiteX357" fmla="*/ 28770 w 163595"/>
                <a:gd name="connsiteY357" fmla="*/ 64874 h 265137"/>
                <a:gd name="connsiteX358" fmla="*/ 29052 w 163595"/>
                <a:gd name="connsiteY358" fmla="*/ 64028 h 265137"/>
                <a:gd name="connsiteX359" fmla="*/ 35258 w 163595"/>
                <a:gd name="connsiteY359" fmla="*/ 47104 h 265137"/>
                <a:gd name="connsiteX360" fmla="*/ 36950 w 163595"/>
                <a:gd name="connsiteY360" fmla="*/ 42873 h 265137"/>
                <a:gd name="connsiteX361" fmla="*/ 38360 w 163595"/>
                <a:gd name="connsiteY361" fmla="*/ 38642 h 265137"/>
                <a:gd name="connsiteX362" fmla="*/ 39489 w 163595"/>
                <a:gd name="connsiteY362" fmla="*/ 35822 h 265137"/>
                <a:gd name="connsiteX363" fmla="*/ 40335 w 163595"/>
                <a:gd name="connsiteY363" fmla="*/ 33283 h 265137"/>
                <a:gd name="connsiteX364" fmla="*/ 41463 w 163595"/>
                <a:gd name="connsiteY364" fmla="*/ 31027 h 265137"/>
                <a:gd name="connsiteX365" fmla="*/ 41463 w 163595"/>
                <a:gd name="connsiteY365" fmla="*/ 30463 h 265137"/>
                <a:gd name="connsiteX366" fmla="*/ 43155 w 163595"/>
                <a:gd name="connsiteY366" fmla="*/ 26514 h 265137"/>
                <a:gd name="connsiteX367" fmla="*/ 43720 w 163595"/>
                <a:gd name="connsiteY367" fmla="*/ 24539 h 265137"/>
                <a:gd name="connsiteX368" fmla="*/ 44284 w 163595"/>
                <a:gd name="connsiteY368" fmla="*/ 23411 h 265137"/>
                <a:gd name="connsiteX369" fmla="*/ 44566 w 163595"/>
                <a:gd name="connsiteY369" fmla="*/ 23129 h 265137"/>
                <a:gd name="connsiteX370" fmla="*/ 44566 w 163595"/>
                <a:gd name="connsiteY370" fmla="*/ 22565 h 265137"/>
                <a:gd name="connsiteX371" fmla="*/ 45412 w 163595"/>
                <a:gd name="connsiteY371" fmla="*/ 20308 h 265137"/>
                <a:gd name="connsiteX372" fmla="*/ 47386 w 163595"/>
                <a:gd name="connsiteY372" fmla="*/ 14667 h 265137"/>
                <a:gd name="connsiteX373" fmla="*/ 48514 w 163595"/>
                <a:gd name="connsiteY373" fmla="*/ 11565 h 265137"/>
                <a:gd name="connsiteX374" fmla="*/ 49079 w 163595"/>
                <a:gd name="connsiteY374" fmla="*/ 9308 h 265137"/>
                <a:gd name="connsiteX375" fmla="*/ 49925 w 163595"/>
                <a:gd name="connsiteY375" fmla="*/ 7616 h 265137"/>
                <a:gd name="connsiteX376" fmla="*/ 51617 w 163595"/>
                <a:gd name="connsiteY376" fmla="*/ 3667 h 265137"/>
                <a:gd name="connsiteX377" fmla="*/ 51899 w 163595"/>
                <a:gd name="connsiteY377" fmla="*/ 2821 h 265137"/>
                <a:gd name="connsiteX378" fmla="*/ 53874 w 163595"/>
                <a:gd name="connsiteY378" fmla="*/ 1128 h 265137"/>
                <a:gd name="connsiteX379" fmla="*/ 54720 w 163595"/>
                <a:gd name="connsiteY379" fmla="*/ 564 h 265137"/>
                <a:gd name="connsiteX380" fmla="*/ 55848 w 163595"/>
                <a:gd name="connsiteY380" fmla="*/ 282 h 265137"/>
                <a:gd name="connsiteX381" fmla="*/ 56694 w 163595"/>
                <a:gd name="connsiteY381" fmla="*/ 0 h 265137"/>
                <a:gd name="connsiteX382" fmla="*/ 57258 w 163595"/>
                <a:gd name="connsiteY382" fmla="*/ 282 h 265137"/>
                <a:gd name="connsiteX383" fmla="*/ 59233 w 163595"/>
                <a:gd name="connsiteY383" fmla="*/ 2539 h 265137"/>
                <a:gd name="connsiteX384" fmla="*/ 59515 w 163595"/>
                <a:gd name="connsiteY384" fmla="*/ 2821 h 265137"/>
                <a:gd name="connsiteX385" fmla="*/ 60361 w 163595"/>
                <a:gd name="connsiteY385" fmla="*/ 2256 h 265137"/>
                <a:gd name="connsiteX386" fmla="*/ 61207 w 163595"/>
                <a:gd name="connsiteY386" fmla="*/ 2821 h 265137"/>
                <a:gd name="connsiteX387" fmla="*/ 61772 w 163595"/>
                <a:gd name="connsiteY387" fmla="*/ 3385 h 265137"/>
                <a:gd name="connsiteX388" fmla="*/ 62054 w 163595"/>
                <a:gd name="connsiteY388" fmla="*/ 3667 h 265137"/>
                <a:gd name="connsiteX389" fmla="*/ 62336 w 163595"/>
                <a:gd name="connsiteY389" fmla="*/ 3385 h 265137"/>
                <a:gd name="connsiteX390" fmla="*/ 63182 w 163595"/>
                <a:gd name="connsiteY390" fmla="*/ 3667 h 265137"/>
                <a:gd name="connsiteX391" fmla="*/ 64310 w 163595"/>
                <a:gd name="connsiteY391" fmla="*/ 3949 h 265137"/>
                <a:gd name="connsiteX392" fmla="*/ 65438 w 163595"/>
                <a:gd name="connsiteY392" fmla="*/ 3667 h 265137"/>
                <a:gd name="connsiteX393" fmla="*/ 66848 w 163595"/>
                <a:gd name="connsiteY393" fmla="*/ 4231 h 265137"/>
                <a:gd name="connsiteX394" fmla="*/ 67413 w 163595"/>
                <a:gd name="connsiteY394" fmla="*/ 4231 h 265137"/>
                <a:gd name="connsiteX395" fmla="*/ 67977 w 163595"/>
                <a:gd name="connsiteY395" fmla="*/ 3949 h 265137"/>
                <a:gd name="connsiteX396" fmla="*/ 69387 w 163595"/>
                <a:gd name="connsiteY396" fmla="*/ 4795 h 265137"/>
                <a:gd name="connsiteX397" fmla="*/ 69669 w 163595"/>
                <a:gd name="connsiteY397" fmla="*/ 5359 h 265137"/>
                <a:gd name="connsiteX398" fmla="*/ 68823 w 163595"/>
                <a:gd name="connsiteY398" fmla="*/ 7052 h 265137"/>
                <a:gd name="connsiteX399" fmla="*/ 67977 w 163595"/>
                <a:gd name="connsiteY399" fmla="*/ 9026 h 265137"/>
                <a:gd name="connsiteX400" fmla="*/ 67977 w 163595"/>
                <a:gd name="connsiteY400" fmla="*/ 9590 h 265137"/>
                <a:gd name="connsiteX401" fmla="*/ 67130 w 163595"/>
                <a:gd name="connsiteY401" fmla="*/ 11847 h 265137"/>
                <a:gd name="connsiteX402" fmla="*/ 66284 w 163595"/>
                <a:gd name="connsiteY402" fmla="*/ 14103 h 265137"/>
                <a:gd name="connsiteX403" fmla="*/ 64592 w 163595"/>
                <a:gd name="connsiteY403" fmla="*/ 16924 h 265137"/>
                <a:gd name="connsiteX404" fmla="*/ 63746 w 163595"/>
                <a:gd name="connsiteY404" fmla="*/ 18616 h 265137"/>
                <a:gd name="connsiteX405" fmla="*/ 63464 w 163595"/>
                <a:gd name="connsiteY405" fmla="*/ 19744 h 265137"/>
                <a:gd name="connsiteX406" fmla="*/ 63182 w 163595"/>
                <a:gd name="connsiteY406" fmla="*/ 20873 h 265137"/>
                <a:gd name="connsiteX407" fmla="*/ 62336 w 163595"/>
                <a:gd name="connsiteY407" fmla="*/ 22283 h 265137"/>
                <a:gd name="connsiteX408" fmla="*/ 62054 w 163595"/>
                <a:gd name="connsiteY408" fmla="*/ 23693 h 265137"/>
                <a:gd name="connsiteX409" fmla="*/ 62054 w 163595"/>
                <a:gd name="connsiteY409" fmla="*/ 23975 h 265137"/>
                <a:gd name="connsiteX410" fmla="*/ 61207 w 163595"/>
                <a:gd name="connsiteY410" fmla="*/ 25668 h 265137"/>
                <a:gd name="connsiteX411" fmla="*/ 60643 w 163595"/>
                <a:gd name="connsiteY411" fmla="*/ 26796 h 265137"/>
                <a:gd name="connsiteX412" fmla="*/ 60643 w 163595"/>
                <a:gd name="connsiteY412" fmla="*/ 27360 h 265137"/>
                <a:gd name="connsiteX413" fmla="*/ 60925 w 163595"/>
                <a:gd name="connsiteY413" fmla="*/ 27924 h 265137"/>
                <a:gd name="connsiteX414" fmla="*/ 61207 w 163595"/>
                <a:gd name="connsiteY414" fmla="*/ 28488 h 265137"/>
                <a:gd name="connsiteX415" fmla="*/ 60925 w 163595"/>
                <a:gd name="connsiteY415" fmla="*/ 29052 h 265137"/>
                <a:gd name="connsiteX416" fmla="*/ 60079 w 163595"/>
                <a:gd name="connsiteY416" fmla="*/ 30463 h 265137"/>
                <a:gd name="connsiteX417" fmla="*/ 60079 w 163595"/>
                <a:gd name="connsiteY417" fmla="*/ 30745 h 265137"/>
                <a:gd name="connsiteX418" fmla="*/ 58669 w 163595"/>
                <a:gd name="connsiteY418" fmla="*/ 32719 h 265137"/>
                <a:gd name="connsiteX419" fmla="*/ 57541 w 163595"/>
                <a:gd name="connsiteY419" fmla="*/ 34411 h 265137"/>
                <a:gd name="connsiteX420" fmla="*/ 57258 w 163595"/>
                <a:gd name="connsiteY420" fmla="*/ 34694 h 265137"/>
                <a:gd name="connsiteX421" fmla="*/ 57541 w 163595"/>
                <a:gd name="connsiteY421" fmla="*/ 34976 h 265137"/>
                <a:gd name="connsiteX422" fmla="*/ 58105 w 163595"/>
                <a:gd name="connsiteY422" fmla="*/ 36104 h 265137"/>
                <a:gd name="connsiteX423" fmla="*/ 58105 w 163595"/>
                <a:gd name="connsiteY423" fmla="*/ 36668 h 265137"/>
                <a:gd name="connsiteX424" fmla="*/ 57258 w 163595"/>
                <a:gd name="connsiteY424" fmla="*/ 38078 h 265137"/>
                <a:gd name="connsiteX425" fmla="*/ 56694 w 163595"/>
                <a:gd name="connsiteY425" fmla="*/ 38924 h 265137"/>
                <a:gd name="connsiteX426" fmla="*/ 55848 w 163595"/>
                <a:gd name="connsiteY426" fmla="*/ 40335 h 265137"/>
                <a:gd name="connsiteX427" fmla="*/ 55284 w 163595"/>
                <a:gd name="connsiteY427" fmla="*/ 43437 h 265137"/>
                <a:gd name="connsiteX428" fmla="*/ 55002 w 163595"/>
                <a:gd name="connsiteY428" fmla="*/ 44002 h 265137"/>
                <a:gd name="connsiteX429" fmla="*/ 54156 w 163595"/>
                <a:gd name="connsiteY429" fmla="*/ 45412 h 265137"/>
                <a:gd name="connsiteX430" fmla="*/ 54156 w 163595"/>
                <a:gd name="connsiteY430" fmla="*/ 45976 h 265137"/>
                <a:gd name="connsiteX431" fmla="*/ 53592 w 163595"/>
                <a:gd name="connsiteY431" fmla="*/ 47104 h 265137"/>
                <a:gd name="connsiteX432" fmla="*/ 53592 w 163595"/>
                <a:gd name="connsiteY432" fmla="*/ 48232 h 265137"/>
                <a:gd name="connsiteX433" fmla="*/ 53027 w 163595"/>
                <a:gd name="connsiteY433" fmla="*/ 49643 h 265137"/>
                <a:gd name="connsiteX434" fmla="*/ 52463 w 163595"/>
                <a:gd name="connsiteY434" fmla="*/ 50771 h 265137"/>
                <a:gd name="connsiteX435" fmla="*/ 52181 w 163595"/>
                <a:gd name="connsiteY435" fmla="*/ 51053 h 265137"/>
                <a:gd name="connsiteX436" fmla="*/ 51335 w 163595"/>
                <a:gd name="connsiteY436" fmla="*/ 53310 h 265137"/>
                <a:gd name="connsiteX437" fmla="*/ 50489 w 163595"/>
                <a:gd name="connsiteY437" fmla="*/ 55002 h 265137"/>
                <a:gd name="connsiteX438" fmla="*/ 50771 w 163595"/>
                <a:gd name="connsiteY438" fmla="*/ 56130 h 265137"/>
                <a:gd name="connsiteX439" fmla="*/ 50771 w 163595"/>
                <a:gd name="connsiteY439" fmla="*/ 56412 h 265137"/>
                <a:gd name="connsiteX440" fmla="*/ 49361 w 163595"/>
                <a:gd name="connsiteY440" fmla="*/ 57258 h 265137"/>
                <a:gd name="connsiteX441" fmla="*/ 49643 w 163595"/>
                <a:gd name="connsiteY441" fmla="*/ 57823 h 265137"/>
                <a:gd name="connsiteX442" fmla="*/ 50207 w 163595"/>
                <a:gd name="connsiteY442" fmla="*/ 58387 h 265137"/>
                <a:gd name="connsiteX443" fmla="*/ 49925 w 163595"/>
                <a:gd name="connsiteY443" fmla="*/ 58669 h 265137"/>
                <a:gd name="connsiteX444" fmla="*/ 48232 w 163595"/>
                <a:gd name="connsiteY444" fmla="*/ 60643 h 265137"/>
                <a:gd name="connsiteX445" fmla="*/ 47950 w 163595"/>
                <a:gd name="connsiteY445" fmla="*/ 61771 h 265137"/>
                <a:gd name="connsiteX446" fmla="*/ 48232 w 163595"/>
                <a:gd name="connsiteY446" fmla="*/ 62336 h 265137"/>
                <a:gd name="connsiteX447" fmla="*/ 48796 w 163595"/>
                <a:gd name="connsiteY447" fmla="*/ 62053 h 265137"/>
                <a:gd name="connsiteX448" fmla="*/ 50207 w 163595"/>
                <a:gd name="connsiteY448" fmla="*/ 60079 h 265137"/>
                <a:gd name="connsiteX449" fmla="*/ 51617 w 163595"/>
                <a:gd name="connsiteY449" fmla="*/ 58105 h 265137"/>
                <a:gd name="connsiteX450" fmla="*/ 54438 w 163595"/>
                <a:gd name="connsiteY450" fmla="*/ 54720 h 265137"/>
                <a:gd name="connsiteX451" fmla="*/ 55848 w 163595"/>
                <a:gd name="connsiteY451" fmla="*/ 53310 h 265137"/>
                <a:gd name="connsiteX452" fmla="*/ 60643 w 163595"/>
                <a:gd name="connsiteY452" fmla="*/ 48232 h 265137"/>
                <a:gd name="connsiteX453" fmla="*/ 62618 w 163595"/>
                <a:gd name="connsiteY453" fmla="*/ 46258 h 265137"/>
                <a:gd name="connsiteX454" fmla="*/ 63464 w 163595"/>
                <a:gd name="connsiteY454" fmla="*/ 45694 h 265137"/>
                <a:gd name="connsiteX455" fmla="*/ 66848 w 163595"/>
                <a:gd name="connsiteY455" fmla="*/ 42591 h 265137"/>
                <a:gd name="connsiteX456" fmla="*/ 72208 w 163595"/>
                <a:gd name="connsiteY456" fmla="*/ 38924 h 265137"/>
                <a:gd name="connsiteX457" fmla="*/ 76721 w 163595"/>
                <a:gd name="connsiteY457" fmla="*/ 36386 h 265137"/>
                <a:gd name="connsiteX458" fmla="*/ 78695 w 163595"/>
                <a:gd name="connsiteY458" fmla="*/ 35540 h 265137"/>
                <a:gd name="connsiteX459" fmla="*/ 83490 w 163595"/>
                <a:gd name="connsiteY459" fmla="*/ 33847 h 265137"/>
                <a:gd name="connsiteX460" fmla="*/ 87439 w 163595"/>
                <a:gd name="connsiteY460" fmla="*/ 33001 h 265137"/>
                <a:gd name="connsiteX461" fmla="*/ 92798 w 163595"/>
                <a:gd name="connsiteY461" fmla="*/ 33001 h 265137"/>
                <a:gd name="connsiteX462" fmla="*/ 94773 w 163595"/>
                <a:gd name="connsiteY462" fmla="*/ 33283 h 265137"/>
                <a:gd name="connsiteX463" fmla="*/ 95337 w 163595"/>
                <a:gd name="connsiteY463" fmla="*/ 33565 h 265137"/>
                <a:gd name="connsiteX464" fmla="*/ 97029 w 163595"/>
                <a:gd name="connsiteY464" fmla="*/ 34129 h 265137"/>
                <a:gd name="connsiteX465" fmla="*/ 104081 w 163595"/>
                <a:gd name="connsiteY465" fmla="*/ 36668 h 265137"/>
                <a:gd name="connsiteX466" fmla="*/ 105491 w 163595"/>
                <a:gd name="connsiteY466" fmla="*/ 37232 h 265137"/>
                <a:gd name="connsiteX467" fmla="*/ 108594 w 163595"/>
                <a:gd name="connsiteY467" fmla="*/ 40053 h 265137"/>
                <a:gd name="connsiteX468" fmla="*/ 109440 w 163595"/>
                <a:gd name="connsiteY468" fmla="*/ 41181 h 265137"/>
                <a:gd name="connsiteX469" fmla="*/ 109722 w 163595"/>
                <a:gd name="connsiteY469" fmla="*/ 41463 h 265137"/>
                <a:gd name="connsiteX470" fmla="*/ 111696 w 163595"/>
                <a:gd name="connsiteY470" fmla="*/ 43720 h 265137"/>
                <a:gd name="connsiteX471" fmla="*/ 112260 w 163595"/>
                <a:gd name="connsiteY471" fmla="*/ 44284 h 265137"/>
                <a:gd name="connsiteX472" fmla="*/ 113107 w 163595"/>
                <a:gd name="connsiteY472" fmla="*/ 44848 h 265137"/>
                <a:gd name="connsiteX473" fmla="*/ 113953 w 163595"/>
                <a:gd name="connsiteY473" fmla="*/ 45976 h 265137"/>
                <a:gd name="connsiteX474" fmla="*/ 114235 w 163595"/>
                <a:gd name="connsiteY474" fmla="*/ 46540 h 265137"/>
                <a:gd name="connsiteX475" fmla="*/ 114235 w 163595"/>
                <a:gd name="connsiteY475" fmla="*/ 47668 h 265137"/>
                <a:gd name="connsiteX476" fmla="*/ 115363 w 163595"/>
                <a:gd name="connsiteY476" fmla="*/ 48515 h 265137"/>
                <a:gd name="connsiteX477" fmla="*/ 116209 w 163595"/>
                <a:gd name="connsiteY477" fmla="*/ 48515 h 265137"/>
                <a:gd name="connsiteX478" fmla="*/ 116774 w 163595"/>
                <a:gd name="connsiteY478" fmla="*/ 49361 h 265137"/>
                <a:gd name="connsiteX479" fmla="*/ 116774 w 163595"/>
                <a:gd name="connsiteY479" fmla="*/ 49643 h 265137"/>
                <a:gd name="connsiteX480" fmla="*/ 115927 w 163595"/>
                <a:gd name="connsiteY480" fmla="*/ 50771 h 265137"/>
                <a:gd name="connsiteX481" fmla="*/ 116209 w 163595"/>
                <a:gd name="connsiteY481" fmla="*/ 51335 h 265137"/>
                <a:gd name="connsiteX482" fmla="*/ 116774 w 163595"/>
                <a:gd name="connsiteY482" fmla="*/ 54156 h 265137"/>
                <a:gd name="connsiteX483" fmla="*/ 117056 w 163595"/>
                <a:gd name="connsiteY483" fmla="*/ 54720 h 265137"/>
                <a:gd name="connsiteX484" fmla="*/ 117338 w 163595"/>
                <a:gd name="connsiteY484" fmla="*/ 55284 h 265137"/>
                <a:gd name="connsiteX485" fmla="*/ 118184 w 163595"/>
                <a:gd name="connsiteY485" fmla="*/ 58951 h 265137"/>
                <a:gd name="connsiteX486" fmla="*/ 118466 w 163595"/>
                <a:gd name="connsiteY486" fmla="*/ 60361 h 265137"/>
                <a:gd name="connsiteX487" fmla="*/ 118466 w 163595"/>
                <a:gd name="connsiteY487" fmla="*/ 61489 h 265137"/>
                <a:gd name="connsiteX488" fmla="*/ 118748 w 163595"/>
                <a:gd name="connsiteY488" fmla="*/ 63746 h 265137"/>
                <a:gd name="connsiteX489" fmla="*/ 119312 w 163595"/>
                <a:gd name="connsiteY489" fmla="*/ 64310 h 265137"/>
                <a:gd name="connsiteX490" fmla="*/ 121850 w 163595"/>
                <a:gd name="connsiteY490" fmla="*/ 63464 h 265137"/>
                <a:gd name="connsiteX491" fmla="*/ 122697 w 163595"/>
                <a:gd name="connsiteY491" fmla="*/ 63182 h 265137"/>
                <a:gd name="connsiteX492" fmla="*/ 123543 w 163595"/>
                <a:gd name="connsiteY492" fmla="*/ 63182 h 265137"/>
                <a:gd name="connsiteX493" fmla="*/ 124107 w 163595"/>
                <a:gd name="connsiteY493" fmla="*/ 62900 h 265137"/>
                <a:gd name="connsiteX494" fmla="*/ 128902 w 163595"/>
                <a:gd name="connsiteY494" fmla="*/ 60079 h 265137"/>
                <a:gd name="connsiteX495" fmla="*/ 131159 w 163595"/>
                <a:gd name="connsiteY495" fmla="*/ 59233 h 265137"/>
                <a:gd name="connsiteX496" fmla="*/ 131441 w 163595"/>
                <a:gd name="connsiteY496" fmla="*/ 59233 h 265137"/>
                <a:gd name="connsiteX497" fmla="*/ 134825 w 163595"/>
                <a:gd name="connsiteY497" fmla="*/ 57823 h 265137"/>
                <a:gd name="connsiteX498" fmla="*/ 137928 w 163595"/>
                <a:gd name="connsiteY498" fmla="*/ 56976 h 265137"/>
                <a:gd name="connsiteX499" fmla="*/ 138774 w 163595"/>
                <a:gd name="connsiteY499" fmla="*/ 56694 h 265137"/>
                <a:gd name="connsiteX500" fmla="*/ 147518 w 163595"/>
                <a:gd name="connsiteY500" fmla="*/ 55566 h 265137"/>
                <a:gd name="connsiteX501" fmla="*/ 149775 w 163595"/>
                <a:gd name="connsiteY501" fmla="*/ 55566 h 265137"/>
                <a:gd name="connsiteX502" fmla="*/ 150339 w 163595"/>
                <a:gd name="connsiteY502" fmla="*/ 55848 h 265137"/>
                <a:gd name="connsiteX503" fmla="*/ 150903 w 163595"/>
                <a:gd name="connsiteY503" fmla="*/ 56412 h 265137"/>
                <a:gd name="connsiteX504" fmla="*/ 151185 w 163595"/>
                <a:gd name="connsiteY504" fmla="*/ 56412 h 265137"/>
                <a:gd name="connsiteX505" fmla="*/ 155980 w 163595"/>
                <a:gd name="connsiteY505" fmla="*/ 56130 h 265137"/>
                <a:gd name="connsiteX506" fmla="*/ 156826 w 163595"/>
                <a:gd name="connsiteY506" fmla="*/ 56130 h 265137"/>
                <a:gd name="connsiteX507" fmla="*/ 158800 w 163595"/>
                <a:gd name="connsiteY507" fmla="*/ 55848 h 265137"/>
                <a:gd name="connsiteX508" fmla="*/ 159083 w 163595"/>
                <a:gd name="connsiteY508" fmla="*/ 56130 h 265137"/>
                <a:gd name="connsiteX509" fmla="*/ 158800 w 163595"/>
                <a:gd name="connsiteY509" fmla="*/ 56130 h 265137"/>
                <a:gd name="connsiteX510" fmla="*/ 157954 w 163595"/>
                <a:gd name="connsiteY510" fmla="*/ 56694 h 265137"/>
                <a:gd name="connsiteX511" fmla="*/ 157954 w 163595"/>
                <a:gd name="connsiteY511" fmla="*/ 56976 h 265137"/>
                <a:gd name="connsiteX512" fmla="*/ 158236 w 163595"/>
                <a:gd name="connsiteY512" fmla="*/ 57258 h 265137"/>
                <a:gd name="connsiteX513" fmla="*/ 160775 w 163595"/>
                <a:gd name="connsiteY513" fmla="*/ 56976 h 265137"/>
                <a:gd name="connsiteX514" fmla="*/ 163314 w 163595"/>
                <a:gd name="connsiteY514" fmla="*/ 56694 h 265137"/>
                <a:gd name="connsiteX515" fmla="*/ 164442 w 163595"/>
                <a:gd name="connsiteY515" fmla="*/ 56694 h 265137"/>
                <a:gd name="connsiteX516" fmla="*/ 164160 w 163595"/>
                <a:gd name="connsiteY516" fmla="*/ 56976 h 265137"/>
                <a:gd name="connsiteX517" fmla="*/ 162467 w 163595"/>
                <a:gd name="connsiteY517" fmla="*/ 57541 h 265137"/>
                <a:gd name="connsiteX518" fmla="*/ 162185 w 163595"/>
                <a:gd name="connsiteY518" fmla="*/ 57823 h 265137"/>
                <a:gd name="connsiteX519" fmla="*/ 162467 w 163595"/>
                <a:gd name="connsiteY519" fmla="*/ 58105 h 265137"/>
                <a:gd name="connsiteX520" fmla="*/ 162185 w 163595"/>
                <a:gd name="connsiteY520" fmla="*/ 58669 h 265137"/>
                <a:gd name="connsiteX521" fmla="*/ 161903 w 163595"/>
                <a:gd name="connsiteY521" fmla="*/ 58951 h 265137"/>
                <a:gd name="connsiteX522" fmla="*/ 161903 w 163595"/>
                <a:gd name="connsiteY522" fmla="*/ 59233 h 265137"/>
                <a:gd name="connsiteX523" fmla="*/ 162185 w 163595"/>
                <a:gd name="connsiteY523" fmla="*/ 59515 h 265137"/>
                <a:gd name="connsiteX524" fmla="*/ 162467 w 163595"/>
                <a:gd name="connsiteY524" fmla="*/ 59515 h 265137"/>
                <a:gd name="connsiteX525" fmla="*/ 162185 w 163595"/>
                <a:gd name="connsiteY525" fmla="*/ 59797 h 265137"/>
                <a:gd name="connsiteX526" fmla="*/ 161621 w 163595"/>
                <a:gd name="connsiteY526" fmla="*/ 60079 h 265137"/>
                <a:gd name="connsiteX527" fmla="*/ 160211 w 163595"/>
                <a:gd name="connsiteY527" fmla="*/ 60925 h 265137"/>
                <a:gd name="connsiteX528" fmla="*/ 160211 w 163595"/>
                <a:gd name="connsiteY528" fmla="*/ 61207 h 265137"/>
                <a:gd name="connsiteX529" fmla="*/ 160775 w 163595"/>
                <a:gd name="connsiteY529" fmla="*/ 61771 h 265137"/>
                <a:gd name="connsiteX530" fmla="*/ 160493 w 163595"/>
                <a:gd name="connsiteY530" fmla="*/ 62618 h 265137"/>
                <a:gd name="connsiteX531" fmla="*/ 160493 w 163595"/>
                <a:gd name="connsiteY531" fmla="*/ 62900 h 265137"/>
                <a:gd name="connsiteX532" fmla="*/ 160211 w 163595"/>
                <a:gd name="connsiteY532" fmla="*/ 63182 h 265137"/>
                <a:gd name="connsiteX533" fmla="*/ 159083 w 163595"/>
                <a:gd name="connsiteY533" fmla="*/ 63464 h 265137"/>
                <a:gd name="connsiteX534" fmla="*/ 154288 w 163595"/>
                <a:gd name="connsiteY534" fmla="*/ 64028 h 265137"/>
                <a:gd name="connsiteX535" fmla="*/ 153159 w 163595"/>
                <a:gd name="connsiteY535" fmla="*/ 64028 h 265137"/>
                <a:gd name="connsiteX536" fmla="*/ 150621 w 163595"/>
                <a:gd name="connsiteY536" fmla="*/ 64874 h 265137"/>
                <a:gd name="connsiteX537" fmla="*/ 149211 w 163595"/>
                <a:gd name="connsiteY537" fmla="*/ 65156 h 265137"/>
                <a:gd name="connsiteX538" fmla="*/ 147518 w 163595"/>
                <a:gd name="connsiteY538" fmla="*/ 65438 h 265137"/>
                <a:gd name="connsiteX539" fmla="*/ 137646 w 163595"/>
                <a:gd name="connsiteY539" fmla="*/ 69105 h 265137"/>
                <a:gd name="connsiteX540" fmla="*/ 130877 w 163595"/>
                <a:gd name="connsiteY540" fmla="*/ 70797 h 265137"/>
                <a:gd name="connsiteX541" fmla="*/ 128902 w 163595"/>
                <a:gd name="connsiteY541" fmla="*/ 71644 h 265137"/>
                <a:gd name="connsiteX542" fmla="*/ 123261 w 163595"/>
                <a:gd name="connsiteY542" fmla="*/ 74746 h 265137"/>
                <a:gd name="connsiteX543" fmla="*/ 118466 w 163595"/>
                <a:gd name="connsiteY543" fmla="*/ 77003 h 265137"/>
                <a:gd name="connsiteX544" fmla="*/ 117902 w 163595"/>
                <a:gd name="connsiteY544" fmla="*/ 78413 h 265137"/>
                <a:gd name="connsiteX545" fmla="*/ 118184 w 163595"/>
                <a:gd name="connsiteY545" fmla="*/ 78695 h 265137"/>
                <a:gd name="connsiteX546" fmla="*/ 118748 w 163595"/>
                <a:gd name="connsiteY546" fmla="*/ 78977 h 265137"/>
                <a:gd name="connsiteX547" fmla="*/ 119030 w 163595"/>
                <a:gd name="connsiteY547" fmla="*/ 79541 h 265137"/>
                <a:gd name="connsiteX548" fmla="*/ 118184 w 163595"/>
                <a:gd name="connsiteY548" fmla="*/ 80387 h 265137"/>
                <a:gd name="connsiteX549" fmla="*/ 117902 w 163595"/>
                <a:gd name="connsiteY549" fmla="*/ 80670 h 265137"/>
                <a:gd name="connsiteX550" fmla="*/ 118184 w 163595"/>
                <a:gd name="connsiteY550" fmla="*/ 80952 h 265137"/>
                <a:gd name="connsiteX551" fmla="*/ 118466 w 163595"/>
                <a:gd name="connsiteY551" fmla="*/ 81234 h 265137"/>
                <a:gd name="connsiteX552" fmla="*/ 118748 w 163595"/>
                <a:gd name="connsiteY552" fmla="*/ 81798 h 265137"/>
                <a:gd name="connsiteX553" fmla="*/ 118466 w 163595"/>
                <a:gd name="connsiteY553" fmla="*/ 82362 h 265137"/>
                <a:gd name="connsiteX554" fmla="*/ 117902 w 163595"/>
                <a:gd name="connsiteY554" fmla="*/ 82362 h 265137"/>
                <a:gd name="connsiteX555" fmla="*/ 117338 w 163595"/>
                <a:gd name="connsiteY555" fmla="*/ 83208 h 265137"/>
                <a:gd name="connsiteX556" fmla="*/ 117338 w 163595"/>
                <a:gd name="connsiteY556" fmla="*/ 83772 h 265137"/>
                <a:gd name="connsiteX557" fmla="*/ 117056 w 163595"/>
                <a:gd name="connsiteY557" fmla="*/ 84054 h 265137"/>
                <a:gd name="connsiteX558" fmla="*/ 116774 w 163595"/>
                <a:gd name="connsiteY558" fmla="*/ 84618 h 265137"/>
                <a:gd name="connsiteX559" fmla="*/ 117056 w 163595"/>
                <a:gd name="connsiteY559" fmla="*/ 84900 h 265137"/>
                <a:gd name="connsiteX560" fmla="*/ 117338 w 163595"/>
                <a:gd name="connsiteY560" fmla="*/ 85465 h 265137"/>
                <a:gd name="connsiteX561" fmla="*/ 117338 w 163595"/>
                <a:gd name="connsiteY561" fmla="*/ 85747 h 265137"/>
                <a:gd name="connsiteX562" fmla="*/ 116491 w 163595"/>
                <a:gd name="connsiteY562" fmla="*/ 86875 h 265137"/>
                <a:gd name="connsiteX563" fmla="*/ 116491 w 163595"/>
                <a:gd name="connsiteY563" fmla="*/ 87439 h 265137"/>
                <a:gd name="connsiteX564" fmla="*/ 116774 w 163595"/>
                <a:gd name="connsiteY564" fmla="*/ 88285 h 265137"/>
                <a:gd name="connsiteX565" fmla="*/ 117338 w 163595"/>
                <a:gd name="connsiteY565" fmla="*/ 88849 h 265137"/>
                <a:gd name="connsiteX566" fmla="*/ 117056 w 163595"/>
                <a:gd name="connsiteY566" fmla="*/ 89696 h 265137"/>
                <a:gd name="connsiteX567" fmla="*/ 116774 w 163595"/>
                <a:gd name="connsiteY567" fmla="*/ 90260 h 265137"/>
                <a:gd name="connsiteX568" fmla="*/ 117056 w 163595"/>
                <a:gd name="connsiteY568" fmla="*/ 91388 h 265137"/>
                <a:gd name="connsiteX569" fmla="*/ 115363 w 163595"/>
                <a:gd name="connsiteY569" fmla="*/ 94491 h 265137"/>
                <a:gd name="connsiteX570" fmla="*/ 115081 w 163595"/>
                <a:gd name="connsiteY570" fmla="*/ 94773 h 265137"/>
                <a:gd name="connsiteX571" fmla="*/ 115363 w 163595"/>
                <a:gd name="connsiteY571" fmla="*/ 95055 h 265137"/>
                <a:gd name="connsiteX572" fmla="*/ 115081 w 163595"/>
                <a:gd name="connsiteY572" fmla="*/ 95901 h 265137"/>
                <a:gd name="connsiteX573" fmla="*/ 114517 w 163595"/>
                <a:gd name="connsiteY573" fmla="*/ 96465 h 265137"/>
                <a:gd name="connsiteX574" fmla="*/ 114235 w 163595"/>
                <a:gd name="connsiteY574" fmla="*/ 96465 h 265137"/>
                <a:gd name="connsiteX575" fmla="*/ 113107 w 163595"/>
                <a:gd name="connsiteY575" fmla="*/ 97311 h 265137"/>
                <a:gd name="connsiteX576" fmla="*/ 113107 w 163595"/>
                <a:gd name="connsiteY576" fmla="*/ 98439 h 265137"/>
                <a:gd name="connsiteX577" fmla="*/ 112260 w 163595"/>
                <a:gd name="connsiteY577" fmla="*/ 99568 h 265137"/>
                <a:gd name="connsiteX578" fmla="*/ 112260 w 163595"/>
                <a:gd name="connsiteY578" fmla="*/ 99850 h 265137"/>
                <a:gd name="connsiteX579" fmla="*/ 112543 w 163595"/>
                <a:gd name="connsiteY579" fmla="*/ 100414 h 265137"/>
                <a:gd name="connsiteX580" fmla="*/ 111978 w 163595"/>
                <a:gd name="connsiteY580" fmla="*/ 100978 h 265137"/>
                <a:gd name="connsiteX581" fmla="*/ 111978 w 163595"/>
                <a:gd name="connsiteY581" fmla="*/ 101260 h 265137"/>
                <a:gd name="connsiteX582" fmla="*/ 112543 w 163595"/>
                <a:gd name="connsiteY582" fmla="*/ 101542 h 265137"/>
                <a:gd name="connsiteX583" fmla="*/ 112825 w 163595"/>
                <a:gd name="connsiteY583" fmla="*/ 101260 h 265137"/>
                <a:gd name="connsiteX584" fmla="*/ 113107 w 163595"/>
                <a:gd name="connsiteY584" fmla="*/ 100414 h 265137"/>
                <a:gd name="connsiteX585" fmla="*/ 113389 w 163595"/>
                <a:gd name="connsiteY585" fmla="*/ 100132 h 265137"/>
                <a:gd name="connsiteX586" fmla="*/ 113953 w 163595"/>
                <a:gd name="connsiteY586" fmla="*/ 100696 h 265137"/>
                <a:gd name="connsiteX587" fmla="*/ 113671 w 163595"/>
                <a:gd name="connsiteY587" fmla="*/ 102106 h 265137"/>
                <a:gd name="connsiteX588" fmla="*/ 112260 w 163595"/>
                <a:gd name="connsiteY588" fmla="*/ 103799 h 265137"/>
                <a:gd name="connsiteX589" fmla="*/ 111978 w 163595"/>
                <a:gd name="connsiteY589" fmla="*/ 104081 h 265137"/>
                <a:gd name="connsiteX590" fmla="*/ 112260 w 163595"/>
                <a:gd name="connsiteY590" fmla="*/ 104645 h 265137"/>
                <a:gd name="connsiteX591" fmla="*/ 111978 w 163595"/>
                <a:gd name="connsiteY591" fmla="*/ 104927 h 265137"/>
                <a:gd name="connsiteX592" fmla="*/ 111132 w 163595"/>
                <a:gd name="connsiteY592" fmla="*/ 105773 h 265137"/>
                <a:gd name="connsiteX593" fmla="*/ 110850 w 163595"/>
                <a:gd name="connsiteY593" fmla="*/ 106337 h 265137"/>
                <a:gd name="connsiteX594" fmla="*/ 111132 w 163595"/>
                <a:gd name="connsiteY594" fmla="*/ 106901 h 265137"/>
                <a:gd name="connsiteX595" fmla="*/ 110568 w 163595"/>
                <a:gd name="connsiteY595" fmla="*/ 106901 h 265137"/>
                <a:gd name="connsiteX596" fmla="*/ 110004 w 163595"/>
                <a:gd name="connsiteY596" fmla="*/ 107183 h 265137"/>
                <a:gd name="connsiteX597" fmla="*/ 109722 w 163595"/>
                <a:gd name="connsiteY597" fmla="*/ 107465 h 265137"/>
                <a:gd name="connsiteX598" fmla="*/ 110286 w 163595"/>
                <a:gd name="connsiteY598" fmla="*/ 107747 h 265137"/>
                <a:gd name="connsiteX599" fmla="*/ 111132 w 163595"/>
                <a:gd name="connsiteY599" fmla="*/ 106901 h 265137"/>
                <a:gd name="connsiteX600" fmla="*/ 111414 w 163595"/>
                <a:gd name="connsiteY600" fmla="*/ 107183 h 265137"/>
                <a:gd name="connsiteX601" fmla="*/ 111132 w 163595"/>
                <a:gd name="connsiteY601" fmla="*/ 108876 h 265137"/>
                <a:gd name="connsiteX602" fmla="*/ 111132 w 163595"/>
                <a:gd name="connsiteY602" fmla="*/ 109158 h 265137"/>
                <a:gd name="connsiteX603" fmla="*/ 110568 w 163595"/>
                <a:gd name="connsiteY603" fmla="*/ 109722 h 265137"/>
                <a:gd name="connsiteX604" fmla="*/ 110004 w 163595"/>
                <a:gd name="connsiteY604" fmla="*/ 110286 h 265137"/>
                <a:gd name="connsiteX605" fmla="*/ 109722 w 163595"/>
                <a:gd name="connsiteY605" fmla="*/ 111132 h 265137"/>
                <a:gd name="connsiteX606" fmla="*/ 108876 w 163595"/>
                <a:gd name="connsiteY606" fmla="*/ 111978 h 265137"/>
                <a:gd name="connsiteX607" fmla="*/ 107747 w 163595"/>
                <a:gd name="connsiteY607" fmla="*/ 111978 h 265137"/>
                <a:gd name="connsiteX608" fmla="*/ 107465 w 163595"/>
                <a:gd name="connsiteY608" fmla="*/ 111978 h 265137"/>
                <a:gd name="connsiteX609" fmla="*/ 107747 w 163595"/>
                <a:gd name="connsiteY609" fmla="*/ 112260 h 265137"/>
                <a:gd name="connsiteX610" fmla="*/ 108876 w 163595"/>
                <a:gd name="connsiteY610" fmla="*/ 112825 h 265137"/>
                <a:gd name="connsiteX611" fmla="*/ 108876 w 163595"/>
                <a:gd name="connsiteY611" fmla="*/ 113389 h 265137"/>
                <a:gd name="connsiteX612" fmla="*/ 108029 w 163595"/>
                <a:gd name="connsiteY612" fmla="*/ 114799 h 265137"/>
                <a:gd name="connsiteX613" fmla="*/ 107465 w 163595"/>
                <a:gd name="connsiteY613" fmla="*/ 115645 h 265137"/>
                <a:gd name="connsiteX614" fmla="*/ 107465 w 163595"/>
                <a:gd name="connsiteY614" fmla="*/ 115927 h 265137"/>
                <a:gd name="connsiteX615" fmla="*/ 107183 w 163595"/>
                <a:gd name="connsiteY615" fmla="*/ 116491 h 265137"/>
                <a:gd name="connsiteX616" fmla="*/ 106337 w 163595"/>
                <a:gd name="connsiteY616" fmla="*/ 117338 h 265137"/>
                <a:gd name="connsiteX617" fmla="*/ 106055 w 163595"/>
                <a:gd name="connsiteY617" fmla="*/ 117620 h 265137"/>
                <a:gd name="connsiteX618" fmla="*/ 104927 w 163595"/>
                <a:gd name="connsiteY618" fmla="*/ 120158 h 265137"/>
                <a:gd name="connsiteX619" fmla="*/ 103798 w 163595"/>
                <a:gd name="connsiteY619" fmla="*/ 121851 h 265137"/>
                <a:gd name="connsiteX620" fmla="*/ 103234 w 163595"/>
                <a:gd name="connsiteY620" fmla="*/ 123261 h 265137"/>
                <a:gd name="connsiteX621" fmla="*/ 101824 w 163595"/>
                <a:gd name="connsiteY621" fmla="*/ 125799 h 265137"/>
                <a:gd name="connsiteX622" fmla="*/ 101260 w 163595"/>
                <a:gd name="connsiteY622" fmla="*/ 126646 h 265137"/>
                <a:gd name="connsiteX623" fmla="*/ 99004 w 163595"/>
                <a:gd name="connsiteY623" fmla="*/ 130030 h 265137"/>
                <a:gd name="connsiteX624" fmla="*/ 99004 w 163595"/>
                <a:gd name="connsiteY624" fmla="*/ 130594 h 265137"/>
                <a:gd name="connsiteX625" fmla="*/ 97311 w 163595"/>
                <a:gd name="connsiteY625" fmla="*/ 132287 h 265137"/>
                <a:gd name="connsiteX626" fmla="*/ 95901 w 163595"/>
                <a:gd name="connsiteY626" fmla="*/ 134261 h 265137"/>
                <a:gd name="connsiteX627" fmla="*/ 93926 w 163595"/>
                <a:gd name="connsiteY627" fmla="*/ 136518 h 265137"/>
                <a:gd name="connsiteX628" fmla="*/ 93362 w 163595"/>
                <a:gd name="connsiteY628" fmla="*/ 137082 h 265137"/>
                <a:gd name="connsiteX629" fmla="*/ 90542 w 163595"/>
                <a:gd name="connsiteY629" fmla="*/ 140467 h 265137"/>
                <a:gd name="connsiteX630" fmla="*/ 89695 w 163595"/>
                <a:gd name="connsiteY630" fmla="*/ 141313 h 265137"/>
                <a:gd name="connsiteX631" fmla="*/ 86311 w 163595"/>
                <a:gd name="connsiteY631" fmla="*/ 144980 h 265137"/>
                <a:gd name="connsiteX632" fmla="*/ 85464 w 163595"/>
                <a:gd name="connsiteY632" fmla="*/ 145826 h 265137"/>
                <a:gd name="connsiteX633" fmla="*/ 82362 w 163595"/>
                <a:gd name="connsiteY633" fmla="*/ 148082 h 265137"/>
                <a:gd name="connsiteX634" fmla="*/ 78977 w 163595"/>
                <a:gd name="connsiteY634" fmla="*/ 151185 h 265137"/>
                <a:gd name="connsiteX635" fmla="*/ 78695 w 163595"/>
                <a:gd name="connsiteY635" fmla="*/ 151749 h 265137"/>
                <a:gd name="connsiteX636" fmla="*/ 77567 w 163595"/>
                <a:gd name="connsiteY636" fmla="*/ 152313 h 265137"/>
                <a:gd name="connsiteX637" fmla="*/ 76721 w 163595"/>
                <a:gd name="connsiteY637" fmla="*/ 153159 h 265137"/>
                <a:gd name="connsiteX638" fmla="*/ 75028 w 163595"/>
                <a:gd name="connsiteY638" fmla="*/ 154288 h 265137"/>
                <a:gd name="connsiteX639" fmla="*/ 73054 w 163595"/>
                <a:gd name="connsiteY639" fmla="*/ 155980 h 265137"/>
                <a:gd name="connsiteX640" fmla="*/ 71926 w 163595"/>
                <a:gd name="connsiteY640" fmla="*/ 156826 h 265137"/>
                <a:gd name="connsiteX641" fmla="*/ 70515 w 163595"/>
                <a:gd name="connsiteY641" fmla="*/ 158519 h 265137"/>
                <a:gd name="connsiteX642" fmla="*/ 69669 w 163595"/>
                <a:gd name="connsiteY642" fmla="*/ 159647 h 265137"/>
                <a:gd name="connsiteX643" fmla="*/ 68259 w 163595"/>
                <a:gd name="connsiteY643" fmla="*/ 160775 h 265137"/>
                <a:gd name="connsiteX644" fmla="*/ 66284 w 163595"/>
                <a:gd name="connsiteY644" fmla="*/ 161339 h 265137"/>
                <a:gd name="connsiteX645" fmla="*/ 65720 w 163595"/>
                <a:gd name="connsiteY645" fmla="*/ 161339 h 265137"/>
                <a:gd name="connsiteX646" fmla="*/ 65720 w 163595"/>
                <a:gd name="connsiteY646" fmla="*/ 161621 h 265137"/>
                <a:gd name="connsiteX647" fmla="*/ 64874 w 163595"/>
                <a:gd name="connsiteY647" fmla="*/ 162185 h 265137"/>
                <a:gd name="connsiteX648" fmla="*/ 64028 w 163595"/>
                <a:gd name="connsiteY648" fmla="*/ 162749 h 265137"/>
                <a:gd name="connsiteX649" fmla="*/ 62054 w 163595"/>
                <a:gd name="connsiteY649" fmla="*/ 163596 h 265137"/>
                <a:gd name="connsiteX650" fmla="*/ 60643 w 163595"/>
                <a:gd name="connsiteY650" fmla="*/ 163596 h 265137"/>
                <a:gd name="connsiteX651" fmla="*/ 60361 w 163595"/>
                <a:gd name="connsiteY651" fmla="*/ 163878 h 265137"/>
                <a:gd name="connsiteX652" fmla="*/ 60079 w 163595"/>
                <a:gd name="connsiteY652" fmla="*/ 164160 h 265137"/>
                <a:gd name="connsiteX653" fmla="*/ 59797 w 163595"/>
                <a:gd name="connsiteY653" fmla="*/ 164160 h 265137"/>
                <a:gd name="connsiteX654" fmla="*/ 60079 w 163595"/>
                <a:gd name="connsiteY654" fmla="*/ 164442 h 265137"/>
                <a:gd name="connsiteX655" fmla="*/ 60361 w 163595"/>
                <a:gd name="connsiteY655" fmla="*/ 164442 h 265137"/>
                <a:gd name="connsiteX656" fmla="*/ 60079 w 163595"/>
                <a:gd name="connsiteY656" fmla="*/ 165006 h 265137"/>
                <a:gd name="connsiteX657" fmla="*/ 57258 w 163595"/>
                <a:gd name="connsiteY657" fmla="*/ 165570 h 265137"/>
                <a:gd name="connsiteX658" fmla="*/ 56130 w 163595"/>
                <a:gd name="connsiteY658" fmla="*/ 165570 h 265137"/>
                <a:gd name="connsiteX659" fmla="*/ 53874 w 163595"/>
                <a:gd name="connsiteY659" fmla="*/ 165006 h 265137"/>
                <a:gd name="connsiteX660" fmla="*/ 52745 w 163595"/>
                <a:gd name="connsiteY660" fmla="*/ 165288 h 265137"/>
                <a:gd name="connsiteX661" fmla="*/ 51335 w 163595"/>
                <a:gd name="connsiteY661" fmla="*/ 165852 h 265137"/>
                <a:gd name="connsiteX662" fmla="*/ 49361 w 163595"/>
                <a:gd name="connsiteY662" fmla="*/ 165852 h 265137"/>
                <a:gd name="connsiteX663" fmla="*/ 47104 w 163595"/>
                <a:gd name="connsiteY663" fmla="*/ 166698 h 265137"/>
                <a:gd name="connsiteX664" fmla="*/ 44002 w 163595"/>
                <a:gd name="connsiteY664" fmla="*/ 168109 h 265137"/>
                <a:gd name="connsiteX665" fmla="*/ 41745 w 163595"/>
                <a:gd name="connsiteY665" fmla="*/ 168391 h 265137"/>
                <a:gd name="connsiteX666" fmla="*/ 39489 w 163595"/>
                <a:gd name="connsiteY666" fmla="*/ 167544 h 265137"/>
                <a:gd name="connsiteX667" fmla="*/ 38924 w 163595"/>
                <a:gd name="connsiteY667" fmla="*/ 167262 h 265137"/>
                <a:gd name="connsiteX668" fmla="*/ 38078 w 163595"/>
                <a:gd name="connsiteY668" fmla="*/ 167262 h 265137"/>
                <a:gd name="connsiteX669" fmla="*/ 37232 w 163595"/>
                <a:gd name="connsiteY669" fmla="*/ 165852 h 265137"/>
                <a:gd name="connsiteX670" fmla="*/ 37514 w 163595"/>
                <a:gd name="connsiteY670" fmla="*/ 164724 h 265137"/>
                <a:gd name="connsiteX671" fmla="*/ 37796 w 163595"/>
                <a:gd name="connsiteY671" fmla="*/ 163031 h 265137"/>
                <a:gd name="connsiteX672" fmla="*/ 37796 w 163595"/>
                <a:gd name="connsiteY672" fmla="*/ 160775 h 265137"/>
                <a:gd name="connsiteX673" fmla="*/ 38078 w 163595"/>
                <a:gd name="connsiteY673" fmla="*/ 158801 h 265137"/>
                <a:gd name="connsiteX674" fmla="*/ 38078 w 163595"/>
                <a:gd name="connsiteY674" fmla="*/ 158519 h 265137"/>
                <a:gd name="connsiteX675" fmla="*/ 38360 w 163595"/>
                <a:gd name="connsiteY675" fmla="*/ 156544 h 265137"/>
                <a:gd name="connsiteX676" fmla="*/ 38642 w 163595"/>
                <a:gd name="connsiteY676" fmla="*/ 155698 h 265137"/>
                <a:gd name="connsiteX677" fmla="*/ 39489 w 163595"/>
                <a:gd name="connsiteY677" fmla="*/ 153441 h 265137"/>
                <a:gd name="connsiteX678" fmla="*/ 40053 w 163595"/>
                <a:gd name="connsiteY678" fmla="*/ 152877 h 265137"/>
                <a:gd name="connsiteX679" fmla="*/ 40053 w 163595"/>
                <a:gd name="connsiteY679" fmla="*/ 152313 h 265137"/>
                <a:gd name="connsiteX680" fmla="*/ 39489 w 163595"/>
                <a:gd name="connsiteY680" fmla="*/ 151185 h 265137"/>
                <a:gd name="connsiteX681" fmla="*/ 39771 w 163595"/>
                <a:gd name="connsiteY681" fmla="*/ 150621 h 265137"/>
                <a:gd name="connsiteX682" fmla="*/ 40335 w 163595"/>
                <a:gd name="connsiteY682" fmla="*/ 149210 h 265137"/>
                <a:gd name="connsiteX683" fmla="*/ 40617 w 163595"/>
                <a:gd name="connsiteY683" fmla="*/ 148928 h 265137"/>
                <a:gd name="connsiteX684" fmla="*/ 41463 w 163595"/>
                <a:gd name="connsiteY684" fmla="*/ 147518 h 265137"/>
                <a:gd name="connsiteX685" fmla="*/ 42027 w 163595"/>
                <a:gd name="connsiteY685" fmla="*/ 146954 h 265137"/>
                <a:gd name="connsiteX686" fmla="*/ 41745 w 163595"/>
                <a:gd name="connsiteY686" fmla="*/ 146672 h 265137"/>
                <a:gd name="connsiteX687" fmla="*/ 41181 w 163595"/>
                <a:gd name="connsiteY687" fmla="*/ 145826 h 265137"/>
                <a:gd name="connsiteX688" fmla="*/ 41463 w 163595"/>
                <a:gd name="connsiteY688" fmla="*/ 144980 h 265137"/>
                <a:gd name="connsiteX689" fmla="*/ 42309 w 163595"/>
                <a:gd name="connsiteY689" fmla="*/ 143569 h 265137"/>
                <a:gd name="connsiteX690" fmla="*/ 43155 w 163595"/>
                <a:gd name="connsiteY690" fmla="*/ 142723 h 265137"/>
                <a:gd name="connsiteX691" fmla="*/ 44002 w 163595"/>
                <a:gd name="connsiteY691" fmla="*/ 142723 h 265137"/>
                <a:gd name="connsiteX692" fmla="*/ 44284 w 163595"/>
                <a:gd name="connsiteY692" fmla="*/ 141877 h 265137"/>
                <a:gd name="connsiteX693" fmla="*/ 43720 w 163595"/>
                <a:gd name="connsiteY693" fmla="*/ 141313 h 265137"/>
                <a:gd name="connsiteX694" fmla="*/ 43438 w 163595"/>
                <a:gd name="connsiteY694" fmla="*/ 141313 h 265137"/>
                <a:gd name="connsiteX695" fmla="*/ 43155 w 163595"/>
                <a:gd name="connsiteY695" fmla="*/ 141031 h 265137"/>
                <a:gd name="connsiteX696" fmla="*/ 43438 w 163595"/>
                <a:gd name="connsiteY696" fmla="*/ 140467 h 265137"/>
                <a:gd name="connsiteX697" fmla="*/ 43720 w 163595"/>
                <a:gd name="connsiteY697" fmla="*/ 140185 h 265137"/>
                <a:gd name="connsiteX698" fmla="*/ 44848 w 163595"/>
                <a:gd name="connsiteY698" fmla="*/ 138774 h 265137"/>
                <a:gd name="connsiteX699" fmla="*/ 45412 w 163595"/>
                <a:gd name="connsiteY699" fmla="*/ 139056 h 265137"/>
                <a:gd name="connsiteX700" fmla="*/ 45694 w 163595"/>
                <a:gd name="connsiteY700" fmla="*/ 139056 h 265137"/>
                <a:gd name="connsiteX701" fmla="*/ 46822 w 163595"/>
                <a:gd name="connsiteY701" fmla="*/ 140185 h 265137"/>
                <a:gd name="connsiteX702" fmla="*/ 47386 w 163595"/>
                <a:gd name="connsiteY702" fmla="*/ 139620 h 265137"/>
                <a:gd name="connsiteX703" fmla="*/ 47668 w 163595"/>
                <a:gd name="connsiteY703" fmla="*/ 139338 h 265137"/>
                <a:gd name="connsiteX704" fmla="*/ 47386 w 163595"/>
                <a:gd name="connsiteY704" fmla="*/ 139056 h 265137"/>
                <a:gd name="connsiteX705" fmla="*/ 45976 w 163595"/>
                <a:gd name="connsiteY705" fmla="*/ 138492 h 265137"/>
                <a:gd name="connsiteX706" fmla="*/ 46258 w 163595"/>
                <a:gd name="connsiteY706" fmla="*/ 137646 h 265137"/>
                <a:gd name="connsiteX707" fmla="*/ 46540 w 163595"/>
                <a:gd name="connsiteY707" fmla="*/ 135954 h 265137"/>
                <a:gd name="connsiteX708" fmla="*/ 47668 w 163595"/>
                <a:gd name="connsiteY708" fmla="*/ 134261 h 265137"/>
                <a:gd name="connsiteX709" fmla="*/ 48232 w 163595"/>
                <a:gd name="connsiteY709" fmla="*/ 132287 h 265137"/>
                <a:gd name="connsiteX710" fmla="*/ 49361 w 163595"/>
                <a:gd name="connsiteY710" fmla="*/ 130594 h 265137"/>
                <a:gd name="connsiteX711" fmla="*/ 49925 w 163595"/>
                <a:gd name="connsiteY711" fmla="*/ 130030 h 265137"/>
                <a:gd name="connsiteX712" fmla="*/ 50489 w 163595"/>
                <a:gd name="connsiteY712" fmla="*/ 129184 h 265137"/>
                <a:gd name="connsiteX713" fmla="*/ 50771 w 163595"/>
                <a:gd name="connsiteY713" fmla="*/ 128620 h 265137"/>
                <a:gd name="connsiteX714" fmla="*/ 50489 w 163595"/>
                <a:gd name="connsiteY714" fmla="*/ 127774 h 265137"/>
                <a:gd name="connsiteX715" fmla="*/ 50489 w 163595"/>
                <a:gd name="connsiteY715" fmla="*/ 127492 h 265137"/>
                <a:gd name="connsiteX716" fmla="*/ 50771 w 163595"/>
                <a:gd name="connsiteY716" fmla="*/ 127210 h 265137"/>
                <a:gd name="connsiteX717" fmla="*/ 51899 w 163595"/>
                <a:gd name="connsiteY717" fmla="*/ 127210 h 265137"/>
                <a:gd name="connsiteX718" fmla="*/ 52463 w 163595"/>
                <a:gd name="connsiteY718" fmla="*/ 126363 h 265137"/>
                <a:gd name="connsiteX719" fmla="*/ 52181 w 163595"/>
                <a:gd name="connsiteY719" fmla="*/ 125799 h 265137"/>
                <a:gd name="connsiteX720" fmla="*/ 52463 w 163595"/>
                <a:gd name="connsiteY720" fmla="*/ 125235 h 265137"/>
                <a:gd name="connsiteX721" fmla="*/ 53592 w 163595"/>
                <a:gd name="connsiteY721" fmla="*/ 124107 h 265137"/>
                <a:gd name="connsiteX722" fmla="*/ 53874 w 163595"/>
                <a:gd name="connsiteY722" fmla="*/ 123825 h 265137"/>
                <a:gd name="connsiteX723" fmla="*/ 53592 w 163595"/>
                <a:gd name="connsiteY723" fmla="*/ 123261 h 265137"/>
                <a:gd name="connsiteX724" fmla="*/ 53874 w 163595"/>
                <a:gd name="connsiteY724" fmla="*/ 122697 h 265137"/>
                <a:gd name="connsiteX725" fmla="*/ 55002 w 163595"/>
                <a:gd name="connsiteY725" fmla="*/ 122415 h 265137"/>
                <a:gd name="connsiteX726" fmla="*/ 55284 w 163595"/>
                <a:gd name="connsiteY726" fmla="*/ 122415 h 265137"/>
                <a:gd name="connsiteX727" fmla="*/ 55284 w 163595"/>
                <a:gd name="connsiteY727" fmla="*/ 122133 h 265137"/>
                <a:gd name="connsiteX728" fmla="*/ 55848 w 163595"/>
                <a:gd name="connsiteY728" fmla="*/ 121004 h 265137"/>
                <a:gd name="connsiteX729" fmla="*/ 57823 w 163595"/>
                <a:gd name="connsiteY729" fmla="*/ 119030 h 265137"/>
                <a:gd name="connsiteX730" fmla="*/ 58105 w 163595"/>
                <a:gd name="connsiteY730" fmla="*/ 118184 h 265137"/>
                <a:gd name="connsiteX731" fmla="*/ 57823 w 163595"/>
                <a:gd name="connsiteY731" fmla="*/ 117620 h 265137"/>
                <a:gd name="connsiteX732" fmla="*/ 58669 w 163595"/>
                <a:gd name="connsiteY732" fmla="*/ 117055 h 265137"/>
                <a:gd name="connsiteX733" fmla="*/ 58951 w 163595"/>
                <a:gd name="connsiteY733" fmla="*/ 116773 h 265137"/>
                <a:gd name="connsiteX734" fmla="*/ 59797 w 163595"/>
                <a:gd name="connsiteY734" fmla="*/ 116209 h 265137"/>
                <a:gd name="connsiteX735" fmla="*/ 60361 w 163595"/>
                <a:gd name="connsiteY735" fmla="*/ 115363 h 265137"/>
                <a:gd name="connsiteX736" fmla="*/ 62054 w 163595"/>
                <a:gd name="connsiteY736" fmla="*/ 113671 h 265137"/>
                <a:gd name="connsiteX737" fmla="*/ 63464 w 163595"/>
                <a:gd name="connsiteY737" fmla="*/ 111696 h 265137"/>
                <a:gd name="connsiteX738" fmla="*/ 64310 w 163595"/>
                <a:gd name="connsiteY738" fmla="*/ 110004 h 265137"/>
                <a:gd name="connsiteX739" fmla="*/ 64592 w 163595"/>
                <a:gd name="connsiteY739" fmla="*/ 109722 h 265137"/>
                <a:gd name="connsiteX740" fmla="*/ 65720 w 163595"/>
                <a:gd name="connsiteY740" fmla="*/ 108312 h 265137"/>
                <a:gd name="connsiteX741" fmla="*/ 66566 w 163595"/>
                <a:gd name="connsiteY741" fmla="*/ 107465 h 265137"/>
                <a:gd name="connsiteX742" fmla="*/ 67977 w 163595"/>
                <a:gd name="connsiteY742" fmla="*/ 105773 h 265137"/>
                <a:gd name="connsiteX743" fmla="*/ 69105 w 163595"/>
                <a:gd name="connsiteY743" fmla="*/ 104081 h 265137"/>
                <a:gd name="connsiteX744" fmla="*/ 69669 w 163595"/>
                <a:gd name="connsiteY744" fmla="*/ 103517 h 265137"/>
                <a:gd name="connsiteX745" fmla="*/ 70515 w 163595"/>
                <a:gd name="connsiteY745" fmla="*/ 103234 h 265137"/>
                <a:gd name="connsiteX746" fmla="*/ 71079 w 163595"/>
                <a:gd name="connsiteY746" fmla="*/ 102670 h 265137"/>
                <a:gd name="connsiteX747" fmla="*/ 72490 w 163595"/>
                <a:gd name="connsiteY747" fmla="*/ 100414 h 265137"/>
                <a:gd name="connsiteX748" fmla="*/ 74464 w 163595"/>
                <a:gd name="connsiteY748" fmla="*/ 98157 h 265137"/>
                <a:gd name="connsiteX749" fmla="*/ 75592 w 163595"/>
                <a:gd name="connsiteY749" fmla="*/ 96183 h 265137"/>
                <a:gd name="connsiteX750" fmla="*/ 77003 w 163595"/>
                <a:gd name="connsiteY750" fmla="*/ 95337 h 265137"/>
                <a:gd name="connsiteX751" fmla="*/ 78131 w 163595"/>
                <a:gd name="connsiteY751" fmla="*/ 93926 h 265137"/>
                <a:gd name="connsiteX752" fmla="*/ 78977 w 163595"/>
                <a:gd name="connsiteY752" fmla="*/ 93362 h 265137"/>
                <a:gd name="connsiteX753" fmla="*/ 79823 w 163595"/>
                <a:gd name="connsiteY753" fmla="*/ 92798 h 265137"/>
                <a:gd name="connsiteX754" fmla="*/ 80952 w 163595"/>
                <a:gd name="connsiteY754" fmla="*/ 91952 h 265137"/>
                <a:gd name="connsiteX755" fmla="*/ 81234 w 163595"/>
                <a:gd name="connsiteY755" fmla="*/ 91388 h 265137"/>
                <a:gd name="connsiteX756" fmla="*/ 82362 w 163595"/>
                <a:gd name="connsiteY756" fmla="*/ 89696 h 265137"/>
                <a:gd name="connsiteX757" fmla="*/ 84054 w 163595"/>
                <a:gd name="connsiteY757" fmla="*/ 87439 h 265137"/>
                <a:gd name="connsiteX758" fmla="*/ 84336 w 163595"/>
                <a:gd name="connsiteY758" fmla="*/ 87157 h 265137"/>
                <a:gd name="connsiteX759" fmla="*/ 86311 w 163595"/>
                <a:gd name="connsiteY759" fmla="*/ 86029 h 265137"/>
                <a:gd name="connsiteX760" fmla="*/ 88003 w 163595"/>
                <a:gd name="connsiteY760" fmla="*/ 84900 h 265137"/>
                <a:gd name="connsiteX761" fmla="*/ 89978 w 163595"/>
                <a:gd name="connsiteY761" fmla="*/ 82926 h 265137"/>
                <a:gd name="connsiteX762" fmla="*/ 95619 w 163595"/>
                <a:gd name="connsiteY762" fmla="*/ 78977 h 265137"/>
                <a:gd name="connsiteX763" fmla="*/ 97593 w 163595"/>
                <a:gd name="connsiteY763" fmla="*/ 77567 h 265137"/>
                <a:gd name="connsiteX764" fmla="*/ 98722 w 163595"/>
                <a:gd name="connsiteY764" fmla="*/ 76721 h 265137"/>
                <a:gd name="connsiteX765" fmla="*/ 99850 w 163595"/>
                <a:gd name="connsiteY765" fmla="*/ 75875 h 265137"/>
                <a:gd name="connsiteX766" fmla="*/ 100978 w 163595"/>
                <a:gd name="connsiteY766" fmla="*/ 74464 h 265137"/>
                <a:gd name="connsiteX767" fmla="*/ 101260 w 163595"/>
                <a:gd name="connsiteY767" fmla="*/ 71644 h 265137"/>
                <a:gd name="connsiteX768" fmla="*/ 101260 w 163595"/>
                <a:gd name="connsiteY768" fmla="*/ 71079 h 265137"/>
                <a:gd name="connsiteX769" fmla="*/ 100978 w 163595"/>
                <a:gd name="connsiteY769" fmla="*/ 70515 h 265137"/>
                <a:gd name="connsiteX770" fmla="*/ 101260 w 163595"/>
                <a:gd name="connsiteY770" fmla="*/ 69951 h 265137"/>
                <a:gd name="connsiteX771" fmla="*/ 100978 w 163595"/>
                <a:gd name="connsiteY771" fmla="*/ 68259 h 265137"/>
                <a:gd name="connsiteX772" fmla="*/ 100978 w 163595"/>
                <a:gd name="connsiteY772" fmla="*/ 65438 h 265137"/>
                <a:gd name="connsiteX773" fmla="*/ 100696 w 163595"/>
                <a:gd name="connsiteY773" fmla="*/ 63464 h 265137"/>
                <a:gd name="connsiteX774" fmla="*/ 100696 w 163595"/>
                <a:gd name="connsiteY774" fmla="*/ 62053 h 265137"/>
                <a:gd name="connsiteX775" fmla="*/ 100132 w 163595"/>
                <a:gd name="connsiteY775" fmla="*/ 60925 h 265137"/>
                <a:gd name="connsiteX776" fmla="*/ 100414 w 163595"/>
                <a:gd name="connsiteY776" fmla="*/ 60361 h 265137"/>
                <a:gd name="connsiteX777" fmla="*/ 100132 w 163595"/>
                <a:gd name="connsiteY777" fmla="*/ 58669 h 265137"/>
                <a:gd name="connsiteX778" fmla="*/ 99004 w 163595"/>
                <a:gd name="connsiteY778" fmla="*/ 55848 h 265137"/>
                <a:gd name="connsiteX779" fmla="*/ 98722 w 163595"/>
                <a:gd name="connsiteY779" fmla="*/ 55002 h 265137"/>
                <a:gd name="connsiteX780" fmla="*/ 98722 w 163595"/>
                <a:gd name="connsiteY780" fmla="*/ 54438 h 265137"/>
                <a:gd name="connsiteX781" fmla="*/ 98440 w 163595"/>
                <a:gd name="connsiteY781" fmla="*/ 53592 h 265137"/>
                <a:gd name="connsiteX782" fmla="*/ 96465 w 163595"/>
                <a:gd name="connsiteY782" fmla="*/ 51053 h 265137"/>
                <a:gd name="connsiteX783" fmla="*/ 96747 w 163595"/>
                <a:gd name="connsiteY783" fmla="*/ 50207 h 265137"/>
                <a:gd name="connsiteX784" fmla="*/ 95619 w 163595"/>
                <a:gd name="connsiteY784" fmla="*/ 49361 h 265137"/>
                <a:gd name="connsiteX785" fmla="*/ 94773 w 163595"/>
                <a:gd name="connsiteY785" fmla="*/ 48797 h 265137"/>
                <a:gd name="connsiteX786" fmla="*/ 92234 w 163595"/>
                <a:gd name="connsiteY786" fmla="*/ 46258 h 265137"/>
                <a:gd name="connsiteX787" fmla="*/ 91388 w 163595"/>
                <a:gd name="connsiteY787" fmla="*/ 45976 h 265137"/>
                <a:gd name="connsiteX788" fmla="*/ 87157 w 163595"/>
                <a:gd name="connsiteY788" fmla="*/ 44848 h 265137"/>
                <a:gd name="connsiteX789" fmla="*/ 85747 w 163595"/>
                <a:gd name="connsiteY789" fmla="*/ 45412 h 265137"/>
                <a:gd name="connsiteX790" fmla="*/ 85464 w 163595"/>
                <a:gd name="connsiteY790" fmla="*/ 45412 h 265137"/>
                <a:gd name="connsiteX791" fmla="*/ 80952 w 163595"/>
                <a:gd name="connsiteY791" fmla="*/ 47950 h 265137"/>
                <a:gd name="connsiteX792" fmla="*/ 79823 w 163595"/>
                <a:gd name="connsiteY792" fmla="*/ 48515 h 265137"/>
                <a:gd name="connsiteX793" fmla="*/ 77849 w 163595"/>
                <a:gd name="connsiteY793" fmla="*/ 49361 h 265137"/>
                <a:gd name="connsiteX794" fmla="*/ 77285 w 163595"/>
                <a:gd name="connsiteY794" fmla="*/ 49361 h 265137"/>
                <a:gd name="connsiteX795" fmla="*/ 77567 w 163595"/>
                <a:gd name="connsiteY795" fmla="*/ 49925 h 265137"/>
                <a:gd name="connsiteX796" fmla="*/ 77285 w 163595"/>
                <a:gd name="connsiteY796" fmla="*/ 50489 h 265137"/>
                <a:gd name="connsiteX797" fmla="*/ 76157 w 163595"/>
                <a:gd name="connsiteY797" fmla="*/ 52181 h 265137"/>
                <a:gd name="connsiteX798" fmla="*/ 75592 w 163595"/>
                <a:gd name="connsiteY798" fmla="*/ 52745 h 265137"/>
                <a:gd name="connsiteX799" fmla="*/ 74746 w 163595"/>
                <a:gd name="connsiteY799" fmla="*/ 52745 h 265137"/>
                <a:gd name="connsiteX800" fmla="*/ 74746 w 163595"/>
                <a:gd name="connsiteY800" fmla="*/ 53310 h 265137"/>
                <a:gd name="connsiteX801" fmla="*/ 74182 w 163595"/>
                <a:gd name="connsiteY801" fmla="*/ 53874 h 265137"/>
                <a:gd name="connsiteX802" fmla="*/ 72772 w 163595"/>
                <a:gd name="connsiteY802" fmla="*/ 55848 h 265137"/>
                <a:gd name="connsiteX803" fmla="*/ 71926 w 163595"/>
                <a:gd name="connsiteY803" fmla="*/ 56130 h 265137"/>
                <a:gd name="connsiteX804" fmla="*/ 71361 w 163595"/>
                <a:gd name="connsiteY804" fmla="*/ 56130 h 265137"/>
                <a:gd name="connsiteX805" fmla="*/ 70797 w 163595"/>
                <a:gd name="connsiteY805" fmla="*/ 56694 h 265137"/>
                <a:gd name="connsiteX806" fmla="*/ 70515 w 163595"/>
                <a:gd name="connsiteY806" fmla="*/ 57258 h 265137"/>
                <a:gd name="connsiteX807" fmla="*/ 70515 w 163595"/>
                <a:gd name="connsiteY807" fmla="*/ 57823 h 265137"/>
                <a:gd name="connsiteX808" fmla="*/ 69669 w 163595"/>
                <a:gd name="connsiteY808" fmla="*/ 58387 h 265137"/>
                <a:gd name="connsiteX809" fmla="*/ 69105 w 163595"/>
                <a:gd name="connsiteY809" fmla="*/ 58387 h 265137"/>
                <a:gd name="connsiteX810" fmla="*/ 68259 w 163595"/>
                <a:gd name="connsiteY810" fmla="*/ 59515 h 265137"/>
                <a:gd name="connsiteX811" fmla="*/ 68823 w 163595"/>
                <a:gd name="connsiteY811" fmla="*/ 59515 h 265137"/>
                <a:gd name="connsiteX812" fmla="*/ 68823 w 163595"/>
                <a:gd name="connsiteY812" fmla="*/ 59797 h 265137"/>
                <a:gd name="connsiteX813" fmla="*/ 68541 w 163595"/>
                <a:gd name="connsiteY813" fmla="*/ 60079 h 265137"/>
                <a:gd name="connsiteX814" fmla="*/ 68259 w 163595"/>
                <a:gd name="connsiteY814" fmla="*/ 59515 h 265137"/>
                <a:gd name="connsiteX815" fmla="*/ 2256 w 163595"/>
                <a:gd name="connsiteY815" fmla="*/ 204777 h 265137"/>
                <a:gd name="connsiteX816" fmla="*/ 1974 w 163595"/>
                <a:gd name="connsiteY816" fmla="*/ 204494 h 265137"/>
                <a:gd name="connsiteX817" fmla="*/ 1974 w 163595"/>
                <a:gd name="connsiteY817" fmla="*/ 205059 h 265137"/>
                <a:gd name="connsiteX818" fmla="*/ 2256 w 163595"/>
                <a:gd name="connsiteY818" fmla="*/ 204777 h 265137"/>
                <a:gd name="connsiteX819" fmla="*/ 42591 w 163595"/>
                <a:gd name="connsiteY819" fmla="*/ 147518 h 265137"/>
                <a:gd name="connsiteX820" fmla="*/ 42027 w 163595"/>
                <a:gd name="connsiteY820" fmla="*/ 149493 h 265137"/>
                <a:gd name="connsiteX821" fmla="*/ 42309 w 163595"/>
                <a:gd name="connsiteY821" fmla="*/ 149493 h 265137"/>
                <a:gd name="connsiteX822" fmla="*/ 42873 w 163595"/>
                <a:gd name="connsiteY822" fmla="*/ 148082 h 265137"/>
                <a:gd name="connsiteX823" fmla="*/ 42591 w 163595"/>
                <a:gd name="connsiteY823" fmla="*/ 147518 h 265137"/>
                <a:gd name="connsiteX824" fmla="*/ 98722 w 163595"/>
                <a:gd name="connsiteY824" fmla="*/ 91952 h 265137"/>
                <a:gd name="connsiteX825" fmla="*/ 98722 w 163595"/>
                <a:gd name="connsiteY825" fmla="*/ 91388 h 265137"/>
                <a:gd name="connsiteX826" fmla="*/ 98440 w 163595"/>
                <a:gd name="connsiteY826" fmla="*/ 90542 h 265137"/>
                <a:gd name="connsiteX827" fmla="*/ 97875 w 163595"/>
                <a:gd name="connsiteY827" fmla="*/ 91106 h 265137"/>
                <a:gd name="connsiteX828" fmla="*/ 95337 w 163595"/>
                <a:gd name="connsiteY828" fmla="*/ 92798 h 265137"/>
                <a:gd name="connsiteX829" fmla="*/ 94773 w 163595"/>
                <a:gd name="connsiteY829" fmla="*/ 93080 h 265137"/>
                <a:gd name="connsiteX830" fmla="*/ 94773 w 163595"/>
                <a:gd name="connsiteY830" fmla="*/ 93362 h 265137"/>
                <a:gd name="connsiteX831" fmla="*/ 93926 w 163595"/>
                <a:gd name="connsiteY831" fmla="*/ 94491 h 265137"/>
                <a:gd name="connsiteX832" fmla="*/ 92798 w 163595"/>
                <a:gd name="connsiteY832" fmla="*/ 95901 h 265137"/>
                <a:gd name="connsiteX833" fmla="*/ 92234 w 163595"/>
                <a:gd name="connsiteY833" fmla="*/ 96747 h 265137"/>
                <a:gd name="connsiteX834" fmla="*/ 90260 w 163595"/>
                <a:gd name="connsiteY834" fmla="*/ 98157 h 265137"/>
                <a:gd name="connsiteX835" fmla="*/ 89978 w 163595"/>
                <a:gd name="connsiteY835" fmla="*/ 97875 h 265137"/>
                <a:gd name="connsiteX836" fmla="*/ 89695 w 163595"/>
                <a:gd name="connsiteY836" fmla="*/ 97029 h 265137"/>
                <a:gd name="connsiteX837" fmla="*/ 90260 w 163595"/>
                <a:gd name="connsiteY837" fmla="*/ 96183 h 265137"/>
                <a:gd name="connsiteX838" fmla="*/ 90260 w 163595"/>
                <a:gd name="connsiteY838" fmla="*/ 95901 h 265137"/>
                <a:gd name="connsiteX839" fmla="*/ 89978 w 163595"/>
                <a:gd name="connsiteY839" fmla="*/ 95055 h 265137"/>
                <a:gd name="connsiteX840" fmla="*/ 88285 w 163595"/>
                <a:gd name="connsiteY840" fmla="*/ 95337 h 265137"/>
                <a:gd name="connsiteX841" fmla="*/ 87721 w 163595"/>
                <a:gd name="connsiteY841" fmla="*/ 95901 h 265137"/>
                <a:gd name="connsiteX842" fmla="*/ 87721 w 163595"/>
                <a:gd name="connsiteY842" fmla="*/ 96747 h 265137"/>
                <a:gd name="connsiteX843" fmla="*/ 87439 w 163595"/>
                <a:gd name="connsiteY843" fmla="*/ 96747 h 265137"/>
                <a:gd name="connsiteX844" fmla="*/ 86875 w 163595"/>
                <a:gd name="connsiteY844" fmla="*/ 96465 h 265137"/>
                <a:gd name="connsiteX845" fmla="*/ 86593 w 163595"/>
                <a:gd name="connsiteY845" fmla="*/ 96183 h 265137"/>
                <a:gd name="connsiteX846" fmla="*/ 86311 w 163595"/>
                <a:gd name="connsiteY846" fmla="*/ 95901 h 265137"/>
                <a:gd name="connsiteX847" fmla="*/ 86029 w 163595"/>
                <a:gd name="connsiteY847" fmla="*/ 96183 h 265137"/>
                <a:gd name="connsiteX848" fmla="*/ 85464 w 163595"/>
                <a:gd name="connsiteY848" fmla="*/ 96747 h 265137"/>
                <a:gd name="connsiteX849" fmla="*/ 85182 w 163595"/>
                <a:gd name="connsiteY849" fmla="*/ 97311 h 265137"/>
                <a:gd name="connsiteX850" fmla="*/ 85182 w 163595"/>
                <a:gd name="connsiteY850" fmla="*/ 97875 h 265137"/>
                <a:gd name="connsiteX851" fmla="*/ 84336 w 163595"/>
                <a:gd name="connsiteY851" fmla="*/ 99850 h 265137"/>
                <a:gd name="connsiteX852" fmla="*/ 84054 w 163595"/>
                <a:gd name="connsiteY852" fmla="*/ 100414 h 265137"/>
                <a:gd name="connsiteX853" fmla="*/ 84054 w 163595"/>
                <a:gd name="connsiteY853" fmla="*/ 100978 h 265137"/>
                <a:gd name="connsiteX854" fmla="*/ 84336 w 163595"/>
                <a:gd name="connsiteY854" fmla="*/ 100978 h 265137"/>
                <a:gd name="connsiteX855" fmla="*/ 85464 w 163595"/>
                <a:gd name="connsiteY855" fmla="*/ 99850 h 265137"/>
                <a:gd name="connsiteX856" fmla="*/ 87157 w 163595"/>
                <a:gd name="connsiteY856" fmla="*/ 98721 h 265137"/>
                <a:gd name="connsiteX857" fmla="*/ 88003 w 163595"/>
                <a:gd name="connsiteY857" fmla="*/ 99286 h 265137"/>
                <a:gd name="connsiteX858" fmla="*/ 88285 w 163595"/>
                <a:gd name="connsiteY858" fmla="*/ 99568 h 265137"/>
                <a:gd name="connsiteX859" fmla="*/ 88567 w 163595"/>
                <a:gd name="connsiteY859" fmla="*/ 100132 h 265137"/>
                <a:gd name="connsiteX860" fmla="*/ 88285 w 163595"/>
                <a:gd name="connsiteY860" fmla="*/ 100414 h 265137"/>
                <a:gd name="connsiteX861" fmla="*/ 86875 w 163595"/>
                <a:gd name="connsiteY861" fmla="*/ 101824 h 265137"/>
                <a:gd name="connsiteX862" fmla="*/ 86029 w 163595"/>
                <a:gd name="connsiteY862" fmla="*/ 102670 h 265137"/>
                <a:gd name="connsiteX863" fmla="*/ 85182 w 163595"/>
                <a:gd name="connsiteY863" fmla="*/ 103234 h 265137"/>
                <a:gd name="connsiteX864" fmla="*/ 82926 w 163595"/>
                <a:gd name="connsiteY864" fmla="*/ 105491 h 265137"/>
                <a:gd name="connsiteX865" fmla="*/ 82362 w 163595"/>
                <a:gd name="connsiteY865" fmla="*/ 106055 h 265137"/>
                <a:gd name="connsiteX866" fmla="*/ 80388 w 163595"/>
                <a:gd name="connsiteY866" fmla="*/ 109158 h 265137"/>
                <a:gd name="connsiteX867" fmla="*/ 79259 w 163595"/>
                <a:gd name="connsiteY867" fmla="*/ 110568 h 265137"/>
                <a:gd name="connsiteX868" fmla="*/ 78977 w 163595"/>
                <a:gd name="connsiteY868" fmla="*/ 111132 h 265137"/>
                <a:gd name="connsiteX869" fmla="*/ 77567 w 163595"/>
                <a:gd name="connsiteY869" fmla="*/ 112542 h 265137"/>
                <a:gd name="connsiteX870" fmla="*/ 77003 w 163595"/>
                <a:gd name="connsiteY870" fmla="*/ 113107 h 265137"/>
                <a:gd name="connsiteX871" fmla="*/ 75592 w 163595"/>
                <a:gd name="connsiteY871" fmla="*/ 115081 h 265137"/>
                <a:gd name="connsiteX872" fmla="*/ 75028 w 163595"/>
                <a:gd name="connsiteY872" fmla="*/ 115645 h 265137"/>
                <a:gd name="connsiteX873" fmla="*/ 72490 w 163595"/>
                <a:gd name="connsiteY873" fmla="*/ 119030 h 265137"/>
                <a:gd name="connsiteX874" fmla="*/ 71926 w 163595"/>
                <a:gd name="connsiteY874" fmla="*/ 119312 h 265137"/>
                <a:gd name="connsiteX875" fmla="*/ 71644 w 163595"/>
                <a:gd name="connsiteY875" fmla="*/ 119312 h 265137"/>
                <a:gd name="connsiteX876" fmla="*/ 71079 w 163595"/>
                <a:gd name="connsiteY876" fmla="*/ 119030 h 265137"/>
                <a:gd name="connsiteX877" fmla="*/ 71644 w 163595"/>
                <a:gd name="connsiteY877" fmla="*/ 118748 h 265137"/>
                <a:gd name="connsiteX878" fmla="*/ 72490 w 163595"/>
                <a:gd name="connsiteY878" fmla="*/ 117338 h 265137"/>
                <a:gd name="connsiteX879" fmla="*/ 72490 w 163595"/>
                <a:gd name="connsiteY879" fmla="*/ 117055 h 265137"/>
                <a:gd name="connsiteX880" fmla="*/ 71926 w 163595"/>
                <a:gd name="connsiteY880" fmla="*/ 116491 h 265137"/>
                <a:gd name="connsiteX881" fmla="*/ 71926 w 163595"/>
                <a:gd name="connsiteY881" fmla="*/ 115645 h 265137"/>
                <a:gd name="connsiteX882" fmla="*/ 73054 w 163595"/>
                <a:gd name="connsiteY882" fmla="*/ 115081 h 265137"/>
                <a:gd name="connsiteX883" fmla="*/ 73618 w 163595"/>
                <a:gd name="connsiteY883" fmla="*/ 115081 h 265137"/>
                <a:gd name="connsiteX884" fmla="*/ 73900 w 163595"/>
                <a:gd name="connsiteY884" fmla="*/ 115081 h 265137"/>
                <a:gd name="connsiteX885" fmla="*/ 74182 w 163595"/>
                <a:gd name="connsiteY885" fmla="*/ 115081 h 265137"/>
                <a:gd name="connsiteX886" fmla="*/ 74464 w 163595"/>
                <a:gd name="connsiteY886" fmla="*/ 114517 h 265137"/>
                <a:gd name="connsiteX887" fmla="*/ 73900 w 163595"/>
                <a:gd name="connsiteY887" fmla="*/ 113389 h 265137"/>
                <a:gd name="connsiteX888" fmla="*/ 74464 w 163595"/>
                <a:gd name="connsiteY888" fmla="*/ 112542 h 265137"/>
                <a:gd name="connsiteX889" fmla="*/ 75875 w 163595"/>
                <a:gd name="connsiteY889" fmla="*/ 111132 h 265137"/>
                <a:gd name="connsiteX890" fmla="*/ 76157 w 163595"/>
                <a:gd name="connsiteY890" fmla="*/ 110850 h 265137"/>
                <a:gd name="connsiteX891" fmla="*/ 77567 w 163595"/>
                <a:gd name="connsiteY891" fmla="*/ 108594 h 265137"/>
                <a:gd name="connsiteX892" fmla="*/ 79541 w 163595"/>
                <a:gd name="connsiteY892" fmla="*/ 107465 h 265137"/>
                <a:gd name="connsiteX893" fmla="*/ 79823 w 163595"/>
                <a:gd name="connsiteY893" fmla="*/ 106901 h 265137"/>
                <a:gd name="connsiteX894" fmla="*/ 79823 w 163595"/>
                <a:gd name="connsiteY894" fmla="*/ 106337 h 265137"/>
                <a:gd name="connsiteX895" fmla="*/ 81234 w 163595"/>
                <a:gd name="connsiteY895" fmla="*/ 104645 h 265137"/>
                <a:gd name="connsiteX896" fmla="*/ 81798 w 163595"/>
                <a:gd name="connsiteY896" fmla="*/ 104363 h 265137"/>
                <a:gd name="connsiteX897" fmla="*/ 82362 w 163595"/>
                <a:gd name="connsiteY897" fmla="*/ 104645 h 265137"/>
                <a:gd name="connsiteX898" fmla="*/ 83208 w 163595"/>
                <a:gd name="connsiteY898" fmla="*/ 104363 h 265137"/>
                <a:gd name="connsiteX899" fmla="*/ 84054 w 163595"/>
                <a:gd name="connsiteY899" fmla="*/ 103517 h 265137"/>
                <a:gd name="connsiteX900" fmla="*/ 85182 w 163595"/>
                <a:gd name="connsiteY900" fmla="*/ 101824 h 265137"/>
                <a:gd name="connsiteX901" fmla="*/ 85182 w 163595"/>
                <a:gd name="connsiteY901" fmla="*/ 101542 h 265137"/>
                <a:gd name="connsiteX902" fmla="*/ 84900 w 163595"/>
                <a:gd name="connsiteY902" fmla="*/ 101542 h 265137"/>
                <a:gd name="connsiteX903" fmla="*/ 83490 w 163595"/>
                <a:gd name="connsiteY903" fmla="*/ 102670 h 265137"/>
                <a:gd name="connsiteX904" fmla="*/ 82926 w 163595"/>
                <a:gd name="connsiteY904" fmla="*/ 102952 h 265137"/>
                <a:gd name="connsiteX905" fmla="*/ 82644 w 163595"/>
                <a:gd name="connsiteY905" fmla="*/ 102670 h 265137"/>
                <a:gd name="connsiteX906" fmla="*/ 82080 w 163595"/>
                <a:gd name="connsiteY906" fmla="*/ 102106 h 265137"/>
                <a:gd name="connsiteX907" fmla="*/ 81234 w 163595"/>
                <a:gd name="connsiteY907" fmla="*/ 102670 h 265137"/>
                <a:gd name="connsiteX908" fmla="*/ 79541 w 163595"/>
                <a:gd name="connsiteY908" fmla="*/ 104081 h 265137"/>
                <a:gd name="connsiteX909" fmla="*/ 78695 w 163595"/>
                <a:gd name="connsiteY909" fmla="*/ 105491 h 265137"/>
                <a:gd name="connsiteX910" fmla="*/ 78695 w 163595"/>
                <a:gd name="connsiteY910" fmla="*/ 106055 h 265137"/>
                <a:gd name="connsiteX911" fmla="*/ 76439 w 163595"/>
                <a:gd name="connsiteY911" fmla="*/ 108876 h 265137"/>
                <a:gd name="connsiteX912" fmla="*/ 74464 w 163595"/>
                <a:gd name="connsiteY912" fmla="*/ 110568 h 265137"/>
                <a:gd name="connsiteX913" fmla="*/ 73900 w 163595"/>
                <a:gd name="connsiteY913" fmla="*/ 110850 h 265137"/>
                <a:gd name="connsiteX914" fmla="*/ 73054 w 163595"/>
                <a:gd name="connsiteY914" fmla="*/ 110850 h 265137"/>
                <a:gd name="connsiteX915" fmla="*/ 71644 w 163595"/>
                <a:gd name="connsiteY915" fmla="*/ 111696 h 265137"/>
                <a:gd name="connsiteX916" fmla="*/ 71079 w 163595"/>
                <a:gd name="connsiteY916" fmla="*/ 111978 h 265137"/>
                <a:gd name="connsiteX917" fmla="*/ 69951 w 163595"/>
                <a:gd name="connsiteY917" fmla="*/ 111978 h 265137"/>
                <a:gd name="connsiteX918" fmla="*/ 69105 w 163595"/>
                <a:gd name="connsiteY918" fmla="*/ 113107 h 265137"/>
                <a:gd name="connsiteX919" fmla="*/ 69105 w 163595"/>
                <a:gd name="connsiteY919" fmla="*/ 114517 h 265137"/>
                <a:gd name="connsiteX920" fmla="*/ 68823 w 163595"/>
                <a:gd name="connsiteY920" fmla="*/ 114799 h 265137"/>
                <a:gd name="connsiteX921" fmla="*/ 68541 w 163595"/>
                <a:gd name="connsiteY921" fmla="*/ 114517 h 265137"/>
                <a:gd name="connsiteX922" fmla="*/ 67977 w 163595"/>
                <a:gd name="connsiteY922" fmla="*/ 113953 h 265137"/>
                <a:gd name="connsiteX923" fmla="*/ 67413 w 163595"/>
                <a:gd name="connsiteY923" fmla="*/ 114517 h 265137"/>
                <a:gd name="connsiteX924" fmla="*/ 66002 w 163595"/>
                <a:gd name="connsiteY924" fmla="*/ 115645 h 265137"/>
                <a:gd name="connsiteX925" fmla="*/ 65438 w 163595"/>
                <a:gd name="connsiteY925" fmla="*/ 116491 h 265137"/>
                <a:gd name="connsiteX926" fmla="*/ 66002 w 163595"/>
                <a:gd name="connsiteY926" fmla="*/ 117055 h 265137"/>
                <a:gd name="connsiteX927" fmla="*/ 66848 w 163595"/>
                <a:gd name="connsiteY927" fmla="*/ 117902 h 265137"/>
                <a:gd name="connsiteX928" fmla="*/ 67130 w 163595"/>
                <a:gd name="connsiteY928" fmla="*/ 118184 h 265137"/>
                <a:gd name="connsiteX929" fmla="*/ 67130 w 163595"/>
                <a:gd name="connsiteY929" fmla="*/ 118466 h 265137"/>
                <a:gd name="connsiteX930" fmla="*/ 66566 w 163595"/>
                <a:gd name="connsiteY930" fmla="*/ 118748 h 265137"/>
                <a:gd name="connsiteX931" fmla="*/ 66002 w 163595"/>
                <a:gd name="connsiteY931" fmla="*/ 119594 h 265137"/>
                <a:gd name="connsiteX932" fmla="*/ 66284 w 163595"/>
                <a:gd name="connsiteY932" fmla="*/ 119876 h 265137"/>
                <a:gd name="connsiteX933" fmla="*/ 66284 w 163595"/>
                <a:gd name="connsiteY933" fmla="*/ 120440 h 265137"/>
                <a:gd name="connsiteX934" fmla="*/ 65720 w 163595"/>
                <a:gd name="connsiteY934" fmla="*/ 121286 h 265137"/>
                <a:gd name="connsiteX935" fmla="*/ 64592 w 163595"/>
                <a:gd name="connsiteY935" fmla="*/ 121568 h 265137"/>
                <a:gd name="connsiteX936" fmla="*/ 63746 w 163595"/>
                <a:gd name="connsiteY936" fmla="*/ 121286 h 265137"/>
                <a:gd name="connsiteX937" fmla="*/ 63464 w 163595"/>
                <a:gd name="connsiteY937" fmla="*/ 121004 h 265137"/>
                <a:gd name="connsiteX938" fmla="*/ 63182 w 163595"/>
                <a:gd name="connsiteY938" fmla="*/ 121286 h 265137"/>
                <a:gd name="connsiteX939" fmla="*/ 62054 w 163595"/>
                <a:gd name="connsiteY939" fmla="*/ 121568 h 265137"/>
                <a:gd name="connsiteX940" fmla="*/ 60925 w 163595"/>
                <a:gd name="connsiteY940" fmla="*/ 122133 h 265137"/>
                <a:gd name="connsiteX941" fmla="*/ 60925 w 163595"/>
                <a:gd name="connsiteY941" fmla="*/ 122415 h 265137"/>
                <a:gd name="connsiteX942" fmla="*/ 60643 w 163595"/>
                <a:gd name="connsiteY942" fmla="*/ 122133 h 265137"/>
                <a:gd name="connsiteX943" fmla="*/ 60079 w 163595"/>
                <a:gd name="connsiteY943" fmla="*/ 121851 h 265137"/>
                <a:gd name="connsiteX944" fmla="*/ 59797 w 163595"/>
                <a:gd name="connsiteY944" fmla="*/ 122415 h 265137"/>
                <a:gd name="connsiteX945" fmla="*/ 59515 w 163595"/>
                <a:gd name="connsiteY945" fmla="*/ 122697 h 265137"/>
                <a:gd name="connsiteX946" fmla="*/ 59797 w 163595"/>
                <a:gd name="connsiteY946" fmla="*/ 122979 h 265137"/>
                <a:gd name="connsiteX947" fmla="*/ 60925 w 163595"/>
                <a:gd name="connsiteY947" fmla="*/ 124671 h 265137"/>
                <a:gd name="connsiteX948" fmla="*/ 60925 w 163595"/>
                <a:gd name="connsiteY948" fmla="*/ 124953 h 265137"/>
                <a:gd name="connsiteX949" fmla="*/ 61772 w 163595"/>
                <a:gd name="connsiteY949" fmla="*/ 125235 h 265137"/>
                <a:gd name="connsiteX950" fmla="*/ 62054 w 163595"/>
                <a:gd name="connsiteY950" fmla="*/ 125235 h 265137"/>
                <a:gd name="connsiteX951" fmla="*/ 63182 w 163595"/>
                <a:gd name="connsiteY951" fmla="*/ 124671 h 265137"/>
                <a:gd name="connsiteX952" fmla="*/ 63464 w 163595"/>
                <a:gd name="connsiteY952" fmla="*/ 124671 h 265137"/>
                <a:gd name="connsiteX953" fmla="*/ 63464 w 163595"/>
                <a:gd name="connsiteY953" fmla="*/ 125235 h 265137"/>
                <a:gd name="connsiteX954" fmla="*/ 64874 w 163595"/>
                <a:gd name="connsiteY954" fmla="*/ 125799 h 265137"/>
                <a:gd name="connsiteX955" fmla="*/ 65438 w 163595"/>
                <a:gd name="connsiteY955" fmla="*/ 125235 h 265137"/>
                <a:gd name="connsiteX956" fmla="*/ 66002 w 163595"/>
                <a:gd name="connsiteY956" fmla="*/ 123825 h 265137"/>
                <a:gd name="connsiteX957" fmla="*/ 66284 w 163595"/>
                <a:gd name="connsiteY957" fmla="*/ 123261 h 265137"/>
                <a:gd name="connsiteX958" fmla="*/ 68259 w 163595"/>
                <a:gd name="connsiteY958" fmla="*/ 120440 h 265137"/>
                <a:gd name="connsiteX959" fmla="*/ 69669 w 163595"/>
                <a:gd name="connsiteY959" fmla="*/ 120158 h 265137"/>
                <a:gd name="connsiteX960" fmla="*/ 70797 w 163595"/>
                <a:gd name="connsiteY960" fmla="*/ 120722 h 265137"/>
                <a:gd name="connsiteX961" fmla="*/ 70797 w 163595"/>
                <a:gd name="connsiteY961" fmla="*/ 121286 h 265137"/>
                <a:gd name="connsiteX962" fmla="*/ 70233 w 163595"/>
                <a:gd name="connsiteY962" fmla="*/ 121851 h 265137"/>
                <a:gd name="connsiteX963" fmla="*/ 68541 w 163595"/>
                <a:gd name="connsiteY963" fmla="*/ 124671 h 265137"/>
                <a:gd name="connsiteX964" fmla="*/ 67977 w 163595"/>
                <a:gd name="connsiteY964" fmla="*/ 124953 h 265137"/>
                <a:gd name="connsiteX965" fmla="*/ 66566 w 163595"/>
                <a:gd name="connsiteY965" fmla="*/ 127492 h 265137"/>
                <a:gd name="connsiteX966" fmla="*/ 65438 w 163595"/>
                <a:gd name="connsiteY966" fmla="*/ 128620 h 265137"/>
                <a:gd name="connsiteX967" fmla="*/ 64874 w 163595"/>
                <a:gd name="connsiteY967" fmla="*/ 129184 h 265137"/>
                <a:gd name="connsiteX968" fmla="*/ 63182 w 163595"/>
                <a:gd name="connsiteY968" fmla="*/ 132005 h 265137"/>
                <a:gd name="connsiteX969" fmla="*/ 62054 w 163595"/>
                <a:gd name="connsiteY969" fmla="*/ 133133 h 265137"/>
                <a:gd name="connsiteX970" fmla="*/ 61772 w 163595"/>
                <a:gd name="connsiteY970" fmla="*/ 132569 h 265137"/>
                <a:gd name="connsiteX971" fmla="*/ 62054 w 163595"/>
                <a:gd name="connsiteY971" fmla="*/ 131723 h 265137"/>
                <a:gd name="connsiteX972" fmla="*/ 62054 w 163595"/>
                <a:gd name="connsiteY972" fmla="*/ 130876 h 265137"/>
                <a:gd name="connsiteX973" fmla="*/ 59515 w 163595"/>
                <a:gd name="connsiteY973" fmla="*/ 129748 h 265137"/>
                <a:gd name="connsiteX974" fmla="*/ 58951 w 163595"/>
                <a:gd name="connsiteY974" fmla="*/ 129748 h 265137"/>
                <a:gd name="connsiteX975" fmla="*/ 58387 w 163595"/>
                <a:gd name="connsiteY975" fmla="*/ 129466 h 265137"/>
                <a:gd name="connsiteX976" fmla="*/ 57541 w 163595"/>
                <a:gd name="connsiteY976" fmla="*/ 129748 h 265137"/>
                <a:gd name="connsiteX977" fmla="*/ 56976 w 163595"/>
                <a:gd name="connsiteY977" fmla="*/ 130312 h 265137"/>
                <a:gd name="connsiteX978" fmla="*/ 56412 w 163595"/>
                <a:gd name="connsiteY978" fmla="*/ 130030 h 265137"/>
                <a:gd name="connsiteX979" fmla="*/ 55848 w 163595"/>
                <a:gd name="connsiteY979" fmla="*/ 129184 h 265137"/>
                <a:gd name="connsiteX980" fmla="*/ 56130 w 163595"/>
                <a:gd name="connsiteY980" fmla="*/ 128056 h 265137"/>
                <a:gd name="connsiteX981" fmla="*/ 56412 w 163595"/>
                <a:gd name="connsiteY981" fmla="*/ 127774 h 265137"/>
                <a:gd name="connsiteX982" fmla="*/ 56130 w 163595"/>
                <a:gd name="connsiteY982" fmla="*/ 127774 h 265137"/>
                <a:gd name="connsiteX983" fmla="*/ 55284 w 163595"/>
                <a:gd name="connsiteY983" fmla="*/ 128056 h 265137"/>
                <a:gd name="connsiteX984" fmla="*/ 53874 w 163595"/>
                <a:gd name="connsiteY984" fmla="*/ 130594 h 265137"/>
                <a:gd name="connsiteX985" fmla="*/ 51335 w 163595"/>
                <a:gd name="connsiteY985" fmla="*/ 135389 h 265137"/>
                <a:gd name="connsiteX986" fmla="*/ 51335 w 163595"/>
                <a:gd name="connsiteY986" fmla="*/ 135672 h 265137"/>
                <a:gd name="connsiteX987" fmla="*/ 50489 w 163595"/>
                <a:gd name="connsiteY987" fmla="*/ 137082 h 265137"/>
                <a:gd name="connsiteX988" fmla="*/ 49925 w 163595"/>
                <a:gd name="connsiteY988" fmla="*/ 137364 h 265137"/>
                <a:gd name="connsiteX989" fmla="*/ 49643 w 163595"/>
                <a:gd name="connsiteY989" fmla="*/ 137928 h 265137"/>
                <a:gd name="connsiteX990" fmla="*/ 50207 w 163595"/>
                <a:gd name="connsiteY990" fmla="*/ 138210 h 265137"/>
                <a:gd name="connsiteX991" fmla="*/ 52181 w 163595"/>
                <a:gd name="connsiteY991" fmla="*/ 137364 h 265137"/>
                <a:gd name="connsiteX992" fmla="*/ 53027 w 163595"/>
                <a:gd name="connsiteY992" fmla="*/ 137082 h 265137"/>
                <a:gd name="connsiteX993" fmla="*/ 51899 w 163595"/>
                <a:gd name="connsiteY993" fmla="*/ 138774 h 265137"/>
                <a:gd name="connsiteX994" fmla="*/ 50771 w 163595"/>
                <a:gd name="connsiteY994" fmla="*/ 138774 h 265137"/>
                <a:gd name="connsiteX995" fmla="*/ 50207 w 163595"/>
                <a:gd name="connsiteY995" fmla="*/ 139056 h 265137"/>
                <a:gd name="connsiteX996" fmla="*/ 49925 w 163595"/>
                <a:gd name="connsiteY996" fmla="*/ 139056 h 265137"/>
                <a:gd name="connsiteX997" fmla="*/ 49361 w 163595"/>
                <a:gd name="connsiteY997" fmla="*/ 139620 h 265137"/>
                <a:gd name="connsiteX998" fmla="*/ 48232 w 163595"/>
                <a:gd name="connsiteY998" fmla="*/ 141595 h 265137"/>
                <a:gd name="connsiteX999" fmla="*/ 47950 w 163595"/>
                <a:gd name="connsiteY999" fmla="*/ 143287 h 265137"/>
                <a:gd name="connsiteX1000" fmla="*/ 47386 w 163595"/>
                <a:gd name="connsiteY1000" fmla="*/ 144697 h 265137"/>
                <a:gd name="connsiteX1001" fmla="*/ 47386 w 163595"/>
                <a:gd name="connsiteY1001" fmla="*/ 144980 h 265137"/>
                <a:gd name="connsiteX1002" fmla="*/ 47668 w 163595"/>
                <a:gd name="connsiteY1002" fmla="*/ 145262 h 265137"/>
                <a:gd name="connsiteX1003" fmla="*/ 47950 w 163595"/>
                <a:gd name="connsiteY1003" fmla="*/ 144980 h 265137"/>
                <a:gd name="connsiteX1004" fmla="*/ 48514 w 163595"/>
                <a:gd name="connsiteY1004" fmla="*/ 143851 h 265137"/>
                <a:gd name="connsiteX1005" fmla="*/ 48514 w 163595"/>
                <a:gd name="connsiteY1005" fmla="*/ 143569 h 265137"/>
                <a:gd name="connsiteX1006" fmla="*/ 49079 w 163595"/>
                <a:gd name="connsiteY1006" fmla="*/ 142723 h 265137"/>
                <a:gd name="connsiteX1007" fmla="*/ 49643 w 163595"/>
                <a:gd name="connsiteY1007" fmla="*/ 142159 h 265137"/>
                <a:gd name="connsiteX1008" fmla="*/ 50489 w 163595"/>
                <a:gd name="connsiteY1008" fmla="*/ 141877 h 265137"/>
                <a:gd name="connsiteX1009" fmla="*/ 51053 w 163595"/>
                <a:gd name="connsiteY1009" fmla="*/ 142441 h 265137"/>
                <a:gd name="connsiteX1010" fmla="*/ 50489 w 163595"/>
                <a:gd name="connsiteY1010" fmla="*/ 143569 h 265137"/>
                <a:gd name="connsiteX1011" fmla="*/ 49361 w 163595"/>
                <a:gd name="connsiteY1011" fmla="*/ 144415 h 265137"/>
                <a:gd name="connsiteX1012" fmla="*/ 49361 w 163595"/>
                <a:gd name="connsiteY1012" fmla="*/ 144697 h 265137"/>
                <a:gd name="connsiteX1013" fmla="*/ 49643 w 163595"/>
                <a:gd name="connsiteY1013" fmla="*/ 144697 h 265137"/>
                <a:gd name="connsiteX1014" fmla="*/ 50207 w 163595"/>
                <a:gd name="connsiteY1014" fmla="*/ 144415 h 265137"/>
                <a:gd name="connsiteX1015" fmla="*/ 51053 w 163595"/>
                <a:gd name="connsiteY1015" fmla="*/ 144980 h 265137"/>
                <a:gd name="connsiteX1016" fmla="*/ 51617 w 163595"/>
                <a:gd name="connsiteY1016" fmla="*/ 145544 h 265137"/>
                <a:gd name="connsiteX1017" fmla="*/ 51899 w 163595"/>
                <a:gd name="connsiteY1017" fmla="*/ 145262 h 265137"/>
                <a:gd name="connsiteX1018" fmla="*/ 52463 w 163595"/>
                <a:gd name="connsiteY1018" fmla="*/ 145826 h 265137"/>
                <a:gd name="connsiteX1019" fmla="*/ 52181 w 163595"/>
                <a:gd name="connsiteY1019" fmla="*/ 147518 h 265137"/>
                <a:gd name="connsiteX1020" fmla="*/ 52745 w 163595"/>
                <a:gd name="connsiteY1020" fmla="*/ 148082 h 265137"/>
                <a:gd name="connsiteX1021" fmla="*/ 53027 w 163595"/>
                <a:gd name="connsiteY1021" fmla="*/ 148082 h 265137"/>
                <a:gd name="connsiteX1022" fmla="*/ 53310 w 163595"/>
                <a:gd name="connsiteY1022" fmla="*/ 148364 h 265137"/>
                <a:gd name="connsiteX1023" fmla="*/ 53874 w 163595"/>
                <a:gd name="connsiteY1023" fmla="*/ 150057 h 265137"/>
                <a:gd name="connsiteX1024" fmla="*/ 52745 w 163595"/>
                <a:gd name="connsiteY1024" fmla="*/ 151467 h 265137"/>
                <a:gd name="connsiteX1025" fmla="*/ 52181 w 163595"/>
                <a:gd name="connsiteY1025" fmla="*/ 152595 h 265137"/>
                <a:gd name="connsiteX1026" fmla="*/ 52181 w 163595"/>
                <a:gd name="connsiteY1026" fmla="*/ 152877 h 265137"/>
                <a:gd name="connsiteX1027" fmla="*/ 51617 w 163595"/>
                <a:gd name="connsiteY1027" fmla="*/ 152877 h 265137"/>
                <a:gd name="connsiteX1028" fmla="*/ 50207 w 163595"/>
                <a:gd name="connsiteY1028" fmla="*/ 152595 h 265137"/>
                <a:gd name="connsiteX1029" fmla="*/ 49925 w 163595"/>
                <a:gd name="connsiteY1029" fmla="*/ 151467 h 265137"/>
                <a:gd name="connsiteX1030" fmla="*/ 49361 w 163595"/>
                <a:gd name="connsiteY1030" fmla="*/ 151467 h 265137"/>
                <a:gd name="connsiteX1031" fmla="*/ 49361 w 163595"/>
                <a:gd name="connsiteY1031" fmla="*/ 151749 h 265137"/>
                <a:gd name="connsiteX1032" fmla="*/ 49079 w 163595"/>
                <a:gd name="connsiteY1032" fmla="*/ 153441 h 265137"/>
                <a:gd name="connsiteX1033" fmla="*/ 48796 w 163595"/>
                <a:gd name="connsiteY1033" fmla="*/ 154288 h 265137"/>
                <a:gd name="connsiteX1034" fmla="*/ 48514 w 163595"/>
                <a:gd name="connsiteY1034" fmla="*/ 154288 h 265137"/>
                <a:gd name="connsiteX1035" fmla="*/ 47668 w 163595"/>
                <a:gd name="connsiteY1035" fmla="*/ 154006 h 265137"/>
                <a:gd name="connsiteX1036" fmla="*/ 47386 w 163595"/>
                <a:gd name="connsiteY1036" fmla="*/ 153723 h 265137"/>
                <a:gd name="connsiteX1037" fmla="*/ 47104 w 163595"/>
                <a:gd name="connsiteY1037" fmla="*/ 154006 h 265137"/>
                <a:gd name="connsiteX1038" fmla="*/ 46822 w 163595"/>
                <a:gd name="connsiteY1038" fmla="*/ 154570 h 265137"/>
                <a:gd name="connsiteX1039" fmla="*/ 47386 w 163595"/>
                <a:gd name="connsiteY1039" fmla="*/ 155416 h 265137"/>
                <a:gd name="connsiteX1040" fmla="*/ 48232 w 163595"/>
                <a:gd name="connsiteY1040" fmla="*/ 156826 h 265137"/>
                <a:gd name="connsiteX1041" fmla="*/ 48796 w 163595"/>
                <a:gd name="connsiteY1041" fmla="*/ 157108 h 265137"/>
                <a:gd name="connsiteX1042" fmla="*/ 49361 w 163595"/>
                <a:gd name="connsiteY1042" fmla="*/ 157108 h 265137"/>
                <a:gd name="connsiteX1043" fmla="*/ 51899 w 163595"/>
                <a:gd name="connsiteY1043" fmla="*/ 156262 h 265137"/>
                <a:gd name="connsiteX1044" fmla="*/ 52745 w 163595"/>
                <a:gd name="connsiteY1044" fmla="*/ 155416 h 265137"/>
                <a:gd name="connsiteX1045" fmla="*/ 54438 w 163595"/>
                <a:gd name="connsiteY1045" fmla="*/ 155134 h 265137"/>
                <a:gd name="connsiteX1046" fmla="*/ 54720 w 163595"/>
                <a:gd name="connsiteY1046" fmla="*/ 154852 h 265137"/>
                <a:gd name="connsiteX1047" fmla="*/ 55566 w 163595"/>
                <a:gd name="connsiteY1047" fmla="*/ 154288 h 265137"/>
                <a:gd name="connsiteX1048" fmla="*/ 59797 w 163595"/>
                <a:gd name="connsiteY1048" fmla="*/ 151467 h 265137"/>
                <a:gd name="connsiteX1049" fmla="*/ 61489 w 163595"/>
                <a:gd name="connsiteY1049" fmla="*/ 150339 h 265137"/>
                <a:gd name="connsiteX1050" fmla="*/ 65438 w 163595"/>
                <a:gd name="connsiteY1050" fmla="*/ 146954 h 265137"/>
                <a:gd name="connsiteX1051" fmla="*/ 69387 w 163595"/>
                <a:gd name="connsiteY1051" fmla="*/ 143569 h 265137"/>
                <a:gd name="connsiteX1052" fmla="*/ 70797 w 163595"/>
                <a:gd name="connsiteY1052" fmla="*/ 141877 h 265137"/>
                <a:gd name="connsiteX1053" fmla="*/ 73054 w 163595"/>
                <a:gd name="connsiteY1053" fmla="*/ 139902 h 265137"/>
                <a:gd name="connsiteX1054" fmla="*/ 75875 w 163595"/>
                <a:gd name="connsiteY1054" fmla="*/ 136800 h 265137"/>
                <a:gd name="connsiteX1055" fmla="*/ 76439 w 163595"/>
                <a:gd name="connsiteY1055" fmla="*/ 136518 h 265137"/>
                <a:gd name="connsiteX1056" fmla="*/ 81234 w 163595"/>
                <a:gd name="connsiteY1056" fmla="*/ 130876 h 265137"/>
                <a:gd name="connsiteX1057" fmla="*/ 86029 w 163595"/>
                <a:gd name="connsiteY1057" fmla="*/ 124389 h 265137"/>
                <a:gd name="connsiteX1058" fmla="*/ 88849 w 163595"/>
                <a:gd name="connsiteY1058" fmla="*/ 119030 h 265137"/>
                <a:gd name="connsiteX1059" fmla="*/ 93080 w 163595"/>
                <a:gd name="connsiteY1059" fmla="*/ 109722 h 265137"/>
                <a:gd name="connsiteX1060" fmla="*/ 93362 w 163595"/>
                <a:gd name="connsiteY1060" fmla="*/ 109440 h 265137"/>
                <a:gd name="connsiteX1061" fmla="*/ 96465 w 163595"/>
                <a:gd name="connsiteY1061" fmla="*/ 100414 h 265137"/>
                <a:gd name="connsiteX1062" fmla="*/ 98157 w 163595"/>
                <a:gd name="connsiteY1062" fmla="*/ 94773 h 265137"/>
                <a:gd name="connsiteX1063" fmla="*/ 98440 w 163595"/>
                <a:gd name="connsiteY1063" fmla="*/ 93926 h 265137"/>
                <a:gd name="connsiteX1064" fmla="*/ 98722 w 163595"/>
                <a:gd name="connsiteY1064" fmla="*/ 91952 h 265137"/>
                <a:gd name="connsiteX1065" fmla="*/ 47668 w 163595"/>
                <a:gd name="connsiteY1065" fmla="*/ 152877 h 265137"/>
                <a:gd name="connsiteX1066" fmla="*/ 47950 w 163595"/>
                <a:gd name="connsiteY1066" fmla="*/ 152595 h 265137"/>
                <a:gd name="connsiteX1067" fmla="*/ 47950 w 163595"/>
                <a:gd name="connsiteY1067" fmla="*/ 152031 h 265137"/>
                <a:gd name="connsiteX1068" fmla="*/ 47668 w 163595"/>
                <a:gd name="connsiteY1068" fmla="*/ 151749 h 265137"/>
                <a:gd name="connsiteX1069" fmla="*/ 47386 w 163595"/>
                <a:gd name="connsiteY1069" fmla="*/ 152313 h 265137"/>
                <a:gd name="connsiteX1070" fmla="*/ 47668 w 163595"/>
                <a:gd name="connsiteY1070" fmla="*/ 152877 h 265137"/>
                <a:gd name="connsiteX1071" fmla="*/ 48514 w 163595"/>
                <a:gd name="connsiteY1071" fmla="*/ 137646 h 265137"/>
                <a:gd name="connsiteX1072" fmla="*/ 49079 w 163595"/>
                <a:gd name="connsiteY1072" fmla="*/ 137082 h 265137"/>
                <a:gd name="connsiteX1073" fmla="*/ 48514 w 163595"/>
                <a:gd name="connsiteY1073" fmla="*/ 136518 h 265137"/>
                <a:gd name="connsiteX1074" fmla="*/ 47950 w 163595"/>
                <a:gd name="connsiteY1074" fmla="*/ 136800 h 265137"/>
                <a:gd name="connsiteX1075" fmla="*/ 47950 w 163595"/>
                <a:gd name="connsiteY1075" fmla="*/ 137646 h 265137"/>
                <a:gd name="connsiteX1076" fmla="*/ 47668 w 163595"/>
                <a:gd name="connsiteY1076" fmla="*/ 138210 h 265137"/>
                <a:gd name="connsiteX1077" fmla="*/ 48514 w 163595"/>
                <a:gd name="connsiteY1077" fmla="*/ 137646 h 265137"/>
                <a:gd name="connsiteX1078" fmla="*/ 49079 w 163595"/>
                <a:gd name="connsiteY1078" fmla="*/ 135672 h 265137"/>
                <a:gd name="connsiteX1079" fmla="*/ 49361 w 163595"/>
                <a:gd name="connsiteY1079" fmla="*/ 135672 h 265137"/>
                <a:gd name="connsiteX1080" fmla="*/ 51053 w 163595"/>
                <a:gd name="connsiteY1080" fmla="*/ 133415 h 265137"/>
                <a:gd name="connsiteX1081" fmla="*/ 50771 w 163595"/>
                <a:gd name="connsiteY1081" fmla="*/ 133415 h 265137"/>
                <a:gd name="connsiteX1082" fmla="*/ 50207 w 163595"/>
                <a:gd name="connsiteY1082" fmla="*/ 133697 h 265137"/>
                <a:gd name="connsiteX1083" fmla="*/ 49643 w 163595"/>
                <a:gd name="connsiteY1083" fmla="*/ 134543 h 265137"/>
                <a:gd name="connsiteX1084" fmla="*/ 49079 w 163595"/>
                <a:gd name="connsiteY1084" fmla="*/ 135389 h 265137"/>
                <a:gd name="connsiteX1085" fmla="*/ 49079 w 163595"/>
                <a:gd name="connsiteY1085" fmla="*/ 135672 h 265137"/>
                <a:gd name="connsiteX1086" fmla="*/ 53592 w 163595"/>
                <a:gd name="connsiteY1086" fmla="*/ 134825 h 265137"/>
                <a:gd name="connsiteX1087" fmla="*/ 53874 w 163595"/>
                <a:gd name="connsiteY1087" fmla="*/ 134261 h 265137"/>
                <a:gd name="connsiteX1088" fmla="*/ 53592 w 163595"/>
                <a:gd name="connsiteY1088" fmla="*/ 133415 h 265137"/>
                <a:gd name="connsiteX1089" fmla="*/ 54438 w 163595"/>
                <a:gd name="connsiteY1089" fmla="*/ 132287 h 265137"/>
                <a:gd name="connsiteX1090" fmla="*/ 55284 w 163595"/>
                <a:gd name="connsiteY1090" fmla="*/ 132005 h 265137"/>
                <a:gd name="connsiteX1091" fmla="*/ 55566 w 163595"/>
                <a:gd name="connsiteY1091" fmla="*/ 132005 h 265137"/>
                <a:gd name="connsiteX1092" fmla="*/ 55848 w 163595"/>
                <a:gd name="connsiteY1092" fmla="*/ 132287 h 265137"/>
                <a:gd name="connsiteX1093" fmla="*/ 55848 w 163595"/>
                <a:gd name="connsiteY1093" fmla="*/ 133133 h 265137"/>
                <a:gd name="connsiteX1094" fmla="*/ 56130 w 163595"/>
                <a:gd name="connsiteY1094" fmla="*/ 133415 h 265137"/>
                <a:gd name="connsiteX1095" fmla="*/ 56412 w 163595"/>
                <a:gd name="connsiteY1095" fmla="*/ 133415 h 265137"/>
                <a:gd name="connsiteX1096" fmla="*/ 56976 w 163595"/>
                <a:gd name="connsiteY1096" fmla="*/ 133697 h 265137"/>
                <a:gd name="connsiteX1097" fmla="*/ 56976 w 163595"/>
                <a:gd name="connsiteY1097" fmla="*/ 134543 h 265137"/>
                <a:gd name="connsiteX1098" fmla="*/ 56412 w 163595"/>
                <a:gd name="connsiteY1098" fmla="*/ 135672 h 265137"/>
                <a:gd name="connsiteX1099" fmla="*/ 55848 w 163595"/>
                <a:gd name="connsiteY1099" fmla="*/ 135954 h 265137"/>
                <a:gd name="connsiteX1100" fmla="*/ 55566 w 163595"/>
                <a:gd name="connsiteY1100" fmla="*/ 135954 h 265137"/>
                <a:gd name="connsiteX1101" fmla="*/ 54720 w 163595"/>
                <a:gd name="connsiteY1101" fmla="*/ 137082 h 265137"/>
                <a:gd name="connsiteX1102" fmla="*/ 53027 w 163595"/>
                <a:gd name="connsiteY1102" fmla="*/ 137082 h 265137"/>
                <a:gd name="connsiteX1103" fmla="*/ 53592 w 163595"/>
                <a:gd name="connsiteY1103" fmla="*/ 134825 h 265137"/>
                <a:gd name="connsiteX1104" fmla="*/ 54720 w 163595"/>
                <a:gd name="connsiteY1104" fmla="*/ 148082 h 265137"/>
                <a:gd name="connsiteX1105" fmla="*/ 55002 w 163595"/>
                <a:gd name="connsiteY1105" fmla="*/ 148646 h 265137"/>
                <a:gd name="connsiteX1106" fmla="*/ 54720 w 163595"/>
                <a:gd name="connsiteY1106" fmla="*/ 148928 h 265137"/>
                <a:gd name="connsiteX1107" fmla="*/ 54438 w 163595"/>
                <a:gd name="connsiteY1107" fmla="*/ 148928 h 265137"/>
                <a:gd name="connsiteX1108" fmla="*/ 54438 w 163595"/>
                <a:gd name="connsiteY1108" fmla="*/ 148364 h 265137"/>
                <a:gd name="connsiteX1109" fmla="*/ 54720 w 163595"/>
                <a:gd name="connsiteY1109" fmla="*/ 148082 h 265137"/>
                <a:gd name="connsiteX1110" fmla="*/ 54720 w 163595"/>
                <a:gd name="connsiteY1110" fmla="*/ 126646 h 265137"/>
                <a:gd name="connsiteX1111" fmla="*/ 55002 w 163595"/>
                <a:gd name="connsiteY1111" fmla="*/ 126646 h 265137"/>
                <a:gd name="connsiteX1112" fmla="*/ 55566 w 163595"/>
                <a:gd name="connsiteY1112" fmla="*/ 126081 h 265137"/>
                <a:gd name="connsiteX1113" fmla="*/ 55284 w 163595"/>
                <a:gd name="connsiteY1113" fmla="*/ 126081 h 265137"/>
                <a:gd name="connsiteX1114" fmla="*/ 55284 w 163595"/>
                <a:gd name="connsiteY1114" fmla="*/ 125799 h 265137"/>
                <a:gd name="connsiteX1115" fmla="*/ 54720 w 163595"/>
                <a:gd name="connsiteY1115" fmla="*/ 126363 h 265137"/>
                <a:gd name="connsiteX1116" fmla="*/ 54720 w 163595"/>
                <a:gd name="connsiteY1116" fmla="*/ 126646 h 265137"/>
                <a:gd name="connsiteX1117" fmla="*/ 56976 w 163595"/>
                <a:gd name="connsiteY1117" fmla="*/ 131723 h 265137"/>
                <a:gd name="connsiteX1118" fmla="*/ 56694 w 163595"/>
                <a:gd name="connsiteY1118" fmla="*/ 131723 h 265137"/>
                <a:gd name="connsiteX1119" fmla="*/ 56130 w 163595"/>
                <a:gd name="connsiteY1119" fmla="*/ 131441 h 265137"/>
                <a:gd name="connsiteX1120" fmla="*/ 56976 w 163595"/>
                <a:gd name="connsiteY1120" fmla="*/ 130876 h 265137"/>
                <a:gd name="connsiteX1121" fmla="*/ 56976 w 163595"/>
                <a:gd name="connsiteY1121" fmla="*/ 131723 h 265137"/>
                <a:gd name="connsiteX1122" fmla="*/ 58951 w 163595"/>
                <a:gd name="connsiteY1122" fmla="*/ 128056 h 265137"/>
                <a:gd name="connsiteX1123" fmla="*/ 59233 w 163595"/>
                <a:gd name="connsiteY1123" fmla="*/ 128338 h 265137"/>
                <a:gd name="connsiteX1124" fmla="*/ 61772 w 163595"/>
                <a:gd name="connsiteY1124" fmla="*/ 127774 h 265137"/>
                <a:gd name="connsiteX1125" fmla="*/ 61772 w 163595"/>
                <a:gd name="connsiteY1125" fmla="*/ 127492 h 265137"/>
                <a:gd name="connsiteX1126" fmla="*/ 60925 w 163595"/>
                <a:gd name="connsiteY1126" fmla="*/ 126928 h 265137"/>
                <a:gd name="connsiteX1127" fmla="*/ 59233 w 163595"/>
                <a:gd name="connsiteY1127" fmla="*/ 127774 h 265137"/>
                <a:gd name="connsiteX1128" fmla="*/ 58951 w 163595"/>
                <a:gd name="connsiteY1128" fmla="*/ 128056 h 265137"/>
                <a:gd name="connsiteX1129" fmla="*/ 59797 w 163595"/>
                <a:gd name="connsiteY1129" fmla="*/ 120440 h 265137"/>
                <a:gd name="connsiteX1130" fmla="*/ 60079 w 163595"/>
                <a:gd name="connsiteY1130" fmla="*/ 120158 h 265137"/>
                <a:gd name="connsiteX1131" fmla="*/ 59797 w 163595"/>
                <a:gd name="connsiteY1131" fmla="*/ 120158 h 265137"/>
                <a:gd name="connsiteX1132" fmla="*/ 59797 w 163595"/>
                <a:gd name="connsiteY1132" fmla="*/ 120440 h 265137"/>
                <a:gd name="connsiteX1133" fmla="*/ 66848 w 163595"/>
                <a:gd name="connsiteY1133" fmla="*/ 62900 h 265137"/>
                <a:gd name="connsiteX1134" fmla="*/ 66284 w 163595"/>
                <a:gd name="connsiteY1134" fmla="*/ 63182 h 265137"/>
                <a:gd name="connsiteX1135" fmla="*/ 66566 w 163595"/>
                <a:gd name="connsiteY1135" fmla="*/ 62618 h 265137"/>
                <a:gd name="connsiteX1136" fmla="*/ 66848 w 163595"/>
                <a:gd name="connsiteY1136" fmla="*/ 62618 h 265137"/>
                <a:gd name="connsiteX1137" fmla="*/ 66848 w 163595"/>
                <a:gd name="connsiteY1137" fmla="*/ 62900 h 265137"/>
                <a:gd name="connsiteX1138" fmla="*/ 67413 w 163595"/>
                <a:gd name="connsiteY1138" fmla="*/ 116491 h 265137"/>
                <a:gd name="connsiteX1139" fmla="*/ 67130 w 163595"/>
                <a:gd name="connsiteY1139" fmla="*/ 116773 h 265137"/>
                <a:gd name="connsiteX1140" fmla="*/ 66848 w 163595"/>
                <a:gd name="connsiteY1140" fmla="*/ 116773 h 265137"/>
                <a:gd name="connsiteX1141" fmla="*/ 66848 w 163595"/>
                <a:gd name="connsiteY1141" fmla="*/ 116491 h 265137"/>
                <a:gd name="connsiteX1142" fmla="*/ 67413 w 163595"/>
                <a:gd name="connsiteY1142" fmla="*/ 116491 h 265137"/>
                <a:gd name="connsiteX1143" fmla="*/ 70515 w 163595"/>
                <a:gd name="connsiteY1143" fmla="*/ 110004 h 265137"/>
                <a:gd name="connsiteX1144" fmla="*/ 71079 w 163595"/>
                <a:gd name="connsiteY1144" fmla="*/ 110286 h 265137"/>
                <a:gd name="connsiteX1145" fmla="*/ 71644 w 163595"/>
                <a:gd name="connsiteY1145" fmla="*/ 109722 h 265137"/>
                <a:gd name="connsiteX1146" fmla="*/ 71644 w 163595"/>
                <a:gd name="connsiteY1146" fmla="*/ 109440 h 265137"/>
                <a:gd name="connsiteX1147" fmla="*/ 71079 w 163595"/>
                <a:gd name="connsiteY1147" fmla="*/ 109158 h 265137"/>
                <a:gd name="connsiteX1148" fmla="*/ 70515 w 163595"/>
                <a:gd name="connsiteY1148" fmla="*/ 109440 h 265137"/>
                <a:gd name="connsiteX1149" fmla="*/ 70515 w 163595"/>
                <a:gd name="connsiteY1149" fmla="*/ 110004 h 265137"/>
                <a:gd name="connsiteX1150" fmla="*/ 75592 w 163595"/>
                <a:gd name="connsiteY1150" fmla="*/ 107183 h 265137"/>
                <a:gd name="connsiteX1151" fmla="*/ 76157 w 163595"/>
                <a:gd name="connsiteY1151" fmla="*/ 107183 h 265137"/>
                <a:gd name="connsiteX1152" fmla="*/ 76721 w 163595"/>
                <a:gd name="connsiteY1152" fmla="*/ 106901 h 265137"/>
                <a:gd name="connsiteX1153" fmla="*/ 76439 w 163595"/>
                <a:gd name="connsiteY1153" fmla="*/ 106619 h 265137"/>
                <a:gd name="connsiteX1154" fmla="*/ 76157 w 163595"/>
                <a:gd name="connsiteY1154" fmla="*/ 106337 h 265137"/>
                <a:gd name="connsiteX1155" fmla="*/ 75875 w 163595"/>
                <a:gd name="connsiteY1155" fmla="*/ 106619 h 265137"/>
                <a:gd name="connsiteX1156" fmla="*/ 75592 w 163595"/>
                <a:gd name="connsiteY1156" fmla="*/ 107183 h 265137"/>
                <a:gd name="connsiteX1157" fmla="*/ 77849 w 163595"/>
                <a:gd name="connsiteY1157" fmla="*/ 109722 h 265137"/>
                <a:gd name="connsiteX1158" fmla="*/ 77285 w 163595"/>
                <a:gd name="connsiteY1158" fmla="*/ 110286 h 265137"/>
                <a:gd name="connsiteX1159" fmla="*/ 77285 w 163595"/>
                <a:gd name="connsiteY1159" fmla="*/ 110568 h 265137"/>
                <a:gd name="connsiteX1160" fmla="*/ 77567 w 163595"/>
                <a:gd name="connsiteY1160" fmla="*/ 110568 h 265137"/>
                <a:gd name="connsiteX1161" fmla="*/ 78131 w 163595"/>
                <a:gd name="connsiteY1161" fmla="*/ 109722 h 265137"/>
                <a:gd name="connsiteX1162" fmla="*/ 77849 w 163595"/>
                <a:gd name="connsiteY1162" fmla="*/ 109722 h 265137"/>
                <a:gd name="connsiteX1163" fmla="*/ 77567 w 163595"/>
                <a:gd name="connsiteY1163" fmla="*/ 153159 h 265137"/>
                <a:gd name="connsiteX1164" fmla="*/ 78131 w 163595"/>
                <a:gd name="connsiteY1164" fmla="*/ 153159 h 265137"/>
                <a:gd name="connsiteX1165" fmla="*/ 77849 w 163595"/>
                <a:gd name="connsiteY1165" fmla="*/ 153441 h 265137"/>
                <a:gd name="connsiteX1166" fmla="*/ 77567 w 163595"/>
                <a:gd name="connsiteY1166" fmla="*/ 153441 h 265137"/>
                <a:gd name="connsiteX1167" fmla="*/ 77567 w 163595"/>
                <a:gd name="connsiteY1167" fmla="*/ 153159 h 265137"/>
                <a:gd name="connsiteX1168" fmla="*/ 78977 w 163595"/>
                <a:gd name="connsiteY1168" fmla="*/ 151749 h 265137"/>
                <a:gd name="connsiteX1169" fmla="*/ 79823 w 163595"/>
                <a:gd name="connsiteY1169" fmla="*/ 151749 h 265137"/>
                <a:gd name="connsiteX1170" fmla="*/ 79259 w 163595"/>
                <a:gd name="connsiteY1170" fmla="*/ 152877 h 265137"/>
                <a:gd name="connsiteX1171" fmla="*/ 78131 w 163595"/>
                <a:gd name="connsiteY1171" fmla="*/ 153159 h 265137"/>
                <a:gd name="connsiteX1172" fmla="*/ 78977 w 163595"/>
                <a:gd name="connsiteY1172" fmla="*/ 151749 h 265137"/>
                <a:gd name="connsiteX1173" fmla="*/ 79823 w 163595"/>
                <a:gd name="connsiteY1173" fmla="*/ 100978 h 265137"/>
                <a:gd name="connsiteX1174" fmla="*/ 80388 w 163595"/>
                <a:gd name="connsiteY1174" fmla="*/ 101542 h 265137"/>
                <a:gd name="connsiteX1175" fmla="*/ 81234 w 163595"/>
                <a:gd name="connsiteY1175" fmla="*/ 100978 h 265137"/>
                <a:gd name="connsiteX1176" fmla="*/ 81234 w 163595"/>
                <a:gd name="connsiteY1176" fmla="*/ 100696 h 265137"/>
                <a:gd name="connsiteX1177" fmla="*/ 80952 w 163595"/>
                <a:gd name="connsiteY1177" fmla="*/ 100414 h 265137"/>
                <a:gd name="connsiteX1178" fmla="*/ 80388 w 163595"/>
                <a:gd name="connsiteY1178" fmla="*/ 100696 h 265137"/>
                <a:gd name="connsiteX1179" fmla="*/ 80106 w 163595"/>
                <a:gd name="connsiteY1179" fmla="*/ 100978 h 265137"/>
                <a:gd name="connsiteX1180" fmla="*/ 79823 w 163595"/>
                <a:gd name="connsiteY1180" fmla="*/ 100978 h 265137"/>
                <a:gd name="connsiteX1181" fmla="*/ 93362 w 163595"/>
                <a:gd name="connsiteY1181" fmla="*/ 92234 h 265137"/>
                <a:gd name="connsiteX1182" fmla="*/ 93926 w 163595"/>
                <a:gd name="connsiteY1182" fmla="*/ 91670 h 265137"/>
                <a:gd name="connsiteX1183" fmla="*/ 94491 w 163595"/>
                <a:gd name="connsiteY1183" fmla="*/ 89978 h 265137"/>
                <a:gd name="connsiteX1184" fmla="*/ 94491 w 163595"/>
                <a:gd name="connsiteY1184" fmla="*/ 89696 h 265137"/>
                <a:gd name="connsiteX1185" fmla="*/ 94209 w 163595"/>
                <a:gd name="connsiteY1185" fmla="*/ 89413 h 265137"/>
                <a:gd name="connsiteX1186" fmla="*/ 93362 w 163595"/>
                <a:gd name="connsiteY1186" fmla="*/ 89978 h 265137"/>
                <a:gd name="connsiteX1187" fmla="*/ 92798 w 163595"/>
                <a:gd name="connsiteY1187" fmla="*/ 90824 h 265137"/>
                <a:gd name="connsiteX1188" fmla="*/ 92516 w 163595"/>
                <a:gd name="connsiteY1188" fmla="*/ 91670 h 265137"/>
                <a:gd name="connsiteX1189" fmla="*/ 93362 w 163595"/>
                <a:gd name="connsiteY1189" fmla="*/ 92234 h 265137"/>
                <a:gd name="connsiteX1190" fmla="*/ 96465 w 163595"/>
                <a:gd name="connsiteY1190" fmla="*/ 90542 h 265137"/>
                <a:gd name="connsiteX1191" fmla="*/ 97029 w 163595"/>
                <a:gd name="connsiteY1191" fmla="*/ 90260 h 265137"/>
                <a:gd name="connsiteX1192" fmla="*/ 97029 w 163595"/>
                <a:gd name="connsiteY1192" fmla="*/ 89978 h 265137"/>
                <a:gd name="connsiteX1193" fmla="*/ 96747 w 163595"/>
                <a:gd name="connsiteY1193" fmla="*/ 89978 h 265137"/>
                <a:gd name="connsiteX1194" fmla="*/ 96465 w 163595"/>
                <a:gd name="connsiteY1194" fmla="*/ 90260 h 265137"/>
                <a:gd name="connsiteX1195" fmla="*/ 96465 w 163595"/>
                <a:gd name="connsiteY1195" fmla="*/ 90542 h 265137"/>
                <a:gd name="connsiteX1196" fmla="*/ 108594 w 163595"/>
                <a:gd name="connsiteY1196" fmla="*/ 108876 h 265137"/>
                <a:gd name="connsiteX1197" fmla="*/ 108594 w 163595"/>
                <a:gd name="connsiteY1197" fmla="*/ 108594 h 265137"/>
                <a:gd name="connsiteX1198" fmla="*/ 107747 w 163595"/>
                <a:gd name="connsiteY1198" fmla="*/ 108876 h 265137"/>
                <a:gd name="connsiteX1199" fmla="*/ 108029 w 163595"/>
                <a:gd name="connsiteY1199" fmla="*/ 109158 h 265137"/>
                <a:gd name="connsiteX1200" fmla="*/ 108594 w 163595"/>
                <a:gd name="connsiteY1200" fmla="*/ 108876 h 265137"/>
                <a:gd name="connsiteX1201" fmla="*/ 115645 w 163595"/>
                <a:gd name="connsiteY1201" fmla="*/ 90260 h 265137"/>
                <a:gd name="connsiteX1202" fmla="*/ 115363 w 163595"/>
                <a:gd name="connsiteY1202" fmla="*/ 90260 h 265137"/>
                <a:gd name="connsiteX1203" fmla="*/ 115927 w 163595"/>
                <a:gd name="connsiteY1203" fmla="*/ 91106 h 265137"/>
                <a:gd name="connsiteX1204" fmla="*/ 116209 w 163595"/>
                <a:gd name="connsiteY1204" fmla="*/ 91106 h 265137"/>
                <a:gd name="connsiteX1205" fmla="*/ 116209 w 163595"/>
                <a:gd name="connsiteY1205" fmla="*/ 90824 h 265137"/>
                <a:gd name="connsiteX1206" fmla="*/ 115645 w 163595"/>
                <a:gd name="connsiteY1206" fmla="*/ 90260 h 265137"/>
                <a:gd name="connsiteX1207" fmla="*/ 130312 w 163595"/>
                <a:gd name="connsiteY1207" fmla="*/ 70233 h 265137"/>
                <a:gd name="connsiteX1208" fmla="*/ 130030 w 163595"/>
                <a:gd name="connsiteY1208" fmla="*/ 70233 h 265137"/>
                <a:gd name="connsiteX1209" fmla="*/ 129748 w 163595"/>
                <a:gd name="connsiteY1209" fmla="*/ 70515 h 265137"/>
                <a:gd name="connsiteX1210" fmla="*/ 130312 w 163595"/>
                <a:gd name="connsiteY1210" fmla="*/ 70233 h 265137"/>
                <a:gd name="connsiteX1211" fmla="*/ 153159 w 163595"/>
                <a:gd name="connsiteY1211" fmla="*/ 55566 h 265137"/>
                <a:gd name="connsiteX1212" fmla="*/ 153159 w 163595"/>
                <a:gd name="connsiteY1212" fmla="*/ 55284 h 265137"/>
                <a:gd name="connsiteX1213" fmla="*/ 153159 w 163595"/>
                <a:gd name="connsiteY1213" fmla="*/ 55566 h 2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</a:cxnLst>
              <a:rect l="l" t="t" r="r" b="b"/>
              <a:pathLst>
                <a:path w="163595" h="265137">
                  <a:moveTo>
                    <a:pt x="68259" y="59515"/>
                  </a:moveTo>
                  <a:cubicBezTo>
                    <a:pt x="67977" y="59515"/>
                    <a:pt x="67977" y="60079"/>
                    <a:pt x="67695" y="60361"/>
                  </a:cubicBezTo>
                  <a:cubicBezTo>
                    <a:pt x="67695" y="60925"/>
                    <a:pt x="67413" y="61207"/>
                    <a:pt x="66848" y="61207"/>
                  </a:cubicBezTo>
                  <a:cubicBezTo>
                    <a:pt x="66002" y="61489"/>
                    <a:pt x="65438" y="62053"/>
                    <a:pt x="65438" y="63182"/>
                  </a:cubicBezTo>
                  <a:cubicBezTo>
                    <a:pt x="65720" y="63464"/>
                    <a:pt x="66002" y="63464"/>
                    <a:pt x="66284" y="63464"/>
                  </a:cubicBezTo>
                  <a:lnTo>
                    <a:pt x="65156" y="64874"/>
                  </a:lnTo>
                  <a:cubicBezTo>
                    <a:pt x="64874" y="65438"/>
                    <a:pt x="64592" y="66002"/>
                    <a:pt x="64028" y="66566"/>
                  </a:cubicBezTo>
                  <a:cubicBezTo>
                    <a:pt x="63746" y="66849"/>
                    <a:pt x="63182" y="67131"/>
                    <a:pt x="62900" y="67131"/>
                  </a:cubicBezTo>
                  <a:cubicBezTo>
                    <a:pt x="62618" y="67131"/>
                    <a:pt x="62618" y="67131"/>
                    <a:pt x="62336" y="66849"/>
                  </a:cubicBezTo>
                  <a:cubicBezTo>
                    <a:pt x="62054" y="66849"/>
                    <a:pt x="61772" y="67131"/>
                    <a:pt x="61772" y="67413"/>
                  </a:cubicBezTo>
                  <a:cubicBezTo>
                    <a:pt x="61772" y="67695"/>
                    <a:pt x="61772" y="67695"/>
                    <a:pt x="62336" y="67695"/>
                  </a:cubicBezTo>
                  <a:cubicBezTo>
                    <a:pt x="62618" y="67695"/>
                    <a:pt x="62900" y="67977"/>
                    <a:pt x="62618" y="67977"/>
                  </a:cubicBezTo>
                  <a:cubicBezTo>
                    <a:pt x="62054" y="69387"/>
                    <a:pt x="61489" y="70515"/>
                    <a:pt x="60643" y="71644"/>
                  </a:cubicBezTo>
                  <a:cubicBezTo>
                    <a:pt x="60079" y="71926"/>
                    <a:pt x="59797" y="72490"/>
                    <a:pt x="59797" y="73054"/>
                  </a:cubicBezTo>
                  <a:cubicBezTo>
                    <a:pt x="59515" y="73618"/>
                    <a:pt x="59233" y="74182"/>
                    <a:pt x="58669" y="74464"/>
                  </a:cubicBezTo>
                  <a:lnTo>
                    <a:pt x="58105" y="75310"/>
                  </a:lnTo>
                  <a:lnTo>
                    <a:pt x="57823" y="75592"/>
                  </a:lnTo>
                  <a:lnTo>
                    <a:pt x="57541" y="75592"/>
                  </a:lnTo>
                  <a:lnTo>
                    <a:pt x="57541" y="74746"/>
                  </a:lnTo>
                  <a:lnTo>
                    <a:pt x="56976" y="74746"/>
                  </a:lnTo>
                  <a:lnTo>
                    <a:pt x="56130" y="75592"/>
                  </a:lnTo>
                  <a:lnTo>
                    <a:pt x="56130" y="76157"/>
                  </a:lnTo>
                  <a:cubicBezTo>
                    <a:pt x="55848" y="76439"/>
                    <a:pt x="56412" y="76157"/>
                    <a:pt x="56694" y="76157"/>
                  </a:cubicBezTo>
                  <a:cubicBezTo>
                    <a:pt x="56694" y="76157"/>
                    <a:pt x="56976" y="76157"/>
                    <a:pt x="56694" y="76439"/>
                  </a:cubicBezTo>
                  <a:cubicBezTo>
                    <a:pt x="56976" y="76439"/>
                    <a:pt x="56976" y="76721"/>
                    <a:pt x="56976" y="76721"/>
                  </a:cubicBezTo>
                  <a:cubicBezTo>
                    <a:pt x="56976" y="77003"/>
                    <a:pt x="56694" y="77003"/>
                    <a:pt x="56694" y="77003"/>
                  </a:cubicBezTo>
                  <a:lnTo>
                    <a:pt x="55566" y="77003"/>
                  </a:lnTo>
                  <a:cubicBezTo>
                    <a:pt x="55284" y="77003"/>
                    <a:pt x="55284" y="77003"/>
                    <a:pt x="55002" y="77285"/>
                  </a:cubicBezTo>
                  <a:lnTo>
                    <a:pt x="55002" y="78131"/>
                  </a:lnTo>
                  <a:cubicBezTo>
                    <a:pt x="55002" y="78413"/>
                    <a:pt x="55284" y="78413"/>
                    <a:pt x="55566" y="78413"/>
                  </a:cubicBezTo>
                  <a:cubicBezTo>
                    <a:pt x="55848" y="78695"/>
                    <a:pt x="55848" y="78695"/>
                    <a:pt x="55848" y="78977"/>
                  </a:cubicBezTo>
                  <a:cubicBezTo>
                    <a:pt x="55848" y="78977"/>
                    <a:pt x="55848" y="79259"/>
                    <a:pt x="55566" y="79259"/>
                  </a:cubicBezTo>
                  <a:cubicBezTo>
                    <a:pt x="55566" y="79541"/>
                    <a:pt x="54720" y="79823"/>
                    <a:pt x="54438" y="79823"/>
                  </a:cubicBezTo>
                  <a:cubicBezTo>
                    <a:pt x="53874" y="80105"/>
                    <a:pt x="53310" y="80387"/>
                    <a:pt x="52745" y="80387"/>
                  </a:cubicBezTo>
                  <a:cubicBezTo>
                    <a:pt x="52745" y="80387"/>
                    <a:pt x="52463" y="80670"/>
                    <a:pt x="52745" y="80670"/>
                  </a:cubicBezTo>
                  <a:cubicBezTo>
                    <a:pt x="52745" y="80952"/>
                    <a:pt x="53027" y="81234"/>
                    <a:pt x="53310" y="81516"/>
                  </a:cubicBezTo>
                  <a:lnTo>
                    <a:pt x="53310" y="81798"/>
                  </a:lnTo>
                  <a:cubicBezTo>
                    <a:pt x="53310" y="82080"/>
                    <a:pt x="53310" y="82080"/>
                    <a:pt x="53027" y="82080"/>
                  </a:cubicBezTo>
                  <a:lnTo>
                    <a:pt x="52745" y="82362"/>
                  </a:lnTo>
                  <a:cubicBezTo>
                    <a:pt x="52745" y="82362"/>
                    <a:pt x="52463" y="82644"/>
                    <a:pt x="52463" y="82926"/>
                  </a:cubicBezTo>
                  <a:cubicBezTo>
                    <a:pt x="52463" y="83208"/>
                    <a:pt x="52745" y="83208"/>
                    <a:pt x="52745" y="83490"/>
                  </a:cubicBezTo>
                  <a:cubicBezTo>
                    <a:pt x="52745" y="83772"/>
                    <a:pt x="53027" y="83772"/>
                    <a:pt x="53027" y="84054"/>
                  </a:cubicBezTo>
                  <a:cubicBezTo>
                    <a:pt x="53027" y="84336"/>
                    <a:pt x="52745" y="84618"/>
                    <a:pt x="52745" y="84900"/>
                  </a:cubicBezTo>
                  <a:cubicBezTo>
                    <a:pt x="52463" y="85183"/>
                    <a:pt x="52181" y="85465"/>
                    <a:pt x="52181" y="86029"/>
                  </a:cubicBezTo>
                  <a:cubicBezTo>
                    <a:pt x="52181" y="86029"/>
                    <a:pt x="51617" y="86311"/>
                    <a:pt x="51335" y="86311"/>
                  </a:cubicBezTo>
                  <a:cubicBezTo>
                    <a:pt x="51335" y="86029"/>
                    <a:pt x="50771" y="86311"/>
                    <a:pt x="50489" y="86593"/>
                  </a:cubicBezTo>
                  <a:lnTo>
                    <a:pt x="50489" y="87157"/>
                  </a:lnTo>
                  <a:cubicBezTo>
                    <a:pt x="50489" y="87439"/>
                    <a:pt x="50489" y="87439"/>
                    <a:pt x="50771" y="87439"/>
                  </a:cubicBezTo>
                  <a:cubicBezTo>
                    <a:pt x="50771" y="87721"/>
                    <a:pt x="50771" y="88003"/>
                    <a:pt x="50489" y="88003"/>
                  </a:cubicBezTo>
                  <a:lnTo>
                    <a:pt x="49925" y="88003"/>
                  </a:lnTo>
                  <a:lnTo>
                    <a:pt x="49361" y="88285"/>
                  </a:lnTo>
                  <a:cubicBezTo>
                    <a:pt x="49079" y="88567"/>
                    <a:pt x="49079" y="89131"/>
                    <a:pt x="49079" y="89413"/>
                  </a:cubicBezTo>
                  <a:lnTo>
                    <a:pt x="49079" y="89696"/>
                  </a:lnTo>
                  <a:cubicBezTo>
                    <a:pt x="49361" y="89978"/>
                    <a:pt x="49643" y="90542"/>
                    <a:pt x="49643" y="90824"/>
                  </a:cubicBezTo>
                  <a:cubicBezTo>
                    <a:pt x="49643" y="91106"/>
                    <a:pt x="49361" y="91106"/>
                    <a:pt x="49361" y="91388"/>
                  </a:cubicBezTo>
                  <a:lnTo>
                    <a:pt x="47668" y="95055"/>
                  </a:lnTo>
                  <a:cubicBezTo>
                    <a:pt x="47386" y="95337"/>
                    <a:pt x="46822" y="95901"/>
                    <a:pt x="46258" y="95901"/>
                  </a:cubicBezTo>
                  <a:cubicBezTo>
                    <a:pt x="45976" y="95901"/>
                    <a:pt x="45694" y="96183"/>
                    <a:pt x="45694" y="96465"/>
                  </a:cubicBezTo>
                  <a:cubicBezTo>
                    <a:pt x="45694" y="96747"/>
                    <a:pt x="45412" y="97029"/>
                    <a:pt x="45412" y="97029"/>
                  </a:cubicBezTo>
                  <a:cubicBezTo>
                    <a:pt x="45412" y="97311"/>
                    <a:pt x="45694" y="97311"/>
                    <a:pt x="45694" y="97311"/>
                  </a:cubicBezTo>
                  <a:lnTo>
                    <a:pt x="45976" y="97311"/>
                  </a:lnTo>
                  <a:cubicBezTo>
                    <a:pt x="46258" y="97593"/>
                    <a:pt x="46540" y="97593"/>
                    <a:pt x="46540" y="97593"/>
                  </a:cubicBezTo>
                  <a:lnTo>
                    <a:pt x="46258" y="97875"/>
                  </a:lnTo>
                  <a:cubicBezTo>
                    <a:pt x="45976" y="98439"/>
                    <a:pt x="45694" y="99004"/>
                    <a:pt x="44848" y="99004"/>
                  </a:cubicBezTo>
                  <a:cubicBezTo>
                    <a:pt x="44566" y="99004"/>
                    <a:pt x="44566" y="99286"/>
                    <a:pt x="44566" y="99286"/>
                  </a:cubicBezTo>
                  <a:cubicBezTo>
                    <a:pt x="44566" y="99286"/>
                    <a:pt x="44566" y="99568"/>
                    <a:pt x="44848" y="99568"/>
                  </a:cubicBezTo>
                  <a:cubicBezTo>
                    <a:pt x="44848" y="99850"/>
                    <a:pt x="45130" y="99850"/>
                    <a:pt x="45130" y="100132"/>
                  </a:cubicBezTo>
                  <a:cubicBezTo>
                    <a:pt x="45130" y="100414"/>
                    <a:pt x="44848" y="100696"/>
                    <a:pt x="44848" y="100696"/>
                  </a:cubicBezTo>
                  <a:cubicBezTo>
                    <a:pt x="44284" y="101260"/>
                    <a:pt x="44002" y="102106"/>
                    <a:pt x="44002" y="102952"/>
                  </a:cubicBezTo>
                  <a:cubicBezTo>
                    <a:pt x="44002" y="103234"/>
                    <a:pt x="44002" y="103517"/>
                    <a:pt x="43720" y="103799"/>
                  </a:cubicBezTo>
                  <a:cubicBezTo>
                    <a:pt x="43155" y="104363"/>
                    <a:pt x="42873" y="105491"/>
                    <a:pt x="42027" y="106055"/>
                  </a:cubicBezTo>
                  <a:cubicBezTo>
                    <a:pt x="41463" y="106337"/>
                    <a:pt x="41463" y="106901"/>
                    <a:pt x="41463" y="107183"/>
                  </a:cubicBezTo>
                  <a:cubicBezTo>
                    <a:pt x="41463" y="108030"/>
                    <a:pt x="41463" y="108594"/>
                    <a:pt x="40617" y="109440"/>
                  </a:cubicBezTo>
                  <a:cubicBezTo>
                    <a:pt x="40053" y="110004"/>
                    <a:pt x="40053" y="111132"/>
                    <a:pt x="39489" y="111978"/>
                  </a:cubicBezTo>
                  <a:cubicBezTo>
                    <a:pt x="39489" y="112542"/>
                    <a:pt x="39207" y="112825"/>
                    <a:pt x="38642" y="113107"/>
                  </a:cubicBezTo>
                  <a:cubicBezTo>
                    <a:pt x="38360" y="113389"/>
                    <a:pt x="38360" y="113671"/>
                    <a:pt x="38360" y="113953"/>
                  </a:cubicBezTo>
                  <a:lnTo>
                    <a:pt x="38360" y="114517"/>
                  </a:lnTo>
                  <a:cubicBezTo>
                    <a:pt x="38360" y="115363"/>
                    <a:pt x="38078" y="116209"/>
                    <a:pt x="37796" y="116773"/>
                  </a:cubicBezTo>
                  <a:cubicBezTo>
                    <a:pt x="37514" y="117338"/>
                    <a:pt x="37514" y="117902"/>
                    <a:pt x="37232" y="118184"/>
                  </a:cubicBezTo>
                  <a:lnTo>
                    <a:pt x="35258" y="124389"/>
                  </a:lnTo>
                  <a:cubicBezTo>
                    <a:pt x="34693" y="125799"/>
                    <a:pt x="34693" y="127492"/>
                    <a:pt x="34693" y="128902"/>
                  </a:cubicBezTo>
                  <a:cubicBezTo>
                    <a:pt x="34693" y="129184"/>
                    <a:pt x="34693" y="129748"/>
                    <a:pt x="34976" y="130030"/>
                  </a:cubicBezTo>
                  <a:lnTo>
                    <a:pt x="34976" y="130312"/>
                  </a:lnTo>
                  <a:cubicBezTo>
                    <a:pt x="34976" y="130594"/>
                    <a:pt x="34693" y="130876"/>
                    <a:pt x="34411" y="131159"/>
                  </a:cubicBezTo>
                  <a:cubicBezTo>
                    <a:pt x="33847" y="131441"/>
                    <a:pt x="33565" y="131723"/>
                    <a:pt x="33565" y="132287"/>
                  </a:cubicBezTo>
                  <a:cubicBezTo>
                    <a:pt x="33283" y="132569"/>
                    <a:pt x="33001" y="132569"/>
                    <a:pt x="32719" y="132569"/>
                  </a:cubicBezTo>
                  <a:lnTo>
                    <a:pt x="32437" y="132569"/>
                  </a:lnTo>
                  <a:lnTo>
                    <a:pt x="31027" y="131441"/>
                  </a:lnTo>
                  <a:lnTo>
                    <a:pt x="30745" y="131159"/>
                  </a:lnTo>
                  <a:cubicBezTo>
                    <a:pt x="30462" y="131159"/>
                    <a:pt x="30462" y="131441"/>
                    <a:pt x="30180" y="131723"/>
                  </a:cubicBezTo>
                  <a:lnTo>
                    <a:pt x="29616" y="133133"/>
                  </a:lnTo>
                  <a:cubicBezTo>
                    <a:pt x="29616" y="133415"/>
                    <a:pt x="29334" y="133697"/>
                    <a:pt x="29052" y="133697"/>
                  </a:cubicBezTo>
                  <a:cubicBezTo>
                    <a:pt x="28770" y="133697"/>
                    <a:pt x="28770" y="133415"/>
                    <a:pt x="28770" y="133133"/>
                  </a:cubicBezTo>
                  <a:cubicBezTo>
                    <a:pt x="28770" y="132569"/>
                    <a:pt x="28488" y="132287"/>
                    <a:pt x="27924" y="132287"/>
                  </a:cubicBezTo>
                  <a:lnTo>
                    <a:pt x="27642" y="132569"/>
                  </a:lnTo>
                  <a:lnTo>
                    <a:pt x="27642" y="133133"/>
                  </a:lnTo>
                  <a:cubicBezTo>
                    <a:pt x="27642" y="133979"/>
                    <a:pt x="27078" y="134543"/>
                    <a:pt x="27078" y="135389"/>
                  </a:cubicBezTo>
                  <a:cubicBezTo>
                    <a:pt x="27078" y="135672"/>
                    <a:pt x="26796" y="136236"/>
                    <a:pt x="26796" y="136518"/>
                  </a:cubicBezTo>
                  <a:cubicBezTo>
                    <a:pt x="26796" y="136800"/>
                    <a:pt x="26514" y="137082"/>
                    <a:pt x="26514" y="137082"/>
                  </a:cubicBezTo>
                  <a:cubicBezTo>
                    <a:pt x="26514" y="137364"/>
                    <a:pt x="26796" y="137364"/>
                    <a:pt x="27360" y="137364"/>
                  </a:cubicBezTo>
                  <a:cubicBezTo>
                    <a:pt x="27642" y="137364"/>
                    <a:pt x="27924" y="137364"/>
                    <a:pt x="27924" y="137646"/>
                  </a:cubicBezTo>
                  <a:lnTo>
                    <a:pt x="27360" y="139056"/>
                  </a:lnTo>
                  <a:cubicBezTo>
                    <a:pt x="26514" y="140185"/>
                    <a:pt x="25950" y="141595"/>
                    <a:pt x="25950" y="143005"/>
                  </a:cubicBezTo>
                  <a:cubicBezTo>
                    <a:pt x="25950" y="143851"/>
                    <a:pt x="25668" y="144697"/>
                    <a:pt x="25668" y="145544"/>
                  </a:cubicBezTo>
                  <a:cubicBezTo>
                    <a:pt x="25668" y="145826"/>
                    <a:pt x="25386" y="145826"/>
                    <a:pt x="25104" y="146108"/>
                  </a:cubicBezTo>
                  <a:lnTo>
                    <a:pt x="24821" y="146108"/>
                  </a:lnTo>
                  <a:lnTo>
                    <a:pt x="25104" y="146390"/>
                  </a:lnTo>
                  <a:cubicBezTo>
                    <a:pt x="25668" y="146672"/>
                    <a:pt x="25668" y="146672"/>
                    <a:pt x="25668" y="146954"/>
                  </a:cubicBezTo>
                  <a:cubicBezTo>
                    <a:pt x="25386" y="147236"/>
                    <a:pt x="25104" y="147518"/>
                    <a:pt x="25104" y="147800"/>
                  </a:cubicBezTo>
                  <a:cubicBezTo>
                    <a:pt x="25104" y="148082"/>
                    <a:pt x="25386" y="148082"/>
                    <a:pt x="25386" y="148364"/>
                  </a:cubicBezTo>
                  <a:cubicBezTo>
                    <a:pt x="25668" y="148646"/>
                    <a:pt x="24821" y="149210"/>
                    <a:pt x="25104" y="149493"/>
                  </a:cubicBezTo>
                  <a:lnTo>
                    <a:pt x="25104" y="149775"/>
                  </a:lnTo>
                  <a:cubicBezTo>
                    <a:pt x="25104" y="150057"/>
                    <a:pt x="25104" y="150057"/>
                    <a:pt x="24821" y="150057"/>
                  </a:cubicBezTo>
                  <a:cubicBezTo>
                    <a:pt x="24821" y="150339"/>
                    <a:pt x="24539" y="150339"/>
                    <a:pt x="24539" y="150621"/>
                  </a:cubicBezTo>
                  <a:lnTo>
                    <a:pt x="24539" y="150903"/>
                  </a:lnTo>
                  <a:cubicBezTo>
                    <a:pt x="24821" y="151749"/>
                    <a:pt x="24821" y="152595"/>
                    <a:pt x="24821" y="153441"/>
                  </a:cubicBezTo>
                  <a:cubicBezTo>
                    <a:pt x="24539" y="154006"/>
                    <a:pt x="24257" y="154570"/>
                    <a:pt x="23693" y="154852"/>
                  </a:cubicBezTo>
                  <a:cubicBezTo>
                    <a:pt x="23411" y="155134"/>
                    <a:pt x="23411" y="155134"/>
                    <a:pt x="23411" y="155416"/>
                  </a:cubicBezTo>
                  <a:cubicBezTo>
                    <a:pt x="23411" y="155698"/>
                    <a:pt x="23411" y="155698"/>
                    <a:pt x="23693" y="155980"/>
                  </a:cubicBezTo>
                  <a:cubicBezTo>
                    <a:pt x="23975" y="156262"/>
                    <a:pt x="24257" y="156544"/>
                    <a:pt x="24257" y="156826"/>
                  </a:cubicBezTo>
                  <a:lnTo>
                    <a:pt x="24257" y="157108"/>
                  </a:lnTo>
                  <a:cubicBezTo>
                    <a:pt x="23975" y="158519"/>
                    <a:pt x="23975" y="159647"/>
                    <a:pt x="23129" y="160775"/>
                  </a:cubicBezTo>
                  <a:lnTo>
                    <a:pt x="23129" y="161621"/>
                  </a:lnTo>
                  <a:cubicBezTo>
                    <a:pt x="23129" y="161903"/>
                    <a:pt x="23129" y="161903"/>
                    <a:pt x="22847" y="161903"/>
                  </a:cubicBezTo>
                  <a:cubicBezTo>
                    <a:pt x="22565" y="162185"/>
                    <a:pt x="22565" y="162467"/>
                    <a:pt x="22565" y="163031"/>
                  </a:cubicBezTo>
                  <a:cubicBezTo>
                    <a:pt x="22565" y="163314"/>
                    <a:pt x="22283" y="163596"/>
                    <a:pt x="22283" y="163878"/>
                  </a:cubicBezTo>
                  <a:cubicBezTo>
                    <a:pt x="22283" y="164724"/>
                    <a:pt x="22283" y="165288"/>
                    <a:pt x="22001" y="165852"/>
                  </a:cubicBezTo>
                  <a:lnTo>
                    <a:pt x="22001" y="167262"/>
                  </a:lnTo>
                  <a:cubicBezTo>
                    <a:pt x="22283" y="167262"/>
                    <a:pt x="22283" y="167544"/>
                    <a:pt x="22283" y="167827"/>
                  </a:cubicBezTo>
                  <a:cubicBezTo>
                    <a:pt x="22283" y="168109"/>
                    <a:pt x="22283" y="168391"/>
                    <a:pt x="22001" y="168673"/>
                  </a:cubicBezTo>
                  <a:cubicBezTo>
                    <a:pt x="21437" y="169519"/>
                    <a:pt x="20873" y="170647"/>
                    <a:pt x="20873" y="171775"/>
                  </a:cubicBezTo>
                  <a:lnTo>
                    <a:pt x="20873" y="172904"/>
                  </a:lnTo>
                  <a:lnTo>
                    <a:pt x="20308" y="174032"/>
                  </a:lnTo>
                  <a:cubicBezTo>
                    <a:pt x="20026" y="174314"/>
                    <a:pt x="20026" y="174596"/>
                    <a:pt x="20026" y="174878"/>
                  </a:cubicBezTo>
                  <a:lnTo>
                    <a:pt x="20026" y="176006"/>
                  </a:lnTo>
                  <a:cubicBezTo>
                    <a:pt x="19744" y="176288"/>
                    <a:pt x="19744" y="176288"/>
                    <a:pt x="19744" y="176570"/>
                  </a:cubicBezTo>
                  <a:cubicBezTo>
                    <a:pt x="19744" y="176852"/>
                    <a:pt x="19744" y="177135"/>
                    <a:pt x="20026" y="177135"/>
                  </a:cubicBezTo>
                  <a:lnTo>
                    <a:pt x="20308" y="177417"/>
                  </a:lnTo>
                  <a:lnTo>
                    <a:pt x="20308" y="178827"/>
                  </a:lnTo>
                  <a:cubicBezTo>
                    <a:pt x="20308" y="179391"/>
                    <a:pt x="20308" y="179955"/>
                    <a:pt x="19744" y="180237"/>
                  </a:cubicBezTo>
                  <a:cubicBezTo>
                    <a:pt x="19744" y="180237"/>
                    <a:pt x="19462" y="180519"/>
                    <a:pt x="19744" y="180519"/>
                  </a:cubicBezTo>
                  <a:cubicBezTo>
                    <a:pt x="19744" y="181083"/>
                    <a:pt x="20026" y="181365"/>
                    <a:pt x="20026" y="181648"/>
                  </a:cubicBezTo>
                  <a:cubicBezTo>
                    <a:pt x="20026" y="181930"/>
                    <a:pt x="19744" y="182494"/>
                    <a:pt x="19744" y="182776"/>
                  </a:cubicBezTo>
                  <a:lnTo>
                    <a:pt x="19462" y="183058"/>
                  </a:lnTo>
                  <a:cubicBezTo>
                    <a:pt x="19744" y="183340"/>
                    <a:pt x="19744" y="183622"/>
                    <a:pt x="19744" y="183904"/>
                  </a:cubicBezTo>
                  <a:cubicBezTo>
                    <a:pt x="19744" y="184186"/>
                    <a:pt x="19462" y="184750"/>
                    <a:pt x="19180" y="185032"/>
                  </a:cubicBezTo>
                  <a:cubicBezTo>
                    <a:pt x="18898" y="185032"/>
                    <a:pt x="18898" y="185314"/>
                    <a:pt x="18898" y="185596"/>
                  </a:cubicBezTo>
                  <a:lnTo>
                    <a:pt x="18898" y="185878"/>
                  </a:lnTo>
                  <a:cubicBezTo>
                    <a:pt x="19180" y="185878"/>
                    <a:pt x="19462" y="185878"/>
                    <a:pt x="19462" y="186161"/>
                  </a:cubicBezTo>
                  <a:cubicBezTo>
                    <a:pt x="19462" y="186443"/>
                    <a:pt x="19180" y="186725"/>
                    <a:pt x="19180" y="187007"/>
                  </a:cubicBezTo>
                  <a:lnTo>
                    <a:pt x="19180" y="190109"/>
                  </a:lnTo>
                  <a:cubicBezTo>
                    <a:pt x="19180" y="190956"/>
                    <a:pt x="19462" y="191802"/>
                    <a:pt x="19462" y="192930"/>
                  </a:cubicBezTo>
                  <a:cubicBezTo>
                    <a:pt x="19462" y="193494"/>
                    <a:pt x="19462" y="194058"/>
                    <a:pt x="19180" y="194622"/>
                  </a:cubicBezTo>
                  <a:lnTo>
                    <a:pt x="19180" y="197725"/>
                  </a:lnTo>
                  <a:lnTo>
                    <a:pt x="18616" y="199982"/>
                  </a:lnTo>
                  <a:lnTo>
                    <a:pt x="18334" y="200264"/>
                  </a:lnTo>
                  <a:cubicBezTo>
                    <a:pt x="18334" y="200264"/>
                    <a:pt x="18334" y="200546"/>
                    <a:pt x="18616" y="200546"/>
                  </a:cubicBezTo>
                  <a:cubicBezTo>
                    <a:pt x="18616" y="200828"/>
                    <a:pt x="18898" y="201110"/>
                    <a:pt x="18898" y="201392"/>
                  </a:cubicBezTo>
                  <a:cubicBezTo>
                    <a:pt x="18898" y="201674"/>
                    <a:pt x="18616" y="201674"/>
                    <a:pt x="18616" y="201956"/>
                  </a:cubicBezTo>
                  <a:cubicBezTo>
                    <a:pt x="18616" y="201956"/>
                    <a:pt x="18334" y="202238"/>
                    <a:pt x="18334" y="202520"/>
                  </a:cubicBezTo>
                  <a:cubicBezTo>
                    <a:pt x="18616" y="202802"/>
                    <a:pt x="18898" y="202802"/>
                    <a:pt x="18898" y="203084"/>
                  </a:cubicBezTo>
                  <a:lnTo>
                    <a:pt x="18616" y="203366"/>
                  </a:lnTo>
                  <a:cubicBezTo>
                    <a:pt x="18334" y="203648"/>
                    <a:pt x="18334" y="203648"/>
                    <a:pt x="18334" y="203930"/>
                  </a:cubicBezTo>
                  <a:cubicBezTo>
                    <a:pt x="18052" y="204212"/>
                    <a:pt x="18052" y="204212"/>
                    <a:pt x="18052" y="204494"/>
                  </a:cubicBezTo>
                  <a:cubicBezTo>
                    <a:pt x="18052" y="204777"/>
                    <a:pt x="18052" y="204777"/>
                    <a:pt x="18334" y="205059"/>
                  </a:cubicBezTo>
                  <a:lnTo>
                    <a:pt x="18334" y="207315"/>
                  </a:lnTo>
                  <a:cubicBezTo>
                    <a:pt x="18334" y="208161"/>
                    <a:pt x="17770" y="209007"/>
                    <a:pt x="17770" y="209854"/>
                  </a:cubicBezTo>
                  <a:lnTo>
                    <a:pt x="17770" y="210700"/>
                  </a:lnTo>
                  <a:cubicBezTo>
                    <a:pt x="18052" y="210982"/>
                    <a:pt x="18334" y="211546"/>
                    <a:pt x="18334" y="211828"/>
                  </a:cubicBezTo>
                  <a:cubicBezTo>
                    <a:pt x="18334" y="212110"/>
                    <a:pt x="18052" y="212392"/>
                    <a:pt x="18052" y="212674"/>
                  </a:cubicBezTo>
                  <a:cubicBezTo>
                    <a:pt x="17770" y="212956"/>
                    <a:pt x="17770" y="213238"/>
                    <a:pt x="17770" y="213520"/>
                  </a:cubicBezTo>
                  <a:cubicBezTo>
                    <a:pt x="17770" y="213803"/>
                    <a:pt x="17770" y="214367"/>
                    <a:pt x="18052" y="214931"/>
                  </a:cubicBezTo>
                  <a:cubicBezTo>
                    <a:pt x="18052" y="215777"/>
                    <a:pt x="18052" y="216623"/>
                    <a:pt x="17770" y="217469"/>
                  </a:cubicBezTo>
                  <a:cubicBezTo>
                    <a:pt x="17770" y="217751"/>
                    <a:pt x="17488" y="218316"/>
                    <a:pt x="17488" y="218880"/>
                  </a:cubicBezTo>
                  <a:cubicBezTo>
                    <a:pt x="17488" y="219162"/>
                    <a:pt x="17488" y="219162"/>
                    <a:pt x="17770" y="219444"/>
                  </a:cubicBezTo>
                  <a:cubicBezTo>
                    <a:pt x="18052" y="219726"/>
                    <a:pt x="18052" y="220008"/>
                    <a:pt x="18052" y="220572"/>
                  </a:cubicBezTo>
                  <a:cubicBezTo>
                    <a:pt x="17770" y="221700"/>
                    <a:pt x="17770" y="223111"/>
                    <a:pt x="17770" y="224239"/>
                  </a:cubicBezTo>
                  <a:cubicBezTo>
                    <a:pt x="17488" y="224803"/>
                    <a:pt x="17488" y="225085"/>
                    <a:pt x="17488" y="225367"/>
                  </a:cubicBezTo>
                  <a:cubicBezTo>
                    <a:pt x="17488" y="225649"/>
                    <a:pt x="17488" y="226213"/>
                    <a:pt x="17770" y="226495"/>
                  </a:cubicBezTo>
                  <a:cubicBezTo>
                    <a:pt x="17770" y="226777"/>
                    <a:pt x="18052" y="227059"/>
                    <a:pt x="18052" y="227341"/>
                  </a:cubicBezTo>
                  <a:cubicBezTo>
                    <a:pt x="18052" y="227906"/>
                    <a:pt x="17770" y="228188"/>
                    <a:pt x="17488" y="228752"/>
                  </a:cubicBezTo>
                  <a:cubicBezTo>
                    <a:pt x="17206" y="229034"/>
                    <a:pt x="17206" y="229316"/>
                    <a:pt x="17206" y="229598"/>
                  </a:cubicBezTo>
                  <a:lnTo>
                    <a:pt x="17770" y="232137"/>
                  </a:lnTo>
                  <a:cubicBezTo>
                    <a:pt x="17770" y="232701"/>
                    <a:pt x="18052" y="233265"/>
                    <a:pt x="18052" y="233829"/>
                  </a:cubicBezTo>
                  <a:cubicBezTo>
                    <a:pt x="18052" y="234393"/>
                    <a:pt x="17770" y="234957"/>
                    <a:pt x="17770" y="235521"/>
                  </a:cubicBezTo>
                  <a:lnTo>
                    <a:pt x="17770" y="238060"/>
                  </a:lnTo>
                  <a:cubicBezTo>
                    <a:pt x="18052" y="238342"/>
                    <a:pt x="18052" y="238906"/>
                    <a:pt x="18052" y="239188"/>
                  </a:cubicBezTo>
                  <a:cubicBezTo>
                    <a:pt x="17770" y="239752"/>
                    <a:pt x="17770" y="240034"/>
                    <a:pt x="17770" y="240598"/>
                  </a:cubicBezTo>
                  <a:cubicBezTo>
                    <a:pt x="17770" y="240880"/>
                    <a:pt x="17770" y="241162"/>
                    <a:pt x="18052" y="241445"/>
                  </a:cubicBezTo>
                  <a:cubicBezTo>
                    <a:pt x="18334" y="241445"/>
                    <a:pt x="18334" y="241727"/>
                    <a:pt x="18334" y="242009"/>
                  </a:cubicBezTo>
                  <a:cubicBezTo>
                    <a:pt x="18334" y="243419"/>
                    <a:pt x="18334" y="244547"/>
                    <a:pt x="18616" y="245958"/>
                  </a:cubicBezTo>
                  <a:lnTo>
                    <a:pt x="18616" y="246804"/>
                  </a:lnTo>
                  <a:cubicBezTo>
                    <a:pt x="18334" y="247086"/>
                    <a:pt x="18052" y="247368"/>
                    <a:pt x="18052" y="247932"/>
                  </a:cubicBezTo>
                  <a:cubicBezTo>
                    <a:pt x="18052" y="248214"/>
                    <a:pt x="18334" y="248778"/>
                    <a:pt x="18334" y="249060"/>
                  </a:cubicBezTo>
                  <a:lnTo>
                    <a:pt x="18334" y="249624"/>
                  </a:lnTo>
                  <a:cubicBezTo>
                    <a:pt x="18334" y="249906"/>
                    <a:pt x="18334" y="250471"/>
                    <a:pt x="18052" y="250753"/>
                  </a:cubicBezTo>
                  <a:cubicBezTo>
                    <a:pt x="18052" y="252163"/>
                    <a:pt x="18334" y="253291"/>
                    <a:pt x="18616" y="254701"/>
                  </a:cubicBezTo>
                  <a:cubicBezTo>
                    <a:pt x="18616" y="254983"/>
                    <a:pt x="18898" y="255266"/>
                    <a:pt x="18898" y="255548"/>
                  </a:cubicBezTo>
                  <a:cubicBezTo>
                    <a:pt x="18898" y="255830"/>
                    <a:pt x="18616" y="255830"/>
                    <a:pt x="18616" y="256112"/>
                  </a:cubicBezTo>
                  <a:cubicBezTo>
                    <a:pt x="18334" y="256394"/>
                    <a:pt x="18334" y="256676"/>
                    <a:pt x="18334" y="256958"/>
                  </a:cubicBezTo>
                  <a:lnTo>
                    <a:pt x="18334" y="257522"/>
                  </a:lnTo>
                  <a:cubicBezTo>
                    <a:pt x="18334" y="257804"/>
                    <a:pt x="18052" y="258086"/>
                    <a:pt x="18052" y="258086"/>
                  </a:cubicBezTo>
                  <a:cubicBezTo>
                    <a:pt x="18052" y="258368"/>
                    <a:pt x="17770" y="258086"/>
                    <a:pt x="17488" y="258086"/>
                  </a:cubicBezTo>
                  <a:cubicBezTo>
                    <a:pt x="17206" y="258086"/>
                    <a:pt x="17206" y="257804"/>
                    <a:pt x="17206" y="257804"/>
                  </a:cubicBezTo>
                  <a:lnTo>
                    <a:pt x="16924" y="258086"/>
                  </a:lnTo>
                  <a:cubicBezTo>
                    <a:pt x="16642" y="258932"/>
                    <a:pt x="16077" y="259779"/>
                    <a:pt x="15231" y="260061"/>
                  </a:cubicBezTo>
                  <a:cubicBezTo>
                    <a:pt x="15231" y="260061"/>
                    <a:pt x="14667" y="260343"/>
                    <a:pt x="14667" y="260625"/>
                  </a:cubicBezTo>
                  <a:cubicBezTo>
                    <a:pt x="14385" y="260907"/>
                    <a:pt x="14103" y="261189"/>
                    <a:pt x="13821" y="261189"/>
                  </a:cubicBezTo>
                  <a:cubicBezTo>
                    <a:pt x="13539" y="261189"/>
                    <a:pt x="13539" y="260907"/>
                    <a:pt x="13257" y="260907"/>
                  </a:cubicBezTo>
                  <a:cubicBezTo>
                    <a:pt x="12975" y="260625"/>
                    <a:pt x="12128" y="260907"/>
                    <a:pt x="11564" y="260343"/>
                  </a:cubicBezTo>
                  <a:cubicBezTo>
                    <a:pt x="11846" y="260061"/>
                    <a:pt x="11282" y="260343"/>
                    <a:pt x="11282" y="260625"/>
                  </a:cubicBezTo>
                  <a:cubicBezTo>
                    <a:pt x="11282" y="260907"/>
                    <a:pt x="11282" y="261471"/>
                    <a:pt x="11000" y="261753"/>
                  </a:cubicBezTo>
                  <a:cubicBezTo>
                    <a:pt x="11000" y="262035"/>
                    <a:pt x="11000" y="262035"/>
                    <a:pt x="10718" y="262317"/>
                  </a:cubicBezTo>
                  <a:lnTo>
                    <a:pt x="10154" y="262317"/>
                  </a:lnTo>
                  <a:cubicBezTo>
                    <a:pt x="9590" y="261753"/>
                    <a:pt x="9026" y="261471"/>
                    <a:pt x="8744" y="260625"/>
                  </a:cubicBezTo>
                  <a:lnTo>
                    <a:pt x="8744" y="260343"/>
                  </a:lnTo>
                  <a:cubicBezTo>
                    <a:pt x="8744" y="259779"/>
                    <a:pt x="8462" y="259779"/>
                    <a:pt x="7898" y="259214"/>
                  </a:cubicBezTo>
                  <a:lnTo>
                    <a:pt x="7616" y="259214"/>
                  </a:lnTo>
                  <a:lnTo>
                    <a:pt x="7616" y="260343"/>
                  </a:lnTo>
                  <a:cubicBezTo>
                    <a:pt x="7616" y="260625"/>
                    <a:pt x="7616" y="260907"/>
                    <a:pt x="7898" y="261189"/>
                  </a:cubicBezTo>
                  <a:cubicBezTo>
                    <a:pt x="7898" y="261471"/>
                    <a:pt x="8180" y="261471"/>
                    <a:pt x="8180" y="261753"/>
                  </a:cubicBezTo>
                  <a:cubicBezTo>
                    <a:pt x="8180" y="262035"/>
                    <a:pt x="7898" y="262035"/>
                    <a:pt x="7616" y="262317"/>
                  </a:cubicBezTo>
                  <a:cubicBezTo>
                    <a:pt x="7616" y="262599"/>
                    <a:pt x="7334" y="262881"/>
                    <a:pt x="7334" y="262881"/>
                  </a:cubicBezTo>
                  <a:lnTo>
                    <a:pt x="7052" y="263163"/>
                  </a:lnTo>
                  <a:cubicBezTo>
                    <a:pt x="7052" y="263163"/>
                    <a:pt x="6770" y="263163"/>
                    <a:pt x="6770" y="262881"/>
                  </a:cubicBezTo>
                  <a:cubicBezTo>
                    <a:pt x="6487" y="262599"/>
                    <a:pt x="6205" y="262035"/>
                    <a:pt x="6205" y="261471"/>
                  </a:cubicBezTo>
                  <a:lnTo>
                    <a:pt x="5641" y="261471"/>
                  </a:lnTo>
                  <a:cubicBezTo>
                    <a:pt x="5641" y="261753"/>
                    <a:pt x="5359" y="262317"/>
                    <a:pt x="5359" y="262599"/>
                  </a:cubicBezTo>
                  <a:cubicBezTo>
                    <a:pt x="5359" y="262881"/>
                    <a:pt x="5359" y="263163"/>
                    <a:pt x="5641" y="263163"/>
                  </a:cubicBezTo>
                  <a:lnTo>
                    <a:pt x="5641" y="264292"/>
                  </a:lnTo>
                  <a:cubicBezTo>
                    <a:pt x="5641" y="264574"/>
                    <a:pt x="5641" y="264856"/>
                    <a:pt x="5923" y="265138"/>
                  </a:cubicBezTo>
                  <a:cubicBezTo>
                    <a:pt x="5923" y="265138"/>
                    <a:pt x="5641" y="265420"/>
                    <a:pt x="5641" y="265138"/>
                  </a:cubicBezTo>
                  <a:cubicBezTo>
                    <a:pt x="5359" y="265138"/>
                    <a:pt x="5077" y="264856"/>
                    <a:pt x="4795" y="264856"/>
                  </a:cubicBezTo>
                  <a:cubicBezTo>
                    <a:pt x="4513" y="264574"/>
                    <a:pt x="4231" y="264292"/>
                    <a:pt x="4231" y="264009"/>
                  </a:cubicBezTo>
                  <a:cubicBezTo>
                    <a:pt x="4231" y="263445"/>
                    <a:pt x="4231" y="262881"/>
                    <a:pt x="3949" y="262317"/>
                  </a:cubicBezTo>
                  <a:cubicBezTo>
                    <a:pt x="3667" y="262035"/>
                    <a:pt x="3667" y="261471"/>
                    <a:pt x="3667" y="260907"/>
                  </a:cubicBezTo>
                  <a:lnTo>
                    <a:pt x="3667" y="260061"/>
                  </a:lnTo>
                  <a:cubicBezTo>
                    <a:pt x="3667" y="259496"/>
                    <a:pt x="3385" y="258932"/>
                    <a:pt x="2821" y="258650"/>
                  </a:cubicBezTo>
                  <a:cubicBezTo>
                    <a:pt x="2539" y="258368"/>
                    <a:pt x="2256" y="258086"/>
                    <a:pt x="2256" y="257522"/>
                  </a:cubicBezTo>
                  <a:cubicBezTo>
                    <a:pt x="2256" y="257240"/>
                    <a:pt x="2539" y="256676"/>
                    <a:pt x="2539" y="256394"/>
                  </a:cubicBezTo>
                  <a:cubicBezTo>
                    <a:pt x="2539" y="256112"/>
                    <a:pt x="2539" y="255830"/>
                    <a:pt x="2256" y="255266"/>
                  </a:cubicBezTo>
                  <a:cubicBezTo>
                    <a:pt x="1974" y="254983"/>
                    <a:pt x="1692" y="254701"/>
                    <a:pt x="1692" y="254419"/>
                  </a:cubicBezTo>
                  <a:cubicBezTo>
                    <a:pt x="1692" y="254137"/>
                    <a:pt x="1692" y="253855"/>
                    <a:pt x="1974" y="253573"/>
                  </a:cubicBezTo>
                  <a:cubicBezTo>
                    <a:pt x="1974" y="253291"/>
                    <a:pt x="1974" y="253009"/>
                    <a:pt x="1692" y="252727"/>
                  </a:cubicBezTo>
                  <a:cubicBezTo>
                    <a:pt x="1410" y="252445"/>
                    <a:pt x="1128" y="251881"/>
                    <a:pt x="1128" y="251599"/>
                  </a:cubicBezTo>
                  <a:cubicBezTo>
                    <a:pt x="1128" y="251317"/>
                    <a:pt x="1410" y="251035"/>
                    <a:pt x="1410" y="250753"/>
                  </a:cubicBezTo>
                  <a:cubicBezTo>
                    <a:pt x="1692" y="249906"/>
                    <a:pt x="1974" y="249342"/>
                    <a:pt x="1974" y="248496"/>
                  </a:cubicBezTo>
                  <a:lnTo>
                    <a:pt x="1974" y="247650"/>
                  </a:lnTo>
                  <a:cubicBezTo>
                    <a:pt x="2256" y="247368"/>
                    <a:pt x="2256" y="247368"/>
                    <a:pt x="2256" y="247086"/>
                  </a:cubicBezTo>
                  <a:cubicBezTo>
                    <a:pt x="2256" y="246804"/>
                    <a:pt x="1974" y="246522"/>
                    <a:pt x="1974" y="246240"/>
                  </a:cubicBezTo>
                  <a:cubicBezTo>
                    <a:pt x="1692" y="245958"/>
                    <a:pt x="1410" y="245393"/>
                    <a:pt x="1410" y="244829"/>
                  </a:cubicBezTo>
                  <a:cubicBezTo>
                    <a:pt x="1410" y="244547"/>
                    <a:pt x="1410" y="244265"/>
                    <a:pt x="1692" y="243983"/>
                  </a:cubicBezTo>
                  <a:cubicBezTo>
                    <a:pt x="1974" y="243983"/>
                    <a:pt x="1692" y="243701"/>
                    <a:pt x="1410" y="243701"/>
                  </a:cubicBezTo>
                  <a:cubicBezTo>
                    <a:pt x="1128" y="243701"/>
                    <a:pt x="846" y="243701"/>
                    <a:pt x="846" y="243137"/>
                  </a:cubicBezTo>
                  <a:cubicBezTo>
                    <a:pt x="846" y="242009"/>
                    <a:pt x="564" y="240880"/>
                    <a:pt x="564" y="239752"/>
                  </a:cubicBezTo>
                  <a:cubicBezTo>
                    <a:pt x="282" y="239470"/>
                    <a:pt x="282" y="238906"/>
                    <a:pt x="0" y="238342"/>
                  </a:cubicBezTo>
                  <a:cubicBezTo>
                    <a:pt x="0" y="238060"/>
                    <a:pt x="0" y="237778"/>
                    <a:pt x="282" y="237214"/>
                  </a:cubicBezTo>
                  <a:lnTo>
                    <a:pt x="282" y="229034"/>
                  </a:lnTo>
                  <a:cubicBezTo>
                    <a:pt x="282" y="228470"/>
                    <a:pt x="564" y="227624"/>
                    <a:pt x="564" y="227059"/>
                  </a:cubicBezTo>
                  <a:cubicBezTo>
                    <a:pt x="564" y="226777"/>
                    <a:pt x="564" y="226495"/>
                    <a:pt x="282" y="226213"/>
                  </a:cubicBezTo>
                  <a:lnTo>
                    <a:pt x="282" y="225085"/>
                  </a:lnTo>
                  <a:cubicBezTo>
                    <a:pt x="282" y="224803"/>
                    <a:pt x="282" y="224521"/>
                    <a:pt x="564" y="223957"/>
                  </a:cubicBezTo>
                  <a:lnTo>
                    <a:pt x="564" y="221700"/>
                  </a:lnTo>
                  <a:lnTo>
                    <a:pt x="1128" y="220290"/>
                  </a:lnTo>
                  <a:cubicBezTo>
                    <a:pt x="1410" y="220290"/>
                    <a:pt x="1410" y="220008"/>
                    <a:pt x="1410" y="219726"/>
                  </a:cubicBezTo>
                  <a:lnTo>
                    <a:pt x="1410" y="219444"/>
                  </a:lnTo>
                  <a:cubicBezTo>
                    <a:pt x="1128" y="219162"/>
                    <a:pt x="1128" y="218880"/>
                    <a:pt x="1128" y="218598"/>
                  </a:cubicBezTo>
                  <a:cubicBezTo>
                    <a:pt x="1128" y="218033"/>
                    <a:pt x="1410" y="217469"/>
                    <a:pt x="1692" y="216905"/>
                  </a:cubicBezTo>
                  <a:cubicBezTo>
                    <a:pt x="1692" y="216623"/>
                    <a:pt x="1974" y="216341"/>
                    <a:pt x="1974" y="216059"/>
                  </a:cubicBezTo>
                  <a:cubicBezTo>
                    <a:pt x="1974" y="215777"/>
                    <a:pt x="1692" y="215777"/>
                    <a:pt x="1692" y="215495"/>
                  </a:cubicBezTo>
                  <a:cubicBezTo>
                    <a:pt x="1410" y="215495"/>
                    <a:pt x="1410" y="215213"/>
                    <a:pt x="1410" y="215213"/>
                  </a:cubicBezTo>
                  <a:cubicBezTo>
                    <a:pt x="1692" y="214931"/>
                    <a:pt x="1692" y="214649"/>
                    <a:pt x="1692" y="214367"/>
                  </a:cubicBezTo>
                  <a:cubicBezTo>
                    <a:pt x="1692" y="213803"/>
                    <a:pt x="1410" y="212956"/>
                    <a:pt x="1128" y="212392"/>
                  </a:cubicBezTo>
                  <a:cubicBezTo>
                    <a:pt x="1128" y="212110"/>
                    <a:pt x="1128" y="211828"/>
                    <a:pt x="846" y="211546"/>
                  </a:cubicBezTo>
                  <a:lnTo>
                    <a:pt x="846" y="207033"/>
                  </a:lnTo>
                  <a:cubicBezTo>
                    <a:pt x="846" y="206469"/>
                    <a:pt x="1128" y="205905"/>
                    <a:pt x="1128" y="205623"/>
                  </a:cubicBezTo>
                  <a:lnTo>
                    <a:pt x="1128" y="201110"/>
                  </a:lnTo>
                  <a:lnTo>
                    <a:pt x="1692" y="198853"/>
                  </a:lnTo>
                  <a:lnTo>
                    <a:pt x="1692" y="197443"/>
                  </a:lnTo>
                  <a:cubicBezTo>
                    <a:pt x="1692" y="196315"/>
                    <a:pt x="1692" y="195469"/>
                    <a:pt x="1974" y="194340"/>
                  </a:cubicBezTo>
                  <a:cubicBezTo>
                    <a:pt x="1974" y="194058"/>
                    <a:pt x="1974" y="193776"/>
                    <a:pt x="2256" y="193494"/>
                  </a:cubicBezTo>
                  <a:cubicBezTo>
                    <a:pt x="2539" y="193212"/>
                    <a:pt x="2539" y="193212"/>
                    <a:pt x="2539" y="192930"/>
                  </a:cubicBezTo>
                  <a:lnTo>
                    <a:pt x="2539" y="192366"/>
                  </a:lnTo>
                  <a:cubicBezTo>
                    <a:pt x="2256" y="192084"/>
                    <a:pt x="2256" y="191802"/>
                    <a:pt x="2256" y="191520"/>
                  </a:cubicBezTo>
                  <a:lnTo>
                    <a:pt x="2256" y="186725"/>
                  </a:lnTo>
                  <a:cubicBezTo>
                    <a:pt x="2256" y="186443"/>
                    <a:pt x="2256" y="185878"/>
                    <a:pt x="2539" y="185314"/>
                  </a:cubicBezTo>
                  <a:cubicBezTo>
                    <a:pt x="2539" y="184186"/>
                    <a:pt x="2821" y="183340"/>
                    <a:pt x="3103" y="182212"/>
                  </a:cubicBezTo>
                  <a:cubicBezTo>
                    <a:pt x="3103" y="181930"/>
                    <a:pt x="3385" y="181930"/>
                    <a:pt x="3385" y="181648"/>
                  </a:cubicBezTo>
                  <a:cubicBezTo>
                    <a:pt x="3385" y="181365"/>
                    <a:pt x="3103" y="181083"/>
                    <a:pt x="3103" y="180801"/>
                  </a:cubicBezTo>
                  <a:cubicBezTo>
                    <a:pt x="2821" y="180519"/>
                    <a:pt x="2821" y="180237"/>
                    <a:pt x="2821" y="179955"/>
                  </a:cubicBezTo>
                  <a:cubicBezTo>
                    <a:pt x="3667" y="179109"/>
                    <a:pt x="3667" y="177981"/>
                    <a:pt x="3667" y="177135"/>
                  </a:cubicBezTo>
                  <a:cubicBezTo>
                    <a:pt x="3667" y="176570"/>
                    <a:pt x="3949" y="176006"/>
                    <a:pt x="4513" y="175724"/>
                  </a:cubicBezTo>
                  <a:cubicBezTo>
                    <a:pt x="4513" y="175442"/>
                    <a:pt x="4795" y="175442"/>
                    <a:pt x="4795" y="175160"/>
                  </a:cubicBezTo>
                  <a:cubicBezTo>
                    <a:pt x="4795" y="174878"/>
                    <a:pt x="4513" y="174596"/>
                    <a:pt x="4513" y="174314"/>
                  </a:cubicBezTo>
                  <a:cubicBezTo>
                    <a:pt x="4231" y="174032"/>
                    <a:pt x="3949" y="174032"/>
                    <a:pt x="3949" y="173750"/>
                  </a:cubicBezTo>
                  <a:cubicBezTo>
                    <a:pt x="3949" y="173468"/>
                    <a:pt x="4231" y="173186"/>
                    <a:pt x="4231" y="173186"/>
                  </a:cubicBezTo>
                  <a:cubicBezTo>
                    <a:pt x="4795" y="172339"/>
                    <a:pt x="4795" y="171775"/>
                    <a:pt x="4795" y="170929"/>
                  </a:cubicBezTo>
                  <a:lnTo>
                    <a:pt x="4795" y="170365"/>
                  </a:lnTo>
                  <a:cubicBezTo>
                    <a:pt x="4795" y="170083"/>
                    <a:pt x="4795" y="169801"/>
                    <a:pt x="5077" y="169519"/>
                  </a:cubicBezTo>
                  <a:lnTo>
                    <a:pt x="5077" y="168955"/>
                  </a:lnTo>
                  <a:cubicBezTo>
                    <a:pt x="5077" y="168391"/>
                    <a:pt x="5359" y="167544"/>
                    <a:pt x="5359" y="166980"/>
                  </a:cubicBezTo>
                  <a:cubicBezTo>
                    <a:pt x="5359" y="165570"/>
                    <a:pt x="5641" y="164442"/>
                    <a:pt x="6205" y="163031"/>
                  </a:cubicBezTo>
                  <a:cubicBezTo>
                    <a:pt x="6205" y="162749"/>
                    <a:pt x="6487" y="162749"/>
                    <a:pt x="6487" y="162467"/>
                  </a:cubicBezTo>
                  <a:cubicBezTo>
                    <a:pt x="6770" y="162185"/>
                    <a:pt x="6770" y="162185"/>
                    <a:pt x="6770" y="161903"/>
                  </a:cubicBezTo>
                  <a:cubicBezTo>
                    <a:pt x="6770" y="161903"/>
                    <a:pt x="6770" y="161621"/>
                    <a:pt x="6487" y="161057"/>
                  </a:cubicBezTo>
                  <a:cubicBezTo>
                    <a:pt x="6205" y="160493"/>
                    <a:pt x="6205" y="159929"/>
                    <a:pt x="6205" y="159365"/>
                  </a:cubicBezTo>
                  <a:cubicBezTo>
                    <a:pt x="6487" y="158519"/>
                    <a:pt x="6487" y="157954"/>
                    <a:pt x="7334" y="157672"/>
                  </a:cubicBezTo>
                  <a:cubicBezTo>
                    <a:pt x="7334" y="157672"/>
                    <a:pt x="7616" y="157390"/>
                    <a:pt x="7616" y="157108"/>
                  </a:cubicBezTo>
                  <a:lnTo>
                    <a:pt x="7616" y="156826"/>
                  </a:lnTo>
                  <a:cubicBezTo>
                    <a:pt x="7616" y="156544"/>
                    <a:pt x="7616" y="156544"/>
                    <a:pt x="7334" y="156262"/>
                  </a:cubicBezTo>
                  <a:cubicBezTo>
                    <a:pt x="7334" y="155980"/>
                    <a:pt x="7052" y="155698"/>
                    <a:pt x="7052" y="155698"/>
                  </a:cubicBezTo>
                  <a:cubicBezTo>
                    <a:pt x="7052" y="155416"/>
                    <a:pt x="7334" y="155416"/>
                    <a:pt x="7616" y="155134"/>
                  </a:cubicBezTo>
                  <a:lnTo>
                    <a:pt x="7898" y="154852"/>
                  </a:lnTo>
                  <a:cubicBezTo>
                    <a:pt x="8180" y="154852"/>
                    <a:pt x="7898" y="154570"/>
                    <a:pt x="7616" y="154570"/>
                  </a:cubicBezTo>
                  <a:cubicBezTo>
                    <a:pt x="7334" y="154570"/>
                    <a:pt x="7052" y="154288"/>
                    <a:pt x="7052" y="154288"/>
                  </a:cubicBezTo>
                  <a:lnTo>
                    <a:pt x="7616" y="153723"/>
                  </a:lnTo>
                  <a:cubicBezTo>
                    <a:pt x="7616" y="153723"/>
                    <a:pt x="7616" y="153441"/>
                    <a:pt x="7898" y="153159"/>
                  </a:cubicBezTo>
                  <a:cubicBezTo>
                    <a:pt x="7898" y="153159"/>
                    <a:pt x="8180" y="152877"/>
                    <a:pt x="8180" y="152595"/>
                  </a:cubicBezTo>
                  <a:cubicBezTo>
                    <a:pt x="8180" y="152313"/>
                    <a:pt x="7898" y="152313"/>
                    <a:pt x="7898" y="152031"/>
                  </a:cubicBezTo>
                  <a:cubicBezTo>
                    <a:pt x="7616" y="152031"/>
                    <a:pt x="7616" y="151749"/>
                    <a:pt x="7616" y="151749"/>
                  </a:cubicBezTo>
                  <a:cubicBezTo>
                    <a:pt x="7334" y="151467"/>
                    <a:pt x="7334" y="151467"/>
                    <a:pt x="7334" y="151185"/>
                  </a:cubicBezTo>
                  <a:cubicBezTo>
                    <a:pt x="7334" y="150903"/>
                    <a:pt x="7334" y="150903"/>
                    <a:pt x="7616" y="150621"/>
                  </a:cubicBezTo>
                  <a:lnTo>
                    <a:pt x="8744" y="149493"/>
                  </a:lnTo>
                  <a:cubicBezTo>
                    <a:pt x="8744" y="149210"/>
                    <a:pt x="9026" y="149210"/>
                    <a:pt x="9026" y="148928"/>
                  </a:cubicBezTo>
                  <a:cubicBezTo>
                    <a:pt x="9026" y="148646"/>
                    <a:pt x="8744" y="148364"/>
                    <a:pt x="8744" y="148082"/>
                  </a:cubicBezTo>
                  <a:cubicBezTo>
                    <a:pt x="8462" y="148082"/>
                    <a:pt x="8462" y="147800"/>
                    <a:pt x="8462" y="147518"/>
                  </a:cubicBezTo>
                  <a:cubicBezTo>
                    <a:pt x="8744" y="147236"/>
                    <a:pt x="8744" y="146954"/>
                    <a:pt x="8744" y="146672"/>
                  </a:cubicBezTo>
                  <a:cubicBezTo>
                    <a:pt x="8462" y="146390"/>
                    <a:pt x="8462" y="145826"/>
                    <a:pt x="8462" y="145262"/>
                  </a:cubicBezTo>
                  <a:lnTo>
                    <a:pt x="8462" y="144697"/>
                  </a:lnTo>
                  <a:cubicBezTo>
                    <a:pt x="8744" y="144133"/>
                    <a:pt x="8744" y="143287"/>
                    <a:pt x="9590" y="142723"/>
                  </a:cubicBezTo>
                  <a:lnTo>
                    <a:pt x="9590" y="142441"/>
                  </a:lnTo>
                  <a:cubicBezTo>
                    <a:pt x="9590" y="142159"/>
                    <a:pt x="9308" y="141877"/>
                    <a:pt x="9308" y="141595"/>
                  </a:cubicBezTo>
                  <a:cubicBezTo>
                    <a:pt x="9308" y="140749"/>
                    <a:pt x="9872" y="140185"/>
                    <a:pt x="10436" y="139620"/>
                  </a:cubicBezTo>
                  <a:lnTo>
                    <a:pt x="10718" y="139338"/>
                  </a:lnTo>
                  <a:lnTo>
                    <a:pt x="10154" y="138774"/>
                  </a:lnTo>
                  <a:cubicBezTo>
                    <a:pt x="9872" y="138774"/>
                    <a:pt x="9590" y="138492"/>
                    <a:pt x="9590" y="138210"/>
                  </a:cubicBezTo>
                  <a:cubicBezTo>
                    <a:pt x="9590" y="138210"/>
                    <a:pt x="9590" y="137928"/>
                    <a:pt x="9872" y="137928"/>
                  </a:cubicBezTo>
                  <a:lnTo>
                    <a:pt x="10154" y="137646"/>
                  </a:lnTo>
                  <a:lnTo>
                    <a:pt x="10154" y="137082"/>
                  </a:lnTo>
                  <a:cubicBezTo>
                    <a:pt x="10154" y="136800"/>
                    <a:pt x="10436" y="136518"/>
                    <a:pt x="10718" y="136518"/>
                  </a:cubicBezTo>
                  <a:cubicBezTo>
                    <a:pt x="11000" y="136518"/>
                    <a:pt x="11282" y="136236"/>
                    <a:pt x="11282" y="135954"/>
                  </a:cubicBezTo>
                  <a:cubicBezTo>
                    <a:pt x="11000" y="135672"/>
                    <a:pt x="11000" y="135389"/>
                    <a:pt x="11000" y="135107"/>
                  </a:cubicBezTo>
                  <a:cubicBezTo>
                    <a:pt x="11000" y="134825"/>
                    <a:pt x="11000" y="134543"/>
                    <a:pt x="11282" y="133979"/>
                  </a:cubicBezTo>
                  <a:lnTo>
                    <a:pt x="11282" y="133697"/>
                  </a:lnTo>
                  <a:cubicBezTo>
                    <a:pt x="11282" y="133133"/>
                    <a:pt x="11282" y="132287"/>
                    <a:pt x="11564" y="131723"/>
                  </a:cubicBezTo>
                  <a:cubicBezTo>
                    <a:pt x="15795" y="115645"/>
                    <a:pt x="17206" y="100696"/>
                    <a:pt x="21719" y="84618"/>
                  </a:cubicBezTo>
                  <a:lnTo>
                    <a:pt x="21719" y="84336"/>
                  </a:lnTo>
                  <a:cubicBezTo>
                    <a:pt x="22565" y="82926"/>
                    <a:pt x="23411" y="81516"/>
                    <a:pt x="23975" y="79823"/>
                  </a:cubicBezTo>
                  <a:cubicBezTo>
                    <a:pt x="24257" y="79541"/>
                    <a:pt x="24539" y="79259"/>
                    <a:pt x="24539" y="78977"/>
                  </a:cubicBezTo>
                  <a:cubicBezTo>
                    <a:pt x="24821" y="78695"/>
                    <a:pt x="24821" y="78413"/>
                    <a:pt x="24821" y="78131"/>
                  </a:cubicBezTo>
                  <a:lnTo>
                    <a:pt x="24821" y="77567"/>
                  </a:lnTo>
                  <a:cubicBezTo>
                    <a:pt x="24821" y="77285"/>
                    <a:pt x="24821" y="76721"/>
                    <a:pt x="25104" y="76439"/>
                  </a:cubicBezTo>
                  <a:cubicBezTo>
                    <a:pt x="25668" y="75875"/>
                    <a:pt x="25950" y="75592"/>
                    <a:pt x="25950" y="75028"/>
                  </a:cubicBezTo>
                  <a:cubicBezTo>
                    <a:pt x="25950" y="74464"/>
                    <a:pt x="25950" y="73618"/>
                    <a:pt x="26796" y="73054"/>
                  </a:cubicBezTo>
                  <a:lnTo>
                    <a:pt x="26796" y="72208"/>
                  </a:lnTo>
                  <a:cubicBezTo>
                    <a:pt x="27078" y="71079"/>
                    <a:pt x="27360" y="69951"/>
                    <a:pt x="27924" y="68823"/>
                  </a:cubicBezTo>
                  <a:cubicBezTo>
                    <a:pt x="28206" y="68823"/>
                    <a:pt x="28206" y="68541"/>
                    <a:pt x="28206" y="68259"/>
                  </a:cubicBezTo>
                  <a:cubicBezTo>
                    <a:pt x="28206" y="67131"/>
                    <a:pt x="28770" y="66002"/>
                    <a:pt x="28770" y="64874"/>
                  </a:cubicBezTo>
                  <a:cubicBezTo>
                    <a:pt x="28770" y="64592"/>
                    <a:pt x="29052" y="64310"/>
                    <a:pt x="29052" y="64028"/>
                  </a:cubicBezTo>
                  <a:lnTo>
                    <a:pt x="35258" y="47104"/>
                  </a:lnTo>
                  <a:cubicBezTo>
                    <a:pt x="35540" y="45694"/>
                    <a:pt x="36104" y="44284"/>
                    <a:pt x="36950" y="42873"/>
                  </a:cubicBezTo>
                  <a:cubicBezTo>
                    <a:pt x="37232" y="41463"/>
                    <a:pt x="37796" y="40053"/>
                    <a:pt x="38360" y="38642"/>
                  </a:cubicBezTo>
                  <a:cubicBezTo>
                    <a:pt x="38642" y="37514"/>
                    <a:pt x="38924" y="36668"/>
                    <a:pt x="39489" y="35822"/>
                  </a:cubicBezTo>
                  <a:lnTo>
                    <a:pt x="40335" y="33283"/>
                  </a:lnTo>
                  <a:cubicBezTo>
                    <a:pt x="40899" y="32719"/>
                    <a:pt x="41181" y="31873"/>
                    <a:pt x="41463" y="31027"/>
                  </a:cubicBezTo>
                  <a:lnTo>
                    <a:pt x="41463" y="30463"/>
                  </a:lnTo>
                  <a:lnTo>
                    <a:pt x="43155" y="26514"/>
                  </a:lnTo>
                  <a:cubicBezTo>
                    <a:pt x="43155" y="25950"/>
                    <a:pt x="43438" y="25103"/>
                    <a:pt x="43720" y="24539"/>
                  </a:cubicBezTo>
                  <a:lnTo>
                    <a:pt x="44284" y="23411"/>
                  </a:lnTo>
                  <a:lnTo>
                    <a:pt x="44566" y="23129"/>
                  </a:lnTo>
                  <a:lnTo>
                    <a:pt x="44566" y="22565"/>
                  </a:lnTo>
                  <a:cubicBezTo>
                    <a:pt x="44566" y="21719"/>
                    <a:pt x="45130" y="21155"/>
                    <a:pt x="45412" y="20308"/>
                  </a:cubicBezTo>
                  <a:cubicBezTo>
                    <a:pt x="46258" y="18334"/>
                    <a:pt x="46540" y="16642"/>
                    <a:pt x="47386" y="14667"/>
                  </a:cubicBezTo>
                  <a:cubicBezTo>
                    <a:pt x="47668" y="13821"/>
                    <a:pt x="47950" y="12693"/>
                    <a:pt x="48514" y="11565"/>
                  </a:cubicBezTo>
                  <a:lnTo>
                    <a:pt x="49079" y="9308"/>
                  </a:lnTo>
                  <a:cubicBezTo>
                    <a:pt x="49079" y="8744"/>
                    <a:pt x="49643" y="8180"/>
                    <a:pt x="49925" y="7616"/>
                  </a:cubicBezTo>
                  <a:cubicBezTo>
                    <a:pt x="50207" y="6205"/>
                    <a:pt x="51053" y="5077"/>
                    <a:pt x="51617" y="3667"/>
                  </a:cubicBezTo>
                  <a:cubicBezTo>
                    <a:pt x="51617" y="3385"/>
                    <a:pt x="51899" y="3103"/>
                    <a:pt x="51899" y="2821"/>
                  </a:cubicBezTo>
                  <a:lnTo>
                    <a:pt x="53874" y="1128"/>
                  </a:lnTo>
                  <a:cubicBezTo>
                    <a:pt x="54156" y="846"/>
                    <a:pt x="54438" y="564"/>
                    <a:pt x="54720" y="564"/>
                  </a:cubicBezTo>
                  <a:cubicBezTo>
                    <a:pt x="55002" y="282"/>
                    <a:pt x="55566" y="282"/>
                    <a:pt x="55848" y="282"/>
                  </a:cubicBezTo>
                  <a:cubicBezTo>
                    <a:pt x="56130" y="0"/>
                    <a:pt x="56412" y="0"/>
                    <a:pt x="56694" y="0"/>
                  </a:cubicBezTo>
                  <a:cubicBezTo>
                    <a:pt x="56976" y="0"/>
                    <a:pt x="56976" y="0"/>
                    <a:pt x="57258" y="282"/>
                  </a:cubicBezTo>
                  <a:cubicBezTo>
                    <a:pt x="57823" y="1128"/>
                    <a:pt x="58951" y="1410"/>
                    <a:pt x="59233" y="2539"/>
                  </a:cubicBezTo>
                  <a:lnTo>
                    <a:pt x="59515" y="2821"/>
                  </a:lnTo>
                  <a:cubicBezTo>
                    <a:pt x="59797" y="2539"/>
                    <a:pt x="60079" y="2256"/>
                    <a:pt x="60361" y="2256"/>
                  </a:cubicBezTo>
                  <a:cubicBezTo>
                    <a:pt x="60643" y="2256"/>
                    <a:pt x="60925" y="2539"/>
                    <a:pt x="61207" y="2821"/>
                  </a:cubicBezTo>
                  <a:lnTo>
                    <a:pt x="61772" y="3385"/>
                  </a:lnTo>
                  <a:cubicBezTo>
                    <a:pt x="61772" y="3667"/>
                    <a:pt x="62054" y="3667"/>
                    <a:pt x="62054" y="3667"/>
                  </a:cubicBezTo>
                  <a:lnTo>
                    <a:pt x="62336" y="3385"/>
                  </a:lnTo>
                  <a:cubicBezTo>
                    <a:pt x="62618" y="3385"/>
                    <a:pt x="62900" y="3385"/>
                    <a:pt x="63182" y="3667"/>
                  </a:cubicBezTo>
                  <a:cubicBezTo>
                    <a:pt x="63464" y="3949"/>
                    <a:pt x="63746" y="3949"/>
                    <a:pt x="64310" y="3949"/>
                  </a:cubicBezTo>
                  <a:cubicBezTo>
                    <a:pt x="64592" y="3949"/>
                    <a:pt x="64874" y="3667"/>
                    <a:pt x="65438" y="3667"/>
                  </a:cubicBezTo>
                  <a:cubicBezTo>
                    <a:pt x="65720" y="3667"/>
                    <a:pt x="66284" y="3949"/>
                    <a:pt x="66848" y="4231"/>
                  </a:cubicBezTo>
                  <a:lnTo>
                    <a:pt x="67413" y="4231"/>
                  </a:lnTo>
                  <a:cubicBezTo>
                    <a:pt x="67695" y="3949"/>
                    <a:pt x="67695" y="3949"/>
                    <a:pt x="67977" y="3949"/>
                  </a:cubicBezTo>
                  <a:cubicBezTo>
                    <a:pt x="68541" y="3949"/>
                    <a:pt x="69105" y="4513"/>
                    <a:pt x="69387" y="4795"/>
                  </a:cubicBezTo>
                  <a:cubicBezTo>
                    <a:pt x="69669" y="5077"/>
                    <a:pt x="69669" y="5359"/>
                    <a:pt x="69669" y="5359"/>
                  </a:cubicBezTo>
                  <a:cubicBezTo>
                    <a:pt x="69105" y="5923"/>
                    <a:pt x="69105" y="6487"/>
                    <a:pt x="68823" y="7052"/>
                  </a:cubicBezTo>
                  <a:lnTo>
                    <a:pt x="67977" y="9026"/>
                  </a:lnTo>
                  <a:lnTo>
                    <a:pt x="67977" y="9590"/>
                  </a:lnTo>
                  <a:cubicBezTo>
                    <a:pt x="67413" y="10436"/>
                    <a:pt x="67130" y="11282"/>
                    <a:pt x="67130" y="11847"/>
                  </a:cubicBezTo>
                  <a:cubicBezTo>
                    <a:pt x="66566" y="12693"/>
                    <a:pt x="66566" y="13539"/>
                    <a:pt x="66284" y="14103"/>
                  </a:cubicBezTo>
                  <a:cubicBezTo>
                    <a:pt x="65438" y="15231"/>
                    <a:pt x="65156" y="16077"/>
                    <a:pt x="64592" y="16924"/>
                  </a:cubicBezTo>
                  <a:cubicBezTo>
                    <a:pt x="64310" y="17488"/>
                    <a:pt x="64310" y="18052"/>
                    <a:pt x="63746" y="18616"/>
                  </a:cubicBezTo>
                  <a:cubicBezTo>
                    <a:pt x="63746" y="18898"/>
                    <a:pt x="63746" y="19180"/>
                    <a:pt x="63464" y="19744"/>
                  </a:cubicBezTo>
                  <a:cubicBezTo>
                    <a:pt x="63464" y="20026"/>
                    <a:pt x="63182" y="20308"/>
                    <a:pt x="63182" y="20873"/>
                  </a:cubicBezTo>
                  <a:cubicBezTo>
                    <a:pt x="63182" y="21437"/>
                    <a:pt x="62618" y="22001"/>
                    <a:pt x="62336" y="22283"/>
                  </a:cubicBezTo>
                  <a:cubicBezTo>
                    <a:pt x="62054" y="22847"/>
                    <a:pt x="62054" y="23129"/>
                    <a:pt x="62054" y="23693"/>
                  </a:cubicBezTo>
                  <a:lnTo>
                    <a:pt x="62054" y="23975"/>
                  </a:lnTo>
                  <a:cubicBezTo>
                    <a:pt x="62054" y="24539"/>
                    <a:pt x="61489" y="25103"/>
                    <a:pt x="61207" y="25668"/>
                  </a:cubicBezTo>
                  <a:cubicBezTo>
                    <a:pt x="61207" y="25950"/>
                    <a:pt x="60925" y="26514"/>
                    <a:pt x="60643" y="26796"/>
                  </a:cubicBezTo>
                  <a:lnTo>
                    <a:pt x="60643" y="27360"/>
                  </a:lnTo>
                  <a:cubicBezTo>
                    <a:pt x="60643" y="27642"/>
                    <a:pt x="60643" y="27642"/>
                    <a:pt x="60925" y="27924"/>
                  </a:cubicBezTo>
                  <a:cubicBezTo>
                    <a:pt x="60925" y="28206"/>
                    <a:pt x="61207" y="28206"/>
                    <a:pt x="61207" y="28488"/>
                  </a:cubicBezTo>
                  <a:cubicBezTo>
                    <a:pt x="61207" y="28770"/>
                    <a:pt x="60925" y="28770"/>
                    <a:pt x="60925" y="29052"/>
                  </a:cubicBezTo>
                  <a:cubicBezTo>
                    <a:pt x="60925" y="29616"/>
                    <a:pt x="60643" y="30181"/>
                    <a:pt x="60079" y="30463"/>
                  </a:cubicBezTo>
                  <a:lnTo>
                    <a:pt x="60079" y="30745"/>
                  </a:lnTo>
                  <a:lnTo>
                    <a:pt x="58669" y="32719"/>
                  </a:lnTo>
                  <a:cubicBezTo>
                    <a:pt x="58105" y="33283"/>
                    <a:pt x="57823" y="33847"/>
                    <a:pt x="57541" y="34411"/>
                  </a:cubicBezTo>
                  <a:lnTo>
                    <a:pt x="57258" y="34694"/>
                  </a:lnTo>
                  <a:cubicBezTo>
                    <a:pt x="57258" y="34694"/>
                    <a:pt x="57258" y="34976"/>
                    <a:pt x="57541" y="34976"/>
                  </a:cubicBezTo>
                  <a:cubicBezTo>
                    <a:pt x="57823" y="35258"/>
                    <a:pt x="58105" y="35540"/>
                    <a:pt x="58105" y="36104"/>
                  </a:cubicBezTo>
                  <a:lnTo>
                    <a:pt x="58105" y="36668"/>
                  </a:lnTo>
                  <a:cubicBezTo>
                    <a:pt x="58105" y="36950"/>
                    <a:pt x="57823" y="37514"/>
                    <a:pt x="57258" y="38078"/>
                  </a:cubicBezTo>
                  <a:cubicBezTo>
                    <a:pt x="57258" y="38360"/>
                    <a:pt x="56976" y="38924"/>
                    <a:pt x="56694" y="38924"/>
                  </a:cubicBezTo>
                  <a:cubicBezTo>
                    <a:pt x="56130" y="39207"/>
                    <a:pt x="55848" y="39489"/>
                    <a:pt x="55848" y="40335"/>
                  </a:cubicBezTo>
                  <a:cubicBezTo>
                    <a:pt x="55566" y="41181"/>
                    <a:pt x="55284" y="42309"/>
                    <a:pt x="55284" y="43437"/>
                  </a:cubicBezTo>
                  <a:cubicBezTo>
                    <a:pt x="55002" y="43720"/>
                    <a:pt x="55002" y="43720"/>
                    <a:pt x="55002" y="44002"/>
                  </a:cubicBezTo>
                  <a:cubicBezTo>
                    <a:pt x="54156" y="44284"/>
                    <a:pt x="54156" y="44848"/>
                    <a:pt x="54156" y="45412"/>
                  </a:cubicBezTo>
                  <a:lnTo>
                    <a:pt x="54156" y="45976"/>
                  </a:lnTo>
                  <a:cubicBezTo>
                    <a:pt x="54156" y="46258"/>
                    <a:pt x="53592" y="46540"/>
                    <a:pt x="53592" y="47104"/>
                  </a:cubicBezTo>
                  <a:lnTo>
                    <a:pt x="53592" y="48232"/>
                  </a:lnTo>
                  <a:cubicBezTo>
                    <a:pt x="53592" y="48797"/>
                    <a:pt x="53310" y="49079"/>
                    <a:pt x="53027" y="49643"/>
                  </a:cubicBezTo>
                  <a:cubicBezTo>
                    <a:pt x="52745" y="49925"/>
                    <a:pt x="52463" y="50207"/>
                    <a:pt x="52463" y="50771"/>
                  </a:cubicBezTo>
                  <a:cubicBezTo>
                    <a:pt x="52463" y="50771"/>
                    <a:pt x="52463" y="51053"/>
                    <a:pt x="52181" y="51053"/>
                  </a:cubicBezTo>
                  <a:cubicBezTo>
                    <a:pt x="51617" y="51617"/>
                    <a:pt x="51335" y="52463"/>
                    <a:pt x="51335" y="53310"/>
                  </a:cubicBezTo>
                  <a:cubicBezTo>
                    <a:pt x="50771" y="53874"/>
                    <a:pt x="50771" y="54438"/>
                    <a:pt x="50489" y="55002"/>
                  </a:cubicBezTo>
                  <a:cubicBezTo>
                    <a:pt x="50489" y="55284"/>
                    <a:pt x="50771" y="55566"/>
                    <a:pt x="50771" y="56130"/>
                  </a:cubicBezTo>
                  <a:lnTo>
                    <a:pt x="50771" y="56412"/>
                  </a:lnTo>
                  <a:lnTo>
                    <a:pt x="49361" y="57258"/>
                  </a:lnTo>
                  <a:cubicBezTo>
                    <a:pt x="49361" y="57541"/>
                    <a:pt x="49361" y="57541"/>
                    <a:pt x="49643" y="57823"/>
                  </a:cubicBezTo>
                  <a:cubicBezTo>
                    <a:pt x="49925" y="58105"/>
                    <a:pt x="50207" y="58105"/>
                    <a:pt x="50207" y="58387"/>
                  </a:cubicBezTo>
                  <a:lnTo>
                    <a:pt x="49925" y="58669"/>
                  </a:lnTo>
                  <a:cubicBezTo>
                    <a:pt x="49079" y="59233"/>
                    <a:pt x="48796" y="59797"/>
                    <a:pt x="48232" y="60643"/>
                  </a:cubicBezTo>
                  <a:cubicBezTo>
                    <a:pt x="48232" y="60925"/>
                    <a:pt x="48232" y="61489"/>
                    <a:pt x="47950" y="61771"/>
                  </a:cubicBezTo>
                  <a:cubicBezTo>
                    <a:pt x="47950" y="62053"/>
                    <a:pt x="47950" y="62618"/>
                    <a:pt x="48232" y="62336"/>
                  </a:cubicBezTo>
                  <a:lnTo>
                    <a:pt x="48796" y="62053"/>
                  </a:lnTo>
                  <a:cubicBezTo>
                    <a:pt x="48796" y="61207"/>
                    <a:pt x="49643" y="60925"/>
                    <a:pt x="50207" y="60079"/>
                  </a:cubicBezTo>
                  <a:cubicBezTo>
                    <a:pt x="50489" y="59233"/>
                    <a:pt x="51335" y="58951"/>
                    <a:pt x="51617" y="58105"/>
                  </a:cubicBezTo>
                  <a:cubicBezTo>
                    <a:pt x="52745" y="56976"/>
                    <a:pt x="53592" y="55848"/>
                    <a:pt x="54438" y="54720"/>
                  </a:cubicBezTo>
                  <a:cubicBezTo>
                    <a:pt x="54720" y="54156"/>
                    <a:pt x="55566" y="53592"/>
                    <a:pt x="55848" y="53310"/>
                  </a:cubicBezTo>
                  <a:cubicBezTo>
                    <a:pt x="57258" y="51335"/>
                    <a:pt x="58951" y="49643"/>
                    <a:pt x="60643" y="48232"/>
                  </a:cubicBezTo>
                  <a:cubicBezTo>
                    <a:pt x="61489" y="47668"/>
                    <a:pt x="62336" y="47104"/>
                    <a:pt x="62618" y="46258"/>
                  </a:cubicBezTo>
                  <a:lnTo>
                    <a:pt x="63464" y="45694"/>
                  </a:lnTo>
                  <a:cubicBezTo>
                    <a:pt x="64310" y="44566"/>
                    <a:pt x="65720" y="43720"/>
                    <a:pt x="66848" y="42591"/>
                  </a:cubicBezTo>
                  <a:cubicBezTo>
                    <a:pt x="68541" y="41181"/>
                    <a:pt x="70515" y="40053"/>
                    <a:pt x="72208" y="38924"/>
                  </a:cubicBezTo>
                  <a:lnTo>
                    <a:pt x="76721" y="36386"/>
                  </a:lnTo>
                  <a:cubicBezTo>
                    <a:pt x="77285" y="35822"/>
                    <a:pt x="78131" y="35822"/>
                    <a:pt x="78695" y="35540"/>
                  </a:cubicBezTo>
                  <a:cubicBezTo>
                    <a:pt x="80106" y="34976"/>
                    <a:pt x="82080" y="34129"/>
                    <a:pt x="83490" y="33847"/>
                  </a:cubicBezTo>
                  <a:cubicBezTo>
                    <a:pt x="84900" y="33283"/>
                    <a:pt x="86311" y="33001"/>
                    <a:pt x="87439" y="33001"/>
                  </a:cubicBezTo>
                  <a:lnTo>
                    <a:pt x="92798" y="33001"/>
                  </a:lnTo>
                  <a:cubicBezTo>
                    <a:pt x="93362" y="33283"/>
                    <a:pt x="93926" y="33283"/>
                    <a:pt x="94773" y="33283"/>
                  </a:cubicBezTo>
                  <a:cubicBezTo>
                    <a:pt x="95055" y="33283"/>
                    <a:pt x="95337" y="33283"/>
                    <a:pt x="95337" y="33565"/>
                  </a:cubicBezTo>
                  <a:cubicBezTo>
                    <a:pt x="95901" y="34129"/>
                    <a:pt x="96465" y="34129"/>
                    <a:pt x="97029" y="34129"/>
                  </a:cubicBezTo>
                  <a:cubicBezTo>
                    <a:pt x="99286" y="34694"/>
                    <a:pt x="101824" y="35540"/>
                    <a:pt x="104081" y="36668"/>
                  </a:cubicBezTo>
                  <a:cubicBezTo>
                    <a:pt x="104645" y="36668"/>
                    <a:pt x="104927" y="36950"/>
                    <a:pt x="105491" y="37232"/>
                  </a:cubicBezTo>
                  <a:lnTo>
                    <a:pt x="108594" y="40053"/>
                  </a:lnTo>
                  <a:cubicBezTo>
                    <a:pt x="109158" y="40335"/>
                    <a:pt x="109440" y="40617"/>
                    <a:pt x="109440" y="41181"/>
                  </a:cubicBezTo>
                  <a:lnTo>
                    <a:pt x="109722" y="41463"/>
                  </a:lnTo>
                  <a:cubicBezTo>
                    <a:pt x="110568" y="42027"/>
                    <a:pt x="111414" y="42873"/>
                    <a:pt x="111696" y="43720"/>
                  </a:cubicBezTo>
                  <a:cubicBezTo>
                    <a:pt x="111978" y="44002"/>
                    <a:pt x="111978" y="44284"/>
                    <a:pt x="112260" y="44284"/>
                  </a:cubicBezTo>
                  <a:cubicBezTo>
                    <a:pt x="112825" y="44284"/>
                    <a:pt x="113107" y="44566"/>
                    <a:pt x="113107" y="44848"/>
                  </a:cubicBezTo>
                  <a:cubicBezTo>
                    <a:pt x="113389" y="45412"/>
                    <a:pt x="113389" y="45694"/>
                    <a:pt x="113953" y="45976"/>
                  </a:cubicBezTo>
                  <a:cubicBezTo>
                    <a:pt x="113953" y="45976"/>
                    <a:pt x="114235" y="46258"/>
                    <a:pt x="114235" y="46540"/>
                  </a:cubicBezTo>
                  <a:lnTo>
                    <a:pt x="114235" y="47668"/>
                  </a:lnTo>
                  <a:cubicBezTo>
                    <a:pt x="114517" y="48232"/>
                    <a:pt x="114799" y="48515"/>
                    <a:pt x="115363" y="48515"/>
                  </a:cubicBezTo>
                  <a:lnTo>
                    <a:pt x="116209" y="48515"/>
                  </a:lnTo>
                  <a:cubicBezTo>
                    <a:pt x="116491" y="48515"/>
                    <a:pt x="116774" y="49079"/>
                    <a:pt x="116774" y="49361"/>
                  </a:cubicBezTo>
                  <a:lnTo>
                    <a:pt x="116774" y="49643"/>
                  </a:lnTo>
                  <a:cubicBezTo>
                    <a:pt x="116209" y="49925"/>
                    <a:pt x="115927" y="50489"/>
                    <a:pt x="115927" y="50771"/>
                  </a:cubicBezTo>
                  <a:cubicBezTo>
                    <a:pt x="115927" y="51053"/>
                    <a:pt x="116209" y="51053"/>
                    <a:pt x="116209" y="51335"/>
                  </a:cubicBezTo>
                  <a:cubicBezTo>
                    <a:pt x="116491" y="52181"/>
                    <a:pt x="116774" y="53028"/>
                    <a:pt x="116774" y="54156"/>
                  </a:cubicBezTo>
                  <a:cubicBezTo>
                    <a:pt x="116774" y="54156"/>
                    <a:pt x="116774" y="54438"/>
                    <a:pt x="117056" y="54720"/>
                  </a:cubicBezTo>
                  <a:cubicBezTo>
                    <a:pt x="117056" y="54720"/>
                    <a:pt x="117338" y="55002"/>
                    <a:pt x="117338" y="55284"/>
                  </a:cubicBezTo>
                  <a:cubicBezTo>
                    <a:pt x="117338" y="56694"/>
                    <a:pt x="117620" y="57823"/>
                    <a:pt x="118184" y="58951"/>
                  </a:cubicBezTo>
                  <a:cubicBezTo>
                    <a:pt x="118466" y="59515"/>
                    <a:pt x="118466" y="60079"/>
                    <a:pt x="118466" y="60361"/>
                  </a:cubicBezTo>
                  <a:lnTo>
                    <a:pt x="118466" y="61489"/>
                  </a:lnTo>
                  <a:cubicBezTo>
                    <a:pt x="118466" y="62053"/>
                    <a:pt x="118748" y="62900"/>
                    <a:pt x="118748" y="63746"/>
                  </a:cubicBezTo>
                  <a:cubicBezTo>
                    <a:pt x="118748" y="64028"/>
                    <a:pt x="119030" y="64310"/>
                    <a:pt x="119312" y="64310"/>
                  </a:cubicBezTo>
                  <a:lnTo>
                    <a:pt x="121850" y="63464"/>
                  </a:lnTo>
                  <a:cubicBezTo>
                    <a:pt x="122132" y="63182"/>
                    <a:pt x="122415" y="63182"/>
                    <a:pt x="122697" y="63182"/>
                  </a:cubicBezTo>
                  <a:lnTo>
                    <a:pt x="123543" y="63182"/>
                  </a:lnTo>
                  <a:cubicBezTo>
                    <a:pt x="123825" y="63182"/>
                    <a:pt x="123825" y="63182"/>
                    <a:pt x="124107" y="62900"/>
                  </a:cubicBezTo>
                  <a:cubicBezTo>
                    <a:pt x="125235" y="61489"/>
                    <a:pt x="126928" y="60925"/>
                    <a:pt x="128902" y="60079"/>
                  </a:cubicBezTo>
                  <a:lnTo>
                    <a:pt x="131159" y="59233"/>
                  </a:lnTo>
                  <a:lnTo>
                    <a:pt x="131441" y="59233"/>
                  </a:lnTo>
                  <a:cubicBezTo>
                    <a:pt x="132569" y="58387"/>
                    <a:pt x="133697" y="58105"/>
                    <a:pt x="134825" y="57823"/>
                  </a:cubicBezTo>
                  <a:cubicBezTo>
                    <a:pt x="135954" y="57258"/>
                    <a:pt x="137082" y="56976"/>
                    <a:pt x="137928" y="56976"/>
                  </a:cubicBezTo>
                  <a:cubicBezTo>
                    <a:pt x="138210" y="56976"/>
                    <a:pt x="138492" y="56976"/>
                    <a:pt x="138774" y="56694"/>
                  </a:cubicBezTo>
                  <a:cubicBezTo>
                    <a:pt x="139620" y="56412"/>
                    <a:pt x="147518" y="55566"/>
                    <a:pt x="147518" y="55566"/>
                  </a:cubicBezTo>
                  <a:lnTo>
                    <a:pt x="149775" y="55566"/>
                  </a:lnTo>
                  <a:lnTo>
                    <a:pt x="150339" y="55848"/>
                  </a:lnTo>
                  <a:cubicBezTo>
                    <a:pt x="150339" y="56130"/>
                    <a:pt x="150621" y="56412"/>
                    <a:pt x="150903" y="56412"/>
                  </a:cubicBezTo>
                  <a:lnTo>
                    <a:pt x="151185" y="56412"/>
                  </a:lnTo>
                  <a:cubicBezTo>
                    <a:pt x="152877" y="56130"/>
                    <a:pt x="154570" y="56130"/>
                    <a:pt x="155980" y="56130"/>
                  </a:cubicBezTo>
                  <a:lnTo>
                    <a:pt x="156826" y="56130"/>
                  </a:lnTo>
                  <a:cubicBezTo>
                    <a:pt x="157672" y="55848"/>
                    <a:pt x="158236" y="55848"/>
                    <a:pt x="158800" y="55848"/>
                  </a:cubicBezTo>
                  <a:cubicBezTo>
                    <a:pt x="159083" y="55848"/>
                    <a:pt x="159083" y="55848"/>
                    <a:pt x="159083" y="56130"/>
                  </a:cubicBezTo>
                  <a:lnTo>
                    <a:pt x="158800" y="56130"/>
                  </a:lnTo>
                  <a:lnTo>
                    <a:pt x="157954" y="56694"/>
                  </a:lnTo>
                  <a:lnTo>
                    <a:pt x="157954" y="56976"/>
                  </a:lnTo>
                  <a:lnTo>
                    <a:pt x="158236" y="57258"/>
                  </a:lnTo>
                  <a:cubicBezTo>
                    <a:pt x="159083" y="56976"/>
                    <a:pt x="159929" y="56976"/>
                    <a:pt x="160775" y="56976"/>
                  </a:cubicBezTo>
                  <a:cubicBezTo>
                    <a:pt x="161621" y="56976"/>
                    <a:pt x="162467" y="56976"/>
                    <a:pt x="163314" y="56694"/>
                  </a:cubicBezTo>
                  <a:lnTo>
                    <a:pt x="164442" y="56694"/>
                  </a:lnTo>
                  <a:cubicBezTo>
                    <a:pt x="164442" y="56976"/>
                    <a:pt x="164442" y="56976"/>
                    <a:pt x="164160" y="56976"/>
                  </a:cubicBezTo>
                  <a:cubicBezTo>
                    <a:pt x="163596" y="57258"/>
                    <a:pt x="163031" y="57541"/>
                    <a:pt x="162467" y="57541"/>
                  </a:cubicBezTo>
                  <a:cubicBezTo>
                    <a:pt x="162185" y="57541"/>
                    <a:pt x="162185" y="57823"/>
                    <a:pt x="162185" y="57823"/>
                  </a:cubicBezTo>
                  <a:lnTo>
                    <a:pt x="162467" y="58105"/>
                  </a:lnTo>
                  <a:cubicBezTo>
                    <a:pt x="162467" y="58387"/>
                    <a:pt x="162467" y="58387"/>
                    <a:pt x="162185" y="58669"/>
                  </a:cubicBezTo>
                  <a:lnTo>
                    <a:pt x="161903" y="58951"/>
                  </a:lnTo>
                  <a:lnTo>
                    <a:pt x="161903" y="59233"/>
                  </a:lnTo>
                  <a:cubicBezTo>
                    <a:pt x="161903" y="59515"/>
                    <a:pt x="162185" y="59515"/>
                    <a:pt x="162185" y="59515"/>
                  </a:cubicBezTo>
                  <a:lnTo>
                    <a:pt x="162467" y="59515"/>
                  </a:lnTo>
                  <a:lnTo>
                    <a:pt x="162185" y="59797"/>
                  </a:lnTo>
                  <a:cubicBezTo>
                    <a:pt x="161903" y="59797"/>
                    <a:pt x="161903" y="60079"/>
                    <a:pt x="161621" y="60079"/>
                  </a:cubicBezTo>
                  <a:cubicBezTo>
                    <a:pt x="161057" y="60079"/>
                    <a:pt x="160493" y="60361"/>
                    <a:pt x="160211" y="60925"/>
                  </a:cubicBezTo>
                  <a:lnTo>
                    <a:pt x="160211" y="61207"/>
                  </a:lnTo>
                  <a:cubicBezTo>
                    <a:pt x="160493" y="61489"/>
                    <a:pt x="160775" y="61489"/>
                    <a:pt x="160775" y="61771"/>
                  </a:cubicBezTo>
                  <a:cubicBezTo>
                    <a:pt x="160775" y="62053"/>
                    <a:pt x="160493" y="62336"/>
                    <a:pt x="160493" y="62618"/>
                  </a:cubicBezTo>
                  <a:lnTo>
                    <a:pt x="160493" y="62900"/>
                  </a:lnTo>
                  <a:lnTo>
                    <a:pt x="160211" y="63182"/>
                  </a:lnTo>
                  <a:cubicBezTo>
                    <a:pt x="159929" y="63464"/>
                    <a:pt x="159365" y="63464"/>
                    <a:pt x="159083" y="63464"/>
                  </a:cubicBezTo>
                  <a:cubicBezTo>
                    <a:pt x="157390" y="63746"/>
                    <a:pt x="155980" y="64028"/>
                    <a:pt x="154288" y="64028"/>
                  </a:cubicBezTo>
                  <a:lnTo>
                    <a:pt x="153159" y="64028"/>
                  </a:lnTo>
                  <a:cubicBezTo>
                    <a:pt x="152313" y="64310"/>
                    <a:pt x="151467" y="64310"/>
                    <a:pt x="150621" y="64874"/>
                  </a:cubicBezTo>
                  <a:cubicBezTo>
                    <a:pt x="150057" y="64874"/>
                    <a:pt x="149775" y="65156"/>
                    <a:pt x="149211" y="65156"/>
                  </a:cubicBezTo>
                  <a:cubicBezTo>
                    <a:pt x="148646" y="65156"/>
                    <a:pt x="148364" y="65156"/>
                    <a:pt x="147518" y="65438"/>
                  </a:cubicBezTo>
                  <a:cubicBezTo>
                    <a:pt x="148364" y="64592"/>
                    <a:pt x="137082" y="69387"/>
                    <a:pt x="137646" y="69105"/>
                  </a:cubicBezTo>
                  <a:lnTo>
                    <a:pt x="130877" y="70797"/>
                  </a:lnTo>
                  <a:cubicBezTo>
                    <a:pt x="130312" y="71079"/>
                    <a:pt x="129466" y="71079"/>
                    <a:pt x="128902" y="71644"/>
                  </a:cubicBezTo>
                  <a:cubicBezTo>
                    <a:pt x="126928" y="72490"/>
                    <a:pt x="124953" y="73618"/>
                    <a:pt x="123261" y="74746"/>
                  </a:cubicBezTo>
                  <a:lnTo>
                    <a:pt x="118466" y="77003"/>
                  </a:lnTo>
                  <a:cubicBezTo>
                    <a:pt x="118184" y="77285"/>
                    <a:pt x="118184" y="77849"/>
                    <a:pt x="117902" y="78413"/>
                  </a:cubicBezTo>
                  <a:lnTo>
                    <a:pt x="118184" y="78695"/>
                  </a:lnTo>
                  <a:cubicBezTo>
                    <a:pt x="118466" y="78695"/>
                    <a:pt x="118748" y="78977"/>
                    <a:pt x="118748" y="78977"/>
                  </a:cubicBezTo>
                  <a:cubicBezTo>
                    <a:pt x="119030" y="78977"/>
                    <a:pt x="119312" y="79541"/>
                    <a:pt x="119030" y="79541"/>
                  </a:cubicBezTo>
                  <a:cubicBezTo>
                    <a:pt x="118748" y="80105"/>
                    <a:pt x="118466" y="80105"/>
                    <a:pt x="118184" y="80387"/>
                  </a:cubicBezTo>
                  <a:lnTo>
                    <a:pt x="117902" y="80670"/>
                  </a:lnTo>
                  <a:cubicBezTo>
                    <a:pt x="117902" y="80670"/>
                    <a:pt x="117902" y="80952"/>
                    <a:pt x="118184" y="80952"/>
                  </a:cubicBezTo>
                  <a:lnTo>
                    <a:pt x="118466" y="81234"/>
                  </a:lnTo>
                  <a:cubicBezTo>
                    <a:pt x="118748" y="81234"/>
                    <a:pt x="118748" y="81516"/>
                    <a:pt x="118748" y="81798"/>
                  </a:cubicBezTo>
                  <a:cubicBezTo>
                    <a:pt x="118748" y="82080"/>
                    <a:pt x="118748" y="82080"/>
                    <a:pt x="118466" y="82362"/>
                  </a:cubicBezTo>
                  <a:lnTo>
                    <a:pt x="117902" y="82362"/>
                  </a:lnTo>
                  <a:cubicBezTo>
                    <a:pt x="117338" y="82644"/>
                    <a:pt x="117338" y="82644"/>
                    <a:pt x="117338" y="83208"/>
                  </a:cubicBezTo>
                  <a:lnTo>
                    <a:pt x="117338" y="83772"/>
                  </a:lnTo>
                  <a:cubicBezTo>
                    <a:pt x="117338" y="83772"/>
                    <a:pt x="117338" y="84054"/>
                    <a:pt x="117056" y="84054"/>
                  </a:cubicBezTo>
                  <a:cubicBezTo>
                    <a:pt x="116774" y="84336"/>
                    <a:pt x="116774" y="84618"/>
                    <a:pt x="116774" y="84618"/>
                  </a:cubicBezTo>
                  <a:cubicBezTo>
                    <a:pt x="116774" y="84900"/>
                    <a:pt x="116774" y="84900"/>
                    <a:pt x="117056" y="84900"/>
                  </a:cubicBezTo>
                  <a:cubicBezTo>
                    <a:pt x="117338" y="85183"/>
                    <a:pt x="117338" y="85183"/>
                    <a:pt x="117338" y="85465"/>
                  </a:cubicBezTo>
                  <a:lnTo>
                    <a:pt x="117338" y="85747"/>
                  </a:lnTo>
                  <a:lnTo>
                    <a:pt x="116491" y="86875"/>
                  </a:lnTo>
                  <a:lnTo>
                    <a:pt x="116491" y="87439"/>
                  </a:lnTo>
                  <a:cubicBezTo>
                    <a:pt x="116491" y="87721"/>
                    <a:pt x="116491" y="88003"/>
                    <a:pt x="116774" y="88285"/>
                  </a:cubicBezTo>
                  <a:lnTo>
                    <a:pt x="117338" y="88849"/>
                  </a:lnTo>
                  <a:cubicBezTo>
                    <a:pt x="117338" y="89131"/>
                    <a:pt x="117056" y="89413"/>
                    <a:pt x="117056" y="89696"/>
                  </a:cubicBezTo>
                  <a:cubicBezTo>
                    <a:pt x="116774" y="89978"/>
                    <a:pt x="116774" y="89978"/>
                    <a:pt x="116774" y="90260"/>
                  </a:cubicBezTo>
                  <a:cubicBezTo>
                    <a:pt x="116774" y="90542"/>
                    <a:pt x="117056" y="91106"/>
                    <a:pt x="117056" y="91388"/>
                  </a:cubicBezTo>
                  <a:cubicBezTo>
                    <a:pt x="116774" y="92516"/>
                    <a:pt x="116491" y="93644"/>
                    <a:pt x="115363" y="94491"/>
                  </a:cubicBezTo>
                  <a:cubicBezTo>
                    <a:pt x="115081" y="94491"/>
                    <a:pt x="115081" y="94773"/>
                    <a:pt x="115081" y="94773"/>
                  </a:cubicBezTo>
                  <a:cubicBezTo>
                    <a:pt x="115081" y="94773"/>
                    <a:pt x="115081" y="95055"/>
                    <a:pt x="115363" y="95055"/>
                  </a:cubicBezTo>
                  <a:cubicBezTo>
                    <a:pt x="115363" y="95337"/>
                    <a:pt x="115363" y="95619"/>
                    <a:pt x="115081" y="95901"/>
                  </a:cubicBezTo>
                  <a:cubicBezTo>
                    <a:pt x="114799" y="96183"/>
                    <a:pt x="114799" y="96465"/>
                    <a:pt x="114517" y="96465"/>
                  </a:cubicBezTo>
                  <a:lnTo>
                    <a:pt x="114235" y="96465"/>
                  </a:lnTo>
                  <a:cubicBezTo>
                    <a:pt x="113671" y="96465"/>
                    <a:pt x="113671" y="96747"/>
                    <a:pt x="113107" y="97311"/>
                  </a:cubicBezTo>
                  <a:lnTo>
                    <a:pt x="113107" y="98439"/>
                  </a:lnTo>
                  <a:lnTo>
                    <a:pt x="112260" y="99568"/>
                  </a:lnTo>
                  <a:lnTo>
                    <a:pt x="112260" y="99850"/>
                  </a:lnTo>
                  <a:cubicBezTo>
                    <a:pt x="112260" y="100132"/>
                    <a:pt x="112543" y="100132"/>
                    <a:pt x="112543" y="100414"/>
                  </a:cubicBezTo>
                  <a:cubicBezTo>
                    <a:pt x="112543" y="100696"/>
                    <a:pt x="112260" y="100696"/>
                    <a:pt x="111978" y="100978"/>
                  </a:cubicBezTo>
                  <a:lnTo>
                    <a:pt x="111978" y="101260"/>
                  </a:lnTo>
                  <a:cubicBezTo>
                    <a:pt x="111978" y="101542"/>
                    <a:pt x="112260" y="101542"/>
                    <a:pt x="112543" y="101542"/>
                  </a:cubicBezTo>
                  <a:cubicBezTo>
                    <a:pt x="112543" y="101824"/>
                    <a:pt x="112825" y="101542"/>
                    <a:pt x="112825" y="101260"/>
                  </a:cubicBezTo>
                  <a:cubicBezTo>
                    <a:pt x="113107" y="100978"/>
                    <a:pt x="113107" y="100696"/>
                    <a:pt x="113107" y="100414"/>
                  </a:cubicBezTo>
                  <a:cubicBezTo>
                    <a:pt x="113389" y="100414"/>
                    <a:pt x="113389" y="100132"/>
                    <a:pt x="113389" y="100132"/>
                  </a:cubicBezTo>
                  <a:cubicBezTo>
                    <a:pt x="113671" y="100414"/>
                    <a:pt x="113953" y="100414"/>
                    <a:pt x="113953" y="100696"/>
                  </a:cubicBezTo>
                  <a:cubicBezTo>
                    <a:pt x="113953" y="101260"/>
                    <a:pt x="113953" y="101824"/>
                    <a:pt x="113671" y="102106"/>
                  </a:cubicBezTo>
                  <a:cubicBezTo>
                    <a:pt x="113107" y="102670"/>
                    <a:pt x="113107" y="103517"/>
                    <a:pt x="112260" y="103799"/>
                  </a:cubicBezTo>
                  <a:cubicBezTo>
                    <a:pt x="112260" y="103799"/>
                    <a:pt x="112260" y="104081"/>
                    <a:pt x="111978" y="104081"/>
                  </a:cubicBezTo>
                  <a:cubicBezTo>
                    <a:pt x="111978" y="104363"/>
                    <a:pt x="112260" y="104363"/>
                    <a:pt x="112260" y="104645"/>
                  </a:cubicBezTo>
                  <a:cubicBezTo>
                    <a:pt x="112260" y="104645"/>
                    <a:pt x="112260" y="104927"/>
                    <a:pt x="111978" y="104927"/>
                  </a:cubicBezTo>
                  <a:cubicBezTo>
                    <a:pt x="111696" y="105209"/>
                    <a:pt x="111132" y="105491"/>
                    <a:pt x="111132" y="105773"/>
                  </a:cubicBezTo>
                  <a:cubicBezTo>
                    <a:pt x="110850" y="106055"/>
                    <a:pt x="110850" y="106055"/>
                    <a:pt x="110850" y="106337"/>
                  </a:cubicBezTo>
                  <a:cubicBezTo>
                    <a:pt x="110850" y="106619"/>
                    <a:pt x="110850" y="106619"/>
                    <a:pt x="111132" y="106901"/>
                  </a:cubicBezTo>
                  <a:lnTo>
                    <a:pt x="110568" y="106901"/>
                  </a:lnTo>
                  <a:cubicBezTo>
                    <a:pt x="110286" y="106901"/>
                    <a:pt x="110004" y="106901"/>
                    <a:pt x="110004" y="107183"/>
                  </a:cubicBezTo>
                  <a:cubicBezTo>
                    <a:pt x="109722" y="107183"/>
                    <a:pt x="109722" y="107465"/>
                    <a:pt x="109722" y="107465"/>
                  </a:cubicBezTo>
                  <a:cubicBezTo>
                    <a:pt x="109722" y="107747"/>
                    <a:pt x="110004" y="107747"/>
                    <a:pt x="110286" y="107747"/>
                  </a:cubicBezTo>
                  <a:cubicBezTo>
                    <a:pt x="110850" y="107747"/>
                    <a:pt x="111132" y="107183"/>
                    <a:pt x="111132" y="106901"/>
                  </a:cubicBezTo>
                  <a:lnTo>
                    <a:pt x="111414" y="107183"/>
                  </a:lnTo>
                  <a:cubicBezTo>
                    <a:pt x="111414" y="107747"/>
                    <a:pt x="111132" y="108312"/>
                    <a:pt x="111132" y="108876"/>
                  </a:cubicBezTo>
                  <a:lnTo>
                    <a:pt x="111132" y="109158"/>
                  </a:lnTo>
                  <a:cubicBezTo>
                    <a:pt x="111132" y="109440"/>
                    <a:pt x="110850" y="109440"/>
                    <a:pt x="110568" y="109722"/>
                  </a:cubicBezTo>
                  <a:cubicBezTo>
                    <a:pt x="110286" y="109722"/>
                    <a:pt x="110286" y="110004"/>
                    <a:pt x="110004" y="110286"/>
                  </a:cubicBezTo>
                  <a:cubicBezTo>
                    <a:pt x="110004" y="110568"/>
                    <a:pt x="109722" y="110850"/>
                    <a:pt x="109722" y="111132"/>
                  </a:cubicBezTo>
                  <a:cubicBezTo>
                    <a:pt x="109440" y="111414"/>
                    <a:pt x="109440" y="111696"/>
                    <a:pt x="108876" y="111978"/>
                  </a:cubicBezTo>
                  <a:lnTo>
                    <a:pt x="107747" y="111978"/>
                  </a:lnTo>
                  <a:cubicBezTo>
                    <a:pt x="108029" y="111696"/>
                    <a:pt x="107465" y="111978"/>
                    <a:pt x="107465" y="111978"/>
                  </a:cubicBezTo>
                  <a:lnTo>
                    <a:pt x="107747" y="112260"/>
                  </a:lnTo>
                  <a:lnTo>
                    <a:pt x="108876" y="112825"/>
                  </a:lnTo>
                  <a:lnTo>
                    <a:pt x="108876" y="113389"/>
                  </a:lnTo>
                  <a:lnTo>
                    <a:pt x="108029" y="114799"/>
                  </a:lnTo>
                  <a:cubicBezTo>
                    <a:pt x="107747" y="115081"/>
                    <a:pt x="107465" y="115363"/>
                    <a:pt x="107465" y="115645"/>
                  </a:cubicBezTo>
                  <a:lnTo>
                    <a:pt x="107465" y="115927"/>
                  </a:lnTo>
                  <a:cubicBezTo>
                    <a:pt x="107465" y="116209"/>
                    <a:pt x="107465" y="116491"/>
                    <a:pt x="107183" y="116491"/>
                  </a:cubicBezTo>
                  <a:lnTo>
                    <a:pt x="106337" y="117338"/>
                  </a:lnTo>
                  <a:cubicBezTo>
                    <a:pt x="106055" y="117338"/>
                    <a:pt x="106055" y="117620"/>
                    <a:pt x="106055" y="117620"/>
                  </a:cubicBezTo>
                  <a:cubicBezTo>
                    <a:pt x="106055" y="118748"/>
                    <a:pt x="105773" y="119594"/>
                    <a:pt x="104927" y="120158"/>
                  </a:cubicBezTo>
                  <a:cubicBezTo>
                    <a:pt x="104645" y="120722"/>
                    <a:pt x="104363" y="121286"/>
                    <a:pt x="103798" y="121851"/>
                  </a:cubicBezTo>
                  <a:cubicBezTo>
                    <a:pt x="103798" y="122415"/>
                    <a:pt x="103516" y="122697"/>
                    <a:pt x="103234" y="123261"/>
                  </a:cubicBezTo>
                  <a:cubicBezTo>
                    <a:pt x="102952" y="124107"/>
                    <a:pt x="102106" y="124953"/>
                    <a:pt x="101824" y="125799"/>
                  </a:cubicBezTo>
                  <a:cubicBezTo>
                    <a:pt x="101824" y="126081"/>
                    <a:pt x="101542" y="126363"/>
                    <a:pt x="101260" y="126646"/>
                  </a:cubicBezTo>
                  <a:cubicBezTo>
                    <a:pt x="100414" y="127492"/>
                    <a:pt x="99286" y="128620"/>
                    <a:pt x="99004" y="130030"/>
                  </a:cubicBezTo>
                  <a:lnTo>
                    <a:pt x="99004" y="130594"/>
                  </a:lnTo>
                  <a:cubicBezTo>
                    <a:pt x="98440" y="131159"/>
                    <a:pt x="97593" y="131723"/>
                    <a:pt x="97311" y="132287"/>
                  </a:cubicBezTo>
                  <a:cubicBezTo>
                    <a:pt x="96747" y="132851"/>
                    <a:pt x="95901" y="133415"/>
                    <a:pt x="95901" y="134261"/>
                  </a:cubicBezTo>
                  <a:cubicBezTo>
                    <a:pt x="95055" y="134825"/>
                    <a:pt x="94491" y="135672"/>
                    <a:pt x="93926" y="136518"/>
                  </a:cubicBezTo>
                  <a:cubicBezTo>
                    <a:pt x="93644" y="136800"/>
                    <a:pt x="93362" y="136800"/>
                    <a:pt x="93362" y="137082"/>
                  </a:cubicBezTo>
                  <a:lnTo>
                    <a:pt x="90542" y="140467"/>
                  </a:lnTo>
                  <a:cubicBezTo>
                    <a:pt x="90260" y="140749"/>
                    <a:pt x="89695" y="141031"/>
                    <a:pt x="89695" y="141313"/>
                  </a:cubicBezTo>
                  <a:cubicBezTo>
                    <a:pt x="88285" y="142441"/>
                    <a:pt x="87439" y="143569"/>
                    <a:pt x="86311" y="144980"/>
                  </a:cubicBezTo>
                  <a:lnTo>
                    <a:pt x="85464" y="145826"/>
                  </a:lnTo>
                  <a:cubicBezTo>
                    <a:pt x="84336" y="146390"/>
                    <a:pt x="83490" y="147236"/>
                    <a:pt x="82362" y="148082"/>
                  </a:cubicBezTo>
                  <a:lnTo>
                    <a:pt x="78977" y="151185"/>
                  </a:lnTo>
                  <a:cubicBezTo>
                    <a:pt x="78977" y="151185"/>
                    <a:pt x="78977" y="151467"/>
                    <a:pt x="78695" y="151749"/>
                  </a:cubicBezTo>
                  <a:lnTo>
                    <a:pt x="77567" y="152313"/>
                  </a:lnTo>
                  <a:cubicBezTo>
                    <a:pt x="77285" y="152595"/>
                    <a:pt x="77003" y="153159"/>
                    <a:pt x="76721" y="153159"/>
                  </a:cubicBezTo>
                  <a:cubicBezTo>
                    <a:pt x="75875" y="153441"/>
                    <a:pt x="75310" y="154006"/>
                    <a:pt x="75028" y="154288"/>
                  </a:cubicBezTo>
                  <a:lnTo>
                    <a:pt x="73054" y="155980"/>
                  </a:lnTo>
                  <a:cubicBezTo>
                    <a:pt x="72772" y="156544"/>
                    <a:pt x="72490" y="156544"/>
                    <a:pt x="71926" y="156826"/>
                  </a:cubicBezTo>
                  <a:cubicBezTo>
                    <a:pt x="71079" y="157108"/>
                    <a:pt x="70515" y="157672"/>
                    <a:pt x="70515" y="158519"/>
                  </a:cubicBezTo>
                  <a:cubicBezTo>
                    <a:pt x="70233" y="158801"/>
                    <a:pt x="69669" y="159083"/>
                    <a:pt x="69669" y="159647"/>
                  </a:cubicBezTo>
                  <a:cubicBezTo>
                    <a:pt x="69387" y="160211"/>
                    <a:pt x="68541" y="160493"/>
                    <a:pt x="68259" y="160775"/>
                  </a:cubicBezTo>
                  <a:cubicBezTo>
                    <a:pt x="67413" y="161057"/>
                    <a:pt x="66848" y="161339"/>
                    <a:pt x="66284" y="161339"/>
                  </a:cubicBezTo>
                  <a:lnTo>
                    <a:pt x="65720" y="161339"/>
                  </a:lnTo>
                  <a:lnTo>
                    <a:pt x="65720" y="161621"/>
                  </a:lnTo>
                  <a:cubicBezTo>
                    <a:pt x="65720" y="162185"/>
                    <a:pt x="65438" y="162185"/>
                    <a:pt x="64874" y="162185"/>
                  </a:cubicBezTo>
                  <a:cubicBezTo>
                    <a:pt x="64592" y="162185"/>
                    <a:pt x="64310" y="162467"/>
                    <a:pt x="64028" y="162749"/>
                  </a:cubicBezTo>
                  <a:cubicBezTo>
                    <a:pt x="63746" y="163314"/>
                    <a:pt x="62618" y="163596"/>
                    <a:pt x="62054" y="163596"/>
                  </a:cubicBezTo>
                  <a:lnTo>
                    <a:pt x="60643" y="163596"/>
                  </a:lnTo>
                  <a:cubicBezTo>
                    <a:pt x="60643" y="163878"/>
                    <a:pt x="60643" y="163878"/>
                    <a:pt x="60361" y="163878"/>
                  </a:cubicBezTo>
                  <a:cubicBezTo>
                    <a:pt x="60361" y="163878"/>
                    <a:pt x="60079" y="163878"/>
                    <a:pt x="60079" y="164160"/>
                  </a:cubicBezTo>
                  <a:lnTo>
                    <a:pt x="59797" y="164160"/>
                  </a:lnTo>
                  <a:cubicBezTo>
                    <a:pt x="60079" y="164160"/>
                    <a:pt x="60079" y="164442"/>
                    <a:pt x="60079" y="164442"/>
                  </a:cubicBezTo>
                  <a:lnTo>
                    <a:pt x="60361" y="164442"/>
                  </a:lnTo>
                  <a:cubicBezTo>
                    <a:pt x="60079" y="164442"/>
                    <a:pt x="60079" y="164724"/>
                    <a:pt x="60079" y="165006"/>
                  </a:cubicBezTo>
                  <a:cubicBezTo>
                    <a:pt x="58951" y="165288"/>
                    <a:pt x="58105" y="165570"/>
                    <a:pt x="57258" y="165570"/>
                  </a:cubicBezTo>
                  <a:lnTo>
                    <a:pt x="56130" y="165570"/>
                  </a:lnTo>
                  <a:lnTo>
                    <a:pt x="53874" y="165006"/>
                  </a:lnTo>
                  <a:cubicBezTo>
                    <a:pt x="53592" y="165006"/>
                    <a:pt x="53027" y="165006"/>
                    <a:pt x="52745" y="165288"/>
                  </a:cubicBezTo>
                  <a:cubicBezTo>
                    <a:pt x="52463" y="165852"/>
                    <a:pt x="51899" y="165852"/>
                    <a:pt x="51335" y="165852"/>
                  </a:cubicBezTo>
                  <a:lnTo>
                    <a:pt x="49361" y="165852"/>
                  </a:lnTo>
                  <a:cubicBezTo>
                    <a:pt x="48796" y="166416"/>
                    <a:pt x="47668" y="166416"/>
                    <a:pt x="47104" y="166698"/>
                  </a:cubicBezTo>
                  <a:cubicBezTo>
                    <a:pt x="45976" y="167262"/>
                    <a:pt x="44848" y="167544"/>
                    <a:pt x="44002" y="168109"/>
                  </a:cubicBezTo>
                  <a:cubicBezTo>
                    <a:pt x="43155" y="168109"/>
                    <a:pt x="42591" y="168391"/>
                    <a:pt x="41745" y="168391"/>
                  </a:cubicBezTo>
                  <a:cubicBezTo>
                    <a:pt x="40899" y="168391"/>
                    <a:pt x="40053" y="168109"/>
                    <a:pt x="39489" y="167544"/>
                  </a:cubicBezTo>
                  <a:cubicBezTo>
                    <a:pt x="39489" y="167262"/>
                    <a:pt x="39207" y="167262"/>
                    <a:pt x="38924" y="167262"/>
                  </a:cubicBezTo>
                  <a:lnTo>
                    <a:pt x="38078" y="167262"/>
                  </a:lnTo>
                  <a:cubicBezTo>
                    <a:pt x="37232" y="167262"/>
                    <a:pt x="37232" y="166698"/>
                    <a:pt x="37232" y="165852"/>
                  </a:cubicBezTo>
                  <a:cubicBezTo>
                    <a:pt x="37232" y="165570"/>
                    <a:pt x="37514" y="165006"/>
                    <a:pt x="37514" y="164724"/>
                  </a:cubicBezTo>
                  <a:cubicBezTo>
                    <a:pt x="37796" y="164160"/>
                    <a:pt x="37796" y="163596"/>
                    <a:pt x="37796" y="163031"/>
                  </a:cubicBezTo>
                  <a:lnTo>
                    <a:pt x="37796" y="160775"/>
                  </a:lnTo>
                  <a:cubicBezTo>
                    <a:pt x="37796" y="160211"/>
                    <a:pt x="38078" y="159365"/>
                    <a:pt x="38078" y="158801"/>
                  </a:cubicBezTo>
                  <a:lnTo>
                    <a:pt x="38078" y="158519"/>
                  </a:lnTo>
                  <a:cubicBezTo>
                    <a:pt x="38078" y="157954"/>
                    <a:pt x="38360" y="157108"/>
                    <a:pt x="38360" y="156544"/>
                  </a:cubicBezTo>
                  <a:cubicBezTo>
                    <a:pt x="38360" y="156262"/>
                    <a:pt x="38642" y="155980"/>
                    <a:pt x="38642" y="155698"/>
                  </a:cubicBezTo>
                  <a:cubicBezTo>
                    <a:pt x="39207" y="155134"/>
                    <a:pt x="39489" y="154288"/>
                    <a:pt x="39489" y="153441"/>
                  </a:cubicBezTo>
                  <a:cubicBezTo>
                    <a:pt x="39489" y="153159"/>
                    <a:pt x="39771" y="152877"/>
                    <a:pt x="40053" y="152877"/>
                  </a:cubicBezTo>
                  <a:lnTo>
                    <a:pt x="40053" y="152313"/>
                  </a:lnTo>
                  <a:cubicBezTo>
                    <a:pt x="39771" y="152031"/>
                    <a:pt x="39489" y="151467"/>
                    <a:pt x="39489" y="151185"/>
                  </a:cubicBezTo>
                  <a:cubicBezTo>
                    <a:pt x="39489" y="150903"/>
                    <a:pt x="39771" y="150903"/>
                    <a:pt x="39771" y="150621"/>
                  </a:cubicBezTo>
                  <a:lnTo>
                    <a:pt x="40335" y="149210"/>
                  </a:lnTo>
                  <a:cubicBezTo>
                    <a:pt x="40335" y="149210"/>
                    <a:pt x="40335" y="148928"/>
                    <a:pt x="40617" y="148928"/>
                  </a:cubicBezTo>
                  <a:cubicBezTo>
                    <a:pt x="41463" y="148928"/>
                    <a:pt x="41181" y="148082"/>
                    <a:pt x="41463" y="147518"/>
                  </a:cubicBezTo>
                  <a:cubicBezTo>
                    <a:pt x="41745" y="147236"/>
                    <a:pt x="42027" y="147236"/>
                    <a:pt x="42027" y="146954"/>
                  </a:cubicBezTo>
                  <a:lnTo>
                    <a:pt x="41745" y="146672"/>
                  </a:lnTo>
                  <a:cubicBezTo>
                    <a:pt x="41181" y="146390"/>
                    <a:pt x="41181" y="146108"/>
                    <a:pt x="41181" y="145826"/>
                  </a:cubicBezTo>
                  <a:cubicBezTo>
                    <a:pt x="41181" y="145544"/>
                    <a:pt x="41181" y="145262"/>
                    <a:pt x="41463" y="144980"/>
                  </a:cubicBezTo>
                  <a:cubicBezTo>
                    <a:pt x="41745" y="144415"/>
                    <a:pt x="42309" y="144133"/>
                    <a:pt x="42309" y="143569"/>
                  </a:cubicBezTo>
                  <a:cubicBezTo>
                    <a:pt x="42309" y="143005"/>
                    <a:pt x="42591" y="143005"/>
                    <a:pt x="43155" y="142723"/>
                  </a:cubicBezTo>
                  <a:lnTo>
                    <a:pt x="44002" y="142723"/>
                  </a:lnTo>
                  <a:cubicBezTo>
                    <a:pt x="44284" y="142441"/>
                    <a:pt x="44284" y="142159"/>
                    <a:pt x="44284" y="141877"/>
                  </a:cubicBezTo>
                  <a:cubicBezTo>
                    <a:pt x="44284" y="141595"/>
                    <a:pt x="44002" y="141313"/>
                    <a:pt x="43720" y="141313"/>
                  </a:cubicBezTo>
                  <a:lnTo>
                    <a:pt x="43438" y="141313"/>
                  </a:lnTo>
                  <a:cubicBezTo>
                    <a:pt x="43155" y="141313"/>
                    <a:pt x="43155" y="141313"/>
                    <a:pt x="43155" y="141031"/>
                  </a:cubicBezTo>
                  <a:cubicBezTo>
                    <a:pt x="43155" y="140749"/>
                    <a:pt x="43155" y="140749"/>
                    <a:pt x="43438" y="140467"/>
                  </a:cubicBezTo>
                  <a:cubicBezTo>
                    <a:pt x="43438" y="140467"/>
                    <a:pt x="43438" y="140185"/>
                    <a:pt x="43720" y="140185"/>
                  </a:cubicBezTo>
                  <a:lnTo>
                    <a:pt x="44848" y="138774"/>
                  </a:lnTo>
                  <a:cubicBezTo>
                    <a:pt x="45130" y="138774"/>
                    <a:pt x="45412" y="138774"/>
                    <a:pt x="45412" y="139056"/>
                  </a:cubicBezTo>
                  <a:lnTo>
                    <a:pt x="45694" y="139056"/>
                  </a:lnTo>
                  <a:cubicBezTo>
                    <a:pt x="45694" y="139902"/>
                    <a:pt x="46258" y="139902"/>
                    <a:pt x="46822" y="140185"/>
                  </a:cubicBezTo>
                  <a:cubicBezTo>
                    <a:pt x="47104" y="140185"/>
                    <a:pt x="47386" y="140185"/>
                    <a:pt x="47386" y="139620"/>
                  </a:cubicBezTo>
                  <a:lnTo>
                    <a:pt x="47668" y="139338"/>
                  </a:lnTo>
                  <a:cubicBezTo>
                    <a:pt x="47668" y="139056"/>
                    <a:pt x="47668" y="139056"/>
                    <a:pt x="47386" y="139056"/>
                  </a:cubicBezTo>
                  <a:cubicBezTo>
                    <a:pt x="46540" y="138774"/>
                    <a:pt x="45976" y="138774"/>
                    <a:pt x="45976" y="138492"/>
                  </a:cubicBezTo>
                  <a:cubicBezTo>
                    <a:pt x="45976" y="138210"/>
                    <a:pt x="46258" y="137928"/>
                    <a:pt x="46258" y="137646"/>
                  </a:cubicBezTo>
                  <a:cubicBezTo>
                    <a:pt x="46258" y="137082"/>
                    <a:pt x="46540" y="136518"/>
                    <a:pt x="46540" y="135954"/>
                  </a:cubicBezTo>
                  <a:cubicBezTo>
                    <a:pt x="47104" y="135389"/>
                    <a:pt x="46822" y="134543"/>
                    <a:pt x="47668" y="134261"/>
                  </a:cubicBezTo>
                  <a:cubicBezTo>
                    <a:pt x="48232" y="133697"/>
                    <a:pt x="47950" y="132851"/>
                    <a:pt x="48232" y="132287"/>
                  </a:cubicBezTo>
                  <a:cubicBezTo>
                    <a:pt x="48514" y="131723"/>
                    <a:pt x="49079" y="131441"/>
                    <a:pt x="49361" y="130594"/>
                  </a:cubicBezTo>
                  <a:cubicBezTo>
                    <a:pt x="49361" y="130312"/>
                    <a:pt x="49643" y="130312"/>
                    <a:pt x="49925" y="130030"/>
                  </a:cubicBezTo>
                  <a:cubicBezTo>
                    <a:pt x="50207" y="129748"/>
                    <a:pt x="50489" y="129466"/>
                    <a:pt x="50489" y="129184"/>
                  </a:cubicBezTo>
                  <a:cubicBezTo>
                    <a:pt x="50489" y="128902"/>
                    <a:pt x="50771" y="128902"/>
                    <a:pt x="50771" y="128620"/>
                  </a:cubicBezTo>
                  <a:cubicBezTo>
                    <a:pt x="50771" y="128338"/>
                    <a:pt x="50489" y="128056"/>
                    <a:pt x="50489" y="127774"/>
                  </a:cubicBezTo>
                  <a:lnTo>
                    <a:pt x="50489" y="127492"/>
                  </a:lnTo>
                  <a:cubicBezTo>
                    <a:pt x="50489" y="127210"/>
                    <a:pt x="50489" y="127210"/>
                    <a:pt x="50771" y="127210"/>
                  </a:cubicBezTo>
                  <a:lnTo>
                    <a:pt x="51899" y="127210"/>
                  </a:lnTo>
                  <a:cubicBezTo>
                    <a:pt x="52181" y="127210"/>
                    <a:pt x="52463" y="126646"/>
                    <a:pt x="52463" y="126363"/>
                  </a:cubicBezTo>
                  <a:cubicBezTo>
                    <a:pt x="52181" y="126081"/>
                    <a:pt x="52181" y="126081"/>
                    <a:pt x="52181" y="125799"/>
                  </a:cubicBezTo>
                  <a:cubicBezTo>
                    <a:pt x="52181" y="125517"/>
                    <a:pt x="52181" y="125517"/>
                    <a:pt x="52463" y="125235"/>
                  </a:cubicBezTo>
                  <a:lnTo>
                    <a:pt x="53592" y="124107"/>
                  </a:lnTo>
                  <a:cubicBezTo>
                    <a:pt x="53592" y="124107"/>
                    <a:pt x="53874" y="124107"/>
                    <a:pt x="53874" y="123825"/>
                  </a:cubicBezTo>
                  <a:cubicBezTo>
                    <a:pt x="53874" y="123825"/>
                    <a:pt x="53592" y="123543"/>
                    <a:pt x="53592" y="123261"/>
                  </a:cubicBezTo>
                  <a:cubicBezTo>
                    <a:pt x="53592" y="122979"/>
                    <a:pt x="53592" y="122697"/>
                    <a:pt x="53874" y="122697"/>
                  </a:cubicBezTo>
                  <a:cubicBezTo>
                    <a:pt x="54156" y="122697"/>
                    <a:pt x="54720" y="122697"/>
                    <a:pt x="55002" y="122415"/>
                  </a:cubicBezTo>
                  <a:lnTo>
                    <a:pt x="55284" y="122415"/>
                  </a:lnTo>
                  <a:lnTo>
                    <a:pt x="55284" y="122133"/>
                  </a:lnTo>
                  <a:cubicBezTo>
                    <a:pt x="55284" y="121568"/>
                    <a:pt x="55566" y="121286"/>
                    <a:pt x="55848" y="121004"/>
                  </a:cubicBezTo>
                  <a:cubicBezTo>
                    <a:pt x="56412" y="120440"/>
                    <a:pt x="56976" y="119594"/>
                    <a:pt x="57823" y="119030"/>
                  </a:cubicBezTo>
                  <a:cubicBezTo>
                    <a:pt x="57823" y="118748"/>
                    <a:pt x="57823" y="118466"/>
                    <a:pt x="58105" y="118184"/>
                  </a:cubicBezTo>
                  <a:cubicBezTo>
                    <a:pt x="58105" y="117902"/>
                    <a:pt x="57823" y="117620"/>
                    <a:pt x="57823" y="117620"/>
                  </a:cubicBezTo>
                  <a:cubicBezTo>
                    <a:pt x="57823" y="117338"/>
                    <a:pt x="58105" y="117338"/>
                    <a:pt x="58669" y="117055"/>
                  </a:cubicBezTo>
                  <a:lnTo>
                    <a:pt x="58951" y="116773"/>
                  </a:lnTo>
                  <a:cubicBezTo>
                    <a:pt x="59233" y="116773"/>
                    <a:pt x="59515" y="116491"/>
                    <a:pt x="59797" y="116209"/>
                  </a:cubicBezTo>
                  <a:cubicBezTo>
                    <a:pt x="59797" y="115645"/>
                    <a:pt x="60079" y="115363"/>
                    <a:pt x="60361" y="115363"/>
                  </a:cubicBezTo>
                  <a:cubicBezTo>
                    <a:pt x="61207" y="114799"/>
                    <a:pt x="61772" y="114235"/>
                    <a:pt x="62054" y="113671"/>
                  </a:cubicBezTo>
                  <a:cubicBezTo>
                    <a:pt x="62618" y="113107"/>
                    <a:pt x="63182" y="112542"/>
                    <a:pt x="63464" y="111696"/>
                  </a:cubicBezTo>
                  <a:lnTo>
                    <a:pt x="64310" y="110004"/>
                  </a:lnTo>
                  <a:cubicBezTo>
                    <a:pt x="64310" y="109722"/>
                    <a:pt x="64592" y="109722"/>
                    <a:pt x="64592" y="109722"/>
                  </a:cubicBezTo>
                  <a:cubicBezTo>
                    <a:pt x="65156" y="109440"/>
                    <a:pt x="65438" y="109158"/>
                    <a:pt x="65720" y="108312"/>
                  </a:cubicBezTo>
                  <a:cubicBezTo>
                    <a:pt x="65720" y="108030"/>
                    <a:pt x="66284" y="107465"/>
                    <a:pt x="66566" y="107465"/>
                  </a:cubicBezTo>
                  <a:cubicBezTo>
                    <a:pt x="67130" y="106901"/>
                    <a:pt x="67695" y="106619"/>
                    <a:pt x="67977" y="105773"/>
                  </a:cubicBezTo>
                  <a:cubicBezTo>
                    <a:pt x="68259" y="105209"/>
                    <a:pt x="68823" y="104927"/>
                    <a:pt x="69105" y="104081"/>
                  </a:cubicBezTo>
                  <a:lnTo>
                    <a:pt x="69669" y="103517"/>
                  </a:lnTo>
                  <a:cubicBezTo>
                    <a:pt x="69951" y="103517"/>
                    <a:pt x="70233" y="103234"/>
                    <a:pt x="70515" y="103234"/>
                  </a:cubicBezTo>
                  <a:cubicBezTo>
                    <a:pt x="70797" y="103234"/>
                    <a:pt x="71079" y="102952"/>
                    <a:pt x="71079" y="102670"/>
                  </a:cubicBezTo>
                  <a:cubicBezTo>
                    <a:pt x="71361" y="101824"/>
                    <a:pt x="71926" y="100978"/>
                    <a:pt x="72490" y="100414"/>
                  </a:cubicBezTo>
                  <a:cubicBezTo>
                    <a:pt x="73336" y="99850"/>
                    <a:pt x="73900" y="99004"/>
                    <a:pt x="74464" y="98157"/>
                  </a:cubicBezTo>
                  <a:cubicBezTo>
                    <a:pt x="74746" y="97593"/>
                    <a:pt x="75592" y="97029"/>
                    <a:pt x="75592" y="96183"/>
                  </a:cubicBezTo>
                  <a:lnTo>
                    <a:pt x="77003" y="95337"/>
                  </a:lnTo>
                  <a:cubicBezTo>
                    <a:pt x="77567" y="95055"/>
                    <a:pt x="77849" y="94491"/>
                    <a:pt x="78131" y="93926"/>
                  </a:cubicBezTo>
                  <a:cubicBezTo>
                    <a:pt x="78413" y="93644"/>
                    <a:pt x="78413" y="93362"/>
                    <a:pt x="78977" y="93362"/>
                  </a:cubicBezTo>
                  <a:cubicBezTo>
                    <a:pt x="79259" y="93362"/>
                    <a:pt x="79823" y="93080"/>
                    <a:pt x="79823" y="92798"/>
                  </a:cubicBezTo>
                  <a:lnTo>
                    <a:pt x="80952" y="91952"/>
                  </a:lnTo>
                  <a:cubicBezTo>
                    <a:pt x="80952" y="91670"/>
                    <a:pt x="81234" y="91670"/>
                    <a:pt x="81234" y="91388"/>
                  </a:cubicBezTo>
                  <a:cubicBezTo>
                    <a:pt x="81234" y="90542"/>
                    <a:pt x="81798" y="90260"/>
                    <a:pt x="82362" y="89696"/>
                  </a:cubicBezTo>
                  <a:cubicBezTo>
                    <a:pt x="83208" y="89131"/>
                    <a:pt x="84054" y="88567"/>
                    <a:pt x="84054" y="87439"/>
                  </a:cubicBezTo>
                  <a:lnTo>
                    <a:pt x="84336" y="87157"/>
                  </a:lnTo>
                  <a:cubicBezTo>
                    <a:pt x="85182" y="86875"/>
                    <a:pt x="85464" y="86311"/>
                    <a:pt x="86311" y="86029"/>
                  </a:cubicBezTo>
                  <a:lnTo>
                    <a:pt x="88003" y="84900"/>
                  </a:lnTo>
                  <a:cubicBezTo>
                    <a:pt x="88849" y="84336"/>
                    <a:pt x="89413" y="83772"/>
                    <a:pt x="89978" y="82926"/>
                  </a:cubicBezTo>
                  <a:lnTo>
                    <a:pt x="95619" y="78977"/>
                  </a:lnTo>
                  <a:cubicBezTo>
                    <a:pt x="96183" y="78413"/>
                    <a:pt x="96747" y="77849"/>
                    <a:pt x="97593" y="77567"/>
                  </a:cubicBezTo>
                  <a:lnTo>
                    <a:pt x="98722" y="76721"/>
                  </a:lnTo>
                  <a:cubicBezTo>
                    <a:pt x="99004" y="76439"/>
                    <a:pt x="99568" y="75875"/>
                    <a:pt x="99850" y="75875"/>
                  </a:cubicBezTo>
                  <a:cubicBezTo>
                    <a:pt x="100696" y="75592"/>
                    <a:pt x="100696" y="75028"/>
                    <a:pt x="100978" y="74464"/>
                  </a:cubicBezTo>
                  <a:cubicBezTo>
                    <a:pt x="100978" y="73618"/>
                    <a:pt x="101260" y="72490"/>
                    <a:pt x="101260" y="71644"/>
                  </a:cubicBezTo>
                  <a:lnTo>
                    <a:pt x="101260" y="71079"/>
                  </a:lnTo>
                  <a:cubicBezTo>
                    <a:pt x="100978" y="71079"/>
                    <a:pt x="100978" y="70797"/>
                    <a:pt x="100978" y="70515"/>
                  </a:cubicBezTo>
                  <a:cubicBezTo>
                    <a:pt x="100978" y="70233"/>
                    <a:pt x="100978" y="70233"/>
                    <a:pt x="101260" y="69951"/>
                  </a:cubicBezTo>
                  <a:cubicBezTo>
                    <a:pt x="101260" y="69387"/>
                    <a:pt x="101260" y="68823"/>
                    <a:pt x="100978" y="68259"/>
                  </a:cubicBezTo>
                  <a:lnTo>
                    <a:pt x="100978" y="65438"/>
                  </a:lnTo>
                  <a:cubicBezTo>
                    <a:pt x="100978" y="64874"/>
                    <a:pt x="100696" y="64028"/>
                    <a:pt x="100696" y="63464"/>
                  </a:cubicBezTo>
                  <a:lnTo>
                    <a:pt x="100696" y="62053"/>
                  </a:lnTo>
                  <a:cubicBezTo>
                    <a:pt x="100414" y="61771"/>
                    <a:pt x="100132" y="61207"/>
                    <a:pt x="100132" y="60925"/>
                  </a:cubicBezTo>
                  <a:cubicBezTo>
                    <a:pt x="100132" y="60643"/>
                    <a:pt x="100132" y="60643"/>
                    <a:pt x="100414" y="60361"/>
                  </a:cubicBezTo>
                  <a:cubicBezTo>
                    <a:pt x="100414" y="59797"/>
                    <a:pt x="100132" y="59233"/>
                    <a:pt x="100132" y="58669"/>
                  </a:cubicBezTo>
                  <a:cubicBezTo>
                    <a:pt x="99568" y="57823"/>
                    <a:pt x="99286" y="56976"/>
                    <a:pt x="99004" y="55848"/>
                  </a:cubicBezTo>
                  <a:cubicBezTo>
                    <a:pt x="98722" y="55566"/>
                    <a:pt x="98722" y="55284"/>
                    <a:pt x="98722" y="55002"/>
                  </a:cubicBezTo>
                  <a:lnTo>
                    <a:pt x="98722" y="54438"/>
                  </a:lnTo>
                  <a:cubicBezTo>
                    <a:pt x="98722" y="54156"/>
                    <a:pt x="98722" y="53874"/>
                    <a:pt x="98440" y="53592"/>
                  </a:cubicBezTo>
                  <a:cubicBezTo>
                    <a:pt x="97875" y="52745"/>
                    <a:pt x="97311" y="51899"/>
                    <a:pt x="96465" y="51053"/>
                  </a:cubicBezTo>
                  <a:cubicBezTo>
                    <a:pt x="96465" y="50771"/>
                    <a:pt x="96747" y="50489"/>
                    <a:pt x="96747" y="50207"/>
                  </a:cubicBezTo>
                  <a:cubicBezTo>
                    <a:pt x="96747" y="49643"/>
                    <a:pt x="96183" y="49361"/>
                    <a:pt x="95619" y="49361"/>
                  </a:cubicBezTo>
                  <a:lnTo>
                    <a:pt x="94773" y="48797"/>
                  </a:lnTo>
                  <a:cubicBezTo>
                    <a:pt x="93926" y="47668"/>
                    <a:pt x="93080" y="47104"/>
                    <a:pt x="92234" y="46258"/>
                  </a:cubicBezTo>
                  <a:cubicBezTo>
                    <a:pt x="91952" y="46258"/>
                    <a:pt x="91670" y="45976"/>
                    <a:pt x="91388" y="45976"/>
                  </a:cubicBezTo>
                  <a:cubicBezTo>
                    <a:pt x="89413" y="44848"/>
                    <a:pt x="89413" y="44848"/>
                    <a:pt x="87157" y="44848"/>
                  </a:cubicBezTo>
                  <a:cubicBezTo>
                    <a:pt x="86593" y="45130"/>
                    <a:pt x="86029" y="45130"/>
                    <a:pt x="85747" y="45412"/>
                  </a:cubicBezTo>
                  <a:lnTo>
                    <a:pt x="85464" y="45412"/>
                  </a:lnTo>
                  <a:cubicBezTo>
                    <a:pt x="83772" y="45694"/>
                    <a:pt x="82644" y="47104"/>
                    <a:pt x="80952" y="47950"/>
                  </a:cubicBezTo>
                  <a:cubicBezTo>
                    <a:pt x="80388" y="48232"/>
                    <a:pt x="80106" y="48515"/>
                    <a:pt x="79823" y="48515"/>
                  </a:cubicBezTo>
                  <a:cubicBezTo>
                    <a:pt x="79259" y="49079"/>
                    <a:pt x="78695" y="49361"/>
                    <a:pt x="77849" y="49361"/>
                  </a:cubicBezTo>
                  <a:lnTo>
                    <a:pt x="77285" y="49361"/>
                  </a:lnTo>
                  <a:cubicBezTo>
                    <a:pt x="77285" y="49361"/>
                    <a:pt x="77567" y="49643"/>
                    <a:pt x="77567" y="49925"/>
                  </a:cubicBezTo>
                  <a:cubicBezTo>
                    <a:pt x="77567" y="50207"/>
                    <a:pt x="77567" y="50489"/>
                    <a:pt x="77285" y="50489"/>
                  </a:cubicBezTo>
                  <a:cubicBezTo>
                    <a:pt x="76721" y="51053"/>
                    <a:pt x="76439" y="51617"/>
                    <a:pt x="76157" y="52181"/>
                  </a:cubicBezTo>
                  <a:lnTo>
                    <a:pt x="75592" y="52745"/>
                  </a:lnTo>
                  <a:lnTo>
                    <a:pt x="74746" y="52745"/>
                  </a:lnTo>
                  <a:lnTo>
                    <a:pt x="74746" y="53310"/>
                  </a:lnTo>
                  <a:cubicBezTo>
                    <a:pt x="74746" y="53592"/>
                    <a:pt x="74746" y="53592"/>
                    <a:pt x="74182" y="53874"/>
                  </a:cubicBezTo>
                  <a:lnTo>
                    <a:pt x="72772" y="55848"/>
                  </a:lnTo>
                  <a:cubicBezTo>
                    <a:pt x="72490" y="56130"/>
                    <a:pt x="72208" y="56130"/>
                    <a:pt x="71926" y="56130"/>
                  </a:cubicBezTo>
                  <a:lnTo>
                    <a:pt x="71361" y="56130"/>
                  </a:lnTo>
                  <a:cubicBezTo>
                    <a:pt x="71079" y="56130"/>
                    <a:pt x="70797" y="56412"/>
                    <a:pt x="70797" y="56694"/>
                  </a:cubicBezTo>
                  <a:cubicBezTo>
                    <a:pt x="70797" y="56976"/>
                    <a:pt x="70797" y="56976"/>
                    <a:pt x="70515" y="57258"/>
                  </a:cubicBezTo>
                  <a:lnTo>
                    <a:pt x="70515" y="57823"/>
                  </a:lnTo>
                  <a:cubicBezTo>
                    <a:pt x="70515" y="58387"/>
                    <a:pt x="70233" y="58387"/>
                    <a:pt x="69669" y="58387"/>
                  </a:cubicBezTo>
                  <a:lnTo>
                    <a:pt x="69105" y="58387"/>
                  </a:lnTo>
                  <a:cubicBezTo>
                    <a:pt x="68541" y="58387"/>
                    <a:pt x="68259" y="58951"/>
                    <a:pt x="68259" y="59515"/>
                  </a:cubicBezTo>
                  <a:lnTo>
                    <a:pt x="68823" y="59515"/>
                  </a:lnTo>
                  <a:lnTo>
                    <a:pt x="68823" y="59797"/>
                  </a:lnTo>
                  <a:cubicBezTo>
                    <a:pt x="68823" y="59797"/>
                    <a:pt x="68823" y="60079"/>
                    <a:pt x="68541" y="60079"/>
                  </a:cubicBezTo>
                  <a:lnTo>
                    <a:pt x="68259" y="59515"/>
                  </a:lnTo>
                  <a:close/>
                  <a:moveTo>
                    <a:pt x="2256" y="204777"/>
                  </a:moveTo>
                  <a:lnTo>
                    <a:pt x="1974" y="204494"/>
                  </a:lnTo>
                  <a:lnTo>
                    <a:pt x="1974" y="205059"/>
                  </a:lnTo>
                  <a:cubicBezTo>
                    <a:pt x="1974" y="205059"/>
                    <a:pt x="2256" y="205059"/>
                    <a:pt x="2256" y="204777"/>
                  </a:cubicBezTo>
                  <a:close/>
                  <a:moveTo>
                    <a:pt x="42591" y="147518"/>
                  </a:moveTo>
                  <a:cubicBezTo>
                    <a:pt x="42309" y="148082"/>
                    <a:pt x="42027" y="148646"/>
                    <a:pt x="42027" y="149493"/>
                  </a:cubicBezTo>
                  <a:lnTo>
                    <a:pt x="42309" y="149493"/>
                  </a:lnTo>
                  <a:lnTo>
                    <a:pt x="42873" y="148082"/>
                  </a:lnTo>
                  <a:lnTo>
                    <a:pt x="42591" y="147518"/>
                  </a:lnTo>
                  <a:close/>
                  <a:moveTo>
                    <a:pt x="98722" y="91952"/>
                  </a:moveTo>
                  <a:lnTo>
                    <a:pt x="98722" y="91388"/>
                  </a:lnTo>
                  <a:cubicBezTo>
                    <a:pt x="98722" y="91106"/>
                    <a:pt x="98722" y="90824"/>
                    <a:pt x="98440" y="90542"/>
                  </a:cubicBezTo>
                  <a:cubicBezTo>
                    <a:pt x="98157" y="90542"/>
                    <a:pt x="98157" y="90824"/>
                    <a:pt x="97875" y="91106"/>
                  </a:cubicBezTo>
                  <a:cubicBezTo>
                    <a:pt x="97311" y="91670"/>
                    <a:pt x="96465" y="92234"/>
                    <a:pt x="95337" y="92798"/>
                  </a:cubicBezTo>
                  <a:cubicBezTo>
                    <a:pt x="95055" y="92798"/>
                    <a:pt x="94773" y="93080"/>
                    <a:pt x="94773" y="93080"/>
                  </a:cubicBezTo>
                  <a:lnTo>
                    <a:pt x="94773" y="93362"/>
                  </a:lnTo>
                  <a:cubicBezTo>
                    <a:pt x="94773" y="93644"/>
                    <a:pt x="94491" y="93926"/>
                    <a:pt x="93926" y="94491"/>
                  </a:cubicBezTo>
                  <a:lnTo>
                    <a:pt x="92798" y="95901"/>
                  </a:lnTo>
                  <a:cubicBezTo>
                    <a:pt x="92798" y="96183"/>
                    <a:pt x="92234" y="96465"/>
                    <a:pt x="92234" y="96747"/>
                  </a:cubicBezTo>
                  <a:cubicBezTo>
                    <a:pt x="91388" y="97029"/>
                    <a:pt x="90824" y="97593"/>
                    <a:pt x="90260" y="98157"/>
                  </a:cubicBezTo>
                  <a:cubicBezTo>
                    <a:pt x="90260" y="98157"/>
                    <a:pt x="89978" y="98157"/>
                    <a:pt x="89978" y="97875"/>
                  </a:cubicBezTo>
                  <a:cubicBezTo>
                    <a:pt x="89695" y="97593"/>
                    <a:pt x="89695" y="97311"/>
                    <a:pt x="89695" y="97029"/>
                  </a:cubicBezTo>
                  <a:cubicBezTo>
                    <a:pt x="89695" y="96747"/>
                    <a:pt x="89695" y="96465"/>
                    <a:pt x="90260" y="96183"/>
                  </a:cubicBezTo>
                  <a:lnTo>
                    <a:pt x="90260" y="95901"/>
                  </a:lnTo>
                  <a:cubicBezTo>
                    <a:pt x="90260" y="95619"/>
                    <a:pt x="90260" y="95055"/>
                    <a:pt x="89978" y="95055"/>
                  </a:cubicBezTo>
                  <a:cubicBezTo>
                    <a:pt x="89413" y="95055"/>
                    <a:pt x="88849" y="95055"/>
                    <a:pt x="88285" y="95337"/>
                  </a:cubicBezTo>
                  <a:cubicBezTo>
                    <a:pt x="88003" y="95337"/>
                    <a:pt x="88003" y="95619"/>
                    <a:pt x="87721" y="95901"/>
                  </a:cubicBezTo>
                  <a:lnTo>
                    <a:pt x="87721" y="96747"/>
                  </a:lnTo>
                  <a:lnTo>
                    <a:pt x="87439" y="96747"/>
                  </a:lnTo>
                  <a:cubicBezTo>
                    <a:pt x="87157" y="96747"/>
                    <a:pt x="87157" y="96465"/>
                    <a:pt x="86875" y="96465"/>
                  </a:cubicBezTo>
                  <a:lnTo>
                    <a:pt x="86593" y="96183"/>
                  </a:lnTo>
                  <a:cubicBezTo>
                    <a:pt x="86311" y="96183"/>
                    <a:pt x="86311" y="95901"/>
                    <a:pt x="86311" y="95901"/>
                  </a:cubicBezTo>
                  <a:lnTo>
                    <a:pt x="86029" y="96183"/>
                  </a:lnTo>
                  <a:cubicBezTo>
                    <a:pt x="85747" y="96465"/>
                    <a:pt x="85464" y="96465"/>
                    <a:pt x="85464" y="96747"/>
                  </a:cubicBezTo>
                  <a:cubicBezTo>
                    <a:pt x="85182" y="97029"/>
                    <a:pt x="85182" y="97029"/>
                    <a:pt x="85182" y="97311"/>
                  </a:cubicBezTo>
                  <a:lnTo>
                    <a:pt x="85182" y="97875"/>
                  </a:lnTo>
                  <a:cubicBezTo>
                    <a:pt x="85182" y="98439"/>
                    <a:pt x="84900" y="99286"/>
                    <a:pt x="84336" y="99850"/>
                  </a:cubicBezTo>
                  <a:cubicBezTo>
                    <a:pt x="84336" y="100132"/>
                    <a:pt x="84054" y="100414"/>
                    <a:pt x="84054" y="100414"/>
                  </a:cubicBezTo>
                  <a:lnTo>
                    <a:pt x="84054" y="100978"/>
                  </a:lnTo>
                  <a:lnTo>
                    <a:pt x="84336" y="100978"/>
                  </a:lnTo>
                  <a:lnTo>
                    <a:pt x="85464" y="99850"/>
                  </a:lnTo>
                  <a:cubicBezTo>
                    <a:pt x="85747" y="99286"/>
                    <a:pt x="86311" y="99004"/>
                    <a:pt x="87157" y="98721"/>
                  </a:cubicBezTo>
                  <a:cubicBezTo>
                    <a:pt x="87439" y="98721"/>
                    <a:pt x="87439" y="99286"/>
                    <a:pt x="88003" y="99286"/>
                  </a:cubicBezTo>
                  <a:cubicBezTo>
                    <a:pt x="88003" y="99568"/>
                    <a:pt x="88285" y="99568"/>
                    <a:pt x="88285" y="99568"/>
                  </a:cubicBezTo>
                  <a:cubicBezTo>
                    <a:pt x="88285" y="99850"/>
                    <a:pt x="88567" y="100132"/>
                    <a:pt x="88567" y="100132"/>
                  </a:cubicBezTo>
                  <a:cubicBezTo>
                    <a:pt x="88567" y="100414"/>
                    <a:pt x="88285" y="100414"/>
                    <a:pt x="88285" y="100414"/>
                  </a:cubicBezTo>
                  <a:cubicBezTo>
                    <a:pt x="87721" y="100696"/>
                    <a:pt x="87157" y="101260"/>
                    <a:pt x="86875" y="101824"/>
                  </a:cubicBezTo>
                  <a:cubicBezTo>
                    <a:pt x="86875" y="102106"/>
                    <a:pt x="86029" y="102388"/>
                    <a:pt x="86029" y="102670"/>
                  </a:cubicBezTo>
                  <a:cubicBezTo>
                    <a:pt x="85747" y="102952"/>
                    <a:pt x="85464" y="103234"/>
                    <a:pt x="85182" y="103234"/>
                  </a:cubicBezTo>
                  <a:cubicBezTo>
                    <a:pt x="84900" y="104363"/>
                    <a:pt x="84054" y="104927"/>
                    <a:pt x="82926" y="105491"/>
                  </a:cubicBezTo>
                  <a:cubicBezTo>
                    <a:pt x="82644" y="105491"/>
                    <a:pt x="82644" y="105773"/>
                    <a:pt x="82362" y="106055"/>
                  </a:cubicBezTo>
                  <a:cubicBezTo>
                    <a:pt x="82080" y="107183"/>
                    <a:pt x="81234" y="108312"/>
                    <a:pt x="80388" y="109158"/>
                  </a:cubicBezTo>
                  <a:cubicBezTo>
                    <a:pt x="80388" y="109722"/>
                    <a:pt x="79823" y="110286"/>
                    <a:pt x="79259" y="110568"/>
                  </a:cubicBezTo>
                  <a:cubicBezTo>
                    <a:pt x="79259" y="110568"/>
                    <a:pt x="78977" y="110850"/>
                    <a:pt x="78977" y="111132"/>
                  </a:cubicBezTo>
                  <a:cubicBezTo>
                    <a:pt x="78977" y="111696"/>
                    <a:pt x="78131" y="112260"/>
                    <a:pt x="77567" y="112542"/>
                  </a:cubicBezTo>
                  <a:cubicBezTo>
                    <a:pt x="77285" y="112542"/>
                    <a:pt x="77003" y="112825"/>
                    <a:pt x="77003" y="113107"/>
                  </a:cubicBezTo>
                  <a:cubicBezTo>
                    <a:pt x="77003" y="113953"/>
                    <a:pt x="76157" y="114235"/>
                    <a:pt x="75592" y="115081"/>
                  </a:cubicBezTo>
                  <a:cubicBezTo>
                    <a:pt x="75592" y="115081"/>
                    <a:pt x="75028" y="115363"/>
                    <a:pt x="75028" y="115645"/>
                  </a:cubicBezTo>
                  <a:cubicBezTo>
                    <a:pt x="74464" y="117055"/>
                    <a:pt x="73618" y="117902"/>
                    <a:pt x="72490" y="119030"/>
                  </a:cubicBezTo>
                  <a:cubicBezTo>
                    <a:pt x="72490" y="119312"/>
                    <a:pt x="72208" y="119312"/>
                    <a:pt x="71926" y="119312"/>
                  </a:cubicBezTo>
                  <a:lnTo>
                    <a:pt x="71644" y="119312"/>
                  </a:lnTo>
                  <a:cubicBezTo>
                    <a:pt x="71361" y="119312"/>
                    <a:pt x="71079" y="119030"/>
                    <a:pt x="71079" y="119030"/>
                  </a:cubicBezTo>
                  <a:cubicBezTo>
                    <a:pt x="71079" y="119030"/>
                    <a:pt x="71361" y="119030"/>
                    <a:pt x="71644" y="118748"/>
                  </a:cubicBezTo>
                  <a:cubicBezTo>
                    <a:pt x="71926" y="118466"/>
                    <a:pt x="72490" y="117902"/>
                    <a:pt x="72490" y="117338"/>
                  </a:cubicBezTo>
                  <a:lnTo>
                    <a:pt x="72490" y="117055"/>
                  </a:lnTo>
                  <a:cubicBezTo>
                    <a:pt x="72490" y="116773"/>
                    <a:pt x="72208" y="116773"/>
                    <a:pt x="71926" y="116491"/>
                  </a:cubicBezTo>
                  <a:lnTo>
                    <a:pt x="71926" y="115645"/>
                  </a:lnTo>
                  <a:cubicBezTo>
                    <a:pt x="72208" y="115363"/>
                    <a:pt x="72772" y="115081"/>
                    <a:pt x="73054" y="115081"/>
                  </a:cubicBezTo>
                  <a:lnTo>
                    <a:pt x="73618" y="115081"/>
                  </a:lnTo>
                  <a:cubicBezTo>
                    <a:pt x="73618" y="115081"/>
                    <a:pt x="73336" y="115363"/>
                    <a:pt x="73900" y="115081"/>
                  </a:cubicBezTo>
                  <a:lnTo>
                    <a:pt x="74182" y="115081"/>
                  </a:lnTo>
                  <a:cubicBezTo>
                    <a:pt x="74464" y="114799"/>
                    <a:pt x="74464" y="114517"/>
                    <a:pt x="74464" y="114517"/>
                  </a:cubicBezTo>
                  <a:cubicBezTo>
                    <a:pt x="73900" y="114235"/>
                    <a:pt x="73900" y="113671"/>
                    <a:pt x="73900" y="113389"/>
                  </a:cubicBezTo>
                  <a:cubicBezTo>
                    <a:pt x="73900" y="113107"/>
                    <a:pt x="73900" y="112825"/>
                    <a:pt x="74464" y="112542"/>
                  </a:cubicBezTo>
                  <a:cubicBezTo>
                    <a:pt x="74746" y="111978"/>
                    <a:pt x="75310" y="111414"/>
                    <a:pt x="75875" y="111132"/>
                  </a:cubicBezTo>
                  <a:cubicBezTo>
                    <a:pt x="76157" y="111132"/>
                    <a:pt x="76157" y="110850"/>
                    <a:pt x="76157" y="110850"/>
                  </a:cubicBezTo>
                  <a:cubicBezTo>
                    <a:pt x="76157" y="110004"/>
                    <a:pt x="77003" y="109440"/>
                    <a:pt x="77567" y="108594"/>
                  </a:cubicBezTo>
                  <a:cubicBezTo>
                    <a:pt x="78131" y="108030"/>
                    <a:pt x="78695" y="107465"/>
                    <a:pt x="79541" y="107465"/>
                  </a:cubicBezTo>
                  <a:cubicBezTo>
                    <a:pt x="79823" y="107465"/>
                    <a:pt x="79823" y="107183"/>
                    <a:pt x="79823" y="106901"/>
                  </a:cubicBezTo>
                  <a:cubicBezTo>
                    <a:pt x="79823" y="106619"/>
                    <a:pt x="79541" y="106337"/>
                    <a:pt x="79823" y="106337"/>
                  </a:cubicBezTo>
                  <a:cubicBezTo>
                    <a:pt x="80106" y="105773"/>
                    <a:pt x="80670" y="105209"/>
                    <a:pt x="81234" y="104645"/>
                  </a:cubicBezTo>
                  <a:cubicBezTo>
                    <a:pt x="81516" y="104363"/>
                    <a:pt x="81516" y="104363"/>
                    <a:pt x="81798" y="104363"/>
                  </a:cubicBezTo>
                  <a:cubicBezTo>
                    <a:pt x="82080" y="104645"/>
                    <a:pt x="82080" y="104645"/>
                    <a:pt x="82362" y="104645"/>
                  </a:cubicBezTo>
                  <a:cubicBezTo>
                    <a:pt x="82644" y="104645"/>
                    <a:pt x="82926" y="104645"/>
                    <a:pt x="83208" y="104363"/>
                  </a:cubicBezTo>
                  <a:cubicBezTo>
                    <a:pt x="83772" y="104081"/>
                    <a:pt x="84054" y="103799"/>
                    <a:pt x="84054" y="103517"/>
                  </a:cubicBezTo>
                  <a:cubicBezTo>
                    <a:pt x="84336" y="102952"/>
                    <a:pt x="84618" y="102388"/>
                    <a:pt x="85182" y="101824"/>
                  </a:cubicBezTo>
                  <a:lnTo>
                    <a:pt x="85182" y="101542"/>
                  </a:lnTo>
                  <a:lnTo>
                    <a:pt x="84900" y="101542"/>
                  </a:lnTo>
                  <a:lnTo>
                    <a:pt x="83490" y="102670"/>
                  </a:lnTo>
                  <a:cubicBezTo>
                    <a:pt x="83208" y="102952"/>
                    <a:pt x="82926" y="102952"/>
                    <a:pt x="82926" y="102952"/>
                  </a:cubicBezTo>
                  <a:cubicBezTo>
                    <a:pt x="82644" y="102952"/>
                    <a:pt x="82644" y="102952"/>
                    <a:pt x="82644" y="102670"/>
                  </a:cubicBezTo>
                  <a:lnTo>
                    <a:pt x="82080" y="102106"/>
                  </a:lnTo>
                  <a:cubicBezTo>
                    <a:pt x="81798" y="102106"/>
                    <a:pt x="81516" y="102388"/>
                    <a:pt x="81234" y="102670"/>
                  </a:cubicBezTo>
                  <a:cubicBezTo>
                    <a:pt x="80670" y="102952"/>
                    <a:pt x="80106" y="103517"/>
                    <a:pt x="79541" y="104081"/>
                  </a:cubicBezTo>
                  <a:cubicBezTo>
                    <a:pt x="78977" y="104645"/>
                    <a:pt x="78695" y="104927"/>
                    <a:pt x="78695" y="105491"/>
                  </a:cubicBezTo>
                  <a:cubicBezTo>
                    <a:pt x="78977" y="105491"/>
                    <a:pt x="78695" y="105773"/>
                    <a:pt x="78695" y="106055"/>
                  </a:cubicBezTo>
                  <a:cubicBezTo>
                    <a:pt x="78131" y="107183"/>
                    <a:pt x="77567" y="108030"/>
                    <a:pt x="76439" y="108876"/>
                  </a:cubicBezTo>
                  <a:lnTo>
                    <a:pt x="74464" y="110568"/>
                  </a:lnTo>
                  <a:cubicBezTo>
                    <a:pt x="74464" y="110850"/>
                    <a:pt x="74182" y="110850"/>
                    <a:pt x="73900" y="110850"/>
                  </a:cubicBezTo>
                  <a:lnTo>
                    <a:pt x="73054" y="110850"/>
                  </a:lnTo>
                  <a:cubicBezTo>
                    <a:pt x="72490" y="110850"/>
                    <a:pt x="71926" y="110850"/>
                    <a:pt x="71644" y="111696"/>
                  </a:cubicBezTo>
                  <a:cubicBezTo>
                    <a:pt x="71361" y="111978"/>
                    <a:pt x="71361" y="111978"/>
                    <a:pt x="71079" y="111978"/>
                  </a:cubicBezTo>
                  <a:lnTo>
                    <a:pt x="69951" y="111978"/>
                  </a:lnTo>
                  <a:cubicBezTo>
                    <a:pt x="69387" y="112260"/>
                    <a:pt x="69105" y="112542"/>
                    <a:pt x="69105" y="113107"/>
                  </a:cubicBezTo>
                  <a:lnTo>
                    <a:pt x="69105" y="114517"/>
                  </a:lnTo>
                  <a:cubicBezTo>
                    <a:pt x="69105" y="114799"/>
                    <a:pt x="68823" y="114799"/>
                    <a:pt x="68823" y="114799"/>
                  </a:cubicBezTo>
                  <a:cubicBezTo>
                    <a:pt x="68823" y="114799"/>
                    <a:pt x="68541" y="114799"/>
                    <a:pt x="68541" y="114517"/>
                  </a:cubicBezTo>
                  <a:cubicBezTo>
                    <a:pt x="68259" y="114517"/>
                    <a:pt x="68541" y="113953"/>
                    <a:pt x="67977" y="113953"/>
                  </a:cubicBezTo>
                  <a:cubicBezTo>
                    <a:pt x="67695" y="113953"/>
                    <a:pt x="67695" y="114235"/>
                    <a:pt x="67413" y="114517"/>
                  </a:cubicBezTo>
                  <a:lnTo>
                    <a:pt x="66002" y="115645"/>
                  </a:lnTo>
                  <a:cubicBezTo>
                    <a:pt x="65720" y="115927"/>
                    <a:pt x="65438" y="116209"/>
                    <a:pt x="65438" y="116491"/>
                  </a:cubicBezTo>
                  <a:cubicBezTo>
                    <a:pt x="65438" y="116773"/>
                    <a:pt x="65720" y="117055"/>
                    <a:pt x="66002" y="117055"/>
                  </a:cubicBezTo>
                  <a:lnTo>
                    <a:pt x="66848" y="117902"/>
                  </a:lnTo>
                  <a:cubicBezTo>
                    <a:pt x="67130" y="117902"/>
                    <a:pt x="67130" y="117902"/>
                    <a:pt x="67130" y="118184"/>
                  </a:cubicBezTo>
                  <a:lnTo>
                    <a:pt x="67130" y="118466"/>
                  </a:lnTo>
                  <a:cubicBezTo>
                    <a:pt x="67130" y="118748"/>
                    <a:pt x="66848" y="118748"/>
                    <a:pt x="66566" y="118748"/>
                  </a:cubicBezTo>
                  <a:cubicBezTo>
                    <a:pt x="66284" y="119030"/>
                    <a:pt x="66002" y="119030"/>
                    <a:pt x="66002" y="119594"/>
                  </a:cubicBezTo>
                  <a:cubicBezTo>
                    <a:pt x="66284" y="119594"/>
                    <a:pt x="66284" y="119876"/>
                    <a:pt x="66284" y="119876"/>
                  </a:cubicBezTo>
                  <a:lnTo>
                    <a:pt x="66284" y="120440"/>
                  </a:lnTo>
                  <a:cubicBezTo>
                    <a:pt x="66284" y="121004"/>
                    <a:pt x="66002" y="121004"/>
                    <a:pt x="65720" y="121286"/>
                  </a:cubicBezTo>
                  <a:cubicBezTo>
                    <a:pt x="65438" y="121286"/>
                    <a:pt x="65156" y="121286"/>
                    <a:pt x="64592" y="121568"/>
                  </a:cubicBezTo>
                  <a:cubicBezTo>
                    <a:pt x="64310" y="121568"/>
                    <a:pt x="63746" y="121568"/>
                    <a:pt x="63746" y="121286"/>
                  </a:cubicBezTo>
                  <a:cubicBezTo>
                    <a:pt x="63464" y="121286"/>
                    <a:pt x="63464" y="121004"/>
                    <a:pt x="63464" y="121004"/>
                  </a:cubicBezTo>
                  <a:lnTo>
                    <a:pt x="63182" y="121286"/>
                  </a:lnTo>
                  <a:cubicBezTo>
                    <a:pt x="62618" y="121568"/>
                    <a:pt x="62336" y="121568"/>
                    <a:pt x="62054" y="121568"/>
                  </a:cubicBezTo>
                  <a:cubicBezTo>
                    <a:pt x="61489" y="121568"/>
                    <a:pt x="61207" y="121851"/>
                    <a:pt x="60925" y="122133"/>
                  </a:cubicBezTo>
                  <a:lnTo>
                    <a:pt x="60925" y="122415"/>
                  </a:lnTo>
                  <a:cubicBezTo>
                    <a:pt x="60925" y="122415"/>
                    <a:pt x="60643" y="122415"/>
                    <a:pt x="60643" y="122133"/>
                  </a:cubicBezTo>
                  <a:cubicBezTo>
                    <a:pt x="60361" y="121851"/>
                    <a:pt x="60361" y="121851"/>
                    <a:pt x="60079" y="121851"/>
                  </a:cubicBezTo>
                  <a:cubicBezTo>
                    <a:pt x="59797" y="122133"/>
                    <a:pt x="59797" y="122133"/>
                    <a:pt x="59797" y="122415"/>
                  </a:cubicBezTo>
                  <a:lnTo>
                    <a:pt x="59515" y="122697"/>
                  </a:lnTo>
                  <a:cubicBezTo>
                    <a:pt x="59515" y="122697"/>
                    <a:pt x="59515" y="122979"/>
                    <a:pt x="59797" y="122979"/>
                  </a:cubicBezTo>
                  <a:cubicBezTo>
                    <a:pt x="60361" y="123543"/>
                    <a:pt x="60925" y="123825"/>
                    <a:pt x="60925" y="124671"/>
                  </a:cubicBezTo>
                  <a:lnTo>
                    <a:pt x="60925" y="124953"/>
                  </a:lnTo>
                  <a:cubicBezTo>
                    <a:pt x="60925" y="125235"/>
                    <a:pt x="61207" y="125235"/>
                    <a:pt x="61772" y="125235"/>
                  </a:cubicBezTo>
                  <a:lnTo>
                    <a:pt x="62054" y="125235"/>
                  </a:lnTo>
                  <a:cubicBezTo>
                    <a:pt x="62336" y="124953"/>
                    <a:pt x="62900" y="124671"/>
                    <a:pt x="63182" y="124671"/>
                  </a:cubicBezTo>
                  <a:lnTo>
                    <a:pt x="63464" y="124671"/>
                  </a:lnTo>
                  <a:lnTo>
                    <a:pt x="63464" y="125235"/>
                  </a:lnTo>
                  <a:cubicBezTo>
                    <a:pt x="64028" y="125799"/>
                    <a:pt x="64310" y="125799"/>
                    <a:pt x="64874" y="125799"/>
                  </a:cubicBezTo>
                  <a:cubicBezTo>
                    <a:pt x="65156" y="125799"/>
                    <a:pt x="65438" y="125517"/>
                    <a:pt x="65438" y="125235"/>
                  </a:cubicBezTo>
                  <a:cubicBezTo>
                    <a:pt x="65438" y="124671"/>
                    <a:pt x="65438" y="124389"/>
                    <a:pt x="66002" y="123825"/>
                  </a:cubicBezTo>
                  <a:cubicBezTo>
                    <a:pt x="66002" y="123825"/>
                    <a:pt x="66002" y="123543"/>
                    <a:pt x="66284" y="123261"/>
                  </a:cubicBezTo>
                  <a:cubicBezTo>
                    <a:pt x="66566" y="122133"/>
                    <a:pt x="67695" y="121286"/>
                    <a:pt x="68259" y="120440"/>
                  </a:cubicBezTo>
                  <a:cubicBezTo>
                    <a:pt x="68823" y="120158"/>
                    <a:pt x="69105" y="120158"/>
                    <a:pt x="69669" y="120158"/>
                  </a:cubicBezTo>
                  <a:lnTo>
                    <a:pt x="70797" y="120722"/>
                  </a:lnTo>
                  <a:lnTo>
                    <a:pt x="70797" y="121286"/>
                  </a:lnTo>
                  <a:lnTo>
                    <a:pt x="70233" y="121851"/>
                  </a:lnTo>
                  <a:cubicBezTo>
                    <a:pt x="69387" y="122697"/>
                    <a:pt x="68823" y="123543"/>
                    <a:pt x="68541" y="124671"/>
                  </a:cubicBezTo>
                  <a:lnTo>
                    <a:pt x="67977" y="124953"/>
                  </a:lnTo>
                  <a:lnTo>
                    <a:pt x="66566" y="127492"/>
                  </a:lnTo>
                  <a:cubicBezTo>
                    <a:pt x="66284" y="127774"/>
                    <a:pt x="65720" y="128056"/>
                    <a:pt x="65438" y="128620"/>
                  </a:cubicBezTo>
                  <a:cubicBezTo>
                    <a:pt x="65156" y="128620"/>
                    <a:pt x="64874" y="128902"/>
                    <a:pt x="64874" y="129184"/>
                  </a:cubicBezTo>
                  <a:cubicBezTo>
                    <a:pt x="64592" y="130030"/>
                    <a:pt x="64028" y="131159"/>
                    <a:pt x="63182" y="132005"/>
                  </a:cubicBezTo>
                  <a:cubicBezTo>
                    <a:pt x="62900" y="132569"/>
                    <a:pt x="62900" y="133133"/>
                    <a:pt x="62054" y="133133"/>
                  </a:cubicBezTo>
                  <a:cubicBezTo>
                    <a:pt x="61772" y="133133"/>
                    <a:pt x="61772" y="132851"/>
                    <a:pt x="61772" y="132569"/>
                  </a:cubicBezTo>
                  <a:cubicBezTo>
                    <a:pt x="61772" y="132287"/>
                    <a:pt x="61772" y="132005"/>
                    <a:pt x="62054" y="131723"/>
                  </a:cubicBezTo>
                  <a:lnTo>
                    <a:pt x="62054" y="130876"/>
                  </a:lnTo>
                  <a:cubicBezTo>
                    <a:pt x="61207" y="130312"/>
                    <a:pt x="60643" y="129748"/>
                    <a:pt x="59515" y="129748"/>
                  </a:cubicBezTo>
                  <a:lnTo>
                    <a:pt x="58951" y="129748"/>
                  </a:lnTo>
                  <a:cubicBezTo>
                    <a:pt x="58669" y="129748"/>
                    <a:pt x="58669" y="129466"/>
                    <a:pt x="58387" y="129466"/>
                  </a:cubicBezTo>
                  <a:cubicBezTo>
                    <a:pt x="58105" y="129466"/>
                    <a:pt x="57823" y="129466"/>
                    <a:pt x="57541" y="129748"/>
                  </a:cubicBezTo>
                  <a:cubicBezTo>
                    <a:pt x="57258" y="130030"/>
                    <a:pt x="57258" y="130312"/>
                    <a:pt x="56976" y="130312"/>
                  </a:cubicBezTo>
                  <a:cubicBezTo>
                    <a:pt x="56976" y="130312"/>
                    <a:pt x="56694" y="130030"/>
                    <a:pt x="56412" y="130030"/>
                  </a:cubicBezTo>
                  <a:cubicBezTo>
                    <a:pt x="55848" y="129466"/>
                    <a:pt x="55848" y="129466"/>
                    <a:pt x="55848" y="129184"/>
                  </a:cubicBezTo>
                  <a:cubicBezTo>
                    <a:pt x="55848" y="128902"/>
                    <a:pt x="55848" y="128620"/>
                    <a:pt x="56130" y="128056"/>
                  </a:cubicBezTo>
                  <a:lnTo>
                    <a:pt x="56412" y="127774"/>
                  </a:lnTo>
                  <a:lnTo>
                    <a:pt x="56130" y="127774"/>
                  </a:lnTo>
                  <a:cubicBezTo>
                    <a:pt x="55848" y="127774"/>
                    <a:pt x="55848" y="127774"/>
                    <a:pt x="55284" y="128056"/>
                  </a:cubicBezTo>
                  <a:cubicBezTo>
                    <a:pt x="55002" y="128902"/>
                    <a:pt x="54438" y="129748"/>
                    <a:pt x="53874" y="130594"/>
                  </a:cubicBezTo>
                  <a:cubicBezTo>
                    <a:pt x="52745" y="132005"/>
                    <a:pt x="52181" y="133697"/>
                    <a:pt x="51335" y="135389"/>
                  </a:cubicBezTo>
                  <a:lnTo>
                    <a:pt x="51335" y="135672"/>
                  </a:lnTo>
                  <a:cubicBezTo>
                    <a:pt x="51335" y="136236"/>
                    <a:pt x="51053" y="136518"/>
                    <a:pt x="50489" y="137082"/>
                  </a:cubicBezTo>
                  <a:cubicBezTo>
                    <a:pt x="50489" y="137082"/>
                    <a:pt x="50207" y="137082"/>
                    <a:pt x="49925" y="137364"/>
                  </a:cubicBezTo>
                  <a:cubicBezTo>
                    <a:pt x="49925" y="137364"/>
                    <a:pt x="49925" y="137646"/>
                    <a:pt x="49643" y="137928"/>
                  </a:cubicBezTo>
                  <a:cubicBezTo>
                    <a:pt x="49643" y="138210"/>
                    <a:pt x="49925" y="138210"/>
                    <a:pt x="50207" y="138210"/>
                  </a:cubicBezTo>
                  <a:cubicBezTo>
                    <a:pt x="50771" y="137928"/>
                    <a:pt x="51335" y="137928"/>
                    <a:pt x="52181" y="137364"/>
                  </a:cubicBezTo>
                  <a:cubicBezTo>
                    <a:pt x="52463" y="137364"/>
                    <a:pt x="52745" y="137364"/>
                    <a:pt x="53027" y="137082"/>
                  </a:cubicBezTo>
                  <a:cubicBezTo>
                    <a:pt x="52745" y="137928"/>
                    <a:pt x="52463" y="138492"/>
                    <a:pt x="51899" y="138774"/>
                  </a:cubicBezTo>
                  <a:lnTo>
                    <a:pt x="50771" y="138774"/>
                  </a:lnTo>
                  <a:cubicBezTo>
                    <a:pt x="50489" y="139056"/>
                    <a:pt x="50207" y="139056"/>
                    <a:pt x="50207" y="139056"/>
                  </a:cubicBezTo>
                  <a:lnTo>
                    <a:pt x="49925" y="139056"/>
                  </a:lnTo>
                  <a:cubicBezTo>
                    <a:pt x="49643" y="139056"/>
                    <a:pt x="49361" y="139338"/>
                    <a:pt x="49361" y="139620"/>
                  </a:cubicBezTo>
                  <a:cubicBezTo>
                    <a:pt x="49361" y="140185"/>
                    <a:pt x="48796" y="140749"/>
                    <a:pt x="48232" y="141595"/>
                  </a:cubicBezTo>
                  <a:cubicBezTo>
                    <a:pt x="47950" y="142159"/>
                    <a:pt x="47950" y="142723"/>
                    <a:pt x="47950" y="143287"/>
                  </a:cubicBezTo>
                  <a:cubicBezTo>
                    <a:pt x="47950" y="143851"/>
                    <a:pt x="47668" y="144415"/>
                    <a:pt x="47386" y="144697"/>
                  </a:cubicBezTo>
                  <a:lnTo>
                    <a:pt x="47386" y="144980"/>
                  </a:lnTo>
                  <a:cubicBezTo>
                    <a:pt x="47386" y="145262"/>
                    <a:pt x="47668" y="145262"/>
                    <a:pt x="47668" y="145262"/>
                  </a:cubicBezTo>
                  <a:lnTo>
                    <a:pt x="47950" y="144980"/>
                  </a:lnTo>
                  <a:cubicBezTo>
                    <a:pt x="48232" y="144697"/>
                    <a:pt x="48514" y="144415"/>
                    <a:pt x="48514" y="143851"/>
                  </a:cubicBezTo>
                  <a:lnTo>
                    <a:pt x="48514" y="143569"/>
                  </a:lnTo>
                  <a:cubicBezTo>
                    <a:pt x="48514" y="143287"/>
                    <a:pt x="48796" y="143005"/>
                    <a:pt x="49079" y="142723"/>
                  </a:cubicBezTo>
                  <a:cubicBezTo>
                    <a:pt x="49079" y="142441"/>
                    <a:pt x="49361" y="142159"/>
                    <a:pt x="49643" y="142159"/>
                  </a:cubicBezTo>
                  <a:cubicBezTo>
                    <a:pt x="49925" y="141877"/>
                    <a:pt x="50207" y="141877"/>
                    <a:pt x="50489" y="141877"/>
                  </a:cubicBezTo>
                  <a:cubicBezTo>
                    <a:pt x="50771" y="141877"/>
                    <a:pt x="51053" y="142159"/>
                    <a:pt x="51053" y="142441"/>
                  </a:cubicBezTo>
                  <a:cubicBezTo>
                    <a:pt x="51053" y="143005"/>
                    <a:pt x="50771" y="143287"/>
                    <a:pt x="50489" y="143569"/>
                  </a:cubicBezTo>
                  <a:cubicBezTo>
                    <a:pt x="50207" y="143851"/>
                    <a:pt x="49643" y="143851"/>
                    <a:pt x="49361" y="144415"/>
                  </a:cubicBezTo>
                  <a:cubicBezTo>
                    <a:pt x="49361" y="144697"/>
                    <a:pt x="49079" y="144697"/>
                    <a:pt x="49361" y="144697"/>
                  </a:cubicBezTo>
                  <a:cubicBezTo>
                    <a:pt x="49361" y="144697"/>
                    <a:pt x="49361" y="144980"/>
                    <a:pt x="49643" y="144697"/>
                  </a:cubicBezTo>
                  <a:cubicBezTo>
                    <a:pt x="49643" y="144697"/>
                    <a:pt x="49925" y="144415"/>
                    <a:pt x="50207" y="144415"/>
                  </a:cubicBezTo>
                  <a:cubicBezTo>
                    <a:pt x="50489" y="144415"/>
                    <a:pt x="50771" y="144697"/>
                    <a:pt x="51053" y="144980"/>
                  </a:cubicBezTo>
                  <a:cubicBezTo>
                    <a:pt x="51335" y="145262"/>
                    <a:pt x="51335" y="145544"/>
                    <a:pt x="51617" y="145544"/>
                  </a:cubicBezTo>
                  <a:lnTo>
                    <a:pt x="51899" y="145262"/>
                  </a:lnTo>
                  <a:cubicBezTo>
                    <a:pt x="52181" y="145262"/>
                    <a:pt x="52463" y="145544"/>
                    <a:pt x="52463" y="145826"/>
                  </a:cubicBezTo>
                  <a:cubicBezTo>
                    <a:pt x="52463" y="146390"/>
                    <a:pt x="52463" y="146954"/>
                    <a:pt x="52181" y="147518"/>
                  </a:cubicBezTo>
                  <a:cubicBezTo>
                    <a:pt x="52181" y="147800"/>
                    <a:pt x="52463" y="148082"/>
                    <a:pt x="52745" y="148082"/>
                  </a:cubicBezTo>
                  <a:lnTo>
                    <a:pt x="53027" y="148082"/>
                  </a:lnTo>
                  <a:cubicBezTo>
                    <a:pt x="53027" y="148082"/>
                    <a:pt x="53310" y="148082"/>
                    <a:pt x="53310" y="148364"/>
                  </a:cubicBezTo>
                  <a:lnTo>
                    <a:pt x="53874" y="150057"/>
                  </a:lnTo>
                  <a:cubicBezTo>
                    <a:pt x="53310" y="150339"/>
                    <a:pt x="53027" y="150903"/>
                    <a:pt x="52745" y="151467"/>
                  </a:cubicBezTo>
                  <a:cubicBezTo>
                    <a:pt x="52463" y="151749"/>
                    <a:pt x="52181" y="152313"/>
                    <a:pt x="52181" y="152595"/>
                  </a:cubicBezTo>
                  <a:lnTo>
                    <a:pt x="52181" y="152877"/>
                  </a:lnTo>
                  <a:lnTo>
                    <a:pt x="51617" y="152877"/>
                  </a:lnTo>
                  <a:cubicBezTo>
                    <a:pt x="51053" y="152877"/>
                    <a:pt x="50489" y="152877"/>
                    <a:pt x="50207" y="152595"/>
                  </a:cubicBezTo>
                  <a:cubicBezTo>
                    <a:pt x="50207" y="152313"/>
                    <a:pt x="49925" y="151749"/>
                    <a:pt x="49925" y="151467"/>
                  </a:cubicBezTo>
                  <a:lnTo>
                    <a:pt x="49361" y="151467"/>
                  </a:lnTo>
                  <a:lnTo>
                    <a:pt x="49361" y="151749"/>
                  </a:lnTo>
                  <a:cubicBezTo>
                    <a:pt x="49079" y="152313"/>
                    <a:pt x="49079" y="152877"/>
                    <a:pt x="49079" y="153441"/>
                  </a:cubicBezTo>
                  <a:cubicBezTo>
                    <a:pt x="49079" y="153723"/>
                    <a:pt x="48796" y="154006"/>
                    <a:pt x="48796" y="154288"/>
                  </a:cubicBezTo>
                  <a:lnTo>
                    <a:pt x="48514" y="154288"/>
                  </a:lnTo>
                  <a:cubicBezTo>
                    <a:pt x="48232" y="154288"/>
                    <a:pt x="47950" y="154006"/>
                    <a:pt x="47668" y="154006"/>
                  </a:cubicBezTo>
                  <a:lnTo>
                    <a:pt x="47386" y="153723"/>
                  </a:lnTo>
                  <a:lnTo>
                    <a:pt x="47104" y="154006"/>
                  </a:lnTo>
                  <a:cubicBezTo>
                    <a:pt x="46822" y="154288"/>
                    <a:pt x="46822" y="154570"/>
                    <a:pt x="46822" y="154570"/>
                  </a:cubicBezTo>
                  <a:cubicBezTo>
                    <a:pt x="46822" y="154852"/>
                    <a:pt x="47104" y="155416"/>
                    <a:pt x="47386" y="155416"/>
                  </a:cubicBezTo>
                  <a:cubicBezTo>
                    <a:pt x="47668" y="155980"/>
                    <a:pt x="48232" y="156262"/>
                    <a:pt x="48232" y="156826"/>
                  </a:cubicBezTo>
                  <a:cubicBezTo>
                    <a:pt x="48232" y="157108"/>
                    <a:pt x="48514" y="157108"/>
                    <a:pt x="48796" y="157108"/>
                  </a:cubicBezTo>
                  <a:lnTo>
                    <a:pt x="49361" y="157108"/>
                  </a:lnTo>
                  <a:cubicBezTo>
                    <a:pt x="50207" y="156826"/>
                    <a:pt x="50771" y="157108"/>
                    <a:pt x="51899" y="156262"/>
                  </a:cubicBezTo>
                  <a:cubicBezTo>
                    <a:pt x="52181" y="155980"/>
                    <a:pt x="52463" y="155980"/>
                    <a:pt x="52745" y="155416"/>
                  </a:cubicBezTo>
                  <a:cubicBezTo>
                    <a:pt x="53310" y="155134"/>
                    <a:pt x="53874" y="155134"/>
                    <a:pt x="54438" y="155134"/>
                  </a:cubicBezTo>
                  <a:cubicBezTo>
                    <a:pt x="54438" y="154852"/>
                    <a:pt x="54720" y="154852"/>
                    <a:pt x="54720" y="154852"/>
                  </a:cubicBezTo>
                  <a:cubicBezTo>
                    <a:pt x="55002" y="154570"/>
                    <a:pt x="55284" y="154288"/>
                    <a:pt x="55566" y="154288"/>
                  </a:cubicBezTo>
                  <a:cubicBezTo>
                    <a:pt x="57258" y="153441"/>
                    <a:pt x="58387" y="152031"/>
                    <a:pt x="59797" y="151467"/>
                  </a:cubicBezTo>
                  <a:cubicBezTo>
                    <a:pt x="60361" y="151185"/>
                    <a:pt x="60643" y="150621"/>
                    <a:pt x="61489" y="150339"/>
                  </a:cubicBezTo>
                  <a:lnTo>
                    <a:pt x="65438" y="146954"/>
                  </a:lnTo>
                  <a:cubicBezTo>
                    <a:pt x="66848" y="146108"/>
                    <a:pt x="67695" y="144697"/>
                    <a:pt x="69387" y="143569"/>
                  </a:cubicBezTo>
                  <a:cubicBezTo>
                    <a:pt x="69669" y="143005"/>
                    <a:pt x="70233" y="142441"/>
                    <a:pt x="70797" y="141877"/>
                  </a:cubicBezTo>
                  <a:lnTo>
                    <a:pt x="73054" y="139902"/>
                  </a:lnTo>
                  <a:cubicBezTo>
                    <a:pt x="74182" y="139056"/>
                    <a:pt x="75028" y="137928"/>
                    <a:pt x="75875" y="136800"/>
                  </a:cubicBezTo>
                  <a:cubicBezTo>
                    <a:pt x="76157" y="136518"/>
                    <a:pt x="76157" y="136518"/>
                    <a:pt x="76439" y="136518"/>
                  </a:cubicBezTo>
                  <a:lnTo>
                    <a:pt x="81234" y="130876"/>
                  </a:lnTo>
                  <a:cubicBezTo>
                    <a:pt x="82926" y="128902"/>
                    <a:pt x="84336" y="126646"/>
                    <a:pt x="86029" y="124389"/>
                  </a:cubicBezTo>
                  <a:cubicBezTo>
                    <a:pt x="87157" y="122697"/>
                    <a:pt x="88285" y="120722"/>
                    <a:pt x="88849" y="119030"/>
                  </a:cubicBezTo>
                  <a:cubicBezTo>
                    <a:pt x="90542" y="115927"/>
                    <a:pt x="92234" y="113107"/>
                    <a:pt x="93080" y="109722"/>
                  </a:cubicBezTo>
                  <a:cubicBezTo>
                    <a:pt x="93080" y="109722"/>
                    <a:pt x="93362" y="109722"/>
                    <a:pt x="93362" y="109440"/>
                  </a:cubicBezTo>
                  <a:lnTo>
                    <a:pt x="96465" y="100414"/>
                  </a:lnTo>
                  <a:cubicBezTo>
                    <a:pt x="97311" y="98439"/>
                    <a:pt x="97311" y="96465"/>
                    <a:pt x="98157" y="94773"/>
                  </a:cubicBezTo>
                  <a:cubicBezTo>
                    <a:pt x="98440" y="94491"/>
                    <a:pt x="98440" y="94208"/>
                    <a:pt x="98440" y="93926"/>
                  </a:cubicBezTo>
                  <a:cubicBezTo>
                    <a:pt x="98440" y="93362"/>
                    <a:pt x="98722" y="92516"/>
                    <a:pt x="98722" y="91952"/>
                  </a:cubicBezTo>
                  <a:close/>
                  <a:moveTo>
                    <a:pt x="47668" y="152877"/>
                  </a:moveTo>
                  <a:cubicBezTo>
                    <a:pt x="47950" y="152877"/>
                    <a:pt x="47950" y="152877"/>
                    <a:pt x="47950" y="152595"/>
                  </a:cubicBezTo>
                  <a:lnTo>
                    <a:pt x="47950" y="152031"/>
                  </a:lnTo>
                  <a:cubicBezTo>
                    <a:pt x="47950" y="151749"/>
                    <a:pt x="47668" y="151749"/>
                    <a:pt x="47668" y="151749"/>
                  </a:cubicBezTo>
                  <a:cubicBezTo>
                    <a:pt x="47386" y="152031"/>
                    <a:pt x="47386" y="152031"/>
                    <a:pt x="47386" y="152313"/>
                  </a:cubicBezTo>
                  <a:lnTo>
                    <a:pt x="47668" y="152877"/>
                  </a:lnTo>
                  <a:close/>
                  <a:moveTo>
                    <a:pt x="48514" y="137646"/>
                  </a:moveTo>
                  <a:cubicBezTo>
                    <a:pt x="48796" y="137646"/>
                    <a:pt x="48796" y="137364"/>
                    <a:pt x="49079" y="137082"/>
                  </a:cubicBezTo>
                  <a:cubicBezTo>
                    <a:pt x="49079" y="136800"/>
                    <a:pt x="48796" y="136518"/>
                    <a:pt x="48514" y="136518"/>
                  </a:cubicBezTo>
                  <a:cubicBezTo>
                    <a:pt x="48514" y="136518"/>
                    <a:pt x="48232" y="136518"/>
                    <a:pt x="47950" y="136800"/>
                  </a:cubicBezTo>
                  <a:cubicBezTo>
                    <a:pt x="47668" y="136800"/>
                    <a:pt x="47950" y="137082"/>
                    <a:pt x="47950" y="137646"/>
                  </a:cubicBezTo>
                  <a:cubicBezTo>
                    <a:pt x="47950" y="137646"/>
                    <a:pt x="47668" y="137928"/>
                    <a:pt x="47668" y="138210"/>
                  </a:cubicBezTo>
                  <a:cubicBezTo>
                    <a:pt x="47668" y="138210"/>
                    <a:pt x="48232" y="138210"/>
                    <a:pt x="48514" y="137646"/>
                  </a:cubicBezTo>
                  <a:close/>
                  <a:moveTo>
                    <a:pt x="49079" y="135672"/>
                  </a:moveTo>
                  <a:lnTo>
                    <a:pt x="49361" y="135672"/>
                  </a:lnTo>
                  <a:cubicBezTo>
                    <a:pt x="50207" y="135107"/>
                    <a:pt x="50489" y="133979"/>
                    <a:pt x="51053" y="133415"/>
                  </a:cubicBezTo>
                  <a:lnTo>
                    <a:pt x="50771" y="133415"/>
                  </a:lnTo>
                  <a:cubicBezTo>
                    <a:pt x="50489" y="133415"/>
                    <a:pt x="50489" y="133415"/>
                    <a:pt x="50207" y="133697"/>
                  </a:cubicBezTo>
                  <a:cubicBezTo>
                    <a:pt x="50207" y="133979"/>
                    <a:pt x="50207" y="134261"/>
                    <a:pt x="49643" y="134543"/>
                  </a:cubicBezTo>
                  <a:cubicBezTo>
                    <a:pt x="49643" y="134825"/>
                    <a:pt x="49361" y="135107"/>
                    <a:pt x="49079" y="135389"/>
                  </a:cubicBezTo>
                  <a:lnTo>
                    <a:pt x="49079" y="135672"/>
                  </a:lnTo>
                  <a:close/>
                  <a:moveTo>
                    <a:pt x="53592" y="134825"/>
                  </a:moveTo>
                  <a:cubicBezTo>
                    <a:pt x="53592" y="134825"/>
                    <a:pt x="53592" y="134543"/>
                    <a:pt x="53874" y="134261"/>
                  </a:cubicBezTo>
                  <a:cubicBezTo>
                    <a:pt x="53874" y="133979"/>
                    <a:pt x="53592" y="133697"/>
                    <a:pt x="53592" y="133415"/>
                  </a:cubicBezTo>
                  <a:cubicBezTo>
                    <a:pt x="53592" y="132569"/>
                    <a:pt x="53874" y="132287"/>
                    <a:pt x="54438" y="132287"/>
                  </a:cubicBezTo>
                  <a:cubicBezTo>
                    <a:pt x="54720" y="132287"/>
                    <a:pt x="55002" y="132005"/>
                    <a:pt x="55284" y="132005"/>
                  </a:cubicBezTo>
                  <a:lnTo>
                    <a:pt x="55566" y="132005"/>
                  </a:lnTo>
                  <a:cubicBezTo>
                    <a:pt x="55848" y="132005"/>
                    <a:pt x="55848" y="132005"/>
                    <a:pt x="55848" y="132287"/>
                  </a:cubicBezTo>
                  <a:lnTo>
                    <a:pt x="55848" y="133133"/>
                  </a:lnTo>
                  <a:cubicBezTo>
                    <a:pt x="55848" y="133415"/>
                    <a:pt x="56130" y="133415"/>
                    <a:pt x="56130" y="133415"/>
                  </a:cubicBezTo>
                  <a:lnTo>
                    <a:pt x="56412" y="133415"/>
                  </a:lnTo>
                  <a:cubicBezTo>
                    <a:pt x="56412" y="133415"/>
                    <a:pt x="56694" y="133415"/>
                    <a:pt x="56976" y="133697"/>
                  </a:cubicBezTo>
                  <a:lnTo>
                    <a:pt x="56976" y="134543"/>
                  </a:lnTo>
                  <a:lnTo>
                    <a:pt x="56412" y="135672"/>
                  </a:lnTo>
                  <a:cubicBezTo>
                    <a:pt x="56412" y="135954"/>
                    <a:pt x="56130" y="135954"/>
                    <a:pt x="55848" y="135954"/>
                  </a:cubicBezTo>
                  <a:lnTo>
                    <a:pt x="55566" y="135954"/>
                  </a:lnTo>
                  <a:cubicBezTo>
                    <a:pt x="55002" y="136236"/>
                    <a:pt x="55284" y="137082"/>
                    <a:pt x="54720" y="137082"/>
                  </a:cubicBezTo>
                  <a:lnTo>
                    <a:pt x="53027" y="137082"/>
                  </a:lnTo>
                  <a:cubicBezTo>
                    <a:pt x="53027" y="136236"/>
                    <a:pt x="53027" y="135672"/>
                    <a:pt x="53592" y="134825"/>
                  </a:cubicBezTo>
                  <a:close/>
                  <a:moveTo>
                    <a:pt x="54720" y="148082"/>
                  </a:moveTo>
                  <a:cubicBezTo>
                    <a:pt x="55002" y="148364"/>
                    <a:pt x="55002" y="148646"/>
                    <a:pt x="55002" y="148646"/>
                  </a:cubicBezTo>
                  <a:lnTo>
                    <a:pt x="54720" y="148928"/>
                  </a:lnTo>
                  <a:lnTo>
                    <a:pt x="54438" y="148928"/>
                  </a:lnTo>
                  <a:lnTo>
                    <a:pt x="54438" y="148364"/>
                  </a:lnTo>
                  <a:cubicBezTo>
                    <a:pt x="54438" y="148364"/>
                    <a:pt x="54720" y="148364"/>
                    <a:pt x="54720" y="148082"/>
                  </a:cubicBezTo>
                  <a:close/>
                  <a:moveTo>
                    <a:pt x="54720" y="126646"/>
                  </a:moveTo>
                  <a:lnTo>
                    <a:pt x="55002" y="126646"/>
                  </a:lnTo>
                  <a:lnTo>
                    <a:pt x="55566" y="126081"/>
                  </a:lnTo>
                  <a:lnTo>
                    <a:pt x="55284" y="126081"/>
                  </a:lnTo>
                  <a:lnTo>
                    <a:pt x="55284" y="125799"/>
                  </a:lnTo>
                  <a:lnTo>
                    <a:pt x="54720" y="126363"/>
                  </a:lnTo>
                  <a:lnTo>
                    <a:pt x="54720" y="126646"/>
                  </a:lnTo>
                  <a:close/>
                  <a:moveTo>
                    <a:pt x="56976" y="131723"/>
                  </a:moveTo>
                  <a:lnTo>
                    <a:pt x="56694" y="131723"/>
                  </a:lnTo>
                  <a:cubicBezTo>
                    <a:pt x="56412" y="131723"/>
                    <a:pt x="56130" y="131723"/>
                    <a:pt x="56130" y="131441"/>
                  </a:cubicBezTo>
                  <a:lnTo>
                    <a:pt x="56976" y="130876"/>
                  </a:lnTo>
                  <a:lnTo>
                    <a:pt x="56976" y="131723"/>
                  </a:lnTo>
                  <a:close/>
                  <a:moveTo>
                    <a:pt x="58951" y="128056"/>
                  </a:moveTo>
                  <a:lnTo>
                    <a:pt x="59233" y="128338"/>
                  </a:lnTo>
                  <a:lnTo>
                    <a:pt x="61772" y="127774"/>
                  </a:lnTo>
                  <a:lnTo>
                    <a:pt x="61772" y="127492"/>
                  </a:lnTo>
                  <a:cubicBezTo>
                    <a:pt x="61489" y="127210"/>
                    <a:pt x="61207" y="126928"/>
                    <a:pt x="60925" y="126928"/>
                  </a:cubicBezTo>
                  <a:cubicBezTo>
                    <a:pt x="60079" y="126928"/>
                    <a:pt x="59797" y="127210"/>
                    <a:pt x="59233" y="127774"/>
                  </a:cubicBezTo>
                  <a:lnTo>
                    <a:pt x="58951" y="128056"/>
                  </a:lnTo>
                  <a:close/>
                  <a:moveTo>
                    <a:pt x="59797" y="120440"/>
                  </a:moveTo>
                  <a:cubicBezTo>
                    <a:pt x="60079" y="120440"/>
                    <a:pt x="60079" y="120440"/>
                    <a:pt x="60079" y="120158"/>
                  </a:cubicBezTo>
                  <a:lnTo>
                    <a:pt x="59797" y="120158"/>
                  </a:lnTo>
                  <a:lnTo>
                    <a:pt x="59797" y="120440"/>
                  </a:lnTo>
                  <a:close/>
                  <a:moveTo>
                    <a:pt x="66848" y="62900"/>
                  </a:moveTo>
                  <a:cubicBezTo>
                    <a:pt x="66566" y="62900"/>
                    <a:pt x="66566" y="63182"/>
                    <a:pt x="66284" y="63182"/>
                  </a:cubicBezTo>
                  <a:cubicBezTo>
                    <a:pt x="66284" y="62900"/>
                    <a:pt x="66284" y="62900"/>
                    <a:pt x="66566" y="62618"/>
                  </a:cubicBezTo>
                  <a:lnTo>
                    <a:pt x="66848" y="62618"/>
                  </a:lnTo>
                  <a:lnTo>
                    <a:pt x="66848" y="62900"/>
                  </a:lnTo>
                  <a:close/>
                  <a:moveTo>
                    <a:pt x="67413" y="116491"/>
                  </a:moveTo>
                  <a:cubicBezTo>
                    <a:pt x="67130" y="116491"/>
                    <a:pt x="67130" y="116773"/>
                    <a:pt x="67130" y="116773"/>
                  </a:cubicBezTo>
                  <a:lnTo>
                    <a:pt x="66848" y="116773"/>
                  </a:lnTo>
                  <a:lnTo>
                    <a:pt x="66848" y="116491"/>
                  </a:lnTo>
                  <a:lnTo>
                    <a:pt x="67413" y="116491"/>
                  </a:lnTo>
                  <a:close/>
                  <a:moveTo>
                    <a:pt x="70515" y="110004"/>
                  </a:moveTo>
                  <a:cubicBezTo>
                    <a:pt x="70515" y="110004"/>
                    <a:pt x="70797" y="110286"/>
                    <a:pt x="71079" y="110286"/>
                  </a:cubicBezTo>
                  <a:cubicBezTo>
                    <a:pt x="71079" y="110004"/>
                    <a:pt x="71361" y="109722"/>
                    <a:pt x="71644" y="109722"/>
                  </a:cubicBezTo>
                  <a:lnTo>
                    <a:pt x="71644" y="109440"/>
                  </a:lnTo>
                  <a:cubicBezTo>
                    <a:pt x="71361" y="109440"/>
                    <a:pt x="71361" y="109158"/>
                    <a:pt x="71079" y="109158"/>
                  </a:cubicBezTo>
                  <a:cubicBezTo>
                    <a:pt x="70797" y="109158"/>
                    <a:pt x="70515" y="109440"/>
                    <a:pt x="70515" y="109440"/>
                  </a:cubicBezTo>
                  <a:lnTo>
                    <a:pt x="70515" y="110004"/>
                  </a:lnTo>
                  <a:close/>
                  <a:moveTo>
                    <a:pt x="75592" y="107183"/>
                  </a:moveTo>
                  <a:lnTo>
                    <a:pt x="76157" y="107183"/>
                  </a:lnTo>
                  <a:cubicBezTo>
                    <a:pt x="76439" y="107183"/>
                    <a:pt x="76439" y="106901"/>
                    <a:pt x="76721" y="106901"/>
                  </a:cubicBezTo>
                  <a:cubicBezTo>
                    <a:pt x="76721" y="106619"/>
                    <a:pt x="76439" y="106619"/>
                    <a:pt x="76439" y="106619"/>
                  </a:cubicBezTo>
                  <a:lnTo>
                    <a:pt x="76157" y="106337"/>
                  </a:lnTo>
                  <a:lnTo>
                    <a:pt x="75875" y="106619"/>
                  </a:lnTo>
                  <a:cubicBezTo>
                    <a:pt x="75592" y="106619"/>
                    <a:pt x="75592" y="106901"/>
                    <a:pt x="75592" y="107183"/>
                  </a:cubicBezTo>
                  <a:close/>
                  <a:moveTo>
                    <a:pt x="77849" y="109722"/>
                  </a:moveTo>
                  <a:cubicBezTo>
                    <a:pt x="77567" y="109722"/>
                    <a:pt x="77285" y="110004"/>
                    <a:pt x="77285" y="110286"/>
                  </a:cubicBezTo>
                  <a:lnTo>
                    <a:pt x="77285" y="110568"/>
                  </a:lnTo>
                  <a:lnTo>
                    <a:pt x="77567" y="110568"/>
                  </a:lnTo>
                  <a:cubicBezTo>
                    <a:pt x="77849" y="110568"/>
                    <a:pt x="78131" y="110004"/>
                    <a:pt x="78131" y="109722"/>
                  </a:cubicBezTo>
                  <a:lnTo>
                    <a:pt x="77849" y="109722"/>
                  </a:lnTo>
                  <a:close/>
                  <a:moveTo>
                    <a:pt x="77567" y="153159"/>
                  </a:moveTo>
                  <a:lnTo>
                    <a:pt x="78131" y="153159"/>
                  </a:lnTo>
                  <a:lnTo>
                    <a:pt x="77849" y="153441"/>
                  </a:lnTo>
                  <a:lnTo>
                    <a:pt x="77567" y="153441"/>
                  </a:lnTo>
                  <a:lnTo>
                    <a:pt x="77567" y="153159"/>
                  </a:lnTo>
                  <a:close/>
                  <a:moveTo>
                    <a:pt x="78977" y="151749"/>
                  </a:moveTo>
                  <a:lnTo>
                    <a:pt x="79823" y="151749"/>
                  </a:lnTo>
                  <a:cubicBezTo>
                    <a:pt x="79823" y="152031"/>
                    <a:pt x="79541" y="152595"/>
                    <a:pt x="79259" y="152877"/>
                  </a:cubicBezTo>
                  <a:cubicBezTo>
                    <a:pt x="78977" y="153159"/>
                    <a:pt x="78413" y="153159"/>
                    <a:pt x="78131" y="153159"/>
                  </a:cubicBezTo>
                  <a:cubicBezTo>
                    <a:pt x="78413" y="152595"/>
                    <a:pt x="78977" y="152313"/>
                    <a:pt x="78977" y="151749"/>
                  </a:cubicBezTo>
                  <a:close/>
                  <a:moveTo>
                    <a:pt x="79823" y="100978"/>
                  </a:moveTo>
                  <a:cubicBezTo>
                    <a:pt x="80106" y="101260"/>
                    <a:pt x="80388" y="101260"/>
                    <a:pt x="80388" y="101542"/>
                  </a:cubicBezTo>
                  <a:cubicBezTo>
                    <a:pt x="80952" y="101542"/>
                    <a:pt x="81234" y="101542"/>
                    <a:pt x="81234" y="100978"/>
                  </a:cubicBezTo>
                  <a:lnTo>
                    <a:pt x="81234" y="100696"/>
                  </a:lnTo>
                  <a:lnTo>
                    <a:pt x="80952" y="100414"/>
                  </a:lnTo>
                  <a:cubicBezTo>
                    <a:pt x="80670" y="100414"/>
                    <a:pt x="80670" y="100696"/>
                    <a:pt x="80388" y="100696"/>
                  </a:cubicBezTo>
                  <a:cubicBezTo>
                    <a:pt x="80388" y="100696"/>
                    <a:pt x="80106" y="100696"/>
                    <a:pt x="80106" y="100978"/>
                  </a:cubicBezTo>
                  <a:lnTo>
                    <a:pt x="79823" y="100978"/>
                  </a:lnTo>
                  <a:close/>
                  <a:moveTo>
                    <a:pt x="93362" y="92234"/>
                  </a:moveTo>
                  <a:cubicBezTo>
                    <a:pt x="93926" y="92234"/>
                    <a:pt x="93926" y="92234"/>
                    <a:pt x="93926" y="91670"/>
                  </a:cubicBezTo>
                  <a:cubicBezTo>
                    <a:pt x="94209" y="91106"/>
                    <a:pt x="93926" y="90260"/>
                    <a:pt x="94491" y="89978"/>
                  </a:cubicBezTo>
                  <a:lnTo>
                    <a:pt x="94491" y="89696"/>
                  </a:lnTo>
                  <a:cubicBezTo>
                    <a:pt x="94491" y="89413"/>
                    <a:pt x="94491" y="89413"/>
                    <a:pt x="94209" y="89413"/>
                  </a:cubicBezTo>
                  <a:cubicBezTo>
                    <a:pt x="93644" y="89413"/>
                    <a:pt x="93644" y="89413"/>
                    <a:pt x="93362" y="89978"/>
                  </a:cubicBezTo>
                  <a:lnTo>
                    <a:pt x="92798" y="90824"/>
                  </a:lnTo>
                  <a:cubicBezTo>
                    <a:pt x="92798" y="91106"/>
                    <a:pt x="92798" y="91388"/>
                    <a:pt x="92516" y="91670"/>
                  </a:cubicBezTo>
                  <a:cubicBezTo>
                    <a:pt x="92516" y="91952"/>
                    <a:pt x="92798" y="92234"/>
                    <a:pt x="93362" y="92234"/>
                  </a:cubicBezTo>
                  <a:close/>
                  <a:moveTo>
                    <a:pt x="96465" y="90542"/>
                  </a:moveTo>
                  <a:cubicBezTo>
                    <a:pt x="96747" y="90542"/>
                    <a:pt x="96747" y="90260"/>
                    <a:pt x="97029" y="90260"/>
                  </a:cubicBezTo>
                  <a:lnTo>
                    <a:pt x="97029" y="89978"/>
                  </a:lnTo>
                  <a:lnTo>
                    <a:pt x="96747" y="89978"/>
                  </a:lnTo>
                  <a:lnTo>
                    <a:pt x="96465" y="90260"/>
                  </a:lnTo>
                  <a:lnTo>
                    <a:pt x="96465" y="90542"/>
                  </a:lnTo>
                  <a:close/>
                  <a:moveTo>
                    <a:pt x="108594" y="108876"/>
                  </a:moveTo>
                  <a:cubicBezTo>
                    <a:pt x="108312" y="108876"/>
                    <a:pt x="108594" y="108594"/>
                    <a:pt x="108594" y="108594"/>
                  </a:cubicBezTo>
                  <a:cubicBezTo>
                    <a:pt x="108312" y="108594"/>
                    <a:pt x="108029" y="108594"/>
                    <a:pt x="107747" y="108876"/>
                  </a:cubicBezTo>
                  <a:cubicBezTo>
                    <a:pt x="107747" y="108876"/>
                    <a:pt x="107747" y="109158"/>
                    <a:pt x="108029" y="109158"/>
                  </a:cubicBezTo>
                  <a:cubicBezTo>
                    <a:pt x="108029" y="109158"/>
                    <a:pt x="108312" y="109158"/>
                    <a:pt x="108594" y="108876"/>
                  </a:cubicBezTo>
                  <a:close/>
                  <a:moveTo>
                    <a:pt x="115645" y="90260"/>
                  </a:moveTo>
                  <a:lnTo>
                    <a:pt x="115363" y="90260"/>
                  </a:lnTo>
                  <a:lnTo>
                    <a:pt x="115927" y="91106"/>
                  </a:lnTo>
                  <a:lnTo>
                    <a:pt x="116209" y="91106"/>
                  </a:lnTo>
                  <a:lnTo>
                    <a:pt x="116209" y="90824"/>
                  </a:lnTo>
                  <a:cubicBezTo>
                    <a:pt x="116209" y="90542"/>
                    <a:pt x="115927" y="90542"/>
                    <a:pt x="115645" y="90260"/>
                  </a:cubicBezTo>
                  <a:close/>
                  <a:moveTo>
                    <a:pt x="130312" y="70233"/>
                  </a:moveTo>
                  <a:lnTo>
                    <a:pt x="130030" y="70233"/>
                  </a:lnTo>
                  <a:cubicBezTo>
                    <a:pt x="130030" y="70233"/>
                    <a:pt x="129748" y="70233"/>
                    <a:pt x="129748" y="70515"/>
                  </a:cubicBezTo>
                  <a:cubicBezTo>
                    <a:pt x="130030" y="70515"/>
                    <a:pt x="130030" y="70233"/>
                    <a:pt x="130312" y="70233"/>
                  </a:cubicBezTo>
                  <a:close/>
                  <a:moveTo>
                    <a:pt x="153159" y="55566"/>
                  </a:moveTo>
                  <a:cubicBezTo>
                    <a:pt x="153442" y="55284"/>
                    <a:pt x="153159" y="55284"/>
                    <a:pt x="153159" y="55284"/>
                  </a:cubicBezTo>
                  <a:lnTo>
                    <a:pt x="153159" y="55566"/>
                  </a:lnTo>
                  <a:close/>
                </a:path>
              </a:pathLst>
            </a:custGeom>
            <a:solidFill>
              <a:srgbClr val="000000"/>
            </a:solidFill>
            <a:ln w="5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1827664B-37FA-4E82-A6A8-9BB26056315B}"/>
                </a:ext>
              </a:extLst>
            </p:cNvPr>
            <p:cNvSpPr/>
            <p:nvPr/>
          </p:nvSpPr>
          <p:spPr>
            <a:xfrm>
              <a:off x="5628199" y="3344663"/>
              <a:ext cx="78977" cy="129748"/>
            </a:xfrm>
            <a:custGeom>
              <a:avLst/>
              <a:gdLst>
                <a:gd name="connsiteX0" fmla="*/ 35822 w 78977"/>
                <a:gd name="connsiteY0" fmla="*/ 79823 h 129748"/>
                <a:gd name="connsiteX1" fmla="*/ 35258 w 78977"/>
                <a:gd name="connsiteY1" fmla="*/ 81234 h 129748"/>
                <a:gd name="connsiteX2" fmla="*/ 34411 w 78977"/>
                <a:gd name="connsiteY2" fmla="*/ 82080 h 129748"/>
                <a:gd name="connsiteX3" fmla="*/ 34411 w 78977"/>
                <a:gd name="connsiteY3" fmla="*/ 83772 h 129748"/>
                <a:gd name="connsiteX4" fmla="*/ 34129 w 78977"/>
                <a:gd name="connsiteY4" fmla="*/ 84618 h 129748"/>
                <a:gd name="connsiteX5" fmla="*/ 33283 w 78977"/>
                <a:gd name="connsiteY5" fmla="*/ 85465 h 129748"/>
                <a:gd name="connsiteX6" fmla="*/ 30463 w 78977"/>
                <a:gd name="connsiteY6" fmla="*/ 93644 h 129748"/>
                <a:gd name="connsiteX7" fmla="*/ 29898 w 78977"/>
                <a:gd name="connsiteY7" fmla="*/ 95337 h 129748"/>
                <a:gd name="connsiteX8" fmla="*/ 28770 w 78977"/>
                <a:gd name="connsiteY8" fmla="*/ 97029 h 129748"/>
                <a:gd name="connsiteX9" fmla="*/ 28488 w 78977"/>
                <a:gd name="connsiteY9" fmla="*/ 99004 h 129748"/>
                <a:gd name="connsiteX10" fmla="*/ 27642 w 78977"/>
                <a:gd name="connsiteY10" fmla="*/ 100414 h 129748"/>
                <a:gd name="connsiteX11" fmla="*/ 27078 w 78977"/>
                <a:gd name="connsiteY11" fmla="*/ 101260 h 129748"/>
                <a:gd name="connsiteX12" fmla="*/ 26232 w 78977"/>
                <a:gd name="connsiteY12" fmla="*/ 105209 h 129748"/>
                <a:gd name="connsiteX13" fmla="*/ 24822 w 78977"/>
                <a:gd name="connsiteY13" fmla="*/ 109722 h 129748"/>
                <a:gd name="connsiteX14" fmla="*/ 23975 w 78977"/>
                <a:gd name="connsiteY14" fmla="*/ 111414 h 129748"/>
                <a:gd name="connsiteX15" fmla="*/ 23411 w 78977"/>
                <a:gd name="connsiteY15" fmla="*/ 113107 h 129748"/>
                <a:gd name="connsiteX16" fmla="*/ 22847 w 78977"/>
                <a:gd name="connsiteY16" fmla="*/ 113953 h 129748"/>
                <a:gd name="connsiteX17" fmla="*/ 20873 w 78977"/>
                <a:gd name="connsiteY17" fmla="*/ 118748 h 129748"/>
                <a:gd name="connsiteX18" fmla="*/ 19462 w 78977"/>
                <a:gd name="connsiteY18" fmla="*/ 121851 h 129748"/>
                <a:gd name="connsiteX19" fmla="*/ 18898 w 78977"/>
                <a:gd name="connsiteY19" fmla="*/ 122697 h 129748"/>
                <a:gd name="connsiteX20" fmla="*/ 17206 w 78977"/>
                <a:gd name="connsiteY20" fmla="*/ 124671 h 129748"/>
                <a:gd name="connsiteX21" fmla="*/ 15231 w 78977"/>
                <a:gd name="connsiteY21" fmla="*/ 126364 h 129748"/>
                <a:gd name="connsiteX22" fmla="*/ 14385 w 78977"/>
                <a:gd name="connsiteY22" fmla="*/ 127492 h 129748"/>
                <a:gd name="connsiteX23" fmla="*/ 13257 w 78977"/>
                <a:gd name="connsiteY23" fmla="*/ 128338 h 129748"/>
                <a:gd name="connsiteX24" fmla="*/ 12975 w 78977"/>
                <a:gd name="connsiteY24" fmla="*/ 128620 h 129748"/>
                <a:gd name="connsiteX25" fmla="*/ 12975 w 78977"/>
                <a:gd name="connsiteY25" fmla="*/ 129184 h 129748"/>
                <a:gd name="connsiteX26" fmla="*/ 11282 w 78977"/>
                <a:gd name="connsiteY26" fmla="*/ 130876 h 129748"/>
                <a:gd name="connsiteX27" fmla="*/ 9872 w 78977"/>
                <a:gd name="connsiteY27" fmla="*/ 131441 h 129748"/>
                <a:gd name="connsiteX28" fmla="*/ 9590 w 78977"/>
                <a:gd name="connsiteY28" fmla="*/ 131723 h 129748"/>
                <a:gd name="connsiteX29" fmla="*/ 8180 w 78977"/>
                <a:gd name="connsiteY29" fmla="*/ 132569 h 129748"/>
                <a:gd name="connsiteX30" fmla="*/ 6770 w 78977"/>
                <a:gd name="connsiteY30" fmla="*/ 132005 h 129748"/>
                <a:gd name="connsiteX31" fmla="*/ 3385 w 78977"/>
                <a:gd name="connsiteY31" fmla="*/ 130594 h 129748"/>
                <a:gd name="connsiteX32" fmla="*/ 2539 w 78977"/>
                <a:gd name="connsiteY32" fmla="*/ 130030 h 129748"/>
                <a:gd name="connsiteX33" fmla="*/ 564 w 78977"/>
                <a:gd name="connsiteY33" fmla="*/ 128338 h 129748"/>
                <a:gd name="connsiteX34" fmla="*/ 564 w 78977"/>
                <a:gd name="connsiteY34" fmla="*/ 128056 h 129748"/>
                <a:gd name="connsiteX35" fmla="*/ 0 w 78977"/>
                <a:gd name="connsiteY35" fmla="*/ 126081 h 129748"/>
                <a:gd name="connsiteX36" fmla="*/ 0 w 78977"/>
                <a:gd name="connsiteY36" fmla="*/ 125517 h 129748"/>
                <a:gd name="connsiteX37" fmla="*/ 564 w 78977"/>
                <a:gd name="connsiteY37" fmla="*/ 123261 h 129748"/>
                <a:gd name="connsiteX38" fmla="*/ 846 w 78977"/>
                <a:gd name="connsiteY38" fmla="*/ 120158 h 129748"/>
                <a:gd name="connsiteX39" fmla="*/ 846 w 78977"/>
                <a:gd name="connsiteY39" fmla="*/ 119594 h 129748"/>
                <a:gd name="connsiteX40" fmla="*/ 1692 w 78977"/>
                <a:gd name="connsiteY40" fmla="*/ 116773 h 129748"/>
                <a:gd name="connsiteX41" fmla="*/ 2821 w 78977"/>
                <a:gd name="connsiteY41" fmla="*/ 112260 h 129748"/>
                <a:gd name="connsiteX42" fmla="*/ 3385 w 78977"/>
                <a:gd name="connsiteY42" fmla="*/ 108312 h 129748"/>
                <a:gd name="connsiteX43" fmla="*/ 3949 w 78977"/>
                <a:gd name="connsiteY43" fmla="*/ 105773 h 129748"/>
                <a:gd name="connsiteX44" fmla="*/ 5359 w 78977"/>
                <a:gd name="connsiteY44" fmla="*/ 99286 h 129748"/>
                <a:gd name="connsiteX45" fmla="*/ 5641 w 78977"/>
                <a:gd name="connsiteY45" fmla="*/ 94773 h 129748"/>
                <a:gd name="connsiteX46" fmla="*/ 5641 w 78977"/>
                <a:gd name="connsiteY46" fmla="*/ 92798 h 129748"/>
                <a:gd name="connsiteX47" fmla="*/ 5923 w 78977"/>
                <a:gd name="connsiteY47" fmla="*/ 89131 h 129748"/>
                <a:gd name="connsiteX48" fmla="*/ 5923 w 78977"/>
                <a:gd name="connsiteY48" fmla="*/ 87721 h 129748"/>
                <a:gd name="connsiteX49" fmla="*/ 6488 w 78977"/>
                <a:gd name="connsiteY49" fmla="*/ 86875 h 129748"/>
                <a:gd name="connsiteX50" fmla="*/ 6770 w 78977"/>
                <a:gd name="connsiteY50" fmla="*/ 83208 h 129748"/>
                <a:gd name="connsiteX51" fmla="*/ 7334 w 78977"/>
                <a:gd name="connsiteY51" fmla="*/ 79259 h 129748"/>
                <a:gd name="connsiteX52" fmla="*/ 7898 w 78977"/>
                <a:gd name="connsiteY52" fmla="*/ 75592 h 129748"/>
                <a:gd name="connsiteX53" fmla="*/ 8744 w 78977"/>
                <a:gd name="connsiteY53" fmla="*/ 69669 h 129748"/>
                <a:gd name="connsiteX54" fmla="*/ 8744 w 78977"/>
                <a:gd name="connsiteY54" fmla="*/ 69105 h 129748"/>
                <a:gd name="connsiteX55" fmla="*/ 8744 w 78977"/>
                <a:gd name="connsiteY55" fmla="*/ 67977 h 129748"/>
                <a:gd name="connsiteX56" fmla="*/ 9026 w 78977"/>
                <a:gd name="connsiteY56" fmla="*/ 63464 h 129748"/>
                <a:gd name="connsiteX57" fmla="*/ 10154 w 78977"/>
                <a:gd name="connsiteY57" fmla="*/ 58951 h 129748"/>
                <a:gd name="connsiteX58" fmla="*/ 10436 w 78977"/>
                <a:gd name="connsiteY58" fmla="*/ 57823 h 129748"/>
                <a:gd name="connsiteX59" fmla="*/ 11282 w 78977"/>
                <a:gd name="connsiteY59" fmla="*/ 53028 h 129748"/>
                <a:gd name="connsiteX60" fmla="*/ 11282 w 78977"/>
                <a:gd name="connsiteY60" fmla="*/ 50207 h 129748"/>
                <a:gd name="connsiteX61" fmla="*/ 11564 w 78977"/>
                <a:gd name="connsiteY61" fmla="*/ 47104 h 129748"/>
                <a:gd name="connsiteX62" fmla="*/ 11846 w 78977"/>
                <a:gd name="connsiteY62" fmla="*/ 45694 h 129748"/>
                <a:gd name="connsiteX63" fmla="*/ 12411 w 78977"/>
                <a:gd name="connsiteY63" fmla="*/ 40617 h 129748"/>
                <a:gd name="connsiteX64" fmla="*/ 13539 w 78977"/>
                <a:gd name="connsiteY64" fmla="*/ 34694 h 129748"/>
                <a:gd name="connsiteX65" fmla="*/ 14103 w 78977"/>
                <a:gd name="connsiteY65" fmla="*/ 31027 h 129748"/>
                <a:gd name="connsiteX66" fmla="*/ 14385 w 78977"/>
                <a:gd name="connsiteY66" fmla="*/ 29052 h 129748"/>
                <a:gd name="connsiteX67" fmla="*/ 14385 w 78977"/>
                <a:gd name="connsiteY67" fmla="*/ 28206 h 129748"/>
                <a:gd name="connsiteX68" fmla="*/ 14667 w 78977"/>
                <a:gd name="connsiteY68" fmla="*/ 27642 h 129748"/>
                <a:gd name="connsiteX69" fmla="*/ 15795 w 78977"/>
                <a:gd name="connsiteY69" fmla="*/ 21719 h 129748"/>
                <a:gd name="connsiteX70" fmla="*/ 16924 w 78977"/>
                <a:gd name="connsiteY70" fmla="*/ 14103 h 129748"/>
                <a:gd name="connsiteX71" fmla="*/ 17206 w 78977"/>
                <a:gd name="connsiteY71" fmla="*/ 13821 h 129748"/>
                <a:gd name="connsiteX72" fmla="*/ 18898 w 78977"/>
                <a:gd name="connsiteY72" fmla="*/ 9026 h 129748"/>
                <a:gd name="connsiteX73" fmla="*/ 19180 w 78977"/>
                <a:gd name="connsiteY73" fmla="*/ 7616 h 129748"/>
                <a:gd name="connsiteX74" fmla="*/ 20026 w 78977"/>
                <a:gd name="connsiteY74" fmla="*/ 3103 h 129748"/>
                <a:gd name="connsiteX75" fmla="*/ 21719 w 78977"/>
                <a:gd name="connsiteY75" fmla="*/ 282 h 129748"/>
                <a:gd name="connsiteX76" fmla="*/ 22283 w 78977"/>
                <a:gd name="connsiteY76" fmla="*/ 0 h 129748"/>
                <a:gd name="connsiteX77" fmla="*/ 22565 w 78977"/>
                <a:gd name="connsiteY77" fmla="*/ 0 h 129748"/>
                <a:gd name="connsiteX78" fmla="*/ 23693 w 78977"/>
                <a:gd name="connsiteY78" fmla="*/ 282 h 129748"/>
                <a:gd name="connsiteX79" fmla="*/ 24539 w 78977"/>
                <a:gd name="connsiteY79" fmla="*/ 282 h 129748"/>
                <a:gd name="connsiteX80" fmla="*/ 27360 w 78977"/>
                <a:gd name="connsiteY80" fmla="*/ 1128 h 129748"/>
                <a:gd name="connsiteX81" fmla="*/ 31309 w 78977"/>
                <a:gd name="connsiteY81" fmla="*/ 1974 h 129748"/>
                <a:gd name="connsiteX82" fmla="*/ 32719 w 78977"/>
                <a:gd name="connsiteY82" fmla="*/ 2539 h 129748"/>
                <a:gd name="connsiteX83" fmla="*/ 33283 w 78977"/>
                <a:gd name="connsiteY83" fmla="*/ 2539 h 129748"/>
                <a:gd name="connsiteX84" fmla="*/ 34411 w 78977"/>
                <a:gd name="connsiteY84" fmla="*/ 3385 h 129748"/>
                <a:gd name="connsiteX85" fmla="*/ 34411 w 78977"/>
                <a:gd name="connsiteY85" fmla="*/ 3667 h 129748"/>
                <a:gd name="connsiteX86" fmla="*/ 34129 w 78977"/>
                <a:gd name="connsiteY86" fmla="*/ 4795 h 129748"/>
                <a:gd name="connsiteX87" fmla="*/ 34694 w 78977"/>
                <a:gd name="connsiteY87" fmla="*/ 5077 h 129748"/>
                <a:gd name="connsiteX88" fmla="*/ 34976 w 78977"/>
                <a:gd name="connsiteY88" fmla="*/ 5641 h 129748"/>
                <a:gd name="connsiteX89" fmla="*/ 34694 w 78977"/>
                <a:gd name="connsiteY89" fmla="*/ 8180 h 129748"/>
                <a:gd name="connsiteX90" fmla="*/ 34129 w 78977"/>
                <a:gd name="connsiteY90" fmla="*/ 10154 h 129748"/>
                <a:gd name="connsiteX91" fmla="*/ 33283 w 78977"/>
                <a:gd name="connsiteY91" fmla="*/ 10718 h 129748"/>
                <a:gd name="connsiteX92" fmla="*/ 33001 w 78977"/>
                <a:gd name="connsiteY92" fmla="*/ 11000 h 129748"/>
                <a:gd name="connsiteX93" fmla="*/ 33565 w 78977"/>
                <a:gd name="connsiteY93" fmla="*/ 11282 h 129748"/>
                <a:gd name="connsiteX94" fmla="*/ 33847 w 78977"/>
                <a:gd name="connsiteY94" fmla="*/ 11847 h 129748"/>
                <a:gd name="connsiteX95" fmla="*/ 32719 w 78977"/>
                <a:gd name="connsiteY95" fmla="*/ 13257 h 129748"/>
                <a:gd name="connsiteX96" fmla="*/ 32437 w 78977"/>
                <a:gd name="connsiteY96" fmla="*/ 13539 h 129748"/>
                <a:gd name="connsiteX97" fmla="*/ 32155 w 78977"/>
                <a:gd name="connsiteY97" fmla="*/ 13257 h 129748"/>
                <a:gd name="connsiteX98" fmla="*/ 31309 w 78977"/>
                <a:gd name="connsiteY98" fmla="*/ 13821 h 129748"/>
                <a:gd name="connsiteX99" fmla="*/ 31309 w 78977"/>
                <a:gd name="connsiteY99" fmla="*/ 14667 h 129748"/>
                <a:gd name="connsiteX100" fmla="*/ 31591 w 78977"/>
                <a:gd name="connsiteY100" fmla="*/ 15231 h 129748"/>
                <a:gd name="connsiteX101" fmla="*/ 32437 w 78977"/>
                <a:gd name="connsiteY101" fmla="*/ 16360 h 129748"/>
                <a:gd name="connsiteX102" fmla="*/ 32155 w 78977"/>
                <a:gd name="connsiteY102" fmla="*/ 16924 h 129748"/>
                <a:gd name="connsiteX103" fmla="*/ 31027 w 78977"/>
                <a:gd name="connsiteY103" fmla="*/ 21437 h 129748"/>
                <a:gd name="connsiteX104" fmla="*/ 31027 w 78977"/>
                <a:gd name="connsiteY104" fmla="*/ 22001 h 129748"/>
                <a:gd name="connsiteX105" fmla="*/ 31027 w 78977"/>
                <a:gd name="connsiteY105" fmla="*/ 23129 h 129748"/>
                <a:gd name="connsiteX106" fmla="*/ 31027 w 78977"/>
                <a:gd name="connsiteY106" fmla="*/ 24821 h 129748"/>
                <a:gd name="connsiteX107" fmla="*/ 31309 w 78977"/>
                <a:gd name="connsiteY107" fmla="*/ 26796 h 129748"/>
                <a:gd name="connsiteX108" fmla="*/ 31309 w 78977"/>
                <a:gd name="connsiteY108" fmla="*/ 27078 h 129748"/>
                <a:gd name="connsiteX109" fmla="*/ 30463 w 78977"/>
                <a:gd name="connsiteY109" fmla="*/ 29616 h 129748"/>
                <a:gd name="connsiteX110" fmla="*/ 29616 w 78977"/>
                <a:gd name="connsiteY110" fmla="*/ 34694 h 129748"/>
                <a:gd name="connsiteX111" fmla="*/ 29334 w 78977"/>
                <a:gd name="connsiteY111" fmla="*/ 37232 h 129748"/>
                <a:gd name="connsiteX112" fmla="*/ 29616 w 78977"/>
                <a:gd name="connsiteY112" fmla="*/ 38642 h 129748"/>
                <a:gd name="connsiteX113" fmla="*/ 29052 w 78977"/>
                <a:gd name="connsiteY113" fmla="*/ 40899 h 129748"/>
                <a:gd name="connsiteX114" fmla="*/ 29616 w 78977"/>
                <a:gd name="connsiteY114" fmla="*/ 42873 h 129748"/>
                <a:gd name="connsiteX115" fmla="*/ 29334 w 78977"/>
                <a:gd name="connsiteY115" fmla="*/ 43437 h 129748"/>
                <a:gd name="connsiteX116" fmla="*/ 29334 w 78977"/>
                <a:gd name="connsiteY116" fmla="*/ 44284 h 129748"/>
                <a:gd name="connsiteX117" fmla="*/ 29334 w 78977"/>
                <a:gd name="connsiteY117" fmla="*/ 44848 h 129748"/>
                <a:gd name="connsiteX118" fmla="*/ 29052 w 78977"/>
                <a:gd name="connsiteY118" fmla="*/ 46258 h 129748"/>
                <a:gd name="connsiteX119" fmla="*/ 28488 w 78977"/>
                <a:gd name="connsiteY119" fmla="*/ 47668 h 129748"/>
                <a:gd name="connsiteX120" fmla="*/ 27924 w 78977"/>
                <a:gd name="connsiteY120" fmla="*/ 50489 h 129748"/>
                <a:gd name="connsiteX121" fmla="*/ 28206 w 78977"/>
                <a:gd name="connsiteY121" fmla="*/ 51335 h 129748"/>
                <a:gd name="connsiteX122" fmla="*/ 28206 w 78977"/>
                <a:gd name="connsiteY122" fmla="*/ 53310 h 129748"/>
                <a:gd name="connsiteX123" fmla="*/ 27924 w 78977"/>
                <a:gd name="connsiteY123" fmla="*/ 55002 h 129748"/>
                <a:gd name="connsiteX124" fmla="*/ 27924 w 78977"/>
                <a:gd name="connsiteY124" fmla="*/ 56412 h 129748"/>
                <a:gd name="connsiteX125" fmla="*/ 27924 w 78977"/>
                <a:gd name="connsiteY125" fmla="*/ 57258 h 129748"/>
                <a:gd name="connsiteX126" fmla="*/ 27360 w 78977"/>
                <a:gd name="connsiteY126" fmla="*/ 59233 h 129748"/>
                <a:gd name="connsiteX127" fmla="*/ 27360 w 78977"/>
                <a:gd name="connsiteY127" fmla="*/ 59797 h 129748"/>
                <a:gd name="connsiteX128" fmla="*/ 27924 w 78977"/>
                <a:gd name="connsiteY128" fmla="*/ 59515 h 129748"/>
                <a:gd name="connsiteX129" fmla="*/ 31027 w 78977"/>
                <a:gd name="connsiteY129" fmla="*/ 55002 h 129748"/>
                <a:gd name="connsiteX130" fmla="*/ 32155 w 78977"/>
                <a:gd name="connsiteY130" fmla="*/ 53310 h 129748"/>
                <a:gd name="connsiteX131" fmla="*/ 35540 w 78977"/>
                <a:gd name="connsiteY131" fmla="*/ 47104 h 129748"/>
                <a:gd name="connsiteX132" fmla="*/ 39489 w 78977"/>
                <a:gd name="connsiteY132" fmla="*/ 41181 h 129748"/>
                <a:gd name="connsiteX133" fmla="*/ 41181 w 78977"/>
                <a:gd name="connsiteY133" fmla="*/ 39207 h 129748"/>
                <a:gd name="connsiteX134" fmla="*/ 42873 w 78977"/>
                <a:gd name="connsiteY134" fmla="*/ 37232 h 129748"/>
                <a:gd name="connsiteX135" fmla="*/ 44566 w 78977"/>
                <a:gd name="connsiteY135" fmla="*/ 35258 h 129748"/>
                <a:gd name="connsiteX136" fmla="*/ 45412 w 78977"/>
                <a:gd name="connsiteY136" fmla="*/ 34694 h 129748"/>
                <a:gd name="connsiteX137" fmla="*/ 48514 w 78977"/>
                <a:gd name="connsiteY137" fmla="*/ 30745 h 129748"/>
                <a:gd name="connsiteX138" fmla="*/ 49361 w 78977"/>
                <a:gd name="connsiteY138" fmla="*/ 30181 h 129748"/>
                <a:gd name="connsiteX139" fmla="*/ 49925 w 78977"/>
                <a:gd name="connsiteY139" fmla="*/ 29616 h 129748"/>
                <a:gd name="connsiteX140" fmla="*/ 54438 w 78977"/>
                <a:gd name="connsiteY140" fmla="*/ 25668 h 129748"/>
                <a:gd name="connsiteX141" fmla="*/ 55284 w 78977"/>
                <a:gd name="connsiteY141" fmla="*/ 25386 h 129748"/>
                <a:gd name="connsiteX142" fmla="*/ 55566 w 78977"/>
                <a:gd name="connsiteY142" fmla="*/ 25668 h 129748"/>
                <a:gd name="connsiteX143" fmla="*/ 55848 w 78977"/>
                <a:gd name="connsiteY143" fmla="*/ 25386 h 129748"/>
                <a:gd name="connsiteX144" fmla="*/ 57823 w 78977"/>
                <a:gd name="connsiteY144" fmla="*/ 24539 h 129748"/>
                <a:gd name="connsiteX145" fmla="*/ 58105 w 78977"/>
                <a:gd name="connsiteY145" fmla="*/ 24539 h 129748"/>
                <a:gd name="connsiteX146" fmla="*/ 58387 w 78977"/>
                <a:gd name="connsiteY146" fmla="*/ 23975 h 129748"/>
                <a:gd name="connsiteX147" fmla="*/ 61490 w 78977"/>
                <a:gd name="connsiteY147" fmla="*/ 21437 h 129748"/>
                <a:gd name="connsiteX148" fmla="*/ 62900 w 78977"/>
                <a:gd name="connsiteY148" fmla="*/ 20308 h 129748"/>
                <a:gd name="connsiteX149" fmla="*/ 63182 w 78977"/>
                <a:gd name="connsiteY149" fmla="*/ 20026 h 129748"/>
                <a:gd name="connsiteX150" fmla="*/ 65438 w 78977"/>
                <a:gd name="connsiteY150" fmla="*/ 19462 h 129748"/>
                <a:gd name="connsiteX151" fmla="*/ 66002 w 78977"/>
                <a:gd name="connsiteY151" fmla="*/ 19462 h 129748"/>
                <a:gd name="connsiteX152" fmla="*/ 67131 w 78977"/>
                <a:gd name="connsiteY152" fmla="*/ 19744 h 129748"/>
                <a:gd name="connsiteX153" fmla="*/ 67977 w 78977"/>
                <a:gd name="connsiteY153" fmla="*/ 20026 h 129748"/>
                <a:gd name="connsiteX154" fmla="*/ 69105 w 78977"/>
                <a:gd name="connsiteY154" fmla="*/ 19462 h 129748"/>
                <a:gd name="connsiteX155" fmla="*/ 69669 w 78977"/>
                <a:gd name="connsiteY155" fmla="*/ 19180 h 129748"/>
                <a:gd name="connsiteX156" fmla="*/ 70515 w 78977"/>
                <a:gd name="connsiteY156" fmla="*/ 19462 h 129748"/>
                <a:gd name="connsiteX157" fmla="*/ 72208 w 78977"/>
                <a:gd name="connsiteY157" fmla="*/ 19180 h 129748"/>
                <a:gd name="connsiteX158" fmla="*/ 75028 w 78977"/>
                <a:gd name="connsiteY158" fmla="*/ 20026 h 129748"/>
                <a:gd name="connsiteX159" fmla="*/ 75310 w 78977"/>
                <a:gd name="connsiteY159" fmla="*/ 20026 h 129748"/>
                <a:gd name="connsiteX160" fmla="*/ 75875 w 78977"/>
                <a:gd name="connsiteY160" fmla="*/ 20026 h 129748"/>
                <a:gd name="connsiteX161" fmla="*/ 77285 w 78977"/>
                <a:gd name="connsiteY161" fmla="*/ 20873 h 129748"/>
                <a:gd name="connsiteX162" fmla="*/ 77003 w 78977"/>
                <a:gd name="connsiteY162" fmla="*/ 21437 h 129748"/>
                <a:gd name="connsiteX163" fmla="*/ 78131 w 78977"/>
                <a:gd name="connsiteY163" fmla="*/ 22283 h 129748"/>
                <a:gd name="connsiteX164" fmla="*/ 79259 w 78977"/>
                <a:gd name="connsiteY164" fmla="*/ 22283 h 129748"/>
                <a:gd name="connsiteX165" fmla="*/ 80106 w 78977"/>
                <a:gd name="connsiteY165" fmla="*/ 22283 h 129748"/>
                <a:gd name="connsiteX166" fmla="*/ 81234 w 78977"/>
                <a:gd name="connsiteY166" fmla="*/ 22001 h 129748"/>
                <a:gd name="connsiteX167" fmla="*/ 83208 w 78977"/>
                <a:gd name="connsiteY167" fmla="*/ 22283 h 129748"/>
                <a:gd name="connsiteX168" fmla="*/ 83490 w 78977"/>
                <a:gd name="connsiteY168" fmla="*/ 22565 h 129748"/>
                <a:gd name="connsiteX169" fmla="*/ 84054 w 78977"/>
                <a:gd name="connsiteY169" fmla="*/ 25668 h 129748"/>
                <a:gd name="connsiteX170" fmla="*/ 84054 w 78977"/>
                <a:gd name="connsiteY170" fmla="*/ 25950 h 129748"/>
                <a:gd name="connsiteX171" fmla="*/ 83490 w 78977"/>
                <a:gd name="connsiteY171" fmla="*/ 26514 h 129748"/>
                <a:gd name="connsiteX172" fmla="*/ 82926 w 78977"/>
                <a:gd name="connsiteY172" fmla="*/ 26514 h 129748"/>
                <a:gd name="connsiteX173" fmla="*/ 82926 w 78977"/>
                <a:gd name="connsiteY173" fmla="*/ 27078 h 129748"/>
                <a:gd name="connsiteX174" fmla="*/ 82644 w 78977"/>
                <a:gd name="connsiteY174" fmla="*/ 27924 h 129748"/>
                <a:gd name="connsiteX175" fmla="*/ 81798 w 78977"/>
                <a:gd name="connsiteY175" fmla="*/ 27642 h 129748"/>
                <a:gd name="connsiteX176" fmla="*/ 81516 w 78977"/>
                <a:gd name="connsiteY176" fmla="*/ 27924 h 129748"/>
                <a:gd name="connsiteX177" fmla="*/ 81516 w 78977"/>
                <a:gd name="connsiteY177" fmla="*/ 28488 h 129748"/>
                <a:gd name="connsiteX178" fmla="*/ 81516 w 78977"/>
                <a:gd name="connsiteY178" fmla="*/ 28770 h 129748"/>
                <a:gd name="connsiteX179" fmla="*/ 80670 w 78977"/>
                <a:gd name="connsiteY179" fmla="*/ 29334 h 129748"/>
                <a:gd name="connsiteX180" fmla="*/ 80106 w 78977"/>
                <a:gd name="connsiteY180" fmla="*/ 29616 h 129748"/>
                <a:gd name="connsiteX181" fmla="*/ 80106 w 78977"/>
                <a:gd name="connsiteY181" fmla="*/ 29899 h 129748"/>
                <a:gd name="connsiteX182" fmla="*/ 80388 w 78977"/>
                <a:gd name="connsiteY182" fmla="*/ 30181 h 129748"/>
                <a:gd name="connsiteX183" fmla="*/ 80388 w 78977"/>
                <a:gd name="connsiteY183" fmla="*/ 30463 h 129748"/>
                <a:gd name="connsiteX184" fmla="*/ 79824 w 78977"/>
                <a:gd name="connsiteY184" fmla="*/ 30745 h 129748"/>
                <a:gd name="connsiteX185" fmla="*/ 79259 w 78977"/>
                <a:gd name="connsiteY185" fmla="*/ 30745 h 129748"/>
                <a:gd name="connsiteX186" fmla="*/ 75875 w 78977"/>
                <a:gd name="connsiteY186" fmla="*/ 29052 h 129748"/>
                <a:gd name="connsiteX187" fmla="*/ 73900 w 78977"/>
                <a:gd name="connsiteY187" fmla="*/ 28770 h 129748"/>
                <a:gd name="connsiteX188" fmla="*/ 70797 w 78977"/>
                <a:gd name="connsiteY188" fmla="*/ 29334 h 129748"/>
                <a:gd name="connsiteX189" fmla="*/ 70515 w 78977"/>
                <a:gd name="connsiteY189" fmla="*/ 29616 h 129748"/>
                <a:gd name="connsiteX190" fmla="*/ 67977 w 78977"/>
                <a:gd name="connsiteY190" fmla="*/ 31027 h 129748"/>
                <a:gd name="connsiteX191" fmla="*/ 62336 w 78977"/>
                <a:gd name="connsiteY191" fmla="*/ 34694 h 129748"/>
                <a:gd name="connsiteX192" fmla="*/ 61207 w 78977"/>
                <a:gd name="connsiteY192" fmla="*/ 36668 h 129748"/>
                <a:gd name="connsiteX193" fmla="*/ 60643 w 78977"/>
                <a:gd name="connsiteY193" fmla="*/ 37514 h 129748"/>
                <a:gd name="connsiteX194" fmla="*/ 57259 w 78977"/>
                <a:gd name="connsiteY194" fmla="*/ 41181 h 129748"/>
                <a:gd name="connsiteX195" fmla="*/ 54438 w 78977"/>
                <a:gd name="connsiteY195" fmla="*/ 45412 h 129748"/>
                <a:gd name="connsiteX196" fmla="*/ 52463 w 78977"/>
                <a:gd name="connsiteY196" fmla="*/ 47950 h 129748"/>
                <a:gd name="connsiteX197" fmla="*/ 52181 w 78977"/>
                <a:gd name="connsiteY197" fmla="*/ 49079 h 129748"/>
                <a:gd name="connsiteX198" fmla="*/ 50207 w 78977"/>
                <a:gd name="connsiteY198" fmla="*/ 51335 h 129748"/>
                <a:gd name="connsiteX199" fmla="*/ 48797 w 78977"/>
                <a:gd name="connsiteY199" fmla="*/ 53592 h 129748"/>
                <a:gd name="connsiteX200" fmla="*/ 47668 w 78977"/>
                <a:gd name="connsiteY200" fmla="*/ 56412 h 129748"/>
                <a:gd name="connsiteX201" fmla="*/ 45412 w 78977"/>
                <a:gd name="connsiteY201" fmla="*/ 60361 h 129748"/>
                <a:gd name="connsiteX202" fmla="*/ 44848 w 78977"/>
                <a:gd name="connsiteY202" fmla="*/ 61207 h 129748"/>
                <a:gd name="connsiteX203" fmla="*/ 44002 w 78977"/>
                <a:gd name="connsiteY203" fmla="*/ 63182 h 129748"/>
                <a:gd name="connsiteX204" fmla="*/ 43720 w 78977"/>
                <a:gd name="connsiteY204" fmla="*/ 63464 h 129748"/>
                <a:gd name="connsiteX205" fmla="*/ 42873 w 78977"/>
                <a:gd name="connsiteY205" fmla="*/ 65438 h 129748"/>
                <a:gd name="connsiteX206" fmla="*/ 42309 w 78977"/>
                <a:gd name="connsiteY206" fmla="*/ 66284 h 129748"/>
                <a:gd name="connsiteX207" fmla="*/ 41181 w 78977"/>
                <a:gd name="connsiteY207" fmla="*/ 66849 h 129748"/>
                <a:gd name="connsiteX208" fmla="*/ 40899 w 78977"/>
                <a:gd name="connsiteY208" fmla="*/ 67695 h 129748"/>
                <a:gd name="connsiteX209" fmla="*/ 40899 w 78977"/>
                <a:gd name="connsiteY209" fmla="*/ 68259 h 129748"/>
                <a:gd name="connsiteX210" fmla="*/ 40899 w 78977"/>
                <a:gd name="connsiteY210" fmla="*/ 68823 h 129748"/>
                <a:gd name="connsiteX211" fmla="*/ 39207 w 78977"/>
                <a:gd name="connsiteY211" fmla="*/ 73618 h 129748"/>
                <a:gd name="connsiteX212" fmla="*/ 38925 w 78977"/>
                <a:gd name="connsiteY212" fmla="*/ 73900 h 129748"/>
                <a:gd name="connsiteX213" fmla="*/ 38078 w 78977"/>
                <a:gd name="connsiteY213" fmla="*/ 74746 h 129748"/>
                <a:gd name="connsiteX214" fmla="*/ 38078 w 78977"/>
                <a:gd name="connsiteY214" fmla="*/ 75028 h 129748"/>
                <a:gd name="connsiteX215" fmla="*/ 36950 w 78977"/>
                <a:gd name="connsiteY215" fmla="*/ 76157 h 129748"/>
                <a:gd name="connsiteX216" fmla="*/ 36950 w 78977"/>
                <a:gd name="connsiteY216" fmla="*/ 77003 h 129748"/>
                <a:gd name="connsiteX217" fmla="*/ 36950 w 78977"/>
                <a:gd name="connsiteY217" fmla="*/ 77567 h 129748"/>
                <a:gd name="connsiteX218" fmla="*/ 35822 w 78977"/>
                <a:gd name="connsiteY218" fmla="*/ 78977 h 129748"/>
                <a:gd name="connsiteX219" fmla="*/ 35822 w 78977"/>
                <a:gd name="connsiteY219" fmla="*/ 79823 h 129748"/>
                <a:gd name="connsiteX220" fmla="*/ 35822 w 78977"/>
                <a:gd name="connsiteY220" fmla="*/ 78413 h 129748"/>
                <a:gd name="connsiteX221" fmla="*/ 35540 w 78977"/>
                <a:gd name="connsiteY221" fmla="*/ 78413 h 129748"/>
                <a:gd name="connsiteX222" fmla="*/ 35822 w 78977"/>
                <a:gd name="connsiteY222" fmla="*/ 78977 h 129748"/>
                <a:gd name="connsiteX223" fmla="*/ 35822 w 78977"/>
                <a:gd name="connsiteY223" fmla="*/ 78413 h 129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78977" h="129748">
                  <a:moveTo>
                    <a:pt x="35822" y="79823"/>
                  </a:moveTo>
                  <a:cubicBezTo>
                    <a:pt x="35822" y="80105"/>
                    <a:pt x="35540" y="80670"/>
                    <a:pt x="35258" y="81234"/>
                  </a:cubicBezTo>
                  <a:cubicBezTo>
                    <a:pt x="34694" y="81234"/>
                    <a:pt x="34411" y="81516"/>
                    <a:pt x="34411" y="82080"/>
                  </a:cubicBezTo>
                  <a:lnTo>
                    <a:pt x="34411" y="83772"/>
                  </a:lnTo>
                  <a:cubicBezTo>
                    <a:pt x="34411" y="84054"/>
                    <a:pt x="34411" y="84336"/>
                    <a:pt x="34129" y="84618"/>
                  </a:cubicBezTo>
                  <a:cubicBezTo>
                    <a:pt x="33847" y="84900"/>
                    <a:pt x="33283" y="85183"/>
                    <a:pt x="33283" y="85465"/>
                  </a:cubicBezTo>
                  <a:lnTo>
                    <a:pt x="30463" y="93644"/>
                  </a:lnTo>
                  <a:cubicBezTo>
                    <a:pt x="30463" y="94209"/>
                    <a:pt x="30180" y="94773"/>
                    <a:pt x="29898" y="95337"/>
                  </a:cubicBezTo>
                  <a:cubicBezTo>
                    <a:pt x="29334" y="95619"/>
                    <a:pt x="29052" y="96183"/>
                    <a:pt x="28770" y="97029"/>
                  </a:cubicBezTo>
                  <a:cubicBezTo>
                    <a:pt x="28770" y="97311"/>
                    <a:pt x="28488" y="98439"/>
                    <a:pt x="28488" y="99004"/>
                  </a:cubicBezTo>
                  <a:cubicBezTo>
                    <a:pt x="28488" y="99286"/>
                    <a:pt x="28206" y="99850"/>
                    <a:pt x="27642" y="100414"/>
                  </a:cubicBezTo>
                  <a:cubicBezTo>
                    <a:pt x="27078" y="100414"/>
                    <a:pt x="27078" y="100978"/>
                    <a:pt x="27078" y="101260"/>
                  </a:cubicBezTo>
                  <a:cubicBezTo>
                    <a:pt x="27078" y="102952"/>
                    <a:pt x="26796" y="104363"/>
                    <a:pt x="26232" y="105209"/>
                  </a:cubicBezTo>
                  <a:cubicBezTo>
                    <a:pt x="25386" y="107183"/>
                    <a:pt x="25104" y="108594"/>
                    <a:pt x="24822" y="109722"/>
                  </a:cubicBezTo>
                  <a:lnTo>
                    <a:pt x="23975" y="111414"/>
                  </a:lnTo>
                  <a:cubicBezTo>
                    <a:pt x="23975" y="111978"/>
                    <a:pt x="23693" y="112825"/>
                    <a:pt x="23411" y="113107"/>
                  </a:cubicBezTo>
                  <a:cubicBezTo>
                    <a:pt x="23411" y="113389"/>
                    <a:pt x="22847" y="113671"/>
                    <a:pt x="22847" y="113953"/>
                  </a:cubicBezTo>
                  <a:cubicBezTo>
                    <a:pt x="22565" y="115645"/>
                    <a:pt x="21437" y="117338"/>
                    <a:pt x="20873" y="118748"/>
                  </a:cubicBezTo>
                  <a:cubicBezTo>
                    <a:pt x="20591" y="119876"/>
                    <a:pt x="20026" y="121004"/>
                    <a:pt x="19462" y="121851"/>
                  </a:cubicBezTo>
                  <a:cubicBezTo>
                    <a:pt x="19180" y="122133"/>
                    <a:pt x="19180" y="122697"/>
                    <a:pt x="18898" y="122697"/>
                  </a:cubicBezTo>
                  <a:cubicBezTo>
                    <a:pt x="17770" y="122979"/>
                    <a:pt x="17488" y="123825"/>
                    <a:pt x="17206" y="124671"/>
                  </a:cubicBezTo>
                  <a:cubicBezTo>
                    <a:pt x="16642" y="125517"/>
                    <a:pt x="16077" y="126364"/>
                    <a:pt x="15231" y="126364"/>
                  </a:cubicBezTo>
                  <a:cubicBezTo>
                    <a:pt x="14949" y="126646"/>
                    <a:pt x="14385" y="126928"/>
                    <a:pt x="14385" y="127492"/>
                  </a:cubicBezTo>
                  <a:cubicBezTo>
                    <a:pt x="14103" y="128056"/>
                    <a:pt x="14103" y="128338"/>
                    <a:pt x="13257" y="128338"/>
                  </a:cubicBezTo>
                  <a:cubicBezTo>
                    <a:pt x="12975" y="128338"/>
                    <a:pt x="12975" y="128338"/>
                    <a:pt x="12975" y="128620"/>
                  </a:cubicBezTo>
                  <a:lnTo>
                    <a:pt x="12975" y="129184"/>
                  </a:lnTo>
                  <a:cubicBezTo>
                    <a:pt x="12129" y="129748"/>
                    <a:pt x="11846" y="130312"/>
                    <a:pt x="11282" y="130876"/>
                  </a:cubicBezTo>
                  <a:cubicBezTo>
                    <a:pt x="10718" y="130876"/>
                    <a:pt x="10154" y="130876"/>
                    <a:pt x="9872" y="131441"/>
                  </a:cubicBezTo>
                  <a:cubicBezTo>
                    <a:pt x="9872" y="131441"/>
                    <a:pt x="9872" y="131723"/>
                    <a:pt x="9590" y="131723"/>
                  </a:cubicBezTo>
                  <a:cubicBezTo>
                    <a:pt x="8744" y="132287"/>
                    <a:pt x="8462" y="132569"/>
                    <a:pt x="8180" y="132569"/>
                  </a:cubicBezTo>
                  <a:cubicBezTo>
                    <a:pt x="7898" y="132569"/>
                    <a:pt x="7334" y="132287"/>
                    <a:pt x="6770" y="132005"/>
                  </a:cubicBezTo>
                  <a:lnTo>
                    <a:pt x="3385" y="130594"/>
                  </a:lnTo>
                  <a:cubicBezTo>
                    <a:pt x="3103" y="130594"/>
                    <a:pt x="2539" y="130312"/>
                    <a:pt x="2539" y="130030"/>
                  </a:cubicBezTo>
                  <a:cubicBezTo>
                    <a:pt x="2257" y="128902"/>
                    <a:pt x="1128" y="128620"/>
                    <a:pt x="564" y="128338"/>
                  </a:cubicBezTo>
                  <a:lnTo>
                    <a:pt x="564" y="128056"/>
                  </a:lnTo>
                  <a:cubicBezTo>
                    <a:pt x="564" y="127492"/>
                    <a:pt x="564" y="126928"/>
                    <a:pt x="0" y="126081"/>
                  </a:cubicBezTo>
                  <a:lnTo>
                    <a:pt x="0" y="125517"/>
                  </a:lnTo>
                  <a:cubicBezTo>
                    <a:pt x="282" y="124953"/>
                    <a:pt x="564" y="124107"/>
                    <a:pt x="564" y="123261"/>
                  </a:cubicBezTo>
                  <a:cubicBezTo>
                    <a:pt x="564" y="122133"/>
                    <a:pt x="846" y="121286"/>
                    <a:pt x="846" y="120158"/>
                  </a:cubicBezTo>
                  <a:lnTo>
                    <a:pt x="846" y="119594"/>
                  </a:lnTo>
                  <a:cubicBezTo>
                    <a:pt x="1410" y="118748"/>
                    <a:pt x="1410" y="117338"/>
                    <a:pt x="1692" y="116773"/>
                  </a:cubicBezTo>
                  <a:cubicBezTo>
                    <a:pt x="2539" y="115363"/>
                    <a:pt x="2821" y="113671"/>
                    <a:pt x="2821" y="112260"/>
                  </a:cubicBezTo>
                  <a:cubicBezTo>
                    <a:pt x="2821" y="111132"/>
                    <a:pt x="3103" y="109440"/>
                    <a:pt x="3385" y="108312"/>
                  </a:cubicBezTo>
                  <a:cubicBezTo>
                    <a:pt x="3385" y="107465"/>
                    <a:pt x="3667" y="106901"/>
                    <a:pt x="3949" y="105773"/>
                  </a:cubicBezTo>
                  <a:lnTo>
                    <a:pt x="5359" y="99286"/>
                  </a:lnTo>
                  <a:cubicBezTo>
                    <a:pt x="5359" y="97593"/>
                    <a:pt x="5641" y="96183"/>
                    <a:pt x="5641" y="94773"/>
                  </a:cubicBezTo>
                  <a:lnTo>
                    <a:pt x="5641" y="92798"/>
                  </a:lnTo>
                  <a:cubicBezTo>
                    <a:pt x="5641" y="91670"/>
                    <a:pt x="5923" y="90542"/>
                    <a:pt x="5923" y="89131"/>
                  </a:cubicBezTo>
                  <a:lnTo>
                    <a:pt x="5923" y="87721"/>
                  </a:lnTo>
                  <a:cubicBezTo>
                    <a:pt x="5923" y="87439"/>
                    <a:pt x="6488" y="87157"/>
                    <a:pt x="6488" y="86875"/>
                  </a:cubicBezTo>
                  <a:cubicBezTo>
                    <a:pt x="6488" y="85465"/>
                    <a:pt x="6770" y="84054"/>
                    <a:pt x="6770" y="83208"/>
                  </a:cubicBezTo>
                  <a:cubicBezTo>
                    <a:pt x="7052" y="81798"/>
                    <a:pt x="7334" y="80387"/>
                    <a:pt x="7334" y="79259"/>
                  </a:cubicBezTo>
                  <a:cubicBezTo>
                    <a:pt x="7334" y="78131"/>
                    <a:pt x="7616" y="77003"/>
                    <a:pt x="7898" y="75592"/>
                  </a:cubicBezTo>
                  <a:cubicBezTo>
                    <a:pt x="7898" y="73618"/>
                    <a:pt x="8180" y="71644"/>
                    <a:pt x="8744" y="69669"/>
                  </a:cubicBezTo>
                  <a:lnTo>
                    <a:pt x="8744" y="69105"/>
                  </a:lnTo>
                  <a:cubicBezTo>
                    <a:pt x="8744" y="68823"/>
                    <a:pt x="8744" y="68259"/>
                    <a:pt x="8744" y="67977"/>
                  </a:cubicBezTo>
                  <a:cubicBezTo>
                    <a:pt x="8744" y="66566"/>
                    <a:pt x="9026" y="65156"/>
                    <a:pt x="9026" y="63464"/>
                  </a:cubicBezTo>
                  <a:cubicBezTo>
                    <a:pt x="9026" y="62054"/>
                    <a:pt x="9308" y="60361"/>
                    <a:pt x="10154" y="58951"/>
                  </a:cubicBezTo>
                  <a:cubicBezTo>
                    <a:pt x="10154" y="58387"/>
                    <a:pt x="10154" y="58387"/>
                    <a:pt x="10436" y="57823"/>
                  </a:cubicBezTo>
                  <a:cubicBezTo>
                    <a:pt x="10718" y="56412"/>
                    <a:pt x="11282" y="55002"/>
                    <a:pt x="11282" y="53028"/>
                  </a:cubicBezTo>
                  <a:lnTo>
                    <a:pt x="11282" y="50207"/>
                  </a:lnTo>
                  <a:cubicBezTo>
                    <a:pt x="11564" y="49361"/>
                    <a:pt x="11564" y="48233"/>
                    <a:pt x="11564" y="47104"/>
                  </a:cubicBezTo>
                  <a:cubicBezTo>
                    <a:pt x="11564" y="47104"/>
                    <a:pt x="11564" y="46258"/>
                    <a:pt x="11846" y="45694"/>
                  </a:cubicBezTo>
                  <a:cubicBezTo>
                    <a:pt x="12411" y="44002"/>
                    <a:pt x="12411" y="42309"/>
                    <a:pt x="12411" y="40617"/>
                  </a:cubicBezTo>
                  <a:cubicBezTo>
                    <a:pt x="12975" y="38642"/>
                    <a:pt x="13257" y="36668"/>
                    <a:pt x="13539" y="34694"/>
                  </a:cubicBezTo>
                  <a:cubicBezTo>
                    <a:pt x="13821" y="33565"/>
                    <a:pt x="13539" y="32437"/>
                    <a:pt x="14103" y="31027"/>
                  </a:cubicBezTo>
                  <a:cubicBezTo>
                    <a:pt x="14385" y="30745"/>
                    <a:pt x="14385" y="29899"/>
                    <a:pt x="14385" y="29052"/>
                  </a:cubicBezTo>
                  <a:cubicBezTo>
                    <a:pt x="14385" y="28770"/>
                    <a:pt x="14385" y="28488"/>
                    <a:pt x="14385" y="28206"/>
                  </a:cubicBezTo>
                  <a:cubicBezTo>
                    <a:pt x="14385" y="28206"/>
                    <a:pt x="14385" y="27924"/>
                    <a:pt x="14667" y="27642"/>
                  </a:cubicBezTo>
                  <a:cubicBezTo>
                    <a:pt x="14949" y="25950"/>
                    <a:pt x="15231" y="23693"/>
                    <a:pt x="15795" y="21719"/>
                  </a:cubicBezTo>
                  <a:cubicBezTo>
                    <a:pt x="16360" y="19180"/>
                    <a:pt x="16642" y="16642"/>
                    <a:pt x="16924" y="14103"/>
                  </a:cubicBezTo>
                  <a:cubicBezTo>
                    <a:pt x="17206" y="14103"/>
                    <a:pt x="16924" y="13821"/>
                    <a:pt x="17206" y="13821"/>
                  </a:cubicBezTo>
                  <a:cubicBezTo>
                    <a:pt x="18052" y="12129"/>
                    <a:pt x="18052" y="10436"/>
                    <a:pt x="18898" y="9026"/>
                  </a:cubicBezTo>
                  <a:cubicBezTo>
                    <a:pt x="18898" y="8744"/>
                    <a:pt x="18898" y="7898"/>
                    <a:pt x="19180" y="7616"/>
                  </a:cubicBezTo>
                  <a:cubicBezTo>
                    <a:pt x="19462" y="5923"/>
                    <a:pt x="20026" y="5077"/>
                    <a:pt x="20026" y="3103"/>
                  </a:cubicBezTo>
                  <a:lnTo>
                    <a:pt x="21719" y="282"/>
                  </a:lnTo>
                  <a:cubicBezTo>
                    <a:pt x="22001" y="0"/>
                    <a:pt x="22001" y="0"/>
                    <a:pt x="22283" y="0"/>
                  </a:cubicBezTo>
                  <a:lnTo>
                    <a:pt x="22565" y="0"/>
                  </a:lnTo>
                  <a:cubicBezTo>
                    <a:pt x="22847" y="282"/>
                    <a:pt x="23411" y="282"/>
                    <a:pt x="23693" y="282"/>
                  </a:cubicBezTo>
                  <a:cubicBezTo>
                    <a:pt x="23975" y="282"/>
                    <a:pt x="24257" y="282"/>
                    <a:pt x="24539" y="282"/>
                  </a:cubicBezTo>
                  <a:cubicBezTo>
                    <a:pt x="25668" y="846"/>
                    <a:pt x="26514" y="1128"/>
                    <a:pt x="27360" y="1128"/>
                  </a:cubicBezTo>
                  <a:cubicBezTo>
                    <a:pt x="28770" y="1128"/>
                    <a:pt x="30180" y="1692"/>
                    <a:pt x="31309" y="1974"/>
                  </a:cubicBezTo>
                  <a:cubicBezTo>
                    <a:pt x="31873" y="2256"/>
                    <a:pt x="32155" y="2539"/>
                    <a:pt x="32719" y="2539"/>
                  </a:cubicBezTo>
                  <a:cubicBezTo>
                    <a:pt x="33001" y="2539"/>
                    <a:pt x="33001" y="2539"/>
                    <a:pt x="33283" y="2539"/>
                  </a:cubicBezTo>
                  <a:cubicBezTo>
                    <a:pt x="33847" y="2539"/>
                    <a:pt x="34129" y="2821"/>
                    <a:pt x="34411" y="3385"/>
                  </a:cubicBezTo>
                  <a:lnTo>
                    <a:pt x="34411" y="3667"/>
                  </a:lnTo>
                  <a:cubicBezTo>
                    <a:pt x="34411" y="3949"/>
                    <a:pt x="34411" y="4513"/>
                    <a:pt x="34129" y="4795"/>
                  </a:cubicBezTo>
                  <a:cubicBezTo>
                    <a:pt x="34129" y="4795"/>
                    <a:pt x="34411" y="5077"/>
                    <a:pt x="34694" y="5077"/>
                  </a:cubicBezTo>
                  <a:cubicBezTo>
                    <a:pt x="34976" y="5077"/>
                    <a:pt x="34976" y="5359"/>
                    <a:pt x="34976" y="5641"/>
                  </a:cubicBezTo>
                  <a:cubicBezTo>
                    <a:pt x="34976" y="6487"/>
                    <a:pt x="34694" y="7052"/>
                    <a:pt x="34694" y="8180"/>
                  </a:cubicBezTo>
                  <a:cubicBezTo>
                    <a:pt x="34694" y="8744"/>
                    <a:pt x="34129" y="9590"/>
                    <a:pt x="34129" y="10154"/>
                  </a:cubicBezTo>
                  <a:cubicBezTo>
                    <a:pt x="34129" y="10718"/>
                    <a:pt x="33847" y="10436"/>
                    <a:pt x="33283" y="10718"/>
                  </a:cubicBezTo>
                  <a:cubicBezTo>
                    <a:pt x="33001" y="11000"/>
                    <a:pt x="33001" y="11000"/>
                    <a:pt x="33001" y="11000"/>
                  </a:cubicBezTo>
                  <a:cubicBezTo>
                    <a:pt x="33001" y="11000"/>
                    <a:pt x="33001" y="11282"/>
                    <a:pt x="33565" y="11282"/>
                  </a:cubicBezTo>
                  <a:cubicBezTo>
                    <a:pt x="33565" y="11282"/>
                    <a:pt x="33847" y="11565"/>
                    <a:pt x="33847" y="11847"/>
                  </a:cubicBezTo>
                  <a:cubicBezTo>
                    <a:pt x="33283" y="12411"/>
                    <a:pt x="32719" y="12975"/>
                    <a:pt x="32719" y="13257"/>
                  </a:cubicBezTo>
                  <a:cubicBezTo>
                    <a:pt x="32719" y="13539"/>
                    <a:pt x="32437" y="13539"/>
                    <a:pt x="32437" y="13539"/>
                  </a:cubicBezTo>
                  <a:cubicBezTo>
                    <a:pt x="32437" y="13539"/>
                    <a:pt x="32155" y="13539"/>
                    <a:pt x="32155" y="13257"/>
                  </a:cubicBezTo>
                  <a:cubicBezTo>
                    <a:pt x="31309" y="13257"/>
                    <a:pt x="31309" y="13257"/>
                    <a:pt x="31309" y="13821"/>
                  </a:cubicBezTo>
                  <a:lnTo>
                    <a:pt x="31309" y="14667"/>
                  </a:lnTo>
                  <a:cubicBezTo>
                    <a:pt x="31309" y="14949"/>
                    <a:pt x="31591" y="15231"/>
                    <a:pt x="31591" y="15231"/>
                  </a:cubicBezTo>
                  <a:cubicBezTo>
                    <a:pt x="32155" y="15513"/>
                    <a:pt x="32437" y="16078"/>
                    <a:pt x="32437" y="16360"/>
                  </a:cubicBezTo>
                  <a:cubicBezTo>
                    <a:pt x="32437" y="16642"/>
                    <a:pt x="32155" y="16642"/>
                    <a:pt x="32155" y="16924"/>
                  </a:cubicBezTo>
                  <a:cubicBezTo>
                    <a:pt x="31873" y="18334"/>
                    <a:pt x="31591" y="20026"/>
                    <a:pt x="31027" y="21437"/>
                  </a:cubicBezTo>
                  <a:lnTo>
                    <a:pt x="31027" y="22001"/>
                  </a:lnTo>
                  <a:cubicBezTo>
                    <a:pt x="31027" y="22283"/>
                    <a:pt x="31027" y="22847"/>
                    <a:pt x="31027" y="23129"/>
                  </a:cubicBezTo>
                  <a:cubicBezTo>
                    <a:pt x="31027" y="23693"/>
                    <a:pt x="31027" y="24257"/>
                    <a:pt x="31027" y="24821"/>
                  </a:cubicBezTo>
                  <a:cubicBezTo>
                    <a:pt x="31027" y="25386"/>
                    <a:pt x="31027" y="26232"/>
                    <a:pt x="31309" y="26796"/>
                  </a:cubicBezTo>
                  <a:lnTo>
                    <a:pt x="31309" y="27078"/>
                  </a:lnTo>
                  <a:cubicBezTo>
                    <a:pt x="30745" y="27924"/>
                    <a:pt x="30745" y="28770"/>
                    <a:pt x="30463" y="29616"/>
                  </a:cubicBezTo>
                  <a:cubicBezTo>
                    <a:pt x="29898" y="31309"/>
                    <a:pt x="29898" y="33001"/>
                    <a:pt x="29616" y="34694"/>
                  </a:cubicBezTo>
                  <a:cubicBezTo>
                    <a:pt x="29616" y="35540"/>
                    <a:pt x="29334" y="36386"/>
                    <a:pt x="29334" y="37232"/>
                  </a:cubicBezTo>
                  <a:cubicBezTo>
                    <a:pt x="29334" y="37796"/>
                    <a:pt x="29334" y="38078"/>
                    <a:pt x="29616" y="38642"/>
                  </a:cubicBezTo>
                  <a:cubicBezTo>
                    <a:pt x="29334" y="39489"/>
                    <a:pt x="29052" y="40053"/>
                    <a:pt x="29052" y="40899"/>
                  </a:cubicBezTo>
                  <a:cubicBezTo>
                    <a:pt x="29052" y="41463"/>
                    <a:pt x="29334" y="42309"/>
                    <a:pt x="29616" y="42873"/>
                  </a:cubicBezTo>
                  <a:cubicBezTo>
                    <a:pt x="29334" y="42873"/>
                    <a:pt x="29334" y="43155"/>
                    <a:pt x="29334" y="43437"/>
                  </a:cubicBezTo>
                  <a:cubicBezTo>
                    <a:pt x="29334" y="43720"/>
                    <a:pt x="29334" y="44002"/>
                    <a:pt x="29334" y="44284"/>
                  </a:cubicBezTo>
                  <a:cubicBezTo>
                    <a:pt x="29334" y="44566"/>
                    <a:pt x="29334" y="44566"/>
                    <a:pt x="29334" y="44848"/>
                  </a:cubicBezTo>
                  <a:cubicBezTo>
                    <a:pt x="29334" y="45130"/>
                    <a:pt x="29334" y="45976"/>
                    <a:pt x="29052" y="46258"/>
                  </a:cubicBezTo>
                  <a:cubicBezTo>
                    <a:pt x="28770" y="46822"/>
                    <a:pt x="28488" y="47104"/>
                    <a:pt x="28488" y="47668"/>
                  </a:cubicBezTo>
                  <a:cubicBezTo>
                    <a:pt x="28488" y="48797"/>
                    <a:pt x="27924" y="49643"/>
                    <a:pt x="27924" y="50489"/>
                  </a:cubicBezTo>
                  <a:cubicBezTo>
                    <a:pt x="27924" y="50771"/>
                    <a:pt x="27924" y="51053"/>
                    <a:pt x="28206" y="51335"/>
                  </a:cubicBezTo>
                  <a:lnTo>
                    <a:pt x="28206" y="53310"/>
                  </a:lnTo>
                  <a:cubicBezTo>
                    <a:pt x="27924" y="53874"/>
                    <a:pt x="27924" y="54438"/>
                    <a:pt x="27924" y="55002"/>
                  </a:cubicBezTo>
                  <a:cubicBezTo>
                    <a:pt x="27924" y="55566"/>
                    <a:pt x="27924" y="55848"/>
                    <a:pt x="27924" y="56412"/>
                  </a:cubicBezTo>
                  <a:cubicBezTo>
                    <a:pt x="27924" y="56694"/>
                    <a:pt x="27924" y="56976"/>
                    <a:pt x="27924" y="57258"/>
                  </a:cubicBezTo>
                  <a:cubicBezTo>
                    <a:pt x="27924" y="57823"/>
                    <a:pt x="27642" y="59233"/>
                    <a:pt x="27360" y="59233"/>
                  </a:cubicBezTo>
                  <a:lnTo>
                    <a:pt x="27360" y="59797"/>
                  </a:lnTo>
                  <a:cubicBezTo>
                    <a:pt x="27642" y="59797"/>
                    <a:pt x="27924" y="59797"/>
                    <a:pt x="27924" y="59515"/>
                  </a:cubicBezTo>
                  <a:lnTo>
                    <a:pt x="31027" y="55002"/>
                  </a:lnTo>
                  <a:cubicBezTo>
                    <a:pt x="31591" y="54720"/>
                    <a:pt x="31873" y="53874"/>
                    <a:pt x="32155" y="53310"/>
                  </a:cubicBezTo>
                  <a:cubicBezTo>
                    <a:pt x="33001" y="51053"/>
                    <a:pt x="34411" y="49079"/>
                    <a:pt x="35540" y="47104"/>
                  </a:cubicBezTo>
                  <a:lnTo>
                    <a:pt x="39489" y="41181"/>
                  </a:lnTo>
                  <a:cubicBezTo>
                    <a:pt x="40053" y="40899"/>
                    <a:pt x="40617" y="40053"/>
                    <a:pt x="41181" y="39207"/>
                  </a:cubicBezTo>
                  <a:lnTo>
                    <a:pt x="42873" y="37232"/>
                  </a:lnTo>
                  <a:cubicBezTo>
                    <a:pt x="43438" y="36668"/>
                    <a:pt x="43720" y="35822"/>
                    <a:pt x="44566" y="35258"/>
                  </a:cubicBezTo>
                  <a:cubicBezTo>
                    <a:pt x="44848" y="34976"/>
                    <a:pt x="45130" y="34694"/>
                    <a:pt x="45412" y="34694"/>
                  </a:cubicBezTo>
                  <a:cubicBezTo>
                    <a:pt x="46258" y="33283"/>
                    <a:pt x="47104" y="31591"/>
                    <a:pt x="48514" y="30745"/>
                  </a:cubicBezTo>
                  <a:cubicBezTo>
                    <a:pt x="49079" y="30745"/>
                    <a:pt x="49079" y="30463"/>
                    <a:pt x="49361" y="30181"/>
                  </a:cubicBezTo>
                  <a:lnTo>
                    <a:pt x="49925" y="29616"/>
                  </a:lnTo>
                  <a:cubicBezTo>
                    <a:pt x="51617" y="28488"/>
                    <a:pt x="53028" y="27078"/>
                    <a:pt x="54438" y="25668"/>
                  </a:cubicBezTo>
                  <a:cubicBezTo>
                    <a:pt x="54720" y="25386"/>
                    <a:pt x="55002" y="25386"/>
                    <a:pt x="55284" y="25386"/>
                  </a:cubicBezTo>
                  <a:cubicBezTo>
                    <a:pt x="55284" y="25668"/>
                    <a:pt x="55566" y="25668"/>
                    <a:pt x="55566" y="25668"/>
                  </a:cubicBezTo>
                  <a:cubicBezTo>
                    <a:pt x="55566" y="25668"/>
                    <a:pt x="55848" y="25668"/>
                    <a:pt x="55848" y="25386"/>
                  </a:cubicBezTo>
                  <a:cubicBezTo>
                    <a:pt x="56694" y="25103"/>
                    <a:pt x="57259" y="24539"/>
                    <a:pt x="57823" y="24539"/>
                  </a:cubicBezTo>
                  <a:lnTo>
                    <a:pt x="58105" y="24539"/>
                  </a:lnTo>
                  <a:cubicBezTo>
                    <a:pt x="58387" y="24539"/>
                    <a:pt x="58387" y="24257"/>
                    <a:pt x="58387" y="23975"/>
                  </a:cubicBezTo>
                  <a:cubicBezTo>
                    <a:pt x="58951" y="22847"/>
                    <a:pt x="59797" y="22283"/>
                    <a:pt x="61490" y="21437"/>
                  </a:cubicBezTo>
                  <a:cubicBezTo>
                    <a:pt x="62054" y="21155"/>
                    <a:pt x="62900" y="21155"/>
                    <a:pt x="62900" y="20308"/>
                  </a:cubicBezTo>
                  <a:cubicBezTo>
                    <a:pt x="63182" y="20308"/>
                    <a:pt x="63182" y="20026"/>
                    <a:pt x="63182" y="20026"/>
                  </a:cubicBezTo>
                  <a:cubicBezTo>
                    <a:pt x="64028" y="19744"/>
                    <a:pt x="64874" y="19462"/>
                    <a:pt x="65438" y="19462"/>
                  </a:cubicBezTo>
                  <a:cubicBezTo>
                    <a:pt x="65720" y="19462"/>
                    <a:pt x="65720" y="19462"/>
                    <a:pt x="66002" y="19462"/>
                  </a:cubicBezTo>
                  <a:cubicBezTo>
                    <a:pt x="66284" y="19462"/>
                    <a:pt x="66848" y="19462"/>
                    <a:pt x="67131" y="19744"/>
                  </a:cubicBezTo>
                  <a:cubicBezTo>
                    <a:pt x="67413" y="19744"/>
                    <a:pt x="67695" y="20026"/>
                    <a:pt x="67977" y="20026"/>
                  </a:cubicBezTo>
                  <a:cubicBezTo>
                    <a:pt x="68259" y="20026"/>
                    <a:pt x="68823" y="19744"/>
                    <a:pt x="69105" y="19462"/>
                  </a:cubicBezTo>
                  <a:cubicBezTo>
                    <a:pt x="69387" y="19462"/>
                    <a:pt x="69387" y="19180"/>
                    <a:pt x="69669" y="19180"/>
                  </a:cubicBezTo>
                  <a:cubicBezTo>
                    <a:pt x="69951" y="19180"/>
                    <a:pt x="70233" y="19462"/>
                    <a:pt x="70515" y="19462"/>
                  </a:cubicBezTo>
                  <a:cubicBezTo>
                    <a:pt x="71079" y="19180"/>
                    <a:pt x="71362" y="19180"/>
                    <a:pt x="72208" y="19180"/>
                  </a:cubicBezTo>
                  <a:cubicBezTo>
                    <a:pt x="73336" y="19462"/>
                    <a:pt x="74182" y="19180"/>
                    <a:pt x="75028" y="20026"/>
                  </a:cubicBezTo>
                  <a:lnTo>
                    <a:pt x="75310" y="20026"/>
                  </a:lnTo>
                  <a:cubicBezTo>
                    <a:pt x="75593" y="20026"/>
                    <a:pt x="75593" y="20026"/>
                    <a:pt x="75875" y="20026"/>
                  </a:cubicBezTo>
                  <a:cubicBezTo>
                    <a:pt x="76439" y="20026"/>
                    <a:pt x="77003" y="20308"/>
                    <a:pt x="77285" y="20873"/>
                  </a:cubicBezTo>
                  <a:cubicBezTo>
                    <a:pt x="77285" y="21155"/>
                    <a:pt x="77003" y="21437"/>
                    <a:pt x="77003" y="21437"/>
                  </a:cubicBezTo>
                  <a:cubicBezTo>
                    <a:pt x="77003" y="22001"/>
                    <a:pt x="77849" y="21719"/>
                    <a:pt x="78131" y="22283"/>
                  </a:cubicBezTo>
                  <a:cubicBezTo>
                    <a:pt x="78413" y="22283"/>
                    <a:pt x="78695" y="22283"/>
                    <a:pt x="79259" y="22283"/>
                  </a:cubicBezTo>
                  <a:cubicBezTo>
                    <a:pt x="79541" y="22283"/>
                    <a:pt x="79824" y="22283"/>
                    <a:pt x="80106" y="22283"/>
                  </a:cubicBezTo>
                  <a:cubicBezTo>
                    <a:pt x="80388" y="22001"/>
                    <a:pt x="80952" y="22001"/>
                    <a:pt x="81234" y="22001"/>
                  </a:cubicBezTo>
                  <a:cubicBezTo>
                    <a:pt x="82080" y="22001"/>
                    <a:pt x="82644" y="22283"/>
                    <a:pt x="83208" y="22283"/>
                  </a:cubicBezTo>
                  <a:cubicBezTo>
                    <a:pt x="83490" y="22283"/>
                    <a:pt x="83490" y="22283"/>
                    <a:pt x="83490" y="22565"/>
                  </a:cubicBezTo>
                  <a:cubicBezTo>
                    <a:pt x="83490" y="23693"/>
                    <a:pt x="83490" y="24821"/>
                    <a:pt x="84054" y="25668"/>
                  </a:cubicBezTo>
                  <a:lnTo>
                    <a:pt x="84054" y="25950"/>
                  </a:lnTo>
                  <a:cubicBezTo>
                    <a:pt x="84054" y="26232"/>
                    <a:pt x="83772" y="26514"/>
                    <a:pt x="83490" y="26514"/>
                  </a:cubicBezTo>
                  <a:lnTo>
                    <a:pt x="82926" y="26514"/>
                  </a:lnTo>
                  <a:lnTo>
                    <a:pt x="82926" y="27078"/>
                  </a:lnTo>
                  <a:cubicBezTo>
                    <a:pt x="82926" y="27360"/>
                    <a:pt x="82926" y="27924"/>
                    <a:pt x="82644" y="27924"/>
                  </a:cubicBezTo>
                  <a:cubicBezTo>
                    <a:pt x="82362" y="27924"/>
                    <a:pt x="82080" y="27642"/>
                    <a:pt x="81798" y="27642"/>
                  </a:cubicBezTo>
                  <a:cubicBezTo>
                    <a:pt x="81798" y="27642"/>
                    <a:pt x="81516" y="27642"/>
                    <a:pt x="81516" y="27924"/>
                  </a:cubicBezTo>
                  <a:cubicBezTo>
                    <a:pt x="81516" y="27924"/>
                    <a:pt x="81516" y="28206"/>
                    <a:pt x="81516" y="28488"/>
                  </a:cubicBezTo>
                  <a:lnTo>
                    <a:pt x="81516" y="28770"/>
                  </a:lnTo>
                  <a:cubicBezTo>
                    <a:pt x="81516" y="29334"/>
                    <a:pt x="81516" y="29334"/>
                    <a:pt x="80670" y="29334"/>
                  </a:cubicBezTo>
                  <a:cubicBezTo>
                    <a:pt x="80388" y="29334"/>
                    <a:pt x="80106" y="29334"/>
                    <a:pt x="80106" y="29616"/>
                  </a:cubicBezTo>
                  <a:cubicBezTo>
                    <a:pt x="80106" y="29616"/>
                    <a:pt x="80106" y="29616"/>
                    <a:pt x="80106" y="29899"/>
                  </a:cubicBezTo>
                  <a:lnTo>
                    <a:pt x="80388" y="30181"/>
                  </a:lnTo>
                  <a:lnTo>
                    <a:pt x="80388" y="30463"/>
                  </a:lnTo>
                  <a:cubicBezTo>
                    <a:pt x="80388" y="30745"/>
                    <a:pt x="79824" y="31027"/>
                    <a:pt x="79824" y="30745"/>
                  </a:cubicBezTo>
                  <a:lnTo>
                    <a:pt x="79259" y="30745"/>
                  </a:lnTo>
                  <a:cubicBezTo>
                    <a:pt x="78413" y="29899"/>
                    <a:pt x="77285" y="29616"/>
                    <a:pt x="75875" y="29052"/>
                  </a:cubicBezTo>
                  <a:cubicBezTo>
                    <a:pt x="75310" y="29052"/>
                    <a:pt x="74746" y="28770"/>
                    <a:pt x="73900" y="28770"/>
                  </a:cubicBezTo>
                  <a:cubicBezTo>
                    <a:pt x="72772" y="28770"/>
                    <a:pt x="71644" y="28770"/>
                    <a:pt x="70797" y="29334"/>
                  </a:cubicBezTo>
                  <a:cubicBezTo>
                    <a:pt x="70797" y="29616"/>
                    <a:pt x="70797" y="29616"/>
                    <a:pt x="70515" y="29616"/>
                  </a:cubicBezTo>
                  <a:cubicBezTo>
                    <a:pt x="69387" y="29899"/>
                    <a:pt x="68541" y="30463"/>
                    <a:pt x="67977" y="31027"/>
                  </a:cubicBezTo>
                  <a:lnTo>
                    <a:pt x="62336" y="34694"/>
                  </a:lnTo>
                  <a:lnTo>
                    <a:pt x="61207" y="36668"/>
                  </a:lnTo>
                  <a:lnTo>
                    <a:pt x="60643" y="37514"/>
                  </a:lnTo>
                  <a:cubicBezTo>
                    <a:pt x="59233" y="38642"/>
                    <a:pt x="58387" y="40053"/>
                    <a:pt x="57259" y="41181"/>
                  </a:cubicBezTo>
                  <a:cubicBezTo>
                    <a:pt x="56694" y="42873"/>
                    <a:pt x="55566" y="43720"/>
                    <a:pt x="54438" y="45412"/>
                  </a:cubicBezTo>
                  <a:cubicBezTo>
                    <a:pt x="53592" y="46258"/>
                    <a:pt x="53028" y="47104"/>
                    <a:pt x="52463" y="47950"/>
                  </a:cubicBezTo>
                  <a:cubicBezTo>
                    <a:pt x="52181" y="48233"/>
                    <a:pt x="52181" y="48797"/>
                    <a:pt x="52181" y="49079"/>
                  </a:cubicBezTo>
                  <a:cubicBezTo>
                    <a:pt x="51617" y="49925"/>
                    <a:pt x="51053" y="51053"/>
                    <a:pt x="50207" y="51335"/>
                  </a:cubicBezTo>
                  <a:cubicBezTo>
                    <a:pt x="49643" y="51899"/>
                    <a:pt x="49079" y="52745"/>
                    <a:pt x="48797" y="53592"/>
                  </a:cubicBezTo>
                  <a:cubicBezTo>
                    <a:pt x="48514" y="54720"/>
                    <a:pt x="48232" y="55566"/>
                    <a:pt x="47668" y="56412"/>
                  </a:cubicBezTo>
                  <a:cubicBezTo>
                    <a:pt x="47104" y="57541"/>
                    <a:pt x="46540" y="59233"/>
                    <a:pt x="45412" y="60361"/>
                  </a:cubicBezTo>
                  <a:cubicBezTo>
                    <a:pt x="45130" y="60643"/>
                    <a:pt x="44848" y="60925"/>
                    <a:pt x="44848" y="61207"/>
                  </a:cubicBezTo>
                  <a:cubicBezTo>
                    <a:pt x="44284" y="61207"/>
                    <a:pt x="44002" y="62054"/>
                    <a:pt x="44002" y="63182"/>
                  </a:cubicBezTo>
                  <a:cubicBezTo>
                    <a:pt x="44002" y="63464"/>
                    <a:pt x="44002" y="63464"/>
                    <a:pt x="43720" y="63464"/>
                  </a:cubicBezTo>
                  <a:cubicBezTo>
                    <a:pt x="42873" y="63746"/>
                    <a:pt x="42873" y="64592"/>
                    <a:pt x="42873" y="65438"/>
                  </a:cubicBezTo>
                  <a:cubicBezTo>
                    <a:pt x="42873" y="66002"/>
                    <a:pt x="42591" y="66284"/>
                    <a:pt x="42309" y="66284"/>
                  </a:cubicBezTo>
                  <a:cubicBezTo>
                    <a:pt x="41745" y="66284"/>
                    <a:pt x="41463" y="66849"/>
                    <a:pt x="41181" y="66849"/>
                  </a:cubicBezTo>
                  <a:cubicBezTo>
                    <a:pt x="40899" y="67131"/>
                    <a:pt x="40899" y="67413"/>
                    <a:pt x="40899" y="67695"/>
                  </a:cubicBezTo>
                  <a:cubicBezTo>
                    <a:pt x="40899" y="67977"/>
                    <a:pt x="40899" y="68259"/>
                    <a:pt x="40899" y="68259"/>
                  </a:cubicBezTo>
                  <a:cubicBezTo>
                    <a:pt x="40899" y="68541"/>
                    <a:pt x="40899" y="68541"/>
                    <a:pt x="40899" y="68823"/>
                  </a:cubicBezTo>
                  <a:lnTo>
                    <a:pt x="39207" y="73618"/>
                  </a:lnTo>
                  <a:cubicBezTo>
                    <a:pt x="39207" y="73618"/>
                    <a:pt x="38925" y="73618"/>
                    <a:pt x="38925" y="73900"/>
                  </a:cubicBezTo>
                  <a:lnTo>
                    <a:pt x="38078" y="74746"/>
                  </a:lnTo>
                  <a:lnTo>
                    <a:pt x="38078" y="75028"/>
                  </a:lnTo>
                  <a:lnTo>
                    <a:pt x="36950" y="76157"/>
                  </a:lnTo>
                  <a:cubicBezTo>
                    <a:pt x="36950" y="76439"/>
                    <a:pt x="36950" y="76721"/>
                    <a:pt x="36950" y="77003"/>
                  </a:cubicBezTo>
                  <a:cubicBezTo>
                    <a:pt x="36950" y="77285"/>
                    <a:pt x="36950" y="77285"/>
                    <a:pt x="36950" y="77567"/>
                  </a:cubicBezTo>
                  <a:cubicBezTo>
                    <a:pt x="36668" y="78413"/>
                    <a:pt x="36668" y="78695"/>
                    <a:pt x="35822" y="78977"/>
                  </a:cubicBezTo>
                  <a:lnTo>
                    <a:pt x="35822" y="79823"/>
                  </a:lnTo>
                  <a:close/>
                  <a:moveTo>
                    <a:pt x="35822" y="78413"/>
                  </a:moveTo>
                  <a:lnTo>
                    <a:pt x="35540" y="78413"/>
                  </a:lnTo>
                  <a:cubicBezTo>
                    <a:pt x="35540" y="78695"/>
                    <a:pt x="35822" y="78695"/>
                    <a:pt x="35822" y="78977"/>
                  </a:cubicBezTo>
                  <a:lnTo>
                    <a:pt x="35822" y="78413"/>
                  </a:lnTo>
                  <a:close/>
                </a:path>
              </a:pathLst>
            </a:custGeom>
            <a:solidFill>
              <a:srgbClr val="000000"/>
            </a:solidFill>
            <a:ln w="5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AACD70C-779E-465A-92B1-58EAD57A3B0E}"/>
                </a:ext>
              </a:extLst>
            </p:cNvPr>
            <p:cNvSpPr/>
            <p:nvPr/>
          </p:nvSpPr>
          <p:spPr>
            <a:xfrm>
              <a:off x="5699278" y="3362151"/>
              <a:ext cx="118466" cy="124107"/>
            </a:xfrm>
            <a:custGeom>
              <a:avLst/>
              <a:gdLst>
                <a:gd name="connsiteX0" fmla="*/ 45412 w 118465"/>
                <a:gd name="connsiteY0" fmla="*/ 118748 h 124107"/>
                <a:gd name="connsiteX1" fmla="*/ 44848 w 118465"/>
                <a:gd name="connsiteY1" fmla="*/ 118466 h 124107"/>
                <a:gd name="connsiteX2" fmla="*/ 44848 w 118465"/>
                <a:gd name="connsiteY2" fmla="*/ 118748 h 124107"/>
                <a:gd name="connsiteX3" fmla="*/ 45412 w 118465"/>
                <a:gd name="connsiteY3" fmla="*/ 119312 h 124107"/>
                <a:gd name="connsiteX4" fmla="*/ 45976 w 118465"/>
                <a:gd name="connsiteY4" fmla="*/ 120158 h 124107"/>
                <a:gd name="connsiteX5" fmla="*/ 45976 w 118465"/>
                <a:gd name="connsiteY5" fmla="*/ 120722 h 124107"/>
                <a:gd name="connsiteX6" fmla="*/ 44002 w 118465"/>
                <a:gd name="connsiteY6" fmla="*/ 121286 h 124107"/>
                <a:gd name="connsiteX7" fmla="*/ 43720 w 118465"/>
                <a:gd name="connsiteY7" fmla="*/ 121286 h 124107"/>
                <a:gd name="connsiteX8" fmla="*/ 42592 w 118465"/>
                <a:gd name="connsiteY8" fmla="*/ 121851 h 124107"/>
                <a:gd name="connsiteX9" fmla="*/ 41463 w 118465"/>
                <a:gd name="connsiteY9" fmla="*/ 122133 h 124107"/>
                <a:gd name="connsiteX10" fmla="*/ 40899 w 118465"/>
                <a:gd name="connsiteY10" fmla="*/ 122133 h 124107"/>
                <a:gd name="connsiteX11" fmla="*/ 39771 w 118465"/>
                <a:gd name="connsiteY11" fmla="*/ 121286 h 124107"/>
                <a:gd name="connsiteX12" fmla="*/ 39207 w 118465"/>
                <a:gd name="connsiteY12" fmla="*/ 121568 h 124107"/>
                <a:gd name="connsiteX13" fmla="*/ 39207 w 118465"/>
                <a:gd name="connsiteY13" fmla="*/ 121851 h 124107"/>
                <a:gd name="connsiteX14" fmla="*/ 40053 w 118465"/>
                <a:gd name="connsiteY14" fmla="*/ 122697 h 124107"/>
                <a:gd name="connsiteX15" fmla="*/ 40053 w 118465"/>
                <a:gd name="connsiteY15" fmla="*/ 123825 h 124107"/>
                <a:gd name="connsiteX16" fmla="*/ 39771 w 118465"/>
                <a:gd name="connsiteY16" fmla="*/ 124107 h 124107"/>
                <a:gd name="connsiteX17" fmla="*/ 40617 w 118465"/>
                <a:gd name="connsiteY17" fmla="*/ 124107 h 124107"/>
                <a:gd name="connsiteX18" fmla="*/ 41745 w 118465"/>
                <a:gd name="connsiteY18" fmla="*/ 123261 h 124107"/>
                <a:gd name="connsiteX19" fmla="*/ 42592 w 118465"/>
                <a:gd name="connsiteY19" fmla="*/ 123543 h 124107"/>
                <a:gd name="connsiteX20" fmla="*/ 42309 w 118465"/>
                <a:gd name="connsiteY20" fmla="*/ 124107 h 124107"/>
                <a:gd name="connsiteX21" fmla="*/ 39489 w 118465"/>
                <a:gd name="connsiteY21" fmla="*/ 126081 h 124107"/>
                <a:gd name="connsiteX22" fmla="*/ 38361 w 118465"/>
                <a:gd name="connsiteY22" fmla="*/ 126646 h 124107"/>
                <a:gd name="connsiteX23" fmla="*/ 37796 w 118465"/>
                <a:gd name="connsiteY23" fmla="*/ 127210 h 124107"/>
                <a:gd name="connsiteX24" fmla="*/ 36668 w 118465"/>
                <a:gd name="connsiteY24" fmla="*/ 127492 h 124107"/>
                <a:gd name="connsiteX25" fmla="*/ 34694 w 118465"/>
                <a:gd name="connsiteY25" fmla="*/ 127492 h 124107"/>
                <a:gd name="connsiteX26" fmla="*/ 33847 w 118465"/>
                <a:gd name="connsiteY26" fmla="*/ 127210 h 124107"/>
                <a:gd name="connsiteX27" fmla="*/ 32437 w 118465"/>
                <a:gd name="connsiteY27" fmla="*/ 127210 h 124107"/>
                <a:gd name="connsiteX28" fmla="*/ 31873 w 118465"/>
                <a:gd name="connsiteY28" fmla="*/ 127492 h 124107"/>
                <a:gd name="connsiteX29" fmla="*/ 31591 w 118465"/>
                <a:gd name="connsiteY29" fmla="*/ 127492 h 124107"/>
                <a:gd name="connsiteX30" fmla="*/ 30181 w 118465"/>
                <a:gd name="connsiteY30" fmla="*/ 126928 h 124107"/>
                <a:gd name="connsiteX31" fmla="*/ 27924 w 118465"/>
                <a:gd name="connsiteY31" fmla="*/ 126081 h 124107"/>
                <a:gd name="connsiteX32" fmla="*/ 25950 w 118465"/>
                <a:gd name="connsiteY32" fmla="*/ 126081 h 124107"/>
                <a:gd name="connsiteX33" fmla="*/ 25386 w 118465"/>
                <a:gd name="connsiteY33" fmla="*/ 125799 h 124107"/>
                <a:gd name="connsiteX34" fmla="*/ 24822 w 118465"/>
                <a:gd name="connsiteY34" fmla="*/ 125517 h 124107"/>
                <a:gd name="connsiteX35" fmla="*/ 24540 w 118465"/>
                <a:gd name="connsiteY35" fmla="*/ 125799 h 124107"/>
                <a:gd name="connsiteX36" fmla="*/ 23129 w 118465"/>
                <a:gd name="connsiteY36" fmla="*/ 126646 h 124107"/>
                <a:gd name="connsiteX37" fmla="*/ 19462 w 118465"/>
                <a:gd name="connsiteY37" fmla="*/ 126646 h 124107"/>
                <a:gd name="connsiteX38" fmla="*/ 18334 w 118465"/>
                <a:gd name="connsiteY38" fmla="*/ 127210 h 124107"/>
                <a:gd name="connsiteX39" fmla="*/ 14667 w 118465"/>
                <a:gd name="connsiteY39" fmla="*/ 127210 h 124107"/>
                <a:gd name="connsiteX40" fmla="*/ 13539 w 118465"/>
                <a:gd name="connsiteY40" fmla="*/ 126928 h 124107"/>
                <a:gd name="connsiteX41" fmla="*/ 12693 w 118465"/>
                <a:gd name="connsiteY41" fmla="*/ 126363 h 124107"/>
                <a:gd name="connsiteX42" fmla="*/ 11565 w 118465"/>
                <a:gd name="connsiteY42" fmla="*/ 125799 h 124107"/>
                <a:gd name="connsiteX43" fmla="*/ 9872 w 118465"/>
                <a:gd name="connsiteY43" fmla="*/ 124107 h 124107"/>
                <a:gd name="connsiteX44" fmla="*/ 8744 w 118465"/>
                <a:gd name="connsiteY44" fmla="*/ 122415 h 124107"/>
                <a:gd name="connsiteX45" fmla="*/ 8462 w 118465"/>
                <a:gd name="connsiteY45" fmla="*/ 122415 h 124107"/>
                <a:gd name="connsiteX46" fmla="*/ 7052 w 118465"/>
                <a:gd name="connsiteY46" fmla="*/ 121851 h 124107"/>
                <a:gd name="connsiteX47" fmla="*/ 6488 w 118465"/>
                <a:gd name="connsiteY47" fmla="*/ 120440 h 124107"/>
                <a:gd name="connsiteX48" fmla="*/ 5077 w 118465"/>
                <a:gd name="connsiteY48" fmla="*/ 119312 h 124107"/>
                <a:gd name="connsiteX49" fmla="*/ 3103 w 118465"/>
                <a:gd name="connsiteY49" fmla="*/ 116209 h 124107"/>
                <a:gd name="connsiteX50" fmla="*/ 3103 w 118465"/>
                <a:gd name="connsiteY50" fmla="*/ 115363 h 124107"/>
                <a:gd name="connsiteX51" fmla="*/ 2821 w 118465"/>
                <a:gd name="connsiteY51" fmla="*/ 114799 h 124107"/>
                <a:gd name="connsiteX52" fmla="*/ 2257 w 118465"/>
                <a:gd name="connsiteY52" fmla="*/ 113953 h 124107"/>
                <a:gd name="connsiteX53" fmla="*/ 2257 w 118465"/>
                <a:gd name="connsiteY53" fmla="*/ 113389 h 124107"/>
                <a:gd name="connsiteX54" fmla="*/ 1975 w 118465"/>
                <a:gd name="connsiteY54" fmla="*/ 112542 h 124107"/>
                <a:gd name="connsiteX55" fmla="*/ 1975 w 118465"/>
                <a:gd name="connsiteY55" fmla="*/ 111414 h 124107"/>
                <a:gd name="connsiteX56" fmla="*/ 1410 w 118465"/>
                <a:gd name="connsiteY56" fmla="*/ 110850 h 124107"/>
                <a:gd name="connsiteX57" fmla="*/ 1410 w 118465"/>
                <a:gd name="connsiteY57" fmla="*/ 110286 h 124107"/>
                <a:gd name="connsiteX58" fmla="*/ 846 w 118465"/>
                <a:gd name="connsiteY58" fmla="*/ 108594 h 124107"/>
                <a:gd name="connsiteX59" fmla="*/ 846 w 118465"/>
                <a:gd name="connsiteY59" fmla="*/ 107465 h 124107"/>
                <a:gd name="connsiteX60" fmla="*/ 0 w 118465"/>
                <a:gd name="connsiteY60" fmla="*/ 98721 h 124107"/>
                <a:gd name="connsiteX61" fmla="*/ 282 w 118465"/>
                <a:gd name="connsiteY61" fmla="*/ 97029 h 124107"/>
                <a:gd name="connsiteX62" fmla="*/ 564 w 118465"/>
                <a:gd name="connsiteY62" fmla="*/ 96465 h 124107"/>
                <a:gd name="connsiteX63" fmla="*/ 282 w 118465"/>
                <a:gd name="connsiteY63" fmla="*/ 95055 h 124107"/>
                <a:gd name="connsiteX64" fmla="*/ 282 w 118465"/>
                <a:gd name="connsiteY64" fmla="*/ 91670 h 124107"/>
                <a:gd name="connsiteX65" fmla="*/ 846 w 118465"/>
                <a:gd name="connsiteY65" fmla="*/ 90260 h 124107"/>
                <a:gd name="connsiteX66" fmla="*/ 282 w 118465"/>
                <a:gd name="connsiteY66" fmla="*/ 89131 h 124107"/>
                <a:gd name="connsiteX67" fmla="*/ 1693 w 118465"/>
                <a:gd name="connsiteY67" fmla="*/ 87157 h 124107"/>
                <a:gd name="connsiteX68" fmla="*/ 1693 w 118465"/>
                <a:gd name="connsiteY68" fmla="*/ 85747 h 124107"/>
                <a:gd name="connsiteX69" fmla="*/ 1975 w 118465"/>
                <a:gd name="connsiteY69" fmla="*/ 84618 h 124107"/>
                <a:gd name="connsiteX70" fmla="*/ 1693 w 118465"/>
                <a:gd name="connsiteY70" fmla="*/ 84054 h 124107"/>
                <a:gd name="connsiteX71" fmla="*/ 1975 w 118465"/>
                <a:gd name="connsiteY71" fmla="*/ 83208 h 124107"/>
                <a:gd name="connsiteX72" fmla="*/ 2821 w 118465"/>
                <a:gd name="connsiteY72" fmla="*/ 83208 h 124107"/>
                <a:gd name="connsiteX73" fmla="*/ 3103 w 118465"/>
                <a:gd name="connsiteY73" fmla="*/ 83772 h 124107"/>
                <a:gd name="connsiteX74" fmla="*/ 3103 w 118465"/>
                <a:gd name="connsiteY74" fmla="*/ 84054 h 124107"/>
                <a:gd name="connsiteX75" fmla="*/ 2821 w 118465"/>
                <a:gd name="connsiteY75" fmla="*/ 84336 h 124107"/>
                <a:gd name="connsiteX76" fmla="*/ 3103 w 118465"/>
                <a:gd name="connsiteY76" fmla="*/ 84618 h 124107"/>
                <a:gd name="connsiteX77" fmla="*/ 3385 w 118465"/>
                <a:gd name="connsiteY77" fmla="*/ 84618 h 124107"/>
                <a:gd name="connsiteX78" fmla="*/ 3667 w 118465"/>
                <a:gd name="connsiteY78" fmla="*/ 84336 h 124107"/>
                <a:gd name="connsiteX79" fmla="*/ 3385 w 118465"/>
                <a:gd name="connsiteY79" fmla="*/ 83490 h 124107"/>
                <a:gd name="connsiteX80" fmla="*/ 3949 w 118465"/>
                <a:gd name="connsiteY80" fmla="*/ 82644 h 124107"/>
                <a:gd name="connsiteX81" fmla="*/ 4513 w 118465"/>
                <a:gd name="connsiteY81" fmla="*/ 82644 h 124107"/>
                <a:gd name="connsiteX82" fmla="*/ 4795 w 118465"/>
                <a:gd name="connsiteY82" fmla="*/ 82362 h 124107"/>
                <a:gd name="connsiteX83" fmla="*/ 5077 w 118465"/>
                <a:gd name="connsiteY83" fmla="*/ 81798 h 124107"/>
                <a:gd name="connsiteX84" fmla="*/ 5359 w 118465"/>
                <a:gd name="connsiteY84" fmla="*/ 79823 h 124107"/>
                <a:gd name="connsiteX85" fmla="*/ 4795 w 118465"/>
                <a:gd name="connsiteY85" fmla="*/ 79259 h 124107"/>
                <a:gd name="connsiteX86" fmla="*/ 3385 w 118465"/>
                <a:gd name="connsiteY86" fmla="*/ 80670 h 124107"/>
                <a:gd name="connsiteX87" fmla="*/ 3667 w 118465"/>
                <a:gd name="connsiteY87" fmla="*/ 80952 h 124107"/>
                <a:gd name="connsiteX88" fmla="*/ 4231 w 118465"/>
                <a:gd name="connsiteY88" fmla="*/ 81516 h 124107"/>
                <a:gd name="connsiteX89" fmla="*/ 3385 w 118465"/>
                <a:gd name="connsiteY89" fmla="*/ 81798 h 124107"/>
                <a:gd name="connsiteX90" fmla="*/ 2539 w 118465"/>
                <a:gd name="connsiteY90" fmla="*/ 81234 h 124107"/>
                <a:gd name="connsiteX91" fmla="*/ 2539 w 118465"/>
                <a:gd name="connsiteY91" fmla="*/ 80952 h 124107"/>
                <a:gd name="connsiteX92" fmla="*/ 2821 w 118465"/>
                <a:gd name="connsiteY92" fmla="*/ 80388 h 124107"/>
                <a:gd name="connsiteX93" fmla="*/ 3103 w 118465"/>
                <a:gd name="connsiteY93" fmla="*/ 80105 h 124107"/>
                <a:gd name="connsiteX94" fmla="*/ 2539 w 118465"/>
                <a:gd name="connsiteY94" fmla="*/ 78695 h 124107"/>
                <a:gd name="connsiteX95" fmla="*/ 2821 w 118465"/>
                <a:gd name="connsiteY95" fmla="*/ 77285 h 124107"/>
                <a:gd name="connsiteX96" fmla="*/ 2821 w 118465"/>
                <a:gd name="connsiteY96" fmla="*/ 77003 h 124107"/>
                <a:gd name="connsiteX97" fmla="*/ 3103 w 118465"/>
                <a:gd name="connsiteY97" fmla="*/ 76439 h 124107"/>
                <a:gd name="connsiteX98" fmla="*/ 3103 w 118465"/>
                <a:gd name="connsiteY98" fmla="*/ 76157 h 124107"/>
                <a:gd name="connsiteX99" fmla="*/ 3949 w 118465"/>
                <a:gd name="connsiteY99" fmla="*/ 74746 h 124107"/>
                <a:gd name="connsiteX100" fmla="*/ 3385 w 118465"/>
                <a:gd name="connsiteY100" fmla="*/ 73054 h 124107"/>
                <a:gd name="connsiteX101" fmla="*/ 3667 w 118465"/>
                <a:gd name="connsiteY101" fmla="*/ 72490 h 124107"/>
                <a:gd name="connsiteX102" fmla="*/ 4795 w 118465"/>
                <a:gd name="connsiteY102" fmla="*/ 71362 h 124107"/>
                <a:gd name="connsiteX103" fmla="*/ 4513 w 118465"/>
                <a:gd name="connsiteY103" fmla="*/ 70515 h 124107"/>
                <a:gd name="connsiteX104" fmla="*/ 4231 w 118465"/>
                <a:gd name="connsiteY104" fmla="*/ 69951 h 124107"/>
                <a:gd name="connsiteX105" fmla="*/ 4513 w 118465"/>
                <a:gd name="connsiteY105" fmla="*/ 69669 h 124107"/>
                <a:gd name="connsiteX106" fmla="*/ 5924 w 118465"/>
                <a:gd name="connsiteY106" fmla="*/ 68823 h 124107"/>
                <a:gd name="connsiteX107" fmla="*/ 6206 w 118465"/>
                <a:gd name="connsiteY107" fmla="*/ 68823 h 124107"/>
                <a:gd name="connsiteX108" fmla="*/ 6770 w 118465"/>
                <a:gd name="connsiteY108" fmla="*/ 68541 h 124107"/>
                <a:gd name="connsiteX109" fmla="*/ 6770 w 118465"/>
                <a:gd name="connsiteY109" fmla="*/ 67413 h 124107"/>
                <a:gd name="connsiteX110" fmla="*/ 6488 w 118465"/>
                <a:gd name="connsiteY110" fmla="*/ 67131 h 124107"/>
                <a:gd name="connsiteX111" fmla="*/ 6488 w 118465"/>
                <a:gd name="connsiteY111" fmla="*/ 64310 h 124107"/>
                <a:gd name="connsiteX112" fmla="*/ 6770 w 118465"/>
                <a:gd name="connsiteY112" fmla="*/ 63464 h 124107"/>
                <a:gd name="connsiteX113" fmla="*/ 7052 w 118465"/>
                <a:gd name="connsiteY113" fmla="*/ 63182 h 124107"/>
                <a:gd name="connsiteX114" fmla="*/ 6770 w 118465"/>
                <a:gd name="connsiteY114" fmla="*/ 62054 h 124107"/>
                <a:gd name="connsiteX115" fmla="*/ 7616 w 118465"/>
                <a:gd name="connsiteY115" fmla="*/ 60925 h 124107"/>
                <a:gd name="connsiteX116" fmla="*/ 9026 w 118465"/>
                <a:gd name="connsiteY116" fmla="*/ 58105 h 124107"/>
                <a:gd name="connsiteX117" fmla="*/ 8744 w 118465"/>
                <a:gd name="connsiteY117" fmla="*/ 57541 h 124107"/>
                <a:gd name="connsiteX118" fmla="*/ 8744 w 118465"/>
                <a:gd name="connsiteY118" fmla="*/ 56694 h 124107"/>
                <a:gd name="connsiteX119" fmla="*/ 9026 w 118465"/>
                <a:gd name="connsiteY119" fmla="*/ 55848 h 124107"/>
                <a:gd name="connsiteX120" fmla="*/ 9872 w 118465"/>
                <a:gd name="connsiteY120" fmla="*/ 55002 h 124107"/>
                <a:gd name="connsiteX121" fmla="*/ 9872 w 118465"/>
                <a:gd name="connsiteY121" fmla="*/ 53310 h 124107"/>
                <a:gd name="connsiteX122" fmla="*/ 10154 w 118465"/>
                <a:gd name="connsiteY122" fmla="*/ 52745 h 124107"/>
                <a:gd name="connsiteX123" fmla="*/ 9872 w 118465"/>
                <a:gd name="connsiteY123" fmla="*/ 51899 h 124107"/>
                <a:gd name="connsiteX124" fmla="*/ 10154 w 118465"/>
                <a:gd name="connsiteY124" fmla="*/ 51053 h 124107"/>
                <a:gd name="connsiteX125" fmla="*/ 11847 w 118465"/>
                <a:gd name="connsiteY125" fmla="*/ 49643 h 124107"/>
                <a:gd name="connsiteX126" fmla="*/ 11847 w 118465"/>
                <a:gd name="connsiteY126" fmla="*/ 49079 h 124107"/>
                <a:gd name="connsiteX127" fmla="*/ 12411 w 118465"/>
                <a:gd name="connsiteY127" fmla="*/ 47386 h 124107"/>
                <a:gd name="connsiteX128" fmla="*/ 12411 w 118465"/>
                <a:gd name="connsiteY128" fmla="*/ 46822 h 124107"/>
                <a:gd name="connsiteX129" fmla="*/ 12693 w 118465"/>
                <a:gd name="connsiteY129" fmla="*/ 46540 h 124107"/>
                <a:gd name="connsiteX130" fmla="*/ 12693 w 118465"/>
                <a:gd name="connsiteY130" fmla="*/ 45130 h 124107"/>
                <a:gd name="connsiteX131" fmla="*/ 13821 w 118465"/>
                <a:gd name="connsiteY131" fmla="*/ 43720 h 124107"/>
                <a:gd name="connsiteX132" fmla="*/ 14103 w 118465"/>
                <a:gd name="connsiteY132" fmla="*/ 42309 h 124107"/>
                <a:gd name="connsiteX133" fmla="*/ 14667 w 118465"/>
                <a:gd name="connsiteY133" fmla="*/ 41181 h 124107"/>
                <a:gd name="connsiteX134" fmla="*/ 14385 w 118465"/>
                <a:gd name="connsiteY134" fmla="*/ 40617 h 124107"/>
                <a:gd name="connsiteX135" fmla="*/ 14949 w 118465"/>
                <a:gd name="connsiteY135" fmla="*/ 39771 h 124107"/>
                <a:gd name="connsiteX136" fmla="*/ 15796 w 118465"/>
                <a:gd name="connsiteY136" fmla="*/ 38924 h 124107"/>
                <a:gd name="connsiteX137" fmla="*/ 15796 w 118465"/>
                <a:gd name="connsiteY137" fmla="*/ 37796 h 124107"/>
                <a:gd name="connsiteX138" fmla="*/ 16360 w 118465"/>
                <a:gd name="connsiteY138" fmla="*/ 36950 h 124107"/>
                <a:gd name="connsiteX139" fmla="*/ 17206 w 118465"/>
                <a:gd name="connsiteY139" fmla="*/ 35822 h 124107"/>
                <a:gd name="connsiteX140" fmla="*/ 16924 w 118465"/>
                <a:gd name="connsiteY140" fmla="*/ 35540 h 124107"/>
                <a:gd name="connsiteX141" fmla="*/ 17488 w 118465"/>
                <a:gd name="connsiteY141" fmla="*/ 34411 h 124107"/>
                <a:gd name="connsiteX142" fmla="*/ 18052 w 118465"/>
                <a:gd name="connsiteY142" fmla="*/ 33283 h 124107"/>
                <a:gd name="connsiteX143" fmla="*/ 18898 w 118465"/>
                <a:gd name="connsiteY143" fmla="*/ 32437 h 124107"/>
                <a:gd name="connsiteX144" fmla="*/ 19744 w 118465"/>
                <a:gd name="connsiteY144" fmla="*/ 31309 h 124107"/>
                <a:gd name="connsiteX145" fmla="*/ 20309 w 118465"/>
                <a:gd name="connsiteY145" fmla="*/ 30463 h 124107"/>
                <a:gd name="connsiteX146" fmla="*/ 20027 w 118465"/>
                <a:gd name="connsiteY146" fmla="*/ 29899 h 124107"/>
                <a:gd name="connsiteX147" fmla="*/ 20873 w 118465"/>
                <a:gd name="connsiteY147" fmla="*/ 28488 h 124107"/>
                <a:gd name="connsiteX148" fmla="*/ 21437 w 118465"/>
                <a:gd name="connsiteY148" fmla="*/ 27360 h 124107"/>
                <a:gd name="connsiteX149" fmla="*/ 22283 w 118465"/>
                <a:gd name="connsiteY149" fmla="*/ 25950 h 124107"/>
                <a:gd name="connsiteX150" fmla="*/ 23129 w 118465"/>
                <a:gd name="connsiteY150" fmla="*/ 24821 h 124107"/>
                <a:gd name="connsiteX151" fmla="*/ 23129 w 118465"/>
                <a:gd name="connsiteY151" fmla="*/ 24539 h 124107"/>
                <a:gd name="connsiteX152" fmla="*/ 23693 w 118465"/>
                <a:gd name="connsiteY152" fmla="*/ 23975 h 124107"/>
                <a:gd name="connsiteX153" fmla="*/ 24540 w 118465"/>
                <a:gd name="connsiteY153" fmla="*/ 23693 h 124107"/>
                <a:gd name="connsiteX154" fmla="*/ 25104 w 118465"/>
                <a:gd name="connsiteY154" fmla="*/ 22847 h 124107"/>
                <a:gd name="connsiteX155" fmla="*/ 27360 w 118465"/>
                <a:gd name="connsiteY155" fmla="*/ 20308 h 124107"/>
                <a:gd name="connsiteX156" fmla="*/ 28770 w 118465"/>
                <a:gd name="connsiteY156" fmla="*/ 18052 h 124107"/>
                <a:gd name="connsiteX157" fmla="*/ 30745 w 118465"/>
                <a:gd name="connsiteY157" fmla="*/ 16360 h 124107"/>
                <a:gd name="connsiteX158" fmla="*/ 31591 w 118465"/>
                <a:gd name="connsiteY158" fmla="*/ 15795 h 124107"/>
                <a:gd name="connsiteX159" fmla="*/ 33001 w 118465"/>
                <a:gd name="connsiteY159" fmla="*/ 14385 h 124107"/>
                <a:gd name="connsiteX160" fmla="*/ 35540 w 118465"/>
                <a:gd name="connsiteY160" fmla="*/ 14385 h 124107"/>
                <a:gd name="connsiteX161" fmla="*/ 36104 w 118465"/>
                <a:gd name="connsiteY161" fmla="*/ 15231 h 124107"/>
                <a:gd name="connsiteX162" fmla="*/ 36950 w 118465"/>
                <a:gd name="connsiteY162" fmla="*/ 15231 h 124107"/>
                <a:gd name="connsiteX163" fmla="*/ 38078 w 118465"/>
                <a:gd name="connsiteY163" fmla="*/ 14385 h 124107"/>
                <a:gd name="connsiteX164" fmla="*/ 39489 w 118465"/>
                <a:gd name="connsiteY164" fmla="*/ 15231 h 124107"/>
                <a:gd name="connsiteX165" fmla="*/ 40053 w 118465"/>
                <a:gd name="connsiteY165" fmla="*/ 15513 h 124107"/>
                <a:gd name="connsiteX166" fmla="*/ 42027 w 118465"/>
                <a:gd name="connsiteY166" fmla="*/ 16642 h 124107"/>
                <a:gd name="connsiteX167" fmla="*/ 42874 w 118465"/>
                <a:gd name="connsiteY167" fmla="*/ 17488 h 124107"/>
                <a:gd name="connsiteX168" fmla="*/ 43156 w 118465"/>
                <a:gd name="connsiteY168" fmla="*/ 17488 h 124107"/>
                <a:gd name="connsiteX169" fmla="*/ 43156 w 118465"/>
                <a:gd name="connsiteY169" fmla="*/ 16642 h 124107"/>
                <a:gd name="connsiteX170" fmla="*/ 42874 w 118465"/>
                <a:gd name="connsiteY170" fmla="*/ 16078 h 124107"/>
                <a:gd name="connsiteX171" fmla="*/ 42874 w 118465"/>
                <a:gd name="connsiteY171" fmla="*/ 15513 h 124107"/>
                <a:gd name="connsiteX172" fmla="*/ 44002 w 118465"/>
                <a:gd name="connsiteY172" fmla="*/ 15513 h 124107"/>
                <a:gd name="connsiteX173" fmla="*/ 43438 w 118465"/>
                <a:gd name="connsiteY173" fmla="*/ 14103 h 124107"/>
                <a:gd name="connsiteX174" fmla="*/ 42309 w 118465"/>
                <a:gd name="connsiteY174" fmla="*/ 12693 h 124107"/>
                <a:gd name="connsiteX175" fmla="*/ 42027 w 118465"/>
                <a:gd name="connsiteY175" fmla="*/ 12411 h 124107"/>
                <a:gd name="connsiteX176" fmla="*/ 41463 w 118465"/>
                <a:gd name="connsiteY176" fmla="*/ 10154 h 124107"/>
                <a:gd name="connsiteX177" fmla="*/ 41181 w 118465"/>
                <a:gd name="connsiteY177" fmla="*/ 9590 h 124107"/>
                <a:gd name="connsiteX178" fmla="*/ 41463 w 118465"/>
                <a:gd name="connsiteY178" fmla="*/ 9026 h 124107"/>
                <a:gd name="connsiteX179" fmla="*/ 41463 w 118465"/>
                <a:gd name="connsiteY179" fmla="*/ 8744 h 124107"/>
                <a:gd name="connsiteX180" fmla="*/ 42027 w 118465"/>
                <a:gd name="connsiteY180" fmla="*/ 7898 h 124107"/>
                <a:gd name="connsiteX181" fmla="*/ 44284 w 118465"/>
                <a:gd name="connsiteY181" fmla="*/ 6487 h 124107"/>
                <a:gd name="connsiteX182" fmla="*/ 46258 w 118465"/>
                <a:gd name="connsiteY182" fmla="*/ 4231 h 124107"/>
                <a:gd name="connsiteX183" fmla="*/ 47104 w 118465"/>
                <a:gd name="connsiteY183" fmla="*/ 3385 h 124107"/>
                <a:gd name="connsiteX184" fmla="*/ 47668 w 118465"/>
                <a:gd name="connsiteY184" fmla="*/ 2539 h 124107"/>
                <a:gd name="connsiteX185" fmla="*/ 49361 w 118465"/>
                <a:gd name="connsiteY185" fmla="*/ 1410 h 124107"/>
                <a:gd name="connsiteX186" fmla="*/ 50489 w 118465"/>
                <a:gd name="connsiteY186" fmla="*/ 846 h 124107"/>
                <a:gd name="connsiteX187" fmla="*/ 51617 w 118465"/>
                <a:gd name="connsiteY187" fmla="*/ 846 h 124107"/>
                <a:gd name="connsiteX188" fmla="*/ 52746 w 118465"/>
                <a:gd name="connsiteY188" fmla="*/ 282 h 124107"/>
                <a:gd name="connsiteX189" fmla="*/ 55002 w 118465"/>
                <a:gd name="connsiteY189" fmla="*/ 282 h 124107"/>
                <a:gd name="connsiteX190" fmla="*/ 56130 w 118465"/>
                <a:gd name="connsiteY190" fmla="*/ 0 h 124107"/>
                <a:gd name="connsiteX191" fmla="*/ 56977 w 118465"/>
                <a:gd name="connsiteY191" fmla="*/ 0 h 124107"/>
                <a:gd name="connsiteX192" fmla="*/ 59233 w 118465"/>
                <a:gd name="connsiteY192" fmla="*/ 846 h 124107"/>
                <a:gd name="connsiteX193" fmla="*/ 60361 w 118465"/>
                <a:gd name="connsiteY193" fmla="*/ 1974 h 124107"/>
                <a:gd name="connsiteX194" fmla="*/ 60361 w 118465"/>
                <a:gd name="connsiteY194" fmla="*/ 2256 h 124107"/>
                <a:gd name="connsiteX195" fmla="*/ 60926 w 118465"/>
                <a:gd name="connsiteY195" fmla="*/ 2539 h 124107"/>
                <a:gd name="connsiteX196" fmla="*/ 63182 w 118465"/>
                <a:gd name="connsiteY196" fmla="*/ 3667 h 124107"/>
                <a:gd name="connsiteX197" fmla="*/ 64874 w 118465"/>
                <a:gd name="connsiteY197" fmla="*/ 4795 h 124107"/>
                <a:gd name="connsiteX198" fmla="*/ 66567 w 118465"/>
                <a:gd name="connsiteY198" fmla="*/ 6205 h 124107"/>
                <a:gd name="connsiteX199" fmla="*/ 67131 w 118465"/>
                <a:gd name="connsiteY199" fmla="*/ 7898 h 124107"/>
                <a:gd name="connsiteX200" fmla="*/ 66849 w 118465"/>
                <a:gd name="connsiteY200" fmla="*/ 8744 h 124107"/>
                <a:gd name="connsiteX201" fmla="*/ 67131 w 118465"/>
                <a:gd name="connsiteY201" fmla="*/ 9308 h 124107"/>
                <a:gd name="connsiteX202" fmla="*/ 66567 w 118465"/>
                <a:gd name="connsiteY202" fmla="*/ 9590 h 124107"/>
                <a:gd name="connsiteX203" fmla="*/ 66567 w 118465"/>
                <a:gd name="connsiteY203" fmla="*/ 10718 h 124107"/>
                <a:gd name="connsiteX204" fmla="*/ 66849 w 118465"/>
                <a:gd name="connsiteY204" fmla="*/ 11000 h 124107"/>
                <a:gd name="connsiteX205" fmla="*/ 67977 w 118465"/>
                <a:gd name="connsiteY205" fmla="*/ 11000 h 124107"/>
                <a:gd name="connsiteX206" fmla="*/ 68259 w 118465"/>
                <a:gd name="connsiteY206" fmla="*/ 11282 h 124107"/>
                <a:gd name="connsiteX207" fmla="*/ 67977 w 118465"/>
                <a:gd name="connsiteY207" fmla="*/ 11847 h 124107"/>
                <a:gd name="connsiteX208" fmla="*/ 67131 w 118465"/>
                <a:gd name="connsiteY208" fmla="*/ 12693 h 124107"/>
                <a:gd name="connsiteX209" fmla="*/ 66284 w 118465"/>
                <a:gd name="connsiteY209" fmla="*/ 12693 h 124107"/>
                <a:gd name="connsiteX210" fmla="*/ 66567 w 118465"/>
                <a:gd name="connsiteY210" fmla="*/ 13539 h 124107"/>
                <a:gd name="connsiteX211" fmla="*/ 68823 w 118465"/>
                <a:gd name="connsiteY211" fmla="*/ 15513 h 124107"/>
                <a:gd name="connsiteX212" fmla="*/ 69105 w 118465"/>
                <a:gd name="connsiteY212" fmla="*/ 16078 h 124107"/>
                <a:gd name="connsiteX213" fmla="*/ 71080 w 118465"/>
                <a:gd name="connsiteY213" fmla="*/ 17488 h 124107"/>
                <a:gd name="connsiteX214" fmla="*/ 71362 w 118465"/>
                <a:gd name="connsiteY214" fmla="*/ 17488 h 124107"/>
                <a:gd name="connsiteX215" fmla="*/ 72772 w 118465"/>
                <a:gd name="connsiteY215" fmla="*/ 18334 h 124107"/>
                <a:gd name="connsiteX216" fmla="*/ 74182 w 118465"/>
                <a:gd name="connsiteY216" fmla="*/ 19180 h 124107"/>
                <a:gd name="connsiteX217" fmla="*/ 75029 w 118465"/>
                <a:gd name="connsiteY217" fmla="*/ 19462 h 124107"/>
                <a:gd name="connsiteX218" fmla="*/ 75875 w 118465"/>
                <a:gd name="connsiteY218" fmla="*/ 20026 h 124107"/>
                <a:gd name="connsiteX219" fmla="*/ 78695 w 118465"/>
                <a:gd name="connsiteY219" fmla="*/ 21155 h 124107"/>
                <a:gd name="connsiteX220" fmla="*/ 79259 w 118465"/>
                <a:gd name="connsiteY220" fmla="*/ 21437 h 124107"/>
                <a:gd name="connsiteX221" fmla="*/ 80952 w 118465"/>
                <a:gd name="connsiteY221" fmla="*/ 21719 h 124107"/>
                <a:gd name="connsiteX222" fmla="*/ 81234 w 118465"/>
                <a:gd name="connsiteY222" fmla="*/ 22001 h 124107"/>
                <a:gd name="connsiteX223" fmla="*/ 84054 w 118465"/>
                <a:gd name="connsiteY223" fmla="*/ 22001 h 124107"/>
                <a:gd name="connsiteX224" fmla="*/ 85747 w 118465"/>
                <a:gd name="connsiteY224" fmla="*/ 22565 h 124107"/>
                <a:gd name="connsiteX225" fmla="*/ 87157 w 118465"/>
                <a:gd name="connsiteY225" fmla="*/ 23129 h 124107"/>
                <a:gd name="connsiteX226" fmla="*/ 87721 w 118465"/>
                <a:gd name="connsiteY226" fmla="*/ 22847 h 124107"/>
                <a:gd name="connsiteX227" fmla="*/ 89131 w 118465"/>
                <a:gd name="connsiteY227" fmla="*/ 22847 h 124107"/>
                <a:gd name="connsiteX228" fmla="*/ 90542 w 118465"/>
                <a:gd name="connsiteY228" fmla="*/ 23411 h 124107"/>
                <a:gd name="connsiteX229" fmla="*/ 95337 w 118465"/>
                <a:gd name="connsiteY229" fmla="*/ 23411 h 124107"/>
                <a:gd name="connsiteX230" fmla="*/ 96465 w 118465"/>
                <a:gd name="connsiteY230" fmla="*/ 22847 h 124107"/>
                <a:gd name="connsiteX231" fmla="*/ 99850 w 118465"/>
                <a:gd name="connsiteY231" fmla="*/ 22847 h 124107"/>
                <a:gd name="connsiteX232" fmla="*/ 100414 w 118465"/>
                <a:gd name="connsiteY232" fmla="*/ 23129 h 124107"/>
                <a:gd name="connsiteX233" fmla="*/ 101260 w 118465"/>
                <a:gd name="connsiteY233" fmla="*/ 22565 h 124107"/>
                <a:gd name="connsiteX234" fmla="*/ 102670 w 118465"/>
                <a:gd name="connsiteY234" fmla="*/ 22565 h 124107"/>
                <a:gd name="connsiteX235" fmla="*/ 103798 w 118465"/>
                <a:gd name="connsiteY235" fmla="*/ 22283 h 124107"/>
                <a:gd name="connsiteX236" fmla="*/ 105491 w 118465"/>
                <a:gd name="connsiteY236" fmla="*/ 22001 h 124107"/>
                <a:gd name="connsiteX237" fmla="*/ 106337 w 118465"/>
                <a:gd name="connsiteY237" fmla="*/ 21719 h 124107"/>
                <a:gd name="connsiteX238" fmla="*/ 107465 w 118465"/>
                <a:gd name="connsiteY238" fmla="*/ 21719 h 124107"/>
                <a:gd name="connsiteX239" fmla="*/ 108876 w 118465"/>
                <a:gd name="connsiteY239" fmla="*/ 21437 h 124107"/>
                <a:gd name="connsiteX240" fmla="*/ 110286 w 118465"/>
                <a:gd name="connsiteY240" fmla="*/ 21437 h 124107"/>
                <a:gd name="connsiteX241" fmla="*/ 111979 w 118465"/>
                <a:gd name="connsiteY241" fmla="*/ 20590 h 124107"/>
                <a:gd name="connsiteX242" fmla="*/ 113953 w 118465"/>
                <a:gd name="connsiteY242" fmla="*/ 20026 h 124107"/>
                <a:gd name="connsiteX243" fmla="*/ 115081 w 118465"/>
                <a:gd name="connsiteY243" fmla="*/ 19462 h 124107"/>
                <a:gd name="connsiteX244" fmla="*/ 115646 w 118465"/>
                <a:gd name="connsiteY244" fmla="*/ 19462 h 124107"/>
                <a:gd name="connsiteX245" fmla="*/ 116210 w 118465"/>
                <a:gd name="connsiteY245" fmla="*/ 19180 h 124107"/>
                <a:gd name="connsiteX246" fmla="*/ 117620 w 118465"/>
                <a:gd name="connsiteY246" fmla="*/ 18616 h 124107"/>
                <a:gd name="connsiteX247" fmla="*/ 117902 w 118465"/>
                <a:gd name="connsiteY247" fmla="*/ 18616 h 124107"/>
                <a:gd name="connsiteX248" fmla="*/ 119312 w 118465"/>
                <a:gd name="connsiteY248" fmla="*/ 18052 h 124107"/>
                <a:gd name="connsiteX249" fmla="*/ 120440 w 118465"/>
                <a:gd name="connsiteY249" fmla="*/ 17770 h 124107"/>
                <a:gd name="connsiteX250" fmla="*/ 121568 w 118465"/>
                <a:gd name="connsiteY250" fmla="*/ 17770 h 124107"/>
                <a:gd name="connsiteX251" fmla="*/ 121851 w 118465"/>
                <a:gd name="connsiteY251" fmla="*/ 18052 h 124107"/>
                <a:gd name="connsiteX252" fmla="*/ 121851 w 118465"/>
                <a:gd name="connsiteY252" fmla="*/ 18334 h 124107"/>
                <a:gd name="connsiteX253" fmla="*/ 122979 w 118465"/>
                <a:gd name="connsiteY253" fmla="*/ 19744 h 124107"/>
                <a:gd name="connsiteX254" fmla="*/ 121851 w 118465"/>
                <a:gd name="connsiteY254" fmla="*/ 21155 h 124107"/>
                <a:gd name="connsiteX255" fmla="*/ 120440 w 118465"/>
                <a:gd name="connsiteY255" fmla="*/ 22847 h 124107"/>
                <a:gd name="connsiteX256" fmla="*/ 120440 w 118465"/>
                <a:gd name="connsiteY256" fmla="*/ 23411 h 124107"/>
                <a:gd name="connsiteX257" fmla="*/ 119312 w 118465"/>
                <a:gd name="connsiteY257" fmla="*/ 23693 h 124107"/>
                <a:gd name="connsiteX258" fmla="*/ 118748 w 118465"/>
                <a:gd name="connsiteY258" fmla="*/ 24539 h 124107"/>
                <a:gd name="connsiteX259" fmla="*/ 119312 w 118465"/>
                <a:gd name="connsiteY259" fmla="*/ 25103 h 124107"/>
                <a:gd name="connsiteX260" fmla="*/ 119312 w 118465"/>
                <a:gd name="connsiteY260" fmla="*/ 25386 h 124107"/>
                <a:gd name="connsiteX261" fmla="*/ 117902 w 118465"/>
                <a:gd name="connsiteY261" fmla="*/ 27360 h 124107"/>
                <a:gd name="connsiteX262" fmla="*/ 118466 w 118465"/>
                <a:gd name="connsiteY262" fmla="*/ 27924 h 124107"/>
                <a:gd name="connsiteX263" fmla="*/ 118184 w 118465"/>
                <a:gd name="connsiteY263" fmla="*/ 27924 h 124107"/>
                <a:gd name="connsiteX264" fmla="*/ 117620 w 118465"/>
                <a:gd name="connsiteY264" fmla="*/ 28488 h 124107"/>
                <a:gd name="connsiteX265" fmla="*/ 116491 w 118465"/>
                <a:gd name="connsiteY265" fmla="*/ 29334 h 124107"/>
                <a:gd name="connsiteX266" fmla="*/ 115646 w 118465"/>
                <a:gd name="connsiteY266" fmla="*/ 29334 h 124107"/>
                <a:gd name="connsiteX267" fmla="*/ 114517 w 118465"/>
                <a:gd name="connsiteY267" fmla="*/ 30181 h 124107"/>
                <a:gd name="connsiteX268" fmla="*/ 113953 w 118465"/>
                <a:gd name="connsiteY268" fmla="*/ 29899 h 124107"/>
                <a:gd name="connsiteX269" fmla="*/ 113671 w 118465"/>
                <a:gd name="connsiteY269" fmla="*/ 29899 h 124107"/>
                <a:gd name="connsiteX270" fmla="*/ 113671 w 118465"/>
                <a:gd name="connsiteY270" fmla="*/ 30181 h 124107"/>
                <a:gd name="connsiteX271" fmla="*/ 112260 w 118465"/>
                <a:gd name="connsiteY271" fmla="*/ 31591 h 124107"/>
                <a:gd name="connsiteX272" fmla="*/ 111696 w 118465"/>
                <a:gd name="connsiteY272" fmla="*/ 32719 h 124107"/>
                <a:gd name="connsiteX273" fmla="*/ 110004 w 118465"/>
                <a:gd name="connsiteY273" fmla="*/ 32719 h 124107"/>
                <a:gd name="connsiteX274" fmla="*/ 110004 w 118465"/>
                <a:gd name="connsiteY274" fmla="*/ 33283 h 124107"/>
                <a:gd name="connsiteX275" fmla="*/ 109722 w 118465"/>
                <a:gd name="connsiteY275" fmla="*/ 34129 h 124107"/>
                <a:gd name="connsiteX276" fmla="*/ 109722 w 118465"/>
                <a:gd name="connsiteY276" fmla="*/ 34694 h 124107"/>
                <a:gd name="connsiteX277" fmla="*/ 111132 w 118465"/>
                <a:gd name="connsiteY277" fmla="*/ 35258 h 124107"/>
                <a:gd name="connsiteX278" fmla="*/ 112260 w 118465"/>
                <a:gd name="connsiteY278" fmla="*/ 35540 h 124107"/>
                <a:gd name="connsiteX279" fmla="*/ 112543 w 118465"/>
                <a:gd name="connsiteY279" fmla="*/ 35822 h 124107"/>
                <a:gd name="connsiteX280" fmla="*/ 112543 w 118465"/>
                <a:gd name="connsiteY280" fmla="*/ 36104 h 124107"/>
                <a:gd name="connsiteX281" fmla="*/ 111132 w 118465"/>
                <a:gd name="connsiteY281" fmla="*/ 36950 h 124107"/>
                <a:gd name="connsiteX282" fmla="*/ 109722 w 118465"/>
                <a:gd name="connsiteY282" fmla="*/ 36950 h 124107"/>
                <a:gd name="connsiteX283" fmla="*/ 109158 w 118465"/>
                <a:gd name="connsiteY283" fmla="*/ 36668 h 124107"/>
                <a:gd name="connsiteX284" fmla="*/ 108876 w 118465"/>
                <a:gd name="connsiteY284" fmla="*/ 36950 h 124107"/>
                <a:gd name="connsiteX285" fmla="*/ 107748 w 118465"/>
                <a:gd name="connsiteY285" fmla="*/ 36950 h 124107"/>
                <a:gd name="connsiteX286" fmla="*/ 106337 w 118465"/>
                <a:gd name="connsiteY286" fmla="*/ 37232 h 124107"/>
                <a:gd name="connsiteX287" fmla="*/ 106055 w 118465"/>
                <a:gd name="connsiteY287" fmla="*/ 37514 h 124107"/>
                <a:gd name="connsiteX288" fmla="*/ 104927 w 118465"/>
                <a:gd name="connsiteY288" fmla="*/ 37232 h 124107"/>
                <a:gd name="connsiteX289" fmla="*/ 104363 w 118465"/>
                <a:gd name="connsiteY289" fmla="*/ 36950 h 124107"/>
                <a:gd name="connsiteX290" fmla="*/ 103234 w 118465"/>
                <a:gd name="connsiteY290" fmla="*/ 37232 h 124107"/>
                <a:gd name="connsiteX291" fmla="*/ 102388 w 118465"/>
                <a:gd name="connsiteY291" fmla="*/ 37796 h 124107"/>
                <a:gd name="connsiteX292" fmla="*/ 102106 w 118465"/>
                <a:gd name="connsiteY292" fmla="*/ 37796 h 124107"/>
                <a:gd name="connsiteX293" fmla="*/ 100414 w 118465"/>
                <a:gd name="connsiteY293" fmla="*/ 37232 h 124107"/>
                <a:gd name="connsiteX294" fmla="*/ 98440 w 118465"/>
                <a:gd name="connsiteY294" fmla="*/ 37232 h 124107"/>
                <a:gd name="connsiteX295" fmla="*/ 97876 w 118465"/>
                <a:gd name="connsiteY295" fmla="*/ 36950 h 124107"/>
                <a:gd name="connsiteX296" fmla="*/ 96465 w 118465"/>
                <a:gd name="connsiteY296" fmla="*/ 37232 h 124107"/>
                <a:gd name="connsiteX297" fmla="*/ 96183 w 118465"/>
                <a:gd name="connsiteY297" fmla="*/ 37232 h 124107"/>
                <a:gd name="connsiteX298" fmla="*/ 94491 w 118465"/>
                <a:gd name="connsiteY298" fmla="*/ 38360 h 124107"/>
                <a:gd name="connsiteX299" fmla="*/ 93362 w 118465"/>
                <a:gd name="connsiteY299" fmla="*/ 38924 h 124107"/>
                <a:gd name="connsiteX300" fmla="*/ 92798 w 118465"/>
                <a:gd name="connsiteY300" fmla="*/ 38924 h 124107"/>
                <a:gd name="connsiteX301" fmla="*/ 89131 w 118465"/>
                <a:gd name="connsiteY301" fmla="*/ 37232 h 124107"/>
                <a:gd name="connsiteX302" fmla="*/ 88850 w 118465"/>
                <a:gd name="connsiteY302" fmla="*/ 36950 h 124107"/>
                <a:gd name="connsiteX303" fmla="*/ 88567 w 118465"/>
                <a:gd name="connsiteY303" fmla="*/ 37232 h 124107"/>
                <a:gd name="connsiteX304" fmla="*/ 87157 w 118465"/>
                <a:gd name="connsiteY304" fmla="*/ 38078 h 124107"/>
                <a:gd name="connsiteX305" fmla="*/ 86593 w 118465"/>
                <a:gd name="connsiteY305" fmla="*/ 37796 h 124107"/>
                <a:gd name="connsiteX306" fmla="*/ 85183 w 118465"/>
                <a:gd name="connsiteY306" fmla="*/ 38078 h 124107"/>
                <a:gd name="connsiteX307" fmla="*/ 84054 w 118465"/>
                <a:gd name="connsiteY307" fmla="*/ 37232 h 124107"/>
                <a:gd name="connsiteX308" fmla="*/ 81234 w 118465"/>
                <a:gd name="connsiteY308" fmla="*/ 37232 h 124107"/>
                <a:gd name="connsiteX309" fmla="*/ 79542 w 118465"/>
                <a:gd name="connsiteY309" fmla="*/ 36668 h 124107"/>
                <a:gd name="connsiteX310" fmla="*/ 78413 w 118465"/>
                <a:gd name="connsiteY310" fmla="*/ 36668 h 124107"/>
                <a:gd name="connsiteX311" fmla="*/ 77567 w 118465"/>
                <a:gd name="connsiteY311" fmla="*/ 36386 h 124107"/>
                <a:gd name="connsiteX312" fmla="*/ 76157 w 118465"/>
                <a:gd name="connsiteY312" fmla="*/ 36386 h 124107"/>
                <a:gd name="connsiteX313" fmla="*/ 75029 w 118465"/>
                <a:gd name="connsiteY313" fmla="*/ 36104 h 124107"/>
                <a:gd name="connsiteX314" fmla="*/ 74464 w 118465"/>
                <a:gd name="connsiteY314" fmla="*/ 36386 h 124107"/>
                <a:gd name="connsiteX315" fmla="*/ 74182 w 118465"/>
                <a:gd name="connsiteY315" fmla="*/ 36668 h 124107"/>
                <a:gd name="connsiteX316" fmla="*/ 74182 w 118465"/>
                <a:gd name="connsiteY316" fmla="*/ 36386 h 124107"/>
                <a:gd name="connsiteX317" fmla="*/ 71644 w 118465"/>
                <a:gd name="connsiteY317" fmla="*/ 35258 h 124107"/>
                <a:gd name="connsiteX318" fmla="*/ 71362 w 118465"/>
                <a:gd name="connsiteY318" fmla="*/ 34976 h 124107"/>
                <a:gd name="connsiteX319" fmla="*/ 69387 w 118465"/>
                <a:gd name="connsiteY319" fmla="*/ 34976 h 124107"/>
                <a:gd name="connsiteX320" fmla="*/ 67977 w 118465"/>
                <a:gd name="connsiteY320" fmla="*/ 34411 h 124107"/>
                <a:gd name="connsiteX321" fmla="*/ 67695 w 118465"/>
                <a:gd name="connsiteY321" fmla="*/ 34411 h 124107"/>
                <a:gd name="connsiteX322" fmla="*/ 67131 w 118465"/>
                <a:gd name="connsiteY322" fmla="*/ 34976 h 124107"/>
                <a:gd name="connsiteX323" fmla="*/ 67695 w 118465"/>
                <a:gd name="connsiteY323" fmla="*/ 36950 h 124107"/>
                <a:gd name="connsiteX324" fmla="*/ 67977 w 118465"/>
                <a:gd name="connsiteY324" fmla="*/ 37514 h 124107"/>
                <a:gd name="connsiteX325" fmla="*/ 67977 w 118465"/>
                <a:gd name="connsiteY325" fmla="*/ 37796 h 124107"/>
                <a:gd name="connsiteX326" fmla="*/ 67695 w 118465"/>
                <a:gd name="connsiteY326" fmla="*/ 39771 h 124107"/>
                <a:gd name="connsiteX327" fmla="*/ 67413 w 118465"/>
                <a:gd name="connsiteY327" fmla="*/ 40899 h 124107"/>
                <a:gd name="connsiteX328" fmla="*/ 67695 w 118465"/>
                <a:gd name="connsiteY328" fmla="*/ 41745 h 124107"/>
                <a:gd name="connsiteX329" fmla="*/ 67131 w 118465"/>
                <a:gd name="connsiteY329" fmla="*/ 43155 h 124107"/>
                <a:gd name="connsiteX330" fmla="*/ 66849 w 118465"/>
                <a:gd name="connsiteY330" fmla="*/ 43155 h 124107"/>
                <a:gd name="connsiteX331" fmla="*/ 66567 w 118465"/>
                <a:gd name="connsiteY331" fmla="*/ 42309 h 124107"/>
                <a:gd name="connsiteX332" fmla="*/ 66567 w 118465"/>
                <a:gd name="connsiteY332" fmla="*/ 41745 h 124107"/>
                <a:gd name="connsiteX333" fmla="*/ 66284 w 118465"/>
                <a:gd name="connsiteY333" fmla="*/ 40617 h 124107"/>
                <a:gd name="connsiteX334" fmla="*/ 66284 w 118465"/>
                <a:gd name="connsiteY334" fmla="*/ 40335 h 124107"/>
                <a:gd name="connsiteX335" fmla="*/ 66002 w 118465"/>
                <a:gd name="connsiteY335" fmla="*/ 39771 h 124107"/>
                <a:gd name="connsiteX336" fmla="*/ 66567 w 118465"/>
                <a:gd name="connsiteY336" fmla="*/ 38642 h 124107"/>
                <a:gd name="connsiteX337" fmla="*/ 66002 w 118465"/>
                <a:gd name="connsiteY337" fmla="*/ 37796 h 124107"/>
                <a:gd name="connsiteX338" fmla="*/ 66284 w 118465"/>
                <a:gd name="connsiteY338" fmla="*/ 37514 h 124107"/>
                <a:gd name="connsiteX339" fmla="*/ 66567 w 118465"/>
                <a:gd name="connsiteY339" fmla="*/ 35822 h 124107"/>
                <a:gd name="connsiteX340" fmla="*/ 65720 w 118465"/>
                <a:gd name="connsiteY340" fmla="*/ 34976 h 124107"/>
                <a:gd name="connsiteX341" fmla="*/ 66002 w 118465"/>
                <a:gd name="connsiteY341" fmla="*/ 34129 h 124107"/>
                <a:gd name="connsiteX342" fmla="*/ 66849 w 118465"/>
                <a:gd name="connsiteY342" fmla="*/ 33565 h 124107"/>
                <a:gd name="connsiteX343" fmla="*/ 66002 w 118465"/>
                <a:gd name="connsiteY343" fmla="*/ 33283 h 124107"/>
                <a:gd name="connsiteX344" fmla="*/ 64874 w 118465"/>
                <a:gd name="connsiteY344" fmla="*/ 33001 h 124107"/>
                <a:gd name="connsiteX345" fmla="*/ 63746 w 118465"/>
                <a:gd name="connsiteY345" fmla="*/ 32437 h 124107"/>
                <a:gd name="connsiteX346" fmla="*/ 63182 w 118465"/>
                <a:gd name="connsiteY346" fmla="*/ 32719 h 124107"/>
                <a:gd name="connsiteX347" fmla="*/ 63182 w 118465"/>
                <a:gd name="connsiteY347" fmla="*/ 33847 h 124107"/>
                <a:gd name="connsiteX348" fmla="*/ 63464 w 118465"/>
                <a:gd name="connsiteY348" fmla="*/ 36668 h 124107"/>
                <a:gd name="connsiteX349" fmla="*/ 63464 w 118465"/>
                <a:gd name="connsiteY349" fmla="*/ 37232 h 124107"/>
                <a:gd name="connsiteX350" fmla="*/ 63464 w 118465"/>
                <a:gd name="connsiteY350" fmla="*/ 38078 h 124107"/>
                <a:gd name="connsiteX351" fmla="*/ 63746 w 118465"/>
                <a:gd name="connsiteY351" fmla="*/ 39207 h 124107"/>
                <a:gd name="connsiteX352" fmla="*/ 64028 w 118465"/>
                <a:gd name="connsiteY352" fmla="*/ 39771 h 124107"/>
                <a:gd name="connsiteX353" fmla="*/ 63746 w 118465"/>
                <a:gd name="connsiteY353" fmla="*/ 40335 h 124107"/>
                <a:gd name="connsiteX354" fmla="*/ 64310 w 118465"/>
                <a:gd name="connsiteY354" fmla="*/ 41463 h 124107"/>
                <a:gd name="connsiteX355" fmla="*/ 64874 w 118465"/>
                <a:gd name="connsiteY355" fmla="*/ 42309 h 124107"/>
                <a:gd name="connsiteX356" fmla="*/ 64592 w 118465"/>
                <a:gd name="connsiteY356" fmla="*/ 42873 h 124107"/>
                <a:gd name="connsiteX357" fmla="*/ 64592 w 118465"/>
                <a:gd name="connsiteY357" fmla="*/ 43155 h 124107"/>
                <a:gd name="connsiteX358" fmla="*/ 64028 w 118465"/>
                <a:gd name="connsiteY358" fmla="*/ 43155 h 124107"/>
                <a:gd name="connsiteX359" fmla="*/ 63746 w 118465"/>
                <a:gd name="connsiteY359" fmla="*/ 42873 h 124107"/>
                <a:gd name="connsiteX360" fmla="*/ 63182 w 118465"/>
                <a:gd name="connsiteY360" fmla="*/ 43155 h 124107"/>
                <a:gd name="connsiteX361" fmla="*/ 62900 w 118465"/>
                <a:gd name="connsiteY361" fmla="*/ 43720 h 124107"/>
                <a:gd name="connsiteX362" fmla="*/ 62900 w 118465"/>
                <a:gd name="connsiteY362" fmla="*/ 44002 h 124107"/>
                <a:gd name="connsiteX363" fmla="*/ 63746 w 118465"/>
                <a:gd name="connsiteY363" fmla="*/ 45694 h 124107"/>
                <a:gd name="connsiteX364" fmla="*/ 64592 w 118465"/>
                <a:gd name="connsiteY364" fmla="*/ 47386 h 124107"/>
                <a:gd name="connsiteX365" fmla="*/ 65156 w 118465"/>
                <a:gd name="connsiteY365" fmla="*/ 47950 h 124107"/>
                <a:gd name="connsiteX366" fmla="*/ 65720 w 118465"/>
                <a:gd name="connsiteY366" fmla="*/ 47668 h 124107"/>
                <a:gd name="connsiteX367" fmla="*/ 66284 w 118465"/>
                <a:gd name="connsiteY367" fmla="*/ 47104 h 124107"/>
                <a:gd name="connsiteX368" fmla="*/ 66002 w 118465"/>
                <a:gd name="connsiteY368" fmla="*/ 45694 h 124107"/>
                <a:gd name="connsiteX369" fmla="*/ 66284 w 118465"/>
                <a:gd name="connsiteY369" fmla="*/ 45130 h 124107"/>
                <a:gd name="connsiteX370" fmla="*/ 67131 w 118465"/>
                <a:gd name="connsiteY370" fmla="*/ 45694 h 124107"/>
                <a:gd name="connsiteX371" fmla="*/ 67131 w 118465"/>
                <a:gd name="connsiteY371" fmla="*/ 45976 h 124107"/>
                <a:gd name="connsiteX372" fmla="*/ 67413 w 118465"/>
                <a:gd name="connsiteY372" fmla="*/ 47104 h 124107"/>
                <a:gd name="connsiteX373" fmla="*/ 67131 w 118465"/>
                <a:gd name="connsiteY373" fmla="*/ 47668 h 124107"/>
                <a:gd name="connsiteX374" fmla="*/ 67131 w 118465"/>
                <a:gd name="connsiteY374" fmla="*/ 49643 h 124107"/>
                <a:gd name="connsiteX375" fmla="*/ 66567 w 118465"/>
                <a:gd name="connsiteY375" fmla="*/ 50771 h 124107"/>
                <a:gd name="connsiteX376" fmla="*/ 66849 w 118465"/>
                <a:gd name="connsiteY376" fmla="*/ 51617 h 124107"/>
                <a:gd name="connsiteX377" fmla="*/ 67131 w 118465"/>
                <a:gd name="connsiteY377" fmla="*/ 54156 h 124107"/>
                <a:gd name="connsiteX378" fmla="*/ 67131 w 118465"/>
                <a:gd name="connsiteY378" fmla="*/ 55002 h 124107"/>
                <a:gd name="connsiteX379" fmla="*/ 66002 w 118465"/>
                <a:gd name="connsiteY379" fmla="*/ 56694 h 124107"/>
                <a:gd name="connsiteX380" fmla="*/ 66284 w 118465"/>
                <a:gd name="connsiteY380" fmla="*/ 57258 h 124107"/>
                <a:gd name="connsiteX381" fmla="*/ 66849 w 118465"/>
                <a:gd name="connsiteY381" fmla="*/ 58951 h 124107"/>
                <a:gd name="connsiteX382" fmla="*/ 66567 w 118465"/>
                <a:gd name="connsiteY382" fmla="*/ 60079 h 124107"/>
                <a:gd name="connsiteX383" fmla="*/ 67413 w 118465"/>
                <a:gd name="connsiteY383" fmla="*/ 62336 h 124107"/>
                <a:gd name="connsiteX384" fmla="*/ 68541 w 118465"/>
                <a:gd name="connsiteY384" fmla="*/ 62900 h 124107"/>
                <a:gd name="connsiteX385" fmla="*/ 68541 w 118465"/>
                <a:gd name="connsiteY385" fmla="*/ 63464 h 124107"/>
                <a:gd name="connsiteX386" fmla="*/ 65720 w 118465"/>
                <a:gd name="connsiteY386" fmla="*/ 63464 h 124107"/>
                <a:gd name="connsiteX387" fmla="*/ 64874 w 118465"/>
                <a:gd name="connsiteY387" fmla="*/ 65156 h 124107"/>
                <a:gd name="connsiteX388" fmla="*/ 64592 w 118465"/>
                <a:gd name="connsiteY388" fmla="*/ 66002 h 124107"/>
                <a:gd name="connsiteX389" fmla="*/ 65156 w 118465"/>
                <a:gd name="connsiteY389" fmla="*/ 66849 h 124107"/>
                <a:gd name="connsiteX390" fmla="*/ 64874 w 118465"/>
                <a:gd name="connsiteY390" fmla="*/ 67413 h 124107"/>
                <a:gd name="connsiteX391" fmla="*/ 64874 w 118465"/>
                <a:gd name="connsiteY391" fmla="*/ 67977 h 124107"/>
                <a:gd name="connsiteX392" fmla="*/ 65720 w 118465"/>
                <a:gd name="connsiteY392" fmla="*/ 69105 h 124107"/>
                <a:gd name="connsiteX393" fmla="*/ 65438 w 118465"/>
                <a:gd name="connsiteY393" fmla="*/ 69669 h 124107"/>
                <a:gd name="connsiteX394" fmla="*/ 65438 w 118465"/>
                <a:gd name="connsiteY394" fmla="*/ 71079 h 124107"/>
                <a:gd name="connsiteX395" fmla="*/ 64874 w 118465"/>
                <a:gd name="connsiteY395" fmla="*/ 72490 h 124107"/>
                <a:gd name="connsiteX396" fmla="*/ 64592 w 118465"/>
                <a:gd name="connsiteY396" fmla="*/ 72772 h 124107"/>
                <a:gd name="connsiteX397" fmla="*/ 65156 w 118465"/>
                <a:gd name="connsiteY397" fmla="*/ 73900 h 124107"/>
                <a:gd name="connsiteX398" fmla="*/ 65156 w 118465"/>
                <a:gd name="connsiteY398" fmla="*/ 74464 h 124107"/>
                <a:gd name="connsiteX399" fmla="*/ 66002 w 118465"/>
                <a:gd name="connsiteY399" fmla="*/ 74182 h 124107"/>
                <a:gd name="connsiteX400" fmla="*/ 66284 w 118465"/>
                <a:gd name="connsiteY400" fmla="*/ 73618 h 124107"/>
                <a:gd name="connsiteX401" fmla="*/ 66284 w 118465"/>
                <a:gd name="connsiteY401" fmla="*/ 73336 h 124107"/>
                <a:gd name="connsiteX402" fmla="*/ 66567 w 118465"/>
                <a:gd name="connsiteY402" fmla="*/ 73054 h 124107"/>
                <a:gd name="connsiteX403" fmla="*/ 66849 w 118465"/>
                <a:gd name="connsiteY403" fmla="*/ 73336 h 124107"/>
                <a:gd name="connsiteX404" fmla="*/ 67131 w 118465"/>
                <a:gd name="connsiteY404" fmla="*/ 74182 h 124107"/>
                <a:gd name="connsiteX405" fmla="*/ 68259 w 118465"/>
                <a:gd name="connsiteY405" fmla="*/ 74464 h 124107"/>
                <a:gd name="connsiteX406" fmla="*/ 68541 w 118465"/>
                <a:gd name="connsiteY406" fmla="*/ 73618 h 124107"/>
                <a:gd name="connsiteX407" fmla="*/ 68823 w 118465"/>
                <a:gd name="connsiteY407" fmla="*/ 73618 h 124107"/>
                <a:gd name="connsiteX408" fmla="*/ 69105 w 118465"/>
                <a:gd name="connsiteY408" fmla="*/ 73900 h 124107"/>
                <a:gd name="connsiteX409" fmla="*/ 69387 w 118465"/>
                <a:gd name="connsiteY409" fmla="*/ 74464 h 124107"/>
                <a:gd name="connsiteX410" fmla="*/ 69105 w 118465"/>
                <a:gd name="connsiteY410" fmla="*/ 75310 h 124107"/>
                <a:gd name="connsiteX411" fmla="*/ 68259 w 118465"/>
                <a:gd name="connsiteY411" fmla="*/ 76439 h 124107"/>
                <a:gd name="connsiteX412" fmla="*/ 67413 w 118465"/>
                <a:gd name="connsiteY412" fmla="*/ 76439 h 124107"/>
                <a:gd name="connsiteX413" fmla="*/ 67413 w 118465"/>
                <a:gd name="connsiteY413" fmla="*/ 76157 h 124107"/>
                <a:gd name="connsiteX414" fmla="*/ 66849 w 118465"/>
                <a:gd name="connsiteY414" fmla="*/ 77567 h 124107"/>
                <a:gd name="connsiteX415" fmla="*/ 66849 w 118465"/>
                <a:gd name="connsiteY415" fmla="*/ 78695 h 124107"/>
                <a:gd name="connsiteX416" fmla="*/ 67695 w 118465"/>
                <a:gd name="connsiteY416" fmla="*/ 80105 h 124107"/>
                <a:gd name="connsiteX417" fmla="*/ 67413 w 118465"/>
                <a:gd name="connsiteY417" fmla="*/ 80670 h 124107"/>
                <a:gd name="connsiteX418" fmla="*/ 66849 w 118465"/>
                <a:gd name="connsiteY418" fmla="*/ 79823 h 124107"/>
                <a:gd name="connsiteX419" fmla="*/ 66567 w 118465"/>
                <a:gd name="connsiteY419" fmla="*/ 80105 h 124107"/>
                <a:gd name="connsiteX420" fmla="*/ 65720 w 118465"/>
                <a:gd name="connsiteY420" fmla="*/ 81234 h 124107"/>
                <a:gd name="connsiteX421" fmla="*/ 65156 w 118465"/>
                <a:gd name="connsiteY421" fmla="*/ 81798 h 124107"/>
                <a:gd name="connsiteX422" fmla="*/ 65438 w 118465"/>
                <a:gd name="connsiteY422" fmla="*/ 82926 h 124107"/>
                <a:gd name="connsiteX423" fmla="*/ 65438 w 118465"/>
                <a:gd name="connsiteY423" fmla="*/ 83208 h 124107"/>
                <a:gd name="connsiteX424" fmla="*/ 65156 w 118465"/>
                <a:gd name="connsiteY424" fmla="*/ 84054 h 124107"/>
                <a:gd name="connsiteX425" fmla="*/ 65438 w 118465"/>
                <a:gd name="connsiteY425" fmla="*/ 85183 h 124107"/>
                <a:gd name="connsiteX426" fmla="*/ 64592 w 118465"/>
                <a:gd name="connsiteY426" fmla="*/ 86875 h 124107"/>
                <a:gd name="connsiteX427" fmla="*/ 64592 w 118465"/>
                <a:gd name="connsiteY427" fmla="*/ 87721 h 124107"/>
                <a:gd name="connsiteX428" fmla="*/ 64874 w 118465"/>
                <a:gd name="connsiteY428" fmla="*/ 89131 h 124107"/>
                <a:gd name="connsiteX429" fmla="*/ 66002 w 118465"/>
                <a:gd name="connsiteY429" fmla="*/ 90542 h 124107"/>
                <a:gd name="connsiteX430" fmla="*/ 66284 w 118465"/>
                <a:gd name="connsiteY430" fmla="*/ 90824 h 124107"/>
                <a:gd name="connsiteX431" fmla="*/ 66849 w 118465"/>
                <a:gd name="connsiteY431" fmla="*/ 90542 h 124107"/>
                <a:gd name="connsiteX432" fmla="*/ 67413 w 118465"/>
                <a:gd name="connsiteY432" fmla="*/ 89413 h 124107"/>
                <a:gd name="connsiteX433" fmla="*/ 67977 w 118465"/>
                <a:gd name="connsiteY433" fmla="*/ 88567 h 124107"/>
                <a:gd name="connsiteX434" fmla="*/ 69105 w 118465"/>
                <a:gd name="connsiteY434" fmla="*/ 87721 h 124107"/>
                <a:gd name="connsiteX435" fmla="*/ 68823 w 118465"/>
                <a:gd name="connsiteY435" fmla="*/ 87157 h 124107"/>
                <a:gd name="connsiteX436" fmla="*/ 69105 w 118465"/>
                <a:gd name="connsiteY436" fmla="*/ 86593 h 124107"/>
                <a:gd name="connsiteX437" fmla="*/ 69105 w 118465"/>
                <a:gd name="connsiteY437" fmla="*/ 86311 h 124107"/>
                <a:gd name="connsiteX438" fmla="*/ 69669 w 118465"/>
                <a:gd name="connsiteY438" fmla="*/ 85465 h 124107"/>
                <a:gd name="connsiteX439" fmla="*/ 70233 w 118465"/>
                <a:gd name="connsiteY439" fmla="*/ 87157 h 124107"/>
                <a:gd name="connsiteX440" fmla="*/ 69669 w 118465"/>
                <a:gd name="connsiteY440" fmla="*/ 88003 h 124107"/>
                <a:gd name="connsiteX441" fmla="*/ 69105 w 118465"/>
                <a:gd name="connsiteY441" fmla="*/ 88849 h 124107"/>
                <a:gd name="connsiteX442" fmla="*/ 69387 w 118465"/>
                <a:gd name="connsiteY442" fmla="*/ 89131 h 124107"/>
                <a:gd name="connsiteX443" fmla="*/ 69669 w 118465"/>
                <a:gd name="connsiteY443" fmla="*/ 89978 h 124107"/>
                <a:gd name="connsiteX444" fmla="*/ 69105 w 118465"/>
                <a:gd name="connsiteY444" fmla="*/ 90542 h 124107"/>
                <a:gd name="connsiteX445" fmla="*/ 68259 w 118465"/>
                <a:gd name="connsiteY445" fmla="*/ 92798 h 124107"/>
                <a:gd name="connsiteX446" fmla="*/ 68259 w 118465"/>
                <a:gd name="connsiteY446" fmla="*/ 94773 h 124107"/>
                <a:gd name="connsiteX447" fmla="*/ 67695 w 118465"/>
                <a:gd name="connsiteY447" fmla="*/ 95337 h 124107"/>
                <a:gd name="connsiteX448" fmla="*/ 66849 w 118465"/>
                <a:gd name="connsiteY448" fmla="*/ 97593 h 124107"/>
                <a:gd name="connsiteX449" fmla="*/ 65720 w 118465"/>
                <a:gd name="connsiteY449" fmla="*/ 98439 h 124107"/>
                <a:gd name="connsiteX450" fmla="*/ 65438 w 118465"/>
                <a:gd name="connsiteY450" fmla="*/ 99004 h 124107"/>
                <a:gd name="connsiteX451" fmla="*/ 65720 w 118465"/>
                <a:gd name="connsiteY451" fmla="*/ 101260 h 124107"/>
                <a:gd name="connsiteX452" fmla="*/ 65438 w 118465"/>
                <a:gd name="connsiteY452" fmla="*/ 101542 h 124107"/>
                <a:gd name="connsiteX453" fmla="*/ 64874 w 118465"/>
                <a:gd name="connsiteY453" fmla="*/ 101542 h 124107"/>
                <a:gd name="connsiteX454" fmla="*/ 64310 w 118465"/>
                <a:gd name="connsiteY454" fmla="*/ 100696 h 124107"/>
                <a:gd name="connsiteX455" fmla="*/ 64310 w 118465"/>
                <a:gd name="connsiteY455" fmla="*/ 97311 h 124107"/>
                <a:gd name="connsiteX456" fmla="*/ 64028 w 118465"/>
                <a:gd name="connsiteY456" fmla="*/ 97311 h 124107"/>
                <a:gd name="connsiteX457" fmla="*/ 63746 w 118465"/>
                <a:gd name="connsiteY457" fmla="*/ 96747 h 124107"/>
                <a:gd name="connsiteX458" fmla="*/ 62618 w 118465"/>
                <a:gd name="connsiteY458" fmla="*/ 97593 h 124107"/>
                <a:gd name="connsiteX459" fmla="*/ 62054 w 118465"/>
                <a:gd name="connsiteY459" fmla="*/ 99286 h 124107"/>
                <a:gd name="connsiteX460" fmla="*/ 62054 w 118465"/>
                <a:gd name="connsiteY460" fmla="*/ 99568 h 124107"/>
                <a:gd name="connsiteX461" fmla="*/ 62336 w 118465"/>
                <a:gd name="connsiteY461" fmla="*/ 100696 h 124107"/>
                <a:gd name="connsiteX462" fmla="*/ 62054 w 118465"/>
                <a:gd name="connsiteY462" fmla="*/ 100978 h 124107"/>
                <a:gd name="connsiteX463" fmla="*/ 60926 w 118465"/>
                <a:gd name="connsiteY463" fmla="*/ 102388 h 124107"/>
                <a:gd name="connsiteX464" fmla="*/ 60643 w 118465"/>
                <a:gd name="connsiteY464" fmla="*/ 102670 h 124107"/>
                <a:gd name="connsiteX465" fmla="*/ 59797 w 118465"/>
                <a:gd name="connsiteY465" fmla="*/ 104645 h 124107"/>
                <a:gd name="connsiteX466" fmla="*/ 58105 w 118465"/>
                <a:gd name="connsiteY466" fmla="*/ 106337 h 124107"/>
                <a:gd name="connsiteX467" fmla="*/ 57259 w 118465"/>
                <a:gd name="connsiteY467" fmla="*/ 107465 h 124107"/>
                <a:gd name="connsiteX468" fmla="*/ 57259 w 118465"/>
                <a:gd name="connsiteY468" fmla="*/ 107747 h 124107"/>
                <a:gd name="connsiteX469" fmla="*/ 56412 w 118465"/>
                <a:gd name="connsiteY469" fmla="*/ 108312 h 124107"/>
                <a:gd name="connsiteX470" fmla="*/ 55566 w 118465"/>
                <a:gd name="connsiteY470" fmla="*/ 108876 h 124107"/>
                <a:gd name="connsiteX471" fmla="*/ 54156 w 118465"/>
                <a:gd name="connsiteY471" fmla="*/ 111414 h 124107"/>
                <a:gd name="connsiteX472" fmla="*/ 53874 w 118465"/>
                <a:gd name="connsiteY472" fmla="*/ 111978 h 124107"/>
                <a:gd name="connsiteX473" fmla="*/ 53028 w 118465"/>
                <a:gd name="connsiteY473" fmla="*/ 112825 h 124107"/>
                <a:gd name="connsiteX474" fmla="*/ 51899 w 118465"/>
                <a:gd name="connsiteY474" fmla="*/ 113107 h 124107"/>
                <a:gd name="connsiteX475" fmla="*/ 51899 w 118465"/>
                <a:gd name="connsiteY475" fmla="*/ 113953 h 124107"/>
                <a:gd name="connsiteX476" fmla="*/ 49925 w 118465"/>
                <a:gd name="connsiteY476" fmla="*/ 115363 h 124107"/>
                <a:gd name="connsiteX477" fmla="*/ 49361 w 118465"/>
                <a:gd name="connsiteY477" fmla="*/ 115363 h 124107"/>
                <a:gd name="connsiteX478" fmla="*/ 49361 w 118465"/>
                <a:gd name="connsiteY478" fmla="*/ 114235 h 124107"/>
                <a:gd name="connsiteX479" fmla="*/ 48797 w 118465"/>
                <a:gd name="connsiteY479" fmla="*/ 114517 h 124107"/>
                <a:gd name="connsiteX480" fmla="*/ 48515 w 118465"/>
                <a:gd name="connsiteY480" fmla="*/ 115081 h 124107"/>
                <a:gd name="connsiteX481" fmla="*/ 48515 w 118465"/>
                <a:gd name="connsiteY481" fmla="*/ 115363 h 124107"/>
                <a:gd name="connsiteX482" fmla="*/ 47950 w 118465"/>
                <a:gd name="connsiteY482" fmla="*/ 117055 h 124107"/>
                <a:gd name="connsiteX483" fmla="*/ 47104 w 118465"/>
                <a:gd name="connsiteY483" fmla="*/ 117620 h 124107"/>
                <a:gd name="connsiteX484" fmla="*/ 45694 w 118465"/>
                <a:gd name="connsiteY484" fmla="*/ 119312 h 124107"/>
                <a:gd name="connsiteX485" fmla="*/ 45412 w 118465"/>
                <a:gd name="connsiteY485" fmla="*/ 118748 h 124107"/>
                <a:gd name="connsiteX486" fmla="*/ 2539 w 118465"/>
                <a:gd name="connsiteY486" fmla="*/ 85747 h 124107"/>
                <a:gd name="connsiteX487" fmla="*/ 2821 w 118465"/>
                <a:gd name="connsiteY487" fmla="*/ 85747 h 124107"/>
                <a:gd name="connsiteX488" fmla="*/ 2821 w 118465"/>
                <a:gd name="connsiteY488" fmla="*/ 85465 h 124107"/>
                <a:gd name="connsiteX489" fmla="*/ 2539 w 118465"/>
                <a:gd name="connsiteY489" fmla="*/ 85747 h 124107"/>
                <a:gd name="connsiteX490" fmla="*/ 7052 w 118465"/>
                <a:gd name="connsiteY490" fmla="*/ 114235 h 124107"/>
                <a:gd name="connsiteX491" fmla="*/ 6206 w 118465"/>
                <a:gd name="connsiteY491" fmla="*/ 112260 h 124107"/>
                <a:gd name="connsiteX492" fmla="*/ 5359 w 118465"/>
                <a:gd name="connsiteY492" fmla="*/ 111132 h 124107"/>
                <a:gd name="connsiteX493" fmla="*/ 4513 w 118465"/>
                <a:gd name="connsiteY493" fmla="*/ 109440 h 124107"/>
                <a:gd name="connsiteX494" fmla="*/ 3949 w 118465"/>
                <a:gd name="connsiteY494" fmla="*/ 109158 h 124107"/>
                <a:gd name="connsiteX495" fmla="*/ 3667 w 118465"/>
                <a:gd name="connsiteY495" fmla="*/ 109158 h 124107"/>
                <a:gd name="connsiteX496" fmla="*/ 3385 w 118465"/>
                <a:gd name="connsiteY496" fmla="*/ 108876 h 124107"/>
                <a:gd name="connsiteX497" fmla="*/ 3103 w 118465"/>
                <a:gd name="connsiteY497" fmla="*/ 108876 h 124107"/>
                <a:gd name="connsiteX498" fmla="*/ 3103 w 118465"/>
                <a:gd name="connsiteY498" fmla="*/ 110286 h 124107"/>
                <a:gd name="connsiteX499" fmla="*/ 4231 w 118465"/>
                <a:gd name="connsiteY499" fmla="*/ 111414 h 124107"/>
                <a:gd name="connsiteX500" fmla="*/ 4231 w 118465"/>
                <a:gd name="connsiteY500" fmla="*/ 112825 h 124107"/>
                <a:gd name="connsiteX501" fmla="*/ 4513 w 118465"/>
                <a:gd name="connsiteY501" fmla="*/ 114235 h 124107"/>
                <a:gd name="connsiteX502" fmla="*/ 4795 w 118465"/>
                <a:gd name="connsiteY502" fmla="*/ 114517 h 124107"/>
                <a:gd name="connsiteX503" fmla="*/ 5924 w 118465"/>
                <a:gd name="connsiteY503" fmla="*/ 115645 h 124107"/>
                <a:gd name="connsiteX504" fmla="*/ 5924 w 118465"/>
                <a:gd name="connsiteY504" fmla="*/ 116209 h 124107"/>
                <a:gd name="connsiteX505" fmla="*/ 6770 w 118465"/>
                <a:gd name="connsiteY505" fmla="*/ 117055 h 124107"/>
                <a:gd name="connsiteX506" fmla="*/ 6770 w 118465"/>
                <a:gd name="connsiteY506" fmla="*/ 117338 h 124107"/>
                <a:gd name="connsiteX507" fmla="*/ 7052 w 118465"/>
                <a:gd name="connsiteY507" fmla="*/ 117055 h 124107"/>
                <a:gd name="connsiteX508" fmla="*/ 6770 w 118465"/>
                <a:gd name="connsiteY508" fmla="*/ 115645 h 124107"/>
                <a:gd name="connsiteX509" fmla="*/ 7334 w 118465"/>
                <a:gd name="connsiteY509" fmla="*/ 114799 h 124107"/>
                <a:gd name="connsiteX510" fmla="*/ 7052 w 118465"/>
                <a:gd name="connsiteY510" fmla="*/ 114235 h 124107"/>
                <a:gd name="connsiteX511" fmla="*/ 4795 w 118465"/>
                <a:gd name="connsiteY511" fmla="*/ 77849 h 124107"/>
                <a:gd name="connsiteX512" fmla="*/ 4513 w 118465"/>
                <a:gd name="connsiteY512" fmla="*/ 76439 h 124107"/>
                <a:gd name="connsiteX513" fmla="*/ 4231 w 118465"/>
                <a:gd name="connsiteY513" fmla="*/ 76157 h 124107"/>
                <a:gd name="connsiteX514" fmla="*/ 3667 w 118465"/>
                <a:gd name="connsiteY514" fmla="*/ 76157 h 124107"/>
                <a:gd name="connsiteX515" fmla="*/ 3949 w 118465"/>
                <a:gd name="connsiteY515" fmla="*/ 76721 h 124107"/>
                <a:gd name="connsiteX516" fmla="*/ 4513 w 118465"/>
                <a:gd name="connsiteY516" fmla="*/ 78413 h 124107"/>
                <a:gd name="connsiteX517" fmla="*/ 4513 w 118465"/>
                <a:gd name="connsiteY517" fmla="*/ 78695 h 124107"/>
                <a:gd name="connsiteX518" fmla="*/ 4795 w 118465"/>
                <a:gd name="connsiteY518" fmla="*/ 78413 h 124107"/>
                <a:gd name="connsiteX519" fmla="*/ 4795 w 118465"/>
                <a:gd name="connsiteY519" fmla="*/ 77849 h 124107"/>
                <a:gd name="connsiteX520" fmla="*/ 5641 w 118465"/>
                <a:gd name="connsiteY520" fmla="*/ 69951 h 124107"/>
                <a:gd name="connsiteX521" fmla="*/ 5924 w 118465"/>
                <a:gd name="connsiteY521" fmla="*/ 69951 h 124107"/>
                <a:gd name="connsiteX522" fmla="*/ 5924 w 118465"/>
                <a:gd name="connsiteY522" fmla="*/ 69669 h 124107"/>
                <a:gd name="connsiteX523" fmla="*/ 5641 w 118465"/>
                <a:gd name="connsiteY523" fmla="*/ 69951 h 124107"/>
                <a:gd name="connsiteX524" fmla="*/ 7898 w 118465"/>
                <a:gd name="connsiteY524" fmla="*/ 116491 h 124107"/>
                <a:gd name="connsiteX525" fmla="*/ 8180 w 118465"/>
                <a:gd name="connsiteY525" fmla="*/ 117055 h 124107"/>
                <a:gd name="connsiteX526" fmla="*/ 8462 w 118465"/>
                <a:gd name="connsiteY526" fmla="*/ 117338 h 124107"/>
                <a:gd name="connsiteX527" fmla="*/ 8744 w 118465"/>
                <a:gd name="connsiteY527" fmla="*/ 116773 h 124107"/>
                <a:gd name="connsiteX528" fmla="*/ 8180 w 118465"/>
                <a:gd name="connsiteY528" fmla="*/ 116209 h 124107"/>
                <a:gd name="connsiteX529" fmla="*/ 7898 w 118465"/>
                <a:gd name="connsiteY529" fmla="*/ 116491 h 124107"/>
                <a:gd name="connsiteX530" fmla="*/ 9308 w 118465"/>
                <a:gd name="connsiteY530" fmla="*/ 119876 h 124107"/>
                <a:gd name="connsiteX531" fmla="*/ 8462 w 118465"/>
                <a:gd name="connsiteY531" fmla="*/ 119030 h 124107"/>
                <a:gd name="connsiteX532" fmla="*/ 7898 w 118465"/>
                <a:gd name="connsiteY532" fmla="*/ 119030 h 124107"/>
                <a:gd name="connsiteX533" fmla="*/ 8180 w 118465"/>
                <a:gd name="connsiteY533" fmla="*/ 119312 h 124107"/>
                <a:gd name="connsiteX534" fmla="*/ 8744 w 118465"/>
                <a:gd name="connsiteY534" fmla="*/ 120722 h 124107"/>
                <a:gd name="connsiteX535" fmla="*/ 8744 w 118465"/>
                <a:gd name="connsiteY535" fmla="*/ 121004 h 124107"/>
                <a:gd name="connsiteX536" fmla="*/ 9026 w 118465"/>
                <a:gd name="connsiteY536" fmla="*/ 121286 h 124107"/>
                <a:gd name="connsiteX537" fmla="*/ 9590 w 118465"/>
                <a:gd name="connsiteY537" fmla="*/ 120722 h 124107"/>
                <a:gd name="connsiteX538" fmla="*/ 9308 w 118465"/>
                <a:gd name="connsiteY538" fmla="*/ 119876 h 124107"/>
                <a:gd name="connsiteX539" fmla="*/ 9872 w 118465"/>
                <a:gd name="connsiteY539" fmla="*/ 121568 h 124107"/>
                <a:gd name="connsiteX540" fmla="*/ 9872 w 118465"/>
                <a:gd name="connsiteY540" fmla="*/ 122133 h 124107"/>
                <a:gd name="connsiteX541" fmla="*/ 10436 w 118465"/>
                <a:gd name="connsiteY541" fmla="*/ 122979 h 124107"/>
                <a:gd name="connsiteX542" fmla="*/ 10718 w 118465"/>
                <a:gd name="connsiteY542" fmla="*/ 122697 h 124107"/>
                <a:gd name="connsiteX543" fmla="*/ 9872 w 118465"/>
                <a:gd name="connsiteY543" fmla="*/ 121568 h 124107"/>
                <a:gd name="connsiteX544" fmla="*/ 58387 w 118465"/>
                <a:gd name="connsiteY544" fmla="*/ 45694 h 124107"/>
                <a:gd name="connsiteX545" fmla="*/ 58951 w 118465"/>
                <a:gd name="connsiteY545" fmla="*/ 45130 h 124107"/>
                <a:gd name="connsiteX546" fmla="*/ 58387 w 118465"/>
                <a:gd name="connsiteY546" fmla="*/ 44002 h 124107"/>
                <a:gd name="connsiteX547" fmla="*/ 58105 w 118465"/>
                <a:gd name="connsiteY547" fmla="*/ 43720 h 124107"/>
                <a:gd name="connsiteX548" fmla="*/ 58951 w 118465"/>
                <a:gd name="connsiteY548" fmla="*/ 42591 h 124107"/>
                <a:gd name="connsiteX549" fmla="*/ 58105 w 118465"/>
                <a:gd name="connsiteY549" fmla="*/ 41463 h 124107"/>
                <a:gd name="connsiteX550" fmla="*/ 58105 w 118465"/>
                <a:gd name="connsiteY550" fmla="*/ 41181 h 124107"/>
                <a:gd name="connsiteX551" fmla="*/ 58669 w 118465"/>
                <a:gd name="connsiteY551" fmla="*/ 40053 h 124107"/>
                <a:gd name="connsiteX552" fmla="*/ 58669 w 118465"/>
                <a:gd name="connsiteY552" fmla="*/ 38642 h 124107"/>
                <a:gd name="connsiteX553" fmla="*/ 58387 w 118465"/>
                <a:gd name="connsiteY553" fmla="*/ 37514 h 124107"/>
                <a:gd name="connsiteX554" fmla="*/ 58669 w 118465"/>
                <a:gd name="connsiteY554" fmla="*/ 36386 h 124107"/>
                <a:gd name="connsiteX555" fmla="*/ 57259 w 118465"/>
                <a:gd name="connsiteY555" fmla="*/ 36386 h 124107"/>
                <a:gd name="connsiteX556" fmla="*/ 56977 w 118465"/>
                <a:gd name="connsiteY556" fmla="*/ 36668 h 124107"/>
                <a:gd name="connsiteX557" fmla="*/ 56977 w 118465"/>
                <a:gd name="connsiteY557" fmla="*/ 36104 h 124107"/>
                <a:gd name="connsiteX558" fmla="*/ 56130 w 118465"/>
                <a:gd name="connsiteY558" fmla="*/ 34976 h 124107"/>
                <a:gd name="connsiteX559" fmla="*/ 56130 w 118465"/>
                <a:gd name="connsiteY559" fmla="*/ 31027 h 124107"/>
                <a:gd name="connsiteX560" fmla="*/ 56977 w 118465"/>
                <a:gd name="connsiteY560" fmla="*/ 30463 h 124107"/>
                <a:gd name="connsiteX561" fmla="*/ 57541 w 118465"/>
                <a:gd name="connsiteY561" fmla="*/ 31027 h 124107"/>
                <a:gd name="connsiteX562" fmla="*/ 57823 w 118465"/>
                <a:gd name="connsiteY562" fmla="*/ 31027 h 124107"/>
                <a:gd name="connsiteX563" fmla="*/ 58951 w 118465"/>
                <a:gd name="connsiteY563" fmla="*/ 30463 h 124107"/>
                <a:gd name="connsiteX564" fmla="*/ 57823 w 118465"/>
                <a:gd name="connsiteY564" fmla="*/ 29334 h 124107"/>
                <a:gd name="connsiteX565" fmla="*/ 56695 w 118465"/>
                <a:gd name="connsiteY565" fmla="*/ 28488 h 124107"/>
                <a:gd name="connsiteX566" fmla="*/ 56412 w 118465"/>
                <a:gd name="connsiteY566" fmla="*/ 28488 h 124107"/>
                <a:gd name="connsiteX567" fmla="*/ 55284 w 118465"/>
                <a:gd name="connsiteY567" fmla="*/ 27360 h 124107"/>
                <a:gd name="connsiteX568" fmla="*/ 55284 w 118465"/>
                <a:gd name="connsiteY568" fmla="*/ 27078 h 124107"/>
                <a:gd name="connsiteX569" fmla="*/ 54720 w 118465"/>
                <a:gd name="connsiteY569" fmla="*/ 25386 h 124107"/>
                <a:gd name="connsiteX570" fmla="*/ 53592 w 118465"/>
                <a:gd name="connsiteY570" fmla="*/ 23975 h 124107"/>
                <a:gd name="connsiteX571" fmla="*/ 51899 w 118465"/>
                <a:gd name="connsiteY571" fmla="*/ 22565 h 124107"/>
                <a:gd name="connsiteX572" fmla="*/ 49643 w 118465"/>
                <a:gd name="connsiteY572" fmla="*/ 21155 h 124107"/>
                <a:gd name="connsiteX573" fmla="*/ 49643 w 118465"/>
                <a:gd name="connsiteY573" fmla="*/ 20873 h 124107"/>
                <a:gd name="connsiteX574" fmla="*/ 49361 w 118465"/>
                <a:gd name="connsiteY574" fmla="*/ 21155 h 124107"/>
                <a:gd name="connsiteX575" fmla="*/ 49079 w 118465"/>
                <a:gd name="connsiteY575" fmla="*/ 21719 h 124107"/>
                <a:gd name="connsiteX576" fmla="*/ 48233 w 118465"/>
                <a:gd name="connsiteY576" fmla="*/ 22001 h 124107"/>
                <a:gd name="connsiteX577" fmla="*/ 47668 w 118465"/>
                <a:gd name="connsiteY577" fmla="*/ 22001 h 124107"/>
                <a:gd name="connsiteX578" fmla="*/ 47668 w 118465"/>
                <a:gd name="connsiteY578" fmla="*/ 21719 h 124107"/>
                <a:gd name="connsiteX579" fmla="*/ 46822 w 118465"/>
                <a:gd name="connsiteY579" fmla="*/ 22565 h 124107"/>
                <a:gd name="connsiteX580" fmla="*/ 46822 w 118465"/>
                <a:gd name="connsiteY580" fmla="*/ 23693 h 124107"/>
                <a:gd name="connsiteX581" fmla="*/ 47104 w 118465"/>
                <a:gd name="connsiteY581" fmla="*/ 24539 h 124107"/>
                <a:gd name="connsiteX582" fmla="*/ 47668 w 118465"/>
                <a:gd name="connsiteY582" fmla="*/ 25668 h 124107"/>
                <a:gd name="connsiteX583" fmla="*/ 47386 w 118465"/>
                <a:gd name="connsiteY583" fmla="*/ 26514 h 124107"/>
                <a:gd name="connsiteX584" fmla="*/ 47386 w 118465"/>
                <a:gd name="connsiteY584" fmla="*/ 27078 h 124107"/>
                <a:gd name="connsiteX585" fmla="*/ 48233 w 118465"/>
                <a:gd name="connsiteY585" fmla="*/ 29334 h 124107"/>
                <a:gd name="connsiteX586" fmla="*/ 47668 w 118465"/>
                <a:gd name="connsiteY586" fmla="*/ 29334 h 124107"/>
                <a:gd name="connsiteX587" fmla="*/ 46540 w 118465"/>
                <a:gd name="connsiteY587" fmla="*/ 27360 h 124107"/>
                <a:gd name="connsiteX588" fmla="*/ 46258 w 118465"/>
                <a:gd name="connsiteY588" fmla="*/ 27078 h 124107"/>
                <a:gd name="connsiteX589" fmla="*/ 45130 w 118465"/>
                <a:gd name="connsiteY589" fmla="*/ 27360 h 124107"/>
                <a:gd name="connsiteX590" fmla="*/ 44002 w 118465"/>
                <a:gd name="connsiteY590" fmla="*/ 28488 h 124107"/>
                <a:gd name="connsiteX591" fmla="*/ 43720 w 118465"/>
                <a:gd name="connsiteY591" fmla="*/ 29616 h 124107"/>
                <a:gd name="connsiteX592" fmla="*/ 44284 w 118465"/>
                <a:gd name="connsiteY592" fmla="*/ 30463 h 124107"/>
                <a:gd name="connsiteX593" fmla="*/ 44002 w 118465"/>
                <a:gd name="connsiteY593" fmla="*/ 32437 h 124107"/>
                <a:gd name="connsiteX594" fmla="*/ 43438 w 118465"/>
                <a:gd name="connsiteY594" fmla="*/ 32719 h 124107"/>
                <a:gd name="connsiteX595" fmla="*/ 42309 w 118465"/>
                <a:gd name="connsiteY595" fmla="*/ 33001 h 124107"/>
                <a:gd name="connsiteX596" fmla="*/ 41745 w 118465"/>
                <a:gd name="connsiteY596" fmla="*/ 33847 h 124107"/>
                <a:gd name="connsiteX597" fmla="*/ 40335 w 118465"/>
                <a:gd name="connsiteY597" fmla="*/ 35258 h 124107"/>
                <a:gd name="connsiteX598" fmla="*/ 39771 w 118465"/>
                <a:gd name="connsiteY598" fmla="*/ 36950 h 124107"/>
                <a:gd name="connsiteX599" fmla="*/ 39207 w 118465"/>
                <a:gd name="connsiteY599" fmla="*/ 38078 h 124107"/>
                <a:gd name="connsiteX600" fmla="*/ 38078 w 118465"/>
                <a:gd name="connsiteY600" fmla="*/ 39207 h 124107"/>
                <a:gd name="connsiteX601" fmla="*/ 37232 w 118465"/>
                <a:gd name="connsiteY601" fmla="*/ 40335 h 124107"/>
                <a:gd name="connsiteX602" fmla="*/ 37232 w 118465"/>
                <a:gd name="connsiteY602" fmla="*/ 40617 h 124107"/>
                <a:gd name="connsiteX603" fmla="*/ 36950 w 118465"/>
                <a:gd name="connsiteY603" fmla="*/ 41463 h 124107"/>
                <a:gd name="connsiteX604" fmla="*/ 36950 w 118465"/>
                <a:gd name="connsiteY604" fmla="*/ 41745 h 124107"/>
                <a:gd name="connsiteX605" fmla="*/ 35540 w 118465"/>
                <a:gd name="connsiteY605" fmla="*/ 43155 h 124107"/>
                <a:gd name="connsiteX606" fmla="*/ 34976 w 118465"/>
                <a:gd name="connsiteY606" fmla="*/ 43437 h 124107"/>
                <a:gd name="connsiteX607" fmla="*/ 34412 w 118465"/>
                <a:gd name="connsiteY607" fmla="*/ 44848 h 124107"/>
                <a:gd name="connsiteX608" fmla="*/ 34130 w 118465"/>
                <a:gd name="connsiteY608" fmla="*/ 45976 h 124107"/>
                <a:gd name="connsiteX609" fmla="*/ 34130 w 118465"/>
                <a:gd name="connsiteY609" fmla="*/ 47386 h 124107"/>
                <a:gd name="connsiteX610" fmla="*/ 33565 w 118465"/>
                <a:gd name="connsiteY610" fmla="*/ 48233 h 124107"/>
                <a:gd name="connsiteX611" fmla="*/ 31873 w 118465"/>
                <a:gd name="connsiteY611" fmla="*/ 50207 h 124107"/>
                <a:gd name="connsiteX612" fmla="*/ 31591 w 118465"/>
                <a:gd name="connsiteY612" fmla="*/ 50771 h 124107"/>
                <a:gd name="connsiteX613" fmla="*/ 31309 w 118465"/>
                <a:gd name="connsiteY613" fmla="*/ 51617 h 124107"/>
                <a:gd name="connsiteX614" fmla="*/ 31591 w 118465"/>
                <a:gd name="connsiteY614" fmla="*/ 51899 h 124107"/>
                <a:gd name="connsiteX615" fmla="*/ 31873 w 118465"/>
                <a:gd name="connsiteY615" fmla="*/ 52463 h 124107"/>
                <a:gd name="connsiteX616" fmla="*/ 31591 w 118465"/>
                <a:gd name="connsiteY616" fmla="*/ 53028 h 124107"/>
                <a:gd name="connsiteX617" fmla="*/ 31027 w 118465"/>
                <a:gd name="connsiteY617" fmla="*/ 53028 h 124107"/>
                <a:gd name="connsiteX618" fmla="*/ 30463 w 118465"/>
                <a:gd name="connsiteY618" fmla="*/ 54438 h 124107"/>
                <a:gd name="connsiteX619" fmla="*/ 30463 w 118465"/>
                <a:gd name="connsiteY619" fmla="*/ 54720 h 124107"/>
                <a:gd name="connsiteX620" fmla="*/ 29616 w 118465"/>
                <a:gd name="connsiteY620" fmla="*/ 55566 h 124107"/>
                <a:gd name="connsiteX621" fmla="*/ 29616 w 118465"/>
                <a:gd name="connsiteY621" fmla="*/ 56412 h 124107"/>
                <a:gd name="connsiteX622" fmla="*/ 29899 w 118465"/>
                <a:gd name="connsiteY622" fmla="*/ 56976 h 124107"/>
                <a:gd name="connsiteX623" fmla="*/ 29616 w 118465"/>
                <a:gd name="connsiteY623" fmla="*/ 57258 h 124107"/>
                <a:gd name="connsiteX624" fmla="*/ 29616 w 118465"/>
                <a:gd name="connsiteY624" fmla="*/ 57823 h 124107"/>
                <a:gd name="connsiteX625" fmla="*/ 29052 w 118465"/>
                <a:gd name="connsiteY625" fmla="*/ 58951 h 124107"/>
                <a:gd name="connsiteX626" fmla="*/ 29052 w 118465"/>
                <a:gd name="connsiteY626" fmla="*/ 59233 h 124107"/>
                <a:gd name="connsiteX627" fmla="*/ 28770 w 118465"/>
                <a:gd name="connsiteY627" fmla="*/ 59515 h 124107"/>
                <a:gd name="connsiteX628" fmla="*/ 27642 w 118465"/>
                <a:gd name="connsiteY628" fmla="*/ 60643 h 124107"/>
                <a:gd name="connsiteX629" fmla="*/ 27078 w 118465"/>
                <a:gd name="connsiteY629" fmla="*/ 62336 h 124107"/>
                <a:gd name="connsiteX630" fmla="*/ 27642 w 118465"/>
                <a:gd name="connsiteY630" fmla="*/ 63182 h 124107"/>
                <a:gd name="connsiteX631" fmla="*/ 27924 w 118465"/>
                <a:gd name="connsiteY631" fmla="*/ 63746 h 124107"/>
                <a:gd name="connsiteX632" fmla="*/ 27078 w 118465"/>
                <a:gd name="connsiteY632" fmla="*/ 64874 h 124107"/>
                <a:gd name="connsiteX633" fmla="*/ 25668 w 118465"/>
                <a:gd name="connsiteY633" fmla="*/ 66002 h 124107"/>
                <a:gd name="connsiteX634" fmla="*/ 25950 w 118465"/>
                <a:gd name="connsiteY634" fmla="*/ 66849 h 124107"/>
                <a:gd name="connsiteX635" fmla="*/ 26232 w 118465"/>
                <a:gd name="connsiteY635" fmla="*/ 67131 h 124107"/>
                <a:gd name="connsiteX636" fmla="*/ 25668 w 118465"/>
                <a:gd name="connsiteY636" fmla="*/ 68541 h 124107"/>
                <a:gd name="connsiteX637" fmla="*/ 25104 w 118465"/>
                <a:gd name="connsiteY637" fmla="*/ 69105 h 124107"/>
                <a:gd name="connsiteX638" fmla="*/ 24540 w 118465"/>
                <a:gd name="connsiteY638" fmla="*/ 71079 h 124107"/>
                <a:gd name="connsiteX639" fmla="*/ 24258 w 118465"/>
                <a:gd name="connsiteY639" fmla="*/ 71362 h 124107"/>
                <a:gd name="connsiteX640" fmla="*/ 23411 w 118465"/>
                <a:gd name="connsiteY640" fmla="*/ 72490 h 124107"/>
                <a:gd name="connsiteX641" fmla="*/ 23975 w 118465"/>
                <a:gd name="connsiteY641" fmla="*/ 73900 h 124107"/>
                <a:gd name="connsiteX642" fmla="*/ 23693 w 118465"/>
                <a:gd name="connsiteY642" fmla="*/ 74746 h 124107"/>
                <a:gd name="connsiteX643" fmla="*/ 22847 w 118465"/>
                <a:gd name="connsiteY643" fmla="*/ 75875 h 124107"/>
                <a:gd name="connsiteX644" fmla="*/ 22847 w 118465"/>
                <a:gd name="connsiteY644" fmla="*/ 77003 h 124107"/>
                <a:gd name="connsiteX645" fmla="*/ 22001 w 118465"/>
                <a:gd name="connsiteY645" fmla="*/ 78695 h 124107"/>
                <a:gd name="connsiteX646" fmla="*/ 22283 w 118465"/>
                <a:gd name="connsiteY646" fmla="*/ 80105 h 124107"/>
                <a:gd name="connsiteX647" fmla="*/ 22283 w 118465"/>
                <a:gd name="connsiteY647" fmla="*/ 81234 h 124107"/>
                <a:gd name="connsiteX648" fmla="*/ 22001 w 118465"/>
                <a:gd name="connsiteY648" fmla="*/ 81516 h 124107"/>
                <a:gd name="connsiteX649" fmla="*/ 21719 w 118465"/>
                <a:gd name="connsiteY649" fmla="*/ 82644 h 124107"/>
                <a:gd name="connsiteX650" fmla="*/ 21719 w 118465"/>
                <a:gd name="connsiteY650" fmla="*/ 82926 h 124107"/>
                <a:gd name="connsiteX651" fmla="*/ 21437 w 118465"/>
                <a:gd name="connsiteY651" fmla="*/ 83208 h 124107"/>
                <a:gd name="connsiteX652" fmla="*/ 21155 w 118465"/>
                <a:gd name="connsiteY652" fmla="*/ 83490 h 124107"/>
                <a:gd name="connsiteX653" fmla="*/ 21437 w 118465"/>
                <a:gd name="connsiteY653" fmla="*/ 84618 h 124107"/>
                <a:gd name="connsiteX654" fmla="*/ 21437 w 118465"/>
                <a:gd name="connsiteY654" fmla="*/ 84900 h 124107"/>
                <a:gd name="connsiteX655" fmla="*/ 20873 w 118465"/>
                <a:gd name="connsiteY655" fmla="*/ 85747 h 124107"/>
                <a:gd name="connsiteX656" fmla="*/ 21155 w 118465"/>
                <a:gd name="connsiteY656" fmla="*/ 86593 h 124107"/>
                <a:gd name="connsiteX657" fmla="*/ 20873 w 118465"/>
                <a:gd name="connsiteY657" fmla="*/ 87721 h 124107"/>
                <a:gd name="connsiteX658" fmla="*/ 20027 w 118465"/>
                <a:gd name="connsiteY658" fmla="*/ 89131 h 124107"/>
                <a:gd name="connsiteX659" fmla="*/ 20309 w 118465"/>
                <a:gd name="connsiteY659" fmla="*/ 89978 h 124107"/>
                <a:gd name="connsiteX660" fmla="*/ 20309 w 118465"/>
                <a:gd name="connsiteY660" fmla="*/ 90824 h 124107"/>
                <a:gd name="connsiteX661" fmla="*/ 20027 w 118465"/>
                <a:gd name="connsiteY661" fmla="*/ 91952 h 124107"/>
                <a:gd name="connsiteX662" fmla="*/ 20027 w 118465"/>
                <a:gd name="connsiteY662" fmla="*/ 93080 h 124107"/>
                <a:gd name="connsiteX663" fmla="*/ 19744 w 118465"/>
                <a:gd name="connsiteY663" fmla="*/ 93644 h 124107"/>
                <a:gd name="connsiteX664" fmla="*/ 20309 w 118465"/>
                <a:gd name="connsiteY664" fmla="*/ 95337 h 124107"/>
                <a:gd name="connsiteX665" fmla="*/ 20309 w 118465"/>
                <a:gd name="connsiteY665" fmla="*/ 95619 h 124107"/>
                <a:gd name="connsiteX666" fmla="*/ 19744 w 118465"/>
                <a:gd name="connsiteY666" fmla="*/ 96465 h 124107"/>
                <a:gd name="connsiteX667" fmla="*/ 19744 w 118465"/>
                <a:gd name="connsiteY667" fmla="*/ 97311 h 124107"/>
                <a:gd name="connsiteX668" fmla="*/ 19462 w 118465"/>
                <a:gd name="connsiteY668" fmla="*/ 99004 h 124107"/>
                <a:gd name="connsiteX669" fmla="*/ 20309 w 118465"/>
                <a:gd name="connsiteY669" fmla="*/ 100132 h 124107"/>
                <a:gd name="connsiteX670" fmla="*/ 19744 w 118465"/>
                <a:gd name="connsiteY670" fmla="*/ 100978 h 124107"/>
                <a:gd name="connsiteX671" fmla="*/ 19462 w 118465"/>
                <a:gd name="connsiteY671" fmla="*/ 102388 h 124107"/>
                <a:gd name="connsiteX672" fmla="*/ 20027 w 118465"/>
                <a:gd name="connsiteY672" fmla="*/ 104081 h 124107"/>
                <a:gd name="connsiteX673" fmla="*/ 19744 w 118465"/>
                <a:gd name="connsiteY673" fmla="*/ 104645 h 124107"/>
                <a:gd name="connsiteX674" fmla="*/ 19180 w 118465"/>
                <a:gd name="connsiteY674" fmla="*/ 104645 h 124107"/>
                <a:gd name="connsiteX675" fmla="*/ 18898 w 118465"/>
                <a:gd name="connsiteY675" fmla="*/ 104927 h 124107"/>
                <a:gd name="connsiteX676" fmla="*/ 19180 w 118465"/>
                <a:gd name="connsiteY676" fmla="*/ 106055 h 124107"/>
                <a:gd name="connsiteX677" fmla="*/ 21155 w 118465"/>
                <a:gd name="connsiteY677" fmla="*/ 108876 h 124107"/>
                <a:gd name="connsiteX678" fmla="*/ 21155 w 118465"/>
                <a:gd name="connsiteY678" fmla="*/ 109158 h 124107"/>
                <a:gd name="connsiteX679" fmla="*/ 21437 w 118465"/>
                <a:gd name="connsiteY679" fmla="*/ 110850 h 124107"/>
                <a:gd name="connsiteX680" fmla="*/ 22283 w 118465"/>
                <a:gd name="connsiteY680" fmla="*/ 112260 h 124107"/>
                <a:gd name="connsiteX681" fmla="*/ 23411 w 118465"/>
                <a:gd name="connsiteY681" fmla="*/ 114517 h 124107"/>
                <a:gd name="connsiteX682" fmla="*/ 25104 w 118465"/>
                <a:gd name="connsiteY682" fmla="*/ 114799 h 124107"/>
                <a:gd name="connsiteX683" fmla="*/ 26232 w 118465"/>
                <a:gd name="connsiteY683" fmla="*/ 114799 h 124107"/>
                <a:gd name="connsiteX684" fmla="*/ 28206 w 118465"/>
                <a:gd name="connsiteY684" fmla="*/ 114235 h 124107"/>
                <a:gd name="connsiteX685" fmla="*/ 29052 w 118465"/>
                <a:gd name="connsiteY685" fmla="*/ 113671 h 124107"/>
                <a:gd name="connsiteX686" fmla="*/ 30463 w 118465"/>
                <a:gd name="connsiteY686" fmla="*/ 112825 h 124107"/>
                <a:gd name="connsiteX687" fmla="*/ 31591 w 118465"/>
                <a:gd name="connsiteY687" fmla="*/ 112260 h 124107"/>
                <a:gd name="connsiteX688" fmla="*/ 33001 w 118465"/>
                <a:gd name="connsiteY688" fmla="*/ 111414 h 124107"/>
                <a:gd name="connsiteX689" fmla="*/ 34694 w 118465"/>
                <a:gd name="connsiteY689" fmla="*/ 110004 h 124107"/>
                <a:gd name="connsiteX690" fmla="*/ 35822 w 118465"/>
                <a:gd name="connsiteY690" fmla="*/ 108876 h 124107"/>
                <a:gd name="connsiteX691" fmla="*/ 37514 w 118465"/>
                <a:gd name="connsiteY691" fmla="*/ 107747 h 124107"/>
                <a:gd name="connsiteX692" fmla="*/ 38643 w 118465"/>
                <a:gd name="connsiteY692" fmla="*/ 106337 h 124107"/>
                <a:gd name="connsiteX693" fmla="*/ 40053 w 118465"/>
                <a:gd name="connsiteY693" fmla="*/ 104645 h 124107"/>
                <a:gd name="connsiteX694" fmla="*/ 41745 w 118465"/>
                <a:gd name="connsiteY694" fmla="*/ 102388 h 124107"/>
                <a:gd name="connsiteX695" fmla="*/ 41745 w 118465"/>
                <a:gd name="connsiteY695" fmla="*/ 101824 h 124107"/>
                <a:gd name="connsiteX696" fmla="*/ 42309 w 118465"/>
                <a:gd name="connsiteY696" fmla="*/ 100978 h 124107"/>
                <a:gd name="connsiteX697" fmla="*/ 42592 w 118465"/>
                <a:gd name="connsiteY697" fmla="*/ 100132 h 124107"/>
                <a:gd name="connsiteX698" fmla="*/ 42592 w 118465"/>
                <a:gd name="connsiteY698" fmla="*/ 99850 h 124107"/>
                <a:gd name="connsiteX699" fmla="*/ 43438 w 118465"/>
                <a:gd name="connsiteY699" fmla="*/ 99568 h 124107"/>
                <a:gd name="connsiteX700" fmla="*/ 43438 w 118465"/>
                <a:gd name="connsiteY700" fmla="*/ 99286 h 124107"/>
                <a:gd name="connsiteX701" fmla="*/ 44566 w 118465"/>
                <a:gd name="connsiteY701" fmla="*/ 97593 h 124107"/>
                <a:gd name="connsiteX702" fmla="*/ 44848 w 118465"/>
                <a:gd name="connsiteY702" fmla="*/ 96465 h 124107"/>
                <a:gd name="connsiteX703" fmla="*/ 45412 w 118465"/>
                <a:gd name="connsiteY703" fmla="*/ 95337 h 124107"/>
                <a:gd name="connsiteX704" fmla="*/ 46540 w 118465"/>
                <a:gd name="connsiteY704" fmla="*/ 93644 h 124107"/>
                <a:gd name="connsiteX705" fmla="*/ 46258 w 118465"/>
                <a:gd name="connsiteY705" fmla="*/ 93080 h 124107"/>
                <a:gd name="connsiteX706" fmla="*/ 46540 w 118465"/>
                <a:gd name="connsiteY706" fmla="*/ 92234 h 124107"/>
                <a:gd name="connsiteX707" fmla="*/ 46540 w 118465"/>
                <a:gd name="connsiteY707" fmla="*/ 91952 h 124107"/>
                <a:gd name="connsiteX708" fmla="*/ 47668 w 118465"/>
                <a:gd name="connsiteY708" fmla="*/ 91388 h 124107"/>
                <a:gd name="connsiteX709" fmla="*/ 47950 w 118465"/>
                <a:gd name="connsiteY709" fmla="*/ 90824 h 124107"/>
                <a:gd name="connsiteX710" fmla="*/ 47950 w 118465"/>
                <a:gd name="connsiteY710" fmla="*/ 89978 h 124107"/>
                <a:gd name="connsiteX711" fmla="*/ 48233 w 118465"/>
                <a:gd name="connsiteY711" fmla="*/ 89131 h 124107"/>
                <a:gd name="connsiteX712" fmla="*/ 48233 w 118465"/>
                <a:gd name="connsiteY712" fmla="*/ 88849 h 124107"/>
                <a:gd name="connsiteX713" fmla="*/ 48797 w 118465"/>
                <a:gd name="connsiteY713" fmla="*/ 87721 h 124107"/>
                <a:gd name="connsiteX714" fmla="*/ 49079 w 118465"/>
                <a:gd name="connsiteY714" fmla="*/ 86875 h 124107"/>
                <a:gd name="connsiteX715" fmla="*/ 49361 w 118465"/>
                <a:gd name="connsiteY715" fmla="*/ 86311 h 124107"/>
                <a:gd name="connsiteX716" fmla="*/ 49361 w 118465"/>
                <a:gd name="connsiteY716" fmla="*/ 85747 h 124107"/>
                <a:gd name="connsiteX717" fmla="*/ 49925 w 118465"/>
                <a:gd name="connsiteY717" fmla="*/ 84336 h 124107"/>
                <a:gd name="connsiteX718" fmla="*/ 49643 w 118465"/>
                <a:gd name="connsiteY718" fmla="*/ 83490 h 124107"/>
                <a:gd name="connsiteX719" fmla="*/ 50207 w 118465"/>
                <a:gd name="connsiteY719" fmla="*/ 83208 h 124107"/>
                <a:gd name="connsiteX720" fmla="*/ 50489 w 118465"/>
                <a:gd name="connsiteY720" fmla="*/ 82644 h 124107"/>
                <a:gd name="connsiteX721" fmla="*/ 50771 w 118465"/>
                <a:gd name="connsiteY721" fmla="*/ 81798 h 124107"/>
                <a:gd name="connsiteX722" fmla="*/ 51335 w 118465"/>
                <a:gd name="connsiteY722" fmla="*/ 81234 h 124107"/>
                <a:gd name="connsiteX723" fmla="*/ 51335 w 118465"/>
                <a:gd name="connsiteY723" fmla="*/ 79823 h 124107"/>
                <a:gd name="connsiteX724" fmla="*/ 51053 w 118465"/>
                <a:gd name="connsiteY724" fmla="*/ 78695 h 124107"/>
                <a:gd name="connsiteX725" fmla="*/ 51053 w 118465"/>
                <a:gd name="connsiteY725" fmla="*/ 78413 h 124107"/>
                <a:gd name="connsiteX726" fmla="*/ 51335 w 118465"/>
                <a:gd name="connsiteY726" fmla="*/ 78131 h 124107"/>
                <a:gd name="connsiteX727" fmla="*/ 51617 w 118465"/>
                <a:gd name="connsiteY727" fmla="*/ 77567 h 124107"/>
                <a:gd name="connsiteX728" fmla="*/ 51899 w 118465"/>
                <a:gd name="connsiteY728" fmla="*/ 77003 h 124107"/>
                <a:gd name="connsiteX729" fmla="*/ 51617 w 118465"/>
                <a:gd name="connsiteY729" fmla="*/ 75875 h 124107"/>
                <a:gd name="connsiteX730" fmla="*/ 51899 w 118465"/>
                <a:gd name="connsiteY730" fmla="*/ 75028 h 124107"/>
                <a:gd name="connsiteX731" fmla="*/ 52464 w 118465"/>
                <a:gd name="connsiteY731" fmla="*/ 74464 h 124107"/>
                <a:gd name="connsiteX732" fmla="*/ 52464 w 118465"/>
                <a:gd name="connsiteY732" fmla="*/ 74182 h 124107"/>
                <a:gd name="connsiteX733" fmla="*/ 52746 w 118465"/>
                <a:gd name="connsiteY733" fmla="*/ 73336 h 124107"/>
                <a:gd name="connsiteX734" fmla="*/ 52746 w 118465"/>
                <a:gd name="connsiteY734" fmla="*/ 73054 h 124107"/>
                <a:gd name="connsiteX735" fmla="*/ 53310 w 118465"/>
                <a:gd name="connsiteY735" fmla="*/ 71079 h 124107"/>
                <a:gd name="connsiteX736" fmla="*/ 53028 w 118465"/>
                <a:gd name="connsiteY736" fmla="*/ 69951 h 124107"/>
                <a:gd name="connsiteX737" fmla="*/ 53310 w 118465"/>
                <a:gd name="connsiteY737" fmla="*/ 69105 h 124107"/>
                <a:gd name="connsiteX738" fmla="*/ 53592 w 118465"/>
                <a:gd name="connsiteY738" fmla="*/ 68259 h 124107"/>
                <a:gd name="connsiteX739" fmla="*/ 53592 w 118465"/>
                <a:gd name="connsiteY739" fmla="*/ 67977 h 124107"/>
                <a:gd name="connsiteX740" fmla="*/ 53310 w 118465"/>
                <a:gd name="connsiteY740" fmla="*/ 66849 h 124107"/>
                <a:gd name="connsiteX741" fmla="*/ 53874 w 118465"/>
                <a:gd name="connsiteY741" fmla="*/ 66002 h 124107"/>
                <a:gd name="connsiteX742" fmla="*/ 53874 w 118465"/>
                <a:gd name="connsiteY742" fmla="*/ 65156 h 124107"/>
                <a:gd name="connsiteX743" fmla="*/ 54156 w 118465"/>
                <a:gd name="connsiteY743" fmla="*/ 64874 h 124107"/>
                <a:gd name="connsiteX744" fmla="*/ 54438 w 118465"/>
                <a:gd name="connsiteY744" fmla="*/ 64028 h 124107"/>
                <a:gd name="connsiteX745" fmla="*/ 54438 w 118465"/>
                <a:gd name="connsiteY745" fmla="*/ 62054 h 124107"/>
                <a:gd name="connsiteX746" fmla="*/ 55002 w 118465"/>
                <a:gd name="connsiteY746" fmla="*/ 61771 h 124107"/>
                <a:gd name="connsiteX747" fmla="*/ 55848 w 118465"/>
                <a:gd name="connsiteY747" fmla="*/ 61207 h 124107"/>
                <a:gd name="connsiteX748" fmla="*/ 55566 w 118465"/>
                <a:gd name="connsiteY748" fmla="*/ 60079 h 124107"/>
                <a:gd name="connsiteX749" fmla="*/ 55848 w 118465"/>
                <a:gd name="connsiteY749" fmla="*/ 59233 h 124107"/>
                <a:gd name="connsiteX750" fmla="*/ 56695 w 118465"/>
                <a:gd name="connsiteY750" fmla="*/ 58105 h 124107"/>
                <a:gd name="connsiteX751" fmla="*/ 56977 w 118465"/>
                <a:gd name="connsiteY751" fmla="*/ 57258 h 124107"/>
                <a:gd name="connsiteX752" fmla="*/ 56977 w 118465"/>
                <a:gd name="connsiteY752" fmla="*/ 56412 h 124107"/>
                <a:gd name="connsiteX753" fmla="*/ 57541 w 118465"/>
                <a:gd name="connsiteY753" fmla="*/ 54720 h 124107"/>
                <a:gd name="connsiteX754" fmla="*/ 56977 w 118465"/>
                <a:gd name="connsiteY754" fmla="*/ 53592 h 124107"/>
                <a:gd name="connsiteX755" fmla="*/ 57823 w 118465"/>
                <a:gd name="connsiteY755" fmla="*/ 52463 h 124107"/>
                <a:gd name="connsiteX756" fmla="*/ 57259 w 118465"/>
                <a:gd name="connsiteY756" fmla="*/ 51617 h 124107"/>
                <a:gd name="connsiteX757" fmla="*/ 57541 w 118465"/>
                <a:gd name="connsiteY757" fmla="*/ 50489 h 124107"/>
                <a:gd name="connsiteX758" fmla="*/ 57541 w 118465"/>
                <a:gd name="connsiteY758" fmla="*/ 50207 h 124107"/>
                <a:gd name="connsiteX759" fmla="*/ 58387 w 118465"/>
                <a:gd name="connsiteY759" fmla="*/ 49361 h 124107"/>
                <a:gd name="connsiteX760" fmla="*/ 58387 w 118465"/>
                <a:gd name="connsiteY760" fmla="*/ 47950 h 124107"/>
                <a:gd name="connsiteX761" fmla="*/ 58105 w 118465"/>
                <a:gd name="connsiteY761" fmla="*/ 47386 h 124107"/>
                <a:gd name="connsiteX762" fmla="*/ 58387 w 118465"/>
                <a:gd name="connsiteY762" fmla="*/ 46258 h 124107"/>
                <a:gd name="connsiteX763" fmla="*/ 58387 w 118465"/>
                <a:gd name="connsiteY763" fmla="*/ 45694 h 124107"/>
                <a:gd name="connsiteX764" fmla="*/ 19180 w 118465"/>
                <a:gd name="connsiteY764" fmla="*/ 85747 h 124107"/>
                <a:gd name="connsiteX765" fmla="*/ 19462 w 118465"/>
                <a:gd name="connsiteY765" fmla="*/ 86311 h 124107"/>
                <a:gd name="connsiteX766" fmla="*/ 20591 w 118465"/>
                <a:gd name="connsiteY766" fmla="*/ 85183 h 124107"/>
                <a:gd name="connsiteX767" fmla="*/ 20309 w 118465"/>
                <a:gd name="connsiteY767" fmla="*/ 84900 h 124107"/>
                <a:gd name="connsiteX768" fmla="*/ 20027 w 118465"/>
                <a:gd name="connsiteY768" fmla="*/ 84618 h 124107"/>
                <a:gd name="connsiteX769" fmla="*/ 19462 w 118465"/>
                <a:gd name="connsiteY769" fmla="*/ 85183 h 124107"/>
                <a:gd name="connsiteX770" fmla="*/ 19180 w 118465"/>
                <a:gd name="connsiteY770" fmla="*/ 85747 h 124107"/>
                <a:gd name="connsiteX771" fmla="*/ 37232 w 118465"/>
                <a:gd name="connsiteY771" fmla="*/ 124953 h 124107"/>
                <a:gd name="connsiteX772" fmla="*/ 36668 w 118465"/>
                <a:gd name="connsiteY772" fmla="*/ 124671 h 124107"/>
                <a:gd name="connsiteX773" fmla="*/ 35822 w 118465"/>
                <a:gd name="connsiteY773" fmla="*/ 125235 h 124107"/>
                <a:gd name="connsiteX774" fmla="*/ 35822 w 118465"/>
                <a:gd name="connsiteY774" fmla="*/ 125517 h 124107"/>
                <a:gd name="connsiteX775" fmla="*/ 37232 w 118465"/>
                <a:gd name="connsiteY775" fmla="*/ 124953 h 124107"/>
                <a:gd name="connsiteX776" fmla="*/ 54156 w 118465"/>
                <a:gd name="connsiteY776" fmla="*/ 113953 h 124107"/>
                <a:gd name="connsiteX777" fmla="*/ 54720 w 118465"/>
                <a:gd name="connsiteY777" fmla="*/ 114235 h 124107"/>
                <a:gd name="connsiteX778" fmla="*/ 54438 w 118465"/>
                <a:gd name="connsiteY778" fmla="*/ 114517 h 124107"/>
                <a:gd name="connsiteX779" fmla="*/ 54156 w 118465"/>
                <a:gd name="connsiteY779" fmla="*/ 114517 h 124107"/>
                <a:gd name="connsiteX780" fmla="*/ 52746 w 118465"/>
                <a:gd name="connsiteY780" fmla="*/ 116491 h 124107"/>
                <a:gd name="connsiteX781" fmla="*/ 52464 w 118465"/>
                <a:gd name="connsiteY781" fmla="*/ 116491 h 124107"/>
                <a:gd name="connsiteX782" fmla="*/ 51617 w 118465"/>
                <a:gd name="connsiteY782" fmla="*/ 115645 h 124107"/>
                <a:gd name="connsiteX783" fmla="*/ 51617 w 118465"/>
                <a:gd name="connsiteY783" fmla="*/ 115363 h 124107"/>
                <a:gd name="connsiteX784" fmla="*/ 53874 w 118465"/>
                <a:gd name="connsiteY784" fmla="*/ 113671 h 124107"/>
                <a:gd name="connsiteX785" fmla="*/ 54156 w 118465"/>
                <a:gd name="connsiteY785" fmla="*/ 113953 h 124107"/>
                <a:gd name="connsiteX786" fmla="*/ 58105 w 118465"/>
                <a:gd name="connsiteY786" fmla="*/ 33565 h 124107"/>
                <a:gd name="connsiteX787" fmla="*/ 57541 w 118465"/>
                <a:gd name="connsiteY787" fmla="*/ 33283 h 124107"/>
                <a:gd name="connsiteX788" fmla="*/ 56977 w 118465"/>
                <a:gd name="connsiteY788" fmla="*/ 33847 h 124107"/>
                <a:gd name="connsiteX789" fmla="*/ 56977 w 118465"/>
                <a:gd name="connsiteY789" fmla="*/ 34976 h 124107"/>
                <a:gd name="connsiteX790" fmla="*/ 58105 w 118465"/>
                <a:gd name="connsiteY790" fmla="*/ 34411 h 124107"/>
                <a:gd name="connsiteX791" fmla="*/ 58105 w 118465"/>
                <a:gd name="connsiteY791" fmla="*/ 33565 h 124107"/>
                <a:gd name="connsiteX792" fmla="*/ 61772 w 118465"/>
                <a:gd name="connsiteY792" fmla="*/ 104927 h 124107"/>
                <a:gd name="connsiteX793" fmla="*/ 62336 w 118465"/>
                <a:gd name="connsiteY793" fmla="*/ 105491 h 124107"/>
                <a:gd name="connsiteX794" fmla="*/ 62618 w 118465"/>
                <a:gd name="connsiteY794" fmla="*/ 105773 h 124107"/>
                <a:gd name="connsiteX795" fmla="*/ 60643 w 118465"/>
                <a:gd name="connsiteY795" fmla="*/ 108030 h 124107"/>
                <a:gd name="connsiteX796" fmla="*/ 60079 w 118465"/>
                <a:gd name="connsiteY796" fmla="*/ 108312 h 124107"/>
                <a:gd name="connsiteX797" fmla="*/ 60079 w 118465"/>
                <a:gd name="connsiteY797" fmla="*/ 108876 h 124107"/>
                <a:gd name="connsiteX798" fmla="*/ 59515 w 118465"/>
                <a:gd name="connsiteY798" fmla="*/ 110286 h 124107"/>
                <a:gd name="connsiteX799" fmla="*/ 58669 w 118465"/>
                <a:gd name="connsiteY799" fmla="*/ 110850 h 124107"/>
                <a:gd name="connsiteX800" fmla="*/ 58669 w 118465"/>
                <a:gd name="connsiteY800" fmla="*/ 111132 h 124107"/>
                <a:gd name="connsiteX801" fmla="*/ 57541 w 118465"/>
                <a:gd name="connsiteY801" fmla="*/ 110850 h 124107"/>
                <a:gd name="connsiteX802" fmla="*/ 57823 w 118465"/>
                <a:gd name="connsiteY802" fmla="*/ 110850 h 124107"/>
                <a:gd name="connsiteX803" fmla="*/ 58387 w 118465"/>
                <a:gd name="connsiteY803" fmla="*/ 109722 h 124107"/>
                <a:gd name="connsiteX804" fmla="*/ 58387 w 118465"/>
                <a:gd name="connsiteY804" fmla="*/ 108312 h 124107"/>
                <a:gd name="connsiteX805" fmla="*/ 59515 w 118465"/>
                <a:gd name="connsiteY805" fmla="*/ 106055 h 124107"/>
                <a:gd name="connsiteX806" fmla="*/ 60079 w 118465"/>
                <a:gd name="connsiteY806" fmla="*/ 105773 h 124107"/>
                <a:gd name="connsiteX807" fmla="*/ 60643 w 118465"/>
                <a:gd name="connsiteY807" fmla="*/ 106055 h 124107"/>
                <a:gd name="connsiteX808" fmla="*/ 61208 w 118465"/>
                <a:gd name="connsiteY808" fmla="*/ 105773 h 124107"/>
                <a:gd name="connsiteX809" fmla="*/ 60926 w 118465"/>
                <a:gd name="connsiteY809" fmla="*/ 105491 h 124107"/>
                <a:gd name="connsiteX810" fmla="*/ 61772 w 118465"/>
                <a:gd name="connsiteY810" fmla="*/ 104927 h 124107"/>
                <a:gd name="connsiteX811" fmla="*/ 59515 w 118465"/>
                <a:gd name="connsiteY811" fmla="*/ 49925 h 124107"/>
                <a:gd name="connsiteX812" fmla="*/ 59515 w 118465"/>
                <a:gd name="connsiteY812" fmla="*/ 50207 h 124107"/>
                <a:gd name="connsiteX813" fmla="*/ 60079 w 118465"/>
                <a:gd name="connsiteY813" fmla="*/ 49925 h 124107"/>
                <a:gd name="connsiteX814" fmla="*/ 59515 w 118465"/>
                <a:gd name="connsiteY814" fmla="*/ 49925 h 124107"/>
                <a:gd name="connsiteX815" fmla="*/ 60079 w 118465"/>
                <a:gd name="connsiteY815" fmla="*/ 43720 h 124107"/>
                <a:gd name="connsiteX816" fmla="*/ 60079 w 118465"/>
                <a:gd name="connsiteY816" fmla="*/ 44284 h 124107"/>
                <a:gd name="connsiteX817" fmla="*/ 60361 w 118465"/>
                <a:gd name="connsiteY817" fmla="*/ 44566 h 124107"/>
                <a:gd name="connsiteX818" fmla="*/ 60926 w 118465"/>
                <a:gd name="connsiteY818" fmla="*/ 44284 h 124107"/>
                <a:gd name="connsiteX819" fmla="*/ 60643 w 118465"/>
                <a:gd name="connsiteY819" fmla="*/ 43155 h 124107"/>
                <a:gd name="connsiteX820" fmla="*/ 60079 w 118465"/>
                <a:gd name="connsiteY820" fmla="*/ 43720 h 124107"/>
                <a:gd name="connsiteX821" fmla="*/ 60079 w 118465"/>
                <a:gd name="connsiteY821" fmla="*/ 47668 h 124107"/>
                <a:gd name="connsiteX822" fmla="*/ 60643 w 118465"/>
                <a:gd name="connsiteY822" fmla="*/ 47950 h 124107"/>
                <a:gd name="connsiteX823" fmla="*/ 60361 w 118465"/>
                <a:gd name="connsiteY823" fmla="*/ 47668 h 124107"/>
                <a:gd name="connsiteX824" fmla="*/ 60361 w 118465"/>
                <a:gd name="connsiteY824" fmla="*/ 47386 h 124107"/>
                <a:gd name="connsiteX825" fmla="*/ 60079 w 118465"/>
                <a:gd name="connsiteY825" fmla="*/ 47668 h 124107"/>
                <a:gd name="connsiteX826" fmla="*/ 61490 w 118465"/>
                <a:gd name="connsiteY826" fmla="*/ 29899 h 124107"/>
                <a:gd name="connsiteX827" fmla="*/ 60361 w 118465"/>
                <a:gd name="connsiteY827" fmla="*/ 28770 h 124107"/>
                <a:gd name="connsiteX828" fmla="*/ 60361 w 118465"/>
                <a:gd name="connsiteY828" fmla="*/ 29899 h 124107"/>
                <a:gd name="connsiteX829" fmla="*/ 60926 w 118465"/>
                <a:gd name="connsiteY829" fmla="*/ 30181 h 124107"/>
                <a:gd name="connsiteX830" fmla="*/ 61490 w 118465"/>
                <a:gd name="connsiteY830" fmla="*/ 29899 h 124107"/>
                <a:gd name="connsiteX831" fmla="*/ 62054 w 118465"/>
                <a:gd name="connsiteY831" fmla="*/ 96183 h 124107"/>
                <a:gd name="connsiteX832" fmla="*/ 61772 w 118465"/>
                <a:gd name="connsiteY832" fmla="*/ 95619 h 124107"/>
                <a:gd name="connsiteX833" fmla="*/ 61208 w 118465"/>
                <a:gd name="connsiteY833" fmla="*/ 95901 h 124107"/>
                <a:gd name="connsiteX834" fmla="*/ 60643 w 118465"/>
                <a:gd name="connsiteY834" fmla="*/ 97311 h 124107"/>
                <a:gd name="connsiteX835" fmla="*/ 60361 w 118465"/>
                <a:gd name="connsiteY835" fmla="*/ 97593 h 124107"/>
                <a:gd name="connsiteX836" fmla="*/ 60926 w 118465"/>
                <a:gd name="connsiteY836" fmla="*/ 98157 h 124107"/>
                <a:gd name="connsiteX837" fmla="*/ 61772 w 118465"/>
                <a:gd name="connsiteY837" fmla="*/ 97593 h 124107"/>
                <a:gd name="connsiteX838" fmla="*/ 62054 w 118465"/>
                <a:gd name="connsiteY838" fmla="*/ 96183 h 124107"/>
                <a:gd name="connsiteX839" fmla="*/ 64310 w 118465"/>
                <a:gd name="connsiteY839" fmla="*/ 94773 h 124107"/>
                <a:gd name="connsiteX840" fmla="*/ 64028 w 118465"/>
                <a:gd name="connsiteY840" fmla="*/ 94491 h 124107"/>
                <a:gd name="connsiteX841" fmla="*/ 64028 w 118465"/>
                <a:gd name="connsiteY841" fmla="*/ 93644 h 124107"/>
                <a:gd name="connsiteX842" fmla="*/ 64310 w 118465"/>
                <a:gd name="connsiteY842" fmla="*/ 92516 h 124107"/>
                <a:gd name="connsiteX843" fmla="*/ 64310 w 118465"/>
                <a:gd name="connsiteY843" fmla="*/ 91670 h 124107"/>
                <a:gd name="connsiteX844" fmla="*/ 63746 w 118465"/>
                <a:gd name="connsiteY844" fmla="*/ 91106 h 124107"/>
                <a:gd name="connsiteX845" fmla="*/ 63746 w 118465"/>
                <a:gd name="connsiteY845" fmla="*/ 90824 h 124107"/>
                <a:gd name="connsiteX846" fmla="*/ 63464 w 118465"/>
                <a:gd name="connsiteY846" fmla="*/ 91106 h 124107"/>
                <a:gd name="connsiteX847" fmla="*/ 63182 w 118465"/>
                <a:gd name="connsiteY847" fmla="*/ 91670 h 124107"/>
                <a:gd name="connsiteX848" fmla="*/ 62618 w 118465"/>
                <a:gd name="connsiteY848" fmla="*/ 93080 h 124107"/>
                <a:gd name="connsiteX849" fmla="*/ 62336 w 118465"/>
                <a:gd name="connsiteY849" fmla="*/ 93644 h 124107"/>
                <a:gd name="connsiteX850" fmla="*/ 62900 w 118465"/>
                <a:gd name="connsiteY850" fmla="*/ 94491 h 124107"/>
                <a:gd name="connsiteX851" fmla="*/ 64310 w 118465"/>
                <a:gd name="connsiteY851" fmla="*/ 95337 h 124107"/>
                <a:gd name="connsiteX852" fmla="*/ 64874 w 118465"/>
                <a:gd name="connsiteY852" fmla="*/ 95619 h 124107"/>
                <a:gd name="connsiteX853" fmla="*/ 65438 w 118465"/>
                <a:gd name="connsiteY853" fmla="*/ 95619 h 124107"/>
                <a:gd name="connsiteX854" fmla="*/ 64310 w 118465"/>
                <a:gd name="connsiteY854" fmla="*/ 94773 h 124107"/>
                <a:gd name="connsiteX855" fmla="*/ 65438 w 118465"/>
                <a:gd name="connsiteY855" fmla="*/ 35822 h 124107"/>
                <a:gd name="connsiteX856" fmla="*/ 65156 w 118465"/>
                <a:gd name="connsiteY856" fmla="*/ 36386 h 124107"/>
                <a:gd name="connsiteX857" fmla="*/ 64592 w 118465"/>
                <a:gd name="connsiteY857" fmla="*/ 36668 h 124107"/>
                <a:gd name="connsiteX858" fmla="*/ 64310 w 118465"/>
                <a:gd name="connsiteY858" fmla="*/ 36386 h 124107"/>
                <a:gd name="connsiteX859" fmla="*/ 64874 w 118465"/>
                <a:gd name="connsiteY859" fmla="*/ 35822 h 124107"/>
                <a:gd name="connsiteX860" fmla="*/ 64592 w 118465"/>
                <a:gd name="connsiteY860" fmla="*/ 35258 h 124107"/>
                <a:gd name="connsiteX861" fmla="*/ 64874 w 118465"/>
                <a:gd name="connsiteY861" fmla="*/ 34976 h 124107"/>
                <a:gd name="connsiteX862" fmla="*/ 64874 w 118465"/>
                <a:gd name="connsiteY862" fmla="*/ 35258 h 124107"/>
                <a:gd name="connsiteX863" fmla="*/ 65438 w 118465"/>
                <a:gd name="connsiteY863" fmla="*/ 35822 h 124107"/>
                <a:gd name="connsiteX864" fmla="*/ 67695 w 118465"/>
                <a:gd name="connsiteY864" fmla="*/ 87157 h 124107"/>
                <a:gd name="connsiteX865" fmla="*/ 67695 w 118465"/>
                <a:gd name="connsiteY865" fmla="*/ 88003 h 124107"/>
                <a:gd name="connsiteX866" fmla="*/ 66849 w 118465"/>
                <a:gd name="connsiteY866" fmla="*/ 88003 h 124107"/>
                <a:gd name="connsiteX867" fmla="*/ 65720 w 118465"/>
                <a:gd name="connsiteY867" fmla="*/ 86875 h 124107"/>
                <a:gd name="connsiteX868" fmla="*/ 66567 w 118465"/>
                <a:gd name="connsiteY868" fmla="*/ 85183 h 124107"/>
                <a:gd name="connsiteX869" fmla="*/ 66567 w 118465"/>
                <a:gd name="connsiteY869" fmla="*/ 85465 h 124107"/>
                <a:gd name="connsiteX870" fmla="*/ 66849 w 118465"/>
                <a:gd name="connsiteY870" fmla="*/ 85747 h 124107"/>
                <a:gd name="connsiteX871" fmla="*/ 67695 w 118465"/>
                <a:gd name="connsiteY871" fmla="*/ 87157 h 124107"/>
                <a:gd name="connsiteX872" fmla="*/ 66002 w 118465"/>
                <a:gd name="connsiteY872" fmla="*/ 93080 h 124107"/>
                <a:gd name="connsiteX873" fmla="*/ 66284 w 118465"/>
                <a:gd name="connsiteY873" fmla="*/ 93362 h 124107"/>
                <a:gd name="connsiteX874" fmla="*/ 66567 w 118465"/>
                <a:gd name="connsiteY874" fmla="*/ 93362 h 124107"/>
                <a:gd name="connsiteX875" fmla="*/ 66849 w 118465"/>
                <a:gd name="connsiteY875" fmla="*/ 93080 h 124107"/>
                <a:gd name="connsiteX876" fmla="*/ 66284 w 118465"/>
                <a:gd name="connsiteY876" fmla="*/ 92516 h 124107"/>
                <a:gd name="connsiteX877" fmla="*/ 66002 w 118465"/>
                <a:gd name="connsiteY877" fmla="*/ 93080 h 124107"/>
                <a:gd name="connsiteX878" fmla="*/ 66567 w 118465"/>
                <a:gd name="connsiteY878" fmla="*/ 69669 h 124107"/>
                <a:gd name="connsiteX879" fmla="*/ 66849 w 118465"/>
                <a:gd name="connsiteY879" fmla="*/ 68823 h 124107"/>
                <a:gd name="connsiteX880" fmla="*/ 67413 w 118465"/>
                <a:gd name="connsiteY880" fmla="*/ 67977 h 124107"/>
                <a:gd name="connsiteX881" fmla="*/ 68259 w 118465"/>
                <a:gd name="connsiteY881" fmla="*/ 68259 h 124107"/>
                <a:gd name="connsiteX882" fmla="*/ 68259 w 118465"/>
                <a:gd name="connsiteY882" fmla="*/ 69669 h 124107"/>
                <a:gd name="connsiteX883" fmla="*/ 67977 w 118465"/>
                <a:gd name="connsiteY883" fmla="*/ 71362 h 124107"/>
                <a:gd name="connsiteX884" fmla="*/ 67131 w 118465"/>
                <a:gd name="connsiteY884" fmla="*/ 71362 h 124107"/>
                <a:gd name="connsiteX885" fmla="*/ 67131 w 118465"/>
                <a:gd name="connsiteY885" fmla="*/ 71079 h 124107"/>
                <a:gd name="connsiteX886" fmla="*/ 66567 w 118465"/>
                <a:gd name="connsiteY886" fmla="*/ 69669 h 124107"/>
                <a:gd name="connsiteX887" fmla="*/ 67413 w 118465"/>
                <a:gd name="connsiteY887" fmla="*/ 58105 h 124107"/>
                <a:gd name="connsiteX888" fmla="*/ 67131 w 118465"/>
                <a:gd name="connsiteY888" fmla="*/ 57258 h 124107"/>
                <a:gd name="connsiteX889" fmla="*/ 67413 w 118465"/>
                <a:gd name="connsiteY889" fmla="*/ 56976 h 124107"/>
                <a:gd name="connsiteX890" fmla="*/ 68259 w 118465"/>
                <a:gd name="connsiteY890" fmla="*/ 55566 h 124107"/>
                <a:gd name="connsiteX891" fmla="*/ 68823 w 118465"/>
                <a:gd name="connsiteY891" fmla="*/ 55284 h 124107"/>
                <a:gd name="connsiteX892" fmla="*/ 69105 w 118465"/>
                <a:gd name="connsiteY892" fmla="*/ 55566 h 124107"/>
                <a:gd name="connsiteX893" fmla="*/ 68823 w 118465"/>
                <a:gd name="connsiteY893" fmla="*/ 56694 h 124107"/>
                <a:gd name="connsiteX894" fmla="*/ 68823 w 118465"/>
                <a:gd name="connsiteY894" fmla="*/ 57258 h 124107"/>
                <a:gd name="connsiteX895" fmla="*/ 69105 w 118465"/>
                <a:gd name="connsiteY895" fmla="*/ 58105 h 124107"/>
                <a:gd name="connsiteX896" fmla="*/ 69105 w 118465"/>
                <a:gd name="connsiteY896" fmla="*/ 58387 h 124107"/>
                <a:gd name="connsiteX897" fmla="*/ 67413 w 118465"/>
                <a:gd name="connsiteY897" fmla="*/ 59233 h 124107"/>
                <a:gd name="connsiteX898" fmla="*/ 67131 w 118465"/>
                <a:gd name="connsiteY898" fmla="*/ 59515 h 124107"/>
                <a:gd name="connsiteX899" fmla="*/ 67131 w 118465"/>
                <a:gd name="connsiteY899" fmla="*/ 59233 h 124107"/>
                <a:gd name="connsiteX900" fmla="*/ 67413 w 118465"/>
                <a:gd name="connsiteY900" fmla="*/ 58105 h 124107"/>
                <a:gd name="connsiteX901" fmla="*/ 70515 w 118465"/>
                <a:gd name="connsiteY901" fmla="*/ 53028 h 124107"/>
                <a:gd name="connsiteX902" fmla="*/ 69387 w 118465"/>
                <a:gd name="connsiteY902" fmla="*/ 53592 h 124107"/>
                <a:gd name="connsiteX903" fmla="*/ 69105 w 118465"/>
                <a:gd name="connsiteY903" fmla="*/ 53592 h 124107"/>
                <a:gd name="connsiteX904" fmla="*/ 68541 w 118465"/>
                <a:gd name="connsiteY904" fmla="*/ 53028 h 124107"/>
                <a:gd name="connsiteX905" fmla="*/ 67695 w 118465"/>
                <a:gd name="connsiteY905" fmla="*/ 52463 h 124107"/>
                <a:gd name="connsiteX906" fmla="*/ 68541 w 118465"/>
                <a:gd name="connsiteY906" fmla="*/ 51617 h 124107"/>
                <a:gd name="connsiteX907" fmla="*/ 70515 w 118465"/>
                <a:gd name="connsiteY907" fmla="*/ 53028 h 124107"/>
                <a:gd name="connsiteX908" fmla="*/ 73054 w 118465"/>
                <a:gd name="connsiteY908" fmla="*/ 69387 h 124107"/>
                <a:gd name="connsiteX909" fmla="*/ 73618 w 118465"/>
                <a:gd name="connsiteY909" fmla="*/ 71362 h 124107"/>
                <a:gd name="connsiteX910" fmla="*/ 73054 w 118465"/>
                <a:gd name="connsiteY910" fmla="*/ 71644 h 124107"/>
                <a:gd name="connsiteX911" fmla="*/ 72490 w 118465"/>
                <a:gd name="connsiteY911" fmla="*/ 72490 h 124107"/>
                <a:gd name="connsiteX912" fmla="*/ 73054 w 118465"/>
                <a:gd name="connsiteY912" fmla="*/ 74182 h 124107"/>
                <a:gd name="connsiteX913" fmla="*/ 73336 w 118465"/>
                <a:gd name="connsiteY913" fmla="*/ 74464 h 124107"/>
                <a:gd name="connsiteX914" fmla="*/ 73054 w 118465"/>
                <a:gd name="connsiteY914" fmla="*/ 74746 h 124107"/>
                <a:gd name="connsiteX915" fmla="*/ 73054 w 118465"/>
                <a:gd name="connsiteY915" fmla="*/ 75592 h 124107"/>
                <a:gd name="connsiteX916" fmla="*/ 72772 w 118465"/>
                <a:gd name="connsiteY916" fmla="*/ 75875 h 124107"/>
                <a:gd name="connsiteX917" fmla="*/ 72490 w 118465"/>
                <a:gd name="connsiteY917" fmla="*/ 76439 h 124107"/>
                <a:gd name="connsiteX918" fmla="*/ 72490 w 118465"/>
                <a:gd name="connsiteY918" fmla="*/ 76721 h 124107"/>
                <a:gd name="connsiteX919" fmla="*/ 71644 w 118465"/>
                <a:gd name="connsiteY919" fmla="*/ 78131 h 124107"/>
                <a:gd name="connsiteX920" fmla="*/ 71362 w 118465"/>
                <a:gd name="connsiteY920" fmla="*/ 78413 h 124107"/>
                <a:gd name="connsiteX921" fmla="*/ 71644 w 118465"/>
                <a:gd name="connsiteY921" fmla="*/ 78695 h 124107"/>
                <a:gd name="connsiteX922" fmla="*/ 72772 w 118465"/>
                <a:gd name="connsiteY922" fmla="*/ 79259 h 124107"/>
                <a:gd name="connsiteX923" fmla="*/ 73054 w 118465"/>
                <a:gd name="connsiteY923" fmla="*/ 79823 h 124107"/>
                <a:gd name="connsiteX924" fmla="*/ 72772 w 118465"/>
                <a:gd name="connsiteY924" fmla="*/ 80388 h 124107"/>
                <a:gd name="connsiteX925" fmla="*/ 72772 w 118465"/>
                <a:gd name="connsiteY925" fmla="*/ 80670 h 124107"/>
                <a:gd name="connsiteX926" fmla="*/ 72490 w 118465"/>
                <a:gd name="connsiteY926" fmla="*/ 81798 h 124107"/>
                <a:gd name="connsiteX927" fmla="*/ 71644 w 118465"/>
                <a:gd name="connsiteY927" fmla="*/ 82926 h 124107"/>
                <a:gd name="connsiteX928" fmla="*/ 70233 w 118465"/>
                <a:gd name="connsiteY928" fmla="*/ 85183 h 124107"/>
                <a:gd name="connsiteX929" fmla="*/ 69951 w 118465"/>
                <a:gd name="connsiteY929" fmla="*/ 85465 h 124107"/>
                <a:gd name="connsiteX930" fmla="*/ 69669 w 118465"/>
                <a:gd name="connsiteY930" fmla="*/ 85465 h 124107"/>
                <a:gd name="connsiteX931" fmla="*/ 69951 w 118465"/>
                <a:gd name="connsiteY931" fmla="*/ 85183 h 124107"/>
                <a:gd name="connsiteX932" fmla="*/ 69951 w 118465"/>
                <a:gd name="connsiteY932" fmla="*/ 84618 h 124107"/>
                <a:gd name="connsiteX933" fmla="*/ 69669 w 118465"/>
                <a:gd name="connsiteY933" fmla="*/ 83772 h 124107"/>
                <a:gd name="connsiteX934" fmla="*/ 70233 w 118465"/>
                <a:gd name="connsiteY934" fmla="*/ 82926 h 124107"/>
                <a:gd name="connsiteX935" fmla="*/ 69951 w 118465"/>
                <a:gd name="connsiteY935" fmla="*/ 81798 h 124107"/>
                <a:gd name="connsiteX936" fmla="*/ 69669 w 118465"/>
                <a:gd name="connsiteY936" fmla="*/ 81234 h 124107"/>
                <a:gd name="connsiteX937" fmla="*/ 69951 w 118465"/>
                <a:gd name="connsiteY937" fmla="*/ 80670 h 124107"/>
                <a:gd name="connsiteX938" fmla="*/ 70233 w 118465"/>
                <a:gd name="connsiteY938" fmla="*/ 80670 h 124107"/>
                <a:gd name="connsiteX939" fmla="*/ 70515 w 118465"/>
                <a:gd name="connsiteY939" fmla="*/ 80105 h 124107"/>
                <a:gd name="connsiteX940" fmla="*/ 69387 w 118465"/>
                <a:gd name="connsiteY940" fmla="*/ 78695 h 124107"/>
                <a:gd name="connsiteX941" fmla="*/ 69105 w 118465"/>
                <a:gd name="connsiteY941" fmla="*/ 78413 h 124107"/>
                <a:gd name="connsiteX942" fmla="*/ 69387 w 118465"/>
                <a:gd name="connsiteY942" fmla="*/ 77849 h 124107"/>
                <a:gd name="connsiteX943" fmla="*/ 70515 w 118465"/>
                <a:gd name="connsiteY943" fmla="*/ 76721 h 124107"/>
                <a:gd name="connsiteX944" fmla="*/ 70233 w 118465"/>
                <a:gd name="connsiteY944" fmla="*/ 76157 h 124107"/>
                <a:gd name="connsiteX945" fmla="*/ 69951 w 118465"/>
                <a:gd name="connsiteY945" fmla="*/ 75592 h 124107"/>
                <a:gd name="connsiteX946" fmla="*/ 70233 w 118465"/>
                <a:gd name="connsiteY946" fmla="*/ 75592 h 124107"/>
                <a:gd name="connsiteX947" fmla="*/ 70515 w 118465"/>
                <a:gd name="connsiteY947" fmla="*/ 75310 h 124107"/>
                <a:gd name="connsiteX948" fmla="*/ 71080 w 118465"/>
                <a:gd name="connsiteY948" fmla="*/ 74746 h 124107"/>
                <a:gd name="connsiteX949" fmla="*/ 70515 w 118465"/>
                <a:gd name="connsiteY949" fmla="*/ 74182 h 124107"/>
                <a:gd name="connsiteX950" fmla="*/ 70233 w 118465"/>
                <a:gd name="connsiteY950" fmla="*/ 73336 h 124107"/>
                <a:gd name="connsiteX951" fmla="*/ 70515 w 118465"/>
                <a:gd name="connsiteY951" fmla="*/ 72208 h 124107"/>
                <a:gd name="connsiteX952" fmla="*/ 70798 w 118465"/>
                <a:gd name="connsiteY952" fmla="*/ 71926 h 124107"/>
                <a:gd name="connsiteX953" fmla="*/ 71080 w 118465"/>
                <a:gd name="connsiteY953" fmla="*/ 71362 h 124107"/>
                <a:gd name="connsiteX954" fmla="*/ 71362 w 118465"/>
                <a:gd name="connsiteY954" fmla="*/ 71644 h 124107"/>
                <a:gd name="connsiteX955" fmla="*/ 72490 w 118465"/>
                <a:gd name="connsiteY955" fmla="*/ 70797 h 124107"/>
                <a:gd name="connsiteX956" fmla="*/ 72208 w 118465"/>
                <a:gd name="connsiteY956" fmla="*/ 69951 h 124107"/>
                <a:gd name="connsiteX957" fmla="*/ 72208 w 118465"/>
                <a:gd name="connsiteY957" fmla="*/ 69105 h 124107"/>
                <a:gd name="connsiteX958" fmla="*/ 72772 w 118465"/>
                <a:gd name="connsiteY958" fmla="*/ 69387 h 124107"/>
                <a:gd name="connsiteX959" fmla="*/ 73054 w 118465"/>
                <a:gd name="connsiteY959" fmla="*/ 69387 h 124107"/>
                <a:gd name="connsiteX960" fmla="*/ 69951 w 118465"/>
                <a:gd name="connsiteY960" fmla="*/ 41745 h 124107"/>
                <a:gd name="connsiteX961" fmla="*/ 70233 w 118465"/>
                <a:gd name="connsiteY961" fmla="*/ 42309 h 124107"/>
                <a:gd name="connsiteX962" fmla="*/ 69669 w 118465"/>
                <a:gd name="connsiteY962" fmla="*/ 42873 h 124107"/>
                <a:gd name="connsiteX963" fmla="*/ 69669 w 118465"/>
                <a:gd name="connsiteY963" fmla="*/ 41463 h 124107"/>
                <a:gd name="connsiteX964" fmla="*/ 69951 w 118465"/>
                <a:gd name="connsiteY964" fmla="*/ 41745 h 124107"/>
                <a:gd name="connsiteX965" fmla="*/ 74746 w 118465"/>
                <a:gd name="connsiteY965" fmla="*/ 51617 h 124107"/>
                <a:gd name="connsiteX966" fmla="*/ 74746 w 118465"/>
                <a:gd name="connsiteY966" fmla="*/ 52181 h 124107"/>
                <a:gd name="connsiteX967" fmla="*/ 74182 w 118465"/>
                <a:gd name="connsiteY967" fmla="*/ 53592 h 124107"/>
                <a:gd name="connsiteX968" fmla="*/ 74464 w 118465"/>
                <a:gd name="connsiteY968" fmla="*/ 54720 h 124107"/>
                <a:gd name="connsiteX969" fmla="*/ 73900 w 118465"/>
                <a:gd name="connsiteY969" fmla="*/ 56130 h 124107"/>
                <a:gd name="connsiteX970" fmla="*/ 73618 w 118465"/>
                <a:gd name="connsiteY970" fmla="*/ 56694 h 124107"/>
                <a:gd name="connsiteX971" fmla="*/ 74182 w 118465"/>
                <a:gd name="connsiteY971" fmla="*/ 57541 h 124107"/>
                <a:gd name="connsiteX972" fmla="*/ 74182 w 118465"/>
                <a:gd name="connsiteY972" fmla="*/ 58669 h 124107"/>
                <a:gd name="connsiteX973" fmla="*/ 73618 w 118465"/>
                <a:gd name="connsiteY973" fmla="*/ 59515 h 124107"/>
                <a:gd name="connsiteX974" fmla="*/ 72490 w 118465"/>
                <a:gd name="connsiteY974" fmla="*/ 58951 h 124107"/>
                <a:gd name="connsiteX975" fmla="*/ 73336 w 118465"/>
                <a:gd name="connsiteY975" fmla="*/ 58105 h 124107"/>
                <a:gd name="connsiteX976" fmla="*/ 73618 w 118465"/>
                <a:gd name="connsiteY976" fmla="*/ 57541 h 124107"/>
                <a:gd name="connsiteX977" fmla="*/ 72772 w 118465"/>
                <a:gd name="connsiteY977" fmla="*/ 56694 h 124107"/>
                <a:gd name="connsiteX978" fmla="*/ 73336 w 118465"/>
                <a:gd name="connsiteY978" fmla="*/ 56130 h 124107"/>
                <a:gd name="connsiteX979" fmla="*/ 73054 w 118465"/>
                <a:gd name="connsiteY979" fmla="*/ 55284 h 124107"/>
                <a:gd name="connsiteX980" fmla="*/ 73054 w 118465"/>
                <a:gd name="connsiteY980" fmla="*/ 55002 h 124107"/>
                <a:gd name="connsiteX981" fmla="*/ 72490 w 118465"/>
                <a:gd name="connsiteY981" fmla="*/ 53592 h 124107"/>
                <a:gd name="connsiteX982" fmla="*/ 73054 w 118465"/>
                <a:gd name="connsiteY982" fmla="*/ 52745 h 124107"/>
                <a:gd name="connsiteX983" fmla="*/ 73336 w 118465"/>
                <a:gd name="connsiteY983" fmla="*/ 52181 h 124107"/>
                <a:gd name="connsiteX984" fmla="*/ 72772 w 118465"/>
                <a:gd name="connsiteY984" fmla="*/ 51617 h 124107"/>
                <a:gd name="connsiteX985" fmla="*/ 72772 w 118465"/>
                <a:gd name="connsiteY985" fmla="*/ 51053 h 124107"/>
                <a:gd name="connsiteX986" fmla="*/ 73336 w 118465"/>
                <a:gd name="connsiteY986" fmla="*/ 49925 h 124107"/>
                <a:gd name="connsiteX987" fmla="*/ 74182 w 118465"/>
                <a:gd name="connsiteY987" fmla="*/ 49643 h 124107"/>
                <a:gd name="connsiteX988" fmla="*/ 74464 w 118465"/>
                <a:gd name="connsiteY988" fmla="*/ 50207 h 124107"/>
                <a:gd name="connsiteX989" fmla="*/ 74746 w 118465"/>
                <a:gd name="connsiteY989" fmla="*/ 51617 h 124107"/>
                <a:gd name="connsiteX990" fmla="*/ 73618 w 118465"/>
                <a:gd name="connsiteY990" fmla="*/ 60643 h 124107"/>
                <a:gd name="connsiteX991" fmla="*/ 73618 w 118465"/>
                <a:gd name="connsiteY991" fmla="*/ 61207 h 124107"/>
                <a:gd name="connsiteX992" fmla="*/ 73336 w 118465"/>
                <a:gd name="connsiteY992" fmla="*/ 61489 h 124107"/>
                <a:gd name="connsiteX993" fmla="*/ 72490 w 118465"/>
                <a:gd name="connsiteY993" fmla="*/ 61771 h 124107"/>
                <a:gd name="connsiteX994" fmla="*/ 72490 w 118465"/>
                <a:gd name="connsiteY994" fmla="*/ 60643 h 124107"/>
                <a:gd name="connsiteX995" fmla="*/ 72772 w 118465"/>
                <a:gd name="connsiteY995" fmla="*/ 60361 h 124107"/>
                <a:gd name="connsiteX996" fmla="*/ 73618 w 118465"/>
                <a:gd name="connsiteY996" fmla="*/ 60643 h 124107"/>
                <a:gd name="connsiteX997" fmla="*/ 108594 w 118465"/>
                <a:gd name="connsiteY997" fmla="*/ 33565 h 124107"/>
                <a:gd name="connsiteX998" fmla="*/ 108312 w 118465"/>
                <a:gd name="connsiteY998" fmla="*/ 33283 h 124107"/>
                <a:gd name="connsiteX999" fmla="*/ 108029 w 118465"/>
                <a:gd name="connsiteY999" fmla="*/ 33283 h 124107"/>
                <a:gd name="connsiteX1000" fmla="*/ 106619 w 118465"/>
                <a:gd name="connsiteY1000" fmla="*/ 34129 h 124107"/>
                <a:gd name="connsiteX1001" fmla="*/ 106619 w 118465"/>
                <a:gd name="connsiteY1001" fmla="*/ 34411 h 124107"/>
                <a:gd name="connsiteX1002" fmla="*/ 107184 w 118465"/>
                <a:gd name="connsiteY1002" fmla="*/ 34694 h 124107"/>
                <a:gd name="connsiteX1003" fmla="*/ 108594 w 118465"/>
                <a:gd name="connsiteY1003" fmla="*/ 33565 h 1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</a:cxnLst>
              <a:rect l="l" t="t" r="r" b="b"/>
              <a:pathLst>
                <a:path w="118465" h="124107">
                  <a:moveTo>
                    <a:pt x="45412" y="118748"/>
                  </a:moveTo>
                  <a:cubicBezTo>
                    <a:pt x="45412" y="118748"/>
                    <a:pt x="45130" y="118748"/>
                    <a:pt x="44848" y="118466"/>
                  </a:cubicBezTo>
                  <a:lnTo>
                    <a:pt x="44848" y="118748"/>
                  </a:lnTo>
                  <a:cubicBezTo>
                    <a:pt x="44566" y="118748"/>
                    <a:pt x="44848" y="119030"/>
                    <a:pt x="45412" y="119312"/>
                  </a:cubicBezTo>
                  <a:cubicBezTo>
                    <a:pt x="45694" y="119312"/>
                    <a:pt x="45976" y="119876"/>
                    <a:pt x="45976" y="120158"/>
                  </a:cubicBezTo>
                  <a:lnTo>
                    <a:pt x="45976" y="120722"/>
                  </a:lnTo>
                  <a:cubicBezTo>
                    <a:pt x="44848" y="120722"/>
                    <a:pt x="44566" y="121004"/>
                    <a:pt x="44002" y="121286"/>
                  </a:cubicBezTo>
                  <a:lnTo>
                    <a:pt x="43720" y="121286"/>
                  </a:lnTo>
                  <a:cubicBezTo>
                    <a:pt x="43156" y="121286"/>
                    <a:pt x="42874" y="121851"/>
                    <a:pt x="42592" y="121851"/>
                  </a:cubicBezTo>
                  <a:cubicBezTo>
                    <a:pt x="41745" y="121851"/>
                    <a:pt x="41745" y="122133"/>
                    <a:pt x="41463" y="122133"/>
                  </a:cubicBezTo>
                  <a:lnTo>
                    <a:pt x="40899" y="122133"/>
                  </a:lnTo>
                  <a:cubicBezTo>
                    <a:pt x="40053" y="121851"/>
                    <a:pt x="39771" y="121568"/>
                    <a:pt x="39771" y="121286"/>
                  </a:cubicBezTo>
                  <a:cubicBezTo>
                    <a:pt x="39771" y="121286"/>
                    <a:pt x="39489" y="121286"/>
                    <a:pt x="39207" y="121568"/>
                  </a:cubicBezTo>
                  <a:lnTo>
                    <a:pt x="39207" y="121851"/>
                  </a:lnTo>
                  <a:cubicBezTo>
                    <a:pt x="39489" y="122133"/>
                    <a:pt x="39771" y="122697"/>
                    <a:pt x="40053" y="122697"/>
                  </a:cubicBezTo>
                  <a:lnTo>
                    <a:pt x="40053" y="123825"/>
                  </a:lnTo>
                  <a:lnTo>
                    <a:pt x="39771" y="124107"/>
                  </a:lnTo>
                  <a:lnTo>
                    <a:pt x="40617" y="124107"/>
                  </a:lnTo>
                  <a:lnTo>
                    <a:pt x="41745" y="123261"/>
                  </a:lnTo>
                  <a:cubicBezTo>
                    <a:pt x="42027" y="123261"/>
                    <a:pt x="42309" y="123543"/>
                    <a:pt x="42592" y="123543"/>
                  </a:cubicBezTo>
                  <a:lnTo>
                    <a:pt x="42309" y="124107"/>
                  </a:lnTo>
                  <a:cubicBezTo>
                    <a:pt x="41181" y="124671"/>
                    <a:pt x="40617" y="125799"/>
                    <a:pt x="39489" y="126081"/>
                  </a:cubicBezTo>
                  <a:cubicBezTo>
                    <a:pt x="39207" y="126646"/>
                    <a:pt x="38643" y="126646"/>
                    <a:pt x="38361" y="126646"/>
                  </a:cubicBezTo>
                  <a:cubicBezTo>
                    <a:pt x="38078" y="126646"/>
                    <a:pt x="37796" y="127210"/>
                    <a:pt x="37796" y="127210"/>
                  </a:cubicBezTo>
                  <a:cubicBezTo>
                    <a:pt x="37232" y="127210"/>
                    <a:pt x="36668" y="127210"/>
                    <a:pt x="36668" y="127492"/>
                  </a:cubicBezTo>
                  <a:lnTo>
                    <a:pt x="34694" y="127492"/>
                  </a:lnTo>
                  <a:cubicBezTo>
                    <a:pt x="34412" y="127492"/>
                    <a:pt x="33847" y="127210"/>
                    <a:pt x="33847" y="127210"/>
                  </a:cubicBezTo>
                  <a:lnTo>
                    <a:pt x="32437" y="127210"/>
                  </a:lnTo>
                  <a:cubicBezTo>
                    <a:pt x="32155" y="127492"/>
                    <a:pt x="31873" y="127492"/>
                    <a:pt x="31873" y="127492"/>
                  </a:cubicBezTo>
                  <a:lnTo>
                    <a:pt x="31591" y="127492"/>
                  </a:lnTo>
                  <a:cubicBezTo>
                    <a:pt x="31309" y="127210"/>
                    <a:pt x="30463" y="127210"/>
                    <a:pt x="30181" y="126928"/>
                  </a:cubicBezTo>
                  <a:cubicBezTo>
                    <a:pt x="29616" y="126081"/>
                    <a:pt x="29052" y="126081"/>
                    <a:pt x="27924" y="126081"/>
                  </a:cubicBezTo>
                  <a:lnTo>
                    <a:pt x="25950" y="126081"/>
                  </a:lnTo>
                  <a:cubicBezTo>
                    <a:pt x="25668" y="126081"/>
                    <a:pt x="25386" y="126081"/>
                    <a:pt x="25386" y="125799"/>
                  </a:cubicBezTo>
                  <a:cubicBezTo>
                    <a:pt x="25104" y="125799"/>
                    <a:pt x="24822" y="125517"/>
                    <a:pt x="24822" y="125517"/>
                  </a:cubicBezTo>
                  <a:lnTo>
                    <a:pt x="24540" y="125799"/>
                  </a:lnTo>
                  <a:cubicBezTo>
                    <a:pt x="24258" y="126646"/>
                    <a:pt x="23693" y="126646"/>
                    <a:pt x="23129" y="126646"/>
                  </a:cubicBezTo>
                  <a:lnTo>
                    <a:pt x="19462" y="126646"/>
                  </a:lnTo>
                  <a:cubicBezTo>
                    <a:pt x="18898" y="126646"/>
                    <a:pt x="18898" y="127210"/>
                    <a:pt x="18334" y="127210"/>
                  </a:cubicBezTo>
                  <a:lnTo>
                    <a:pt x="14667" y="127210"/>
                  </a:lnTo>
                  <a:cubicBezTo>
                    <a:pt x="14385" y="126928"/>
                    <a:pt x="13821" y="126928"/>
                    <a:pt x="13539" y="126928"/>
                  </a:cubicBezTo>
                  <a:cubicBezTo>
                    <a:pt x="13257" y="126928"/>
                    <a:pt x="12975" y="126928"/>
                    <a:pt x="12693" y="126363"/>
                  </a:cubicBezTo>
                  <a:lnTo>
                    <a:pt x="11565" y="125799"/>
                  </a:lnTo>
                  <a:cubicBezTo>
                    <a:pt x="11000" y="125235"/>
                    <a:pt x="10436" y="124389"/>
                    <a:pt x="9872" y="124107"/>
                  </a:cubicBezTo>
                  <a:cubicBezTo>
                    <a:pt x="9872" y="123543"/>
                    <a:pt x="9026" y="123261"/>
                    <a:pt x="8744" y="122415"/>
                  </a:cubicBezTo>
                  <a:lnTo>
                    <a:pt x="8462" y="122415"/>
                  </a:lnTo>
                  <a:cubicBezTo>
                    <a:pt x="8180" y="122415"/>
                    <a:pt x="7616" y="122133"/>
                    <a:pt x="7052" y="121851"/>
                  </a:cubicBezTo>
                  <a:cubicBezTo>
                    <a:pt x="6488" y="121286"/>
                    <a:pt x="6488" y="121004"/>
                    <a:pt x="6488" y="120440"/>
                  </a:cubicBezTo>
                  <a:cubicBezTo>
                    <a:pt x="6206" y="119876"/>
                    <a:pt x="5359" y="119876"/>
                    <a:pt x="5077" y="119312"/>
                  </a:cubicBezTo>
                  <a:cubicBezTo>
                    <a:pt x="4513" y="118184"/>
                    <a:pt x="4231" y="117338"/>
                    <a:pt x="3103" y="116209"/>
                  </a:cubicBezTo>
                  <a:lnTo>
                    <a:pt x="3103" y="115363"/>
                  </a:lnTo>
                  <a:cubicBezTo>
                    <a:pt x="3103" y="115081"/>
                    <a:pt x="3103" y="115081"/>
                    <a:pt x="2821" y="114799"/>
                  </a:cubicBezTo>
                  <a:cubicBezTo>
                    <a:pt x="2257" y="114799"/>
                    <a:pt x="2539" y="114235"/>
                    <a:pt x="2257" y="113953"/>
                  </a:cubicBezTo>
                  <a:lnTo>
                    <a:pt x="2257" y="113389"/>
                  </a:lnTo>
                  <a:cubicBezTo>
                    <a:pt x="1975" y="113107"/>
                    <a:pt x="1975" y="112825"/>
                    <a:pt x="1975" y="112542"/>
                  </a:cubicBezTo>
                  <a:lnTo>
                    <a:pt x="1975" y="111414"/>
                  </a:lnTo>
                  <a:cubicBezTo>
                    <a:pt x="1410" y="111132"/>
                    <a:pt x="1410" y="111132"/>
                    <a:pt x="1410" y="110850"/>
                  </a:cubicBezTo>
                  <a:lnTo>
                    <a:pt x="1410" y="110286"/>
                  </a:lnTo>
                  <a:cubicBezTo>
                    <a:pt x="846" y="109722"/>
                    <a:pt x="846" y="109158"/>
                    <a:pt x="846" y="108594"/>
                  </a:cubicBezTo>
                  <a:lnTo>
                    <a:pt x="846" y="107465"/>
                  </a:lnTo>
                  <a:lnTo>
                    <a:pt x="0" y="98721"/>
                  </a:lnTo>
                  <a:cubicBezTo>
                    <a:pt x="0" y="98439"/>
                    <a:pt x="282" y="97593"/>
                    <a:pt x="282" y="97029"/>
                  </a:cubicBezTo>
                  <a:cubicBezTo>
                    <a:pt x="564" y="96747"/>
                    <a:pt x="564" y="96747"/>
                    <a:pt x="564" y="96465"/>
                  </a:cubicBezTo>
                  <a:cubicBezTo>
                    <a:pt x="564" y="95901"/>
                    <a:pt x="282" y="95337"/>
                    <a:pt x="282" y="95055"/>
                  </a:cubicBezTo>
                  <a:lnTo>
                    <a:pt x="282" y="91670"/>
                  </a:lnTo>
                  <a:cubicBezTo>
                    <a:pt x="846" y="91388"/>
                    <a:pt x="846" y="91106"/>
                    <a:pt x="846" y="90260"/>
                  </a:cubicBezTo>
                  <a:cubicBezTo>
                    <a:pt x="846" y="89696"/>
                    <a:pt x="564" y="89413"/>
                    <a:pt x="282" y="89131"/>
                  </a:cubicBezTo>
                  <a:cubicBezTo>
                    <a:pt x="1410" y="88849"/>
                    <a:pt x="846" y="87721"/>
                    <a:pt x="1693" y="87157"/>
                  </a:cubicBezTo>
                  <a:lnTo>
                    <a:pt x="1693" y="85747"/>
                  </a:lnTo>
                  <a:cubicBezTo>
                    <a:pt x="1693" y="85465"/>
                    <a:pt x="1975" y="85183"/>
                    <a:pt x="1975" y="84618"/>
                  </a:cubicBezTo>
                  <a:cubicBezTo>
                    <a:pt x="1693" y="84336"/>
                    <a:pt x="1693" y="84336"/>
                    <a:pt x="1693" y="84054"/>
                  </a:cubicBezTo>
                  <a:cubicBezTo>
                    <a:pt x="1693" y="83772"/>
                    <a:pt x="1975" y="83490"/>
                    <a:pt x="1975" y="83208"/>
                  </a:cubicBezTo>
                  <a:lnTo>
                    <a:pt x="2821" y="83208"/>
                  </a:lnTo>
                  <a:cubicBezTo>
                    <a:pt x="3103" y="83208"/>
                    <a:pt x="3103" y="83490"/>
                    <a:pt x="3103" y="83772"/>
                  </a:cubicBezTo>
                  <a:lnTo>
                    <a:pt x="3103" y="84054"/>
                  </a:lnTo>
                  <a:cubicBezTo>
                    <a:pt x="3103" y="84336"/>
                    <a:pt x="3103" y="84336"/>
                    <a:pt x="2821" y="84336"/>
                  </a:cubicBezTo>
                  <a:cubicBezTo>
                    <a:pt x="2821" y="84618"/>
                    <a:pt x="2821" y="84618"/>
                    <a:pt x="3103" y="84618"/>
                  </a:cubicBezTo>
                  <a:lnTo>
                    <a:pt x="3385" y="84618"/>
                  </a:lnTo>
                  <a:cubicBezTo>
                    <a:pt x="3667" y="84618"/>
                    <a:pt x="3667" y="84336"/>
                    <a:pt x="3667" y="84336"/>
                  </a:cubicBezTo>
                  <a:cubicBezTo>
                    <a:pt x="3385" y="84054"/>
                    <a:pt x="3385" y="83772"/>
                    <a:pt x="3385" y="83490"/>
                  </a:cubicBezTo>
                  <a:cubicBezTo>
                    <a:pt x="3385" y="83208"/>
                    <a:pt x="3667" y="82926"/>
                    <a:pt x="3949" y="82644"/>
                  </a:cubicBezTo>
                  <a:lnTo>
                    <a:pt x="4513" y="82644"/>
                  </a:lnTo>
                  <a:cubicBezTo>
                    <a:pt x="4795" y="82644"/>
                    <a:pt x="4795" y="82644"/>
                    <a:pt x="4795" y="82362"/>
                  </a:cubicBezTo>
                  <a:cubicBezTo>
                    <a:pt x="4795" y="82362"/>
                    <a:pt x="4795" y="82080"/>
                    <a:pt x="5077" y="81798"/>
                  </a:cubicBezTo>
                  <a:cubicBezTo>
                    <a:pt x="5359" y="81234"/>
                    <a:pt x="5359" y="80670"/>
                    <a:pt x="5359" y="79823"/>
                  </a:cubicBezTo>
                  <a:lnTo>
                    <a:pt x="4795" y="79259"/>
                  </a:lnTo>
                  <a:cubicBezTo>
                    <a:pt x="4513" y="79823"/>
                    <a:pt x="4231" y="80388"/>
                    <a:pt x="3385" y="80670"/>
                  </a:cubicBezTo>
                  <a:cubicBezTo>
                    <a:pt x="3385" y="80670"/>
                    <a:pt x="3385" y="80952"/>
                    <a:pt x="3667" y="80952"/>
                  </a:cubicBezTo>
                  <a:cubicBezTo>
                    <a:pt x="3667" y="81234"/>
                    <a:pt x="3667" y="81234"/>
                    <a:pt x="4231" y="81516"/>
                  </a:cubicBezTo>
                  <a:lnTo>
                    <a:pt x="3385" y="81798"/>
                  </a:lnTo>
                  <a:cubicBezTo>
                    <a:pt x="3103" y="81798"/>
                    <a:pt x="2821" y="81234"/>
                    <a:pt x="2539" y="81234"/>
                  </a:cubicBezTo>
                  <a:lnTo>
                    <a:pt x="2539" y="80952"/>
                  </a:lnTo>
                  <a:cubicBezTo>
                    <a:pt x="2539" y="80670"/>
                    <a:pt x="2539" y="80670"/>
                    <a:pt x="2821" y="80388"/>
                  </a:cubicBezTo>
                  <a:lnTo>
                    <a:pt x="3103" y="80105"/>
                  </a:lnTo>
                  <a:cubicBezTo>
                    <a:pt x="2821" y="79823"/>
                    <a:pt x="2539" y="78977"/>
                    <a:pt x="2539" y="78695"/>
                  </a:cubicBezTo>
                  <a:cubicBezTo>
                    <a:pt x="2821" y="78413"/>
                    <a:pt x="2821" y="77849"/>
                    <a:pt x="2821" y="77285"/>
                  </a:cubicBezTo>
                  <a:lnTo>
                    <a:pt x="2821" y="77003"/>
                  </a:lnTo>
                  <a:cubicBezTo>
                    <a:pt x="2821" y="76721"/>
                    <a:pt x="3103" y="76721"/>
                    <a:pt x="3103" y="76439"/>
                  </a:cubicBezTo>
                  <a:lnTo>
                    <a:pt x="3103" y="76157"/>
                  </a:lnTo>
                  <a:cubicBezTo>
                    <a:pt x="3103" y="75592"/>
                    <a:pt x="3949" y="75310"/>
                    <a:pt x="3949" y="74746"/>
                  </a:cubicBezTo>
                  <a:cubicBezTo>
                    <a:pt x="3949" y="73900"/>
                    <a:pt x="3949" y="73618"/>
                    <a:pt x="3385" y="73054"/>
                  </a:cubicBezTo>
                  <a:cubicBezTo>
                    <a:pt x="3385" y="72772"/>
                    <a:pt x="3385" y="72490"/>
                    <a:pt x="3667" y="72490"/>
                  </a:cubicBezTo>
                  <a:cubicBezTo>
                    <a:pt x="4513" y="72208"/>
                    <a:pt x="4795" y="71926"/>
                    <a:pt x="4795" y="71362"/>
                  </a:cubicBezTo>
                  <a:cubicBezTo>
                    <a:pt x="4795" y="71079"/>
                    <a:pt x="4513" y="70797"/>
                    <a:pt x="4513" y="70515"/>
                  </a:cubicBezTo>
                  <a:cubicBezTo>
                    <a:pt x="4513" y="70233"/>
                    <a:pt x="4231" y="70233"/>
                    <a:pt x="4231" y="69951"/>
                  </a:cubicBezTo>
                  <a:cubicBezTo>
                    <a:pt x="4231" y="69951"/>
                    <a:pt x="4231" y="69669"/>
                    <a:pt x="4513" y="69669"/>
                  </a:cubicBezTo>
                  <a:cubicBezTo>
                    <a:pt x="4795" y="69387"/>
                    <a:pt x="5359" y="68823"/>
                    <a:pt x="5924" y="68823"/>
                  </a:cubicBezTo>
                  <a:lnTo>
                    <a:pt x="6206" y="68823"/>
                  </a:lnTo>
                  <a:cubicBezTo>
                    <a:pt x="6770" y="68823"/>
                    <a:pt x="6770" y="68541"/>
                    <a:pt x="6770" y="68541"/>
                  </a:cubicBezTo>
                  <a:lnTo>
                    <a:pt x="6770" y="67413"/>
                  </a:lnTo>
                  <a:cubicBezTo>
                    <a:pt x="6770" y="67131"/>
                    <a:pt x="6770" y="67131"/>
                    <a:pt x="6488" y="67131"/>
                  </a:cubicBezTo>
                  <a:lnTo>
                    <a:pt x="6488" y="64310"/>
                  </a:lnTo>
                  <a:cubicBezTo>
                    <a:pt x="6488" y="64028"/>
                    <a:pt x="6488" y="63746"/>
                    <a:pt x="6770" y="63464"/>
                  </a:cubicBezTo>
                  <a:cubicBezTo>
                    <a:pt x="7052" y="63464"/>
                    <a:pt x="7052" y="63182"/>
                    <a:pt x="7052" y="63182"/>
                  </a:cubicBezTo>
                  <a:cubicBezTo>
                    <a:pt x="7052" y="62900"/>
                    <a:pt x="6770" y="62618"/>
                    <a:pt x="6770" y="62054"/>
                  </a:cubicBezTo>
                  <a:cubicBezTo>
                    <a:pt x="7334" y="62054"/>
                    <a:pt x="7334" y="61489"/>
                    <a:pt x="7616" y="60925"/>
                  </a:cubicBezTo>
                  <a:cubicBezTo>
                    <a:pt x="7898" y="60079"/>
                    <a:pt x="8180" y="58951"/>
                    <a:pt x="9026" y="58105"/>
                  </a:cubicBezTo>
                  <a:cubicBezTo>
                    <a:pt x="8744" y="57823"/>
                    <a:pt x="8744" y="57541"/>
                    <a:pt x="8744" y="57541"/>
                  </a:cubicBezTo>
                  <a:lnTo>
                    <a:pt x="8744" y="56694"/>
                  </a:lnTo>
                  <a:cubicBezTo>
                    <a:pt x="8744" y="56412"/>
                    <a:pt x="8744" y="56130"/>
                    <a:pt x="9026" y="55848"/>
                  </a:cubicBezTo>
                  <a:lnTo>
                    <a:pt x="9872" y="55002"/>
                  </a:lnTo>
                  <a:lnTo>
                    <a:pt x="9872" y="53310"/>
                  </a:lnTo>
                  <a:cubicBezTo>
                    <a:pt x="9872" y="53310"/>
                    <a:pt x="10154" y="53028"/>
                    <a:pt x="10154" y="52745"/>
                  </a:cubicBezTo>
                  <a:cubicBezTo>
                    <a:pt x="10154" y="52463"/>
                    <a:pt x="9872" y="52181"/>
                    <a:pt x="9872" y="51899"/>
                  </a:cubicBezTo>
                  <a:cubicBezTo>
                    <a:pt x="9872" y="51617"/>
                    <a:pt x="9872" y="51053"/>
                    <a:pt x="10154" y="51053"/>
                  </a:cubicBezTo>
                  <a:lnTo>
                    <a:pt x="11847" y="49643"/>
                  </a:lnTo>
                  <a:lnTo>
                    <a:pt x="11847" y="49079"/>
                  </a:lnTo>
                  <a:cubicBezTo>
                    <a:pt x="11847" y="48233"/>
                    <a:pt x="11847" y="47668"/>
                    <a:pt x="12411" y="47386"/>
                  </a:cubicBezTo>
                  <a:lnTo>
                    <a:pt x="12411" y="46822"/>
                  </a:lnTo>
                  <a:cubicBezTo>
                    <a:pt x="12411" y="46540"/>
                    <a:pt x="12411" y="46540"/>
                    <a:pt x="12693" y="46540"/>
                  </a:cubicBezTo>
                  <a:lnTo>
                    <a:pt x="12693" y="45130"/>
                  </a:lnTo>
                  <a:cubicBezTo>
                    <a:pt x="13257" y="44848"/>
                    <a:pt x="13257" y="44002"/>
                    <a:pt x="13821" y="43720"/>
                  </a:cubicBezTo>
                  <a:cubicBezTo>
                    <a:pt x="13821" y="43437"/>
                    <a:pt x="14103" y="42591"/>
                    <a:pt x="14103" y="42309"/>
                  </a:cubicBezTo>
                  <a:cubicBezTo>
                    <a:pt x="14385" y="42027"/>
                    <a:pt x="14103" y="41745"/>
                    <a:pt x="14667" y="41181"/>
                  </a:cubicBezTo>
                  <a:cubicBezTo>
                    <a:pt x="14667" y="40899"/>
                    <a:pt x="14385" y="40899"/>
                    <a:pt x="14385" y="40617"/>
                  </a:cubicBezTo>
                  <a:cubicBezTo>
                    <a:pt x="14385" y="40335"/>
                    <a:pt x="14667" y="40053"/>
                    <a:pt x="14949" y="39771"/>
                  </a:cubicBezTo>
                  <a:cubicBezTo>
                    <a:pt x="15513" y="39771"/>
                    <a:pt x="15796" y="39489"/>
                    <a:pt x="15796" y="38924"/>
                  </a:cubicBezTo>
                  <a:lnTo>
                    <a:pt x="15796" y="37796"/>
                  </a:lnTo>
                  <a:lnTo>
                    <a:pt x="16360" y="36950"/>
                  </a:lnTo>
                  <a:cubicBezTo>
                    <a:pt x="16642" y="36386"/>
                    <a:pt x="17206" y="36104"/>
                    <a:pt x="17206" y="35822"/>
                  </a:cubicBezTo>
                  <a:lnTo>
                    <a:pt x="16924" y="35540"/>
                  </a:lnTo>
                  <a:cubicBezTo>
                    <a:pt x="16924" y="35258"/>
                    <a:pt x="17488" y="34976"/>
                    <a:pt x="17488" y="34411"/>
                  </a:cubicBezTo>
                  <a:cubicBezTo>
                    <a:pt x="17488" y="33847"/>
                    <a:pt x="17770" y="33565"/>
                    <a:pt x="18052" y="33283"/>
                  </a:cubicBezTo>
                  <a:cubicBezTo>
                    <a:pt x="18334" y="33001"/>
                    <a:pt x="18334" y="32719"/>
                    <a:pt x="18898" y="32437"/>
                  </a:cubicBezTo>
                  <a:cubicBezTo>
                    <a:pt x="19462" y="32437"/>
                    <a:pt x="19180" y="31591"/>
                    <a:pt x="19744" y="31309"/>
                  </a:cubicBezTo>
                  <a:cubicBezTo>
                    <a:pt x="20027" y="31027"/>
                    <a:pt x="20309" y="30745"/>
                    <a:pt x="20309" y="30463"/>
                  </a:cubicBezTo>
                  <a:cubicBezTo>
                    <a:pt x="20309" y="30463"/>
                    <a:pt x="20309" y="30181"/>
                    <a:pt x="20027" y="29899"/>
                  </a:cubicBezTo>
                  <a:cubicBezTo>
                    <a:pt x="20309" y="29334"/>
                    <a:pt x="20309" y="28770"/>
                    <a:pt x="20873" y="28488"/>
                  </a:cubicBezTo>
                  <a:cubicBezTo>
                    <a:pt x="21437" y="28206"/>
                    <a:pt x="21437" y="27360"/>
                    <a:pt x="21437" y="27360"/>
                  </a:cubicBezTo>
                  <a:cubicBezTo>
                    <a:pt x="22283" y="26796"/>
                    <a:pt x="22283" y="26232"/>
                    <a:pt x="22283" y="25950"/>
                  </a:cubicBezTo>
                  <a:cubicBezTo>
                    <a:pt x="22847" y="25668"/>
                    <a:pt x="23129" y="25103"/>
                    <a:pt x="23129" y="24821"/>
                  </a:cubicBezTo>
                  <a:lnTo>
                    <a:pt x="23129" y="24539"/>
                  </a:lnTo>
                  <a:cubicBezTo>
                    <a:pt x="23129" y="24257"/>
                    <a:pt x="23693" y="23975"/>
                    <a:pt x="23693" y="23975"/>
                  </a:cubicBezTo>
                  <a:cubicBezTo>
                    <a:pt x="23975" y="23975"/>
                    <a:pt x="24540" y="23975"/>
                    <a:pt x="24540" y="23693"/>
                  </a:cubicBezTo>
                  <a:lnTo>
                    <a:pt x="25104" y="22847"/>
                  </a:lnTo>
                  <a:cubicBezTo>
                    <a:pt x="25386" y="22001"/>
                    <a:pt x="25950" y="21437"/>
                    <a:pt x="27360" y="20308"/>
                  </a:cubicBezTo>
                  <a:cubicBezTo>
                    <a:pt x="27924" y="19744"/>
                    <a:pt x="28488" y="18898"/>
                    <a:pt x="28770" y="18052"/>
                  </a:cubicBezTo>
                  <a:cubicBezTo>
                    <a:pt x="29616" y="17488"/>
                    <a:pt x="29616" y="16642"/>
                    <a:pt x="30745" y="16360"/>
                  </a:cubicBezTo>
                  <a:cubicBezTo>
                    <a:pt x="31027" y="16360"/>
                    <a:pt x="31309" y="16078"/>
                    <a:pt x="31591" y="15795"/>
                  </a:cubicBezTo>
                  <a:cubicBezTo>
                    <a:pt x="31873" y="15513"/>
                    <a:pt x="32155" y="14667"/>
                    <a:pt x="33001" y="14385"/>
                  </a:cubicBezTo>
                  <a:lnTo>
                    <a:pt x="35540" y="14385"/>
                  </a:lnTo>
                  <a:cubicBezTo>
                    <a:pt x="35822" y="14385"/>
                    <a:pt x="35540" y="14385"/>
                    <a:pt x="36104" y="15231"/>
                  </a:cubicBezTo>
                  <a:lnTo>
                    <a:pt x="36950" y="15231"/>
                  </a:lnTo>
                  <a:cubicBezTo>
                    <a:pt x="37232" y="14667"/>
                    <a:pt x="37514" y="14385"/>
                    <a:pt x="38078" y="14385"/>
                  </a:cubicBezTo>
                  <a:cubicBezTo>
                    <a:pt x="38643" y="14385"/>
                    <a:pt x="39207" y="14667"/>
                    <a:pt x="39489" y="15231"/>
                  </a:cubicBezTo>
                  <a:cubicBezTo>
                    <a:pt x="39489" y="15231"/>
                    <a:pt x="39771" y="15513"/>
                    <a:pt x="40053" y="15513"/>
                  </a:cubicBezTo>
                  <a:cubicBezTo>
                    <a:pt x="40053" y="16360"/>
                    <a:pt x="41181" y="16642"/>
                    <a:pt x="42027" y="16642"/>
                  </a:cubicBezTo>
                  <a:cubicBezTo>
                    <a:pt x="42309" y="17206"/>
                    <a:pt x="42592" y="16642"/>
                    <a:pt x="42874" y="17488"/>
                  </a:cubicBezTo>
                  <a:lnTo>
                    <a:pt x="43156" y="17488"/>
                  </a:lnTo>
                  <a:lnTo>
                    <a:pt x="43156" y="16642"/>
                  </a:lnTo>
                  <a:cubicBezTo>
                    <a:pt x="42874" y="16360"/>
                    <a:pt x="42874" y="16360"/>
                    <a:pt x="42874" y="16078"/>
                  </a:cubicBezTo>
                  <a:lnTo>
                    <a:pt x="42874" y="15513"/>
                  </a:lnTo>
                  <a:lnTo>
                    <a:pt x="44002" y="15513"/>
                  </a:lnTo>
                  <a:cubicBezTo>
                    <a:pt x="44002" y="15231"/>
                    <a:pt x="43438" y="14667"/>
                    <a:pt x="43438" y="14103"/>
                  </a:cubicBezTo>
                  <a:cubicBezTo>
                    <a:pt x="43156" y="13539"/>
                    <a:pt x="43156" y="13257"/>
                    <a:pt x="42309" y="12693"/>
                  </a:cubicBezTo>
                  <a:cubicBezTo>
                    <a:pt x="42027" y="12693"/>
                    <a:pt x="42027" y="12411"/>
                    <a:pt x="42027" y="12411"/>
                  </a:cubicBezTo>
                  <a:cubicBezTo>
                    <a:pt x="42027" y="11565"/>
                    <a:pt x="42027" y="10718"/>
                    <a:pt x="41463" y="10154"/>
                  </a:cubicBezTo>
                  <a:cubicBezTo>
                    <a:pt x="41181" y="10154"/>
                    <a:pt x="41181" y="9872"/>
                    <a:pt x="41181" y="9590"/>
                  </a:cubicBezTo>
                  <a:cubicBezTo>
                    <a:pt x="41181" y="9308"/>
                    <a:pt x="41181" y="9308"/>
                    <a:pt x="41463" y="9026"/>
                  </a:cubicBezTo>
                  <a:lnTo>
                    <a:pt x="41463" y="8744"/>
                  </a:lnTo>
                  <a:cubicBezTo>
                    <a:pt x="41463" y="8462"/>
                    <a:pt x="41745" y="8180"/>
                    <a:pt x="42027" y="7898"/>
                  </a:cubicBezTo>
                  <a:cubicBezTo>
                    <a:pt x="42874" y="7616"/>
                    <a:pt x="43720" y="7052"/>
                    <a:pt x="44284" y="6487"/>
                  </a:cubicBezTo>
                  <a:cubicBezTo>
                    <a:pt x="44566" y="5641"/>
                    <a:pt x="45412" y="4795"/>
                    <a:pt x="46258" y="4231"/>
                  </a:cubicBezTo>
                  <a:cubicBezTo>
                    <a:pt x="46540" y="4231"/>
                    <a:pt x="46822" y="3667"/>
                    <a:pt x="47104" y="3385"/>
                  </a:cubicBezTo>
                  <a:cubicBezTo>
                    <a:pt x="47386" y="3103"/>
                    <a:pt x="47668" y="2821"/>
                    <a:pt x="47668" y="2539"/>
                  </a:cubicBezTo>
                  <a:lnTo>
                    <a:pt x="49361" y="1410"/>
                  </a:lnTo>
                  <a:cubicBezTo>
                    <a:pt x="49925" y="1128"/>
                    <a:pt x="49925" y="846"/>
                    <a:pt x="50489" y="846"/>
                  </a:cubicBezTo>
                  <a:lnTo>
                    <a:pt x="51617" y="846"/>
                  </a:lnTo>
                  <a:cubicBezTo>
                    <a:pt x="52181" y="846"/>
                    <a:pt x="52746" y="846"/>
                    <a:pt x="52746" y="282"/>
                  </a:cubicBezTo>
                  <a:lnTo>
                    <a:pt x="55002" y="282"/>
                  </a:lnTo>
                  <a:cubicBezTo>
                    <a:pt x="55284" y="0"/>
                    <a:pt x="55848" y="0"/>
                    <a:pt x="56130" y="0"/>
                  </a:cubicBezTo>
                  <a:lnTo>
                    <a:pt x="56977" y="0"/>
                  </a:lnTo>
                  <a:cubicBezTo>
                    <a:pt x="57823" y="0"/>
                    <a:pt x="58669" y="282"/>
                    <a:pt x="59233" y="846"/>
                  </a:cubicBezTo>
                  <a:cubicBezTo>
                    <a:pt x="59797" y="1128"/>
                    <a:pt x="60361" y="1410"/>
                    <a:pt x="60361" y="1974"/>
                  </a:cubicBezTo>
                  <a:lnTo>
                    <a:pt x="60361" y="2256"/>
                  </a:lnTo>
                  <a:cubicBezTo>
                    <a:pt x="60361" y="2256"/>
                    <a:pt x="60926" y="2256"/>
                    <a:pt x="60926" y="2539"/>
                  </a:cubicBezTo>
                  <a:cubicBezTo>
                    <a:pt x="61490" y="3103"/>
                    <a:pt x="62336" y="3103"/>
                    <a:pt x="63182" y="3667"/>
                  </a:cubicBezTo>
                  <a:cubicBezTo>
                    <a:pt x="64028" y="4231"/>
                    <a:pt x="64874" y="4231"/>
                    <a:pt x="64874" y="4795"/>
                  </a:cubicBezTo>
                  <a:lnTo>
                    <a:pt x="66567" y="6205"/>
                  </a:lnTo>
                  <a:cubicBezTo>
                    <a:pt x="66849" y="6769"/>
                    <a:pt x="67131" y="7334"/>
                    <a:pt x="67131" y="7898"/>
                  </a:cubicBezTo>
                  <a:cubicBezTo>
                    <a:pt x="66849" y="8462"/>
                    <a:pt x="66849" y="8744"/>
                    <a:pt x="66849" y="8744"/>
                  </a:cubicBezTo>
                  <a:cubicBezTo>
                    <a:pt x="67413" y="9308"/>
                    <a:pt x="67131" y="9308"/>
                    <a:pt x="67131" y="9308"/>
                  </a:cubicBezTo>
                  <a:cubicBezTo>
                    <a:pt x="66567" y="9308"/>
                    <a:pt x="66567" y="9308"/>
                    <a:pt x="66567" y="9590"/>
                  </a:cubicBezTo>
                  <a:lnTo>
                    <a:pt x="66567" y="10718"/>
                  </a:lnTo>
                  <a:cubicBezTo>
                    <a:pt x="66567" y="10718"/>
                    <a:pt x="66567" y="11000"/>
                    <a:pt x="66849" y="11000"/>
                  </a:cubicBezTo>
                  <a:lnTo>
                    <a:pt x="67977" y="11000"/>
                  </a:lnTo>
                  <a:cubicBezTo>
                    <a:pt x="67977" y="11000"/>
                    <a:pt x="68259" y="11000"/>
                    <a:pt x="68259" y="11282"/>
                  </a:cubicBezTo>
                  <a:cubicBezTo>
                    <a:pt x="68259" y="11565"/>
                    <a:pt x="67977" y="11847"/>
                    <a:pt x="67977" y="11847"/>
                  </a:cubicBezTo>
                  <a:cubicBezTo>
                    <a:pt x="67695" y="12129"/>
                    <a:pt x="67413" y="12693"/>
                    <a:pt x="67131" y="12693"/>
                  </a:cubicBezTo>
                  <a:lnTo>
                    <a:pt x="66284" y="12693"/>
                  </a:lnTo>
                  <a:cubicBezTo>
                    <a:pt x="66284" y="12975"/>
                    <a:pt x="66284" y="13539"/>
                    <a:pt x="66567" y="13539"/>
                  </a:cubicBezTo>
                  <a:cubicBezTo>
                    <a:pt x="67413" y="14103"/>
                    <a:pt x="67977" y="15513"/>
                    <a:pt x="68823" y="15513"/>
                  </a:cubicBezTo>
                  <a:cubicBezTo>
                    <a:pt x="69105" y="15513"/>
                    <a:pt x="69105" y="15795"/>
                    <a:pt x="69105" y="16078"/>
                  </a:cubicBezTo>
                  <a:cubicBezTo>
                    <a:pt x="69951" y="16360"/>
                    <a:pt x="70515" y="16924"/>
                    <a:pt x="71080" y="17488"/>
                  </a:cubicBezTo>
                  <a:lnTo>
                    <a:pt x="71362" y="17488"/>
                  </a:lnTo>
                  <a:cubicBezTo>
                    <a:pt x="72208" y="17488"/>
                    <a:pt x="72490" y="17770"/>
                    <a:pt x="72772" y="18334"/>
                  </a:cubicBezTo>
                  <a:cubicBezTo>
                    <a:pt x="73336" y="18616"/>
                    <a:pt x="74182" y="18616"/>
                    <a:pt x="74182" y="19180"/>
                  </a:cubicBezTo>
                  <a:cubicBezTo>
                    <a:pt x="74746" y="19180"/>
                    <a:pt x="74746" y="19462"/>
                    <a:pt x="75029" y="19462"/>
                  </a:cubicBezTo>
                  <a:cubicBezTo>
                    <a:pt x="75593" y="19744"/>
                    <a:pt x="75593" y="20026"/>
                    <a:pt x="75875" y="20026"/>
                  </a:cubicBezTo>
                  <a:cubicBezTo>
                    <a:pt x="77285" y="20026"/>
                    <a:pt x="78131" y="20590"/>
                    <a:pt x="78695" y="21155"/>
                  </a:cubicBezTo>
                  <a:cubicBezTo>
                    <a:pt x="78978" y="21437"/>
                    <a:pt x="79259" y="21437"/>
                    <a:pt x="79259" y="21437"/>
                  </a:cubicBezTo>
                  <a:cubicBezTo>
                    <a:pt x="80106" y="21437"/>
                    <a:pt x="80670" y="21437"/>
                    <a:pt x="80952" y="21719"/>
                  </a:cubicBezTo>
                  <a:cubicBezTo>
                    <a:pt x="80952" y="22001"/>
                    <a:pt x="80952" y="22001"/>
                    <a:pt x="81234" y="22001"/>
                  </a:cubicBezTo>
                  <a:lnTo>
                    <a:pt x="84054" y="22001"/>
                  </a:lnTo>
                  <a:cubicBezTo>
                    <a:pt x="84900" y="22565"/>
                    <a:pt x="85464" y="22565"/>
                    <a:pt x="85747" y="22565"/>
                  </a:cubicBezTo>
                  <a:cubicBezTo>
                    <a:pt x="86029" y="22565"/>
                    <a:pt x="86593" y="23129"/>
                    <a:pt x="87157" y="23129"/>
                  </a:cubicBezTo>
                  <a:cubicBezTo>
                    <a:pt x="87439" y="23129"/>
                    <a:pt x="87439" y="23129"/>
                    <a:pt x="87721" y="22847"/>
                  </a:cubicBezTo>
                  <a:lnTo>
                    <a:pt x="89131" y="22847"/>
                  </a:lnTo>
                  <a:cubicBezTo>
                    <a:pt x="89978" y="22847"/>
                    <a:pt x="89978" y="23411"/>
                    <a:pt x="90542" y="23411"/>
                  </a:cubicBezTo>
                  <a:lnTo>
                    <a:pt x="95337" y="23411"/>
                  </a:lnTo>
                  <a:cubicBezTo>
                    <a:pt x="95619" y="23411"/>
                    <a:pt x="96183" y="23411"/>
                    <a:pt x="96465" y="22847"/>
                  </a:cubicBezTo>
                  <a:lnTo>
                    <a:pt x="99850" y="22847"/>
                  </a:lnTo>
                  <a:cubicBezTo>
                    <a:pt x="100132" y="23129"/>
                    <a:pt x="100414" y="23129"/>
                    <a:pt x="100414" y="23129"/>
                  </a:cubicBezTo>
                  <a:cubicBezTo>
                    <a:pt x="100696" y="23129"/>
                    <a:pt x="100696" y="22565"/>
                    <a:pt x="101260" y="22565"/>
                  </a:cubicBezTo>
                  <a:lnTo>
                    <a:pt x="102670" y="22565"/>
                  </a:lnTo>
                  <a:cubicBezTo>
                    <a:pt x="103234" y="22565"/>
                    <a:pt x="104081" y="22565"/>
                    <a:pt x="103798" y="22283"/>
                  </a:cubicBezTo>
                  <a:cubicBezTo>
                    <a:pt x="104363" y="22001"/>
                    <a:pt x="104927" y="22001"/>
                    <a:pt x="105491" y="22001"/>
                  </a:cubicBezTo>
                  <a:cubicBezTo>
                    <a:pt x="105491" y="21719"/>
                    <a:pt x="106055" y="21719"/>
                    <a:pt x="106337" y="21719"/>
                  </a:cubicBezTo>
                  <a:lnTo>
                    <a:pt x="107465" y="21719"/>
                  </a:lnTo>
                  <a:cubicBezTo>
                    <a:pt x="107748" y="21719"/>
                    <a:pt x="108312" y="21437"/>
                    <a:pt x="108876" y="21437"/>
                  </a:cubicBezTo>
                  <a:lnTo>
                    <a:pt x="110286" y="21437"/>
                  </a:lnTo>
                  <a:cubicBezTo>
                    <a:pt x="110850" y="20873"/>
                    <a:pt x="111696" y="20590"/>
                    <a:pt x="111979" y="20590"/>
                  </a:cubicBezTo>
                  <a:cubicBezTo>
                    <a:pt x="112543" y="20026"/>
                    <a:pt x="113389" y="20026"/>
                    <a:pt x="113953" y="20026"/>
                  </a:cubicBezTo>
                  <a:cubicBezTo>
                    <a:pt x="114517" y="20026"/>
                    <a:pt x="114235" y="19462"/>
                    <a:pt x="115081" y="19462"/>
                  </a:cubicBezTo>
                  <a:lnTo>
                    <a:pt x="115646" y="19462"/>
                  </a:lnTo>
                  <a:cubicBezTo>
                    <a:pt x="115927" y="19462"/>
                    <a:pt x="115927" y="19462"/>
                    <a:pt x="116210" y="19180"/>
                  </a:cubicBezTo>
                  <a:cubicBezTo>
                    <a:pt x="116491" y="19180"/>
                    <a:pt x="117056" y="19180"/>
                    <a:pt x="117620" y="18616"/>
                  </a:cubicBezTo>
                  <a:lnTo>
                    <a:pt x="117902" y="18616"/>
                  </a:lnTo>
                  <a:cubicBezTo>
                    <a:pt x="118184" y="18616"/>
                    <a:pt x="118748" y="18334"/>
                    <a:pt x="119312" y="18052"/>
                  </a:cubicBezTo>
                  <a:cubicBezTo>
                    <a:pt x="119594" y="17770"/>
                    <a:pt x="120158" y="17770"/>
                    <a:pt x="120440" y="17770"/>
                  </a:cubicBezTo>
                  <a:lnTo>
                    <a:pt x="121568" y="17770"/>
                  </a:lnTo>
                  <a:lnTo>
                    <a:pt x="121851" y="18052"/>
                  </a:lnTo>
                  <a:lnTo>
                    <a:pt x="121851" y="18334"/>
                  </a:lnTo>
                  <a:lnTo>
                    <a:pt x="122979" y="19744"/>
                  </a:lnTo>
                  <a:cubicBezTo>
                    <a:pt x="122979" y="20026"/>
                    <a:pt x="122415" y="20308"/>
                    <a:pt x="121851" y="21155"/>
                  </a:cubicBezTo>
                  <a:cubicBezTo>
                    <a:pt x="121004" y="21719"/>
                    <a:pt x="120440" y="22001"/>
                    <a:pt x="120440" y="22847"/>
                  </a:cubicBezTo>
                  <a:lnTo>
                    <a:pt x="120440" y="23411"/>
                  </a:lnTo>
                  <a:cubicBezTo>
                    <a:pt x="120440" y="23411"/>
                    <a:pt x="120158" y="23693"/>
                    <a:pt x="119312" y="23693"/>
                  </a:cubicBezTo>
                  <a:lnTo>
                    <a:pt x="118748" y="24539"/>
                  </a:lnTo>
                  <a:cubicBezTo>
                    <a:pt x="119030" y="24539"/>
                    <a:pt x="119312" y="24821"/>
                    <a:pt x="119312" y="25103"/>
                  </a:cubicBezTo>
                  <a:lnTo>
                    <a:pt x="119312" y="25386"/>
                  </a:lnTo>
                  <a:cubicBezTo>
                    <a:pt x="119030" y="25668"/>
                    <a:pt x="118748" y="26514"/>
                    <a:pt x="117902" y="27360"/>
                  </a:cubicBezTo>
                  <a:cubicBezTo>
                    <a:pt x="117902" y="27360"/>
                    <a:pt x="118466" y="27642"/>
                    <a:pt x="118466" y="27924"/>
                  </a:cubicBezTo>
                  <a:lnTo>
                    <a:pt x="118184" y="27924"/>
                  </a:lnTo>
                  <a:lnTo>
                    <a:pt x="117620" y="28488"/>
                  </a:lnTo>
                  <a:cubicBezTo>
                    <a:pt x="117338" y="29052"/>
                    <a:pt x="116774" y="29334"/>
                    <a:pt x="116491" y="29334"/>
                  </a:cubicBezTo>
                  <a:lnTo>
                    <a:pt x="115646" y="29334"/>
                  </a:lnTo>
                  <a:cubicBezTo>
                    <a:pt x="115081" y="29899"/>
                    <a:pt x="114799" y="30181"/>
                    <a:pt x="114517" y="30181"/>
                  </a:cubicBezTo>
                  <a:cubicBezTo>
                    <a:pt x="114235" y="30181"/>
                    <a:pt x="114235" y="29899"/>
                    <a:pt x="113953" y="29899"/>
                  </a:cubicBezTo>
                  <a:cubicBezTo>
                    <a:pt x="113953" y="29616"/>
                    <a:pt x="113671" y="29899"/>
                    <a:pt x="113671" y="29899"/>
                  </a:cubicBezTo>
                  <a:lnTo>
                    <a:pt x="113671" y="30181"/>
                  </a:lnTo>
                  <a:cubicBezTo>
                    <a:pt x="113671" y="30745"/>
                    <a:pt x="112543" y="30745"/>
                    <a:pt x="112260" y="31591"/>
                  </a:cubicBezTo>
                  <a:cubicBezTo>
                    <a:pt x="112260" y="32155"/>
                    <a:pt x="112260" y="32437"/>
                    <a:pt x="111696" y="32719"/>
                  </a:cubicBezTo>
                  <a:lnTo>
                    <a:pt x="110004" y="32719"/>
                  </a:lnTo>
                  <a:lnTo>
                    <a:pt x="110004" y="33283"/>
                  </a:lnTo>
                  <a:cubicBezTo>
                    <a:pt x="110004" y="33283"/>
                    <a:pt x="109722" y="33847"/>
                    <a:pt x="109722" y="34129"/>
                  </a:cubicBezTo>
                  <a:lnTo>
                    <a:pt x="109722" y="34694"/>
                  </a:lnTo>
                  <a:cubicBezTo>
                    <a:pt x="110568" y="34694"/>
                    <a:pt x="110850" y="35258"/>
                    <a:pt x="111132" y="35258"/>
                  </a:cubicBezTo>
                  <a:cubicBezTo>
                    <a:pt x="111696" y="35258"/>
                    <a:pt x="112260" y="35258"/>
                    <a:pt x="112260" y="35540"/>
                  </a:cubicBezTo>
                  <a:cubicBezTo>
                    <a:pt x="112260" y="35540"/>
                    <a:pt x="112543" y="35540"/>
                    <a:pt x="112543" y="35822"/>
                  </a:cubicBezTo>
                  <a:lnTo>
                    <a:pt x="112543" y="36104"/>
                  </a:lnTo>
                  <a:cubicBezTo>
                    <a:pt x="112260" y="36386"/>
                    <a:pt x="111415" y="36386"/>
                    <a:pt x="111132" y="36950"/>
                  </a:cubicBezTo>
                  <a:lnTo>
                    <a:pt x="109722" y="36950"/>
                  </a:lnTo>
                  <a:cubicBezTo>
                    <a:pt x="109440" y="36668"/>
                    <a:pt x="109158" y="36668"/>
                    <a:pt x="109158" y="36668"/>
                  </a:cubicBezTo>
                  <a:cubicBezTo>
                    <a:pt x="109158" y="36668"/>
                    <a:pt x="108876" y="36668"/>
                    <a:pt x="108876" y="36950"/>
                  </a:cubicBezTo>
                  <a:lnTo>
                    <a:pt x="107748" y="36950"/>
                  </a:lnTo>
                  <a:cubicBezTo>
                    <a:pt x="107184" y="36950"/>
                    <a:pt x="106901" y="36950"/>
                    <a:pt x="106337" y="37232"/>
                  </a:cubicBezTo>
                  <a:cubicBezTo>
                    <a:pt x="106337" y="37514"/>
                    <a:pt x="106055" y="37514"/>
                    <a:pt x="106055" y="37514"/>
                  </a:cubicBezTo>
                  <a:cubicBezTo>
                    <a:pt x="105773" y="37514"/>
                    <a:pt x="105491" y="37232"/>
                    <a:pt x="104927" y="37232"/>
                  </a:cubicBezTo>
                  <a:cubicBezTo>
                    <a:pt x="104645" y="37232"/>
                    <a:pt x="104363" y="37232"/>
                    <a:pt x="104363" y="36950"/>
                  </a:cubicBezTo>
                  <a:cubicBezTo>
                    <a:pt x="104081" y="36950"/>
                    <a:pt x="103798" y="36950"/>
                    <a:pt x="103234" y="37232"/>
                  </a:cubicBezTo>
                  <a:cubicBezTo>
                    <a:pt x="102953" y="37232"/>
                    <a:pt x="102670" y="37796"/>
                    <a:pt x="102388" y="37796"/>
                  </a:cubicBezTo>
                  <a:lnTo>
                    <a:pt x="102106" y="37796"/>
                  </a:lnTo>
                  <a:cubicBezTo>
                    <a:pt x="101824" y="37232"/>
                    <a:pt x="101260" y="37232"/>
                    <a:pt x="100414" y="37232"/>
                  </a:cubicBezTo>
                  <a:lnTo>
                    <a:pt x="98440" y="37232"/>
                  </a:lnTo>
                  <a:cubicBezTo>
                    <a:pt x="98157" y="37232"/>
                    <a:pt x="97876" y="37232"/>
                    <a:pt x="97876" y="36950"/>
                  </a:cubicBezTo>
                  <a:cubicBezTo>
                    <a:pt x="97312" y="36950"/>
                    <a:pt x="97312" y="36950"/>
                    <a:pt x="96465" y="37232"/>
                  </a:cubicBezTo>
                  <a:lnTo>
                    <a:pt x="96183" y="37232"/>
                  </a:lnTo>
                  <a:cubicBezTo>
                    <a:pt x="95337" y="37232"/>
                    <a:pt x="94773" y="37796"/>
                    <a:pt x="94491" y="38360"/>
                  </a:cubicBezTo>
                  <a:cubicBezTo>
                    <a:pt x="94209" y="38642"/>
                    <a:pt x="93926" y="38924"/>
                    <a:pt x="93362" y="38924"/>
                  </a:cubicBezTo>
                  <a:lnTo>
                    <a:pt x="92798" y="38924"/>
                  </a:lnTo>
                  <a:cubicBezTo>
                    <a:pt x="91670" y="38924"/>
                    <a:pt x="90260" y="38360"/>
                    <a:pt x="89131" y="37232"/>
                  </a:cubicBezTo>
                  <a:lnTo>
                    <a:pt x="88850" y="36950"/>
                  </a:lnTo>
                  <a:lnTo>
                    <a:pt x="88567" y="37232"/>
                  </a:lnTo>
                  <a:cubicBezTo>
                    <a:pt x="88285" y="37514"/>
                    <a:pt x="87721" y="38078"/>
                    <a:pt x="87157" y="38078"/>
                  </a:cubicBezTo>
                  <a:cubicBezTo>
                    <a:pt x="86875" y="38078"/>
                    <a:pt x="86875" y="38078"/>
                    <a:pt x="86593" y="37796"/>
                  </a:cubicBezTo>
                  <a:cubicBezTo>
                    <a:pt x="86029" y="37796"/>
                    <a:pt x="85464" y="38078"/>
                    <a:pt x="85183" y="38078"/>
                  </a:cubicBezTo>
                  <a:cubicBezTo>
                    <a:pt x="84619" y="38078"/>
                    <a:pt x="84336" y="37796"/>
                    <a:pt x="84054" y="37232"/>
                  </a:cubicBezTo>
                  <a:lnTo>
                    <a:pt x="81234" y="37232"/>
                  </a:lnTo>
                  <a:cubicBezTo>
                    <a:pt x="80952" y="36950"/>
                    <a:pt x="80106" y="37232"/>
                    <a:pt x="79542" y="36668"/>
                  </a:cubicBezTo>
                  <a:lnTo>
                    <a:pt x="78413" y="36668"/>
                  </a:lnTo>
                  <a:cubicBezTo>
                    <a:pt x="78131" y="36668"/>
                    <a:pt x="77849" y="36668"/>
                    <a:pt x="77567" y="36386"/>
                  </a:cubicBezTo>
                  <a:lnTo>
                    <a:pt x="76157" y="36386"/>
                  </a:lnTo>
                  <a:cubicBezTo>
                    <a:pt x="75875" y="36386"/>
                    <a:pt x="75311" y="36104"/>
                    <a:pt x="75029" y="36104"/>
                  </a:cubicBezTo>
                  <a:cubicBezTo>
                    <a:pt x="74746" y="36104"/>
                    <a:pt x="74746" y="36104"/>
                    <a:pt x="74464" y="36386"/>
                  </a:cubicBezTo>
                  <a:cubicBezTo>
                    <a:pt x="74464" y="36668"/>
                    <a:pt x="74182" y="36668"/>
                    <a:pt x="74182" y="36668"/>
                  </a:cubicBezTo>
                  <a:lnTo>
                    <a:pt x="74182" y="36386"/>
                  </a:lnTo>
                  <a:cubicBezTo>
                    <a:pt x="73618" y="35822"/>
                    <a:pt x="72772" y="35822"/>
                    <a:pt x="71644" y="35258"/>
                  </a:cubicBezTo>
                  <a:cubicBezTo>
                    <a:pt x="71644" y="34976"/>
                    <a:pt x="71362" y="34976"/>
                    <a:pt x="71362" y="34976"/>
                  </a:cubicBezTo>
                  <a:lnTo>
                    <a:pt x="69387" y="34976"/>
                  </a:lnTo>
                  <a:cubicBezTo>
                    <a:pt x="68823" y="34694"/>
                    <a:pt x="68259" y="34411"/>
                    <a:pt x="67977" y="34411"/>
                  </a:cubicBezTo>
                  <a:lnTo>
                    <a:pt x="67695" y="34411"/>
                  </a:lnTo>
                  <a:cubicBezTo>
                    <a:pt x="67131" y="34411"/>
                    <a:pt x="67131" y="34694"/>
                    <a:pt x="67131" y="34976"/>
                  </a:cubicBezTo>
                  <a:cubicBezTo>
                    <a:pt x="67413" y="35540"/>
                    <a:pt x="67695" y="36386"/>
                    <a:pt x="67695" y="36950"/>
                  </a:cubicBezTo>
                  <a:cubicBezTo>
                    <a:pt x="67413" y="37232"/>
                    <a:pt x="67977" y="37232"/>
                    <a:pt x="67977" y="37514"/>
                  </a:cubicBezTo>
                  <a:lnTo>
                    <a:pt x="67977" y="37796"/>
                  </a:lnTo>
                  <a:cubicBezTo>
                    <a:pt x="67695" y="38642"/>
                    <a:pt x="67695" y="39207"/>
                    <a:pt x="67695" y="39771"/>
                  </a:cubicBezTo>
                  <a:cubicBezTo>
                    <a:pt x="67413" y="40053"/>
                    <a:pt x="67413" y="40617"/>
                    <a:pt x="67413" y="40899"/>
                  </a:cubicBezTo>
                  <a:cubicBezTo>
                    <a:pt x="67413" y="41181"/>
                    <a:pt x="67413" y="41463"/>
                    <a:pt x="67695" y="41745"/>
                  </a:cubicBezTo>
                  <a:cubicBezTo>
                    <a:pt x="67131" y="42027"/>
                    <a:pt x="67131" y="42309"/>
                    <a:pt x="67131" y="43155"/>
                  </a:cubicBezTo>
                  <a:lnTo>
                    <a:pt x="66849" y="43155"/>
                  </a:lnTo>
                  <a:cubicBezTo>
                    <a:pt x="66567" y="42873"/>
                    <a:pt x="66567" y="42591"/>
                    <a:pt x="66567" y="42309"/>
                  </a:cubicBezTo>
                  <a:lnTo>
                    <a:pt x="66567" y="41745"/>
                  </a:lnTo>
                  <a:cubicBezTo>
                    <a:pt x="66567" y="41463"/>
                    <a:pt x="66567" y="41181"/>
                    <a:pt x="66284" y="40617"/>
                  </a:cubicBezTo>
                  <a:lnTo>
                    <a:pt x="66284" y="40335"/>
                  </a:lnTo>
                  <a:cubicBezTo>
                    <a:pt x="66284" y="40053"/>
                    <a:pt x="65720" y="39771"/>
                    <a:pt x="66002" y="39771"/>
                  </a:cubicBezTo>
                  <a:cubicBezTo>
                    <a:pt x="66567" y="39207"/>
                    <a:pt x="66567" y="39207"/>
                    <a:pt x="66567" y="38642"/>
                  </a:cubicBezTo>
                  <a:cubicBezTo>
                    <a:pt x="66284" y="38360"/>
                    <a:pt x="66002" y="38078"/>
                    <a:pt x="66002" y="37796"/>
                  </a:cubicBezTo>
                  <a:lnTo>
                    <a:pt x="66284" y="37514"/>
                  </a:lnTo>
                  <a:cubicBezTo>
                    <a:pt x="66284" y="37232"/>
                    <a:pt x="66567" y="36386"/>
                    <a:pt x="66567" y="35822"/>
                  </a:cubicBezTo>
                  <a:cubicBezTo>
                    <a:pt x="66002" y="35540"/>
                    <a:pt x="65720" y="35258"/>
                    <a:pt x="65720" y="34976"/>
                  </a:cubicBezTo>
                  <a:cubicBezTo>
                    <a:pt x="65720" y="34694"/>
                    <a:pt x="65720" y="34411"/>
                    <a:pt x="66002" y="34129"/>
                  </a:cubicBezTo>
                  <a:cubicBezTo>
                    <a:pt x="66284" y="34129"/>
                    <a:pt x="66849" y="33847"/>
                    <a:pt x="66849" y="33565"/>
                  </a:cubicBezTo>
                  <a:cubicBezTo>
                    <a:pt x="66849" y="33283"/>
                    <a:pt x="66284" y="33283"/>
                    <a:pt x="66002" y="33283"/>
                  </a:cubicBezTo>
                  <a:cubicBezTo>
                    <a:pt x="65720" y="33283"/>
                    <a:pt x="65156" y="33283"/>
                    <a:pt x="64874" y="33001"/>
                  </a:cubicBezTo>
                  <a:cubicBezTo>
                    <a:pt x="64310" y="32437"/>
                    <a:pt x="64028" y="32437"/>
                    <a:pt x="63746" y="32437"/>
                  </a:cubicBezTo>
                  <a:cubicBezTo>
                    <a:pt x="63464" y="32437"/>
                    <a:pt x="63182" y="32719"/>
                    <a:pt x="63182" y="32719"/>
                  </a:cubicBezTo>
                  <a:lnTo>
                    <a:pt x="63182" y="33847"/>
                  </a:lnTo>
                  <a:cubicBezTo>
                    <a:pt x="63182" y="34694"/>
                    <a:pt x="63182" y="35822"/>
                    <a:pt x="63464" y="36668"/>
                  </a:cubicBezTo>
                  <a:cubicBezTo>
                    <a:pt x="63464" y="36950"/>
                    <a:pt x="63182" y="37232"/>
                    <a:pt x="63464" y="37232"/>
                  </a:cubicBezTo>
                  <a:lnTo>
                    <a:pt x="63464" y="38078"/>
                  </a:lnTo>
                  <a:cubicBezTo>
                    <a:pt x="63464" y="38642"/>
                    <a:pt x="63464" y="39207"/>
                    <a:pt x="63746" y="39207"/>
                  </a:cubicBezTo>
                  <a:cubicBezTo>
                    <a:pt x="63746" y="39489"/>
                    <a:pt x="64028" y="39771"/>
                    <a:pt x="64028" y="39771"/>
                  </a:cubicBezTo>
                  <a:cubicBezTo>
                    <a:pt x="64028" y="40053"/>
                    <a:pt x="63746" y="40053"/>
                    <a:pt x="63746" y="40335"/>
                  </a:cubicBezTo>
                  <a:cubicBezTo>
                    <a:pt x="63746" y="40617"/>
                    <a:pt x="64028" y="41181"/>
                    <a:pt x="64310" y="41463"/>
                  </a:cubicBezTo>
                  <a:cubicBezTo>
                    <a:pt x="64310" y="41745"/>
                    <a:pt x="64592" y="42027"/>
                    <a:pt x="64874" y="42309"/>
                  </a:cubicBezTo>
                  <a:cubicBezTo>
                    <a:pt x="64592" y="42591"/>
                    <a:pt x="64592" y="42873"/>
                    <a:pt x="64592" y="42873"/>
                  </a:cubicBezTo>
                  <a:lnTo>
                    <a:pt x="64592" y="43155"/>
                  </a:lnTo>
                  <a:lnTo>
                    <a:pt x="64028" y="43155"/>
                  </a:lnTo>
                  <a:cubicBezTo>
                    <a:pt x="63746" y="43155"/>
                    <a:pt x="63746" y="42873"/>
                    <a:pt x="63746" y="42873"/>
                  </a:cubicBezTo>
                  <a:cubicBezTo>
                    <a:pt x="63464" y="42873"/>
                    <a:pt x="63182" y="43155"/>
                    <a:pt x="63182" y="43155"/>
                  </a:cubicBezTo>
                  <a:cubicBezTo>
                    <a:pt x="62900" y="43155"/>
                    <a:pt x="62900" y="43437"/>
                    <a:pt x="62900" y="43720"/>
                  </a:cubicBezTo>
                  <a:lnTo>
                    <a:pt x="62900" y="44002"/>
                  </a:lnTo>
                  <a:cubicBezTo>
                    <a:pt x="62900" y="44566"/>
                    <a:pt x="63182" y="45130"/>
                    <a:pt x="63746" y="45694"/>
                  </a:cubicBezTo>
                  <a:cubicBezTo>
                    <a:pt x="64310" y="45976"/>
                    <a:pt x="64592" y="46540"/>
                    <a:pt x="64592" y="47386"/>
                  </a:cubicBezTo>
                  <a:cubicBezTo>
                    <a:pt x="64592" y="47668"/>
                    <a:pt x="64874" y="47950"/>
                    <a:pt x="65156" y="47950"/>
                  </a:cubicBezTo>
                  <a:cubicBezTo>
                    <a:pt x="65156" y="47950"/>
                    <a:pt x="65438" y="47950"/>
                    <a:pt x="65720" y="47668"/>
                  </a:cubicBezTo>
                  <a:cubicBezTo>
                    <a:pt x="65720" y="47386"/>
                    <a:pt x="66284" y="47386"/>
                    <a:pt x="66284" y="47104"/>
                  </a:cubicBezTo>
                  <a:cubicBezTo>
                    <a:pt x="66002" y="46258"/>
                    <a:pt x="66002" y="45976"/>
                    <a:pt x="66002" y="45694"/>
                  </a:cubicBezTo>
                  <a:cubicBezTo>
                    <a:pt x="66002" y="45130"/>
                    <a:pt x="66284" y="45130"/>
                    <a:pt x="66284" y="45130"/>
                  </a:cubicBezTo>
                  <a:cubicBezTo>
                    <a:pt x="66849" y="45130"/>
                    <a:pt x="67131" y="45130"/>
                    <a:pt x="67131" y="45694"/>
                  </a:cubicBezTo>
                  <a:lnTo>
                    <a:pt x="67131" y="45976"/>
                  </a:lnTo>
                  <a:cubicBezTo>
                    <a:pt x="67131" y="46258"/>
                    <a:pt x="67413" y="46540"/>
                    <a:pt x="67413" y="47104"/>
                  </a:cubicBezTo>
                  <a:cubicBezTo>
                    <a:pt x="67413" y="47386"/>
                    <a:pt x="67413" y="47386"/>
                    <a:pt x="67131" y="47668"/>
                  </a:cubicBezTo>
                  <a:lnTo>
                    <a:pt x="67131" y="49643"/>
                  </a:lnTo>
                  <a:cubicBezTo>
                    <a:pt x="66849" y="49925"/>
                    <a:pt x="66567" y="50207"/>
                    <a:pt x="66567" y="50771"/>
                  </a:cubicBezTo>
                  <a:cubicBezTo>
                    <a:pt x="66567" y="51053"/>
                    <a:pt x="66567" y="51335"/>
                    <a:pt x="66849" y="51617"/>
                  </a:cubicBezTo>
                  <a:cubicBezTo>
                    <a:pt x="67131" y="52181"/>
                    <a:pt x="67131" y="53028"/>
                    <a:pt x="67131" y="54156"/>
                  </a:cubicBezTo>
                  <a:lnTo>
                    <a:pt x="67131" y="55002"/>
                  </a:lnTo>
                  <a:cubicBezTo>
                    <a:pt x="66849" y="55566"/>
                    <a:pt x="66002" y="56130"/>
                    <a:pt x="66002" y="56694"/>
                  </a:cubicBezTo>
                  <a:cubicBezTo>
                    <a:pt x="66002" y="56976"/>
                    <a:pt x="66284" y="56976"/>
                    <a:pt x="66284" y="57258"/>
                  </a:cubicBezTo>
                  <a:cubicBezTo>
                    <a:pt x="66567" y="57823"/>
                    <a:pt x="66849" y="58387"/>
                    <a:pt x="66849" y="58951"/>
                  </a:cubicBezTo>
                  <a:cubicBezTo>
                    <a:pt x="66849" y="59233"/>
                    <a:pt x="66567" y="59797"/>
                    <a:pt x="66567" y="60079"/>
                  </a:cubicBezTo>
                  <a:lnTo>
                    <a:pt x="67413" y="62336"/>
                  </a:lnTo>
                  <a:cubicBezTo>
                    <a:pt x="67695" y="62618"/>
                    <a:pt x="68259" y="62900"/>
                    <a:pt x="68541" y="62900"/>
                  </a:cubicBezTo>
                  <a:lnTo>
                    <a:pt x="68541" y="63464"/>
                  </a:lnTo>
                  <a:lnTo>
                    <a:pt x="65720" y="63464"/>
                  </a:lnTo>
                  <a:cubicBezTo>
                    <a:pt x="65720" y="64592"/>
                    <a:pt x="65156" y="64874"/>
                    <a:pt x="64874" y="65156"/>
                  </a:cubicBezTo>
                  <a:cubicBezTo>
                    <a:pt x="64592" y="65438"/>
                    <a:pt x="64592" y="65438"/>
                    <a:pt x="64592" y="66002"/>
                  </a:cubicBezTo>
                  <a:cubicBezTo>
                    <a:pt x="64874" y="66002"/>
                    <a:pt x="65156" y="66566"/>
                    <a:pt x="65156" y="66849"/>
                  </a:cubicBezTo>
                  <a:cubicBezTo>
                    <a:pt x="64874" y="67131"/>
                    <a:pt x="64874" y="67131"/>
                    <a:pt x="64874" y="67413"/>
                  </a:cubicBezTo>
                  <a:lnTo>
                    <a:pt x="64874" y="67977"/>
                  </a:lnTo>
                  <a:cubicBezTo>
                    <a:pt x="65438" y="68541"/>
                    <a:pt x="65720" y="68823"/>
                    <a:pt x="65720" y="69105"/>
                  </a:cubicBezTo>
                  <a:cubicBezTo>
                    <a:pt x="65720" y="69387"/>
                    <a:pt x="65438" y="69387"/>
                    <a:pt x="65438" y="69669"/>
                  </a:cubicBezTo>
                  <a:lnTo>
                    <a:pt x="65438" y="71079"/>
                  </a:lnTo>
                  <a:cubicBezTo>
                    <a:pt x="65156" y="71362"/>
                    <a:pt x="65156" y="71926"/>
                    <a:pt x="64874" y="72490"/>
                  </a:cubicBezTo>
                  <a:cubicBezTo>
                    <a:pt x="64592" y="72490"/>
                    <a:pt x="64592" y="72772"/>
                    <a:pt x="64592" y="72772"/>
                  </a:cubicBezTo>
                  <a:cubicBezTo>
                    <a:pt x="64592" y="73054"/>
                    <a:pt x="64874" y="73618"/>
                    <a:pt x="65156" y="73900"/>
                  </a:cubicBezTo>
                  <a:lnTo>
                    <a:pt x="65156" y="74464"/>
                  </a:lnTo>
                  <a:cubicBezTo>
                    <a:pt x="65720" y="74464"/>
                    <a:pt x="65720" y="74464"/>
                    <a:pt x="66002" y="74182"/>
                  </a:cubicBezTo>
                  <a:cubicBezTo>
                    <a:pt x="66284" y="73900"/>
                    <a:pt x="66284" y="73900"/>
                    <a:pt x="66284" y="73618"/>
                  </a:cubicBezTo>
                  <a:lnTo>
                    <a:pt x="66284" y="73336"/>
                  </a:lnTo>
                  <a:cubicBezTo>
                    <a:pt x="66284" y="73054"/>
                    <a:pt x="66284" y="73054"/>
                    <a:pt x="66567" y="73054"/>
                  </a:cubicBezTo>
                  <a:cubicBezTo>
                    <a:pt x="66849" y="73054"/>
                    <a:pt x="66849" y="73336"/>
                    <a:pt x="66849" y="73336"/>
                  </a:cubicBezTo>
                  <a:cubicBezTo>
                    <a:pt x="67131" y="73618"/>
                    <a:pt x="67131" y="74182"/>
                    <a:pt x="67131" y="74182"/>
                  </a:cubicBezTo>
                  <a:cubicBezTo>
                    <a:pt x="67131" y="74464"/>
                    <a:pt x="67977" y="74464"/>
                    <a:pt x="68259" y="74464"/>
                  </a:cubicBezTo>
                  <a:cubicBezTo>
                    <a:pt x="68541" y="74182"/>
                    <a:pt x="68541" y="73900"/>
                    <a:pt x="68541" y="73618"/>
                  </a:cubicBezTo>
                  <a:lnTo>
                    <a:pt x="68823" y="73618"/>
                  </a:lnTo>
                  <a:cubicBezTo>
                    <a:pt x="69105" y="73618"/>
                    <a:pt x="69105" y="73618"/>
                    <a:pt x="69105" y="73900"/>
                  </a:cubicBezTo>
                  <a:cubicBezTo>
                    <a:pt x="69387" y="74182"/>
                    <a:pt x="69387" y="74182"/>
                    <a:pt x="69387" y="74464"/>
                  </a:cubicBezTo>
                  <a:cubicBezTo>
                    <a:pt x="69387" y="74746"/>
                    <a:pt x="69387" y="75028"/>
                    <a:pt x="69105" y="75310"/>
                  </a:cubicBezTo>
                  <a:cubicBezTo>
                    <a:pt x="69105" y="75310"/>
                    <a:pt x="68259" y="75875"/>
                    <a:pt x="68259" y="76439"/>
                  </a:cubicBezTo>
                  <a:cubicBezTo>
                    <a:pt x="68259" y="76721"/>
                    <a:pt x="67977" y="76439"/>
                    <a:pt x="67413" y="76439"/>
                  </a:cubicBezTo>
                  <a:lnTo>
                    <a:pt x="67413" y="76157"/>
                  </a:lnTo>
                  <a:cubicBezTo>
                    <a:pt x="66849" y="76721"/>
                    <a:pt x="67131" y="77285"/>
                    <a:pt x="66849" y="77567"/>
                  </a:cubicBezTo>
                  <a:lnTo>
                    <a:pt x="66849" y="78695"/>
                  </a:lnTo>
                  <a:cubicBezTo>
                    <a:pt x="67695" y="78977"/>
                    <a:pt x="67413" y="79823"/>
                    <a:pt x="67695" y="80105"/>
                  </a:cubicBezTo>
                  <a:cubicBezTo>
                    <a:pt x="67695" y="80670"/>
                    <a:pt x="67695" y="80670"/>
                    <a:pt x="67413" y="80670"/>
                  </a:cubicBezTo>
                  <a:cubicBezTo>
                    <a:pt x="67131" y="80105"/>
                    <a:pt x="67131" y="79823"/>
                    <a:pt x="66849" y="79823"/>
                  </a:cubicBezTo>
                  <a:lnTo>
                    <a:pt x="66567" y="80105"/>
                  </a:lnTo>
                  <a:cubicBezTo>
                    <a:pt x="66284" y="80670"/>
                    <a:pt x="65720" y="80952"/>
                    <a:pt x="65720" y="81234"/>
                  </a:cubicBezTo>
                  <a:cubicBezTo>
                    <a:pt x="65156" y="81516"/>
                    <a:pt x="65156" y="81516"/>
                    <a:pt x="65156" y="81798"/>
                  </a:cubicBezTo>
                  <a:cubicBezTo>
                    <a:pt x="65156" y="82080"/>
                    <a:pt x="65156" y="82362"/>
                    <a:pt x="65438" y="82926"/>
                  </a:cubicBezTo>
                  <a:lnTo>
                    <a:pt x="65438" y="83208"/>
                  </a:lnTo>
                  <a:cubicBezTo>
                    <a:pt x="65156" y="83490"/>
                    <a:pt x="65156" y="83772"/>
                    <a:pt x="65156" y="84054"/>
                  </a:cubicBezTo>
                  <a:cubicBezTo>
                    <a:pt x="65156" y="84618"/>
                    <a:pt x="65438" y="84900"/>
                    <a:pt x="65438" y="85183"/>
                  </a:cubicBezTo>
                  <a:cubicBezTo>
                    <a:pt x="65438" y="86029"/>
                    <a:pt x="64874" y="86593"/>
                    <a:pt x="64592" y="86875"/>
                  </a:cubicBezTo>
                  <a:lnTo>
                    <a:pt x="64592" y="87721"/>
                  </a:lnTo>
                  <a:cubicBezTo>
                    <a:pt x="64874" y="88285"/>
                    <a:pt x="64874" y="88567"/>
                    <a:pt x="64874" y="89131"/>
                  </a:cubicBezTo>
                  <a:cubicBezTo>
                    <a:pt x="65438" y="89131"/>
                    <a:pt x="65438" y="89696"/>
                    <a:pt x="66002" y="90542"/>
                  </a:cubicBezTo>
                  <a:cubicBezTo>
                    <a:pt x="66002" y="90824"/>
                    <a:pt x="66002" y="90824"/>
                    <a:pt x="66284" y="90824"/>
                  </a:cubicBezTo>
                  <a:cubicBezTo>
                    <a:pt x="66284" y="90824"/>
                    <a:pt x="66567" y="90824"/>
                    <a:pt x="66849" y="90542"/>
                  </a:cubicBezTo>
                  <a:cubicBezTo>
                    <a:pt x="67131" y="89696"/>
                    <a:pt x="67695" y="89696"/>
                    <a:pt x="67413" y="89413"/>
                  </a:cubicBezTo>
                  <a:cubicBezTo>
                    <a:pt x="67413" y="89131"/>
                    <a:pt x="67977" y="88849"/>
                    <a:pt x="67977" y="88567"/>
                  </a:cubicBezTo>
                  <a:cubicBezTo>
                    <a:pt x="68259" y="88567"/>
                    <a:pt x="69105" y="88003"/>
                    <a:pt x="69105" y="87721"/>
                  </a:cubicBezTo>
                  <a:cubicBezTo>
                    <a:pt x="68823" y="87439"/>
                    <a:pt x="68823" y="87439"/>
                    <a:pt x="68823" y="87157"/>
                  </a:cubicBezTo>
                  <a:cubicBezTo>
                    <a:pt x="68823" y="86875"/>
                    <a:pt x="69105" y="86875"/>
                    <a:pt x="69105" y="86593"/>
                  </a:cubicBezTo>
                  <a:lnTo>
                    <a:pt x="69105" y="86311"/>
                  </a:lnTo>
                  <a:cubicBezTo>
                    <a:pt x="69387" y="86029"/>
                    <a:pt x="69387" y="85465"/>
                    <a:pt x="69669" y="85465"/>
                  </a:cubicBezTo>
                  <a:lnTo>
                    <a:pt x="70233" y="87157"/>
                  </a:lnTo>
                  <a:cubicBezTo>
                    <a:pt x="70233" y="87439"/>
                    <a:pt x="69951" y="88003"/>
                    <a:pt x="69669" y="88003"/>
                  </a:cubicBezTo>
                  <a:cubicBezTo>
                    <a:pt x="69387" y="88285"/>
                    <a:pt x="69105" y="88567"/>
                    <a:pt x="69105" y="88849"/>
                  </a:cubicBezTo>
                  <a:lnTo>
                    <a:pt x="69387" y="89131"/>
                  </a:lnTo>
                  <a:cubicBezTo>
                    <a:pt x="69387" y="89413"/>
                    <a:pt x="69669" y="89696"/>
                    <a:pt x="69669" y="89978"/>
                  </a:cubicBezTo>
                  <a:cubicBezTo>
                    <a:pt x="69669" y="90260"/>
                    <a:pt x="69387" y="90542"/>
                    <a:pt x="69105" y="90542"/>
                  </a:cubicBezTo>
                  <a:cubicBezTo>
                    <a:pt x="69105" y="91106"/>
                    <a:pt x="68541" y="91670"/>
                    <a:pt x="68259" y="92798"/>
                  </a:cubicBezTo>
                  <a:lnTo>
                    <a:pt x="68259" y="94773"/>
                  </a:lnTo>
                  <a:cubicBezTo>
                    <a:pt x="68259" y="95055"/>
                    <a:pt x="67977" y="95055"/>
                    <a:pt x="67695" y="95337"/>
                  </a:cubicBezTo>
                  <a:cubicBezTo>
                    <a:pt x="67413" y="95901"/>
                    <a:pt x="66849" y="97029"/>
                    <a:pt x="66849" y="97593"/>
                  </a:cubicBezTo>
                  <a:cubicBezTo>
                    <a:pt x="66567" y="98439"/>
                    <a:pt x="66567" y="98439"/>
                    <a:pt x="65720" y="98439"/>
                  </a:cubicBezTo>
                  <a:cubicBezTo>
                    <a:pt x="65438" y="98439"/>
                    <a:pt x="65438" y="99004"/>
                    <a:pt x="65438" y="99004"/>
                  </a:cubicBezTo>
                  <a:cubicBezTo>
                    <a:pt x="65438" y="99568"/>
                    <a:pt x="65720" y="100414"/>
                    <a:pt x="65720" y="101260"/>
                  </a:cubicBezTo>
                  <a:lnTo>
                    <a:pt x="65438" y="101542"/>
                  </a:lnTo>
                  <a:lnTo>
                    <a:pt x="64874" y="101542"/>
                  </a:lnTo>
                  <a:cubicBezTo>
                    <a:pt x="64874" y="101260"/>
                    <a:pt x="64592" y="100978"/>
                    <a:pt x="64310" y="100696"/>
                  </a:cubicBezTo>
                  <a:lnTo>
                    <a:pt x="64310" y="97311"/>
                  </a:lnTo>
                  <a:lnTo>
                    <a:pt x="64028" y="97311"/>
                  </a:lnTo>
                  <a:cubicBezTo>
                    <a:pt x="64028" y="97029"/>
                    <a:pt x="64028" y="96747"/>
                    <a:pt x="63746" y="96747"/>
                  </a:cubicBezTo>
                  <a:cubicBezTo>
                    <a:pt x="63464" y="96747"/>
                    <a:pt x="62900" y="97311"/>
                    <a:pt x="62618" y="97593"/>
                  </a:cubicBezTo>
                  <a:cubicBezTo>
                    <a:pt x="62618" y="98439"/>
                    <a:pt x="62054" y="98721"/>
                    <a:pt x="62054" y="99286"/>
                  </a:cubicBezTo>
                  <a:lnTo>
                    <a:pt x="62054" y="99568"/>
                  </a:lnTo>
                  <a:cubicBezTo>
                    <a:pt x="62054" y="99568"/>
                    <a:pt x="62336" y="100414"/>
                    <a:pt x="62336" y="100696"/>
                  </a:cubicBezTo>
                  <a:lnTo>
                    <a:pt x="62054" y="100978"/>
                  </a:lnTo>
                  <a:cubicBezTo>
                    <a:pt x="61208" y="100978"/>
                    <a:pt x="60926" y="101542"/>
                    <a:pt x="60926" y="102388"/>
                  </a:cubicBezTo>
                  <a:cubicBezTo>
                    <a:pt x="60926" y="102388"/>
                    <a:pt x="60643" y="102388"/>
                    <a:pt x="60643" y="102670"/>
                  </a:cubicBezTo>
                  <a:cubicBezTo>
                    <a:pt x="60643" y="103234"/>
                    <a:pt x="59797" y="104081"/>
                    <a:pt x="59797" y="104645"/>
                  </a:cubicBezTo>
                  <a:lnTo>
                    <a:pt x="58105" y="106337"/>
                  </a:lnTo>
                  <a:cubicBezTo>
                    <a:pt x="57823" y="106901"/>
                    <a:pt x="57259" y="106901"/>
                    <a:pt x="57259" y="107465"/>
                  </a:cubicBezTo>
                  <a:lnTo>
                    <a:pt x="57259" y="107747"/>
                  </a:lnTo>
                  <a:cubicBezTo>
                    <a:pt x="56695" y="108030"/>
                    <a:pt x="56695" y="108312"/>
                    <a:pt x="56412" y="108312"/>
                  </a:cubicBezTo>
                  <a:cubicBezTo>
                    <a:pt x="55848" y="108312"/>
                    <a:pt x="55566" y="108594"/>
                    <a:pt x="55566" y="108876"/>
                  </a:cubicBezTo>
                  <a:cubicBezTo>
                    <a:pt x="55284" y="110004"/>
                    <a:pt x="54438" y="110850"/>
                    <a:pt x="54156" y="111414"/>
                  </a:cubicBezTo>
                  <a:cubicBezTo>
                    <a:pt x="53874" y="111414"/>
                    <a:pt x="53874" y="111978"/>
                    <a:pt x="53874" y="111978"/>
                  </a:cubicBezTo>
                  <a:cubicBezTo>
                    <a:pt x="53310" y="112260"/>
                    <a:pt x="53874" y="112825"/>
                    <a:pt x="53028" y="112825"/>
                  </a:cubicBezTo>
                  <a:cubicBezTo>
                    <a:pt x="52746" y="112825"/>
                    <a:pt x="52464" y="113107"/>
                    <a:pt x="51899" y="113107"/>
                  </a:cubicBezTo>
                  <a:lnTo>
                    <a:pt x="51899" y="113953"/>
                  </a:lnTo>
                  <a:lnTo>
                    <a:pt x="49925" y="115363"/>
                  </a:lnTo>
                  <a:lnTo>
                    <a:pt x="49361" y="115363"/>
                  </a:lnTo>
                  <a:lnTo>
                    <a:pt x="49361" y="114235"/>
                  </a:lnTo>
                  <a:cubicBezTo>
                    <a:pt x="49079" y="114235"/>
                    <a:pt x="48797" y="114517"/>
                    <a:pt x="48797" y="114517"/>
                  </a:cubicBezTo>
                  <a:cubicBezTo>
                    <a:pt x="48515" y="114799"/>
                    <a:pt x="48515" y="114799"/>
                    <a:pt x="48515" y="115081"/>
                  </a:cubicBezTo>
                  <a:lnTo>
                    <a:pt x="48515" y="115363"/>
                  </a:lnTo>
                  <a:cubicBezTo>
                    <a:pt x="48515" y="116209"/>
                    <a:pt x="48515" y="116773"/>
                    <a:pt x="47950" y="117055"/>
                  </a:cubicBezTo>
                  <a:cubicBezTo>
                    <a:pt x="47386" y="117055"/>
                    <a:pt x="47386" y="117338"/>
                    <a:pt x="47104" y="117620"/>
                  </a:cubicBezTo>
                  <a:cubicBezTo>
                    <a:pt x="46822" y="118748"/>
                    <a:pt x="46540" y="119312"/>
                    <a:pt x="45694" y="119312"/>
                  </a:cubicBezTo>
                  <a:cubicBezTo>
                    <a:pt x="45412" y="119030"/>
                    <a:pt x="45412" y="118748"/>
                    <a:pt x="45412" y="118748"/>
                  </a:cubicBezTo>
                  <a:close/>
                  <a:moveTo>
                    <a:pt x="2539" y="85747"/>
                  </a:moveTo>
                  <a:lnTo>
                    <a:pt x="2821" y="85747"/>
                  </a:lnTo>
                  <a:lnTo>
                    <a:pt x="2821" y="85465"/>
                  </a:lnTo>
                  <a:cubicBezTo>
                    <a:pt x="2539" y="85465"/>
                    <a:pt x="2539" y="85747"/>
                    <a:pt x="2539" y="85747"/>
                  </a:cubicBezTo>
                  <a:close/>
                  <a:moveTo>
                    <a:pt x="7052" y="114235"/>
                  </a:moveTo>
                  <a:cubicBezTo>
                    <a:pt x="6770" y="113389"/>
                    <a:pt x="6770" y="112825"/>
                    <a:pt x="6206" y="112260"/>
                  </a:cubicBezTo>
                  <a:lnTo>
                    <a:pt x="5359" y="111132"/>
                  </a:lnTo>
                  <a:cubicBezTo>
                    <a:pt x="5359" y="110568"/>
                    <a:pt x="5077" y="110004"/>
                    <a:pt x="4513" y="109440"/>
                  </a:cubicBezTo>
                  <a:cubicBezTo>
                    <a:pt x="4231" y="109440"/>
                    <a:pt x="3949" y="109440"/>
                    <a:pt x="3949" y="109158"/>
                  </a:cubicBezTo>
                  <a:lnTo>
                    <a:pt x="3667" y="109158"/>
                  </a:lnTo>
                  <a:lnTo>
                    <a:pt x="3385" y="108876"/>
                  </a:lnTo>
                  <a:lnTo>
                    <a:pt x="3103" y="108876"/>
                  </a:lnTo>
                  <a:lnTo>
                    <a:pt x="3103" y="110286"/>
                  </a:lnTo>
                  <a:cubicBezTo>
                    <a:pt x="3103" y="110568"/>
                    <a:pt x="3385" y="110850"/>
                    <a:pt x="4231" y="111414"/>
                  </a:cubicBezTo>
                  <a:lnTo>
                    <a:pt x="4231" y="112825"/>
                  </a:lnTo>
                  <a:cubicBezTo>
                    <a:pt x="4231" y="113107"/>
                    <a:pt x="4513" y="113389"/>
                    <a:pt x="4513" y="114235"/>
                  </a:cubicBezTo>
                  <a:cubicBezTo>
                    <a:pt x="4513" y="114235"/>
                    <a:pt x="4513" y="114517"/>
                    <a:pt x="4795" y="114517"/>
                  </a:cubicBezTo>
                  <a:cubicBezTo>
                    <a:pt x="5641" y="114799"/>
                    <a:pt x="5924" y="115081"/>
                    <a:pt x="5924" y="115645"/>
                  </a:cubicBezTo>
                  <a:lnTo>
                    <a:pt x="5924" y="116209"/>
                  </a:lnTo>
                  <a:cubicBezTo>
                    <a:pt x="5924" y="116491"/>
                    <a:pt x="6206" y="116773"/>
                    <a:pt x="6770" y="117055"/>
                  </a:cubicBezTo>
                  <a:lnTo>
                    <a:pt x="6770" y="117338"/>
                  </a:lnTo>
                  <a:cubicBezTo>
                    <a:pt x="7052" y="117338"/>
                    <a:pt x="7052" y="117055"/>
                    <a:pt x="7052" y="117055"/>
                  </a:cubicBezTo>
                  <a:cubicBezTo>
                    <a:pt x="6770" y="116491"/>
                    <a:pt x="6770" y="115927"/>
                    <a:pt x="6770" y="115645"/>
                  </a:cubicBezTo>
                  <a:cubicBezTo>
                    <a:pt x="6770" y="115363"/>
                    <a:pt x="6770" y="115081"/>
                    <a:pt x="7334" y="114799"/>
                  </a:cubicBezTo>
                  <a:cubicBezTo>
                    <a:pt x="7334" y="114517"/>
                    <a:pt x="7334" y="114235"/>
                    <a:pt x="7052" y="114235"/>
                  </a:cubicBezTo>
                  <a:close/>
                  <a:moveTo>
                    <a:pt x="4795" y="77849"/>
                  </a:moveTo>
                  <a:cubicBezTo>
                    <a:pt x="4795" y="77003"/>
                    <a:pt x="4795" y="76721"/>
                    <a:pt x="4513" y="76439"/>
                  </a:cubicBezTo>
                  <a:cubicBezTo>
                    <a:pt x="4513" y="76439"/>
                    <a:pt x="4513" y="76157"/>
                    <a:pt x="4231" y="76157"/>
                  </a:cubicBezTo>
                  <a:lnTo>
                    <a:pt x="3667" y="76157"/>
                  </a:lnTo>
                  <a:cubicBezTo>
                    <a:pt x="3667" y="76439"/>
                    <a:pt x="3667" y="76721"/>
                    <a:pt x="3949" y="76721"/>
                  </a:cubicBezTo>
                  <a:cubicBezTo>
                    <a:pt x="4513" y="77285"/>
                    <a:pt x="4513" y="77849"/>
                    <a:pt x="4513" y="78413"/>
                  </a:cubicBezTo>
                  <a:lnTo>
                    <a:pt x="4513" y="78695"/>
                  </a:lnTo>
                  <a:lnTo>
                    <a:pt x="4795" y="78413"/>
                  </a:lnTo>
                  <a:lnTo>
                    <a:pt x="4795" y="77849"/>
                  </a:lnTo>
                  <a:close/>
                  <a:moveTo>
                    <a:pt x="5641" y="69951"/>
                  </a:moveTo>
                  <a:lnTo>
                    <a:pt x="5924" y="69951"/>
                  </a:lnTo>
                  <a:lnTo>
                    <a:pt x="5924" y="69669"/>
                  </a:lnTo>
                  <a:cubicBezTo>
                    <a:pt x="5924" y="69951"/>
                    <a:pt x="5641" y="69951"/>
                    <a:pt x="5641" y="69951"/>
                  </a:cubicBezTo>
                  <a:close/>
                  <a:moveTo>
                    <a:pt x="7898" y="116491"/>
                  </a:moveTo>
                  <a:cubicBezTo>
                    <a:pt x="7898" y="116491"/>
                    <a:pt x="7898" y="116773"/>
                    <a:pt x="8180" y="117055"/>
                  </a:cubicBezTo>
                  <a:lnTo>
                    <a:pt x="8462" y="117338"/>
                  </a:lnTo>
                  <a:cubicBezTo>
                    <a:pt x="8744" y="117338"/>
                    <a:pt x="8744" y="117055"/>
                    <a:pt x="8744" y="116773"/>
                  </a:cubicBezTo>
                  <a:cubicBezTo>
                    <a:pt x="8462" y="116491"/>
                    <a:pt x="8462" y="116209"/>
                    <a:pt x="8180" y="116209"/>
                  </a:cubicBezTo>
                  <a:cubicBezTo>
                    <a:pt x="7898" y="116209"/>
                    <a:pt x="7898" y="116209"/>
                    <a:pt x="7898" y="116491"/>
                  </a:cubicBezTo>
                  <a:close/>
                  <a:moveTo>
                    <a:pt x="9308" y="119876"/>
                  </a:moveTo>
                  <a:cubicBezTo>
                    <a:pt x="9308" y="119312"/>
                    <a:pt x="9026" y="119312"/>
                    <a:pt x="8462" y="119030"/>
                  </a:cubicBezTo>
                  <a:lnTo>
                    <a:pt x="7898" y="119030"/>
                  </a:lnTo>
                  <a:lnTo>
                    <a:pt x="8180" y="119312"/>
                  </a:lnTo>
                  <a:cubicBezTo>
                    <a:pt x="8462" y="119876"/>
                    <a:pt x="8744" y="120158"/>
                    <a:pt x="8744" y="120722"/>
                  </a:cubicBezTo>
                  <a:lnTo>
                    <a:pt x="8744" y="121004"/>
                  </a:lnTo>
                  <a:cubicBezTo>
                    <a:pt x="9026" y="121004"/>
                    <a:pt x="9026" y="121004"/>
                    <a:pt x="9026" y="121286"/>
                  </a:cubicBezTo>
                  <a:lnTo>
                    <a:pt x="9590" y="120722"/>
                  </a:lnTo>
                  <a:cubicBezTo>
                    <a:pt x="9590" y="120440"/>
                    <a:pt x="9590" y="120440"/>
                    <a:pt x="9308" y="119876"/>
                  </a:cubicBezTo>
                  <a:close/>
                  <a:moveTo>
                    <a:pt x="9872" y="121568"/>
                  </a:moveTo>
                  <a:cubicBezTo>
                    <a:pt x="9872" y="121286"/>
                    <a:pt x="9590" y="121568"/>
                    <a:pt x="9872" y="122133"/>
                  </a:cubicBezTo>
                  <a:cubicBezTo>
                    <a:pt x="9872" y="122415"/>
                    <a:pt x="10436" y="122697"/>
                    <a:pt x="10436" y="122979"/>
                  </a:cubicBezTo>
                  <a:cubicBezTo>
                    <a:pt x="10436" y="122979"/>
                    <a:pt x="10718" y="122979"/>
                    <a:pt x="10718" y="122697"/>
                  </a:cubicBezTo>
                  <a:lnTo>
                    <a:pt x="9872" y="121568"/>
                  </a:lnTo>
                  <a:close/>
                  <a:moveTo>
                    <a:pt x="58387" y="45694"/>
                  </a:moveTo>
                  <a:cubicBezTo>
                    <a:pt x="58387" y="45412"/>
                    <a:pt x="58387" y="45412"/>
                    <a:pt x="58951" y="45130"/>
                  </a:cubicBezTo>
                  <a:cubicBezTo>
                    <a:pt x="58951" y="45130"/>
                    <a:pt x="58387" y="44284"/>
                    <a:pt x="58387" y="44002"/>
                  </a:cubicBezTo>
                  <a:lnTo>
                    <a:pt x="58105" y="43720"/>
                  </a:lnTo>
                  <a:cubicBezTo>
                    <a:pt x="58669" y="43437"/>
                    <a:pt x="58951" y="42873"/>
                    <a:pt x="58951" y="42591"/>
                  </a:cubicBezTo>
                  <a:cubicBezTo>
                    <a:pt x="58951" y="42309"/>
                    <a:pt x="58669" y="42027"/>
                    <a:pt x="58105" y="41463"/>
                  </a:cubicBezTo>
                  <a:cubicBezTo>
                    <a:pt x="57823" y="41463"/>
                    <a:pt x="58105" y="41181"/>
                    <a:pt x="58105" y="41181"/>
                  </a:cubicBezTo>
                  <a:cubicBezTo>
                    <a:pt x="58105" y="40899"/>
                    <a:pt x="58669" y="40617"/>
                    <a:pt x="58669" y="40053"/>
                  </a:cubicBezTo>
                  <a:lnTo>
                    <a:pt x="58669" y="38642"/>
                  </a:lnTo>
                  <a:cubicBezTo>
                    <a:pt x="58387" y="38360"/>
                    <a:pt x="58387" y="37796"/>
                    <a:pt x="58387" y="37514"/>
                  </a:cubicBezTo>
                  <a:cubicBezTo>
                    <a:pt x="58387" y="37232"/>
                    <a:pt x="58387" y="36950"/>
                    <a:pt x="58669" y="36386"/>
                  </a:cubicBezTo>
                  <a:lnTo>
                    <a:pt x="57259" y="36386"/>
                  </a:lnTo>
                  <a:cubicBezTo>
                    <a:pt x="57259" y="36668"/>
                    <a:pt x="56977" y="36668"/>
                    <a:pt x="56977" y="36668"/>
                  </a:cubicBezTo>
                  <a:lnTo>
                    <a:pt x="56977" y="36104"/>
                  </a:lnTo>
                  <a:cubicBezTo>
                    <a:pt x="56977" y="35540"/>
                    <a:pt x="56130" y="35258"/>
                    <a:pt x="56130" y="34976"/>
                  </a:cubicBezTo>
                  <a:lnTo>
                    <a:pt x="56130" y="31027"/>
                  </a:lnTo>
                  <a:cubicBezTo>
                    <a:pt x="56412" y="30463"/>
                    <a:pt x="56412" y="30463"/>
                    <a:pt x="56977" y="30463"/>
                  </a:cubicBezTo>
                  <a:cubicBezTo>
                    <a:pt x="57541" y="30463"/>
                    <a:pt x="57259" y="30745"/>
                    <a:pt x="57541" y="31027"/>
                  </a:cubicBezTo>
                  <a:lnTo>
                    <a:pt x="57823" y="31027"/>
                  </a:lnTo>
                  <a:cubicBezTo>
                    <a:pt x="58105" y="31027"/>
                    <a:pt x="58669" y="30745"/>
                    <a:pt x="58951" y="30463"/>
                  </a:cubicBezTo>
                  <a:cubicBezTo>
                    <a:pt x="58387" y="30181"/>
                    <a:pt x="57823" y="29899"/>
                    <a:pt x="57823" y="29334"/>
                  </a:cubicBezTo>
                  <a:lnTo>
                    <a:pt x="56695" y="28488"/>
                  </a:lnTo>
                  <a:lnTo>
                    <a:pt x="56412" y="28488"/>
                  </a:lnTo>
                  <a:cubicBezTo>
                    <a:pt x="55848" y="28206"/>
                    <a:pt x="55284" y="27924"/>
                    <a:pt x="55284" y="27360"/>
                  </a:cubicBezTo>
                  <a:lnTo>
                    <a:pt x="55284" y="27078"/>
                  </a:lnTo>
                  <a:cubicBezTo>
                    <a:pt x="55284" y="26514"/>
                    <a:pt x="55002" y="25950"/>
                    <a:pt x="54720" y="25386"/>
                  </a:cubicBezTo>
                  <a:lnTo>
                    <a:pt x="53592" y="23975"/>
                  </a:lnTo>
                  <a:cubicBezTo>
                    <a:pt x="53310" y="23411"/>
                    <a:pt x="52464" y="22847"/>
                    <a:pt x="51899" y="22565"/>
                  </a:cubicBezTo>
                  <a:cubicBezTo>
                    <a:pt x="51053" y="22001"/>
                    <a:pt x="50489" y="22001"/>
                    <a:pt x="49643" y="21155"/>
                  </a:cubicBezTo>
                  <a:lnTo>
                    <a:pt x="49643" y="20873"/>
                  </a:lnTo>
                  <a:cubicBezTo>
                    <a:pt x="49643" y="20873"/>
                    <a:pt x="49361" y="20873"/>
                    <a:pt x="49361" y="21155"/>
                  </a:cubicBezTo>
                  <a:cubicBezTo>
                    <a:pt x="49079" y="21437"/>
                    <a:pt x="49079" y="21437"/>
                    <a:pt x="49079" y="21719"/>
                  </a:cubicBezTo>
                  <a:cubicBezTo>
                    <a:pt x="48797" y="22001"/>
                    <a:pt x="48515" y="22001"/>
                    <a:pt x="48233" y="22001"/>
                  </a:cubicBezTo>
                  <a:lnTo>
                    <a:pt x="47668" y="22001"/>
                  </a:lnTo>
                  <a:lnTo>
                    <a:pt x="47668" y="21719"/>
                  </a:lnTo>
                  <a:cubicBezTo>
                    <a:pt x="47386" y="22001"/>
                    <a:pt x="46822" y="22283"/>
                    <a:pt x="46822" y="22565"/>
                  </a:cubicBezTo>
                  <a:lnTo>
                    <a:pt x="46822" y="23693"/>
                  </a:lnTo>
                  <a:cubicBezTo>
                    <a:pt x="46822" y="23975"/>
                    <a:pt x="46822" y="24257"/>
                    <a:pt x="47104" y="24539"/>
                  </a:cubicBezTo>
                  <a:cubicBezTo>
                    <a:pt x="47386" y="25103"/>
                    <a:pt x="47668" y="25386"/>
                    <a:pt x="47668" y="25668"/>
                  </a:cubicBezTo>
                  <a:cubicBezTo>
                    <a:pt x="47668" y="25950"/>
                    <a:pt x="47386" y="26232"/>
                    <a:pt x="47386" y="26514"/>
                  </a:cubicBezTo>
                  <a:lnTo>
                    <a:pt x="47386" y="27078"/>
                  </a:lnTo>
                  <a:cubicBezTo>
                    <a:pt x="48233" y="27360"/>
                    <a:pt x="48233" y="28488"/>
                    <a:pt x="48233" y="29334"/>
                  </a:cubicBezTo>
                  <a:lnTo>
                    <a:pt x="47668" y="29334"/>
                  </a:lnTo>
                  <a:cubicBezTo>
                    <a:pt x="47104" y="28770"/>
                    <a:pt x="46540" y="28488"/>
                    <a:pt x="46540" y="27360"/>
                  </a:cubicBezTo>
                  <a:cubicBezTo>
                    <a:pt x="46540" y="27360"/>
                    <a:pt x="46540" y="27078"/>
                    <a:pt x="46258" y="27078"/>
                  </a:cubicBezTo>
                  <a:cubicBezTo>
                    <a:pt x="45976" y="27078"/>
                    <a:pt x="45694" y="27078"/>
                    <a:pt x="45130" y="27360"/>
                  </a:cubicBezTo>
                  <a:cubicBezTo>
                    <a:pt x="45130" y="27924"/>
                    <a:pt x="44566" y="28206"/>
                    <a:pt x="44002" y="28488"/>
                  </a:cubicBezTo>
                  <a:cubicBezTo>
                    <a:pt x="43720" y="29052"/>
                    <a:pt x="43720" y="29334"/>
                    <a:pt x="43720" y="29616"/>
                  </a:cubicBezTo>
                  <a:cubicBezTo>
                    <a:pt x="43720" y="29899"/>
                    <a:pt x="43720" y="30181"/>
                    <a:pt x="44284" y="30463"/>
                  </a:cubicBezTo>
                  <a:cubicBezTo>
                    <a:pt x="44002" y="31027"/>
                    <a:pt x="44002" y="31591"/>
                    <a:pt x="44002" y="32437"/>
                  </a:cubicBezTo>
                  <a:cubicBezTo>
                    <a:pt x="44002" y="32719"/>
                    <a:pt x="44002" y="32719"/>
                    <a:pt x="43438" y="32719"/>
                  </a:cubicBezTo>
                  <a:cubicBezTo>
                    <a:pt x="43438" y="32719"/>
                    <a:pt x="42874" y="32719"/>
                    <a:pt x="42309" y="33001"/>
                  </a:cubicBezTo>
                  <a:cubicBezTo>
                    <a:pt x="42027" y="33001"/>
                    <a:pt x="42309" y="33283"/>
                    <a:pt x="41745" y="33847"/>
                  </a:cubicBezTo>
                  <a:cubicBezTo>
                    <a:pt x="41181" y="33847"/>
                    <a:pt x="40617" y="34411"/>
                    <a:pt x="40335" y="35258"/>
                  </a:cubicBezTo>
                  <a:cubicBezTo>
                    <a:pt x="40335" y="35822"/>
                    <a:pt x="40053" y="36386"/>
                    <a:pt x="39771" y="36950"/>
                  </a:cubicBezTo>
                  <a:cubicBezTo>
                    <a:pt x="39207" y="37232"/>
                    <a:pt x="39207" y="37796"/>
                    <a:pt x="39207" y="38078"/>
                  </a:cubicBezTo>
                  <a:cubicBezTo>
                    <a:pt x="38925" y="38642"/>
                    <a:pt x="38361" y="39207"/>
                    <a:pt x="38078" y="39207"/>
                  </a:cubicBezTo>
                  <a:lnTo>
                    <a:pt x="37232" y="40335"/>
                  </a:lnTo>
                  <a:lnTo>
                    <a:pt x="37232" y="40617"/>
                  </a:lnTo>
                  <a:cubicBezTo>
                    <a:pt x="37232" y="41181"/>
                    <a:pt x="36950" y="41181"/>
                    <a:pt x="36950" y="41463"/>
                  </a:cubicBezTo>
                  <a:lnTo>
                    <a:pt x="36950" y="41745"/>
                  </a:lnTo>
                  <a:cubicBezTo>
                    <a:pt x="36386" y="42309"/>
                    <a:pt x="36386" y="43155"/>
                    <a:pt x="35540" y="43155"/>
                  </a:cubicBezTo>
                  <a:cubicBezTo>
                    <a:pt x="35258" y="43155"/>
                    <a:pt x="34976" y="43155"/>
                    <a:pt x="34976" y="43437"/>
                  </a:cubicBezTo>
                  <a:cubicBezTo>
                    <a:pt x="34976" y="43720"/>
                    <a:pt x="34412" y="44284"/>
                    <a:pt x="34412" y="44848"/>
                  </a:cubicBezTo>
                  <a:cubicBezTo>
                    <a:pt x="34412" y="45412"/>
                    <a:pt x="34130" y="45694"/>
                    <a:pt x="34130" y="45976"/>
                  </a:cubicBezTo>
                  <a:lnTo>
                    <a:pt x="34130" y="47386"/>
                  </a:lnTo>
                  <a:cubicBezTo>
                    <a:pt x="33847" y="47668"/>
                    <a:pt x="33565" y="47950"/>
                    <a:pt x="33565" y="48233"/>
                  </a:cubicBezTo>
                  <a:cubicBezTo>
                    <a:pt x="32719" y="48797"/>
                    <a:pt x="32437" y="49079"/>
                    <a:pt x="31873" y="50207"/>
                  </a:cubicBezTo>
                  <a:cubicBezTo>
                    <a:pt x="31873" y="50489"/>
                    <a:pt x="31873" y="50771"/>
                    <a:pt x="31591" y="50771"/>
                  </a:cubicBezTo>
                  <a:cubicBezTo>
                    <a:pt x="31591" y="51053"/>
                    <a:pt x="31591" y="51335"/>
                    <a:pt x="31309" y="51617"/>
                  </a:cubicBezTo>
                  <a:cubicBezTo>
                    <a:pt x="31309" y="51617"/>
                    <a:pt x="31309" y="51899"/>
                    <a:pt x="31591" y="51899"/>
                  </a:cubicBezTo>
                  <a:cubicBezTo>
                    <a:pt x="31873" y="52181"/>
                    <a:pt x="31873" y="52463"/>
                    <a:pt x="31873" y="52463"/>
                  </a:cubicBezTo>
                  <a:cubicBezTo>
                    <a:pt x="31873" y="52745"/>
                    <a:pt x="31873" y="52745"/>
                    <a:pt x="31591" y="53028"/>
                  </a:cubicBezTo>
                  <a:lnTo>
                    <a:pt x="31027" y="53028"/>
                  </a:lnTo>
                  <a:cubicBezTo>
                    <a:pt x="30463" y="53592"/>
                    <a:pt x="30463" y="54156"/>
                    <a:pt x="30463" y="54438"/>
                  </a:cubicBezTo>
                  <a:lnTo>
                    <a:pt x="30463" y="54720"/>
                  </a:lnTo>
                  <a:cubicBezTo>
                    <a:pt x="29899" y="55002"/>
                    <a:pt x="30181" y="55566"/>
                    <a:pt x="29616" y="55566"/>
                  </a:cubicBezTo>
                  <a:lnTo>
                    <a:pt x="29616" y="56412"/>
                  </a:lnTo>
                  <a:cubicBezTo>
                    <a:pt x="29616" y="56694"/>
                    <a:pt x="29899" y="56976"/>
                    <a:pt x="29899" y="56976"/>
                  </a:cubicBezTo>
                  <a:cubicBezTo>
                    <a:pt x="29899" y="57258"/>
                    <a:pt x="29616" y="57258"/>
                    <a:pt x="29616" y="57258"/>
                  </a:cubicBezTo>
                  <a:lnTo>
                    <a:pt x="29616" y="57823"/>
                  </a:lnTo>
                  <a:cubicBezTo>
                    <a:pt x="29334" y="58105"/>
                    <a:pt x="29052" y="58669"/>
                    <a:pt x="29052" y="58951"/>
                  </a:cubicBezTo>
                  <a:lnTo>
                    <a:pt x="29052" y="59233"/>
                  </a:lnTo>
                  <a:cubicBezTo>
                    <a:pt x="29052" y="59515"/>
                    <a:pt x="28770" y="59515"/>
                    <a:pt x="28770" y="59515"/>
                  </a:cubicBezTo>
                  <a:cubicBezTo>
                    <a:pt x="28206" y="59797"/>
                    <a:pt x="27924" y="60079"/>
                    <a:pt x="27642" y="60643"/>
                  </a:cubicBezTo>
                  <a:cubicBezTo>
                    <a:pt x="27360" y="61207"/>
                    <a:pt x="27078" y="61771"/>
                    <a:pt x="27078" y="62336"/>
                  </a:cubicBezTo>
                  <a:cubicBezTo>
                    <a:pt x="27078" y="62618"/>
                    <a:pt x="27078" y="62900"/>
                    <a:pt x="27642" y="63182"/>
                  </a:cubicBezTo>
                  <a:cubicBezTo>
                    <a:pt x="27924" y="63182"/>
                    <a:pt x="27924" y="63464"/>
                    <a:pt x="27924" y="63746"/>
                  </a:cubicBezTo>
                  <a:cubicBezTo>
                    <a:pt x="27924" y="64310"/>
                    <a:pt x="27360" y="64874"/>
                    <a:pt x="27078" y="64874"/>
                  </a:cubicBezTo>
                  <a:cubicBezTo>
                    <a:pt x="26232" y="65156"/>
                    <a:pt x="25668" y="65438"/>
                    <a:pt x="25668" y="66002"/>
                  </a:cubicBezTo>
                  <a:cubicBezTo>
                    <a:pt x="25668" y="66284"/>
                    <a:pt x="25950" y="66566"/>
                    <a:pt x="25950" y="66849"/>
                  </a:cubicBezTo>
                  <a:cubicBezTo>
                    <a:pt x="26232" y="66849"/>
                    <a:pt x="26232" y="67131"/>
                    <a:pt x="26232" y="67131"/>
                  </a:cubicBezTo>
                  <a:cubicBezTo>
                    <a:pt x="26232" y="67977"/>
                    <a:pt x="26232" y="68259"/>
                    <a:pt x="25668" y="68541"/>
                  </a:cubicBezTo>
                  <a:cubicBezTo>
                    <a:pt x="25104" y="68541"/>
                    <a:pt x="25104" y="68823"/>
                    <a:pt x="25104" y="69105"/>
                  </a:cubicBezTo>
                  <a:cubicBezTo>
                    <a:pt x="24822" y="69669"/>
                    <a:pt x="24540" y="69951"/>
                    <a:pt x="24540" y="71079"/>
                  </a:cubicBezTo>
                  <a:cubicBezTo>
                    <a:pt x="24540" y="71362"/>
                    <a:pt x="24258" y="71362"/>
                    <a:pt x="24258" y="71362"/>
                  </a:cubicBezTo>
                  <a:cubicBezTo>
                    <a:pt x="24258" y="71926"/>
                    <a:pt x="23975" y="72208"/>
                    <a:pt x="23411" y="72490"/>
                  </a:cubicBezTo>
                  <a:cubicBezTo>
                    <a:pt x="23411" y="72772"/>
                    <a:pt x="23693" y="73336"/>
                    <a:pt x="23975" y="73900"/>
                  </a:cubicBezTo>
                  <a:cubicBezTo>
                    <a:pt x="23975" y="74182"/>
                    <a:pt x="23693" y="74464"/>
                    <a:pt x="23693" y="74746"/>
                  </a:cubicBezTo>
                  <a:cubicBezTo>
                    <a:pt x="23693" y="75028"/>
                    <a:pt x="23129" y="75592"/>
                    <a:pt x="22847" y="75875"/>
                  </a:cubicBezTo>
                  <a:lnTo>
                    <a:pt x="22847" y="77003"/>
                  </a:lnTo>
                  <a:cubicBezTo>
                    <a:pt x="22565" y="77567"/>
                    <a:pt x="22847" y="78413"/>
                    <a:pt x="22001" y="78695"/>
                  </a:cubicBezTo>
                  <a:cubicBezTo>
                    <a:pt x="22283" y="79259"/>
                    <a:pt x="22283" y="79823"/>
                    <a:pt x="22283" y="80105"/>
                  </a:cubicBezTo>
                  <a:lnTo>
                    <a:pt x="22283" y="81234"/>
                  </a:lnTo>
                  <a:cubicBezTo>
                    <a:pt x="22283" y="81516"/>
                    <a:pt x="22283" y="81516"/>
                    <a:pt x="22001" y="81516"/>
                  </a:cubicBezTo>
                  <a:cubicBezTo>
                    <a:pt x="21719" y="81798"/>
                    <a:pt x="21719" y="82362"/>
                    <a:pt x="21719" y="82644"/>
                  </a:cubicBezTo>
                  <a:lnTo>
                    <a:pt x="21719" y="82926"/>
                  </a:lnTo>
                  <a:cubicBezTo>
                    <a:pt x="21719" y="83208"/>
                    <a:pt x="21437" y="83208"/>
                    <a:pt x="21437" y="83208"/>
                  </a:cubicBezTo>
                  <a:cubicBezTo>
                    <a:pt x="21155" y="83208"/>
                    <a:pt x="21155" y="83208"/>
                    <a:pt x="21155" y="83490"/>
                  </a:cubicBezTo>
                  <a:cubicBezTo>
                    <a:pt x="21155" y="83772"/>
                    <a:pt x="21437" y="84336"/>
                    <a:pt x="21437" y="84618"/>
                  </a:cubicBezTo>
                  <a:lnTo>
                    <a:pt x="21437" y="84900"/>
                  </a:lnTo>
                  <a:cubicBezTo>
                    <a:pt x="20873" y="85183"/>
                    <a:pt x="20873" y="85465"/>
                    <a:pt x="20873" y="85747"/>
                  </a:cubicBezTo>
                  <a:cubicBezTo>
                    <a:pt x="20873" y="86029"/>
                    <a:pt x="20873" y="86311"/>
                    <a:pt x="21155" y="86593"/>
                  </a:cubicBezTo>
                  <a:cubicBezTo>
                    <a:pt x="21155" y="86593"/>
                    <a:pt x="21155" y="87157"/>
                    <a:pt x="20873" y="87721"/>
                  </a:cubicBezTo>
                  <a:cubicBezTo>
                    <a:pt x="21155" y="88003"/>
                    <a:pt x="20027" y="88567"/>
                    <a:pt x="20027" y="89131"/>
                  </a:cubicBezTo>
                  <a:cubicBezTo>
                    <a:pt x="20309" y="89413"/>
                    <a:pt x="20309" y="89696"/>
                    <a:pt x="20309" y="89978"/>
                  </a:cubicBezTo>
                  <a:lnTo>
                    <a:pt x="20309" y="90824"/>
                  </a:lnTo>
                  <a:cubicBezTo>
                    <a:pt x="20027" y="91106"/>
                    <a:pt x="20027" y="91670"/>
                    <a:pt x="20027" y="91952"/>
                  </a:cubicBezTo>
                  <a:lnTo>
                    <a:pt x="20027" y="93080"/>
                  </a:lnTo>
                  <a:cubicBezTo>
                    <a:pt x="19744" y="93362"/>
                    <a:pt x="19744" y="93362"/>
                    <a:pt x="19744" y="93644"/>
                  </a:cubicBezTo>
                  <a:cubicBezTo>
                    <a:pt x="19744" y="94208"/>
                    <a:pt x="20027" y="94773"/>
                    <a:pt x="20309" y="95337"/>
                  </a:cubicBezTo>
                  <a:lnTo>
                    <a:pt x="20309" y="95619"/>
                  </a:lnTo>
                  <a:cubicBezTo>
                    <a:pt x="19744" y="95901"/>
                    <a:pt x="19744" y="96183"/>
                    <a:pt x="19744" y="96465"/>
                  </a:cubicBezTo>
                  <a:lnTo>
                    <a:pt x="19744" y="97311"/>
                  </a:lnTo>
                  <a:cubicBezTo>
                    <a:pt x="19744" y="97875"/>
                    <a:pt x="19462" y="98439"/>
                    <a:pt x="19462" y="99004"/>
                  </a:cubicBezTo>
                  <a:cubicBezTo>
                    <a:pt x="19462" y="99568"/>
                    <a:pt x="20027" y="99568"/>
                    <a:pt x="20309" y="100132"/>
                  </a:cubicBezTo>
                  <a:cubicBezTo>
                    <a:pt x="20591" y="100414"/>
                    <a:pt x="19744" y="100696"/>
                    <a:pt x="19744" y="100978"/>
                  </a:cubicBezTo>
                  <a:cubicBezTo>
                    <a:pt x="19462" y="101542"/>
                    <a:pt x="19462" y="102106"/>
                    <a:pt x="19462" y="102388"/>
                  </a:cubicBezTo>
                  <a:cubicBezTo>
                    <a:pt x="19462" y="102952"/>
                    <a:pt x="19462" y="103234"/>
                    <a:pt x="20027" y="104081"/>
                  </a:cubicBezTo>
                  <a:cubicBezTo>
                    <a:pt x="20027" y="104363"/>
                    <a:pt x="19744" y="104645"/>
                    <a:pt x="19744" y="104645"/>
                  </a:cubicBezTo>
                  <a:lnTo>
                    <a:pt x="19180" y="104645"/>
                  </a:lnTo>
                  <a:lnTo>
                    <a:pt x="18898" y="104927"/>
                  </a:lnTo>
                  <a:cubicBezTo>
                    <a:pt x="18616" y="104927"/>
                    <a:pt x="19180" y="105773"/>
                    <a:pt x="19180" y="106055"/>
                  </a:cubicBezTo>
                  <a:cubicBezTo>
                    <a:pt x="20873" y="107183"/>
                    <a:pt x="21155" y="107465"/>
                    <a:pt x="21155" y="108876"/>
                  </a:cubicBezTo>
                  <a:lnTo>
                    <a:pt x="21155" y="109158"/>
                  </a:lnTo>
                  <a:cubicBezTo>
                    <a:pt x="21155" y="109722"/>
                    <a:pt x="21437" y="110286"/>
                    <a:pt x="21437" y="110850"/>
                  </a:cubicBezTo>
                  <a:cubicBezTo>
                    <a:pt x="22001" y="111414"/>
                    <a:pt x="22283" y="111414"/>
                    <a:pt x="22283" y="112260"/>
                  </a:cubicBezTo>
                  <a:cubicBezTo>
                    <a:pt x="22283" y="112825"/>
                    <a:pt x="22847" y="113389"/>
                    <a:pt x="23411" y="114517"/>
                  </a:cubicBezTo>
                  <a:cubicBezTo>
                    <a:pt x="23975" y="114799"/>
                    <a:pt x="24540" y="114799"/>
                    <a:pt x="25104" y="114799"/>
                  </a:cubicBezTo>
                  <a:lnTo>
                    <a:pt x="26232" y="114799"/>
                  </a:lnTo>
                  <a:cubicBezTo>
                    <a:pt x="26796" y="114799"/>
                    <a:pt x="27360" y="114517"/>
                    <a:pt x="28206" y="114235"/>
                  </a:cubicBezTo>
                  <a:cubicBezTo>
                    <a:pt x="28770" y="114235"/>
                    <a:pt x="28770" y="113671"/>
                    <a:pt x="29052" y="113671"/>
                  </a:cubicBezTo>
                  <a:cubicBezTo>
                    <a:pt x="29616" y="113389"/>
                    <a:pt x="30181" y="112825"/>
                    <a:pt x="30463" y="112825"/>
                  </a:cubicBezTo>
                  <a:cubicBezTo>
                    <a:pt x="31027" y="112825"/>
                    <a:pt x="31027" y="112260"/>
                    <a:pt x="31591" y="112260"/>
                  </a:cubicBezTo>
                  <a:cubicBezTo>
                    <a:pt x="32155" y="112260"/>
                    <a:pt x="32437" y="111414"/>
                    <a:pt x="33001" y="111414"/>
                  </a:cubicBezTo>
                  <a:cubicBezTo>
                    <a:pt x="34130" y="111414"/>
                    <a:pt x="33847" y="110004"/>
                    <a:pt x="34694" y="110004"/>
                  </a:cubicBezTo>
                  <a:cubicBezTo>
                    <a:pt x="35258" y="109440"/>
                    <a:pt x="35258" y="108876"/>
                    <a:pt x="35822" y="108876"/>
                  </a:cubicBezTo>
                  <a:cubicBezTo>
                    <a:pt x="36386" y="108312"/>
                    <a:pt x="36668" y="108030"/>
                    <a:pt x="37514" y="107747"/>
                  </a:cubicBezTo>
                  <a:lnTo>
                    <a:pt x="38643" y="106337"/>
                  </a:lnTo>
                  <a:cubicBezTo>
                    <a:pt x="38925" y="106055"/>
                    <a:pt x="39771" y="105491"/>
                    <a:pt x="40053" y="104645"/>
                  </a:cubicBezTo>
                  <a:cubicBezTo>
                    <a:pt x="40617" y="103799"/>
                    <a:pt x="41463" y="103234"/>
                    <a:pt x="41745" y="102388"/>
                  </a:cubicBezTo>
                  <a:lnTo>
                    <a:pt x="41745" y="101824"/>
                  </a:lnTo>
                  <a:cubicBezTo>
                    <a:pt x="42027" y="101542"/>
                    <a:pt x="42309" y="101542"/>
                    <a:pt x="42309" y="100978"/>
                  </a:cubicBezTo>
                  <a:cubicBezTo>
                    <a:pt x="42309" y="100696"/>
                    <a:pt x="42592" y="100414"/>
                    <a:pt x="42592" y="100132"/>
                  </a:cubicBezTo>
                  <a:lnTo>
                    <a:pt x="42592" y="99850"/>
                  </a:lnTo>
                  <a:cubicBezTo>
                    <a:pt x="42874" y="99850"/>
                    <a:pt x="43438" y="99568"/>
                    <a:pt x="43438" y="99568"/>
                  </a:cubicBezTo>
                  <a:lnTo>
                    <a:pt x="43438" y="99286"/>
                  </a:lnTo>
                  <a:cubicBezTo>
                    <a:pt x="43438" y="98439"/>
                    <a:pt x="44002" y="98157"/>
                    <a:pt x="44566" y="97593"/>
                  </a:cubicBezTo>
                  <a:cubicBezTo>
                    <a:pt x="44848" y="97593"/>
                    <a:pt x="44848" y="97029"/>
                    <a:pt x="44848" y="96465"/>
                  </a:cubicBezTo>
                  <a:cubicBezTo>
                    <a:pt x="45412" y="95901"/>
                    <a:pt x="45412" y="95619"/>
                    <a:pt x="45412" y="95337"/>
                  </a:cubicBezTo>
                  <a:cubicBezTo>
                    <a:pt x="45412" y="94491"/>
                    <a:pt x="46540" y="94491"/>
                    <a:pt x="46540" y="93644"/>
                  </a:cubicBezTo>
                  <a:cubicBezTo>
                    <a:pt x="46258" y="93362"/>
                    <a:pt x="46258" y="93362"/>
                    <a:pt x="46258" y="93080"/>
                  </a:cubicBezTo>
                  <a:cubicBezTo>
                    <a:pt x="46258" y="92798"/>
                    <a:pt x="46540" y="92516"/>
                    <a:pt x="46540" y="92234"/>
                  </a:cubicBezTo>
                  <a:lnTo>
                    <a:pt x="46540" y="91952"/>
                  </a:lnTo>
                  <a:cubicBezTo>
                    <a:pt x="46822" y="91670"/>
                    <a:pt x="47104" y="91388"/>
                    <a:pt x="47668" y="91388"/>
                  </a:cubicBezTo>
                  <a:cubicBezTo>
                    <a:pt x="47950" y="91388"/>
                    <a:pt x="47950" y="91106"/>
                    <a:pt x="47950" y="90824"/>
                  </a:cubicBezTo>
                  <a:lnTo>
                    <a:pt x="47950" y="89978"/>
                  </a:lnTo>
                  <a:cubicBezTo>
                    <a:pt x="47950" y="89696"/>
                    <a:pt x="48233" y="89413"/>
                    <a:pt x="48233" y="89131"/>
                  </a:cubicBezTo>
                  <a:lnTo>
                    <a:pt x="48233" y="88849"/>
                  </a:lnTo>
                  <a:cubicBezTo>
                    <a:pt x="48233" y="88567"/>
                    <a:pt x="48515" y="88285"/>
                    <a:pt x="48797" y="87721"/>
                  </a:cubicBezTo>
                  <a:cubicBezTo>
                    <a:pt x="48515" y="87721"/>
                    <a:pt x="48797" y="87157"/>
                    <a:pt x="49079" y="86875"/>
                  </a:cubicBezTo>
                  <a:cubicBezTo>
                    <a:pt x="49361" y="86593"/>
                    <a:pt x="49361" y="86593"/>
                    <a:pt x="49361" y="86311"/>
                  </a:cubicBezTo>
                  <a:lnTo>
                    <a:pt x="49361" y="85747"/>
                  </a:lnTo>
                  <a:cubicBezTo>
                    <a:pt x="49361" y="85465"/>
                    <a:pt x="49925" y="84900"/>
                    <a:pt x="49925" y="84336"/>
                  </a:cubicBezTo>
                  <a:cubicBezTo>
                    <a:pt x="49925" y="84054"/>
                    <a:pt x="49643" y="83772"/>
                    <a:pt x="49643" y="83490"/>
                  </a:cubicBezTo>
                  <a:cubicBezTo>
                    <a:pt x="49643" y="83490"/>
                    <a:pt x="49925" y="83208"/>
                    <a:pt x="50207" y="83208"/>
                  </a:cubicBezTo>
                  <a:cubicBezTo>
                    <a:pt x="50489" y="82926"/>
                    <a:pt x="50489" y="82644"/>
                    <a:pt x="50489" y="82644"/>
                  </a:cubicBezTo>
                  <a:cubicBezTo>
                    <a:pt x="50489" y="82362"/>
                    <a:pt x="50771" y="82080"/>
                    <a:pt x="50771" y="81798"/>
                  </a:cubicBezTo>
                  <a:cubicBezTo>
                    <a:pt x="50771" y="81516"/>
                    <a:pt x="50771" y="81234"/>
                    <a:pt x="51335" y="81234"/>
                  </a:cubicBezTo>
                  <a:lnTo>
                    <a:pt x="51335" y="79823"/>
                  </a:lnTo>
                  <a:cubicBezTo>
                    <a:pt x="51335" y="79541"/>
                    <a:pt x="51335" y="79259"/>
                    <a:pt x="51053" y="78695"/>
                  </a:cubicBezTo>
                  <a:lnTo>
                    <a:pt x="51053" y="78413"/>
                  </a:lnTo>
                  <a:cubicBezTo>
                    <a:pt x="51335" y="78413"/>
                    <a:pt x="51335" y="78413"/>
                    <a:pt x="51335" y="78131"/>
                  </a:cubicBezTo>
                  <a:cubicBezTo>
                    <a:pt x="51335" y="78131"/>
                    <a:pt x="51335" y="77849"/>
                    <a:pt x="51617" y="77567"/>
                  </a:cubicBezTo>
                  <a:cubicBezTo>
                    <a:pt x="51899" y="77285"/>
                    <a:pt x="51899" y="77285"/>
                    <a:pt x="51899" y="77003"/>
                  </a:cubicBezTo>
                  <a:cubicBezTo>
                    <a:pt x="51899" y="76721"/>
                    <a:pt x="51617" y="76157"/>
                    <a:pt x="51617" y="75875"/>
                  </a:cubicBezTo>
                  <a:cubicBezTo>
                    <a:pt x="51617" y="75875"/>
                    <a:pt x="51899" y="75310"/>
                    <a:pt x="51899" y="75028"/>
                  </a:cubicBezTo>
                  <a:cubicBezTo>
                    <a:pt x="52464" y="74746"/>
                    <a:pt x="52464" y="74746"/>
                    <a:pt x="52464" y="74464"/>
                  </a:cubicBezTo>
                  <a:lnTo>
                    <a:pt x="52464" y="74182"/>
                  </a:lnTo>
                  <a:cubicBezTo>
                    <a:pt x="52464" y="73618"/>
                    <a:pt x="52746" y="73336"/>
                    <a:pt x="52746" y="73336"/>
                  </a:cubicBezTo>
                  <a:lnTo>
                    <a:pt x="52746" y="73054"/>
                  </a:lnTo>
                  <a:cubicBezTo>
                    <a:pt x="52746" y="72490"/>
                    <a:pt x="53310" y="71926"/>
                    <a:pt x="53310" y="71079"/>
                  </a:cubicBezTo>
                  <a:cubicBezTo>
                    <a:pt x="53028" y="70515"/>
                    <a:pt x="53028" y="70233"/>
                    <a:pt x="53028" y="69951"/>
                  </a:cubicBezTo>
                  <a:cubicBezTo>
                    <a:pt x="53028" y="69669"/>
                    <a:pt x="53028" y="69387"/>
                    <a:pt x="53310" y="69105"/>
                  </a:cubicBezTo>
                  <a:cubicBezTo>
                    <a:pt x="53310" y="68823"/>
                    <a:pt x="53592" y="68541"/>
                    <a:pt x="53592" y="68259"/>
                  </a:cubicBezTo>
                  <a:lnTo>
                    <a:pt x="53592" y="67977"/>
                  </a:lnTo>
                  <a:cubicBezTo>
                    <a:pt x="53592" y="67695"/>
                    <a:pt x="53310" y="67131"/>
                    <a:pt x="53310" y="66849"/>
                  </a:cubicBezTo>
                  <a:cubicBezTo>
                    <a:pt x="53310" y="66566"/>
                    <a:pt x="53592" y="66284"/>
                    <a:pt x="53874" y="66002"/>
                  </a:cubicBezTo>
                  <a:lnTo>
                    <a:pt x="53874" y="65156"/>
                  </a:lnTo>
                  <a:cubicBezTo>
                    <a:pt x="53874" y="64874"/>
                    <a:pt x="53874" y="64874"/>
                    <a:pt x="54156" y="64874"/>
                  </a:cubicBezTo>
                  <a:cubicBezTo>
                    <a:pt x="54438" y="64592"/>
                    <a:pt x="54438" y="64310"/>
                    <a:pt x="54438" y="64028"/>
                  </a:cubicBezTo>
                  <a:lnTo>
                    <a:pt x="54438" y="62054"/>
                  </a:lnTo>
                  <a:cubicBezTo>
                    <a:pt x="54720" y="61771"/>
                    <a:pt x="55002" y="61771"/>
                    <a:pt x="55002" y="61771"/>
                  </a:cubicBezTo>
                  <a:cubicBezTo>
                    <a:pt x="55848" y="61771"/>
                    <a:pt x="55848" y="61771"/>
                    <a:pt x="55848" y="61207"/>
                  </a:cubicBezTo>
                  <a:cubicBezTo>
                    <a:pt x="55848" y="60925"/>
                    <a:pt x="55566" y="60361"/>
                    <a:pt x="55566" y="60079"/>
                  </a:cubicBezTo>
                  <a:cubicBezTo>
                    <a:pt x="55848" y="59515"/>
                    <a:pt x="55848" y="59233"/>
                    <a:pt x="55848" y="59233"/>
                  </a:cubicBezTo>
                  <a:cubicBezTo>
                    <a:pt x="56412" y="58951"/>
                    <a:pt x="56130" y="58387"/>
                    <a:pt x="56695" y="58105"/>
                  </a:cubicBezTo>
                  <a:cubicBezTo>
                    <a:pt x="56977" y="57823"/>
                    <a:pt x="56977" y="57541"/>
                    <a:pt x="56977" y="57258"/>
                  </a:cubicBezTo>
                  <a:lnTo>
                    <a:pt x="56977" y="56412"/>
                  </a:lnTo>
                  <a:cubicBezTo>
                    <a:pt x="57259" y="55848"/>
                    <a:pt x="56977" y="55002"/>
                    <a:pt x="57541" y="54720"/>
                  </a:cubicBezTo>
                  <a:cubicBezTo>
                    <a:pt x="57259" y="54438"/>
                    <a:pt x="56977" y="53874"/>
                    <a:pt x="56977" y="53592"/>
                  </a:cubicBezTo>
                  <a:cubicBezTo>
                    <a:pt x="56977" y="53028"/>
                    <a:pt x="57541" y="52745"/>
                    <a:pt x="57823" y="52463"/>
                  </a:cubicBezTo>
                  <a:cubicBezTo>
                    <a:pt x="57541" y="52181"/>
                    <a:pt x="57259" y="51899"/>
                    <a:pt x="57259" y="51617"/>
                  </a:cubicBezTo>
                  <a:cubicBezTo>
                    <a:pt x="57259" y="51335"/>
                    <a:pt x="57541" y="50771"/>
                    <a:pt x="57541" y="50489"/>
                  </a:cubicBezTo>
                  <a:lnTo>
                    <a:pt x="57541" y="50207"/>
                  </a:lnTo>
                  <a:cubicBezTo>
                    <a:pt x="57541" y="49925"/>
                    <a:pt x="58105" y="49643"/>
                    <a:pt x="58387" y="49361"/>
                  </a:cubicBezTo>
                  <a:lnTo>
                    <a:pt x="58387" y="47950"/>
                  </a:lnTo>
                  <a:cubicBezTo>
                    <a:pt x="58105" y="47668"/>
                    <a:pt x="58105" y="47668"/>
                    <a:pt x="58105" y="47386"/>
                  </a:cubicBezTo>
                  <a:cubicBezTo>
                    <a:pt x="58105" y="47104"/>
                    <a:pt x="58387" y="46822"/>
                    <a:pt x="58387" y="46258"/>
                  </a:cubicBezTo>
                  <a:lnTo>
                    <a:pt x="58387" y="45694"/>
                  </a:lnTo>
                  <a:close/>
                  <a:moveTo>
                    <a:pt x="19180" y="85747"/>
                  </a:moveTo>
                  <a:cubicBezTo>
                    <a:pt x="19180" y="86029"/>
                    <a:pt x="19180" y="86029"/>
                    <a:pt x="19462" y="86311"/>
                  </a:cubicBezTo>
                  <a:cubicBezTo>
                    <a:pt x="19462" y="85747"/>
                    <a:pt x="20027" y="85465"/>
                    <a:pt x="20591" y="85183"/>
                  </a:cubicBezTo>
                  <a:cubicBezTo>
                    <a:pt x="20591" y="85183"/>
                    <a:pt x="20591" y="84900"/>
                    <a:pt x="20309" y="84900"/>
                  </a:cubicBezTo>
                  <a:cubicBezTo>
                    <a:pt x="20309" y="84618"/>
                    <a:pt x="20027" y="84618"/>
                    <a:pt x="20027" y="84618"/>
                  </a:cubicBezTo>
                  <a:lnTo>
                    <a:pt x="19462" y="85183"/>
                  </a:lnTo>
                  <a:cubicBezTo>
                    <a:pt x="19180" y="85465"/>
                    <a:pt x="19180" y="85465"/>
                    <a:pt x="19180" y="85747"/>
                  </a:cubicBezTo>
                  <a:close/>
                  <a:moveTo>
                    <a:pt x="37232" y="124953"/>
                  </a:moveTo>
                  <a:cubicBezTo>
                    <a:pt x="36668" y="124953"/>
                    <a:pt x="36668" y="124671"/>
                    <a:pt x="36668" y="124671"/>
                  </a:cubicBezTo>
                  <a:cubicBezTo>
                    <a:pt x="36104" y="124671"/>
                    <a:pt x="35822" y="125235"/>
                    <a:pt x="35822" y="125235"/>
                  </a:cubicBezTo>
                  <a:lnTo>
                    <a:pt x="35822" y="125517"/>
                  </a:lnTo>
                  <a:cubicBezTo>
                    <a:pt x="36668" y="125517"/>
                    <a:pt x="36668" y="125235"/>
                    <a:pt x="37232" y="124953"/>
                  </a:cubicBezTo>
                  <a:close/>
                  <a:moveTo>
                    <a:pt x="54156" y="113953"/>
                  </a:moveTo>
                  <a:cubicBezTo>
                    <a:pt x="54438" y="113953"/>
                    <a:pt x="54720" y="114235"/>
                    <a:pt x="54720" y="114235"/>
                  </a:cubicBezTo>
                  <a:lnTo>
                    <a:pt x="54438" y="114517"/>
                  </a:lnTo>
                  <a:lnTo>
                    <a:pt x="54156" y="114517"/>
                  </a:lnTo>
                  <a:cubicBezTo>
                    <a:pt x="53592" y="115081"/>
                    <a:pt x="53028" y="115363"/>
                    <a:pt x="52746" y="116491"/>
                  </a:cubicBezTo>
                  <a:lnTo>
                    <a:pt x="52464" y="116491"/>
                  </a:lnTo>
                  <a:lnTo>
                    <a:pt x="51617" y="115645"/>
                  </a:lnTo>
                  <a:lnTo>
                    <a:pt x="51617" y="115363"/>
                  </a:lnTo>
                  <a:lnTo>
                    <a:pt x="53874" y="113671"/>
                  </a:lnTo>
                  <a:cubicBezTo>
                    <a:pt x="53874" y="113671"/>
                    <a:pt x="54156" y="113671"/>
                    <a:pt x="54156" y="113953"/>
                  </a:cubicBezTo>
                  <a:close/>
                  <a:moveTo>
                    <a:pt x="58105" y="33565"/>
                  </a:moveTo>
                  <a:cubicBezTo>
                    <a:pt x="58105" y="33283"/>
                    <a:pt x="57823" y="33283"/>
                    <a:pt x="57541" y="33283"/>
                  </a:cubicBezTo>
                  <a:cubicBezTo>
                    <a:pt x="57259" y="33283"/>
                    <a:pt x="57259" y="33565"/>
                    <a:pt x="56977" y="33847"/>
                  </a:cubicBezTo>
                  <a:lnTo>
                    <a:pt x="56977" y="34976"/>
                  </a:lnTo>
                  <a:cubicBezTo>
                    <a:pt x="57541" y="34976"/>
                    <a:pt x="58105" y="34976"/>
                    <a:pt x="58105" y="34411"/>
                  </a:cubicBezTo>
                  <a:lnTo>
                    <a:pt x="58105" y="33565"/>
                  </a:lnTo>
                  <a:close/>
                  <a:moveTo>
                    <a:pt x="61772" y="104927"/>
                  </a:moveTo>
                  <a:cubicBezTo>
                    <a:pt x="62054" y="104927"/>
                    <a:pt x="62054" y="105209"/>
                    <a:pt x="62336" y="105491"/>
                  </a:cubicBezTo>
                  <a:lnTo>
                    <a:pt x="62618" y="105773"/>
                  </a:lnTo>
                  <a:cubicBezTo>
                    <a:pt x="62336" y="106337"/>
                    <a:pt x="61208" y="107183"/>
                    <a:pt x="60643" y="108030"/>
                  </a:cubicBezTo>
                  <a:cubicBezTo>
                    <a:pt x="60079" y="108030"/>
                    <a:pt x="60079" y="108030"/>
                    <a:pt x="60079" y="108312"/>
                  </a:cubicBezTo>
                  <a:lnTo>
                    <a:pt x="60079" y="108876"/>
                  </a:lnTo>
                  <a:cubicBezTo>
                    <a:pt x="60079" y="109158"/>
                    <a:pt x="60079" y="109722"/>
                    <a:pt x="59515" y="110286"/>
                  </a:cubicBezTo>
                  <a:cubicBezTo>
                    <a:pt x="58951" y="110286"/>
                    <a:pt x="58951" y="110850"/>
                    <a:pt x="58669" y="110850"/>
                  </a:cubicBezTo>
                  <a:lnTo>
                    <a:pt x="58669" y="111132"/>
                  </a:lnTo>
                  <a:cubicBezTo>
                    <a:pt x="58387" y="111132"/>
                    <a:pt x="58387" y="111132"/>
                    <a:pt x="57541" y="110850"/>
                  </a:cubicBezTo>
                  <a:lnTo>
                    <a:pt x="57823" y="110850"/>
                  </a:lnTo>
                  <a:cubicBezTo>
                    <a:pt x="57823" y="110568"/>
                    <a:pt x="58105" y="110286"/>
                    <a:pt x="58387" y="109722"/>
                  </a:cubicBezTo>
                  <a:lnTo>
                    <a:pt x="58387" y="108312"/>
                  </a:lnTo>
                  <a:cubicBezTo>
                    <a:pt x="58387" y="106901"/>
                    <a:pt x="58387" y="106901"/>
                    <a:pt x="59515" y="106055"/>
                  </a:cubicBezTo>
                  <a:cubicBezTo>
                    <a:pt x="59797" y="105773"/>
                    <a:pt x="59797" y="105773"/>
                    <a:pt x="60079" y="105773"/>
                  </a:cubicBezTo>
                  <a:cubicBezTo>
                    <a:pt x="60079" y="105773"/>
                    <a:pt x="60361" y="105773"/>
                    <a:pt x="60643" y="106055"/>
                  </a:cubicBezTo>
                  <a:cubicBezTo>
                    <a:pt x="60643" y="106055"/>
                    <a:pt x="61208" y="106055"/>
                    <a:pt x="61208" y="105773"/>
                  </a:cubicBezTo>
                  <a:lnTo>
                    <a:pt x="60926" y="105491"/>
                  </a:lnTo>
                  <a:cubicBezTo>
                    <a:pt x="61208" y="105209"/>
                    <a:pt x="61490" y="104927"/>
                    <a:pt x="61772" y="104927"/>
                  </a:cubicBezTo>
                  <a:close/>
                  <a:moveTo>
                    <a:pt x="59515" y="49925"/>
                  </a:moveTo>
                  <a:lnTo>
                    <a:pt x="59515" y="50207"/>
                  </a:lnTo>
                  <a:cubicBezTo>
                    <a:pt x="59797" y="50207"/>
                    <a:pt x="59797" y="49925"/>
                    <a:pt x="60079" y="49925"/>
                  </a:cubicBezTo>
                  <a:lnTo>
                    <a:pt x="59515" y="49925"/>
                  </a:lnTo>
                  <a:close/>
                  <a:moveTo>
                    <a:pt x="60079" y="43720"/>
                  </a:moveTo>
                  <a:lnTo>
                    <a:pt x="60079" y="44284"/>
                  </a:lnTo>
                  <a:cubicBezTo>
                    <a:pt x="60079" y="44566"/>
                    <a:pt x="60361" y="44566"/>
                    <a:pt x="60361" y="44566"/>
                  </a:cubicBezTo>
                  <a:cubicBezTo>
                    <a:pt x="60926" y="44566"/>
                    <a:pt x="60926" y="44566"/>
                    <a:pt x="60926" y="44284"/>
                  </a:cubicBezTo>
                  <a:cubicBezTo>
                    <a:pt x="60926" y="44002"/>
                    <a:pt x="60643" y="43155"/>
                    <a:pt x="60643" y="43155"/>
                  </a:cubicBezTo>
                  <a:cubicBezTo>
                    <a:pt x="60079" y="43437"/>
                    <a:pt x="60079" y="43720"/>
                    <a:pt x="60079" y="43720"/>
                  </a:cubicBezTo>
                  <a:close/>
                  <a:moveTo>
                    <a:pt x="60079" y="47668"/>
                  </a:moveTo>
                  <a:cubicBezTo>
                    <a:pt x="60079" y="47668"/>
                    <a:pt x="60361" y="47950"/>
                    <a:pt x="60643" y="47950"/>
                  </a:cubicBezTo>
                  <a:lnTo>
                    <a:pt x="60361" y="47668"/>
                  </a:lnTo>
                  <a:lnTo>
                    <a:pt x="60361" y="47386"/>
                  </a:lnTo>
                  <a:cubicBezTo>
                    <a:pt x="60079" y="47386"/>
                    <a:pt x="60079" y="47668"/>
                    <a:pt x="60079" y="47668"/>
                  </a:cubicBezTo>
                  <a:close/>
                  <a:moveTo>
                    <a:pt x="61490" y="29899"/>
                  </a:moveTo>
                  <a:cubicBezTo>
                    <a:pt x="61490" y="29334"/>
                    <a:pt x="60926" y="29334"/>
                    <a:pt x="60361" y="28770"/>
                  </a:cubicBezTo>
                  <a:lnTo>
                    <a:pt x="60361" y="29899"/>
                  </a:lnTo>
                  <a:cubicBezTo>
                    <a:pt x="60361" y="30181"/>
                    <a:pt x="60643" y="30181"/>
                    <a:pt x="60926" y="30181"/>
                  </a:cubicBezTo>
                  <a:cubicBezTo>
                    <a:pt x="61208" y="30181"/>
                    <a:pt x="61490" y="29899"/>
                    <a:pt x="61490" y="29899"/>
                  </a:cubicBezTo>
                  <a:close/>
                  <a:moveTo>
                    <a:pt x="62054" y="96183"/>
                  </a:moveTo>
                  <a:cubicBezTo>
                    <a:pt x="62054" y="95901"/>
                    <a:pt x="61772" y="95619"/>
                    <a:pt x="61772" y="95619"/>
                  </a:cubicBezTo>
                  <a:cubicBezTo>
                    <a:pt x="61490" y="95619"/>
                    <a:pt x="61208" y="95619"/>
                    <a:pt x="61208" y="95901"/>
                  </a:cubicBezTo>
                  <a:cubicBezTo>
                    <a:pt x="61208" y="96465"/>
                    <a:pt x="60643" y="97029"/>
                    <a:pt x="60643" y="97311"/>
                  </a:cubicBezTo>
                  <a:cubicBezTo>
                    <a:pt x="60361" y="97311"/>
                    <a:pt x="60361" y="97593"/>
                    <a:pt x="60361" y="97593"/>
                  </a:cubicBezTo>
                  <a:cubicBezTo>
                    <a:pt x="60643" y="97593"/>
                    <a:pt x="60643" y="97875"/>
                    <a:pt x="60926" y="98157"/>
                  </a:cubicBezTo>
                  <a:cubicBezTo>
                    <a:pt x="61490" y="98157"/>
                    <a:pt x="61490" y="97593"/>
                    <a:pt x="61772" y="97593"/>
                  </a:cubicBezTo>
                  <a:cubicBezTo>
                    <a:pt x="62054" y="97311"/>
                    <a:pt x="62054" y="97029"/>
                    <a:pt x="62054" y="96183"/>
                  </a:cubicBezTo>
                  <a:close/>
                  <a:moveTo>
                    <a:pt x="64310" y="94773"/>
                  </a:moveTo>
                  <a:lnTo>
                    <a:pt x="64028" y="94491"/>
                  </a:lnTo>
                  <a:lnTo>
                    <a:pt x="64028" y="93644"/>
                  </a:lnTo>
                  <a:cubicBezTo>
                    <a:pt x="64310" y="93362"/>
                    <a:pt x="64310" y="93080"/>
                    <a:pt x="64310" y="92516"/>
                  </a:cubicBezTo>
                  <a:cubicBezTo>
                    <a:pt x="64310" y="91952"/>
                    <a:pt x="64592" y="91670"/>
                    <a:pt x="64310" y="91670"/>
                  </a:cubicBezTo>
                  <a:lnTo>
                    <a:pt x="63746" y="91106"/>
                  </a:lnTo>
                  <a:lnTo>
                    <a:pt x="63746" y="90824"/>
                  </a:lnTo>
                  <a:lnTo>
                    <a:pt x="63464" y="91106"/>
                  </a:lnTo>
                  <a:cubicBezTo>
                    <a:pt x="63182" y="91106"/>
                    <a:pt x="63182" y="91388"/>
                    <a:pt x="63182" y="91670"/>
                  </a:cubicBezTo>
                  <a:cubicBezTo>
                    <a:pt x="62900" y="92516"/>
                    <a:pt x="62900" y="92798"/>
                    <a:pt x="62618" y="93080"/>
                  </a:cubicBezTo>
                  <a:cubicBezTo>
                    <a:pt x="62618" y="93080"/>
                    <a:pt x="62336" y="93362"/>
                    <a:pt x="62336" y="93644"/>
                  </a:cubicBezTo>
                  <a:cubicBezTo>
                    <a:pt x="62336" y="93926"/>
                    <a:pt x="62618" y="94208"/>
                    <a:pt x="62900" y="94491"/>
                  </a:cubicBezTo>
                  <a:lnTo>
                    <a:pt x="64310" y="95337"/>
                  </a:lnTo>
                  <a:cubicBezTo>
                    <a:pt x="64592" y="95619"/>
                    <a:pt x="64592" y="95619"/>
                    <a:pt x="64874" y="95619"/>
                  </a:cubicBezTo>
                  <a:lnTo>
                    <a:pt x="65438" y="95619"/>
                  </a:lnTo>
                  <a:cubicBezTo>
                    <a:pt x="65438" y="95619"/>
                    <a:pt x="65156" y="95055"/>
                    <a:pt x="64310" y="94773"/>
                  </a:cubicBezTo>
                  <a:close/>
                  <a:moveTo>
                    <a:pt x="65438" y="35822"/>
                  </a:moveTo>
                  <a:cubicBezTo>
                    <a:pt x="65438" y="36386"/>
                    <a:pt x="65438" y="36386"/>
                    <a:pt x="65156" y="36386"/>
                  </a:cubicBezTo>
                  <a:cubicBezTo>
                    <a:pt x="65156" y="36668"/>
                    <a:pt x="65156" y="36668"/>
                    <a:pt x="64592" y="36668"/>
                  </a:cubicBezTo>
                  <a:lnTo>
                    <a:pt x="64310" y="36386"/>
                  </a:lnTo>
                  <a:cubicBezTo>
                    <a:pt x="64592" y="36386"/>
                    <a:pt x="64874" y="36104"/>
                    <a:pt x="64874" y="35822"/>
                  </a:cubicBezTo>
                  <a:cubicBezTo>
                    <a:pt x="64874" y="35540"/>
                    <a:pt x="64592" y="35540"/>
                    <a:pt x="64592" y="35258"/>
                  </a:cubicBezTo>
                  <a:lnTo>
                    <a:pt x="64874" y="34976"/>
                  </a:lnTo>
                  <a:lnTo>
                    <a:pt x="64874" y="35258"/>
                  </a:lnTo>
                  <a:lnTo>
                    <a:pt x="65438" y="35822"/>
                  </a:lnTo>
                  <a:close/>
                  <a:moveTo>
                    <a:pt x="67695" y="87157"/>
                  </a:moveTo>
                  <a:lnTo>
                    <a:pt x="67695" y="88003"/>
                  </a:lnTo>
                  <a:lnTo>
                    <a:pt x="66849" y="88003"/>
                  </a:lnTo>
                  <a:lnTo>
                    <a:pt x="65720" y="86875"/>
                  </a:lnTo>
                  <a:cubicBezTo>
                    <a:pt x="66567" y="86593"/>
                    <a:pt x="66002" y="86029"/>
                    <a:pt x="66567" y="85183"/>
                  </a:cubicBezTo>
                  <a:lnTo>
                    <a:pt x="66567" y="85465"/>
                  </a:lnTo>
                  <a:cubicBezTo>
                    <a:pt x="66567" y="85465"/>
                    <a:pt x="66567" y="85747"/>
                    <a:pt x="66849" y="85747"/>
                  </a:cubicBezTo>
                  <a:cubicBezTo>
                    <a:pt x="67413" y="86029"/>
                    <a:pt x="67413" y="86593"/>
                    <a:pt x="67695" y="87157"/>
                  </a:cubicBezTo>
                  <a:close/>
                  <a:moveTo>
                    <a:pt x="66002" y="93080"/>
                  </a:moveTo>
                  <a:cubicBezTo>
                    <a:pt x="66002" y="93362"/>
                    <a:pt x="66002" y="93362"/>
                    <a:pt x="66284" y="93362"/>
                  </a:cubicBezTo>
                  <a:lnTo>
                    <a:pt x="66567" y="93362"/>
                  </a:lnTo>
                  <a:lnTo>
                    <a:pt x="66849" y="93080"/>
                  </a:lnTo>
                  <a:cubicBezTo>
                    <a:pt x="66849" y="92798"/>
                    <a:pt x="66567" y="92798"/>
                    <a:pt x="66284" y="92516"/>
                  </a:cubicBezTo>
                  <a:cubicBezTo>
                    <a:pt x="66002" y="92798"/>
                    <a:pt x="66002" y="93080"/>
                    <a:pt x="66002" y="93080"/>
                  </a:cubicBezTo>
                  <a:close/>
                  <a:moveTo>
                    <a:pt x="66567" y="69669"/>
                  </a:moveTo>
                  <a:cubicBezTo>
                    <a:pt x="66567" y="69387"/>
                    <a:pt x="66567" y="69387"/>
                    <a:pt x="66849" y="68823"/>
                  </a:cubicBezTo>
                  <a:cubicBezTo>
                    <a:pt x="67131" y="68259"/>
                    <a:pt x="67413" y="67977"/>
                    <a:pt x="67413" y="67977"/>
                  </a:cubicBezTo>
                  <a:cubicBezTo>
                    <a:pt x="67413" y="67977"/>
                    <a:pt x="67977" y="68259"/>
                    <a:pt x="68259" y="68259"/>
                  </a:cubicBezTo>
                  <a:lnTo>
                    <a:pt x="68259" y="69669"/>
                  </a:lnTo>
                  <a:cubicBezTo>
                    <a:pt x="68259" y="69951"/>
                    <a:pt x="68259" y="70797"/>
                    <a:pt x="67977" y="71362"/>
                  </a:cubicBezTo>
                  <a:lnTo>
                    <a:pt x="67131" y="71362"/>
                  </a:lnTo>
                  <a:lnTo>
                    <a:pt x="67131" y="71079"/>
                  </a:lnTo>
                  <a:cubicBezTo>
                    <a:pt x="66849" y="70233"/>
                    <a:pt x="66849" y="69951"/>
                    <a:pt x="66567" y="69669"/>
                  </a:cubicBezTo>
                  <a:close/>
                  <a:moveTo>
                    <a:pt x="67413" y="58105"/>
                  </a:moveTo>
                  <a:cubicBezTo>
                    <a:pt x="67413" y="57823"/>
                    <a:pt x="67413" y="57541"/>
                    <a:pt x="67131" y="57258"/>
                  </a:cubicBezTo>
                  <a:cubicBezTo>
                    <a:pt x="67131" y="57258"/>
                    <a:pt x="67131" y="56976"/>
                    <a:pt x="67413" y="56976"/>
                  </a:cubicBezTo>
                  <a:cubicBezTo>
                    <a:pt x="67695" y="56694"/>
                    <a:pt x="68259" y="56130"/>
                    <a:pt x="68259" y="55566"/>
                  </a:cubicBezTo>
                  <a:cubicBezTo>
                    <a:pt x="68259" y="55566"/>
                    <a:pt x="68541" y="55284"/>
                    <a:pt x="68823" y="55284"/>
                  </a:cubicBezTo>
                  <a:cubicBezTo>
                    <a:pt x="69105" y="55284"/>
                    <a:pt x="69105" y="55566"/>
                    <a:pt x="69105" y="55566"/>
                  </a:cubicBezTo>
                  <a:cubicBezTo>
                    <a:pt x="69105" y="56130"/>
                    <a:pt x="69105" y="56130"/>
                    <a:pt x="68823" y="56694"/>
                  </a:cubicBezTo>
                  <a:lnTo>
                    <a:pt x="68823" y="57258"/>
                  </a:lnTo>
                  <a:cubicBezTo>
                    <a:pt x="69105" y="57823"/>
                    <a:pt x="69105" y="58105"/>
                    <a:pt x="69105" y="58105"/>
                  </a:cubicBezTo>
                  <a:lnTo>
                    <a:pt x="69105" y="58387"/>
                  </a:lnTo>
                  <a:cubicBezTo>
                    <a:pt x="68541" y="58951"/>
                    <a:pt x="67977" y="58951"/>
                    <a:pt x="67413" y="59233"/>
                  </a:cubicBezTo>
                  <a:cubicBezTo>
                    <a:pt x="67413" y="59515"/>
                    <a:pt x="67131" y="59515"/>
                    <a:pt x="67131" y="59515"/>
                  </a:cubicBezTo>
                  <a:lnTo>
                    <a:pt x="67131" y="59233"/>
                  </a:lnTo>
                  <a:cubicBezTo>
                    <a:pt x="67131" y="58951"/>
                    <a:pt x="67413" y="58669"/>
                    <a:pt x="67413" y="58105"/>
                  </a:cubicBezTo>
                  <a:close/>
                  <a:moveTo>
                    <a:pt x="70515" y="53028"/>
                  </a:moveTo>
                  <a:cubicBezTo>
                    <a:pt x="70515" y="53028"/>
                    <a:pt x="69669" y="53592"/>
                    <a:pt x="69387" y="53592"/>
                  </a:cubicBezTo>
                  <a:lnTo>
                    <a:pt x="69105" y="53592"/>
                  </a:lnTo>
                  <a:cubicBezTo>
                    <a:pt x="69105" y="53028"/>
                    <a:pt x="69105" y="53028"/>
                    <a:pt x="68541" y="53028"/>
                  </a:cubicBezTo>
                  <a:cubicBezTo>
                    <a:pt x="68541" y="53028"/>
                    <a:pt x="67695" y="53028"/>
                    <a:pt x="67695" y="52463"/>
                  </a:cubicBezTo>
                  <a:cubicBezTo>
                    <a:pt x="67695" y="52181"/>
                    <a:pt x="68259" y="51617"/>
                    <a:pt x="68541" y="51617"/>
                  </a:cubicBezTo>
                  <a:cubicBezTo>
                    <a:pt x="69387" y="51617"/>
                    <a:pt x="70515" y="52181"/>
                    <a:pt x="70515" y="53028"/>
                  </a:cubicBezTo>
                  <a:close/>
                  <a:moveTo>
                    <a:pt x="73054" y="69387"/>
                  </a:moveTo>
                  <a:cubicBezTo>
                    <a:pt x="73336" y="69951"/>
                    <a:pt x="73618" y="70797"/>
                    <a:pt x="73618" y="71362"/>
                  </a:cubicBezTo>
                  <a:cubicBezTo>
                    <a:pt x="73618" y="71362"/>
                    <a:pt x="73336" y="71644"/>
                    <a:pt x="73054" y="71644"/>
                  </a:cubicBezTo>
                  <a:cubicBezTo>
                    <a:pt x="73054" y="71926"/>
                    <a:pt x="72490" y="71926"/>
                    <a:pt x="72490" y="72490"/>
                  </a:cubicBezTo>
                  <a:lnTo>
                    <a:pt x="73054" y="74182"/>
                  </a:lnTo>
                  <a:lnTo>
                    <a:pt x="73336" y="74464"/>
                  </a:lnTo>
                  <a:cubicBezTo>
                    <a:pt x="73336" y="74746"/>
                    <a:pt x="73054" y="74746"/>
                    <a:pt x="73054" y="74746"/>
                  </a:cubicBezTo>
                  <a:lnTo>
                    <a:pt x="73054" y="75592"/>
                  </a:lnTo>
                  <a:cubicBezTo>
                    <a:pt x="73336" y="75592"/>
                    <a:pt x="73054" y="75875"/>
                    <a:pt x="72772" y="75875"/>
                  </a:cubicBezTo>
                  <a:cubicBezTo>
                    <a:pt x="72772" y="76439"/>
                    <a:pt x="72490" y="76157"/>
                    <a:pt x="72490" y="76439"/>
                  </a:cubicBezTo>
                  <a:lnTo>
                    <a:pt x="72490" y="76721"/>
                  </a:lnTo>
                  <a:cubicBezTo>
                    <a:pt x="72208" y="77285"/>
                    <a:pt x="72208" y="77849"/>
                    <a:pt x="71644" y="78131"/>
                  </a:cubicBezTo>
                  <a:lnTo>
                    <a:pt x="71362" y="78413"/>
                  </a:lnTo>
                  <a:cubicBezTo>
                    <a:pt x="71362" y="78413"/>
                    <a:pt x="71362" y="78695"/>
                    <a:pt x="71644" y="78695"/>
                  </a:cubicBezTo>
                  <a:cubicBezTo>
                    <a:pt x="72208" y="78695"/>
                    <a:pt x="72490" y="78977"/>
                    <a:pt x="72772" y="79259"/>
                  </a:cubicBezTo>
                  <a:cubicBezTo>
                    <a:pt x="73054" y="79259"/>
                    <a:pt x="73054" y="79541"/>
                    <a:pt x="73054" y="79823"/>
                  </a:cubicBezTo>
                  <a:cubicBezTo>
                    <a:pt x="72772" y="79823"/>
                    <a:pt x="72772" y="80105"/>
                    <a:pt x="72772" y="80388"/>
                  </a:cubicBezTo>
                  <a:lnTo>
                    <a:pt x="72772" y="80670"/>
                  </a:lnTo>
                  <a:cubicBezTo>
                    <a:pt x="72772" y="80952"/>
                    <a:pt x="72772" y="81234"/>
                    <a:pt x="72490" y="81798"/>
                  </a:cubicBezTo>
                  <a:lnTo>
                    <a:pt x="71644" y="82926"/>
                  </a:lnTo>
                  <a:cubicBezTo>
                    <a:pt x="70798" y="83772"/>
                    <a:pt x="70798" y="84618"/>
                    <a:pt x="70233" y="85183"/>
                  </a:cubicBezTo>
                  <a:lnTo>
                    <a:pt x="69951" y="85465"/>
                  </a:lnTo>
                  <a:lnTo>
                    <a:pt x="69669" y="85465"/>
                  </a:lnTo>
                  <a:lnTo>
                    <a:pt x="69951" y="85183"/>
                  </a:lnTo>
                  <a:lnTo>
                    <a:pt x="69951" y="84618"/>
                  </a:lnTo>
                  <a:cubicBezTo>
                    <a:pt x="69669" y="84336"/>
                    <a:pt x="69669" y="84054"/>
                    <a:pt x="69669" y="83772"/>
                  </a:cubicBezTo>
                  <a:cubicBezTo>
                    <a:pt x="69669" y="83490"/>
                    <a:pt x="69669" y="83208"/>
                    <a:pt x="70233" y="82926"/>
                  </a:cubicBezTo>
                  <a:cubicBezTo>
                    <a:pt x="69951" y="82644"/>
                    <a:pt x="69951" y="82362"/>
                    <a:pt x="69951" y="81798"/>
                  </a:cubicBezTo>
                  <a:cubicBezTo>
                    <a:pt x="69669" y="81516"/>
                    <a:pt x="69669" y="81516"/>
                    <a:pt x="69669" y="81234"/>
                  </a:cubicBezTo>
                  <a:cubicBezTo>
                    <a:pt x="69669" y="81234"/>
                    <a:pt x="69669" y="80952"/>
                    <a:pt x="69951" y="80670"/>
                  </a:cubicBezTo>
                  <a:lnTo>
                    <a:pt x="70233" y="80670"/>
                  </a:lnTo>
                  <a:cubicBezTo>
                    <a:pt x="70233" y="80388"/>
                    <a:pt x="70515" y="80388"/>
                    <a:pt x="70515" y="80105"/>
                  </a:cubicBezTo>
                  <a:cubicBezTo>
                    <a:pt x="70515" y="79823"/>
                    <a:pt x="70233" y="79259"/>
                    <a:pt x="69387" y="78695"/>
                  </a:cubicBezTo>
                  <a:lnTo>
                    <a:pt x="69105" y="78413"/>
                  </a:lnTo>
                  <a:cubicBezTo>
                    <a:pt x="69105" y="78131"/>
                    <a:pt x="69387" y="77849"/>
                    <a:pt x="69387" y="77849"/>
                  </a:cubicBezTo>
                  <a:cubicBezTo>
                    <a:pt x="70233" y="77567"/>
                    <a:pt x="70515" y="77003"/>
                    <a:pt x="70515" y="76721"/>
                  </a:cubicBezTo>
                  <a:cubicBezTo>
                    <a:pt x="70515" y="76439"/>
                    <a:pt x="70233" y="76439"/>
                    <a:pt x="70233" y="76157"/>
                  </a:cubicBezTo>
                  <a:cubicBezTo>
                    <a:pt x="70233" y="75875"/>
                    <a:pt x="69951" y="75592"/>
                    <a:pt x="69951" y="75592"/>
                  </a:cubicBezTo>
                  <a:lnTo>
                    <a:pt x="70233" y="75592"/>
                  </a:lnTo>
                  <a:lnTo>
                    <a:pt x="70515" y="75310"/>
                  </a:lnTo>
                  <a:cubicBezTo>
                    <a:pt x="70798" y="75028"/>
                    <a:pt x="71080" y="75028"/>
                    <a:pt x="71080" y="74746"/>
                  </a:cubicBezTo>
                  <a:lnTo>
                    <a:pt x="70515" y="74182"/>
                  </a:lnTo>
                  <a:cubicBezTo>
                    <a:pt x="70233" y="73900"/>
                    <a:pt x="70233" y="73618"/>
                    <a:pt x="70233" y="73336"/>
                  </a:cubicBezTo>
                  <a:cubicBezTo>
                    <a:pt x="70233" y="73054"/>
                    <a:pt x="70233" y="72772"/>
                    <a:pt x="70515" y="72208"/>
                  </a:cubicBezTo>
                  <a:cubicBezTo>
                    <a:pt x="70798" y="72208"/>
                    <a:pt x="70798" y="72208"/>
                    <a:pt x="70798" y="71926"/>
                  </a:cubicBezTo>
                  <a:cubicBezTo>
                    <a:pt x="70798" y="71926"/>
                    <a:pt x="70798" y="71644"/>
                    <a:pt x="71080" y="71362"/>
                  </a:cubicBezTo>
                  <a:lnTo>
                    <a:pt x="71362" y="71644"/>
                  </a:lnTo>
                  <a:cubicBezTo>
                    <a:pt x="71926" y="71362"/>
                    <a:pt x="72208" y="71362"/>
                    <a:pt x="72490" y="70797"/>
                  </a:cubicBezTo>
                  <a:cubicBezTo>
                    <a:pt x="72208" y="70233"/>
                    <a:pt x="72208" y="69951"/>
                    <a:pt x="72208" y="69951"/>
                  </a:cubicBezTo>
                  <a:lnTo>
                    <a:pt x="72208" y="69105"/>
                  </a:lnTo>
                  <a:cubicBezTo>
                    <a:pt x="72208" y="69105"/>
                    <a:pt x="72490" y="69105"/>
                    <a:pt x="72772" y="69387"/>
                  </a:cubicBezTo>
                  <a:lnTo>
                    <a:pt x="73054" y="69387"/>
                  </a:lnTo>
                  <a:close/>
                  <a:moveTo>
                    <a:pt x="69951" y="41745"/>
                  </a:moveTo>
                  <a:cubicBezTo>
                    <a:pt x="70233" y="41745"/>
                    <a:pt x="70233" y="42309"/>
                    <a:pt x="70233" y="42309"/>
                  </a:cubicBezTo>
                  <a:cubicBezTo>
                    <a:pt x="70233" y="42309"/>
                    <a:pt x="69951" y="42873"/>
                    <a:pt x="69669" y="42873"/>
                  </a:cubicBezTo>
                  <a:lnTo>
                    <a:pt x="69669" y="41463"/>
                  </a:lnTo>
                  <a:lnTo>
                    <a:pt x="69951" y="41745"/>
                  </a:lnTo>
                  <a:close/>
                  <a:moveTo>
                    <a:pt x="74746" y="51617"/>
                  </a:moveTo>
                  <a:lnTo>
                    <a:pt x="74746" y="52181"/>
                  </a:lnTo>
                  <a:lnTo>
                    <a:pt x="74182" y="53592"/>
                  </a:lnTo>
                  <a:cubicBezTo>
                    <a:pt x="74182" y="53874"/>
                    <a:pt x="74182" y="54156"/>
                    <a:pt x="74464" y="54720"/>
                  </a:cubicBezTo>
                  <a:cubicBezTo>
                    <a:pt x="74182" y="55002"/>
                    <a:pt x="74464" y="55848"/>
                    <a:pt x="73900" y="56130"/>
                  </a:cubicBezTo>
                  <a:cubicBezTo>
                    <a:pt x="73900" y="56130"/>
                    <a:pt x="73618" y="56412"/>
                    <a:pt x="73618" y="56694"/>
                  </a:cubicBezTo>
                  <a:cubicBezTo>
                    <a:pt x="73618" y="56976"/>
                    <a:pt x="73900" y="57258"/>
                    <a:pt x="74182" y="57541"/>
                  </a:cubicBezTo>
                  <a:lnTo>
                    <a:pt x="74182" y="58669"/>
                  </a:lnTo>
                  <a:cubicBezTo>
                    <a:pt x="74182" y="58951"/>
                    <a:pt x="73618" y="59515"/>
                    <a:pt x="73618" y="59515"/>
                  </a:cubicBezTo>
                  <a:cubicBezTo>
                    <a:pt x="73336" y="59233"/>
                    <a:pt x="73054" y="58951"/>
                    <a:pt x="72490" y="58951"/>
                  </a:cubicBezTo>
                  <a:cubicBezTo>
                    <a:pt x="72490" y="58669"/>
                    <a:pt x="72490" y="58387"/>
                    <a:pt x="73336" y="58105"/>
                  </a:cubicBezTo>
                  <a:cubicBezTo>
                    <a:pt x="73618" y="58105"/>
                    <a:pt x="73618" y="58105"/>
                    <a:pt x="73618" y="57541"/>
                  </a:cubicBezTo>
                  <a:cubicBezTo>
                    <a:pt x="73336" y="57258"/>
                    <a:pt x="72772" y="56976"/>
                    <a:pt x="72772" y="56694"/>
                  </a:cubicBezTo>
                  <a:cubicBezTo>
                    <a:pt x="72772" y="56412"/>
                    <a:pt x="73054" y="56412"/>
                    <a:pt x="73336" y="56130"/>
                  </a:cubicBezTo>
                  <a:cubicBezTo>
                    <a:pt x="73054" y="55848"/>
                    <a:pt x="73054" y="55566"/>
                    <a:pt x="73054" y="55284"/>
                  </a:cubicBezTo>
                  <a:lnTo>
                    <a:pt x="73054" y="55002"/>
                  </a:lnTo>
                  <a:cubicBezTo>
                    <a:pt x="73054" y="54720"/>
                    <a:pt x="72490" y="54156"/>
                    <a:pt x="72490" y="53592"/>
                  </a:cubicBezTo>
                  <a:cubicBezTo>
                    <a:pt x="72490" y="53592"/>
                    <a:pt x="73054" y="53028"/>
                    <a:pt x="73054" y="52745"/>
                  </a:cubicBezTo>
                  <a:cubicBezTo>
                    <a:pt x="73054" y="52463"/>
                    <a:pt x="73336" y="52463"/>
                    <a:pt x="73336" y="52181"/>
                  </a:cubicBezTo>
                  <a:lnTo>
                    <a:pt x="72772" y="51617"/>
                  </a:lnTo>
                  <a:lnTo>
                    <a:pt x="72772" y="51053"/>
                  </a:lnTo>
                  <a:cubicBezTo>
                    <a:pt x="73054" y="50771"/>
                    <a:pt x="73336" y="50207"/>
                    <a:pt x="73336" y="49925"/>
                  </a:cubicBezTo>
                  <a:cubicBezTo>
                    <a:pt x="73336" y="49925"/>
                    <a:pt x="73900" y="49643"/>
                    <a:pt x="74182" y="49643"/>
                  </a:cubicBezTo>
                  <a:cubicBezTo>
                    <a:pt x="74464" y="49643"/>
                    <a:pt x="74464" y="49925"/>
                    <a:pt x="74464" y="50207"/>
                  </a:cubicBezTo>
                  <a:cubicBezTo>
                    <a:pt x="74464" y="50207"/>
                    <a:pt x="74464" y="50489"/>
                    <a:pt x="74746" y="51617"/>
                  </a:cubicBezTo>
                  <a:close/>
                  <a:moveTo>
                    <a:pt x="73618" y="60643"/>
                  </a:moveTo>
                  <a:lnTo>
                    <a:pt x="73618" y="61207"/>
                  </a:lnTo>
                  <a:lnTo>
                    <a:pt x="73336" y="61489"/>
                  </a:lnTo>
                  <a:cubicBezTo>
                    <a:pt x="72772" y="61489"/>
                    <a:pt x="72772" y="61771"/>
                    <a:pt x="72490" y="61771"/>
                  </a:cubicBezTo>
                  <a:lnTo>
                    <a:pt x="72490" y="60643"/>
                  </a:lnTo>
                  <a:lnTo>
                    <a:pt x="72772" y="60361"/>
                  </a:lnTo>
                  <a:cubicBezTo>
                    <a:pt x="73054" y="60361"/>
                    <a:pt x="73336" y="60643"/>
                    <a:pt x="73618" y="60643"/>
                  </a:cubicBezTo>
                  <a:close/>
                  <a:moveTo>
                    <a:pt x="108594" y="33565"/>
                  </a:moveTo>
                  <a:cubicBezTo>
                    <a:pt x="108594" y="33283"/>
                    <a:pt x="108312" y="33283"/>
                    <a:pt x="108312" y="33283"/>
                  </a:cubicBezTo>
                  <a:lnTo>
                    <a:pt x="108029" y="33283"/>
                  </a:lnTo>
                  <a:cubicBezTo>
                    <a:pt x="107748" y="33283"/>
                    <a:pt x="107184" y="33565"/>
                    <a:pt x="106619" y="34129"/>
                  </a:cubicBezTo>
                  <a:lnTo>
                    <a:pt x="106619" y="34411"/>
                  </a:lnTo>
                  <a:cubicBezTo>
                    <a:pt x="106619" y="34694"/>
                    <a:pt x="106901" y="34694"/>
                    <a:pt x="107184" y="34694"/>
                  </a:cubicBezTo>
                  <a:cubicBezTo>
                    <a:pt x="107748" y="34694"/>
                    <a:pt x="108312" y="34129"/>
                    <a:pt x="108594" y="33565"/>
                  </a:cubicBezTo>
                  <a:close/>
                </a:path>
              </a:pathLst>
            </a:custGeom>
            <a:solidFill>
              <a:srgbClr val="000000"/>
            </a:solidFill>
            <a:ln w="5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220ADF6-84B3-4C6D-89CC-AEF8B5DDA83A}"/>
                </a:ext>
              </a:extLst>
            </p:cNvPr>
            <p:cNvSpPr/>
            <p:nvPr/>
          </p:nvSpPr>
          <p:spPr>
            <a:xfrm>
              <a:off x="5755691" y="3260609"/>
              <a:ext cx="180519" cy="248214"/>
            </a:xfrm>
            <a:custGeom>
              <a:avLst/>
              <a:gdLst>
                <a:gd name="connsiteX0" fmla="*/ 36668 w 180519"/>
                <a:gd name="connsiteY0" fmla="*/ 57258 h 248214"/>
                <a:gd name="connsiteX1" fmla="*/ 36386 w 180519"/>
                <a:gd name="connsiteY1" fmla="*/ 56976 h 248214"/>
                <a:gd name="connsiteX2" fmla="*/ 36386 w 180519"/>
                <a:gd name="connsiteY2" fmla="*/ 56694 h 248214"/>
                <a:gd name="connsiteX3" fmla="*/ 38079 w 180519"/>
                <a:gd name="connsiteY3" fmla="*/ 55566 h 248214"/>
                <a:gd name="connsiteX4" fmla="*/ 38643 w 180519"/>
                <a:gd name="connsiteY4" fmla="*/ 55566 h 248214"/>
                <a:gd name="connsiteX5" fmla="*/ 40617 w 180519"/>
                <a:gd name="connsiteY5" fmla="*/ 55284 h 248214"/>
                <a:gd name="connsiteX6" fmla="*/ 41745 w 180519"/>
                <a:gd name="connsiteY6" fmla="*/ 54720 h 248214"/>
                <a:gd name="connsiteX7" fmla="*/ 43155 w 180519"/>
                <a:gd name="connsiteY7" fmla="*/ 54156 h 248214"/>
                <a:gd name="connsiteX8" fmla="*/ 44848 w 180519"/>
                <a:gd name="connsiteY8" fmla="*/ 53310 h 248214"/>
                <a:gd name="connsiteX9" fmla="*/ 45976 w 180519"/>
                <a:gd name="connsiteY9" fmla="*/ 53310 h 248214"/>
                <a:gd name="connsiteX10" fmla="*/ 49925 w 180519"/>
                <a:gd name="connsiteY10" fmla="*/ 52463 h 248214"/>
                <a:gd name="connsiteX11" fmla="*/ 50771 w 180519"/>
                <a:gd name="connsiteY11" fmla="*/ 52463 h 248214"/>
                <a:gd name="connsiteX12" fmla="*/ 51335 w 180519"/>
                <a:gd name="connsiteY12" fmla="*/ 53028 h 248214"/>
                <a:gd name="connsiteX13" fmla="*/ 49925 w 180519"/>
                <a:gd name="connsiteY13" fmla="*/ 54720 h 248214"/>
                <a:gd name="connsiteX14" fmla="*/ 49079 w 180519"/>
                <a:gd name="connsiteY14" fmla="*/ 55002 h 248214"/>
                <a:gd name="connsiteX15" fmla="*/ 48796 w 180519"/>
                <a:gd name="connsiteY15" fmla="*/ 55284 h 248214"/>
                <a:gd name="connsiteX16" fmla="*/ 48796 w 180519"/>
                <a:gd name="connsiteY16" fmla="*/ 55566 h 248214"/>
                <a:gd name="connsiteX17" fmla="*/ 49361 w 180519"/>
                <a:gd name="connsiteY17" fmla="*/ 56130 h 248214"/>
                <a:gd name="connsiteX18" fmla="*/ 49925 w 180519"/>
                <a:gd name="connsiteY18" fmla="*/ 56412 h 248214"/>
                <a:gd name="connsiteX19" fmla="*/ 50489 w 180519"/>
                <a:gd name="connsiteY19" fmla="*/ 56412 h 248214"/>
                <a:gd name="connsiteX20" fmla="*/ 51053 w 180519"/>
                <a:gd name="connsiteY20" fmla="*/ 56976 h 248214"/>
                <a:gd name="connsiteX21" fmla="*/ 51617 w 180519"/>
                <a:gd name="connsiteY21" fmla="*/ 56976 h 248214"/>
                <a:gd name="connsiteX22" fmla="*/ 52746 w 180519"/>
                <a:gd name="connsiteY22" fmla="*/ 55566 h 248214"/>
                <a:gd name="connsiteX23" fmla="*/ 54720 w 180519"/>
                <a:gd name="connsiteY23" fmla="*/ 54156 h 248214"/>
                <a:gd name="connsiteX24" fmla="*/ 55284 w 180519"/>
                <a:gd name="connsiteY24" fmla="*/ 52463 h 248214"/>
                <a:gd name="connsiteX25" fmla="*/ 56977 w 180519"/>
                <a:gd name="connsiteY25" fmla="*/ 51335 h 248214"/>
                <a:gd name="connsiteX26" fmla="*/ 57541 w 180519"/>
                <a:gd name="connsiteY26" fmla="*/ 51335 h 248214"/>
                <a:gd name="connsiteX27" fmla="*/ 58951 w 180519"/>
                <a:gd name="connsiteY27" fmla="*/ 51053 h 248214"/>
                <a:gd name="connsiteX28" fmla="*/ 60361 w 180519"/>
                <a:gd name="connsiteY28" fmla="*/ 50489 h 248214"/>
                <a:gd name="connsiteX29" fmla="*/ 61208 w 180519"/>
                <a:gd name="connsiteY29" fmla="*/ 51053 h 248214"/>
                <a:gd name="connsiteX30" fmla="*/ 61489 w 180519"/>
                <a:gd name="connsiteY30" fmla="*/ 51617 h 248214"/>
                <a:gd name="connsiteX31" fmla="*/ 62618 w 180519"/>
                <a:gd name="connsiteY31" fmla="*/ 51335 h 248214"/>
                <a:gd name="connsiteX32" fmla="*/ 62900 w 180519"/>
                <a:gd name="connsiteY32" fmla="*/ 51335 h 248214"/>
                <a:gd name="connsiteX33" fmla="*/ 63182 w 180519"/>
                <a:gd name="connsiteY33" fmla="*/ 51053 h 248214"/>
                <a:gd name="connsiteX34" fmla="*/ 66002 w 180519"/>
                <a:gd name="connsiteY34" fmla="*/ 49079 h 248214"/>
                <a:gd name="connsiteX35" fmla="*/ 68823 w 180519"/>
                <a:gd name="connsiteY35" fmla="*/ 49079 h 248214"/>
                <a:gd name="connsiteX36" fmla="*/ 69105 w 180519"/>
                <a:gd name="connsiteY36" fmla="*/ 49361 h 248214"/>
                <a:gd name="connsiteX37" fmla="*/ 69105 w 180519"/>
                <a:gd name="connsiteY37" fmla="*/ 49643 h 248214"/>
                <a:gd name="connsiteX38" fmla="*/ 68259 w 180519"/>
                <a:gd name="connsiteY38" fmla="*/ 50771 h 248214"/>
                <a:gd name="connsiteX39" fmla="*/ 68259 w 180519"/>
                <a:gd name="connsiteY39" fmla="*/ 51053 h 248214"/>
                <a:gd name="connsiteX40" fmla="*/ 69105 w 180519"/>
                <a:gd name="connsiteY40" fmla="*/ 51053 h 248214"/>
                <a:gd name="connsiteX41" fmla="*/ 70797 w 180519"/>
                <a:gd name="connsiteY41" fmla="*/ 50489 h 248214"/>
                <a:gd name="connsiteX42" fmla="*/ 71926 w 180519"/>
                <a:gd name="connsiteY42" fmla="*/ 49643 h 248214"/>
                <a:gd name="connsiteX43" fmla="*/ 71080 w 180519"/>
                <a:gd name="connsiteY43" fmla="*/ 50771 h 248214"/>
                <a:gd name="connsiteX44" fmla="*/ 69387 w 180519"/>
                <a:gd name="connsiteY44" fmla="*/ 51899 h 248214"/>
                <a:gd name="connsiteX45" fmla="*/ 68823 w 180519"/>
                <a:gd name="connsiteY45" fmla="*/ 51899 h 248214"/>
                <a:gd name="connsiteX46" fmla="*/ 68259 w 180519"/>
                <a:gd name="connsiteY46" fmla="*/ 52463 h 248214"/>
                <a:gd name="connsiteX47" fmla="*/ 68259 w 180519"/>
                <a:gd name="connsiteY47" fmla="*/ 53028 h 248214"/>
                <a:gd name="connsiteX48" fmla="*/ 71080 w 180519"/>
                <a:gd name="connsiteY48" fmla="*/ 52463 h 248214"/>
                <a:gd name="connsiteX49" fmla="*/ 71644 w 180519"/>
                <a:gd name="connsiteY49" fmla="*/ 52463 h 248214"/>
                <a:gd name="connsiteX50" fmla="*/ 73054 w 180519"/>
                <a:gd name="connsiteY50" fmla="*/ 51899 h 248214"/>
                <a:gd name="connsiteX51" fmla="*/ 73618 w 180519"/>
                <a:gd name="connsiteY51" fmla="*/ 51617 h 248214"/>
                <a:gd name="connsiteX52" fmla="*/ 73054 w 180519"/>
                <a:gd name="connsiteY52" fmla="*/ 51335 h 248214"/>
                <a:gd name="connsiteX53" fmla="*/ 72772 w 180519"/>
                <a:gd name="connsiteY53" fmla="*/ 51053 h 248214"/>
                <a:gd name="connsiteX54" fmla="*/ 72490 w 180519"/>
                <a:gd name="connsiteY54" fmla="*/ 50489 h 248214"/>
                <a:gd name="connsiteX55" fmla="*/ 73054 w 180519"/>
                <a:gd name="connsiteY55" fmla="*/ 49643 h 248214"/>
                <a:gd name="connsiteX56" fmla="*/ 73900 w 180519"/>
                <a:gd name="connsiteY56" fmla="*/ 49079 h 248214"/>
                <a:gd name="connsiteX57" fmla="*/ 74464 w 180519"/>
                <a:gd name="connsiteY57" fmla="*/ 47950 h 248214"/>
                <a:gd name="connsiteX58" fmla="*/ 77567 w 180519"/>
                <a:gd name="connsiteY58" fmla="*/ 36668 h 248214"/>
                <a:gd name="connsiteX59" fmla="*/ 77849 w 180519"/>
                <a:gd name="connsiteY59" fmla="*/ 31873 h 248214"/>
                <a:gd name="connsiteX60" fmla="*/ 79823 w 180519"/>
                <a:gd name="connsiteY60" fmla="*/ 30463 h 248214"/>
                <a:gd name="connsiteX61" fmla="*/ 80388 w 180519"/>
                <a:gd name="connsiteY61" fmla="*/ 29899 h 248214"/>
                <a:gd name="connsiteX62" fmla="*/ 80106 w 180519"/>
                <a:gd name="connsiteY62" fmla="*/ 29616 h 248214"/>
                <a:gd name="connsiteX63" fmla="*/ 80388 w 180519"/>
                <a:gd name="connsiteY63" fmla="*/ 28770 h 248214"/>
                <a:gd name="connsiteX64" fmla="*/ 79259 w 180519"/>
                <a:gd name="connsiteY64" fmla="*/ 28206 h 248214"/>
                <a:gd name="connsiteX65" fmla="*/ 78978 w 180519"/>
                <a:gd name="connsiteY65" fmla="*/ 26796 h 248214"/>
                <a:gd name="connsiteX66" fmla="*/ 78978 w 180519"/>
                <a:gd name="connsiteY66" fmla="*/ 26232 h 248214"/>
                <a:gd name="connsiteX67" fmla="*/ 79823 w 180519"/>
                <a:gd name="connsiteY67" fmla="*/ 25386 h 248214"/>
                <a:gd name="connsiteX68" fmla="*/ 80106 w 180519"/>
                <a:gd name="connsiteY68" fmla="*/ 24539 h 248214"/>
                <a:gd name="connsiteX69" fmla="*/ 80106 w 180519"/>
                <a:gd name="connsiteY69" fmla="*/ 23975 h 248214"/>
                <a:gd name="connsiteX70" fmla="*/ 80670 w 180519"/>
                <a:gd name="connsiteY70" fmla="*/ 22565 h 248214"/>
                <a:gd name="connsiteX71" fmla="*/ 81516 w 180519"/>
                <a:gd name="connsiteY71" fmla="*/ 21155 h 248214"/>
                <a:gd name="connsiteX72" fmla="*/ 81516 w 180519"/>
                <a:gd name="connsiteY72" fmla="*/ 20873 h 248214"/>
                <a:gd name="connsiteX73" fmla="*/ 82080 w 180519"/>
                <a:gd name="connsiteY73" fmla="*/ 19462 h 248214"/>
                <a:gd name="connsiteX74" fmla="*/ 82362 w 180519"/>
                <a:gd name="connsiteY74" fmla="*/ 19180 h 248214"/>
                <a:gd name="connsiteX75" fmla="*/ 82362 w 180519"/>
                <a:gd name="connsiteY75" fmla="*/ 18898 h 248214"/>
                <a:gd name="connsiteX76" fmla="*/ 82080 w 180519"/>
                <a:gd name="connsiteY76" fmla="*/ 18616 h 248214"/>
                <a:gd name="connsiteX77" fmla="*/ 82080 w 180519"/>
                <a:gd name="connsiteY77" fmla="*/ 17206 h 248214"/>
                <a:gd name="connsiteX78" fmla="*/ 82362 w 180519"/>
                <a:gd name="connsiteY78" fmla="*/ 16642 h 248214"/>
                <a:gd name="connsiteX79" fmla="*/ 83772 w 180519"/>
                <a:gd name="connsiteY79" fmla="*/ 15513 h 248214"/>
                <a:gd name="connsiteX80" fmla="*/ 83490 w 180519"/>
                <a:gd name="connsiteY80" fmla="*/ 15231 h 248214"/>
                <a:gd name="connsiteX81" fmla="*/ 84336 w 180519"/>
                <a:gd name="connsiteY81" fmla="*/ 13539 h 248214"/>
                <a:gd name="connsiteX82" fmla="*/ 84054 w 180519"/>
                <a:gd name="connsiteY82" fmla="*/ 13257 h 248214"/>
                <a:gd name="connsiteX83" fmla="*/ 85183 w 180519"/>
                <a:gd name="connsiteY83" fmla="*/ 12693 h 248214"/>
                <a:gd name="connsiteX84" fmla="*/ 86311 w 180519"/>
                <a:gd name="connsiteY84" fmla="*/ 11847 h 248214"/>
                <a:gd name="connsiteX85" fmla="*/ 86311 w 180519"/>
                <a:gd name="connsiteY85" fmla="*/ 10436 h 248214"/>
                <a:gd name="connsiteX86" fmla="*/ 88003 w 180519"/>
                <a:gd name="connsiteY86" fmla="*/ 9026 h 248214"/>
                <a:gd name="connsiteX87" fmla="*/ 88850 w 180519"/>
                <a:gd name="connsiteY87" fmla="*/ 6487 h 248214"/>
                <a:gd name="connsiteX88" fmla="*/ 89414 w 180519"/>
                <a:gd name="connsiteY88" fmla="*/ 6205 h 248214"/>
                <a:gd name="connsiteX89" fmla="*/ 89695 w 180519"/>
                <a:gd name="connsiteY89" fmla="*/ 5359 h 248214"/>
                <a:gd name="connsiteX90" fmla="*/ 90542 w 180519"/>
                <a:gd name="connsiteY90" fmla="*/ 3949 h 248214"/>
                <a:gd name="connsiteX91" fmla="*/ 91952 w 180519"/>
                <a:gd name="connsiteY91" fmla="*/ 2821 h 248214"/>
                <a:gd name="connsiteX92" fmla="*/ 91670 w 180519"/>
                <a:gd name="connsiteY92" fmla="*/ 2256 h 248214"/>
                <a:gd name="connsiteX93" fmla="*/ 92798 w 180519"/>
                <a:gd name="connsiteY93" fmla="*/ 1692 h 248214"/>
                <a:gd name="connsiteX94" fmla="*/ 93362 w 180519"/>
                <a:gd name="connsiteY94" fmla="*/ 1410 h 248214"/>
                <a:gd name="connsiteX95" fmla="*/ 93926 w 180519"/>
                <a:gd name="connsiteY95" fmla="*/ 1128 h 248214"/>
                <a:gd name="connsiteX96" fmla="*/ 94209 w 180519"/>
                <a:gd name="connsiteY96" fmla="*/ 1128 h 248214"/>
                <a:gd name="connsiteX97" fmla="*/ 94491 w 180519"/>
                <a:gd name="connsiteY97" fmla="*/ 1410 h 248214"/>
                <a:gd name="connsiteX98" fmla="*/ 95055 w 180519"/>
                <a:gd name="connsiteY98" fmla="*/ 1128 h 248214"/>
                <a:gd name="connsiteX99" fmla="*/ 96465 w 180519"/>
                <a:gd name="connsiteY99" fmla="*/ 282 h 248214"/>
                <a:gd name="connsiteX100" fmla="*/ 97312 w 180519"/>
                <a:gd name="connsiteY100" fmla="*/ 0 h 248214"/>
                <a:gd name="connsiteX101" fmla="*/ 98440 w 180519"/>
                <a:gd name="connsiteY101" fmla="*/ 564 h 248214"/>
                <a:gd name="connsiteX102" fmla="*/ 98722 w 180519"/>
                <a:gd name="connsiteY102" fmla="*/ 846 h 248214"/>
                <a:gd name="connsiteX103" fmla="*/ 98440 w 180519"/>
                <a:gd name="connsiteY103" fmla="*/ 2821 h 248214"/>
                <a:gd name="connsiteX104" fmla="*/ 99004 w 180519"/>
                <a:gd name="connsiteY104" fmla="*/ 3103 h 248214"/>
                <a:gd name="connsiteX105" fmla="*/ 99568 w 180519"/>
                <a:gd name="connsiteY105" fmla="*/ 3103 h 248214"/>
                <a:gd name="connsiteX106" fmla="*/ 100414 w 180519"/>
                <a:gd name="connsiteY106" fmla="*/ 1692 h 248214"/>
                <a:gd name="connsiteX107" fmla="*/ 100696 w 180519"/>
                <a:gd name="connsiteY107" fmla="*/ 1692 h 248214"/>
                <a:gd name="connsiteX108" fmla="*/ 100978 w 180519"/>
                <a:gd name="connsiteY108" fmla="*/ 2256 h 248214"/>
                <a:gd name="connsiteX109" fmla="*/ 101542 w 180519"/>
                <a:gd name="connsiteY109" fmla="*/ 2821 h 248214"/>
                <a:gd name="connsiteX110" fmla="*/ 102106 w 180519"/>
                <a:gd name="connsiteY110" fmla="*/ 3103 h 248214"/>
                <a:gd name="connsiteX111" fmla="*/ 104363 w 180519"/>
                <a:gd name="connsiteY111" fmla="*/ 3103 h 248214"/>
                <a:gd name="connsiteX112" fmla="*/ 104081 w 180519"/>
                <a:gd name="connsiteY112" fmla="*/ 3667 h 248214"/>
                <a:gd name="connsiteX113" fmla="*/ 104081 w 180519"/>
                <a:gd name="connsiteY113" fmla="*/ 4231 h 248214"/>
                <a:gd name="connsiteX114" fmla="*/ 105209 w 180519"/>
                <a:gd name="connsiteY114" fmla="*/ 4231 h 248214"/>
                <a:gd name="connsiteX115" fmla="*/ 105491 w 180519"/>
                <a:gd name="connsiteY115" fmla="*/ 3949 h 248214"/>
                <a:gd name="connsiteX116" fmla="*/ 106619 w 180519"/>
                <a:gd name="connsiteY116" fmla="*/ 3667 h 248214"/>
                <a:gd name="connsiteX117" fmla="*/ 107184 w 180519"/>
                <a:gd name="connsiteY117" fmla="*/ 3949 h 248214"/>
                <a:gd name="connsiteX118" fmla="*/ 108876 w 180519"/>
                <a:gd name="connsiteY118" fmla="*/ 4231 h 248214"/>
                <a:gd name="connsiteX119" fmla="*/ 110004 w 180519"/>
                <a:gd name="connsiteY119" fmla="*/ 5077 h 248214"/>
                <a:gd name="connsiteX120" fmla="*/ 109722 w 180519"/>
                <a:gd name="connsiteY120" fmla="*/ 7052 h 248214"/>
                <a:gd name="connsiteX121" fmla="*/ 110286 w 180519"/>
                <a:gd name="connsiteY121" fmla="*/ 7898 h 248214"/>
                <a:gd name="connsiteX122" fmla="*/ 110568 w 180519"/>
                <a:gd name="connsiteY122" fmla="*/ 8462 h 248214"/>
                <a:gd name="connsiteX123" fmla="*/ 109722 w 180519"/>
                <a:gd name="connsiteY123" fmla="*/ 9872 h 248214"/>
                <a:gd name="connsiteX124" fmla="*/ 109440 w 180519"/>
                <a:gd name="connsiteY124" fmla="*/ 10718 h 248214"/>
                <a:gd name="connsiteX125" fmla="*/ 108312 w 180519"/>
                <a:gd name="connsiteY125" fmla="*/ 11847 h 248214"/>
                <a:gd name="connsiteX126" fmla="*/ 108029 w 180519"/>
                <a:gd name="connsiteY126" fmla="*/ 12411 h 248214"/>
                <a:gd name="connsiteX127" fmla="*/ 107748 w 180519"/>
                <a:gd name="connsiteY127" fmla="*/ 13257 h 248214"/>
                <a:gd name="connsiteX128" fmla="*/ 107465 w 180519"/>
                <a:gd name="connsiteY128" fmla="*/ 13539 h 248214"/>
                <a:gd name="connsiteX129" fmla="*/ 107184 w 180519"/>
                <a:gd name="connsiteY129" fmla="*/ 13821 h 248214"/>
                <a:gd name="connsiteX130" fmla="*/ 107184 w 180519"/>
                <a:gd name="connsiteY130" fmla="*/ 15231 h 248214"/>
                <a:gd name="connsiteX131" fmla="*/ 106337 w 180519"/>
                <a:gd name="connsiteY131" fmla="*/ 16642 h 248214"/>
                <a:gd name="connsiteX132" fmla="*/ 106337 w 180519"/>
                <a:gd name="connsiteY132" fmla="*/ 16924 h 248214"/>
                <a:gd name="connsiteX133" fmla="*/ 105491 w 180519"/>
                <a:gd name="connsiteY133" fmla="*/ 18898 h 248214"/>
                <a:gd name="connsiteX134" fmla="*/ 105209 w 180519"/>
                <a:gd name="connsiteY134" fmla="*/ 20026 h 248214"/>
                <a:gd name="connsiteX135" fmla="*/ 105209 w 180519"/>
                <a:gd name="connsiteY135" fmla="*/ 20308 h 248214"/>
                <a:gd name="connsiteX136" fmla="*/ 104363 w 180519"/>
                <a:gd name="connsiteY136" fmla="*/ 21437 h 248214"/>
                <a:gd name="connsiteX137" fmla="*/ 104645 w 180519"/>
                <a:gd name="connsiteY137" fmla="*/ 21719 h 248214"/>
                <a:gd name="connsiteX138" fmla="*/ 104645 w 180519"/>
                <a:gd name="connsiteY138" fmla="*/ 22283 h 248214"/>
                <a:gd name="connsiteX139" fmla="*/ 103234 w 180519"/>
                <a:gd name="connsiteY139" fmla="*/ 23975 h 248214"/>
                <a:gd name="connsiteX140" fmla="*/ 103517 w 180519"/>
                <a:gd name="connsiteY140" fmla="*/ 24257 h 248214"/>
                <a:gd name="connsiteX141" fmla="*/ 103517 w 180519"/>
                <a:gd name="connsiteY141" fmla="*/ 24539 h 248214"/>
                <a:gd name="connsiteX142" fmla="*/ 103234 w 180519"/>
                <a:gd name="connsiteY142" fmla="*/ 25103 h 248214"/>
                <a:gd name="connsiteX143" fmla="*/ 103234 w 180519"/>
                <a:gd name="connsiteY143" fmla="*/ 25386 h 248214"/>
                <a:gd name="connsiteX144" fmla="*/ 102388 w 180519"/>
                <a:gd name="connsiteY144" fmla="*/ 26232 h 248214"/>
                <a:gd name="connsiteX145" fmla="*/ 102388 w 180519"/>
                <a:gd name="connsiteY145" fmla="*/ 26514 h 248214"/>
                <a:gd name="connsiteX146" fmla="*/ 101824 w 180519"/>
                <a:gd name="connsiteY146" fmla="*/ 27360 h 248214"/>
                <a:gd name="connsiteX147" fmla="*/ 101260 w 180519"/>
                <a:gd name="connsiteY147" fmla="*/ 28770 h 248214"/>
                <a:gd name="connsiteX148" fmla="*/ 100978 w 180519"/>
                <a:gd name="connsiteY148" fmla="*/ 29052 h 248214"/>
                <a:gd name="connsiteX149" fmla="*/ 100978 w 180519"/>
                <a:gd name="connsiteY149" fmla="*/ 29616 h 248214"/>
                <a:gd name="connsiteX150" fmla="*/ 101260 w 180519"/>
                <a:gd name="connsiteY150" fmla="*/ 29899 h 248214"/>
                <a:gd name="connsiteX151" fmla="*/ 100414 w 180519"/>
                <a:gd name="connsiteY151" fmla="*/ 31591 h 248214"/>
                <a:gd name="connsiteX152" fmla="*/ 99004 w 180519"/>
                <a:gd name="connsiteY152" fmla="*/ 45130 h 248214"/>
                <a:gd name="connsiteX153" fmla="*/ 99850 w 180519"/>
                <a:gd name="connsiteY153" fmla="*/ 44566 h 248214"/>
                <a:gd name="connsiteX154" fmla="*/ 100414 w 180519"/>
                <a:gd name="connsiteY154" fmla="*/ 44284 h 248214"/>
                <a:gd name="connsiteX155" fmla="*/ 101542 w 180519"/>
                <a:gd name="connsiteY155" fmla="*/ 45412 h 248214"/>
                <a:gd name="connsiteX156" fmla="*/ 102953 w 180519"/>
                <a:gd name="connsiteY156" fmla="*/ 46540 h 248214"/>
                <a:gd name="connsiteX157" fmla="*/ 105773 w 180519"/>
                <a:gd name="connsiteY157" fmla="*/ 45130 h 248214"/>
                <a:gd name="connsiteX158" fmla="*/ 102953 w 180519"/>
                <a:gd name="connsiteY158" fmla="*/ 45694 h 248214"/>
                <a:gd name="connsiteX159" fmla="*/ 102388 w 180519"/>
                <a:gd name="connsiteY159" fmla="*/ 45412 h 248214"/>
                <a:gd name="connsiteX160" fmla="*/ 102388 w 180519"/>
                <a:gd name="connsiteY160" fmla="*/ 45130 h 248214"/>
                <a:gd name="connsiteX161" fmla="*/ 104927 w 180519"/>
                <a:gd name="connsiteY161" fmla="*/ 44284 h 248214"/>
                <a:gd name="connsiteX162" fmla="*/ 105491 w 180519"/>
                <a:gd name="connsiteY162" fmla="*/ 44002 h 248214"/>
                <a:gd name="connsiteX163" fmla="*/ 106055 w 180519"/>
                <a:gd name="connsiteY163" fmla="*/ 44566 h 248214"/>
                <a:gd name="connsiteX164" fmla="*/ 105773 w 180519"/>
                <a:gd name="connsiteY164" fmla="*/ 45130 h 248214"/>
                <a:gd name="connsiteX165" fmla="*/ 106337 w 180519"/>
                <a:gd name="connsiteY165" fmla="*/ 44848 h 248214"/>
                <a:gd name="connsiteX166" fmla="*/ 107748 w 180519"/>
                <a:gd name="connsiteY166" fmla="*/ 44284 h 248214"/>
                <a:gd name="connsiteX167" fmla="*/ 110568 w 180519"/>
                <a:gd name="connsiteY167" fmla="*/ 43720 h 248214"/>
                <a:gd name="connsiteX168" fmla="*/ 112260 w 180519"/>
                <a:gd name="connsiteY168" fmla="*/ 43437 h 248214"/>
                <a:gd name="connsiteX169" fmla="*/ 113107 w 180519"/>
                <a:gd name="connsiteY169" fmla="*/ 43437 h 248214"/>
                <a:gd name="connsiteX170" fmla="*/ 112825 w 180519"/>
                <a:gd name="connsiteY170" fmla="*/ 44002 h 248214"/>
                <a:gd name="connsiteX171" fmla="*/ 112260 w 180519"/>
                <a:gd name="connsiteY171" fmla="*/ 44566 h 248214"/>
                <a:gd name="connsiteX172" fmla="*/ 111696 w 180519"/>
                <a:gd name="connsiteY172" fmla="*/ 45412 h 248214"/>
                <a:gd name="connsiteX173" fmla="*/ 111979 w 180519"/>
                <a:gd name="connsiteY173" fmla="*/ 45694 h 248214"/>
                <a:gd name="connsiteX174" fmla="*/ 111696 w 180519"/>
                <a:gd name="connsiteY174" fmla="*/ 45976 h 248214"/>
                <a:gd name="connsiteX175" fmla="*/ 110568 w 180519"/>
                <a:gd name="connsiteY175" fmla="*/ 47386 h 248214"/>
                <a:gd name="connsiteX176" fmla="*/ 108029 w 180519"/>
                <a:gd name="connsiteY176" fmla="*/ 49361 h 248214"/>
                <a:gd name="connsiteX177" fmla="*/ 107184 w 180519"/>
                <a:gd name="connsiteY177" fmla="*/ 49925 h 248214"/>
                <a:gd name="connsiteX178" fmla="*/ 108029 w 180519"/>
                <a:gd name="connsiteY178" fmla="*/ 50489 h 248214"/>
                <a:gd name="connsiteX179" fmla="*/ 108594 w 180519"/>
                <a:gd name="connsiteY179" fmla="*/ 49925 h 248214"/>
                <a:gd name="connsiteX180" fmla="*/ 109440 w 180519"/>
                <a:gd name="connsiteY180" fmla="*/ 49361 h 248214"/>
                <a:gd name="connsiteX181" fmla="*/ 110568 w 180519"/>
                <a:gd name="connsiteY181" fmla="*/ 48515 h 248214"/>
                <a:gd name="connsiteX182" fmla="*/ 111696 w 180519"/>
                <a:gd name="connsiteY182" fmla="*/ 48515 h 248214"/>
                <a:gd name="connsiteX183" fmla="*/ 113389 w 180519"/>
                <a:gd name="connsiteY183" fmla="*/ 47386 h 248214"/>
                <a:gd name="connsiteX184" fmla="*/ 113671 w 180519"/>
                <a:gd name="connsiteY184" fmla="*/ 46822 h 248214"/>
                <a:gd name="connsiteX185" fmla="*/ 113953 w 180519"/>
                <a:gd name="connsiteY185" fmla="*/ 46540 h 248214"/>
                <a:gd name="connsiteX186" fmla="*/ 113389 w 180519"/>
                <a:gd name="connsiteY186" fmla="*/ 46258 h 248214"/>
                <a:gd name="connsiteX187" fmla="*/ 112825 w 180519"/>
                <a:gd name="connsiteY187" fmla="*/ 46258 h 248214"/>
                <a:gd name="connsiteX188" fmla="*/ 113107 w 180519"/>
                <a:gd name="connsiteY188" fmla="*/ 45694 h 248214"/>
                <a:gd name="connsiteX189" fmla="*/ 113389 w 180519"/>
                <a:gd name="connsiteY189" fmla="*/ 45412 h 248214"/>
                <a:gd name="connsiteX190" fmla="*/ 117056 w 180519"/>
                <a:gd name="connsiteY190" fmla="*/ 43437 h 248214"/>
                <a:gd name="connsiteX191" fmla="*/ 117620 w 180519"/>
                <a:gd name="connsiteY191" fmla="*/ 43155 h 248214"/>
                <a:gd name="connsiteX192" fmla="*/ 117902 w 180519"/>
                <a:gd name="connsiteY192" fmla="*/ 43437 h 248214"/>
                <a:gd name="connsiteX193" fmla="*/ 117902 w 180519"/>
                <a:gd name="connsiteY193" fmla="*/ 44002 h 248214"/>
                <a:gd name="connsiteX194" fmla="*/ 118184 w 180519"/>
                <a:gd name="connsiteY194" fmla="*/ 45130 h 248214"/>
                <a:gd name="connsiteX195" fmla="*/ 118748 w 180519"/>
                <a:gd name="connsiteY195" fmla="*/ 45130 h 248214"/>
                <a:gd name="connsiteX196" fmla="*/ 119594 w 180519"/>
                <a:gd name="connsiteY196" fmla="*/ 42873 h 248214"/>
                <a:gd name="connsiteX197" fmla="*/ 121568 w 180519"/>
                <a:gd name="connsiteY197" fmla="*/ 41745 h 248214"/>
                <a:gd name="connsiteX198" fmla="*/ 124107 w 180519"/>
                <a:gd name="connsiteY198" fmla="*/ 41745 h 248214"/>
                <a:gd name="connsiteX199" fmla="*/ 123825 w 180519"/>
                <a:gd name="connsiteY199" fmla="*/ 42873 h 248214"/>
                <a:gd name="connsiteX200" fmla="*/ 123543 w 180519"/>
                <a:gd name="connsiteY200" fmla="*/ 43155 h 248214"/>
                <a:gd name="connsiteX201" fmla="*/ 123543 w 180519"/>
                <a:gd name="connsiteY201" fmla="*/ 43720 h 248214"/>
                <a:gd name="connsiteX202" fmla="*/ 125235 w 180519"/>
                <a:gd name="connsiteY202" fmla="*/ 44002 h 248214"/>
                <a:gd name="connsiteX203" fmla="*/ 125518 w 180519"/>
                <a:gd name="connsiteY203" fmla="*/ 44002 h 248214"/>
                <a:gd name="connsiteX204" fmla="*/ 125518 w 180519"/>
                <a:gd name="connsiteY204" fmla="*/ 44848 h 248214"/>
                <a:gd name="connsiteX205" fmla="*/ 124389 w 180519"/>
                <a:gd name="connsiteY205" fmla="*/ 45130 h 248214"/>
                <a:gd name="connsiteX206" fmla="*/ 122979 w 180519"/>
                <a:gd name="connsiteY206" fmla="*/ 45694 h 248214"/>
                <a:gd name="connsiteX207" fmla="*/ 122697 w 180519"/>
                <a:gd name="connsiteY207" fmla="*/ 45976 h 248214"/>
                <a:gd name="connsiteX208" fmla="*/ 122697 w 180519"/>
                <a:gd name="connsiteY208" fmla="*/ 46540 h 248214"/>
                <a:gd name="connsiteX209" fmla="*/ 123543 w 180519"/>
                <a:gd name="connsiteY209" fmla="*/ 46540 h 248214"/>
                <a:gd name="connsiteX210" fmla="*/ 126646 w 180519"/>
                <a:gd name="connsiteY210" fmla="*/ 45976 h 248214"/>
                <a:gd name="connsiteX211" fmla="*/ 127492 w 180519"/>
                <a:gd name="connsiteY211" fmla="*/ 47104 h 248214"/>
                <a:gd name="connsiteX212" fmla="*/ 128056 w 180519"/>
                <a:gd name="connsiteY212" fmla="*/ 47386 h 248214"/>
                <a:gd name="connsiteX213" fmla="*/ 128620 w 180519"/>
                <a:gd name="connsiteY213" fmla="*/ 47104 h 248214"/>
                <a:gd name="connsiteX214" fmla="*/ 129749 w 180519"/>
                <a:gd name="connsiteY214" fmla="*/ 45694 h 248214"/>
                <a:gd name="connsiteX215" fmla="*/ 129749 w 180519"/>
                <a:gd name="connsiteY215" fmla="*/ 45412 h 248214"/>
                <a:gd name="connsiteX216" fmla="*/ 129466 w 180519"/>
                <a:gd name="connsiteY216" fmla="*/ 45412 h 248214"/>
                <a:gd name="connsiteX217" fmla="*/ 129184 w 180519"/>
                <a:gd name="connsiteY217" fmla="*/ 45694 h 248214"/>
                <a:gd name="connsiteX218" fmla="*/ 128902 w 180519"/>
                <a:gd name="connsiteY218" fmla="*/ 45694 h 248214"/>
                <a:gd name="connsiteX219" fmla="*/ 129184 w 180519"/>
                <a:gd name="connsiteY219" fmla="*/ 45412 h 248214"/>
                <a:gd name="connsiteX220" fmla="*/ 129184 w 180519"/>
                <a:gd name="connsiteY220" fmla="*/ 45130 h 248214"/>
                <a:gd name="connsiteX221" fmla="*/ 130030 w 180519"/>
                <a:gd name="connsiteY221" fmla="*/ 44002 h 248214"/>
                <a:gd name="connsiteX222" fmla="*/ 130594 w 180519"/>
                <a:gd name="connsiteY222" fmla="*/ 42873 h 248214"/>
                <a:gd name="connsiteX223" fmla="*/ 129184 w 180519"/>
                <a:gd name="connsiteY223" fmla="*/ 43155 h 248214"/>
                <a:gd name="connsiteX224" fmla="*/ 127774 w 180519"/>
                <a:gd name="connsiteY224" fmla="*/ 42873 h 248214"/>
                <a:gd name="connsiteX225" fmla="*/ 128056 w 180519"/>
                <a:gd name="connsiteY225" fmla="*/ 42591 h 248214"/>
                <a:gd name="connsiteX226" fmla="*/ 128056 w 180519"/>
                <a:gd name="connsiteY226" fmla="*/ 42309 h 248214"/>
                <a:gd name="connsiteX227" fmla="*/ 128338 w 180519"/>
                <a:gd name="connsiteY227" fmla="*/ 41463 h 248214"/>
                <a:gd name="connsiteX228" fmla="*/ 129184 w 180519"/>
                <a:gd name="connsiteY228" fmla="*/ 41745 h 248214"/>
                <a:gd name="connsiteX229" fmla="*/ 130030 w 180519"/>
                <a:gd name="connsiteY229" fmla="*/ 42591 h 248214"/>
                <a:gd name="connsiteX230" fmla="*/ 131159 w 180519"/>
                <a:gd name="connsiteY230" fmla="*/ 41181 h 248214"/>
                <a:gd name="connsiteX231" fmla="*/ 134261 w 180519"/>
                <a:gd name="connsiteY231" fmla="*/ 41181 h 248214"/>
                <a:gd name="connsiteX232" fmla="*/ 138774 w 180519"/>
                <a:gd name="connsiteY232" fmla="*/ 40053 h 248214"/>
                <a:gd name="connsiteX233" fmla="*/ 140749 w 180519"/>
                <a:gd name="connsiteY233" fmla="*/ 40053 h 248214"/>
                <a:gd name="connsiteX234" fmla="*/ 141313 w 180519"/>
                <a:gd name="connsiteY234" fmla="*/ 41745 h 248214"/>
                <a:gd name="connsiteX235" fmla="*/ 141877 w 180519"/>
                <a:gd name="connsiteY235" fmla="*/ 42309 h 248214"/>
                <a:gd name="connsiteX236" fmla="*/ 143287 w 180519"/>
                <a:gd name="connsiteY236" fmla="*/ 42027 h 248214"/>
                <a:gd name="connsiteX237" fmla="*/ 144416 w 180519"/>
                <a:gd name="connsiteY237" fmla="*/ 42027 h 248214"/>
                <a:gd name="connsiteX238" fmla="*/ 143852 w 180519"/>
                <a:gd name="connsiteY238" fmla="*/ 43437 h 248214"/>
                <a:gd name="connsiteX239" fmla="*/ 144416 w 180519"/>
                <a:gd name="connsiteY239" fmla="*/ 44848 h 248214"/>
                <a:gd name="connsiteX240" fmla="*/ 145262 w 180519"/>
                <a:gd name="connsiteY240" fmla="*/ 45130 h 248214"/>
                <a:gd name="connsiteX241" fmla="*/ 144980 w 180519"/>
                <a:gd name="connsiteY241" fmla="*/ 45412 h 248214"/>
                <a:gd name="connsiteX242" fmla="*/ 144416 w 180519"/>
                <a:gd name="connsiteY242" fmla="*/ 46258 h 248214"/>
                <a:gd name="connsiteX243" fmla="*/ 143852 w 180519"/>
                <a:gd name="connsiteY243" fmla="*/ 47104 h 248214"/>
                <a:gd name="connsiteX244" fmla="*/ 144980 w 180519"/>
                <a:gd name="connsiteY244" fmla="*/ 46258 h 248214"/>
                <a:gd name="connsiteX245" fmla="*/ 146672 w 180519"/>
                <a:gd name="connsiteY245" fmla="*/ 45412 h 248214"/>
                <a:gd name="connsiteX246" fmla="*/ 147236 w 180519"/>
                <a:gd name="connsiteY246" fmla="*/ 45130 h 248214"/>
                <a:gd name="connsiteX247" fmla="*/ 147518 w 180519"/>
                <a:gd name="connsiteY247" fmla="*/ 45412 h 248214"/>
                <a:gd name="connsiteX248" fmla="*/ 148364 w 180519"/>
                <a:gd name="connsiteY248" fmla="*/ 44848 h 248214"/>
                <a:gd name="connsiteX249" fmla="*/ 148928 w 180519"/>
                <a:gd name="connsiteY249" fmla="*/ 43155 h 248214"/>
                <a:gd name="connsiteX250" fmla="*/ 148928 w 180519"/>
                <a:gd name="connsiteY250" fmla="*/ 42873 h 248214"/>
                <a:gd name="connsiteX251" fmla="*/ 149775 w 180519"/>
                <a:gd name="connsiteY251" fmla="*/ 41463 h 248214"/>
                <a:gd name="connsiteX252" fmla="*/ 151467 w 180519"/>
                <a:gd name="connsiteY252" fmla="*/ 39771 h 248214"/>
                <a:gd name="connsiteX253" fmla="*/ 152314 w 180519"/>
                <a:gd name="connsiteY253" fmla="*/ 39771 h 248214"/>
                <a:gd name="connsiteX254" fmla="*/ 153159 w 180519"/>
                <a:gd name="connsiteY254" fmla="*/ 40053 h 248214"/>
                <a:gd name="connsiteX255" fmla="*/ 155980 w 180519"/>
                <a:gd name="connsiteY255" fmla="*/ 38924 h 248214"/>
                <a:gd name="connsiteX256" fmla="*/ 156544 w 180519"/>
                <a:gd name="connsiteY256" fmla="*/ 38924 h 248214"/>
                <a:gd name="connsiteX257" fmla="*/ 157390 w 180519"/>
                <a:gd name="connsiteY257" fmla="*/ 39207 h 248214"/>
                <a:gd name="connsiteX258" fmla="*/ 159083 w 180519"/>
                <a:gd name="connsiteY258" fmla="*/ 38924 h 248214"/>
                <a:gd name="connsiteX259" fmla="*/ 161621 w 180519"/>
                <a:gd name="connsiteY259" fmla="*/ 39489 h 248214"/>
                <a:gd name="connsiteX260" fmla="*/ 164724 w 180519"/>
                <a:gd name="connsiteY260" fmla="*/ 38924 h 248214"/>
                <a:gd name="connsiteX261" fmla="*/ 165852 w 180519"/>
                <a:gd name="connsiteY261" fmla="*/ 38924 h 248214"/>
                <a:gd name="connsiteX262" fmla="*/ 165852 w 180519"/>
                <a:gd name="connsiteY262" fmla="*/ 39207 h 248214"/>
                <a:gd name="connsiteX263" fmla="*/ 166134 w 180519"/>
                <a:gd name="connsiteY263" fmla="*/ 39489 h 248214"/>
                <a:gd name="connsiteX264" fmla="*/ 166698 w 180519"/>
                <a:gd name="connsiteY264" fmla="*/ 39207 h 248214"/>
                <a:gd name="connsiteX265" fmla="*/ 167827 w 180519"/>
                <a:gd name="connsiteY265" fmla="*/ 39207 h 248214"/>
                <a:gd name="connsiteX266" fmla="*/ 169801 w 180519"/>
                <a:gd name="connsiteY266" fmla="*/ 40053 h 248214"/>
                <a:gd name="connsiteX267" fmla="*/ 170365 w 180519"/>
                <a:gd name="connsiteY267" fmla="*/ 40617 h 248214"/>
                <a:gd name="connsiteX268" fmla="*/ 171493 w 180519"/>
                <a:gd name="connsiteY268" fmla="*/ 40335 h 248214"/>
                <a:gd name="connsiteX269" fmla="*/ 172058 w 180519"/>
                <a:gd name="connsiteY269" fmla="*/ 40335 h 248214"/>
                <a:gd name="connsiteX270" fmla="*/ 174314 w 180519"/>
                <a:gd name="connsiteY270" fmla="*/ 39771 h 248214"/>
                <a:gd name="connsiteX271" fmla="*/ 175724 w 180519"/>
                <a:gd name="connsiteY271" fmla="*/ 40617 h 248214"/>
                <a:gd name="connsiteX272" fmla="*/ 177981 w 180519"/>
                <a:gd name="connsiteY272" fmla="*/ 40617 h 248214"/>
                <a:gd name="connsiteX273" fmla="*/ 179109 w 180519"/>
                <a:gd name="connsiteY273" fmla="*/ 40335 h 248214"/>
                <a:gd name="connsiteX274" fmla="*/ 180520 w 180519"/>
                <a:gd name="connsiteY274" fmla="*/ 41181 h 248214"/>
                <a:gd name="connsiteX275" fmla="*/ 181084 w 180519"/>
                <a:gd name="connsiteY275" fmla="*/ 42027 h 248214"/>
                <a:gd name="connsiteX276" fmla="*/ 181084 w 180519"/>
                <a:gd name="connsiteY276" fmla="*/ 42309 h 248214"/>
                <a:gd name="connsiteX277" fmla="*/ 181648 w 180519"/>
                <a:gd name="connsiteY277" fmla="*/ 44566 h 248214"/>
                <a:gd name="connsiteX278" fmla="*/ 181648 w 180519"/>
                <a:gd name="connsiteY278" fmla="*/ 45130 h 248214"/>
                <a:gd name="connsiteX279" fmla="*/ 182494 w 180519"/>
                <a:gd name="connsiteY279" fmla="*/ 46258 h 248214"/>
                <a:gd name="connsiteX280" fmla="*/ 181930 w 180519"/>
                <a:gd name="connsiteY280" fmla="*/ 47668 h 248214"/>
                <a:gd name="connsiteX281" fmla="*/ 181930 w 180519"/>
                <a:gd name="connsiteY281" fmla="*/ 50771 h 248214"/>
                <a:gd name="connsiteX282" fmla="*/ 180801 w 180519"/>
                <a:gd name="connsiteY282" fmla="*/ 51899 h 248214"/>
                <a:gd name="connsiteX283" fmla="*/ 179955 w 180519"/>
                <a:gd name="connsiteY283" fmla="*/ 52745 h 248214"/>
                <a:gd name="connsiteX284" fmla="*/ 177981 w 180519"/>
                <a:gd name="connsiteY284" fmla="*/ 54156 h 248214"/>
                <a:gd name="connsiteX285" fmla="*/ 177417 w 180519"/>
                <a:gd name="connsiteY285" fmla="*/ 54720 h 248214"/>
                <a:gd name="connsiteX286" fmla="*/ 176570 w 180519"/>
                <a:gd name="connsiteY286" fmla="*/ 54720 h 248214"/>
                <a:gd name="connsiteX287" fmla="*/ 174314 w 180519"/>
                <a:gd name="connsiteY287" fmla="*/ 55566 h 248214"/>
                <a:gd name="connsiteX288" fmla="*/ 170648 w 180519"/>
                <a:gd name="connsiteY288" fmla="*/ 56694 h 248214"/>
                <a:gd name="connsiteX289" fmla="*/ 169519 w 180519"/>
                <a:gd name="connsiteY289" fmla="*/ 56976 h 248214"/>
                <a:gd name="connsiteX290" fmla="*/ 166698 w 180519"/>
                <a:gd name="connsiteY290" fmla="*/ 57541 h 248214"/>
                <a:gd name="connsiteX291" fmla="*/ 165852 w 180519"/>
                <a:gd name="connsiteY291" fmla="*/ 57541 h 248214"/>
                <a:gd name="connsiteX292" fmla="*/ 165288 w 180519"/>
                <a:gd name="connsiteY292" fmla="*/ 57823 h 248214"/>
                <a:gd name="connsiteX293" fmla="*/ 165288 w 180519"/>
                <a:gd name="connsiteY293" fmla="*/ 57541 h 248214"/>
                <a:gd name="connsiteX294" fmla="*/ 164160 w 180519"/>
                <a:gd name="connsiteY294" fmla="*/ 56130 h 248214"/>
                <a:gd name="connsiteX295" fmla="*/ 164724 w 180519"/>
                <a:gd name="connsiteY295" fmla="*/ 55566 h 248214"/>
                <a:gd name="connsiteX296" fmla="*/ 166134 w 180519"/>
                <a:gd name="connsiteY296" fmla="*/ 54438 h 248214"/>
                <a:gd name="connsiteX297" fmla="*/ 164160 w 180519"/>
                <a:gd name="connsiteY297" fmla="*/ 54438 h 248214"/>
                <a:gd name="connsiteX298" fmla="*/ 163878 w 180519"/>
                <a:gd name="connsiteY298" fmla="*/ 54156 h 248214"/>
                <a:gd name="connsiteX299" fmla="*/ 165288 w 180519"/>
                <a:gd name="connsiteY299" fmla="*/ 52745 h 248214"/>
                <a:gd name="connsiteX300" fmla="*/ 165852 w 180519"/>
                <a:gd name="connsiteY300" fmla="*/ 52745 h 248214"/>
                <a:gd name="connsiteX301" fmla="*/ 166698 w 180519"/>
                <a:gd name="connsiteY301" fmla="*/ 51899 h 248214"/>
                <a:gd name="connsiteX302" fmla="*/ 166698 w 180519"/>
                <a:gd name="connsiteY302" fmla="*/ 51617 h 248214"/>
                <a:gd name="connsiteX303" fmla="*/ 165852 w 180519"/>
                <a:gd name="connsiteY303" fmla="*/ 51335 h 248214"/>
                <a:gd name="connsiteX304" fmla="*/ 165288 w 180519"/>
                <a:gd name="connsiteY304" fmla="*/ 51617 h 248214"/>
                <a:gd name="connsiteX305" fmla="*/ 165006 w 180519"/>
                <a:gd name="connsiteY305" fmla="*/ 51617 h 248214"/>
                <a:gd name="connsiteX306" fmla="*/ 165288 w 180519"/>
                <a:gd name="connsiteY306" fmla="*/ 51335 h 248214"/>
                <a:gd name="connsiteX307" fmla="*/ 165570 w 180519"/>
                <a:gd name="connsiteY307" fmla="*/ 50771 h 248214"/>
                <a:gd name="connsiteX308" fmla="*/ 164160 w 180519"/>
                <a:gd name="connsiteY308" fmla="*/ 50207 h 248214"/>
                <a:gd name="connsiteX309" fmla="*/ 163314 w 180519"/>
                <a:gd name="connsiteY309" fmla="*/ 50207 h 248214"/>
                <a:gd name="connsiteX310" fmla="*/ 162467 w 180519"/>
                <a:gd name="connsiteY310" fmla="*/ 50771 h 248214"/>
                <a:gd name="connsiteX311" fmla="*/ 161057 w 180519"/>
                <a:gd name="connsiteY311" fmla="*/ 51335 h 248214"/>
                <a:gd name="connsiteX312" fmla="*/ 159647 w 180519"/>
                <a:gd name="connsiteY312" fmla="*/ 51335 h 248214"/>
                <a:gd name="connsiteX313" fmla="*/ 156544 w 180519"/>
                <a:gd name="connsiteY313" fmla="*/ 50771 h 248214"/>
                <a:gd name="connsiteX314" fmla="*/ 152595 w 180519"/>
                <a:gd name="connsiteY314" fmla="*/ 50771 h 248214"/>
                <a:gd name="connsiteX315" fmla="*/ 152031 w 180519"/>
                <a:gd name="connsiteY315" fmla="*/ 50489 h 248214"/>
                <a:gd name="connsiteX316" fmla="*/ 151749 w 180519"/>
                <a:gd name="connsiteY316" fmla="*/ 49925 h 248214"/>
                <a:gd name="connsiteX317" fmla="*/ 151749 w 180519"/>
                <a:gd name="connsiteY317" fmla="*/ 49361 h 248214"/>
                <a:gd name="connsiteX318" fmla="*/ 152314 w 180519"/>
                <a:gd name="connsiteY318" fmla="*/ 48232 h 248214"/>
                <a:gd name="connsiteX319" fmla="*/ 152031 w 180519"/>
                <a:gd name="connsiteY319" fmla="*/ 47950 h 248214"/>
                <a:gd name="connsiteX320" fmla="*/ 150903 w 180519"/>
                <a:gd name="connsiteY320" fmla="*/ 49079 h 248214"/>
                <a:gd name="connsiteX321" fmla="*/ 149493 w 180519"/>
                <a:gd name="connsiteY321" fmla="*/ 49643 h 248214"/>
                <a:gd name="connsiteX322" fmla="*/ 149211 w 180519"/>
                <a:gd name="connsiteY322" fmla="*/ 49643 h 248214"/>
                <a:gd name="connsiteX323" fmla="*/ 149493 w 180519"/>
                <a:gd name="connsiteY323" fmla="*/ 49079 h 248214"/>
                <a:gd name="connsiteX324" fmla="*/ 149211 w 180519"/>
                <a:gd name="connsiteY324" fmla="*/ 49079 h 248214"/>
                <a:gd name="connsiteX325" fmla="*/ 148364 w 180519"/>
                <a:gd name="connsiteY325" fmla="*/ 49925 h 248214"/>
                <a:gd name="connsiteX326" fmla="*/ 146954 w 180519"/>
                <a:gd name="connsiteY326" fmla="*/ 51053 h 248214"/>
                <a:gd name="connsiteX327" fmla="*/ 145262 w 180519"/>
                <a:gd name="connsiteY327" fmla="*/ 50771 h 248214"/>
                <a:gd name="connsiteX328" fmla="*/ 143852 w 180519"/>
                <a:gd name="connsiteY328" fmla="*/ 51335 h 248214"/>
                <a:gd name="connsiteX329" fmla="*/ 142723 w 180519"/>
                <a:gd name="connsiteY329" fmla="*/ 51617 h 248214"/>
                <a:gd name="connsiteX330" fmla="*/ 141313 w 180519"/>
                <a:gd name="connsiteY330" fmla="*/ 51335 h 248214"/>
                <a:gd name="connsiteX331" fmla="*/ 140749 w 180519"/>
                <a:gd name="connsiteY331" fmla="*/ 51335 h 248214"/>
                <a:gd name="connsiteX332" fmla="*/ 140185 w 180519"/>
                <a:gd name="connsiteY332" fmla="*/ 51053 h 248214"/>
                <a:gd name="connsiteX333" fmla="*/ 139621 w 180519"/>
                <a:gd name="connsiteY333" fmla="*/ 51053 h 248214"/>
                <a:gd name="connsiteX334" fmla="*/ 137928 w 180519"/>
                <a:gd name="connsiteY334" fmla="*/ 51335 h 248214"/>
                <a:gd name="connsiteX335" fmla="*/ 136236 w 180519"/>
                <a:gd name="connsiteY335" fmla="*/ 50771 h 248214"/>
                <a:gd name="connsiteX336" fmla="*/ 135672 w 180519"/>
                <a:gd name="connsiteY336" fmla="*/ 51053 h 248214"/>
                <a:gd name="connsiteX337" fmla="*/ 134544 w 180519"/>
                <a:gd name="connsiteY337" fmla="*/ 50489 h 248214"/>
                <a:gd name="connsiteX338" fmla="*/ 133980 w 180519"/>
                <a:gd name="connsiteY338" fmla="*/ 50207 h 248214"/>
                <a:gd name="connsiteX339" fmla="*/ 133133 w 180519"/>
                <a:gd name="connsiteY339" fmla="*/ 50489 h 248214"/>
                <a:gd name="connsiteX340" fmla="*/ 132287 w 180519"/>
                <a:gd name="connsiteY340" fmla="*/ 51335 h 248214"/>
                <a:gd name="connsiteX341" fmla="*/ 132005 w 180519"/>
                <a:gd name="connsiteY341" fmla="*/ 51335 h 248214"/>
                <a:gd name="connsiteX342" fmla="*/ 132005 w 180519"/>
                <a:gd name="connsiteY342" fmla="*/ 51053 h 248214"/>
                <a:gd name="connsiteX343" fmla="*/ 131441 w 180519"/>
                <a:gd name="connsiteY343" fmla="*/ 50771 h 248214"/>
                <a:gd name="connsiteX344" fmla="*/ 129749 w 180519"/>
                <a:gd name="connsiteY344" fmla="*/ 51899 h 248214"/>
                <a:gd name="connsiteX345" fmla="*/ 129749 w 180519"/>
                <a:gd name="connsiteY345" fmla="*/ 51335 h 248214"/>
                <a:gd name="connsiteX346" fmla="*/ 129466 w 180519"/>
                <a:gd name="connsiteY346" fmla="*/ 51053 h 248214"/>
                <a:gd name="connsiteX347" fmla="*/ 128902 w 180519"/>
                <a:gd name="connsiteY347" fmla="*/ 51617 h 248214"/>
                <a:gd name="connsiteX348" fmla="*/ 127774 w 180519"/>
                <a:gd name="connsiteY348" fmla="*/ 51899 h 248214"/>
                <a:gd name="connsiteX349" fmla="*/ 127492 w 180519"/>
                <a:gd name="connsiteY349" fmla="*/ 51899 h 248214"/>
                <a:gd name="connsiteX350" fmla="*/ 127492 w 180519"/>
                <a:gd name="connsiteY350" fmla="*/ 51335 h 248214"/>
                <a:gd name="connsiteX351" fmla="*/ 127210 w 180519"/>
                <a:gd name="connsiteY351" fmla="*/ 51335 h 248214"/>
                <a:gd name="connsiteX352" fmla="*/ 125799 w 180519"/>
                <a:gd name="connsiteY352" fmla="*/ 52181 h 248214"/>
                <a:gd name="connsiteX353" fmla="*/ 125235 w 180519"/>
                <a:gd name="connsiteY353" fmla="*/ 52181 h 248214"/>
                <a:gd name="connsiteX354" fmla="*/ 122415 w 180519"/>
                <a:gd name="connsiteY354" fmla="*/ 51617 h 248214"/>
                <a:gd name="connsiteX355" fmla="*/ 122132 w 180519"/>
                <a:gd name="connsiteY355" fmla="*/ 51335 h 248214"/>
                <a:gd name="connsiteX356" fmla="*/ 121568 w 180519"/>
                <a:gd name="connsiteY356" fmla="*/ 50771 h 248214"/>
                <a:gd name="connsiteX357" fmla="*/ 120440 w 180519"/>
                <a:gd name="connsiteY357" fmla="*/ 51335 h 248214"/>
                <a:gd name="connsiteX358" fmla="*/ 120158 w 180519"/>
                <a:gd name="connsiteY358" fmla="*/ 51617 h 248214"/>
                <a:gd name="connsiteX359" fmla="*/ 119594 w 180519"/>
                <a:gd name="connsiteY359" fmla="*/ 51335 h 248214"/>
                <a:gd name="connsiteX360" fmla="*/ 115927 w 180519"/>
                <a:gd name="connsiteY360" fmla="*/ 52463 h 248214"/>
                <a:gd name="connsiteX361" fmla="*/ 114799 w 180519"/>
                <a:gd name="connsiteY361" fmla="*/ 52745 h 248214"/>
                <a:gd name="connsiteX362" fmla="*/ 113671 w 180519"/>
                <a:gd name="connsiteY362" fmla="*/ 52745 h 248214"/>
                <a:gd name="connsiteX363" fmla="*/ 112825 w 180519"/>
                <a:gd name="connsiteY363" fmla="*/ 53028 h 248214"/>
                <a:gd name="connsiteX364" fmla="*/ 108029 w 180519"/>
                <a:gd name="connsiteY364" fmla="*/ 54156 h 248214"/>
                <a:gd name="connsiteX365" fmla="*/ 106055 w 180519"/>
                <a:gd name="connsiteY365" fmla="*/ 54438 h 248214"/>
                <a:gd name="connsiteX366" fmla="*/ 104927 w 180519"/>
                <a:gd name="connsiteY366" fmla="*/ 54438 h 248214"/>
                <a:gd name="connsiteX367" fmla="*/ 100978 w 180519"/>
                <a:gd name="connsiteY367" fmla="*/ 55284 h 248214"/>
                <a:gd name="connsiteX368" fmla="*/ 100414 w 180519"/>
                <a:gd name="connsiteY368" fmla="*/ 55002 h 248214"/>
                <a:gd name="connsiteX369" fmla="*/ 100414 w 180519"/>
                <a:gd name="connsiteY369" fmla="*/ 53310 h 248214"/>
                <a:gd name="connsiteX370" fmla="*/ 100978 w 180519"/>
                <a:gd name="connsiteY370" fmla="*/ 52745 h 248214"/>
                <a:gd name="connsiteX371" fmla="*/ 100696 w 180519"/>
                <a:gd name="connsiteY371" fmla="*/ 52463 h 248214"/>
                <a:gd name="connsiteX372" fmla="*/ 100414 w 180519"/>
                <a:gd name="connsiteY372" fmla="*/ 52745 h 248214"/>
                <a:gd name="connsiteX373" fmla="*/ 99850 w 180519"/>
                <a:gd name="connsiteY373" fmla="*/ 53028 h 248214"/>
                <a:gd name="connsiteX374" fmla="*/ 97876 w 180519"/>
                <a:gd name="connsiteY374" fmla="*/ 54438 h 248214"/>
                <a:gd name="connsiteX375" fmla="*/ 97029 w 180519"/>
                <a:gd name="connsiteY375" fmla="*/ 54438 h 248214"/>
                <a:gd name="connsiteX376" fmla="*/ 95055 w 180519"/>
                <a:gd name="connsiteY376" fmla="*/ 55284 h 248214"/>
                <a:gd name="connsiteX377" fmla="*/ 86875 w 180519"/>
                <a:gd name="connsiteY377" fmla="*/ 66849 h 248214"/>
                <a:gd name="connsiteX378" fmla="*/ 86311 w 180519"/>
                <a:gd name="connsiteY378" fmla="*/ 65720 h 248214"/>
                <a:gd name="connsiteX379" fmla="*/ 86311 w 180519"/>
                <a:gd name="connsiteY379" fmla="*/ 65438 h 248214"/>
                <a:gd name="connsiteX380" fmla="*/ 85747 w 180519"/>
                <a:gd name="connsiteY380" fmla="*/ 65720 h 248214"/>
                <a:gd name="connsiteX381" fmla="*/ 85464 w 180519"/>
                <a:gd name="connsiteY381" fmla="*/ 66002 h 248214"/>
                <a:gd name="connsiteX382" fmla="*/ 86593 w 180519"/>
                <a:gd name="connsiteY382" fmla="*/ 68823 h 248214"/>
                <a:gd name="connsiteX383" fmla="*/ 86593 w 180519"/>
                <a:gd name="connsiteY383" fmla="*/ 69105 h 248214"/>
                <a:gd name="connsiteX384" fmla="*/ 86029 w 180519"/>
                <a:gd name="connsiteY384" fmla="*/ 70515 h 248214"/>
                <a:gd name="connsiteX385" fmla="*/ 85183 w 180519"/>
                <a:gd name="connsiteY385" fmla="*/ 71079 h 248214"/>
                <a:gd name="connsiteX386" fmla="*/ 85747 w 180519"/>
                <a:gd name="connsiteY386" fmla="*/ 71644 h 248214"/>
                <a:gd name="connsiteX387" fmla="*/ 86029 w 180519"/>
                <a:gd name="connsiteY387" fmla="*/ 72208 h 248214"/>
                <a:gd name="connsiteX388" fmla="*/ 85747 w 180519"/>
                <a:gd name="connsiteY388" fmla="*/ 73618 h 248214"/>
                <a:gd name="connsiteX389" fmla="*/ 84900 w 180519"/>
                <a:gd name="connsiteY389" fmla="*/ 74182 h 248214"/>
                <a:gd name="connsiteX390" fmla="*/ 84054 w 180519"/>
                <a:gd name="connsiteY390" fmla="*/ 74746 h 248214"/>
                <a:gd name="connsiteX391" fmla="*/ 83208 w 180519"/>
                <a:gd name="connsiteY391" fmla="*/ 75310 h 248214"/>
                <a:gd name="connsiteX392" fmla="*/ 84054 w 180519"/>
                <a:gd name="connsiteY392" fmla="*/ 75875 h 248214"/>
                <a:gd name="connsiteX393" fmla="*/ 84336 w 180519"/>
                <a:gd name="connsiteY393" fmla="*/ 76439 h 248214"/>
                <a:gd name="connsiteX394" fmla="*/ 83208 w 180519"/>
                <a:gd name="connsiteY394" fmla="*/ 77567 h 248214"/>
                <a:gd name="connsiteX395" fmla="*/ 83208 w 180519"/>
                <a:gd name="connsiteY395" fmla="*/ 77849 h 248214"/>
                <a:gd name="connsiteX396" fmla="*/ 78978 w 180519"/>
                <a:gd name="connsiteY396" fmla="*/ 94491 h 248214"/>
                <a:gd name="connsiteX397" fmla="*/ 78131 w 180519"/>
                <a:gd name="connsiteY397" fmla="*/ 96747 h 248214"/>
                <a:gd name="connsiteX398" fmla="*/ 78131 w 180519"/>
                <a:gd name="connsiteY398" fmla="*/ 98721 h 248214"/>
                <a:gd name="connsiteX399" fmla="*/ 77285 w 180519"/>
                <a:gd name="connsiteY399" fmla="*/ 99568 h 248214"/>
                <a:gd name="connsiteX400" fmla="*/ 77567 w 180519"/>
                <a:gd name="connsiteY400" fmla="*/ 99850 h 248214"/>
                <a:gd name="connsiteX401" fmla="*/ 77285 w 180519"/>
                <a:gd name="connsiteY401" fmla="*/ 100978 h 248214"/>
                <a:gd name="connsiteX402" fmla="*/ 77285 w 180519"/>
                <a:gd name="connsiteY402" fmla="*/ 101542 h 248214"/>
                <a:gd name="connsiteX403" fmla="*/ 75875 w 180519"/>
                <a:gd name="connsiteY403" fmla="*/ 104081 h 248214"/>
                <a:gd name="connsiteX404" fmla="*/ 75311 w 180519"/>
                <a:gd name="connsiteY404" fmla="*/ 104927 h 248214"/>
                <a:gd name="connsiteX405" fmla="*/ 76157 w 180519"/>
                <a:gd name="connsiteY405" fmla="*/ 105491 h 248214"/>
                <a:gd name="connsiteX406" fmla="*/ 75592 w 180519"/>
                <a:gd name="connsiteY406" fmla="*/ 106055 h 248214"/>
                <a:gd name="connsiteX407" fmla="*/ 75875 w 180519"/>
                <a:gd name="connsiteY407" fmla="*/ 106337 h 248214"/>
                <a:gd name="connsiteX408" fmla="*/ 75875 w 180519"/>
                <a:gd name="connsiteY408" fmla="*/ 107183 h 248214"/>
                <a:gd name="connsiteX409" fmla="*/ 75311 w 180519"/>
                <a:gd name="connsiteY409" fmla="*/ 107183 h 248214"/>
                <a:gd name="connsiteX410" fmla="*/ 75592 w 180519"/>
                <a:gd name="connsiteY410" fmla="*/ 108594 h 248214"/>
                <a:gd name="connsiteX411" fmla="*/ 74747 w 180519"/>
                <a:gd name="connsiteY411" fmla="*/ 109722 h 248214"/>
                <a:gd name="connsiteX412" fmla="*/ 75028 w 180519"/>
                <a:gd name="connsiteY412" fmla="*/ 110286 h 248214"/>
                <a:gd name="connsiteX413" fmla="*/ 75028 w 180519"/>
                <a:gd name="connsiteY413" fmla="*/ 110568 h 248214"/>
                <a:gd name="connsiteX414" fmla="*/ 74464 w 180519"/>
                <a:gd name="connsiteY414" fmla="*/ 111132 h 248214"/>
                <a:gd name="connsiteX415" fmla="*/ 74182 w 180519"/>
                <a:gd name="connsiteY415" fmla="*/ 113107 h 248214"/>
                <a:gd name="connsiteX416" fmla="*/ 73900 w 180519"/>
                <a:gd name="connsiteY416" fmla="*/ 113953 h 248214"/>
                <a:gd name="connsiteX417" fmla="*/ 73336 w 180519"/>
                <a:gd name="connsiteY417" fmla="*/ 115363 h 248214"/>
                <a:gd name="connsiteX418" fmla="*/ 73618 w 180519"/>
                <a:gd name="connsiteY418" fmla="*/ 115927 h 248214"/>
                <a:gd name="connsiteX419" fmla="*/ 73618 w 180519"/>
                <a:gd name="connsiteY419" fmla="*/ 116491 h 248214"/>
                <a:gd name="connsiteX420" fmla="*/ 73054 w 180519"/>
                <a:gd name="connsiteY420" fmla="*/ 118184 h 248214"/>
                <a:gd name="connsiteX421" fmla="*/ 72490 w 180519"/>
                <a:gd name="connsiteY421" fmla="*/ 119030 h 248214"/>
                <a:gd name="connsiteX422" fmla="*/ 71080 w 180519"/>
                <a:gd name="connsiteY422" fmla="*/ 119876 h 248214"/>
                <a:gd name="connsiteX423" fmla="*/ 71644 w 180519"/>
                <a:gd name="connsiteY423" fmla="*/ 120158 h 248214"/>
                <a:gd name="connsiteX424" fmla="*/ 71926 w 180519"/>
                <a:gd name="connsiteY424" fmla="*/ 120722 h 248214"/>
                <a:gd name="connsiteX425" fmla="*/ 71926 w 180519"/>
                <a:gd name="connsiteY425" fmla="*/ 121286 h 248214"/>
                <a:gd name="connsiteX426" fmla="*/ 70516 w 180519"/>
                <a:gd name="connsiteY426" fmla="*/ 123261 h 248214"/>
                <a:gd name="connsiteX427" fmla="*/ 69951 w 180519"/>
                <a:gd name="connsiteY427" fmla="*/ 123825 h 248214"/>
                <a:gd name="connsiteX428" fmla="*/ 70233 w 180519"/>
                <a:gd name="connsiteY428" fmla="*/ 124107 h 248214"/>
                <a:gd name="connsiteX429" fmla="*/ 70516 w 180519"/>
                <a:gd name="connsiteY429" fmla="*/ 124953 h 248214"/>
                <a:gd name="connsiteX430" fmla="*/ 70797 w 180519"/>
                <a:gd name="connsiteY430" fmla="*/ 125517 h 248214"/>
                <a:gd name="connsiteX431" fmla="*/ 70516 w 180519"/>
                <a:gd name="connsiteY431" fmla="*/ 125799 h 248214"/>
                <a:gd name="connsiteX432" fmla="*/ 70797 w 180519"/>
                <a:gd name="connsiteY432" fmla="*/ 126363 h 248214"/>
                <a:gd name="connsiteX433" fmla="*/ 71361 w 180519"/>
                <a:gd name="connsiteY433" fmla="*/ 126363 h 248214"/>
                <a:gd name="connsiteX434" fmla="*/ 71361 w 180519"/>
                <a:gd name="connsiteY434" fmla="*/ 126646 h 248214"/>
                <a:gd name="connsiteX435" fmla="*/ 71080 w 180519"/>
                <a:gd name="connsiteY435" fmla="*/ 126928 h 248214"/>
                <a:gd name="connsiteX436" fmla="*/ 70516 w 180519"/>
                <a:gd name="connsiteY436" fmla="*/ 126928 h 248214"/>
                <a:gd name="connsiteX437" fmla="*/ 69951 w 180519"/>
                <a:gd name="connsiteY437" fmla="*/ 126363 h 248214"/>
                <a:gd name="connsiteX438" fmla="*/ 69669 w 180519"/>
                <a:gd name="connsiteY438" fmla="*/ 126363 h 248214"/>
                <a:gd name="connsiteX439" fmla="*/ 68823 w 180519"/>
                <a:gd name="connsiteY439" fmla="*/ 127774 h 248214"/>
                <a:gd name="connsiteX440" fmla="*/ 68541 w 180519"/>
                <a:gd name="connsiteY440" fmla="*/ 128056 h 248214"/>
                <a:gd name="connsiteX441" fmla="*/ 67977 w 180519"/>
                <a:gd name="connsiteY441" fmla="*/ 128056 h 248214"/>
                <a:gd name="connsiteX442" fmla="*/ 67130 w 180519"/>
                <a:gd name="connsiteY442" fmla="*/ 128338 h 248214"/>
                <a:gd name="connsiteX443" fmla="*/ 66849 w 180519"/>
                <a:gd name="connsiteY443" fmla="*/ 129466 h 248214"/>
                <a:gd name="connsiteX444" fmla="*/ 66849 w 180519"/>
                <a:gd name="connsiteY444" fmla="*/ 130030 h 248214"/>
                <a:gd name="connsiteX445" fmla="*/ 66566 w 180519"/>
                <a:gd name="connsiteY445" fmla="*/ 130594 h 248214"/>
                <a:gd name="connsiteX446" fmla="*/ 66566 w 180519"/>
                <a:gd name="connsiteY446" fmla="*/ 131723 h 248214"/>
                <a:gd name="connsiteX447" fmla="*/ 67130 w 180519"/>
                <a:gd name="connsiteY447" fmla="*/ 132851 h 248214"/>
                <a:gd name="connsiteX448" fmla="*/ 67130 w 180519"/>
                <a:gd name="connsiteY448" fmla="*/ 133133 h 248214"/>
                <a:gd name="connsiteX449" fmla="*/ 66849 w 180519"/>
                <a:gd name="connsiteY449" fmla="*/ 133415 h 248214"/>
                <a:gd name="connsiteX450" fmla="*/ 66002 w 180519"/>
                <a:gd name="connsiteY450" fmla="*/ 134825 h 248214"/>
                <a:gd name="connsiteX451" fmla="*/ 66285 w 180519"/>
                <a:gd name="connsiteY451" fmla="*/ 135389 h 248214"/>
                <a:gd name="connsiteX452" fmla="*/ 66566 w 180519"/>
                <a:gd name="connsiteY452" fmla="*/ 135389 h 248214"/>
                <a:gd name="connsiteX453" fmla="*/ 67413 w 180519"/>
                <a:gd name="connsiteY453" fmla="*/ 134825 h 248214"/>
                <a:gd name="connsiteX454" fmla="*/ 68541 w 180519"/>
                <a:gd name="connsiteY454" fmla="*/ 134261 h 248214"/>
                <a:gd name="connsiteX455" fmla="*/ 69387 w 180519"/>
                <a:gd name="connsiteY455" fmla="*/ 133697 h 248214"/>
                <a:gd name="connsiteX456" fmla="*/ 69951 w 180519"/>
                <a:gd name="connsiteY456" fmla="*/ 133697 h 248214"/>
                <a:gd name="connsiteX457" fmla="*/ 69951 w 180519"/>
                <a:gd name="connsiteY457" fmla="*/ 134261 h 248214"/>
                <a:gd name="connsiteX458" fmla="*/ 69105 w 180519"/>
                <a:gd name="connsiteY458" fmla="*/ 135389 h 248214"/>
                <a:gd name="connsiteX459" fmla="*/ 69105 w 180519"/>
                <a:gd name="connsiteY459" fmla="*/ 135954 h 248214"/>
                <a:gd name="connsiteX460" fmla="*/ 67413 w 180519"/>
                <a:gd name="connsiteY460" fmla="*/ 137082 h 248214"/>
                <a:gd name="connsiteX461" fmla="*/ 67130 w 180519"/>
                <a:gd name="connsiteY461" fmla="*/ 137928 h 248214"/>
                <a:gd name="connsiteX462" fmla="*/ 67130 w 180519"/>
                <a:gd name="connsiteY462" fmla="*/ 138774 h 248214"/>
                <a:gd name="connsiteX463" fmla="*/ 67413 w 180519"/>
                <a:gd name="connsiteY463" fmla="*/ 139338 h 248214"/>
                <a:gd name="connsiteX464" fmla="*/ 68541 w 180519"/>
                <a:gd name="connsiteY464" fmla="*/ 139902 h 248214"/>
                <a:gd name="connsiteX465" fmla="*/ 68541 w 180519"/>
                <a:gd name="connsiteY465" fmla="*/ 140185 h 248214"/>
                <a:gd name="connsiteX466" fmla="*/ 68259 w 180519"/>
                <a:gd name="connsiteY466" fmla="*/ 141031 h 248214"/>
                <a:gd name="connsiteX467" fmla="*/ 67695 w 180519"/>
                <a:gd name="connsiteY467" fmla="*/ 141595 h 248214"/>
                <a:gd name="connsiteX468" fmla="*/ 67413 w 180519"/>
                <a:gd name="connsiteY468" fmla="*/ 141877 h 248214"/>
                <a:gd name="connsiteX469" fmla="*/ 67695 w 180519"/>
                <a:gd name="connsiteY469" fmla="*/ 143005 h 248214"/>
                <a:gd name="connsiteX470" fmla="*/ 67413 w 180519"/>
                <a:gd name="connsiteY470" fmla="*/ 143287 h 248214"/>
                <a:gd name="connsiteX471" fmla="*/ 66849 w 180519"/>
                <a:gd name="connsiteY471" fmla="*/ 143005 h 248214"/>
                <a:gd name="connsiteX472" fmla="*/ 66849 w 180519"/>
                <a:gd name="connsiteY472" fmla="*/ 142723 h 248214"/>
                <a:gd name="connsiteX473" fmla="*/ 66566 w 180519"/>
                <a:gd name="connsiteY473" fmla="*/ 142441 h 248214"/>
                <a:gd name="connsiteX474" fmla="*/ 67130 w 180519"/>
                <a:gd name="connsiteY474" fmla="*/ 140749 h 248214"/>
                <a:gd name="connsiteX475" fmla="*/ 66849 w 180519"/>
                <a:gd name="connsiteY475" fmla="*/ 140185 h 248214"/>
                <a:gd name="connsiteX476" fmla="*/ 65156 w 180519"/>
                <a:gd name="connsiteY476" fmla="*/ 141595 h 248214"/>
                <a:gd name="connsiteX477" fmla="*/ 64874 w 180519"/>
                <a:gd name="connsiteY477" fmla="*/ 141877 h 248214"/>
                <a:gd name="connsiteX478" fmla="*/ 65156 w 180519"/>
                <a:gd name="connsiteY478" fmla="*/ 142159 h 248214"/>
                <a:gd name="connsiteX479" fmla="*/ 65720 w 180519"/>
                <a:gd name="connsiteY479" fmla="*/ 142441 h 248214"/>
                <a:gd name="connsiteX480" fmla="*/ 65720 w 180519"/>
                <a:gd name="connsiteY480" fmla="*/ 142723 h 248214"/>
                <a:gd name="connsiteX481" fmla="*/ 65156 w 180519"/>
                <a:gd name="connsiteY481" fmla="*/ 144133 h 248214"/>
                <a:gd name="connsiteX482" fmla="*/ 64310 w 180519"/>
                <a:gd name="connsiteY482" fmla="*/ 144697 h 248214"/>
                <a:gd name="connsiteX483" fmla="*/ 63464 w 180519"/>
                <a:gd name="connsiteY483" fmla="*/ 145262 h 248214"/>
                <a:gd name="connsiteX484" fmla="*/ 64028 w 180519"/>
                <a:gd name="connsiteY484" fmla="*/ 145826 h 248214"/>
                <a:gd name="connsiteX485" fmla="*/ 64592 w 180519"/>
                <a:gd name="connsiteY485" fmla="*/ 146954 h 248214"/>
                <a:gd name="connsiteX486" fmla="*/ 63746 w 180519"/>
                <a:gd name="connsiteY486" fmla="*/ 147800 h 248214"/>
                <a:gd name="connsiteX487" fmla="*/ 64028 w 180519"/>
                <a:gd name="connsiteY487" fmla="*/ 148082 h 248214"/>
                <a:gd name="connsiteX488" fmla="*/ 63746 w 180519"/>
                <a:gd name="connsiteY488" fmla="*/ 149210 h 248214"/>
                <a:gd name="connsiteX489" fmla="*/ 63182 w 180519"/>
                <a:gd name="connsiteY489" fmla="*/ 149775 h 248214"/>
                <a:gd name="connsiteX490" fmla="*/ 63746 w 180519"/>
                <a:gd name="connsiteY490" fmla="*/ 150621 h 248214"/>
                <a:gd name="connsiteX491" fmla="*/ 64028 w 180519"/>
                <a:gd name="connsiteY491" fmla="*/ 150903 h 248214"/>
                <a:gd name="connsiteX492" fmla="*/ 63464 w 180519"/>
                <a:gd name="connsiteY492" fmla="*/ 151467 h 248214"/>
                <a:gd name="connsiteX493" fmla="*/ 62618 w 180519"/>
                <a:gd name="connsiteY493" fmla="*/ 153159 h 248214"/>
                <a:gd name="connsiteX494" fmla="*/ 62618 w 180519"/>
                <a:gd name="connsiteY494" fmla="*/ 153441 h 248214"/>
                <a:gd name="connsiteX495" fmla="*/ 62900 w 180519"/>
                <a:gd name="connsiteY495" fmla="*/ 154570 h 248214"/>
                <a:gd name="connsiteX496" fmla="*/ 62618 w 180519"/>
                <a:gd name="connsiteY496" fmla="*/ 155416 h 248214"/>
                <a:gd name="connsiteX497" fmla="*/ 62618 w 180519"/>
                <a:gd name="connsiteY497" fmla="*/ 156544 h 248214"/>
                <a:gd name="connsiteX498" fmla="*/ 62900 w 180519"/>
                <a:gd name="connsiteY498" fmla="*/ 157108 h 248214"/>
                <a:gd name="connsiteX499" fmla="*/ 63182 w 180519"/>
                <a:gd name="connsiteY499" fmla="*/ 157390 h 248214"/>
                <a:gd name="connsiteX500" fmla="*/ 62618 w 180519"/>
                <a:gd name="connsiteY500" fmla="*/ 157954 h 248214"/>
                <a:gd name="connsiteX501" fmla="*/ 62336 w 180519"/>
                <a:gd name="connsiteY501" fmla="*/ 159647 h 248214"/>
                <a:gd name="connsiteX502" fmla="*/ 62054 w 180519"/>
                <a:gd name="connsiteY502" fmla="*/ 160211 h 248214"/>
                <a:gd name="connsiteX503" fmla="*/ 62336 w 180519"/>
                <a:gd name="connsiteY503" fmla="*/ 160775 h 248214"/>
                <a:gd name="connsiteX504" fmla="*/ 62336 w 180519"/>
                <a:gd name="connsiteY504" fmla="*/ 161621 h 248214"/>
                <a:gd name="connsiteX505" fmla="*/ 61208 w 180519"/>
                <a:gd name="connsiteY505" fmla="*/ 162467 h 248214"/>
                <a:gd name="connsiteX506" fmla="*/ 60644 w 180519"/>
                <a:gd name="connsiteY506" fmla="*/ 162749 h 248214"/>
                <a:gd name="connsiteX507" fmla="*/ 60925 w 180519"/>
                <a:gd name="connsiteY507" fmla="*/ 163596 h 248214"/>
                <a:gd name="connsiteX508" fmla="*/ 62054 w 180519"/>
                <a:gd name="connsiteY508" fmla="*/ 164724 h 248214"/>
                <a:gd name="connsiteX509" fmla="*/ 61772 w 180519"/>
                <a:gd name="connsiteY509" fmla="*/ 165288 h 248214"/>
                <a:gd name="connsiteX510" fmla="*/ 62054 w 180519"/>
                <a:gd name="connsiteY510" fmla="*/ 165570 h 248214"/>
                <a:gd name="connsiteX511" fmla="*/ 62054 w 180519"/>
                <a:gd name="connsiteY511" fmla="*/ 166698 h 248214"/>
                <a:gd name="connsiteX512" fmla="*/ 61208 w 180519"/>
                <a:gd name="connsiteY512" fmla="*/ 167827 h 248214"/>
                <a:gd name="connsiteX513" fmla="*/ 61208 w 180519"/>
                <a:gd name="connsiteY513" fmla="*/ 169519 h 248214"/>
                <a:gd name="connsiteX514" fmla="*/ 60925 w 180519"/>
                <a:gd name="connsiteY514" fmla="*/ 170365 h 248214"/>
                <a:gd name="connsiteX515" fmla="*/ 60644 w 180519"/>
                <a:gd name="connsiteY515" fmla="*/ 170929 h 248214"/>
                <a:gd name="connsiteX516" fmla="*/ 60925 w 180519"/>
                <a:gd name="connsiteY516" fmla="*/ 171493 h 248214"/>
                <a:gd name="connsiteX517" fmla="*/ 62054 w 180519"/>
                <a:gd name="connsiteY517" fmla="*/ 171493 h 248214"/>
                <a:gd name="connsiteX518" fmla="*/ 62618 w 180519"/>
                <a:gd name="connsiteY518" fmla="*/ 170929 h 248214"/>
                <a:gd name="connsiteX519" fmla="*/ 62900 w 180519"/>
                <a:gd name="connsiteY519" fmla="*/ 170929 h 248214"/>
                <a:gd name="connsiteX520" fmla="*/ 63182 w 180519"/>
                <a:gd name="connsiteY520" fmla="*/ 171211 h 248214"/>
                <a:gd name="connsiteX521" fmla="*/ 63464 w 180519"/>
                <a:gd name="connsiteY521" fmla="*/ 172340 h 248214"/>
                <a:gd name="connsiteX522" fmla="*/ 63746 w 180519"/>
                <a:gd name="connsiteY522" fmla="*/ 172622 h 248214"/>
                <a:gd name="connsiteX523" fmla="*/ 64028 w 180519"/>
                <a:gd name="connsiteY523" fmla="*/ 173186 h 248214"/>
                <a:gd name="connsiteX524" fmla="*/ 63182 w 180519"/>
                <a:gd name="connsiteY524" fmla="*/ 174032 h 248214"/>
                <a:gd name="connsiteX525" fmla="*/ 62618 w 180519"/>
                <a:gd name="connsiteY525" fmla="*/ 174314 h 248214"/>
                <a:gd name="connsiteX526" fmla="*/ 61489 w 180519"/>
                <a:gd name="connsiteY526" fmla="*/ 172904 h 248214"/>
                <a:gd name="connsiteX527" fmla="*/ 61208 w 180519"/>
                <a:gd name="connsiteY527" fmla="*/ 172622 h 248214"/>
                <a:gd name="connsiteX528" fmla="*/ 60925 w 180519"/>
                <a:gd name="connsiteY528" fmla="*/ 173186 h 248214"/>
                <a:gd name="connsiteX529" fmla="*/ 60079 w 180519"/>
                <a:gd name="connsiteY529" fmla="*/ 174878 h 248214"/>
                <a:gd name="connsiteX530" fmla="*/ 60079 w 180519"/>
                <a:gd name="connsiteY530" fmla="*/ 175160 h 248214"/>
                <a:gd name="connsiteX531" fmla="*/ 59797 w 180519"/>
                <a:gd name="connsiteY531" fmla="*/ 178263 h 248214"/>
                <a:gd name="connsiteX532" fmla="*/ 59797 w 180519"/>
                <a:gd name="connsiteY532" fmla="*/ 179391 h 248214"/>
                <a:gd name="connsiteX533" fmla="*/ 59515 w 180519"/>
                <a:gd name="connsiteY533" fmla="*/ 180237 h 248214"/>
                <a:gd name="connsiteX534" fmla="*/ 59515 w 180519"/>
                <a:gd name="connsiteY534" fmla="*/ 181365 h 248214"/>
                <a:gd name="connsiteX535" fmla="*/ 59797 w 180519"/>
                <a:gd name="connsiteY535" fmla="*/ 181930 h 248214"/>
                <a:gd name="connsiteX536" fmla="*/ 59797 w 180519"/>
                <a:gd name="connsiteY536" fmla="*/ 183058 h 248214"/>
                <a:gd name="connsiteX537" fmla="*/ 59233 w 180519"/>
                <a:gd name="connsiteY537" fmla="*/ 183904 h 248214"/>
                <a:gd name="connsiteX538" fmla="*/ 59233 w 180519"/>
                <a:gd name="connsiteY538" fmla="*/ 184750 h 248214"/>
                <a:gd name="connsiteX539" fmla="*/ 59515 w 180519"/>
                <a:gd name="connsiteY539" fmla="*/ 186443 h 248214"/>
                <a:gd name="connsiteX540" fmla="*/ 59233 w 180519"/>
                <a:gd name="connsiteY540" fmla="*/ 187853 h 248214"/>
                <a:gd name="connsiteX541" fmla="*/ 59233 w 180519"/>
                <a:gd name="connsiteY541" fmla="*/ 188135 h 248214"/>
                <a:gd name="connsiteX542" fmla="*/ 59515 w 180519"/>
                <a:gd name="connsiteY542" fmla="*/ 188417 h 248214"/>
                <a:gd name="connsiteX543" fmla="*/ 59797 w 180519"/>
                <a:gd name="connsiteY543" fmla="*/ 188417 h 248214"/>
                <a:gd name="connsiteX544" fmla="*/ 60079 w 180519"/>
                <a:gd name="connsiteY544" fmla="*/ 188981 h 248214"/>
                <a:gd name="connsiteX545" fmla="*/ 59515 w 180519"/>
                <a:gd name="connsiteY545" fmla="*/ 189827 h 248214"/>
                <a:gd name="connsiteX546" fmla="*/ 59515 w 180519"/>
                <a:gd name="connsiteY546" fmla="*/ 192084 h 248214"/>
                <a:gd name="connsiteX547" fmla="*/ 59797 w 180519"/>
                <a:gd name="connsiteY547" fmla="*/ 192366 h 248214"/>
                <a:gd name="connsiteX548" fmla="*/ 60079 w 180519"/>
                <a:gd name="connsiteY548" fmla="*/ 192366 h 248214"/>
                <a:gd name="connsiteX549" fmla="*/ 60644 w 180519"/>
                <a:gd name="connsiteY549" fmla="*/ 190956 h 248214"/>
                <a:gd name="connsiteX550" fmla="*/ 60925 w 180519"/>
                <a:gd name="connsiteY550" fmla="*/ 190673 h 248214"/>
                <a:gd name="connsiteX551" fmla="*/ 61208 w 180519"/>
                <a:gd name="connsiteY551" fmla="*/ 190956 h 248214"/>
                <a:gd name="connsiteX552" fmla="*/ 62054 w 180519"/>
                <a:gd name="connsiteY552" fmla="*/ 192084 h 248214"/>
                <a:gd name="connsiteX553" fmla="*/ 61489 w 180519"/>
                <a:gd name="connsiteY553" fmla="*/ 192648 h 248214"/>
                <a:gd name="connsiteX554" fmla="*/ 62054 w 180519"/>
                <a:gd name="connsiteY554" fmla="*/ 192930 h 248214"/>
                <a:gd name="connsiteX555" fmla="*/ 61772 w 180519"/>
                <a:gd name="connsiteY555" fmla="*/ 195751 h 248214"/>
                <a:gd name="connsiteX556" fmla="*/ 61208 w 180519"/>
                <a:gd name="connsiteY556" fmla="*/ 195751 h 248214"/>
                <a:gd name="connsiteX557" fmla="*/ 60644 w 180519"/>
                <a:gd name="connsiteY557" fmla="*/ 195186 h 248214"/>
                <a:gd name="connsiteX558" fmla="*/ 60079 w 180519"/>
                <a:gd name="connsiteY558" fmla="*/ 194058 h 248214"/>
                <a:gd name="connsiteX559" fmla="*/ 60644 w 180519"/>
                <a:gd name="connsiteY559" fmla="*/ 193212 h 248214"/>
                <a:gd name="connsiteX560" fmla="*/ 60925 w 180519"/>
                <a:gd name="connsiteY560" fmla="*/ 192930 h 248214"/>
                <a:gd name="connsiteX561" fmla="*/ 60644 w 180519"/>
                <a:gd name="connsiteY561" fmla="*/ 192930 h 248214"/>
                <a:gd name="connsiteX562" fmla="*/ 60079 w 180519"/>
                <a:gd name="connsiteY562" fmla="*/ 192648 h 248214"/>
                <a:gd name="connsiteX563" fmla="*/ 59233 w 180519"/>
                <a:gd name="connsiteY563" fmla="*/ 194058 h 248214"/>
                <a:gd name="connsiteX564" fmla="*/ 59233 w 180519"/>
                <a:gd name="connsiteY564" fmla="*/ 194904 h 248214"/>
                <a:gd name="connsiteX565" fmla="*/ 58387 w 180519"/>
                <a:gd name="connsiteY565" fmla="*/ 195751 h 248214"/>
                <a:gd name="connsiteX566" fmla="*/ 58951 w 180519"/>
                <a:gd name="connsiteY566" fmla="*/ 196315 h 248214"/>
                <a:gd name="connsiteX567" fmla="*/ 59515 w 180519"/>
                <a:gd name="connsiteY567" fmla="*/ 196879 h 248214"/>
                <a:gd name="connsiteX568" fmla="*/ 58669 w 180519"/>
                <a:gd name="connsiteY568" fmla="*/ 197443 h 248214"/>
                <a:gd name="connsiteX569" fmla="*/ 58669 w 180519"/>
                <a:gd name="connsiteY569" fmla="*/ 198007 h 248214"/>
                <a:gd name="connsiteX570" fmla="*/ 60079 w 180519"/>
                <a:gd name="connsiteY570" fmla="*/ 198571 h 248214"/>
                <a:gd name="connsiteX571" fmla="*/ 60925 w 180519"/>
                <a:gd name="connsiteY571" fmla="*/ 198571 h 248214"/>
                <a:gd name="connsiteX572" fmla="*/ 62054 w 180519"/>
                <a:gd name="connsiteY572" fmla="*/ 198853 h 248214"/>
                <a:gd name="connsiteX573" fmla="*/ 61772 w 180519"/>
                <a:gd name="connsiteY573" fmla="*/ 199982 h 248214"/>
                <a:gd name="connsiteX574" fmla="*/ 62054 w 180519"/>
                <a:gd name="connsiteY574" fmla="*/ 204777 h 248214"/>
                <a:gd name="connsiteX575" fmla="*/ 62054 w 180519"/>
                <a:gd name="connsiteY575" fmla="*/ 205905 h 248214"/>
                <a:gd name="connsiteX576" fmla="*/ 61489 w 180519"/>
                <a:gd name="connsiteY576" fmla="*/ 206187 h 248214"/>
                <a:gd name="connsiteX577" fmla="*/ 61772 w 180519"/>
                <a:gd name="connsiteY577" fmla="*/ 207033 h 248214"/>
                <a:gd name="connsiteX578" fmla="*/ 62054 w 180519"/>
                <a:gd name="connsiteY578" fmla="*/ 209290 h 248214"/>
                <a:gd name="connsiteX579" fmla="*/ 61772 w 180519"/>
                <a:gd name="connsiteY579" fmla="*/ 209854 h 248214"/>
                <a:gd name="connsiteX580" fmla="*/ 61208 w 180519"/>
                <a:gd name="connsiteY580" fmla="*/ 210700 h 248214"/>
                <a:gd name="connsiteX581" fmla="*/ 61208 w 180519"/>
                <a:gd name="connsiteY581" fmla="*/ 212392 h 248214"/>
                <a:gd name="connsiteX582" fmla="*/ 61772 w 180519"/>
                <a:gd name="connsiteY582" fmla="*/ 212674 h 248214"/>
                <a:gd name="connsiteX583" fmla="*/ 61489 w 180519"/>
                <a:gd name="connsiteY583" fmla="*/ 212956 h 248214"/>
                <a:gd name="connsiteX584" fmla="*/ 62054 w 180519"/>
                <a:gd name="connsiteY584" fmla="*/ 213803 h 248214"/>
                <a:gd name="connsiteX585" fmla="*/ 62054 w 180519"/>
                <a:gd name="connsiteY585" fmla="*/ 214085 h 248214"/>
                <a:gd name="connsiteX586" fmla="*/ 61489 w 180519"/>
                <a:gd name="connsiteY586" fmla="*/ 214649 h 248214"/>
                <a:gd name="connsiteX587" fmla="*/ 61772 w 180519"/>
                <a:gd name="connsiteY587" fmla="*/ 215213 h 248214"/>
                <a:gd name="connsiteX588" fmla="*/ 61489 w 180519"/>
                <a:gd name="connsiteY588" fmla="*/ 215495 h 248214"/>
                <a:gd name="connsiteX589" fmla="*/ 61208 w 180519"/>
                <a:gd name="connsiteY589" fmla="*/ 215777 h 248214"/>
                <a:gd name="connsiteX590" fmla="*/ 60925 w 180519"/>
                <a:gd name="connsiteY590" fmla="*/ 215495 h 248214"/>
                <a:gd name="connsiteX591" fmla="*/ 60925 w 180519"/>
                <a:gd name="connsiteY591" fmla="*/ 214649 h 248214"/>
                <a:gd name="connsiteX592" fmla="*/ 60079 w 180519"/>
                <a:gd name="connsiteY592" fmla="*/ 214085 h 248214"/>
                <a:gd name="connsiteX593" fmla="*/ 59797 w 180519"/>
                <a:gd name="connsiteY593" fmla="*/ 214649 h 248214"/>
                <a:gd name="connsiteX594" fmla="*/ 59515 w 180519"/>
                <a:gd name="connsiteY594" fmla="*/ 217751 h 248214"/>
                <a:gd name="connsiteX595" fmla="*/ 60361 w 180519"/>
                <a:gd name="connsiteY595" fmla="*/ 218033 h 248214"/>
                <a:gd name="connsiteX596" fmla="*/ 60925 w 180519"/>
                <a:gd name="connsiteY596" fmla="*/ 217469 h 248214"/>
                <a:gd name="connsiteX597" fmla="*/ 61772 w 180519"/>
                <a:gd name="connsiteY597" fmla="*/ 217751 h 248214"/>
                <a:gd name="connsiteX598" fmla="*/ 62054 w 180519"/>
                <a:gd name="connsiteY598" fmla="*/ 218598 h 248214"/>
                <a:gd name="connsiteX599" fmla="*/ 62054 w 180519"/>
                <a:gd name="connsiteY599" fmla="*/ 219726 h 248214"/>
                <a:gd name="connsiteX600" fmla="*/ 62618 w 180519"/>
                <a:gd name="connsiteY600" fmla="*/ 220854 h 248214"/>
                <a:gd name="connsiteX601" fmla="*/ 62618 w 180519"/>
                <a:gd name="connsiteY601" fmla="*/ 221982 h 248214"/>
                <a:gd name="connsiteX602" fmla="*/ 62336 w 180519"/>
                <a:gd name="connsiteY602" fmla="*/ 222828 h 248214"/>
                <a:gd name="connsiteX603" fmla="*/ 62900 w 180519"/>
                <a:gd name="connsiteY603" fmla="*/ 223957 h 248214"/>
                <a:gd name="connsiteX604" fmla="*/ 62900 w 180519"/>
                <a:gd name="connsiteY604" fmla="*/ 224803 h 248214"/>
                <a:gd name="connsiteX605" fmla="*/ 63182 w 180519"/>
                <a:gd name="connsiteY605" fmla="*/ 225367 h 248214"/>
                <a:gd name="connsiteX606" fmla="*/ 63182 w 180519"/>
                <a:gd name="connsiteY606" fmla="*/ 225649 h 248214"/>
                <a:gd name="connsiteX607" fmla="*/ 63182 w 180519"/>
                <a:gd name="connsiteY607" fmla="*/ 227624 h 248214"/>
                <a:gd name="connsiteX608" fmla="*/ 64028 w 180519"/>
                <a:gd name="connsiteY608" fmla="*/ 229034 h 248214"/>
                <a:gd name="connsiteX609" fmla="*/ 64028 w 180519"/>
                <a:gd name="connsiteY609" fmla="*/ 229880 h 248214"/>
                <a:gd name="connsiteX610" fmla="*/ 64874 w 180519"/>
                <a:gd name="connsiteY610" fmla="*/ 230726 h 248214"/>
                <a:gd name="connsiteX611" fmla="*/ 64874 w 180519"/>
                <a:gd name="connsiteY611" fmla="*/ 231290 h 248214"/>
                <a:gd name="connsiteX612" fmla="*/ 66566 w 180519"/>
                <a:gd name="connsiteY612" fmla="*/ 231008 h 248214"/>
                <a:gd name="connsiteX613" fmla="*/ 68259 w 180519"/>
                <a:gd name="connsiteY613" fmla="*/ 230162 h 248214"/>
                <a:gd name="connsiteX614" fmla="*/ 69669 w 180519"/>
                <a:gd name="connsiteY614" fmla="*/ 229034 h 248214"/>
                <a:gd name="connsiteX615" fmla="*/ 70516 w 180519"/>
                <a:gd name="connsiteY615" fmla="*/ 227624 h 248214"/>
                <a:gd name="connsiteX616" fmla="*/ 70516 w 180519"/>
                <a:gd name="connsiteY616" fmla="*/ 227341 h 248214"/>
                <a:gd name="connsiteX617" fmla="*/ 72490 w 180519"/>
                <a:gd name="connsiteY617" fmla="*/ 225367 h 248214"/>
                <a:gd name="connsiteX618" fmla="*/ 73618 w 180519"/>
                <a:gd name="connsiteY618" fmla="*/ 224239 h 248214"/>
                <a:gd name="connsiteX619" fmla="*/ 73618 w 180519"/>
                <a:gd name="connsiteY619" fmla="*/ 223393 h 248214"/>
                <a:gd name="connsiteX620" fmla="*/ 73900 w 180519"/>
                <a:gd name="connsiteY620" fmla="*/ 222828 h 248214"/>
                <a:gd name="connsiteX621" fmla="*/ 74464 w 180519"/>
                <a:gd name="connsiteY621" fmla="*/ 222264 h 248214"/>
                <a:gd name="connsiteX622" fmla="*/ 74747 w 180519"/>
                <a:gd name="connsiteY622" fmla="*/ 221136 h 248214"/>
                <a:gd name="connsiteX623" fmla="*/ 75875 w 180519"/>
                <a:gd name="connsiteY623" fmla="*/ 220290 h 248214"/>
                <a:gd name="connsiteX624" fmla="*/ 76721 w 180519"/>
                <a:gd name="connsiteY624" fmla="*/ 218880 h 248214"/>
                <a:gd name="connsiteX625" fmla="*/ 76721 w 180519"/>
                <a:gd name="connsiteY625" fmla="*/ 218315 h 248214"/>
                <a:gd name="connsiteX626" fmla="*/ 77285 w 180519"/>
                <a:gd name="connsiteY626" fmla="*/ 216623 h 248214"/>
                <a:gd name="connsiteX627" fmla="*/ 79259 w 180519"/>
                <a:gd name="connsiteY627" fmla="*/ 214931 h 248214"/>
                <a:gd name="connsiteX628" fmla="*/ 79823 w 180519"/>
                <a:gd name="connsiteY628" fmla="*/ 213520 h 248214"/>
                <a:gd name="connsiteX629" fmla="*/ 80388 w 180519"/>
                <a:gd name="connsiteY629" fmla="*/ 212392 h 248214"/>
                <a:gd name="connsiteX630" fmla="*/ 80106 w 180519"/>
                <a:gd name="connsiteY630" fmla="*/ 212110 h 248214"/>
                <a:gd name="connsiteX631" fmla="*/ 80670 w 180519"/>
                <a:gd name="connsiteY631" fmla="*/ 210982 h 248214"/>
                <a:gd name="connsiteX632" fmla="*/ 81516 w 180519"/>
                <a:gd name="connsiteY632" fmla="*/ 209290 h 248214"/>
                <a:gd name="connsiteX633" fmla="*/ 82926 w 180519"/>
                <a:gd name="connsiteY633" fmla="*/ 207033 h 248214"/>
                <a:gd name="connsiteX634" fmla="*/ 82926 w 180519"/>
                <a:gd name="connsiteY634" fmla="*/ 206751 h 248214"/>
                <a:gd name="connsiteX635" fmla="*/ 83772 w 180519"/>
                <a:gd name="connsiteY635" fmla="*/ 206187 h 248214"/>
                <a:gd name="connsiteX636" fmla="*/ 83490 w 180519"/>
                <a:gd name="connsiteY636" fmla="*/ 206187 h 248214"/>
                <a:gd name="connsiteX637" fmla="*/ 84336 w 180519"/>
                <a:gd name="connsiteY637" fmla="*/ 204495 h 248214"/>
                <a:gd name="connsiteX638" fmla="*/ 84619 w 180519"/>
                <a:gd name="connsiteY638" fmla="*/ 203366 h 248214"/>
                <a:gd name="connsiteX639" fmla="*/ 85747 w 180519"/>
                <a:gd name="connsiteY639" fmla="*/ 202238 h 248214"/>
                <a:gd name="connsiteX640" fmla="*/ 85464 w 180519"/>
                <a:gd name="connsiteY640" fmla="*/ 201392 h 248214"/>
                <a:gd name="connsiteX641" fmla="*/ 85747 w 180519"/>
                <a:gd name="connsiteY641" fmla="*/ 200828 h 248214"/>
                <a:gd name="connsiteX642" fmla="*/ 86593 w 180519"/>
                <a:gd name="connsiteY642" fmla="*/ 199982 h 248214"/>
                <a:gd name="connsiteX643" fmla="*/ 87157 w 180519"/>
                <a:gd name="connsiteY643" fmla="*/ 198571 h 248214"/>
                <a:gd name="connsiteX644" fmla="*/ 88567 w 180519"/>
                <a:gd name="connsiteY644" fmla="*/ 196879 h 248214"/>
                <a:gd name="connsiteX645" fmla="*/ 89978 w 180519"/>
                <a:gd name="connsiteY645" fmla="*/ 194058 h 248214"/>
                <a:gd name="connsiteX646" fmla="*/ 90542 w 180519"/>
                <a:gd name="connsiteY646" fmla="*/ 193212 h 248214"/>
                <a:gd name="connsiteX647" fmla="*/ 91388 w 180519"/>
                <a:gd name="connsiteY647" fmla="*/ 190956 h 248214"/>
                <a:gd name="connsiteX648" fmla="*/ 92516 w 180519"/>
                <a:gd name="connsiteY648" fmla="*/ 189263 h 248214"/>
                <a:gd name="connsiteX649" fmla="*/ 92234 w 180519"/>
                <a:gd name="connsiteY649" fmla="*/ 188981 h 248214"/>
                <a:gd name="connsiteX650" fmla="*/ 92798 w 180519"/>
                <a:gd name="connsiteY650" fmla="*/ 187853 h 248214"/>
                <a:gd name="connsiteX651" fmla="*/ 94209 w 180519"/>
                <a:gd name="connsiteY651" fmla="*/ 185878 h 248214"/>
                <a:gd name="connsiteX652" fmla="*/ 93926 w 180519"/>
                <a:gd name="connsiteY652" fmla="*/ 185314 h 248214"/>
                <a:gd name="connsiteX653" fmla="*/ 94209 w 180519"/>
                <a:gd name="connsiteY653" fmla="*/ 184468 h 248214"/>
                <a:gd name="connsiteX654" fmla="*/ 95619 w 180519"/>
                <a:gd name="connsiteY654" fmla="*/ 183058 h 248214"/>
                <a:gd name="connsiteX655" fmla="*/ 96183 w 180519"/>
                <a:gd name="connsiteY655" fmla="*/ 181648 h 248214"/>
                <a:gd name="connsiteX656" fmla="*/ 96465 w 180519"/>
                <a:gd name="connsiteY656" fmla="*/ 180519 h 248214"/>
                <a:gd name="connsiteX657" fmla="*/ 96183 w 180519"/>
                <a:gd name="connsiteY657" fmla="*/ 180237 h 248214"/>
                <a:gd name="connsiteX658" fmla="*/ 96747 w 180519"/>
                <a:gd name="connsiteY658" fmla="*/ 179391 h 248214"/>
                <a:gd name="connsiteX659" fmla="*/ 97876 w 180519"/>
                <a:gd name="connsiteY659" fmla="*/ 178263 h 248214"/>
                <a:gd name="connsiteX660" fmla="*/ 98157 w 180519"/>
                <a:gd name="connsiteY660" fmla="*/ 177417 h 248214"/>
                <a:gd name="connsiteX661" fmla="*/ 98722 w 180519"/>
                <a:gd name="connsiteY661" fmla="*/ 176288 h 248214"/>
                <a:gd name="connsiteX662" fmla="*/ 99850 w 180519"/>
                <a:gd name="connsiteY662" fmla="*/ 175160 h 248214"/>
                <a:gd name="connsiteX663" fmla="*/ 99568 w 180519"/>
                <a:gd name="connsiteY663" fmla="*/ 174314 h 248214"/>
                <a:gd name="connsiteX664" fmla="*/ 99850 w 180519"/>
                <a:gd name="connsiteY664" fmla="*/ 173186 h 248214"/>
                <a:gd name="connsiteX665" fmla="*/ 100414 w 180519"/>
                <a:gd name="connsiteY665" fmla="*/ 172622 h 248214"/>
                <a:gd name="connsiteX666" fmla="*/ 100414 w 180519"/>
                <a:gd name="connsiteY666" fmla="*/ 172340 h 248214"/>
                <a:gd name="connsiteX667" fmla="*/ 100978 w 180519"/>
                <a:gd name="connsiteY667" fmla="*/ 171775 h 248214"/>
                <a:gd name="connsiteX668" fmla="*/ 101260 w 180519"/>
                <a:gd name="connsiteY668" fmla="*/ 171211 h 248214"/>
                <a:gd name="connsiteX669" fmla="*/ 101824 w 180519"/>
                <a:gd name="connsiteY669" fmla="*/ 170365 h 248214"/>
                <a:gd name="connsiteX670" fmla="*/ 101824 w 180519"/>
                <a:gd name="connsiteY670" fmla="*/ 169801 h 248214"/>
                <a:gd name="connsiteX671" fmla="*/ 102106 w 180519"/>
                <a:gd name="connsiteY671" fmla="*/ 169519 h 248214"/>
                <a:gd name="connsiteX672" fmla="*/ 103517 w 180519"/>
                <a:gd name="connsiteY672" fmla="*/ 166416 h 248214"/>
                <a:gd name="connsiteX673" fmla="*/ 103798 w 180519"/>
                <a:gd name="connsiteY673" fmla="*/ 165006 h 248214"/>
                <a:gd name="connsiteX674" fmla="*/ 104645 w 180519"/>
                <a:gd name="connsiteY674" fmla="*/ 163596 h 248214"/>
                <a:gd name="connsiteX675" fmla="*/ 105491 w 180519"/>
                <a:gd name="connsiteY675" fmla="*/ 162467 h 248214"/>
                <a:gd name="connsiteX676" fmla="*/ 106619 w 180519"/>
                <a:gd name="connsiteY676" fmla="*/ 160211 h 248214"/>
                <a:gd name="connsiteX677" fmla="*/ 106619 w 180519"/>
                <a:gd name="connsiteY677" fmla="*/ 159083 h 248214"/>
                <a:gd name="connsiteX678" fmla="*/ 106901 w 180519"/>
                <a:gd name="connsiteY678" fmla="*/ 158801 h 248214"/>
                <a:gd name="connsiteX679" fmla="*/ 107748 w 180519"/>
                <a:gd name="connsiteY679" fmla="*/ 157108 h 248214"/>
                <a:gd name="connsiteX680" fmla="*/ 108312 w 180519"/>
                <a:gd name="connsiteY680" fmla="*/ 156262 h 248214"/>
                <a:gd name="connsiteX681" fmla="*/ 107748 w 180519"/>
                <a:gd name="connsiteY681" fmla="*/ 155980 h 248214"/>
                <a:gd name="connsiteX682" fmla="*/ 108594 w 180519"/>
                <a:gd name="connsiteY682" fmla="*/ 155134 h 248214"/>
                <a:gd name="connsiteX683" fmla="*/ 109440 w 180519"/>
                <a:gd name="connsiteY683" fmla="*/ 154006 h 248214"/>
                <a:gd name="connsiteX684" fmla="*/ 109158 w 180519"/>
                <a:gd name="connsiteY684" fmla="*/ 154006 h 248214"/>
                <a:gd name="connsiteX685" fmla="*/ 109158 w 180519"/>
                <a:gd name="connsiteY685" fmla="*/ 153723 h 248214"/>
                <a:gd name="connsiteX686" fmla="*/ 109722 w 180519"/>
                <a:gd name="connsiteY686" fmla="*/ 153159 h 248214"/>
                <a:gd name="connsiteX687" fmla="*/ 109440 w 180519"/>
                <a:gd name="connsiteY687" fmla="*/ 152595 h 248214"/>
                <a:gd name="connsiteX688" fmla="*/ 110004 w 180519"/>
                <a:gd name="connsiteY688" fmla="*/ 151467 h 248214"/>
                <a:gd name="connsiteX689" fmla="*/ 110850 w 180519"/>
                <a:gd name="connsiteY689" fmla="*/ 150621 h 248214"/>
                <a:gd name="connsiteX690" fmla="*/ 112260 w 180519"/>
                <a:gd name="connsiteY690" fmla="*/ 148646 h 248214"/>
                <a:gd name="connsiteX691" fmla="*/ 126363 w 180519"/>
                <a:gd name="connsiteY691" fmla="*/ 130594 h 248214"/>
                <a:gd name="connsiteX692" fmla="*/ 118466 w 180519"/>
                <a:gd name="connsiteY692" fmla="*/ 148364 h 248214"/>
                <a:gd name="connsiteX693" fmla="*/ 118748 w 180519"/>
                <a:gd name="connsiteY693" fmla="*/ 148364 h 248214"/>
                <a:gd name="connsiteX694" fmla="*/ 118748 w 180519"/>
                <a:gd name="connsiteY694" fmla="*/ 148646 h 248214"/>
                <a:gd name="connsiteX695" fmla="*/ 118466 w 180519"/>
                <a:gd name="connsiteY695" fmla="*/ 149493 h 248214"/>
                <a:gd name="connsiteX696" fmla="*/ 119030 w 180519"/>
                <a:gd name="connsiteY696" fmla="*/ 149493 h 248214"/>
                <a:gd name="connsiteX697" fmla="*/ 120440 w 180519"/>
                <a:gd name="connsiteY697" fmla="*/ 148928 h 248214"/>
                <a:gd name="connsiteX698" fmla="*/ 120440 w 180519"/>
                <a:gd name="connsiteY698" fmla="*/ 149493 h 248214"/>
                <a:gd name="connsiteX699" fmla="*/ 119594 w 180519"/>
                <a:gd name="connsiteY699" fmla="*/ 151467 h 248214"/>
                <a:gd name="connsiteX700" fmla="*/ 119594 w 180519"/>
                <a:gd name="connsiteY700" fmla="*/ 151749 h 248214"/>
                <a:gd name="connsiteX701" fmla="*/ 118466 w 180519"/>
                <a:gd name="connsiteY701" fmla="*/ 152595 h 248214"/>
                <a:gd name="connsiteX702" fmla="*/ 118184 w 180519"/>
                <a:gd name="connsiteY702" fmla="*/ 153441 h 248214"/>
                <a:gd name="connsiteX703" fmla="*/ 118184 w 180519"/>
                <a:gd name="connsiteY703" fmla="*/ 154006 h 248214"/>
                <a:gd name="connsiteX704" fmla="*/ 117902 w 180519"/>
                <a:gd name="connsiteY704" fmla="*/ 154570 h 248214"/>
                <a:gd name="connsiteX705" fmla="*/ 117338 w 180519"/>
                <a:gd name="connsiteY705" fmla="*/ 155416 h 248214"/>
                <a:gd name="connsiteX706" fmla="*/ 117902 w 180519"/>
                <a:gd name="connsiteY706" fmla="*/ 156262 h 248214"/>
                <a:gd name="connsiteX707" fmla="*/ 118184 w 180519"/>
                <a:gd name="connsiteY707" fmla="*/ 156544 h 248214"/>
                <a:gd name="connsiteX708" fmla="*/ 117620 w 180519"/>
                <a:gd name="connsiteY708" fmla="*/ 156826 h 248214"/>
                <a:gd name="connsiteX709" fmla="*/ 117056 w 180519"/>
                <a:gd name="connsiteY709" fmla="*/ 157108 h 248214"/>
                <a:gd name="connsiteX710" fmla="*/ 114799 w 180519"/>
                <a:gd name="connsiteY710" fmla="*/ 158236 h 248214"/>
                <a:gd name="connsiteX711" fmla="*/ 114799 w 180519"/>
                <a:gd name="connsiteY711" fmla="*/ 158801 h 248214"/>
                <a:gd name="connsiteX712" fmla="*/ 115927 w 180519"/>
                <a:gd name="connsiteY712" fmla="*/ 159365 h 248214"/>
                <a:gd name="connsiteX713" fmla="*/ 114517 w 180519"/>
                <a:gd name="connsiteY713" fmla="*/ 159929 h 248214"/>
                <a:gd name="connsiteX714" fmla="*/ 113389 w 180519"/>
                <a:gd name="connsiteY714" fmla="*/ 160493 h 248214"/>
                <a:gd name="connsiteX715" fmla="*/ 113107 w 180519"/>
                <a:gd name="connsiteY715" fmla="*/ 161057 h 248214"/>
                <a:gd name="connsiteX716" fmla="*/ 113107 w 180519"/>
                <a:gd name="connsiteY716" fmla="*/ 161339 h 248214"/>
                <a:gd name="connsiteX717" fmla="*/ 114235 w 180519"/>
                <a:gd name="connsiteY717" fmla="*/ 161339 h 248214"/>
                <a:gd name="connsiteX718" fmla="*/ 114235 w 180519"/>
                <a:gd name="connsiteY718" fmla="*/ 161903 h 248214"/>
                <a:gd name="connsiteX719" fmla="*/ 114517 w 180519"/>
                <a:gd name="connsiteY719" fmla="*/ 162467 h 248214"/>
                <a:gd name="connsiteX720" fmla="*/ 114799 w 180519"/>
                <a:gd name="connsiteY720" fmla="*/ 163031 h 248214"/>
                <a:gd name="connsiteX721" fmla="*/ 114517 w 180519"/>
                <a:gd name="connsiteY721" fmla="*/ 163314 h 248214"/>
                <a:gd name="connsiteX722" fmla="*/ 113389 w 180519"/>
                <a:gd name="connsiteY722" fmla="*/ 164160 h 248214"/>
                <a:gd name="connsiteX723" fmla="*/ 113389 w 180519"/>
                <a:gd name="connsiteY723" fmla="*/ 166416 h 248214"/>
                <a:gd name="connsiteX724" fmla="*/ 113107 w 180519"/>
                <a:gd name="connsiteY724" fmla="*/ 166980 h 248214"/>
                <a:gd name="connsiteX725" fmla="*/ 112825 w 180519"/>
                <a:gd name="connsiteY725" fmla="*/ 167827 h 248214"/>
                <a:gd name="connsiteX726" fmla="*/ 112543 w 180519"/>
                <a:gd name="connsiteY726" fmla="*/ 168109 h 248214"/>
                <a:gd name="connsiteX727" fmla="*/ 111696 w 180519"/>
                <a:gd name="connsiteY727" fmla="*/ 169237 h 248214"/>
                <a:gd name="connsiteX728" fmla="*/ 112260 w 180519"/>
                <a:gd name="connsiteY728" fmla="*/ 170365 h 248214"/>
                <a:gd name="connsiteX729" fmla="*/ 110850 w 180519"/>
                <a:gd name="connsiteY729" fmla="*/ 170929 h 248214"/>
                <a:gd name="connsiteX730" fmla="*/ 110568 w 180519"/>
                <a:gd name="connsiteY730" fmla="*/ 171211 h 248214"/>
                <a:gd name="connsiteX731" fmla="*/ 110568 w 180519"/>
                <a:gd name="connsiteY731" fmla="*/ 171775 h 248214"/>
                <a:gd name="connsiteX732" fmla="*/ 110850 w 180519"/>
                <a:gd name="connsiteY732" fmla="*/ 172622 h 248214"/>
                <a:gd name="connsiteX733" fmla="*/ 109440 w 180519"/>
                <a:gd name="connsiteY733" fmla="*/ 174032 h 248214"/>
                <a:gd name="connsiteX734" fmla="*/ 109440 w 180519"/>
                <a:gd name="connsiteY734" fmla="*/ 174596 h 248214"/>
                <a:gd name="connsiteX735" fmla="*/ 110568 w 180519"/>
                <a:gd name="connsiteY735" fmla="*/ 174596 h 248214"/>
                <a:gd name="connsiteX736" fmla="*/ 111132 w 180519"/>
                <a:gd name="connsiteY736" fmla="*/ 174314 h 248214"/>
                <a:gd name="connsiteX737" fmla="*/ 111696 w 180519"/>
                <a:gd name="connsiteY737" fmla="*/ 174596 h 248214"/>
                <a:gd name="connsiteX738" fmla="*/ 111415 w 180519"/>
                <a:gd name="connsiteY738" fmla="*/ 175160 h 248214"/>
                <a:gd name="connsiteX739" fmla="*/ 111132 w 180519"/>
                <a:gd name="connsiteY739" fmla="*/ 175724 h 248214"/>
                <a:gd name="connsiteX740" fmla="*/ 110568 w 180519"/>
                <a:gd name="connsiteY740" fmla="*/ 177699 h 248214"/>
                <a:gd name="connsiteX741" fmla="*/ 110568 w 180519"/>
                <a:gd name="connsiteY741" fmla="*/ 178545 h 248214"/>
                <a:gd name="connsiteX742" fmla="*/ 110850 w 180519"/>
                <a:gd name="connsiteY742" fmla="*/ 179109 h 248214"/>
                <a:gd name="connsiteX743" fmla="*/ 110568 w 180519"/>
                <a:gd name="connsiteY743" fmla="*/ 179955 h 248214"/>
                <a:gd name="connsiteX744" fmla="*/ 110286 w 180519"/>
                <a:gd name="connsiteY744" fmla="*/ 180237 h 248214"/>
                <a:gd name="connsiteX745" fmla="*/ 110286 w 180519"/>
                <a:gd name="connsiteY745" fmla="*/ 180519 h 248214"/>
                <a:gd name="connsiteX746" fmla="*/ 109722 w 180519"/>
                <a:gd name="connsiteY746" fmla="*/ 181083 h 248214"/>
                <a:gd name="connsiteX747" fmla="*/ 109158 w 180519"/>
                <a:gd name="connsiteY747" fmla="*/ 182212 h 248214"/>
                <a:gd name="connsiteX748" fmla="*/ 108876 w 180519"/>
                <a:gd name="connsiteY748" fmla="*/ 183058 h 248214"/>
                <a:gd name="connsiteX749" fmla="*/ 106901 w 180519"/>
                <a:gd name="connsiteY749" fmla="*/ 183904 h 248214"/>
                <a:gd name="connsiteX750" fmla="*/ 106901 w 180519"/>
                <a:gd name="connsiteY750" fmla="*/ 184750 h 248214"/>
                <a:gd name="connsiteX751" fmla="*/ 104927 w 180519"/>
                <a:gd name="connsiteY751" fmla="*/ 186725 h 248214"/>
                <a:gd name="connsiteX752" fmla="*/ 105209 w 180519"/>
                <a:gd name="connsiteY752" fmla="*/ 186725 h 248214"/>
                <a:gd name="connsiteX753" fmla="*/ 105773 w 180519"/>
                <a:gd name="connsiteY753" fmla="*/ 187571 h 248214"/>
                <a:gd name="connsiteX754" fmla="*/ 105773 w 180519"/>
                <a:gd name="connsiteY754" fmla="*/ 187853 h 248214"/>
                <a:gd name="connsiteX755" fmla="*/ 105491 w 180519"/>
                <a:gd name="connsiteY755" fmla="*/ 188981 h 248214"/>
                <a:gd name="connsiteX756" fmla="*/ 105209 w 180519"/>
                <a:gd name="connsiteY756" fmla="*/ 189545 h 248214"/>
                <a:gd name="connsiteX757" fmla="*/ 104363 w 180519"/>
                <a:gd name="connsiteY757" fmla="*/ 190956 h 248214"/>
                <a:gd name="connsiteX758" fmla="*/ 104927 w 180519"/>
                <a:gd name="connsiteY758" fmla="*/ 191238 h 248214"/>
                <a:gd name="connsiteX759" fmla="*/ 103517 w 180519"/>
                <a:gd name="connsiteY759" fmla="*/ 192366 h 248214"/>
                <a:gd name="connsiteX760" fmla="*/ 102953 w 180519"/>
                <a:gd name="connsiteY760" fmla="*/ 192084 h 248214"/>
                <a:gd name="connsiteX761" fmla="*/ 102670 w 180519"/>
                <a:gd name="connsiteY761" fmla="*/ 190956 h 248214"/>
                <a:gd name="connsiteX762" fmla="*/ 103234 w 180519"/>
                <a:gd name="connsiteY762" fmla="*/ 190673 h 248214"/>
                <a:gd name="connsiteX763" fmla="*/ 103798 w 180519"/>
                <a:gd name="connsiteY763" fmla="*/ 189827 h 248214"/>
                <a:gd name="connsiteX764" fmla="*/ 103517 w 180519"/>
                <a:gd name="connsiteY764" fmla="*/ 189545 h 248214"/>
                <a:gd name="connsiteX765" fmla="*/ 101542 w 180519"/>
                <a:gd name="connsiteY765" fmla="*/ 190673 h 248214"/>
                <a:gd name="connsiteX766" fmla="*/ 101542 w 180519"/>
                <a:gd name="connsiteY766" fmla="*/ 190956 h 248214"/>
                <a:gd name="connsiteX767" fmla="*/ 100696 w 180519"/>
                <a:gd name="connsiteY767" fmla="*/ 192930 h 248214"/>
                <a:gd name="connsiteX768" fmla="*/ 100696 w 180519"/>
                <a:gd name="connsiteY768" fmla="*/ 193212 h 248214"/>
                <a:gd name="connsiteX769" fmla="*/ 100132 w 180519"/>
                <a:gd name="connsiteY769" fmla="*/ 194340 h 248214"/>
                <a:gd name="connsiteX770" fmla="*/ 100132 w 180519"/>
                <a:gd name="connsiteY770" fmla="*/ 195469 h 248214"/>
                <a:gd name="connsiteX771" fmla="*/ 100696 w 180519"/>
                <a:gd name="connsiteY771" fmla="*/ 195751 h 248214"/>
                <a:gd name="connsiteX772" fmla="*/ 100132 w 180519"/>
                <a:gd name="connsiteY772" fmla="*/ 196315 h 248214"/>
                <a:gd name="connsiteX773" fmla="*/ 99850 w 180519"/>
                <a:gd name="connsiteY773" fmla="*/ 198007 h 248214"/>
                <a:gd name="connsiteX774" fmla="*/ 99850 w 180519"/>
                <a:gd name="connsiteY774" fmla="*/ 199417 h 248214"/>
                <a:gd name="connsiteX775" fmla="*/ 99004 w 180519"/>
                <a:gd name="connsiteY775" fmla="*/ 200264 h 248214"/>
                <a:gd name="connsiteX776" fmla="*/ 99004 w 180519"/>
                <a:gd name="connsiteY776" fmla="*/ 201392 h 248214"/>
                <a:gd name="connsiteX777" fmla="*/ 98440 w 180519"/>
                <a:gd name="connsiteY777" fmla="*/ 202520 h 248214"/>
                <a:gd name="connsiteX778" fmla="*/ 97876 w 180519"/>
                <a:gd name="connsiteY778" fmla="*/ 202520 h 248214"/>
                <a:gd name="connsiteX779" fmla="*/ 97029 w 180519"/>
                <a:gd name="connsiteY779" fmla="*/ 202802 h 248214"/>
                <a:gd name="connsiteX780" fmla="*/ 96747 w 180519"/>
                <a:gd name="connsiteY780" fmla="*/ 203366 h 248214"/>
                <a:gd name="connsiteX781" fmla="*/ 97593 w 180519"/>
                <a:gd name="connsiteY781" fmla="*/ 203930 h 248214"/>
                <a:gd name="connsiteX782" fmla="*/ 97029 w 180519"/>
                <a:gd name="connsiteY782" fmla="*/ 204777 h 248214"/>
                <a:gd name="connsiteX783" fmla="*/ 95055 w 180519"/>
                <a:gd name="connsiteY783" fmla="*/ 205623 h 248214"/>
                <a:gd name="connsiteX784" fmla="*/ 94491 w 180519"/>
                <a:gd name="connsiteY784" fmla="*/ 205905 h 248214"/>
                <a:gd name="connsiteX785" fmla="*/ 94209 w 180519"/>
                <a:gd name="connsiteY785" fmla="*/ 206469 h 248214"/>
                <a:gd name="connsiteX786" fmla="*/ 94209 w 180519"/>
                <a:gd name="connsiteY786" fmla="*/ 207597 h 248214"/>
                <a:gd name="connsiteX787" fmla="*/ 93362 w 180519"/>
                <a:gd name="connsiteY787" fmla="*/ 209007 h 248214"/>
                <a:gd name="connsiteX788" fmla="*/ 92798 w 180519"/>
                <a:gd name="connsiteY788" fmla="*/ 209572 h 248214"/>
                <a:gd name="connsiteX789" fmla="*/ 92798 w 180519"/>
                <a:gd name="connsiteY789" fmla="*/ 210136 h 248214"/>
                <a:gd name="connsiteX790" fmla="*/ 92516 w 180519"/>
                <a:gd name="connsiteY790" fmla="*/ 210700 h 248214"/>
                <a:gd name="connsiteX791" fmla="*/ 91670 w 180519"/>
                <a:gd name="connsiteY791" fmla="*/ 210418 h 248214"/>
                <a:gd name="connsiteX792" fmla="*/ 91670 w 180519"/>
                <a:gd name="connsiteY792" fmla="*/ 210136 h 248214"/>
                <a:gd name="connsiteX793" fmla="*/ 91388 w 180519"/>
                <a:gd name="connsiteY793" fmla="*/ 210418 h 248214"/>
                <a:gd name="connsiteX794" fmla="*/ 90542 w 180519"/>
                <a:gd name="connsiteY794" fmla="*/ 210982 h 248214"/>
                <a:gd name="connsiteX795" fmla="*/ 90260 w 180519"/>
                <a:gd name="connsiteY795" fmla="*/ 211546 h 248214"/>
                <a:gd name="connsiteX796" fmla="*/ 90260 w 180519"/>
                <a:gd name="connsiteY796" fmla="*/ 212110 h 248214"/>
                <a:gd name="connsiteX797" fmla="*/ 90542 w 180519"/>
                <a:gd name="connsiteY797" fmla="*/ 212392 h 248214"/>
                <a:gd name="connsiteX798" fmla="*/ 91670 w 180519"/>
                <a:gd name="connsiteY798" fmla="*/ 211264 h 248214"/>
                <a:gd name="connsiteX799" fmla="*/ 91952 w 180519"/>
                <a:gd name="connsiteY799" fmla="*/ 210982 h 248214"/>
                <a:gd name="connsiteX800" fmla="*/ 92516 w 180519"/>
                <a:gd name="connsiteY800" fmla="*/ 211264 h 248214"/>
                <a:gd name="connsiteX801" fmla="*/ 93081 w 180519"/>
                <a:gd name="connsiteY801" fmla="*/ 212110 h 248214"/>
                <a:gd name="connsiteX802" fmla="*/ 94209 w 180519"/>
                <a:gd name="connsiteY802" fmla="*/ 212674 h 248214"/>
                <a:gd name="connsiteX803" fmla="*/ 95055 w 180519"/>
                <a:gd name="connsiteY803" fmla="*/ 212674 h 248214"/>
                <a:gd name="connsiteX804" fmla="*/ 94773 w 180519"/>
                <a:gd name="connsiteY804" fmla="*/ 212392 h 248214"/>
                <a:gd name="connsiteX805" fmla="*/ 94773 w 180519"/>
                <a:gd name="connsiteY805" fmla="*/ 211264 h 248214"/>
                <a:gd name="connsiteX806" fmla="*/ 95337 w 180519"/>
                <a:gd name="connsiteY806" fmla="*/ 210982 h 248214"/>
                <a:gd name="connsiteX807" fmla="*/ 95337 w 180519"/>
                <a:gd name="connsiteY807" fmla="*/ 211264 h 248214"/>
                <a:gd name="connsiteX808" fmla="*/ 95619 w 180519"/>
                <a:gd name="connsiteY808" fmla="*/ 213238 h 248214"/>
                <a:gd name="connsiteX809" fmla="*/ 95619 w 180519"/>
                <a:gd name="connsiteY809" fmla="*/ 213803 h 248214"/>
                <a:gd name="connsiteX810" fmla="*/ 94209 w 180519"/>
                <a:gd name="connsiteY810" fmla="*/ 214931 h 248214"/>
                <a:gd name="connsiteX811" fmla="*/ 93081 w 180519"/>
                <a:gd name="connsiteY811" fmla="*/ 215777 h 248214"/>
                <a:gd name="connsiteX812" fmla="*/ 91952 w 180519"/>
                <a:gd name="connsiteY812" fmla="*/ 215213 h 248214"/>
                <a:gd name="connsiteX813" fmla="*/ 91388 w 180519"/>
                <a:gd name="connsiteY813" fmla="*/ 214931 h 248214"/>
                <a:gd name="connsiteX814" fmla="*/ 90824 w 180519"/>
                <a:gd name="connsiteY814" fmla="*/ 215495 h 248214"/>
                <a:gd name="connsiteX815" fmla="*/ 89978 w 180519"/>
                <a:gd name="connsiteY815" fmla="*/ 216059 h 248214"/>
                <a:gd name="connsiteX816" fmla="*/ 89414 w 180519"/>
                <a:gd name="connsiteY816" fmla="*/ 216341 h 248214"/>
                <a:gd name="connsiteX817" fmla="*/ 90260 w 180519"/>
                <a:gd name="connsiteY817" fmla="*/ 217187 h 248214"/>
                <a:gd name="connsiteX818" fmla="*/ 90260 w 180519"/>
                <a:gd name="connsiteY818" fmla="*/ 217751 h 248214"/>
                <a:gd name="connsiteX819" fmla="*/ 90824 w 180519"/>
                <a:gd name="connsiteY819" fmla="*/ 218315 h 248214"/>
                <a:gd name="connsiteX820" fmla="*/ 91106 w 180519"/>
                <a:gd name="connsiteY820" fmla="*/ 218880 h 248214"/>
                <a:gd name="connsiteX821" fmla="*/ 90260 w 180519"/>
                <a:gd name="connsiteY821" fmla="*/ 219444 h 248214"/>
                <a:gd name="connsiteX822" fmla="*/ 88285 w 180519"/>
                <a:gd name="connsiteY822" fmla="*/ 221418 h 248214"/>
                <a:gd name="connsiteX823" fmla="*/ 87721 w 180519"/>
                <a:gd name="connsiteY823" fmla="*/ 221982 h 248214"/>
                <a:gd name="connsiteX824" fmla="*/ 88285 w 180519"/>
                <a:gd name="connsiteY824" fmla="*/ 222828 h 248214"/>
                <a:gd name="connsiteX825" fmla="*/ 88567 w 180519"/>
                <a:gd name="connsiteY825" fmla="*/ 222546 h 248214"/>
                <a:gd name="connsiteX826" fmla="*/ 89131 w 180519"/>
                <a:gd name="connsiteY826" fmla="*/ 222264 h 248214"/>
                <a:gd name="connsiteX827" fmla="*/ 89131 w 180519"/>
                <a:gd name="connsiteY827" fmla="*/ 222546 h 248214"/>
                <a:gd name="connsiteX828" fmla="*/ 89414 w 180519"/>
                <a:gd name="connsiteY828" fmla="*/ 222546 h 248214"/>
                <a:gd name="connsiteX829" fmla="*/ 89131 w 180519"/>
                <a:gd name="connsiteY829" fmla="*/ 222828 h 248214"/>
                <a:gd name="connsiteX830" fmla="*/ 88850 w 180519"/>
                <a:gd name="connsiteY830" fmla="*/ 223393 h 248214"/>
                <a:gd name="connsiteX831" fmla="*/ 89131 w 180519"/>
                <a:gd name="connsiteY831" fmla="*/ 223675 h 248214"/>
                <a:gd name="connsiteX832" fmla="*/ 88850 w 180519"/>
                <a:gd name="connsiteY832" fmla="*/ 223957 h 248214"/>
                <a:gd name="connsiteX833" fmla="*/ 88285 w 180519"/>
                <a:gd name="connsiteY833" fmla="*/ 224803 h 248214"/>
                <a:gd name="connsiteX834" fmla="*/ 87721 w 180519"/>
                <a:gd name="connsiteY834" fmla="*/ 225085 h 248214"/>
                <a:gd name="connsiteX835" fmla="*/ 86875 w 180519"/>
                <a:gd name="connsiteY835" fmla="*/ 226495 h 248214"/>
                <a:gd name="connsiteX836" fmla="*/ 86875 w 180519"/>
                <a:gd name="connsiteY836" fmla="*/ 227059 h 248214"/>
                <a:gd name="connsiteX837" fmla="*/ 85747 w 180519"/>
                <a:gd name="connsiteY837" fmla="*/ 228752 h 248214"/>
                <a:gd name="connsiteX838" fmla="*/ 85747 w 180519"/>
                <a:gd name="connsiteY838" fmla="*/ 230162 h 248214"/>
                <a:gd name="connsiteX839" fmla="*/ 84619 w 180519"/>
                <a:gd name="connsiteY839" fmla="*/ 231572 h 248214"/>
                <a:gd name="connsiteX840" fmla="*/ 83772 w 180519"/>
                <a:gd name="connsiteY840" fmla="*/ 232983 h 248214"/>
                <a:gd name="connsiteX841" fmla="*/ 83208 w 180519"/>
                <a:gd name="connsiteY841" fmla="*/ 233547 h 248214"/>
                <a:gd name="connsiteX842" fmla="*/ 82926 w 180519"/>
                <a:gd name="connsiteY842" fmla="*/ 234111 h 248214"/>
                <a:gd name="connsiteX843" fmla="*/ 82926 w 180519"/>
                <a:gd name="connsiteY843" fmla="*/ 234675 h 248214"/>
                <a:gd name="connsiteX844" fmla="*/ 81234 w 180519"/>
                <a:gd name="connsiteY844" fmla="*/ 235803 h 248214"/>
                <a:gd name="connsiteX845" fmla="*/ 80952 w 180519"/>
                <a:gd name="connsiteY845" fmla="*/ 236367 h 248214"/>
                <a:gd name="connsiteX846" fmla="*/ 81516 w 180519"/>
                <a:gd name="connsiteY846" fmla="*/ 236932 h 248214"/>
                <a:gd name="connsiteX847" fmla="*/ 81798 w 180519"/>
                <a:gd name="connsiteY847" fmla="*/ 237496 h 248214"/>
                <a:gd name="connsiteX848" fmla="*/ 81516 w 180519"/>
                <a:gd name="connsiteY848" fmla="*/ 237778 h 248214"/>
                <a:gd name="connsiteX849" fmla="*/ 80952 w 180519"/>
                <a:gd name="connsiteY849" fmla="*/ 238624 h 248214"/>
                <a:gd name="connsiteX850" fmla="*/ 81234 w 180519"/>
                <a:gd name="connsiteY850" fmla="*/ 239188 h 248214"/>
                <a:gd name="connsiteX851" fmla="*/ 81516 w 180519"/>
                <a:gd name="connsiteY851" fmla="*/ 239752 h 248214"/>
                <a:gd name="connsiteX852" fmla="*/ 81516 w 180519"/>
                <a:gd name="connsiteY852" fmla="*/ 240034 h 248214"/>
                <a:gd name="connsiteX853" fmla="*/ 81234 w 180519"/>
                <a:gd name="connsiteY853" fmla="*/ 240316 h 248214"/>
                <a:gd name="connsiteX854" fmla="*/ 80388 w 180519"/>
                <a:gd name="connsiteY854" fmla="*/ 240316 h 248214"/>
                <a:gd name="connsiteX855" fmla="*/ 79823 w 180519"/>
                <a:gd name="connsiteY855" fmla="*/ 240880 h 248214"/>
                <a:gd name="connsiteX856" fmla="*/ 78413 w 180519"/>
                <a:gd name="connsiteY856" fmla="*/ 242855 h 248214"/>
                <a:gd name="connsiteX857" fmla="*/ 77285 w 180519"/>
                <a:gd name="connsiteY857" fmla="*/ 243983 h 248214"/>
                <a:gd name="connsiteX858" fmla="*/ 77003 w 180519"/>
                <a:gd name="connsiteY858" fmla="*/ 244547 h 248214"/>
                <a:gd name="connsiteX859" fmla="*/ 75875 w 180519"/>
                <a:gd name="connsiteY859" fmla="*/ 244547 h 248214"/>
                <a:gd name="connsiteX860" fmla="*/ 74747 w 180519"/>
                <a:gd name="connsiteY860" fmla="*/ 245111 h 248214"/>
                <a:gd name="connsiteX861" fmla="*/ 73900 w 180519"/>
                <a:gd name="connsiteY861" fmla="*/ 245675 h 248214"/>
                <a:gd name="connsiteX862" fmla="*/ 73618 w 180519"/>
                <a:gd name="connsiteY862" fmla="*/ 245958 h 248214"/>
                <a:gd name="connsiteX863" fmla="*/ 73336 w 180519"/>
                <a:gd name="connsiteY863" fmla="*/ 246522 h 248214"/>
                <a:gd name="connsiteX864" fmla="*/ 72490 w 180519"/>
                <a:gd name="connsiteY864" fmla="*/ 246240 h 248214"/>
                <a:gd name="connsiteX865" fmla="*/ 69951 w 180519"/>
                <a:gd name="connsiteY865" fmla="*/ 249342 h 248214"/>
                <a:gd name="connsiteX866" fmla="*/ 69387 w 180519"/>
                <a:gd name="connsiteY866" fmla="*/ 249906 h 248214"/>
                <a:gd name="connsiteX867" fmla="*/ 66849 w 180519"/>
                <a:gd name="connsiteY867" fmla="*/ 249906 h 248214"/>
                <a:gd name="connsiteX868" fmla="*/ 66002 w 180519"/>
                <a:gd name="connsiteY868" fmla="*/ 249342 h 248214"/>
                <a:gd name="connsiteX869" fmla="*/ 64028 w 180519"/>
                <a:gd name="connsiteY869" fmla="*/ 249624 h 248214"/>
                <a:gd name="connsiteX870" fmla="*/ 62900 w 180519"/>
                <a:gd name="connsiteY870" fmla="*/ 249342 h 248214"/>
                <a:gd name="connsiteX871" fmla="*/ 61772 w 180519"/>
                <a:gd name="connsiteY871" fmla="*/ 249624 h 248214"/>
                <a:gd name="connsiteX872" fmla="*/ 60925 w 180519"/>
                <a:gd name="connsiteY872" fmla="*/ 249906 h 248214"/>
                <a:gd name="connsiteX873" fmla="*/ 56977 w 180519"/>
                <a:gd name="connsiteY873" fmla="*/ 247650 h 248214"/>
                <a:gd name="connsiteX874" fmla="*/ 56130 w 180519"/>
                <a:gd name="connsiteY874" fmla="*/ 247932 h 248214"/>
                <a:gd name="connsiteX875" fmla="*/ 55566 w 180519"/>
                <a:gd name="connsiteY875" fmla="*/ 248214 h 248214"/>
                <a:gd name="connsiteX876" fmla="*/ 54720 w 180519"/>
                <a:gd name="connsiteY876" fmla="*/ 247932 h 248214"/>
                <a:gd name="connsiteX877" fmla="*/ 52746 w 180519"/>
                <a:gd name="connsiteY877" fmla="*/ 246240 h 248214"/>
                <a:gd name="connsiteX878" fmla="*/ 51053 w 180519"/>
                <a:gd name="connsiteY878" fmla="*/ 245675 h 248214"/>
                <a:gd name="connsiteX879" fmla="*/ 50489 w 180519"/>
                <a:gd name="connsiteY879" fmla="*/ 244829 h 248214"/>
                <a:gd name="connsiteX880" fmla="*/ 49643 w 180519"/>
                <a:gd name="connsiteY880" fmla="*/ 243983 h 248214"/>
                <a:gd name="connsiteX881" fmla="*/ 48232 w 180519"/>
                <a:gd name="connsiteY881" fmla="*/ 243137 h 248214"/>
                <a:gd name="connsiteX882" fmla="*/ 47951 w 180519"/>
                <a:gd name="connsiteY882" fmla="*/ 242573 h 248214"/>
                <a:gd name="connsiteX883" fmla="*/ 48515 w 180519"/>
                <a:gd name="connsiteY883" fmla="*/ 242291 h 248214"/>
                <a:gd name="connsiteX884" fmla="*/ 48796 w 180519"/>
                <a:gd name="connsiteY884" fmla="*/ 242291 h 248214"/>
                <a:gd name="connsiteX885" fmla="*/ 48515 w 180519"/>
                <a:gd name="connsiteY885" fmla="*/ 242009 h 248214"/>
                <a:gd name="connsiteX886" fmla="*/ 48515 w 180519"/>
                <a:gd name="connsiteY886" fmla="*/ 241162 h 248214"/>
                <a:gd name="connsiteX887" fmla="*/ 48232 w 180519"/>
                <a:gd name="connsiteY887" fmla="*/ 240880 h 248214"/>
                <a:gd name="connsiteX888" fmla="*/ 47104 w 180519"/>
                <a:gd name="connsiteY888" fmla="*/ 240316 h 248214"/>
                <a:gd name="connsiteX889" fmla="*/ 47386 w 180519"/>
                <a:gd name="connsiteY889" fmla="*/ 240034 h 248214"/>
                <a:gd name="connsiteX890" fmla="*/ 47668 w 180519"/>
                <a:gd name="connsiteY890" fmla="*/ 239752 h 248214"/>
                <a:gd name="connsiteX891" fmla="*/ 47668 w 180519"/>
                <a:gd name="connsiteY891" fmla="*/ 239470 h 248214"/>
                <a:gd name="connsiteX892" fmla="*/ 47386 w 180519"/>
                <a:gd name="connsiteY892" fmla="*/ 238906 h 248214"/>
                <a:gd name="connsiteX893" fmla="*/ 47104 w 180519"/>
                <a:gd name="connsiteY893" fmla="*/ 238624 h 248214"/>
                <a:gd name="connsiteX894" fmla="*/ 47386 w 180519"/>
                <a:gd name="connsiteY894" fmla="*/ 237778 h 248214"/>
                <a:gd name="connsiteX895" fmla="*/ 46822 w 180519"/>
                <a:gd name="connsiteY895" fmla="*/ 237214 h 248214"/>
                <a:gd name="connsiteX896" fmla="*/ 46822 w 180519"/>
                <a:gd name="connsiteY896" fmla="*/ 236932 h 248214"/>
                <a:gd name="connsiteX897" fmla="*/ 46540 w 180519"/>
                <a:gd name="connsiteY897" fmla="*/ 236085 h 248214"/>
                <a:gd name="connsiteX898" fmla="*/ 46258 w 180519"/>
                <a:gd name="connsiteY898" fmla="*/ 234675 h 248214"/>
                <a:gd name="connsiteX899" fmla="*/ 45976 w 180519"/>
                <a:gd name="connsiteY899" fmla="*/ 233547 h 248214"/>
                <a:gd name="connsiteX900" fmla="*/ 44848 w 180519"/>
                <a:gd name="connsiteY900" fmla="*/ 233265 h 248214"/>
                <a:gd name="connsiteX901" fmla="*/ 44284 w 180519"/>
                <a:gd name="connsiteY901" fmla="*/ 233265 h 248214"/>
                <a:gd name="connsiteX902" fmla="*/ 43720 w 180519"/>
                <a:gd name="connsiteY902" fmla="*/ 232983 h 248214"/>
                <a:gd name="connsiteX903" fmla="*/ 43720 w 180519"/>
                <a:gd name="connsiteY903" fmla="*/ 232137 h 248214"/>
                <a:gd name="connsiteX904" fmla="*/ 44002 w 180519"/>
                <a:gd name="connsiteY904" fmla="*/ 231854 h 248214"/>
                <a:gd name="connsiteX905" fmla="*/ 44566 w 180519"/>
                <a:gd name="connsiteY905" fmla="*/ 231008 h 248214"/>
                <a:gd name="connsiteX906" fmla="*/ 44566 w 180519"/>
                <a:gd name="connsiteY906" fmla="*/ 230162 h 248214"/>
                <a:gd name="connsiteX907" fmla="*/ 44284 w 180519"/>
                <a:gd name="connsiteY907" fmla="*/ 227906 h 248214"/>
                <a:gd name="connsiteX908" fmla="*/ 43720 w 180519"/>
                <a:gd name="connsiteY908" fmla="*/ 226777 h 248214"/>
                <a:gd name="connsiteX909" fmla="*/ 43720 w 180519"/>
                <a:gd name="connsiteY909" fmla="*/ 226495 h 248214"/>
                <a:gd name="connsiteX910" fmla="*/ 43438 w 180519"/>
                <a:gd name="connsiteY910" fmla="*/ 226213 h 248214"/>
                <a:gd name="connsiteX911" fmla="*/ 43438 w 180519"/>
                <a:gd name="connsiteY911" fmla="*/ 226495 h 248214"/>
                <a:gd name="connsiteX912" fmla="*/ 42874 w 180519"/>
                <a:gd name="connsiteY912" fmla="*/ 226495 h 248214"/>
                <a:gd name="connsiteX913" fmla="*/ 42874 w 180519"/>
                <a:gd name="connsiteY913" fmla="*/ 225649 h 248214"/>
                <a:gd name="connsiteX914" fmla="*/ 42591 w 180519"/>
                <a:gd name="connsiteY914" fmla="*/ 225085 h 248214"/>
                <a:gd name="connsiteX915" fmla="*/ 42310 w 180519"/>
                <a:gd name="connsiteY915" fmla="*/ 224803 h 248214"/>
                <a:gd name="connsiteX916" fmla="*/ 43155 w 180519"/>
                <a:gd name="connsiteY916" fmla="*/ 223957 h 248214"/>
                <a:gd name="connsiteX917" fmla="*/ 42874 w 180519"/>
                <a:gd name="connsiteY917" fmla="*/ 223111 h 248214"/>
                <a:gd name="connsiteX918" fmla="*/ 42310 w 180519"/>
                <a:gd name="connsiteY918" fmla="*/ 222828 h 248214"/>
                <a:gd name="connsiteX919" fmla="*/ 42310 w 180519"/>
                <a:gd name="connsiteY919" fmla="*/ 220854 h 248214"/>
                <a:gd name="connsiteX920" fmla="*/ 42591 w 180519"/>
                <a:gd name="connsiteY920" fmla="*/ 218880 h 248214"/>
                <a:gd name="connsiteX921" fmla="*/ 43155 w 180519"/>
                <a:gd name="connsiteY921" fmla="*/ 218880 h 248214"/>
                <a:gd name="connsiteX922" fmla="*/ 43720 w 180519"/>
                <a:gd name="connsiteY922" fmla="*/ 218315 h 248214"/>
                <a:gd name="connsiteX923" fmla="*/ 43438 w 180519"/>
                <a:gd name="connsiteY923" fmla="*/ 216623 h 248214"/>
                <a:gd name="connsiteX924" fmla="*/ 43155 w 180519"/>
                <a:gd name="connsiteY924" fmla="*/ 216059 h 248214"/>
                <a:gd name="connsiteX925" fmla="*/ 43155 w 180519"/>
                <a:gd name="connsiteY925" fmla="*/ 215495 h 248214"/>
                <a:gd name="connsiteX926" fmla="*/ 43438 w 180519"/>
                <a:gd name="connsiteY926" fmla="*/ 214367 h 248214"/>
                <a:gd name="connsiteX927" fmla="*/ 43155 w 180519"/>
                <a:gd name="connsiteY927" fmla="*/ 212956 h 248214"/>
                <a:gd name="connsiteX928" fmla="*/ 43438 w 180519"/>
                <a:gd name="connsiteY928" fmla="*/ 212674 h 248214"/>
                <a:gd name="connsiteX929" fmla="*/ 42027 w 180519"/>
                <a:gd name="connsiteY929" fmla="*/ 211264 h 248214"/>
                <a:gd name="connsiteX930" fmla="*/ 42310 w 180519"/>
                <a:gd name="connsiteY930" fmla="*/ 210700 h 248214"/>
                <a:gd name="connsiteX931" fmla="*/ 41463 w 180519"/>
                <a:gd name="connsiteY931" fmla="*/ 210136 h 248214"/>
                <a:gd name="connsiteX932" fmla="*/ 41745 w 180519"/>
                <a:gd name="connsiteY932" fmla="*/ 209854 h 248214"/>
                <a:gd name="connsiteX933" fmla="*/ 43155 w 180519"/>
                <a:gd name="connsiteY933" fmla="*/ 208725 h 248214"/>
                <a:gd name="connsiteX934" fmla="*/ 42310 w 180519"/>
                <a:gd name="connsiteY934" fmla="*/ 207033 h 248214"/>
                <a:gd name="connsiteX935" fmla="*/ 42027 w 180519"/>
                <a:gd name="connsiteY935" fmla="*/ 206751 h 248214"/>
                <a:gd name="connsiteX936" fmla="*/ 42310 w 180519"/>
                <a:gd name="connsiteY936" fmla="*/ 206187 h 248214"/>
                <a:gd name="connsiteX937" fmla="*/ 41745 w 180519"/>
                <a:gd name="connsiteY937" fmla="*/ 205905 h 248214"/>
                <a:gd name="connsiteX938" fmla="*/ 41745 w 180519"/>
                <a:gd name="connsiteY938" fmla="*/ 205341 h 248214"/>
                <a:gd name="connsiteX939" fmla="*/ 41463 w 180519"/>
                <a:gd name="connsiteY939" fmla="*/ 203084 h 248214"/>
                <a:gd name="connsiteX940" fmla="*/ 41463 w 180519"/>
                <a:gd name="connsiteY940" fmla="*/ 201110 h 248214"/>
                <a:gd name="connsiteX941" fmla="*/ 41745 w 180519"/>
                <a:gd name="connsiteY941" fmla="*/ 199982 h 248214"/>
                <a:gd name="connsiteX942" fmla="*/ 42874 w 180519"/>
                <a:gd name="connsiteY942" fmla="*/ 199699 h 248214"/>
                <a:gd name="connsiteX943" fmla="*/ 42027 w 180519"/>
                <a:gd name="connsiteY943" fmla="*/ 198571 h 248214"/>
                <a:gd name="connsiteX944" fmla="*/ 41745 w 180519"/>
                <a:gd name="connsiteY944" fmla="*/ 198007 h 248214"/>
                <a:gd name="connsiteX945" fmla="*/ 42591 w 180519"/>
                <a:gd name="connsiteY945" fmla="*/ 196879 h 248214"/>
                <a:gd name="connsiteX946" fmla="*/ 42310 w 180519"/>
                <a:gd name="connsiteY946" fmla="*/ 195751 h 248214"/>
                <a:gd name="connsiteX947" fmla="*/ 42310 w 180519"/>
                <a:gd name="connsiteY947" fmla="*/ 194058 h 248214"/>
                <a:gd name="connsiteX948" fmla="*/ 43438 w 180519"/>
                <a:gd name="connsiteY948" fmla="*/ 192366 h 248214"/>
                <a:gd name="connsiteX949" fmla="*/ 43155 w 180519"/>
                <a:gd name="connsiteY949" fmla="*/ 192084 h 248214"/>
                <a:gd name="connsiteX950" fmla="*/ 43155 w 180519"/>
                <a:gd name="connsiteY950" fmla="*/ 190673 h 248214"/>
                <a:gd name="connsiteX951" fmla="*/ 42874 w 180519"/>
                <a:gd name="connsiteY951" fmla="*/ 190391 h 248214"/>
                <a:gd name="connsiteX952" fmla="*/ 43155 w 180519"/>
                <a:gd name="connsiteY952" fmla="*/ 189827 h 248214"/>
                <a:gd name="connsiteX953" fmla="*/ 44002 w 180519"/>
                <a:gd name="connsiteY953" fmla="*/ 188981 h 248214"/>
                <a:gd name="connsiteX954" fmla="*/ 43720 w 180519"/>
                <a:gd name="connsiteY954" fmla="*/ 187289 h 248214"/>
                <a:gd name="connsiteX955" fmla="*/ 44002 w 180519"/>
                <a:gd name="connsiteY955" fmla="*/ 186443 h 248214"/>
                <a:gd name="connsiteX956" fmla="*/ 43720 w 180519"/>
                <a:gd name="connsiteY956" fmla="*/ 185314 h 248214"/>
                <a:gd name="connsiteX957" fmla="*/ 43720 w 180519"/>
                <a:gd name="connsiteY957" fmla="*/ 184750 h 248214"/>
                <a:gd name="connsiteX958" fmla="*/ 44566 w 180519"/>
                <a:gd name="connsiteY958" fmla="*/ 183622 h 248214"/>
                <a:gd name="connsiteX959" fmla="*/ 44566 w 180519"/>
                <a:gd name="connsiteY959" fmla="*/ 180519 h 248214"/>
                <a:gd name="connsiteX960" fmla="*/ 44848 w 180519"/>
                <a:gd name="connsiteY960" fmla="*/ 180237 h 248214"/>
                <a:gd name="connsiteX961" fmla="*/ 44284 w 180519"/>
                <a:gd name="connsiteY961" fmla="*/ 179109 h 248214"/>
                <a:gd name="connsiteX962" fmla="*/ 44284 w 180519"/>
                <a:gd name="connsiteY962" fmla="*/ 178545 h 248214"/>
                <a:gd name="connsiteX963" fmla="*/ 45130 w 180519"/>
                <a:gd name="connsiteY963" fmla="*/ 177135 h 248214"/>
                <a:gd name="connsiteX964" fmla="*/ 44848 w 180519"/>
                <a:gd name="connsiteY964" fmla="*/ 176288 h 248214"/>
                <a:gd name="connsiteX965" fmla="*/ 44566 w 180519"/>
                <a:gd name="connsiteY965" fmla="*/ 175724 h 248214"/>
                <a:gd name="connsiteX966" fmla="*/ 44848 w 180519"/>
                <a:gd name="connsiteY966" fmla="*/ 175442 h 248214"/>
                <a:gd name="connsiteX967" fmla="*/ 45130 w 180519"/>
                <a:gd name="connsiteY967" fmla="*/ 175160 h 248214"/>
                <a:gd name="connsiteX968" fmla="*/ 44566 w 180519"/>
                <a:gd name="connsiteY968" fmla="*/ 174596 h 248214"/>
                <a:gd name="connsiteX969" fmla="*/ 44002 w 180519"/>
                <a:gd name="connsiteY969" fmla="*/ 173750 h 248214"/>
                <a:gd name="connsiteX970" fmla="*/ 44002 w 180519"/>
                <a:gd name="connsiteY970" fmla="*/ 172340 h 248214"/>
                <a:gd name="connsiteX971" fmla="*/ 44284 w 180519"/>
                <a:gd name="connsiteY971" fmla="*/ 170929 h 248214"/>
                <a:gd name="connsiteX972" fmla="*/ 44566 w 180519"/>
                <a:gd name="connsiteY972" fmla="*/ 170365 h 248214"/>
                <a:gd name="connsiteX973" fmla="*/ 44284 w 180519"/>
                <a:gd name="connsiteY973" fmla="*/ 169519 h 248214"/>
                <a:gd name="connsiteX974" fmla="*/ 45130 w 180519"/>
                <a:gd name="connsiteY974" fmla="*/ 168673 h 248214"/>
                <a:gd name="connsiteX975" fmla="*/ 45412 w 180519"/>
                <a:gd name="connsiteY975" fmla="*/ 168391 h 248214"/>
                <a:gd name="connsiteX976" fmla="*/ 45412 w 180519"/>
                <a:gd name="connsiteY976" fmla="*/ 167262 h 248214"/>
                <a:gd name="connsiteX977" fmla="*/ 45130 w 180519"/>
                <a:gd name="connsiteY977" fmla="*/ 166980 h 248214"/>
                <a:gd name="connsiteX978" fmla="*/ 45412 w 180519"/>
                <a:gd name="connsiteY978" fmla="*/ 166698 h 248214"/>
                <a:gd name="connsiteX979" fmla="*/ 46258 w 180519"/>
                <a:gd name="connsiteY979" fmla="*/ 165288 h 248214"/>
                <a:gd name="connsiteX980" fmla="*/ 45412 w 180519"/>
                <a:gd name="connsiteY980" fmla="*/ 163878 h 248214"/>
                <a:gd name="connsiteX981" fmla="*/ 45976 w 180519"/>
                <a:gd name="connsiteY981" fmla="*/ 162749 h 248214"/>
                <a:gd name="connsiteX982" fmla="*/ 45976 w 180519"/>
                <a:gd name="connsiteY982" fmla="*/ 162185 h 248214"/>
                <a:gd name="connsiteX983" fmla="*/ 46540 w 180519"/>
                <a:gd name="connsiteY983" fmla="*/ 161339 h 248214"/>
                <a:gd name="connsiteX984" fmla="*/ 46822 w 180519"/>
                <a:gd name="connsiteY984" fmla="*/ 159929 h 248214"/>
                <a:gd name="connsiteX985" fmla="*/ 46822 w 180519"/>
                <a:gd name="connsiteY985" fmla="*/ 159083 h 248214"/>
                <a:gd name="connsiteX986" fmla="*/ 46822 w 180519"/>
                <a:gd name="connsiteY986" fmla="*/ 158801 h 248214"/>
                <a:gd name="connsiteX987" fmla="*/ 46540 w 180519"/>
                <a:gd name="connsiteY987" fmla="*/ 158801 h 248214"/>
                <a:gd name="connsiteX988" fmla="*/ 46540 w 180519"/>
                <a:gd name="connsiteY988" fmla="*/ 157954 h 248214"/>
                <a:gd name="connsiteX989" fmla="*/ 46822 w 180519"/>
                <a:gd name="connsiteY989" fmla="*/ 157672 h 248214"/>
                <a:gd name="connsiteX990" fmla="*/ 47951 w 180519"/>
                <a:gd name="connsiteY990" fmla="*/ 156262 h 248214"/>
                <a:gd name="connsiteX991" fmla="*/ 47668 w 180519"/>
                <a:gd name="connsiteY991" fmla="*/ 155416 h 248214"/>
                <a:gd name="connsiteX992" fmla="*/ 48232 w 180519"/>
                <a:gd name="connsiteY992" fmla="*/ 154288 h 248214"/>
                <a:gd name="connsiteX993" fmla="*/ 48232 w 180519"/>
                <a:gd name="connsiteY993" fmla="*/ 154006 h 248214"/>
                <a:gd name="connsiteX994" fmla="*/ 47668 w 180519"/>
                <a:gd name="connsiteY994" fmla="*/ 152877 h 248214"/>
                <a:gd name="connsiteX995" fmla="*/ 47668 w 180519"/>
                <a:gd name="connsiteY995" fmla="*/ 151749 h 248214"/>
                <a:gd name="connsiteX996" fmla="*/ 47951 w 180519"/>
                <a:gd name="connsiteY996" fmla="*/ 151185 h 248214"/>
                <a:gd name="connsiteX997" fmla="*/ 48232 w 180519"/>
                <a:gd name="connsiteY997" fmla="*/ 150903 h 248214"/>
                <a:gd name="connsiteX998" fmla="*/ 48515 w 180519"/>
                <a:gd name="connsiteY998" fmla="*/ 150903 h 248214"/>
                <a:gd name="connsiteX999" fmla="*/ 48796 w 180519"/>
                <a:gd name="connsiteY999" fmla="*/ 150621 h 248214"/>
                <a:gd name="connsiteX1000" fmla="*/ 48515 w 180519"/>
                <a:gd name="connsiteY1000" fmla="*/ 150057 h 248214"/>
                <a:gd name="connsiteX1001" fmla="*/ 48232 w 180519"/>
                <a:gd name="connsiteY1001" fmla="*/ 149493 h 248214"/>
                <a:gd name="connsiteX1002" fmla="*/ 48232 w 180519"/>
                <a:gd name="connsiteY1002" fmla="*/ 149210 h 248214"/>
                <a:gd name="connsiteX1003" fmla="*/ 48796 w 180519"/>
                <a:gd name="connsiteY1003" fmla="*/ 148082 h 248214"/>
                <a:gd name="connsiteX1004" fmla="*/ 48796 w 180519"/>
                <a:gd name="connsiteY1004" fmla="*/ 147800 h 248214"/>
                <a:gd name="connsiteX1005" fmla="*/ 49079 w 180519"/>
                <a:gd name="connsiteY1005" fmla="*/ 147236 h 248214"/>
                <a:gd name="connsiteX1006" fmla="*/ 48796 w 180519"/>
                <a:gd name="connsiteY1006" fmla="*/ 146390 h 248214"/>
                <a:gd name="connsiteX1007" fmla="*/ 48232 w 180519"/>
                <a:gd name="connsiteY1007" fmla="*/ 145544 h 248214"/>
                <a:gd name="connsiteX1008" fmla="*/ 48796 w 180519"/>
                <a:gd name="connsiteY1008" fmla="*/ 144980 h 248214"/>
                <a:gd name="connsiteX1009" fmla="*/ 50771 w 180519"/>
                <a:gd name="connsiteY1009" fmla="*/ 143287 h 248214"/>
                <a:gd name="connsiteX1010" fmla="*/ 50771 w 180519"/>
                <a:gd name="connsiteY1010" fmla="*/ 142441 h 248214"/>
                <a:gd name="connsiteX1011" fmla="*/ 50489 w 180519"/>
                <a:gd name="connsiteY1011" fmla="*/ 141313 h 248214"/>
                <a:gd name="connsiteX1012" fmla="*/ 50489 w 180519"/>
                <a:gd name="connsiteY1012" fmla="*/ 140185 h 248214"/>
                <a:gd name="connsiteX1013" fmla="*/ 51053 w 180519"/>
                <a:gd name="connsiteY1013" fmla="*/ 137646 h 248214"/>
                <a:gd name="connsiteX1014" fmla="*/ 50771 w 180519"/>
                <a:gd name="connsiteY1014" fmla="*/ 136800 h 248214"/>
                <a:gd name="connsiteX1015" fmla="*/ 51053 w 180519"/>
                <a:gd name="connsiteY1015" fmla="*/ 135954 h 248214"/>
                <a:gd name="connsiteX1016" fmla="*/ 51335 w 180519"/>
                <a:gd name="connsiteY1016" fmla="*/ 134825 h 248214"/>
                <a:gd name="connsiteX1017" fmla="*/ 51335 w 180519"/>
                <a:gd name="connsiteY1017" fmla="*/ 132851 h 248214"/>
                <a:gd name="connsiteX1018" fmla="*/ 51899 w 180519"/>
                <a:gd name="connsiteY1018" fmla="*/ 132569 h 248214"/>
                <a:gd name="connsiteX1019" fmla="*/ 51899 w 180519"/>
                <a:gd name="connsiteY1019" fmla="*/ 131159 h 248214"/>
                <a:gd name="connsiteX1020" fmla="*/ 52182 w 180519"/>
                <a:gd name="connsiteY1020" fmla="*/ 129748 h 248214"/>
                <a:gd name="connsiteX1021" fmla="*/ 51617 w 180519"/>
                <a:gd name="connsiteY1021" fmla="*/ 129466 h 248214"/>
                <a:gd name="connsiteX1022" fmla="*/ 52463 w 180519"/>
                <a:gd name="connsiteY1022" fmla="*/ 128056 h 248214"/>
                <a:gd name="connsiteX1023" fmla="*/ 52746 w 180519"/>
                <a:gd name="connsiteY1023" fmla="*/ 127492 h 248214"/>
                <a:gd name="connsiteX1024" fmla="*/ 52463 w 180519"/>
                <a:gd name="connsiteY1024" fmla="*/ 126363 h 248214"/>
                <a:gd name="connsiteX1025" fmla="*/ 53310 w 180519"/>
                <a:gd name="connsiteY1025" fmla="*/ 125235 h 248214"/>
                <a:gd name="connsiteX1026" fmla="*/ 53592 w 180519"/>
                <a:gd name="connsiteY1026" fmla="*/ 124671 h 248214"/>
                <a:gd name="connsiteX1027" fmla="*/ 53310 w 180519"/>
                <a:gd name="connsiteY1027" fmla="*/ 123543 h 248214"/>
                <a:gd name="connsiteX1028" fmla="*/ 54438 w 180519"/>
                <a:gd name="connsiteY1028" fmla="*/ 122133 h 248214"/>
                <a:gd name="connsiteX1029" fmla="*/ 54156 w 180519"/>
                <a:gd name="connsiteY1029" fmla="*/ 121568 h 248214"/>
                <a:gd name="connsiteX1030" fmla="*/ 54438 w 180519"/>
                <a:gd name="connsiteY1030" fmla="*/ 120158 h 248214"/>
                <a:gd name="connsiteX1031" fmla="*/ 54720 w 180519"/>
                <a:gd name="connsiteY1031" fmla="*/ 119312 h 248214"/>
                <a:gd name="connsiteX1032" fmla="*/ 55566 w 180519"/>
                <a:gd name="connsiteY1032" fmla="*/ 118466 h 248214"/>
                <a:gd name="connsiteX1033" fmla="*/ 55566 w 180519"/>
                <a:gd name="connsiteY1033" fmla="*/ 116209 h 248214"/>
                <a:gd name="connsiteX1034" fmla="*/ 54720 w 180519"/>
                <a:gd name="connsiteY1034" fmla="*/ 115363 h 248214"/>
                <a:gd name="connsiteX1035" fmla="*/ 55284 w 180519"/>
                <a:gd name="connsiteY1035" fmla="*/ 114235 h 248214"/>
                <a:gd name="connsiteX1036" fmla="*/ 56413 w 180519"/>
                <a:gd name="connsiteY1036" fmla="*/ 112542 h 248214"/>
                <a:gd name="connsiteX1037" fmla="*/ 56413 w 180519"/>
                <a:gd name="connsiteY1037" fmla="*/ 110850 h 248214"/>
                <a:gd name="connsiteX1038" fmla="*/ 56977 w 180519"/>
                <a:gd name="connsiteY1038" fmla="*/ 110286 h 248214"/>
                <a:gd name="connsiteX1039" fmla="*/ 56977 w 180519"/>
                <a:gd name="connsiteY1039" fmla="*/ 109722 h 248214"/>
                <a:gd name="connsiteX1040" fmla="*/ 57258 w 180519"/>
                <a:gd name="connsiteY1040" fmla="*/ 109440 h 248214"/>
                <a:gd name="connsiteX1041" fmla="*/ 57258 w 180519"/>
                <a:gd name="connsiteY1041" fmla="*/ 109158 h 248214"/>
                <a:gd name="connsiteX1042" fmla="*/ 57823 w 180519"/>
                <a:gd name="connsiteY1042" fmla="*/ 107747 h 248214"/>
                <a:gd name="connsiteX1043" fmla="*/ 57823 w 180519"/>
                <a:gd name="connsiteY1043" fmla="*/ 105491 h 248214"/>
                <a:gd name="connsiteX1044" fmla="*/ 58105 w 180519"/>
                <a:gd name="connsiteY1044" fmla="*/ 104927 h 248214"/>
                <a:gd name="connsiteX1045" fmla="*/ 58105 w 180519"/>
                <a:gd name="connsiteY1045" fmla="*/ 103517 h 248214"/>
                <a:gd name="connsiteX1046" fmla="*/ 58951 w 180519"/>
                <a:gd name="connsiteY1046" fmla="*/ 101824 h 248214"/>
                <a:gd name="connsiteX1047" fmla="*/ 58669 w 180519"/>
                <a:gd name="connsiteY1047" fmla="*/ 101260 h 248214"/>
                <a:gd name="connsiteX1048" fmla="*/ 59515 w 180519"/>
                <a:gd name="connsiteY1048" fmla="*/ 99850 h 248214"/>
                <a:gd name="connsiteX1049" fmla="*/ 59233 w 180519"/>
                <a:gd name="connsiteY1049" fmla="*/ 99286 h 248214"/>
                <a:gd name="connsiteX1050" fmla="*/ 59233 w 180519"/>
                <a:gd name="connsiteY1050" fmla="*/ 98721 h 248214"/>
                <a:gd name="connsiteX1051" fmla="*/ 59797 w 180519"/>
                <a:gd name="connsiteY1051" fmla="*/ 96747 h 248214"/>
                <a:gd name="connsiteX1052" fmla="*/ 60079 w 180519"/>
                <a:gd name="connsiteY1052" fmla="*/ 96183 h 248214"/>
                <a:gd name="connsiteX1053" fmla="*/ 64592 w 180519"/>
                <a:gd name="connsiteY1053" fmla="*/ 77849 h 248214"/>
                <a:gd name="connsiteX1054" fmla="*/ 65720 w 180519"/>
                <a:gd name="connsiteY1054" fmla="*/ 76721 h 248214"/>
                <a:gd name="connsiteX1055" fmla="*/ 65720 w 180519"/>
                <a:gd name="connsiteY1055" fmla="*/ 76439 h 248214"/>
                <a:gd name="connsiteX1056" fmla="*/ 65156 w 180519"/>
                <a:gd name="connsiteY1056" fmla="*/ 75028 h 248214"/>
                <a:gd name="connsiteX1057" fmla="*/ 64592 w 180519"/>
                <a:gd name="connsiteY1057" fmla="*/ 74464 h 248214"/>
                <a:gd name="connsiteX1058" fmla="*/ 65720 w 180519"/>
                <a:gd name="connsiteY1058" fmla="*/ 74182 h 248214"/>
                <a:gd name="connsiteX1059" fmla="*/ 66849 w 180519"/>
                <a:gd name="connsiteY1059" fmla="*/ 73054 h 248214"/>
                <a:gd name="connsiteX1060" fmla="*/ 66566 w 180519"/>
                <a:gd name="connsiteY1060" fmla="*/ 71926 h 248214"/>
                <a:gd name="connsiteX1061" fmla="*/ 67130 w 180519"/>
                <a:gd name="connsiteY1061" fmla="*/ 71079 h 248214"/>
                <a:gd name="connsiteX1062" fmla="*/ 70797 w 180519"/>
                <a:gd name="connsiteY1062" fmla="*/ 58669 h 248214"/>
                <a:gd name="connsiteX1063" fmla="*/ 69105 w 180519"/>
                <a:gd name="connsiteY1063" fmla="*/ 58669 h 248214"/>
                <a:gd name="connsiteX1064" fmla="*/ 67977 w 180519"/>
                <a:gd name="connsiteY1064" fmla="*/ 59233 h 248214"/>
                <a:gd name="connsiteX1065" fmla="*/ 63182 w 180519"/>
                <a:gd name="connsiteY1065" fmla="*/ 60643 h 248214"/>
                <a:gd name="connsiteX1066" fmla="*/ 62618 w 180519"/>
                <a:gd name="connsiteY1066" fmla="*/ 60643 h 248214"/>
                <a:gd name="connsiteX1067" fmla="*/ 61208 w 180519"/>
                <a:gd name="connsiteY1067" fmla="*/ 59797 h 248214"/>
                <a:gd name="connsiteX1068" fmla="*/ 60361 w 180519"/>
                <a:gd name="connsiteY1068" fmla="*/ 59797 h 248214"/>
                <a:gd name="connsiteX1069" fmla="*/ 58951 w 180519"/>
                <a:gd name="connsiteY1069" fmla="*/ 60079 h 248214"/>
                <a:gd name="connsiteX1070" fmla="*/ 58105 w 180519"/>
                <a:gd name="connsiteY1070" fmla="*/ 60925 h 248214"/>
                <a:gd name="connsiteX1071" fmla="*/ 56694 w 180519"/>
                <a:gd name="connsiteY1071" fmla="*/ 60925 h 248214"/>
                <a:gd name="connsiteX1072" fmla="*/ 55566 w 180519"/>
                <a:gd name="connsiteY1072" fmla="*/ 61207 h 248214"/>
                <a:gd name="connsiteX1073" fmla="*/ 54720 w 180519"/>
                <a:gd name="connsiteY1073" fmla="*/ 61771 h 248214"/>
                <a:gd name="connsiteX1074" fmla="*/ 54156 w 180519"/>
                <a:gd name="connsiteY1074" fmla="*/ 61771 h 248214"/>
                <a:gd name="connsiteX1075" fmla="*/ 51053 w 180519"/>
                <a:gd name="connsiteY1075" fmla="*/ 62618 h 248214"/>
                <a:gd name="connsiteX1076" fmla="*/ 47386 w 180519"/>
                <a:gd name="connsiteY1076" fmla="*/ 63182 h 248214"/>
                <a:gd name="connsiteX1077" fmla="*/ 46540 w 180519"/>
                <a:gd name="connsiteY1077" fmla="*/ 63182 h 248214"/>
                <a:gd name="connsiteX1078" fmla="*/ 45130 w 180519"/>
                <a:gd name="connsiteY1078" fmla="*/ 63746 h 248214"/>
                <a:gd name="connsiteX1079" fmla="*/ 44566 w 180519"/>
                <a:gd name="connsiteY1079" fmla="*/ 64028 h 248214"/>
                <a:gd name="connsiteX1080" fmla="*/ 44284 w 180519"/>
                <a:gd name="connsiteY1080" fmla="*/ 63746 h 248214"/>
                <a:gd name="connsiteX1081" fmla="*/ 44284 w 180519"/>
                <a:gd name="connsiteY1081" fmla="*/ 63464 h 248214"/>
                <a:gd name="connsiteX1082" fmla="*/ 44566 w 180519"/>
                <a:gd name="connsiteY1082" fmla="*/ 63182 h 248214"/>
                <a:gd name="connsiteX1083" fmla="*/ 44284 w 180519"/>
                <a:gd name="connsiteY1083" fmla="*/ 63182 h 248214"/>
                <a:gd name="connsiteX1084" fmla="*/ 44284 w 180519"/>
                <a:gd name="connsiteY1084" fmla="*/ 62618 h 248214"/>
                <a:gd name="connsiteX1085" fmla="*/ 43438 w 180519"/>
                <a:gd name="connsiteY1085" fmla="*/ 62900 h 248214"/>
                <a:gd name="connsiteX1086" fmla="*/ 43438 w 180519"/>
                <a:gd name="connsiteY1086" fmla="*/ 63182 h 248214"/>
                <a:gd name="connsiteX1087" fmla="*/ 44002 w 180519"/>
                <a:gd name="connsiteY1087" fmla="*/ 63464 h 248214"/>
                <a:gd name="connsiteX1088" fmla="*/ 42874 w 180519"/>
                <a:gd name="connsiteY1088" fmla="*/ 64310 h 248214"/>
                <a:gd name="connsiteX1089" fmla="*/ 42591 w 180519"/>
                <a:gd name="connsiteY1089" fmla="*/ 64310 h 248214"/>
                <a:gd name="connsiteX1090" fmla="*/ 42310 w 180519"/>
                <a:gd name="connsiteY1090" fmla="*/ 64592 h 248214"/>
                <a:gd name="connsiteX1091" fmla="*/ 42027 w 180519"/>
                <a:gd name="connsiteY1091" fmla="*/ 64592 h 248214"/>
                <a:gd name="connsiteX1092" fmla="*/ 41463 w 180519"/>
                <a:gd name="connsiteY1092" fmla="*/ 64310 h 248214"/>
                <a:gd name="connsiteX1093" fmla="*/ 41745 w 180519"/>
                <a:gd name="connsiteY1093" fmla="*/ 64028 h 248214"/>
                <a:gd name="connsiteX1094" fmla="*/ 41463 w 180519"/>
                <a:gd name="connsiteY1094" fmla="*/ 64028 h 248214"/>
                <a:gd name="connsiteX1095" fmla="*/ 40899 w 180519"/>
                <a:gd name="connsiteY1095" fmla="*/ 63746 h 248214"/>
                <a:gd name="connsiteX1096" fmla="*/ 40899 w 180519"/>
                <a:gd name="connsiteY1096" fmla="*/ 64028 h 248214"/>
                <a:gd name="connsiteX1097" fmla="*/ 39771 w 180519"/>
                <a:gd name="connsiteY1097" fmla="*/ 65438 h 248214"/>
                <a:gd name="connsiteX1098" fmla="*/ 38924 w 180519"/>
                <a:gd name="connsiteY1098" fmla="*/ 65720 h 248214"/>
                <a:gd name="connsiteX1099" fmla="*/ 38360 w 180519"/>
                <a:gd name="connsiteY1099" fmla="*/ 64874 h 248214"/>
                <a:gd name="connsiteX1100" fmla="*/ 36668 w 180519"/>
                <a:gd name="connsiteY1100" fmla="*/ 65720 h 248214"/>
                <a:gd name="connsiteX1101" fmla="*/ 34129 w 180519"/>
                <a:gd name="connsiteY1101" fmla="*/ 66284 h 248214"/>
                <a:gd name="connsiteX1102" fmla="*/ 33001 w 180519"/>
                <a:gd name="connsiteY1102" fmla="*/ 66284 h 248214"/>
                <a:gd name="connsiteX1103" fmla="*/ 32437 w 180519"/>
                <a:gd name="connsiteY1103" fmla="*/ 66849 h 248214"/>
                <a:gd name="connsiteX1104" fmla="*/ 31873 w 180519"/>
                <a:gd name="connsiteY1104" fmla="*/ 66566 h 248214"/>
                <a:gd name="connsiteX1105" fmla="*/ 30462 w 180519"/>
                <a:gd name="connsiteY1105" fmla="*/ 67131 h 248214"/>
                <a:gd name="connsiteX1106" fmla="*/ 27078 w 180519"/>
                <a:gd name="connsiteY1106" fmla="*/ 67977 h 248214"/>
                <a:gd name="connsiteX1107" fmla="*/ 26514 w 180519"/>
                <a:gd name="connsiteY1107" fmla="*/ 67977 h 248214"/>
                <a:gd name="connsiteX1108" fmla="*/ 25104 w 180519"/>
                <a:gd name="connsiteY1108" fmla="*/ 69105 h 248214"/>
                <a:gd name="connsiteX1109" fmla="*/ 23411 w 180519"/>
                <a:gd name="connsiteY1109" fmla="*/ 69105 h 248214"/>
                <a:gd name="connsiteX1110" fmla="*/ 22565 w 180519"/>
                <a:gd name="connsiteY1110" fmla="*/ 68823 h 248214"/>
                <a:gd name="connsiteX1111" fmla="*/ 21719 w 180519"/>
                <a:gd name="connsiteY1111" fmla="*/ 69105 h 248214"/>
                <a:gd name="connsiteX1112" fmla="*/ 19744 w 180519"/>
                <a:gd name="connsiteY1112" fmla="*/ 70515 h 248214"/>
                <a:gd name="connsiteX1113" fmla="*/ 18616 w 180519"/>
                <a:gd name="connsiteY1113" fmla="*/ 70797 h 248214"/>
                <a:gd name="connsiteX1114" fmla="*/ 18052 w 180519"/>
                <a:gd name="connsiteY1114" fmla="*/ 70515 h 248214"/>
                <a:gd name="connsiteX1115" fmla="*/ 16360 w 180519"/>
                <a:gd name="connsiteY1115" fmla="*/ 70515 h 248214"/>
                <a:gd name="connsiteX1116" fmla="*/ 13257 w 180519"/>
                <a:gd name="connsiteY1116" fmla="*/ 72208 h 248214"/>
                <a:gd name="connsiteX1117" fmla="*/ 11000 w 180519"/>
                <a:gd name="connsiteY1117" fmla="*/ 72208 h 248214"/>
                <a:gd name="connsiteX1118" fmla="*/ 2821 w 180519"/>
                <a:gd name="connsiteY1118" fmla="*/ 74746 h 248214"/>
                <a:gd name="connsiteX1119" fmla="*/ 1410 w 180519"/>
                <a:gd name="connsiteY1119" fmla="*/ 75592 h 248214"/>
                <a:gd name="connsiteX1120" fmla="*/ 282 w 180519"/>
                <a:gd name="connsiteY1120" fmla="*/ 76157 h 248214"/>
                <a:gd name="connsiteX1121" fmla="*/ 0 w 180519"/>
                <a:gd name="connsiteY1121" fmla="*/ 75028 h 248214"/>
                <a:gd name="connsiteX1122" fmla="*/ 7898 w 180519"/>
                <a:gd name="connsiteY1122" fmla="*/ 62900 h 248214"/>
                <a:gd name="connsiteX1123" fmla="*/ 8744 w 180519"/>
                <a:gd name="connsiteY1123" fmla="*/ 62900 h 248214"/>
                <a:gd name="connsiteX1124" fmla="*/ 8744 w 180519"/>
                <a:gd name="connsiteY1124" fmla="*/ 63182 h 248214"/>
                <a:gd name="connsiteX1125" fmla="*/ 9872 w 180519"/>
                <a:gd name="connsiteY1125" fmla="*/ 63182 h 248214"/>
                <a:gd name="connsiteX1126" fmla="*/ 9308 w 180519"/>
                <a:gd name="connsiteY1126" fmla="*/ 64028 h 248214"/>
                <a:gd name="connsiteX1127" fmla="*/ 8744 w 180519"/>
                <a:gd name="connsiteY1127" fmla="*/ 65156 h 248214"/>
                <a:gd name="connsiteX1128" fmla="*/ 8744 w 180519"/>
                <a:gd name="connsiteY1128" fmla="*/ 66566 h 248214"/>
                <a:gd name="connsiteX1129" fmla="*/ 9308 w 180519"/>
                <a:gd name="connsiteY1129" fmla="*/ 66566 h 248214"/>
                <a:gd name="connsiteX1130" fmla="*/ 9308 w 180519"/>
                <a:gd name="connsiteY1130" fmla="*/ 66002 h 248214"/>
                <a:gd name="connsiteX1131" fmla="*/ 11000 w 180519"/>
                <a:gd name="connsiteY1131" fmla="*/ 65156 h 248214"/>
                <a:gd name="connsiteX1132" fmla="*/ 11282 w 180519"/>
                <a:gd name="connsiteY1132" fmla="*/ 65156 h 248214"/>
                <a:gd name="connsiteX1133" fmla="*/ 11282 w 180519"/>
                <a:gd name="connsiteY1133" fmla="*/ 65438 h 248214"/>
                <a:gd name="connsiteX1134" fmla="*/ 11000 w 180519"/>
                <a:gd name="connsiteY1134" fmla="*/ 66002 h 248214"/>
                <a:gd name="connsiteX1135" fmla="*/ 11847 w 180519"/>
                <a:gd name="connsiteY1135" fmla="*/ 66284 h 248214"/>
                <a:gd name="connsiteX1136" fmla="*/ 12693 w 180519"/>
                <a:gd name="connsiteY1136" fmla="*/ 66002 h 248214"/>
                <a:gd name="connsiteX1137" fmla="*/ 13257 w 180519"/>
                <a:gd name="connsiteY1137" fmla="*/ 65720 h 248214"/>
                <a:gd name="connsiteX1138" fmla="*/ 13821 w 180519"/>
                <a:gd name="connsiteY1138" fmla="*/ 65720 h 248214"/>
                <a:gd name="connsiteX1139" fmla="*/ 14103 w 180519"/>
                <a:gd name="connsiteY1139" fmla="*/ 66002 h 248214"/>
                <a:gd name="connsiteX1140" fmla="*/ 15513 w 180519"/>
                <a:gd name="connsiteY1140" fmla="*/ 65438 h 248214"/>
                <a:gd name="connsiteX1141" fmla="*/ 16078 w 180519"/>
                <a:gd name="connsiteY1141" fmla="*/ 64874 h 248214"/>
                <a:gd name="connsiteX1142" fmla="*/ 16078 w 180519"/>
                <a:gd name="connsiteY1142" fmla="*/ 64028 h 248214"/>
                <a:gd name="connsiteX1143" fmla="*/ 15513 w 180519"/>
                <a:gd name="connsiteY1143" fmla="*/ 63746 h 248214"/>
                <a:gd name="connsiteX1144" fmla="*/ 15796 w 180519"/>
                <a:gd name="connsiteY1144" fmla="*/ 62618 h 248214"/>
                <a:gd name="connsiteX1145" fmla="*/ 14949 w 180519"/>
                <a:gd name="connsiteY1145" fmla="*/ 62336 h 248214"/>
                <a:gd name="connsiteX1146" fmla="*/ 17206 w 180519"/>
                <a:gd name="connsiteY1146" fmla="*/ 60643 h 248214"/>
                <a:gd name="connsiteX1147" fmla="*/ 21155 w 180519"/>
                <a:gd name="connsiteY1147" fmla="*/ 59515 h 248214"/>
                <a:gd name="connsiteX1148" fmla="*/ 23129 w 180519"/>
                <a:gd name="connsiteY1148" fmla="*/ 59233 h 248214"/>
                <a:gd name="connsiteX1149" fmla="*/ 25668 w 180519"/>
                <a:gd name="connsiteY1149" fmla="*/ 58951 h 248214"/>
                <a:gd name="connsiteX1150" fmla="*/ 26514 w 180519"/>
                <a:gd name="connsiteY1150" fmla="*/ 58951 h 248214"/>
                <a:gd name="connsiteX1151" fmla="*/ 30462 w 180519"/>
                <a:gd name="connsiteY1151" fmla="*/ 57258 h 248214"/>
                <a:gd name="connsiteX1152" fmla="*/ 33001 w 180519"/>
                <a:gd name="connsiteY1152" fmla="*/ 57258 h 248214"/>
                <a:gd name="connsiteX1153" fmla="*/ 34129 w 180519"/>
                <a:gd name="connsiteY1153" fmla="*/ 57541 h 248214"/>
                <a:gd name="connsiteX1154" fmla="*/ 34129 w 180519"/>
                <a:gd name="connsiteY1154" fmla="*/ 57823 h 248214"/>
                <a:gd name="connsiteX1155" fmla="*/ 33283 w 180519"/>
                <a:gd name="connsiteY1155" fmla="*/ 58669 h 248214"/>
                <a:gd name="connsiteX1156" fmla="*/ 31309 w 180519"/>
                <a:gd name="connsiteY1156" fmla="*/ 60079 h 248214"/>
                <a:gd name="connsiteX1157" fmla="*/ 30745 w 180519"/>
                <a:gd name="connsiteY1157" fmla="*/ 60643 h 248214"/>
                <a:gd name="connsiteX1158" fmla="*/ 29898 w 180519"/>
                <a:gd name="connsiteY1158" fmla="*/ 61207 h 248214"/>
                <a:gd name="connsiteX1159" fmla="*/ 29898 w 180519"/>
                <a:gd name="connsiteY1159" fmla="*/ 61489 h 248214"/>
                <a:gd name="connsiteX1160" fmla="*/ 31027 w 180519"/>
                <a:gd name="connsiteY1160" fmla="*/ 61489 h 248214"/>
                <a:gd name="connsiteX1161" fmla="*/ 31873 w 180519"/>
                <a:gd name="connsiteY1161" fmla="*/ 60925 h 248214"/>
                <a:gd name="connsiteX1162" fmla="*/ 32437 w 180519"/>
                <a:gd name="connsiteY1162" fmla="*/ 60079 h 248214"/>
                <a:gd name="connsiteX1163" fmla="*/ 33001 w 180519"/>
                <a:gd name="connsiteY1163" fmla="*/ 59797 h 248214"/>
                <a:gd name="connsiteX1164" fmla="*/ 33283 w 180519"/>
                <a:gd name="connsiteY1164" fmla="*/ 59797 h 248214"/>
                <a:gd name="connsiteX1165" fmla="*/ 33848 w 180519"/>
                <a:gd name="connsiteY1165" fmla="*/ 60925 h 248214"/>
                <a:gd name="connsiteX1166" fmla="*/ 34693 w 180519"/>
                <a:gd name="connsiteY1166" fmla="*/ 61207 h 248214"/>
                <a:gd name="connsiteX1167" fmla="*/ 36104 w 180519"/>
                <a:gd name="connsiteY1167" fmla="*/ 61207 h 248214"/>
                <a:gd name="connsiteX1168" fmla="*/ 37514 w 180519"/>
                <a:gd name="connsiteY1168" fmla="*/ 60643 h 248214"/>
                <a:gd name="connsiteX1169" fmla="*/ 38360 w 180519"/>
                <a:gd name="connsiteY1169" fmla="*/ 60643 h 248214"/>
                <a:gd name="connsiteX1170" fmla="*/ 38360 w 180519"/>
                <a:gd name="connsiteY1170" fmla="*/ 60361 h 248214"/>
                <a:gd name="connsiteX1171" fmla="*/ 39207 w 180519"/>
                <a:gd name="connsiteY1171" fmla="*/ 58669 h 248214"/>
                <a:gd name="connsiteX1172" fmla="*/ 40053 w 180519"/>
                <a:gd name="connsiteY1172" fmla="*/ 58387 h 248214"/>
                <a:gd name="connsiteX1173" fmla="*/ 39771 w 180519"/>
                <a:gd name="connsiteY1173" fmla="*/ 58951 h 248214"/>
                <a:gd name="connsiteX1174" fmla="*/ 39207 w 180519"/>
                <a:gd name="connsiteY1174" fmla="*/ 60361 h 248214"/>
                <a:gd name="connsiteX1175" fmla="*/ 39207 w 180519"/>
                <a:gd name="connsiteY1175" fmla="*/ 60925 h 248214"/>
                <a:gd name="connsiteX1176" fmla="*/ 39771 w 180519"/>
                <a:gd name="connsiteY1176" fmla="*/ 60925 h 248214"/>
                <a:gd name="connsiteX1177" fmla="*/ 41181 w 180519"/>
                <a:gd name="connsiteY1177" fmla="*/ 59515 h 248214"/>
                <a:gd name="connsiteX1178" fmla="*/ 40899 w 180519"/>
                <a:gd name="connsiteY1178" fmla="*/ 58669 h 248214"/>
                <a:gd name="connsiteX1179" fmla="*/ 40899 w 180519"/>
                <a:gd name="connsiteY1179" fmla="*/ 58387 h 248214"/>
                <a:gd name="connsiteX1180" fmla="*/ 41181 w 180519"/>
                <a:gd name="connsiteY1180" fmla="*/ 58105 h 248214"/>
                <a:gd name="connsiteX1181" fmla="*/ 42310 w 180519"/>
                <a:gd name="connsiteY1181" fmla="*/ 56694 h 248214"/>
                <a:gd name="connsiteX1182" fmla="*/ 40899 w 180519"/>
                <a:gd name="connsiteY1182" fmla="*/ 56412 h 248214"/>
                <a:gd name="connsiteX1183" fmla="*/ 40899 w 180519"/>
                <a:gd name="connsiteY1183" fmla="*/ 56130 h 248214"/>
                <a:gd name="connsiteX1184" fmla="*/ 40617 w 180519"/>
                <a:gd name="connsiteY1184" fmla="*/ 56130 h 248214"/>
                <a:gd name="connsiteX1185" fmla="*/ 39771 w 180519"/>
                <a:gd name="connsiteY1185" fmla="*/ 56412 h 248214"/>
                <a:gd name="connsiteX1186" fmla="*/ 38360 w 180519"/>
                <a:gd name="connsiteY1186" fmla="*/ 58105 h 248214"/>
                <a:gd name="connsiteX1187" fmla="*/ 38079 w 180519"/>
                <a:gd name="connsiteY1187" fmla="*/ 57258 h 248214"/>
                <a:gd name="connsiteX1188" fmla="*/ 36668 w 180519"/>
                <a:gd name="connsiteY1188" fmla="*/ 57258 h 248214"/>
                <a:gd name="connsiteX1189" fmla="*/ 18052 w 180519"/>
                <a:gd name="connsiteY1189" fmla="*/ 62053 h 248214"/>
                <a:gd name="connsiteX1190" fmla="*/ 16078 w 180519"/>
                <a:gd name="connsiteY1190" fmla="*/ 64028 h 248214"/>
                <a:gd name="connsiteX1191" fmla="*/ 18052 w 180519"/>
                <a:gd name="connsiteY1191" fmla="*/ 62336 h 248214"/>
                <a:gd name="connsiteX1192" fmla="*/ 18052 w 180519"/>
                <a:gd name="connsiteY1192" fmla="*/ 62053 h 248214"/>
                <a:gd name="connsiteX1193" fmla="*/ 17206 w 180519"/>
                <a:gd name="connsiteY1193" fmla="*/ 66849 h 248214"/>
                <a:gd name="connsiteX1194" fmla="*/ 16360 w 180519"/>
                <a:gd name="connsiteY1194" fmla="*/ 66849 h 248214"/>
                <a:gd name="connsiteX1195" fmla="*/ 16360 w 180519"/>
                <a:gd name="connsiteY1195" fmla="*/ 67977 h 248214"/>
                <a:gd name="connsiteX1196" fmla="*/ 16924 w 180519"/>
                <a:gd name="connsiteY1196" fmla="*/ 67413 h 248214"/>
                <a:gd name="connsiteX1197" fmla="*/ 17206 w 180519"/>
                <a:gd name="connsiteY1197" fmla="*/ 66849 h 248214"/>
                <a:gd name="connsiteX1198" fmla="*/ 20027 w 180519"/>
                <a:gd name="connsiteY1198" fmla="*/ 65720 h 248214"/>
                <a:gd name="connsiteX1199" fmla="*/ 20309 w 180519"/>
                <a:gd name="connsiteY1199" fmla="*/ 65720 h 248214"/>
                <a:gd name="connsiteX1200" fmla="*/ 20591 w 180519"/>
                <a:gd name="connsiteY1200" fmla="*/ 65156 h 248214"/>
                <a:gd name="connsiteX1201" fmla="*/ 21155 w 180519"/>
                <a:gd name="connsiteY1201" fmla="*/ 64592 h 248214"/>
                <a:gd name="connsiteX1202" fmla="*/ 21155 w 180519"/>
                <a:gd name="connsiteY1202" fmla="*/ 64310 h 248214"/>
                <a:gd name="connsiteX1203" fmla="*/ 20873 w 180519"/>
                <a:gd name="connsiteY1203" fmla="*/ 64310 h 248214"/>
                <a:gd name="connsiteX1204" fmla="*/ 19180 w 180519"/>
                <a:gd name="connsiteY1204" fmla="*/ 65156 h 248214"/>
                <a:gd name="connsiteX1205" fmla="*/ 20027 w 180519"/>
                <a:gd name="connsiteY1205" fmla="*/ 65720 h 248214"/>
                <a:gd name="connsiteX1206" fmla="*/ 28206 w 180519"/>
                <a:gd name="connsiteY1206" fmla="*/ 60079 h 248214"/>
                <a:gd name="connsiteX1207" fmla="*/ 26514 w 180519"/>
                <a:gd name="connsiteY1207" fmla="*/ 61489 h 248214"/>
                <a:gd name="connsiteX1208" fmla="*/ 26514 w 180519"/>
                <a:gd name="connsiteY1208" fmla="*/ 61771 h 248214"/>
                <a:gd name="connsiteX1209" fmla="*/ 27078 w 180519"/>
                <a:gd name="connsiteY1209" fmla="*/ 61771 h 248214"/>
                <a:gd name="connsiteX1210" fmla="*/ 27924 w 180519"/>
                <a:gd name="connsiteY1210" fmla="*/ 61207 h 248214"/>
                <a:gd name="connsiteX1211" fmla="*/ 28206 w 180519"/>
                <a:gd name="connsiteY1211" fmla="*/ 60361 h 248214"/>
                <a:gd name="connsiteX1212" fmla="*/ 28206 w 180519"/>
                <a:gd name="connsiteY1212" fmla="*/ 60079 h 248214"/>
                <a:gd name="connsiteX1213" fmla="*/ 38360 w 180519"/>
                <a:gd name="connsiteY1213" fmla="*/ 58669 h 248214"/>
                <a:gd name="connsiteX1214" fmla="*/ 38079 w 180519"/>
                <a:gd name="connsiteY1214" fmla="*/ 59233 h 248214"/>
                <a:gd name="connsiteX1215" fmla="*/ 37796 w 180519"/>
                <a:gd name="connsiteY1215" fmla="*/ 59515 h 248214"/>
                <a:gd name="connsiteX1216" fmla="*/ 37514 w 180519"/>
                <a:gd name="connsiteY1216" fmla="*/ 58951 h 248214"/>
                <a:gd name="connsiteX1217" fmla="*/ 38360 w 180519"/>
                <a:gd name="connsiteY1217" fmla="*/ 58387 h 248214"/>
                <a:gd name="connsiteX1218" fmla="*/ 38360 w 180519"/>
                <a:gd name="connsiteY1218" fmla="*/ 58669 h 248214"/>
                <a:gd name="connsiteX1219" fmla="*/ 45130 w 180519"/>
                <a:gd name="connsiteY1219" fmla="*/ 236649 h 248214"/>
                <a:gd name="connsiteX1220" fmla="*/ 44848 w 180519"/>
                <a:gd name="connsiteY1220" fmla="*/ 236367 h 248214"/>
                <a:gd name="connsiteX1221" fmla="*/ 45130 w 180519"/>
                <a:gd name="connsiteY1221" fmla="*/ 236085 h 248214"/>
                <a:gd name="connsiteX1222" fmla="*/ 45130 w 180519"/>
                <a:gd name="connsiteY1222" fmla="*/ 236649 h 248214"/>
                <a:gd name="connsiteX1223" fmla="*/ 59233 w 180519"/>
                <a:gd name="connsiteY1223" fmla="*/ 203366 h 248214"/>
                <a:gd name="connsiteX1224" fmla="*/ 60079 w 180519"/>
                <a:gd name="connsiteY1224" fmla="*/ 202520 h 248214"/>
                <a:gd name="connsiteX1225" fmla="*/ 59797 w 180519"/>
                <a:gd name="connsiteY1225" fmla="*/ 201674 h 248214"/>
                <a:gd name="connsiteX1226" fmla="*/ 60361 w 180519"/>
                <a:gd name="connsiteY1226" fmla="*/ 201110 h 248214"/>
                <a:gd name="connsiteX1227" fmla="*/ 59233 w 180519"/>
                <a:gd name="connsiteY1227" fmla="*/ 200264 h 248214"/>
                <a:gd name="connsiteX1228" fmla="*/ 59515 w 180519"/>
                <a:gd name="connsiteY1228" fmla="*/ 202520 h 248214"/>
                <a:gd name="connsiteX1229" fmla="*/ 58951 w 180519"/>
                <a:gd name="connsiteY1229" fmla="*/ 203084 h 248214"/>
                <a:gd name="connsiteX1230" fmla="*/ 58669 w 180519"/>
                <a:gd name="connsiteY1230" fmla="*/ 203084 h 248214"/>
                <a:gd name="connsiteX1231" fmla="*/ 58951 w 180519"/>
                <a:gd name="connsiteY1231" fmla="*/ 203366 h 248214"/>
                <a:gd name="connsiteX1232" fmla="*/ 59233 w 180519"/>
                <a:gd name="connsiteY1232" fmla="*/ 203366 h 248214"/>
                <a:gd name="connsiteX1233" fmla="*/ 59515 w 180519"/>
                <a:gd name="connsiteY1233" fmla="*/ 210700 h 248214"/>
                <a:gd name="connsiteX1234" fmla="*/ 59515 w 180519"/>
                <a:gd name="connsiteY1234" fmla="*/ 212392 h 248214"/>
                <a:gd name="connsiteX1235" fmla="*/ 60361 w 180519"/>
                <a:gd name="connsiteY1235" fmla="*/ 212674 h 248214"/>
                <a:gd name="connsiteX1236" fmla="*/ 60925 w 180519"/>
                <a:gd name="connsiteY1236" fmla="*/ 212674 h 248214"/>
                <a:gd name="connsiteX1237" fmla="*/ 60644 w 180519"/>
                <a:gd name="connsiteY1237" fmla="*/ 212392 h 248214"/>
                <a:gd name="connsiteX1238" fmla="*/ 60644 w 180519"/>
                <a:gd name="connsiteY1238" fmla="*/ 210700 h 248214"/>
                <a:gd name="connsiteX1239" fmla="*/ 59515 w 180519"/>
                <a:gd name="connsiteY1239" fmla="*/ 210700 h 248214"/>
                <a:gd name="connsiteX1240" fmla="*/ 59515 w 180519"/>
                <a:gd name="connsiteY1240" fmla="*/ 220008 h 248214"/>
                <a:gd name="connsiteX1241" fmla="*/ 59797 w 180519"/>
                <a:gd name="connsiteY1241" fmla="*/ 220854 h 248214"/>
                <a:gd name="connsiteX1242" fmla="*/ 60079 w 180519"/>
                <a:gd name="connsiteY1242" fmla="*/ 221136 h 248214"/>
                <a:gd name="connsiteX1243" fmla="*/ 60079 w 180519"/>
                <a:gd name="connsiteY1243" fmla="*/ 220854 h 248214"/>
                <a:gd name="connsiteX1244" fmla="*/ 60644 w 180519"/>
                <a:gd name="connsiteY1244" fmla="*/ 219726 h 248214"/>
                <a:gd name="connsiteX1245" fmla="*/ 59797 w 180519"/>
                <a:gd name="connsiteY1245" fmla="*/ 219162 h 248214"/>
                <a:gd name="connsiteX1246" fmla="*/ 59515 w 180519"/>
                <a:gd name="connsiteY1246" fmla="*/ 219726 h 248214"/>
                <a:gd name="connsiteX1247" fmla="*/ 59515 w 180519"/>
                <a:gd name="connsiteY1247" fmla="*/ 220008 h 248214"/>
                <a:gd name="connsiteX1248" fmla="*/ 59797 w 180519"/>
                <a:gd name="connsiteY1248" fmla="*/ 187007 h 248214"/>
                <a:gd name="connsiteX1249" fmla="*/ 60079 w 180519"/>
                <a:gd name="connsiteY1249" fmla="*/ 186725 h 248214"/>
                <a:gd name="connsiteX1250" fmla="*/ 62336 w 180519"/>
                <a:gd name="connsiteY1250" fmla="*/ 185878 h 248214"/>
                <a:gd name="connsiteX1251" fmla="*/ 62618 w 180519"/>
                <a:gd name="connsiteY1251" fmla="*/ 186725 h 248214"/>
                <a:gd name="connsiteX1252" fmla="*/ 60644 w 180519"/>
                <a:gd name="connsiteY1252" fmla="*/ 187289 h 248214"/>
                <a:gd name="connsiteX1253" fmla="*/ 59797 w 180519"/>
                <a:gd name="connsiteY1253" fmla="*/ 187007 h 248214"/>
                <a:gd name="connsiteX1254" fmla="*/ 60079 w 180519"/>
                <a:gd name="connsiteY1254" fmla="*/ 205059 h 248214"/>
                <a:gd name="connsiteX1255" fmla="*/ 59797 w 180519"/>
                <a:gd name="connsiteY1255" fmla="*/ 205341 h 248214"/>
                <a:gd name="connsiteX1256" fmla="*/ 60079 w 180519"/>
                <a:gd name="connsiteY1256" fmla="*/ 205623 h 248214"/>
                <a:gd name="connsiteX1257" fmla="*/ 60079 w 180519"/>
                <a:gd name="connsiteY1257" fmla="*/ 205059 h 248214"/>
                <a:gd name="connsiteX1258" fmla="*/ 60644 w 180519"/>
                <a:gd name="connsiteY1258" fmla="*/ 188417 h 248214"/>
                <a:gd name="connsiteX1259" fmla="*/ 60925 w 180519"/>
                <a:gd name="connsiteY1259" fmla="*/ 188135 h 248214"/>
                <a:gd name="connsiteX1260" fmla="*/ 61208 w 180519"/>
                <a:gd name="connsiteY1260" fmla="*/ 188417 h 248214"/>
                <a:gd name="connsiteX1261" fmla="*/ 60644 w 180519"/>
                <a:gd name="connsiteY1261" fmla="*/ 188417 h 248214"/>
                <a:gd name="connsiteX1262" fmla="*/ 61208 w 180519"/>
                <a:gd name="connsiteY1262" fmla="*/ 176288 h 248214"/>
                <a:gd name="connsiteX1263" fmla="*/ 60925 w 180519"/>
                <a:gd name="connsiteY1263" fmla="*/ 176006 h 248214"/>
                <a:gd name="connsiteX1264" fmla="*/ 61489 w 180519"/>
                <a:gd name="connsiteY1264" fmla="*/ 175724 h 248214"/>
                <a:gd name="connsiteX1265" fmla="*/ 62054 w 180519"/>
                <a:gd name="connsiteY1265" fmla="*/ 176006 h 248214"/>
                <a:gd name="connsiteX1266" fmla="*/ 61489 w 180519"/>
                <a:gd name="connsiteY1266" fmla="*/ 176288 h 248214"/>
                <a:gd name="connsiteX1267" fmla="*/ 61208 w 180519"/>
                <a:gd name="connsiteY1267" fmla="*/ 176288 h 248214"/>
                <a:gd name="connsiteX1268" fmla="*/ 61208 w 180519"/>
                <a:gd name="connsiteY1268" fmla="*/ 184750 h 248214"/>
                <a:gd name="connsiteX1269" fmla="*/ 61208 w 180519"/>
                <a:gd name="connsiteY1269" fmla="*/ 183904 h 248214"/>
                <a:gd name="connsiteX1270" fmla="*/ 62054 w 180519"/>
                <a:gd name="connsiteY1270" fmla="*/ 183340 h 248214"/>
                <a:gd name="connsiteX1271" fmla="*/ 62618 w 180519"/>
                <a:gd name="connsiteY1271" fmla="*/ 183622 h 248214"/>
                <a:gd name="connsiteX1272" fmla="*/ 62336 w 180519"/>
                <a:gd name="connsiteY1272" fmla="*/ 184186 h 248214"/>
                <a:gd name="connsiteX1273" fmla="*/ 61772 w 180519"/>
                <a:gd name="connsiteY1273" fmla="*/ 184750 h 248214"/>
                <a:gd name="connsiteX1274" fmla="*/ 61208 w 180519"/>
                <a:gd name="connsiteY1274" fmla="*/ 184750 h 248214"/>
                <a:gd name="connsiteX1275" fmla="*/ 62054 w 180519"/>
                <a:gd name="connsiteY1275" fmla="*/ 188981 h 248214"/>
                <a:gd name="connsiteX1276" fmla="*/ 62054 w 180519"/>
                <a:gd name="connsiteY1276" fmla="*/ 189263 h 248214"/>
                <a:gd name="connsiteX1277" fmla="*/ 61489 w 180519"/>
                <a:gd name="connsiteY1277" fmla="*/ 188981 h 248214"/>
                <a:gd name="connsiteX1278" fmla="*/ 61489 w 180519"/>
                <a:gd name="connsiteY1278" fmla="*/ 188699 h 248214"/>
                <a:gd name="connsiteX1279" fmla="*/ 61208 w 180519"/>
                <a:gd name="connsiteY1279" fmla="*/ 188417 h 248214"/>
                <a:gd name="connsiteX1280" fmla="*/ 61772 w 180519"/>
                <a:gd name="connsiteY1280" fmla="*/ 188417 h 248214"/>
                <a:gd name="connsiteX1281" fmla="*/ 62054 w 180519"/>
                <a:gd name="connsiteY1281" fmla="*/ 188981 h 248214"/>
                <a:gd name="connsiteX1282" fmla="*/ 61489 w 180519"/>
                <a:gd name="connsiteY1282" fmla="*/ 181648 h 248214"/>
                <a:gd name="connsiteX1283" fmla="*/ 62336 w 180519"/>
                <a:gd name="connsiteY1283" fmla="*/ 181648 h 248214"/>
                <a:gd name="connsiteX1284" fmla="*/ 62618 w 180519"/>
                <a:gd name="connsiteY1284" fmla="*/ 182212 h 248214"/>
                <a:gd name="connsiteX1285" fmla="*/ 62336 w 180519"/>
                <a:gd name="connsiteY1285" fmla="*/ 183058 h 248214"/>
                <a:gd name="connsiteX1286" fmla="*/ 61489 w 180519"/>
                <a:gd name="connsiteY1286" fmla="*/ 182494 h 248214"/>
                <a:gd name="connsiteX1287" fmla="*/ 61489 w 180519"/>
                <a:gd name="connsiteY1287" fmla="*/ 181648 h 248214"/>
                <a:gd name="connsiteX1288" fmla="*/ 62336 w 180519"/>
                <a:gd name="connsiteY1288" fmla="*/ 178545 h 248214"/>
                <a:gd name="connsiteX1289" fmla="*/ 61772 w 180519"/>
                <a:gd name="connsiteY1289" fmla="*/ 178545 h 248214"/>
                <a:gd name="connsiteX1290" fmla="*/ 62054 w 180519"/>
                <a:gd name="connsiteY1290" fmla="*/ 178263 h 248214"/>
                <a:gd name="connsiteX1291" fmla="*/ 62336 w 180519"/>
                <a:gd name="connsiteY1291" fmla="*/ 178545 h 248214"/>
                <a:gd name="connsiteX1292" fmla="*/ 63182 w 180519"/>
                <a:gd name="connsiteY1292" fmla="*/ 168109 h 248214"/>
                <a:gd name="connsiteX1293" fmla="*/ 63746 w 180519"/>
                <a:gd name="connsiteY1293" fmla="*/ 168673 h 248214"/>
                <a:gd name="connsiteX1294" fmla="*/ 63182 w 180519"/>
                <a:gd name="connsiteY1294" fmla="*/ 169237 h 248214"/>
                <a:gd name="connsiteX1295" fmla="*/ 62618 w 180519"/>
                <a:gd name="connsiteY1295" fmla="*/ 168955 h 248214"/>
                <a:gd name="connsiteX1296" fmla="*/ 63182 w 180519"/>
                <a:gd name="connsiteY1296" fmla="*/ 168109 h 248214"/>
                <a:gd name="connsiteX1297" fmla="*/ 65438 w 180519"/>
                <a:gd name="connsiteY1297" fmla="*/ 136800 h 248214"/>
                <a:gd name="connsiteX1298" fmla="*/ 66566 w 180519"/>
                <a:gd name="connsiteY1298" fmla="*/ 136518 h 248214"/>
                <a:gd name="connsiteX1299" fmla="*/ 65720 w 180519"/>
                <a:gd name="connsiteY1299" fmla="*/ 135954 h 248214"/>
                <a:gd name="connsiteX1300" fmla="*/ 65438 w 180519"/>
                <a:gd name="connsiteY1300" fmla="*/ 136518 h 248214"/>
                <a:gd name="connsiteX1301" fmla="*/ 65438 w 180519"/>
                <a:gd name="connsiteY1301" fmla="*/ 136800 h 248214"/>
                <a:gd name="connsiteX1302" fmla="*/ 65438 w 180519"/>
                <a:gd name="connsiteY1302" fmla="*/ 153159 h 248214"/>
                <a:gd name="connsiteX1303" fmla="*/ 65438 w 180519"/>
                <a:gd name="connsiteY1303" fmla="*/ 151467 h 248214"/>
                <a:gd name="connsiteX1304" fmla="*/ 66002 w 180519"/>
                <a:gd name="connsiteY1304" fmla="*/ 151185 h 248214"/>
                <a:gd name="connsiteX1305" fmla="*/ 66566 w 180519"/>
                <a:gd name="connsiteY1305" fmla="*/ 151467 h 248214"/>
                <a:gd name="connsiteX1306" fmla="*/ 65720 w 180519"/>
                <a:gd name="connsiteY1306" fmla="*/ 152877 h 248214"/>
                <a:gd name="connsiteX1307" fmla="*/ 65438 w 180519"/>
                <a:gd name="connsiteY1307" fmla="*/ 153159 h 248214"/>
                <a:gd name="connsiteX1308" fmla="*/ 69387 w 180519"/>
                <a:gd name="connsiteY1308" fmla="*/ 132569 h 248214"/>
                <a:gd name="connsiteX1309" fmla="*/ 67977 w 180519"/>
                <a:gd name="connsiteY1309" fmla="*/ 131441 h 248214"/>
                <a:gd name="connsiteX1310" fmla="*/ 67977 w 180519"/>
                <a:gd name="connsiteY1310" fmla="*/ 131159 h 248214"/>
                <a:gd name="connsiteX1311" fmla="*/ 69387 w 180519"/>
                <a:gd name="connsiteY1311" fmla="*/ 130594 h 248214"/>
                <a:gd name="connsiteX1312" fmla="*/ 70516 w 180519"/>
                <a:gd name="connsiteY1312" fmla="*/ 131159 h 248214"/>
                <a:gd name="connsiteX1313" fmla="*/ 70516 w 180519"/>
                <a:gd name="connsiteY1313" fmla="*/ 131723 h 248214"/>
                <a:gd name="connsiteX1314" fmla="*/ 69669 w 180519"/>
                <a:gd name="connsiteY1314" fmla="*/ 132569 h 248214"/>
                <a:gd name="connsiteX1315" fmla="*/ 69387 w 180519"/>
                <a:gd name="connsiteY1315" fmla="*/ 132569 h 248214"/>
                <a:gd name="connsiteX1316" fmla="*/ 72490 w 180519"/>
                <a:gd name="connsiteY1316" fmla="*/ 49361 h 248214"/>
                <a:gd name="connsiteX1317" fmla="*/ 71926 w 180519"/>
                <a:gd name="connsiteY1317" fmla="*/ 49643 h 248214"/>
                <a:gd name="connsiteX1318" fmla="*/ 72490 w 180519"/>
                <a:gd name="connsiteY1318" fmla="*/ 49361 h 248214"/>
                <a:gd name="connsiteX1319" fmla="*/ 83490 w 180519"/>
                <a:gd name="connsiteY1319" fmla="*/ 237778 h 248214"/>
                <a:gd name="connsiteX1320" fmla="*/ 83208 w 180519"/>
                <a:gd name="connsiteY1320" fmla="*/ 237496 h 248214"/>
                <a:gd name="connsiteX1321" fmla="*/ 83490 w 180519"/>
                <a:gd name="connsiteY1321" fmla="*/ 236932 h 248214"/>
                <a:gd name="connsiteX1322" fmla="*/ 83490 w 180519"/>
                <a:gd name="connsiteY1322" fmla="*/ 237778 h 248214"/>
                <a:gd name="connsiteX1323" fmla="*/ 89131 w 180519"/>
                <a:gd name="connsiteY1323" fmla="*/ 218598 h 248214"/>
                <a:gd name="connsiteX1324" fmla="*/ 88850 w 180519"/>
                <a:gd name="connsiteY1324" fmla="*/ 218315 h 248214"/>
                <a:gd name="connsiteX1325" fmla="*/ 88003 w 180519"/>
                <a:gd name="connsiteY1325" fmla="*/ 219444 h 248214"/>
                <a:gd name="connsiteX1326" fmla="*/ 88285 w 180519"/>
                <a:gd name="connsiteY1326" fmla="*/ 219726 h 248214"/>
                <a:gd name="connsiteX1327" fmla="*/ 89131 w 180519"/>
                <a:gd name="connsiteY1327" fmla="*/ 218598 h 248214"/>
                <a:gd name="connsiteX1328" fmla="*/ 94773 w 180519"/>
                <a:gd name="connsiteY1328" fmla="*/ 205059 h 248214"/>
                <a:gd name="connsiteX1329" fmla="*/ 95619 w 180519"/>
                <a:gd name="connsiteY1329" fmla="*/ 204777 h 248214"/>
                <a:gd name="connsiteX1330" fmla="*/ 95337 w 180519"/>
                <a:gd name="connsiteY1330" fmla="*/ 204495 h 248214"/>
                <a:gd name="connsiteX1331" fmla="*/ 94773 w 180519"/>
                <a:gd name="connsiteY1331" fmla="*/ 203930 h 248214"/>
                <a:gd name="connsiteX1332" fmla="*/ 94209 w 180519"/>
                <a:gd name="connsiteY1332" fmla="*/ 204495 h 248214"/>
                <a:gd name="connsiteX1333" fmla="*/ 94773 w 180519"/>
                <a:gd name="connsiteY1333" fmla="*/ 205059 h 248214"/>
                <a:gd name="connsiteX1334" fmla="*/ 101542 w 180519"/>
                <a:gd name="connsiteY1334" fmla="*/ 202802 h 248214"/>
                <a:gd name="connsiteX1335" fmla="*/ 101260 w 180519"/>
                <a:gd name="connsiteY1335" fmla="*/ 203084 h 248214"/>
                <a:gd name="connsiteX1336" fmla="*/ 101260 w 180519"/>
                <a:gd name="connsiteY1336" fmla="*/ 203366 h 248214"/>
                <a:gd name="connsiteX1337" fmla="*/ 100132 w 180519"/>
                <a:gd name="connsiteY1337" fmla="*/ 203366 h 248214"/>
                <a:gd name="connsiteX1338" fmla="*/ 100132 w 180519"/>
                <a:gd name="connsiteY1338" fmla="*/ 203084 h 248214"/>
                <a:gd name="connsiteX1339" fmla="*/ 100696 w 180519"/>
                <a:gd name="connsiteY1339" fmla="*/ 202520 h 248214"/>
                <a:gd name="connsiteX1340" fmla="*/ 100132 w 180519"/>
                <a:gd name="connsiteY1340" fmla="*/ 201674 h 248214"/>
                <a:gd name="connsiteX1341" fmla="*/ 100132 w 180519"/>
                <a:gd name="connsiteY1341" fmla="*/ 201392 h 248214"/>
                <a:gd name="connsiteX1342" fmla="*/ 100414 w 180519"/>
                <a:gd name="connsiteY1342" fmla="*/ 200828 h 248214"/>
                <a:gd name="connsiteX1343" fmla="*/ 100978 w 180519"/>
                <a:gd name="connsiteY1343" fmla="*/ 200264 h 248214"/>
                <a:gd name="connsiteX1344" fmla="*/ 101542 w 180519"/>
                <a:gd name="connsiteY1344" fmla="*/ 200828 h 248214"/>
                <a:gd name="connsiteX1345" fmla="*/ 101542 w 180519"/>
                <a:gd name="connsiteY1345" fmla="*/ 202802 h 248214"/>
                <a:gd name="connsiteX1346" fmla="*/ 104363 w 180519"/>
                <a:gd name="connsiteY1346" fmla="*/ 49079 h 248214"/>
                <a:gd name="connsiteX1347" fmla="*/ 105773 w 180519"/>
                <a:gd name="connsiteY1347" fmla="*/ 48515 h 248214"/>
                <a:gd name="connsiteX1348" fmla="*/ 106055 w 180519"/>
                <a:gd name="connsiteY1348" fmla="*/ 47668 h 248214"/>
                <a:gd name="connsiteX1349" fmla="*/ 105773 w 180519"/>
                <a:gd name="connsiteY1349" fmla="*/ 47386 h 248214"/>
                <a:gd name="connsiteX1350" fmla="*/ 104081 w 180519"/>
                <a:gd name="connsiteY1350" fmla="*/ 48515 h 248214"/>
                <a:gd name="connsiteX1351" fmla="*/ 103798 w 180519"/>
                <a:gd name="connsiteY1351" fmla="*/ 49079 h 248214"/>
                <a:gd name="connsiteX1352" fmla="*/ 103798 w 180519"/>
                <a:gd name="connsiteY1352" fmla="*/ 49361 h 248214"/>
                <a:gd name="connsiteX1353" fmla="*/ 104363 w 180519"/>
                <a:gd name="connsiteY1353" fmla="*/ 49079 h 248214"/>
                <a:gd name="connsiteX1354" fmla="*/ 108876 w 180519"/>
                <a:gd name="connsiteY1354" fmla="*/ 176288 h 248214"/>
                <a:gd name="connsiteX1355" fmla="*/ 109158 w 180519"/>
                <a:gd name="connsiteY1355" fmla="*/ 177135 h 248214"/>
                <a:gd name="connsiteX1356" fmla="*/ 109440 w 180519"/>
                <a:gd name="connsiteY1356" fmla="*/ 177417 h 248214"/>
                <a:gd name="connsiteX1357" fmla="*/ 110286 w 180519"/>
                <a:gd name="connsiteY1357" fmla="*/ 176288 h 248214"/>
                <a:gd name="connsiteX1358" fmla="*/ 108876 w 180519"/>
                <a:gd name="connsiteY1358" fmla="*/ 176288 h 248214"/>
                <a:gd name="connsiteX1359" fmla="*/ 109722 w 180519"/>
                <a:gd name="connsiteY1359" fmla="*/ 45694 h 248214"/>
                <a:gd name="connsiteX1360" fmla="*/ 110004 w 180519"/>
                <a:gd name="connsiteY1360" fmla="*/ 45130 h 248214"/>
                <a:gd name="connsiteX1361" fmla="*/ 110004 w 180519"/>
                <a:gd name="connsiteY1361" fmla="*/ 44848 h 248214"/>
                <a:gd name="connsiteX1362" fmla="*/ 109722 w 180519"/>
                <a:gd name="connsiteY1362" fmla="*/ 45130 h 248214"/>
                <a:gd name="connsiteX1363" fmla="*/ 109722 w 180519"/>
                <a:gd name="connsiteY1363" fmla="*/ 45694 h 248214"/>
                <a:gd name="connsiteX1364" fmla="*/ 111979 w 180519"/>
                <a:gd name="connsiteY1364" fmla="*/ 155980 h 248214"/>
                <a:gd name="connsiteX1365" fmla="*/ 110568 w 180519"/>
                <a:gd name="connsiteY1365" fmla="*/ 155416 h 248214"/>
                <a:gd name="connsiteX1366" fmla="*/ 110568 w 180519"/>
                <a:gd name="connsiteY1366" fmla="*/ 155980 h 248214"/>
                <a:gd name="connsiteX1367" fmla="*/ 111415 w 180519"/>
                <a:gd name="connsiteY1367" fmla="*/ 156544 h 248214"/>
                <a:gd name="connsiteX1368" fmla="*/ 111979 w 180519"/>
                <a:gd name="connsiteY1368" fmla="*/ 155980 h 248214"/>
                <a:gd name="connsiteX1369" fmla="*/ 113107 w 180519"/>
                <a:gd name="connsiteY1369" fmla="*/ 153723 h 248214"/>
                <a:gd name="connsiteX1370" fmla="*/ 113107 w 180519"/>
                <a:gd name="connsiteY1370" fmla="*/ 152313 h 248214"/>
                <a:gd name="connsiteX1371" fmla="*/ 112260 w 180519"/>
                <a:gd name="connsiteY1371" fmla="*/ 152313 h 248214"/>
                <a:gd name="connsiteX1372" fmla="*/ 112260 w 180519"/>
                <a:gd name="connsiteY1372" fmla="*/ 152595 h 248214"/>
                <a:gd name="connsiteX1373" fmla="*/ 111979 w 180519"/>
                <a:gd name="connsiteY1373" fmla="*/ 153441 h 248214"/>
                <a:gd name="connsiteX1374" fmla="*/ 112260 w 180519"/>
                <a:gd name="connsiteY1374" fmla="*/ 154006 h 248214"/>
                <a:gd name="connsiteX1375" fmla="*/ 113107 w 180519"/>
                <a:gd name="connsiteY1375" fmla="*/ 153723 h 248214"/>
                <a:gd name="connsiteX1376" fmla="*/ 114799 w 180519"/>
                <a:gd name="connsiteY1376" fmla="*/ 49361 h 248214"/>
                <a:gd name="connsiteX1377" fmla="*/ 115927 w 180519"/>
                <a:gd name="connsiteY1377" fmla="*/ 48797 h 248214"/>
                <a:gd name="connsiteX1378" fmla="*/ 115363 w 180519"/>
                <a:gd name="connsiteY1378" fmla="*/ 48797 h 248214"/>
                <a:gd name="connsiteX1379" fmla="*/ 114799 w 180519"/>
                <a:gd name="connsiteY1379" fmla="*/ 48515 h 248214"/>
                <a:gd name="connsiteX1380" fmla="*/ 113953 w 180519"/>
                <a:gd name="connsiteY1380" fmla="*/ 48797 h 248214"/>
                <a:gd name="connsiteX1381" fmla="*/ 113671 w 180519"/>
                <a:gd name="connsiteY1381" fmla="*/ 48797 h 248214"/>
                <a:gd name="connsiteX1382" fmla="*/ 113389 w 180519"/>
                <a:gd name="connsiteY1382" fmla="*/ 49079 h 248214"/>
                <a:gd name="connsiteX1383" fmla="*/ 113953 w 180519"/>
                <a:gd name="connsiteY1383" fmla="*/ 49361 h 248214"/>
                <a:gd name="connsiteX1384" fmla="*/ 114799 w 180519"/>
                <a:gd name="connsiteY1384" fmla="*/ 49361 h 248214"/>
                <a:gd name="connsiteX1385" fmla="*/ 115646 w 180519"/>
                <a:gd name="connsiteY1385" fmla="*/ 167827 h 248214"/>
                <a:gd name="connsiteX1386" fmla="*/ 115646 w 180519"/>
                <a:gd name="connsiteY1386" fmla="*/ 168109 h 248214"/>
                <a:gd name="connsiteX1387" fmla="*/ 114799 w 180519"/>
                <a:gd name="connsiteY1387" fmla="*/ 168673 h 248214"/>
                <a:gd name="connsiteX1388" fmla="*/ 114799 w 180519"/>
                <a:gd name="connsiteY1388" fmla="*/ 168391 h 248214"/>
                <a:gd name="connsiteX1389" fmla="*/ 114235 w 180519"/>
                <a:gd name="connsiteY1389" fmla="*/ 167827 h 248214"/>
                <a:gd name="connsiteX1390" fmla="*/ 115081 w 180519"/>
                <a:gd name="connsiteY1390" fmla="*/ 167262 h 248214"/>
                <a:gd name="connsiteX1391" fmla="*/ 115927 w 180519"/>
                <a:gd name="connsiteY1391" fmla="*/ 167262 h 248214"/>
                <a:gd name="connsiteX1392" fmla="*/ 115646 w 180519"/>
                <a:gd name="connsiteY1392" fmla="*/ 167827 h 248214"/>
                <a:gd name="connsiteX1393" fmla="*/ 115646 w 180519"/>
                <a:gd name="connsiteY1393" fmla="*/ 169519 h 248214"/>
                <a:gd name="connsiteX1394" fmla="*/ 115927 w 180519"/>
                <a:gd name="connsiteY1394" fmla="*/ 169801 h 248214"/>
                <a:gd name="connsiteX1395" fmla="*/ 115081 w 180519"/>
                <a:gd name="connsiteY1395" fmla="*/ 170365 h 248214"/>
                <a:gd name="connsiteX1396" fmla="*/ 115081 w 180519"/>
                <a:gd name="connsiteY1396" fmla="*/ 170083 h 248214"/>
                <a:gd name="connsiteX1397" fmla="*/ 114799 w 180519"/>
                <a:gd name="connsiteY1397" fmla="*/ 169801 h 248214"/>
                <a:gd name="connsiteX1398" fmla="*/ 114235 w 180519"/>
                <a:gd name="connsiteY1398" fmla="*/ 169519 h 248214"/>
                <a:gd name="connsiteX1399" fmla="*/ 115646 w 180519"/>
                <a:gd name="connsiteY1399" fmla="*/ 169519 h 248214"/>
                <a:gd name="connsiteX1400" fmla="*/ 116210 w 180519"/>
                <a:gd name="connsiteY1400" fmla="*/ 47386 h 248214"/>
                <a:gd name="connsiteX1401" fmla="*/ 116774 w 180519"/>
                <a:gd name="connsiteY1401" fmla="*/ 46540 h 248214"/>
                <a:gd name="connsiteX1402" fmla="*/ 116774 w 180519"/>
                <a:gd name="connsiteY1402" fmla="*/ 46258 h 248214"/>
                <a:gd name="connsiteX1403" fmla="*/ 115363 w 180519"/>
                <a:gd name="connsiteY1403" fmla="*/ 46540 h 248214"/>
                <a:gd name="connsiteX1404" fmla="*/ 115081 w 180519"/>
                <a:gd name="connsiteY1404" fmla="*/ 48232 h 248214"/>
                <a:gd name="connsiteX1405" fmla="*/ 116210 w 180519"/>
                <a:gd name="connsiteY1405" fmla="*/ 47386 h 248214"/>
                <a:gd name="connsiteX1406" fmla="*/ 117338 w 180519"/>
                <a:gd name="connsiteY1406" fmla="*/ 162749 h 248214"/>
                <a:gd name="connsiteX1407" fmla="*/ 117056 w 180519"/>
                <a:gd name="connsiteY1407" fmla="*/ 162467 h 248214"/>
                <a:gd name="connsiteX1408" fmla="*/ 117338 w 180519"/>
                <a:gd name="connsiteY1408" fmla="*/ 162185 h 248214"/>
                <a:gd name="connsiteX1409" fmla="*/ 117620 w 180519"/>
                <a:gd name="connsiteY1409" fmla="*/ 162185 h 248214"/>
                <a:gd name="connsiteX1410" fmla="*/ 117902 w 180519"/>
                <a:gd name="connsiteY1410" fmla="*/ 162467 h 248214"/>
                <a:gd name="connsiteX1411" fmla="*/ 118466 w 180519"/>
                <a:gd name="connsiteY1411" fmla="*/ 162749 h 248214"/>
                <a:gd name="connsiteX1412" fmla="*/ 117620 w 180519"/>
                <a:gd name="connsiteY1412" fmla="*/ 163314 h 248214"/>
                <a:gd name="connsiteX1413" fmla="*/ 117338 w 180519"/>
                <a:gd name="connsiteY1413" fmla="*/ 162749 h 248214"/>
                <a:gd name="connsiteX1414" fmla="*/ 120440 w 180519"/>
                <a:gd name="connsiteY1414" fmla="*/ 51335 h 248214"/>
                <a:gd name="connsiteX1415" fmla="*/ 120158 w 180519"/>
                <a:gd name="connsiteY1415" fmla="*/ 51053 h 248214"/>
                <a:gd name="connsiteX1416" fmla="*/ 119594 w 180519"/>
                <a:gd name="connsiteY1416" fmla="*/ 51335 h 248214"/>
                <a:gd name="connsiteX1417" fmla="*/ 120440 w 180519"/>
                <a:gd name="connsiteY1417" fmla="*/ 51335 h 248214"/>
                <a:gd name="connsiteX1418" fmla="*/ 121568 w 180519"/>
                <a:gd name="connsiteY1418" fmla="*/ 45976 h 248214"/>
                <a:gd name="connsiteX1419" fmla="*/ 121568 w 180519"/>
                <a:gd name="connsiteY1419" fmla="*/ 45694 h 248214"/>
                <a:gd name="connsiteX1420" fmla="*/ 121287 w 180519"/>
                <a:gd name="connsiteY1420" fmla="*/ 45694 h 248214"/>
                <a:gd name="connsiteX1421" fmla="*/ 121004 w 180519"/>
                <a:gd name="connsiteY1421" fmla="*/ 46258 h 248214"/>
                <a:gd name="connsiteX1422" fmla="*/ 121568 w 180519"/>
                <a:gd name="connsiteY1422" fmla="*/ 45976 h 248214"/>
                <a:gd name="connsiteX1423" fmla="*/ 121851 w 180519"/>
                <a:gd name="connsiteY1423" fmla="*/ 152313 h 248214"/>
                <a:gd name="connsiteX1424" fmla="*/ 121568 w 180519"/>
                <a:gd name="connsiteY1424" fmla="*/ 151467 h 248214"/>
                <a:gd name="connsiteX1425" fmla="*/ 121568 w 180519"/>
                <a:gd name="connsiteY1425" fmla="*/ 150903 h 248214"/>
                <a:gd name="connsiteX1426" fmla="*/ 121287 w 180519"/>
                <a:gd name="connsiteY1426" fmla="*/ 150903 h 248214"/>
                <a:gd name="connsiteX1427" fmla="*/ 121568 w 180519"/>
                <a:gd name="connsiteY1427" fmla="*/ 150339 h 248214"/>
                <a:gd name="connsiteX1428" fmla="*/ 121851 w 180519"/>
                <a:gd name="connsiteY1428" fmla="*/ 150057 h 248214"/>
                <a:gd name="connsiteX1429" fmla="*/ 123261 w 180519"/>
                <a:gd name="connsiteY1429" fmla="*/ 150621 h 248214"/>
                <a:gd name="connsiteX1430" fmla="*/ 123543 w 180519"/>
                <a:gd name="connsiteY1430" fmla="*/ 150903 h 248214"/>
                <a:gd name="connsiteX1431" fmla="*/ 123261 w 180519"/>
                <a:gd name="connsiteY1431" fmla="*/ 151467 h 248214"/>
                <a:gd name="connsiteX1432" fmla="*/ 122132 w 180519"/>
                <a:gd name="connsiteY1432" fmla="*/ 152313 h 248214"/>
                <a:gd name="connsiteX1433" fmla="*/ 121851 w 180519"/>
                <a:gd name="connsiteY1433" fmla="*/ 152313 h 248214"/>
                <a:gd name="connsiteX1434" fmla="*/ 123543 w 180519"/>
                <a:gd name="connsiteY1434" fmla="*/ 148646 h 248214"/>
                <a:gd name="connsiteX1435" fmla="*/ 124107 w 180519"/>
                <a:gd name="connsiteY1435" fmla="*/ 148646 h 248214"/>
                <a:gd name="connsiteX1436" fmla="*/ 124671 w 180519"/>
                <a:gd name="connsiteY1436" fmla="*/ 149775 h 248214"/>
                <a:gd name="connsiteX1437" fmla="*/ 124389 w 180519"/>
                <a:gd name="connsiteY1437" fmla="*/ 150057 h 248214"/>
                <a:gd name="connsiteX1438" fmla="*/ 123543 w 180519"/>
                <a:gd name="connsiteY1438" fmla="*/ 149775 h 248214"/>
                <a:gd name="connsiteX1439" fmla="*/ 123543 w 180519"/>
                <a:gd name="connsiteY1439" fmla="*/ 148646 h 248214"/>
                <a:gd name="connsiteX1440" fmla="*/ 128620 w 180519"/>
                <a:gd name="connsiteY1440" fmla="*/ 48797 h 248214"/>
                <a:gd name="connsiteX1441" fmla="*/ 129749 w 180519"/>
                <a:gd name="connsiteY1441" fmla="*/ 48515 h 248214"/>
                <a:gd name="connsiteX1442" fmla="*/ 129749 w 180519"/>
                <a:gd name="connsiteY1442" fmla="*/ 48232 h 248214"/>
                <a:gd name="connsiteX1443" fmla="*/ 129749 w 180519"/>
                <a:gd name="connsiteY1443" fmla="*/ 47950 h 248214"/>
                <a:gd name="connsiteX1444" fmla="*/ 128902 w 180519"/>
                <a:gd name="connsiteY1444" fmla="*/ 47950 h 248214"/>
                <a:gd name="connsiteX1445" fmla="*/ 128620 w 180519"/>
                <a:gd name="connsiteY1445" fmla="*/ 48515 h 248214"/>
                <a:gd name="connsiteX1446" fmla="*/ 128620 w 180519"/>
                <a:gd name="connsiteY1446" fmla="*/ 48797 h 248214"/>
                <a:gd name="connsiteX1447" fmla="*/ 133697 w 180519"/>
                <a:gd name="connsiteY1447" fmla="*/ 46540 h 248214"/>
                <a:gd name="connsiteX1448" fmla="*/ 134261 w 180519"/>
                <a:gd name="connsiteY1448" fmla="*/ 45694 h 248214"/>
                <a:gd name="connsiteX1449" fmla="*/ 134261 w 180519"/>
                <a:gd name="connsiteY1449" fmla="*/ 45130 h 248214"/>
                <a:gd name="connsiteX1450" fmla="*/ 134261 w 180519"/>
                <a:gd name="connsiteY1450" fmla="*/ 44848 h 248214"/>
                <a:gd name="connsiteX1451" fmla="*/ 133980 w 180519"/>
                <a:gd name="connsiteY1451" fmla="*/ 44848 h 248214"/>
                <a:gd name="connsiteX1452" fmla="*/ 133133 w 180519"/>
                <a:gd name="connsiteY1452" fmla="*/ 45412 h 248214"/>
                <a:gd name="connsiteX1453" fmla="*/ 133697 w 180519"/>
                <a:gd name="connsiteY1453" fmla="*/ 46258 h 248214"/>
                <a:gd name="connsiteX1454" fmla="*/ 133697 w 180519"/>
                <a:gd name="connsiteY1454" fmla="*/ 46540 h 248214"/>
                <a:gd name="connsiteX1455" fmla="*/ 142441 w 180519"/>
                <a:gd name="connsiteY1455" fmla="*/ 48232 h 248214"/>
                <a:gd name="connsiteX1456" fmla="*/ 143852 w 180519"/>
                <a:gd name="connsiteY1456" fmla="*/ 47104 h 248214"/>
                <a:gd name="connsiteX1457" fmla="*/ 141877 w 180519"/>
                <a:gd name="connsiteY1457" fmla="*/ 48232 h 248214"/>
                <a:gd name="connsiteX1458" fmla="*/ 142441 w 180519"/>
                <a:gd name="connsiteY1458" fmla="*/ 48232 h 248214"/>
                <a:gd name="connsiteX1459" fmla="*/ 167262 w 180519"/>
                <a:gd name="connsiteY1459" fmla="*/ 54156 h 248214"/>
                <a:gd name="connsiteX1460" fmla="*/ 167262 w 180519"/>
                <a:gd name="connsiteY1460" fmla="*/ 53874 h 248214"/>
                <a:gd name="connsiteX1461" fmla="*/ 166698 w 180519"/>
                <a:gd name="connsiteY1461" fmla="*/ 54156 h 248214"/>
                <a:gd name="connsiteX1462" fmla="*/ 167262 w 180519"/>
                <a:gd name="connsiteY1462" fmla="*/ 54156 h 248214"/>
                <a:gd name="connsiteX1463" fmla="*/ 171493 w 180519"/>
                <a:gd name="connsiteY1463" fmla="*/ 41463 h 248214"/>
                <a:gd name="connsiteX1464" fmla="*/ 171776 w 180519"/>
                <a:gd name="connsiteY1464" fmla="*/ 40617 h 248214"/>
                <a:gd name="connsiteX1465" fmla="*/ 171212 w 180519"/>
                <a:gd name="connsiteY1465" fmla="*/ 41181 h 248214"/>
                <a:gd name="connsiteX1466" fmla="*/ 171493 w 180519"/>
                <a:gd name="connsiteY1466" fmla="*/ 41745 h 248214"/>
                <a:gd name="connsiteX1467" fmla="*/ 171493 w 180519"/>
                <a:gd name="connsiteY1467" fmla="*/ 41463 h 24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</a:cxnLst>
              <a:rect l="l" t="t" r="r" b="b"/>
              <a:pathLst>
                <a:path w="180519" h="248214">
                  <a:moveTo>
                    <a:pt x="36668" y="57258"/>
                  </a:moveTo>
                  <a:cubicBezTo>
                    <a:pt x="36386" y="57258"/>
                    <a:pt x="36386" y="57258"/>
                    <a:pt x="36386" y="56976"/>
                  </a:cubicBezTo>
                  <a:lnTo>
                    <a:pt x="36386" y="56694"/>
                  </a:lnTo>
                  <a:cubicBezTo>
                    <a:pt x="37514" y="56412"/>
                    <a:pt x="37796" y="56130"/>
                    <a:pt x="38079" y="55566"/>
                  </a:cubicBezTo>
                  <a:lnTo>
                    <a:pt x="38643" y="55566"/>
                  </a:lnTo>
                  <a:cubicBezTo>
                    <a:pt x="38924" y="55566"/>
                    <a:pt x="39771" y="55284"/>
                    <a:pt x="40617" y="55284"/>
                  </a:cubicBezTo>
                  <a:cubicBezTo>
                    <a:pt x="40899" y="55002"/>
                    <a:pt x="41463" y="55284"/>
                    <a:pt x="41745" y="54720"/>
                  </a:cubicBezTo>
                  <a:cubicBezTo>
                    <a:pt x="42027" y="54720"/>
                    <a:pt x="43155" y="54156"/>
                    <a:pt x="43155" y="54156"/>
                  </a:cubicBezTo>
                  <a:cubicBezTo>
                    <a:pt x="43720" y="53592"/>
                    <a:pt x="44002" y="53310"/>
                    <a:pt x="44848" y="53310"/>
                  </a:cubicBezTo>
                  <a:lnTo>
                    <a:pt x="45976" y="53310"/>
                  </a:lnTo>
                  <a:lnTo>
                    <a:pt x="49925" y="52463"/>
                  </a:lnTo>
                  <a:lnTo>
                    <a:pt x="50771" y="52463"/>
                  </a:lnTo>
                  <a:lnTo>
                    <a:pt x="51335" y="53028"/>
                  </a:lnTo>
                  <a:cubicBezTo>
                    <a:pt x="51053" y="53592"/>
                    <a:pt x="50771" y="54156"/>
                    <a:pt x="49925" y="54720"/>
                  </a:cubicBezTo>
                  <a:cubicBezTo>
                    <a:pt x="49643" y="54720"/>
                    <a:pt x="49643" y="54720"/>
                    <a:pt x="49079" y="55002"/>
                  </a:cubicBezTo>
                  <a:cubicBezTo>
                    <a:pt x="49079" y="55002"/>
                    <a:pt x="48796" y="55002"/>
                    <a:pt x="48796" y="55284"/>
                  </a:cubicBezTo>
                  <a:lnTo>
                    <a:pt x="48796" y="55566"/>
                  </a:lnTo>
                  <a:cubicBezTo>
                    <a:pt x="48796" y="55848"/>
                    <a:pt x="49079" y="56130"/>
                    <a:pt x="49361" y="56130"/>
                  </a:cubicBezTo>
                  <a:cubicBezTo>
                    <a:pt x="49361" y="56130"/>
                    <a:pt x="49643" y="56412"/>
                    <a:pt x="49925" y="56412"/>
                  </a:cubicBezTo>
                  <a:lnTo>
                    <a:pt x="50489" y="56412"/>
                  </a:lnTo>
                  <a:cubicBezTo>
                    <a:pt x="51053" y="56412"/>
                    <a:pt x="50771" y="56976"/>
                    <a:pt x="51053" y="56976"/>
                  </a:cubicBezTo>
                  <a:lnTo>
                    <a:pt x="51617" y="56976"/>
                  </a:lnTo>
                  <a:cubicBezTo>
                    <a:pt x="52746" y="56412"/>
                    <a:pt x="52746" y="56130"/>
                    <a:pt x="52746" y="55566"/>
                  </a:cubicBezTo>
                  <a:cubicBezTo>
                    <a:pt x="53310" y="55002"/>
                    <a:pt x="53592" y="54720"/>
                    <a:pt x="54720" y="54156"/>
                  </a:cubicBezTo>
                  <a:lnTo>
                    <a:pt x="55284" y="52463"/>
                  </a:lnTo>
                  <a:cubicBezTo>
                    <a:pt x="56130" y="51899"/>
                    <a:pt x="56130" y="51617"/>
                    <a:pt x="56977" y="51335"/>
                  </a:cubicBezTo>
                  <a:lnTo>
                    <a:pt x="57541" y="51335"/>
                  </a:lnTo>
                  <a:cubicBezTo>
                    <a:pt x="58105" y="51335"/>
                    <a:pt x="58387" y="51335"/>
                    <a:pt x="58951" y="51053"/>
                  </a:cubicBezTo>
                  <a:cubicBezTo>
                    <a:pt x="59515" y="50489"/>
                    <a:pt x="60079" y="50489"/>
                    <a:pt x="60361" y="50489"/>
                  </a:cubicBezTo>
                  <a:cubicBezTo>
                    <a:pt x="60644" y="50489"/>
                    <a:pt x="60925" y="50489"/>
                    <a:pt x="61208" y="51053"/>
                  </a:cubicBezTo>
                  <a:cubicBezTo>
                    <a:pt x="61489" y="51053"/>
                    <a:pt x="61489" y="51335"/>
                    <a:pt x="61489" y="51617"/>
                  </a:cubicBezTo>
                  <a:cubicBezTo>
                    <a:pt x="61772" y="51617"/>
                    <a:pt x="62336" y="51335"/>
                    <a:pt x="62618" y="51335"/>
                  </a:cubicBezTo>
                  <a:lnTo>
                    <a:pt x="62900" y="51335"/>
                  </a:lnTo>
                  <a:cubicBezTo>
                    <a:pt x="62900" y="51053"/>
                    <a:pt x="62900" y="51053"/>
                    <a:pt x="63182" y="51053"/>
                  </a:cubicBezTo>
                  <a:cubicBezTo>
                    <a:pt x="64310" y="49643"/>
                    <a:pt x="65438" y="49079"/>
                    <a:pt x="66002" y="49079"/>
                  </a:cubicBezTo>
                  <a:lnTo>
                    <a:pt x="68823" y="49079"/>
                  </a:lnTo>
                  <a:cubicBezTo>
                    <a:pt x="69105" y="49079"/>
                    <a:pt x="69105" y="49079"/>
                    <a:pt x="69105" y="49361"/>
                  </a:cubicBezTo>
                  <a:lnTo>
                    <a:pt x="69105" y="49643"/>
                  </a:lnTo>
                  <a:lnTo>
                    <a:pt x="68259" y="50771"/>
                  </a:lnTo>
                  <a:lnTo>
                    <a:pt x="68259" y="51053"/>
                  </a:lnTo>
                  <a:lnTo>
                    <a:pt x="69105" y="51053"/>
                  </a:lnTo>
                  <a:cubicBezTo>
                    <a:pt x="69387" y="51053"/>
                    <a:pt x="69951" y="51053"/>
                    <a:pt x="70797" y="50489"/>
                  </a:cubicBezTo>
                  <a:cubicBezTo>
                    <a:pt x="70797" y="49925"/>
                    <a:pt x="71361" y="49925"/>
                    <a:pt x="71926" y="49643"/>
                  </a:cubicBezTo>
                  <a:cubicBezTo>
                    <a:pt x="71644" y="49925"/>
                    <a:pt x="71361" y="50771"/>
                    <a:pt x="71080" y="50771"/>
                  </a:cubicBezTo>
                  <a:cubicBezTo>
                    <a:pt x="70797" y="51899"/>
                    <a:pt x="70797" y="51899"/>
                    <a:pt x="69387" y="51899"/>
                  </a:cubicBezTo>
                  <a:lnTo>
                    <a:pt x="68823" y="51899"/>
                  </a:lnTo>
                  <a:cubicBezTo>
                    <a:pt x="68541" y="52181"/>
                    <a:pt x="68259" y="52181"/>
                    <a:pt x="68259" y="52463"/>
                  </a:cubicBezTo>
                  <a:lnTo>
                    <a:pt x="68259" y="53028"/>
                  </a:lnTo>
                  <a:cubicBezTo>
                    <a:pt x="69387" y="52463"/>
                    <a:pt x="70233" y="52463"/>
                    <a:pt x="71080" y="52463"/>
                  </a:cubicBezTo>
                  <a:lnTo>
                    <a:pt x="71644" y="52463"/>
                  </a:lnTo>
                  <a:cubicBezTo>
                    <a:pt x="71926" y="52463"/>
                    <a:pt x="72490" y="51899"/>
                    <a:pt x="73054" y="51899"/>
                  </a:cubicBezTo>
                  <a:cubicBezTo>
                    <a:pt x="73054" y="51899"/>
                    <a:pt x="73336" y="51617"/>
                    <a:pt x="73618" y="51617"/>
                  </a:cubicBezTo>
                  <a:cubicBezTo>
                    <a:pt x="73336" y="51335"/>
                    <a:pt x="73054" y="51335"/>
                    <a:pt x="73054" y="51335"/>
                  </a:cubicBezTo>
                  <a:lnTo>
                    <a:pt x="72772" y="51053"/>
                  </a:lnTo>
                  <a:cubicBezTo>
                    <a:pt x="72772" y="50771"/>
                    <a:pt x="72772" y="50771"/>
                    <a:pt x="72490" y="50489"/>
                  </a:cubicBezTo>
                  <a:cubicBezTo>
                    <a:pt x="72490" y="50489"/>
                    <a:pt x="72772" y="49925"/>
                    <a:pt x="73054" y="49643"/>
                  </a:cubicBezTo>
                  <a:cubicBezTo>
                    <a:pt x="73618" y="49643"/>
                    <a:pt x="73900" y="49361"/>
                    <a:pt x="73900" y="49079"/>
                  </a:cubicBezTo>
                  <a:cubicBezTo>
                    <a:pt x="73900" y="48797"/>
                    <a:pt x="74182" y="48232"/>
                    <a:pt x="74464" y="47950"/>
                  </a:cubicBezTo>
                  <a:cubicBezTo>
                    <a:pt x="75028" y="47104"/>
                    <a:pt x="77567" y="36950"/>
                    <a:pt x="77567" y="36668"/>
                  </a:cubicBezTo>
                  <a:cubicBezTo>
                    <a:pt x="77567" y="36104"/>
                    <a:pt x="77567" y="32155"/>
                    <a:pt x="77849" y="31873"/>
                  </a:cubicBezTo>
                  <a:cubicBezTo>
                    <a:pt x="78978" y="31591"/>
                    <a:pt x="79542" y="31591"/>
                    <a:pt x="79823" y="30463"/>
                  </a:cubicBezTo>
                  <a:cubicBezTo>
                    <a:pt x="80106" y="30181"/>
                    <a:pt x="80388" y="30181"/>
                    <a:pt x="80388" y="29899"/>
                  </a:cubicBezTo>
                  <a:lnTo>
                    <a:pt x="80106" y="29616"/>
                  </a:lnTo>
                  <a:cubicBezTo>
                    <a:pt x="80106" y="29334"/>
                    <a:pt x="80106" y="29052"/>
                    <a:pt x="80388" y="28770"/>
                  </a:cubicBezTo>
                  <a:cubicBezTo>
                    <a:pt x="79259" y="28770"/>
                    <a:pt x="79259" y="28770"/>
                    <a:pt x="79259" y="28206"/>
                  </a:cubicBezTo>
                  <a:cubicBezTo>
                    <a:pt x="79259" y="27642"/>
                    <a:pt x="79259" y="27078"/>
                    <a:pt x="78978" y="26796"/>
                  </a:cubicBezTo>
                  <a:lnTo>
                    <a:pt x="78978" y="26232"/>
                  </a:lnTo>
                  <a:cubicBezTo>
                    <a:pt x="79259" y="25668"/>
                    <a:pt x="79542" y="25668"/>
                    <a:pt x="79823" y="25386"/>
                  </a:cubicBezTo>
                  <a:cubicBezTo>
                    <a:pt x="80106" y="25103"/>
                    <a:pt x="80106" y="24821"/>
                    <a:pt x="80106" y="24539"/>
                  </a:cubicBezTo>
                  <a:lnTo>
                    <a:pt x="80106" y="23975"/>
                  </a:lnTo>
                  <a:cubicBezTo>
                    <a:pt x="80106" y="23411"/>
                    <a:pt x="80670" y="23129"/>
                    <a:pt x="80670" y="22565"/>
                  </a:cubicBezTo>
                  <a:cubicBezTo>
                    <a:pt x="80952" y="22283"/>
                    <a:pt x="81516" y="21719"/>
                    <a:pt x="81516" y="21155"/>
                  </a:cubicBezTo>
                  <a:lnTo>
                    <a:pt x="81516" y="20873"/>
                  </a:lnTo>
                  <a:cubicBezTo>
                    <a:pt x="82080" y="20873"/>
                    <a:pt x="82080" y="20308"/>
                    <a:pt x="82080" y="19462"/>
                  </a:cubicBezTo>
                  <a:lnTo>
                    <a:pt x="82362" y="19180"/>
                  </a:lnTo>
                  <a:lnTo>
                    <a:pt x="82362" y="18898"/>
                  </a:lnTo>
                  <a:lnTo>
                    <a:pt x="82080" y="18616"/>
                  </a:lnTo>
                  <a:lnTo>
                    <a:pt x="82080" y="17206"/>
                  </a:lnTo>
                  <a:cubicBezTo>
                    <a:pt x="82080" y="16924"/>
                    <a:pt x="82362" y="16924"/>
                    <a:pt x="82362" y="16642"/>
                  </a:cubicBezTo>
                  <a:cubicBezTo>
                    <a:pt x="82926" y="16360"/>
                    <a:pt x="83490" y="16077"/>
                    <a:pt x="83772" y="15513"/>
                  </a:cubicBezTo>
                  <a:lnTo>
                    <a:pt x="83490" y="15231"/>
                  </a:lnTo>
                  <a:cubicBezTo>
                    <a:pt x="84336" y="14949"/>
                    <a:pt x="84336" y="13821"/>
                    <a:pt x="84336" y="13539"/>
                  </a:cubicBezTo>
                  <a:lnTo>
                    <a:pt x="84054" y="13257"/>
                  </a:lnTo>
                  <a:cubicBezTo>
                    <a:pt x="84054" y="13257"/>
                    <a:pt x="84336" y="12975"/>
                    <a:pt x="85183" y="12693"/>
                  </a:cubicBezTo>
                  <a:lnTo>
                    <a:pt x="86311" y="11847"/>
                  </a:lnTo>
                  <a:lnTo>
                    <a:pt x="86311" y="10436"/>
                  </a:lnTo>
                  <a:cubicBezTo>
                    <a:pt x="86593" y="10154"/>
                    <a:pt x="86875" y="9590"/>
                    <a:pt x="88003" y="9026"/>
                  </a:cubicBezTo>
                  <a:cubicBezTo>
                    <a:pt x="88003" y="9026"/>
                    <a:pt x="88285" y="7052"/>
                    <a:pt x="88850" y="6487"/>
                  </a:cubicBezTo>
                  <a:cubicBezTo>
                    <a:pt x="89131" y="6487"/>
                    <a:pt x="89131" y="6487"/>
                    <a:pt x="89414" y="6205"/>
                  </a:cubicBezTo>
                  <a:cubicBezTo>
                    <a:pt x="89695" y="5923"/>
                    <a:pt x="89695" y="5641"/>
                    <a:pt x="89695" y="5359"/>
                  </a:cubicBezTo>
                  <a:cubicBezTo>
                    <a:pt x="89695" y="4513"/>
                    <a:pt x="89695" y="4513"/>
                    <a:pt x="90542" y="3949"/>
                  </a:cubicBezTo>
                  <a:lnTo>
                    <a:pt x="91952" y="2821"/>
                  </a:lnTo>
                  <a:cubicBezTo>
                    <a:pt x="91670" y="2539"/>
                    <a:pt x="91670" y="2539"/>
                    <a:pt x="91670" y="2256"/>
                  </a:cubicBezTo>
                  <a:cubicBezTo>
                    <a:pt x="91670" y="1974"/>
                    <a:pt x="91952" y="1692"/>
                    <a:pt x="92798" y="1692"/>
                  </a:cubicBezTo>
                  <a:cubicBezTo>
                    <a:pt x="92798" y="1692"/>
                    <a:pt x="93081" y="1410"/>
                    <a:pt x="93362" y="1410"/>
                  </a:cubicBezTo>
                  <a:cubicBezTo>
                    <a:pt x="93645" y="1410"/>
                    <a:pt x="93645" y="1128"/>
                    <a:pt x="93926" y="1128"/>
                  </a:cubicBezTo>
                  <a:lnTo>
                    <a:pt x="94209" y="1128"/>
                  </a:lnTo>
                  <a:cubicBezTo>
                    <a:pt x="94209" y="1128"/>
                    <a:pt x="94209" y="1410"/>
                    <a:pt x="94491" y="1410"/>
                  </a:cubicBezTo>
                  <a:cubicBezTo>
                    <a:pt x="94491" y="1410"/>
                    <a:pt x="94773" y="1410"/>
                    <a:pt x="95055" y="1128"/>
                  </a:cubicBezTo>
                  <a:cubicBezTo>
                    <a:pt x="95619" y="846"/>
                    <a:pt x="95901" y="846"/>
                    <a:pt x="96465" y="282"/>
                  </a:cubicBezTo>
                  <a:cubicBezTo>
                    <a:pt x="96747" y="282"/>
                    <a:pt x="97029" y="0"/>
                    <a:pt x="97312" y="0"/>
                  </a:cubicBezTo>
                  <a:cubicBezTo>
                    <a:pt x="97593" y="0"/>
                    <a:pt x="97876" y="282"/>
                    <a:pt x="98440" y="564"/>
                  </a:cubicBezTo>
                  <a:cubicBezTo>
                    <a:pt x="98440" y="846"/>
                    <a:pt x="98722" y="846"/>
                    <a:pt x="98722" y="846"/>
                  </a:cubicBezTo>
                  <a:cubicBezTo>
                    <a:pt x="98722" y="1692"/>
                    <a:pt x="98722" y="2256"/>
                    <a:pt x="98440" y="2821"/>
                  </a:cubicBezTo>
                  <a:lnTo>
                    <a:pt x="99004" y="3103"/>
                  </a:lnTo>
                  <a:lnTo>
                    <a:pt x="99568" y="3103"/>
                  </a:lnTo>
                  <a:lnTo>
                    <a:pt x="100414" y="1692"/>
                  </a:lnTo>
                  <a:lnTo>
                    <a:pt x="100696" y="1692"/>
                  </a:lnTo>
                  <a:cubicBezTo>
                    <a:pt x="100978" y="1692"/>
                    <a:pt x="100978" y="1974"/>
                    <a:pt x="100978" y="2256"/>
                  </a:cubicBezTo>
                  <a:lnTo>
                    <a:pt x="101542" y="2821"/>
                  </a:lnTo>
                  <a:cubicBezTo>
                    <a:pt x="101542" y="2821"/>
                    <a:pt x="101824" y="3103"/>
                    <a:pt x="102106" y="3103"/>
                  </a:cubicBezTo>
                  <a:lnTo>
                    <a:pt x="104363" y="3103"/>
                  </a:lnTo>
                  <a:cubicBezTo>
                    <a:pt x="104363" y="3103"/>
                    <a:pt x="104081" y="3385"/>
                    <a:pt x="104081" y="3667"/>
                  </a:cubicBezTo>
                  <a:lnTo>
                    <a:pt x="104081" y="4231"/>
                  </a:lnTo>
                  <a:lnTo>
                    <a:pt x="105209" y="4231"/>
                  </a:lnTo>
                  <a:lnTo>
                    <a:pt x="105491" y="3949"/>
                  </a:lnTo>
                  <a:cubicBezTo>
                    <a:pt x="106055" y="3949"/>
                    <a:pt x="106337" y="3667"/>
                    <a:pt x="106619" y="3667"/>
                  </a:cubicBezTo>
                  <a:cubicBezTo>
                    <a:pt x="106619" y="3667"/>
                    <a:pt x="106901" y="3949"/>
                    <a:pt x="107184" y="3949"/>
                  </a:cubicBezTo>
                  <a:cubicBezTo>
                    <a:pt x="107748" y="3949"/>
                    <a:pt x="108312" y="4231"/>
                    <a:pt x="108876" y="4231"/>
                  </a:cubicBezTo>
                  <a:cubicBezTo>
                    <a:pt x="109722" y="4231"/>
                    <a:pt x="110004" y="4795"/>
                    <a:pt x="110004" y="5077"/>
                  </a:cubicBezTo>
                  <a:cubicBezTo>
                    <a:pt x="110004" y="5923"/>
                    <a:pt x="109722" y="6487"/>
                    <a:pt x="109722" y="7052"/>
                  </a:cubicBezTo>
                  <a:cubicBezTo>
                    <a:pt x="109722" y="7334"/>
                    <a:pt x="109722" y="7616"/>
                    <a:pt x="110286" y="7898"/>
                  </a:cubicBezTo>
                  <a:lnTo>
                    <a:pt x="110568" y="8462"/>
                  </a:lnTo>
                  <a:cubicBezTo>
                    <a:pt x="110004" y="9026"/>
                    <a:pt x="109722" y="9590"/>
                    <a:pt x="109722" y="9872"/>
                  </a:cubicBezTo>
                  <a:cubicBezTo>
                    <a:pt x="109722" y="10154"/>
                    <a:pt x="109440" y="10154"/>
                    <a:pt x="109440" y="10718"/>
                  </a:cubicBezTo>
                  <a:cubicBezTo>
                    <a:pt x="108594" y="10718"/>
                    <a:pt x="108876" y="11565"/>
                    <a:pt x="108312" y="11847"/>
                  </a:cubicBezTo>
                  <a:cubicBezTo>
                    <a:pt x="108029" y="11847"/>
                    <a:pt x="108029" y="12129"/>
                    <a:pt x="108029" y="12411"/>
                  </a:cubicBezTo>
                  <a:cubicBezTo>
                    <a:pt x="108029" y="12693"/>
                    <a:pt x="107748" y="12975"/>
                    <a:pt x="107748" y="13257"/>
                  </a:cubicBezTo>
                  <a:cubicBezTo>
                    <a:pt x="107465" y="13257"/>
                    <a:pt x="107465" y="13539"/>
                    <a:pt x="107465" y="13539"/>
                  </a:cubicBezTo>
                  <a:cubicBezTo>
                    <a:pt x="107465" y="13539"/>
                    <a:pt x="107465" y="13821"/>
                    <a:pt x="107184" y="13821"/>
                  </a:cubicBezTo>
                  <a:lnTo>
                    <a:pt x="107184" y="15231"/>
                  </a:lnTo>
                  <a:cubicBezTo>
                    <a:pt x="107184" y="15795"/>
                    <a:pt x="106337" y="16360"/>
                    <a:pt x="106337" y="16642"/>
                  </a:cubicBezTo>
                  <a:lnTo>
                    <a:pt x="106337" y="16924"/>
                  </a:lnTo>
                  <a:cubicBezTo>
                    <a:pt x="105773" y="17770"/>
                    <a:pt x="106337" y="18616"/>
                    <a:pt x="105491" y="18898"/>
                  </a:cubicBezTo>
                  <a:cubicBezTo>
                    <a:pt x="105491" y="19462"/>
                    <a:pt x="105209" y="19744"/>
                    <a:pt x="105209" y="20026"/>
                  </a:cubicBezTo>
                  <a:lnTo>
                    <a:pt x="105209" y="20308"/>
                  </a:lnTo>
                  <a:cubicBezTo>
                    <a:pt x="104927" y="20873"/>
                    <a:pt x="104363" y="21155"/>
                    <a:pt x="104363" y="21437"/>
                  </a:cubicBezTo>
                  <a:lnTo>
                    <a:pt x="104645" y="21719"/>
                  </a:lnTo>
                  <a:lnTo>
                    <a:pt x="104645" y="22283"/>
                  </a:lnTo>
                  <a:cubicBezTo>
                    <a:pt x="103798" y="22565"/>
                    <a:pt x="103517" y="23411"/>
                    <a:pt x="103234" y="23975"/>
                  </a:cubicBezTo>
                  <a:cubicBezTo>
                    <a:pt x="103517" y="23975"/>
                    <a:pt x="103517" y="24257"/>
                    <a:pt x="103517" y="24257"/>
                  </a:cubicBezTo>
                  <a:lnTo>
                    <a:pt x="103517" y="24539"/>
                  </a:lnTo>
                  <a:cubicBezTo>
                    <a:pt x="103517" y="24821"/>
                    <a:pt x="103234" y="24821"/>
                    <a:pt x="103234" y="25103"/>
                  </a:cubicBezTo>
                  <a:lnTo>
                    <a:pt x="103234" y="25386"/>
                  </a:lnTo>
                  <a:cubicBezTo>
                    <a:pt x="102670" y="25668"/>
                    <a:pt x="102388" y="25950"/>
                    <a:pt x="102388" y="26232"/>
                  </a:cubicBezTo>
                  <a:lnTo>
                    <a:pt x="102388" y="26514"/>
                  </a:lnTo>
                  <a:cubicBezTo>
                    <a:pt x="102388" y="27078"/>
                    <a:pt x="101824" y="27078"/>
                    <a:pt x="101824" y="27360"/>
                  </a:cubicBezTo>
                  <a:cubicBezTo>
                    <a:pt x="101824" y="27642"/>
                    <a:pt x="101542" y="28206"/>
                    <a:pt x="101260" y="28770"/>
                  </a:cubicBezTo>
                  <a:lnTo>
                    <a:pt x="100978" y="29052"/>
                  </a:lnTo>
                  <a:lnTo>
                    <a:pt x="100978" y="29616"/>
                  </a:lnTo>
                  <a:lnTo>
                    <a:pt x="101260" y="29899"/>
                  </a:lnTo>
                  <a:cubicBezTo>
                    <a:pt x="100978" y="30463"/>
                    <a:pt x="100414" y="30745"/>
                    <a:pt x="100414" y="31591"/>
                  </a:cubicBezTo>
                  <a:lnTo>
                    <a:pt x="99004" y="45130"/>
                  </a:lnTo>
                  <a:cubicBezTo>
                    <a:pt x="99286" y="45130"/>
                    <a:pt x="99568" y="44848"/>
                    <a:pt x="99850" y="44566"/>
                  </a:cubicBezTo>
                  <a:cubicBezTo>
                    <a:pt x="100132" y="44284"/>
                    <a:pt x="100132" y="44284"/>
                    <a:pt x="100414" y="44284"/>
                  </a:cubicBezTo>
                  <a:cubicBezTo>
                    <a:pt x="100978" y="44284"/>
                    <a:pt x="101542" y="44848"/>
                    <a:pt x="101542" y="45412"/>
                  </a:cubicBezTo>
                  <a:cubicBezTo>
                    <a:pt x="101542" y="46540"/>
                    <a:pt x="102106" y="46540"/>
                    <a:pt x="102953" y="46540"/>
                  </a:cubicBezTo>
                  <a:cubicBezTo>
                    <a:pt x="104081" y="46540"/>
                    <a:pt x="104927" y="46540"/>
                    <a:pt x="105773" y="45130"/>
                  </a:cubicBezTo>
                  <a:lnTo>
                    <a:pt x="102953" y="45694"/>
                  </a:lnTo>
                  <a:cubicBezTo>
                    <a:pt x="102953" y="45694"/>
                    <a:pt x="102388" y="45694"/>
                    <a:pt x="102388" y="45412"/>
                  </a:cubicBezTo>
                  <a:lnTo>
                    <a:pt x="102388" y="45130"/>
                  </a:lnTo>
                  <a:cubicBezTo>
                    <a:pt x="103517" y="44284"/>
                    <a:pt x="104081" y="44284"/>
                    <a:pt x="104927" y="44284"/>
                  </a:cubicBezTo>
                  <a:cubicBezTo>
                    <a:pt x="105209" y="44002"/>
                    <a:pt x="105209" y="44002"/>
                    <a:pt x="105491" y="44002"/>
                  </a:cubicBezTo>
                  <a:cubicBezTo>
                    <a:pt x="105773" y="44002"/>
                    <a:pt x="106055" y="44002"/>
                    <a:pt x="106055" y="44566"/>
                  </a:cubicBezTo>
                  <a:cubicBezTo>
                    <a:pt x="105773" y="44848"/>
                    <a:pt x="105773" y="45130"/>
                    <a:pt x="105773" y="45130"/>
                  </a:cubicBezTo>
                  <a:cubicBezTo>
                    <a:pt x="106055" y="45130"/>
                    <a:pt x="106055" y="45130"/>
                    <a:pt x="106337" y="44848"/>
                  </a:cubicBezTo>
                  <a:cubicBezTo>
                    <a:pt x="106901" y="44848"/>
                    <a:pt x="107748" y="44566"/>
                    <a:pt x="107748" y="44284"/>
                  </a:cubicBezTo>
                  <a:cubicBezTo>
                    <a:pt x="109158" y="43720"/>
                    <a:pt x="110004" y="43720"/>
                    <a:pt x="110568" y="43720"/>
                  </a:cubicBezTo>
                  <a:cubicBezTo>
                    <a:pt x="111132" y="43720"/>
                    <a:pt x="111415" y="43720"/>
                    <a:pt x="112260" y="43437"/>
                  </a:cubicBezTo>
                  <a:lnTo>
                    <a:pt x="113107" y="43437"/>
                  </a:lnTo>
                  <a:lnTo>
                    <a:pt x="112825" y="44002"/>
                  </a:lnTo>
                  <a:cubicBezTo>
                    <a:pt x="112825" y="44284"/>
                    <a:pt x="112543" y="44284"/>
                    <a:pt x="112260" y="44566"/>
                  </a:cubicBezTo>
                  <a:lnTo>
                    <a:pt x="111696" y="45412"/>
                  </a:lnTo>
                  <a:cubicBezTo>
                    <a:pt x="111696" y="45694"/>
                    <a:pt x="111979" y="45694"/>
                    <a:pt x="111979" y="45694"/>
                  </a:cubicBezTo>
                  <a:lnTo>
                    <a:pt x="111696" y="45976"/>
                  </a:lnTo>
                  <a:cubicBezTo>
                    <a:pt x="111696" y="46258"/>
                    <a:pt x="111415" y="46540"/>
                    <a:pt x="110568" y="47386"/>
                  </a:cubicBezTo>
                  <a:cubicBezTo>
                    <a:pt x="109440" y="47950"/>
                    <a:pt x="108594" y="49079"/>
                    <a:pt x="108029" y="49361"/>
                  </a:cubicBezTo>
                  <a:cubicBezTo>
                    <a:pt x="107465" y="49643"/>
                    <a:pt x="107184" y="49925"/>
                    <a:pt x="107184" y="49925"/>
                  </a:cubicBezTo>
                  <a:cubicBezTo>
                    <a:pt x="107184" y="50207"/>
                    <a:pt x="107465" y="50489"/>
                    <a:pt x="108029" y="50489"/>
                  </a:cubicBezTo>
                  <a:cubicBezTo>
                    <a:pt x="108312" y="50489"/>
                    <a:pt x="108594" y="49925"/>
                    <a:pt x="108594" y="49925"/>
                  </a:cubicBezTo>
                  <a:cubicBezTo>
                    <a:pt x="108594" y="49925"/>
                    <a:pt x="108876" y="49643"/>
                    <a:pt x="109440" y="49361"/>
                  </a:cubicBezTo>
                  <a:cubicBezTo>
                    <a:pt x="109440" y="49079"/>
                    <a:pt x="109722" y="48797"/>
                    <a:pt x="110568" y="48515"/>
                  </a:cubicBezTo>
                  <a:lnTo>
                    <a:pt x="111696" y="48515"/>
                  </a:lnTo>
                  <a:cubicBezTo>
                    <a:pt x="111979" y="48515"/>
                    <a:pt x="112543" y="48232"/>
                    <a:pt x="113389" y="47386"/>
                  </a:cubicBezTo>
                  <a:cubicBezTo>
                    <a:pt x="113671" y="47104"/>
                    <a:pt x="113671" y="46822"/>
                    <a:pt x="113671" y="46822"/>
                  </a:cubicBezTo>
                  <a:lnTo>
                    <a:pt x="113953" y="46540"/>
                  </a:lnTo>
                  <a:cubicBezTo>
                    <a:pt x="113953" y="46540"/>
                    <a:pt x="113671" y="46540"/>
                    <a:pt x="113389" y="46258"/>
                  </a:cubicBezTo>
                  <a:lnTo>
                    <a:pt x="112825" y="46258"/>
                  </a:lnTo>
                  <a:cubicBezTo>
                    <a:pt x="112543" y="46258"/>
                    <a:pt x="112825" y="45976"/>
                    <a:pt x="113107" y="45694"/>
                  </a:cubicBezTo>
                  <a:cubicBezTo>
                    <a:pt x="113107" y="45694"/>
                    <a:pt x="113107" y="45412"/>
                    <a:pt x="113389" y="45412"/>
                  </a:cubicBezTo>
                  <a:cubicBezTo>
                    <a:pt x="115081" y="45412"/>
                    <a:pt x="115927" y="44566"/>
                    <a:pt x="117056" y="43437"/>
                  </a:cubicBezTo>
                  <a:cubicBezTo>
                    <a:pt x="117338" y="43155"/>
                    <a:pt x="117338" y="43155"/>
                    <a:pt x="117620" y="43155"/>
                  </a:cubicBezTo>
                  <a:lnTo>
                    <a:pt x="117902" y="43437"/>
                  </a:lnTo>
                  <a:lnTo>
                    <a:pt x="117902" y="44002"/>
                  </a:lnTo>
                  <a:cubicBezTo>
                    <a:pt x="117902" y="44284"/>
                    <a:pt x="117902" y="44566"/>
                    <a:pt x="118184" y="45130"/>
                  </a:cubicBezTo>
                  <a:lnTo>
                    <a:pt x="118748" y="45130"/>
                  </a:lnTo>
                  <a:cubicBezTo>
                    <a:pt x="118748" y="44284"/>
                    <a:pt x="119312" y="43155"/>
                    <a:pt x="119594" y="42873"/>
                  </a:cubicBezTo>
                  <a:cubicBezTo>
                    <a:pt x="119876" y="42309"/>
                    <a:pt x="121004" y="41745"/>
                    <a:pt x="121568" y="41745"/>
                  </a:cubicBezTo>
                  <a:lnTo>
                    <a:pt x="124107" y="41745"/>
                  </a:lnTo>
                  <a:cubicBezTo>
                    <a:pt x="124389" y="41745"/>
                    <a:pt x="124107" y="42309"/>
                    <a:pt x="123825" y="42873"/>
                  </a:cubicBezTo>
                  <a:lnTo>
                    <a:pt x="123543" y="43155"/>
                  </a:lnTo>
                  <a:lnTo>
                    <a:pt x="123543" y="43720"/>
                  </a:lnTo>
                  <a:cubicBezTo>
                    <a:pt x="124107" y="43720"/>
                    <a:pt x="124389" y="44002"/>
                    <a:pt x="125235" y="44002"/>
                  </a:cubicBezTo>
                  <a:lnTo>
                    <a:pt x="125518" y="44002"/>
                  </a:lnTo>
                  <a:lnTo>
                    <a:pt x="125518" y="44848"/>
                  </a:lnTo>
                  <a:cubicBezTo>
                    <a:pt x="125518" y="44848"/>
                    <a:pt x="124671" y="45130"/>
                    <a:pt x="124389" y="45130"/>
                  </a:cubicBezTo>
                  <a:cubicBezTo>
                    <a:pt x="123825" y="45130"/>
                    <a:pt x="123261" y="45412"/>
                    <a:pt x="122979" y="45694"/>
                  </a:cubicBezTo>
                  <a:lnTo>
                    <a:pt x="122697" y="45976"/>
                  </a:lnTo>
                  <a:lnTo>
                    <a:pt x="122697" y="46540"/>
                  </a:lnTo>
                  <a:lnTo>
                    <a:pt x="123543" y="46540"/>
                  </a:lnTo>
                  <a:cubicBezTo>
                    <a:pt x="124953" y="45976"/>
                    <a:pt x="125518" y="45976"/>
                    <a:pt x="126646" y="45976"/>
                  </a:cubicBezTo>
                  <a:cubicBezTo>
                    <a:pt x="127210" y="46258"/>
                    <a:pt x="127492" y="46258"/>
                    <a:pt x="127492" y="47104"/>
                  </a:cubicBezTo>
                  <a:cubicBezTo>
                    <a:pt x="127774" y="47386"/>
                    <a:pt x="127774" y="47386"/>
                    <a:pt x="128056" y="47386"/>
                  </a:cubicBezTo>
                  <a:cubicBezTo>
                    <a:pt x="128338" y="47386"/>
                    <a:pt x="128338" y="47386"/>
                    <a:pt x="128620" y="47104"/>
                  </a:cubicBezTo>
                  <a:cubicBezTo>
                    <a:pt x="129466" y="46822"/>
                    <a:pt x="129466" y="46540"/>
                    <a:pt x="129749" y="45694"/>
                  </a:cubicBezTo>
                  <a:lnTo>
                    <a:pt x="129749" y="45412"/>
                  </a:lnTo>
                  <a:lnTo>
                    <a:pt x="129466" y="45412"/>
                  </a:lnTo>
                  <a:lnTo>
                    <a:pt x="129184" y="45694"/>
                  </a:lnTo>
                  <a:lnTo>
                    <a:pt x="128902" y="45694"/>
                  </a:lnTo>
                  <a:lnTo>
                    <a:pt x="129184" y="45412"/>
                  </a:lnTo>
                  <a:lnTo>
                    <a:pt x="129184" y="45130"/>
                  </a:lnTo>
                  <a:cubicBezTo>
                    <a:pt x="129749" y="44848"/>
                    <a:pt x="129749" y="44284"/>
                    <a:pt x="130030" y="44002"/>
                  </a:cubicBezTo>
                  <a:cubicBezTo>
                    <a:pt x="130030" y="43720"/>
                    <a:pt x="130030" y="43437"/>
                    <a:pt x="130594" y="42873"/>
                  </a:cubicBezTo>
                  <a:cubicBezTo>
                    <a:pt x="130030" y="43155"/>
                    <a:pt x="129749" y="43155"/>
                    <a:pt x="129184" y="43155"/>
                  </a:cubicBezTo>
                  <a:cubicBezTo>
                    <a:pt x="128620" y="43155"/>
                    <a:pt x="128056" y="43155"/>
                    <a:pt x="127774" y="42873"/>
                  </a:cubicBezTo>
                  <a:lnTo>
                    <a:pt x="128056" y="42591"/>
                  </a:lnTo>
                  <a:lnTo>
                    <a:pt x="128056" y="42309"/>
                  </a:lnTo>
                  <a:cubicBezTo>
                    <a:pt x="128056" y="42027"/>
                    <a:pt x="128338" y="41463"/>
                    <a:pt x="128338" y="41463"/>
                  </a:cubicBezTo>
                  <a:cubicBezTo>
                    <a:pt x="128620" y="41745"/>
                    <a:pt x="128902" y="41745"/>
                    <a:pt x="129184" y="41745"/>
                  </a:cubicBezTo>
                  <a:cubicBezTo>
                    <a:pt x="129184" y="42309"/>
                    <a:pt x="129749" y="42591"/>
                    <a:pt x="130030" y="42591"/>
                  </a:cubicBezTo>
                  <a:cubicBezTo>
                    <a:pt x="130313" y="42309"/>
                    <a:pt x="130877" y="42027"/>
                    <a:pt x="131159" y="41181"/>
                  </a:cubicBezTo>
                  <a:lnTo>
                    <a:pt x="134261" y="41181"/>
                  </a:lnTo>
                  <a:cubicBezTo>
                    <a:pt x="135390" y="41181"/>
                    <a:pt x="136800" y="40899"/>
                    <a:pt x="138774" y="40053"/>
                  </a:cubicBezTo>
                  <a:lnTo>
                    <a:pt x="140749" y="40053"/>
                  </a:lnTo>
                  <a:cubicBezTo>
                    <a:pt x="141313" y="40335"/>
                    <a:pt x="141313" y="40899"/>
                    <a:pt x="141313" y="41745"/>
                  </a:cubicBezTo>
                  <a:cubicBezTo>
                    <a:pt x="141313" y="42309"/>
                    <a:pt x="141877" y="42309"/>
                    <a:pt x="141877" y="42309"/>
                  </a:cubicBezTo>
                  <a:cubicBezTo>
                    <a:pt x="143005" y="42027"/>
                    <a:pt x="143005" y="42027"/>
                    <a:pt x="143287" y="42027"/>
                  </a:cubicBezTo>
                  <a:lnTo>
                    <a:pt x="144416" y="42027"/>
                  </a:lnTo>
                  <a:cubicBezTo>
                    <a:pt x="144416" y="42027"/>
                    <a:pt x="144133" y="42873"/>
                    <a:pt x="143852" y="43437"/>
                  </a:cubicBezTo>
                  <a:cubicBezTo>
                    <a:pt x="143852" y="44002"/>
                    <a:pt x="144133" y="44284"/>
                    <a:pt x="144416" y="44848"/>
                  </a:cubicBezTo>
                  <a:cubicBezTo>
                    <a:pt x="144980" y="44848"/>
                    <a:pt x="145262" y="44848"/>
                    <a:pt x="145262" y="45130"/>
                  </a:cubicBezTo>
                  <a:lnTo>
                    <a:pt x="144980" y="45412"/>
                  </a:lnTo>
                  <a:cubicBezTo>
                    <a:pt x="144980" y="45694"/>
                    <a:pt x="144697" y="45976"/>
                    <a:pt x="144416" y="46258"/>
                  </a:cubicBezTo>
                  <a:cubicBezTo>
                    <a:pt x="144416" y="46822"/>
                    <a:pt x="144133" y="47104"/>
                    <a:pt x="143852" y="47104"/>
                  </a:cubicBezTo>
                  <a:cubicBezTo>
                    <a:pt x="144416" y="47104"/>
                    <a:pt x="144980" y="46822"/>
                    <a:pt x="144980" y="46258"/>
                  </a:cubicBezTo>
                  <a:cubicBezTo>
                    <a:pt x="145826" y="45976"/>
                    <a:pt x="146390" y="45412"/>
                    <a:pt x="146672" y="45412"/>
                  </a:cubicBezTo>
                  <a:cubicBezTo>
                    <a:pt x="146954" y="45412"/>
                    <a:pt x="146954" y="45130"/>
                    <a:pt x="147236" y="45130"/>
                  </a:cubicBezTo>
                  <a:lnTo>
                    <a:pt x="147518" y="45412"/>
                  </a:lnTo>
                  <a:lnTo>
                    <a:pt x="148364" y="44848"/>
                  </a:lnTo>
                  <a:cubicBezTo>
                    <a:pt x="148928" y="43720"/>
                    <a:pt x="148928" y="43437"/>
                    <a:pt x="148928" y="43155"/>
                  </a:cubicBezTo>
                  <a:cubicBezTo>
                    <a:pt x="148928" y="42873"/>
                    <a:pt x="148928" y="42873"/>
                    <a:pt x="148928" y="42873"/>
                  </a:cubicBezTo>
                  <a:cubicBezTo>
                    <a:pt x="149211" y="42309"/>
                    <a:pt x="149775" y="41745"/>
                    <a:pt x="149775" y="41463"/>
                  </a:cubicBezTo>
                  <a:cubicBezTo>
                    <a:pt x="150339" y="40335"/>
                    <a:pt x="150903" y="40335"/>
                    <a:pt x="151467" y="39771"/>
                  </a:cubicBezTo>
                  <a:cubicBezTo>
                    <a:pt x="151467" y="39489"/>
                    <a:pt x="151467" y="39771"/>
                    <a:pt x="152314" y="39771"/>
                  </a:cubicBezTo>
                  <a:cubicBezTo>
                    <a:pt x="152595" y="39771"/>
                    <a:pt x="152878" y="40053"/>
                    <a:pt x="153159" y="40053"/>
                  </a:cubicBezTo>
                  <a:cubicBezTo>
                    <a:pt x="154288" y="40053"/>
                    <a:pt x="154852" y="39489"/>
                    <a:pt x="155980" y="38924"/>
                  </a:cubicBezTo>
                  <a:lnTo>
                    <a:pt x="156544" y="38924"/>
                  </a:lnTo>
                  <a:cubicBezTo>
                    <a:pt x="156826" y="39207"/>
                    <a:pt x="156826" y="39207"/>
                    <a:pt x="157390" y="39207"/>
                  </a:cubicBezTo>
                  <a:cubicBezTo>
                    <a:pt x="158236" y="39207"/>
                    <a:pt x="158519" y="39207"/>
                    <a:pt x="159083" y="38924"/>
                  </a:cubicBezTo>
                  <a:cubicBezTo>
                    <a:pt x="160211" y="38924"/>
                    <a:pt x="161057" y="39489"/>
                    <a:pt x="161621" y="39489"/>
                  </a:cubicBezTo>
                  <a:cubicBezTo>
                    <a:pt x="162750" y="39489"/>
                    <a:pt x="163878" y="38924"/>
                    <a:pt x="164724" y="38924"/>
                  </a:cubicBezTo>
                  <a:lnTo>
                    <a:pt x="165852" y="38924"/>
                  </a:lnTo>
                  <a:lnTo>
                    <a:pt x="165852" y="39207"/>
                  </a:lnTo>
                  <a:cubicBezTo>
                    <a:pt x="165852" y="39489"/>
                    <a:pt x="165852" y="39489"/>
                    <a:pt x="166134" y="39489"/>
                  </a:cubicBezTo>
                  <a:cubicBezTo>
                    <a:pt x="166417" y="39489"/>
                    <a:pt x="166417" y="39489"/>
                    <a:pt x="166698" y="39207"/>
                  </a:cubicBezTo>
                  <a:lnTo>
                    <a:pt x="167827" y="39207"/>
                  </a:lnTo>
                  <a:cubicBezTo>
                    <a:pt x="168391" y="39207"/>
                    <a:pt x="169801" y="39207"/>
                    <a:pt x="169801" y="40053"/>
                  </a:cubicBezTo>
                  <a:cubicBezTo>
                    <a:pt x="169801" y="40335"/>
                    <a:pt x="169801" y="40617"/>
                    <a:pt x="170365" y="40617"/>
                  </a:cubicBezTo>
                  <a:cubicBezTo>
                    <a:pt x="170365" y="40617"/>
                    <a:pt x="170929" y="40335"/>
                    <a:pt x="171493" y="40335"/>
                  </a:cubicBezTo>
                  <a:lnTo>
                    <a:pt x="172058" y="40335"/>
                  </a:lnTo>
                  <a:cubicBezTo>
                    <a:pt x="172622" y="40053"/>
                    <a:pt x="173468" y="39771"/>
                    <a:pt x="174314" y="39771"/>
                  </a:cubicBezTo>
                  <a:cubicBezTo>
                    <a:pt x="174878" y="39771"/>
                    <a:pt x="175442" y="40053"/>
                    <a:pt x="175724" y="40617"/>
                  </a:cubicBezTo>
                  <a:lnTo>
                    <a:pt x="177981" y="40617"/>
                  </a:lnTo>
                  <a:cubicBezTo>
                    <a:pt x="178263" y="40335"/>
                    <a:pt x="178827" y="40335"/>
                    <a:pt x="179109" y="40335"/>
                  </a:cubicBezTo>
                  <a:cubicBezTo>
                    <a:pt x="179673" y="40335"/>
                    <a:pt x="179955" y="40899"/>
                    <a:pt x="180520" y="41181"/>
                  </a:cubicBezTo>
                  <a:cubicBezTo>
                    <a:pt x="180801" y="41181"/>
                    <a:pt x="181084" y="41463"/>
                    <a:pt x="181084" y="42027"/>
                  </a:cubicBezTo>
                  <a:lnTo>
                    <a:pt x="181084" y="42309"/>
                  </a:lnTo>
                  <a:cubicBezTo>
                    <a:pt x="181084" y="43155"/>
                    <a:pt x="181648" y="43720"/>
                    <a:pt x="181648" y="44566"/>
                  </a:cubicBezTo>
                  <a:lnTo>
                    <a:pt x="181648" y="45130"/>
                  </a:lnTo>
                  <a:cubicBezTo>
                    <a:pt x="181930" y="45412"/>
                    <a:pt x="182494" y="45976"/>
                    <a:pt x="182494" y="46258"/>
                  </a:cubicBezTo>
                  <a:cubicBezTo>
                    <a:pt x="181930" y="47104"/>
                    <a:pt x="181648" y="47668"/>
                    <a:pt x="181930" y="47668"/>
                  </a:cubicBezTo>
                  <a:lnTo>
                    <a:pt x="181930" y="50771"/>
                  </a:lnTo>
                  <a:cubicBezTo>
                    <a:pt x="181930" y="51335"/>
                    <a:pt x="181084" y="51617"/>
                    <a:pt x="180801" y="51899"/>
                  </a:cubicBezTo>
                  <a:cubicBezTo>
                    <a:pt x="180520" y="51899"/>
                    <a:pt x="180237" y="52181"/>
                    <a:pt x="179955" y="52745"/>
                  </a:cubicBezTo>
                  <a:lnTo>
                    <a:pt x="177981" y="54156"/>
                  </a:lnTo>
                  <a:cubicBezTo>
                    <a:pt x="177699" y="54720"/>
                    <a:pt x="177417" y="54720"/>
                    <a:pt x="177417" y="54720"/>
                  </a:cubicBezTo>
                  <a:lnTo>
                    <a:pt x="176570" y="54720"/>
                  </a:lnTo>
                  <a:cubicBezTo>
                    <a:pt x="175724" y="54720"/>
                    <a:pt x="175160" y="55002"/>
                    <a:pt x="174314" y="55566"/>
                  </a:cubicBezTo>
                  <a:cubicBezTo>
                    <a:pt x="173186" y="56130"/>
                    <a:pt x="171776" y="56694"/>
                    <a:pt x="170648" y="56694"/>
                  </a:cubicBezTo>
                  <a:cubicBezTo>
                    <a:pt x="170083" y="56694"/>
                    <a:pt x="169801" y="56694"/>
                    <a:pt x="169519" y="56976"/>
                  </a:cubicBezTo>
                  <a:cubicBezTo>
                    <a:pt x="168673" y="57541"/>
                    <a:pt x="167827" y="57541"/>
                    <a:pt x="166698" y="57541"/>
                  </a:cubicBezTo>
                  <a:lnTo>
                    <a:pt x="165852" y="57541"/>
                  </a:lnTo>
                  <a:cubicBezTo>
                    <a:pt x="165570" y="57541"/>
                    <a:pt x="165288" y="57823"/>
                    <a:pt x="165288" y="57823"/>
                  </a:cubicBezTo>
                  <a:lnTo>
                    <a:pt x="165288" y="57541"/>
                  </a:lnTo>
                  <a:cubicBezTo>
                    <a:pt x="164724" y="57258"/>
                    <a:pt x="165006" y="56412"/>
                    <a:pt x="164160" y="56130"/>
                  </a:cubicBezTo>
                  <a:lnTo>
                    <a:pt x="164724" y="55566"/>
                  </a:lnTo>
                  <a:lnTo>
                    <a:pt x="166134" y="54438"/>
                  </a:lnTo>
                  <a:lnTo>
                    <a:pt x="164160" y="54438"/>
                  </a:lnTo>
                  <a:cubicBezTo>
                    <a:pt x="163878" y="54438"/>
                    <a:pt x="163878" y="54438"/>
                    <a:pt x="163878" y="54156"/>
                  </a:cubicBezTo>
                  <a:lnTo>
                    <a:pt x="165288" y="52745"/>
                  </a:lnTo>
                  <a:lnTo>
                    <a:pt x="165852" y="52745"/>
                  </a:lnTo>
                  <a:cubicBezTo>
                    <a:pt x="165852" y="52463"/>
                    <a:pt x="166417" y="52181"/>
                    <a:pt x="166698" y="51899"/>
                  </a:cubicBezTo>
                  <a:lnTo>
                    <a:pt x="166698" y="51617"/>
                  </a:lnTo>
                  <a:cubicBezTo>
                    <a:pt x="166417" y="51335"/>
                    <a:pt x="166417" y="51335"/>
                    <a:pt x="165852" y="51335"/>
                  </a:cubicBezTo>
                  <a:lnTo>
                    <a:pt x="165288" y="51617"/>
                  </a:lnTo>
                  <a:lnTo>
                    <a:pt x="165006" y="51617"/>
                  </a:lnTo>
                  <a:lnTo>
                    <a:pt x="165288" y="51335"/>
                  </a:lnTo>
                  <a:cubicBezTo>
                    <a:pt x="165288" y="51053"/>
                    <a:pt x="165570" y="51053"/>
                    <a:pt x="165570" y="50771"/>
                  </a:cubicBezTo>
                  <a:cubicBezTo>
                    <a:pt x="165570" y="50489"/>
                    <a:pt x="165006" y="50207"/>
                    <a:pt x="164160" y="50207"/>
                  </a:cubicBezTo>
                  <a:lnTo>
                    <a:pt x="163314" y="50207"/>
                  </a:lnTo>
                  <a:cubicBezTo>
                    <a:pt x="163031" y="50207"/>
                    <a:pt x="162750" y="50207"/>
                    <a:pt x="162467" y="50771"/>
                  </a:cubicBezTo>
                  <a:cubicBezTo>
                    <a:pt x="161903" y="51335"/>
                    <a:pt x="161339" y="51335"/>
                    <a:pt x="161057" y="51335"/>
                  </a:cubicBezTo>
                  <a:lnTo>
                    <a:pt x="159647" y="51335"/>
                  </a:lnTo>
                  <a:cubicBezTo>
                    <a:pt x="158800" y="51053"/>
                    <a:pt x="157672" y="50771"/>
                    <a:pt x="156544" y="50771"/>
                  </a:cubicBezTo>
                  <a:lnTo>
                    <a:pt x="152595" y="50771"/>
                  </a:lnTo>
                  <a:cubicBezTo>
                    <a:pt x="152314" y="50771"/>
                    <a:pt x="152031" y="50489"/>
                    <a:pt x="152031" y="50489"/>
                  </a:cubicBezTo>
                  <a:cubicBezTo>
                    <a:pt x="151749" y="50489"/>
                    <a:pt x="151749" y="50207"/>
                    <a:pt x="151749" y="49925"/>
                  </a:cubicBezTo>
                  <a:lnTo>
                    <a:pt x="151749" y="49361"/>
                  </a:lnTo>
                  <a:cubicBezTo>
                    <a:pt x="152031" y="48797"/>
                    <a:pt x="152314" y="48515"/>
                    <a:pt x="152314" y="48232"/>
                  </a:cubicBezTo>
                  <a:cubicBezTo>
                    <a:pt x="152314" y="47950"/>
                    <a:pt x="152314" y="47950"/>
                    <a:pt x="152031" y="47950"/>
                  </a:cubicBezTo>
                  <a:cubicBezTo>
                    <a:pt x="151467" y="48515"/>
                    <a:pt x="151185" y="48515"/>
                    <a:pt x="150903" y="49079"/>
                  </a:cubicBezTo>
                  <a:cubicBezTo>
                    <a:pt x="150057" y="49643"/>
                    <a:pt x="149775" y="49643"/>
                    <a:pt x="149493" y="49643"/>
                  </a:cubicBezTo>
                  <a:lnTo>
                    <a:pt x="149211" y="49643"/>
                  </a:lnTo>
                  <a:cubicBezTo>
                    <a:pt x="149211" y="49643"/>
                    <a:pt x="149211" y="49361"/>
                    <a:pt x="149493" y="49079"/>
                  </a:cubicBezTo>
                  <a:lnTo>
                    <a:pt x="149211" y="49079"/>
                  </a:lnTo>
                  <a:cubicBezTo>
                    <a:pt x="148928" y="49079"/>
                    <a:pt x="148364" y="49643"/>
                    <a:pt x="148364" y="49925"/>
                  </a:cubicBezTo>
                  <a:cubicBezTo>
                    <a:pt x="148083" y="50489"/>
                    <a:pt x="147236" y="51053"/>
                    <a:pt x="146954" y="51053"/>
                  </a:cubicBezTo>
                  <a:cubicBezTo>
                    <a:pt x="146108" y="51053"/>
                    <a:pt x="145544" y="51053"/>
                    <a:pt x="145262" y="50771"/>
                  </a:cubicBezTo>
                  <a:lnTo>
                    <a:pt x="143852" y="51335"/>
                  </a:lnTo>
                  <a:cubicBezTo>
                    <a:pt x="143005" y="51617"/>
                    <a:pt x="143005" y="51617"/>
                    <a:pt x="142723" y="51617"/>
                  </a:cubicBezTo>
                  <a:cubicBezTo>
                    <a:pt x="142441" y="51617"/>
                    <a:pt x="141877" y="51617"/>
                    <a:pt x="141313" y="51335"/>
                  </a:cubicBezTo>
                  <a:lnTo>
                    <a:pt x="140749" y="51335"/>
                  </a:lnTo>
                  <a:cubicBezTo>
                    <a:pt x="140466" y="51335"/>
                    <a:pt x="139902" y="51335"/>
                    <a:pt x="140185" y="51053"/>
                  </a:cubicBezTo>
                  <a:cubicBezTo>
                    <a:pt x="140185" y="50771"/>
                    <a:pt x="139902" y="51053"/>
                    <a:pt x="139621" y="51053"/>
                  </a:cubicBezTo>
                  <a:cubicBezTo>
                    <a:pt x="138492" y="51335"/>
                    <a:pt x="138492" y="51335"/>
                    <a:pt x="137928" y="51335"/>
                  </a:cubicBezTo>
                  <a:cubicBezTo>
                    <a:pt x="137082" y="51335"/>
                    <a:pt x="136518" y="51335"/>
                    <a:pt x="136236" y="50771"/>
                  </a:cubicBezTo>
                  <a:cubicBezTo>
                    <a:pt x="135954" y="51053"/>
                    <a:pt x="135954" y="51053"/>
                    <a:pt x="135672" y="51053"/>
                  </a:cubicBezTo>
                  <a:cubicBezTo>
                    <a:pt x="135390" y="51053"/>
                    <a:pt x="135108" y="50489"/>
                    <a:pt x="134544" y="50489"/>
                  </a:cubicBezTo>
                  <a:cubicBezTo>
                    <a:pt x="134544" y="50489"/>
                    <a:pt x="134261" y="50207"/>
                    <a:pt x="133980" y="50207"/>
                  </a:cubicBezTo>
                  <a:cubicBezTo>
                    <a:pt x="133697" y="50207"/>
                    <a:pt x="133415" y="50489"/>
                    <a:pt x="133133" y="50489"/>
                  </a:cubicBezTo>
                  <a:cubicBezTo>
                    <a:pt x="133133" y="50771"/>
                    <a:pt x="133133" y="51053"/>
                    <a:pt x="132287" y="51335"/>
                  </a:cubicBezTo>
                  <a:lnTo>
                    <a:pt x="132005" y="51335"/>
                  </a:lnTo>
                  <a:lnTo>
                    <a:pt x="132005" y="51053"/>
                  </a:lnTo>
                  <a:cubicBezTo>
                    <a:pt x="131723" y="51053"/>
                    <a:pt x="131441" y="50771"/>
                    <a:pt x="131441" y="50771"/>
                  </a:cubicBezTo>
                  <a:cubicBezTo>
                    <a:pt x="131159" y="50771"/>
                    <a:pt x="130877" y="51335"/>
                    <a:pt x="129749" y="51899"/>
                  </a:cubicBezTo>
                  <a:lnTo>
                    <a:pt x="129749" y="51335"/>
                  </a:lnTo>
                  <a:lnTo>
                    <a:pt x="129466" y="51053"/>
                  </a:lnTo>
                  <a:cubicBezTo>
                    <a:pt x="128902" y="51335"/>
                    <a:pt x="128902" y="51617"/>
                    <a:pt x="128902" y="51617"/>
                  </a:cubicBezTo>
                  <a:cubicBezTo>
                    <a:pt x="128338" y="51899"/>
                    <a:pt x="128056" y="51899"/>
                    <a:pt x="127774" y="51899"/>
                  </a:cubicBezTo>
                  <a:lnTo>
                    <a:pt x="127492" y="51899"/>
                  </a:lnTo>
                  <a:lnTo>
                    <a:pt x="127492" y="51335"/>
                  </a:lnTo>
                  <a:lnTo>
                    <a:pt x="127210" y="51335"/>
                  </a:lnTo>
                  <a:cubicBezTo>
                    <a:pt x="126646" y="51899"/>
                    <a:pt x="126363" y="52181"/>
                    <a:pt x="125799" y="52181"/>
                  </a:cubicBezTo>
                  <a:lnTo>
                    <a:pt x="125235" y="52181"/>
                  </a:lnTo>
                  <a:cubicBezTo>
                    <a:pt x="124107" y="51899"/>
                    <a:pt x="123261" y="51617"/>
                    <a:pt x="122415" y="51617"/>
                  </a:cubicBezTo>
                  <a:cubicBezTo>
                    <a:pt x="122415" y="51617"/>
                    <a:pt x="122132" y="51617"/>
                    <a:pt x="122132" y="51335"/>
                  </a:cubicBezTo>
                  <a:cubicBezTo>
                    <a:pt x="121851" y="51053"/>
                    <a:pt x="121851" y="50771"/>
                    <a:pt x="121568" y="50771"/>
                  </a:cubicBezTo>
                  <a:cubicBezTo>
                    <a:pt x="121287" y="50771"/>
                    <a:pt x="120722" y="51335"/>
                    <a:pt x="120440" y="51335"/>
                  </a:cubicBezTo>
                  <a:lnTo>
                    <a:pt x="120158" y="51617"/>
                  </a:lnTo>
                  <a:lnTo>
                    <a:pt x="119594" y="51335"/>
                  </a:lnTo>
                  <a:cubicBezTo>
                    <a:pt x="118466" y="51899"/>
                    <a:pt x="117338" y="52463"/>
                    <a:pt x="115927" y="52463"/>
                  </a:cubicBezTo>
                  <a:cubicBezTo>
                    <a:pt x="115646" y="52745"/>
                    <a:pt x="115363" y="52745"/>
                    <a:pt x="114799" y="52745"/>
                  </a:cubicBezTo>
                  <a:lnTo>
                    <a:pt x="113671" y="52745"/>
                  </a:lnTo>
                  <a:cubicBezTo>
                    <a:pt x="113389" y="52745"/>
                    <a:pt x="113389" y="52745"/>
                    <a:pt x="112825" y="53028"/>
                  </a:cubicBezTo>
                  <a:cubicBezTo>
                    <a:pt x="110850" y="53874"/>
                    <a:pt x="109158" y="54156"/>
                    <a:pt x="108029" y="54156"/>
                  </a:cubicBezTo>
                  <a:cubicBezTo>
                    <a:pt x="107184" y="54438"/>
                    <a:pt x="106619" y="54438"/>
                    <a:pt x="106055" y="54438"/>
                  </a:cubicBezTo>
                  <a:lnTo>
                    <a:pt x="104927" y="54438"/>
                  </a:lnTo>
                  <a:cubicBezTo>
                    <a:pt x="103798" y="54438"/>
                    <a:pt x="102388" y="54720"/>
                    <a:pt x="100978" y="55284"/>
                  </a:cubicBezTo>
                  <a:cubicBezTo>
                    <a:pt x="100696" y="55284"/>
                    <a:pt x="100696" y="55002"/>
                    <a:pt x="100414" y="55002"/>
                  </a:cubicBezTo>
                  <a:lnTo>
                    <a:pt x="100414" y="53310"/>
                  </a:lnTo>
                  <a:cubicBezTo>
                    <a:pt x="100414" y="53028"/>
                    <a:pt x="100414" y="53028"/>
                    <a:pt x="100978" y="52745"/>
                  </a:cubicBezTo>
                  <a:cubicBezTo>
                    <a:pt x="100696" y="52745"/>
                    <a:pt x="100696" y="52463"/>
                    <a:pt x="100696" y="52463"/>
                  </a:cubicBezTo>
                  <a:cubicBezTo>
                    <a:pt x="100696" y="52463"/>
                    <a:pt x="100414" y="52463"/>
                    <a:pt x="100414" y="52745"/>
                  </a:cubicBezTo>
                  <a:cubicBezTo>
                    <a:pt x="100132" y="52745"/>
                    <a:pt x="99850" y="53028"/>
                    <a:pt x="99850" y="53028"/>
                  </a:cubicBezTo>
                  <a:lnTo>
                    <a:pt x="97876" y="54438"/>
                  </a:lnTo>
                  <a:lnTo>
                    <a:pt x="97029" y="54438"/>
                  </a:lnTo>
                  <a:cubicBezTo>
                    <a:pt x="96465" y="55002"/>
                    <a:pt x="95901" y="55284"/>
                    <a:pt x="95055" y="55284"/>
                  </a:cubicBezTo>
                  <a:cubicBezTo>
                    <a:pt x="89978" y="64874"/>
                    <a:pt x="87721" y="66849"/>
                    <a:pt x="86875" y="66849"/>
                  </a:cubicBezTo>
                  <a:cubicBezTo>
                    <a:pt x="86311" y="66849"/>
                    <a:pt x="86311" y="66284"/>
                    <a:pt x="86311" y="65720"/>
                  </a:cubicBezTo>
                  <a:lnTo>
                    <a:pt x="86311" y="65438"/>
                  </a:lnTo>
                  <a:cubicBezTo>
                    <a:pt x="86311" y="65438"/>
                    <a:pt x="86029" y="65720"/>
                    <a:pt x="85747" y="65720"/>
                  </a:cubicBezTo>
                  <a:cubicBezTo>
                    <a:pt x="85464" y="65720"/>
                    <a:pt x="85464" y="65720"/>
                    <a:pt x="85464" y="66002"/>
                  </a:cubicBezTo>
                  <a:cubicBezTo>
                    <a:pt x="85464" y="66284"/>
                    <a:pt x="86593" y="68541"/>
                    <a:pt x="86593" y="68823"/>
                  </a:cubicBezTo>
                  <a:lnTo>
                    <a:pt x="86593" y="69105"/>
                  </a:lnTo>
                  <a:cubicBezTo>
                    <a:pt x="86311" y="69387"/>
                    <a:pt x="86311" y="69669"/>
                    <a:pt x="86029" y="70515"/>
                  </a:cubicBezTo>
                  <a:lnTo>
                    <a:pt x="85183" y="71079"/>
                  </a:lnTo>
                  <a:cubicBezTo>
                    <a:pt x="85183" y="71362"/>
                    <a:pt x="85464" y="71362"/>
                    <a:pt x="85747" y="71644"/>
                  </a:cubicBezTo>
                  <a:cubicBezTo>
                    <a:pt x="85747" y="71644"/>
                    <a:pt x="86029" y="71926"/>
                    <a:pt x="86029" y="72208"/>
                  </a:cubicBezTo>
                  <a:cubicBezTo>
                    <a:pt x="86029" y="72490"/>
                    <a:pt x="86029" y="73054"/>
                    <a:pt x="85747" y="73618"/>
                  </a:cubicBezTo>
                  <a:cubicBezTo>
                    <a:pt x="85183" y="73900"/>
                    <a:pt x="84900" y="74182"/>
                    <a:pt x="84900" y="74182"/>
                  </a:cubicBezTo>
                  <a:cubicBezTo>
                    <a:pt x="84619" y="74464"/>
                    <a:pt x="84336" y="74746"/>
                    <a:pt x="84054" y="74746"/>
                  </a:cubicBezTo>
                  <a:cubicBezTo>
                    <a:pt x="83490" y="75028"/>
                    <a:pt x="83208" y="75028"/>
                    <a:pt x="83208" y="75310"/>
                  </a:cubicBezTo>
                  <a:cubicBezTo>
                    <a:pt x="83208" y="75310"/>
                    <a:pt x="83772" y="75592"/>
                    <a:pt x="84054" y="75875"/>
                  </a:cubicBezTo>
                  <a:cubicBezTo>
                    <a:pt x="84336" y="75875"/>
                    <a:pt x="84619" y="76439"/>
                    <a:pt x="84336" y="76439"/>
                  </a:cubicBezTo>
                  <a:cubicBezTo>
                    <a:pt x="83490" y="77003"/>
                    <a:pt x="83490" y="77003"/>
                    <a:pt x="83208" y="77567"/>
                  </a:cubicBezTo>
                  <a:lnTo>
                    <a:pt x="83208" y="77849"/>
                  </a:lnTo>
                  <a:cubicBezTo>
                    <a:pt x="83490" y="78977"/>
                    <a:pt x="78978" y="92516"/>
                    <a:pt x="78978" y="94491"/>
                  </a:cubicBezTo>
                  <a:cubicBezTo>
                    <a:pt x="78978" y="95619"/>
                    <a:pt x="78978" y="96465"/>
                    <a:pt x="78131" y="96747"/>
                  </a:cubicBezTo>
                  <a:lnTo>
                    <a:pt x="78131" y="98721"/>
                  </a:lnTo>
                  <a:cubicBezTo>
                    <a:pt x="78131" y="99004"/>
                    <a:pt x="77285" y="99004"/>
                    <a:pt x="77285" y="99568"/>
                  </a:cubicBezTo>
                  <a:lnTo>
                    <a:pt x="77567" y="99850"/>
                  </a:lnTo>
                  <a:cubicBezTo>
                    <a:pt x="77567" y="100132"/>
                    <a:pt x="77567" y="100978"/>
                    <a:pt x="77285" y="100978"/>
                  </a:cubicBezTo>
                  <a:lnTo>
                    <a:pt x="77285" y="101542"/>
                  </a:lnTo>
                  <a:cubicBezTo>
                    <a:pt x="77285" y="102106"/>
                    <a:pt x="76721" y="104081"/>
                    <a:pt x="75875" y="104081"/>
                  </a:cubicBezTo>
                  <a:cubicBezTo>
                    <a:pt x="75311" y="104081"/>
                    <a:pt x="75311" y="104927"/>
                    <a:pt x="75311" y="104927"/>
                  </a:cubicBezTo>
                  <a:cubicBezTo>
                    <a:pt x="75592" y="104927"/>
                    <a:pt x="76157" y="105209"/>
                    <a:pt x="76157" y="105491"/>
                  </a:cubicBezTo>
                  <a:cubicBezTo>
                    <a:pt x="76157" y="105773"/>
                    <a:pt x="76157" y="105773"/>
                    <a:pt x="75592" y="106055"/>
                  </a:cubicBezTo>
                  <a:lnTo>
                    <a:pt x="75875" y="106337"/>
                  </a:lnTo>
                  <a:lnTo>
                    <a:pt x="75875" y="107183"/>
                  </a:lnTo>
                  <a:lnTo>
                    <a:pt x="75311" y="107183"/>
                  </a:lnTo>
                  <a:cubicBezTo>
                    <a:pt x="75592" y="107747"/>
                    <a:pt x="75592" y="108312"/>
                    <a:pt x="75592" y="108594"/>
                  </a:cubicBezTo>
                  <a:lnTo>
                    <a:pt x="74747" y="109722"/>
                  </a:lnTo>
                  <a:cubicBezTo>
                    <a:pt x="74747" y="110004"/>
                    <a:pt x="75028" y="110004"/>
                    <a:pt x="75028" y="110286"/>
                  </a:cubicBezTo>
                  <a:lnTo>
                    <a:pt x="75028" y="110568"/>
                  </a:lnTo>
                  <a:cubicBezTo>
                    <a:pt x="75028" y="110850"/>
                    <a:pt x="74747" y="110850"/>
                    <a:pt x="74464" y="111132"/>
                  </a:cubicBezTo>
                  <a:cubicBezTo>
                    <a:pt x="74464" y="111978"/>
                    <a:pt x="74464" y="112542"/>
                    <a:pt x="74182" y="113107"/>
                  </a:cubicBezTo>
                  <a:cubicBezTo>
                    <a:pt x="74182" y="113389"/>
                    <a:pt x="73900" y="113671"/>
                    <a:pt x="73900" y="113953"/>
                  </a:cubicBezTo>
                  <a:cubicBezTo>
                    <a:pt x="73618" y="113953"/>
                    <a:pt x="73336" y="114517"/>
                    <a:pt x="73336" y="115363"/>
                  </a:cubicBezTo>
                  <a:cubicBezTo>
                    <a:pt x="73336" y="115645"/>
                    <a:pt x="73618" y="115645"/>
                    <a:pt x="73618" y="115927"/>
                  </a:cubicBezTo>
                  <a:lnTo>
                    <a:pt x="73618" y="116491"/>
                  </a:lnTo>
                  <a:cubicBezTo>
                    <a:pt x="73618" y="117055"/>
                    <a:pt x="73054" y="117055"/>
                    <a:pt x="73054" y="118184"/>
                  </a:cubicBezTo>
                  <a:cubicBezTo>
                    <a:pt x="73054" y="118466"/>
                    <a:pt x="72490" y="119030"/>
                    <a:pt x="72490" y="119030"/>
                  </a:cubicBezTo>
                  <a:cubicBezTo>
                    <a:pt x="71644" y="119594"/>
                    <a:pt x="71080" y="119594"/>
                    <a:pt x="71080" y="119876"/>
                  </a:cubicBezTo>
                  <a:cubicBezTo>
                    <a:pt x="71080" y="119876"/>
                    <a:pt x="71361" y="120158"/>
                    <a:pt x="71644" y="120158"/>
                  </a:cubicBezTo>
                  <a:cubicBezTo>
                    <a:pt x="71644" y="120440"/>
                    <a:pt x="71926" y="120440"/>
                    <a:pt x="71926" y="120722"/>
                  </a:cubicBezTo>
                  <a:lnTo>
                    <a:pt x="71926" y="121286"/>
                  </a:lnTo>
                  <a:cubicBezTo>
                    <a:pt x="71926" y="122133"/>
                    <a:pt x="71361" y="122697"/>
                    <a:pt x="70516" y="123261"/>
                  </a:cubicBezTo>
                  <a:cubicBezTo>
                    <a:pt x="70233" y="123543"/>
                    <a:pt x="69951" y="123543"/>
                    <a:pt x="69951" y="123825"/>
                  </a:cubicBezTo>
                  <a:lnTo>
                    <a:pt x="70233" y="124107"/>
                  </a:lnTo>
                  <a:cubicBezTo>
                    <a:pt x="70233" y="124389"/>
                    <a:pt x="70233" y="124671"/>
                    <a:pt x="70516" y="124953"/>
                  </a:cubicBezTo>
                  <a:cubicBezTo>
                    <a:pt x="70516" y="125235"/>
                    <a:pt x="70797" y="125517"/>
                    <a:pt x="70797" y="125517"/>
                  </a:cubicBezTo>
                  <a:cubicBezTo>
                    <a:pt x="70797" y="125799"/>
                    <a:pt x="70516" y="125799"/>
                    <a:pt x="70516" y="125799"/>
                  </a:cubicBezTo>
                  <a:cubicBezTo>
                    <a:pt x="70516" y="126081"/>
                    <a:pt x="70516" y="126363"/>
                    <a:pt x="70797" y="126363"/>
                  </a:cubicBezTo>
                  <a:lnTo>
                    <a:pt x="71361" y="126363"/>
                  </a:lnTo>
                  <a:lnTo>
                    <a:pt x="71361" y="126646"/>
                  </a:lnTo>
                  <a:lnTo>
                    <a:pt x="71080" y="126928"/>
                  </a:lnTo>
                  <a:lnTo>
                    <a:pt x="70516" y="126928"/>
                  </a:lnTo>
                  <a:cubicBezTo>
                    <a:pt x="70233" y="126928"/>
                    <a:pt x="70233" y="126646"/>
                    <a:pt x="69951" y="126363"/>
                  </a:cubicBezTo>
                  <a:lnTo>
                    <a:pt x="69669" y="126363"/>
                  </a:lnTo>
                  <a:cubicBezTo>
                    <a:pt x="69387" y="126363"/>
                    <a:pt x="68823" y="126928"/>
                    <a:pt x="68823" y="127774"/>
                  </a:cubicBezTo>
                  <a:cubicBezTo>
                    <a:pt x="68823" y="128056"/>
                    <a:pt x="68541" y="128056"/>
                    <a:pt x="68541" y="128056"/>
                  </a:cubicBezTo>
                  <a:lnTo>
                    <a:pt x="67977" y="128056"/>
                  </a:lnTo>
                  <a:cubicBezTo>
                    <a:pt x="67977" y="127774"/>
                    <a:pt x="67130" y="128338"/>
                    <a:pt x="67130" y="128338"/>
                  </a:cubicBezTo>
                  <a:cubicBezTo>
                    <a:pt x="66849" y="128902"/>
                    <a:pt x="66849" y="129184"/>
                    <a:pt x="66849" y="129466"/>
                  </a:cubicBezTo>
                  <a:lnTo>
                    <a:pt x="66849" y="130030"/>
                  </a:lnTo>
                  <a:cubicBezTo>
                    <a:pt x="66849" y="130312"/>
                    <a:pt x="66849" y="130594"/>
                    <a:pt x="66566" y="130594"/>
                  </a:cubicBezTo>
                  <a:lnTo>
                    <a:pt x="66566" y="131723"/>
                  </a:lnTo>
                  <a:lnTo>
                    <a:pt x="67130" y="132851"/>
                  </a:lnTo>
                  <a:lnTo>
                    <a:pt x="67130" y="133133"/>
                  </a:lnTo>
                  <a:cubicBezTo>
                    <a:pt x="67130" y="133415"/>
                    <a:pt x="67130" y="133415"/>
                    <a:pt x="66849" y="133415"/>
                  </a:cubicBezTo>
                  <a:cubicBezTo>
                    <a:pt x="66849" y="133979"/>
                    <a:pt x="66566" y="134261"/>
                    <a:pt x="66002" y="134825"/>
                  </a:cubicBezTo>
                  <a:cubicBezTo>
                    <a:pt x="66002" y="134825"/>
                    <a:pt x="66002" y="135107"/>
                    <a:pt x="66285" y="135389"/>
                  </a:cubicBezTo>
                  <a:lnTo>
                    <a:pt x="66566" y="135389"/>
                  </a:lnTo>
                  <a:lnTo>
                    <a:pt x="67413" y="134825"/>
                  </a:lnTo>
                  <a:cubicBezTo>
                    <a:pt x="67695" y="134825"/>
                    <a:pt x="67977" y="134261"/>
                    <a:pt x="68541" y="134261"/>
                  </a:cubicBezTo>
                  <a:cubicBezTo>
                    <a:pt x="68823" y="134261"/>
                    <a:pt x="69387" y="133979"/>
                    <a:pt x="69387" y="133697"/>
                  </a:cubicBezTo>
                  <a:lnTo>
                    <a:pt x="69951" y="133697"/>
                  </a:lnTo>
                  <a:lnTo>
                    <a:pt x="69951" y="134261"/>
                  </a:lnTo>
                  <a:cubicBezTo>
                    <a:pt x="69669" y="134261"/>
                    <a:pt x="69387" y="134825"/>
                    <a:pt x="69105" y="135389"/>
                  </a:cubicBezTo>
                  <a:lnTo>
                    <a:pt x="69105" y="135954"/>
                  </a:lnTo>
                  <a:cubicBezTo>
                    <a:pt x="69105" y="136800"/>
                    <a:pt x="69105" y="137082"/>
                    <a:pt x="67413" y="137082"/>
                  </a:cubicBezTo>
                  <a:cubicBezTo>
                    <a:pt x="67130" y="137082"/>
                    <a:pt x="67130" y="137646"/>
                    <a:pt x="67130" y="137928"/>
                  </a:cubicBezTo>
                  <a:lnTo>
                    <a:pt x="67130" y="138774"/>
                  </a:lnTo>
                  <a:cubicBezTo>
                    <a:pt x="67130" y="139056"/>
                    <a:pt x="67130" y="139056"/>
                    <a:pt x="67413" y="139338"/>
                  </a:cubicBezTo>
                  <a:cubicBezTo>
                    <a:pt x="67695" y="139620"/>
                    <a:pt x="68541" y="139338"/>
                    <a:pt x="68541" y="139902"/>
                  </a:cubicBezTo>
                  <a:lnTo>
                    <a:pt x="68541" y="140185"/>
                  </a:lnTo>
                  <a:cubicBezTo>
                    <a:pt x="68541" y="140467"/>
                    <a:pt x="68259" y="140467"/>
                    <a:pt x="68259" y="141031"/>
                  </a:cubicBezTo>
                  <a:cubicBezTo>
                    <a:pt x="68259" y="141595"/>
                    <a:pt x="67695" y="141595"/>
                    <a:pt x="67695" y="141595"/>
                  </a:cubicBezTo>
                  <a:lnTo>
                    <a:pt x="67413" y="141877"/>
                  </a:lnTo>
                  <a:cubicBezTo>
                    <a:pt x="67413" y="142441"/>
                    <a:pt x="67413" y="142441"/>
                    <a:pt x="67695" y="143005"/>
                  </a:cubicBezTo>
                  <a:cubicBezTo>
                    <a:pt x="67695" y="143287"/>
                    <a:pt x="67695" y="143287"/>
                    <a:pt x="67413" y="143287"/>
                  </a:cubicBezTo>
                  <a:cubicBezTo>
                    <a:pt x="67413" y="143287"/>
                    <a:pt x="67130" y="143287"/>
                    <a:pt x="66849" y="143005"/>
                  </a:cubicBezTo>
                  <a:lnTo>
                    <a:pt x="66849" y="142723"/>
                  </a:lnTo>
                  <a:lnTo>
                    <a:pt x="66566" y="142441"/>
                  </a:lnTo>
                  <a:cubicBezTo>
                    <a:pt x="66849" y="141877"/>
                    <a:pt x="67130" y="141595"/>
                    <a:pt x="67130" y="140749"/>
                  </a:cubicBezTo>
                  <a:lnTo>
                    <a:pt x="66849" y="140185"/>
                  </a:lnTo>
                  <a:cubicBezTo>
                    <a:pt x="65720" y="140749"/>
                    <a:pt x="65438" y="141313"/>
                    <a:pt x="65156" y="141595"/>
                  </a:cubicBezTo>
                  <a:lnTo>
                    <a:pt x="64874" y="141877"/>
                  </a:lnTo>
                  <a:cubicBezTo>
                    <a:pt x="64874" y="141877"/>
                    <a:pt x="64874" y="142159"/>
                    <a:pt x="65156" y="142159"/>
                  </a:cubicBezTo>
                  <a:cubicBezTo>
                    <a:pt x="65438" y="142441"/>
                    <a:pt x="65720" y="142441"/>
                    <a:pt x="65720" y="142441"/>
                  </a:cubicBezTo>
                  <a:lnTo>
                    <a:pt x="65720" y="142723"/>
                  </a:lnTo>
                  <a:cubicBezTo>
                    <a:pt x="65438" y="143005"/>
                    <a:pt x="65156" y="143287"/>
                    <a:pt x="65156" y="144133"/>
                  </a:cubicBezTo>
                  <a:cubicBezTo>
                    <a:pt x="65156" y="144415"/>
                    <a:pt x="65156" y="144415"/>
                    <a:pt x="64310" y="144697"/>
                  </a:cubicBezTo>
                  <a:cubicBezTo>
                    <a:pt x="63746" y="144980"/>
                    <a:pt x="63464" y="144980"/>
                    <a:pt x="63464" y="145262"/>
                  </a:cubicBezTo>
                  <a:cubicBezTo>
                    <a:pt x="63464" y="145544"/>
                    <a:pt x="63746" y="145544"/>
                    <a:pt x="64028" y="145826"/>
                  </a:cubicBezTo>
                  <a:cubicBezTo>
                    <a:pt x="64592" y="146108"/>
                    <a:pt x="64592" y="146954"/>
                    <a:pt x="64592" y="146954"/>
                  </a:cubicBezTo>
                  <a:cubicBezTo>
                    <a:pt x="63746" y="147236"/>
                    <a:pt x="63746" y="147518"/>
                    <a:pt x="63746" y="147800"/>
                  </a:cubicBezTo>
                  <a:lnTo>
                    <a:pt x="64028" y="148082"/>
                  </a:lnTo>
                  <a:cubicBezTo>
                    <a:pt x="64028" y="148646"/>
                    <a:pt x="64028" y="148646"/>
                    <a:pt x="63746" y="149210"/>
                  </a:cubicBezTo>
                  <a:cubicBezTo>
                    <a:pt x="63464" y="149493"/>
                    <a:pt x="63182" y="149493"/>
                    <a:pt x="63182" y="149775"/>
                  </a:cubicBezTo>
                  <a:cubicBezTo>
                    <a:pt x="63182" y="150057"/>
                    <a:pt x="63464" y="150339"/>
                    <a:pt x="63746" y="150621"/>
                  </a:cubicBezTo>
                  <a:lnTo>
                    <a:pt x="64028" y="150903"/>
                  </a:lnTo>
                  <a:cubicBezTo>
                    <a:pt x="64028" y="151185"/>
                    <a:pt x="63746" y="151467"/>
                    <a:pt x="63464" y="151467"/>
                  </a:cubicBezTo>
                  <a:lnTo>
                    <a:pt x="62618" y="153159"/>
                  </a:lnTo>
                  <a:lnTo>
                    <a:pt x="62618" y="153441"/>
                  </a:lnTo>
                  <a:cubicBezTo>
                    <a:pt x="62900" y="153723"/>
                    <a:pt x="62900" y="154006"/>
                    <a:pt x="62900" y="154570"/>
                  </a:cubicBezTo>
                  <a:cubicBezTo>
                    <a:pt x="62618" y="154852"/>
                    <a:pt x="62618" y="155134"/>
                    <a:pt x="62618" y="155416"/>
                  </a:cubicBezTo>
                  <a:lnTo>
                    <a:pt x="62618" y="156544"/>
                  </a:lnTo>
                  <a:cubicBezTo>
                    <a:pt x="62618" y="156826"/>
                    <a:pt x="62900" y="156826"/>
                    <a:pt x="62900" y="157108"/>
                  </a:cubicBezTo>
                  <a:cubicBezTo>
                    <a:pt x="63182" y="157108"/>
                    <a:pt x="63182" y="157108"/>
                    <a:pt x="63182" y="157390"/>
                  </a:cubicBezTo>
                  <a:cubicBezTo>
                    <a:pt x="63182" y="157672"/>
                    <a:pt x="62900" y="157954"/>
                    <a:pt x="62618" y="157954"/>
                  </a:cubicBezTo>
                  <a:cubicBezTo>
                    <a:pt x="62618" y="158236"/>
                    <a:pt x="62618" y="159083"/>
                    <a:pt x="62336" y="159647"/>
                  </a:cubicBezTo>
                  <a:cubicBezTo>
                    <a:pt x="62054" y="159929"/>
                    <a:pt x="62054" y="160211"/>
                    <a:pt x="62054" y="160211"/>
                  </a:cubicBezTo>
                  <a:cubicBezTo>
                    <a:pt x="62054" y="160493"/>
                    <a:pt x="62054" y="160775"/>
                    <a:pt x="62336" y="160775"/>
                  </a:cubicBezTo>
                  <a:lnTo>
                    <a:pt x="62336" y="161621"/>
                  </a:lnTo>
                  <a:cubicBezTo>
                    <a:pt x="62336" y="161903"/>
                    <a:pt x="62054" y="162185"/>
                    <a:pt x="61208" y="162467"/>
                  </a:cubicBezTo>
                  <a:cubicBezTo>
                    <a:pt x="60925" y="162749"/>
                    <a:pt x="60644" y="162749"/>
                    <a:pt x="60644" y="162749"/>
                  </a:cubicBezTo>
                  <a:cubicBezTo>
                    <a:pt x="60644" y="163314"/>
                    <a:pt x="60644" y="163596"/>
                    <a:pt x="60925" y="163596"/>
                  </a:cubicBezTo>
                  <a:cubicBezTo>
                    <a:pt x="61772" y="163596"/>
                    <a:pt x="61772" y="163878"/>
                    <a:pt x="62054" y="164724"/>
                  </a:cubicBezTo>
                  <a:cubicBezTo>
                    <a:pt x="62054" y="165006"/>
                    <a:pt x="61772" y="165006"/>
                    <a:pt x="61772" y="165288"/>
                  </a:cubicBezTo>
                  <a:lnTo>
                    <a:pt x="62054" y="165570"/>
                  </a:lnTo>
                  <a:lnTo>
                    <a:pt x="62054" y="166698"/>
                  </a:lnTo>
                  <a:cubicBezTo>
                    <a:pt x="62054" y="166980"/>
                    <a:pt x="61772" y="167544"/>
                    <a:pt x="61208" y="167827"/>
                  </a:cubicBezTo>
                  <a:lnTo>
                    <a:pt x="61208" y="169519"/>
                  </a:lnTo>
                  <a:cubicBezTo>
                    <a:pt x="60925" y="169801"/>
                    <a:pt x="60925" y="170083"/>
                    <a:pt x="60925" y="170365"/>
                  </a:cubicBezTo>
                  <a:cubicBezTo>
                    <a:pt x="60925" y="170647"/>
                    <a:pt x="60925" y="170647"/>
                    <a:pt x="60644" y="170929"/>
                  </a:cubicBezTo>
                  <a:cubicBezTo>
                    <a:pt x="60644" y="171211"/>
                    <a:pt x="60644" y="171493"/>
                    <a:pt x="60925" y="171493"/>
                  </a:cubicBezTo>
                  <a:lnTo>
                    <a:pt x="62054" y="171493"/>
                  </a:lnTo>
                  <a:cubicBezTo>
                    <a:pt x="62336" y="171493"/>
                    <a:pt x="62618" y="171211"/>
                    <a:pt x="62618" y="170929"/>
                  </a:cubicBezTo>
                  <a:lnTo>
                    <a:pt x="62900" y="170929"/>
                  </a:lnTo>
                  <a:cubicBezTo>
                    <a:pt x="62900" y="170929"/>
                    <a:pt x="63182" y="170929"/>
                    <a:pt x="63182" y="171211"/>
                  </a:cubicBezTo>
                  <a:cubicBezTo>
                    <a:pt x="63182" y="171493"/>
                    <a:pt x="63182" y="171775"/>
                    <a:pt x="63464" y="172340"/>
                  </a:cubicBezTo>
                  <a:cubicBezTo>
                    <a:pt x="63464" y="172340"/>
                    <a:pt x="63464" y="172622"/>
                    <a:pt x="63746" y="172622"/>
                  </a:cubicBezTo>
                  <a:cubicBezTo>
                    <a:pt x="64028" y="172904"/>
                    <a:pt x="64028" y="173186"/>
                    <a:pt x="64028" y="173186"/>
                  </a:cubicBezTo>
                  <a:cubicBezTo>
                    <a:pt x="64028" y="173468"/>
                    <a:pt x="63746" y="173468"/>
                    <a:pt x="63182" y="174032"/>
                  </a:cubicBezTo>
                  <a:cubicBezTo>
                    <a:pt x="62900" y="174314"/>
                    <a:pt x="62900" y="174314"/>
                    <a:pt x="62618" y="174314"/>
                  </a:cubicBezTo>
                  <a:cubicBezTo>
                    <a:pt x="62336" y="174032"/>
                    <a:pt x="62054" y="173186"/>
                    <a:pt x="61489" y="172904"/>
                  </a:cubicBezTo>
                  <a:lnTo>
                    <a:pt x="61208" y="172622"/>
                  </a:lnTo>
                  <a:cubicBezTo>
                    <a:pt x="61208" y="172622"/>
                    <a:pt x="61208" y="172904"/>
                    <a:pt x="60925" y="173186"/>
                  </a:cubicBezTo>
                  <a:cubicBezTo>
                    <a:pt x="60644" y="173750"/>
                    <a:pt x="60079" y="174314"/>
                    <a:pt x="60079" y="174878"/>
                  </a:cubicBezTo>
                  <a:lnTo>
                    <a:pt x="60079" y="175160"/>
                  </a:lnTo>
                  <a:cubicBezTo>
                    <a:pt x="60079" y="176006"/>
                    <a:pt x="60079" y="177135"/>
                    <a:pt x="59797" y="178263"/>
                  </a:cubicBezTo>
                  <a:lnTo>
                    <a:pt x="59797" y="179391"/>
                  </a:lnTo>
                  <a:cubicBezTo>
                    <a:pt x="59515" y="179673"/>
                    <a:pt x="59515" y="179955"/>
                    <a:pt x="59515" y="180237"/>
                  </a:cubicBezTo>
                  <a:lnTo>
                    <a:pt x="59515" y="181365"/>
                  </a:lnTo>
                  <a:cubicBezTo>
                    <a:pt x="59797" y="181648"/>
                    <a:pt x="59797" y="181648"/>
                    <a:pt x="59797" y="181930"/>
                  </a:cubicBezTo>
                  <a:lnTo>
                    <a:pt x="59797" y="183058"/>
                  </a:lnTo>
                  <a:cubicBezTo>
                    <a:pt x="59797" y="183058"/>
                    <a:pt x="59797" y="183622"/>
                    <a:pt x="59233" y="183904"/>
                  </a:cubicBezTo>
                  <a:lnTo>
                    <a:pt x="59233" y="184750"/>
                  </a:lnTo>
                  <a:cubicBezTo>
                    <a:pt x="59233" y="185314"/>
                    <a:pt x="59515" y="185878"/>
                    <a:pt x="59515" y="186443"/>
                  </a:cubicBezTo>
                  <a:cubicBezTo>
                    <a:pt x="59515" y="187007"/>
                    <a:pt x="59233" y="187289"/>
                    <a:pt x="59233" y="187853"/>
                  </a:cubicBezTo>
                  <a:lnTo>
                    <a:pt x="59233" y="188135"/>
                  </a:lnTo>
                  <a:cubicBezTo>
                    <a:pt x="59233" y="188417"/>
                    <a:pt x="59233" y="188417"/>
                    <a:pt x="59515" y="188417"/>
                  </a:cubicBezTo>
                  <a:lnTo>
                    <a:pt x="59797" y="188417"/>
                  </a:lnTo>
                  <a:lnTo>
                    <a:pt x="60079" y="188981"/>
                  </a:lnTo>
                  <a:cubicBezTo>
                    <a:pt x="59515" y="189263"/>
                    <a:pt x="59797" y="189545"/>
                    <a:pt x="59515" y="189827"/>
                  </a:cubicBezTo>
                  <a:lnTo>
                    <a:pt x="59515" y="192084"/>
                  </a:lnTo>
                  <a:cubicBezTo>
                    <a:pt x="59515" y="192366"/>
                    <a:pt x="59515" y="192366"/>
                    <a:pt x="59797" y="192366"/>
                  </a:cubicBezTo>
                  <a:lnTo>
                    <a:pt x="60079" y="192366"/>
                  </a:lnTo>
                  <a:cubicBezTo>
                    <a:pt x="60079" y="191802"/>
                    <a:pt x="60644" y="191238"/>
                    <a:pt x="60644" y="190956"/>
                  </a:cubicBezTo>
                  <a:lnTo>
                    <a:pt x="60925" y="190673"/>
                  </a:lnTo>
                  <a:cubicBezTo>
                    <a:pt x="60925" y="190673"/>
                    <a:pt x="60925" y="190956"/>
                    <a:pt x="61208" y="190956"/>
                  </a:cubicBezTo>
                  <a:cubicBezTo>
                    <a:pt x="62054" y="191238"/>
                    <a:pt x="62054" y="191238"/>
                    <a:pt x="62054" y="192084"/>
                  </a:cubicBezTo>
                  <a:cubicBezTo>
                    <a:pt x="61489" y="192084"/>
                    <a:pt x="61489" y="192366"/>
                    <a:pt x="61489" y="192648"/>
                  </a:cubicBezTo>
                  <a:cubicBezTo>
                    <a:pt x="61489" y="192648"/>
                    <a:pt x="62054" y="192648"/>
                    <a:pt x="62054" y="192930"/>
                  </a:cubicBezTo>
                  <a:cubicBezTo>
                    <a:pt x="61772" y="194058"/>
                    <a:pt x="61772" y="194904"/>
                    <a:pt x="61772" y="195751"/>
                  </a:cubicBezTo>
                  <a:lnTo>
                    <a:pt x="61208" y="195751"/>
                  </a:lnTo>
                  <a:cubicBezTo>
                    <a:pt x="60925" y="195751"/>
                    <a:pt x="60925" y="195469"/>
                    <a:pt x="60644" y="195186"/>
                  </a:cubicBezTo>
                  <a:cubicBezTo>
                    <a:pt x="60079" y="194622"/>
                    <a:pt x="60079" y="194340"/>
                    <a:pt x="60079" y="194058"/>
                  </a:cubicBezTo>
                  <a:cubicBezTo>
                    <a:pt x="60079" y="194058"/>
                    <a:pt x="60079" y="193776"/>
                    <a:pt x="60644" y="193212"/>
                  </a:cubicBezTo>
                  <a:lnTo>
                    <a:pt x="60925" y="192930"/>
                  </a:lnTo>
                  <a:lnTo>
                    <a:pt x="60644" y="192930"/>
                  </a:lnTo>
                  <a:cubicBezTo>
                    <a:pt x="60644" y="192648"/>
                    <a:pt x="60079" y="192648"/>
                    <a:pt x="60079" y="192648"/>
                  </a:cubicBezTo>
                  <a:cubicBezTo>
                    <a:pt x="59797" y="192930"/>
                    <a:pt x="59515" y="193212"/>
                    <a:pt x="59233" y="194058"/>
                  </a:cubicBezTo>
                  <a:lnTo>
                    <a:pt x="59233" y="194904"/>
                  </a:lnTo>
                  <a:cubicBezTo>
                    <a:pt x="59233" y="195186"/>
                    <a:pt x="58951" y="195469"/>
                    <a:pt x="58387" y="195751"/>
                  </a:cubicBezTo>
                  <a:cubicBezTo>
                    <a:pt x="58105" y="195751"/>
                    <a:pt x="58387" y="196033"/>
                    <a:pt x="58951" y="196315"/>
                  </a:cubicBezTo>
                  <a:lnTo>
                    <a:pt x="59515" y="196879"/>
                  </a:lnTo>
                  <a:cubicBezTo>
                    <a:pt x="58669" y="197161"/>
                    <a:pt x="58669" y="197161"/>
                    <a:pt x="58669" y="197443"/>
                  </a:cubicBezTo>
                  <a:lnTo>
                    <a:pt x="58669" y="198007"/>
                  </a:lnTo>
                  <a:cubicBezTo>
                    <a:pt x="58669" y="198289"/>
                    <a:pt x="59515" y="198571"/>
                    <a:pt x="60079" y="198571"/>
                  </a:cubicBezTo>
                  <a:lnTo>
                    <a:pt x="60925" y="198571"/>
                  </a:lnTo>
                  <a:cubicBezTo>
                    <a:pt x="61772" y="198571"/>
                    <a:pt x="62054" y="198571"/>
                    <a:pt x="62054" y="198853"/>
                  </a:cubicBezTo>
                  <a:cubicBezTo>
                    <a:pt x="62054" y="199135"/>
                    <a:pt x="61772" y="199417"/>
                    <a:pt x="61772" y="199982"/>
                  </a:cubicBezTo>
                  <a:cubicBezTo>
                    <a:pt x="61772" y="201392"/>
                    <a:pt x="61772" y="203084"/>
                    <a:pt x="62054" y="204777"/>
                  </a:cubicBezTo>
                  <a:lnTo>
                    <a:pt x="62054" y="205905"/>
                  </a:lnTo>
                  <a:cubicBezTo>
                    <a:pt x="61489" y="205905"/>
                    <a:pt x="61489" y="206187"/>
                    <a:pt x="61489" y="206187"/>
                  </a:cubicBezTo>
                  <a:cubicBezTo>
                    <a:pt x="61772" y="206469"/>
                    <a:pt x="61772" y="206469"/>
                    <a:pt x="61772" y="207033"/>
                  </a:cubicBezTo>
                  <a:cubicBezTo>
                    <a:pt x="62054" y="207879"/>
                    <a:pt x="62054" y="208725"/>
                    <a:pt x="62054" y="209290"/>
                  </a:cubicBezTo>
                  <a:cubicBezTo>
                    <a:pt x="62054" y="209290"/>
                    <a:pt x="61772" y="209572"/>
                    <a:pt x="61772" y="209854"/>
                  </a:cubicBezTo>
                  <a:cubicBezTo>
                    <a:pt x="61772" y="210136"/>
                    <a:pt x="61772" y="210418"/>
                    <a:pt x="61208" y="210700"/>
                  </a:cubicBezTo>
                  <a:lnTo>
                    <a:pt x="61208" y="212392"/>
                  </a:lnTo>
                  <a:cubicBezTo>
                    <a:pt x="61489" y="212674"/>
                    <a:pt x="61772" y="212674"/>
                    <a:pt x="61772" y="212674"/>
                  </a:cubicBezTo>
                  <a:lnTo>
                    <a:pt x="61489" y="212956"/>
                  </a:lnTo>
                  <a:cubicBezTo>
                    <a:pt x="61489" y="213238"/>
                    <a:pt x="61489" y="213520"/>
                    <a:pt x="62054" y="213803"/>
                  </a:cubicBezTo>
                  <a:lnTo>
                    <a:pt x="62054" y="214085"/>
                  </a:lnTo>
                  <a:cubicBezTo>
                    <a:pt x="61489" y="214367"/>
                    <a:pt x="61489" y="214367"/>
                    <a:pt x="61489" y="214649"/>
                  </a:cubicBezTo>
                  <a:cubicBezTo>
                    <a:pt x="61772" y="214931"/>
                    <a:pt x="61772" y="215213"/>
                    <a:pt x="61772" y="215213"/>
                  </a:cubicBezTo>
                  <a:cubicBezTo>
                    <a:pt x="61772" y="215495"/>
                    <a:pt x="61772" y="215495"/>
                    <a:pt x="61489" y="215495"/>
                  </a:cubicBezTo>
                  <a:lnTo>
                    <a:pt x="61208" y="215777"/>
                  </a:lnTo>
                  <a:lnTo>
                    <a:pt x="60925" y="215495"/>
                  </a:lnTo>
                  <a:lnTo>
                    <a:pt x="60925" y="214649"/>
                  </a:lnTo>
                  <a:cubicBezTo>
                    <a:pt x="60925" y="214367"/>
                    <a:pt x="60644" y="214085"/>
                    <a:pt x="60079" y="214085"/>
                  </a:cubicBezTo>
                  <a:cubicBezTo>
                    <a:pt x="60079" y="214085"/>
                    <a:pt x="59797" y="214367"/>
                    <a:pt x="59797" y="214649"/>
                  </a:cubicBezTo>
                  <a:cubicBezTo>
                    <a:pt x="59797" y="215495"/>
                    <a:pt x="59515" y="216623"/>
                    <a:pt x="59515" y="217751"/>
                  </a:cubicBezTo>
                  <a:cubicBezTo>
                    <a:pt x="59515" y="218033"/>
                    <a:pt x="59797" y="218033"/>
                    <a:pt x="60361" y="218033"/>
                  </a:cubicBezTo>
                  <a:cubicBezTo>
                    <a:pt x="60644" y="218033"/>
                    <a:pt x="60644" y="217469"/>
                    <a:pt x="60925" y="217469"/>
                  </a:cubicBezTo>
                  <a:cubicBezTo>
                    <a:pt x="61208" y="217469"/>
                    <a:pt x="61772" y="217751"/>
                    <a:pt x="61772" y="217751"/>
                  </a:cubicBezTo>
                  <a:cubicBezTo>
                    <a:pt x="61772" y="218033"/>
                    <a:pt x="62054" y="218598"/>
                    <a:pt x="62054" y="218598"/>
                  </a:cubicBezTo>
                  <a:lnTo>
                    <a:pt x="62054" y="219726"/>
                  </a:lnTo>
                  <a:lnTo>
                    <a:pt x="62618" y="220854"/>
                  </a:lnTo>
                  <a:lnTo>
                    <a:pt x="62618" y="221982"/>
                  </a:lnTo>
                  <a:cubicBezTo>
                    <a:pt x="62618" y="222264"/>
                    <a:pt x="62336" y="222546"/>
                    <a:pt x="62336" y="222828"/>
                  </a:cubicBezTo>
                  <a:cubicBezTo>
                    <a:pt x="62336" y="223111"/>
                    <a:pt x="62618" y="223675"/>
                    <a:pt x="62900" y="223957"/>
                  </a:cubicBezTo>
                  <a:lnTo>
                    <a:pt x="62900" y="224803"/>
                  </a:lnTo>
                  <a:cubicBezTo>
                    <a:pt x="62900" y="225085"/>
                    <a:pt x="62900" y="225367"/>
                    <a:pt x="63182" y="225367"/>
                  </a:cubicBezTo>
                  <a:cubicBezTo>
                    <a:pt x="63464" y="225367"/>
                    <a:pt x="63182" y="225649"/>
                    <a:pt x="63182" y="225649"/>
                  </a:cubicBezTo>
                  <a:lnTo>
                    <a:pt x="63182" y="227624"/>
                  </a:lnTo>
                  <a:cubicBezTo>
                    <a:pt x="63182" y="227906"/>
                    <a:pt x="63182" y="228470"/>
                    <a:pt x="64028" y="229034"/>
                  </a:cubicBezTo>
                  <a:lnTo>
                    <a:pt x="64028" y="229880"/>
                  </a:lnTo>
                  <a:cubicBezTo>
                    <a:pt x="64028" y="230162"/>
                    <a:pt x="64310" y="230444"/>
                    <a:pt x="64874" y="230726"/>
                  </a:cubicBezTo>
                  <a:cubicBezTo>
                    <a:pt x="64874" y="231008"/>
                    <a:pt x="64592" y="231290"/>
                    <a:pt x="64874" y="231290"/>
                  </a:cubicBezTo>
                  <a:cubicBezTo>
                    <a:pt x="65438" y="231290"/>
                    <a:pt x="65438" y="231290"/>
                    <a:pt x="66566" y="231008"/>
                  </a:cubicBezTo>
                  <a:cubicBezTo>
                    <a:pt x="66849" y="230726"/>
                    <a:pt x="67413" y="230162"/>
                    <a:pt x="68259" y="230162"/>
                  </a:cubicBezTo>
                  <a:lnTo>
                    <a:pt x="69669" y="229034"/>
                  </a:lnTo>
                  <a:cubicBezTo>
                    <a:pt x="69951" y="228752"/>
                    <a:pt x="69951" y="227906"/>
                    <a:pt x="70516" y="227624"/>
                  </a:cubicBezTo>
                  <a:lnTo>
                    <a:pt x="70516" y="227341"/>
                  </a:lnTo>
                  <a:cubicBezTo>
                    <a:pt x="71644" y="226777"/>
                    <a:pt x="71926" y="225649"/>
                    <a:pt x="72490" y="225367"/>
                  </a:cubicBezTo>
                  <a:cubicBezTo>
                    <a:pt x="73054" y="225085"/>
                    <a:pt x="73054" y="224803"/>
                    <a:pt x="73618" y="224239"/>
                  </a:cubicBezTo>
                  <a:lnTo>
                    <a:pt x="73618" y="223393"/>
                  </a:lnTo>
                  <a:cubicBezTo>
                    <a:pt x="73618" y="223111"/>
                    <a:pt x="73618" y="223111"/>
                    <a:pt x="73900" y="222828"/>
                  </a:cubicBezTo>
                  <a:lnTo>
                    <a:pt x="74464" y="222264"/>
                  </a:lnTo>
                  <a:cubicBezTo>
                    <a:pt x="74464" y="221982"/>
                    <a:pt x="74747" y="221700"/>
                    <a:pt x="74747" y="221136"/>
                  </a:cubicBezTo>
                  <a:lnTo>
                    <a:pt x="75875" y="220290"/>
                  </a:lnTo>
                  <a:cubicBezTo>
                    <a:pt x="75875" y="219726"/>
                    <a:pt x="75875" y="219162"/>
                    <a:pt x="76721" y="218880"/>
                  </a:cubicBezTo>
                  <a:lnTo>
                    <a:pt x="76721" y="218315"/>
                  </a:lnTo>
                  <a:cubicBezTo>
                    <a:pt x="76721" y="217751"/>
                    <a:pt x="77003" y="217187"/>
                    <a:pt x="77285" y="216623"/>
                  </a:cubicBezTo>
                  <a:lnTo>
                    <a:pt x="79259" y="214931"/>
                  </a:lnTo>
                  <a:cubicBezTo>
                    <a:pt x="79542" y="214367"/>
                    <a:pt x="79542" y="213803"/>
                    <a:pt x="79823" y="213520"/>
                  </a:cubicBezTo>
                  <a:cubicBezTo>
                    <a:pt x="80106" y="212956"/>
                    <a:pt x="80388" y="212674"/>
                    <a:pt x="80388" y="212392"/>
                  </a:cubicBezTo>
                  <a:lnTo>
                    <a:pt x="80106" y="212110"/>
                  </a:lnTo>
                  <a:cubicBezTo>
                    <a:pt x="80106" y="211828"/>
                    <a:pt x="80106" y="211264"/>
                    <a:pt x="80670" y="210982"/>
                  </a:cubicBezTo>
                  <a:lnTo>
                    <a:pt x="81516" y="209290"/>
                  </a:lnTo>
                  <a:cubicBezTo>
                    <a:pt x="82080" y="209007"/>
                    <a:pt x="82080" y="207879"/>
                    <a:pt x="82926" y="207033"/>
                  </a:cubicBezTo>
                  <a:lnTo>
                    <a:pt x="82926" y="206751"/>
                  </a:lnTo>
                  <a:cubicBezTo>
                    <a:pt x="82926" y="206469"/>
                    <a:pt x="83490" y="206469"/>
                    <a:pt x="83772" y="206187"/>
                  </a:cubicBezTo>
                  <a:lnTo>
                    <a:pt x="83490" y="206187"/>
                  </a:lnTo>
                  <a:cubicBezTo>
                    <a:pt x="84054" y="205905"/>
                    <a:pt x="84336" y="205341"/>
                    <a:pt x="84336" y="204495"/>
                  </a:cubicBezTo>
                  <a:cubicBezTo>
                    <a:pt x="84336" y="203930"/>
                    <a:pt x="84619" y="203366"/>
                    <a:pt x="84619" y="203366"/>
                  </a:cubicBezTo>
                  <a:cubicBezTo>
                    <a:pt x="84619" y="203084"/>
                    <a:pt x="85747" y="202802"/>
                    <a:pt x="85747" y="202238"/>
                  </a:cubicBezTo>
                  <a:cubicBezTo>
                    <a:pt x="85747" y="201956"/>
                    <a:pt x="85464" y="201674"/>
                    <a:pt x="85464" y="201392"/>
                  </a:cubicBezTo>
                  <a:cubicBezTo>
                    <a:pt x="85464" y="201110"/>
                    <a:pt x="85464" y="201110"/>
                    <a:pt x="85747" y="200828"/>
                  </a:cubicBezTo>
                  <a:cubicBezTo>
                    <a:pt x="86593" y="200264"/>
                    <a:pt x="86593" y="200264"/>
                    <a:pt x="86593" y="199982"/>
                  </a:cubicBezTo>
                  <a:cubicBezTo>
                    <a:pt x="86875" y="199417"/>
                    <a:pt x="87157" y="198853"/>
                    <a:pt x="87157" y="198571"/>
                  </a:cubicBezTo>
                  <a:cubicBezTo>
                    <a:pt x="87439" y="198007"/>
                    <a:pt x="88285" y="197161"/>
                    <a:pt x="88567" y="196879"/>
                  </a:cubicBezTo>
                  <a:cubicBezTo>
                    <a:pt x="88567" y="195469"/>
                    <a:pt x="89131" y="194340"/>
                    <a:pt x="89978" y="194058"/>
                  </a:cubicBezTo>
                  <a:cubicBezTo>
                    <a:pt x="89978" y="193494"/>
                    <a:pt x="90542" y="193212"/>
                    <a:pt x="90542" y="193212"/>
                  </a:cubicBezTo>
                  <a:cubicBezTo>
                    <a:pt x="90824" y="192648"/>
                    <a:pt x="91388" y="191802"/>
                    <a:pt x="91388" y="190956"/>
                  </a:cubicBezTo>
                  <a:cubicBezTo>
                    <a:pt x="91670" y="190956"/>
                    <a:pt x="92516" y="189545"/>
                    <a:pt x="92516" y="189263"/>
                  </a:cubicBezTo>
                  <a:lnTo>
                    <a:pt x="92234" y="188981"/>
                  </a:lnTo>
                  <a:cubicBezTo>
                    <a:pt x="92234" y="188699"/>
                    <a:pt x="92798" y="188135"/>
                    <a:pt x="92798" y="187853"/>
                  </a:cubicBezTo>
                  <a:cubicBezTo>
                    <a:pt x="92798" y="187007"/>
                    <a:pt x="93926" y="186725"/>
                    <a:pt x="94209" y="185878"/>
                  </a:cubicBezTo>
                  <a:cubicBezTo>
                    <a:pt x="93926" y="185596"/>
                    <a:pt x="93926" y="185314"/>
                    <a:pt x="93926" y="185314"/>
                  </a:cubicBezTo>
                  <a:cubicBezTo>
                    <a:pt x="93926" y="184750"/>
                    <a:pt x="94209" y="184750"/>
                    <a:pt x="94209" y="184468"/>
                  </a:cubicBezTo>
                  <a:cubicBezTo>
                    <a:pt x="95337" y="184186"/>
                    <a:pt x="94773" y="183340"/>
                    <a:pt x="95619" y="183058"/>
                  </a:cubicBezTo>
                  <a:cubicBezTo>
                    <a:pt x="95619" y="182494"/>
                    <a:pt x="95901" y="181930"/>
                    <a:pt x="96183" y="181648"/>
                  </a:cubicBezTo>
                  <a:cubicBezTo>
                    <a:pt x="96183" y="181365"/>
                    <a:pt x="96465" y="180801"/>
                    <a:pt x="96465" y="180519"/>
                  </a:cubicBezTo>
                  <a:lnTo>
                    <a:pt x="96183" y="180237"/>
                  </a:lnTo>
                  <a:cubicBezTo>
                    <a:pt x="96183" y="180237"/>
                    <a:pt x="96465" y="179391"/>
                    <a:pt x="96747" y="179391"/>
                  </a:cubicBezTo>
                  <a:lnTo>
                    <a:pt x="97876" y="178263"/>
                  </a:lnTo>
                  <a:cubicBezTo>
                    <a:pt x="98157" y="177981"/>
                    <a:pt x="98157" y="177699"/>
                    <a:pt x="98157" y="177417"/>
                  </a:cubicBezTo>
                  <a:lnTo>
                    <a:pt x="98722" y="176288"/>
                  </a:lnTo>
                  <a:cubicBezTo>
                    <a:pt x="98722" y="175724"/>
                    <a:pt x="99850" y="175724"/>
                    <a:pt x="99850" y="175160"/>
                  </a:cubicBezTo>
                  <a:cubicBezTo>
                    <a:pt x="99568" y="174878"/>
                    <a:pt x="99568" y="174596"/>
                    <a:pt x="99568" y="174314"/>
                  </a:cubicBezTo>
                  <a:cubicBezTo>
                    <a:pt x="99568" y="174032"/>
                    <a:pt x="99568" y="173750"/>
                    <a:pt x="99850" y="173186"/>
                  </a:cubicBezTo>
                  <a:cubicBezTo>
                    <a:pt x="99850" y="173186"/>
                    <a:pt x="100414" y="172904"/>
                    <a:pt x="100414" y="172622"/>
                  </a:cubicBezTo>
                  <a:lnTo>
                    <a:pt x="100414" y="172340"/>
                  </a:lnTo>
                  <a:cubicBezTo>
                    <a:pt x="100414" y="172057"/>
                    <a:pt x="100414" y="172057"/>
                    <a:pt x="100978" y="171775"/>
                  </a:cubicBezTo>
                  <a:cubicBezTo>
                    <a:pt x="101260" y="171775"/>
                    <a:pt x="101260" y="171493"/>
                    <a:pt x="101260" y="171211"/>
                  </a:cubicBezTo>
                  <a:cubicBezTo>
                    <a:pt x="101260" y="170929"/>
                    <a:pt x="101542" y="170647"/>
                    <a:pt x="101824" y="170365"/>
                  </a:cubicBezTo>
                  <a:lnTo>
                    <a:pt x="101824" y="169801"/>
                  </a:lnTo>
                  <a:cubicBezTo>
                    <a:pt x="101824" y="169519"/>
                    <a:pt x="101824" y="169519"/>
                    <a:pt x="102106" y="169519"/>
                  </a:cubicBezTo>
                  <a:cubicBezTo>
                    <a:pt x="102106" y="168391"/>
                    <a:pt x="102670" y="167262"/>
                    <a:pt x="103517" y="166416"/>
                  </a:cubicBezTo>
                  <a:cubicBezTo>
                    <a:pt x="103517" y="165852"/>
                    <a:pt x="103798" y="165288"/>
                    <a:pt x="103798" y="165006"/>
                  </a:cubicBezTo>
                  <a:cubicBezTo>
                    <a:pt x="103798" y="164724"/>
                    <a:pt x="104645" y="164160"/>
                    <a:pt x="104645" y="163596"/>
                  </a:cubicBezTo>
                  <a:cubicBezTo>
                    <a:pt x="104645" y="163314"/>
                    <a:pt x="104927" y="162749"/>
                    <a:pt x="105491" y="162467"/>
                  </a:cubicBezTo>
                  <a:cubicBezTo>
                    <a:pt x="106055" y="161903"/>
                    <a:pt x="106619" y="161057"/>
                    <a:pt x="106619" y="160211"/>
                  </a:cubicBezTo>
                  <a:lnTo>
                    <a:pt x="106619" y="159083"/>
                  </a:lnTo>
                  <a:cubicBezTo>
                    <a:pt x="106337" y="158801"/>
                    <a:pt x="106901" y="158801"/>
                    <a:pt x="106901" y="158801"/>
                  </a:cubicBezTo>
                  <a:lnTo>
                    <a:pt x="107748" y="157108"/>
                  </a:lnTo>
                  <a:cubicBezTo>
                    <a:pt x="107748" y="156826"/>
                    <a:pt x="108594" y="156544"/>
                    <a:pt x="108312" y="156262"/>
                  </a:cubicBezTo>
                  <a:lnTo>
                    <a:pt x="107748" y="155980"/>
                  </a:lnTo>
                  <a:cubicBezTo>
                    <a:pt x="107748" y="155698"/>
                    <a:pt x="108594" y="155416"/>
                    <a:pt x="108594" y="155134"/>
                  </a:cubicBezTo>
                  <a:cubicBezTo>
                    <a:pt x="108594" y="154852"/>
                    <a:pt x="109440" y="154288"/>
                    <a:pt x="109440" y="154006"/>
                  </a:cubicBezTo>
                  <a:lnTo>
                    <a:pt x="109158" y="154006"/>
                  </a:lnTo>
                  <a:lnTo>
                    <a:pt x="109158" y="153723"/>
                  </a:lnTo>
                  <a:cubicBezTo>
                    <a:pt x="109158" y="153441"/>
                    <a:pt x="109722" y="153441"/>
                    <a:pt x="109722" y="153159"/>
                  </a:cubicBezTo>
                  <a:cubicBezTo>
                    <a:pt x="109722" y="153159"/>
                    <a:pt x="109722" y="152877"/>
                    <a:pt x="109440" y="152595"/>
                  </a:cubicBezTo>
                  <a:cubicBezTo>
                    <a:pt x="109440" y="152313"/>
                    <a:pt x="110286" y="151749"/>
                    <a:pt x="110004" y="151467"/>
                  </a:cubicBezTo>
                  <a:cubicBezTo>
                    <a:pt x="110286" y="150903"/>
                    <a:pt x="110568" y="150621"/>
                    <a:pt x="110850" y="150621"/>
                  </a:cubicBezTo>
                  <a:cubicBezTo>
                    <a:pt x="111415" y="150057"/>
                    <a:pt x="110850" y="149210"/>
                    <a:pt x="112260" y="148646"/>
                  </a:cubicBezTo>
                  <a:cubicBezTo>
                    <a:pt x="122132" y="135389"/>
                    <a:pt x="125799" y="130594"/>
                    <a:pt x="126363" y="130594"/>
                  </a:cubicBezTo>
                  <a:cubicBezTo>
                    <a:pt x="127210" y="130594"/>
                    <a:pt x="118748" y="144415"/>
                    <a:pt x="118466" y="148364"/>
                  </a:cubicBezTo>
                  <a:lnTo>
                    <a:pt x="118748" y="148364"/>
                  </a:lnTo>
                  <a:lnTo>
                    <a:pt x="118748" y="148646"/>
                  </a:lnTo>
                  <a:cubicBezTo>
                    <a:pt x="118748" y="149210"/>
                    <a:pt x="118748" y="149210"/>
                    <a:pt x="118466" y="149493"/>
                  </a:cubicBezTo>
                  <a:lnTo>
                    <a:pt x="119030" y="149493"/>
                  </a:lnTo>
                  <a:cubicBezTo>
                    <a:pt x="119312" y="149493"/>
                    <a:pt x="119594" y="149493"/>
                    <a:pt x="120440" y="148928"/>
                  </a:cubicBezTo>
                  <a:lnTo>
                    <a:pt x="120440" y="149493"/>
                  </a:lnTo>
                  <a:cubicBezTo>
                    <a:pt x="120440" y="150339"/>
                    <a:pt x="119876" y="150903"/>
                    <a:pt x="119594" y="151467"/>
                  </a:cubicBezTo>
                  <a:lnTo>
                    <a:pt x="119594" y="151749"/>
                  </a:lnTo>
                  <a:cubicBezTo>
                    <a:pt x="119312" y="152313"/>
                    <a:pt x="119312" y="152313"/>
                    <a:pt x="118466" y="152595"/>
                  </a:cubicBezTo>
                  <a:cubicBezTo>
                    <a:pt x="118184" y="152877"/>
                    <a:pt x="118184" y="153159"/>
                    <a:pt x="118184" y="153441"/>
                  </a:cubicBezTo>
                  <a:lnTo>
                    <a:pt x="118184" y="154006"/>
                  </a:lnTo>
                  <a:cubicBezTo>
                    <a:pt x="118184" y="154006"/>
                    <a:pt x="118184" y="154288"/>
                    <a:pt x="117902" y="154570"/>
                  </a:cubicBezTo>
                  <a:cubicBezTo>
                    <a:pt x="117338" y="154852"/>
                    <a:pt x="117338" y="155134"/>
                    <a:pt x="117338" y="155416"/>
                  </a:cubicBezTo>
                  <a:cubicBezTo>
                    <a:pt x="117338" y="155698"/>
                    <a:pt x="117338" y="155980"/>
                    <a:pt x="117902" y="156262"/>
                  </a:cubicBezTo>
                  <a:lnTo>
                    <a:pt x="118184" y="156544"/>
                  </a:lnTo>
                  <a:cubicBezTo>
                    <a:pt x="118184" y="156544"/>
                    <a:pt x="117902" y="156544"/>
                    <a:pt x="117620" y="156826"/>
                  </a:cubicBezTo>
                  <a:cubicBezTo>
                    <a:pt x="117620" y="156826"/>
                    <a:pt x="117338" y="157108"/>
                    <a:pt x="117056" y="157108"/>
                  </a:cubicBezTo>
                  <a:cubicBezTo>
                    <a:pt x="116491" y="157672"/>
                    <a:pt x="115927" y="158236"/>
                    <a:pt x="114799" y="158236"/>
                  </a:cubicBezTo>
                  <a:lnTo>
                    <a:pt x="114799" y="158801"/>
                  </a:lnTo>
                  <a:cubicBezTo>
                    <a:pt x="115081" y="159083"/>
                    <a:pt x="115081" y="159365"/>
                    <a:pt x="115927" y="159365"/>
                  </a:cubicBezTo>
                  <a:cubicBezTo>
                    <a:pt x="115081" y="159647"/>
                    <a:pt x="115081" y="159929"/>
                    <a:pt x="114517" y="159929"/>
                  </a:cubicBezTo>
                  <a:cubicBezTo>
                    <a:pt x="113953" y="159929"/>
                    <a:pt x="113389" y="159929"/>
                    <a:pt x="113389" y="160493"/>
                  </a:cubicBezTo>
                  <a:cubicBezTo>
                    <a:pt x="113107" y="160493"/>
                    <a:pt x="113107" y="160775"/>
                    <a:pt x="113107" y="161057"/>
                  </a:cubicBezTo>
                  <a:lnTo>
                    <a:pt x="113107" y="161339"/>
                  </a:lnTo>
                  <a:lnTo>
                    <a:pt x="114235" y="161339"/>
                  </a:lnTo>
                  <a:lnTo>
                    <a:pt x="114235" y="161903"/>
                  </a:lnTo>
                  <a:cubicBezTo>
                    <a:pt x="114235" y="162185"/>
                    <a:pt x="114235" y="162467"/>
                    <a:pt x="114517" y="162467"/>
                  </a:cubicBezTo>
                  <a:cubicBezTo>
                    <a:pt x="114517" y="162749"/>
                    <a:pt x="114799" y="162749"/>
                    <a:pt x="114799" y="163031"/>
                  </a:cubicBezTo>
                  <a:cubicBezTo>
                    <a:pt x="114799" y="163314"/>
                    <a:pt x="114517" y="163314"/>
                    <a:pt x="114517" y="163314"/>
                  </a:cubicBezTo>
                  <a:lnTo>
                    <a:pt x="113389" y="164160"/>
                  </a:lnTo>
                  <a:lnTo>
                    <a:pt x="113389" y="166416"/>
                  </a:lnTo>
                  <a:cubicBezTo>
                    <a:pt x="113107" y="166416"/>
                    <a:pt x="113107" y="166698"/>
                    <a:pt x="113107" y="166980"/>
                  </a:cubicBezTo>
                  <a:cubicBezTo>
                    <a:pt x="113107" y="167262"/>
                    <a:pt x="112825" y="167544"/>
                    <a:pt x="112825" y="167827"/>
                  </a:cubicBezTo>
                  <a:lnTo>
                    <a:pt x="112543" y="168109"/>
                  </a:lnTo>
                  <a:cubicBezTo>
                    <a:pt x="111979" y="168391"/>
                    <a:pt x="111696" y="168955"/>
                    <a:pt x="111696" y="169237"/>
                  </a:cubicBezTo>
                  <a:cubicBezTo>
                    <a:pt x="111696" y="169519"/>
                    <a:pt x="112260" y="169801"/>
                    <a:pt x="112260" y="170365"/>
                  </a:cubicBezTo>
                  <a:cubicBezTo>
                    <a:pt x="112260" y="170365"/>
                    <a:pt x="111132" y="170929"/>
                    <a:pt x="110850" y="170929"/>
                  </a:cubicBezTo>
                  <a:cubicBezTo>
                    <a:pt x="110568" y="170929"/>
                    <a:pt x="110568" y="170929"/>
                    <a:pt x="110568" y="171211"/>
                  </a:cubicBezTo>
                  <a:lnTo>
                    <a:pt x="110568" y="171775"/>
                  </a:lnTo>
                  <a:cubicBezTo>
                    <a:pt x="110568" y="172057"/>
                    <a:pt x="110850" y="172340"/>
                    <a:pt x="110850" y="172622"/>
                  </a:cubicBezTo>
                  <a:cubicBezTo>
                    <a:pt x="110850" y="173186"/>
                    <a:pt x="110286" y="173468"/>
                    <a:pt x="109440" y="174032"/>
                  </a:cubicBezTo>
                  <a:lnTo>
                    <a:pt x="109440" y="174596"/>
                  </a:lnTo>
                  <a:lnTo>
                    <a:pt x="110568" y="174596"/>
                  </a:lnTo>
                  <a:cubicBezTo>
                    <a:pt x="110568" y="174314"/>
                    <a:pt x="110850" y="174314"/>
                    <a:pt x="111132" y="174314"/>
                  </a:cubicBezTo>
                  <a:cubicBezTo>
                    <a:pt x="111415" y="174596"/>
                    <a:pt x="111696" y="174596"/>
                    <a:pt x="111696" y="174596"/>
                  </a:cubicBezTo>
                  <a:cubicBezTo>
                    <a:pt x="111696" y="174596"/>
                    <a:pt x="111415" y="174878"/>
                    <a:pt x="111415" y="175160"/>
                  </a:cubicBezTo>
                  <a:cubicBezTo>
                    <a:pt x="111132" y="175442"/>
                    <a:pt x="111132" y="175442"/>
                    <a:pt x="111132" y="175724"/>
                  </a:cubicBezTo>
                  <a:cubicBezTo>
                    <a:pt x="111132" y="176288"/>
                    <a:pt x="111132" y="177135"/>
                    <a:pt x="110568" y="177699"/>
                  </a:cubicBezTo>
                  <a:lnTo>
                    <a:pt x="110568" y="178545"/>
                  </a:lnTo>
                  <a:cubicBezTo>
                    <a:pt x="110850" y="178545"/>
                    <a:pt x="110850" y="178827"/>
                    <a:pt x="110850" y="179109"/>
                  </a:cubicBezTo>
                  <a:cubicBezTo>
                    <a:pt x="110850" y="179391"/>
                    <a:pt x="110850" y="179673"/>
                    <a:pt x="110568" y="179955"/>
                  </a:cubicBezTo>
                  <a:cubicBezTo>
                    <a:pt x="110286" y="179955"/>
                    <a:pt x="110286" y="179955"/>
                    <a:pt x="110286" y="180237"/>
                  </a:cubicBezTo>
                  <a:lnTo>
                    <a:pt x="110286" y="180519"/>
                  </a:lnTo>
                  <a:cubicBezTo>
                    <a:pt x="109722" y="180519"/>
                    <a:pt x="109722" y="180519"/>
                    <a:pt x="109722" y="181083"/>
                  </a:cubicBezTo>
                  <a:cubicBezTo>
                    <a:pt x="109722" y="181648"/>
                    <a:pt x="109158" y="181648"/>
                    <a:pt x="109158" y="182212"/>
                  </a:cubicBezTo>
                  <a:cubicBezTo>
                    <a:pt x="109158" y="182494"/>
                    <a:pt x="109158" y="183058"/>
                    <a:pt x="108876" y="183058"/>
                  </a:cubicBezTo>
                  <a:cubicBezTo>
                    <a:pt x="107748" y="183058"/>
                    <a:pt x="107748" y="183622"/>
                    <a:pt x="106901" y="183904"/>
                  </a:cubicBezTo>
                  <a:lnTo>
                    <a:pt x="106901" y="184750"/>
                  </a:lnTo>
                  <a:cubicBezTo>
                    <a:pt x="105773" y="185314"/>
                    <a:pt x="105491" y="185878"/>
                    <a:pt x="104927" y="186725"/>
                  </a:cubicBezTo>
                  <a:lnTo>
                    <a:pt x="105209" y="186725"/>
                  </a:lnTo>
                  <a:cubicBezTo>
                    <a:pt x="105773" y="186725"/>
                    <a:pt x="105491" y="187289"/>
                    <a:pt x="105773" y="187571"/>
                  </a:cubicBezTo>
                  <a:lnTo>
                    <a:pt x="105773" y="187853"/>
                  </a:lnTo>
                  <a:cubicBezTo>
                    <a:pt x="105491" y="188135"/>
                    <a:pt x="105491" y="188699"/>
                    <a:pt x="105491" y="188981"/>
                  </a:cubicBezTo>
                  <a:cubicBezTo>
                    <a:pt x="105491" y="189263"/>
                    <a:pt x="105491" y="189545"/>
                    <a:pt x="105209" y="189545"/>
                  </a:cubicBezTo>
                  <a:cubicBezTo>
                    <a:pt x="104927" y="190109"/>
                    <a:pt x="104363" y="190391"/>
                    <a:pt x="104363" y="190956"/>
                  </a:cubicBezTo>
                  <a:lnTo>
                    <a:pt x="104927" y="191238"/>
                  </a:lnTo>
                  <a:cubicBezTo>
                    <a:pt x="104927" y="192084"/>
                    <a:pt x="103798" y="192084"/>
                    <a:pt x="103517" y="192366"/>
                  </a:cubicBezTo>
                  <a:cubicBezTo>
                    <a:pt x="103517" y="192366"/>
                    <a:pt x="102953" y="192366"/>
                    <a:pt x="102953" y="192084"/>
                  </a:cubicBezTo>
                  <a:cubicBezTo>
                    <a:pt x="102953" y="191802"/>
                    <a:pt x="102953" y="191238"/>
                    <a:pt x="102670" y="190956"/>
                  </a:cubicBezTo>
                  <a:cubicBezTo>
                    <a:pt x="102670" y="190956"/>
                    <a:pt x="102953" y="190673"/>
                    <a:pt x="103234" y="190673"/>
                  </a:cubicBezTo>
                  <a:cubicBezTo>
                    <a:pt x="103517" y="190673"/>
                    <a:pt x="103517" y="190391"/>
                    <a:pt x="103798" y="189827"/>
                  </a:cubicBezTo>
                  <a:cubicBezTo>
                    <a:pt x="103798" y="189545"/>
                    <a:pt x="103517" y="189545"/>
                    <a:pt x="103517" y="189545"/>
                  </a:cubicBezTo>
                  <a:cubicBezTo>
                    <a:pt x="102670" y="189545"/>
                    <a:pt x="102106" y="189827"/>
                    <a:pt x="101542" y="190673"/>
                  </a:cubicBezTo>
                  <a:lnTo>
                    <a:pt x="101542" y="190956"/>
                  </a:lnTo>
                  <a:cubicBezTo>
                    <a:pt x="101542" y="191520"/>
                    <a:pt x="100696" y="192084"/>
                    <a:pt x="100696" y="192930"/>
                  </a:cubicBezTo>
                  <a:lnTo>
                    <a:pt x="100696" y="193212"/>
                  </a:lnTo>
                  <a:cubicBezTo>
                    <a:pt x="100132" y="193776"/>
                    <a:pt x="100132" y="194058"/>
                    <a:pt x="100132" y="194340"/>
                  </a:cubicBezTo>
                  <a:lnTo>
                    <a:pt x="100132" y="195469"/>
                  </a:lnTo>
                  <a:cubicBezTo>
                    <a:pt x="100414" y="195469"/>
                    <a:pt x="100696" y="195751"/>
                    <a:pt x="100696" y="195751"/>
                  </a:cubicBezTo>
                  <a:cubicBezTo>
                    <a:pt x="100696" y="196033"/>
                    <a:pt x="100414" y="196033"/>
                    <a:pt x="100132" y="196315"/>
                  </a:cubicBezTo>
                  <a:cubicBezTo>
                    <a:pt x="99850" y="196879"/>
                    <a:pt x="99850" y="197161"/>
                    <a:pt x="99850" y="198007"/>
                  </a:cubicBezTo>
                  <a:lnTo>
                    <a:pt x="99850" y="199417"/>
                  </a:lnTo>
                  <a:cubicBezTo>
                    <a:pt x="99568" y="199982"/>
                    <a:pt x="99004" y="199982"/>
                    <a:pt x="99004" y="200264"/>
                  </a:cubicBezTo>
                  <a:lnTo>
                    <a:pt x="99004" y="201392"/>
                  </a:lnTo>
                  <a:cubicBezTo>
                    <a:pt x="99004" y="201674"/>
                    <a:pt x="98722" y="202520"/>
                    <a:pt x="98440" y="202520"/>
                  </a:cubicBezTo>
                  <a:lnTo>
                    <a:pt x="97876" y="202520"/>
                  </a:lnTo>
                  <a:cubicBezTo>
                    <a:pt x="97593" y="202520"/>
                    <a:pt x="97312" y="202520"/>
                    <a:pt x="97029" y="202802"/>
                  </a:cubicBezTo>
                  <a:cubicBezTo>
                    <a:pt x="96747" y="203084"/>
                    <a:pt x="96747" y="203366"/>
                    <a:pt x="96747" y="203366"/>
                  </a:cubicBezTo>
                  <a:cubicBezTo>
                    <a:pt x="97312" y="203648"/>
                    <a:pt x="97593" y="203648"/>
                    <a:pt x="97593" y="203930"/>
                  </a:cubicBezTo>
                  <a:cubicBezTo>
                    <a:pt x="97593" y="204212"/>
                    <a:pt x="97312" y="204495"/>
                    <a:pt x="97029" y="204777"/>
                  </a:cubicBezTo>
                  <a:cubicBezTo>
                    <a:pt x="96465" y="205623"/>
                    <a:pt x="95901" y="205623"/>
                    <a:pt x="95055" y="205623"/>
                  </a:cubicBezTo>
                  <a:cubicBezTo>
                    <a:pt x="94773" y="205623"/>
                    <a:pt x="94491" y="205905"/>
                    <a:pt x="94491" y="205905"/>
                  </a:cubicBezTo>
                  <a:cubicBezTo>
                    <a:pt x="94491" y="206187"/>
                    <a:pt x="94209" y="206469"/>
                    <a:pt x="94209" y="206469"/>
                  </a:cubicBezTo>
                  <a:lnTo>
                    <a:pt x="94209" y="207597"/>
                  </a:lnTo>
                  <a:cubicBezTo>
                    <a:pt x="93362" y="207879"/>
                    <a:pt x="93362" y="208443"/>
                    <a:pt x="93362" y="209007"/>
                  </a:cubicBezTo>
                  <a:cubicBezTo>
                    <a:pt x="93362" y="209290"/>
                    <a:pt x="93081" y="209290"/>
                    <a:pt x="92798" y="209572"/>
                  </a:cubicBezTo>
                  <a:lnTo>
                    <a:pt x="92798" y="210136"/>
                  </a:lnTo>
                  <a:cubicBezTo>
                    <a:pt x="92798" y="210418"/>
                    <a:pt x="92798" y="210700"/>
                    <a:pt x="92516" y="210700"/>
                  </a:cubicBezTo>
                  <a:cubicBezTo>
                    <a:pt x="92234" y="210700"/>
                    <a:pt x="91952" y="210418"/>
                    <a:pt x="91670" y="210418"/>
                  </a:cubicBezTo>
                  <a:lnTo>
                    <a:pt x="91670" y="210136"/>
                  </a:lnTo>
                  <a:cubicBezTo>
                    <a:pt x="91388" y="210136"/>
                    <a:pt x="91388" y="210418"/>
                    <a:pt x="91388" y="210418"/>
                  </a:cubicBezTo>
                  <a:cubicBezTo>
                    <a:pt x="91106" y="210418"/>
                    <a:pt x="90824" y="210700"/>
                    <a:pt x="90542" y="210982"/>
                  </a:cubicBezTo>
                  <a:cubicBezTo>
                    <a:pt x="90260" y="211264"/>
                    <a:pt x="90260" y="211264"/>
                    <a:pt x="90260" y="211546"/>
                  </a:cubicBezTo>
                  <a:lnTo>
                    <a:pt x="90260" y="212110"/>
                  </a:lnTo>
                  <a:lnTo>
                    <a:pt x="90542" y="212392"/>
                  </a:lnTo>
                  <a:lnTo>
                    <a:pt x="91670" y="211264"/>
                  </a:lnTo>
                  <a:cubicBezTo>
                    <a:pt x="91670" y="211264"/>
                    <a:pt x="91670" y="210982"/>
                    <a:pt x="91952" y="210982"/>
                  </a:cubicBezTo>
                  <a:cubicBezTo>
                    <a:pt x="92234" y="210982"/>
                    <a:pt x="92516" y="211264"/>
                    <a:pt x="92516" y="211264"/>
                  </a:cubicBezTo>
                  <a:cubicBezTo>
                    <a:pt x="92798" y="211546"/>
                    <a:pt x="93081" y="211828"/>
                    <a:pt x="93081" y="212110"/>
                  </a:cubicBezTo>
                  <a:cubicBezTo>
                    <a:pt x="93081" y="212392"/>
                    <a:pt x="93645" y="212674"/>
                    <a:pt x="94209" y="212674"/>
                  </a:cubicBezTo>
                  <a:lnTo>
                    <a:pt x="95055" y="212674"/>
                  </a:lnTo>
                  <a:lnTo>
                    <a:pt x="94773" y="212392"/>
                  </a:lnTo>
                  <a:lnTo>
                    <a:pt x="94773" y="211264"/>
                  </a:lnTo>
                  <a:lnTo>
                    <a:pt x="95337" y="210982"/>
                  </a:lnTo>
                  <a:lnTo>
                    <a:pt x="95337" y="211264"/>
                  </a:lnTo>
                  <a:cubicBezTo>
                    <a:pt x="95337" y="211828"/>
                    <a:pt x="95337" y="212392"/>
                    <a:pt x="95619" y="213238"/>
                  </a:cubicBezTo>
                  <a:lnTo>
                    <a:pt x="95619" y="213803"/>
                  </a:lnTo>
                  <a:cubicBezTo>
                    <a:pt x="94773" y="214085"/>
                    <a:pt x="94491" y="214649"/>
                    <a:pt x="94209" y="214931"/>
                  </a:cubicBezTo>
                  <a:cubicBezTo>
                    <a:pt x="93645" y="215495"/>
                    <a:pt x="93362" y="215777"/>
                    <a:pt x="93081" y="215777"/>
                  </a:cubicBezTo>
                  <a:cubicBezTo>
                    <a:pt x="92798" y="215777"/>
                    <a:pt x="92516" y="215495"/>
                    <a:pt x="91952" y="215213"/>
                  </a:cubicBezTo>
                  <a:cubicBezTo>
                    <a:pt x="91952" y="215213"/>
                    <a:pt x="91670" y="214931"/>
                    <a:pt x="91388" y="214931"/>
                  </a:cubicBezTo>
                  <a:cubicBezTo>
                    <a:pt x="91106" y="214931"/>
                    <a:pt x="91106" y="215213"/>
                    <a:pt x="90824" y="215495"/>
                  </a:cubicBezTo>
                  <a:cubicBezTo>
                    <a:pt x="90542" y="215495"/>
                    <a:pt x="90260" y="215495"/>
                    <a:pt x="89978" y="216059"/>
                  </a:cubicBezTo>
                  <a:cubicBezTo>
                    <a:pt x="89414" y="216059"/>
                    <a:pt x="89414" y="216341"/>
                    <a:pt x="89414" y="216341"/>
                  </a:cubicBezTo>
                  <a:cubicBezTo>
                    <a:pt x="90260" y="216623"/>
                    <a:pt x="90260" y="216905"/>
                    <a:pt x="90260" y="217187"/>
                  </a:cubicBezTo>
                  <a:lnTo>
                    <a:pt x="90260" y="217751"/>
                  </a:lnTo>
                  <a:cubicBezTo>
                    <a:pt x="90260" y="218033"/>
                    <a:pt x="90260" y="218033"/>
                    <a:pt x="90824" y="218315"/>
                  </a:cubicBezTo>
                  <a:cubicBezTo>
                    <a:pt x="90824" y="218598"/>
                    <a:pt x="91106" y="218598"/>
                    <a:pt x="91106" y="218880"/>
                  </a:cubicBezTo>
                  <a:lnTo>
                    <a:pt x="90260" y="219444"/>
                  </a:lnTo>
                  <a:cubicBezTo>
                    <a:pt x="89131" y="220008"/>
                    <a:pt x="88850" y="220854"/>
                    <a:pt x="88285" y="221418"/>
                  </a:cubicBezTo>
                  <a:cubicBezTo>
                    <a:pt x="88003" y="221700"/>
                    <a:pt x="87721" y="221700"/>
                    <a:pt x="87721" y="221982"/>
                  </a:cubicBezTo>
                  <a:cubicBezTo>
                    <a:pt x="87721" y="222264"/>
                    <a:pt x="88003" y="222546"/>
                    <a:pt x="88285" y="222828"/>
                  </a:cubicBezTo>
                  <a:lnTo>
                    <a:pt x="88567" y="222546"/>
                  </a:lnTo>
                  <a:cubicBezTo>
                    <a:pt x="88567" y="222546"/>
                    <a:pt x="88850" y="222264"/>
                    <a:pt x="89131" y="222264"/>
                  </a:cubicBezTo>
                  <a:cubicBezTo>
                    <a:pt x="89131" y="222264"/>
                    <a:pt x="89414" y="222264"/>
                    <a:pt x="89131" y="222546"/>
                  </a:cubicBezTo>
                  <a:lnTo>
                    <a:pt x="89414" y="222546"/>
                  </a:lnTo>
                  <a:lnTo>
                    <a:pt x="89131" y="222828"/>
                  </a:lnTo>
                  <a:cubicBezTo>
                    <a:pt x="88850" y="222828"/>
                    <a:pt x="88850" y="223111"/>
                    <a:pt x="88850" y="223393"/>
                  </a:cubicBezTo>
                  <a:cubicBezTo>
                    <a:pt x="88850" y="223675"/>
                    <a:pt x="89131" y="223675"/>
                    <a:pt x="89131" y="223675"/>
                  </a:cubicBezTo>
                  <a:lnTo>
                    <a:pt x="88850" y="223957"/>
                  </a:lnTo>
                  <a:cubicBezTo>
                    <a:pt x="88567" y="224239"/>
                    <a:pt x="88285" y="224803"/>
                    <a:pt x="88285" y="224803"/>
                  </a:cubicBezTo>
                  <a:lnTo>
                    <a:pt x="87721" y="225085"/>
                  </a:lnTo>
                  <a:cubicBezTo>
                    <a:pt x="87439" y="225649"/>
                    <a:pt x="87439" y="225931"/>
                    <a:pt x="86875" y="226495"/>
                  </a:cubicBezTo>
                  <a:lnTo>
                    <a:pt x="86875" y="227059"/>
                  </a:lnTo>
                  <a:cubicBezTo>
                    <a:pt x="86875" y="227906"/>
                    <a:pt x="86311" y="228188"/>
                    <a:pt x="85747" y="228752"/>
                  </a:cubicBezTo>
                  <a:lnTo>
                    <a:pt x="85747" y="230162"/>
                  </a:lnTo>
                  <a:cubicBezTo>
                    <a:pt x="85747" y="230726"/>
                    <a:pt x="85183" y="231008"/>
                    <a:pt x="84619" y="231572"/>
                  </a:cubicBezTo>
                  <a:cubicBezTo>
                    <a:pt x="84054" y="231854"/>
                    <a:pt x="83772" y="232137"/>
                    <a:pt x="83772" y="232983"/>
                  </a:cubicBezTo>
                  <a:cubicBezTo>
                    <a:pt x="83772" y="233265"/>
                    <a:pt x="83772" y="233547"/>
                    <a:pt x="83208" y="233547"/>
                  </a:cubicBezTo>
                  <a:cubicBezTo>
                    <a:pt x="82926" y="233829"/>
                    <a:pt x="82926" y="233829"/>
                    <a:pt x="82926" y="234111"/>
                  </a:cubicBezTo>
                  <a:lnTo>
                    <a:pt x="82926" y="234675"/>
                  </a:lnTo>
                  <a:cubicBezTo>
                    <a:pt x="82362" y="234675"/>
                    <a:pt x="82080" y="234957"/>
                    <a:pt x="81234" y="235803"/>
                  </a:cubicBezTo>
                  <a:cubicBezTo>
                    <a:pt x="80952" y="236085"/>
                    <a:pt x="80952" y="236085"/>
                    <a:pt x="80952" y="236367"/>
                  </a:cubicBezTo>
                  <a:cubicBezTo>
                    <a:pt x="80952" y="236649"/>
                    <a:pt x="81234" y="236932"/>
                    <a:pt x="81516" y="236932"/>
                  </a:cubicBezTo>
                  <a:cubicBezTo>
                    <a:pt x="81516" y="237214"/>
                    <a:pt x="81798" y="237496"/>
                    <a:pt x="81798" y="237496"/>
                  </a:cubicBezTo>
                  <a:cubicBezTo>
                    <a:pt x="81798" y="237778"/>
                    <a:pt x="81516" y="237778"/>
                    <a:pt x="81516" y="237778"/>
                  </a:cubicBezTo>
                  <a:lnTo>
                    <a:pt x="80952" y="238624"/>
                  </a:lnTo>
                  <a:cubicBezTo>
                    <a:pt x="80952" y="238906"/>
                    <a:pt x="80952" y="239188"/>
                    <a:pt x="81234" y="239188"/>
                  </a:cubicBezTo>
                  <a:cubicBezTo>
                    <a:pt x="81234" y="239188"/>
                    <a:pt x="81234" y="239470"/>
                    <a:pt x="81516" y="239752"/>
                  </a:cubicBezTo>
                  <a:lnTo>
                    <a:pt x="81516" y="240034"/>
                  </a:lnTo>
                  <a:lnTo>
                    <a:pt x="81234" y="240316"/>
                  </a:lnTo>
                  <a:lnTo>
                    <a:pt x="80388" y="240316"/>
                  </a:lnTo>
                  <a:cubicBezTo>
                    <a:pt x="80106" y="240316"/>
                    <a:pt x="79823" y="240316"/>
                    <a:pt x="79823" y="240880"/>
                  </a:cubicBezTo>
                  <a:cubicBezTo>
                    <a:pt x="79542" y="242009"/>
                    <a:pt x="79542" y="242009"/>
                    <a:pt x="78413" y="242855"/>
                  </a:cubicBezTo>
                  <a:cubicBezTo>
                    <a:pt x="78413" y="243137"/>
                    <a:pt x="78131" y="243419"/>
                    <a:pt x="77285" y="243983"/>
                  </a:cubicBezTo>
                  <a:lnTo>
                    <a:pt x="77003" y="244547"/>
                  </a:lnTo>
                  <a:lnTo>
                    <a:pt x="75875" y="244547"/>
                  </a:lnTo>
                  <a:cubicBezTo>
                    <a:pt x="75875" y="244829"/>
                    <a:pt x="75592" y="245111"/>
                    <a:pt x="74747" y="245111"/>
                  </a:cubicBezTo>
                  <a:cubicBezTo>
                    <a:pt x="74464" y="245111"/>
                    <a:pt x="74182" y="245958"/>
                    <a:pt x="73900" y="245675"/>
                  </a:cubicBezTo>
                  <a:lnTo>
                    <a:pt x="73618" y="245958"/>
                  </a:lnTo>
                  <a:cubicBezTo>
                    <a:pt x="73618" y="246240"/>
                    <a:pt x="73618" y="246522"/>
                    <a:pt x="73336" y="246522"/>
                  </a:cubicBezTo>
                  <a:cubicBezTo>
                    <a:pt x="73054" y="246522"/>
                    <a:pt x="72490" y="246240"/>
                    <a:pt x="72490" y="246240"/>
                  </a:cubicBezTo>
                  <a:lnTo>
                    <a:pt x="69951" y="249342"/>
                  </a:lnTo>
                  <a:cubicBezTo>
                    <a:pt x="69951" y="249906"/>
                    <a:pt x="69669" y="249906"/>
                    <a:pt x="69387" y="249906"/>
                  </a:cubicBezTo>
                  <a:lnTo>
                    <a:pt x="66849" y="249906"/>
                  </a:lnTo>
                  <a:cubicBezTo>
                    <a:pt x="66849" y="249342"/>
                    <a:pt x="66566" y="249342"/>
                    <a:pt x="66002" y="249342"/>
                  </a:cubicBezTo>
                  <a:cubicBezTo>
                    <a:pt x="65438" y="249342"/>
                    <a:pt x="64592" y="249624"/>
                    <a:pt x="64028" y="249624"/>
                  </a:cubicBezTo>
                  <a:cubicBezTo>
                    <a:pt x="63464" y="249624"/>
                    <a:pt x="63182" y="249342"/>
                    <a:pt x="62900" y="249342"/>
                  </a:cubicBezTo>
                  <a:cubicBezTo>
                    <a:pt x="62336" y="249624"/>
                    <a:pt x="62054" y="249624"/>
                    <a:pt x="61772" y="249624"/>
                  </a:cubicBezTo>
                  <a:cubicBezTo>
                    <a:pt x="61489" y="249624"/>
                    <a:pt x="61208" y="249624"/>
                    <a:pt x="60925" y="249906"/>
                  </a:cubicBezTo>
                  <a:lnTo>
                    <a:pt x="56977" y="247650"/>
                  </a:lnTo>
                  <a:cubicBezTo>
                    <a:pt x="56413" y="247650"/>
                    <a:pt x="56413" y="247932"/>
                    <a:pt x="56130" y="247932"/>
                  </a:cubicBezTo>
                  <a:cubicBezTo>
                    <a:pt x="55848" y="248214"/>
                    <a:pt x="55566" y="248214"/>
                    <a:pt x="55566" y="248214"/>
                  </a:cubicBezTo>
                  <a:cubicBezTo>
                    <a:pt x="55284" y="248214"/>
                    <a:pt x="55002" y="248214"/>
                    <a:pt x="54720" y="247932"/>
                  </a:cubicBezTo>
                  <a:cubicBezTo>
                    <a:pt x="54156" y="247650"/>
                    <a:pt x="53592" y="246804"/>
                    <a:pt x="52746" y="246240"/>
                  </a:cubicBezTo>
                  <a:cubicBezTo>
                    <a:pt x="52182" y="246240"/>
                    <a:pt x="52182" y="245675"/>
                    <a:pt x="51053" y="245675"/>
                  </a:cubicBezTo>
                  <a:cubicBezTo>
                    <a:pt x="51053" y="245393"/>
                    <a:pt x="51053" y="245111"/>
                    <a:pt x="50489" y="244829"/>
                  </a:cubicBezTo>
                  <a:cubicBezTo>
                    <a:pt x="50207" y="244547"/>
                    <a:pt x="49643" y="244547"/>
                    <a:pt x="49643" y="243983"/>
                  </a:cubicBezTo>
                  <a:cubicBezTo>
                    <a:pt x="49643" y="243137"/>
                    <a:pt x="48796" y="243137"/>
                    <a:pt x="48232" y="243137"/>
                  </a:cubicBezTo>
                  <a:cubicBezTo>
                    <a:pt x="47951" y="243137"/>
                    <a:pt x="47951" y="242855"/>
                    <a:pt x="47951" y="242573"/>
                  </a:cubicBezTo>
                  <a:cubicBezTo>
                    <a:pt x="47951" y="242573"/>
                    <a:pt x="48232" y="242291"/>
                    <a:pt x="48515" y="242291"/>
                  </a:cubicBezTo>
                  <a:lnTo>
                    <a:pt x="48796" y="242291"/>
                  </a:lnTo>
                  <a:lnTo>
                    <a:pt x="48515" y="242009"/>
                  </a:lnTo>
                  <a:lnTo>
                    <a:pt x="48515" y="241162"/>
                  </a:lnTo>
                  <a:cubicBezTo>
                    <a:pt x="48515" y="240880"/>
                    <a:pt x="48515" y="240880"/>
                    <a:pt x="48232" y="240880"/>
                  </a:cubicBezTo>
                  <a:cubicBezTo>
                    <a:pt x="47668" y="240880"/>
                    <a:pt x="47104" y="240598"/>
                    <a:pt x="47104" y="240316"/>
                  </a:cubicBezTo>
                  <a:lnTo>
                    <a:pt x="47386" y="240034"/>
                  </a:lnTo>
                  <a:cubicBezTo>
                    <a:pt x="47668" y="240034"/>
                    <a:pt x="47668" y="240034"/>
                    <a:pt x="47668" y="239752"/>
                  </a:cubicBezTo>
                  <a:lnTo>
                    <a:pt x="47668" y="239470"/>
                  </a:lnTo>
                  <a:cubicBezTo>
                    <a:pt x="47668" y="239188"/>
                    <a:pt x="47386" y="239188"/>
                    <a:pt x="47386" y="238906"/>
                  </a:cubicBezTo>
                  <a:lnTo>
                    <a:pt x="47104" y="238624"/>
                  </a:lnTo>
                  <a:cubicBezTo>
                    <a:pt x="47386" y="238342"/>
                    <a:pt x="47386" y="238060"/>
                    <a:pt x="47386" y="237778"/>
                  </a:cubicBezTo>
                  <a:cubicBezTo>
                    <a:pt x="47386" y="237496"/>
                    <a:pt x="47386" y="237214"/>
                    <a:pt x="46822" y="237214"/>
                  </a:cubicBezTo>
                  <a:lnTo>
                    <a:pt x="46822" y="236932"/>
                  </a:lnTo>
                  <a:cubicBezTo>
                    <a:pt x="46540" y="236649"/>
                    <a:pt x="46540" y="236367"/>
                    <a:pt x="46540" y="236085"/>
                  </a:cubicBezTo>
                  <a:cubicBezTo>
                    <a:pt x="46540" y="235521"/>
                    <a:pt x="46258" y="234957"/>
                    <a:pt x="46258" y="234675"/>
                  </a:cubicBezTo>
                  <a:cubicBezTo>
                    <a:pt x="45976" y="234111"/>
                    <a:pt x="45976" y="234111"/>
                    <a:pt x="45976" y="233547"/>
                  </a:cubicBezTo>
                  <a:cubicBezTo>
                    <a:pt x="45694" y="233547"/>
                    <a:pt x="45130" y="233265"/>
                    <a:pt x="44848" y="233265"/>
                  </a:cubicBezTo>
                  <a:lnTo>
                    <a:pt x="44284" y="233265"/>
                  </a:lnTo>
                  <a:cubicBezTo>
                    <a:pt x="44284" y="233265"/>
                    <a:pt x="44002" y="233265"/>
                    <a:pt x="43720" y="232983"/>
                  </a:cubicBezTo>
                  <a:lnTo>
                    <a:pt x="43720" y="232137"/>
                  </a:lnTo>
                  <a:lnTo>
                    <a:pt x="44002" y="231854"/>
                  </a:lnTo>
                  <a:cubicBezTo>
                    <a:pt x="44002" y="231290"/>
                    <a:pt x="44566" y="231290"/>
                    <a:pt x="44566" y="231008"/>
                  </a:cubicBezTo>
                  <a:lnTo>
                    <a:pt x="44566" y="230162"/>
                  </a:lnTo>
                  <a:cubicBezTo>
                    <a:pt x="44566" y="229034"/>
                    <a:pt x="44284" y="228470"/>
                    <a:pt x="44284" y="227906"/>
                  </a:cubicBezTo>
                  <a:cubicBezTo>
                    <a:pt x="44284" y="227624"/>
                    <a:pt x="43720" y="227341"/>
                    <a:pt x="43720" y="226777"/>
                  </a:cubicBezTo>
                  <a:lnTo>
                    <a:pt x="43720" y="226495"/>
                  </a:lnTo>
                  <a:cubicBezTo>
                    <a:pt x="43720" y="226213"/>
                    <a:pt x="43438" y="226213"/>
                    <a:pt x="43438" y="226213"/>
                  </a:cubicBezTo>
                  <a:lnTo>
                    <a:pt x="43438" y="226495"/>
                  </a:lnTo>
                  <a:lnTo>
                    <a:pt x="42874" y="226495"/>
                  </a:lnTo>
                  <a:lnTo>
                    <a:pt x="42874" y="225649"/>
                  </a:lnTo>
                  <a:cubicBezTo>
                    <a:pt x="42874" y="225367"/>
                    <a:pt x="42874" y="225367"/>
                    <a:pt x="42591" y="225085"/>
                  </a:cubicBezTo>
                  <a:cubicBezTo>
                    <a:pt x="42310" y="225085"/>
                    <a:pt x="42310" y="225085"/>
                    <a:pt x="42310" y="224803"/>
                  </a:cubicBezTo>
                  <a:lnTo>
                    <a:pt x="43155" y="223957"/>
                  </a:lnTo>
                  <a:cubicBezTo>
                    <a:pt x="43155" y="223957"/>
                    <a:pt x="42874" y="223393"/>
                    <a:pt x="42874" y="223111"/>
                  </a:cubicBezTo>
                  <a:cubicBezTo>
                    <a:pt x="42310" y="223111"/>
                    <a:pt x="42310" y="222828"/>
                    <a:pt x="42310" y="222828"/>
                  </a:cubicBezTo>
                  <a:lnTo>
                    <a:pt x="42310" y="220854"/>
                  </a:lnTo>
                  <a:cubicBezTo>
                    <a:pt x="42310" y="220290"/>
                    <a:pt x="42310" y="219726"/>
                    <a:pt x="42591" y="218880"/>
                  </a:cubicBezTo>
                  <a:lnTo>
                    <a:pt x="43155" y="218880"/>
                  </a:lnTo>
                  <a:cubicBezTo>
                    <a:pt x="43438" y="218880"/>
                    <a:pt x="43720" y="218880"/>
                    <a:pt x="43720" y="218315"/>
                  </a:cubicBezTo>
                  <a:cubicBezTo>
                    <a:pt x="43438" y="217751"/>
                    <a:pt x="43438" y="217469"/>
                    <a:pt x="43438" y="216623"/>
                  </a:cubicBezTo>
                  <a:cubicBezTo>
                    <a:pt x="43438" y="216341"/>
                    <a:pt x="43155" y="216341"/>
                    <a:pt x="43155" y="216059"/>
                  </a:cubicBezTo>
                  <a:cubicBezTo>
                    <a:pt x="42874" y="216059"/>
                    <a:pt x="43155" y="215777"/>
                    <a:pt x="43155" y="215495"/>
                  </a:cubicBezTo>
                  <a:cubicBezTo>
                    <a:pt x="43438" y="215213"/>
                    <a:pt x="43438" y="214649"/>
                    <a:pt x="43438" y="214367"/>
                  </a:cubicBezTo>
                  <a:cubicBezTo>
                    <a:pt x="43438" y="214085"/>
                    <a:pt x="43438" y="213803"/>
                    <a:pt x="43155" y="212956"/>
                  </a:cubicBezTo>
                  <a:lnTo>
                    <a:pt x="43438" y="212674"/>
                  </a:lnTo>
                  <a:cubicBezTo>
                    <a:pt x="42874" y="212392"/>
                    <a:pt x="42027" y="211828"/>
                    <a:pt x="42027" y="211264"/>
                  </a:cubicBezTo>
                  <a:cubicBezTo>
                    <a:pt x="42027" y="210982"/>
                    <a:pt x="42310" y="210982"/>
                    <a:pt x="42310" y="210700"/>
                  </a:cubicBezTo>
                  <a:cubicBezTo>
                    <a:pt x="42310" y="210700"/>
                    <a:pt x="41463" y="210418"/>
                    <a:pt x="41463" y="210136"/>
                  </a:cubicBezTo>
                  <a:cubicBezTo>
                    <a:pt x="41463" y="210136"/>
                    <a:pt x="41463" y="209854"/>
                    <a:pt x="41745" y="209854"/>
                  </a:cubicBezTo>
                  <a:cubicBezTo>
                    <a:pt x="43155" y="209290"/>
                    <a:pt x="43155" y="209290"/>
                    <a:pt x="43155" y="208725"/>
                  </a:cubicBezTo>
                  <a:cubicBezTo>
                    <a:pt x="43155" y="207879"/>
                    <a:pt x="43155" y="207315"/>
                    <a:pt x="42310" y="207033"/>
                  </a:cubicBezTo>
                  <a:lnTo>
                    <a:pt x="42027" y="206751"/>
                  </a:lnTo>
                  <a:cubicBezTo>
                    <a:pt x="42027" y="206751"/>
                    <a:pt x="42027" y="206469"/>
                    <a:pt x="42310" y="206187"/>
                  </a:cubicBezTo>
                  <a:lnTo>
                    <a:pt x="41745" y="205905"/>
                  </a:lnTo>
                  <a:lnTo>
                    <a:pt x="41745" y="205341"/>
                  </a:lnTo>
                  <a:cubicBezTo>
                    <a:pt x="41463" y="204495"/>
                    <a:pt x="41463" y="203648"/>
                    <a:pt x="41463" y="203084"/>
                  </a:cubicBezTo>
                  <a:lnTo>
                    <a:pt x="41463" y="201110"/>
                  </a:lnTo>
                  <a:cubicBezTo>
                    <a:pt x="41463" y="200264"/>
                    <a:pt x="41463" y="200264"/>
                    <a:pt x="41745" y="199982"/>
                  </a:cubicBezTo>
                  <a:cubicBezTo>
                    <a:pt x="42310" y="199982"/>
                    <a:pt x="42591" y="199982"/>
                    <a:pt x="42874" y="199699"/>
                  </a:cubicBezTo>
                  <a:cubicBezTo>
                    <a:pt x="42874" y="199417"/>
                    <a:pt x="42591" y="199135"/>
                    <a:pt x="42027" y="198571"/>
                  </a:cubicBezTo>
                  <a:cubicBezTo>
                    <a:pt x="41745" y="198571"/>
                    <a:pt x="41745" y="198007"/>
                    <a:pt x="41745" y="198007"/>
                  </a:cubicBezTo>
                  <a:cubicBezTo>
                    <a:pt x="42310" y="197725"/>
                    <a:pt x="42591" y="197443"/>
                    <a:pt x="42591" y="196879"/>
                  </a:cubicBezTo>
                  <a:cubicBezTo>
                    <a:pt x="42591" y="196597"/>
                    <a:pt x="42310" y="196033"/>
                    <a:pt x="42310" y="195751"/>
                  </a:cubicBezTo>
                  <a:lnTo>
                    <a:pt x="42310" y="194058"/>
                  </a:lnTo>
                  <a:cubicBezTo>
                    <a:pt x="42591" y="193212"/>
                    <a:pt x="43155" y="192648"/>
                    <a:pt x="43438" y="192366"/>
                  </a:cubicBezTo>
                  <a:lnTo>
                    <a:pt x="43155" y="192084"/>
                  </a:lnTo>
                  <a:lnTo>
                    <a:pt x="43155" y="190673"/>
                  </a:lnTo>
                  <a:cubicBezTo>
                    <a:pt x="42874" y="190673"/>
                    <a:pt x="42874" y="190391"/>
                    <a:pt x="42874" y="190391"/>
                  </a:cubicBezTo>
                  <a:cubicBezTo>
                    <a:pt x="42874" y="190391"/>
                    <a:pt x="42874" y="190109"/>
                    <a:pt x="43155" y="189827"/>
                  </a:cubicBezTo>
                  <a:cubicBezTo>
                    <a:pt x="43720" y="189545"/>
                    <a:pt x="43720" y="188981"/>
                    <a:pt x="44002" y="188981"/>
                  </a:cubicBezTo>
                  <a:cubicBezTo>
                    <a:pt x="43720" y="188417"/>
                    <a:pt x="43720" y="187853"/>
                    <a:pt x="43720" y="187289"/>
                  </a:cubicBezTo>
                  <a:cubicBezTo>
                    <a:pt x="43720" y="187007"/>
                    <a:pt x="44002" y="186725"/>
                    <a:pt x="44002" y="186443"/>
                  </a:cubicBezTo>
                  <a:cubicBezTo>
                    <a:pt x="44002" y="186161"/>
                    <a:pt x="43720" y="185878"/>
                    <a:pt x="43720" y="185314"/>
                  </a:cubicBezTo>
                  <a:lnTo>
                    <a:pt x="43720" y="184750"/>
                  </a:lnTo>
                  <a:cubicBezTo>
                    <a:pt x="43720" y="184750"/>
                    <a:pt x="43720" y="184186"/>
                    <a:pt x="44566" y="183622"/>
                  </a:cubicBezTo>
                  <a:lnTo>
                    <a:pt x="44566" y="180519"/>
                  </a:lnTo>
                  <a:lnTo>
                    <a:pt x="44848" y="180237"/>
                  </a:lnTo>
                  <a:cubicBezTo>
                    <a:pt x="44284" y="179955"/>
                    <a:pt x="44284" y="179391"/>
                    <a:pt x="44284" y="179109"/>
                  </a:cubicBezTo>
                  <a:lnTo>
                    <a:pt x="44284" y="178545"/>
                  </a:lnTo>
                  <a:cubicBezTo>
                    <a:pt x="44284" y="177981"/>
                    <a:pt x="44284" y="177699"/>
                    <a:pt x="45130" y="177135"/>
                  </a:cubicBezTo>
                  <a:cubicBezTo>
                    <a:pt x="45130" y="177135"/>
                    <a:pt x="45130" y="176288"/>
                    <a:pt x="44848" y="176288"/>
                  </a:cubicBezTo>
                  <a:cubicBezTo>
                    <a:pt x="44566" y="176006"/>
                    <a:pt x="44566" y="176006"/>
                    <a:pt x="44566" y="175724"/>
                  </a:cubicBezTo>
                  <a:cubicBezTo>
                    <a:pt x="44566" y="175724"/>
                    <a:pt x="44566" y="175442"/>
                    <a:pt x="44848" y="175442"/>
                  </a:cubicBezTo>
                  <a:cubicBezTo>
                    <a:pt x="44848" y="175442"/>
                    <a:pt x="45130" y="175442"/>
                    <a:pt x="45130" y="175160"/>
                  </a:cubicBezTo>
                  <a:cubicBezTo>
                    <a:pt x="44848" y="174878"/>
                    <a:pt x="44566" y="174878"/>
                    <a:pt x="44566" y="174596"/>
                  </a:cubicBezTo>
                  <a:cubicBezTo>
                    <a:pt x="44002" y="174314"/>
                    <a:pt x="44002" y="174032"/>
                    <a:pt x="44002" y="173750"/>
                  </a:cubicBezTo>
                  <a:lnTo>
                    <a:pt x="44002" y="172340"/>
                  </a:lnTo>
                  <a:cubicBezTo>
                    <a:pt x="44284" y="172057"/>
                    <a:pt x="44284" y="171493"/>
                    <a:pt x="44284" y="170929"/>
                  </a:cubicBezTo>
                  <a:cubicBezTo>
                    <a:pt x="44566" y="170647"/>
                    <a:pt x="44566" y="170647"/>
                    <a:pt x="44566" y="170365"/>
                  </a:cubicBezTo>
                  <a:cubicBezTo>
                    <a:pt x="44566" y="170083"/>
                    <a:pt x="44284" y="169801"/>
                    <a:pt x="44284" y="169519"/>
                  </a:cubicBezTo>
                  <a:cubicBezTo>
                    <a:pt x="44284" y="169237"/>
                    <a:pt x="44566" y="168955"/>
                    <a:pt x="45130" y="168673"/>
                  </a:cubicBezTo>
                  <a:cubicBezTo>
                    <a:pt x="45412" y="168673"/>
                    <a:pt x="45412" y="168673"/>
                    <a:pt x="45412" y="168391"/>
                  </a:cubicBezTo>
                  <a:lnTo>
                    <a:pt x="45412" y="167262"/>
                  </a:lnTo>
                  <a:cubicBezTo>
                    <a:pt x="45412" y="167262"/>
                    <a:pt x="45130" y="167262"/>
                    <a:pt x="45130" y="166980"/>
                  </a:cubicBezTo>
                  <a:lnTo>
                    <a:pt x="45412" y="166698"/>
                  </a:lnTo>
                  <a:cubicBezTo>
                    <a:pt x="45412" y="166698"/>
                    <a:pt x="46258" y="165852"/>
                    <a:pt x="46258" y="165288"/>
                  </a:cubicBezTo>
                  <a:cubicBezTo>
                    <a:pt x="45694" y="164724"/>
                    <a:pt x="45412" y="164160"/>
                    <a:pt x="45412" y="163878"/>
                  </a:cubicBezTo>
                  <a:cubicBezTo>
                    <a:pt x="45412" y="163596"/>
                    <a:pt x="45412" y="163314"/>
                    <a:pt x="45976" y="162749"/>
                  </a:cubicBezTo>
                  <a:lnTo>
                    <a:pt x="45976" y="162185"/>
                  </a:lnTo>
                  <a:cubicBezTo>
                    <a:pt x="45976" y="161903"/>
                    <a:pt x="45976" y="161621"/>
                    <a:pt x="46540" y="161339"/>
                  </a:cubicBezTo>
                  <a:cubicBezTo>
                    <a:pt x="46822" y="161057"/>
                    <a:pt x="46822" y="160493"/>
                    <a:pt x="46822" y="159929"/>
                  </a:cubicBezTo>
                  <a:lnTo>
                    <a:pt x="46822" y="159083"/>
                  </a:lnTo>
                  <a:cubicBezTo>
                    <a:pt x="47104" y="159083"/>
                    <a:pt x="46822" y="158801"/>
                    <a:pt x="46822" y="158801"/>
                  </a:cubicBezTo>
                  <a:lnTo>
                    <a:pt x="46540" y="158801"/>
                  </a:lnTo>
                  <a:lnTo>
                    <a:pt x="46540" y="157954"/>
                  </a:lnTo>
                  <a:lnTo>
                    <a:pt x="46822" y="157672"/>
                  </a:lnTo>
                  <a:cubicBezTo>
                    <a:pt x="47668" y="157108"/>
                    <a:pt x="47951" y="156826"/>
                    <a:pt x="47951" y="156262"/>
                  </a:cubicBezTo>
                  <a:cubicBezTo>
                    <a:pt x="47668" y="155980"/>
                    <a:pt x="47668" y="155698"/>
                    <a:pt x="47668" y="155416"/>
                  </a:cubicBezTo>
                  <a:cubicBezTo>
                    <a:pt x="47668" y="155134"/>
                    <a:pt x="47951" y="154570"/>
                    <a:pt x="48232" y="154288"/>
                  </a:cubicBezTo>
                  <a:lnTo>
                    <a:pt x="48232" y="154006"/>
                  </a:lnTo>
                  <a:cubicBezTo>
                    <a:pt x="47951" y="153723"/>
                    <a:pt x="47668" y="153159"/>
                    <a:pt x="47668" y="152877"/>
                  </a:cubicBezTo>
                  <a:lnTo>
                    <a:pt x="47668" y="151749"/>
                  </a:lnTo>
                  <a:cubicBezTo>
                    <a:pt x="47668" y="151467"/>
                    <a:pt x="47668" y="151467"/>
                    <a:pt x="47951" y="151185"/>
                  </a:cubicBezTo>
                  <a:cubicBezTo>
                    <a:pt x="47951" y="150903"/>
                    <a:pt x="48232" y="150903"/>
                    <a:pt x="48232" y="150903"/>
                  </a:cubicBezTo>
                  <a:lnTo>
                    <a:pt x="48515" y="150903"/>
                  </a:lnTo>
                  <a:cubicBezTo>
                    <a:pt x="48515" y="150903"/>
                    <a:pt x="48796" y="150903"/>
                    <a:pt x="48796" y="150621"/>
                  </a:cubicBezTo>
                  <a:cubicBezTo>
                    <a:pt x="48796" y="150621"/>
                    <a:pt x="48515" y="150339"/>
                    <a:pt x="48515" y="150057"/>
                  </a:cubicBezTo>
                  <a:cubicBezTo>
                    <a:pt x="48515" y="150057"/>
                    <a:pt x="48232" y="149775"/>
                    <a:pt x="48232" y="149493"/>
                  </a:cubicBezTo>
                  <a:lnTo>
                    <a:pt x="48232" y="149210"/>
                  </a:lnTo>
                  <a:cubicBezTo>
                    <a:pt x="48796" y="148928"/>
                    <a:pt x="48796" y="148364"/>
                    <a:pt x="48796" y="148082"/>
                  </a:cubicBezTo>
                  <a:lnTo>
                    <a:pt x="48796" y="147800"/>
                  </a:lnTo>
                  <a:cubicBezTo>
                    <a:pt x="49079" y="147518"/>
                    <a:pt x="49079" y="147236"/>
                    <a:pt x="49079" y="147236"/>
                  </a:cubicBezTo>
                  <a:cubicBezTo>
                    <a:pt x="49079" y="146954"/>
                    <a:pt x="48796" y="146954"/>
                    <a:pt x="48796" y="146390"/>
                  </a:cubicBezTo>
                  <a:cubicBezTo>
                    <a:pt x="48515" y="146108"/>
                    <a:pt x="48232" y="145826"/>
                    <a:pt x="48232" y="145544"/>
                  </a:cubicBezTo>
                  <a:cubicBezTo>
                    <a:pt x="48232" y="145262"/>
                    <a:pt x="48515" y="145262"/>
                    <a:pt x="48796" y="144980"/>
                  </a:cubicBezTo>
                  <a:cubicBezTo>
                    <a:pt x="50489" y="144697"/>
                    <a:pt x="50489" y="144133"/>
                    <a:pt x="50771" y="143287"/>
                  </a:cubicBezTo>
                  <a:lnTo>
                    <a:pt x="50771" y="142441"/>
                  </a:lnTo>
                  <a:cubicBezTo>
                    <a:pt x="50489" y="142159"/>
                    <a:pt x="50489" y="141595"/>
                    <a:pt x="50489" y="141313"/>
                  </a:cubicBezTo>
                  <a:lnTo>
                    <a:pt x="50489" y="140185"/>
                  </a:lnTo>
                  <a:cubicBezTo>
                    <a:pt x="50771" y="139620"/>
                    <a:pt x="50771" y="138492"/>
                    <a:pt x="51053" y="137646"/>
                  </a:cubicBezTo>
                  <a:cubicBezTo>
                    <a:pt x="51053" y="137364"/>
                    <a:pt x="50771" y="137082"/>
                    <a:pt x="50771" y="136800"/>
                  </a:cubicBezTo>
                  <a:cubicBezTo>
                    <a:pt x="50771" y="136518"/>
                    <a:pt x="50771" y="136236"/>
                    <a:pt x="51053" y="135954"/>
                  </a:cubicBezTo>
                  <a:cubicBezTo>
                    <a:pt x="51053" y="135672"/>
                    <a:pt x="51335" y="135107"/>
                    <a:pt x="51335" y="134825"/>
                  </a:cubicBezTo>
                  <a:lnTo>
                    <a:pt x="51335" y="132851"/>
                  </a:lnTo>
                  <a:cubicBezTo>
                    <a:pt x="51899" y="132851"/>
                    <a:pt x="51899" y="132569"/>
                    <a:pt x="51899" y="132569"/>
                  </a:cubicBezTo>
                  <a:lnTo>
                    <a:pt x="51899" y="131159"/>
                  </a:lnTo>
                  <a:cubicBezTo>
                    <a:pt x="52182" y="130594"/>
                    <a:pt x="52182" y="130312"/>
                    <a:pt x="52182" y="129748"/>
                  </a:cubicBezTo>
                  <a:lnTo>
                    <a:pt x="51617" y="129466"/>
                  </a:lnTo>
                  <a:cubicBezTo>
                    <a:pt x="51617" y="129184"/>
                    <a:pt x="52182" y="128620"/>
                    <a:pt x="52463" y="128056"/>
                  </a:cubicBezTo>
                  <a:cubicBezTo>
                    <a:pt x="52463" y="128056"/>
                    <a:pt x="52746" y="127774"/>
                    <a:pt x="52746" y="127492"/>
                  </a:cubicBezTo>
                  <a:cubicBezTo>
                    <a:pt x="52746" y="127210"/>
                    <a:pt x="52463" y="126928"/>
                    <a:pt x="52463" y="126363"/>
                  </a:cubicBezTo>
                  <a:cubicBezTo>
                    <a:pt x="52463" y="126363"/>
                    <a:pt x="52463" y="125799"/>
                    <a:pt x="53310" y="125235"/>
                  </a:cubicBezTo>
                  <a:cubicBezTo>
                    <a:pt x="53592" y="125235"/>
                    <a:pt x="53592" y="124953"/>
                    <a:pt x="53592" y="124671"/>
                  </a:cubicBezTo>
                  <a:cubicBezTo>
                    <a:pt x="53592" y="124389"/>
                    <a:pt x="53592" y="124107"/>
                    <a:pt x="53310" y="123543"/>
                  </a:cubicBezTo>
                  <a:cubicBezTo>
                    <a:pt x="54156" y="123261"/>
                    <a:pt x="53592" y="122697"/>
                    <a:pt x="54438" y="122133"/>
                  </a:cubicBezTo>
                  <a:cubicBezTo>
                    <a:pt x="54720" y="122133"/>
                    <a:pt x="54438" y="121851"/>
                    <a:pt x="54156" y="121568"/>
                  </a:cubicBezTo>
                  <a:cubicBezTo>
                    <a:pt x="54156" y="121568"/>
                    <a:pt x="54438" y="120722"/>
                    <a:pt x="54438" y="120158"/>
                  </a:cubicBezTo>
                  <a:cubicBezTo>
                    <a:pt x="54438" y="120158"/>
                    <a:pt x="54438" y="119876"/>
                    <a:pt x="54720" y="119312"/>
                  </a:cubicBezTo>
                  <a:cubicBezTo>
                    <a:pt x="55284" y="119030"/>
                    <a:pt x="55284" y="118748"/>
                    <a:pt x="55566" y="118466"/>
                  </a:cubicBezTo>
                  <a:lnTo>
                    <a:pt x="55566" y="116209"/>
                  </a:lnTo>
                  <a:cubicBezTo>
                    <a:pt x="55566" y="115927"/>
                    <a:pt x="54720" y="115645"/>
                    <a:pt x="54720" y="115363"/>
                  </a:cubicBezTo>
                  <a:cubicBezTo>
                    <a:pt x="54720" y="115081"/>
                    <a:pt x="55002" y="114799"/>
                    <a:pt x="55284" y="114235"/>
                  </a:cubicBezTo>
                  <a:cubicBezTo>
                    <a:pt x="55566" y="113953"/>
                    <a:pt x="55284" y="113107"/>
                    <a:pt x="56413" y="112542"/>
                  </a:cubicBezTo>
                  <a:lnTo>
                    <a:pt x="56413" y="110850"/>
                  </a:lnTo>
                  <a:cubicBezTo>
                    <a:pt x="56977" y="110568"/>
                    <a:pt x="56977" y="110568"/>
                    <a:pt x="56977" y="110286"/>
                  </a:cubicBezTo>
                  <a:lnTo>
                    <a:pt x="56977" y="109722"/>
                  </a:lnTo>
                  <a:lnTo>
                    <a:pt x="57258" y="109440"/>
                  </a:lnTo>
                  <a:lnTo>
                    <a:pt x="57258" y="109158"/>
                  </a:lnTo>
                  <a:cubicBezTo>
                    <a:pt x="57258" y="108594"/>
                    <a:pt x="57823" y="108312"/>
                    <a:pt x="57823" y="107747"/>
                  </a:cubicBezTo>
                  <a:lnTo>
                    <a:pt x="57823" y="105491"/>
                  </a:lnTo>
                  <a:cubicBezTo>
                    <a:pt x="58105" y="105491"/>
                    <a:pt x="58105" y="105209"/>
                    <a:pt x="58105" y="104927"/>
                  </a:cubicBezTo>
                  <a:lnTo>
                    <a:pt x="58105" y="103517"/>
                  </a:lnTo>
                  <a:cubicBezTo>
                    <a:pt x="58105" y="103234"/>
                    <a:pt x="58951" y="102388"/>
                    <a:pt x="58951" y="101824"/>
                  </a:cubicBezTo>
                  <a:cubicBezTo>
                    <a:pt x="58951" y="101542"/>
                    <a:pt x="58951" y="101542"/>
                    <a:pt x="58669" y="101260"/>
                  </a:cubicBezTo>
                  <a:cubicBezTo>
                    <a:pt x="59233" y="100696"/>
                    <a:pt x="59515" y="100132"/>
                    <a:pt x="59515" y="99850"/>
                  </a:cubicBezTo>
                  <a:cubicBezTo>
                    <a:pt x="59515" y="99568"/>
                    <a:pt x="59233" y="99568"/>
                    <a:pt x="59233" y="99286"/>
                  </a:cubicBezTo>
                  <a:lnTo>
                    <a:pt x="59233" y="98721"/>
                  </a:lnTo>
                  <a:cubicBezTo>
                    <a:pt x="59233" y="98157"/>
                    <a:pt x="59515" y="97311"/>
                    <a:pt x="59797" y="96747"/>
                  </a:cubicBezTo>
                  <a:cubicBezTo>
                    <a:pt x="60079" y="96465"/>
                    <a:pt x="60079" y="96465"/>
                    <a:pt x="60079" y="96183"/>
                  </a:cubicBezTo>
                  <a:cubicBezTo>
                    <a:pt x="60079" y="95619"/>
                    <a:pt x="64874" y="78413"/>
                    <a:pt x="64592" y="77849"/>
                  </a:cubicBezTo>
                  <a:cubicBezTo>
                    <a:pt x="64874" y="77003"/>
                    <a:pt x="65720" y="77003"/>
                    <a:pt x="65720" y="76721"/>
                  </a:cubicBezTo>
                  <a:lnTo>
                    <a:pt x="65720" y="76439"/>
                  </a:lnTo>
                  <a:cubicBezTo>
                    <a:pt x="65720" y="75875"/>
                    <a:pt x="65438" y="75310"/>
                    <a:pt x="65156" y="75028"/>
                  </a:cubicBezTo>
                  <a:cubicBezTo>
                    <a:pt x="64592" y="75028"/>
                    <a:pt x="64592" y="74746"/>
                    <a:pt x="64592" y="74464"/>
                  </a:cubicBezTo>
                  <a:cubicBezTo>
                    <a:pt x="64592" y="74182"/>
                    <a:pt x="65438" y="74182"/>
                    <a:pt x="65720" y="74182"/>
                  </a:cubicBezTo>
                  <a:cubicBezTo>
                    <a:pt x="66566" y="74182"/>
                    <a:pt x="66849" y="73618"/>
                    <a:pt x="66849" y="73054"/>
                  </a:cubicBezTo>
                  <a:cubicBezTo>
                    <a:pt x="66566" y="72490"/>
                    <a:pt x="66566" y="72208"/>
                    <a:pt x="66566" y="71926"/>
                  </a:cubicBezTo>
                  <a:cubicBezTo>
                    <a:pt x="66566" y="71644"/>
                    <a:pt x="67130" y="71362"/>
                    <a:pt x="67130" y="71079"/>
                  </a:cubicBezTo>
                  <a:cubicBezTo>
                    <a:pt x="70516" y="59515"/>
                    <a:pt x="69669" y="63182"/>
                    <a:pt x="70797" y="58669"/>
                  </a:cubicBezTo>
                  <a:lnTo>
                    <a:pt x="69105" y="58669"/>
                  </a:lnTo>
                  <a:cubicBezTo>
                    <a:pt x="68823" y="58669"/>
                    <a:pt x="68259" y="59233"/>
                    <a:pt x="67977" y="59233"/>
                  </a:cubicBezTo>
                  <a:cubicBezTo>
                    <a:pt x="66285" y="59515"/>
                    <a:pt x="65156" y="59515"/>
                    <a:pt x="63182" y="60643"/>
                  </a:cubicBezTo>
                  <a:lnTo>
                    <a:pt x="62618" y="60643"/>
                  </a:lnTo>
                  <a:cubicBezTo>
                    <a:pt x="61772" y="60643"/>
                    <a:pt x="61489" y="60079"/>
                    <a:pt x="61208" y="59797"/>
                  </a:cubicBezTo>
                  <a:lnTo>
                    <a:pt x="60361" y="59797"/>
                  </a:lnTo>
                  <a:cubicBezTo>
                    <a:pt x="59797" y="59797"/>
                    <a:pt x="59233" y="59797"/>
                    <a:pt x="58951" y="60079"/>
                  </a:cubicBezTo>
                  <a:cubicBezTo>
                    <a:pt x="58669" y="60643"/>
                    <a:pt x="58105" y="60925"/>
                    <a:pt x="58105" y="60925"/>
                  </a:cubicBezTo>
                  <a:lnTo>
                    <a:pt x="56694" y="60925"/>
                  </a:lnTo>
                  <a:cubicBezTo>
                    <a:pt x="56130" y="60925"/>
                    <a:pt x="56130" y="60925"/>
                    <a:pt x="55566" y="61207"/>
                  </a:cubicBezTo>
                  <a:cubicBezTo>
                    <a:pt x="55284" y="61771"/>
                    <a:pt x="54720" y="61771"/>
                    <a:pt x="54720" y="61771"/>
                  </a:cubicBezTo>
                  <a:lnTo>
                    <a:pt x="54156" y="61771"/>
                  </a:lnTo>
                  <a:cubicBezTo>
                    <a:pt x="53310" y="61771"/>
                    <a:pt x="52182" y="62053"/>
                    <a:pt x="51053" y="62618"/>
                  </a:cubicBezTo>
                  <a:lnTo>
                    <a:pt x="47386" y="63182"/>
                  </a:lnTo>
                  <a:lnTo>
                    <a:pt x="46540" y="63182"/>
                  </a:lnTo>
                  <a:cubicBezTo>
                    <a:pt x="45412" y="63464"/>
                    <a:pt x="45130" y="63746"/>
                    <a:pt x="45130" y="63746"/>
                  </a:cubicBezTo>
                  <a:cubicBezTo>
                    <a:pt x="44848" y="64028"/>
                    <a:pt x="44848" y="64028"/>
                    <a:pt x="44566" y="64028"/>
                  </a:cubicBezTo>
                  <a:cubicBezTo>
                    <a:pt x="44284" y="64028"/>
                    <a:pt x="44284" y="64028"/>
                    <a:pt x="44284" y="63746"/>
                  </a:cubicBezTo>
                  <a:lnTo>
                    <a:pt x="44284" y="63464"/>
                  </a:lnTo>
                  <a:lnTo>
                    <a:pt x="44566" y="63182"/>
                  </a:lnTo>
                  <a:lnTo>
                    <a:pt x="44284" y="63182"/>
                  </a:lnTo>
                  <a:lnTo>
                    <a:pt x="44284" y="62618"/>
                  </a:lnTo>
                  <a:cubicBezTo>
                    <a:pt x="44002" y="62618"/>
                    <a:pt x="43438" y="62900"/>
                    <a:pt x="43438" y="62900"/>
                  </a:cubicBezTo>
                  <a:lnTo>
                    <a:pt x="43438" y="63182"/>
                  </a:lnTo>
                  <a:cubicBezTo>
                    <a:pt x="43438" y="63182"/>
                    <a:pt x="44002" y="63182"/>
                    <a:pt x="44002" y="63464"/>
                  </a:cubicBezTo>
                  <a:cubicBezTo>
                    <a:pt x="43720" y="63746"/>
                    <a:pt x="43438" y="64310"/>
                    <a:pt x="42874" y="64310"/>
                  </a:cubicBezTo>
                  <a:lnTo>
                    <a:pt x="42591" y="64310"/>
                  </a:lnTo>
                  <a:lnTo>
                    <a:pt x="42310" y="64592"/>
                  </a:lnTo>
                  <a:lnTo>
                    <a:pt x="42027" y="64592"/>
                  </a:lnTo>
                  <a:cubicBezTo>
                    <a:pt x="41745" y="64592"/>
                    <a:pt x="41463" y="64310"/>
                    <a:pt x="41463" y="64310"/>
                  </a:cubicBezTo>
                  <a:lnTo>
                    <a:pt x="41745" y="64028"/>
                  </a:lnTo>
                  <a:lnTo>
                    <a:pt x="41463" y="64028"/>
                  </a:lnTo>
                  <a:cubicBezTo>
                    <a:pt x="41181" y="64028"/>
                    <a:pt x="40899" y="63746"/>
                    <a:pt x="40899" y="63746"/>
                  </a:cubicBezTo>
                  <a:lnTo>
                    <a:pt x="40899" y="64028"/>
                  </a:lnTo>
                  <a:cubicBezTo>
                    <a:pt x="40335" y="64310"/>
                    <a:pt x="40335" y="64874"/>
                    <a:pt x="39771" y="65438"/>
                  </a:cubicBezTo>
                  <a:cubicBezTo>
                    <a:pt x="39489" y="65720"/>
                    <a:pt x="39207" y="65720"/>
                    <a:pt x="38924" y="65720"/>
                  </a:cubicBezTo>
                  <a:cubicBezTo>
                    <a:pt x="38360" y="65438"/>
                    <a:pt x="38643" y="64874"/>
                    <a:pt x="38360" y="64874"/>
                  </a:cubicBezTo>
                  <a:cubicBezTo>
                    <a:pt x="38079" y="64874"/>
                    <a:pt x="37232" y="65438"/>
                    <a:pt x="36668" y="65720"/>
                  </a:cubicBezTo>
                  <a:lnTo>
                    <a:pt x="34129" y="66284"/>
                  </a:lnTo>
                  <a:lnTo>
                    <a:pt x="33001" y="66284"/>
                  </a:lnTo>
                  <a:cubicBezTo>
                    <a:pt x="33001" y="66849"/>
                    <a:pt x="32719" y="66849"/>
                    <a:pt x="32437" y="66849"/>
                  </a:cubicBezTo>
                  <a:cubicBezTo>
                    <a:pt x="32155" y="66849"/>
                    <a:pt x="31873" y="66849"/>
                    <a:pt x="31873" y="66566"/>
                  </a:cubicBezTo>
                  <a:cubicBezTo>
                    <a:pt x="31309" y="66566"/>
                    <a:pt x="30745" y="66849"/>
                    <a:pt x="30462" y="67131"/>
                  </a:cubicBezTo>
                  <a:cubicBezTo>
                    <a:pt x="29052" y="67413"/>
                    <a:pt x="28206" y="67977"/>
                    <a:pt x="27078" y="67977"/>
                  </a:cubicBezTo>
                  <a:lnTo>
                    <a:pt x="26514" y="67977"/>
                  </a:lnTo>
                  <a:cubicBezTo>
                    <a:pt x="25668" y="68541"/>
                    <a:pt x="25104" y="69105"/>
                    <a:pt x="25104" y="69105"/>
                  </a:cubicBezTo>
                  <a:lnTo>
                    <a:pt x="23411" y="69105"/>
                  </a:lnTo>
                  <a:cubicBezTo>
                    <a:pt x="23129" y="69105"/>
                    <a:pt x="22847" y="69105"/>
                    <a:pt x="22565" y="68823"/>
                  </a:cubicBezTo>
                  <a:cubicBezTo>
                    <a:pt x="22001" y="68823"/>
                    <a:pt x="21719" y="69105"/>
                    <a:pt x="21719" y="69105"/>
                  </a:cubicBezTo>
                  <a:cubicBezTo>
                    <a:pt x="21155" y="69669"/>
                    <a:pt x="20309" y="69387"/>
                    <a:pt x="19744" y="70515"/>
                  </a:cubicBezTo>
                  <a:cubicBezTo>
                    <a:pt x="18898" y="70797"/>
                    <a:pt x="18616" y="70797"/>
                    <a:pt x="18616" y="70797"/>
                  </a:cubicBezTo>
                  <a:cubicBezTo>
                    <a:pt x="18616" y="70515"/>
                    <a:pt x="18616" y="70515"/>
                    <a:pt x="18052" y="70515"/>
                  </a:cubicBezTo>
                  <a:lnTo>
                    <a:pt x="16360" y="70515"/>
                  </a:lnTo>
                  <a:cubicBezTo>
                    <a:pt x="15513" y="70515"/>
                    <a:pt x="14949" y="70797"/>
                    <a:pt x="13257" y="72208"/>
                  </a:cubicBezTo>
                  <a:lnTo>
                    <a:pt x="11000" y="72208"/>
                  </a:lnTo>
                  <a:cubicBezTo>
                    <a:pt x="9308" y="73336"/>
                    <a:pt x="4795" y="74746"/>
                    <a:pt x="2821" y="74746"/>
                  </a:cubicBezTo>
                  <a:cubicBezTo>
                    <a:pt x="2257" y="74746"/>
                    <a:pt x="1975" y="75310"/>
                    <a:pt x="1410" y="75592"/>
                  </a:cubicBezTo>
                  <a:cubicBezTo>
                    <a:pt x="1128" y="76157"/>
                    <a:pt x="564" y="76157"/>
                    <a:pt x="282" y="76157"/>
                  </a:cubicBezTo>
                  <a:cubicBezTo>
                    <a:pt x="0" y="76157"/>
                    <a:pt x="0" y="75592"/>
                    <a:pt x="0" y="75028"/>
                  </a:cubicBezTo>
                  <a:cubicBezTo>
                    <a:pt x="0" y="72208"/>
                    <a:pt x="4231" y="62900"/>
                    <a:pt x="7898" y="62900"/>
                  </a:cubicBezTo>
                  <a:lnTo>
                    <a:pt x="8744" y="62900"/>
                  </a:lnTo>
                  <a:lnTo>
                    <a:pt x="8744" y="63182"/>
                  </a:lnTo>
                  <a:lnTo>
                    <a:pt x="9872" y="63182"/>
                  </a:lnTo>
                  <a:cubicBezTo>
                    <a:pt x="10154" y="63182"/>
                    <a:pt x="9590" y="63746"/>
                    <a:pt x="9308" y="64028"/>
                  </a:cubicBezTo>
                  <a:lnTo>
                    <a:pt x="8744" y="65156"/>
                  </a:lnTo>
                  <a:lnTo>
                    <a:pt x="8744" y="66566"/>
                  </a:lnTo>
                  <a:cubicBezTo>
                    <a:pt x="8744" y="66849"/>
                    <a:pt x="9026" y="66566"/>
                    <a:pt x="9308" y="66566"/>
                  </a:cubicBezTo>
                  <a:lnTo>
                    <a:pt x="9308" y="66002"/>
                  </a:lnTo>
                  <a:cubicBezTo>
                    <a:pt x="9590" y="65156"/>
                    <a:pt x="10436" y="65156"/>
                    <a:pt x="11000" y="65156"/>
                  </a:cubicBezTo>
                  <a:lnTo>
                    <a:pt x="11282" y="65156"/>
                  </a:lnTo>
                  <a:lnTo>
                    <a:pt x="11282" y="65438"/>
                  </a:lnTo>
                  <a:cubicBezTo>
                    <a:pt x="11282" y="65720"/>
                    <a:pt x="11000" y="66002"/>
                    <a:pt x="11000" y="66002"/>
                  </a:cubicBezTo>
                  <a:cubicBezTo>
                    <a:pt x="11565" y="66002"/>
                    <a:pt x="11847" y="66284"/>
                    <a:pt x="11847" y="66284"/>
                  </a:cubicBezTo>
                  <a:cubicBezTo>
                    <a:pt x="12411" y="66284"/>
                    <a:pt x="12411" y="66284"/>
                    <a:pt x="12693" y="66002"/>
                  </a:cubicBezTo>
                  <a:lnTo>
                    <a:pt x="13257" y="65720"/>
                  </a:lnTo>
                  <a:lnTo>
                    <a:pt x="13821" y="65720"/>
                  </a:lnTo>
                  <a:cubicBezTo>
                    <a:pt x="13821" y="66002"/>
                    <a:pt x="14103" y="66002"/>
                    <a:pt x="14103" y="66002"/>
                  </a:cubicBezTo>
                  <a:cubicBezTo>
                    <a:pt x="14385" y="66002"/>
                    <a:pt x="14949" y="65438"/>
                    <a:pt x="15513" y="65438"/>
                  </a:cubicBezTo>
                  <a:cubicBezTo>
                    <a:pt x="15513" y="65438"/>
                    <a:pt x="15513" y="65156"/>
                    <a:pt x="16078" y="64874"/>
                  </a:cubicBezTo>
                  <a:lnTo>
                    <a:pt x="16078" y="64028"/>
                  </a:lnTo>
                  <a:cubicBezTo>
                    <a:pt x="15513" y="64028"/>
                    <a:pt x="15513" y="64028"/>
                    <a:pt x="15513" y="63746"/>
                  </a:cubicBezTo>
                  <a:cubicBezTo>
                    <a:pt x="15513" y="63464"/>
                    <a:pt x="15513" y="63182"/>
                    <a:pt x="15796" y="62618"/>
                  </a:cubicBezTo>
                  <a:cubicBezTo>
                    <a:pt x="15796" y="62336"/>
                    <a:pt x="15513" y="62336"/>
                    <a:pt x="14949" y="62336"/>
                  </a:cubicBezTo>
                  <a:cubicBezTo>
                    <a:pt x="15513" y="61771"/>
                    <a:pt x="16642" y="60643"/>
                    <a:pt x="17206" y="60643"/>
                  </a:cubicBezTo>
                  <a:cubicBezTo>
                    <a:pt x="18616" y="60079"/>
                    <a:pt x="20309" y="60079"/>
                    <a:pt x="21155" y="59515"/>
                  </a:cubicBezTo>
                  <a:cubicBezTo>
                    <a:pt x="22001" y="59233"/>
                    <a:pt x="22565" y="59233"/>
                    <a:pt x="23129" y="59233"/>
                  </a:cubicBezTo>
                  <a:cubicBezTo>
                    <a:pt x="23976" y="58951"/>
                    <a:pt x="24821" y="58951"/>
                    <a:pt x="25668" y="58951"/>
                  </a:cubicBezTo>
                  <a:lnTo>
                    <a:pt x="26514" y="58951"/>
                  </a:lnTo>
                  <a:cubicBezTo>
                    <a:pt x="27642" y="57823"/>
                    <a:pt x="29334" y="57823"/>
                    <a:pt x="30462" y="57258"/>
                  </a:cubicBezTo>
                  <a:lnTo>
                    <a:pt x="33001" y="57258"/>
                  </a:lnTo>
                  <a:cubicBezTo>
                    <a:pt x="33001" y="57258"/>
                    <a:pt x="33848" y="57541"/>
                    <a:pt x="34129" y="57541"/>
                  </a:cubicBezTo>
                  <a:lnTo>
                    <a:pt x="34129" y="57823"/>
                  </a:lnTo>
                  <a:cubicBezTo>
                    <a:pt x="34129" y="58387"/>
                    <a:pt x="33848" y="58387"/>
                    <a:pt x="33283" y="58669"/>
                  </a:cubicBezTo>
                  <a:cubicBezTo>
                    <a:pt x="32437" y="58669"/>
                    <a:pt x="31591" y="58951"/>
                    <a:pt x="31309" y="60079"/>
                  </a:cubicBezTo>
                  <a:cubicBezTo>
                    <a:pt x="31309" y="60079"/>
                    <a:pt x="31027" y="60079"/>
                    <a:pt x="30745" y="60643"/>
                  </a:cubicBezTo>
                  <a:lnTo>
                    <a:pt x="29898" y="61207"/>
                  </a:lnTo>
                  <a:lnTo>
                    <a:pt x="29898" y="61489"/>
                  </a:lnTo>
                  <a:lnTo>
                    <a:pt x="31027" y="61489"/>
                  </a:lnTo>
                  <a:lnTo>
                    <a:pt x="31873" y="60925"/>
                  </a:lnTo>
                  <a:cubicBezTo>
                    <a:pt x="31873" y="60925"/>
                    <a:pt x="32155" y="60643"/>
                    <a:pt x="32437" y="60079"/>
                  </a:cubicBezTo>
                  <a:cubicBezTo>
                    <a:pt x="32437" y="60079"/>
                    <a:pt x="32437" y="59797"/>
                    <a:pt x="33001" y="59797"/>
                  </a:cubicBezTo>
                  <a:lnTo>
                    <a:pt x="33283" y="59797"/>
                  </a:lnTo>
                  <a:cubicBezTo>
                    <a:pt x="33283" y="60079"/>
                    <a:pt x="33848" y="60361"/>
                    <a:pt x="33848" y="60925"/>
                  </a:cubicBezTo>
                  <a:cubicBezTo>
                    <a:pt x="34129" y="61207"/>
                    <a:pt x="34412" y="61207"/>
                    <a:pt x="34693" y="61207"/>
                  </a:cubicBezTo>
                  <a:lnTo>
                    <a:pt x="36104" y="61207"/>
                  </a:lnTo>
                  <a:cubicBezTo>
                    <a:pt x="36386" y="60643"/>
                    <a:pt x="36950" y="60643"/>
                    <a:pt x="37514" y="60643"/>
                  </a:cubicBezTo>
                  <a:lnTo>
                    <a:pt x="38360" y="60643"/>
                  </a:lnTo>
                  <a:lnTo>
                    <a:pt x="38360" y="60361"/>
                  </a:lnTo>
                  <a:lnTo>
                    <a:pt x="39207" y="58669"/>
                  </a:lnTo>
                  <a:cubicBezTo>
                    <a:pt x="39207" y="58669"/>
                    <a:pt x="40053" y="58105"/>
                    <a:pt x="40053" y="58387"/>
                  </a:cubicBezTo>
                  <a:cubicBezTo>
                    <a:pt x="40053" y="58387"/>
                    <a:pt x="40053" y="58669"/>
                    <a:pt x="39771" y="58951"/>
                  </a:cubicBezTo>
                  <a:cubicBezTo>
                    <a:pt x="39771" y="59515"/>
                    <a:pt x="39489" y="59797"/>
                    <a:pt x="39207" y="60361"/>
                  </a:cubicBezTo>
                  <a:lnTo>
                    <a:pt x="39207" y="60925"/>
                  </a:lnTo>
                  <a:lnTo>
                    <a:pt x="39771" y="60925"/>
                  </a:lnTo>
                  <a:cubicBezTo>
                    <a:pt x="40617" y="60925"/>
                    <a:pt x="40899" y="59797"/>
                    <a:pt x="41181" y="59515"/>
                  </a:cubicBezTo>
                  <a:cubicBezTo>
                    <a:pt x="41181" y="59233"/>
                    <a:pt x="40899" y="58951"/>
                    <a:pt x="40899" y="58669"/>
                  </a:cubicBezTo>
                  <a:lnTo>
                    <a:pt x="40899" y="58387"/>
                  </a:lnTo>
                  <a:cubicBezTo>
                    <a:pt x="40899" y="58387"/>
                    <a:pt x="40899" y="58105"/>
                    <a:pt x="41181" y="58105"/>
                  </a:cubicBezTo>
                  <a:lnTo>
                    <a:pt x="42310" y="56694"/>
                  </a:lnTo>
                  <a:lnTo>
                    <a:pt x="40899" y="56412"/>
                  </a:lnTo>
                  <a:lnTo>
                    <a:pt x="40899" y="56130"/>
                  </a:lnTo>
                  <a:lnTo>
                    <a:pt x="40617" y="56130"/>
                  </a:lnTo>
                  <a:lnTo>
                    <a:pt x="39771" y="56412"/>
                  </a:lnTo>
                  <a:cubicBezTo>
                    <a:pt x="38924" y="56694"/>
                    <a:pt x="38643" y="56976"/>
                    <a:pt x="38360" y="58105"/>
                  </a:cubicBezTo>
                  <a:cubicBezTo>
                    <a:pt x="38360" y="57823"/>
                    <a:pt x="38360" y="57258"/>
                    <a:pt x="38079" y="57258"/>
                  </a:cubicBezTo>
                  <a:lnTo>
                    <a:pt x="36668" y="57258"/>
                  </a:lnTo>
                  <a:close/>
                  <a:moveTo>
                    <a:pt x="18052" y="62053"/>
                  </a:moveTo>
                  <a:cubicBezTo>
                    <a:pt x="17488" y="62336"/>
                    <a:pt x="16924" y="63182"/>
                    <a:pt x="16078" y="64028"/>
                  </a:cubicBezTo>
                  <a:cubicBezTo>
                    <a:pt x="16642" y="64028"/>
                    <a:pt x="17488" y="63182"/>
                    <a:pt x="18052" y="62336"/>
                  </a:cubicBezTo>
                  <a:cubicBezTo>
                    <a:pt x="18334" y="62336"/>
                    <a:pt x="18052" y="62053"/>
                    <a:pt x="18052" y="62053"/>
                  </a:cubicBezTo>
                  <a:close/>
                  <a:moveTo>
                    <a:pt x="17206" y="66849"/>
                  </a:moveTo>
                  <a:lnTo>
                    <a:pt x="16360" y="66849"/>
                  </a:lnTo>
                  <a:lnTo>
                    <a:pt x="16360" y="67977"/>
                  </a:lnTo>
                  <a:cubicBezTo>
                    <a:pt x="16360" y="67695"/>
                    <a:pt x="16642" y="67695"/>
                    <a:pt x="16924" y="67413"/>
                  </a:cubicBezTo>
                  <a:lnTo>
                    <a:pt x="17206" y="66849"/>
                  </a:lnTo>
                  <a:close/>
                  <a:moveTo>
                    <a:pt x="20027" y="65720"/>
                  </a:moveTo>
                  <a:lnTo>
                    <a:pt x="20309" y="65720"/>
                  </a:lnTo>
                  <a:cubicBezTo>
                    <a:pt x="20591" y="65438"/>
                    <a:pt x="20591" y="65156"/>
                    <a:pt x="20591" y="65156"/>
                  </a:cubicBezTo>
                  <a:cubicBezTo>
                    <a:pt x="20591" y="65156"/>
                    <a:pt x="21155" y="64874"/>
                    <a:pt x="21155" y="64592"/>
                  </a:cubicBezTo>
                  <a:lnTo>
                    <a:pt x="21155" y="64310"/>
                  </a:lnTo>
                  <a:lnTo>
                    <a:pt x="20873" y="64310"/>
                  </a:lnTo>
                  <a:cubicBezTo>
                    <a:pt x="20309" y="64310"/>
                    <a:pt x="19744" y="64310"/>
                    <a:pt x="19180" y="65156"/>
                  </a:cubicBezTo>
                  <a:cubicBezTo>
                    <a:pt x="19180" y="65438"/>
                    <a:pt x="19744" y="65720"/>
                    <a:pt x="20027" y="65720"/>
                  </a:cubicBezTo>
                  <a:close/>
                  <a:moveTo>
                    <a:pt x="28206" y="60079"/>
                  </a:moveTo>
                  <a:lnTo>
                    <a:pt x="26514" y="61489"/>
                  </a:lnTo>
                  <a:lnTo>
                    <a:pt x="26514" y="61771"/>
                  </a:lnTo>
                  <a:lnTo>
                    <a:pt x="27078" y="61771"/>
                  </a:lnTo>
                  <a:cubicBezTo>
                    <a:pt x="27642" y="61771"/>
                    <a:pt x="27924" y="61771"/>
                    <a:pt x="27924" y="61207"/>
                  </a:cubicBezTo>
                  <a:cubicBezTo>
                    <a:pt x="27924" y="61207"/>
                    <a:pt x="28206" y="60925"/>
                    <a:pt x="28206" y="60361"/>
                  </a:cubicBezTo>
                  <a:lnTo>
                    <a:pt x="28206" y="60079"/>
                  </a:lnTo>
                  <a:close/>
                  <a:moveTo>
                    <a:pt x="38360" y="58669"/>
                  </a:moveTo>
                  <a:cubicBezTo>
                    <a:pt x="38360" y="58951"/>
                    <a:pt x="38079" y="59233"/>
                    <a:pt x="38079" y="59233"/>
                  </a:cubicBezTo>
                  <a:cubicBezTo>
                    <a:pt x="38079" y="59515"/>
                    <a:pt x="38079" y="59515"/>
                    <a:pt x="37796" y="59515"/>
                  </a:cubicBezTo>
                  <a:cubicBezTo>
                    <a:pt x="37796" y="59515"/>
                    <a:pt x="37514" y="59233"/>
                    <a:pt x="37514" y="58951"/>
                  </a:cubicBezTo>
                  <a:cubicBezTo>
                    <a:pt x="38079" y="58387"/>
                    <a:pt x="38360" y="58387"/>
                    <a:pt x="38360" y="58387"/>
                  </a:cubicBezTo>
                  <a:lnTo>
                    <a:pt x="38360" y="58669"/>
                  </a:lnTo>
                  <a:close/>
                  <a:moveTo>
                    <a:pt x="45130" y="236649"/>
                  </a:moveTo>
                  <a:cubicBezTo>
                    <a:pt x="45130" y="236649"/>
                    <a:pt x="44848" y="236649"/>
                    <a:pt x="44848" y="236367"/>
                  </a:cubicBezTo>
                  <a:cubicBezTo>
                    <a:pt x="44848" y="236367"/>
                    <a:pt x="45130" y="236367"/>
                    <a:pt x="45130" y="236085"/>
                  </a:cubicBezTo>
                  <a:lnTo>
                    <a:pt x="45130" y="236649"/>
                  </a:lnTo>
                  <a:close/>
                  <a:moveTo>
                    <a:pt x="59233" y="203366"/>
                  </a:moveTo>
                  <a:cubicBezTo>
                    <a:pt x="59515" y="203366"/>
                    <a:pt x="59797" y="203084"/>
                    <a:pt x="60079" y="202520"/>
                  </a:cubicBezTo>
                  <a:cubicBezTo>
                    <a:pt x="60079" y="202238"/>
                    <a:pt x="59797" y="201674"/>
                    <a:pt x="59797" y="201674"/>
                  </a:cubicBezTo>
                  <a:cubicBezTo>
                    <a:pt x="59797" y="201674"/>
                    <a:pt x="60361" y="201392"/>
                    <a:pt x="60361" y="201110"/>
                  </a:cubicBezTo>
                  <a:cubicBezTo>
                    <a:pt x="59797" y="200828"/>
                    <a:pt x="59797" y="200264"/>
                    <a:pt x="59233" y="200264"/>
                  </a:cubicBezTo>
                  <a:lnTo>
                    <a:pt x="59515" y="202520"/>
                  </a:lnTo>
                  <a:cubicBezTo>
                    <a:pt x="59515" y="202802"/>
                    <a:pt x="58951" y="203084"/>
                    <a:pt x="58951" y="203084"/>
                  </a:cubicBezTo>
                  <a:lnTo>
                    <a:pt x="58669" y="203084"/>
                  </a:lnTo>
                  <a:cubicBezTo>
                    <a:pt x="58669" y="203084"/>
                    <a:pt x="58669" y="203366"/>
                    <a:pt x="58951" y="203366"/>
                  </a:cubicBezTo>
                  <a:lnTo>
                    <a:pt x="59233" y="203366"/>
                  </a:lnTo>
                  <a:close/>
                  <a:moveTo>
                    <a:pt x="59515" y="210700"/>
                  </a:moveTo>
                  <a:lnTo>
                    <a:pt x="59515" y="212392"/>
                  </a:lnTo>
                  <a:cubicBezTo>
                    <a:pt x="60079" y="212674"/>
                    <a:pt x="60361" y="212674"/>
                    <a:pt x="60361" y="212674"/>
                  </a:cubicBezTo>
                  <a:lnTo>
                    <a:pt x="60925" y="212674"/>
                  </a:lnTo>
                  <a:lnTo>
                    <a:pt x="60644" y="212392"/>
                  </a:lnTo>
                  <a:lnTo>
                    <a:pt x="60644" y="210700"/>
                  </a:lnTo>
                  <a:lnTo>
                    <a:pt x="59515" y="210700"/>
                  </a:lnTo>
                  <a:close/>
                  <a:moveTo>
                    <a:pt x="59515" y="220008"/>
                  </a:moveTo>
                  <a:cubicBezTo>
                    <a:pt x="59515" y="220290"/>
                    <a:pt x="59515" y="220572"/>
                    <a:pt x="59797" y="220854"/>
                  </a:cubicBezTo>
                  <a:cubicBezTo>
                    <a:pt x="59797" y="220854"/>
                    <a:pt x="59797" y="221136"/>
                    <a:pt x="60079" y="221136"/>
                  </a:cubicBezTo>
                  <a:lnTo>
                    <a:pt x="60079" y="220854"/>
                  </a:lnTo>
                  <a:cubicBezTo>
                    <a:pt x="60644" y="220572"/>
                    <a:pt x="60644" y="220008"/>
                    <a:pt x="60644" y="219726"/>
                  </a:cubicBezTo>
                  <a:cubicBezTo>
                    <a:pt x="60644" y="219444"/>
                    <a:pt x="60361" y="219162"/>
                    <a:pt x="59797" y="219162"/>
                  </a:cubicBezTo>
                  <a:cubicBezTo>
                    <a:pt x="59515" y="219162"/>
                    <a:pt x="59515" y="219444"/>
                    <a:pt x="59515" y="219726"/>
                  </a:cubicBezTo>
                  <a:lnTo>
                    <a:pt x="59515" y="220008"/>
                  </a:lnTo>
                  <a:close/>
                  <a:moveTo>
                    <a:pt x="59797" y="187007"/>
                  </a:moveTo>
                  <a:lnTo>
                    <a:pt x="60079" y="186725"/>
                  </a:lnTo>
                  <a:cubicBezTo>
                    <a:pt x="60925" y="186161"/>
                    <a:pt x="62054" y="185878"/>
                    <a:pt x="62336" y="185878"/>
                  </a:cubicBezTo>
                  <a:cubicBezTo>
                    <a:pt x="62336" y="185878"/>
                    <a:pt x="62618" y="186443"/>
                    <a:pt x="62618" y="186725"/>
                  </a:cubicBezTo>
                  <a:cubicBezTo>
                    <a:pt x="62054" y="187007"/>
                    <a:pt x="61772" y="187289"/>
                    <a:pt x="60644" y="187289"/>
                  </a:cubicBezTo>
                  <a:cubicBezTo>
                    <a:pt x="60361" y="187289"/>
                    <a:pt x="59797" y="187289"/>
                    <a:pt x="59797" y="187007"/>
                  </a:cubicBezTo>
                  <a:close/>
                  <a:moveTo>
                    <a:pt x="60079" y="205059"/>
                  </a:moveTo>
                  <a:cubicBezTo>
                    <a:pt x="60079" y="205341"/>
                    <a:pt x="59797" y="205341"/>
                    <a:pt x="59797" y="205341"/>
                  </a:cubicBezTo>
                  <a:cubicBezTo>
                    <a:pt x="59797" y="205341"/>
                    <a:pt x="59797" y="205623"/>
                    <a:pt x="60079" y="205623"/>
                  </a:cubicBezTo>
                  <a:lnTo>
                    <a:pt x="60079" y="205059"/>
                  </a:lnTo>
                  <a:close/>
                  <a:moveTo>
                    <a:pt x="60644" y="188417"/>
                  </a:moveTo>
                  <a:cubicBezTo>
                    <a:pt x="60644" y="188135"/>
                    <a:pt x="60925" y="188135"/>
                    <a:pt x="60925" y="188135"/>
                  </a:cubicBezTo>
                  <a:cubicBezTo>
                    <a:pt x="60925" y="188135"/>
                    <a:pt x="60925" y="188417"/>
                    <a:pt x="61208" y="188417"/>
                  </a:cubicBezTo>
                  <a:lnTo>
                    <a:pt x="60644" y="188417"/>
                  </a:lnTo>
                  <a:close/>
                  <a:moveTo>
                    <a:pt x="61208" y="176288"/>
                  </a:moveTo>
                  <a:lnTo>
                    <a:pt x="60925" y="176006"/>
                  </a:lnTo>
                  <a:cubicBezTo>
                    <a:pt x="61208" y="176006"/>
                    <a:pt x="61489" y="175724"/>
                    <a:pt x="61489" y="175724"/>
                  </a:cubicBezTo>
                  <a:cubicBezTo>
                    <a:pt x="62054" y="175724"/>
                    <a:pt x="62054" y="176006"/>
                    <a:pt x="62054" y="176006"/>
                  </a:cubicBezTo>
                  <a:cubicBezTo>
                    <a:pt x="62054" y="176006"/>
                    <a:pt x="62054" y="176288"/>
                    <a:pt x="61489" y="176288"/>
                  </a:cubicBezTo>
                  <a:lnTo>
                    <a:pt x="61208" y="176288"/>
                  </a:lnTo>
                  <a:close/>
                  <a:moveTo>
                    <a:pt x="61208" y="184750"/>
                  </a:moveTo>
                  <a:lnTo>
                    <a:pt x="61208" y="183904"/>
                  </a:lnTo>
                  <a:cubicBezTo>
                    <a:pt x="61489" y="183622"/>
                    <a:pt x="62054" y="183340"/>
                    <a:pt x="62054" y="183340"/>
                  </a:cubicBezTo>
                  <a:cubicBezTo>
                    <a:pt x="62336" y="183340"/>
                    <a:pt x="62618" y="183340"/>
                    <a:pt x="62618" y="183622"/>
                  </a:cubicBezTo>
                  <a:cubicBezTo>
                    <a:pt x="62618" y="183622"/>
                    <a:pt x="62336" y="183904"/>
                    <a:pt x="62336" y="184186"/>
                  </a:cubicBezTo>
                  <a:cubicBezTo>
                    <a:pt x="62336" y="184750"/>
                    <a:pt x="61772" y="184750"/>
                    <a:pt x="61772" y="184750"/>
                  </a:cubicBezTo>
                  <a:lnTo>
                    <a:pt x="61208" y="184750"/>
                  </a:lnTo>
                  <a:close/>
                  <a:moveTo>
                    <a:pt x="62054" y="188981"/>
                  </a:moveTo>
                  <a:lnTo>
                    <a:pt x="62054" y="189263"/>
                  </a:lnTo>
                  <a:cubicBezTo>
                    <a:pt x="62054" y="189263"/>
                    <a:pt x="61489" y="189263"/>
                    <a:pt x="61489" y="188981"/>
                  </a:cubicBezTo>
                  <a:lnTo>
                    <a:pt x="61489" y="188699"/>
                  </a:lnTo>
                  <a:lnTo>
                    <a:pt x="61208" y="188417"/>
                  </a:lnTo>
                  <a:lnTo>
                    <a:pt x="61772" y="188417"/>
                  </a:lnTo>
                  <a:lnTo>
                    <a:pt x="62054" y="188981"/>
                  </a:lnTo>
                  <a:close/>
                  <a:moveTo>
                    <a:pt x="61489" y="181648"/>
                  </a:moveTo>
                  <a:lnTo>
                    <a:pt x="62336" y="181648"/>
                  </a:lnTo>
                  <a:cubicBezTo>
                    <a:pt x="62618" y="181648"/>
                    <a:pt x="62618" y="181930"/>
                    <a:pt x="62618" y="182212"/>
                  </a:cubicBezTo>
                  <a:cubicBezTo>
                    <a:pt x="62618" y="182494"/>
                    <a:pt x="62618" y="182776"/>
                    <a:pt x="62336" y="183058"/>
                  </a:cubicBezTo>
                  <a:cubicBezTo>
                    <a:pt x="62054" y="183058"/>
                    <a:pt x="62054" y="183058"/>
                    <a:pt x="61489" y="182494"/>
                  </a:cubicBezTo>
                  <a:lnTo>
                    <a:pt x="61489" y="181648"/>
                  </a:lnTo>
                  <a:close/>
                  <a:moveTo>
                    <a:pt x="62336" y="178545"/>
                  </a:moveTo>
                  <a:lnTo>
                    <a:pt x="61772" y="178545"/>
                  </a:lnTo>
                  <a:cubicBezTo>
                    <a:pt x="61772" y="178545"/>
                    <a:pt x="62054" y="178545"/>
                    <a:pt x="62054" y="178263"/>
                  </a:cubicBezTo>
                  <a:lnTo>
                    <a:pt x="62336" y="178545"/>
                  </a:lnTo>
                  <a:close/>
                  <a:moveTo>
                    <a:pt x="63182" y="168109"/>
                  </a:moveTo>
                  <a:cubicBezTo>
                    <a:pt x="63464" y="168109"/>
                    <a:pt x="63746" y="168391"/>
                    <a:pt x="63746" y="168673"/>
                  </a:cubicBezTo>
                  <a:cubicBezTo>
                    <a:pt x="63746" y="168955"/>
                    <a:pt x="63464" y="169237"/>
                    <a:pt x="63182" y="169237"/>
                  </a:cubicBezTo>
                  <a:cubicBezTo>
                    <a:pt x="62900" y="169237"/>
                    <a:pt x="62618" y="168955"/>
                    <a:pt x="62618" y="168955"/>
                  </a:cubicBezTo>
                  <a:cubicBezTo>
                    <a:pt x="62618" y="168391"/>
                    <a:pt x="62618" y="168109"/>
                    <a:pt x="63182" y="168109"/>
                  </a:cubicBezTo>
                  <a:close/>
                  <a:moveTo>
                    <a:pt x="65438" y="136800"/>
                  </a:moveTo>
                  <a:cubicBezTo>
                    <a:pt x="66285" y="136800"/>
                    <a:pt x="66566" y="136800"/>
                    <a:pt x="66566" y="136518"/>
                  </a:cubicBezTo>
                  <a:cubicBezTo>
                    <a:pt x="66566" y="136236"/>
                    <a:pt x="66285" y="135954"/>
                    <a:pt x="65720" y="135954"/>
                  </a:cubicBezTo>
                  <a:cubicBezTo>
                    <a:pt x="65438" y="135954"/>
                    <a:pt x="65438" y="136236"/>
                    <a:pt x="65438" y="136518"/>
                  </a:cubicBezTo>
                  <a:lnTo>
                    <a:pt x="65438" y="136800"/>
                  </a:lnTo>
                  <a:close/>
                  <a:moveTo>
                    <a:pt x="65438" y="153159"/>
                  </a:moveTo>
                  <a:lnTo>
                    <a:pt x="65438" y="151467"/>
                  </a:lnTo>
                  <a:cubicBezTo>
                    <a:pt x="65720" y="151185"/>
                    <a:pt x="65720" y="151185"/>
                    <a:pt x="66002" y="151185"/>
                  </a:cubicBezTo>
                  <a:cubicBezTo>
                    <a:pt x="66566" y="151185"/>
                    <a:pt x="66566" y="151185"/>
                    <a:pt x="66566" y="151467"/>
                  </a:cubicBezTo>
                  <a:cubicBezTo>
                    <a:pt x="66566" y="151749"/>
                    <a:pt x="66566" y="152313"/>
                    <a:pt x="65720" y="152877"/>
                  </a:cubicBezTo>
                  <a:lnTo>
                    <a:pt x="65438" y="153159"/>
                  </a:lnTo>
                  <a:close/>
                  <a:moveTo>
                    <a:pt x="69387" y="132569"/>
                  </a:moveTo>
                  <a:cubicBezTo>
                    <a:pt x="68823" y="132569"/>
                    <a:pt x="68541" y="132005"/>
                    <a:pt x="67977" y="131441"/>
                  </a:cubicBezTo>
                  <a:lnTo>
                    <a:pt x="67977" y="131159"/>
                  </a:lnTo>
                  <a:cubicBezTo>
                    <a:pt x="68259" y="130876"/>
                    <a:pt x="69105" y="130594"/>
                    <a:pt x="69387" y="130594"/>
                  </a:cubicBezTo>
                  <a:cubicBezTo>
                    <a:pt x="69951" y="130594"/>
                    <a:pt x="70233" y="130876"/>
                    <a:pt x="70516" y="131159"/>
                  </a:cubicBezTo>
                  <a:lnTo>
                    <a:pt x="70516" y="131723"/>
                  </a:lnTo>
                  <a:cubicBezTo>
                    <a:pt x="70516" y="132005"/>
                    <a:pt x="69951" y="132287"/>
                    <a:pt x="69669" y="132569"/>
                  </a:cubicBezTo>
                  <a:lnTo>
                    <a:pt x="69387" y="132569"/>
                  </a:lnTo>
                  <a:close/>
                  <a:moveTo>
                    <a:pt x="72490" y="49361"/>
                  </a:moveTo>
                  <a:cubicBezTo>
                    <a:pt x="72208" y="49643"/>
                    <a:pt x="71926" y="49643"/>
                    <a:pt x="71926" y="49643"/>
                  </a:cubicBezTo>
                  <a:lnTo>
                    <a:pt x="72490" y="49361"/>
                  </a:lnTo>
                  <a:close/>
                  <a:moveTo>
                    <a:pt x="83490" y="237778"/>
                  </a:moveTo>
                  <a:lnTo>
                    <a:pt x="83208" y="237496"/>
                  </a:lnTo>
                  <a:cubicBezTo>
                    <a:pt x="83208" y="237214"/>
                    <a:pt x="83490" y="237214"/>
                    <a:pt x="83490" y="236932"/>
                  </a:cubicBezTo>
                  <a:lnTo>
                    <a:pt x="83490" y="237778"/>
                  </a:lnTo>
                  <a:close/>
                  <a:moveTo>
                    <a:pt x="89131" y="218598"/>
                  </a:moveTo>
                  <a:lnTo>
                    <a:pt x="88850" y="218315"/>
                  </a:lnTo>
                  <a:cubicBezTo>
                    <a:pt x="88850" y="218315"/>
                    <a:pt x="88285" y="218880"/>
                    <a:pt x="88003" y="219444"/>
                  </a:cubicBezTo>
                  <a:cubicBezTo>
                    <a:pt x="88003" y="219444"/>
                    <a:pt x="88003" y="219726"/>
                    <a:pt x="88285" y="219726"/>
                  </a:cubicBezTo>
                  <a:cubicBezTo>
                    <a:pt x="88567" y="219726"/>
                    <a:pt x="89131" y="218880"/>
                    <a:pt x="89131" y="218598"/>
                  </a:cubicBezTo>
                  <a:close/>
                  <a:moveTo>
                    <a:pt x="94773" y="205059"/>
                  </a:moveTo>
                  <a:cubicBezTo>
                    <a:pt x="95337" y="205059"/>
                    <a:pt x="95619" y="205059"/>
                    <a:pt x="95619" y="204777"/>
                  </a:cubicBezTo>
                  <a:cubicBezTo>
                    <a:pt x="95619" y="204777"/>
                    <a:pt x="95337" y="204777"/>
                    <a:pt x="95337" y="204495"/>
                  </a:cubicBezTo>
                  <a:cubicBezTo>
                    <a:pt x="95337" y="204212"/>
                    <a:pt x="95337" y="203930"/>
                    <a:pt x="94773" y="203930"/>
                  </a:cubicBezTo>
                  <a:cubicBezTo>
                    <a:pt x="94491" y="203930"/>
                    <a:pt x="94209" y="204212"/>
                    <a:pt x="94209" y="204495"/>
                  </a:cubicBezTo>
                  <a:lnTo>
                    <a:pt x="94773" y="205059"/>
                  </a:lnTo>
                  <a:close/>
                  <a:moveTo>
                    <a:pt x="101542" y="202802"/>
                  </a:moveTo>
                  <a:lnTo>
                    <a:pt x="101260" y="203084"/>
                  </a:lnTo>
                  <a:lnTo>
                    <a:pt x="101260" y="203366"/>
                  </a:lnTo>
                  <a:lnTo>
                    <a:pt x="100132" y="203366"/>
                  </a:lnTo>
                  <a:lnTo>
                    <a:pt x="100132" y="203084"/>
                  </a:lnTo>
                  <a:cubicBezTo>
                    <a:pt x="100132" y="203084"/>
                    <a:pt x="100696" y="202802"/>
                    <a:pt x="100696" y="202520"/>
                  </a:cubicBezTo>
                  <a:cubicBezTo>
                    <a:pt x="100696" y="202238"/>
                    <a:pt x="100414" y="202238"/>
                    <a:pt x="100132" y="201674"/>
                  </a:cubicBezTo>
                  <a:lnTo>
                    <a:pt x="100132" y="201392"/>
                  </a:lnTo>
                  <a:cubicBezTo>
                    <a:pt x="100132" y="201110"/>
                    <a:pt x="100132" y="201110"/>
                    <a:pt x="100414" y="200828"/>
                  </a:cubicBezTo>
                  <a:lnTo>
                    <a:pt x="100978" y="200264"/>
                  </a:lnTo>
                  <a:cubicBezTo>
                    <a:pt x="101260" y="200264"/>
                    <a:pt x="101542" y="200828"/>
                    <a:pt x="101542" y="200828"/>
                  </a:cubicBezTo>
                  <a:lnTo>
                    <a:pt x="101542" y="202802"/>
                  </a:lnTo>
                  <a:close/>
                  <a:moveTo>
                    <a:pt x="104363" y="49079"/>
                  </a:moveTo>
                  <a:cubicBezTo>
                    <a:pt x="105209" y="48797"/>
                    <a:pt x="105773" y="48797"/>
                    <a:pt x="105773" y="48515"/>
                  </a:cubicBezTo>
                  <a:cubicBezTo>
                    <a:pt x="105773" y="47950"/>
                    <a:pt x="105773" y="47950"/>
                    <a:pt x="106055" y="47668"/>
                  </a:cubicBezTo>
                  <a:cubicBezTo>
                    <a:pt x="106055" y="47668"/>
                    <a:pt x="106055" y="47386"/>
                    <a:pt x="105773" y="47386"/>
                  </a:cubicBezTo>
                  <a:cubicBezTo>
                    <a:pt x="105209" y="47386"/>
                    <a:pt x="104645" y="47950"/>
                    <a:pt x="104081" y="48515"/>
                  </a:cubicBezTo>
                  <a:lnTo>
                    <a:pt x="103798" y="49079"/>
                  </a:lnTo>
                  <a:lnTo>
                    <a:pt x="103798" y="49361"/>
                  </a:lnTo>
                  <a:lnTo>
                    <a:pt x="104363" y="49079"/>
                  </a:lnTo>
                  <a:close/>
                  <a:moveTo>
                    <a:pt x="108876" y="176288"/>
                  </a:moveTo>
                  <a:lnTo>
                    <a:pt x="109158" y="177135"/>
                  </a:lnTo>
                  <a:lnTo>
                    <a:pt x="109440" y="177417"/>
                  </a:lnTo>
                  <a:cubicBezTo>
                    <a:pt x="109722" y="177135"/>
                    <a:pt x="110286" y="176852"/>
                    <a:pt x="110286" y="176288"/>
                  </a:cubicBezTo>
                  <a:lnTo>
                    <a:pt x="108876" y="176288"/>
                  </a:lnTo>
                  <a:close/>
                  <a:moveTo>
                    <a:pt x="109722" y="45694"/>
                  </a:moveTo>
                  <a:cubicBezTo>
                    <a:pt x="110004" y="45694"/>
                    <a:pt x="110004" y="45412"/>
                    <a:pt x="110004" y="45130"/>
                  </a:cubicBezTo>
                  <a:lnTo>
                    <a:pt x="110004" y="44848"/>
                  </a:lnTo>
                  <a:cubicBezTo>
                    <a:pt x="109722" y="44848"/>
                    <a:pt x="110004" y="45130"/>
                    <a:pt x="109722" y="45130"/>
                  </a:cubicBezTo>
                  <a:lnTo>
                    <a:pt x="109722" y="45694"/>
                  </a:lnTo>
                  <a:close/>
                  <a:moveTo>
                    <a:pt x="111979" y="155980"/>
                  </a:moveTo>
                  <a:cubicBezTo>
                    <a:pt x="111979" y="155980"/>
                    <a:pt x="111132" y="155416"/>
                    <a:pt x="110568" y="155416"/>
                  </a:cubicBezTo>
                  <a:lnTo>
                    <a:pt x="110568" y="155980"/>
                  </a:lnTo>
                  <a:cubicBezTo>
                    <a:pt x="110850" y="156544"/>
                    <a:pt x="110850" y="156544"/>
                    <a:pt x="111415" y="156544"/>
                  </a:cubicBezTo>
                  <a:cubicBezTo>
                    <a:pt x="111415" y="156544"/>
                    <a:pt x="112260" y="156262"/>
                    <a:pt x="111979" y="155980"/>
                  </a:cubicBezTo>
                  <a:close/>
                  <a:moveTo>
                    <a:pt x="113107" y="153723"/>
                  </a:moveTo>
                  <a:lnTo>
                    <a:pt x="113107" y="152313"/>
                  </a:lnTo>
                  <a:lnTo>
                    <a:pt x="112260" y="152313"/>
                  </a:lnTo>
                  <a:lnTo>
                    <a:pt x="112260" y="152595"/>
                  </a:lnTo>
                  <a:cubicBezTo>
                    <a:pt x="112260" y="152877"/>
                    <a:pt x="111979" y="153159"/>
                    <a:pt x="111979" y="153441"/>
                  </a:cubicBezTo>
                  <a:cubicBezTo>
                    <a:pt x="112260" y="153723"/>
                    <a:pt x="112260" y="154006"/>
                    <a:pt x="112260" y="154006"/>
                  </a:cubicBezTo>
                  <a:cubicBezTo>
                    <a:pt x="112543" y="154006"/>
                    <a:pt x="113107" y="153723"/>
                    <a:pt x="113107" y="153723"/>
                  </a:cubicBezTo>
                  <a:close/>
                  <a:moveTo>
                    <a:pt x="114799" y="49361"/>
                  </a:moveTo>
                  <a:cubicBezTo>
                    <a:pt x="115646" y="49361"/>
                    <a:pt x="115646" y="49079"/>
                    <a:pt x="115927" y="48797"/>
                  </a:cubicBezTo>
                  <a:lnTo>
                    <a:pt x="115363" y="48797"/>
                  </a:lnTo>
                  <a:cubicBezTo>
                    <a:pt x="115081" y="48797"/>
                    <a:pt x="115081" y="48515"/>
                    <a:pt x="114799" y="48515"/>
                  </a:cubicBezTo>
                  <a:cubicBezTo>
                    <a:pt x="114517" y="48515"/>
                    <a:pt x="113953" y="48797"/>
                    <a:pt x="113953" y="48797"/>
                  </a:cubicBezTo>
                  <a:lnTo>
                    <a:pt x="113671" y="48797"/>
                  </a:lnTo>
                  <a:lnTo>
                    <a:pt x="113389" y="49079"/>
                  </a:lnTo>
                  <a:cubicBezTo>
                    <a:pt x="113671" y="49361"/>
                    <a:pt x="113953" y="49361"/>
                    <a:pt x="113953" y="49361"/>
                  </a:cubicBezTo>
                  <a:lnTo>
                    <a:pt x="114799" y="49361"/>
                  </a:lnTo>
                  <a:close/>
                  <a:moveTo>
                    <a:pt x="115646" y="167827"/>
                  </a:moveTo>
                  <a:lnTo>
                    <a:pt x="115646" y="168109"/>
                  </a:lnTo>
                  <a:cubicBezTo>
                    <a:pt x="115646" y="168391"/>
                    <a:pt x="114799" y="168391"/>
                    <a:pt x="114799" y="168673"/>
                  </a:cubicBezTo>
                  <a:lnTo>
                    <a:pt x="114799" y="168391"/>
                  </a:lnTo>
                  <a:lnTo>
                    <a:pt x="114235" y="167827"/>
                  </a:lnTo>
                  <a:cubicBezTo>
                    <a:pt x="114517" y="167827"/>
                    <a:pt x="115081" y="167262"/>
                    <a:pt x="115081" y="167262"/>
                  </a:cubicBezTo>
                  <a:lnTo>
                    <a:pt x="115927" y="167262"/>
                  </a:lnTo>
                  <a:lnTo>
                    <a:pt x="115646" y="167827"/>
                  </a:lnTo>
                  <a:close/>
                  <a:moveTo>
                    <a:pt x="115646" y="169519"/>
                  </a:moveTo>
                  <a:lnTo>
                    <a:pt x="115927" y="169801"/>
                  </a:lnTo>
                  <a:cubicBezTo>
                    <a:pt x="115927" y="170083"/>
                    <a:pt x="115646" y="170083"/>
                    <a:pt x="115081" y="170365"/>
                  </a:cubicBezTo>
                  <a:lnTo>
                    <a:pt x="115081" y="170083"/>
                  </a:lnTo>
                  <a:cubicBezTo>
                    <a:pt x="114799" y="170083"/>
                    <a:pt x="114799" y="169801"/>
                    <a:pt x="114799" y="169801"/>
                  </a:cubicBezTo>
                  <a:cubicBezTo>
                    <a:pt x="114517" y="169801"/>
                    <a:pt x="114235" y="169519"/>
                    <a:pt x="114235" y="169519"/>
                  </a:cubicBezTo>
                  <a:lnTo>
                    <a:pt x="115646" y="169519"/>
                  </a:lnTo>
                  <a:close/>
                  <a:moveTo>
                    <a:pt x="116210" y="47386"/>
                  </a:moveTo>
                  <a:cubicBezTo>
                    <a:pt x="116210" y="47386"/>
                    <a:pt x="116491" y="47104"/>
                    <a:pt x="116774" y="46540"/>
                  </a:cubicBezTo>
                  <a:lnTo>
                    <a:pt x="116774" y="46258"/>
                  </a:lnTo>
                  <a:cubicBezTo>
                    <a:pt x="115927" y="46258"/>
                    <a:pt x="115927" y="46258"/>
                    <a:pt x="115363" y="46540"/>
                  </a:cubicBezTo>
                  <a:cubicBezTo>
                    <a:pt x="115363" y="47104"/>
                    <a:pt x="115363" y="47668"/>
                    <a:pt x="115081" y="48232"/>
                  </a:cubicBezTo>
                  <a:cubicBezTo>
                    <a:pt x="115646" y="47668"/>
                    <a:pt x="116210" y="47668"/>
                    <a:pt x="116210" y="47386"/>
                  </a:cubicBezTo>
                  <a:close/>
                  <a:moveTo>
                    <a:pt x="117338" y="162749"/>
                  </a:moveTo>
                  <a:cubicBezTo>
                    <a:pt x="117056" y="162749"/>
                    <a:pt x="117056" y="162467"/>
                    <a:pt x="117056" y="162467"/>
                  </a:cubicBezTo>
                  <a:lnTo>
                    <a:pt x="117338" y="162185"/>
                  </a:lnTo>
                  <a:lnTo>
                    <a:pt x="117620" y="162185"/>
                  </a:lnTo>
                  <a:lnTo>
                    <a:pt x="117902" y="162467"/>
                  </a:lnTo>
                  <a:lnTo>
                    <a:pt x="118466" y="162749"/>
                  </a:lnTo>
                  <a:cubicBezTo>
                    <a:pt x="117902" y="162749"/>
                    <a:pt x="117902" y="163314"/>
                    <a:pt x="117620" y="163314"/>
                  </a:cubicBezTo>
                  <a:cubicBezTo>
                    <a:pt x="117338" y="163314"/>
                    <a:pt x="117338" y="163314"/>
                    <a:pt x="117338" y="162749"/>
                  </a:cubicBezTo>
                  <a:close/>
                  <a:moveTo>
                    <a:pt x="120440" y="51335"/>
                  </a:moveTo>
                  <a:cubicBezTo>
                    <a:pt x="120158" y="51335"/>
                    <a:pt x="120158" y="51053"/>
                    <a:pt x="120158" y="51053"/>
                  </a:cubicBezTo>
                  <a:cubicBezTo>
                    <a:pt x="120158" y="51053"/>
                    <a:pt x="119876" y="51335"/>
                    <a:pt x="119594" y="51335"/>
                  </a:cubicBezTo>
                  <a:lnTo>
                    <a:pt x="120440" y="51335"/>
                  </a:lnTo>
                  <a:close/>
                  <a:moveTo>
                    <a:pt x="121568" y="45976"/>
                  </a:moveTo>
                  <a:cubicBezTo>
                    <a:pt x="121568" y="45976"/>
                    <a:pt x="121851" y="45694"/>
                    <a:pt x="121568" y="45694"/>
                  </a:cubicBezTo>
                  <a:lnTo>
                    <a:pt x="121287" y="45694"/>
                  </a:lnTo>
                  <a:cubicBezTo>
                    <a:pt x="121004" y="45976"/>
                    <a:pt x="121004" y="45976"/>
                    <a:pt x="121004" y="46258"/>
                  </a:cubicBezTo>
                  <a:cubicBezTo>
                    <a:pt x="121287" y="45976"/>
                    <a:pt x="121568" y="45976"/>
                    <a:pt x="121568" y="45976"/>
                  </a:cubicBezTo>
                  <a:close/>
                  <a:moveTo>
                    <a:pt x="121851" y="152313"/>
                  </a:moveTo>
                  <a:cubicBezTo>
                    <a:pt x="121568" y="152031"/>
                    <a:pt x="121568" y="151749"/>
                    <a:pt x="121568" y="151467"/>
                  </a:cubicBezTo>
                  <a:lnTo>
                    <a:pt x="121568" y="150903"/>
                  </a:lnTo>
                  <a:lnTo>
                    <a:pt x="121287" y="150903"/>
                  </a:lnTo>
                  <a:cubicBezTo>
                    <a:pt x="121287" y="150621"/>
                    <a:pt x="121568" y="150621"/>
                    <a:pt x="121568" y="150339"/>
                  </a:cubicBezTo>
                  <a:lnTo>
                    <a:pt x="121851" y="150057"/>
                  </a:lnTo>
                  <a:cubicBezTo>
                    <a:pt x="122132" y="150339"/>
                    <a:pt x="122415" y="150621"/>
                    <a:pt x="123261" y="150621"/>
                  </a:cubicBezTo>
                  <a:cubicBezTo>
                    <a:pt x="123543" y="150621"/>
                    <a:pt x="123543" y="150903"/>
                    <a:pt x="123543" y="150903"/>
                  </a:cubicBezTo>
                  <a:cubicBezTo>
                    <a:pt x="123543" y="150903"/>
                    <a:pt x="123543" y="151185"/>
                    <a:pt x="123261" y="151467"/>
                  </a:cubicBezTo>
                  <a:cubicBezTo>
                    <a:pt x="123261" y="152313"/>
                    <a:pt x="123261" y="152313"/>
                    <a:pt x="122132" y="152313"/>
                  </a:cubicBezTo>
                  <a:lnTo>
                    <a:pt x="121851" y="152313"/>
                  </a:lnTo>
                  <a:close/>
                  <a:moveTo>
                    <a:pt x="123543" y="148646"/>
                  </a:moveTo>
                  <a:lnTo>
                    <a:pt x="124107" y="148646"/>
                  </a:lnTo>
                  <a:cubicBezTo>
                    <a:pt x="124107" y="148928"/>
                    <a:pt x="124107" y="149493"/>
                    <a:pt x="124671" y="149775"/>
                  </a:cubicBezTo>
                  <a:lnTo>
                    <a:pt x="124389" y="150057"/>
                  </a:lnTo>
                  <a:cubicBezTo>
                    <a:pt x="124107" y="150057"/>
                    <a:pt x="123825" y="150057"/>
                    <a:pt x="123543" y="149775"/>
                  </a:cubicBezTo>
                  <a:lnTo>
                    <a:pt x="123543" y="148646"/>
                  </a:lnTo>
                  <a:close/>
                  <a:moveTo>
                    <a:pt x="128620" y="48797"/>
                  </a:moveTo>
                  <a:cubicBezTo>
                    <a:pt x="128902" y="48797"/>
                    <a:pt x="129466" y="48797"/>
                    <a:pt x="129749" y="48515"/>
                  </a:cubicBezTo>
                  <a:lnTo>
                    <a:pt x="129749" y="48232"/>
                  </a:lnTo>
                  <a:cubicBezTo>
                    <a:pt x="130030" y="47950"/>
                    <a:pt x="129749" y="47950"/>
                    <a:pt x="129749" y="47950"/>
                  </a:cubicBezTo>
                  <a:lnTo>
                    <a:pt x="128902" y="47950"/>
                  </a:lnTo>
                  <a:cubicBezTo>
                    <a:pt x="128902" y="47950"/>
                    <a:pt x="128620" y="48232"/>
                    <a:pt x="128620" y="48515"/>
                  </a:cubicBezTo>
                  <a:lnTo>
                    <a:pt x="128620" y="48797"/>
                  </a:lnTo>
                  <a:close/>
                  <a:moveTo>
                    <a:pt x="133697" y="46540"/>
                  </a:moveTo>
                  <a:lnTo>
                    <a:pt x="134261" y="45694"/>
                  </a:lnTo>
                  <a:lnTo>
                    <a:pt x="134261" y="45130"/>
                  </a:lnTo>
                  <a:cubicBezTo>
                    <a:pt x="134544" y="44848"/>
                    <a:pt x="134261" y="44848"/>
                    <a:pt x="134261" y="44848"/>
                  </a:cubicBezTo>
                  <a:lnTo>
                    <a:pt x="133980" y="44848"/>
                  </a:lnTo>
                  <a:cubicBezTo>
                    <a:pt x="133697" y="44848"/>
                    <a:pt x="133415" y="45130"/>
                    <a:pt x="133133" y="45412"/>
                  </a:cubicBezTo>
                  <a:cubicBezTo>
                    <a:pt x="133133" y="45694"/>
                    <a:pt x="133697" y="45694"/>
                    <a:pt x="133697" y="46258"/>
                  </a:cubicBezTo>
                  <a:lnTo>
                    <a:pt x="133697" y="46540"/>
                  </a:lnTo>
                  <a:close/>
                  <a:moveTo>
                    <a:pt x="142441" y="48232"/>
                  </a:moveTo>
                  <a:cubicBezTo>
                    <a:pt x="143569" y="47950"/>
                    <a:pt x="143569" y="47386"/>
                    <a:pt x="143852" y="47104"/>
                  </a:cubicBezTo>
                  <a:cubicBezTo>
                    <a:pt x="142723" y="47104"/>
                    <a:pt x="142441" y="47668"/>
                    <a:pt x="141877" y="48232"/>
                  </a:cubicBezTo>
                  <a:lnTo>
                    <a:pt x="142441" y="48232"/>
                  </a:lnTo>
                  <a:close/>
                  <a:moveTo>
                    <a:pt x="167262" y="54156"/>
                  </a:moveTo>
                  <a:cubicBezTo>
                    <a:pt x="167262" y="54156"/>
                    <a:pt x="167545" y="53874"/>
                    <a:pt x="167262" y="53874"/>
                  </a:cubicBezTo>
                  <a:cubicBezTo>
                    <a:pt x="166981" y="54156"/>
                    <a:pt x="166981" y="54156"/>
                    <a:pt x="166698" y="54156"/>
                  </a:cubicBezTo>
                  <a:lnTo>
                    <a:pt x="167262" y="54156"/>
                  </a:lnTo>
                  <a:close/>
                  <a:moveTo>
                    <a:pt x="171493" y="41463"/>
                  </a:moveTo>
                  <a:cubicBezTo>
                    <a:pt x="171493" y="41181"/>
                    <a:pt x="171493" y="41181"/>
                    <a:pt x="171776" y="40617"/>
                  </a:cubicBezTo>
                  <a:lnTo>
                    <a:pt x="171212" y="41181"/>
                  </a:lnTo>
                  <a:cubicBezTo>
                    <a:pt x="171212" y="41463"/>
                    <a:pt x="171493" y="41463"/>
                    <a:pt x="171493" y="41745"/>
                  </a:cubicBezTo>
                  <a:lnTo>
                    <a:pt x="171493" y="41463"/>
                  </a:lnTo>
                  <a:close/>
                </a:path>
              </a:pathLst>
            </a:custGeom>
            <a:solidFill>
              <a:srgbClr val="000000"/>
            </a:solidFill>
            <a:ln w="5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6F43892-2823-4625-B7B9-D227C552741C}"/>
                </a:ext>
              </a:extLst>
            </p:cNvPr>
            <p:cNvSpPr/>
            <p:nvPr/>
          </p:nvSpPr>
          <p:spPr>
            <a:xfrm>
              <a:off x="5861182" y="3362151"/>
              <a:ext cx="118466" cy="124107"/>
            </a:xfrm>
            <a:custGeom>
              <a:avLst/>
              <a:gdLst>
                <a:gd name="connsiteX0" fmla="*/ 45412 w 118465"/>
                <a:gd name="connsiteY0" fmla="*/ 118748 h 124107"/>
                <a:gd name="connsiteX1" fmla="*/ 44848 w 118465"/>
                <a:gd name="connsiteY1" fmla="*/ 118466 h 124107"/>
                <a:gd name="connsiteX2" fmla="*/ 44848 w 118465"/>
                <a:gd name="connsiteY2" fmla="*/ 118748 h 124107"/>
                <a:gd name="connsiteX3" fmla="*/ 45412 w 118465"/>
                <a:gd name="connsiteY3" fmla="*/ 119312 h 124107"/>
                <a:gd name="connsiteX4" fmla="*/ 45976 w 118465"/>
                <a:gd name="connsiteY4" fmla="*/ 120158 h 124107"/>
                <a:gd name="connsiteX5" fmla="*/ 45976 w 118465"/>
                <a:gd name="connsiteY5" fmla="*/ 120722 h 124107"/>
                <a:gd name="connsiteX6" fmla="*/ 44002 w 118465"/>
                <a:gd name="connsiteY6" fmla="*/ 121286 h 124107"/>
                <a:gd name="connsiteX7" fmla="*/ 43720 w 118465"/>
                <a:gd name="connsiteY7" fmla="*/ 121286 h 124107"/>
                <a:gd name="connsiteX8" fmla="*/ 42592 w 118465"/>
                <a:gd name="connsiteY8" fmla="*/ 121851 h 124107"/>
                <a:gd name="connsiteX9" fmla="*/ 41463 w 118465"/>
                <a:gd name="connsiteY9" fmla="*/ 122133 h 124107"/>
                <a:gd name="connsiteX10" fmla="*/ 40899 w 118465"/>
                <a:gd name="connsiteY10" fmla="*/ 122133 h 124107"/>
                <a:gd name="connsiteX11" fmla="*/ 39771 w 118465"/>
                <a:gd name="connsiteY11" fmla="*/ 121286 h 124107"/>
                <a:gd name="connsiteX12" fmla="*/ 39206 w 118465"/>
                <a:gd name="connsiteY12" fmla="*/ 121568 h 124107"/>
                <a:gd name="connsiteX13" fmla="*/ 39206 w 118465"/>
                <a:gd name="connsiteY13" fmla="*/ 121851 h 124107"/>
                <a:gd name="connsiteX14" fmla="*/ 40053 w 118465"/>
                <a:gd name="connsiteY14" fmla="*/ 122697 h 124107"/>
                <a:gd name="connsiteX15" fmla="*/ 40053 w 118465"/>
                <a:gd name="connsiteY15" fmla="*/ 123825 h 124107"/>
                <a:gd name="connsiteX16" fmla="*/ 39771 w 118465"/>
                <a:gd name="connsiteY16" fmla="*/ 124107 h 124107"/>
                <a:gd name="connsiteX17" fmla="*/ 40617 w 118465"/>
                <a:gd name="connsiteY17" fmla="*/ 124107 h 124107"/>
                <a:gd name="connsiteX18" fmla="*/ 41745 w 118465"/>
                <a:gd name="connsiteY18" fmla="*/ 123261 h 124107"/>
                <a:gd name="connsiteX19" fmla="*/ 42592 w 118465"/>
                <a:gd name="connsiteY19" fmla="*/ 123543 h 124107"/>
                <a:gd name="connsiteX20" fmla="*/ 42309 w 118465"/>
                <a:gd name="connsiteY20" fmla="*/ 124107 h 124107"/>
                <a:gd name="connsiteX21" fmla="*/ 39489 w 118465"/>
                <a:gd name="connsiteY21" fmla="*/ 126081 h 124107"/>
                <a:gd name="connsiteX22" fmla="*/ 38361 w 118465"/>
                <a:gd name="connsiteY22" fmla="*/ 126646 h 124107"/>
                <a:gd name="connsiteX23" fmla="*/ 37796 w 118465"/>
                <a:gd name="connsiteY23" fmla="*/ 127210 h 124107"/>
                <a:gd name="connsiteX24" fmla="*/ 36668 w 118465"/>
                <a:gd name="connsiteY24" fmla="*/ 127492 h 124107"/>
                <a:gd name="connsiteX25" fmla="*/ 34694 w 118465"/>
                <a:gd name="connsiteY25" fmla="*/ 127492 h 124107"/>
                <a:gd name="connsiteX26" fmla="*/ 33847 w 118465"/>
                <a:gd name="connsiteY26" fmla="*/ 127210 h 124107"/>
                <a:gd name="connsiteX27" fmla="*/ 32437 w 118465"/>
                <a:gd name="connsiteY27" fmla="*/ 127210 h 124107"/>
                <a:gd name="connsiteX28" fmla="*/ 31873 w 118465"/>
                <a:gd name="connsiteY28" fmla="*/ 127492 h 124107"/>
                <a:gd name="connsiteX29" fmla="*/ 31591 w 118465"/>
                <a:gd name="connsiteY29" fmla="*/ 127492 h 124107"/>
                <a:gd name="connsiteX30" fmla="*/ 30180 w 118465"/>
                <a:gd name="connsiteY30" fmla="*/ 126928 h 124107"/>
                <a:gd name="connsiteX31" fmla="*/ 27924 w 118465"/>
                <a:gd name="connsiteY31" fmla="*/ 126081 h 124107"/>
                <a:gd name="connsiteX32" fmla="*/ 25950 w 118465"/>
                <a:gd name="connsiteY32" fmla="*/ 126081 h 124107"/>
                <a:gd name="connsiteX33" fmla="*/ 25386 w 118465"/>
                <a:gd name="connsiteY33" fmla="*/ 125799 h 124107"/>
                <a:gd name="connsiteX34" fmla="*/ 24822 w 118465"/>
                <a:gd name="connsiteY34" fmla="*/ 125517 h 124107"/>
                <a:gd name="connsiteX35" fmla="*/ 24539 w 118465"/>
                <a:gd name="connsiteY35" fmla="*/ 125799 h 124107"/>
                <a:gd name="connsiteX36" fmla="*/ 23129 w 118465"/>
                <a:gd name="connsiteY36" fmla="*/ 126646 h 124107"/>
                <a:gd name="connsiteX37" fmla="*/ 19462 w 118465"/>
                <a:gd name="connsiteY37" fmla="*/ 126646 h 124107"/>
                <a:gd name="connsiteX38" fmla="*/ 18334 w 118465"/>
                <a:gd name="connsiteY38" fmla="*/ 127210 h 124107"/>
                <a:gd name="connsiteX39" fmla="*/ 14667 w 118465"/>
                <a:gd name="connsiteY39" fmla="*/ 127210 h 124107"/>
                <a:gd name="connsiteX40" fmla="*/ 13539 w 118465"/>
                <a:gd name="connsiteY40" fmla="*/ 126928 h 124107"/>
                <a:gd name="connsiteX41" fmla="*/ 12693 w 118465"/>
                <a:gd name="connsiteY41" fmla="*/ 126363 h 124107"/>
                <a:gd name="connsiteX42" fmla="*/ 11565 w 118465"/>
                <a:gd name="connsiteY42" fmla="*/ 125799 h 124107"/>
                <a:gd name="connsiteX43" fmla="*/ 9872 w 118465"/>
                <a:gd name="connsiteY43" fmla="*/ 124107 h 124107"/>
                <a:gd name="connsiteX44" fmla="*/ 8744 w 118465"/>
                <a:gd name="connsiteY44" fmla="*/ 122415 h 124107"/>
                <a:gd name="connsiteX45" fmla="*/ 8462 w 118465"/>
                <a:gd name="connsiteY45" fmla="*/ 122415 h 124107"/>
                <a:gd name="connsiteX46" fmla="*/ 7052 w 118465"/>
                <a:gd name="connsiteY46" fmla="*/ 121851 h 124107"/>
                <a:gd name="connsiteX47" fmla="*/ 6488 w 118465"/>
                <a:gd name="connsiteY47" fmla="*/ 120440 h 124107"/>
                <a:gd name="connsiteX48" fmla="*/ 5077 w 118465"/>
                <a:gd name="connsiteY48" fmla="*/ 119312 h 124107"/>
                <a:gd name="connsiteX49" fmla="*/ 3103 w 118465"/>
                <a:gd name="connsiteY49" fmla="*/ 116209 h 124107"/>
                <a:gd name="connsiteX50" fmla="*/ 3103 w 118465"/>
                <a:gd name="connsiteY50" fmla="*/ 115363 h 124107"/>
                <a:gd name="connsiteX51" fmla="*/ 2821 w 118465"/>
                <a:gd name="connsiteY51" fmla="*/ 114799 h 124107"/>
                <a:gd name="connsiteX52" fmla="*/ 2257 w 118465"/>
                <a:gd name="connsiteY52" fmla="*/ 113953 h 124107"/>
                <a:gd name="connsiteX53" fmla="*/ 2257 w 118465"/>
                <a:gd name="connsiteY53" fmla="*/ 113389 h 124107"/>
                <a:gd name="connsiteX54" fmla="*/ 1974 w 118465"/>
                <a:gd name="connsiteY54" fmla="*/ 112542 h 124107"/>
                <a:gd name="connsiteX55" fmla="*/ 1974 w 118465"/>
                <a:gd name="connsiteY55" fmla="*/ 111414 h 124107"/>
                <a:gd name="connsiteX56" fmla="*/ 1410 w 118465"/>
                <a:gd name="connsiteY56" fmla="*/ 110850 h 124107"/>
                <a:gd name="connsiteX57" fmla="*/ 1410 w 118465"/>
                <a:gd name="connsiteY57" fmla="*/ 110286 h 124107"/>
                <a:gd name="connsiteX58" fmla="*/ 846 w 118465"/>
                <a:gd name="connsiteY58" fmla="*/ 108594 h 124107"/>
                <a:gd name="connsiteX59" fmla="*/ 846 w 118465"/>
                <a:gd name="connsiteY59" fmla="*/ 107465 h 124107"/>
                <a:gd name="connsiteX60" fmla="*/ 0 w 118465"/>
                <a:gd name="connsiteY60" fmla="*/ 98721 h 124107"/>
                <a:gd name="connsiteX61" fmla="*/ 282 w 118465"/>
                <a:gd name="connsiteY61" fmla="*/ 97029 h 124107"/>
                <a:gd name="connsiteX62" fmla="*/ 564 w 118465"/>
                <a:gd name="connsiteY62" fmla="*/ 96465 h 124107"/>
                <a:gd name="connsiteX63" fmla="*/ 282 w 118465"/>
                <a:gd name="connsiteY63" fmla="*/ 95055 h 124107"/>
                <a:gd name="connsiteX64" fmla="*/ 282 w 118465"/>
                <a:gd name="connsiteY64" fmla="*/ 91670 h 124107"/>
                <a:gd name="connsiteX65" fmla="*/ 846 w 118465"/>
                <a:gd name="connsiteY65" fmla="*/ 90260 h 124107"/>
                <a:gd name="connsiteX66" fmla="*/ 282 w 118465"/>
                <a:gd name="connsiteY66" fmla="*/ 89131 h 124107"/>
                <a:gd name="connsiteX67" fmla="*/ 1693 w 118465"/>
                <a:gd name="connsiteY67" fmla="*/ 87157 h 124107"/>
                <a:gd name="connsiteX68" fmla="*/ 1693 w 118465"/>
                <a:gd name="connsiteY68" fmla="*/ 85747 h 124107"/>
                <a:gd name="connsiteX69" fmla="*/ 1974 w 118465"/>
                <a:gd name="connsiteY69" fmla="*/ 84618 h 124107"/>
                <a:gd name="connsiteX70" fmla="*/ 1693 w 118465"/>
                <a:gd name="connsiteY70" fmla="*/ 84054 h 124107"/>
                <a:gd name="connsiteX71" fmla="*/ 1974 w 118465"/>
                <a:gd name="connsiteY71" fmla="*/ 83208 h 124107"/>
                <a:gd name="connsiteX72" fmla="*/ 2821 w 118465"/>
                <a:gd name="connsiteY72" fmla="*/ 83208 h 124107"/>
                <a:gd name="connsiteX73" fmla="*/ 3103 w 118465"/>
                <a:gd name="connsiteY73" fmla="*/ 83772 h 124107"/>
                <a:gd name="connsiteX74" fmla="*/ 3103 w 118465"/>
                <a:gd name="connsiteY74" fmla="*/ 84054 h 124107"/>
                <a:gd name="connsiteX75" fmla="*/ 2821 w 118465"/>
                <a:gd name="connsiteY75" fmla="*/ 84336 h 124107"/>
                <a:gd name="connsiteX76" fmla="*/ 3103 w 118465"/>
                <a:gd name="connsiteY76" fmla="*/ 84618 h 124107"/>
                <a:gd name="connsiteX77" fmla="*/ 3385 w 118465"/>
                <a:gd name="connsiteY77" fmla="*/ 84618 h 124107"/>
                <a:gd name="connsiteX78" fmla="*/ 3667 w 118465"/>
                <a:gd name="connsiteY78" fmla="*/ 84336 h 124107"/>
                <a:gd name="connsiteX79" fmla="*/ 3385 w 118465"/>
                <a:gd name="connsiteY79" fmla="*/ 83490 h 124107"/>
                <a:gd name="connsiteX80" fmla="*/ 3949 w 118465"/>
                <a:gd name="connsiteY80" fmla="*/ 82644 h 124107"/>
                <a:gd name="connsiteX81" fmla="*/ 4513 w 118465"/>
                <a:gd name="connsiteY81" fmla="*/ 82644 h 124107"/>
                <a:gd name="connsiteX82" fmla="*/ 4795 w 118465"/>
                <a:gd name="connsiteY82" fmla="*/ 82362 h 124107"/>
                <a:gd name="connsiteX83" fmla="*/ 5077 w 118465"/>
                <a:gd name="connsiteY83" fmla="*/ 81798 h 124107"/>
                <a:gd name="connsiteX84" fmla="*/ 5359 w 118465"/>
                <a:gd name="connsiteY84" fmla="*/ 79823 h 124107"/>
                <a:gd name="connsiteX85" fmla="*/ 4795 w 118465"/>
                <a:gd name="connsiteY85" fmla="*/ 79259 h 124107"/>
                <a:gd name="connsiteX86" fmla="*/ 3385 w 118465"/>
                <a:gd name="connsiteY86" fmla="*/ 80670 h 124107"/>
                <a:gd name="connsiteX87" fmla="*/ 3667 w 118465"/>
                <a:gd name="connsiteY87" fmla="*/ 80952 h 124107"/>
                <a:gd name="connsiteX88" fmla="*/ 4231 w 118465"/>
                <a:gd name="connsiteY88" fmla="*/ 81516 h 124107"/>
                <a:gd name="connsiteX89" fmla="*/ 3385 w 118465"/>
                <a:gd name="connsiteY89" fmla="*/ 81798 h 124107"/>
                <a:gd name="connsiteX90" fmla="*/ 2538 w 118465"/>
                <a:gd name="connsiteY90" fmla="*/ 81234 h 124107"/>
                <a:gd name="connsiteX91" fmla="*/ 2538 w 118465"/>
                <a:gd name="connsiteY91" fmla="*/ 80952 h 124107"/>
                <a:gd name="connsiteX92" fmla="*/ 2821 w 118465"/>
                <a:gd name="connsiteY92" fmla="*/ 80388 h 124107"/>
                <a:gd name="connsiteX93" fmla="*/ 3103 w 118465"/>
                <a:gd name="connsiteY93" fmla="*/ 80105 h 124107"/>
                <a:gd name="connsiteX94" fmla="*/ 2538 w 118465"/>
                <a:gd name="connsiteY94" fmla="*/ 78695 h 124107"/>
                <a:gd name="connsiteX95" fmla="*/ 2821 w 118465"/>
                <a:gd name="connsiteY95" fmla="*/ 77285 h 124107"/>
                <a:gd name="connsiteX96" fmla="*/ 2821 w 118465"/>
                <a:gd name="connsiteY96" fmla="*/ 77003 h 124107"/>
                <a:gd name="connsiteX97" fmla="*/ 3103 w 118465"/>
                <a:gd name="connsiteY97" fmla="*/ 76439 h 124107"/>
                <a:gd name="connsiteX98" fmla="*/ 3103 w 118465"/>
                <a:gd name="connsiteY98" fmla="*/ 76157 h 124107"/>
                <a:gd name="connsiteX99" fmla="*/ 3949 w 118465"/>
                <a:gd name="connsiteY99" fmla="*/ 74746 h 124107"/>
                <a:gd name="connsiteX100" fmla="*/ 3385 w 118465"/>
                <a:gd name="connsiteY100" fmla="*/ 73054 h 124107"/>
                <a:gd name="connsiteX101" fmla="*/ 3667 w 118465"/>
                <a:gd name="connsiteY101" fmla="*/ 72490 h 124107"/>
                <a:gd name="connsiteX102" fmla="*/ 4795 w 118465"/>
                <a:gd name="connsiteY102" fmla="*/ 71362 h 124107"/>
                <a:gd name="connsiteX103" fmla="*/ 4513 w 118465"/>
                <a:gd name="connsiteY103" fmla="*/ 70515 h 124107"/>
                <a:gd name="connsiteX104" fmla="*/ 4231 w 118465"/>
                <a:gd name="connsiteY104" fmla="*/ 69951 h 124107"/>
                <a:gd name="connsiteX105" fmla="*/ 4513 w 118465"/>
                <a:gd name="connsiteY105" fmla="*/ 69669 h 124107"/>
                <a:gd name="connsiteX106" fmla="*/ 5924 w 118465"/>
                <a:gd name="connsiteY106" fmla="*/ 68823 h 124107"/>
                <a:gd name="connsiteX107" fmla="*/ 6205 w 118465"/>
                <a:gd name="connsiteY107" fmla="*/ 68823 h 124107"/>
                <a:gd name="connsiteX108" fmla="*/ 6769 w 118465"/>
                <a:gd name="connsiteY108" fmla="*/ 68541 h 124107"/>
                <a:gd name="connsiteX109" fmla="*/ 6769 w 118465"/>
                <a:gd name="connsiteY109" fmla="*/ 67413 h 124107"/>
                <a:gd name="connsiteX110" fmla="*/ 6488 w 118465"/>
                <a:gd name="connsiteY110" fmla="*/ 67131 h 124107"/>
                <a:gd name="connsiteX111" fmla="*/ 6488 w 118465"/>
                <a:gd name="connsiteY111" fmla="*/ 64310 h 124107"/>
                <a:gd name="connsiteX112" fmla="*/ 6769 w 118465"/>
                <a:gd name="connsiteY112" fmla="*/ 63464 h 124107"/>
                <a:gd name="connsiteX113" fmla="*/ 7052 w 118465"/>
                <a:gd name="connsiteY113" fmla="*/ 63182 h 124107"/>
                <a:gd name="connsiteX114" fmla="*/ 6769 w 118465"/>
                <a:gd name="connsiteY114" fmla="*/ 62054 h 124107"/>
                <a:gd name="connsiteX115" fmla="*/ 7616 w 118465"/>
                <a:gd name="connsiteY115" fmla="*/ 60925 h 124107"/>
                <a:gd name="connsiteX116" fmla="*/ 9026 w 118465"/>
                <a:gd name="connsiteY116" fmla="*/ 58105 h 124107"/>
                <a:gd name="connsiteX117" fmla="*/ 8744 w 118465"/>
                <a:gd name="connsiteY117" fmla="*/ 57541 h 124107"/>
                <a:gd name="connsiteX118" fmla="*/ 8744 w 118465"/>
                <a:gd name="connsiteY118" fmla="*/ 56694 h 124107"/>
                <a:gd name="connsiteX119" fmla="*/ 9026 w 118465"/>
                <a:gd name="connsiteY119" fmla="*/ 55848 h 124107"/>
                <a:gd name="connsiteX120" fmla="*/ 9872 w 118465"/>
                <a:gd name="connsiteY120" fmla="*/ 55002 h 124107"/>
                <a:gd name="connsiteX121" fmla="*/ 9872 w 118465"/>
                <a:gd name="connsiteY121" fmla="*/ 53310 h 124107"/>
                <a:gd name="connsiteX122" fmla="*/ 10154 w 118465"/>
                <a:gd name="connsiteY122" fmla="*/ 52745 h 124107"/>
                <a:gd name="connsiteX123" fmla="*/ 9872 w 118465"/>
                <a:gd name="connsiteY123" fmla="*/ 51899 h 124107"/>
                <a:gd name="connsiteX124" fmla="*/ 10154 w 118465"/>
                <a:gd name="connsiteY124" fmla="*/ 51053 h 124107"/>
                <a:gd name="connsiteX125" fmla="*/ 11846 w 118465"/>
                <a:gd name="connsiteY125" fmla="*/ 49643 h 124107"/>
                <a:gd name="connsiteX126" fmla="*/ 11846 w 118465"/>
                <a:gd name="connsiteY126" fmla="*/ 49079 h 124107"/>
                <a:gd name="connsiteX127" fmla="*/ 12410 w 118465"/>
                <a:gd name="connsiteY127" fmla="*/ 47386 h 124107"/>
                <a:gd name="connsiteX128" fmla="*/ 12410 w 118465"/>
                <a:gd name="connsiteY128" fmla="*/ 46822 h 124107"/>
                <a:gd name="connsiteX129" fmla="*/ 12693 w 118465"/>
                <a:gd name="connsiteY129" fmla="*/ 46540 h 124107"/>
                <a:gd name="connsiteX130" fmla="*/ 12693 w 118465"/>
                <a:gd name="connsiteY130" fmla="*/ 45130 h 124107"/>
                <a:gd name="connsiteX131" fmla="*/ 13821 w 118465"/>
                <a:gd name="connsiteY131" fmla="*/ 43720 h 124107"/>
                <a:gd name="connsiteX132" fmla="*/ 14103 w 118465"/>
                <a:gd name="connsiteY132" fmla="*/ 42309 h 124107"/>
                <a:gd name="connsiteX133" fmla="*/ 14667 w 118465"/>
                <a:gd name="connsiteY133" fmla="*/ 41181 h 124107"/>
                <a:gd name="connsiteX134" fmla="*/ 14385 w 118465"/>
                <a:gd name="connsiteY134" fmla="*/ 40617 h 124107"/>
                <a:gd name="connsiteX135" fmla="*/ 14949 w 118465"/>
                <a:gd name="connsiteY135" fmla="*/ 39771 h 124107"/>
                <a:gd name="connsiteX136" fmla="*/ 15796 w 118465"/>
                <a:gd name="connsiteY136" fmla="*/ 38924 h 124107"/>
                <a:gd name="connsiteX137" fmla="*/ 15796 w 118465"/>
                <a:gd name="connsiteY137" fmla="*/ 37796 h 124107"/>
                <a:gd name="connsiteX138" fmla="*/ 16360 w 118465"/>
                <a:gd name="connsiteY138" fmla="*/ 36950 h 124107"/>
                <a:gd name="connsiteX139" fmla="*/ 17206 w 118465"/>
                <a:gd name="connsiteY139" fmla="*/ 35822 h 124107"/>
                <a:gd name="connsiteX140" fmla="*/ 16924 w 118465"/>
                <a:gd name="connsiteY140" fmla="*/ 35540 h 124107"/>
                <a:gd name="connsiteX141" fmla="*/ 17488 w 118465"/>
                <a:gd name="connsiteY141" fmla="*/ 34411 h 124107"/>
                <a:gd name="connsiteX142" fmla="*/ 18052 w 118465"/>
                <a:gd name="connsiteY142" fmla="*/ 33283 h 124107"/>
                <a:gd name="connsiteX143" fmla="*/ 18898 w 118465"/>
                <a:gd name="connsiteY143" fmla="*/ 32437 h 124107"/>
                <a:gd name="connsiteX144" fmla="*/ 19744 w 118465"/>
                <a:gd name="connsiteY144" fmla="*/ 31309 h 124107"/>
                <a:gd name="connsiteX145" fmla="*/ 20308 w 118465"/>
                <a:gd name="connsiteY145" fmla="*/ 30463 h 124107"/>
                <a:gd name="connsiteX146" fmla="*/ 20027 w 118465"/>
                <a:gd name="connsiteY146" fmla="*/ 29899 h 124107"/>
                <a:gd name="connsiteX147" fmla="*/ 20872 w 118465"/>
                <a:gd name="connsiteY147" fmla="*/ 28488 h 124107"/>
                <a:gd name="connsiteX148" fmla="*/ 21437 w 118465"/>
                <a:gd name="connsiteY148" fmla="*/ 27360 h 124107"/>
                <a:gd name="connsiteX149" fmla="*/ 22283 w 118465"/>
                <a:gd name="connsiteY149" fmla="*/ 25950 h 124107"/>
                <a:gd name="connsiteX150" fmla="*/ 23129 w 118465"/>
                <a:gd name="connsiteY150" fmla="*/ 24821 h 124107"/>
                <a:gd name="connsiteX151" fmla="*/ 23129 w 118465"/>
                <a:gd name="connsiteY151" fmla="*/ 24539 h 124107"/>
                <a:gd name="connsiteX152" fmla="*/ 23693 w 118465"/>
                <a:gd name="connsiteY152" fmla="*/ 23975 h 124107"/>
                <a:gd name="connsiteX153" fmla="*/ 24539 w 118465"/>
                <a:gd name="connsiteY153" fmla="*/ 23693 h 124107"/>
                <a:gd name="connsiteX154" fmla="*/ 25103 w 118465"/>
                <a:gd name="connsiteY154" fmla="*/ 22847 h 124107"/>
                <a:gd name="connsiteX155" fmla="*/ 27360 w 118465"/>
                <a:gd name="connsiteY155" fmla="*/ 20308 h 124107"/>
                <a:gd name="connsiteX156" fmla="*/ 28770 w 118465"/>
                <a:gd name="connsiteY156" fmla="*/ 18052 h 124107"/>
                <a:gd name="connsiteX157" fmla="*/ 30744 w 118465"/>
                <a:gd name="connsiteY157" fmla="*/ 16360 h 124107"/>
                <a:gd name="connsiteX158" fmla="*/ 31591 w 118465"/>
                <a:gd name="connsiteY158" fmla="*/ 15795 h 124107"/>
                <a:gd name="connsiteX159" fmla="*/ 33001 w 118465"/>
                <a:gd name="connsiteY159" fmla="*/ 14385 h 124107"/>
                <a:gd name="connsiteX160" fmla="*/ 35540 w 118465"/>
                <a:gd name="connsiteY160" fmla="*/ 14385 h 124107"/>
                <a:gd name="connsiteX161" fmla="*/ 36104 w 118465"/>
                <a:gd name="connsiteY161" fmla="*/ 15231 h 124107"/>
                <a:gd name="connsiteX162" fmla="*/ 36950 w 118465"/>
                <a:gd name="connsiteY162" fmla="*/ 15231 h 124107"/>
                <a:gd name="connsiteX163" fmla="*/ 38078 w 118465"/>
                <a:gd name="connsiteY163" fmla="*/ 14385 h 124107"/>
                <a:gd name="connsiteX164" fmla="*/ 39489 w 118465"/>
                <a:gd name="connsiteY164" fmla="*/ 15231 h 124107"/>
                <a:gd name="connsiteX165" fmla="*/ 40053 w 118465"/>
                <a:gd name="connsiteY165" fmla="*/ 15513 h 124107"/>
                <a:gd name="connsiteX166" fmla="*/ 42027 w 118465"/>
                <a:gd name="connsiteY166" fmla="*/ 16642 h 124107"/>
                <a:gd name="connsiteX167" fmla="*/ 42873 w 118465"/>
                <a:gd name="connsiteY167" fmla="*/ 17488 h 124107"/>
                <a:gd name="connsiteX168" fmla="*/ 43156 w 118465"/>
                <a:gd name="connsiteY168" fmla="*/ 17488 h 124107"/>
                <a:gd name="connsiteX169" fmla="*/ 43156 w 118465"/>
                <a:gd name="connsiteY169" fmla="*/ 16642 h 124107"/>
                <a:gd name="connsiteX170" fmla="*/ 42873 w 118465"/>
                <a:gd name="connsiteY170" fmla="*/ 16078 h 124107"/>
                <a:gd name="connsiteX171" fmla="*/ 42873 w 118465"/>
                <a:gd name="connsiteY171" fmla="*/ 15513 h 124107"/>
                <a:gd name="connsiteX172" fmla="*/ 44002 w 118465"/>
                <a:gd name="connsiteY172" fmla="*/ 15513 h 124107"/>
                <a:gd name="connsiteX173" fmla="*/ 43437 w 118465"/>
                <a:gd name="connsiteY173" fmla="*/ 14103 h 124107"/>
                <a:gd name="connsiteX174" fmla="*/ 42309 w 118465"/>
                <a:gd name="connsiteY174" fmla="*/ 12693 h 124107"/>
                <a:gd name="connsiteX175" fmla="*/ 42027 w 118465"/>
                <a:gd name="connsiteY175" fmla="*/ 12411 h 124107"/>
                <a:gd name="connsiteX176" fmla="*/ 41463 w 118465"/>
                <a:gd name="connsiteY176" fmla="*/ 10154 h 124107"/>
                <a:gd name="connsiteX177" fmla="*/ 41181 w 118465"/>
                <a:gd name="connsiteY177" fmla="*/ 9590 h 124107"/>
                <a:gd name="connsiteX178" fmla="*/ 41463 w 118465"/>
                <a:gd name="connsiteY178" fmla="*/ 9026 h 124107"/>
                <a:gd name="connsiteX179" fmla="*/ 41463 w 118465"/>
                <a:gd name="connsiteY179" fmla="*/ 8744 h 124107"/>
                <a:gd name="connsiteX180" fmla="*/ 42027 w 118465"/>
                <a:gd name="connsiteY180" fmla="*/ 7898 h 124107"/>
                <a:gd name="connsiteX181" fmla="*/ 44284 w 118465"/>
                <a:gd name="connsiteY181" fmla="*/ 6487 h 124107"/>
                <a:gd name="connsiteX182" fmla="*/ 46258 w 118465"/>
                <a:gd name="connsiteY182" fmla="*/ 4231 h 124107"/>
                <a:gd name="connsiteX183" fmla="*/ 47104 w 118465"/>
                <a:gd name="connsiteY183" fmla="*/ 3385 h 124107"/>
                <a:gd name="connsiteX184" fmla="*/ 47668 w 118465"/>
                <a:gd name="connsiteY184" fmla="*/ 2539 h 124107"/>
                <a:gd name="connsiteX185" fmla="*/ 49361 w 118465"/>
                <a:gd name="connsiteY185" fmla="*/ 1410 h 124107"/>
                <a:gd name="connsiteX186" fmla="*/ 50489 w 118465"/>
                <a:gd name="connsiteY186" fmla="*/ 846 h 124107"/>
                <a:gd name="connsiteX187" fmla="*/ 51617 w 118465"/>
                <a:gd name="connsiteY187" fmla="*/ 846 h 124107"/>
                <a:gd name="connsiteX188" fmla="*/ 52745 w 118465"/>
                <a:gd name="connsiteY188" fmla="*/ 282 h 124107"/>
                <a:gd name="connsiteX189" fmla="*/ 55002 w 118465"/>
                <a:gd name="connsiteY189" fmla="*/ 282 h 124107"/>
                <a:gd name="connsiteX190" fmla="*/ 56130 w 118465"/>
                <a:gd name="connsiteY190" fmla="*/ 0 h 124107"/>
                <a:gd name="connsiteX191" fmla="*/ 56976 w 118465"/>
                <a:gd name="connsiteY191" fmla="*/ 0 h 124107"/>
                <a:gd name="connsiteX192" fmla="*/ 59233 w 118465"/>
                <a:gd name="connsiteY192" fmla="*/ 846 h 124107"/>
                <a:gd name="connsiteX193" fmla="*/ 60361 w 118465"/>
                <a:gd name="connsiteY193" fmla="*/ 1974 h 124107"/>
                <a:gd name="connsiteX194" fmla="*/ 60361 w 118465"/>
                <a:gd name="connsiteY194" fmla="*/ 2256 h 124107"/>
                <a:gd name="connsiteX195" fmla="*/ 60926 w 118465"/>
                <a:gd name="connsiteY195" fmla="*/ 2539 h 124107"/>
                <a:gd name="connsiteX196" fmla="*/ 63182 w 118465"/>
                <a:gd name="connsiteY196" fmla="*/ 3667 h 124107"/>
                <a:gd name="connsiteX197" fmla="*/ 64874 w 118465"/>
                <a:gd name="connsiteY197" fmla="*/ 4795 h 124107"/>
                <a:gd name="connsiteX198" fmla="*/ 66567 w 118465"/>
                <a:gd name="connsiteY198" fmla="*/ 6205 h 124107"/>
                <a:gd name="connsiteX199" fmla="*/ 67131 w 118465"/>
                <a:gd name="connsiteY199" fmla="*/ 7898 h 124107"/>
                <a:gd name="connsiteX200" fmla="*/ 66848 w 118465"/>
                <a:gd name="connsiteY200" fmla="*/ 8744 h 124107"/>
                <a:gd name="connsiteX201" fmla="*/ 67131 w 118465"/>
                <a:gd name="connsiteY201" fmla="*/ 9308 h 124107"/>
                <a:gd name="connsiteX202" fmla="*/ 66567 w 118465"/>
                <a:gd name="connsiteY202" fmla="*/ 9590 h 124107"/>
                <a:gd name="connsiteX203" fmla="*/ 66567 w 118465"/>
                <a:gd name="connsiteY203" fmla="*/ 10718 h 124107"/>
                <a:gd name="connsiteX204" fmla="*/ 66848 w 118465"/>
                <a:gd name="connsiteY204" fmla="*/ 11000 h 124107"/>
                <a:gd name="connsiteX205" fmla="*/ 67977 w 118465"/>
                <a:gd name="connsiteY205" fmla="*/ 11000 h 124107"/>
                <a:gd name="connsiteX206" fmla="*/ 68259 w 118465"/>
                <a:gd name="connsiteY206" fmla="*/ 11282 h 124107"/>
                <a:gd name="connsiteX207" fmla="*/ 67977 w 118465"/>
                <a:gd name="connsiteY207" fmla="*/ 11847 h 124107"/>
                <a:gd name="connsiteX208" fmla="*/ 67131 w 118465"/>
                <a:gd name="connsiteY208" fmla="*/ 12693 h 124107"/>
                <a:gd name="connsiteX209" fmla="*/ 66284 w 118465"/>
                <a:gd name="connsiteY209" fmla="*/ 12693 h 124107"/>
                <a:gd name="connsiteX210" fmla="*/ 66567 w 118465"/>
                <a:gd name="connsiteY210" fmla="*/ 13539 h 124107"/>
                <a:gd name="connsiteX211" fmla="*/ 68823 w 118465"/>
                <a:gd name="connsiteY211" fmla="*/ 15513 h 124107"/>
                <a:gd name="connsiteX212" fmla="*/ 69105 w 118465"/>
                <a:gd name="connsiteY212" fmla="*/ 16078 h 124107"/>
                <a:gd name="connsiteX213" fmla="*/ 71079 w 118465"/>
                <a:gd name="connsiteY213" fmla="*/ 17488 h 124107"/>
                <a:gd name="connsiteX214" fmla="*/ 71362 w 118465"/>
                <a:gd name="connsiteY214" fmla="*/ 17488 h 124107"/>
                <a:gd name="connsiteX215" fmla="*/ 72772 w 118465"/>
                <a:gd name="connsiteY215" fmla="*/ 18334 h 124107"/>
                <a:gd name="connsiteX216" fmla="*/ 74182 w 118465"/>
                <a:gd name="connsiteY216" fmla="*/ 19180 h 124107"/>
                <a:gd name="connsiteX217" fmla="*/ 75029 w 118465"/>
                <a:gd name="connsiteY217" fmla="*/ 19462 h 124107"/>
                <a:gd name="connsiteX218" fmla="*/ 75874 w 118465"/>
                <a:gd name="connsiteY218" fmla="*/ 20026 h 124107"/>
                <a:gd name="connsiteX219" fmla="*/ 78695 w 118465"/>
                <a:gd name="connsiteY219" fmla="*/ 21155 h 124107"/>
                <a:gd name="connsiteX220" fmla="*/ 79260 w 118465"/>
                <a:gd name="connsiteY220" fmla="*/ 21437 h 124107"/>
                <a:gd name="connsiteX221" fmla="*/ 80952 w 118465"/>
                <a:gd name="connsiteY221" fmla="*/ 21719 h 124107"/>
                <a:gd name="connsiteX222" fmla="*/ 81234 w 118465"/>
                <a:gd name="connsiteY222" fmla="*/ 22001 h 124107"/>
                <a:gd name="connsiteX223" fmla="*/ 84054 w 118465"/>
                <a:gd name="connsiteY223" fmla="*/ 22001 h 124107"/>
                <a:gd name="connsiteX224" fmla="*/ 85746 w 118465"/>
                <a:gd name="connsiteY224" fmla="*/ 22565 h 124107"/>
                <a:gd name="connsiteX225" fmla="*/ 87157 w 118465"/>
                <a:gd name="connsiteY225" fmla="*/ 23129 h 124107"/>
                <a:gd name="connsiteX226" fmla="*/ 87721 w 118465"/>
                <a:gd name="connsiteY226" fmla="*/ 22847 h 124107"/>
                <a:gd name="connsiteX227" fmla="*/ 89132 w 118465"/>
                <a:gd name="connsiteY227" fmla="*/ 22847 h 124107"/>
                <a:gd name="connsiteX228" fmla="*/ 90542 w 118465"/>
                <a:gd name="connsiteY228" fmla="*/ 23411 h 124107"/>
                <a:gd name="connsiteX229" fmla="*/ 95337 w 118465"/>
                <a:gd name="connsiteY229" fmla="*/ 23411 h 124107"/>
                <a:gd name="connsiteX230" fmla="*/ 96465 w 118465"/>
                <a:gd name="connsiteY230" fmla="*/ 22847 h 124107"/>
                <a:gd name="connsiteX231" fmla="*/ 99850 w 118465"/>
                <a:gd name="connsiteY231" fmla="*/ 22847 h 124107"/>
                <a:gd name="connsiteX232" fmla="*/ 100414 w 118465"/>
                <a:gd name="connsiteY232" fmla="*/ 23129 h 124107"/>
                <a:gd name="connsiteX233" fmla="*/ 101260 w 118465"/>
                <a:gd name="connsiteY233" fmla="*/ 22565 h 124107"/>
                <a:gd name="connsiteX234" fmla="*/ 102670 w 118465"/>
                <a:gd name="connsiteY234" fmla="*/ 22565 h 124107"/>
                <a:gd name="connsiteX235" fmla="*/ 103799 w 118465"/>
                <a:gd name="connsiteY235" fmla="*/ 22283 h 124107"/>
                <a:gd name="connsiteX236" fmla="*/ 105491 w 118465"/>
                <a:gd name="connsiteY236" fmla="*/ 22001 h 124107"/>
                <a:gd name="connsiteX237" fmla="*/ 106337 w 118465"/>
                <a:gd name="connsiteY237" fmla="*/ 21719 h 124107"/>
                <a:gd name="connsiteX238" fmla="*/ 107466 w 118465"/>
                <a:gd name="connsiteY238" fmla="*/ 21719 h 124107"/>
                <a:gd name="connsiteX239" fmla="*/ 108876 w 118465"/>
                <a:gd name="connsiteY239" fmla="*/ 21437 h 124107"/>
                <a:gd name="connsiteX240" fmla="*/ 110286 w 118465"/>
                <a:gd name="connsiteY240" fmla="*/ 21437 h 124107"/>
                <a:gd name="connsiteX241" fmla="*/ 111978 w 118465"/>
                <a:gd name="connsiteY241" fmla="*/ 20590 h 124107"/>
                <a:gd name="connsiteX242" fmla="*/ 113953 w 118465"/>
                <a:gd name="connsiteY242" fmla="*/ 20026 h 124107"/>
                <a:gd name="connsiteX243" fmla="*/ 115081 w 118465"/>
                <a:gd name="connsiteY243" fmla="*/ 19462 h 124107"/>
                <a:gd name="connsiteX244" fmla="*/ 115645 w 118465"/>
                <a:gd name="connsiteY244" fmla="*/ 19462 h 124107"/>
                <a:gd name="connsiteX245" fmla="*/ 116209 w 118465"/>
                <a:gd name="connsiteY245" fmla="*/ 19180 h 124107"/>
                <a:gd name="connsiteX246" fmla="*/ 117620 w 118465"/>
                <a:gd name="connsiteY246" fmla="*/ 18616 h 124107"/>
                <a:gd name="connsiteX247" fmla="*/ 117902 w 118465"/>
                <a:gd name="connsiteY247" fmla="*/ 18616 h 124107"/>
                <a:gd name="connsiteX248" fmla="*/ 119312 w 118465"/>
                <a:gd name="connsiteY248" fmla="*/ 18052 h 124107"/>
                <a:gd name="connsiteX249" fmla="*/ 120440 w 118465"/>
                <a:gd name="connsiteY249" fmla="*/ 17770 h 124107"/>
                <a:gd name="connsiteX250" fmla="*/ 121569 w 118465"/>
                <a:gd name="connsiteY250" fmla="*/ 17770 h 124107"/>
                <a:gd name="connsiteX251" fmla="*/ 121850 w 118465"/>
                <a:gd name="connsiteY251" fmla="*/ 18052 h 124107"/>
                <a:gd name="connsiteX252" fmla="*/ 121850 w 118465"/>
                <a:gd name="connsiteY252" fmla="*/ 18334 h 124107"/>
                <a:gd name="connsiteX253" fmla="*/ 122979 w 118465"/>
                <a:gd name="connsiteY253" fmla="*/ 19744 h 124107"/>
                <a:gd name="connsiteX254" fmla="*/ 121850 w 118465"/>
                <a:gd name="connsiteY254" fmla="*/ 21155 h 124107"/>
                <a:gd name="connsiteX255" fmla="*/ 120440 w 118465"/>
                <a:gd name="connsiteY255" fmla="*/ 22847 h 124107"/>
                <a:gd name="connsiteX256" fmla="*/ 120440 w 118465"/>
                <a:gd name="connsiteY256" fmla="*/ 23411 h 124107"/>
                <a:gd name="connsiteX257" fmla="*/ 119312 w 118465"/>
                <a:gd name="connsiteY257" fmla="*/ 23693 h 124107"/>
                <a:gd name="connsiteX258" fmla="*/ 118748 w 118465"/>
                <a:gd name="connsiteY258" fmla="*/ 24539 h 124107"/>
                <a:gd name="connsiteX259" fmla="*/ 119312 w 118465"/>
                <a:gd name="connsiteY259" fmla="*/ 25103 h 124107"/>
                <a:gd name="connsiteX260" fmla="*/ 119312 w 118465"/>
                <a:gd name="connsiteY260" fmla="*/ 25386 h 124107"/>
                <a:gd name="connsiteX261" fmla="*/ 117902 w 118465"/>
                <a:gd name="connsiteY261" fmla="*/ 27360 h 124107"/>
                <a:gd name="connsiteX262" fmla="*/ 118466 w 118465"/>
                <a:gd name="connsiteY262" fmla="*/ 27924 h 124107"/>
                <a:gd name="connsiteX263" fmla="*/ 118183 w 118465"/>
                <a:gd name="connsiteY263" fmla="*/ 27924 h 124107"/>
                <a:gd name="connsiteX264" fmla="*/ 117620 w 118465"/>
                <a:gd name="connsiteY264" fmla="*/ 28488 h 124107"/>
                <a:gd name="connsiteX265" fmla="*/ 116492 w 118465"/>
                <a:gd name="connsiteY265" fmla="*/ 29334 h 124107"/>
                <a:gd name="connsiteX266" fmla="*/ 115645 w 118465"/>
                <a:gd name="connsiteY266" fmla="*/ 29334 h 124107"/>
                <a:gd name="connsiteX267" fmla="*/ 114517 w 118465"/>
                <a:gd name="connsiteY267" fmla="*/ 30181 h 124107"/>
                <a:gd name="connsiteX268" fmla="*/ 113953 w 118465"/>
                <a:gd name="connsiteY268" fmla="*/ 29899 h 124107"/>
                <a:gd name="connsiteX269" fmla="*/ 113671 w 118465"/>
                <a:gd name="connsiteY269" fmla="*/ 29899 h 124107"/>
                <a:gd name="connsiteX270" fmla="*/ 113671 w 118465"/>
                <a:gd name="connsiteY270" fmla="*/ 30181 h 124107"/>
                <a:gd name="connsiteX271" fmla="*/ 112261 w 118465"/>
                <a:gd name="connsiteY271" fmla="*/ 31591 h 124107"/>
                <a:gd name="connsiteX272" fmla="*/ 111697 w 118465"/>
                <a:gd name="connsiteY272" fmla="*/ 32719 h 124107"/>
                <a:gd name="connsiteX273" fmla="*/ 110004 w 118465"/>
                <a:gd name="connsiteY273" fmla="*/ 32719 h 124107"/>
                <a:gd name="connsiteX274" fmla="*/ 110004 w 118465"/>
                <a:gd name="connsiteY274" fmla="*/ 33283 h 124107"/>
                <a:gd name="connsiteX275" fmla="*/ 109722 w 118465"/>
                <a:gd name="connsiteY275" fmla="*/ 34129 h 124107"/>
                <a:gd name="connsiteX276" fmla="*/ 109722 w 118465"/>
                <a:gd name="connsiteY276" fmla="*/ 34694 h 124107"/>
                <a:gd name="connsiteX277" fmla="*/ 111132 w 118465"/>
                <a:gd name="connsiteY277" fmla="*/ 35258 h 124107"/>
                <a:gd name="connsiteX278" fmla="*/ 112261 w 118465"/>
                <a:gd name="connsiteY278" fmla="*/ 35540 h 124107"/>
                <a:gd name="connsiteX279" fmla="*/ 112542 w 118465"/>
                <a:gd name="connsiteY279" fmla="*/ 35822 h 124107"/>
                <a:gd name="connsiteX280" fmla="*/ 112542 w 118465"/>
                <a:gd name="connsiteY280" fmla="*/ 36104 h 124107"/>
                <a:gd name="connsiteX281" fmla="*/ 111132 w 118465"/>
                <a:gd name="connsiteY281" fmla="*/ 36950 h 124107"/>
                <a:gd name="connsiteX282" fmla="*/ 109722 w 118465"/>
                <a:gd name="connsiteY282" fmla="*/ 36950 h 124107"/>
                <a:gd name="connsiteX283" fmla="*/ 109158 w 118465"/>
                <a:gd name="connsiteY283" fmla="*/ 36668 h 124107"/>
                <a:gd name="connsiteX284" fmla="*/ 108876 w 118465"/>
                <a:gd name="connsiteY284" fmla="*/ 36950 h 124107"/>
                <a:gd name="connsiteX285" fmla="*/ 107747 w 118465"/>
                <a:gd name="connsiteY285" fmla="*/ 36950 h 124107"/>
                <a:gd name="connsiteX286" fmla="*/ 106337 w 118465"/>
                <a:gd name="connsiteY286" fmla="*/ 37232 h 124107"/>
                <a:gd name="connsiteX287" fmla="*/ 106055 w 118465"/>
                <a:gd name="connsiteY287" fmla="*/ 37514 h 124107"/>
                <a:gd name="connsiteX288" fmla="*/ 104927 w 118465"/>
                <a:gd name="connsiteY288" fmla="*/ 37232 h 124107"/>
                <a:gd name="connsiteX289" fmla="*/ 104363 w 118465"/>
                <a:gd name="connsiteY289" fmla="*/ 36950 h 124107"/>
                <a:gd name="connsiteX290" fmla="*/ 103235 w 118465"/>
                <a:gd name="connsiteY290" fmla="*/ 37232 h 124107"/>
                <a:gd name="connsiteX291" fmla="*/ 102388 w 118465"/>
                <a:gd name="connsiteY291" fmla="*/ 37796 h 124107"/>
                <a:gd name="connsiteX292" fmla="*/ 102106 w 118465"/>
                <a:gd name="connsiteY292" fmla="*/ 37796 h 124107"/>
                <a:gd name="connsiteX293" fmla="*/ 100414 w 118465"/>
                <a:gd name="connsiteY293" fmla="*/ 37232 h 124107"/>
                <a:gd name="connsiteX294" fmla="*/ 98439 w 118465"/>
                <a:gd name="connsiteY294" fmla="*/ 37232 h 124107"/>
                <a:gd name="connsiteX295" fmla="*/ 97875 w 118465"/>
                <a:gd name="connsiteY295" fmla="*/ 36950 h 124107"/>
                <a:gd name="connsiteX296" fmla="*/ 96465 w 118465"/>
                <a:gd name="connsiteY296" fmla="*/ 37232 h 124107"/>
                <a:gd name="connsiteX297" fmla="*/ 96183 w 118465"/>
                <a:gd name="connsiteY297" fmla="*/ 37232 h 124107"/>
                <a:gd name="connsiteX298" fmla="*/ 94491 w 118465"/>
                <a:gd name="connsiteY298" fmla="*/ 38360 h 124107"/>
                <a:gd name="connsiteX299" fmla="*/ 93363 w 118465"/>
                <a:gd name="connsiteY299" fmla="*/ 38924 h 124107"/>
                <a:gd name="connsiteX300" fmla="*/ 92798 w 118465"/>
                <a:gd name="connsiteY300" fmla="*/ 38924 h 124107"/>
                <a:gd name="connsiteX301" fmla="*/ 89132 w 118465"/>
                <a:gd name="connsiteY301" fmla="*/ 37232 h 124107"/>
                <a:gd name="connsiteX302" fmla="*/ 88849 w 118465"/>
                <a:gd name="connsiteY302" fmla="*/ 36950 h 124107"/>
                <a:gd name="connsiteX303" fmla="*/ 88567 w 118465"/>
                <a:gd name="connsiteY303" fmla="*/ 37232 h 124107"/>
                <a:gd name="connsiteX304" fmla="*/ 87157 w 118465"/>
                <a:gd name="connsiteY304" fmla="*/ 38078 h 124107"/>
                <a:gd name="connsiteX305" fmla="*/ 86593 w 118465"/>
                <a:gd name="connsiteY305" fmla="*/ 37796 h 124107"/>
                <a:gd name="connsiteX306" fmla="*/ 85182 w 118465"/>
                <a:gd name="connsiteY306" fmla="*/ 38078 h 124107"/>
                <a:gd name="connsiteX307" fmla="*/ 84054 w 118465"/>
                <a:gd name="connsiteY307" fmla="*/ 37232 h 124107"/>
                <a:gd name="connsiteX308" fmla="*/ 81234 w 118465"/>
                <a:gd name="connsiteY308" fmla="*/ 37232 h 124107"/>
                <a:gd name="connsiteX309" fmla="*/ 79541 w 118465"/>
                <a:gd name="connsiteY309" fmla="*/ 36668 h 124107"/>
                <a:gd name="connsiteX310" fmla="*/ 78413 w 118465"/>
                <a:gd name="connsiteY310" fmla="*/ 36668 h 124107"/>
                <a:gd name="connsiteX311" fmla="*/ 77567 w 118465"/>
                <a:gd name="connsiteY311" fmla="*/ 36386 h 124107"/>
                <a:gd name="connsiteX312" fmla="*/ 76157 w 118465"/>
                <a:gd name="connsiteY312" fmla="*/ 36386 h 124107"/>
                <a:gd name="connsiteX313" fmla="*/ 75029 w 118465"/>
                <a:gd name="connsiteY313" fmla="*/ 36104 h 124107"/>
                <a:gd name="connsiteX314" fmla="*/ 74464 w 118465"/>
                <a:gd name="connsiteY314" fmla="*/ 36386 h 124107"/>
                <a:gd name="connsiteX315" fmla="*/ 74182 w 118465"/>
                <a:gd name="connsiteY315" fmla="*/ 36668 h 124107"/>
                <a:gd name="connsiteX316" fmla="*/ 74182 w 118465"/>
                <a:gd name="connsiteY316" fmla="*/ 36386 h 124107"/>
                <a:gd name="connsiteX317" fmla="*/ 71643 w 118465"/>
                <a:gd name="connsiteY317" fmla="*/ 35258 h 124107"/>
                <a:gd name="connsiteX318" fmla="*/ 71362 w 118465"/>
                <a:gd name="connsiteY318" fmla="*/ 34976 h 124107"/>
                <a:gd name="connsiteX319" fmla="*/ 69387 w 118465"/>
                <a:gd name="connsiteY319" fmla="*/ 34976 h 124107"/>
                <a:gd name="connsiteX320" fmla="*/ 67977 w 118465"/>
                <a:gd name="connsiteY320" fmla="*/ 34411 h 124107"/>
                <a:gd name="connsiteX321" fmla="*/ 67695 w 118465"/>
                <a:gd name="connsiteY321" fmla="*/ 34411 h 124107"/>
                <a:gd name="connsiteX322" fmla="*/ 67131 w 118465"/>
                <a:gd name="connsiteY322" fmla="*/ 34976 h 124107"/>
                <a:gd name="connsiteX323" fmla="*/ 67695 w 118465"/>
                <a:gd name="connsiteY323" fmla="*/ 36950 h 124107"/>
                <a:gd name="connsiteX324" fmla="*/ 67977 w 118465"/>
                <a:gd name="connsiteY324" fmla="*/ 37514 h 124107"/>
                <a:gd name="connsiteX325" fmla="*/ 67977 w 118465"/>
                <a:gd name="connsiteY325" fmla="*/ 37796 h 124107"/>
                <a:gd name="connsiteX326" fmla="*/ 67695 w 118465"/>
                <a:gd name="connsiteY326" fmla="*/ 39771 h 124107"/>
                <a:gd name="connsiteX327" fmla="*/ 67412 w 118465"/>
                <a:gd name="connsiteY327" fmla="*/ 40899 h 124107"/>
                <a:gd name="connsiteX328" fmla="*/ 67695 w 118465"/>
                <a:gd name="connsiteY328" fmla="*/ 41745 h 124107"/>
                <a:gd name="connsiteX329" fmla="*/ 67131 w 118465"/>
                <a:gd name="connsiteY329" fmla="*/ 43155 h 124107"/>
                <a:gd name="connsiteX330" fmla="*/ 66848 w 118465"/>
                <a:gd name="connsiteY330" fmla="*/ 43155 h 124107"/>
                <a:gd name="connsiteX331" fmla="*/ 66567 w 118465"/>
                <a:gd name="connsiteY331" fmla="*/ 42309 h 124107"/>
                <a:gd name="connsiteX332" fmla="*/ 66567 w 118465"/>
                <a:gd name="connsiteY332" fmla="*/ 41745 h 124107"/>
                <a:gd name="connsiteX333" fmla="*/ 66284 w 118465"/>
                <a:gd name="connsiteY333" fmla="*/ 40617 h 124107"/>
                <a:gd name="connsiteX334" fmla="*/ 66284 w 118465"/>
                <a:gd name="connsiteY334" fmla="*/ 40335 h 124107"/>
                <a:gd name="connsiteX335" fmla="*/ 66002 w 118465"/>
                <a:gd name="connsiteY335" fmla="*/ 39771 h 124107"/>
                <a:gd name="connsiteX336" fmla="*/ 66567 w 118465"/>
                <a:gd name="connsiteY336" fmla="*/ 38642 h 124107"/>
                <a:gd name="connsiteX337" fmla="*/ 66002 w 118465"/>
                <a:gd name="connsiteY337" fmla="*/ 37796 h 124107"/>
                <a:gd name="connsiteX338" fmla="*/ 66284 w 118465"/>
                <a:gd name="connsiteY338" fmla="*/ 37514 h 124107"/>
                <a:gd name="connsiteX339" fmla="*/ 66567 w 118465"/>
                <a:gd name="connsiteY339" fmla="*/ 35822 h 124107"/>
                <a:gd name="connsiteX340" fmla="*/ 65720 w 118465"/>
                <a:gd name="connsiteY340" fmla="*/ 34976 h 124107"/>
                <a:gd name="connsiteX341" fmla="*/ 66002 w 118465"/>
                <a:gd name="connsiteY341" fmla="*/ 34129 h 124107"/>
                <a:gd name="connsiteX342" fmla="*/ 66848 w 118465"/>
                <a:gd name="connsiteY342" fmla="*/ 33565 h 124107"/>
                <a:gd name="connsiteX343" fmla="*/ 66002 w 118465"/>
                <a:gd name="connsiteY343" fmla="*/ 33283 h 124107"/>
                <a:gd name="connsiteX344" fmla="*/ 64874 w 118465"/>
                <a:gd name="connsiteY344" fmla="*/ 33001 h 124107"/>
                <a:gd name="connsiteX345" fmla="*/ 63746 w 118465"/>
                <a:gd name="connsiteY345" fmla="*/ 32437 h 124107"/>
                <a:gd name="connsiteX346" fmla="*/ 63182 w 118465"/>
                <a:gd name="connsiteY346" fmla="*/ 32719 h 124107"/>
                <a:gd name="connsiteX347" fmla="*/ 63182 w 118465"/>
                <a:gd name="connsiteY347" fmla="*/ 33847 h 124107"/>
                <a:gd name="connsiteX348" fmla="*/ 63464 w 118465"/>
                <a:gd name="connsiteY348" fmla="*/ 36668 h 124107"/>
                <a:gd name="connsiteX349" fmla="*/ 63464 w 118465"/>
                <a:gd name="connsiteY349" fmla="*/ 37232 h 124107"/>
                <a:gd name="connsiteX350" fmla="*/ 63464 w 118465"/>
                <a:gd name="connsiteY350" fmla="*/ 38078 h 124107"/>
                <a:gd name="connsiteX351" fmla="*/ 63746 w 118465"/>
                <a:gd name="connsiteY351" fmla="*/ 39207 h 124107"/>
                <a:gd name="connsiteX352" fmla="*/ 64028 w 118465"/>
                <a:gd name="connsiteY352" fmla="*/ 39771 h 124107"/>
                <a:gd name="connsiteX353" fmla="*/ 63746 w 118465"/>
                <a:gd name="connsiteY353" fmla="*/ 40335 h 124107"/>
                <a:gd name="connsiteX354" fmla="*/ 64310 w 118465"/>
                <a:gd name="connsiteY354" fmla="*/ 41463 h 124107"/>
                <a:gd name="connsiteX355" fmla="*/ 64874 w 118465"/>
                <a:gd name="connsiteY355" fmla="*/ 42309 h 124107"/>
                <a:gd name="connsiteX356" fmla="*/ 64592 w 118465"/>
                <a:gd name="connsiteY356" fmla="*/ 42873 h 124107"/>
                <a:gd name="connsiteX357" fmla="*/ 64592 w 118465"/>
                <a:gd name="connsiteY357" fmla="*/ 43155 h 124107"/>
                <a:gd name="connsiteX358" fmla="*/ 64028 w 118465"/>
                <a:gd name="connsiteY358" fmla="*/ 43155 h 124107"/>
                <a:gd name="connsiteX359" fmla="*/ 63746 w 118465"/>
                <a:gd name="connsiteY359" fmla="*/ 42873 h 124107"/>
                <a:gd name="connsiteX360" fmla="*/ 63182 w 118465"/>
                <a:gd name="connsiteY360" fmla="*/ 43155 h 124107"/>
                <a:gd name="connsiteX361" fmla="*/ 62900 w 118465"/>
                <a:gd name="connsiteY361" fmla="*/ 43720 h 124107"/>
                <a:gd name="connsiteX362" fmla="*/ 62900 w 118465"/>
                <a:gd name="connsiteY362" fmla="*/ 44002 h 124107"/>
                <a:gd name="connsiteX363" fmla="*/ 63746 w 118465"/>
                <a:gd name="connsiteY363" fmla="*/ 45694 h 124107"/>
                <a:gd name="connsiteX364" fmla="*/ 64592 w 118465"/>
                <a:gd name="connsiteY364" fmla="*/ 47386 h 124107"/>
                <a:gd name="connsiteX365" fmla="*/ 65156 w 118465"/>
                <a:gd name="connsiteY365" fmla="*/ 47950 h 124107"/>
                <a:gd name="connsiteX366" fmla="*/ 65720 w 118465"/>
                <a:gd name="connsiteY366" fmla="*/ 47668 h 124107"/>
                <a:gd name="connsiteX367" fmla="*/ 66284 w 118465"/>
                <a:gd name="connsiteY367" fmla="*/ 47104 h 124107"/>
                <a:gd name="connsiteX368" fmla="*/ 66002 w 118465"/>
                <a:gd name="connsiteY368" fmla="*/ 45694 h 124107"/>
                <a:gd name="connsiteX369" fmla="*/ 66284 w 118465"/>
                <a:gd name="connsiteY369" fmla="*/ 45130 h 124107"/>
                <a:gd name="connsiteX370" fmla="*/ 67131 w 118465"/>
                <a:gd name="connsiteY370" fmla="*/ 45694 h 124107"/>
                <a:gd name="connsiteX371" fmla="*/ 67131 w 118465"/>
                <a:gd name="connsiteY371" fmla="*/ 45976 h 124107"/>
                <a:gd name="connsiteX372" fmla="*/ 67412 w 118465"/>
                <a:gd name="connsiteY372" fmla="*/ 47104 h 124107"/>
                <a:gd name="connsiteX373" fmla="*/ 67131 w 118465"/>
                <a:gd name="connsiteY373" fmla="*/ 47668 h 124107"/>
                <a:gd name="connsiteX374" fmla="*/ 67131 w 118465"/>
                <a:gd name="connsiteY374" fmla="*/ 49643 h 124107"/>
                <a:gd name="connsiteX375" fmla="*/ 66567 w 118465"/>
                <a:gd name="connsiteY375" fmla="*/ 50771 h 124107"/>
                <a:gd name="connsiteX376" fmla="*/ 66848 w 118465"/>
                <a:gd name="connsiteY376" fmla="*/ 51617 h 124107"/>
                <a:gd name="connsiteX377" fmla="*/ 67131 w 118465"/>
                <a:gd name="connsiteY377" fmla="*/ 54156 h 124107"/>
                <a:gd name="connsiteX378" fmla="*/ 67131 w 118465"/>
                <a:gd name="connsiteY378" fmla="*/ 55002 h 124107"/>
                <a:gd name="connsiteX379" fmla="*/ 66002 w 118465"/>
                <a:gd name="connsiteY379" fmla="*/ 56694 h 124107"/>
                <a:gd name="connsiteX380" fmla="*/ 66284 w 118465"/>
                <a:gd name="connsiteY380" fmla="*/ 57258 h 124107"/>
                <a:gd name="connsiteX381" fmla="*/ 66848 w 118465"/>
                <a:gd name="connsiteY381" fmla="*/ 58951 h 124107"/>
                <a:gd name="connsiteX382" fmla="*/ 66567 w 118465"/>
                <a:gd name="connsiteY382" fmla="*/ 60079 h 124107"/>
                <a:gd name="connsiteX383" fmla="*/ 67412 w 118465"/>
                <a:gd name="connsiteY383" fmla="*/ 62336 h 124107"/>
                <a:gd name="connsiteX384" fmla="*/ 68541 w 118465"/>
                <a:gd name="connsiteY384" fmla="*/ 62900 h 124107"/>
                <a:gd name="connsiteX385" fmla="*/ 68541 w 118465"/>
                <a:gd name="connsiteY385" fmla="*/ 63464 h 124107"/>
                <a:gd name="connsiteX386" fmla="*/ 65720 w 118465"/>
                <a:gd name="connsiteY386" fmla="*/ 63464 h 124107"/>
                <a:gd name="connsiteX387" fmla="*/ 64874 w 118465"/>
                <a:gd name="connsiteY387" fmla="*/ 65156 h 124107"/>
                <a:gd name="connsiteX388" fmla="*/ 64592 w 118465"/>
                <a:gd name="connsiteY388" fmla="*/ 66002 h 124107"/>
                <a:gd name="connsiteX389" fmla="*/ 65156 w 118465"/>
                <a:gd name="connsiteY389" fmla="*/ 66849 h 124107"/>
                <a:gd name="connsiteX390" fmla="*/ 64874 w 118465"/>
                <a:gd name="connsiteY390" fmla="*/ 67413 h 124107"/>
                <a:gd name="connsiteX391" fmla="*/ 64874 w 118465"/>
                <a:gd name="connsiteY391" fmla="*/ 67977 h 124107"/>
                <a:gd name="connsiteX392" fmla="*/ 65720 w 118465"/>
                <a:gd name="connsiteY392" fmla="*/ 69105 h 124107"/>
                <a:gd name="connsiteX393" fmla="*/ 65438 w 118465"/>
                <a:gd name="connsiteY393" fmla="*/ 69669 h 124107"/>
                <a:gd name="connsiteX394" fmla="*/ 65438 w 118465"/>
                <a:gd name="connsiteY394" fmla="*/ 71079 h 124107"/>
                <a:gd name="connsiteX395" fmla="*/ 64874 w 118465"/>
                <a:gd name="connsiteY395" fmla="*/ 72490 h 124107"/>
                <a:gd name="connsiteX396" fmla="*/ 64592 w 118465"/>
                <a:gd name="connsiteY396" fmla="*/ 72772 h 124107"/>
                <a:gd name="connsiteX397" fmla="*/ 65156 w 118465"/>
                <a:gd name="connsiteY397" fmla="*/ 73900 h 124107"/>
                <a:gd name="connsiteX398" fmla="*/ 65156 w 118465"/>
                <a:gd name="connsiteY398" fmla="*/ 74464 h 124107"/>
                <a:gd name="connsiteX399" fmla="*/ 66002 w 118465"/>
                <a:gd name="connsiteY399" fmla="*/ 74182 h 124107"/>
                <a:gd name="connsiteX400" fmla="*/ 66284 w 118465"/>
                <a:gd name="connsiteY400" fmla="*/ 73618 h 124107"/>
                <a:gd name="connsiteX401" fmla="*/ 66284 w 118465"/>
                <a:gd name="connsiteY401" fmla="*/ 73336 h 124107"/>
                <a:gd name="connsiteX402" fmla="*/ 66567 w 118465"/>
                <a:gd name="connsiteY402" fmla="*/ 73054 h 124107"/>
                <a:gd name="connsiteX403" fmla="*/ 66848 w 118465"/>
                <a:gd name="connsiteY403" fmla="*/ 73336 h 124107"/>
                <a:gd name="connsiteX404" fmla="*/ 67131 w 118465"/>
                <a:gd name="connsiteY404" fmla="*/ 74182 h 124107"/>
                <a:gd name="connsiteX405" fmla="*/ 68259 w 118465"/>
                <a:gd name="connsiteY405" fmla="*/ 74464 h 124107"/>
                <a:gd name="connsiteX406" fmla="*/ 68541 w 118465"/>
                <a:gd name="connsiteY406" fmla="*/ 73618 h 124107"/>
                <a:gd name="connsiteX407" fmla="*/ 68823 w 118465"/>
                <a:gd name="connsiteY407" fmla="*/ 73618 h 124107"/>
                <a:gd name="connsiteX408" fmla="*/ 69105 w 118465"/>
                <a:gd name="connsiteY408" fmla="*/ 73900 h 124107"/>
                <a:gd name="connsiteX409" fmla="*/ 69387 w 118465"/>
                <a:gd name="connsiteY409" fmla="*/ 74464 h 124107"/>
                <a:gd name="connsiteX410" fmla="*/ 69105 w 118465"/>
                <a:gd name="connsiteY410" fmla="*/ 75310 h 124107"/>
                <a:gd name="connsiteX411" fmla="*/ 68259 w 118465"/>
                <a:gd name="connsiteY411" fmla="*/ 76439 h 124107"/>
                <a:gd name="connsiteX412" fmla="*/ 67412 w 118465"/>
                <a:gd name="connsiteY412" fmla="*/ 76439 h 124107"/>
                <a:gd name="connsiteX413" fmla="*/ 67412 w 118465"/>
                <a:gd name="connsiteY413" fmla="*/ 76157 h 124107"/>
                <a:gd name="connsiteX414" fmla="*/ 66848 w 118465"/>
                <a:gd name="connsiteY414" fmla="*/ 77567 h 124107"/>
                <a:gd name="connsiteX415" fmla="*/ 66848 w 118465"/>
                <a:gd name="connsiteY415" fmla="*/ 78695 h 124107"/>
                <a:gd name="connsiteX416" fmla="*/ 67695 w 118465"/>
                <a:gd name="connsiteY416" fmla="*/ 80105 h 124107"/>
                <a:gd name="connsiteX417" fmla="*/ 67412 w 118465"/>
                <a:gd name="connsiteY417" fmla="*/ 80670 h 124107"/>
                <a:gd name="connsiteX418" fmla="*/ 66848 w 118465"/>
                <a:gd name="connsiteY418" fmla="*/ 79823 h 124107"/>
                <a:gd name="connsiteX419" fmla="*/ 66567 w 118465"/>
                <a:gd name="connsiteY419" fmla="*/ 80105 h 124107"/>
                <a:gd name="connsiteX420" fmla="*/ 65720 w 118465"/>
                <a:gd name="connsiteY420" fmla="*/ 81234 h 124107"/>
                <a:gd name="connsiteX421" fmla="*/ 65156 w 118465"/>
                <a:gd name="connsiteY421" fmla="*/ 81798 h 124107"/>
                <a:gd name="connsiteX422" fmla="*/ 65438 w 118465"/>
                <a:gd name="connsiteY422" fmla="*/ 82926 h 124107"/>
                <a:gd name="connsiteX423" fmla="*/ 65438 w 118465"/>
                <a:gd name="connsiteY423" fmla="*/ 83208 h 124107"/>
                <a:gd name="connsiteX424" fmla="*/ 65156 w 118465"/>
                <a:gd name="connsiteY424" fmla="*/ 84054 h 124107"/>
                <a:gd name="connsiteX425" fmla="*/ 65438 w 118465"/>
                <a:gd name="connsiteY425" fmla="*/ 85183 h 124107"/>
                <a:gd name="connsiteX426" fmla="*/ 64592 w 118465"/>
                <a:gd name="connsiteY426" fmla="*/ 86875 h 124107"/>
                <a:gd name="connsiteX427" fmla="*/ 64592 w 118465"/>
                <a:gd name="connsiteY427" fmla="*/ 87721 h 124107"/>
                <a:gd name="connsiteX428" fmla="*/ 64874 w 118465"/>
                <a:gd name="connsiteY428" fmla="*/ 89131 h 124107"/>
                <a:gd name="connsiteX429" fmla="*/ 66002 w 118465"/>
                <a:gd name="connsiteY429" fmla="*/ 90542 h 124107"/>
                <a:gd name="connsiteX430" fmla="*/ 66284 w 118465"/>
                <a:gd name="connsiteY430" fmla="*/ 90824 h 124107"/>
                <a:gd name="connsiteX431" fmla="*/ 66848 w 118465"/>
                <a:gd name="connsiteY431" fmla="*/ 90542 h 124107"/>
                <a:gd name="connsiteX432" fmla="*/ 67412 w 118465"/>
                <a:gd name="connsiteY432" fmla="*/ 89413 h 124107"/>
                <a:gd name="connsiteX433" fmla="*/ 67977 w 118465"/>
                <a:gd name="connsiteY433" fmla="*/ 88567 h 124107"/>
                <a:gd name="connsiteX434" fmla="*/ 69105 w 118465"/>
                <a:gd name="connsiteY434" fmla="*/ 87721 h 124107"/>
                <a:gd name="connsiteX435" fmla="*/ 68823 w 118465"/>
                <a:gd name="connsiteY435" fmla="*/ 87157 h 124107"/>
                <a:gd name="connsiteX436" fmla="*/ 69105 w 118465"/>
                <a:gd name="connsiteY436" fmla="*/ 86593 h 124107"/>
                <a:gd name="connsiteX437" fmla="*/ 69105 w 118465"/>
                <a:gd name="connsiteY437" fmla="*/ 86311 h 124107"/>
                <a:gd name="connsiteX438" fmla="*/ 69669 w 118465"/>
                <a:gd name="connsiteY438" fmla="*/ 85465 h 124107"/>
                <a:gd name="connsiteX439" fmla="*/ 70233 w 118465"/>
                <a:gd name="connsiteY439" fmla="*/ 87157 h 124107"/>
                <a:gd name="connsiteX440" fmla="*/ 69669 w 118465"/>
                <a:gd name="connsiteY440" fmla="*/ 88003 h 124107"/>
                <a:gd name="connsiteX441" fmla="*/ 69105 w 118465"/>
                <a:gd name="connsiteY441" fmla="*/ 88849 h 124107"/>
                <a:gd name="connsiteX442" fmla="*/ 69387 w 118465"/>
                <a:gd name="connsiteY442" fmla="*/ 89131 h 124107"/>
                <a:gd name="connsiteX443" fmla="*/ 69669 w 118465"/>
                <a:gd name="connsiteY443" fmla="*/ 89978 h 124107"/>
                <a:gd name="connsiteX444" fmla="*/ 69105 w 118465"/>
                <a:gd name="connsiteY444" fmla="*/ 90542 h 124107"/>
                <a:gd name="connsiteX445" fmla="*/ 68259 w 118465"/>
                <a:gd name="connsiteY445" fmla="*/ 92798 h 124107"/>
                <a:gd name="connsiteX446" fmla="*/ 68259 w 118465"/>
                <a:gd name="connsiteY446" fmla="*/ 94773 h 124107"/>
                <a:gd name="connsiteX447" fmla="*/ 67695 w 118465"/>
                <a:gd name="connsiteY447" fmla="*/ 95337 h 124107"/>
                <a:gd name="connsiteX448" fmla="*/ 66848 w 118465"/>
                <a:gd name="connsiteY448" fmla="*/ 97593 h 124107"/>
                <a:gd name="connsiteX449" fmla="*/ 65720 w 118465"/>
                <a:gd name="connsiteY449" fmla="*/ 98439 h 124107"/>
                <a:gd name="connsiteX450" fmla="*/ 65438 w 118465"/>
                <a:gd name="connsiteY450" fmla="*/ 99004 h 124107"/>
                <a:gd name="connsiteX451" fmla="*/ 65720 w 118465"/>
                <a:gd name="connsiteY451" fmla="*/ 101260 h 124107"/>
                <a:gd name="connsiteX452" fmla="*/ 65438 w 118465"/>
                <a:gd name="connsiteY452" fmla="*/ 101542 h 124107"/>
                <a:gd name="connsiteX453" fmla="*/ 64874 w 118465"/>
                <a:gd name="connsiteY453" fmla="*/ 101542 h 124107"/>
                <a:gd name="connsiteX454" fmla="*/ 64310 w 118465"/>
                <a:gd name="connsiteY454" fmla="*/ 100696 h 124107"/>
                <a:gd name="connsiteX455" fmla="*/ 64310 w 118465"/>
                <a:gd name="connsiteY455" fmla="*/ 97311 h 124107"/>
                <a:gd name="connsiteX456" fmla="*/ 64028 w 118465"/>
                <a:gd name="connsiteY456" fmla="*/ 97311 h 124107"/>
                <a:gd name="connsiteX457" fmla="*/ 63746 w 118465"/>
                <a:gd name="connsiteY457" fmla="*/ 96747 h 124107"/>
                <a:gd name="connsiteX458" fmla="*/ 62618 w 118465"/>
                <a:gd name="connsiteY458" fmla="*/ 97593 h 124107"/>
                <a:gd name="connsiteX459" fmla="*/ 62054 w 118465"/>
                <a:gd name="connsiteY459" fmla="*/ 99286 h 124107"/>
                <a:gd name="connsiteX460" fmla="*/ 62054 w 118465"/>
                <a:gd name="connsiteY460" fmla="*/ 99568 h 124107"/>
                <a:gd name="connsiteX461" fmla="*/ 62336 w 118465"/>
                <a:gd name="connsiteY461" fmla="*/ 100696 h 124107"/>
                <a:gd name="connsiteX462" fmla="*/ 62054 w 118465"/>
                <a:gd name="connsiteY462" fmla="*/ 100978 h 124107"/>
                <a:gd name="connsiteX463" fmla="*/ 60926 w 118465"/>
                <a:gd name="connsiteY463" fmla="*/ 102388 h 124107"/>
                <a:gd name="connsiteX464" fmla="*/ 60643 w 118465"/>
                <a:gd name="connsiteY464" fmla="*/ 102670 h 124107"/>
                <a:gd name="connsiteX465" fmla="*/ 59797 w 118465"/>
                <a:gd name="connsiteY465" fmla="*/ 104645 h 124107"/>
                <a:gd name="connsiteX466" fmla="*/ 58105 w 118465"/>
                <a:gd name="connsiteY466" fmla="*/ 106337 h 124107"/>
                <a:gd name="connsiteX467" fmla="*/ 57259 w 118465"/>
                <a:gd name="connsiteY467" fmla="*/ 107465 h 124107"/>
                <a:gd name="connsiteX468" fmla="*/ 57259 w 118465"/>
                <a:gd name="connsiteY468" fmla="*/ 107747 h 124107"/>
                <a:gd name="connsiteX469" fmla="*/ 56412 w 118465"/>
                <a:gd name="connsiteY469" fmla="*/ 108312 h 124107"/>
                <a:gd name="connsiteX470" fmla="*/ 55566 w 118465"/>
                <a:gd name="connsiteY470" fmla="*/ 108876 h 124107"/>
                <a:gd name="connsiteX471" fmla="*/ 54156 w 118465"/>
                <a:gd name="connsiteY471" fmla="*/ 111414 h 124107"/>
                <a:gd name="connsiteX472" fmla="*/ 53874 w 118465"/>
                <a:gd name="connsiteY472" fmla="*/ 111978 h 124107"/>
                <a:gd name="connsiteX473" fmla="*/ 53028 w 118465"/>
                <a:gd name="connsiteY473" fmla="*/ 112825 h 124107"/>
                <a:gd name="connsiteX474" fmla="*/ 51899 w 118465"/>
                <a:gd name="connsiteY474" fmla="*/ 113107 h 124107"/>
                <a:gd name="connsiteX475" fmla="*/ 51899 w 118465"/>
                <a:gd name="connsiteY475" fmla="*/ 113953 h 124107"/>
                <a:gd name="connsiteX476" fmla="*/ 49925 w 118465"/>
                <a:gd name="connsiteY476" fmla="*/ 115363 h 124107"/>
                <a:gd name="connsiteX477" fmla="*/ 49361 w 118465"/>
                <a:gd name="connsiteY477" fmla="*/ 115363 h 124107"/>
                <a:gd name="connsiteX478" fmla="*/ 49361 w 118465"/>
                <a:gd name="connsiteY478" fmla="*/ 114235 h 124107"/>
                <a:gd name="connsiteX479" fmla="*/ 48797 w 118465"/>
                <a:gd name="connsiteY479" fmla="*/ 114517 h 124107"/>
                <a:gd name="connsiteX480" fmla="*/ 48514 w 118465"/>
                <a:gd name="connsiteY480" fmla="*/ 115081 h 124107"/>
                <a:gd name="connsiteX481" fmla="*/ 48514 w 118465"/>
                <a:gd name="connsiteY481" fmla="*/ 115363 h 124107"/>
                <a:gd name="connsiteX482" fmla="*/ 47950 w 118465"/>
                <a:gd name="connsiteY482" fmla="*/ 117055 h 124107"/>
                <a:gd name="connsiteX483" fmla="*/ 47104 w 118465"/>
                <a:gd name="connsiteY483" fmla="*/ 117620 h 124107"/>
                <a:gd name="connsiteX484" fmla="*/ 45694 w 118465"/>
                <a:gd name="connsiteY484" fmla="*/ 119312 h 124107"/>
                <a:gd name="connsiteX485" fmla="*/ 45412 w 118465"/>
                <a:gd name="connsiteY485" fmla="*/ 118748 h 124107"/>
                <a:gd name="connsiteX486" fmla="*/ 2538 w 118465"/>
                <a:gd name="connsiteY486" fmla="*/ 85747 h 124107"/>
                <a:gd name="connsiteX487" fmla="*/ 2821 w 118465"/>
                <a:gd name="connsiteY487" fmla="*/ 85747 h 124107"/>
                <a:gd name="connsiteX488" fmla="*/ 2821 w 118465"/>
                <a:gd name="connsiteY488" fmla="*/ 85465 h 124107"/>
                <a:gd name="connsiteX489" fmla="*/ 2538 w 118465"/>
                <a:gd name="connsiteY489" fmla="*/ 85747 h 124107"/>
                <a:gd name="connsiteX490" fmla="*/ 7052 w 118465"/>
                <a:gd name="connsiteY490" fmla="*/ 114235 h 124107"/>
                <a:gd name="connsiteX491" fmla="*/ 6205 w 118465"/>
                <a:gd name="connsiteY491" fmla="*/ 112260 h 124107"/>
                <a:gd name="connsiteX492" fmla="*/ 5359 w 118465"/>
                <a:gd name="connsiteY492" fmla="*/ 111132 h 124107"/>
                <a:gd name="connsiteX493" fmla="*/ 4513 w 118465"/>
                <a:gd name="connsiteY493" fmla="*/ 109440 h 124107"/>
                <a:gd name="connsiteX494" fmla="*/ 3949 w 118465"/>
                <a:gd name="connsiteY494" fmla="*/ 109158 h 124107"/>
                <a:gd name="connsiteX495" fmla="*/ 3667 w 118465"/>
                <a:gd name="connsiteY495" fmla="*/ 109158 h 124107"/>
                <a:gd name="connsiteX496" fmla="*/ 3385 w 118465"/>
                <a:gd name="connsiteY496" fmla="*/ 108876 h 124107"/>
                <a:gd name="connsiteX497" fmla="*/ 3103 w 118465"/>
                <a:gd name="connsiteY497" fmla="*/ 108876 h 124107"/>
                <a:gd name="connsiteX498" fmla="*/ 3103 w 118465"/>
                <a:gd name="connsiteY498" fmla="*/ 110286 h 124107"/>
                <a:gd name="connsiteX499" fmla="*/ 4231 w 118465"/>
                <a:gd name="connsiteY499" fmla="*/ 111414 h 124107"/>
                <a:gd name="connsiteX500" fmla="*/ 4231 w 118465"/>
                <a:gd name="connsiteY500" fmla="*/ 112825 h 124107"/>
                <a:gd name="connsiteX501" fmla="*/ 4513 w 118465"/>
                <a:gd name="connsiteY501" fmla="*/ 114235 h 124107"/>
                <a:gd name="connsiteX502" fmla="*/ 4795 w 118465"/>
                <a:gd name="connsiteY502" fmla="*/ 114517 h 124107"/>
                <a:gd name="connsiteX503" fmla="*/ 5924 w 118465"/>
                <a:gd name="connsiteY503" fmla="*/ 115645 h 124107"/>
                <a:gd name="connsiteX504" fmla="*/ 5924 w 118465"/>
                <a:gd name="connsiteY504" fmla="*/ 116209 h 124107"/>
                <a:gd name="connsiteX505" fmla="*/ 6769 w 118465"/>
                <a:gd name="connsiteY505" fmla="*/ 117055 h 124107"/>
                <a:gd name="connsiteX506" fmla="*/ 6769 w 118465"/>
                <a:gd name="connsiteY506" fmla="*/ 117338 h 124107"/>
                <a:gd name="connsiteX507" fmla="*/ 7052 w 118465"/>
                <a:gd name="connsiteY507" fmla="*/ 117055 h 124107"/>
                <a:gd name="connsiteX508" fmla="*/ 6769 w 118465"/>
                <a:gd name="connsiteY508" fmla="*/ 115645 h 124107"/>
                <a:gd name="connsiteX509" fmla="*/ 7334 w 118465"/>
                <a:gd name="connsiteY509" fmla="*/ 114799 h 124107"/>
                <a:gd name="connsiteX510" fmla="*/ 7052 w 118465"/>
                <a:gd name="connsiteY510" fmla="*/ 114235 h 124107"/>
                <a:gd name="connsiteX511" fmla="*/ 4795 w 118465"/>
                <a:gd name="connsiteY511" fmla="*/ 77849 h 124107"/>
                <a:gd name="connsiteX512" fmla="*/ 4513 w 118465"/>
                <a:gd name="connsiteY512" fmla="*/ 76439 h 124107"/>
                <a:gd name="connsiteX513" fmla="*/ 4231 w 118465"/>
                <a:gd name="connsiteY513" fmla="*/ 76157 h 124107"/>
                <a:gd name="connsiteX514" fmla="*/ 3667 w 118465"/>
                <a:gd name="connsiteY514" fmla="*/ 76157 h 124107"/>
                <a:gd name="connsiteX515" fmla="*/ 3949 w 118465"/>
                <a:gd name="connsiteY515" fmla="*/ 76721 h 124107"/>
                <a:gd name="connsiteX516" fmla="*/ 4513 w 118465"/>
                <a:gd name="connsiteY516" fmla="*/ 78413 h 124107"/>
                <a:gd name="connsiteX517" fmla="*/ 4513 w 118465"/>
                <a:gd name="connsiteY517" fmla="*/ 78695 h 124107"/>
                <a:gd name="connsiteX518" fmla="*/ 4795 w 118465"/>
                <a:gd name="connsiteY518" fmla="*/ 78413 h 124107"/>
                <a:gd name="connsiteX519" fmla="*/ 4795 w 118465"/>
                <a:gd name="connsiteY519" fmla="*/ 77849 h 124107"/>
                <a:gd name="connsiteX520" fmla="*/ 5641 w 118465"/>
                <a:gd name="connsiteY520" fmla="*/ 69951 h 124107"/>
                <a:gd name="connsiteX521" fmla="*/ 5924 w 118465"/>
                <a:gd name="connsiteY521" fmla="*/ 69951 h 124107"/>
                <a:gd name="connsiteX522" fmla="*/ 5924 w 118465"/>
                <a:gd name="connsiteY522" fmla="*/ 69669 h 124107"/>
                <a:gd name="connsiteX523" fmla="*/ 5641 w 118465"/>
                <a:gd name="connsiteY523" fmla="*/ 69951 h 124107"/>
                <a:gd name="connsiteX524" fmla="*/ 7898 w 118465"/>
                <a:gd name="connsiteY524" fmla="*/ 116491 h 124107"/>
                <a:gd name="connsiteX525" fmla="*/ 8180 w 118465"/>
                <a:gd name="connsiteY525" fmla="*/ 117055 h 124107"/>
                <a:gd name="connsiteX526" fmla="*/ 8462 w 118465"/>
                <a:gd name="connsiteY526" fmla="*/ 117338 h 124107"/>
                <a:gd name="connsiteX527" fmla="*/ 8744 w 118465"/>
                <a:gd name="connsiteY527" fmla="*/ 116773 h 124107"/>
                <a:gd name="connsiteX528" fmla="*/ 8180 w 118465"/>
                <a:gd name="connsiteY528" fmla="*/ 116209 h 124107"/>
                <a:gd name="connsiteX529" fmla="*/ 7898 w 118465"/>
                <a:gd name="connsiteY529" fmla="*/ 116491 h 124107"/>
                <a:gd name="connsiteX530" fmla="*/ 9308 w 118465"/>
                <a:gd name="connsiteY530" fmla="*/ 119876 h 124107"/>
                <a:gd name="connsiteX531" fmla="*/ 8462 w 118465"/>
                <a:gd name="connsiteY531" fmla="*/ 119030 h 124107"/>
                <a:gd name="connsiteX532" fmla="*/ 7898 w 118465"/>
                <a:gd name="connsiteY532" fmla="*/ 119030 h 124107"/>
                <a:gd name="connsiteX533" fmla="*/ 8180 w 118465"/>
                <a:gd name="connsiteY533" fmla="*/ 119312 h 124107"/>
                <a:gd name="connsiteX534" fmla="*/ 8744 w 118465"/>
                <a:gd name="connsiteY534" fmla="*/ 120722 h 124107"/>
                <a:gd name="connsiteX535" fmla="*/ 8744 w 118465"/>
                <a:gd name="connsiteY535" fmla="*/ 121004 h 124107"/>
                <a:gd name="connsiteX536" fmla="*/ 9026 w 118465"/>
                <a:gd name="connsiteY536" fmla="*/ 121286 h 124107"/>
                <a:gd name="connsiteX537" fmla="*/ 9590 w 118465"/>
                <a:gd name="connsiteY537" fmla="*/ 120722 h 124107"/>
                <a:gd name="connsiteX538" fmla="*/ 9308 w 118465"/>
                <a:gd name="connsiteY538" fmla="*/ 119876 h 124107"/>
                <a:gd name="connsiteX539" fmla="*/ 9872 w 118465"/>
                <a:gd name="connsiteY539" fmla="*/ 121568 h 124107"/>
                <a:gd name="connsiteX540" fmla="*/ 9872 w 118465"/>
                <a:gd name="connsiteY540" fmla="*/ 122133 h 124107"/>
                <a:gd name="connsiteX541" fmla="*/ 10436 w 118465"/>
                <a:gd name="connsiteY541" fmla="*/ 122979 h 124107"/>
                <a:gd name="connsiteX542" fmla="*/ 10718 w 118465"/>
                <a:gd name="connsiteY542" fmla="*/ 122697 h 124107"/>
                <a:gd name="connsiteX543" fmla="*/ 9872 w 118465"/>
                <a:gd name="connsiteY543" fmla="*/ 121568 h 124107"/>
                <a:gd name="connsiteX544" fmla="*/ 58387 w 118465"/>
                <a:gd name="connsiteY544" fmla="*/ 45694 h 124107"/>
                <a:gd name="connsiteX545" fmla="*/ 58951 w 118465"/>
                <a:gd name="connsiteY545" fmla="*/ 45130 h 124107"/>
                <a:gd name="connsiteX546" fmla="*/ 58387 w 118465"/>
                <a:gd name="connsiteY546" fmla="*/ 44002 h 124107"/>
                <a:gd name="connsiteX547" fmla="*/ 58105 w 118465"/>
                <a:gd name="connsiteY547" fmla="*/ 43720 h 124107"/>
                <a:gd name="connsiteX548" fmla="*/ 58951 w 118465"/>
                <a:gd name="connsiteY548" fmla="*/ 42591 h 124107"/>
                <a:gd name="connsiteX549" fmla="*/ 58105 w 118465"/>
                <a:gd name="connsiteY549" fmla="*/ 41463 h 124107"/>
                <a:gd name="connsiteX550" fmla="*/ 58105 w 118465"/>
                <a:gd name="connsiteY550" fmla="*/ 41181 h 124107"/>
                <a:gd name="connsiteX551" fmla="*/ 58669 w 118465"/>
                <a:gd name="connsiteY551" fmla="*/ 40053 h 124107"/>
                <a:gd name="connsiteX552" fmla="*/ 58669 w 118465"/>
                <a:gd name="connsiteY552" fmla="*/ 38642 h 124107"/>
                <a:gd name="connsiteX553" fmla="*/ 58387 w 118465"/>
                <a:gd name="connsiteY553" fmla="*/ 37514 h 124107"/>
                <a:gd name="connsiteX554" fmla="*/ 58669 w 118465"/>
                <a:gd name="connsiteY554" fmla="*/ 36386 h 124107"/>
                <a:gd name="connsiteX555" fmla="*/ 57259 w 118465"/>
                <a:gd name="connsiteY555" fmla="*/ 36386 h 124107"/>
                <a:gd name="connsiteX556" fmla="*/ 56976 w 118465"/>
                <a:gd name="connsiteY556" fmla="*/ 36668 h 124107"/>
                <a:gd name="connsiteX557" fmla="*/ 56976 w 118465"/>
                <a:gd name="connsiteY557" fmla="*/ 36104 h 124107"/>
                <a:gd name="connsiteX558" fmla="*/ 56130 w 118465"/>
                <a:gd name="connsiteY558" fmla="*/ 34976 h 124107"/>
                <a:gd name="connsiteX559" fmla="*/ 56130 w 118465"/>
                <a:gd name="connsiteY559" fmla="*/ 31027 h 124107"/>
                <a:gd name="connsiteX560" fmla="*/ 56976 w 118465"/>
                <a:gd name="connsiteY560" fmla="*/ 30463 h 124107"/>
                <a:gd name="connsiteX561" fmla="*/ 57540 w 118465"/>
                <a:gd name="connsiteY561" fmla="*/ 31027 h 124107"/>
                <a:gd name="connsiteX562" fmla="*/ 57823 w 118465"/>
                <a:gd name="connsiteY562" fmla="*/ 31027 h 124107"/>
                <a:gd name="connsiteX563" fmla="*/ 58951 w 118465"/>
                <a:gd name="connsiteY563" fmla="*/ 30463 h 124107"/>
                <a:gd name="connsiteX564" fmla="*/ 57823 w 118465"/>
                <a:gd name="connsiteY564" fmla="*/ 29334 h 124107"/>
                <a:gd name="connsiteX565" fmla="*/ 56695 w 118465"/>
                <a:gd name="connsiteY565" fmla="*/ 28488 h 124107"/>
                <a:gd name="connsiteX566" fmla="*/ 56412 w 118465"/>
                <a:gd name="connsiteY566" fmla="*/ 28488 h 124107"/>
                <a:gd name="connsiteX567" fmla="*/ 55284 w 118465"/>
                <a:gd name="connsiteY567" fmla="*/ 27360 h 124107"/>
                <a:gd name="connsiteX568" fmla="*/ 55284 w 118465"/>
                <a:gd name="connsiteY568" fmla="*/ 27078 h 124107"/>
                <a:gd name="connsiteX569" fmla="*/ 54720 w 118465"/>
                <a:gd name="connsiteY569" fmla="*/ 25386 h 124107"/>
                <a:gd name="connsiteX570" fmla="*/ 53592 w 118465"/>
                <a:gd name="connsiteY570" fmla="*/ 23975 h 124107"/>
                <a:gd name="connsiteX571" fmla="*/ 51899 w 118465"/>
                <a:gd name="connsiteY571" fmla="*/ 22565 h 124107"/>
                <a:gd name="connsiteX572" fmla="*/ 49643 w 118465"/>
                <a:gd name="connsiteY572" fmla="*/ 21155 h 124107"/>
                <a:gd name="connsiteX573" fmla="*/ 49643 w 118465"/>
                <a:gd name="connsiteY573" fmla="*/ 20873 h 124107"/>
                <a:gd name="connsiteX574" fmla="*/ 49361 w 118465"/>
                <a:gd name="connsiteY574" fmla="*/ 21155 h 124107"/>
                <a:gd name="connsiteX575" fmla="*/ 49078 w 118465"/>
                <a:gd name="connsiteY575" fmla="*/ 21719 h 124107"/>
                <a:gd name="connsiteX576" fmla="*/ 48233 w 118465"/>
                <a:gd name="connsiteY576" fmla="*/ 22001 h 124107"/>
                <a:gd name="connsiteX577" fmla="*/ 47668 w 118465"/>
                <a:gd name="connsiteY577" fmla="*/ 22001 h 124107"/>
                <a:gd name="connsiteX578" fmla="*/ 47668 w 118465"/>
                <a:gd name="connsiteY578" fmla="*/ 21719 h 124107"/>
                <a:gd name="connsiteX579" fmla="*/ 46822 w 118465"/>
                <a:gd name="connsiteY579" fmla="*/ 22565 h 124107"/>
                <a:gd name="connsiteX580" fmla="*/ 46822 w 118465"/>
                <a:gd name="connsiteY580" fmla="*/ 23693 h 124107"/>
                <a:gd name="connsiteX581" fmla="*/ 47104 w 118465"/>
                <a:gd name="connsiteY581" fmla="*/ 24539 h 124107"/>
                <a:gd name="connsiteX582" fmla="*/ 47668 w 118465"/>
                <a:gd name="connsiteY582" fmla="*/ 25668 h 124107"/>
                <a:gd name="connsiteX583" fmla="*/ 47386 w 118465"/>
                <a:gd name="connsiteY583" fmla="*/ 26514 h 124107"/>
                <a:gd name="connsiteX584" fmla="*/ 47386 w 118465"/>
                <a:gd name="connsiteY584" fmla="*/ 27078 h 124107"/>
                <a:gd name="connsiteX585" fmla="*/ 48233 w 118465"/>
                <a:gd name="connsiteY585" fmla="*/ 29334 h 124107"/>
                <a:gd name="connsiteX586" fmla="*/ 47668 w 118465"/>
                <a:gd name="connsiteY586" fmla="*/ 29334 h 124107"/>
                <a:gd name="connsiteX587" fmla="*/ 46540 w 118465"/>
                <a:gd name="connsiteY587" fmla="*/ 27360 h 124107"/>
                <a:gd name="connsiteX588" fmla="*/ 46258 w 118465"/>
                <a:gd name="connsiteY588" fmla="*/ 27078 h 124107"/>
                <a:gd name="connsiteX589" fmla="*/ 45130 w 118465"/>
                <a:gd name="connsiteY589" fmla="*/ 27360 h 124107"/>
                <a:gd name="connsiteX590" fmla="*/ 44002 w 118465"/>
                <a:gd name="connsiteY590" fmla="*/ 28488 h 124107"/>
                <a:gd name="connsiteX591" fmla="*/ 43720 w 118465"/>
                <a:gd name="connsiteY591" fmla="*/ 29616 h 124107"/>
                <a:gd name="connsiteX592" fmla="*/ 44284 w 118465"/>
                <a:gd name="connsiteY592" fmla="*/ 30463 h 124107"/>
                <a:gd name="connsiteX593" fmla="*/ 44002 w 118465"/>
                <a:gd name="connsiteY593" fmla="*/ 32437 h 124107"/>
                <a:gd name="connsiteX594" fmla="*/ 43437 w 118465"/>
                <a:gd name="connsiteY594" fmla="*/ 32719 h 124107"/>
                <a:gd name="connsiteX595" fmla="*/ 42309 w 118465"/>
                <a:gd name="connsiteY595" fmla="*/ 33001 h 124107"/>
                <a:gd name="connsiteX596" fmla="*/ 41745 w 118465"/>
                <a:gd name="connsiteY596" fmla="*/ 33847 h 124107"/>
                <a:gd name="connsiteX597" fmla="*/ 40335 w 118465"/>
                <a:gd name="connsiteY597" fmla="*/ 35258 h 124107"/>
                <a:gd name="connsiteX598" fmla="*/ 39771 w 118465"/>
                <a:gd name="connsiteY598" fmla="*/ 36950 h 124107"/>
                <a:gd name="connsiteX599" fmla="*/ 39206 w 118465"/>
                <a:gd name="connsiteY599" fmla="*/ 38078 h 124107"/>
                <a:gd name="connsiteX600" fmla="*/ 38078 w 118465"/>
                <a:gd name="connsiteY600" fmla="*/ 39207 h 124107"/>
                <a:gd name="connsiteX601" fmla="*/ 37232 w 118465"/>
                <a:gd name="connsiteY601" fmla="*/ 40335 h 124107"/>
                <a:gd name="connsiteX602" fmla="*/ 37232 w 118465"/>
                <a:gd name="connsiteY602" fmla="*/ 40617 h 124107"/>
                <a:gd name="connsiteX603" fmla="*/ 36950 w 118465"/>
                <a:gd name="connsiteY603" fmla="*/ 41463 h 124107"/>
                <a:gd name="connsiteX604" fmla="*/ 36950 w 118465"/>
                <a:gd name="connsiteY604" fmla="*/ 41745 h 124107"/>
                <a:gd name="connsiteX605" fmla="*/ 35540 w 118465"/>
                <a:gd name="connsiteY605" fmla="*/ 43155 h 124107"/>
                <a:gd name="connsiteX606" fmla="*/ 34975 w 118465"/>
                <a:gd name="connsiteY606" fmla="*/ 43437 h 124107"/>
                <a:gd name="connsiteX607" fmla="*/ 34411 w 118465"/>
                <a:gd name="connsiteY607" fmla="*/ 44848 h 124107"/>
                <a:gd name="connsiteX608" fmla="*/ 34130 w 118465"/>
                <a:gd name="connsiteY608" fmla="*/ 45976 h 124107"/>
                <a:gd name="connsiteX609" fmla="*/ 34130 w 118465"/>
                <a:gd name="connsiteY609" fmla="*/ 47386 h 124107"/>
                <a:gd name="connsiteX610" fmla="*/ 33565 w 118465"/>
                <a:gd name="connsiteY610" fmla="*/ 48233 h 124107"/>
                <a:gd name="connsiteX611" fmla="*/ 31873 w 118465"/>
                <a:gd name="connsiteY611" fmla="*/ 50207 h 124107"/>
                <a:gd name="connsiteX612" fmla="*/ 31591 w 118465"/>
                <a:gd name="connsiteY612" fmla="*/ 50771 h 124107"/>
                <a:gd name="connsiteX613" fmla="*/ 31309 w 118465"/>
                <a:gd name="connsiteY613" fmla="*/ 51617 h 124107"/>
                <a:gd name="connsiteX614" fmla="*/ 31591 w 118465"/>
                <a:gd name="connsiteY614" fmla="*/ 51899 h 124107"/>
                <a:gd name="connsiteX615" fmla="*/ 31873 w 118465"/>
                <a:gd name="connsiteY615" fmla="*/ 52463 h 124107"/>
                <a:gd name="connsiteX616" fmla="*/ 31591 w 118465"/>
                <a:gd name="connsiteY616" fmla="*/ 53028 h 124107"/>
                <a:gd name="connsiteX617" fmla="*/ 31027 w 118465"/>
                <a:gd name="connsiteY617" fmla="*/ 53028 h 124107"/>
                <a:gd name="connsiteX618" fmla="*/ 30463 w 118465"/>
                <a:gd name="connsiteY618" fmla="*/ 54438 h 124107"/>
                <a:gd name="connsiteX619" fmla="*/ 30463 w 118465"/>
                <a:gd name="connsiteY619" fmla="*/ 54720 h 124107"/>
                <a:gd name="connsiteX620" fmla="*/ 29616 w 118465"/>
                <a:gd name="connsiteY620" fmla="*/ 55566 h 124107"/>
                <a:gd name="connsiteX621" fmla="*/ 29616 w 118465"/>
                <a:gd name="connsiteY621" fmla="*/ 56412 h 124107"/>
                <a:gd name="connsiteX622" fmla="*/ 29899 w 118465"/>
                <a:gd name="connsiteY622" fmla="*/ 56976 h 124107"/>
                <a:gd name="connsiteX623" fmla="*/ 29616 w 118465"/>
                <a:gd name="connsiteY623" fmla="*/ 57258 h 124107"/>
                <a:gd name="connsiteX624" fmla="*/ 29616 w 118465"/>
                <a:gd name="connsiteY624" fmla="*/ 57823 h 124107"/>
                <a:gd name="connsiteX625" fmla="*/ 29052 w 118465"/>
                <a:gd name="connsiteY625" fmla="*/ 58951 h 124107"/>
                <a:gd name="connsiteX626" fmla="*/ 29052 w 118465"/>
                <a:gd name="connsiteY626" fmla="*/ 59233 h 124107"/>
                <a:gd name="connsiteX627" fmla="*/ 28770 w 118465"/>
                <a:gd name="connsiteY627" fmla="*/ 59515 h 124107"/>
                <a:gd name="connsiteX628" fmla="*/ 27642 w 118465"/>
                <a:gd name="connsiteY628" fmla="*/ 60643 h 124107"/>
                <a:gd name="connsiteX629" fmla="*/ 27078 w 118465"/>
                <a:gd name="connsiteY629" fmla="*/ 62336 h 124107"/>
                <a:gd name="connsiteX630" fmla="*/ 27642 w 118465"/>
                <a:gd name="connsiteY630" fmla="*/ 63182 h 124107"/>
                <a:gd name="connsiteX631" fmla="*/ 27924 w 118465"/>
                <a:gd name="connsiteY631" fmla="*/ 63746 h 124107"/>
                <a:gd name="connsiteX632" fmla="*/ 27078 w 118465"/>
                <a:gd name="connsiteY632" fmla="*/ 64874 h 124107"/>
                <a:gd name="connsiteX633" fmla="*/ 25668 w 118465"/>
                <a:gd name="connsiteY633" fmla="*/ 66002 h 124107"/>
                <a:gd name="connsiteX634" fmla="*/ 25950 w 118465"/>
                <a:gd name="connsiteY634" fmla="*/ 66849 h 124107"/>
                <a:gd name="connsiteX635" fmla="*/ 26232 w 118465"/>
                <a:gd name="connsiteY635" fmla="*/ 67131 h 124107"/>
                <a:gd name="connsiteX636" fmla="*/ 25668 w 118465"/>
                <a:gd name="connsiteY636" fmla="*/ 68541 h 124107"/>
                <a:gd name="connsiteX637" fmla="*/ 25103 w 118465"/>
                <a:gd name="connsiteY637" fmla="*/ 69105 h 124107"/>
                <a:gd name="connsiteX638" fmla="*/ 24539 w 118465"/>
                <a:gd name="connsiteY638" fmla="*/ 71079 h 124107"/>
                <a:gd name="connsiteX639" fmla="*/ 24258 w 118465"/>
                <a:gd name="connsiteY639" fmla="*/ 71362 h 124107"/>
                <a:gd name="connsiteX640" fmla="*/ 23411 w 118465"/>
                <a:gd name="connsiteY640" fmla="*/ 72490 h 124107"/>
                <a:gd name="connsiteX641" fmla="*/ 23975 w 118465"/>
                <a:gd name="connsiteY641" fmla="*/ 73900 h 124107"/>
                <a:gd name="connsiteX642" fmla="*/ 23693 w 118465"/>
                <a:gd name="connsiteY642" fmla="*/ 74746 h 124107"/>
                <a:gd name="connsiteX643" fmla="*/ 22847 w 118465"/>
                <a:gd name="connsiteY643" fmla="*/ 75875 h 124107"/>
                <a:gd name="connsiteX644" fmla="*/ 22847 w 118465"/>
                <a:gd name="connsiteY644" fmla="*/ 77003 h 124107"/>
                <a:gd name="connsiteX645" fmla="*/ 22001 w 118465"/>
                <a:gd name="connsiteY645" fmla="*/ 78695 h 124107"/>
                <a:gd name="connsiteX646" fmla="*/ 22283 w 118465"/>
                <a:gd name="connsiteY646" fmla="*/ 80105 h 124107"/>
                <a:gd name="connsiteX647" fmla="*/ 22283 w 118465"/>
                <a:gd name="connsiteY647" fmla="*/ 81234 h 124107"/>
                <a:gd name="connsiteX648" fmla="*/ 22001 w 118465"/>
                <a:gd name="connsiteY648" fmla="*/ 81516 h 124107"/>
                <a:gd name="connsiteX649" fmla="*/ 21719 w 118465"/>
                <a:gd name="connsiteY649" fmla="*/ 82644 h 124107"/>
                <a:gd name="connsiteX650" fmla="*/ 21719 w 118465"/>
                <a:gd name="connsiteY650" fmla="*/ 82926 h 124107"/>
                <a:gd name="connsiteX651" fmla="*/ 21437 w 118465"/>
                <a:gd name="connsiteY651" fmla="*/ 83208 h 124107"/>
                <a:gd name="connsiteX652" fmla="*/ 21155 w 118465"/>
                <a:gd name="connsiteY652" fmla="*/ 83490 h 124107"/>
                <a:gd name="connsiteX653" fmla="*/ 21437 w 118465"/>
                <a:gd name="connsiteY653" fmla="*/ 84618 h 124107"/>
                <a:gd name="connsiteX654" fmla="*/ 21437 w 118465"/>
                <a:gd name="connsiteY654" fmla="*/ 84900 h 124107"/>
                <a:gd name="connsiteX655" fmla="*/ 20872 w 118465"/>
                <a:gd name="connsiteY655" fmla="*/ 85747 h 124107"/>
                <a:gd name="connsiteX656" fmla="*/ 21155 w 118465"/>
                <a:gd name="connsiteY656" fmla="*/ 86593 h 124107"/>
                <a:gd name="connsiteX657" fmla="*/ 20872 w 118465"/>
                <a:gd name="connsiteY657" fmla="*/ 87721 h 124107"/>
                <a:gd name="connsiteX658" fmla="*/ 20027 w 118465"/>
                <a:gd name="connsiteY658" fmla="*/ 89131 h 124107"/>
                <a:gd name="connsiteX659" fmla="*/ 20308 w 118465"/>
                <a:gd name="connsiteY659" fmla="*/ 89978 h 124107"/>
                <a:gd name="connsiteX660" fmla="*/ 20308 w 118465"/>
                <a:gd name="connsiteY660" fmla="*/ 90824 h 124107"/>
                <a:gd name="connsiteX661" fmla="*/ 20027 w 118465"/>
                <a:gd name="connsiteY661" fmla="*/ 91952 h 124107"/>
                <a:gd name="connsiteX662" fmla="*/ 20027 w 118465"/>
                <a:gd name="connsiteY662" fmla="*/ 93080 h 124107"/>
                <a:gd name="connsiteX663" fmla="*/ 19744 w 118465"/>
                <a:gd name="connsiteY663" fmla="*/ 93644 h 124107"/>
                <a:gd name="connsiteX664" fmla="*/ 20308 w 118465"/>
                <a:gd name="connsiteY664" fmla="*/ 95337 h 124107"/>
                <a:gd name="connsiteX665" fmla="*/ 20308 w 118465"/>
                <a:gd name="connsiteY665" fmla="*/ 95619 h 124107"/>
                <a:gd name="connsiteX666" fmla="*/ 19744 w 118465"/>
                <a:gd name="connsiteY666" fmla="*/ 96465 h 124107"/>
                <a:gd name="connsiteX667" fmla="*/ 19744 w 118465"/>
                <a:gd name="connsiteY667" fmla="*/ 97311 h 124107"/>
                <a:gd name="connsiteX668" fmla="*/ 19462 w 118465"/>
                <a:gd name="connsiteY668" fmla="*/ 99004 h 124107"/>
                <a:gd name="connsiteX669" fmla="*/ 20308 w 118465"/>
                <a:gd name="connsiteY669" fmla="*/ 100132 h 124107"/>
                <a:gd name="connsiteX670" fmla="*/ 19744 w 118465"/>
                <a:gd name="connsiteY670" fmla="*/ 100978 h 124107"/>
                <a:gd name="connsiteX671" fmla="*/ 19462 w 118465"/>
                <a:gd name="connsiteY671" fmla="*/ 102388 h 124107"/>
                <a:gd name="connsiteX672" fmla="*/ 20027 w 118465"/>
                <a:gd name="connsiteY672" fmla="*/ 104081 h 124107"/>
                <a:gd name="connsiteX673" fmla="*/ 19744 w 118465"/>
                <a:gd name="connsiteY673" fmla="*/ 104645 h 124107"/>
                <a:gd name="connsiteX674" fmla="*/ 19180 w 118465"/>
                <a:gd name="connsiteY674" fmla="*/ 104645 h 124107"/>
                <a:gd name="connsiteX675" fmla="*/ 18898 w 118465"/>
                <a:gd name="connsiteY675" fmla="*/ 104927 h 124107"/>
                <a:gd name="connsiteX676" fmla="*/ 19180 w 118465"/>
                <a:gd name="connsiteY676" fmla="*/ 106055 h 124107"/>
                <a:gd name="connsiteX677" fmla="*/ 21155 w 118465"/>
                <a:gd name="connsiteY677" fmla="*/ 108876 h 124107"/>
                <a:gd name="connsiteX678" fmla="*/ 21155 w 118465"/>
                <a:gd name="connsiteY678" fmla="*/ 109158 h 124107"/>
                <a:gd name="connsiteX679" fmla="*/ 21437 w 118465"/>
                <a:gd name="connsiteY679" fmla="*/ 110850 h 124107"/>
                <a:gd name="connsiteX680" fmla="*/ 22283 w 118465"/>
                <a:gd name="connsiteY680" fmla="*/ 112260 h 124107"/>
                <a:gd name="connsiteX681" fmla="*/ 23411 w 118465"/>
                <a:gd name="connsiteY681" fmla="*/ 114517 h 124107"/>
                <a:gd name="connsiteX682" fmla="*/ 25103 w 118465"/>
                <a:gd name="connsiteY682" fmla="*/ 114799 h 124107"/>
                <a:gd name="connsiteX683" fmla="*/ 26232 w 118465"/>
                <a:gd name="connsiteY683" fmla="*/ 114799 h 124107"/>
                <a:gd name="connsiteX684" fmla="*/ 28206 w 118465"/>
                <a:gd name="connsiteY684" fmla="*/ 114235 h 124107"/>
                <a:gd name="connsiteX685" fmla="*/ 29052 w 118465"/>
                <a:gd name="connsiteY685" fmla="*/ 113671 h 124107"/>
                <a:gd name="connsiteX686" fmla="*/ 30463 w 118465"/>
                <a:gd name="connsiteY686" fmla="*/ 112825 h 124107"/>
                <a:gd name="connsiteX687" fmla="*/ 31591 w 118465"/>
                <a:gd name="connsiteY687" fmla="*/ 112260 h 124107"/>
                <a:gd name="connsiteX688" fmla="*/ 33001 w 118465"/>
                <a:gd name="connsiteY688" fmla="*/ 111414 h 124107"/>
                <a:gd name="connsiteX689" fmla="*/ 34694 w 118465"/>
                <a:gd name="connsiteY689" fmla="*/ 110004 h 124107"/>
                <a:gd name="connsiteX690" fmla="*/ 35822 w 118465"/>
                <a:gd name="connsiteY690" fmla="*/ 108876 h 124107"/>
                <a:gd name="connsiteX691" fmla="*/ 37514 w 118465"/>
                <a:gd name="connsiteY691" fmla="*/ 107747 h 124107"/>
                <a:gd name="connsiteX692" fmla="*/ 38642 w 118465"/>
                <a:gd name="connsiteY692" fmla="*/ 106337 h 124107"/>
                <a:gd name="connsiteX693" fmla="*/ 40053 w 118465"/>
                <a:gd name="connsiteY693" fmla="*/ 104645 h 124107"/>
                <a:gd name="connsiteX694" fmla="*/ 41745 w 118465"/>
                <a:gd name="connsiteY694" fmla="*/ 102388 h 124107"/>
                <a:gd name="connsiteX695" fmla="*/ 41745 w 118465"/>
                <a:gd name="connsiteY695" fmla="*/ 101824 h 124107"/>
                <a:gd name="connsiteX696" fmla="*/ 42309 w 118465"/>
                <a:gd name="connsiteY696" fmla="*/ 100978 h 124107"/>
                <a:gd name="connsiteX697" fmla="*/ 42592 w 118465"/>
                <a:gd name="connsiteY697" fmla="*/ 100132 h 124107"/>
                <a:gd name="connsiteX698" fmla="*/ 42592 w 118465"/>
                <a:gd name="connsiteY698" fmla="*/ 99850 h 124107"/>
                <a:gd name="connsiteX699" fmla="*/ 43437 w 118465"/>
                <a:gd name="connsiteY699" fmla="*/ 99568 h 124107"/>
                <a:gd name="connsiteX700" fmla="*/ 43437 w 118465"/>
                <a:gd name="connsiteY700" fmla="*/ 99286 h 124107"/>
                <a:gd name="connsiteX701" fmla="*/ 44566 w 118465"/>
                <a:gd name="connsiteY701" fmla="*/ 97593 h 124107"/>
                <a:gd name="connsiteX702" fmla="*/ 44848 w 118465"/>
                <a:gd name="connsiteY702" fmla="*/ 96465 h 124107"/>
                <a:gd name="connsiteX703" fmla="*/ 45412 w 118465"/>
                <a:gd name="connsiteY703" fmla="*/ 95337 h 124107"/>
                <a:gd name="connsiteX704" fmla="*/ 46540 w 118465"/>
                <a:gd name="connsiteY704" fmla="*/ 93644 h 124107"/>
                <a:gd name="connsiteX705" fmla="*/ 46258 w 118465"/>
                <a:gd name="connsiteY705" fmla="*/ 93080 h 124107"/>
                <a:gd name="connsiteX706" fmla="*/ 46540 w 118465"/>
                <a:gd name="connsiteY706" fmla="*/ 92234 h 124107"/>
                <a:gd name="connsiteX707" fmla="*/ 46540 w 118465"/>
                <a:gd name="connsiteY707" fmla="*/ 91952 h 124107"/>
                <a:gd name="connsiteX708" fmla="*/ 47668 w 118465"/>
                <a:gd name="connsiteY708" fmla="*/ 91388 h 124107"/>
                <a:gd name="connsiteX709" fmla="*/ 47950 w 118465"/>
                <a:gd name="connsiteY709" fmla="*/ 90824 h 124107"/>
                <a:gd name="connsiteX710" fmla="*/ 47950 w 118465"/>
                <a:gd name="connsiteY710" fmla="*/ 89978 h 124107"/>
                <a:gd name="connsiteX711" fmla="*/ 48233 w 118465"/>
                <a:gd name="connsiteY711" fmla="*/ 89131 h 124107"/>
                <a:gd name="connsiteX712" fmla="*/ 48233 w 118465"/>
                <a:gd name="connsiteY712" fmla="*/ 88849 h 124107"/>
                <a:gd name="connsiteX713" fmla="*/ 48797 w 118465"/>
                <a:gd name="connsiteY713" fmla="*/ 87721 h 124107"/>
                <a:gd name="connsiteX714" fmla="*/ 49078 w 118465"/>
                <a:gd name="connsiteY714" fmla="*/ 86875 h 124107"/>
                <a:gd name="connsiteX715" fmla="*/ 49361 w 118465"/>
                <a:gd name="connsiteY715" fmla="*/ 86311 h 124107"/>
                <a:gd name="connsiteX716" fmla="*/ 49361 w 118465"/>
                <a:gd name="connsiteY716" fmla="*/ 85747 h 124107"/>
                <a:gd name="connsiteX717" fmla="*/ 49925 w 118465"/>
                <a:gd name="connsiteY717" fmla="*/ 84336 h 124107"/>
                <a:gd name="connsiteX718" fmla="*/ 49643 w 118465"/>
                <a:gd name="connsiteY718" fmla="*/ 83490 h 124107"/>
                <a:gd name="connsiteX719" fmla="*/ 50207 w 118465"/>
                <a:gd name="connsiteY719" fmla="*/ 83208 h 124107"/>
                <a:gd name="connsiteX720" fmla="*/ 50489 w 118465"/>
                <a:gd name="connsiteY720" fmla="*/ 82644 h 124107"/>
                <a:gd name="connsiteX721" fmla="*/ 50771 w 118465"/>
                <a:gd name="connsiteY721" fmla="*/ 81798 h 124107"/>
                <a:gd name="connsiteX722" fmla="*/ 51335 w 118465"/>
                <a:gd name="connsiteY722" fmla="*/ 81234 h 124107"/>
                <a:gd name="connsiteX723" fmla="*/ 51335 w 118465"/>
                <a:gd name="connsiteY723" fmla="*/ 79823 h 124107"/>
                <a:gd name="connsiteX724" fmla="*/ 51053 w 118465"/>
                <a:gd name="connsiteY724" fmla="*/ 78695 h 124107"/>
                <a:gd name="connsiteX725" fmla="*/ 51053 w 118465"/>
                <a:gd name="connsiteY725" fmla="*/ 78413 h 124107"/>
                <a:gd name="connsiteX726" fmla="*/ 51335 w 118465"/>
                <a:gd name="connsiteY726" fmla="*/ 78131 h 124107"/>
                <a:gd name="connsiteX727" fmla="*/ 51617 w 118465"/>
                <a:gd name="connsiteY727" fmla="*/ 77567 h 124107"/>
                <a:gd name="connsiteX728" fmla="*/ 51899 w 118465"/>
                <a:gd name="connsiteY728" fmla="*/ 77003 h 124107"/>
                <a:gd name="connsiteX729" fmla="*/ 51617 w 118465"/>
                <a:gd name="connsiteY729" fmla="*/ 75875 h 124107"/>
                <a:gd name="connsiteX730" fmla="*/ 51899 w 118465"/>
                <a:gd name="connsiteY730" fmla="*/ 75028 h 124107"/>
                <a:gd name="connsiteX731" fmla="*/ 52464 w 118465"/>
                <a:gd name="connsiteY731" fmla="*/ 74464 h 124107"/>
                <a:gd name="connsiteX732" fmla="*/ 52464 w 118465"/>
                <a:gd name="connsiteY732" fmla="*/ 74182 h 124107"/>
                <a:gd name="connsiteX733" fmla="*/ 52745 w 118465"/>
                <a:gd name="connsiteY733" fmla="*/ 73336 h 124107"/>
                <a:gd name="connsiteX734" fmla="*/ 52745 w 118465"/>
                <a:gd name="connsiteY734" fmla="*/ 73054 h 124107"/>
                <a:gd name="connsiteX735" fmla="*/ 53309 w 118465"/>
                <a:gd name="connsiteY735" fmla="*/ 71079 h 124107"/>
                <a:gd name="connsiteX736" fmla="*/ 53028 w 118465"/>
                <a:gd name="connsiteY736" fmla="*/ 69951 h 124107"/>
                <a:gd name="connsiteX737" fmla="*/ 53309 w 118465"/>
                <a:gd name="connsiteY737" fmla="*/ 69105 h 124107"/>
                <a:gd name="connsiteX738" fmla="*/ 53592 w 118465"/>
                <a:gd name="connsiteY738" fmla="*/ 68259 h 124107"/>
                <a:gd name="connsiteX739" fmla="*/ 53592 w 118465"/>
                <a:gd name="connsiteY739" fmla="*/ 67977 h 124107"/>
                <a:gd name="connsiteX740" fmla="*/ 53309 w 118465"/>
                <a:gd name="connsiteY740" fmla="*/ 66849 h 124107"/>
                <a:gd name="connsiteX741" fmla="*/ 53874 w 118465"/>
                <a:gd name="connsiteY741" fmla="*/ 66002 h 124107"/>
                <a:gd name="connsiteX742" fmla="*/ 53874 w 118465"/>
                <a:gd name="connsiteY742" fmla="*/ 65156 h 124107"/>
                <a:gd name="connsiteX743" fmla="*/ 54156 w 118465"/>
                <a:gd name="connsiteY743" fmla="*/ 64874 h 124107"/>
                <a:gd name="connsiteX744" fmla="*/ 54438 w 118465"/>
                <a:gd name="connsiteY744" fmla="*/ 64028 h 124107"/>
                <a:gd name="connsiteX745" fmla="*/ 54438 w 118465"/>
                <a:gd name="connsiteY745" fmla="*/ 62054 h 124107"/>
                <a:gd name="connsiteX746" fmla="*/ 55002 w 118465"/>
                <a:gd name="connsiteY746" fmla="*/ 61771 h 124107"/>
                <a:gd name="connsiteX747" fmla="*/ 55848 w 118465"/>
                <a:gd name="connsiteY747" fmla="*/ 61207 h 124107"/>
                <a:gd name="connsiteX748" fmla="*/ 55566 w 118465"/>
                <a:gd name="connsiteY748" fmla="*/ 60079 h 124107"/>
                <a:gd name="connsiteX749" fmla="*/ 55848 w 118465"/>
                <a:gd name="connsiteY749" fmla="*/ 59233 h 124107"/>
                <a:gd name="connsiteX750" fmla="*/ 56695 w 118465"/>
                <a:gd name="connsiteY750" fmla="*/ 58105 h 124107"/>
                <a:gd name="connsiteX751" fmla="*/ 56976 w 118465"/>
                <a:gd name="connsiteY751" fmla="*/ 57258 h 124107"/>
                <a:gd name="connsiteX752" fmla="*/ 56976 w 118465"/>
                <a:gd name="connsiteY752" fmla="*/ 56412 h 124107"/>
                <a:gd name="connsiteX753" fmla="*/ 57540 w 118465"/>
                <a:gd name="connsiteY753" fmla="*/ 54720 h 124107"/>
                <a:gd name="connsiteX754" fmla="*/ 56976 w 118465"/>
                <a:gd name="connsiteY754" fmla="*/ 53592 h 124107"/>
                <a:gd name="connsiteX755" fmla="*/ 57823 w 118465"/>
                <a:gd name="connsiteY755" fmla="*/ 52463 h 124107"/>
                <a:gd name="connsiteX756" fmla="*/ 57259 w 118465"/>
                <a:gd name="connsiteY756" fmla="*/ 51617 h 124107"/>
                <a:gd name="connsiteX757" fmla="*/ 57540 w 118465"/>
                <a:gd name="connsiteY757" fmla="*/ 50489 h 124107"/>
                <a:gd name="connsiteX758" fmla="*/ 57540 w 118465"/>
                <a:gd name="connsiteY758" fmla="*/ 50207 h 124107"/>
                <a:gd name="connsiteX759" fmla="*/ 58387 w 118465"/>
                <a:gd name="connsiteY759" fmla="*/ 49361 h 124107"/>
                <a:gd name="connsiteX760" fmla="*/ 58387 w 118465"/>
                <a:gd name="connsiteY760" fmla="*/ 47950 h 124107"/>
                <a:gd name="connsiteX761" fmla="*/ 58105 w 118465"/>
                <a:gd name="connsiteY761" fmla="*/ 47386 h 124107"/>
                <a:gd name="connsiteX762" fmla="*/ 58387 w 118465"/>
                <a:gd name="connsiteY762" fmla="*/ 46258 h 124107"/>
                <a:gd name="connsiteX763" fmla="*/ 58387 w 118465"/>
                <a:gd name="connsiteY763" fmla="*/ 45694 h 124107"/>
                <a:gd name="connsiteX764" fmla="*/ 19180 w 118465"/>
                <a:gd name="connsiteY764" fmla="*/ 85747 h 124107"/>
                <a:gd name="connsiteX765" fmla="*/ 19462 w 118465"/>
                <a:gd name="connsiteY765" fmla="*/ 86311 h 124107"/>
                <a:gd name="connsiteX766" fmla="*/ 20591 w 118465"/>
                <a:gd name="connsiteY766" fmla="*/ 85183 h 124107"/>
                <a:gd name="connsiteX767" fmla="*/ 20308 w 118465"/>
                <a:gd name="connsiteY767" fmla="*/ 84900 h 124107"/>
                <a:gd name="connsiteX768" fmla="*/ 20027 w 118465"/>
                <a:gd name="connsiteY768" fmla="*/ 84618 h 124107"/>
                <a:gd name="connsiteX769" fmla="*/ 19462 w 118465"/>
                <a:gd name="connsiteY769" fmla="*/ 85183 h 124107"/>
                <a:gd name="connsiteX770" fmla="*/ 19180 w 118465"/>
                <a:gd name="connsiteY770" fmla="*/ 85747 h 124107"/>
                <a:gd name="connsiteX771" fmla="*/ 37232 w 118465"/>
                <a:gd name="connsiteY771" fmla="*/ 124953 h 124107"/>
                <a:gd name="connsiteX772" fmla="*/ 36668 w 118465"/>
                <a:gd name="connsiteY772" fmla="*/ 124671 h 124107"/>
                <a:gd name="connsiteX773" fmla="*/ 35822 w 118465"/>
                <a:gd name="connsiteY773" fmla="*/ 125235 h 124107"/>
                <a:gd name="connsiteX774" fmla="*/ 35822 w 118465"/>
                <a:gd name="connsiteY774" fmla="*/ 125517 h 124107"/>
                <a:gd name="connsiteX775" fmla="*/ 37232 w 118465"/>
                <a:gd name="connsiteY775" fmla="*/ 124953 h 124107"/>
                <a:gd name="connsiteX776" fmla="*/ 54156 w 118465"/>
                <a:gd name="connsiteY776" fmla="*/ 113953 h 124107"/>
                <a:gd name="connsiteX777" fmla="*/ 54720 w 118465"/>
                <a:gd name="connsiteY777" fmla="*/ 114235 h 124107"/>
                <a:gd name="connsiteX778" fmla="*/ 54438 w 118465"/>
                <a:gd name="connsiteY778" fmla="*/ 114517 h 124107"/>
                <a:gd name="connsiteX779" fmla="*/ 54156 w 118465"/>
                <a:gd name="connsiteY779" fmla="*/ 114517 h 124107"/>
                <a:gd name="connsiteX780" fmla="*/ 52745 w 118465"/>
                <a:gd name="connsiteY780" fmla="*/ 116491 h 124107"/>
                <a:gd name="connsiteX781" fmla="*/ 52464 w 118465"/>
                <a:gd name="connsiteY781" fmla="*/ 116491 h 124107"/>
                <a:gd name="connsiteX782" fmla="*/ 51617 w 118465"/>
                <a:gd name="connsiteY782" fmla="*/ 115645 h 124107"/>
                <a:gd name="connsiteX783" fmla="*/ 51617 w 118465"/>
                <a:gd name="connsiteY783" fmla="*/ 115363 h 124107"/>
                <a:gd name="connsiteX784" fmla="*/ 53874 w 118465"/>
                <a:gd name="connsiteY784" fmla="*/ 113671 h 124107"/>
                <a:gd name="connsiteX785" fmla="*/ 54156 w 118465"/>
                <a:gd name="connsiteY785" fmla="*/ 113953 h 124107"/>
                <a:gd name="connsiteX786" fmla="*/ 58105 w 118465"/>
                <a:gd name="connsiteY786" fmla="*/ 33565 h 124107"/>
                <a:gd name="connsiteX787" fmla="*/ 57540 w 118465"/>
                <a:gd name="connsiteY787" fmla="*/ 33283 h 124107"/>
                <a:gd name="connsiteX788" fmla="*/ 56976 w 118465"/>
                <a:gd name="connsiteY788" fmla="*/ 33847 h 124107"/>
                <a:gd name="connsiteX789" fmla="*/ 56976 w 118465"/>
                <a:gd name="connsiteY789" fmla="*/ 34976 h 124107"/>
                <a:gd name="connsiteX790" fmla="*/ 58105 w 118465"/>
                <a:gd name="connsiteY790" fmla="*/ 34411 h 124107"/>
                <a:gd name="connsiteX791" fmla="*/ 58105 w 118465"/>
                <a:gd name="connsiteY791" fmla="*/ 33565 h 124107"/>
                <a:gd name="connsiteX792" fmla="*/ 61771 w 118465"/>
                <a:gd name="connsiteY792" fmla="*/ 104927 h 124107"/>
                <a:gd name="connsiteX793" fmla="*/ 62336 w 118465"/>
                <a:gd name="connsiteY793" fmla="*/ 105491 h 124107"/>
                <a:gd name="connsiteX794" fmla="*/ 62618 w 118465"/>
                <a:gd name="connsiteY794" fmla="*/ 105773 h 124107"/>
                <a:gd name="connsiteX795" fmla="*/ 60643 w 118465"/>
                <a:gd name="connsiteY795" fmla="*/ 108030 h 124107"/>
                <a:gd name="connsiteX796" fmla="*/ 60079 w 118465"/>
                <a:gd name="connsiteY796" fmla="*/ 108312 h 124107"/>
                <a:gd name="connsiteX797" fmla="*/ 60079 w 118465"/>
                <a:gd name="connsiteY797" fmla="*/ 108876 h 124107"/>
                <a:gd name="connsiteX798" fmla="*/ 59515 w 118465"/>
                <a:gd name="connsiteY798" fmla="*/ 110286 h 124107"/>
                <a:gd name="connsiteX799" fmla="*/ 58669 w 118465"/>
                <a:gd name="connsiteY799" fmla="*/ 110850 h 124107"/>
                <a:gd name="connsiteX800" fmla="*/ 58669 w 118465"/>
                <a:gd name="connsiteY800" fmla="*/ 111132 h 124107"/>
                <a:gd name="connsiteX801" fmla="*/ 57540 w 118465"/>
                <a:gd name="connsiteY801" fmla="*/ 110850 h 124107"/>
                <a:gd name="connsiteX802" fmla="*/ 57823 w 118465"/>
                <a:gd name="connsiteY802" fmla="*/ 110850 h 124107"/>
                <a:gd name="connsiteX803" fmla="*/ 58387 w 118465"/>
                <a:gd name="connsiteY803" fmla="*/ 109722 h 124107"/>
                <a:gd name="connsiteX804" fmla="*/ 58387 w 118465"/>
                <a:gd name="connsiteY804" fmla="*/ 108312 h 124107"/>
                <a:gd name="connsiteX805" fmla="*/ 59515 w 118465"/>
                <a:gd name="connsiteY805" fmla="*/ 106055 h 124107"/>
                <a:gd name="connsiteX806" fmla="*/ 60079 w 118465"/>
                <a:gd name="connsiteY806" fmla="*/ 105773 h 124107"/>
                <a:gd name="connsiteX807" fmla="*/ 60643 w 118465"/>
                <a:gd name="connsiteY807" fmla="*/ 106055 h 124107"/>
                <a:gd name="connsiteX808" fmla="*/ 61207 w 118465"/>
                <a:gd name="connsiteY808" fmla="*/ 105773 h 124107"/>
                <a:gd name="connsiteX809" fmla="*/ 60926 w 118465"/>
                <a:gd name="connsiteY809" fmla="*/ 105491 h 124107"/>
                <a:gd name="connsiteX810" fmla="*/ 61771 w 118465"/>
                <a:gd name="connsiteY810" fmla="*/ 104927 h 124107"/>
                <a:gd name="connsiteX811" fmla="*/ 59515 w 118465"/>
                <a:gd name="connsiteY811" fmla="*/ 49925 h 124107"/>
                <a:gd name="connsiteX812" fmla="*/ 59515 w 118465"/>
                <a:gd name="connsiteY812" fmla="*/ 50207 h 124107"/>
                <a:gd name="connsiteX813" fmla="*/ 60079 w 118465"/>
                <a:gd name="connsiteY813" fmla="*/ 49925 h 124107"/>
                <a:gd name="connsiteX814" fmla="*/ 59515 w 118465"/>
                <a:gd name="connsiteY814" fmla="*/ 49925 h 124107"/>
                <a:gd name="connsiteX815" fmla="*/ 60079 w 118465"/>
                <a:gd name="connsiteY815" fmla="*/ 43720 h 124107"/>
                <a:gd name="connsiteX816" fmla="*/ 60079 w 118465"/>
                <a:gd name="connsiteY816" fmla="*/ 44284 h 124107"/>
                <a:gd name="connsiteX817" fmla="*/ 60361 w 118465"/>
                <a:gd name="connsiteY817" fmla="*/ 44566 h 124107"/>
                <a:gd name="connsiteX818" fmla="*/ 60926 w 118465"/>
                <a:gd name="connsiteY818" fmla="*/ 44284 h 124107"/>
                <a:gd name="connsiteX819" fmla="*/ 60643 w 118465"/>
                <a:gd name="connsiteY819" fmla="*/ 43155 h 124107"/>
                <a:gd name="connsiteX820" fmla="*/ 60079 w 118465"/>
                <a:gd name="connsiteY820" fmla="*/ 43720 h 124107"/>
                <a:gd name="connsiteX821" fmla="*/ 60079 w 118465"/>
                <a:gd name="connsiteY821" fmla="*/ 47668 h 124107"/>
                <a:gd name="connsiteX822" fmla="*/ 60643 w 118465"/>
                <a:gd name="connsiteY822" fmla="*/ 47950 h 124107"/>
                <a:gd name="connsiteX823" fmla="*/ 60361 w 118465"/>
                <a:gd name="connsiteY823" fmla="*/ 47668 h 124107"/>
                <a:gd name="connsiteX824" fmla="*/ 60361 w 118465"/>
                <a:gd name="connsiteY824" fmla="*/ 47386 h 124107"/>
                <a:gd name="connsiteX825" fmla="*/ 60079 w 118465"/>
                <a:gd name="connsiteY825" fmla="*/ 47668 h 124107"/>
                <a:gd name="connsiteX826" fmla="*/ 61490 w 118465"/>
                <a:gd name="connsiteY826" fmla="*/ 29899 h 124107"/>
                <a:gd name="connsiteX827" fmla="*/ 60361 w 118465"/>
                <a:gd name="connsiteY827" fmla="*/ 28770 h 124107"/>
                <a:gd name="connsiteX828" fmla="*/ 60361 w 118465"/>
                <a:gd name="connsiteY828" fmla="*/ 29899 h 124107"/>
                <a:gd name="connsiteX829" fmla="*/ 60926 w 118465"/>
                <a:gd name="connsiteY829" fmla="*/ 30181 h 124107"/>
                <a:gd name="connsiteX830" fmla="*/ 61490 w 118465"/>
                <a:gd name="connsiteY830" fmla="*/ 29899 h 124107"/>
                <a:gd name="connsiteX831" fmla="*/ 62054 w 118465"/>
                <a:gd name="connsiteY831" fmla="*/ 96183 h 124107"/>
                <a:gd name="connsiteX832" fmla="*/ 61771 w 118465"/>
                <a:gd name="connsiteY832" fmla="*/ 95619 h 124107"/>
                <a:gd name="connsiteX833" fmla="*/ 61207 w 118465"/>
                <a:gd name="connsiteY833" fmla="*/ 95901 h 124107"/>
                <a:gd name="connsiteX834" fmla="*/ 60643 w 118465"/>
                <a:gd name="connsiteY834" fmla="*/ 97311 h 124107"/>
                <a:gd name="connsiteX835" fmla="*/ 60361 w 118465"/>
                <a:gd name="connsiteY835" fmla="*/ 97593 h 124107"/>
                <a:gd name="connsiteX836" fmla="*/ 60926 w 118465"/>
                <a:gd name="connsiteY836" fmla="*/ 98157 h 124107"/>
                <a:gd name="connsiteX837" fmla="*/ 61771 w 118465"/>
                <a:gd name="connsiteY837" fmla="*/ 97593 h 124107"/>
                <a:gd name="connsiteX838" fmla="*/ 62054 w 118465"/>
                <a:gd name="connsiteY838" fmla="*/ 96183 h 124107"/>
                <a:gd name="connsiteX839" fmla="*/ 64310 w 118465"/>
                <a:gd name="connsiteY839" fmla="*/ 94773 h 124107"/>
                <a:gd name="connsiteX840" fmla="*/ 64028 w 118465"/>
                <a:gd name="connsiteY840" fmla="*/ 94491 h 124107"/>
                <a:gd name="connsiteX841" fmla="*/ 64028 w 118465"/>
                <a:gd name="connsiteY841" fmla="*/ 93644 h 124107"/>
                <a:gd name="connsiteX842" fmla="*/ 64310 w 118465"/>
                <a:gd name="connsiteY842" fmla="*/ 92516 h 124107"/>
                <a:gd name="connsiteX843" fmla="*/ 64310 w 118465"/>
                <a:gd name="connsiteY843" fmla="*/ 91670 h 124107"/>
                <a:gd name="connsiteX844" fmla="*/ 63746 w 118465"/>
                <a:gd name="connsiteY844" fmla="*/ 91106 h 124107"/>
                <a:gd name="connsiteX845" fmla="*/ 63746 w 118465"/>
                <a:gd name="connsiteY845" fmla="*/ 90824 h 124107"/>
                <a:gd name="connsiteX846" fmla="*/ 63464 w 118465"/>
                <a:gd name="connsiteY846" fmla="*/ 91106 h 124107"/>
                <a:gd name="connsiteX847" fmla="*/ 63182 w 118465"/>
                <a:gd name="connsiteY847" fmla="*/ 91670 h 124107"/>
                <a:gd name="connsiteX848" fmla="*/ 62618 w 118465"/>
                <a:gd name="connsiteY848" fmla="*/ 93080 h 124107"/>
                <a:gd name="connsiteX849" fmla="*/ 62336 w 118465"/>
                <a:gd name="connsiteY849" fmla="*/ 93644 h 124107"/>
                <a:gd name="connsiteX850" fmla="*/ 62900 w 118465"/>
                <a:gd name="connsiteY850" fmla="*/ 94491 h 124107"/>
                <a:gd name="connsiteX851" fmla="*/ 64310 w 118465"/>
                <a:gd name="connsiteY851" fmla="*/ 95337 h 124107"/>
                <a:gd name="connsiteX852" fmla="*/ 64874 w 118465"/>
                <a:gd name="connsiteY852" fmla="*/ 95619 h 124107"/>
                <a:gd name="connsiteX853" fmla="*/ 65438 w 118465"/>
                <a:gd name="connsiteY853" fmla="*/ 95619 h 124107"/>
                <a:gd name="connsiteX854" fmla="*/ 64310 w 118465"/>
                <a:gd name="connsiteY854" fmla="*/ 94773 h 124107"/>
                <a:gd name="connsiteX855" fmla="*/ 65438 w 118465"/>
                <a:gd name="connsiteY855" fmla="*/ 35822 h 124107"/>
                <a:gd name="connsiteX856" fmla="*/ 65156 w 118465"/>
                <a:gd name="connsiteY856" fmla="*/ 36386 h 124107"/>
                <a:gd name="connsiteX857" fmla="*/ 64592 w 118465"/>
                <a:gd name="connsiteY857" fmla="*/ 36668 h 124107"/>
                <a:gd name="connsiteX858" fmla="*/ 64310 w 118465"/>
                <a:gd name="connsiteY858" fmla="*/ 36386 h 124107"/>
                <a:gd name="connsiteX859" fmla="*/ 64874 w 118465"/>
                <a:gd name="connsiteY859" fmla="*/ 35822 h 124107"/>
                <a:gd name="connsiteX860" fmla="*/ 64592 w 118465"/>
                <a:gd name="connsiteY860" fmla="*/ 35258 h 124107"/>
                <a:gd name="connsiteX861" fmla="*/ 64874 w 118465"/>
                <a:gd name="connsiteY861" fmla="*/ 34976 h 124107"/>
                <a:gd name="connsiteX862" fmla="*/ 64874 w 118465"/>
                <a:gd name="connsiteY862" fmla="*/ 35258 h 124107"/>
                <a:gd name="connsiteX863" fmla="*/ 65438 w 118465"/>
                <a:gd name="connsiteY863" fmla="*/ 35822 h 124107"/>
                <a:gd name="connsiteX864" fmla="*/ 67695 w 118465"/>
                <a:gd name="connsiteY864" fmla="*/ 87157 h 124107"/>
                <a:gd name="connsiteX865" fmla="*/ 67695 w 118465"/>
                <a:gd name="connsiteY865" fmla="*/ 88003 h 124107"/>
                <a:gd name="connsiteX866" fmla="*/ 66848 w 118465"/>
                <a:gd name="connsiteY866" fmla="*/ 88003 h 124107"/>
                <a:gd name="connsiteX867" fmla="*/ 65720 w 118465"/>
                <a:gd name="connsiteY867" fmla="*/ 86875 h 124107"/>
                <a:gd name="connsiteX868" fmla="*/ 66567 w 118465"/>
                <a:gd name="connsiteY868" fmla="*/ 85183 h 124107"/>
                <a:gd name="connsiteX869" fmla="*/ 66567 w 118465"/>
                <a:gd name="connsiteY869" fmla="*/ 85465 h 124107"/>
                <a:gd name="connsiteX870" fmla="*/ 66848 w 118465"/>
                <a:gd name="connsiteY870" fmla="*/ 85747 h 124107"/>
                <a:gd name="connsiteX871" fmla="*/ 67695 w 118465"/>
                <a:gd name="connsiteY871" fmla="*/ 87157 h 124107"/>
                <a:gd name="connsiteX872" fmla="*/ 66002 w 118465"/>
                <a:gd name="connsiteY872" fmla="*/ 93080 h 124107"/>
                <a:gd name="connsiteX873" fmla="*/ 66284 w 118465"/>
                <a:gd name="connsiteY873" fmla="*/ 93362 h 124107"/>
                <a:gd name="connsiteX874" fmla="*/ 66567 w 118465"/>
                <a:gd name="connsiteY874" fmla="*/ 93362 h 124107"/>
                <a:gd name="connsiteX875" fmla="*/ 66848 w 118465"/>
                <a:gd name="connsiteY875" fmla="*/ 93080 h 124107"/>
                <a:gd name="connsiteX876" fmla="*/ 66284 w 118465"/>
                <a:gd name="connsiteY876" fmla="*/ 92516 h 124107"/>
                <a:gd name="connsiteX877" fmla="*/ 66002 w 118465"/>
                <a:gd name="connsiteY877" fmla="*/ 93080 h 124107"/>
                <a:gd name="connsiteX878" fmla="*/ 66567 w 118465"/>
                <a:gd name="connsiteY878" fmla="*/ 69669 h 124107"/>
                <a:gd name="connsiteX879" fmla="*/ 66848 w 118465"/>
                <a:gd name="connsiteY879" fmla="*/ 68823 h 124107"/>
                <a:gd name="connsiteX880" fmla="*/ 67412 w 118465"/>
                <a:gd name="connsiteY880" fmla="*/ 67977 h 124107"/>
                <a:gd name="connsiteX881" fmla="*/ 68259 w 118465"/>
                <a:gd name="connsiteY881" fmla="*/ 68259 h 124107"/>
                <a:gd name="connsiteX882" fmla="*/ 68259 w 118465"/>
                <a:gd name="connsiteY882" fmla="*/ 69669 h 124107"/>
                <a:gd name="connsiteX883" fmla="*/ 67977 w 118465"/>
                <a:gd name="connsiteY883" fmla="*/ 71362 h 124107"/>
                <a:gd name="connsiteX884" fmla="*/ 67131 w 118465"/>
                <a:gd name="connsiteY884" fmla="*/ 71362 h 124107"/>
                <a:gd name="connsiteX885" fmla="*/ 67131 w 118465"/>
                <a:gd name="connsiteY885" fmla="*/ 71079 h 124107"/>
                <a:gd name="connsiteX886" fmla="*/ 66567 w 118465"/>
                <a:gd name="connsiteY886" fmla="*/ 69669 h 124107"/>
                <a:gd name="connsiteX887" fmla="*/ 67412 w 118465"/>
                <a:gd name="connsiteY887" fmla="*/ 58105 h 124107"/>
                <a:gd name="connsiteX888" fmla="*/ 67131 w 118465"/>
                <a:gd name="connsiteY888" fmla="*/ 57258 h 124107"/>
                <a:gd name="connsiteX889" fmla="*/ 67412 w 118465"/>
                <a:gd name="connsiteY889" fmla="*/ 56976 h 124107"/>
                <a:gd name="connsiteX890" fmla="*/ 68259 w 118465"/>
                <a:gd name="connsiteY890" fmla="*/ 55566 h 124107"/>
                <a:gd name="connsiteX891" fmla="*/ 68823 w 118465"/>
                <a:gd name="connsiteY891" fmla="*/ 55284 h 124107"/>
                <a:gd name="connsiteX892" fmla="*/ 69105 w 118465"/>
                <a:gd name="connsiteY892" fmla="*/ 55566 h 124107"/>
                <a:gd name="connsiteX893" fmla="*/ 68823 w 118465"/>
                <a:gd name="connsiteY893" fmla="*/ 56694 h 124107"/>
                <a:gd name="connsiteX894" fmla="*/ 68823 w 118465"/>
                <a:gd name="connsiteY894" fmla="*/ 57258 h 124107"/>
                <a:gd name="connsiteX895" fmla="*/ 69105 w 118465"/>
                <a:gd name="connsiteY895" fmla="*/ 58105 h 124107"/>
                <a:gd name="connsiteX896" fmla="*/ 69105 w 118465"/>
                <a:gd name="connsiteY896" fmla="*/ 58387 h 124107"/>
                <a:gd name="connsiteX897" fmla="*/ 67412 w 118465"/>
                <a:gd name="connsiteY897" fmla="*/ 59233 h 124107"/>
                <a:gd name="connsiteX898" fmla="*/ 67131 w 118465"/>
                <a:gd name="connsiteY898" fmla="*/ 59515 h 124107"/>
                <a:gd name="connsiteX899" fmla="*/ 67131 w 118465"/>
                <a:gd name="connsiteY899" fmla="*/ 59233 h 124107"/>
                <a:gd name="connsiteX900" fmla="*/ 67412 w 118465"/>
                <a:gd name="connsiteY900" fmla="*/ 58105 h 124107"/>
                <a:gd name="connsiteX901" fmla="*/ 70515 w 118465"/>
                <a:gd name="connsiteY901" fmla="*/ 53028 h 124107"/>
                <a:gd name="connsiteX902" fmla="*/ 69387 w 118465"/>
                <a:gd name="connsiteY902" fmla="*/ 53592 h 124107"/>
                <a:gd name="connsiteX903" fmla="*/ 69105 w 118465"/>
                <a:gd name="connsiteY903" fmla="*/ 53592 h 124107"/>
                <a:gd name="connsiteX904" fmla="*/ 68541 w 118465"/>
                <a:gd name="connsiteY904" fmla="*/ 53028 h 124107"/>
                <a:gd name="connsiteX905" fmla="*/ 67695 w 118465"/>
                <a:gd name="connsiteY905" fmla="*/ 52463 h 124107"/>
                <a:gd name="connsiteX906" fmla="*/ 68541 w 118465"/>
                <a:gd name="connsiteY906" fmla="*/ 51617 h 124107"/>
                <a:gd name="connsiteX907" fmla="*/ 70515 w 118465"/>
                <a:gd name="connsiteY907" fmla="*/ 53028 h 124107"/>
                <a:gd name="connsiteX908" fmla="*/ 73054 w 118465"/>
                <a:gd name="connsiteY908" fmla="*/ 69387 h 124107"/>
                <a:gd name="connsiteX909" fmla="*/ 73618 w 118465"/>
                <a:gd name="connsiteY909" fmla="*/ 71362 h 124107"/>
                <a:gd name="connsiteX910" fmla="*/ 73054 w 118465"/>
                <a:gd name="connsiteY910" fmla="*/ 71644 h 124107"/>
                <a:gd name="connsiteX911" fmla="*/ 72490 w 118465"/>
                <a:gd name="connsiteY911" fmla="*/ 72490 h 124107"/>
                <a:gd name="connsiteX912" fmla="*/ 73054 w 118465"/>
                <a:gd name="connsiteY912" fmla="*/ 74182 h 124107"/>
                <a:gd name="connsiteX913" fmla="*/ 73336 w 118465"/>
                <a:gd name="connsiteY913" fmla="*/ 74464 h 124107"/>
                <a:gd name="connsiteX914" fmla="*/ 73054 w 118465"/>
                <a:gd name="connsiteY914" fmla="*/ 74746 h 124107"/>
                <a:gd name="connsiteX915" fmla="*/ 73054 w 118465"/>
                <a:gd name="connsiteY915" fmla="*/ 75592 h 124107"/>
                <a:gd name="connsiteX916" fmla="*/ 72772 w 118465"/>
                <a:gd name="connsiteY916" fmla="*/ 75875 h 124107"/>
                <a:gd name="connsiteX917" fmla="*/ 72490 w 118465"/>
                <a:gd name="connsiteY917" fmla="*/ 76439 h 124107"/>
                <a:gd name="connsiteX918" fmla="*/ 72490 w 118465"/>
                <a:gd name="connsiteY918" fmla="*/ 76721 h 124107"/>
                <a:gd name="connsiteX919" fmla="*/ 71643 w 118465"/>
                <a:gd name="connsiteY919" fmla="*/ 78131 h 124107"/>
                <a:gd name="connsiteX920" fmla="*/ 71362 w 118465"/>
                <a:gd name="connsiteY920" fmla="*/ 78413 h 124107"/>
                <a:gd name="connsiteX921" fmla="*/ 71643 w 118465"/>
                <a:gd name="connsiteY921" fmla="*/ 78695 h 124107"/>
                <a:gd name="connsiteX922" fmla="*/ 72772 w 118465"/>
                <a:gd name="connsiteY922" fmla="*/ 79259 h 124107"/>
                <a:gd name="connsiteX923" fmla="*/ 73054 w 118465"/>
                <a:gd name="connsiteY923" fmla="*/ 79823 h 124107"/>
                <a:gd name="connsiteX924" fmla="*/ 72772 w 118465"/>
                <a:gd name="connsiteY924" fmla="*/ 80388 h 124107"/>
                <a:gd name="connsiteX925" fmla="*/ 72772 w 118465"/>
                <a:gd name="connsiteY925" fmla="*/ 80670 h 124107"/>
                <a:gd name="connsiteX926" fmla="*/ 72490 w 118465"/>
                <a:gd name="connsiteY926" fmla="*/ 81798 h 124107"/>
                <a:gd name="connsiteX927" fmla="*/ 71643 w 118465"/>
                <a:gd name="connsiteY927" fmla="*/ 82926 h 124107"/>
                <a:gd name="connsiteX928" fmla="*/ 70233 w 118465"/>
                <a:gd name="connsiteY928" fmla="*/ 85183 h 124107"/>
                <a:gd name="connsiteX929" fmla="*/ 69951 w 118465"/>
                <a:gd name="connsiteY929" fmla="*/ 85465 h 124107"/>
                <a:gd name="connsiteX930" fmla="*/ 69669 w 118465"/>
                <a:gd name="connsiteY930" fmla="*/ 85465 h 124107"/>
                <a:gd name="connsiteX931" fmla="*/ 69951 w 118465"/>
                <a:gd name="connsiteY931" fmla="*/ 85183 h 124107"/>
                <a:gd name="connsiteX932" fmla="*/ 69951 w 118465"/>
                <a:gd name="connsiteY932" fmla="*/ 84618 h 124107"/>
                <a:gd name="connsiteX933" fmla="*/ 69669 w 118465"/>
                <a:gd name="connsiteY933" fmla="*/ 83772 h 124107"/>
                <a:gd name="connsiteX934" fmla="*/ 70233 w 118465"/>
                <a:gd name="connsiteY934" fmla="*/ 82926 h 124107"/>
                <a:gd name="connsiteX935" fmla="*/ 69951 w 118465"/>
                <a:gd name="connsiteY935" fmla="*/ 81798 h 124107"/>
                <a:gd name="connsiteX936" fmla="*/ 69669 w 118465"/>
                <a:gd name="connsiteY936" fmla="*/ 81234 h 124107"/>
                <a:gd name="connsiteX937" fmla="*/ 69951 w 118465"/>
                <a:gd name="connsiteY937" fmla="*/ 80670 h 124107"/>
                <a:gd name="connsiteX938" fmla="*/ 70233 w 118465"/>
                <a:gd name="connsiteY938" fmla="*/ 80670 h 124107"/>
                <a:gd name="connsiteX939" fmla="*/ 70515 w 118465"/>
                <a:gd name="connsiteY939" fmla="*/ 80105 h 124107"/>
                <a:gd name="connsiteX940" fmla="*/ 69387 w 118465"/>
                <a:gd name="connsiteY940" fmla="*/ 78695 h 124107"/>
                <a:gd name="connsiteX941" fmla="*/ 69105 w 118465"/>
                <a:gd name="connsiteY941" fmla="*/ 78413 h 124107"/>
                <a:gd name="connsiteX942" fmla="*/ 69387 w 118465"/>
                <a:gd name="connsiteY942" fmla="*/ 77849 h 124107"/>
                <a:gd name="connsiteX943" fmla="*/ 70515 w 118465"/>
                <a:gd name="connsiteY943" fmla="*/ 76721 h 124107"/>
                <a:gd name="connsiteX944" fmla="*/ 70233 w 118465"/>
                <a:gd name="connsiteY944" fmla="*/ 76157 h 124107"/>
                <a:gd name="connsiteX945" fmla="*/ 69951 w 118465"/>
                <a:gd name="connsiteY945" fmla="*/ 75592 h 124107"/>
                <a:gd name="connsiteX946" fmla="*/ 70233 w 118465"/>
                <a:gd name="connsiteY946" fmla="*/ 75592 h 124107"/>
                <a:gd name="connsiteX947" fmla="*/ 70515 w 118465"/>
                <a:gd name="connsiteY947" fmla="*/ 75310 h 124107"/>
                <a:gd name="connsiteX948" fmla="*/ 71079 w 118465"/>
                <a:gd name="connsiteY948" fmla="*/ 74746 h 124107"/>
                <a:gd name="connsiteX949" fmla="*/ 70515 w 118465"/>
                <a:gd name="connsiteY949" fmla="*/ 74182 h 124107"/>
                <a:gd name="connsiteX950" fmla="*/ 70233 w 118465"/>
                <a:gd name="connsiteY950" fmla="*/ 73336 h 124107"/>
                <a:gd name="connsiteX951" fmla="*/ 70515 w 118465"/>
                <a:gd name="connsiteY951" fmla="*/ 72208 h 124107"/>
                <a:gd name="connsiteX952" fmla="*/ 70798 w 118465"/>
                <a:gd name="connsiteY952" fmla="*/ 71926 h 124107"/>
                <a:gd name="connsiteX953" fmla="*/ 71079 w 118465"/>
                <a:gd name="connsiteY953" fmla="*/ 71362 h 124107"/>
                <a:gd name="connsiteX954" fmla="*/ 71362 w 118465"/>
                <a:gd name="connsiteY954" fmla="*/ 71644 h 124107"/>
                <a:gd name="connsiteX955" fmla="*/ 72490 w 118465"/>
                <a:gd name="connsiteY955" fmla="*/ 70797 h 124107"/>
                <a:gd name="connsiteX956" fmla="*/ 72208 w 118465"/>
                <a:gd name="connsiteY956" fmla="*/ 69951 h 124107"/>
                <a:gd name="connsiteX957" fmla="*/ 72208 w 118465"/>
                <a:gd name="connsiteY957" fmla="*/ 69105 h 124107"/>
                <a:gd name="connsiteX958" fmla="*/ 72772 w 118465"/>
                <a:gd name="connsiteY958" fmla="*/ 69387 h 124107"/>
                <a:gd name="connsiteX959" fmla="*/ 73054 w 118465"/>
                <a:gd name="connsiteY959" fmla="*/ 69387 h 124107"/>
                <a:gd name="connsiteX960" fmla="*/ 69951 w 118465"/>
                <a:gd name="connsiteY960" fmla="*/ 41745 h 124107"/>
                <a:gd name="connsiteX961" fmla="*/ 70233 w 118465"/>
                <a:gd name="connsiteY961" fmla="*/ 42309 h 124107"/>
                <a:gd name="connsiteX962" fmla="*/ 69669 w 118465"/>
                <a:gd name="connsiteY962" fmla="*/ 42873 h 124107"/>
                <a:gd name="connsiteX963" fmla="*/ 69669 w 118465"/>
                <a:gd name="connsiteY963" fmla="*/ 41463 h 124107"/>
                <a:gd name="connsiteX964" fmla="*/ 69951 w 118465"/>
                <a:gd name="connsiteY964" fmla="*/ 41745 h 124107"/>
                <a:gd name="connsiteX965" fmla="*/ 74746 w 118465"/>
                <a:gd name="connsiteY965" fmla="*/ 51617 h 124107"/>
                <a:gd name="connsiteX966" fmla="*/ 74746 w 118465"/>
                <a:gd name="connsiteY966" fmla="*/ 52181 h 124107"/>
                <a:gd name="connsiteX967" fmla="*/ 74182 w 118465"/>
                <a:gd name="connsiteY967" fmla="*/ 53592 h 124107"/>
                <a:gd name="connsiteX968" fmla="*/ 74464 w 118465"/>
                <a:gd name="connsiteY968" fmla="*/ 54720 h 124107"/>
                <a:gd name="connsiteX969" fmla="*/ 73900 w 118465"/>
                <a:gd name="connsiteY969" fmla="*/ 56130 h 124107"/>
                <a:gd name="connsiteX970" fmla="*/ 73618 w 118465"/>
                <a:gd name="connsiteY970" fmla="*/ 56694 h 124107"/>
                <a:gd name="connsiteX971" fmla="*/ 74182 w 118465"/>
                <a:gd name="connsiteY971" fmla="*/ 57541 h 124107"/>
                <a:gd name="connsiteX972" fmla="*/ 74182 w 118465"/>
                <a:gd name="connsiteY972" fmla="*/ 58669 h 124107"/>
                <a:gd name="connsiteX973" fmla="*/ 73618 w 118465"/>
                <a:gd name="connsiteY973" fmla="*/ 59515 h 124107"/>
                <a:gd name="connsiteX974" fmla="*/ 72490 w 118465"/>
                <a:gd name="connsiteY974" fmla="*/ 58951 h 124107"/>
                <a:gd name="connsiteX975" fmla="*/ 73336 w 118465"/>
                <a:gd name="connsiteY975" fmla="*/ 58105 h 124107"/>
                <a:gd name="connsiteX976" fmla="*/ 73618 w 118465"/>
                <a:gd name="connsiteY976" fmla="*/ 57541 h 124107"/>
                <a:gd name="connsiteX977" fmla="*/ 72772 w 118465"/>
                <a:gd name="connsiteY977" fmla="*/ 56694 h 124107"/>
                <a:gd name="connsiteX978" fmla="*/ 73336 w 118465"/>
                <a:gd name="connsiteY978" fmla="*/ 56130 h 124107"/>
                <a:gd name="connsiteX979" fmla="*/ 73054 w 118465"/>
                <a:gd name="connsiteY979" fmla="*/ 55284 h 124107"/>
                <a:gd name="connsiteX980" fmla="*/ 73054 w 118465"/>
                <a:gd name="connsiteY980" fmla="*/ 55002 h 124107"/>
                <a:gd name="connsiteX981" fmla="*/ 72490 w 118465"/>
                <a:gd name="connsiteY981" fmla="*/ 53592 h 124107"/>
                <a:gd name="connsiteX982" fmla="*/ 73054 w 118465"/>
                <a:gd name="connsiteY982" fmla="*/ 52745 h 124107"/>
                <a:gd name="connsiteX983" fmla="*/ 73336 w 118465"/>
                <a:gd name="connsiteY983" fmla="*/ 52181 h 124107"/>
                <a:gd name="connsiteX984" fmla="*/ 72772 w 118465"/>
                <a:gd name="connsiteY984" fmla="*/ 51617 h 124107"/>
                <a:gd name="connsiteX985" fmla="*/ 72772 w 118465"/>
                <a:gd name="connsiteY985" fmla="*/ 51053 h 124107"/>
                <a:gd name="connsiteX986" fmla="*/ 73336 w 118465"/>
                <a:gd name="connsiteY986" fmla="*/ 49925 h 124107"/>
                <a:gd name="connsiteX987" fmla="*/ 74182 w 118465"/>
                <a:gd name="connsiteY987" fmla="*/ 49643 h 124107"/>
                <a:gd name="connsiteX988" fmla="*/ 74464 w 118465"/>
                <a:gd name="connsiteY988" fmla="*/ 50207 h 124107"/>
                <a:gd name="connsiteX989" fmla="*/ 74746 w 118465"/>
                <a:gd name="connsiteY989" fmla="*/ 51617 h 124107"/>
                <a:gd name="connsiteX990" fmla="*/ 73618 w 118465"/>
                <a:gd name="connsiteY990" fmla="*/ 60643 h 124107"/>
                <a:gd name="connsiteX991" fmla="*/ 73618 w 118465"/>
                <a:gd name="connsiteY991" fmla="*/ 61207 h 124107"/>
                <a:gd name="connsiteX992" fmla="*/ 73336 w 118465"/>
                <a:gd name="connsiteY992" fmla="*/ 61489 h 124107"/>
                <a:gd name="connsiteX993" fmla="*/ 72490 w 118465"/>
                <a:gd name="connsiteY993" fmla="*/ 61771 h 124107"/>
                <a:gd name="connsiteX994" fmla="*/ 72490 w 118465"/>
                <a:gd name="connsiteY994" fmla="*/ 60643 h 124107"/>
                <a:gd name="connsiteX995" fmla="*/ 72772 w 118465"/>
                <a:gd name="connsiteY995" fmla="*/ 60361 h 124107"/>
                <a:gd name="connsiteX996" fmla="*/ 73618 w 118465"/>
                <a:gd name="connsiteY996" fmla="*/ 60643 h 124107"/>
                <a:gd name="connsiteX997" fmla="*/ 108594 w 118465"/>
                <a:gd name="connsiteY997" fmla="*/ 33565 h 124107"/>
                <a:gd name="connsiteX998" fmla="*/ 108311 w 118465"/>
                <a:gd name="connsiteY998" fmla="*/ 33283 h 124107"/>
                <a:gd name="connsiteX999" fmla="*/ 108030 w 118465"/>
                <a:gd name="connsiteY999" fmla="*/ 33283 h 124107"/>
                <a:gd name="connsiteX1000" fmla="*/ 106619 w 118465"/>
                <a:gd name="connsiteY1000" fmla="*/ 34129 h 124107"/>
                <a:gd name="connsiteX1001" fmla="*/ 106619 w 118465"/>
                <a:gd name="connsiteY1001" fmla="*/ 34411 h 124107"/>
                <a:gd name="connsiteX1002" fmla="*/ 107183 w 118465"/>
                <a:gd name="connsiteY1002" fmla="*/ 34694 h 124107"/>
                <a:gd name="connsiteX1003" fmla="*/ 108594 w 118465"/>
                <a:gd name="connsiteY1003" fmla="*/ 33565 h 1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</a:cxnLst>
              <a:rect l="l" t="t" r="r" b="b"/>
              <a:pathLst>
                <a:path w="118465" h="124107">
                  <a:moveTo>
                    <a:pt x="45412" y="118748"/>
                  </a:moveTo>
                  <a:cubicBezTo>
                    <a:pt x="45412" y="118748"/>
                    <a:pt x="45130" y="118748"/>
                    <a:pt x="44848" y="118466"/>
                  </a:cubicBezTo>
                  <a:lnTo>
                    <a:pt x="44848" y="118748"/>
                  </a:lnTo>
                  <a:cubicBezTo>
                    <a:pt x="44566" y="118748"/>
                    <a:pt x="44848" y="119030"/>
                    <a:pt x="45412" y="119312"/>
                  </a:cubicBezTo>
                  <a:cubicBezTo>
                    <a:pt x="45694" y="119312"/>
                    <a:pt x="45976" y="119876"/>
                    <a:pt x="45976" y="120158"/>
                  </a:cubicBezTo>
                  <a:lnTo>
                    <a:pt x="45976" y="120722"/>
                  </a:lnTo>
                  <a:cubicBezTo>
                    <a:pt x="44848" y="120722"/>
                    <a:pt x="44566" y="121004"/>
                    <a:pt x="44002" y="121286"/>
                  </a:cubicBezTo>
                  <a:lnTo>
                    <a:pt x="43720" y="121286"/>
                  </a:lnTo>
                  <a:cubicBezTo>
                    <a:pt x="43156" y="121286"/>
                    <a:pt x="42873" y="121851"/>
                    <a:pt x="42592" y="121851"/>
                  </a:cubicBezTo>
                  <a:cubicBezTo>
                    <a:pt x="41745" y="121851"/>
                    <a:pt x="41745" y="122133"/>
                    <a:pt x="41463" y="122133"/>
                  </a:cubicBezTo>
                  <a:lnTo>
                    <a:pt x="40899" y="122133"/>
                  </a:lnTo>
                  <a:cubicBezTo>
                    <a:pt x="40053" y="121851"/>
                    <a:pt x="39771" y="121568"/>
                    <a:pt x="39771" y="121286"/>
                  </a:cubicBezTo>
                  <a:cubicBezTo>
                    <a:pt x="39771" y="121286"/>
                    <a:pt x="39489" y="121286"/>
                    <a:pt x="39206" y="121568"/>
                  </a:cubicBezTo>
                  <a:lnTo>
                    <a:pt x="39206" y="121851"/>
                  </a:lnTo>
                  <a:cubicBezTo>
                    <a:pt x="39489" y="122133"/>
                    <a:pt x="39771" y="122697"/>
                    <a:pt x="40053" y="122697"/>
                  </a:cubicBezTo>
                  <a:lnTo>
                    <a:pt x="40053" y="123825"/>
                  </a:lnTo>
                  <a:lnTo>
                    <a:pt x="39771" y="124107"/>
                  </a:lnTo>
                  <a:lnTo>
                    <a:pt x="40617" y="124107"/>
                  </a:lnTo>
                  <a:lnTo>
                    <a:pt x="41745" y="123261"/>
                  </a:lnTo>
                  <a:cubicBezTo>
                    <a:pt x="42027" y="123261"/>
                    <a:pt x="42309" y="123543"/>
                    <a:pt x="42592" y="123543"/>
                  </a:cubicBezTo>
                  <a:lnTo>
                    <a:pt x="42309" y="124107"/>
                  </a:lnTo>
                  <a:cubicBezTo>
                    <a:pt x="41181" y="124671"/>
                    <a:pt x="40617" y="125799"/>
                    <a:pt x="39489" y="126081"/>
                  </a:cubicBezTo>
                  <a:cubicBezTo>
                    <a:pt x="39206" y="126646"/>
                    <a:pt x="38642" y="126646"/>
                    <a:pt x="38361" y="126646"/>
                  </a:cubicBezTo>
                  <a:cubicBezTo>
                    <a:pt x="38078" y="126646"/>
                    <a:pt x="37796" y="127210"/>
                    <a:pt x="37796" y="127210"/>
                  </a:cubicBezTo>
                  <a:cubicBezTo>
                    <a:pt x="37232" y="127210"/>
                    <a:pt x="36668" y="127210"/>
                    <a:pt x="36668" y="127492"/>
                  </a:cubicBezTo>
                  <a:lnTo>
                    <a:pt x="34694" y="127492"/>
                  </a:lnTo>
                  <a:cubicBezTo>
                    <a:pt x="34411" y="127492"/>
                    <a:pt x="33847" y="127210"/>
                    <a:pt x="33847" y="127210"/>
                  </a:cubicBezTo>
                  <a:lnTo>
                    <a:pt x="32437" y="127210"/>
                  </a:lnTo>
                  <a:cubicBezTo>
                    <a:pt x="32155" y="127492"/>
                    <a:pt x="31873" y="127492"/>
                    <a:pt x="31873" y="127492"/>
                  </a:cubicBezTo>
                  <a:lnTo>
                    <a:pt x="31591" y="127492"/>
                  </a:lnTo>
                  <a:cubicBezTo>
                    <a:pt x="31309" y="127210"/>
                    <a:pt x="30463" y="127210"/>
                    <a:pt x="30180" y="126928"/>
                  </a:cubicBezTo>
                  <a:cubicBezTo>
                    <a:pt x="29616" y="126081"/>
                    <a:pt x="29052" y="126081"/>
                    <a:pt x="27924" y="126081"/>
                  </a:cubicBezTo>
                  <a:lnTo>
                    <a:pt x="25950" y="126081"/>
                  </a:lnTo>
                  <a:cubicBezTo>
                    <a:pt x="25668" y="126081"/>
                    <a:pt x="25386" y="126081"/>
                    <a:pt x="25386" y="125799"/>
                  </a:cubicBezTo>
                  <a:cubicBezTo>
                    <a:pt x="25103" y="125799"/>
                    <a:pt x="24822" y="125517"/>
                    <a:pt x="24822" y="125517"/>
                  </a:cubicBezTo>
                  <a:lnTo>
                    <a:pt x="24539" y="125799"/>
                  </a:lnTo>
                  <a:cubicBezTo>
                    <a:pt x="24258" y="126646"/>
                    <a:pt x="23693" y="126646"/>
                    <a:pt x="23129" y="126646"/>
                  </a:cubicBezTo>
                  <a:lnTo>
                    <a:pt x="19462" y="126646"/>
                  </a:lnTo>
                  <a:cubicBezTo>
                    <a:pt x="18898" y="126646"/>
                    <a:pt x="18898" y="127210"/>
                    <a:pt x="18334" y="127210"/>
                  </a:cubicBezTo>
                  <a:lnTo>
                    <a:pt x="14667" y="127210"/>
                  </a:lnTo>
                  <a:cubicBezTo>
                    <a:pt x="14385" y="126928"/>
                    <a:pt x="13821" y="126928"/>
                    <a:pt x="13539" y="126928"/>
                  </a:cubicBezTo>
                  <a:cubicBezTo>
                    <a:pt x="13257" y="126928"/>
                    <a:pt x="12975" y="126928"/>
                    <a:pt x="12693" y="126363"/>
                  </a:cubicBezTo>
                  <a:lnTo>
                    <a:pt x="11565" y="125799"/>
                  </a:lnTo>
                  <a:cubicBezTo>
                    <a:pt x="11000" y="125235"/>
                    <a:pt x="10436" y="124389"/>
                    <a:pt x="9872" y="124107"/>
                  </a:cubicBezTo>
                  <a:cubicBezTo>
                    <a:pt x="9872" y="123543"/>
                    <a:pt x="9026" y="123261"/>
                    <a:pt x="8744" y="122415"/>
                  </a:cubicBezTo>
                  <a:lnTo>
                    <a:pt x="8462" y="122415"/>
                  </a:lnTo>
                  <a:cubicBezTo>
                    <a:pt x="8180" y="122415"/>
                    <a:pt x="7616" y="122133"/>
                    <a:pt x="7052" y="121851"/>
                  </a:cubicBezTo>
                  <a:cubicBezTo>
                    <a:pt x="6488" y="121286"/>
                    <a:pt x="6488" y="121004"/>
                    <a:pt x="6488" y="120440"/>
                  </a:cubicBezTo>
                  <a:cubicBezTo>
                    <a:pt x="6205" y="119876"/>
                    <a:pt x="5359" y="119876"/>
                    <a:pt x="5077" y="119312"/>
                  </a:cubicBezTo>
                  <a:cubicBezTo>
                    <a:pt x="4513" y="118184"/>
                    <a:pt x="4231" y="117338"/>
                    <a:pt x="3103" y="116209"/>
                  </a:cubicBezTo>
                  <a:lnTo>
                    <a:pt x="3103" y="115363"/>
                  </a:lnTo>
                  <a:cubicBezTo>
                    <a:pt x="3103" y="115081"/>
                    <a:pt x="3103" y="115081"/>
                    <a:pt x="2821" y="114799"/>
                  </a:cubicBezTo>
                  <a:cubicBezTo>
                    <a:pt x="2257" y="114799"/>
                    <a:pt x="2538" y="114235"/>
                    <a:pt x="2257" y="113953"/>
                  </a:cubicBezTo>
                  <a:lnTo>
                    <a:pt x="2257" y="113389"/>
                  </a:lnTo>
                  <a:cubicBezTo>
                    <a:pt x="1974" y="113107"/>
                    <a:pt x="1974" y="112825"/>
                    <a:pt x="1974" y="112542"/>
                  </a:cubicBezTo>
                  <a:lnTo>
                    <a:pt x="1974" y="111414"/>
                  </a:lnTo>
                  <a:cubicBezTo>
                    <a:pt x="1410" y="111132"/>
                    <a:pt x="1410" y="111132"/>
                    <a:pt x="1410" y="110850"/>
                  </a:cubicBezTo>
                  <a:lnTo>
                    <a:pt x="1410" y="110286"/>
                  </a:lnTo>
                  <a:cubicBezTo>
                    <a:pt x="846" y="109722"/>
                    <a:pt x="846" y="109158"/>
                    <a:pt x="846" y="108594"/>
                  </a:cubicBezTo>
                  <a:lnTo>
                    <a:pt x="846" y="107465"/>
                  </a:lnTo>
                  <a:lnTo>
                    <a:pt x="0" y="98721"/>
                  </a:lnTo>
                  <a:cubicBezTo>
                    <a:pt x="0" y="98439"/>
                    <a:pt x="282" y="97593"/>
                    <a:pt x="282" y="97029"/>
                  </a:cubicBezTo>
                  <a:cubicBezTo>
                    <a:pt x="564" y="96747"/>
                    <a:pt x="564" y="96747"/>
                    <a:pt x="564" y="96465"/>
                  </a:cubicBezTo>
                  <a:cubicBezTo>
                    <a:pt x="564" y="95901"/>
                    <a:pt x="282" y="95337"/>
                    <a:pt x="282" y="95055"/>
                  </a:cubicBezTo>
                  <a:lnTo>
                    <a:pt x="282" y="91670"/>
                  </a:lnTo>
                  <a:cubicBezTo>
                    <a:pt x="846" y="91388"/>
                    <a:pt x="846" y="91106"/>
                    <a:pt x="846" y="90260"/>
                  </a:cubicBezTo>
                  <a:cubicBezTo>
                    <a:pt x="846" y="89696"/>
                    <a:pt x="564" y="89413"/>
                    <a:pt x="282" y="89131"/>
                  </a:cubicBezTo>
                  <a:cubicBezTo>
                    <a:pt x="1410" y="88849"/>
                    <a:pt x="846" y="87721"/>
                    <a:pt x="1693" y="87157"/>
                  </a:cubicBezTo>
                  <a:lnTo>
                    <a:pt x="1693" y="85747"/>
                  </a:lnTo>
                  <a:cubicBezTo>
                    <a:pt x="1693" y="85465"/>
                    <a:pt x="1974" y="85183"/>
                    <a:pt x="1974" y="84618"/>
                  </a:cubicBezTo>
                  <a:cubicBezTo>
                    <a:pt x="1693" y="84336"/>
                    <a:pt x="1693" y="84336"/>
                    <a:pt x="1693" y="84054"/>
                  </a:cubicBezTo>
                  <a:cubicBezTo>
                    <a:pt x="1693" y="83772"/>
                    <a:pt x="1974" y="83490"/>
                    <a:pt x="1974" y="83208"/>
                  </a:cubicBezTo>
                  <a:lnTo>
                    <a:pt x="2821" y="83208"/>
                  </a:lnTo>
                  <a:cubicBezTo>
                    <a:pt x="3103" y="83208"/>
                    <a:pt x="3103" y="83490"/>
                    <a:pt x="3103" y="83772"/>
                  </a:cubicBezTo>
                  <a:lnTo>
                    <a:pt x="3103" y="84054"/>
                  </a:lnTo>
                  <a:cubicBezTo>
                    <a:pt x="3103" y="84336"/>
                    <a:pt x="3103" y="84336"/>
                    <a:pt x="2821" y="84336"/>
                  </a:cubicBezTo>
                  <a:cubicBezTo>
                    <a:pt x="2821" y="84618"/>
                    <a:pt x="2821" y="84618"/>
                    <a:pt x="3103" y="84618"/>
                  </a:cubicBezTo>
                  <a:lnTo>
                    <a:pt x="3385" y="84618"/>
                  </a:lnTo>
                  <a:cubicBezTo>
                    <a:pt x="3667" y="84618"/>
                    <a:pt x="3667" y="84336"/>
                    <a:pt x="3667" y="84336"/>
                  </a:cubicBezTo>
                  <a:cubicBezTo>
                    <a:pt x="3385" y="84054"/>
                    <a:pt x="3385" y="83772"/>
                    <a:pt x="3385" y="83490"/>
                  </a:cubicBezTo>
                  <a:cubicBezTo>
                    <a:pt x="3385" y="83208"/>
                    <a:pt x="3667" y="82926"/>
                    <a:pt x="3949" y="82644"/>
                  </a:cubicBezTo>
                  <a:lnTo>
                    <a:pt x="4513" y="82644"/>
                  </a:lnTo>
                  <a:cubicBezTo>
                    <a:pt x="4795" y="82644"/>
                    <a:pt x="4795" y="82644"/>
                    <a:pt x="4795" y="82362"/>
                  </a:cubicBezTo>
                  <a:cubicBezTo>
                    <a:pt x="4795" y="82362"/>
                    <a:pt x="4795" y="82080"/>
                    <a:pt x="5077" y="81798"/>
                  </a:cubicBezTo>
                  <a:cubicBezTo>
                    <a:pt x="5359" y="81234"/>
                    <a:pt x="5359" y="80670"/>
                    <a:pt x="5359" y="79823"/>
                  </a:cubicBezTo>
                  <a:lnTo>
                    <a:pt x="4795" y="79259"/>
                  </a:lnTo>
                  <a:cubicBezTo>
                    <a:pt x="4513" y="79823"/>
                    <a:pt x="4231" y="80388"/>
                    <a:pt x="3385" y="80670"/>
                  </a:cubicBezTo>
                  <a:cubicBezTo>
                    <a:pt x="3385" y="80670"/>
                    <a:pt x="3385" y="80952"/>
                    <a:pt x="3667" y="80952"/>
                  </a:cubicBezTo>
                  <a:cubicBezTo>
                    <a:pt x="3667" y="81234"/>
                    <a:pt x="3667" y="81234"/>
                    <a:pt x="4231" y="81516"/>
                  </a:cubicBezTo>
                  <a:lnTo>
                    <a:pt x="3385" y="81798"/>
                  </a:lnTo>
                  <a:cubicBezTo>
                    <a:pt x="3103" y="81798"/>
                    <a:pt x="2821" y="81234"/>
                    <a:pt x="2538" y="81234"/>
                  </a:cubicBezTo>
                  <a:lnTo>
                    <a:pt x="2538" y="80952"/>
                  </a:lnTo>
                  <a:cubicBezTo>
                    <a:pt x="2538" y="80670"/>
                    <a:pt x="2538" y="80670"/>
                    <a:pt x="2821" y="80388"/>
                  </a:cubicBezTo>
                  <a:lnTo>
                    <a:pt x="3103" y="80105"/>
                  </a:lnTo>
                  <a:cubicBezTo>
                    <a:pt x="2821" y="79823"/>
                    <a:pt x="2538" y="78977"/>
                    <a:pt x="2538" y="78695"/>
                  </a:cubicBezTo>
                  <a:cubicBezTo>
                    <a:pt x="2821" y="78413"/>
                    <a:pt x="2821" y="77849"/>
                    <a:pt x="2821" y="77285"/>
                  </a:cubicBezTo>
                  <a:lnTo>
                    <a:pt x="2821" y="77003"/>
                  </a:lnTo>
                  <a:cubicBezTo>
                    <a:pt x="2821" y="76721"/>
                    <a:pt x="3103" y="76721"/>
                    <a:pt x="3103" y="76439"/>
                  </a:cubicBezTo>
                  <a:lnTo>
                    <a:pt x="3103" y="76157"/>
                  </a:lnTo>
                  <a:cubicBezTo>
                    <a:pt x="3103" y="75592"/>
                    <a:pt x="3949" y="75310"/>
                    <a:pt x="3949" y="74746"/>
                  </a:cubicBezTo>
                  <a:cubicBezTo>
                    <a:pt x="3949" y="73900"/>
                    <a:pt x="3949" y="73618"/>
                    <a:pt x="3385" y="73054"/>
                  </a:cubicBezTo>
                  <a:cubicBezTo>
                    <a:pt x="3385" y="72772"/>
                    <a:pt x="3385" y="72490"/>
                    <a:pt x="3667" y="72490"/>
                  </a:cubicBezTo>
                  <a:cubicBezTo>
                    <a:pt x="4513" y="72208"/>
                    <a:pt x="4795" y="71926"/>
                    <a:pt x="4795" y="71362"/>
                  </a:cubicBezTo>
                  <a:cubicBezTo>
                    <a:pt x="4795" y="71079"/>
                    <a:pt x="4513" y="70797"/>
                    <a:pt x="4513" y="70515"/>
                  </a:cubicBezTo>
                  <a:cubicBezTo>
                    <a:pt x="4513" y="70233"/>
                    <a:pt x="4231" y="70233"/>
                    <a:pt x="4231" y="69951"/>
                  </a:cubicBezTo>
                  <a:cubicBezTo>
                    <a:pt x="4231" y="69951"/>
                    <a:pt x="4231" y="69669"/>
                    <a:pt x="4513" y="69669"/>
                  </a:cubicBezTo>
                  <a:cubicBezTo>
                    <a:pt x="4795" y="69387"/>
                    <a:pt x="5359" y="68823"/>
                    <a:pt x="5924" y="68823"/>
                  </a:cubicBezTo>
                  <a:lnTo>
                    <a:pt x="6205" y="68823"/>
                  </a:lnTo>
                  <a:cubicBezTo>
                    <a:pt x="6769" y="68823"/>
                    <a:pt x="6769" y="68541"/>
                    <a:pt x="6769" y="68541"/>
                  </a:cubicBezTo>
                  <a:lnTo>
                    <a:pt x="6769" y="67413"/>
                  </a:lnTo>
                  <a:cubicBezTo>
                    <a:pt x="6769" y="67131"/>
                    <a:pt x="6769" y="67131"/>
                    <a:pt x="6488" y="67131"/>
                  </a:cubicBezTo>
                  <a:lnTo>
                    <a:pt x="6488" y="64310"/>
                  </a:lnTo>
                  <a:cubicBezTo>
                    <a:pt x="6488" y="64028"/>
                    <a:pt x="6488" y="63746"/>
                    <a:pt x="6769" y="63464"/>
                  </a:cubicBezTo>
                  <a:cubicBezTo>
                    <a:pt x="7052" y="63464"/>
                    <a:pt x="7052" y="63182"/>
                    <a:pt x="7052" y="63182"/>
                  </a:cubicBezTo>
                  <a:cubicBezTo>
                    <a:pt x="7052" y="62900"/>
                    <a:pt x="6769" y="62618"/>
                    <a:pt x="6769" y="62054"/>
                  </a:cubicBezTo>
                  <a:cubicBezTo>
                    <a:pt x="7334" y="62054"/>
                    <a:pt x="7334" y="61489"/>
                    <a:pt x="7616" y="60925"/>
                  </a:cubicBezTo>
                  <a:cubicBezTo>
                    <a:pt x="7898" y="60079"/>
                    <a:pt x="8180" y="58951"/>
                    <a:pt x="9026" y="58105"/>
                  </a:cubicBezTo>
                  <a:cubicBezTo>
                    <a:pt x="8744" y="57823"/>
                    <a:pt x="8744" y="57541"/>
                    <a:pt x="8744" y="57541"/>
                  </a:cubicBezTo>
                  <a:lnTo>
                    <a:pt x="8744" y="56694"/>
                  </a:lnTo>
                  <a:cubicBezTo>
                    <a:pt x="8744" y="56412"/>
                    <a:pt x="8744" y="56130"/>
                    <a:pt x="9026" y="55848"/>
                  </a:cubicBezTo>
                  <a:lnTo>
                    <a:pt x="9872" y="55002"/>
                  </a:lnTo>
                  <a:lnTo>
                    <a:pt x="9872" y="53310"/>
                  </a:lnTo>
                  <a:cubicBezTo>
                    <a:pt x="9872" y="53310"/>
                    <a:pt x="10154" y="53028"/>
                    <a:pt x="10154" y="52745"/>
                  </a:cubicBezTo>
                  <a:cubicBezTo>
                    <a:pt x="10154" y="52463"/>
                    <a:pt x="9872" y="52181"/>
                    <a:pt x="9872" y="51899"/>
                  </a:cubicBezTo>
                  <a:cubicBezTo>
                    <a:pt x="9872" y="51617"/>
                    <a:pt x="9872" y="51053"/>
                    <a:pt x="10154" y="51053"/>
                  </a:cubicBezTo>
                  <a:lnTo>
                    <a:pt x="11846" y="49643"/>
                  </a:lnTo>
                  <a:lnTo>
                    <a:pt x="11846" y="49079"/>
                  </a:lnTo>
                  <a:cubicBezTo>
                    <a:pt x="11846" y="48233"/>
                    <a:pt x="11846" y="47668"/>
                    <a:pt x="12410" y="47386"/>
                  </a:cubicBezTo>
                  <a:lnTo>
                    <a:pt x="12410" y="46822"/>
                  </a:lnTo>
                  <a:cubicBezTo>
                    <a:pt x="12410" y="46540"/>
                    <a:pt x="12410" y="46540"/>
                    <a:pt x="12693" y="46540"/>
                  </a:cubicBezTo>
                  <a:lnTo>
                    <a:pt x="12693" y="45130"/>
                  </a:lnTo>
                  <a:cubicBezTo>
                    <a:pt x="13257" y="44848"/>
                    <a:pt x="13257" y="44002"/>
                    <a:pt x="13821" y="43720"/>
                  </a:cubicBezTo>
                  <a:cubicBezTo>
                    <a:pt x="13821" y="43437"/>
                    <a:pt x="14103" y="42591"/>
                    <a:pt x="14103" y="42309"/>
                  </a:cubicBezTo>
                  <a:cubicBezTo>
                    <a:pt x="14385" y="42027"/>
                    <a:pt x="14103" y="41745"/>
                    <a:pt x="14667" y="41181"/>
                  </a:cubicBezTo>
                  <a:cubicBezTo>
                    <a:pt x="14667" y="40899"/>
                    <a:pt x="14385" y="40899"/>
                    <a:pt x="14385" y="40617"/>
                  </a:cubicBezTo>
                  <a:cubicBezTo>
                    <a:pt x="14385" y="40335"/>
                    <a:pt x="14667" y="40053"/>
                    <a:pt x="14949" y="39771"/>
                  </a:cubicBezTo>
                  <a:cubicBezTo>
                    <a:pt x="15513" y="39771"/>
                    <a:pt x="15796" y="39489"/>
                    <a:pt x="15796" y="38924"/>
                  </a:cubicBezTo>
                  <a:lnTo>
                    <a:pt x="15796" y="37796"/>
                  </a:lnTo>
                  <a:lnTo>
                    <a:pt x="16360" y="36950"/>
                  </a:lnTo>
                  <a:cubicBezTo>
                    <a:pt x="16641" y="36386"/>
                    <a:pt x="17206" y="36104"/>
                    <a:pt x="17206" y="35822"/>
                  </a:cubicBezTo>
                  <a:lnTo>
                    <a:pt x="16924" y="35540"/>
                  </a:lnTo>
                  <a:cubicBezTo>
                    <a:pt x="16924" y="35258"/>
                    <a:pt x="17488" y="34976"/>
                    <a:pt x="17488" y="34411"/>
                  </a:cubicBezTo>
                  <a:cubicBezTo>
                    <a:pt x="17488" y="33847"/>
                    <a:pt x="17770" y="33565"/>
                    <a:pt x="18052" y="33283"/>
                  </a:cubicBezTo>
                  <a:cubicBezTo>
                    <a:pt x="18334" y="33001"/>
                    <a:pt x="18334" y="32719"/>
                    <a:pt x="18898" y="32437"/>
                  </a:cubicBezTo>
                  <a:cubicBezTo>
                    <a:pt x="19462" y="32437"/>
                    <a:pt x="19180" y="31591"/>
                    <a:pt x="19744" y="31309"/>
                  </a:cubicBezTo>
                  <a:cubicBezTo>
                    <a:pt x="20027" y="31027"/>
                    <a:pt x="20308" y="30745"/>
                    <a:pt x="20308" y="30463"/>
                  </a:cubicBezTo>
                  <a:cubicBezTo>
                    <a:pt x="20308" y="30463"/>
                    <a:pt x="20308" y="30181"/>
                    <a:pt x="20027" y="29899"/>
                  </a:cubicBezTo>
                  <a:cubicBezTo>
                    <a:pt x="20308" y="29334"/>
                    <a:pt x="20308" y="28770"/>
                    <a:pt x="20872" y="28488"/>
                  </a:cubicBezTo>
                  <a:cubicBezTo>
                    <a:pt x="21437" y="28206"/>
                    <a:pt x="21437" y="27360"/>
                    <a:pt x="21437" y="27360"/>
                  </a:cubicBezTo>
                  <a:cubicBezTo>
                    <a:pt x="22283" y="26796"/>
                    <a:pt x="22283" y="26232"/>
                    <a:pt x="22283" y="25950"/>
                  </a:cubicBezTo>
                  <a:cubicBezTo>
                    <a:pt x="22847" y="25668"/>
                    <a:pt x="23129" y="25103"/>
                    <a:pt x="23129" y="24821"/>
                  </a:cubicBezTo>
                  <a:lnTo>
                    <a:pt x="23129" y="24539"/>
                  </a:lnTo>
                  <a:cubicBezTo>
                    <a:pt x="23129" y="24257"/>
                    <a:pt x="23693" y="23975"/>
                    <a:pt x="23693" y="23975"/>
                  </a:cubicBezTo>
                  <a:cubicBezTo>
                    <a:pt x="23975" y="23975"/>
                    <a:pt x="24539" y="23975"/>
                    <a:pt x="24539" y="23693"/>
                  </a:cubicBezTo>
                  <a:lnTo>
                    <a:pt x="25103" y="22847"/>
                  </a:lnTo>
                  <a:cubicBezTo>
                    <a:pt x="25386" y="22001"/>
                    <a:pt x="25950" y="21437"/>
                    <a:pt x="27360" y="20308"/>
                  </a:cubicBezTo>
                  <a:cubicBezTo>
                    <a:pt x="27924" y="19744"/>
                    <a:pt x="28488" y="18898"/>
                    <a:pt x="28770" y="18052"/>
                  </a:cubicBezTo>
                  <a:cubicBezTo>
                    <a:pt x="29616" y="17488"/>
                    <a:pt x="29616" y="16642"/>
                    <a:pt x="30744" y="16360"/>
                  </a:cubicBezTo>
                  <a:cubicBezTo>
                    <a:pt x="31027" y="16360"/>
                    <a:pt x="31309" y="16078"/>
                    <a:pt x="31591" y="15795"/>
                  </a:cubicBezTo>
                  <a:cubicBezTo>
                    <a:pt x="31873" y="15513"/>
                    <a:pt x="32155" y="14667"/>
                    <a:pt x="33001" y="14385"/>
                  </a:cubicBezTo>
                  <a:lnTo>
                    <a:pt x="35540" y="14385"/>
                  </a:lnTo>
                  <a:cubicBezTo>
                    <a:pt x="35822" y="14385"/>
                    <a:pt x="35540" y="14385"/>
                    <a:pt x="36104" y="15231"/>
                  </a:cubicBezTo>
                  <a:lnTo>
                    <a:pt x="36950" y="15231"/>
                  </a:lnTo>
                  <a:cubicBezTo>
                    <a:pt x="37232" y="14667"/>
                    <a:pt x="37514" y="14385"/>
                    <a:pt x="38078" y="14385"/>
                  </a:cubicBezTo>
                  <a:cubicBezTo>
                    <a:pt x="38642" y="14385"/>
                    <a:pt x="39206" y="14667"/>
                    <a:pt x="39489" y="15231"/>
                  </a:cubicBezTo>
                  <a:cubicBezTo>
                    <a:pt x="39489" y="15231"/>
                    <a:pt x="39771" y="15513"/>
                    <a:pt x="40053" y="15513"/>
                  </a:cubicBezTo>
                  <a:cubicBezTo>
                    <a:pt x="40053" y="16360"/>
                    <a:pt x="41181" y="16642"/>
                    <a:pt x="42027" y="16642"/>
                  </a:cubicBezTo>
                  <a:cubicBezTo>
                    <a:pt x="42309" y="17206"/>
                    <a:pt x="42592" y="16642"/>
                    <a:pt x="42873" y="17488"/>
                  </a:cubicBezTo>
                  <a:lnTo>
                    <a:pt x="43156" y="17488"/>
                  </a:lnTo>
                  <a:lnTo>
                    <a:pt x="43156" y="16642"/>
                  </a:lnTo>
                  <a:cubicBezTo>
                    <a:pt x="42873" y="16360"/>
                    <a:pt x="42873" y="16360"/>
                    <a:pt x="42873" y="16078"/>
                  </a:cubicBezTo>
                  <a:lnTo>
                    <a:pt x="42873" y="15513"/>
                  </a:lnTo>
                  <a:lnTo>
                    <a:pt x="44002" y="15513"/>
                  </a:lnTo>
                  <a:cubicBezTo>
                    <a:pt x="44002" y="15231"/>
                    <a:pt x="43437" y="14667"/>
                    <a:pt x="43437" y="14103"/>
                  </a:cubicBezTo>
                  <a:cubicBezTo>
                    <a:pt x="43156" y="13539"/>
                    <a:pt x="43156" y="13257"/>
                    <a:pt x="42309" y="12693"/>
                  </a:cubicBezTo>
                  <a:cubicBezTo>
                    <a:pt x="42027" y="12693"/>
                    <a:pt x="42027" y="12411"/>
                    <a:pt x="42027" y="12411"/>
                  </a:cubicBezTo>
                  <a:cubicBezTo>
                    <a:pt x="42027" y="11565"/>
                    <a:pt x="42027" y="10718"/>
                    <a:pt x="41463" y="10154"/>
                  </a:cubicBezTo>
                  <a:cubicBezTo>
                    <a:pt x="41181" y="10154"/>
                    <a:pt x="41181" y="9872"/>
                    <a:pt x="41181" y="9590"/>
                  </a:cubicBezTo>
                  <a:cubicBezTo>
                    <a:pt x="41181" y="9308"/>
                    <a:pt x="41181" y="9308"/>
                    <a:pt x="41463" y="9026"/>
                  </a:cubicBezTo>
                  <a:lnTo>
                    <a:pt x="41463" y="8744"/>
                  </a:lnTo>
                  <a:cubicBezTo>
                    <a:pt x="41463" y="8462"/>
                    <a:pt x="41745" y="8180"/>
                    <a:pt x="42027" y="7898"/>
                  </a:cubicBezTo>
                  <a:cubicBezTo>
                    <a:pt x="42873" y="7616"/>
                    <a:pt x="43720" y="7052"/>
                    <a:pt x="44284" y="6487"/>
                  </a:cubicBezTo>
                  <a:cubicBezTo>
                    <a:pt x="44566" y="5641"/>
                    <a:pt x="45412" y="4795"/>
                    <a:pt x="46258" y="4231"/>
                  </a:cubicBezTo>
                  <a:cubicBezTo>
                    <a:pt x="46540" y="4231"/>
                    <a:pt x="46822" y="3667"/>
                    <a:pt x="47104" y="3385"/>
                  </a:cubicBezTo>
                  <a:cubicBezTo>
                    <a:pt x="47386" y="3103"/>
                    <a:pt x="47668" y="2821"/>
                    <a:pt x="47668" y="2539"/>
                  </a:cubicBezTo>
                  <a:lnTo>
                    <a:pt x="49361" y="1410"/>
                  </a:lnTo>
                  <a:cubicBezTo>
                    <a:pt x="49925" y="1128"/>
                    <a:pt x="49925" y="846"/>
                    <a:pt x="50489" y="846"/>
                  </a:cubicBezTo>
                  <a:lnTo>
                    <a:pt x="51617" y="846"/>
                  </a:lnTo>
                  <a:cubicBezTo>
                    <a:pt x="52181" y="846"/>
                    <a:pt x="52745" y="846"/>
                    <a:pt x="52745" y="282"/>
                  </a:cubicBezTo>
                  <a:lnTo>
                    <a:pt x="55002" y="282"/>
                  </a:lnTo>
                  <a:cubicBezTo>
                    <a:pt x="55284" y="0"/>
                    <a:pt x="55848" y="0"/>
                    <a:pt x="56130" y="0"/>
                  </a:cubicBezTo>
                  <a:lnTo>
                    <a:pt x="56976" y="0"/>
                  </a:lnTo>
                  <a:cubicBezTo>
                    <a:pt x="57823" y="0"/>
                    <a:pt x="58669" y="282"/>
                    <a:pt x="59233" y="846"/>
                  </a:cubicBezTo>
                  <a:cubicBezTo>
                    <a:pt x="59797" y="1128"/>
                    <a:pt x="60361" y="1410"/>
                    <a:pt x="60361" y="1974"/>
                  </a:cubicBezTo>
                  <a:lnTo>
                    <a:pt x="60361" y="2256"/>
                  </a:lnTo>
                  <a:cubicBezTo>
                    <a:pt x="60361" y="2256"/>
                    <a:pt x="60926" y="2256"/>
                    <a:pt x="60926" y="2539"/>
                  </a:cubicBezTo>
                  <a:cubicBezTo>
                    <a:pt x="61490" y="3103"/>
                    <a:pt x="62336" y="3103"/>
                    <a:pt x="63182" y="3667"/>
                  </a:cubicBezTo>
                  <a:cubicBezTo>
                    <a:pt x="64028" y="4231"/>
                    <a:pt x="64874" y="4231"/>
                    <a:pt x="64874" y="4795"/>
                  </a:cubicBezTo>
                  <a:lnTo>
                    <a:pt x="66567" y="6205"/>
                  </a:lnTo>
                  <a:cubicBezTo>
                    <a:pt x="66848" y="6769"/>
                    <a:pt x="67131" y="7334"/>
                    <a:pt x="67131" y="7898"/>
                  </a:cubicBezTo>
                  <a:cubicBezTo>
                    <a:pt x="66848" y="8462"/>
                    <a:pt x="66848" y="8744"/>
                    <a:pt x="66848" y="8744"/>
                  </a:cubicBezTo>
                  <a:cubicBezTo>
                    <a:pt x="67412" y="9308"/>
                    <a:pt x="67131" y="9308"/>
                    <a:pt x="67131" y="9308"/>
                  </a:cubicBezTo>
                  <a:cubicBezTo>
                    <a:pt x="66567" y="9308"/>
                    <a:pt x="66567" y="9308"/>
                    <a:pt x="66567" y="9590"/>
                  </a:cubicBezTo>
                  <a:lnTo>
                    <a:pt x="66567" y="10718"/>
                  </a:lnTo>
                  <a:cubicBezTo>
                    <a:pt x="66567" y="10718"/>
                    <a:pt x="66567" y="11000"/>
                    <a:pt x="66848" y="11000"/>
                  </a:cubicBezTo>
                  <a:lnTo>
                    <a:pt x="67977" y="11000"/>
                  </a:lnTo>
                  <a:cubicBezTo>
                    <a:pt x="67977" y="11000"/>
                    <a:pt x="68259" y="11000"/>
                    <a:pt x="68259" y="11282"/>
                  </a:cubicBezTo>
                  <a:cubicBezTo>
                    <a:pt x="68259" y="11565"/>
                    <a:pt x="67977" y="11847"/>
                    <a:pt x="67977" y="11847"/>
                  </a:cubicBezTo>
                  <a:cubicBezTo>
                    <a:pt x="67695" y="12129"/>
                    <a:pt x="67412" y="12693"/>
                    <a:pt x="67131" y="12693"/>
                  </a:cubicBezTo>
                  <a:lnTo>
                    <a:pt x="66284" y="12693"/>
                  </a:lnTo>
                  <a:cubicBezTo>
                    <a:pt x="66284" y="12975"/>
                    <a:pt x="66284" y="13539"/>
                    <a:pt x="66567" y="13539"/>
                  </a:cubicBezTo>
                  <a:cubicBezTo>
                    <a:pt x="67412" y="14103"/>
                    <a:pt x="67977" y="15513"/>
                    <a:pt x="68823" y="15513"/>
                  </a:cubicBezTo>
                  <a:cubicBezTo>
                    <a:pt x="69105" y="15513"/>
                    <a:pt x="69105" y="15795"/>
                    <a:pt x="69105" y="16078"/>
                  </a:cubicBezTo>
                  <a:cubicBezTo>
                    <a:pt x="69951" y="16360"/>
                    <a:pt x="70515" y="16924"/>
                    <a:pt x="71079" y="17488"/>
                  </a:cubicBezTo>
                  <a:lnTo>
                    <a:pt x="71362" y="17488"/>
                  </a:lnTo>
                  <a:cubicBezTo>
                    <a:pt x="72208" y="17488"/>
                    <a:pt x="72490" y="17770"/>
                    <a:pt x="72772" y="18334"/>
                  </a:cubicBezTo>
                  <a:cubicBezTo>
                    <a:pt x="73336" y="18616"/>
                    <a:pt x="74182" y="18616"/>
                    <a:pt x="74182" y="19180"/>
                  </a:cubicBezTo>
                  <a:cubicBezTo>
                    <a:pt x="74746" y="19180"/>
                    <a:pt x="74746" y="19462"/>
                    <a:pt x="75029" y="19462"/>
                  </a:cubicBezTo>
                  <a:cubicBezTo>
                    <a:pt x="75593" y="19744"/>
                    <a:pt x="75593" y="20026"/>
                    <a:pt x="75874" y="20026"/>
                  </a:cubicBezTo>
                  <a:cubicBezTo>
                    <a:pt x="77285" y="20026"/>
                    <a:pt x="78131" y="20590"/>
                    <a:pt x="78695" y="21155"/>
                  </a:cubicBezTo>
                  <a:cubicBezTo>
                    <a:pt x="78977" y="21437"/>
                    <a:pt x="79260" y="21437"/>
                    <a:pt x="79260" y="21437"/>
                  </a:cubicBezTo>
                  <a:cubicBezTo>
                    <a:pt x="80105" y="21437"/>
                    <a:pt x="80670" y="21437"/>
                    <a:pt x="80952" y="21719"/>
                  </a:cubicBezTo>
                  <a:cubicBezTo>
                    <a:pt x="80952" y="22001"/>
                    <a:pt x="80952" y="22001"/>
                    <a:pt x="81234" y="22001"/>
                  </a:cubicBezTo>
                  <a:lnTo>
                    <a:pt x="84054" y="22001"/>
                  </a:lnTo>
                  <a:cubicBezTo>
                    <a:pt x="84901" y="22565"/>
                    <a:pt x="85465" y="22565"/>
                    <a:pt x="85746" y="22565"/>
                  </a:cubicBezTo>
                  <a:cubicBezTo>
                    <a:pt x="86029" y="22565"/>
                    <a:pt x="86593" y="23129"/>
                    <a:pt x="87157" y="23129"/>
                  </a:cubicBezTo>
                  <a:cubicBezTo>
                    <a:pt x="87439" y="23129"/>
                    <a:pt x="87439" y="23129"/>
                    <a:pt x="87721" y="22847"/>
                  </a:cubicBezTo>
                  <a:lnTo>
                    <a:pt x="89132" y="22847"/>
                  </a:lnTo>
                  <a:cubicBezTo>
                    <a:pt x="89977" y="22847"/>
                    <a:pt x="89977" y="23411"/>
                    <a:pt x="90542" y="23411"/>
                  </a:cubicBezTo>
                  <a:lnTo>
                    <a:pt x="95337" y="23411"/>
                  </a:lnTo>
                  <a:cubicBezTo>
                    <a:pt x="95619" y="23411"/>
                    <a:pt x="96183" y="23411"/>
                    <a:pt x="96465" y="22847"/>
                  </a:cubicBezTo>
                  <a:lnTo>
                    <a:pt x="99850" y="22847"/>
                  </a:lnTo>
                  <a:cubicBezTo>
                    <a:pt x="100132" y="23129"/>
                    <a:pt x="100414" y="23129"/>
                    <a:pt x="100414" y="23129"/>
                  </a:cubicBezTo>
                  <a:cubicBezTo>
                    <a:pt x="100696" y="23129"/>
                    <a:pt x="100696" y="22565"/>
                    <a:pt x="101260" y="22565"/>
                  </a:cubicBezTo>
                  <a:lnTo>
                    <a:pt x="102670" y="22565"/>
                  </a:lnTo>
                  <a:cubicBezTo>
                    <a:pt x="103235" y="22565"/>
                    <a:pt x="104080" y="22565"/>
                    <a:pt x="103799" y="22283"/>
                  </a:cubicBezTo>
                  <a:cubicBezTo>
                    <a:pt x="104363" y="22001"/>
                    <a:pt x="104927" y="22001"/>
                    <a:pt x="105491" y="22001"/>
                  </a:cubicBezTo>
                  <a:cubicBezTo>
                    <a:pt x="105491" y="21719"/>
                    <a:pt x="106055" y="21719"/>
                    <a:pt x="106337" y="21719"/>
                  </a:cubicBezTo>
                  <a:lnTo>
                    <a:pt x="107466" y="21719"/>
                  </a:lnTo>
                  <a:cubicBezTo>
                    <a:pt x="107747" y="21719"/>
                    <a:pt x="108311" y="21437"/>
                    <a:pt x="108876" y="21437"/>
                  </a:cubicBezTo>
                  <a:lnTo>
                    <a:pt x="110286" y="21437"/>
                  </a:lnTo>
                  <a:cubicBezTo>
                    <a:pt x="110850" y="20873"/>
                    <a:pt x="111697" y="20590"/>
                    <a:pt x="111978" y="20590"/>
                  </a:cubicBezTo>
                  <a:cubicBezTo>
                    <a:pt x="112542" y="20026"/>
                    <a:pt x="113389" y="20026"/>
                    <a:pt x="113953" y="20026"/>
                  </a:cubicBezTo>
                  <a:cubicBezTo>
                    <a:pt x="114517" y="20026"/>
                    <a:pt x="114235" y="19462"/>
                    <a:pt x="115081" y="19462"/>
                  </a:cubicBezTo>
                  <a:lnTo>
                    <a:pt x="115645" y="19462"/>
                  </a:lnTo>
                  <a:cubicBezTo>
                    <a:pt x="115928" y="19462"/>
                    <a:pt x="115928" y="19462"/>
                    <a:pt x="116209" y="19180"/>
                  </a:cubicBezTo>
                  <a:cubicBezTo>
                    <a:pt x="116492" y="19180"/>
                    <a:pt x="117056" y="19180"/>
                    <a:pt x="117620" y="18616"/>
                  </a:cubicBezTo>
                  <a:lnTo>
                    <a:pt x="117902" y="18616"/>
                  </a:lnTo>
                  <a:cubicBezTo>
                    <a:pt x="118183" y="18616"/>
                    <a:pt x="118748" y="18334"/>
                    <a:pt x="119312" y="18052"/>
                  </a:cubicBezTo>
                  <a:cubicBezTo>
                    <a:pt x="119594" y="17770"/>
                    <a:pt x="120158" y="17770"/>
                    <a:pt x="120440" y="17770"/>
                  </a:cubicBezTo>
                  <a:lnTo>
                    <a:pt x="121569" y="17770"/>
                  </a:lnTo>
                  <a:lnTo>
                    <a:pt x="121850" y="18052"/>
                  </a:lnTo>
                  <a:lnTo>
                    <a:pt x="121850" y="18334"/>
                  </a:lnTo>
                  <a:lnTo>
                    <a:pt x="122979" y="19744"/>
                  </a:lnTo>
                  <a:cubicBezTo>
                    <a:pt x="122979" y="20026"/>
                    <a:pt x="122414" y="20308"/>
                    <a:pt x="121850" y="21155"/>
                  </a:cubicBezTo>
                  <a:cubicBezTo>
                    <a:pt x="121004" y="21719"/>
                    <a:pt x="120440" y="22001"/>
                    <a:pt x="120440" y="22847"/>
                  </a:cubicBezTo>
                  <a:lnTo>
                    <a:pt x="120440" y="23411"/>
                  </a:lnTo>
                  <a:cubicBezTo>
                    <a:pt x="120440" y="23411"/>
                    <a:pt x="120158" y="23693"/>
                    <a:pt x="119312" y="23693"/>
                  </a:cubicBezTo>
                  <a:lnTo>
                    <a:pt x="118748" y="24539"/>
                  </a:lnTo>
                  <a:cubicBezTo>
                    <a:pt x="119030" y="24539"/>
                    <a:pt x="119312" y="24821"/>
                    <a:pt x="119312" y="25103"/>
                  </a:cubicBezTo>
                  <a:lnTo>
                    <a:pt x="119312" y="25386"/>
                  </a:lnTo>
                  <a:cubicBezTo>
                    <a:pt x="119030" y="25668"/>
                    <a:pt x="118748" y="26514"/>
                    <a:pt x="117902" y="27360"/>
                  </a:cubicBezTo>
                  <a:cubicBezTo>
                    <a:pt x="117902" y="27360"/>
                    <a:pt x="118466" y="27642"/>
                    <a:pt x="118466" y="27924"/>
                  </a:cubicBezTo>
                  <a:lnTo>
                    <a:pt x="118183" y="27924"/>
                  </a:lnTo>
                  <a:lnTo>
                    <a:pt x="117620" y="28488"/>
                  </a:lnTo>
                  <a:cubicBezTo>
                    <a:pt x="117338" y="29052"/>
                    <a:pt x="116773" y="29334"/>
                    <a:pt x="116492" y="29334"/>
                  </a:cubicBezTo>
                  <a:lnTo>
                    <a:pt x="115645" y="29334"/>
                  </a:lnTo>
                  <a:cubicBezTo>
                    <a:pt x="115081" y="29899"/>
                    <a:pt x="114799" y="30181"/>
                    <a:pt x="114517" y="30181"/>
                  </a:cubicBezTo>
                  <a:cubicBezTo>
                    <a:pt x="114235" y="30181"/>
                    <a:pt x="114235" y="29899"/>
                    <a:pt x="113953" y="29899"/>
                  </a:cubicBezTo>
                  <a:cubicBezTo>
                    <a:pt x="113953" y="29616"/>
                    <a:pt x="113671" y="29899"/>
                    <a:pt x="113671" y="29899"/>
                  </a:cubicBezTo>
                  <a:lnTo>
                    <a:pt x="113671" y="30181"/>
                  </a:lnTo>
                  <a:cubicBezTo>
                    <a:pt x="113671" y="30745"/>
                    <a:pt x="112542" y="30745"/>
                    <a:pt x="112261" y="31591"/>
                  </a:cubicBezTo>
                  <a:cubicBezTo>
                    <a:pt x="112261" y="32155"/>
                    <a:pt x="112261" y="32437"/>
                    <a:pt x="111697" y="32719"/>
                  </a:cubicBezTo>
                  <a:lnTo>
                    <a:pt x="110004" y="32719"/>
                  </a:lnTo>
                  <a:lnTo>
                    <a:pt x="110004" y="33283"/>
                  </a:lnTo>
                  <a:cubicBezTo>
                    <a:pt x="110004" y="33283"/>
                    <a:pt x="109722" y="33847"/>
                    <a:pt x="109722" y="34129"/>
                  </a:cubicBezTo>
                  <a:lnTo>
                    <a:pt x="109722" y="34694"/>
                  </a:lnTo>
                  <a:cubicBezTo>
                    <a:pt x="110568" y="34694"/>
                    <a:pt x="110850" y="35258"/>
                    <a:pt x="111132" y="35258"/>
                  </a:cubicBezTo>
                  <a:cubicBezTo>
                    <a:pt x="111697" y="35258"/>
                    <a:pt x="112261" y="35258"/>
                    <a:pt x="112261" y="35540"/>
                  </a:cubicBezTo>
                  <a:cubicBezTo>
                    <a:pt x="112261" y="35540"/>
                    <a:pt x="112542" y="35540"/>
                    <a:pt x="112542" y="35822"/>
                  </a:cubicBezTo>
                  <a:lnTo>
                    <a:pt x="112542" y="36104"/>
                  </a:lnTo>
                  <a:cubicBezTo>
                    <a:pt x="112261" y="36386"/>
                    <a:pt x="111414" y="36386"/>
                    <a:pt x="111132" y="36950"/>
                  </a:cubicBezTo>
                  <a:lnTo>
                    <a:pt x="109722" y="36950"/>
                  </a:lnTo>
                  <a:cubicBezTo>
                    <a:pt x="109440" y="36668"/>
                    <a:pt x="109158" y="36668"/>
                    <a:pt x="109158" y="36668"/>
                  </a:cubicBezTo>
                  <a:cubicBezTo>
                    <a:pt x="109158" y="36668"/>
                    <a:pt x="108876" y="36668"/>
                    <a:pt x="108876" y="36950"/>
                  </a:cubicBezTo>
                  <a:lnTo>
                    <a:pt x="107747" y="36950"/>
                  </a:lnTo>
                  <a:cubicBezTo>
                    <a:pt x="107183" y="36950"/>
                    <a:pt x="106901" y="36950"/>
                    <a:pt x="106337" y="37232"/>
                  </a:cubicBezTo>
                  <a:cubicBezTo>
                    <a:pt x="106337" y="37514"/>
                    <a:pt x="106055" y="37514"/>
                    <a:pt x="106055" y="37514"/>
                  </a:cubicBezTo>
                  <a:cubicBezTo>
                    <a:pt x="105773" y="37514"/>
                    <a:pt x="105491" y="37232"/>
                    <a:pt x="104927" y="37232"/>
                  </a:cubicBezTo>
                  <a:cubicBezTo>
                    <a:pt x="104645" y="37232"/>
                    <a:pt x="104363" y="37232"/>
                    <a:pt x="104363" y="36950"/>
                  </a:cubicBezTo>
                  <a:cubicBezTo>
                    <a:pt x="104080" y="36950"/>
                    <a:pt x="103799" y="36950"/>
                    <a:pt x="103235" y="37232"/>
                  </a:cubicBezTo>
                  <a:cubicBezTo>
                    <a:pt x="102952" y="37232"/>
                    <a:pt x="102670" y="37796"/>
                    <a:pt x="102388" y="37796"/>
                  </a:cubicBezTo>
                  <a:lnTo>
                    <a:pt x="102106" y="37796"/>
                  </a:lnTo>
                  <a:cubicBezTo>
                    <a:pt x="101824" y="37232"/>
                    <a:pt x="101260" y="37232"/>
                    <a:pt x="100414" y="37232"/>
                  </a:cubicBezTo>
                  <a:lnTo>
                    <a:pt x="98439" y="37232"/>
                  </a:lnTo>
                  <a:cubicBezTo>
                    <a:pt x="98158" y="37232"/>
                    <a:pt x="97875" y="37232"/>
                    <a:pt x="97875" y="36950"/>
                  </a:cubicBezTo>
                  <a:cubicBezTo>
                    <a:pt x="97311" y="36950"/>
                    <a:pt x="97311" y="36950"/>
                    <a:pt x="96465" y="37232"/>
                  </a:cubicBezTo>
                  <a:lnTo>
                    <a:pt x="96183" y="37232"/>
                  </a:lnTo>
                  <a:cubicBezTo>
                    <a:pt x="95337" y="37232"/>
                    <a:pt x="94773" y="37796"/>
                    <a:pt x="94491" y="38360"/>
                  </a:cubicBezTo>
                  <a:cubicBezTo>
                    <a:pt x="94208" y="38642"/>
                    <a:pt x="93927" y="38924"/>
                    <a:pt x="93363" y="38924"/>
                  </a:cubicBezTo>
                  <a:lnTo>
                    <a:pt x="92798" y="38924"/>
                  </a:lnTo>
                  <a:cubicBezTo>
                    <a:pt x="91670" y="38924"/>
                    <a:pt x="90260" y="38360"/>
                    <a:pt x="89132" y="37232"/>
                  </a:cubicBezTo>
                  <a:lnTo>
                    <a:pt x="88849" y="36950"/>
                  </a:lnTo>
                  <a:lnTo>
                    <a:pt x="88567" y="37232"/>
                  </a:lnTo>
                  <a:cubicBezTo>
                    <a:pt x="88285" y="37514"/>
                    <a:pt x="87721" y="38078"/>
                    <a:pt x="87157" y="38078"/>
                  </a:cubicBezTo>
                  <a:cubicBezTo>
                    <a:pt x="86875" y="38078"/>
                    <a:pt x="86875" y="38078"/>
                    <a:pt x="86593" y="37796"/>
                  </a:cubicBezTo>
                  <a:cubicBezTo>
                    <a:pt x="86029" y="37796"/>
                    <a:pt x="85465" y="38078"/>
                    <a:pt x="85182" y="38078"/>
                  </a:cubicBezTo>
                  <a:cubicBezTo>
                    <a:pt x="84618" y="38078"/>
                    <a:pt x="84336" y="37796"/>
                    <a:pt x="84054" y="37232"/>
                  </a:cubicBezTo>
                  <a:lnTo>
                    <a:pt x="81234" y="37232"/>
                  </a:lnTo>
                  <a:cubicBezTo>
                    <a:pt x="80952" y="36950"/>
                    <a:pt x="80105" y="37232"/>
                    <a:pt x="79541" y="36668"/>
                  </a:cubicBezTo>
                  <a:lnTo>
                    <a:pt x="78413" y="36668"/>
                  </a:lnTo>
                  <a:cubicBezTo>
                    <a:pt x="78131" y="36668"/>
                    <a:pt x="77849" y="36668"/>
                    <a:pt x="77567" y="36386"/>
                  </a:cubicBezTo>
                  <a:lnTo>
                    <a:pt x="76157" y="36386"/>
                  </a:lnTo>
                  <a:cubicBezTo>
                    <a:pt x="75874" y="36386"/>
                    <a:pt x="75310" y="36104"/>
                    <a:pt x="75029" y="36104"/>
                  </a:cubicBezTo>
                  <a:cubicBezTo>
                    <a:pt x="74746" y="36104"/>
                    <a:pt x="74746" y="36104"/>
                    <a:pt x="74464" y="36386"/>
                  </a:cubicBezTo>
                  <a:cubicBezTo>
                    <a:pt x="74464" y="36668"/>
                    <a:pt x="74182" y="36668"/>
                    <a:pt x="74182" y="36668"/>
                  </a:cubicBezTo>
                  <a:lnTo>
                    <a:pt x="74182" y="36386"/>
                  </a:lnTo>
                  <a:cubicBezTo>
                    <a:pt x="73618" y="35822"/>
                    <a:pt x="72772" y="35822"/>
                    <a:pt x="71643" y="35258"/>
                  </a:cubicBezTo>
                  <a:cubicBezTo>
                    <a:pt x="71643" y="34976"/>
                    <a:pt x="71362" y="34976"/>
                    <a:pt x="71362" y="34976"/>
                  </a:cubicBezTo>
                  <a:lnTo>
                    <a:pt x="69387" y="34976"/>
                  </a:lnTo>
                  <a:cubicBezTo>
                    <a:pt x="68823" y="34694"/>
                    <a:pt x="68259" y="34411"/>
                    <a:pt x="67977" y="34411"/>
                  </a:cubicBezTo>
                  <a:lnTo>
                    <a:pt x="67695" y="34411"/>
                  </a:lnTo>
                  <a:cubicBezTo>
                    <a:pt x="67131" y="34411"/>
                    <a:pt x="67131" y="34694"/>
                    <a:pt x="67131" y="34976"/>
                  </a:cubicBezTo>
                  <a:cubicBezTo>
                    <a:pt x="67412" y="35540"/>
                    <a:pt x="67695" y="36386"/>
                    <a:pt x="67695" y="36950"/>
                  </a:cubicBezTo>
                  <a:cubicBezTo>
                    <a:pt x="67412" y="37232"/>
                    <a:pt x="67977" y="37232"/>
                    <a:pt x="67977" y="37514"/>
                  </a:cubicBezTo>
                  <a:lnTo>
                    <a:pt x="67977" y="37796"/>
                  </a:lnTo>
                  <a:cubicBezTo>
                    <a:pt x="67695" y="38642"/>
                    <a:pt x="67695" y="39207"/>
                    <a:pt x="67695" y="39771"/>
                  </a:cubicBezTo>
                  <a:cubicBezTo>
                    <a:pt x="67412" y="40053"/>
                    <a:pt x="67412" y="40617"/>
                    <a:pt x="67412" y="40899"/>
                  </a:cubicBezTo>
                  <a:cubicBezTo>
                    <a:pt x="67412" y="41181"/>
                    <a:pt x="67412" y="41463"/>
                    <a:pt x="67695" y="41745"/>
                  </a:cubicBezTo>
                  <a:cubicBezTo>
                    <a:pt x="67131" y="42027"/>
                    <a:pt x="67131" y="42309"/>
                    <a:pt x="67131" y="43155"/>
                  </a:cubicBezTo>
                  <a:lnTo>
                    <a:pt x="66848" y="43155"/>
                  </a:lnTo>
                  <a:cubicBezTo>
                    <a:pt x="66567" y="42873"/>
                    <a:pt x="66567" y="42591"/>
                    <a:pt x="66567" y="42309"/>
                  </a:cubicBezTo>
                  <a:lnTo>
                    <a:pt x="66567" y="41745"/>
                  </a:lnTo>
                  <a:cubicBezTo>
                    <a:pt x="66567" y="41463"/>
                    <a:pt x="66567" y="41181"/>
                    <a:pt x="66284" y="40617"/>
                  </a:cubicBezTo>
                  <a:lnTo>
                    <a:pt x="66284" y="40335"/>
                  </a:lnTo>
                  <a:cubicBezTo>
                    <a:pt x="66284" y="40053"/>
                    <a:pt x="65720" y="39771"/>
                    <a:pt x="66002" y="39771"/>
                  </a:cubicBezTo>
                  <a:cubicBezTo>
                    <a:pt x="66567" y="39207"/>
                    <a:pt x="66567" y="39207"/>
                    <a:pt x="66567" y="38642"/>
                  </a:cubicBezTo>
                  <a:cubicBezTo>
                    <a:pt x="66284" y="38360"/>
                    <a:pt x="66002" y="38078"/>
                    <a:pt x="66002" y="37796"/>
                  </a:cubicBezTo>
                  <a:lnTo>
                    <a:pt x="66284" y="37514"/>
                  </a:lnTo>
                  <a:cubicBezTo>
                    <a:pt x="66284" y="37232"/>
                    <a:pt x="66567" y="36386"/>
                    <a:pt x="66567" y="35822"/>
                  </a:cubicBezTo>
                  <a:cubicBezTo>
                    <a:pt x="66002" y="35540"/>
                    <a:pt x="65720" y="35258"/>
                    <a:pt x="65720" y="34976"/>
                  </a:cubicBezTo>
                  <a:cubicBezTo>
                    <a:pt x="65720" y="34694"/>
                    <a:pt x="65720" y="34411"/>
                    <a:pt x="66002" y="34129"/>
                  </a:cubicBezTo>
                  <a:cubicBezTo>
                    <a:pt x="66284" y="34129"/>
                    <a:pt x="66848" y="33847"/>
                    <a:pt x="66848" y="33565"/>
                  </a:cubicBezTo>
                  <a:cubicBezTo>
                    <a:pt x="66848" y="33283"/>
                    <a:pt x="66284" y="33283"/>
                    <a:pt x="66002" y="33283"/>
                  </a:cubicBezTo>
                  <a:cubicBezTo>
                    <a:pt x="65720" y="33283"/>
                    <a:pt x="65156" y="33283"/>
                    <a:pt x="64874" y="33001"/>
                  </a:cubicBezTo>
                  <a:cubicBezTo>
                    <a:pt x="64310" y="32437"/>
                    <a:pt x="64028" y="32437"/>
                    <a:pt x="63746" y="32437"/>
                  </a:cubicBezTo>
                  <a:cubicBezTo>
                    <a:pt x="63464" y="32437"/>
                    <a:pt x="63182" y="32719"/>
                    <a:pt x="63182" y="32719"/>
                  </a:cubicBezTo>
                  <a:lnTo>
                    <a:pt x="63182" y="33847"/>
                  </a:lnTo>
                  <a:cubicBezTo>
                    <a:pt x="63182" y="34694"/>
                    <a:pt x="63182" y="35822"/>
                    <a:pt x="63464" y="36668"/>
                  </a:cubicBezTo>
                  <a:cubicBezTo>
                    <a:pt x="63464" y="36950"/>
                    <a:pt x="63182" y="37232"/>
                    <a:pt x="63464" y="37232"/>
                  </a:cubicBezTo>
                  <a:lnTo>
                    <a:pt x="63464" y="38078"/>
                  </a:lnTo>
                  <a:cubicBezTo>
                    <a:pt x="63464" y="38642"/>
                    <a:pt x="63464" y="39207"/>
                    <a:pt x="63746" y="39207"/>
                  </a:cubicBezTo>
                  <a:cubicBezTo>
                    <a:pt x="63746" y="39489"/>
                    <a:pt x="64028" y="39771"/>
                    <a:pt x="64028" y="39771"/>
                  </a:cubicBezTo>
                  <a:cubicBezTo>
                    <a:pt x="64028" y="40053"/>
                    <a:pt x="63746" y="40053"/>
                    <a:pt x="63746" y="40335"/>
                  </a:cubicBezTo>
                  <a:cubicBezTo>
                    <a:pt x="63746" y="40617"/>
                    <a:pt x="64028" y="41181"/>
                    <a:pt x="64310" y="41463"/>
                  </a:cubicBezTo>
                  <a:cubicBezTo>
                    <a:pt x="64310" y="41745"/>
                    <a:pt x="64592" y="42027"/>
                    <a:pt x="64874" y="42309"/>
                  </a:cubicBezTo>
                  <a:cubicBezTo>
                    <a:pt x="64592" y="42591"/>
                    <a:pt x="64592" y="42873"/>
                    <a:pt x="64592" y="42873"/>
                  </a:cubicBezTo>
                  <a:lnTo>
                    <a:pt x="64592" y="43155"/>
                  </a:lnTo>
                  <a:lnTo>
                    <a:pt x="64028" y="43155"/>
                  </a:lnTo>
                  <a:cubicBezTo>
                    <a:pt x="63746" y="43155"/>
                    <a:pt x="63746" y="42873"/>
                    <a:pt x="63746" y="42873"/>
                  </a:cubicBezTo>
                  <a:cubicBezTo>
                    <a:pt x="63464" y="42873"/>
                    <a:pt x="63182" y="43155"/>
                    <a:pt x="63182" y="43155"/>
                  </a:cubicBezTo>
                  <a:cubicBezTo>
                    <a:pt x="62900" y="43155"/>
                    <a:pt x="62900" y="43437"/>
                    <a:pt x="62900" y="43720"/>
                  </a:cubicBezTo>
                  <a:lnTo>
                    <a:pt x="62900" y="44002"/>
                  </a:lnTo>
                  <a:cubicBezTo>
                    <a:pt x="62900" y="44566"/>
                    <a:pt x="63182" y="45130"/>
                    <a:pt x="63746" y="45694"/>
                  </a:cubicBezTo>
                  <a:cubicBezTo>
                    <a:pt x="64310" y="45976"/>
                    <a:pt x="64592" y="46540"/>
                    <a:pt x="64592" y="47386"/>
                  </a:cubicBezTo>
                  <a:cubicBezTo>
                    <a:pt x="64592" y="47668"/>
                    <a:pt x="64874" y="47950"/>
                    <a:pt x="65156" y="47950"/>
                  </a:cubicBezTo>
                  <a:cubicBezTo>
                    <a:pt x="65156" y="47950"/>
                    <a:pt x="65438" y="47950"/>
                    <a:pt x="65720" y="47668"/>
                  </a:cubicBezTo>
                  <a:cubicBezTo>
                    <a:pt x="65720" y="47386"/>
                    <a:pt x="66284" y="47386"/>
                    <a:pt x="66284" y="47104"/>
                  </a:cubicBezTo>
                  <a:cubicBezTo>
                    <a:pt x="66002" y="46258"/>
                    <a:pt x="66002" y="45976"/>
                    <a:pt x="66002" y="45694"/>
                  </a:cubicBezTo>
                  <a:cubicBezTo>
                    <a:pt x="66002" y="45130"/>
                    <a:pt x="66284" y="45130"/>
                    <a:pt x="66284" y="45130"/>
                  </a:cubicBezTo>
                  <a:cubicBezTo>
                    <a:pt x="66848" y="45130"/>
                    <a:pt x="67131" y="45130"/>
                    <a:pt x="67131" y="45694"/>
                  </a:cubicBezTo>
                  <a:lnTo>
                    <a:pt x="67131" y="45976"/>
                  </a:lnTo>
                  <a:cubicBezTo>
                    <a:pt x="67131" y="46258"/>
                    <a:pt x="67412" y="46540"/>
                    <a:pt x="67412" y="47104"/>
                  </a:cubicBezTo>
                  <a:cubicBezTo>
                    <a:pt x="67412" y="47386"/>
                    <a:pt x="67412" y="47386"/>
                    <a:pt x="67131" y="47668"/>
                  </a:cubicBezTo>
                  <a:lnTo>
                    <a:pt x="67131" y="49643"/>
                  </a:lnTo>
                  <a:cubicBezTo>
                    <a:pt x="66848" y="49925"/>
                    <a:pt x="66567" y="50207"/>
                    <a:pt x="66567" y="50771"/>
                  </a:cubicBezTo>
                  <a:cubicBezTo>
                    <a:pt x="66567" y="51053"/>
                    <a:pt x="66567" y="51335"/>
                    <a:pt x="66848" y="51617"/>
                  </a:cubicBezTo>
                  <a:cubicBezTo>
                    <a:pt x="67131" y="52181"/>
                    <a:pt x="67131" y="53028"/>
                    <a:pt x="67131" y="54156"/>
                  </a:cubicBezTo>
                  <a:lnTo>
                    <a:pt x="67131" y="55002"/>
                  </a:lnTo>
                  <a:cubicBezTo>
                    <a:pt x="66848" y="55566"/>
                    <a:pt x="66002" y="56130"/>
                    <a:pt x="66002" y="56694"/>
                  </a:cubicBezTo>
                  <a:cubicBezTo>
                    <a:pt x="66002" y="56976"/>
                    <a:pt x="66284" y="56976"/>
                    <a:pt x="66284" y="57258"/>
                  </a:cubicBezTo>
                  <a:cubicBezTo>
                    <a:pt x="66567" y="57823"/>
                    <a:pt x="66848" y="58387"/>
                    <a:pt x="66848" y="58951"/>
                  </a:cubicBezTo>
                  <a:cubicBezTo>
                    <a:pt x="66848" y="59233"/>
                    <a:pt x="66567" y="59797"/>
                    <a:pt x="66567" y="60079"/>
                  </a:cubicBezTo>
                  <a:lnTo>
                    <a:pt x="67412" y="62336"/>
                  </a:lnTo>
                  <a:cubicBezTo>
                    <a:pt x="67695" y="62618"/>
                    <a:pt x="68259" y="62900"/>
                    <a:pt x="68541" y="62900"/>
                  </a:cubicBezTo>
                  <a:lnTo>
                    <a:pt x="68541" y="63464"/>
                  </a:lnTo>
                  <a:lnTo>
                    <a:pt x="65720" y="63464"/>
                  </a:lnTo>
                  <a:cubicBezTo>
                    <a:pt x="65720" y="64592"/>
                    <a:pt x="65156" y="64874"/>
                    <a:pt x="64874" y="65156"/>
                  </a:cubicBezTo>
                  <a:cubicBezTo>
                    <a:pt x="64592" y="65438"/>
                    <a:pt x="64592" y="65438"/>
                    <a:pt x="64592" y="66002"/>
                  </a:cubicBezTo>
                  <a:cubicBezTo>
                    <a:pt x="64874" y="66002"/>
                    <a:pt x="65156" y="66566"/>
                    <a:pt x="65156" y="66849"/>
                  </a:cubicBezTo>
                  <a:cubicBezTo>
                    <a:pt x="64874" y="67131"/>
                    <a:pt x="64874" y="67131"/>
                    <a:pt x="64874" y="67413"/>
                  </a:cubicBezTo>
                  <a:lnTo>
                    <a:pt x="64874" y="67977"/>
                  </a:lnTo>
                  <a:cubicBezTo>
                    <a:pt x="65438" y="68541"/>
                    <a:pt x="65720" y="68823"/>
                    <a:pt x="65720" y="69105"/>
                  </a:cubicBezTo>
                  <a:cubicBezTo>
                    <a:pt x="65720" y="69387"/>
                    <a:pt x="65438" y="69387"/>
                    <a:pt x="65438" y="69669"/>
                  </a:cubicBezTo>
                  <a:lnTo>
                    <a:pt x="65438" y="71079"/>
                  </a:lnTo>
                  <a:cubicBezTo>
                    <a:pt x="65156" y="71362"/>
                    <a:pt x="65156" y="71926"/>
                    <a:pt x="64874" y="72490"/>
                  </a:cubicBezTo>
                  <a:cubicBezTo>
                    <a:pt x="64592" y="72490"/>
                    <a:pt x="64592" y="72772"/>
                    <a:pt x="64592" y="72772"/>
                  </a:cubicBezTo>
                  <a:cubicBezTo>
                    <a:pt x="64592" y="73054"/>
                    <a:pt x="64874" y="73618"/>
                    <a:pt x="65156" y="73900"/>
                  </a:cubicBezTo>
                  <a:lnTo>
                    <a:pt x="65156" y="74464"/>
                  </a:lnTo>
                  <a:cubicBezTo>
                    <a:pt x="65720" y="74464"/>
                    <a:pt x="65720" y="74464"/>
                    <a:pt x="66002" y="74182"/>
                  </a:cubicBezTo>
                  <a:cubicBezTo>
                    <a:pt x="66284" y="73900"/>
                    <a:pt x="66284" y="73900"/>
                    <a:pt x="66284" y="73618"/>
                  </a:cubicBezTo>
                  <a:lnTo>
                    <a:pt x="66284" y="73336"/>
                  </a:lnTo>
                  <a:cubicBezTo>
                    <a:pt x="66284" y="73054"/>
                    <a:pt x="66284" y="73054"/>
                    <a:pt x="66567" y="73054"/>
                  </a:cubicBezTo>
                  <a:cubicBezTo>
                    <a:pt x="66848" y="73054"/>
                    <a:pt x="66848" y="73336"/>
                    <a:pt x="66848" y="73336"/>
                  </a:cubicBezTo>
                  <a:cubicBezTo>
                    <a:pt x="67131" y="73618"/>
                    <a:pt x="67131" y="74182"/>
                    <a:pt x="67131" y="74182"/>
                  </a:cubicBezTo>
                  <a:cubicBezTo>
                    <a:pt x="67131" y="74464"/>
                    <a:pt x="67977" y="74464"/>
                    <a:pt x="68259" y="74464"/>
                  </a:cubicBezTo>
                  <a:cubicBezTo>
                    <a:pt x="68541" y="74182"/>
                    <a:pt x="68541" y="73900"/>
                    <a:pt x="68541" y="73618"/>
                  </a:cubicBezTo>
                  <a:lnTo>
                    <a:pt x="68823" y="73618"/>
                  </a:lnTo>
                  <a:cubicBezTo>
                    <a:pt x="69105" y="73618"/>
                    <a:pt x="69105" y="73618"/>
                    <a:pt x="69105" y="73900"/>
                  </a:cubicBezTo>
                  <a:cubicBezTo>
                    <a:pt x="69387" y="74182"/>
                    <a:pt x="69387" y="74182"/>
                    <a:pt x="69387" y="74464"/>
                  </a:cubicBezTo>
                  <a:cubicBezTo>
                    <a:pt x="69387" y="74746"/>
                    <a:pt x="69387" y="75028"/>
                    <a:pt x="69105" y="75310"/>
                  </a:cubicBezTo>
                  <a:cubicBezTo>
                    <a:pt x="69105" y="75310"/>
                    <a:pt x="68259" y="75875"/>
                    <a:pt x="68259" y="76439"/>
                  </a:cubicBezTo>
                  <a:cubicBezTo>
                    <a:pt x="68259" y="76721"/>
                    <a:pt x="67977" y="76439"/>
                    <a:pt x="67412" y="76439"/>
                  </a:cubicBezTo>
                  <a:lnTo>
                    <a:pt x="67412" y="76157"/>
                  </a:lnTo>
                  <a:cubicBezTo>
                    <a:pt x="66848" y="76721"/>
                    <a:pt x="67131" y="77285"/>
                    <a:pt x="66848" y="77567"/>
                  </a:cubicBezTo>
                  <a:lnTo>
                    <a:pt x="66848" y="78695"/>
                  </a:lnTo>
                  <a:cubicBezTo>
                    <a:pt x="67695" y="78977"/>
                    <a:pt x="67412" y="79823"/>
                    <a:pt x="67695" y="80105"/>
                  </a:cubicBezTo>
                  <a:cubicBezTo>
                    <a:pt x="67695" y="80670"/>
                    <a:pt x="67695" y="80670"/>
                    <a:pt x="67412" y="80670"/>
                  </a:cubicBezTo>
                  <a:cubicBezTo>
                    <a:pt x="67131" y="80105"/>
                    <a:pt x="67131" y="79823"/>
                    <a:pt x="66848" y="79823"/>
                  </a:cubicBezTo>
                  <a:lnTo>
                    <a:pt x="66567" y="80105"/>
                  </a:lnTo>
                  <a:cubicBezTo>
                    <a:pt x="66284" y="80670"/>
                    <a:pt x="65720" y="80952"/>
                    <a:pt x="65720" y="81234"/>
                  </a:cubicBezTo>
                  <a:cubicBezTo>
                    <a:pt x="65156" y="81516"/>
                    <a:pt x="65156" y="81516"/>
                    <a:pt x="65156" y="81798"/>
                  </a:cubicBezTo>
                  <a:cubicBezTo>
                    <a:pt x="65156" y="82080"/>
                    <a:pt x="65156" y="82362"/>
                    <a:pt x="65438" y="82926"/>
                  </a:cubicBezTo>
                  <a:lnTo>
                    <a:pt x="65438" y="83208"/>
                  </a:lnTo>
                  <a:cubicBezTo>
                    <a:pt x="65156" y="83490"/>
                    <a:pt x="65156" y="83772"/>
                    <a:pt x="65156" y="84054"/>
                  </a:cubicBezTo>
                  <a:cubicBezTo>
                    <a:pt x="65156" y="84618"/>
                    <a:pt x="65438" y="84900"/>
                    <a:pt x="65438" y="85183"/>
                  </a:cubicBezTo>
                  <a:cubicBezTo>
                    <a:pt x="65438" y="86029"/>
                    <a:pt x="64874" y="86593"/>
                    <a:pt x="64592" y="86875"/>
                  </a:cubicBezTo>
                  <a:lnTo>
                    <a:pt x="64592" y="87721"/>
                  </a:lnTo>
                  <a:cubicBezTo>
                    <a:pt x="64874" y="88285"/>
                    <a:pt x="64874" y="88567"/>
                    <a:pt x="64874" y="89131"/>
                  </a:cubicBezTo>
                  <a:cubicBezTo>
                    <a:pt x="65438" y="89131"/>
                    <a:pt x="65438" y="89696"/>
                    <a:pt x="66002" y="90542"/>
                  </a:cubicBezTo>
                  <a:cubicBezTo>
                    <a:pt x="66002" y="90824"/>
                    <a:pt x="66002" y="90824"/>
                    <a:pt x="66284" y="90824"/>
                  </a:cubicBezTo>
                  <a:cubicBezTo>
                    <a:pt x="66284" y="90824"/>
                    <a:pt x="66567" y="90824"/>
                    <a:pt x="66848" y="90542"/>
                  </a:cubicBezTo>
                  <a:cubicBezTo>
                    <a:pt x="67131" y="89696"/>
                    <a:pt x="67695" y="89696"/>
                    <a:pt x="67412" y="89413"/>
                  </a:cubicBezTo>
                  <a:cubicBezTo>
                    <a:pt x="67412" y="89131"/>
                    <a:pt x="67977" y="88849"/>
                    <a:pt x="67977" y="88567"/>
                  </a:cubicBezTo>
                  <a:cubicBezTo>
                    <a:pt x="68259" y="88567"/>
                    <a:pt x="69105" y="88003"/>
                    <a:pt x="69105" y="87721"/>
                  </a:cubicBezTo>
                  <a:cubicBezTo>
                    <a:pt x="68823" y="87439"/>
                    <a:pt x="68823" y="87439"/>
                    <a:pt x="68823" y="87157"/>
                  </a:cubicBezTo>
                  <a:cubicBezTo>
                    <a:pt x="68823" y="86875"/>
                    <a:pt x="69105" y="86875"/>
                    <a:pt x="69105" y="86593"/>
                  </a:cubicBezTo>
                  <a:lnTo>
                    <a:pt x="69105" y="86311"/>
                  </a:lnTo>
                  <a:cubicBezTo>
                    <a:pt x="69387" y="86029"/>
                    <a:pt x="69387" y="85465"/>
                    <a:pt x="69669" y="85465"/>
                  </a:cubicBezTo>
                  <a:lnTo>
                    <a:pt x="70233" y="87157"/>
                  </a:lnTo>
                  <a:cubicBezTo>
                    <a:pt x="70233" y="87439"/>
                    <a:pt x="69951" y="88003"/>
                    <a:pt x="69669" y="88003"/>
                  </a:cubicBezTo>
                  <a:cubicBezTo>
                    <a:pt x="69387" y="88285"/>
                    <a:pt x="69105" y="88567"/>
                    <a:pt x="69105" y="88849"/>
                  </a:cubicBezTo>
                  <a:lnTo>
                    <a:pt x="69387" y="89131"/>
                  </a:lnTo>
                  <a:cubicBezTo>
                    <a:pt x="69387" y="89413"/>
                    <a:pt x="69669" y="89696"/>
                    <a:pt x="69669" y="89978"/>
                  </a:cubicBezTo>
                  <a:cubicBezTo>
                    <a:pt x="69669" y="90260"/>
                    <a:pt x="69387" y="90542"/>
                    <a:pt x="69105" y="90542"/>
                  </a:cubicBezTo>
                  <a:cubicBezTo>
                    <a:pt x="69105" y="91106"/>
                    <a:pt x="68541" y="91670"/>
                    <a:pt x="68259" y="92798"/>
                  </a:cubicBezTo>
                  <a:lnTo>
                    <a:pt x="68259" y="94773"/>
                  </a:lnTo>
                  <a:cubicBezTo>
                    <a:pt x="68259" y="95055"/>
                    <a:pt x="67977" y="95055"/>
                    <a:pt x="67695" y="95337"/>
                  </a:cubicBezTo>
                  <a:cubicBezTo>
                    <a:pt x="67412" y="95901"/>
                    <a:pt x="66848" y="97029"/>
                    <a:pt x="66848" y="97593"/>
                  </a:cubicBezTo>
                  <a:cubicBezTo>
                    <a:pt x="66567" y="98439"/>
                    <a:pt x="66567" y="98439"/>
                    <a:pt x="65720" y="98439"/>
                  </a:cubicBezTo>
                  <a:cubicBezTo>
                    <a:pt x="65438" y="98439"/>
                    <a:pt x="65438" y="99004"/>
                    <a:pt x="65438" y="99004"/>
                  </a:cubicBezTo>
                  <a:cubicBezTo>
                    <a:pt x="65438" y="99568"/>
                    <a:pt x="65720" y="100414"/>
                    <a:pt x="65720" y="101260"/>
                  </a:cubicBezTo>
                  <a:lnTo>
                    <a:pt x="65438" y="101542"/>
                  </a:lnTo>
                  <a:lnTo>
                    <a:pt x="64874" y="101542"/>
                  </a:lnTo>
                  <a:cubicBezTo>
                    <a:pt x="64874" y="101260"/>
                    <a:pt x="64592" y="100978"/>
                    <a:pt x="64310" y="100696"/>
                  </a:cubicBezTo>
                  <a:lnTo>
                    <a:pt x="64310" y="97311"/>
                  </a:lnTo>
                  <a:lnTo>
                    <a:pt x="64028" y="97311"/>
                  </a:lnTo>
                  <a:cubicBezTo>
                    <a:pt x="64028" y="97029"/>
                    <a:pt x="64028" y="96747"/>
                    <a:pt x="63746" y="96747"/>
                  </a:cubicBezTo>
                  <a:cubicBezTo>
                    <a:pt x="63464" y="96747"/>
                    <a:pt x="62900" y="97311"/>
                    <a:pt x="62618" y="97593"/>
                  </a:cubicBezTo>
                  <a:cubicBezTo>
                    <a:pt x="62618" y="98439"/>
                    <a:pt x="62054" y="98721"/>
                    <a:pt x="62054" y="99286"/>
                  </a:cubicBezTo>
                  <a:lnTo>
                    <a:pt x="62054" y="99568"/>
                  </a:lnTo>
                  <a:cubicBezTo>
                    <a:pt x="62054" y="99568"/>
                    <a:pt x="62336" y="100414"/>
                    <a:pt x="62336" y="100696"/>
                  </a:cubicBezTo>
                  <a:lnTo>
                    <a:pt x="62054" y="100978"/>
                  </a:lnTo>
                  <a:cubicBezTo>
                    <a:pt x="61207" y="100978"/>
                    <a:pt x="60926" y="101542"/>
                    <a:pt x="60926" y="102388"/>
                  </a:cubicBezTo>
                  <a:cubicBezTo>
                    <a:pt x="60926" y="102388"/>
                    <a:pt x="60643" y="102388"/>
                    <a:pt x="60643" y="102670"/>
                  </a:cubicBezTo>
                  <a:cubicBezTo>
                    <a:pt x="60643" y="103234"/>
                    <a:pt x="59797" y="104081"/>
                    <a:pt x="59797" y="104645"/>
                  </a:cubicBezTo>
                  <a:lnTo>
                    <a:pt x="58105" y="106337"/>
                  </a:lnTo>
                  <a:cubicBezTo>
                    <a:pt x="57823" y="106901"/>
                    <a:pt x="57259" y="106901"/>
                    <a:pt x="57259" y="107465"/>
                  </a:cubicBezTo>
                  <a:lnTo>
                    <a:pt x="57259" y="107747"/>
                  </a:lnTo>
                  <a:cubicBezTo>
                    <a:pt x="56695" y="108030"/>
                    <a:pt x="56695" y="108312"/>
                    <a:pt x="56412" y="108312"/>
                  </a:cubicBezTo>
                  <a:cubicBezTo>
                    <a:pt x="55848" y="108312"/>
                    <a:pt x="55566" y="108594"/>
                    <a:pt x="55566" y="108876"/>
                  </a:cubicBezTo>
                  <a:cubicBezTo>
                    <a:pt x="55284" y="110004"/>
                    <a:pt x="54438" y="110850"/>
                    <a:pt x="54156" y="111414"/>
                  </a:cubicBezTo>
                  <a:cubicBezTo>
                    <a:pt x="53874" y="111414"/>
                    <a:pt x="53874" y="111978"/>
                    <a:pt x="53874" y="111978"/>
                  </a:cubicBezTo>
                  <a:cubicBezTo>
                    <a:pt x="53309" y="112260"/>
                    <a:pt x="53874" y="112825"/>
                    <a:pt x="53028" y="112825"/>
                  </a:cubicBezTo>
                  <a:cubicBezTo>
                    <a:pt x="52745" y="112825"/>
                    <a:pt x="52464" y="113107"/>
                    <a:pt x="51899" y="113107"/>
                  </a:cubicBezTo>
                  <a:lnTo>
                    <a:pt x="51899" y="113953"/>
                  </a:lnTo>
                  <a:lnTo>
                    <a:pt x="49925" y="115363"/>
                  </a:lnTo>
                  <a:lnTo>
                    <a:pt x="49361" y="115363"/>
                  </a:lnTo>
                  <a:lnTo>
                    <a:pt x="49361" y="114235"/>
                  </a:lnTo>
                  <a:cubicBezTo>
                    <a:pt x="49078" y="114235"/>
                    <a:pt x="48797" y="114517"/>
                    <a:pt x="48797" y="114517"/>
                  </a:cubicBezTo>
                  <a:cubicBezTo>
                    <a:pt x="48514" y="114799"/>
                    <a:pt x="48514" y="114799"/>
                    <a:pt x="48514" y="115081"/>
                  </a:cubicBezTo>
                  <a:lnTo>
                    <a:pt x="48514" y="115363"/>
                  </a:lnTo>
                  <a:cubicBezTo>
                    <a:pt x="48514" y="116209"/>
                    <a:pt x="48514" y="116773"/>
                    <a:pt x="47950" y="117055"/>
                  </a:cubicBezTo>
                  <a:cubicBezTo>
                    <a:pt x="47386" y="117055"/>
                    <a:pt x="47386" y="117338"/>
                    <a:pt x="47104" y="117620"/>
                  </a:cubicBezTo>
                  <a:cubicBezTo>
                    <a:pt x="46822" y="118748"/>
                    <a:pt x="46540" y="119312"/>
                    <a:pt x="45694" y="119312"/>
                  </a:cubicBezTo>
                  <a:cubicBezTo>
                    <a:pt x="45412" y="119030"/>
                    <a:pt x="45412" y="118748"/>
                    <a:pt x="45412" y="118748"/>
                  </a:cubicBezTo>
                  <a:close/>
                  <a:moveTo>
                    <a:pt x="2538" y="85747"/>
                  </a:moveTo>
                  <a:lnTo>
                    <a:pt x="2821" y="85747"/>
                  </a:lnTo>
                  <a:lnTo>
                    <a:pt x="2821" y="85465"/>
                  </a:lnTo>
                  <a:cubicBezTo>
                    <a:pt x="2538" y="85465"/>
                    <a:pt x="2538" y="85747"/>
                    <a:pt x="2538" y="85747"/>
                  </a:cubicBezTo>
                  <a:close/>
                  <a:moveTo>
                    <a:pt x="7052" y="114235"/>
                  </a:moveTo>
                  <a:cubicBezTo>
                    <a:pt x="6769" y="113389"/>
                    <a:pt x="6769" y="112825"/>
                    <a:pt x="6205" y="112260"/>
                  </a:cubicBezTo>
                  <a:lnTo>
                    <a:pt x="5359" y="111132"/>
                  </a:lnTo>
                  <a:cubicBezTo>
                    <a:pt x="5359" y="110568"/>
                    <a:pt x="5077" y="110004"/>
                    <a:pt x="4513" y="109440"/>
                  </a:cubicBezTo>
                  <a:cubicBezTo>
                    <a:pt x="4231" y="109440"/>
                    <a:pt x="3949" y="109440"/>
                    <a:pt x="3949" y="109158"/>
                  </a:cubicBezTo>
                  <a:lnTo>
                    <a:pt x="3667" y="109158"/>
                  </a:lnTo>
                  <a:lnTo>
                    <a:pt x="3385" y="108876"/>
                  </a:lnTo>
                  <a:lnTo>
                    <a:pt x="3103" y="108876"/>
                  </a:lnTo>
                  <a:lnTo>
                    <a:pt x="3103" y="110286"/>
                  </a:lnTo>
                  <a:cubicBezTo>
                    <a:pt x="3103" y="110568"/>
                    <a:pt x="3385" y="110850"/>
                    <a:pt x="4231" y="111414"/>
                  </a:cubicBezTo>
                  <a:lnTo>
                    <a:pt x="4231" y="112825"/>
                  </a:lnTo>
                  <a:cubicBezTo>
                    <a:pt x="4231" y="113107"/>
                    <a:pt x="4513" y="113389"/>
                    <a:pt x="4513" y="114235"/>
                  </a:cubicBezTo>
                  <a:cubicBezTo>
                    <a:pt x="4513" y="114235"/>
                    <a:pt x="4513" y="114517"/>
                    <a:pt x="4795" y="114517"/>
                  </a:cubicBezTo>
                  <a:cubicBezTo>
                    <a:pt x="5641" y="114799"/>
                    <a:pt x="5924" y="115081"/>
                    <a:pt x="5924" y="115645"/>
                  </a:cubicBezTo>
                  <a:lnTo>
                    <a:pt x="5924" y="116209"/>
                  </a:lnTo>
                  <a:cubicBezTo>
                    <a:pt x="5924" y="116491"/>
                    <a:pt x="6205" y="116773"/>
                    <a:pt x="6769" y="117055"/>
                  </a:cubicBezTo>
                  <a:lnTo>
                    <a:pt x="6769" y="117338"/>
                  </a:lnTo>
                  <a:cubicBezTo>
                    <a:pt x="7052" y="117338"/>
                    <a:pt x="7052" y="117055"/>
                    <a:pt x="7052" y="117055"/>
                  </a:cubicBezTo>
                  <a:cubicBezTo>
                    <a:pt x="6769" y="116491"/>
                    <a:pt x="6769" y="115927"/>
                    <a:pt x="6769" y="115645"/>
                  </a:cubicBezTo>
                  <a:cubicBezTo>
                    <a:pt x="6769" y="115363"/>
                    <a:pt x="6769" y="115081"/>
                    <a:pt x="7334" y="114799"/>
                  </a:cubicBezTo>
                  <a:cubicBezTo>
                    <a:pt x="7334" y="114517"/>
                    <a:pt x="7334" y="114235"/>
                    <a:pt x="7052" y="114235"/>
                  </a:cubicBezTo>
                  <a:close/>
                  <a:moveTo>
                    <a:pt x="4795" y="77849"/>
                  </a:moveTo>
                  <a:cubicBezTo>
                    <a:pt x="4795" y="77003"/>
                    <a:pt x="4795" y="76721"/>
                    <a:pt x="4513" y="76439"/>
                  </a:cubicBezTo>
                  <a:cubicBezTo>
                    <a:pt x="4513" y="76439"/>
                    <a:pt x="4513" y="76157"/>
                    <a:pt x="4231" y="76157"/>
                  </a:cubicBezTo>
                  <a:lnTo>
                    <a:pt x="3667" y="76157"/>
                  </a:lnTo>
                  <a:cubicBezTo>
                    <a:pt x="3667" y="76439"/>
                    <a:pt x="3667" y="76721"/>
                    <a:pt x="3949" y="76721"/>
                  </a:cubicBezTo>
                  <a:cubicBezTo>
                    <a:pt x="4513" y="77285"/>
                    <a:pt x="4513" y="77849"/>
                    <a:pt x="4513" y="78413"/>
                  </a:cubicBezTo>
                  <a:lnTo>
                    <a:pt x="4513" y="78695"/>
                  </a:lnTo>
                  <a:lnTo>
                    <a:pt x="4795" y="78413"/>
                  </a:lnTo>
                  <a:lnTo>
                    <a:pt x="4795" y="77849"/>
                  </a:lnTo>
                  <a:close/>
                  <a:moveTo>
                    <a:pt x="5641" y="69951"/>
                  </a:moveTo>
                  <a:lnTo>
                    <a:pt x="5924" y="69951"/>
                  </a:lnTo>
                  <a:lnTo>
                    <a:pt x="5924" y="69669"/>
                  </a:lnTo>
                  <a:cubicBezTo>
                    <a:pt x="5924" y="69951"/>
                    <a:pt x="5641" y="69951"/>
                    <a:pt x="5641" y="69951"/>
                  </a:cubicBezTo>
                  <a:close/>
                  <a:moveTo>
                    <a:pt x="7898" y="116491"/>
                  </a:moveTo>
                  <a:cubicBezTo>
                    <a:pt x="7898" y="116491"/>
                    <a:pt x="7898" y="116773"/>
                    <a:pt x="8180" y="117055"/>
                  </a:cubicBezTo>
                  <a:lnTo>
                    <a:pt x="8462" y="117338"/>
                  </a:lnTo>
                  <a:cubicBezTo>
                    <a:pt x="8744" y="117338"/>
                    <a:pt x="8744" y="117055"/>
                    <a:pt x="8744" y="116773"/>
                  </a:cubicBezTo>
                  <a:cubicBezTo>
                    <a:pt x="8462" y="116491"/>
                    <a:pt x="8462" y="116209"/>
                    <a:pt x="8180" y="116209"/>
                  </a:cubicBezTo>
                  <a:cubicBezTo>
                    <a:pt x="7898" y="116209"/>
                    <a:pt x="7898" y="116209"/>
                    <a:pt x="7898" y="116491"/>
                  </a:cubicBezTo>
                  <a:close/>
                  <a:moveTo>
                    <a:pt x="9308" y="119876"/>
                  </a:moveTo>
                  <a:cubicBezTo>
                    <a:pt x="9308" y="119312"/>
                    <a:pt x="9026" y="119312"/>
                    <a:pt x="8462" y="119030"/>
                  </a:cubicBezTo>
                  <a:lnTo>
                    <a:pt x="7898" y="119030"/>
                  </a:lnTo>
                  <a:lnTo>
                    <a:pt x="8180" y="119312"/>
                  </a:lnTo>
                  <a:cubicBezTo>
                    <a:pt x="8462" y="119876"/>
                    <a:pt x="8744" y="120158"/>
                    <a:pt x="8744" y="120722"/>
                  </a:cubicBezTo>
                  <a:lnTo>
                    <a:pt x="8744" y="121004"/>
                  </a:lnTo>
                  <a:cubicBezTo>
                    <a:pt x="9026" y="121004"/>
                    <a:pt x="9026" y="121004"/>
                    <a:pt x="9026" y="121286"/>
                  </a:cubicBezTo>
                  <a:lnTo>
                    <a:pt x="9590" y="120722"/>
                  </a:lnTo>
                  <a:cubicBezTo>
                    <a:pt x="9590" y="120440"/>
                    <a:pt x="9590" y="120440"/>
                    <a:pt x="9308" y="119876"/>
                  </a:cubicBezTo>
                  <a:close/>
                  <a:moveTo>
                    <a:pt x="9872" y="121568"/>
                  </a:moveTo>
                  <a:cubicBezTo>
                    <a:pt x="9872" y="121286"/>
                    <a:pt x="9590" y="121568"/>
                    <a:pt x="9872" y="122133"/>
                  </a:cubicBezTo>
                  <a:cubicBezTo>
                    <a:pt x="9872" y="122415"/>
                    <a:pt x="10436" y="122697"/>
                    <a:pt x="10436" y="122979"/>
                  </a:cubicBezTo>
                  <a:cubicBezTo>
                    <a:pt x="10436" y="122979"/>
                    <a:pt x="10718" y="122979"/>
                    <a:pt x="10718" y="122697"/>
                  </a:cubicBezTo>
                  <a:lnTo>
                    <a:pt x="9872" y="121568"/>
                  </a:lnTo>
                  <a:close/>
                  <a:moveTo>
                    <a:pt x="58387" y="45694"/>
                  </a:moveTo>
                  <a:cubicBezTo>
                    <a:pt x="58387" y="45412"/>
                    <a:pt x="58387" y="45412"/>
                    <a:pt x="58951" y="45130"/>
                  </a:cubicBezTo>
                  <a:cubicBezTo>
                    <a:pt x="58951" y="45130"/>
                    <a:pt x="58387" y="44284"/>
                    <a:pt x="58387" y="44002"/>
                  </a:cubicBezTo>
                  <a:lnTo>
                    <a:pt x="58105" y="43720"/>
                  </a:lnTo>
                  <a:cubicBezTo>
                    <a:pt x="58669" y="43437"/>
                    <a:pt x="58951" y="42873"/>
                    <a:pt x="58951" y="42591"/>
                  </a:cubicBezTo>
                  <a:cubicBezTo>
                    <a:pt x="58951" y="42309"/>
                    <a:pt x="58669" y="42027"/>
                    <a:pt x="58105" y="41463"/>
                  </a:cubicBezTo>
                  <a:cubicBezTo>
                    <a:pt x="57823" y="41463"/>
                    <a:pt x="58105" y="41181"/>
                    <a:pt x="58105" y="41181"/>
                  </a:cubicBezTo>
                  <a:cubicBezTo>
                    <a:pt x="58105" y="40899"/>
                    <a:pt x="58669" y="40617"/>
                    <a:pt x="58669" y="40053"/>
                  </a:cubicBezTo>
                  <a:lnTo>
                    <a:pt x="58669" y="38642"/>
                  </a:lnTo>
                  <a:cubicBezTo>
                    <a:pt x="58387" y="38360"/>
                    <a:pt x="58387" y="37796"/>
                    <a:pt x="58387" y="37514"/>
                  </a:cubicBezTo>
                  <a:cubicBezTo>
                    <a:pt x="58387" y="37232"/>
                    <a:pt x="58387" y="36950"/>
                    <a:pt x="58669" y="36386"/>
                  </a:cubicBezTo>
                  <a:lnTo>
                    <a:pt x="57259" y="36386"/>
                  </a:lnTo>
                  <a:cubicBezTo>
                    <a:pt x="57259" y="36668"/>
                    <a:pt x="56976" y="36668"/>
                    <a:pt x="56976" y="36668"/>
                  </a:cubicBezTo>
                  <a:lnTo>
                    <a:pt x="56976" y="36104"/>
                  </a:lnTo>
                  <a:cubicBezTo>
                    <a:pt x="56976" y="35540"/>
                    <a:pt x="56130" y="35258"/>
                    <a:pt x="56130" y="34976"/>
                  </a:cubicBezTo>
                  <a:lnTo>
                    <a:pt x="56130" y="31027"/>
                  </a:lnTo>
                  <a:cubicBezTo>
                    <a:pt x="56412" y="30463"/>
                    <a:pt x="56412" y="30463"/>
                    <a:pt x="56976" y="30463"/>
                  </a:cubicBezTo>
                  <a:cubicBezTo>
                    <a:pt x="57540" y="30463"/>
                    <a:pt x="57259" y="30745"/>
                    <a:pt x="57540" y="31027"/>
                  </a:cubicBezTo>
                  <a:lnTo>
                    <a:pt x="57823" y="31027"/>
                  </a:lnTo>
                  <a:cubicBezTo>
                    <a:pt x="58105" y="31027"/>
                    <a:pt x="58669" y="30745"/>
                    <a:pt x="58951" y="30463"/>
                  </a:cubicBezTo>
                  <a:cubicBezTo>
                    <a:pt x="58387" y="30181"/>
                    <a:pt x="57823" y="29899"/>
                    <a:pt x="57823" y="29334"/>
                  </a:cubicBezTo>
                  <a:lnTo>
                    <a:pt x="56695" y="28488"/>
                  </a:lnTo>
                  <a:lnTo>
                    <a:pt x="56412" y="28488"/>
                  </a:lnTo>
                  <a:cubicBezTo>
                    <a:pt x="55848" y="28206"/>
                    <a:pt x="55284" y="27924"/>
                    <a:pt x="55284" y="27360"/>
                  </a:cubicBezTo>
                  <a:lnTo>
                    <a:pt x="55284" y="27078"/>
                  </a:lnTo>
                  <a:cubicBezTo>
                    <a:pt x="55284" y="26514"/>
                    <a:pt x="55002" y="25950"/>
                    <a:pt x="54720" y="25386"/>
                  </a:cubicBezTo>
                  <a:lnTo>
                    <a:pt x="53592" y="23975"/>
                  </a:lnTo>
                  <a:cubicBezTo>
                    <a:pt x="53309" y="23411"/>
                    <a:pt x="52464" y="22847"/>
                    <a:pt x="51899" y="22565"/>
                  </a:cubicBezTo>
                  <a:cubicBezTo>
                    <a:pt x="51053" y="22001"/>
                    <a:pt x="50489" y="22001"/>
                    <a:pt x="49643" y="21155"/>
                  </a:cubicBezTo>
                  <a:lnTo>
                    <a:pt x="49643" y="20873"/>
                  </a:lnTo>
                  <a:cubicBezTo>
                    <a:pt x="49643" y="20873"/>
                    <a:pt x="49361" y="20873"/>
                    <a:pt x="49361" y="21155"/>
                  </a:cubicBezTo>
                  <a:cubicBezTo>
                    <a:pt x="49078" y="21437"/>
                    <a:pt x="49078" y="21437"/>
                    <a:pt x="49078" y="21719"/>
                  </a:cubicBezTo>
                  <a:cubicBezTo>
                    <a:pt x="48797" y="22001"/>
                    <a:pt x="48514" y="22001"/>
                    <a:pt x="48233" y="22001"/>
                  </a:cubicBezTo>
                  <a:lnTo>
                    <a:pt x="47668" y="22001"/>
                  </a:lnTo>
                  <a:lnTo>
                    <a:pt x="47668" y="21719"/>
                  </a:lnTo>
                  <a:cubicBezTo>
                    <a:pt x="47386" y="22001"/>
                    <a:pt x="46822" y="22283"/>
                    <a:pt x="46822" y="22565"/>
                  </a:cubicBezTo>
                  <a:lnTo>
                    <a:pt x="46822" y="23693"/>
                  </a:lnTo>
                  <a:cubicBezTo>
                    <a:pt x="46822" y="23975"/>
                    <a:pt x="46822" y="24257"/>
                    <a:pt x="47104" y="24539"/>
                  </a:cubicBezTo>
                  <a:cubicBezTo>
                    <a:pt x="47386" y="25103"/>
                    <a:pt x="47668" y="25386"/>
                    <a:pt x="47668" y="25668"/>
                  </a:cubicBezTo>
                  <a:cubicBezTo>
                    <a:pt x="47668" y="25950"/>
                    <a:pt x="47386" y="26232"/>
                    <a:pt x="47386" y="26514"/>
                  </a:cubicBezTo>
                  <a:lnTo>
                    <a:pt x="47386" y="27078"/>
                  </a:lnTo>
                  <a:cubicBezTo>
                    <a:pt x="48233" y="27360"/>
                    <a:pt x="48233" y="28488"/>
                    <a:pt x="48233" y="29334"/>
                  </a:cubicBezTo>
                  <a:lnTo>
                    <a:pt x="47668" y="29334"/>
                  </a:lnTo>
                  <a:cubicBezTo>
                    <a:pt x="47104" y="28770"/>
                    <a:pt x="46540" y="28488"/>
                    <a:pt x="46540" y="27360"/>
                  </a:cubicBezTo>
                  <a:cubicBezTo>
                    <a:pt x="46540" y="27360"/>
                    <a:pt x="46540" y="27078"/>
                    <a:pt x="46258" y="27078"/>
                  </a:cubicBezTo>
                  <a:cubicBezTo>
                    <a:pt x="45976" y="27078"/>
                    <a:pt x="45694" y="27078"/>
                    <a:pt x="45130" y="27360"/>
                  </a:cubicBezTo>
                  <a:cubicBezTo>
                    <a:pt x="45130" y="27924"/>
                    <a:pt x="44566" y="28206"/>
                    <a:pt x="44002" y="28488"/>
                  </a:cubicBezTo>
                  <a:cubicBezTo>
                    <a:pt x="43720" y="29052"/>
                    <a:pt x="43720" y="29334"/>
                    <a:pt x="43720" y="29616"/>
                  </a:cubicBezTo>
                  <a:cubicBezTo>
                    <a:pt x="43720" y="29899"/>
                    <a:pt x="43720" y="30181"/>
                    <a:pt x="44284" y="30463"/>
                  </a:cubicBezTo>
                  <a:cubicBezTo>
                    <a:pt x="44002" y="31027"/>
                    <a:pt x="44002" y="31591"/>
                    <a:pt x="44002" y="32437"/>
                  </a:cubicBezTo>
                  <a:cubicBezTo>
                    <a:pt x="44002" y="32719"/>
                    <a:pt x="44002" y="32719"/>
                    <a:pt x="43437" y="32719"/>
                  </a:cubicBezTo>
                  <a:cubicBezTo>
                    <a:pt x="43437" y="32719"/>
                    <a:pt x="42873" y="32719"/>
                    <a:pt x="42309" y="33001"/>
                  </a:cubicBezTo>
                  <a:cubicBezTo>
                    <a:pt x="42027" y="33001"/>
                    <a:pt x="42309" y="33283"/>
                    <a:pt x="41745" y="33847"/>
                  </a:cubicBezTo>
                  <a:cubicBezTo>
                    <a:pt x="41181" y="33847"/>
                    <a:pt x="40617" y="34411"/>
                    <a:pt x="40335" y="35258"/>
                  </a:cubicBezTo>
                  <a:cubicBezTo>
                    <a:pt x="40335" y="35822"/>
                    <a:pt x="40053" y="36386"/>
                    <a:pt x="39771" y="36950"/>
                  </a:cubicBezTo>
                  <a:cubicBezTo>
                    <a:pt x="39206" y="37232"/>
                    <a:pt x="39206" y="37796"/>
                    <a:pt x="39206" y="38078"/>
                  </a:cubicBezTo>
                  <a:cubicBezTo>
                    <a:pt x="38925" y="38642"/>
                    <a:pt x="38361" y="39207"/>
                    <a:pt x="38078" y="39207"/>
                  </a:cubicBezTo>
                  <a:lnTo>
                    <a:pt x="37232" y="40335"/>
                  </a:lnTo>
                  <a:lnTo>
                    <a:pt x="37232" y="40617"/>
                  </a:lnTo>
                  <a:cubicBezTo>
                    <a:pt x="37232" y="41181"/>
                    <a:pt x="36950" y="41181"/>
                    <a:pt x="36950" y="41463"/>
                  </a:cubicBezTo>
                  <a:lnTo>
                    <a:pt x="36950" y="41745"/>
                  </a:lnTo>
                  <a:cubicBezTo>
                    <a:pt x="36386" y="42309"/>
                    <a:pt x="36386" y="43155"/>
                    <a:pt x="35540" y="43155"/>
                  </a:cubicBezTo>
                  <a:cubicBezTo>
                    <a:pt x="35258" y="43155"/>
                    <a:pt x="34975" y="43155"/>
                    <a:pt x="34975" y="43437"/>
                  </a:cubicBezTo>
                  <a:cubicBezTo>
                    <a:pt x="34975" y="43720"/>
                    <a:pt x="34411" y="44284"/>
                    <a:pt x="34411" y="44848"/>
                  </a:cubicBezTo>
                  <a:cubicBezTo>
                    <a:pt x="34411" y="45412"/>
                    <a:pt x="34130" y="45694"/>
                    <a:pt x="34130" y="45976"/>
                  </a:cubicBezTo>
                  <a:lnTo>
                    <a:pt x="34130" y="47386"/>
                  </a:lnTo>
                  <a:cubicBezTo>
                    <a:pt x="33847" y="47668"/>
                    <a:pt x="33565" y="47950"/>
                    <a:pt x="33565" y="48233"/>
                  </a:cubicBezTo>
                  <a:cubicBezTo>
                    <a:pt x="32719" y="48797"/>
                    <a:pt x="32437" y="49079"/>
                    <a:pt x="31873" y="50207"/>
                  </a:cubicBezTo>
                  <a:cubicBezTo>
                    <a:pt x="31873" y="50489"/>
                    <a:pt x="31873" y="50771"/>
                    <a:pt x="31591" y="50771"/>
                  </a:cubicBezTo>
                  <a:cubicBezTo>
                    <a:pt x="31591" y="51053"/>
                    <a:pt x="31591" y="51335"/>
                    <a:pt x="31309" y="51617"/>
                  </a:cubicBezTo>
                  <a:cubicBezTo>
                    <a:pt x="31309" y="51617"/>
                    <a:pt x="31309" y="51899"/>
                    <a:pt x="31591" y="51899"/>
                  </a:cubicBezTo>
                  <a:cubicBezTo>
                    <a:pt x="31873" y="52181"/>
                    <a:pt x="31873" y="52463"/>
                    <a:pt x="31873" y="52463"/>
                  </a:cubicBezTo>
                  <a:cubicBezTo>
                    <a:pt x="31873" y="52745"/>
                    <a:pt x="31873" y="52745"/>
                    <a:pt x="31591" y="53028"/>
                  </a:cubicBezTo>
                  <a:lnTo>
                    <a:pt x="31027" y="53028"/>
                  </a:lnTo>
                  <a:cubicBezTo>
                    <a:pt x="30463" y="53592"/>
                    <a:pt x="30463" y="54156"/>
                    <a:pt x="30463" y="54438"/>
                  </a:cubicBezTo>
                  <a:lnTo>
                    <a:pt x="30463" y="54720"/>
                  </a:lnTo>
                  <a:cubicBezTo>
                    <a:pt x="29899" y="55002"/>
                    <a:pt x="30180" y="55566"/>
                    <a:pt x="29616" y="55566"/>
                  </a:cubicBezTo>
                  <a:lnTo>
                    <a:pt x="29616" y="56412"/>
                  </a:lnTo>
                  <a:cubicBezTo>
                    <a:pt x="29616" y="56694"/>
                    <a:pt x="29899" y="56976"/>
                    <a:pt x="29899" y="56976"/>
                  </a:cubicBezTo>
                  <a:cubicBezTo>
                    <a:pt x="29899" y="57258"/>
                    <a:pt x="29616" y="57258"/>
                    <a:pt x="29616" y="57258"/>
                  </a:cubicBezTo>
                  <a:lnTo>
                    <a:pt x="29616" y="57823"/>
                  </a:lnTo>
                  <a:cubicBezTo>
                    <a:pt x="29334" y="58105"/>
                    <a:pt x="29052" y="58669"/>
                    <a:pt x="29052" y="58951"/>
                  </a:cubicBezTo>
                  <a:lnTo>
                    <a:pt x="29052" y="59233"/>
                  </a:lnTo>
                  <a:cubicBezTo>
                    <a:pt x="29052" y="59515"/>
                    <a:pt x="28770" y="59515"/>
                    <a:pt x="28770" y="59515"/>
                  </a:cubicBezTo>
                  <a:cubicBezTo>
                    <a:pt x="28206" y="59797"/>
                    <a:pt x="27924" y="60079"/>
                    <a:pt x="27642" y="60643"/>
                  </a:cubicBezTo>
                  <a:cubicBezTo>
                    <a:pt x="27360" y="61207"/>
                    <a:pt x="27078" y="61771"/>
                    <a:pt x="27078" y="62336"/>
                  </a:cubicBezTo>
                  <a:cubicBezTo>
                    <a:pt x="27078" y="62618"/>
                    <a:pt x="27078" y="62900"/>
                    <a:pt x="27642" y="63182"/>
                  </a:cubicBezTo>
                  <a:cubicBezTo>
                    <a:pt x="27924" y="63182"/>
                    <a:pt x="27924" y="63464"/>
                    <a:pt x="27924" y="63746"/>
                  </a:cubicBezTo>
                  <a:cubicBezTo>
                    <a:pt x="27924" y="64310"/>
                    <a:pt x="27360" y="64874"/>
                    <a:pt x="27078" y="64874"/>
                  </a:cubicBezTo>
                  <a:cubicBezTo>
                    <a:pt x="26232" y="65156"/>
                    <a:pt x="25668" y="65438"/>
                    <a:pt x="25668" y="66002"/>
                  </a:cubicBezTo>
                  <a:cubicBezTo>
                    <a:pt x="25668" y="66284"/>
                    <a:pt x="25950" y="66566"/>
                    <a:pt x="25950" y="66849"/>
                  </a:cubicBezTo>
                  <a:cubicBezTo>
                    <a:pt x="26232" y="66849"/>
                    <a:pt x="26232" y="67131"/>
                    <a:pt x="26232" y="67131"/>
                  </a:cubicBezTo>
                  <a:cubicBezTo>
                    <a:pt x="26232" y="67977"/>
                    <a:pt x="26232" y="68259"/>
                    <a:pt x="25668" y="68541"/>
                  </a:cubicBezTo>
                  <a:cubicBezTo>
                    <a:pt x="25103" y="68541"/>
                    <a:pt x="25103" y="68823"/>
                    <a:pt x="25103" y="69105"/>
                  </a:cubicBezTo>
                  <a:cubicBezTo>
                    <a:pt x="24822" y="69669"/>
                    <a:pt x="24539" y="69951"/>
                    <a:pt x="24539" y="71079"/>
                  </a:cubicBezTo>
                  <a:cubicBezTo>
                    <a:pt x="24539" y="71362"/>
                    <a:pt x="24258" y="71362"/>
                    <a:pt x="24258" y="71362"/>
                  </a:cubicBezTo>
                  <a:cubicBezTo>
                    <a:pt x="24258" y="71926"/>
                    <a:pt x="23975" y="72208"/>
                    <a:pt x="23411" y="72490"/>
                  </a:cubicBezTo>
                  <a:cubicBezTo>
                    <a:pt x="23411" y="72772"/>
                    <a:pt x="23693" y="73336"/>
                    <a:pt x="23975" y="73900"/>
                  </a:cubicBezTo>
                  <a:cubicBezTo>
                    <a:pt x="23975" y="74182"/>
                    <a:pt x="23693" y="74464"/>
                    <a:pt x="23693" y="74746"/>
                  </a:cubicBezTo>
                  <a:cubicBezTo>
                    <a:pt x="23693" y="75028"/>
                    <a:pt x="23129" y="75592"/>
                    <a:pt x="22847" y="75875"/>
                  </a:cubicBezTo>
                  <a:lnTo>
                    <a:pt x="22847" y="77003"/>
                  </a:lnTo>
                  <a:cubicBezTo>
                    <a:pt x="22565" y="77567"/>
                    <a:pt x="22847" y="78413"/>
                    <a:pt x="22001" y="78695"/>
                  </a:cubicBezTo>
                  <a:cubicBezTo>
                    <a:pt x="22283" y="79259"/>
                    <a:pt x="22283" y="79823"/>
                    <a:pt x="22283" y="80105"/>
                  </a:cubicBezTo>
                  <a:lnTo>
                    <a:pt x="22283" y="81234"/>
                  </a:lnTo>
                  <a:cubicBezTo>
                    <a:pt x="22283" y="81516"/>
                    <a:pt x="22283" y="81516"/>
                    <a:pt x="22001" y="81516"/>
                  </a:cubicBezTo>
                  <a:cubicBezTo>
                    <a:pt x="21719" y="81798"/>
                    <a:pt x="21719" y="82362"/>
                    <a:pt x="21719" y="82644"/>
                  </a:cubicBezTo>
                  <a:lnTo>
                    <a:pt x="21719" y="82926"/>
                  </a:lnTo>
                  <a:cubicBezTo>
                    <a:pt x="21719" y="83208"/>
                    <a:pt x="21437" y="83208"/>
                    <a:pt x="21437" y="83208"/>
                  </a:cubicBezTo>
                  <a:cubicBezTo>
                    <a:pt x="21155" y="83208"/>
                    <a:pt x="21155" y="83208"/>
                    <a:pt x="21155" y="83490"/>
                  </a:cubicBezTo>
                  <a:cubicBezTo>
                    <a:pt x="21155" y="83772"/>
                    <a:pt x="21437" y="84336"/>
                    <a:pt x="21437" y="84618"/>
                  </a:cubicBezTo>
                  <a:lnTo>
                    <a:pt x="21437" y="84900"/>
                  </a:lnTo>
                  <a:cubicBezTo>
                    <a:pt x="20872" y="85183"/>
                    <a:pt x="20872" y="85465"/>
                    <a:pt x="20872" y="85747"/>
                  </a:cubicBezTo>
                  <a:cubicBezTo>
                    <a:pt x="20872" y="86029"/>
                    <a:pt x="20872" y="86311"/>
                    <a:pt x="21155" y="86593"/>
                  </a:cubicBezTo>
                  <a:cubicBezTo>
                    <a:pt x="21155" y="86593"/>
                    <a:pt x="21155" y="87157"/>
                    <a:pt x="20872" y="87721"/>
                  </a:cubicBezTo>
                  <a:cubicBezTo>
                    <a:pt x="21155" y="88003"/>
                    <a:pt x="20027" y="88567"/>
                    <a:pt x="20027" y="89131"/>
                  </a:cubicBezTo>
                  <a:cubicBezTo>
                    <a:pt x="20308" y="89413"/>
                    <a:pt x="20308" y="89696"/>
                    <a:pt x="20308" y="89978"/>
                  </a:cubicBezTo>
                  <a:lnTo>
                    <a:pt x="20308" y="90824"/>
                  </a:lnTo>
                  <a:cubicBezTo>
                    <a:pt x="20027" y="91106"/>
                    <a:pt x="20027" y="91670"/>
                    <a:pt x="20027" y="91952"/>
                  </a:cubicBezTo>
                  <a:lnTo>
                    <a:pt x="20027" y="93080"/>
                  </a:lnTo>
                  <a:cubicBezTo>
                    <a:pt x="19744" y="93362"/>
                    <a:pt x="19744" y="93362"/>
                    <a:pt x="19744" y="93644"/>
                  </a:cubicBezTo>
                  <a:cubicBezTo>
                    <a:pt x="19744" y="94208"/>
                    <a:pt x="20027" y="94773"/>
                    <a:pt x="20308" y="95337"/>
                  </a:cubicBezTo>
                  <a:lnTo>
                    <a:pt x="20308" y="95619"/>
                  </a:lnTo>
                  <a:cubicBezTo>
                    <a:pt x="19744" y="95901"/>
                    <a:pt x="19744" y="96183"/>
                    <a:pt x="19744" y="96465"/>
                  </a:cubicBezTo>
                  <a:lnTo>
                    <a:pt x="19744" y="97311"/>
                  </a:lnTo>
                  <a:cubicBezTo>
                    <a:pt x="19744" y="97875"/>
                    <a:pt x="19462" y="98439"/>
                    <a:pt x="19462" y="99004"/>
                  </a:cubicBezTo>
                  <a:cubicBezTo>
                    <a:pt x="19462" y="99568"/>
                    <a:pt x="20027" y="99568"/>
                    <a:pt x="20308" y="100132"/>
                  </a:cubicBezTo>
                  <a:cubicBezTo>
                    <a:pt x="20591" y="100414"/>
                    <a:pt x="19744" y="100696"/>
                    <a:pt x="19744" y="100978"/>
                  </a:cubicBezTo>
                  <a:cubicBezTo>
                    <a:pt x="19462" y="101542"/>
                    <a:pt x="19462" y="102106"/>
                    <a:pt x="19462" y="102388"/>
                  </a:cubicBezTo>
                  <a:cubicBezTo>
                    <a:pt x="19462" y="102952"/>
                    <a:pt x="19462" y="103234"/>
                    <a:pt x="20027" y="104081"/>
                  </a:cubicBezTo>
                  <a:cubicBezTo>
                    <a:pt x="20027" y="104363"/>
                    <a:pt x="19744" y="104645"/>
                    <a:pt x="19744" y="104645"/>
                  </a:cubicBezTo>
                  <a:lnTo>
                    <a:pt x="19180" y="104645"/>
                  </a:lnTo>
                  <a:lnTo>
                    <a:pt x="18898" y="104927"/>
                  </a:lnTo>
                  <a:cubicBezTo>
                    <a:pt x="18616" y="104927"/>
                    <a:pt x="19180" y="105773"/>
                    <a:pt x="19180" y="106055"/>
                  </a:cubicBezTo>
                  <a:cubicBezTo>
                    <a:pt x="20872" y="107183"/>
                    <a:pt x="21155" y="107465"/>
                    <a:pt x="21155" y="108876"/>
                  </a:cubicBezTo>
                  <a:lnTo>
                    <a:pt x="21155" y="109158"/>
                  </a:lnTo>
                  <a:cubicBezTo>
                    <a:pt x="21155" y="109722"/>
                    <a:pt x="21437" y="110286"/>
                    <a:pt x="21437" y="110850"/>
                  </a:cubicBezTo>
                  <a:cubicBezTo>
                    <a:pt x="22001" y="111414"/>
                    <a:pt x="22283" y="111414"/>
                    <a:pt x="22283" y="112260"/>
                  </a:cubicBezTo>
                  <a:cubicBezTo>
                    <a:pt x="22283" y="112825"/>
                    <a:pt x="22847" y="113389"/>
                    <a:pt x="23411" y="114517"/>
                  </a:cubicBezTo>
                  <a:cubicBezTo>
                    <a:pt x="23975" y="114799"/>
                    <a:pt x="24539" y="114799"/>
                    <a:pt x="25103" y="114799"/>
                  </a:cubicBezTo>
                  <a:lnTo>
                    <a:pt x="26232" y="114799"/>
                  </a:lnTo>
                  <a:cubicBezTo>
                    <a:pt x="26796" y="114799"/>
                    <a:pt x="27360" y="114517"/>
                    <a:pt x="28206" y="114235"/>
                  </a:cubicBezTo>
                  <a:cubicBezTo>
                    <a:pt x="28770" y="114235"/>
                    <a:pt x="28770" y="113671"/>
                    <a:pt x="29052" y="113671"/>
                  </a:cubicBezTo>
                  <a:cubicBezTo>
                    <a:pt x="29616" y="113389"/>
                    <a:pt x="30180" y="112825"/>
                    <a:pt x="30463" y="112825"/>
                  </a:cubicBezTo>
                  <a:cubicBezTo>
                    <a:pt x="31027" y="112825"/>
                    <a:pt x="31027" y="112260"/>
                    <a:pt x="31591" y="112260"/>
                  </a:cubicBezTo>
                  <a:cubicBezTo>
                    <a:pt x="32155" y="112260"/>
                    <a:pt x="32437" y="111414"/>
                    <a:pt x="33001" y="111414"/>
                  </a:cubicBezTo>
                  <a:cubicBezTo>
                    <a:pt x="34130" y="111414"/>
                    <a:pt x="33847" y="110004"/>
                    <a:pt x="34694" y="110004"/>
                  </a:cubicBezTo>
                  <a:cubicBezTo>
                    <a:pt x="35258" y="109440"/>
                    <a:pt x="35258" y="108876"/>
                    <a:pt x="35822" y="108876"/>
                  </a:cubicBezTo>
                  <a:cubicBezTo>
                    <a:pt x="36386" y="108312"/>
                    <a:pt x="36668" y="108030"/>
                    <a:pt x="37514" y="107747"/>
                  </a:cubicBezTo>
                  <a:lnTo>
                    <a:pt x="38642" y="106337"/>
                  </a:lnTo>
                  <a:cubicBezTo>
                    <a:pt x="38925" y="106055"/>
                    <a:pt x="39771" y="105491"/>
                    <a:pt x="40053" y="104645"/>
                  </a:cubicBezTo>
                  <a:cubicBezTo>
                    <a:pt x="40617" y="103799"/>
                    <a:pt x="41463" y="103234"/>
                    <a:pt x="41745" y="102388"/>
                  </a:cubicBezTo>
                  <a:lnTo>
                    <a:pt x="41745" y="101824"/>
                  </a:lnTo>
                  <a:cubicBezTo>
                    <a:pt x="42027" y="101542"/>
                    <a:pt x="42309" y="101542"/>
                    <a:pt x="42309" y="100978"/>
                  </a:cubicBezTo>
                  <a:cubicBezTo>
                    <a:pt x="42309" y="100696"/>
                    <a:pt x="42592" y="100414"/>
                    <a:pt x="42592" y="100132"/>
                  </a:cubicBezTo>
                  <a:lnTo>
                    <a:pt x="42592" y="99850"/>
                  </a:lnTo>
                  <a:cubicBezTo>
                    <a:pt x="42873" y="99850"/>
                    <a:pt x="43437" y="99568"/>
                    <a:pt x="43437" y="99568"/>
                  </a:cubicBezTo>
                  <a:lnTo>
                    <a:pt x="43437" y="99286"/>
                  </a:lnTo>
                  <a:cubicBezTo>
                    <a:pt x="43437" y="98439"/>
                    <a:pt x="44002" y="98157"/>
                    <a:pt x="44566" y="97593"/>
                  </a:cubicBezTo>
                  <a:cubicBezTo>
                    <a:pt x="44848" y="97593"/>
                    <a:pt x="44848" y="97029"/>
                    <a:pt x="44848" y="96465"/>
                  </a:cubicBezTo>
                  <a:cubicBezTo>
                    <a:pt x="45412" y="95901"/>
                    <a:pt x="45412" y="95619"/>
                    <a:pt x="45412" y="95337"/>
                  </a:cubicBezTo>
                  <a:cubicBezTo>
                    <a:pt x="45412" y="94491"/>
                    <a:pt x="46540" y="94491"/>
                    <a:pt x="46540" y="93644"/>
                  </a:cubicBezTo>
                  <a:cubicBezTo>
                    <a:pt x="46258" y="93362"/>
                    <a:pt x="46258" y="93362"/>
                    <a:pt x="46258" y="93080"/>
                  </a:cubicBezTo>
                  <a:cubicBezTo>
                    <a:pt x="46258" y="92798"/>
                    <a:pt x="46540" y="92516"/>
                    <a:pt x="46540" y="92234"/>
                  </a:cubicBezTo>
                  <a:lnTo>
                    <a:pt x="46540" y="91952"/>
                  </a:lnTo>
                  <a:cubicBezTo>
                    <a:pt x="46822" y="91670"/>
                    <a:pt x="47104" y="91388"/>
                    <a:pt x="47668" y="91388"/>
                  </a:cubicBezTo>
                  <a:cubicBezTo>
                    <a:pt x="47950" y="91388"/>
                    <a:pt x="47950" y="91106"/>
                    <a:pt x="47950" y="90824"/>
                  </a:cubicBezTo>
                  <a:lnTo>
                    <a:pt x="47950" y="89978"/>
                  </a:lnTo>
                  <a:cubicBezTo>
                    <a:pt x="47950" y="89696"/>
                    <a:pt x="48233" y="89413"/>
                    <a:pt x="48233" y="89131"/>
                  </a:cubicBezTo>
                  <a:lnTo>
                    <a:pt x="48233" y="88849"/>
                  </a:lnTo>
                  <a:cubicBezTo>
                    <a:pt x="48233" y="88567"/>
                    <a:pt x="48514" y="88285"/>
                    <a:pt x="48797" y="87721"/>
                  </a:cubicBezTo>
                  <a:cubicBezTo>
                    <a:pt x="48514" y="87721"/>
                    <a:pt x="48797" y="87157"/>
                    <a:pt x="49078" y="86875"/>
                  </a:cubicBezTo>
                  <a:cubicBezTo>
                    <a:pt x="49361" y="86593"/>
                    <a:pt x="49361" y="86593"/>
                    <a:pt x="49361" y="86311"/>
                  </a:cubicBezTo>
                  <a:lnTo>
                    <a:pt x="49361" y="85747"/>
                  </a:lnTo>
                  <a:cubicBezTo>
                    <a:pt x="49361" y="85465"/>
                    <a:pt x="49925" y="84900"/>
                    <a:pt x="49925" y="84336"/>
                  </a:cubicBezTo>
                  <a:cubicBezTo>
                    <a:pt x="49925" y="84054"/>
                    <a:pt x="49643" y="83772"/>
                    <a:pt x="49643" y="83490"/>
                  </a:cubicBezTo>
                  <a:cubicBezTo>
                    <a:pt x="49643" y="83490"/>
                    <a:pt x="49925" y="83208"/>
                    <a:pt x="50207" y="83208"/>
                  </a:cubicBezTo>
                  <a:cubicBezTo>
                    <a:pt x="50489" y="82926"/>
                    <a:pt x="50489" y="82644"/>
                    <a:pt x="50489" y="82644"/>
                  </a:cubicBezTo>
                  <a:cubicBezTo>
                    <a:pt x="50489" y="82362"/>
                    <a:pt x="50771" y="82080"/>
                    <a:pt x="50771" y="81798"/>
                  </a:cubicBezTo>
                  <a:cubicBezTo>
                    <a:pt x="50771" y="81516"/>
                    <a:pt x="50771" y="81234"/>
                    <a:pt x="51335" y="81234"/>
                  </a:cubicBezTo>
                  <a:lnTo>
                    <a:pt x="51335" y="79823"/>
                  </a:lnTo>
                  <a:cubicBezTo>
                    <a:pt x="51335" y="79541"/>
                    <a:pt x="51335" y="79259"/>
                    <a:pt x="51053" y="78695"/>
                  </a:cubicBezTo>
                  <a:lnTo>
                    <a:pt x="51053" y="78413"/>
                  </a:lnTo>
                  <a:cubicBezTo>
                    <a:pt x="51335" y="78413"/>
                    <a:pt x="51335" y="78413"/>
                    <a:pt x="51335" y="78131"/>
                  </a:cubicBezTo>
                  <a:cubicBezTo>
                    <a:pt x="51335" y="78131"/>
                    <a:pt x="51335" y="77849"/>
                    <a:pt x="51617" y="77567"/>
                  </a:cubicBezTo>
                  <a:cubicBezTo>
                    <a:pt x="51899" y="77285"/>
                    <a:pt x="51899" y="77285"/>
                    <a:pt x="51899" y="77003"/>
                  </a:cubicBezTo>
                  <a:cubicBezTo>
                    <a:pt x="51899" y="76721"/>
                    <a:pt x="51617" y="76157"/>
                    <a:pt x="51617" y="75875"/>
                  </a:cubicBezTo>
                  <a:cubicBezTo>
                    <a:pt x="51617" y="75875"/>
                    <a:pt x="51899" y="75310"/>
                    <a:pt x="51899" y="75028"/>
                  </a:cubicBezTo>
                  <a:cubicBezTo>
                    <a:pt x="52464" y="74746"/>
                    <a:pt x="52464" y="74746"/>
                    <a:pt x="52464" y="74464"/>
                  </a:cubicBezTo>
                  <a:lnTo>
                    <a:pt x="52464" y="74182"/>
                  </a:lnTo>
                  <a:cubicBezTo>
                    <a:pt x="52464" y="73618"/>
                    <a:pt x="52745" y="73336"/>
                    <a:pt x="52745" y="73336"/>
                  </a:cubicBezTo>
                  <a:lnTo>
                    <a:pt x="52745" y="73054"/>
                  </a:lnTo>
                  <a:cubicBezTo>
                    <a:pt x="52745" y="72490"/>
                    <a:pt x="53309" y="71926"/>
                    <a:pt x="53309" y="71079"/>
                  </a:cubicBezTo>
                  <a:cubicBezTo>
                    <a:pt x="53028" y="70515"/>
                    <a:pt x="53028" y="70233"/>
                    <a:pt x="53028" y="69951"/>
                  </a:cubicBezTo>
                  <a:cubicBezTo>
                    <a:pt x="53028" y="69669"/>
                    <a:pt x="53028" y="69387"/>
                    <a:pt x="53309" y="69105"/>
                  </a:cubicBezTo>
                  <a:cubicBezTo>
                    <a:pt x="53309" y="68823"/>
                    <a:pt x="53592" y="68541"/>
                    <a:pt x="53592" y="68259"/>
                  </a:cubicBezTo>
                  <a:lnTo>
                    <a:pt x="53592" y="67977"/>
                  </a:lnTo>
                  <a:cubicBezTo>
                    <a:pt x="53592" y="67695"/>
                    <a:pt x="53309" y="67131"/>
                    <a:pt x="53309" y="66849"/>
                  </a:cubicBezTo>
                  <a:cubicBezTo>
                    <a:pt x="53309" y="66566"/>
                    <a:pt x="53592" y="66284"/>
                    <a:pt x="53874" y="66002"/>
                  </a:cubicBezTo>
                  <a:lnTo>
                    <a:pt x="53874" y="65156"/>
                  </a:lnTo>
                  <a:cubicBezTo>
                    <a:pt x="53874" y="64874"/>
                    <a:pt x="53874" y="64874"/>
                    <a:pt x="54156" y="64874"/>
                  </a:cubicBezTo>
                  <a:cubicBezTo>
                    <a:pt x="54438" y="64592"/>
                    <a:pt x="54438" y="64310"/>
                    <a:pt x="54438" y="64028"/>
                  </a:cubicBezTo>
                  <a:lnTo>
                    <a:pt x="54438" y="62054"/>
                  </a:lnTo>
                  <a:cubicBezTo>
                    <a:pt x="54720" y="61771"/>
                    <a:pt x="55002" y="61771"/>
                    <a:pt x="55002" y="61771"/>
                  </a:cubicBezTo>
                  <a:cubicBezTo>
                    <a:pt x="55848" y="61771"/>
                    <a:pt x="55848" y="61771"/>
                    <a:pt x="55848" y="61207"/>
                  </a:cubicBezTo>
                  <a:cubicBezTo>
                    <a:pt x="55848" y="60925"/>
                    <a:pt x="55566" y="60361"/>
                    <a:pt x="55566" y="60079"/>
                  </a:cubicBezTo>
                  <a:cubicBezTo>
                    <a:pt x="55848" y="59515"/>
                    <a:pt x="55848" y="59233"/>
                    <a:pt x="55848" y="59233"/>
                  </a:cubicBezTo>
                  <a:cubicBezTo>
                    <a:pt x="56412" y="58951"/>
                    <a:pt x="56130" y="58387"/>
                    <a:pt x="56695" y="58105"/>
                  </a:cubicBezTo>
                  <a:cubicBezTo>
                    <a:pt x="56976" y="57823"/>
                    <a:pt x="56976" y="57541"/>
                    <a:pt x="56976" y="57258"/>
                  </a:cubicBezTo>
                  <a:lnTo>
                    <a:pt x="56976" y="56412"/>
                  </a:lnTo>
                  <a:cubicBezTo>
                    <a:pt x="57259" y="55848"/>
                    <a:pt x="56976" y="55002"/>
                    <a:pt x="57540" y="54720"/>
                  </a:cubicBezTo>
                  <a:cubicBezTo>
                    <a:pt x="57259" y="54438"/>
                    <a:pt x="56976" y="53874"/>
                    <a:pt x="56976" y="53592"/>
                  </a:cubicBezTo>
                  <a:cubicBezTo>
                    <a:pt x="56976" y="53028"/>
                    <a:pt x="57540" y="52745"/>
                    <a:pt x="57823" y="52463"/>
                  </a:cubicBezTo>
                  <a:cubicBezTo>
                    <a:pt x="57540" y="52181"/>
                    <a:pt x="57259" y="51899"/>
                    <a:pt x="57259" y="51617"/>
                  </a:cubicBezTo>
                  <a:cubicBezTo>
                    <a:pt x="57259" y="51335"/>
                    <a:pt x="57540" y="50771"/>
                    <a:pt x="57540" y="50489"/>
                  </a:cubicBezTo>
                  <a:lnTo>
                    <a:pt x="57540" y="50207"/>
                  </a:lnTo>
                  <a:cubicBezTo>
                    <a:pt x="57540" y="49925"/>
                    <a:pt x="58105" y="49643"/>
                    <a:pt x="58387" y="49361"/>
                  </a:cubicBezTo>
                  <a:lnTo>
                    <a:pt x="58387" y="47950"/>
                  </a:lnTo>
                  <a:cubicBezTo>
                    <a:pt x="58105" y="47668"/>
                    <a:pt x="58105" y="47668"/>
                    <a:pt x="58105" y="47386"/>
                  </a:cubicBezTo>
                  <a:cubicBezTo>
                    <a:pt x="58105" y="47104"/>
                    <a:pt x="58387" y="46822"/>
                    <a:pt x="58387" y="46258"/>
                  </a:cubicBezTo>
                  <a:lnTo>
                    <a:pt x="58387" y="45694"/>
                  </a:lnTo>
                  <a:close/>
                  <a:moveTo>
                    <a:pt x="19180" y="85747"/>
                  </a:moveTo>
                  <a:cubicBezTo>
                    <a:pt x="19180" y="86029"/>
                    <a:pt x="19180" y="86029"/>
                    <a:pt x="19462" y="86311"/>
                  </a:cubicBezTo>
                  <a:cubicBezTo>
                    <a:pt x="19462" y="85747"/>
                    <a:pt x="20027" y="85465"/>
                    <a:pt x="20591" y="85183"/>
                  </a:cubicBezTo>
                  <a:cubicBezTo>
                    <a:pt x="20591" y="85183"/>
                    <a:pt x="20591" y="84900"/>
                    <a:pt x="20308" y="84900"/>
                  </a:cubicBezTo>
                  <a:cubicBezTo>
                    <a:pt x="20308" y="84618"/>
                    <a:pt x="20027" y="84618"/>
                    <a:pt x="20027" y="84618"/>
                  </a:cubicBezTo>
                  <a:lnTo>
                    <a:pt x="19462" y="85183"/>
                  </a:lnTo>
                  <a:cubicBezTo>
                    <a:pt x="19180" y="85465"/>
                    <a:pt x="19180" y="85465"/>
                    <a:pt x="19180" y="85747"/>
                  </a:cubicBezTo>
                  <a:close/>
                  <a:moveTo>
                    <a:pt x="37232" y="124953"/>
                  </a:moveTo>
                  <a:cubicBezTo>
                    <a:pt x="36668" y="124953"/>
                    <a:pt x="36668" y="124671"/>
                    <a:pt x="36668" y="124671"/>
                  </a:cubicBezTo>
                  <a:cubicBezTo>
                    <a:pt x="36104" y="124671"/>
                    <a:pt x="35822" y="125235"/>
                    <a:pt x="35822" y="125235"/>
                  </a:cubicBezTo>
                  <a:lnTo>
                    <a:pt x="35822" y="125517"/>
                  </a:lnTo>
                  <a:cubicBezTo>
                    <a:pt x="36668" y="125517"/>
                    <a:pt x="36668" y="125235"/>
                    <a:pt x="37232" y="124953"/>
                  </a:cubicBezTo>
                  <a:close/>
                  <a:moveTo>
                    <a:pt x="54156" y="113953"/>
                  </a:moveTo>
                  <a:cubicBezTo>
                    <a:pt x="54438" y="113953"/>
                    <a:pt x="54720" y="114235"/>
                    <a:pt x="54720" y="114235"/>
                  </a:cubicBezTo>
                  <a:lnTo>
                    <a:pt x="54438" y="114517"/>
                  </a:lnTo>
                  <a:lnTo>
                    <a:pt x="54156" y="114517"/>
                  </a:lnTo>
                  <a:cubicBezTo>
                    <a:pt x="53592" y="115081"/>
                    <a:pt x="53028" y="115363"/>
                    <a:pt x="52745" y="116491"/>
                  </a:cubicBezTo>
                  <a:lnTo>
                    <a:pt x="52464" y="116491"/>
                  </a:lnTo>
                  <a:lnTo>
                    <a:pt x="51617" y="115645"/>
                  </a:lnTo>
                  <a:lnTo>
                    <a:pt x="51617" y="115363"/>
                  </a:lnTo>
                  <a:lnTo>
                    <a:pt x="53874" y="113671"/>
                  </a:lnTo>
                  <a:cubicBezTo>
                    <a:pt x="53874" y="113671"/>
                    <a:pt x="54156" y="113671"/>
                    <a:pt x="54156" y="113953"/>
                  </a:cubicBezTo>
                  <a:close/>
                  <a:moveTo>
                    <a:pt x="58105" y="33565"/>
                  </a:moveTo>
                  <a:cubicBezTo>
                    <a:pt x="58105" y="33283"/>
                    <a:pt x="57823" y="33283"/>
                    <a:pt x="57540" y="33283"/>
                  </a:cubicBezTo>
                  <a:cubicBezTo>
                    <a:pt x="57259" y="33283"/>
                    <a:pt x="57259" y="33565"/>
                    <a:pt x="56976" y="33847"/>
                  </a:cubicBezTo>
                  <a:lnTo>
                    <a:pt x="56976" y="34976"/>
                  </a:lnTo>
                  <a:cubicBezTo>
                    <a:pt x="57540" y="34976"/>
                    <a:pt x="58105" y="34976"/>
                    <a:pt x="58105" y="34411"/>
                  </a:cubicBezTo>
                  <a:lnTo>
                    <a:pt x="58105" y="33565"/>
                  </a:lnTo>
                  <a:close/>
                  <a:moveTo>
                    <a:pt x="61771" y="104927"/>
                  </a:moveTo>
                  <a:cubicBezTo>
                    <a:pt x="62054" y="104927"/>
                    <a:pt x="62054" y="105209"/>
                    <a:pt x="62336" y="105491"/>
                  </a:cubicBezTo>
                  <a:lnTo>
                    <a:pt x="62618" y="105773"/>
                  </a:lnTo>
                  <a:cubicBezTo>
                    <a:pt x="62336" y="106337"/>
                    <a:pt x="61207" y="107183"/>
                    <a:pt x="60643" y="108030"/>
                  </a:cubicBezTo>
                  <a:cubicBezTo>
                    <a:pt x="60079" y="108030"/>
                    <a:pt x="60079" y="108030"/>
                    <a:pt x="60079" y="108312"/>
                  </a:cubicBezTo>
                  <a:lnTo>
                    <a:pt x="60079" y="108876"/>
                  </a:lnTo>
                  <a:cubicBezTo>
                    <a:pt x="60079" y="109158"/>
                    <a:pt x="60079" y="109722"/>
                    <a:pt x="59515" y="110286"/>
                  </a:cubicBezTo>
                  <a:cubicBezTo>
                    <a:pt x="58951" y="110286"/>
                    <a:pt x="58951" y="110850"/>
                    <a:pt x="58669" y="110850"/>
                  </a:cubicBezTo>
                  <a:lnTo>
                    <a:pt x="58669" y="111132"/>
                  </a:lnTo>
                  <a:cubicBezTo>
                    <a:pt x="58387" y="111132"/>
                    <a:pt x="58387" y="111132"/>
                    <a:pt x="57540" y="110850"/>
                  </a:cubicBezTo>
                  <a:lnTo>
                    <a:pt x="57823" y="110850"/>
                  </a:lnTo>
                  <a:cubicBezTo>
                    <a:pt x="57823" y="110568"/>
                    <a:pt x="58105" y="110286"/>
                    <a:pt x="58387" y="109722"/>
                  </a:cubicBezTo>
                  <a:lnTo>
                    <a:pt x="58387" y="108312"/>
                  </a:lnTo>
                  <a:cubicBezTo>
                    <a:pt x="58387" y="106901"/>
                    <a:pt x="58387" y="106901"/>
                    <a:pt x="59515" y="106055"/>
                  </a:cubicBezTo>
                  <a:cubicBezTo>
                    <a:pt x="59797" y="105773"/>
                    <a:pt x="59797" y="105773"/>
                    <a:pt x="60079" y="105773"/>
                  </a:cubicBezTo>
                  <a:cubicBezTo>
                    <a:pt x="60079" y="105773"/>
                    <a:pt x="60361" y="105773"/>
                    <a:pt x="60643" y="106055"/>
                  </a:cubicBezTo>
                  <a:cubicBezTo>
                    <a:pt x="60643" y="106055"/>
                    <a:pt x="61207" y="106055"/>
                    <a:pt x="61207" y="105773"/>
                  </a:cubicBezTo>
                  <a:lnTo>
                    <a:pt x="60926" y="105491"/>
                  </a:lnTo>
                  <a:cubicBezTo>
                    <a:pt x="61207" y="105209"/>
                    <a:pt x="61490" y="104927"/>
                    <a:pt x="61771" y="104927"/>
                  </a:cubicBezTo>
                  <a:close/>
                  <a:moveTo>
                    <a:pt x="59515" y="49925"/>
                  </a:moveTo>
                  <a:lnTo>
                    <a:pt x="59515" y="50207"/>
                  </a:lnTo>
                  <a:cubicBezTo>
                    <a:pt x="59797" y="50207"/>
                    <a:pt x="59797" y="49925"/>
                    <a:pt x="60079" y="49925"/>
                  </a:cubicBezTo>
                  <a:lnTo>
                    <a:pt x="59515" y="49925"/>
                  </a:lnTo>
                  <a:close/>
                  <a:moveTo>
                    <a:pt x="60079" y="43720"/>
                  </a:moveTo>
                  <a:lnTo>
                    <a:pt x="60079" y="44284"/>
                  </a:lnTo>
                  <a:cubicBezTo>
                    <a:pt x="60079" y="44566"/>
                    <a:pt x="60361" y="44566"/>
                    <a:pt x="60361" y="44566"/>
                  </a:cubicBezTo>
                  <a:cubicBezTo>
                    <a:pt x="60926" y="44566"/>
                    <a:pt x="60926" y="44566"/>
                    <a:pt x="60926" y="44284"/>
                  </a:cubicBezTo>
                  <a:cubicBezTo>
                    <a:pt x="60926" y="44002"/>
                    <a:pt x="60643" y="43155"/>
                    <a:pt x="60643" y="43155"/>
                  </a:cubicBezTo>
                  <a:cubicBezTo>
                    <a:pt x="60079" y="43437"/>
                    <a:pt x="60079" y="43720"/>
                    <a:pt x="60079" y="43720"/>
                  </a:cubicBezTo>
                  <a:close/>
                  <a:moveTo>
                    <a:pt x="60079" y="47668"/>
                  </a:moveTo>
                  <a:cubicBezTo>
                    <a:pt x="60079" y="47668"/>
                    <a:pt x="60361" y="47950"/>
                    <a:pt x="60643" y="47950"/>
                  </a:cubicBezTo>
                  <a:lnTo>
                    <a:pt x="60361" y="47668"/>
                  </a:lnTo>
                  <a:lnTo>
                    <a:pt x="60361" y="47386"/>
                  </a:lnTo>
                  <a:cubicBezTo>
                    <a:pt x="60079" y="47386"/>
                    <a:pt x="60079" y="47668"/>
                    <a:pt x="60079" y="47668"/>
                  </a:cubicBezTo>
                  <a:close/>
                  <a:moveTo>
                    <a:pt x="61490" y="29899"/>
                  </a:moveTo>
                  <a:cubicBezTo>
                    <a:pt x="61490" y="29334"/>
                    <a:pt x="60926" y="29334"/>
                    <a:pt x="60361" y="28770"/>
                  </a:cubicBezTo>
                  <a:lnTo>
                    <a:pt x="60361" y="29899"/>
                  </a:lnTo>
                  <a:cubicBezTo>
                    <a:pt x="60361" y="30181"/>
                    <a:pt x="60643" y="30181"/>
                    <a:pt x="60926" y="30181"/>
                  </a:cubicBezTo>
                  <a:cubicBezTo>
                    <a:pt x="61207" y="30181"/>
                    <a:pt x="61490" y="29899"/>
                    <a:pt x="61490" y="29899"/>
                  </a:cubicBezTo>
                  <a:close/>
                  <a:moveTo>
                    <a:pt x="62054" y="96183"/>
                  </a:moveTo>
                  <a:cubicBezTo>
                    <a:pt x="62054" y="95901"/>
                    <a:pt x="61771" y="95619"/>
                    <a:pt x="61771" y="95619"/>
                  </a:cubicBezTo>
                  <a:cubicBezTo>
                    <a:pt x="61490" y="95619"/>
                    <a:pt x="61207" y="95619"/>
                    <a:pt x="61207" y="95901"/>
                  </a:cubicBezTo>
                  <a:cubicBezTo>
                    <a:pt x="61207" y="96465"/>
                    <a:pt x="60643" y="97029"/>
                    <a:pt x="60643" y="97311"/>
                  </a:cubicBezTo>
                  <a:cubicBezTo>
                    <a:pt x="60361" y="97311"/>
                    <a:pt x="60361" y="97593"/>
                    <a:pt x="60361" y="97593"/>
                  </a:cubicBezTo>
                  <a:cubicBezTo>
                    <a:pt x="60643" y="97593"/>
                    <a:pt x="60643" y="97875"/>
                    <a:pt x="60926" y="98157"/>
                  </a:cubicBezTo>
                  <a:cubicBezTo>
                    <a:pt x="61490" y="98157"/>
                    <a:pt x="61490" y="97593"/>
                    <a:pt x="61771" y="97593"/>
                  </a:cubicBezTo>
                  <a:cubicBezTo>
                    <a:pt x="62054" y="97311"/>
                    <a:pt x="62054" y="97029"/>
                    <a:pt x="62054" y="96183"/>
                  </a:cubicBezTo>
                  <a:close/>
                  <a:moveTo>
                    <a:pt x="64310" y="94773"/>
                  </a:moveTo>
                  <a:lnTo>
                    <a:pt x="64028" y="94491"/>
                  </a:lnTo>
                  <a:lnTo>
                    <a:pt x="64028" y="93644"/>
                  </a:lnTo>
                  <a:cubicBezTo>
                    <a:pt x="64310" y="93362"/>
                    <a:pt x="64310" y="93080"/>
                    <a:pt x="64310" y="92516"/>
                  </a:cubicBezTo>
                  <a:cubicBezTo>
                    <a:pt x="64310" y="91952"/>
                    <a:pt x="64592" y="91670"/>
                    <a:pt x="64310" y="91670"/>
                  </a:cubicBezTo>
                  <a:lnTo>
                    <a:pt x="63746" y="91106"/>
                  </a:lnTo>
                  <a:lnTo>
                    <a:pt x="63746" y="90824"/>
                  </a:lnTo>
                  <a:lnTo>
                    <a:pt x="63464" y="91106"/>
                  </a:lnTo>
                  <a:cubicBezTo>
                    <a:pt x="63182" y="91106"/>
                    <a:pt x="63182" y="91388"/>
                    <a:pt x="63182" y="91670"/>
                  </a:cubicBezTo>
                  <a:cubicBezTo>
                    <a:pt x="62900" y="92516"/>
                    <a:pt x="62900" y="92798"/>
                    <a:pt x="62618" y="93080"/>
                  </a:cubicBezTo>
                  <a:cubicBezTo>
                    <a:pt x="62618" y="93080"/>
                    <a:pt x="62336" y="93362"/>
                    <a:pt x="62336" y="93644"/>
                  </a:cubicBezTo>
                  <a:cubicBezTo>
                    <a:pt x="62336" y="93926"/>
                    <a:pt x="62618" y="94208"/>
                    <a:pt x="62900" y="94491"/>
                  </a:cubicBezTo>
                  <a:lnTo>
                    <a:pt x="64310" y="95337"/>
                  </a:lnTo>
                  <a:cubicBezTo>
                    <a:pt x="64592" y="95619"/>
                    <a:pt x="64592" y="95619"/>
                    <a:pt x="64874" y="95619"/>
                  </a:cubicBezTo>
                  <a:lnTo>
                    <a:pt x="65438" y="95619"/>
                  </a:lnTo>
                  <a:cubicBezTo>
                    <a:pt x="65438" y="95619"/>
                    <a:pt x="65156" y="95055"/>
                    <a:pt x="64310" y="94773"/>
                  </a:cubicBezTo>
                  <a:close/>
                  <a:moveTo>
                    <a:pt x="65438" y="35822"/>
                  </a:moveTo>
                  <a:cubicBezTo>
                    <a:pt x="65438" y="36386"/>
                    <a:pt x="65438" y="36386"/>
                    <a:pt x="65156" y="36386"/>
                  </a:cubicBezTo>
                  <a:cubicBezTo>
                    <a:pt x="65156" y="36668"/>
                    <a:pt x="65156" y="36668"/>
                    <a:pt x="64592" y="36668"/>
                  </a:cubicBezTo>
                  <a:lnTo>
                    <a:pt x="64310" y="36386"/>
                  </a:lnTo>
                  <a:cubicBezTo>
                    <a:pt x="64592" y="36386"/>
                    <a:pt x="64874" y="36104"/>
                    <a:pt x="64874" y="35822"/>
                  </a:cubicBezTo>
                  <a:cubicBezTo>
                    <a:pt x="64874" y="35540"/>
                    <a:pt x="64592" y="35540"/>
                    <a:pt x="64592" y="35258"/>
                  </a:cubicBezTo>
                  <a:lnTo>
                    <a:pt x="64874" y="34976"/>
                  </a:lnTo>
                  <a:lnTo>
                    <a:pt x="64874" y="35258"/>
                  </a:lnTo>
                  <a:lnTo>
                    <a:pt x="65438" y="35822"/>
                  </a:lnTo>
                  <a:close/>
                  <a:moveTo>
                    <a:pt x="67695" y="87157"/>
                  </a:moveTo>
                  <a:lnTo>
                    <a:pt x="67695" y="88003"/>
                  </a:lnTo>
                  <a:lnTo>
                    <a:pt x="66848" y="88003"/>
                  </a:lnTo>
                  <a:lnTo>
                    <a:pt x="65720" y="86875"/>
                  </a:lnTo>
                  <a:cubicBezTo>
                    <a:pt x="66567" y="86593"/>
                    <a:pt x="66002" y="86029"/>
                    <a:pt x="66567" y="85183"/>
                  </a:cubicBezTo>
                  <a:lnTo>
                    <a:pt x="66567" y="85465"/>
                  </a:lnTo>
                  <a:cubicBezTo>
                    <a:pt x="66567" y="85465"/>
                    <a:pt x="66567" y="85747"/>
                    <a:pt x="66848" y="85747"/>
                  </a:cubicBezTo>
                  <a:cubicBezTo>
                    <a:pt x="67412" y="86029"/>
                    <a:pt x="67412" y="86593"/>
                    <a:pt x="67695" y="87157"/>
                  </a:cubicBezTo>
                  <a:close/>
                  <a:moveTo>
                    <a:pt x="66002" y="93080"/>
                  </a:moveTo>
                  <a:cubicBezTo>
                    <a:pt x="66002" y="93362"/>
                    <a:pt x="66002" y="93362"/>
                    <a:pt x="66284" y="93362"/>
                  </a:cubicBezTo>
                  <a:lnTo>
                    <a:pt x="66567" y="93362"/>
                  </a:lnTo>
                  <a:lnTo>
                    <a:pt x="66848" y="93080"/>
                  </a:lnTo>
                  <a:cubicBezTo>
                    <a:pt x="66848" y="92798"/>
                    <a:pt x="66567" y="92798"/>
                    <a:pt x="66284" y="92516"/>
                  </a:cubicBezTo>
                  <a:cubicBezTo>
                    <a:pt x="66002" y="92798"/>
                    <a:pt x="66002" y="93080"/>
                    <a:pt x="66002" y="93080"/>
                  </a:cubicBezTo>
                  <a:close/>
                  <a:moveTo>
                    <a:pt x="66567" y="69669"/>
                  </a:moveTo>
                  <a:cubicBezTo>
                    <a:pt x="66567" y="69387"/>
                    <a:pt x="66567" y="69387"/>
                    <a:pt x="66848" y="68823"/>
                  </a:cubicBezTo>
                  <a:cubicBezTo>
                    <a:pt x="67131" y="68259"/>
                    <a:pt x="67412" y="67977"/>
                    <a:pt x="67412" y="67977"/>
                  </a:cubicBezTo>
                  <a:cubicBezTo>
                    <a:pt x="67412" y="67977"/>
                    <a:pt x="67977" y="68259"/>
                    <a:pt x="68259" y="68259"/>
                  </a:cubicBezTo>
                  <a:lnTo>
                    <a:pt x="68259" y="69669"/>
                  </a:lnTo>
                  <a:cubicBezTo>
                    <a:pt x="68259" y="69951"/>
                    <a:pt x="68259" y="70797"/>
                    <a:pt x="67977" y="71362"/>
                  </a:cubicBezTo>
                  <a:lnTo>
                    <a:pt x="67131" y="71362"/>
                  </a:lnTo>
                  <a:lnTo>
                    <a:pt x="67131" y="71079"/>
                  </a:lnTo>
                  <a:cubicBezTo>
                    <a:pt x="66848" y="70233"/>
                    <a:pt x="66848" y="69951"/>
                    <a:pt x="66567" y="69669"/>
                  </a:cubicBezTo>
                  <a:close/>
                  <a:moveTo>
                    <a:pt x="67412" y="58105"/>
                  </a:moveTo>
                  <a:cubicBezTo>
                    <a:pt x="67412" y="57823"/>
                    <a:pt x="67412" y="57541"/>
                    <a:pt x="67131" y="57258"/>
                  </a:cubicBezTo>
                  <a:cubicBezTo>
                    <a:pt x="67131" y="57258"/>
                    <a:pt x="67131" y="56976"/>
                    <a:pt x="67412" y="56976"/>
                  </a:cubicBezTo>
                  <a:cubicBezTo>
                    <a:pt x="67695" y="56694"/>
                    <a:pt x="68259" y="56130"/>
                    <a:pt x="68259" y="55566"/>
                  </a:cubicBezTo>
                  <a:cubicBezTo>
                    <a:pt x="68259" y="55566"/>
                    <a:pt x="68541" y="55284"/>
                    <a:pt x="68823" y="55284"/>
                  </a:cubicBezTo>
                  <a:cubicBezTo>
                    <a:pt x="69105" y="55284"/>
                    <a:pt x="69105" y="55566"/>
                    <a:pt x="69105" y="55566"/>
                  </a:cubicBezTo>
                  <a:cubicBezTo>
                    <a:pt x="69105" y="56130"/>
                    <a:pt x="69105" y="56130"/>
                    <a:pt x="68823" y="56694"/>
                  </a:cubicBezTo>
                  <a:lnTo>
                    <a:pt x="68823" y="57258"/>
                  </a:lnTo>
                  <a:cubicBezTo>
                    <a:pt x="69105" y="57823"/>
                    <a:pt x="69105" y="58105"/>
                    <a:pt x="69105" y="58105"/>
                  </a:cubicBezTo>
                  <a:lnTo>
                    <a:pt x="69105" y="58387"/>
                  </a:lnTo>
                  <a:cubicBezTo>
                    <a:pt x="68541" y="58951"/>
                    <a:pt x="67977" y="58951"/>
                    <a:pt x="67412" y="59233"/>
                  </a:cubicBezTo>
                  <a:cubicBezTo>
                    <a:pt x="67412" y="59515"/>
                    <a:pt x="67131" y="59515"/>
                    <a:pt x="67131" y="59515"/>
                  </a:cubicBezTo>
                  <a:lnTo>
                    <a:pt x="67131" y="59233"/>
                  </a:lnTo>
                  <a:cubicBezTo>
                    <a:pt x="67131" y="58951"/>
                    <a:pt x="67412" y="58669"/>
                    <a:pt x="67412" y="58105"/>
                  </a:cubicBezTo>
                  <a:close/>
                  <a:moveTo>
                    <a:pt x="70515" y="53028"/>
                  </a:moveTo>
                  <a:cubicBezTo>
                    <a:pt x="70515" y="53028"/>
                    <a:pt x="69669" y="53592"/>
                    <a:pt x="69387" y="53592"/>
                  </a:cubicBezTo>
                  <a:lnTo>
                    <a:pt x="69105" y="53592"/>
                  </a:lnTo>
                  <a:cubicBezTo>
                    <a:pt x="69105" y="53028"/>
                    <a:pt x="69105" y="53028"/>
                    <a:pt x="68541" y="53028"/>
                  </a:cubicBezTo>
                  <a:cubicBezTo>
                    <a:pt x="68541" y="53028"/>
                    <a:pt x="67695" y="53028"/>
                    <a:pt x="67695" y="52463"/>
                  </a:cubicBezTo>
                  <a:cubicBezTo>
                    <a:pt x="67695" y="52181"/>
                    <a:pt x="68259" y="51617"/>
                    <a:pt x="68541" y="51617"/>
                  </a:cubicBezTo>
                  <a:cubicBezTo>
                    <a:pt x="69387" y="51617"/>
                    <a:pt x="70515" y="52181"/>
                    <a:pt x="70515" y="53028"/>
                  </a:cubicBezTo>
                  <a:close/>
                  <a:moveTo>
                    <a:pt x="73054" y="69387"/>
                  </a:moveTo>
                  <a:cubicBezTo>
                    <a:pt x="73336" y="69951"/>
                    <a:pt x="73618" y="70797"/>
                    <a:pt x="73618" y="71362"/>
                  </a:cubicBezTo>
                  <a:cubicBezTo>
                    <a:pt x="73618" y="71362"/>
                    <a:pt x="73336" y="71644"/>
                    <a:pt x="73054" y="71644"/>
                  </a:cubicBezTo>
                  <a:cubicBezTo>
                    <a:pt x="73054" y="71926"/>
                    <a:pt x="72490" y="71926"/>
                    <a:pt x="72490" y="72490"/>
                  </a:cubicBezTo>
                  <a:lnTo>
                    <a:pt x="73054" y="74182"/>
                  </a:lnTo>
                  <a:lnTo>
                    <a:pt x="73336" y="74464"/>
                  </a:lnTo>
                  <a:cubicBezTo>
                    <a:pt x="73336" y="74746"/>
                    <a:pt x="73054" y="74746"/>
                    <a:pt x="73054" y="74746"/>
                  </a:cubicBezTo>
                  <a:lnTo>
                    <a:pt x="73054" y="75592"/>
                  </a:lnTo>
                  <a:cubicBezTo>
                    <a:pt x="73336" y="75592"/>
                    <a:pt x="73054" y="75875"/>
                    <a:pt x="72772" y="75875"/>
                  </a:cubicBezTo>
                  <a:cubicBezTo>
                    <a:pt x="72772" y="76439"/>
                    <a:pt x="72490" y="76157"/>
                    <a:pt x="72490" y="76439"/>
                  </a:cubicBezTo>
                  <a:lnTo>
                    <a:pt x="72490" y="76721"/>
                  </a:lnTo>
                  <a:cubicBezTo>
                    <a:pt x="72208" y="77285"/>
                    <a:pt x="72208" y="77849"/>
                    <a:pt x="71643" y="78131"/>
                  </a:cubicBezTo>
                  <a:lnTo>
                    <a:pt x="71362" y="78413"/>
                  </a:lnTo>
                  <a:cubicBezTo>
                    <a:pt x="71362" y="78413"/>
                    <a:pt x="71362" y="78695"/>
                    <a:pt x="71643" y="78695"/>
                  </a:cubicBezTo>
                  <a:cubicBezTo>
                    <a:pt x="72208" y="78695"/>
                    <a:pt x="72490" y="78977"/>
                    <a:pt x="72772" y="79259"/>
                  </a:cubicBezTo>
                  <a:cubicBezTo>
                    <a:pt x="73054" y="79259"/>
                    <a:pt x="73054" y="79541"/>
                    <a:pt x="73054" y="79823"/>
                  </a:cubicBezTo>
                  <a:cubicBezTo>
                    <a:pt x="72772" y="79823"/>
                    <a:pt x="72772" y="80105"/>
                    <a:pt x="72772" y="80388"/>
                  </a:cubicBezTo>
                  <a:lnTo>
                    <a:pt x="72772" y="80670"/>
                  </a:lnTo>
                  <a:cubicBezTo>
                    <a:pt x="72772" y="80952"/>
                    <a:pt x="72772" y="81234"/>
                    <a:pt x="72490" y="81798"/>
                  </a:cubicBezTo>
                  <a:lnTo>
                    <a:pt x="71643" y="82926"/>
                  </a:lnTo>
                  <a:cubicBezTo>
                    <a:pt x="70798" y="83772"/>
                    <a:pt x="70798" y="84618"/>
                    <a:pt x="70233" y="85183"/>
                  </a:cubicBezTo>
                  <a:lnTo>
                    <a:pt x="69951" y="85465"/>
                  </a:lnTo>
                  <a:lnTo>
                    <a:pt x="69669" y="85465"/>
                  </a:lnTo>
                  <a:lnTo>
                    <a:pt x="69951" y="85183"/>
                  </a:lnTo>
                  <a:lnTo>
                    <a:pt x="69951" y="84618"/>
                  </a:lnTo>
                  <a:cubicBezTo>
                    <a:pt x="69669" y="84336"/>
                    <a:pt x="69669" y="84054"/>
                    <a:pt x="69669" y="83772"/>
                  </a:cubicBezTo>
                  <a:cubicBezTo>
                    <a:pt x="69669" y="83490"/>
                    <a:pt x="69669" y="83208"/>
                    <a:pt x="70233" y="82926"/>
                  </a:cubicBezTo>
                  <a:cubicBezTo>
                    <a:pt x="69951" y="82644"/>
                    <a:pt x="69951" y="82362"/>
                    <a:pt x="69951" y="81798"/>
                  </a:cubicBezTo>
                  <a:cubicBezTo>
                    <a:pt x="69669" y="81516"/>
                    <a:pt x="69669" y="81516"/>
                    <a:pt x="69669" y="81234"/>
                  </a:cubicBezTo>
                  <a:cubicBezTo>
                    <a:pt x="69669" y="81234"/>
                    <a:pt x="69669" y="80952"/>
                    <a:pt x="69951" y="80670"/>
                  </a:cubicBezTo>
                  <a:lnTo>
                    <a:pt x="70233" y="80670"/>
                  </a:lnTo>
                  <a:cubicBezTo>
                    <a:pt x="70233" y="80388"/>
                    <a:pt x="70515" y="80388"/>
                    <a:pt x="70515" y="80105"/>
                  </a:cubicBezTo>
                  <a:cubicBezTo>
                    <a:pt x="70515" y="79823"/>
                    <a:pt x="70233" y="79259"/>
                    <a:pt x="69387" y="78695"/>
                  </a:cubicBezTo>
                  <a:lnTo>
                    <a:pt x="69105" y="78413"/>
                  </a:lnTo>
                  <a:cubicBezTo>
                    <a:pt x="69105" y="78131"/>
                    <a:pt x="69387" y="77849"/>
                    <a:pt x="69387" y="77849"/>
                  </a:cubicBezTo>
                  <a:cubicBezTo>
                    <a:pt x="70233" y="77567"/>
                    <a:pt x="70515" y="77003"/>
                    <a:pt x="70515" y="76721"/>
                  </a:cubicBezTo>
                  <a:cubicBezTo>
                    <a:pt x="70515" y="76439"/>
                    <a:pt x="70233" y="76439"/>
                    <a:pt x="70233" y="76157"/>
                  </a:cubicBezTo>
                  <a:cubicBezTo>
                    <a:pt x="70233" y="75875"/>
                    <a:pt x="69951" y="75592"/>
                    <a:pt x="69951" y="75592"/>
                  </a:cubicBezTo>
                  <a:lnTo>
                    <a:pt x="70233" y="75592"/>
                  </a:lnTo>
                  <a:lnTo>
                    <a:pt x="70515" y="75310"/>
                  </a:lnTo>
                  <a:cubicBezTo>
                    <a:pt x="70798" y="75028"/>
                    <a:pt x="71079" y="75028"/>
                    <a:pt x="71079" y="74746"/>
                  </a:cubicBezTo>
                  <a:lnTo>
                    <a:pt x="70515" y="74182"/>
                  </a:lnTo>
                  <a:cubicBezTo>
                    <a:pt x="70233" y="73900"/>
                    <a:pt x="70233" y="73618"/>
                    <a:pt x="70233" y="73336"/>
                  </a:cubicBezTo>
                  <a:cubicBezTo>
                    <a:pt x="70233" y="73054"/>
                    <a:pt x="70233" y="72772"/>
                    <a:pt x="70515" y="72208"/>
                  </a:cubicBezTo>
                  <a:cubicBezTo>
                    <a:pt x="70798" y="72208"/>
                    <a:pt x="70798" y="72208"/>
                    <a:pt x="70798" y="71926"/>
                  </a:cubicBezTo>
                  <a:cubicBezTo>
                    <a:pt x="70798" y="71926"/>
                    <a:pt x="70798" y="71644"/>
                    <a:pt x="71079" y="71362"/>
                  </a:cubicBezTo>
                  <a:lnTo>
                    <a:pt x="71362" y="71644"/>
                  </a:lnTo>
                  <a:cubicBezTo>
                    <a:pt x="71926" y="71362"/>
                    <a:pt x="72208" y="71362"/>
                    <a:pt x="72490" y="70797"/>
                  </a:cubicBezTo>
                  <a:cubicBezTo>
                    <a:pt x="72208" y="70233"/>
                    <a:pt x="72208" y="69951"/>
                    <a:pt x="72208" y="69951"/>
                  </a:cubicBezTo>
                  <a:lnTo>
                    <a:pt x="72208" y="69105"/>
                  </a:lnTo>
                  <a:cubicBezTo>
                    <a:pt x="72208" y="69105"/>
                    <a:pt x="72490" y="69105"/>
                    <a:pt x="72772" y="69387"/>
                  </a:cubicBezTo>
                  <a:lnTo>
                    <a:pt x="73054" y="69387"/>
                  </a:lnTo>
                  <a:close/>
                  <a:moveTo>
                    <a:pt x="69951" y="41745"/>
                  </a:moveTo>
                  <a:cubicBezTo>
                    <a:pt x="70233" y="41745"/>
                    <a:pt x="70233" y="42309"/>
                    <a:pt x="70233" y="42309"/>
                  </a:cubicBezTo>
                  <a:cubicBezTo>
                    <a:pt x="70233" y="42309"/>
                    <a:pt x="69951" y="42873"/>
                    <a:pt x="69669" y="42873"/>
                  </a:cubicBezTo>
                  <a:lnTo>
                    <a:pt x="69669" y="41463"/>
                  </a:lnTo>
                  <a:lnTo>
                    <a:pt x="69951" y="41745"/>
                  </a:lnTo>
                  <a:close/>
                  <a:moveTo>
                    <a:pt x="74746" y="51617"/>
                  </a:moveTo>
                  <a:lnTo>
                    <a:pt x="74746" y="52181"/>
                  </a:lnTo>
                  <a:lnTo>
                    <a:pt x="74182" y="53592"/>
                  </a:lnTo>
                  <a:cubicBezTo>
                    <a:pt x="74182" y="53874"/>
                    <a:pt x="74182" y="54156"/>
                    <a:pt x="74464" y="54720"/>
                  </a:cubicBezTo>
                  <a:cubicBezTo>
                    <a:pt x="74182" y="55002"/>
                    <a:pt x="74464" y="55848"/>
                    <a:pt x="73900" y="56130"/>
                  </a:cubicBezTo>
                  <a:cubicBezTo>
                    <a:pt x="73900" y="56130"/>
                    <a:pt x="73618" y="56412"/>
                    <a:pt x="73618" y="56694"/>
                  </a:cubicBezTo>
                  <a:cubicBezTo>
                    <a:pt x="73618" y="56976"/>
                    <a:pt x="73900" y="57258"/>
                    <a:pt x="74182" y="57541"/>
                  </a:cubicBezTo>
                  <a:lnTo>
                    <a:pt x="74182" y="58669"/>
                  </a:lnTo>
                  <a:cubicBezTo>
                    <a:pt x="74182" y="58951"/>
                    <a:pt x="73618" y="59515"/>
                    <a:pt x="73618" y="59515"/>
                  </a:cubicBezTo>
                  <a:cubicBezTo>
                    <a:pt x="73336" y="59233"/>
                    <a:pt x="73054" y="58951"/>
                    <a:pt x="72490" y="58951"/>
                  </a:cubicBezTo>
                  <a:cubicBezTo>
                    <a:pt x="72490" y="58669"/>
                    <a:pt x="72490" y="58387"/>
                    <a:pt x="73336" y="58105"/>
                  </a:cubicBezTo>
                  <a:cubicBezTo>
                    <a:pt x="73618" y="58105"/>
                    <a:pt x="73618" y="58105"/>
                    <a:pt x="73618" y="57541"/>
                  </a:cubicBezTo>
                  <a:cubicBezTo>
                    <a:pt x="73336" y="57258"/>
                    <a:pt x="72772" y="56976"/>
                    <a:pt x="72772" y="56694"/>
                  </a:cubicBezTo>
                  <a:cubicBezTo>
                    <a:pt x="72772" y="56412"/>
                    <a:pt x="73054" y="56412"/>
                    <a:pt x="73336" y="56130"/>
                  </a:cubicBezTo>
                  <a:cubicBezTo>
                    <a:pt x="73054" y="55848"/>
                    <a:pt x="73054" y="55566"/>
                    <a:pt x="73054" y="55284"/>
                  </a:cubicBezTo>
                  <a:lnTo>
                    <a:pt x="73054" y="55002"/>
                  </a:lnTo>
                  <a:cubicBezTo>
                    <a:pt x="73054" y="54720"/>
                    <a:pt x="72490" y="54156"/>
                    <a:pt x="72490" y="53592"/>
                  </a:cubicBezTo>
                  <a:cubicBezTo>
                    <a:pt x="72490" y="53592"/>
                    <a:pt x="73054" y="53028"/>
                    <a:pt x="73054" y="52745"/>
                  </a:cubicBezTo>
                  <a:cubicBezTo>
                    <a:pt x="73054" y="52463"/>
                    <a:pt x="73336" y="52463"/>
                    <a:pt x="73336" y="52181"/>
                  </a:cubicBezTo>
                  <a:lnTo>
                    <a:pt x="72772" y="51617"/>
                  </a:lnTo>
                  <a:lnTo>
                    <a:pt x="72772" y="51053"/>
                  </a:lnTo>
                  <a:cubicBezTo>
                    <a:pt x="73054" y="50771"/>
                    <a:pt x="73336" y="50207"/>
                    <a:pt x="73336" y="49925"/>
                  </a:cubicBezTo>
                  <a:cubicBezTo>
                    <a:pt x="73336" y="49925"/>
                    <a:pt x="73900" y="49643"/>
                    <a:pt x="74182" y="49643"/>
                  </a:cubicBezTo>
                  <a:cubicBezTo>
                    <a:pt x="74464" y="49643"/>
                    <a:pt x="74464" y="49925"/>
                    <a:pt x="74464" y="50207"/>
                  </a:cubicBezTo>
                  <a:cubicBezTo>
                    <a:pt x="74464" y="50207"/>
                    <a:pt x="74464" y="50489"/>
                    <a:pt x="74746" y="51617"/>
                  </a:cubicBezTo>
                  <a:close/>
                  <a:moveTo>
                    <a:pt x="73618" y="60643"/>
                  </a:moveTo>
                  <a:lnTo>
                    <a:pt x="73618" y="61207"/>
                  </a:lnTo>
                  <a:lnTo>
                    <a:pt x="73336" y="61489"/>
                  </a:lnTo>
                  <a:cubicBezTo>
                    <a:pt x="72772" y="61489"/>
                    <a:pt x="72772" y="61771"/>
                    <a:pt x="72490" y="61771"/>
                  </a:cubicBezTo>
                  <a:lnTo>
                    <a:pt x="72490" y="60643"/>
                  </a:lnTo>
                  <a:lnTo>
                    <a:pt x="72772" y="60361"/>
                  </a:lnTo>
                  <a:cubicBezTo>
                    <a:pt x="73054" y="60361"/>
                    <a:pt x="73336" y="60643"/>
                    <a:pt x="73618" y="60643"/>
                  </a:cubicBezTo>
                  <a:close/>
                  <a:moveTo>
                    <a:pt x="108594" y="33565"/>
                  </a:moveTo>
                  <a:cubicBezTo>
                    <a:pt x="108594" y="33283"/>
                    <a:pt x="108311" y="33283"/>
                    <a:pt x="108311" y="33283"/>
                  </a:cubicBezTo>
                  <a:lnTo>
                    <a:pt x="108030" y="33283"/>
                  </a:lnTo>
                  <a:cubicBezTo>
                    <a:pt x="107747" y="33283"/>
                    <a:pt x="107183" y="33565"/>
                    <a:pt x="106619" y="34129"/>
                  </a:cubicBezTo>
                  <a:lnTo>
                    <a:pt x="106619" y="34411"/>
                  </a:lnTo>
                  <a:cubicBezTo>
                    <a:pt x="106619" y="34694"/>
                    <a:pt x="106901" y="34694"/>
                    <a:pt x="107183" y="34694"/>
                  </a:cubicBezTo>
                  <a:cubicBezTo>
                    <a:pt x="107747" y="34694"/>
                    <a:pt x="108311" y="34129"/>
                    <a:pt x="108594" y="33565"/>
                  </a:cubicBezTo>
                  <a:close/>
                </a:path>
              </a:pathLst>
            </a:custGeom>
            <a:solidFill>
              <a:srgbClr val="000000"/>
            </a:solidFill>
            <a:ln w="5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7E1EB55-FE52-488F-AA30-6B677AC17955}"/>
                </a:ext>
              </a:extLst>
            </p:cNvPr>
            <p:cNvSpPr/>
            <p:nvPr/>
          </p:nvSpPr>
          <p:spPr>
            <a:xfrm>
              <a:off x="5917537" y="3260609"/>
              <a:ext cx="180519" cy="248214"/>
            </a:xfrm>
            <a:custGeom>
              <a:avLst/>
              <a:gdLst>
                <a:gd name="connsiteX0" fmla="*/ 36668 w 180519"/>
                <a:gd name="connsiteY0" fmla="*/ 57258 h 248214"/>
                <a:gd name="connsiteX1" fmla="*/ 36386 w 180519"/>
                <a:gd name="connsiteY1" fmla="*/ 56976 h 248214"/>
                <a:gd name="connsiteX2" fmla="*/ 36386 w 180519"/>
                <a:gd name="connsiteY2" fmla="*/ 56694 h 248214"/>
                <a:gd name="connsiteX3" fmla="*/ 38078 w 180519"/>
                <a:gd name="connsiteY3" fmla="*/ 55566 h 248214"/>
                <a:gd name="connsiteX4" fmla="*/ 38642 w 180519"/>
                <a:gd name="connsiteY4" fmla="*/ 55566 h 248214"/>
                <a:gd name="connsiteX5" fmla="*/ 40617 w 180519"/>
                <a:gd name="connsiteY5" fmla="*/ 55284 h 248214"/>
                <a:gd name="connsiteX6" fmla="*/ 41745 w 180519"/>
                <a:gd name="connsiteY6" fmla="*/ 54720 h 248214"/>
                <a:gd name="connsiteX7" fmla="*/ 43156 w 180519"/>
                <a:gd name="connsiteY7" fmla="*/ 54156 h 248214"/>
                <a:gd name="connsiteX8" fmla="*/ 44848 w 180519"/>
                <a:gd name="connsiteY8" fmla="*/ 53310 h 248214"/>
                <a:gd name="connsiteX9" fmla="*/ 45976 w 180519"/>
                <a:gd name="connsiteY9" fmla="*/ 53310 h 248214"/>
                <a:gd name="connsiteX10" fmla="*/ 49925 w 180519"/>
                <a:gd name="connsiteY10" fmla="*/ 52463 h 248214"/>
                <a:gd name="connsiteX11" fmla="*/ 50771 w 180519"/>
                <a:gd name="connsiteY11" fmla="*/ 52463 h 248214"/>
                <a:gd name="connsiteX12" fmla="*/ 51335 w 180519"/>
                <a:gd name="connsiteY12" fmla="*/ 53028 h 248214"/>
                <a:gd name="connsiteX13" fmla="*/ 49925 w 180519"/>
                <a:gd name="connsiteY13" fmla="*/ 54720 h 248214"/>
                <a:gd name="connsiteX14" fmla="*/ 49079 w 180519"/>
                <a:gd name="connsiteY14" fmla="*/ 55002 h 248214"/>
                <a:gd name="connsiteX15" fmla="*/ 48797 w 180519"/>
                <a:gd name="connsiteY15" fmla="*/ 55284 h 248214"/>
                <a:gd name="connsiteX16" fmla="*/ 48797 w 180519"/>
                <a:gd name="connsiteY16" fmla="*/ 55566 h 248214"/>
                <a:gd name="connsiteX17" fmla="*/ 49361 w 180519"/>
                <a:gd name="connsiteY17" fmla="*/ 56130 h 248214"/>
                <a:gd name="connsiteX18" fmla="*/ 49925 w 180519"/>
                <a:gd name="connsiteY18" fmla="*/ 56412 h 248214"/>
                <a:gd name="connsiteX19" fmla="*/ 50489 w 180519"/>
                <a:gd name="connsiteY19" fmla="*/ 56412 h 248214"/>
                <a:gd name="connsiteX20" fmla="*/ 51053 w 180519"/>
                <a:gd name="connsiteY20" fmla="*/ 56976 h 248214"/>
                <a:gd name="connsiteX21" fmla="*/ 51617 w 180519"/>
                <a:gd name="connsiteY21" fmla="*/ 56976 h 248214"/>
                <a:gd name="connsiteX22" fmla="*/ 52745 w 180519"/>
                <a:gd name="connsiteY22" fmla="*/ 55566 h 248214"/>
                <a:gd name="connsiteX23" fmla="*/ 54720 w 180519"/>
                <a:gd name="connsiteY23" fmla="*/ 54156 h 248214"/>
                <a:gd name="connsiteX24" fmla="*/ 55284 w 180519"/>
                <a:gd name="connsiteY24" fmla="*/ 52463 h 248214"/>
                <a:gd name="connsiteX25" fmla="*/ 56976 w 180519"/>
                <a:gd name="connsiteY25" fmla="*/ 51335 h 248214"/>
                <a:gd name="connsiteX26" fmla="*/ 57541 w 180519"/>
                <a:gd name="connsiteY26" fmla="*/ 51335 h 248214"/>
                <a:gd name="connsiteX27" fmla="*/ 58951 w 180519"/>
                <a:gd name="connsiteY27" fmla="*/ 51053 h 248214"/>
                <a:gd name="connsiteX28" fmla="*/ 60362 w 180519"/>
                <a:gd name="connsiteY28" fmla="*/ 50489 h 248214"/>
                <a:gd name="connsiteX29" fmla="*/ 61207 w 180519"/>
                <a:gd name="connsiteY29" fmla="*/ 51053 h 248214"/>
                <a:gd name="connsiteX30" fmla="*/ 61490 w 180519"/>
                <a:gd name="connsiteY30" fmla="*/ 51617 h 248214"/>
                <a:gd name="connsiteX31" fmla="*/ 62618 w 180519"/>
                <a:gd name="connsiteY31" fmla="*/ 51335 h 248214"/>
                <a:gd name="connsiteX32" fmla="*/ 62900 w 180519"/>
                <a:gd name="connsiteY32" fmla="*/ 51335 h 248214"/>
                <a:gd name="connsiteX33" fmla="*/ 63182 w 180519"/>
                <a:gd name="connsiteY33" fmla="*/ 51053 h 248214"/>
                <a:gd name="connsiteX34" fmla="*/ 66003 w 180519"/>
                <a:gd name="connsiteY34" fmla="*/ 49079 h 248214"/>
                <a:gd name="connsiteX35" fmla="*/ 68823 w 180519"/>
                <a:gd name="connsiteY35" fmla="*/ 49079 h 248214"/>
                <a:gd name="connsiteX36" fmla="*/ 69105 w 180519"/>
                <a:gd name="connsiteY36" fmla="*/ 49361 h 248214"/>
                <a:gd name="connsiteX37" fmla="*/ 69105 w 180519"/>
                <a:gd name="connsiteY37" fmla="*/ 49643 h 248214"/>
                <a:gd name="connsiteX38" fmla="*/ 68259 w 180519"/>
                <a:gd name="connsiteY38" fmla="*/ 50771 h 248214"/>
                <a:gd name="connsiteX39" fmla="*/ 68259 w 180519"/>
                <a:gd name="connsiteY39" fmla="*/ 51053 h 248214"/>
                <a:gd name="connsiteX40" fmla="*/ 69105 w 180519"/>
                <a:gd name="connsiteY40" fmla="*/ 51053 h 248214"/>
                <a:gd name="connsiteX41" fmla="*/ 70798 w 180519"/>
                <a:gd name="connsiteY41" fmla="*/ 50489 h 248214"/>
                <a:gd name="connsiteX42" fmla="*/ 71926 w 180519"/>
                <a:gd name="connsiteY42" fmla="*/ 49643 h 248214"/>
                <a:gd name="connsiteX43" fmla="*/ 71079 w 180519"/>
                <a:gd name="connsiteY43" fmla="*/ 50771 h 248214"/>
                <a:gd name="connsiteX44" fmla="*/ 69387 w 180519"/>
                <a:gd name="connsiteY44" fmla="*/ 51899 h 248214"/>
                <a:gd name="connsiteX45" fmla="*/ 68823 w 180519"/>
                <a:gd name="connsiteY45" fmla="*/ 51899 h 248214"/>
                <a:gd name="connsiteX46" fmla="*/ 68259 w 180519"/>
                <a:gd name="connsiteY46" fmla="*/ 52463 h 248214"/>
                <a:gd name="connsiteX47" fmla="*/ 68259 w 180519"/>
                <a:gd name="connsiteY47" fmla="*/ 53028 h 248214"/>
                <a:gd name="connsiteX48" fmla="*/ 71079 w 180519"/>
                <a:gd name="connsiteY48" fmla="*/ 52463 h 248214"/>
                <a:gd name="connsiteX49" fmla="*/ 71644 w 180519"/>
                <a:gd name="connsiteY49" fmla="*/ 52463 h 248214"/>
                <a:gd name="connsiteX50" fmla="*/ 73054 w 180519"/>
                <a:gd name="connsiteY50" fmla="*/ 51899 h 248214"/>
                <a:gd name="connsiteX51" fmla="*/ 73618 w 180519"/>
                <a:gd name="connsiteY51" fmla="*/ 51617 h 248214"/>
                <a:gd name="connsiteX52" fmla="*/ 73054 w 180519"/>
                <a:gd name="connsiteY52" fmla="*/ 51335 h 248214"/>
                <a:gd name="connsiteX53" fmla="*/ 72772 w 180519"/>
                <a:gd name="connsiteY53" fmla="*/ 51053 h 248214"/>
                <a:gd name="connsiteX54" fmla="*/ 72490 w 180519"/>
                <a:gd name="connsiteY54" fmla="*/ 50489 h 248214"/>
                <a:gd name="connsiteX55" fmla="*/ 73054 w 180519"/>
                <a:gd name="connsiteY55" fmla="*/ 49643 h 248214"/>
                <a:gd name="connsiteX56" fmla="*/ 73900 w 180519"/>
                <a:gd name="connsiteY56" fmla="*/ 49079 h 248214"/>
                <a:gd name="connsiteX57" fmla="*/ 74465 w 180519"/>
                <a:gd name="connsiteY57" fmla="*/ 47950 h 248214"/>
                <a:gd name="connsiteX58" fmla="*/ 77567 w 180519"/>
                <a:gd name="connsiteY58" fmla="*/ 36668 h 248214"/>
                <a:gd name="connsiteX59" fmla="*/ 77849 w 180519"/>
                <a:gd name="connsiteY59" fmla="*/ 31873 h 248214"/>
                <a:gd name="connsiteX60" fmla="*/ 79824 w 180519"/>
                <a:gd name="connsiteY60" fmla="*/ 30463 h 248214"/>
                <a:gd name="connsiteX61" fmla="*/ 80388 w 180519"/>
                <a:gd name="connsiteY61" fmla="*/ 29899 h 248214"/>
                <a:gd name="connsiteX62" fmla="*/ 80106 w 180519"/>
                <a:gd name="connsiteY62" fmla="*/ 29616 h 248214"/>
                <a:gd name="connsiteX63" fmla="*/ 80388 w 180519"/>
                <a:gd name="connsiteY63" fmla="*/ 28770 h 248214"/>
                <a:gd name="connsiteX64" fmla="*/ 79260 w 180519"/>
                <a:gd name="connsiteY64" fmla="*/ 28206 h 248214"/>
                <a:gd name="connsiteX65" fmla="*/ 78977 w 180519"/>
                <a:gd name="connsiteY65" fmla="*/ 26796 h 248214"/>
                <a:gd name="connsiteX66" fmla="*/ 78977 w 180519"/>
                <a:gd name="connsiteY66" fmla="*/ 26232 h 248214"/>
                <a:gd name="connsiteX67" fmla="*/ 79824 w 180519"/>
                <a:gd name="connsiteY67" fmla="*/ 25386 h 248214"/>
                <a:gd name="connsiteX68" fmla="*/ 80106 w 180519"/>
                <a:gd name="connsiteY68" fmla="*/ 24539 h 248214"/>
                <a:gd name="connsiteX69" fmla="*/ 80106 w 180519"/>
                <a:gd name="connsiteY69" fmla="*/ 23975 h 248214"/>
                <a:gd name="connsiteX70" fmla="*/ 80670 w 180519"/>
                <a:gd name="connsiteY70" fmla="*/ 22565 h 248214"/>
                <a:gd name="connsiteX71" fmla="*/ 81516 w 180519"/>
                <a:gd name="connsiteY71" fmla="*/ 21155 h 248214"/>
                <a:gd name="connsiteX72" fmla="*/ 81516 w 180519"/>
                <a:gd name="connsiteY72" fmla="*/ 20873 h 248214"/>
                <a:gd name="connsiteX73" fmla="*/ 82080 w 180519"/>
                <a:gd name="connsiteY73" fmla="*/ 19462 h 248214"/>
                <a:gd name="connsiteX74" fmla="*/ 82362 w 180519"/>
                <a:gd name="connsiteY74" fmla="*/ 19180 h 248214"/>
                <a:gd name="connsiteX75" fmla="*/ 82362 w 180519"/>
                <a:gd name="connsiteY75" fmla="*/ 18898 h 248214"/>
                <a:gd name="connsiteX76" fmla="*/ 82080 w 180519"/>
                <a:gd name="connsiteY76" fmla="*/ 18616 h 248214"/>
                <a:gd name="connsiteX77" fmla="*/ 82080 w 180519"/>
                <a:gd name="connsiteY77" fmla="*/ 17206 h 248214"/>
                <a:gd name="connsiteX78" fmla="*/ 82362 w 180519"/>
                <a:gd name="connsiteY78" fmla="*/ 16642 h 248214"/>
                <a:gd name="connsiteX79" fmla="*/ 83772 w 180519"/>
                <a:gd name="connsiteY79" fmla="*/ 15513 h 248214"/>
                <a:gd name="connsiteX80" fmla="*/ 83490 w 180519"/>
                <a:gd name="connsiteY80" fmla="*/ 15231 h 248214"/>
                <a:gd name="connsiteX81" fmla="*/ 84337 w 180519"/>
                <a:gd name="connsiteY81" fmla="*/ 13539 h 248214"/>
                <a:gd name="connsiteX82" fmla="*/ 84054 w 180519"/>
                <a:gd name="connsiteY82" fmla="*/ 13257 h 248214"/>
                <a:gd name="connsiteX83" fmla="*/ 85182 w 180519"/>
                <a:gd name="connsiteY83" fmla="*/ 12693 h 248214"/>
                <a:gd name="connsiteX84" fmla="*/ 86311 w 180519"/>
                <a:gd name="connsiteY84" fmla="*/ 11847 h 248214"/>
                <a:gd name="connsiteX85" fmla="*/ 86311 w 180519"/>
                <a:gd name="connsiteY85" fmla="*/ 10436 h 248214"/>
                <a:gd name="connsiteX86" fmla="*/ 88003 w 180519"/>
                <a:gd name="connsiteY86" fmla="*/ 9026 h 248214"/>
                <a:gd name="connsiteX87" fmla="*/ 88849 w 180519"/>
                <a:gd name="connsiteY87" fmla="*/ 6487 h 248214"/>
                <a:gd name="connsiteX88" fmla="*/ 89413 w 180519"/>
                <a:gd name="connsiteY88" fmla="*/ 6205 h 248214"/>
                <a:gd name="connsiteX89" fmla="*/ 89696 w 180519"/>
                <a:gd name="connsiteY89" fmla="*/ 5359 h 248214"/>
                <a:gd name="connsiteX90" fmla="*/ 90542 w 180519"/>
                <a:gd name="connsiteY90" fmla="*/ 3949 h 248214"/>
                <a:gd name="connsiteX91" fmla="*/ 91952 w 180519"/>
                <a:gd name="connsiteY91" fmla="*/ 2821 h 248214"/>
                <a:gd name="connsiteX92" fmla="*/ 91670 w 180519"/>
                <a:gd name="connsiteY92" fmla="*/ 2256 h 248214"/>
                <a:gd name="connsiteX93" fmla="*/ 92799 w 180519"/>
                <a:gd name="connsiteY93" fmla="*/ 1692 h 248214"/>
                <a:gd name="connsiteX94" fmla="*/ 93363 w 180519"/>
                <a:gd name="connsiteY94" fmla="*/ 1410 h 248214"/>
                <a:gd name="connsiteX95" fmla="*/ 93927 w 180519"/>
                <a:gd name="connsiteY95" fmla="*/ 1128 h 248214"/>
                <a:gd name="connsiteX96" fmla="*/ 94209 w 180519"/>
                <a:gd name="connsiteY96" fmla="*/ 1128 h 248214"/>
                <a:gd name="connsiteX97" fmla="*/ 94491 w 180519"/>
                <a:gd name="connsiteY97" fmla="*/ 1410 h 248214"/>
                <a:gd name="connsiteX98" fmla="*/ 95055 w 180519"/>
                <a:gd name="connsiteY98" fmla="*/ 1128 h 248214"/>
                <a:gd name="connsiteX99" fmla="*/ 96465 w 180519"/>
                <a:gd name="connsiteY99" fmla="*/ 282 h 248214"/>
                <a:gd name="connsiteX100" fmla="*/ 97311 w 180519"/>
                <a:gd name="connsiteY100" fmla="*/ 0 h 248214"/>
                <a:gd name="connsiteX101" fmla="*/ 98440 w 180519"/>
                <a:gd name="connsiteY101" fmla="*/ 564 h 248214"/>
                <a:gd name="connsiteX102" fmla="*/ 98722 w 180519"/>
                <a:gd name="connsiteY102" fmla="*/ 846 h 248214"/>
                <a:gd name="connsiteX103" fmla="*/ 98440 w 180519"/>
                <a:gd name="connsiteY103" fmla="*/ 2821 h 248214"/>
                <a:gd name="connsiteX104" fmla="*/ 99004 w 180519"/>
                <a:gd name="connsiteY104" fmla="*/ 3103 h 248214"/>
                <a:gd name="connsiteX105" fmla="*/ 99568 w 180519"/>
                <a:gd name="connsiteY105" fmla="*/ 3103 h 248214"/>
                <a:gd name="connsiteX106" fmla="*/ 100414 w 180519"/>
                <a:gd name="connsiteY106" fmla="*/ 1692 h 248214"/>
                <a:gd name="connsiteX107" fmla="*/ 100696 w 180519"/>
                <a:gd name="connsiteY107" fmla="*/ 1692 h 248214"/>
                <a:gd name="connsiteX108" fmla="*/ 100978 w 180519"/>
                <a:gd name="connsiteY108" fmla="*/ 2256 h 248214"/>
                <a:gd name="connsiteX109" fmla="*/ 101542 w 180519"/>
                <a:gd name="connsiteY109" fmla="*/ 2821 h 248214"/>
                <a:gd name="connsiteX110" fmla="*/ 102106 w 180519"/>
                <a:gd name="connsiteY110" fmla="*/ 3103 h 248214"/>
                <a:gd name="connsiteX111" fmla="*/ 104363 w 180519"/>
                <a:gd name="connsiteY111" fmla="*/ 3103 h 248214"/>
                <a:gd name="connsiteX112" fmla="*/ 104081 w 180519"/>
                <a:gd name="connsiteY112" fmla="*/ 3667 h 248214"/>
                <a:gd name="connsiteX113" fmla="*/ 104081 w 180519"/>
                <a:gd name="connsiteY113" fmla="*/ 4231 h 248214"/>
                <a:gd name="connsiteX114" fmla="*/ 105209 w 180519"/>
                <a:gd name="connsiteY114" fmla="*/ 4231 h 248214"/>
                <a:gd name="connsiteX115" fmla="*/ 105491 w 180519"/>
                <a:gd name="connsiteY115" fmla="*/ 3949 h 248214"/>
                <a:gd name="connsiteX116" fmla="*/ 106619 w 180519"/>
                <a:gd name="connsiteY116" fmla="*/ 3667 h 248214"/>
                <a:gd name="connsiteX117" fmla="*/ 107183 w 180519"/>
                <a:gd name="connsiteY117" fmla="*/ 3949 h 248214"/>
                <a:gd name="connsiteX118" fmla="*/ 108876 w 180519"/>
                <a:gd name="connsiteY118" fmla="*/ 4231 h 248214"/>
                <a:gd name="connsiteX119" fmla="*/ 110004 w 180519"/>
                <a:gd name="connsiteY119" fmla="*/ 5077 h 248214"/>
                <a:gd name="connsiteX120" fmla="*/ 109722 w 180519"/>
                <a:gd name="connsiteY120" fmla="*/ 7052 h 248214"/>
                <a:gd name="connsiteX121" fmla="*/ 110286 w 180519"/>
                <a:gd name="connsiteY121" fmla="*/ 7898 h 248214"/>
                <a:gd name="connsiteX122" fmla="*/ 110568 w 180519"/>
                <a:gd name="connsiteY122" fmla="*/ 8462 h 248214"/>
                <a:gd name="connsiteX123" fmla="*/ 109722 w 180519"/>
                <a:gd name="connsiteY123" fmla="*/ 9872 h 248214"/>
                <a:gd name="connsiteX124" fmla="*/ 109440 w 180519"/>
                <a:gd name="connsiteY124" fmla="*/ 10718 h 248214"/>
                <a:gd name="connsiteX125" fmla="*/ 108312 w 180519"/>
                <a:gd name="connsiteY125" fmla="*/ 11847 h 248214"/>
                <a:gd name="connsiteX126" fmla="*/ 108030 w 180519"/>
                <a:gd name="connsiteY126" fmla="*/ 12411 h 248214"/>
                <a:gd name="connsiteX127" fmla="*/ 107747 w 180519"/>
                <a:gd name="connsiteY127" fmla="*/ 13257 h 248214"/>
                <a:gd name="connsiteX128" fmla="*/ 107466 w 180519"/>
                <a:gd name="connsiteY128" fmla="*/ 13539 h 248214"/>
                <a:gd name="connsiteX129" fmla="*/ 107183 w 180519"/>
                <a:gd name="connsiteY129" fmla="*/ 13821 h 248214"/>
                <a:gd name="connsiteX130" fmla="*/ 107183 w 180519"/>
                <a:gd name="connsiteY130" fmla="*/ 15231 h 248214"/>
                <a:gd name="connsiteX131" fmla="*/ 106337 w 180519"/>
                <a:gd name="connsiteY131" fmla="*/ 16642 h 248214"/>
                <a:gd name="connsiteX132" fmla="*/ 106337 w 180519"/>
                <a:gd name="connsiteY132" fmla="*/ 16924 h 248214"/>
                <a:gd name="connsiteX133" fmla="*/ 105491 w 180519"/>
                <a:gd name="connsiteY133" fmla="*/ 18898 h 248214"/>
                <a:gd name="connsiteX134" fmla="*/ 105209 w 180519"/>
                <a:gd name="connsiteY134" fmla="*/ 20026 h 248214"/>
                <a:gd name="connsiteX135" fmla="*/ 105209 w 180519"/>
                <a:gd name="connsiteY135" fmla="*/ 20308 h 248214"/>
                <a:gd name="connsiteX136" fmla="*/ 104363 w 180519"/>
                <a:gd name="connsiteY136" fmla="*/ 21437 h 248214"/>
                <a:gd name="connsiteX137" fmla="*/ 104645 w 180519"/>
                <a:gd name="connsiteY137" fmla="*/ 21719 h 248214"/>
                <a:gd name="connsiteX138" fmla="*/ 104645 w 180519"/>
                <a:gd name="connsiteY138" fmla="*/ 22283 h 248214"/>
                <a:gd name="connsiteX139" fmla="*/ 103235 w 180519"/>
                <a:gd name="connsiteY139" fmla="*/ 23975 h 248214"/>
                <a:gd name="connsiteX140" fmla="*/ 103516 w 180519"/>
                <a:gd name="connsiteY140" fmla="*/ 24257 h 248214"/>
                <a:gd name="connsiteX141" fmla="*/ 103516 w 180519"/>
                <a:gd name="connsiteY141" fmla="*/ 24539 h 248214"/>
                <a:gd name="connsiteX142" fmla="*/ 103235 w 180519"/>
                <a:gd name="connsiteY142" fmla="*/ 25103 h 248214"/>
                <a:gd name="connsiteX143" fmla="*/ 103235 w 180519"/>
                <a:gd name="connsiteY143" fmla="*/ 25386 h 248214"/>
                <a:gd name="connsiteX144" fmla="*/ 102388 w 180519"/>
                <a:gd name="connsiteY144" fmla="*/ 26232 h 248214"/>
                <a:gd name="connsiteX145" fmla="*/ 102388 w 180519"/>
                <a:gd name="connsiteY145" fmla="*/ 26514 h 248214"/>
                <a:gd name="connsiteX146" fmla="*/ 101824 w 180519"/>
                <a:gd name="connsiteY146" fmla="*/ 27360 h 248214"/>
                <a:gd name="connsiteX147" fmla="*/ 101260 w 180519"/>
                <a:gd name="connsiteY147" fmla="*/ 28770 h 248214"/>
                <a:gd name="connsiteX148" fmla="*/ 100978 w 180519"/>
                <a:gd name="connsiteY148" fmla="*/ 29052 h 248214"/>
                <a:gd name="connsiteX149" fmla="*/ 100978 w 180519"/>
                <a:gd name="connsiteY149" fmla="*/ 29616 h 248214"/>
                <a:gd name="connsiteX150" fmla="*/ 101260 w 180519"/>
                <a:gd name="connsiteY150" fmla="*/ 29899 h 248214"/>
                <a:gd name="connsiteX151" fmla="*/ 100414 w 180519"/>
                <a:gd name="connsiteY151" fmla="*/ 31591 h 248214"/>
                <a:gd name="connsiteX152" fmla="*/ 99004 w 180519"/>
                <a:gd name="connsiteY152" fmla="*/ 45130 h 248214"/>
                <a:gd name="connsiteX153" fmla="*/ 99850 w 180519"/>
                <a:gd name="connsiteY153" fmla="*/ 44566 h 248214"/>
                <a:gd name="connsiteX154" fmla="*/ 100414 w 180519"/>
                <a:gd name="connsiteY154" fmla="*/ 44284 h 248214"/>
                <a:gd name="connsiteX155" fmla="*/ 101542 w 180519"/>
                <a:gd name="connsiteY155" fmla="*/ 45412 h 248214"/>
                <a:gd name="connsiteX156" fmla="*/ 102952 w 180519"/>
                <a:gd name="connsiteY156" fmla="*/ 46540 h 248214"/>
                <a:gd name="connsiteX157" fmla="*/ 105773 w 180519"/>
                <a:gd name="connsiteY157" fmla="*/ 45130 h 248214"/>
                <a:gd name="connsiteX158" fmla="*/ 102952 w 180519"/>
                <a:gd name="connsiteY158" fmla="*/ 45694 h 248214"/>
                <a:gd name="connsiteX159" fmla="*/ 102388 w 180519"/>
                <a:gd name="connsiteY159" fmla="*/ 45412 h 248214"/>
                <a:gd name="connsiteX160" fmla="*/ 102388 w 180519"/>
                <a:gd name="connsiteY160" fmla="*/ 45130 h 248214"/>
                <a:gd name="connsiteX161" fmla="*/ 104927 w 180519"/>
                <a:gd name="connsiteY161" fmla="*/ 44284 h 248214"/>
                <a:gd name="connsiteX162" fmla="*/ 105491 w 180519"/>
                <a:gd name="connsiteY162" fmla="*/ 44002 h 248214"/>
                <a:gd name="connsiteX163" fmla="*/ 106055 w 180519"/>
                <a:gd name="connsiteY163" fmla="*/ 44566 h 248214"/>
                <a:gd name="connsiteX164" fmla="*/ 105773 w 180519"/>
                <a:gd name="connsiteY164" fmla="*/ 45130 h 248214"/>
                <a:gd name="connsiteX165" fmla="*/ 106337 w 180519"/>
                <a:gd name="connsiteY165" fmla="*/ 44848 h 248214"/>
                <a:gd name="connsiteX166" fmla="*/ 107747 w 180519"/>
                <a:gd name="connsiteY166" fmla="*/ 44284 h 248214"/>
                <a:gd name="connsiteX167" fmla="*/ 110568 w 180519"/>
                <a:gd name="connsiteY167" fmla="*/ 43720 h 248214"/>
                <a:gd name="connsiteX168" fmla="*/ 112261 w 180519"/>
                <a:gd name="connsiteY168" fmla="*/ 43437 h 248214"/>
                <a:gd name="connsiteX169" fmla="*/ 113107 w 180519"/>
                <a:gd name="connsiteY169" fmla="*/ 43437 h 248214"/>
                <a:gd name="connsiteX170" fmla="*/ 112825 w 180519"/>
                <a:gd name="connsiteY170" fmla="*/ 44002 h 248214"/>
                <a:gd name="connsiteX171" fmla="*/ 112261 w 180519"/>
                <a:gd name="connsiteY171" fmla="*/ 44566 h 248214"/>
                <a:gd name="connsiteX172" fmla="*/ 111697 w 180519"/>
                <a:gd name="connsiteY172" fmla="*/ 45412 h 248214"/>
                <a:gd name="connsiteX173" fmla="*/ 111978 w 180519"/>
                <a:gd name="connsiteY173" fmla="*/ 45694 h 248214"/>
                <a:gd name="connsiteX174" fmla="*/ 111697 w 180519"/>
                <a:gd name="connsiteY174" fmla="*/ 45976 h 248214"/>
                <a:gd name="connsiteX175" fmla="*/ 110568 w 180519"/>
                <a:gd name="connsiteY175" fmla="*/ 47386 h 248214"/>
                <a:gd name="connsiteX176" fmla="*/ 108030 w 180519"/>
                <a:gd name="connsiteY176" fmla="*/ 49361 h 248214"/>
                <a:gd name="connsiteX177" fmla="*/ 107183 w 180519"/>
                <a:gd name="connsiteY177" fmla="*/ 49925 h 248214"/>
                <a:gd name="connsiteX178" fmla="*/ 108030 w 180519"/>
                <a:gd name="connsiteY178" fmla="*/ 50489 h 248214"/>
                <a:gd name="connsiteX179" fmla="*/ 108594 w 180519"/>
                <a:gd name="connsiteY179" fmla="*/ 49925 h 248214"/>
                <a:gd name="connsiteX180" fmla="*/ 109440 w 180519"/>
                <a:gd name="connsiteY180" fmla="*/ 49361 h 248214"/>
                <a:gd name="connsiteX181" fmla="*/ 110568 w 180519"/>
                <a:gd name="connsiteY181" fmla="*/ 48515 h 248214"/>
                <a:gd name="connsiteX182" fmla="*/ 111697 w 180519"/>
                <a:gd name="connsiteY182" fmla="*/ 48515 h 248214"/>
                <a:gd name="connsiteX183" fmla="*/ 113389 w 180519"/>
                <a:gd name="connsiteY183" fmla="*/ 47386 h 248214"/>
                <a:gd name="connsiteX184" fmla="*/ 113671 w 180519"/>
                <a:gd name="connsiteY184" fmla="*/ 46822 h 248214"/>
                <a:gd name="connsiteX185" fmla="*/ 113953 w 180519"/>
                <a:gd name="connsiteY185" fmla="*/ 46540 h 248214"/>
                <a:gd name="connsiteX186" fmla="*/ 113389 w 180519"/>
                <a:gd name="connsiteY186" fmla="*/ 46258 h 248214"/>
                <a:gd name="connsiteX187" fmla="*/ 112825 w 180519"/>
                <a:gd name="connsiteY187" fmla="*/ 46258 h 248214"/>
                <a:gd name="connsiteX188" fmla="*/ 113107 w 180519"/>
                <a:gd name="connsiteY188" fmla="*/ 45694 h 248214"/>
                <a:gd name="connsiteX189" fmla="*/ 113389 w 180519"/>
                <a:gd name="connsiteY189" fmla="*/ 45412 h 248214"/>
                <a:gd name="connsiteX190" fmla="*/ 117056 w 180519"/>
                <a:gd name="connsiteY190" fmla="*/ 43437 h 248214"/>
                <a:gd name="connsiteX191" fmla="*/ 117620 w 180519"/>
                <a:gd name="connsiteY191" fmla="*/ 43155 h 248214"/>
                <a:gd name="connsiteX192" fmla="*/ 117902 w 180519"/>
                <a:gd name="connsiteY192" fmla="*/ 43437 h 248214"/>
                <a:gd name="connsiteX193" fmla="*/ 117902 w 180519"/>
                <a:gd name="connsiteY193" fmla="*/ 44002 h 248214"/>
                <a:gd name="connsiteX194" fmla="*/ 118184 w 180519"/>
                <a:gd name="connsiteY194" fmla="*/ 45130 h 248214"/>
                <a:gd name="connsiteX195" fmla="*/ 118748 w 180519"/>
                <a:gd name="connsiteY195" fmla="*/ 45130 h 248214"/>
                <a:gd name="connsiteX196" fmla="*/ 119594 w 180519"/>
                <a:gd name="connsiteY196" fmla="*/ 42873 h 248214"/>
                <a:gd name="connsiteX197" fmla="*/ 121569 w 180519"/>
                <a:gd name="connsiteY197" fmla="*/ 41745 h 248214"/>
                <a:gd name="connsiteX198" fmla="*/ 124107 w 180519"/>
                <a:gd name="connsiteY198" fmla="*/ 41745 h 248214"/>
                <a:gd name="connsiteX199" fmla="*/ 123825 w 180519"/>
                <a:gd name="connsiteY199" fmla="*/ 42873 h 248214"/>
                <a:gd name="connsiteX200" fmla="*/ 123543 w 180519"/>
                <a:gd name="connsiteY200" fmla="*/ 43155 h 248214"/>
                <a:gd name="connsiteX201" fmla="*/ 123543 w 180519"/>
                <a:gd name="connsiteY201" fmla="*/ 43720 h 248214"/>
                <a:gd name="connsiteX202" fmla="*/ 125236 w 180519"/>
                <a:gd name="connsiteY202" fmla="*/ 44002 h 248214"/>
                <a:gd name="connsiteX203" fmla="*/ 125517 w 180519"/>
                <a:gd name="connsiteY203" fmla="*/ 44002 h 248214"/>
                <a:gd name="connsiteX204" fmla="*/ 125517 w 180519"/>
                <a:gd name="connsiteY204" fmla="*/ 44848 h 248214"/>
                <a:gd name="connsiteX205" fmla="*/ 124389 w 180519"/>
                <a:gd name="connsiteY205" fmla="*/ 45130 h 248214"/>
                <a:gd name="connsiteX206" fmla="*/ 122979 w 180519"/>
                <a:gd name="connsiteY206" fmla="*/ 45694 h 248214"/>
                <a:gd name="connsiteX207" fmla="*/ 122697 w 180519"/>
                <a:gd name="connsiteY207" fmla="*/ 45976 h 248214"/>
                <a:gd name="connsiteX208" fmla="*/ 122697 w 180519"/>
                <a:gd name="connsiteY208" fmla="*/ 46540 h 248214"/>
                <a:gd name="connsiteX209" fmla="*/ 123543 w 180519"/>
                <a:gd name="connsiteY209" fmla="*/ 46540 h 248214"/>
                <a:gd name="connsiteX210" fmla="*/ 126646 w 180519"/>
                <a:gd name="connsiteY210" fmla="*/ 45976 h 248214"/>
                <a:gd name="connsiteX211" fmla="*/ 127492 w 180519"/>
                <a:gd name="connsiteY211" fmla="*/ 47104 h 248214"/>
                <a:gd name="connsiteX212" fmla="*/ 128056 w 180519"/>
                <a:gd name="connsiteY212" fmla="*/ 47386 h 248214"/>
                <a:gd name="connsiteX213" fmla="*/ 128620 w 180519"/>
                <a:gd name="connsiteY213" fmla="*/ 47104 h 248214"/>
                <a:gd name="connsiteX214" fmla="*/ 129748 w 180519"/>
                <a:gd name="connsiteY214" fmla="*/ 45694 h 248214"/>
                <a:gd name="connsiteX215" fmla="*/ 129748 w 180519"/>
                <a:gd name="connsiteY215" fmla="*/ 45412 h 248214"/>
                <a:gd name="connsiteX216" fmla="*/ 129467 w 180519"/>
                <a:gd name="connsiteY216" fmla="*/ 45412 h 248214"/>
                <a:gd name="connsiteX217" fmla="*/ 129184 w 180519"/>
                <a:gd name="connsiteY217" fmla="*/ 45694 h 248214"/>
                <a:gd name="connsiteX218" fmla="*/ 128902 w 180519"/>
                <a:gd name="connsiteY218" fmla="*/ 45694 h 248214"/>
                <a:gd name="connsiteX219" fmla="*/ 129184 w 180519"/>
                <a:gd name="connsiteY219" fmla="*/ 45412 h 248214"/>
                <a:gd name="connsiteX220" fmla="*/ 129184 w 180519"/>
                <a:gd name="connsiteY220" fmla="*/ 45130 h 248214"/>
                <a:gd name="connsiteX221" fmla="*/ 130031 w 180519"/>
                <a:gd name="connsiteY221" fmla="*/ 44002 h 248214"/>
                <a:gd name="connsiteX222" fmla="*/ 130595 w 180519"/>
                <a:gd name="connsiteY222" fmla="*/ 42873 h 248214"/>
                <a:gd name="connsiteX223" fmla="*/ 129184 w 180519"/>
                <a:gd name="connsiteY223" fmla="*/ 43155 h 248214"/>
                <a:gd name="connsiteX224" fmla="*/ 127774 w 180519"/>
                <a:gd name="connsiteY224" fmla="*/ 42873 h 248214"/>
                <a:gd name="connsiteX225" fmla="*/ 128056 w 180519"/>
                <a:gd name="connsiteY225" fmla="*/ 42591 h 248214"/>
                <a:gd name="connsiteX226" fmla="*/ 128056 w 180519"/>
                <a:gd name="connsiteY226" fmla="*/ 42309 h 248214"/>
                <a:gd name="connsiteX227" fmla="*/ 128338 w 180519"/>
                <a:gd name="connsiteY227" fmla="*/ 41463 h 248214"/>
                <a:gd name="connsiteX228" fmla="*/ 129184 w 180519"/>
                <a:gd name="connsiteY228" fmla="*/ 41745 h 248214"/>
                <a:gd name="connsiteX229" fmla="*/ 130031 w 180519"/>
                <a:gd name="connsiteY229" fmla="*/ 42591 h 248214"/>
                <a:gd name="connsiteX230" fmla="*/ 131159 w 180519"/>
                <a:gd name="connsiteY230" fmla="*/ 41181 h 248214"/>
                <a:gd name="connsiteX231" fmla="*/ 134262 w 180519"/>
                <a:gd name="connsiteY231" fmla="*/ 41181 h 248214"/>
                <a:gd name="connsiteX232" fmla="*/ 138774 w 180519"/>
                <a:gd name="connsiteY232" fmla="*/ 40053 h 248214"/>
                <a:gd name="connsiteX233" fmla="*/ 140749 w 180519"/>
                <a:gd name="connsiteY233" fmla="*/ 40053 h 248214"/>
                <a:gd name="connsiteX234" fmla="*/ 141313 w 180519"/>
                <a:gd name="connsiteY234" fmla="*/ 41745 h 248214"/>
                <a:gd name="connsiteX235" fmla="*/ 141877 w 180519"/>
                <a:gd name="connsiteY235" fmla="*/ 42309 h 248214"/>
                <a:gd name="connsiteX236" fmla="*/ 143287 w 180519"/>
                <a:gd name="connsiteY236" fmla="*/ 42027 h 248214"/>
                <a:gd name="connsiteX237" fmla="*/ 144415 w 180519"/>
                <a:gd name="connsiteY237" fmla="*/ 42027 h 248214"/>
                <a:gd name="connsiteX238" fmla="*/ 143851 w 180519"/>
                <a:gd name="connsiteY238" fmla="*/ 43437 h 248214"/>
                <a:gd name="connsiteX239" fmla="*/ 144415 w 180519"/>
                <a:gd name="connsiteY239" fmla="*/ 44848 h 248214"/>
                <a:gd name="connsiteX240" fmla="*/ 145262 w 180519"/>
                <a:gd name="connsiteY240" fmla="*/ 45130 h 248214"/>
                <a:gd name="connsiteX241" fmla="*/ 144980 w 180519"/>
                <a:gd name="connsiteY241" fmla="*/ 45412 h 248214"/>
                <a:gd name="connsiteX242" fmla="*/ 144415 w 180519"/>
                <a:gd name="connsiteY242" fmla="*/ 46258 h 248214"/>
                <a:gd name="connsiteX243" fmla="*/ 143851 w 180519"/>
                <a:gd name="connsiteY243" fmla="*/ 47104 h 248214"/>
                <a:gd name="connsiteX244" fmla="*/ 144980 w 180519"/>
                <a:gd name="connsiteY244" fmla="*/ 46258 h 248214"/>
                <a:gd name="connsiteX245" fmla="*/ 146672 w 180519"/>
                <a:gd name="connsiteY245" fmla="*/ 45412 h 248214"/>
                <a:gd name="connsiteX246" fmla="*/ 147236 w 180519"/>
                <a:gd name="connsiteY246" fmla="*/ 45130 h 248214"/>
                <a:gd name="connsiteX247" fmla="*/ 147518 w 180519"/>
                <a:gd name="connsiteY247" fmla="*/ 45412 h 248214"/>
                <a:gd name="connsiteX248" fmla="*/ 148365 w 180519"/>
                <a:gd name="connsiteY248" fmla="*/ 44848 h 248214"/>
                <a:gd name="connsiteX249" fmla="*/ 148929 w 180519"/>
                <a:gd name="connsiteY249" fmla="*/ 43155 h 248214"/>
                <a:gd name="connsiteX250" fmla="*/ 148929 w 180519"/>
                <a:gd name="connsiteY250" fmla="*/ 42873 h 248214"/>
                <a:gd name="connsiteX251" fmla="*/ 149775 w 180519"/>
                <a:gd name="connsiteY251" fmla="*/ 41463 h 248214"/>
                <a:gd name="connsiteX252" fmla="*/ 151467 w 180519"/>
                <a:gd name="connsiteY252" fmla="*/ 39771 h 248214"/>
                <a:gd name="connsiteX253" fmla="*/ 152313 w 180519"/>
                <a:gd name="connsiteY253" fmla="*/ 39771 h 248214"/>
                <a:gd name="connsiteX254" fmla="*/ 153160 w 180519"/>
                <a:gd name="connsiteY254" fmla="*/ 40053 h 248214"/>
                <a:gd name="connsiteX255" fmla="*/ 155980 w 180519"/>
                <a:gd name="connsiteY255" fmla="*/ 38924 h 248214"/>
                <a:gd name="connsiteX256" fmla="*/ 156544 w 180519"/>
                <a:gd name="connsiteY256" fmla="*/ 38924 h 248214"/>
                <a:gd name="connsiteX257" fmla="*/ 157390 w 180519"/>
                <a:gd name="connsiteY257" fmla="*/ 39207 h 248214"/>
                <a:gd name="connsiteX258" fmla="*/ 159083 w 180519"/>
                <a:gd name="connsiteY258" fmla="*/ 38924 h 248214"/>
                <a:gd name="connsiteX259" fmla="*/ 161621 w 180519"/>
                <a:gd name="connsiteY259" fmla="*/ 39489 h 248214"/>
                <a:gd name="connsiteX260" fmla="*/ 164724 w 180519"/>
                <a:gd name="connsiteY260" fmla="*/ 38924 h 248214"/>
                <a:gd name="connsiteX261" fmla="*/ 165852 w 180519"/>
                <a:gd name="connsiteY261" fmla="*/ 38924 h 248214"/>
                <a:gd name="connsiteX262" fmla="*/ 165852 w 180519"/>
                <a:gd name="connsiteY262" fmla="*/ 39207 h 248214"/>
                <a:gd name="connsiteX263" fmla="*/ 166135 w 180519"/>
                <a:gd name="connsiteY263" fmla="*/ 39489 h 248214"/>
                <a:gd name="connsiteX264" fmla="*/ 166699 w 180519"/>
                <a:gd name="connsiteY264" fmla="*/ 39207 h 248214"/>
                <a:gd name="connsiteX265" fmla="*/ 167827 w 180519"/>
                <a:gd name="connsiteY265" fmla="*/ 39207 h 248214"/>
                <a:gd name="connsiteX266" fmla="*/ 169801 w 180519"/>
                <a:gd name="connsiteY266" fmla="*/ 40053 h 248214"/>
                <a:gd name="connsiteX267" fmla="*/ 170366 w 180519"/>
                <a:gd name="connsiteY267" fmla="*/ 40617 h 248214"/>
                <a:gd name="connsiteX268" fmla="*/ 171494 w 180519"/>
                <a:gd name="connsiteY268" fmla="*/ 40335 h 248214"/>
                <a:gd name="connsiteX269" fmla="*/ 172058 w 180519"/>
                <a:gd name="connsiteY269" fmla="*/ 40335 h 248214"/>
                <a:gd name="connsiteX270" fmla="*/ 174314 w 180519"/>
                <a:gd name="connsiteY270" fmla="*/ 39771 h 248214"/>
                <a:gd name="connsiteX271" fmla="*/ 175724 w 180519"/>
                <a:gd name="connsiteY271" fmla="*/ 40617 h 248214"/>
                <a:gd name="connsiteX272" fmla="*/ 177981 w 180519"/>
                <a:gd name="connsiteY272" fmla="*/ 40617 h 248214"/>
                <a:gd name="connsiteX273" fmla="*/ 179109 w 180519"/>
                <a:gd name="connsiteY273" fmla="*/ 40335 h 248214"/>
                <a:gd name="connsiteX274" fmla="*/ 180519 w 180519"/>
                <a:gd name="connsiteY274" fmla="*/ 41181 h 248214"/>
                <a:gd name="connsiteX275" fmla="*/ 181083 w 180519"/>
                <a:gd name="connsiteY275" fmla="*/ 42027 h 248214"/>
                <a:gd name="connsiteX276" fmla="*/ 181083 w 180519"/>
                <a:gd name="connsiteY276" fmla="*/ 42309 h 248214"/>
                <a:gd name="connsiteX277" fmla="*/ 181648 w 180519"/>
                <a:gd name="connsiteY277" fmla="*/ 44566 h 248214"/>
                <a:gd name="connsiteX278" fmla="*/ 181648 w 180519"/>
                <a:gd name="connsiteY278" fmla="*/ 45130 h 248214"/>
                <a:gd name="connsiteX279" fmla="*/ 182494 w 180519"/>
                <a:gd name="connsiteY279" fmla="*/ 46258 h 248214"/>
                <a:gd name="connsiteX280" fmla="*/ 181930 w 180519"/>
                <a:gd name="connsiteY280" fmla="*/ 47668 h 248214"/>
                <a:gd name="connsiteX281" fmla="*/ 181930 w 180519"/>
                <a:gd name="connsiteY281" fmla="*/ 50771 h 248214"/>
                <a:gd name="connsiteX282" fmla="*/ 180802 w 180519"/>
                <a:gd name="connsiteY282" fmla="*/ 51899 h 248214"/>
                <a:gd name="connsiteX283" fmla="*/ 179955 w 180519"/>
                <a:gd name="connsiteY283" fmla="*/ 52745 h 248214"/>
                <a:gd name="connsiteX284" fmla="*/ 177981 w 180519"/>
                <a:gd name="connsiteY284" fmla="*/ 54156 h 248214"/>
                <a:gd name="connsiteX285" fmla="*/ 177417 w 180519"/>
                <a:gd name="connsiteY285" fmla="*/ 54720 h 248214"/>
                <a:gd name="connsiteX286" fmla="*/ 176571 w 180519"/>
                <a:gd name="connsiteY286" fmla="*/ 54720 h 248214"/>
                <a:gd name="connsiteX287" fmla="*/ 174314 w 180519"/>
                <a:gd name="connsiteY287" fmla="*/ 55566 h 248214"/>
                <a:gd name="connsiteX288" fmla="*/ 170647 w 180519"/>
                <a:gd name="connsiteY288" fmla="*/ 56694 h 248214"/>
                <a:gd name="connsiteX289" fmla="*/ 169519 w 180519"/>
                <a:gd name="connsiteY289" fmla="*/ 56976 h 248214"/>
                <a:gd name="connsiteX290" fmla="*/ 166699 w 180519"/>
                <a:gd name="connsiteY290" fmla="*/ 57541 h 248214"/>
                <a:gd name="connsiteX291" fmla="*/ 165852 w 180519"/>
                <a:gd name="connsiteY291" fmla="*/ 57541 h 248214"/>
                <a:gd name="connsiteX292" fmla="*/ 165288 w 180519"/>
                <a:gd name="connsiteY292" fmla="*/ 57823 h 248214"/>
                <a:gd name="connsiteX293" fmla="*/ 165288 w 180519"/>
                <a:gd name="connsiteY293" fmla="*/ 57541 h 248214"/>
                <a:gd name="connsiteX294" fmla="*/ 164160 w 180519"/>
                <a:gd name="connsiteY294" fmla="*/ 56130 h 248214"/>
                <a:gd name="connsiteX295" fmla="*/ 164724 w 180519"/>
                <a:gd name="connsiteY295" fmla="*/ 55566 h 248214"/>
                <a:gd name="connsiteX296" fmla="*/ 166135 w 180519"/>
                <a:gd name="connsiteY296" fmla="*/ 54438 h 248214"/>
                <a:gd name="connsiteX297" fmla="*/ 164160 w 180519"/>
                <a:gd name="connsiteY297" fmla="*/ 54438 h 248214"/>
                <a:gd name="connsiteX298" fmla="*/ 163878 w 180519"/>
                <a:gd name="connsiteY298" fmla="*/ 54156 h 248214"/>
                <a:gd name="connsiteX299" fmla="*/ 165288 w 180519"/>
                <a:gd name="connsiteY299" fmla="*/ 52745 h 248214"/>
                <a:gd name="connsiteX300" fmla="*/ 165852 w 180519"/>
                <a:gd name="connsiteY300" fmla="*/ 52745 h 248214"/>
                <a:gd name="connsiteX301" fmla="*/ 166699 w 180519"/>
                <a:gd name="connsiteY301" fmla="*/ 51899 h 248214"/>
                <a:gd name="connsiteX302" fmla="*/ 166699 w 180519"/>
                <a:gd name="connsiteY302" fmla="*/ 51617 h 248214"/>
                <a:gd name="connsiteX303" fmla="*/ 165852 w 180519"/>
                <a:gd name="connsiteY303" fmla="*/ 51335 h 248214"/>
                <a:gd name="connsiteX304" fmla="*/ 165288 w 180519"/>
                <a:gd name="connsiteY304" fmla="*/ 51617 h 248214"/>
                <a:gd name="connsiteX305" fmla="*/ 165006 w 180519"/>
                <a:gd name="connsiteY305" fmla="*/ 51617 h 248214"/>
                <a:gd name="connsiteX306" fmla="*/ 165288 w 180519"/>
                <a:gd name="connsiteY306" fmla="*/ 51335 h 248214"/>
                <a:gd name="connsiteX307" fmla="*/ 165570 w 180519"/>
                <a:gd name="connsiteY307" fmla="*/ 50771 h 248214"/>
                <a:gd name="connsiteX308" fmla="*/ 164160 w 180519"/>
                <a:gd name="connsiteY308" fmla="*/ 50207 h 248214"/>
                <a:gd name="connsiteX309" fmla="*/ 163314 w 180519"/>
                <a:gd name="connsiteY309" fmla="*/ 50207 h 248214"/>
                <a:gd name="connsiteX310" fmla="*/ 162468 w 180519"/>
                <a:gd name="connsiteY310" fmla="*/ 50771 h 248214"/>
                <a:gd name="connsiteX311" fmla="*/ 161057 w 180519"/>
                <a:gd name="connsiteY311" fmla="*/ 51335 h 248214"/>
                <a:gd name="connsiteX312" fmla="*/ 159647 w 180519"/>
                <a:gd name="connsiteY312" fmla="*/ 51335 h 248214"/>
                <a:gd name="connsiteX313" fmla="*/ 156544 w 180519"/>
                <a:gd name="connsiteY313" fmla="*/ 50771 h 248214"/>
                <a:gd name="connsiteX314" fmla="*/ 152596 w 180519"/>
                <a:gd name="connsiteY314" fmla="*/ 50771 h 248214"/>
                <a:gd name="connsiteX315" fmla="*/ 152032 w 180519"/>
                <a:gd name="connsiteY315" fmla="*/ 50489 h 248214"/>
                <a:gd name="connsiteX316" fmla="*/ 151749 w 180519"/>
                <a:gd name="connsiteY316" fmla="*/ 49925 h 248214"/>
                <a:gd name="connsiteX317" fmla="*/ 151749 w 180519"/>
                <a:gd name="connsiteY317" fmla="*/ 49361 h 248214"/>
                <a:gd name="connsiteX318" fmla="*/ 152313 w 180519"/>
                <a:gd name="connsiteY318" fmla="*/ 48232 h 248214"/>
                <a:gd name="connsiteX319" fmla="*/ 152032 w 180519"/>
                <a:gd name="connsiteY319" fmla="*/ 47950 h 248214"/>
                <a:gd name="connsiteX320" fmla="*/ 150903 w 180519"/>
                <a:gd name="connsiteY320" fmla="*/ 49079 h 248214"/>
                <a:gd name="connsiteX321" fmla="*/ 149493 w 180519"/>
                <a:gd name="connsiteY321" fmla="*/ 49643 h 248214"/>
                <a:gd name="connsiteX322" fmla="*/ 149211 w 180519"/>
                <a:gd name="connsiteY322" fmla="*/ 49643 h 248214"/>
                <a:gd name="connsiteX323" fmla="*/ 149493 w 180519"/>
                <a:gd name="connsiteY323" fmla="*/ 49079 h 248214"/>
                <a:gd name="connsiteX324" fmla="*/ 149211 w 180519"/>
                <a:gd name="connsiteY324" fmla="*/ 49079 h 248214"/>
                <a:gd name="connsiteX325" fmla="*/ 148365 w 180519"/>
                <a:gd name="connsiteY325" fmla="*/ 49925 h 248214"/>
                <a:gd name="connsiteX326" fmla="*/ 146954 w 180519"/>
                <a:gd name="connsiteY326" fmla="*/ 51053 h 248214"/>
                <a:gd name="connsiteX327" fmla="*/ 145262 w 180519"/>
                <a:gd name="connsiteY327" fmla="*/ 50771 h 248214"/>
                <a:gd name="connsiteX328" fmla="*/ 143851 w 180519"/>
                <a:gd name="connsiteY328" fmla="*/ 51335 h 248214"/>
                <a:gd name="connsiteX329" fmla="*/ 142723 w 180519"/>
                <a:gd name="connsiteY329" fmla="*/ 51617 h 248214"/>
                <a:gd name="connsiteX330" fmla="*/ 141313 w 180519"/>
                <a:gd name="connsiteY330" fmla="*/ 51335 h 248214"/>
                <a:gd name="connsiteX331" fmla="*/ 140749 w 180519"/>
                <a:gd name="connsiteY331" fmla="*/ 51335 h 248214"/>
                <a:gd name="connsiteX332" fmla="*/ 140184 w 180519"/>
                <a:gd name="connsiteY332" fmla="*/ 51053 h 248214"/>
                <a:gd name="connsiteX333" fmla="*/ 139620 w 180519"/>
                <a:gd name="connsiteY333" fmla="*/ 51053 h 248214"/>
                <a:gd name="connsiteX334" fmla="*/ 137928 w 180519"/>
                <a:gd name="connsiteY334" fmla="*/ 51335 h 248214"/>
                <a:gd name="connsiteX335" fmla="*/ 136236 w 180519"/>
                <a:gd name="connsiteY335" fmla="*/ 50771 h 248214"/>
                <a:gd name="connsiteX336" fmla="*/ 135672 w 180519"/>
                <a:gd name="connsiteY336" fmla="*/ 51053 h 248214"/>
                <a:gd name="connsiteX337" fmla="*/ 134543 w 180519"/>
                <a:gd name="connsiteY337" fmla="*/ 50489 h 248214"/>
                <a:gd name="connsiteX338" fmla="*/ 133979 w 180519"/>
                <a:gd name="connsiteY338" fmla="*/ 50207 h 248214"/>
                <a:gd name="connsiteX339" fmla="*/ 133133 w 180519"/>
                <a:gd name="connsiteY339" fmla="*/ 50489 h 248214"/>
                <a:gd name="connsiteX340" fmla="*/ 132287 w 180519"/>
                <a:gd name="connsiteY340" fmla="*/ 51335 h 248214"/>
                <a:gd name="connsiteX341" fmla="*/ 132005 w 180519"/>
                <a:gd name="connsiteY341" fmla="*/ 51335 h 248214"/>
                <a:gd name="connsiteX342" fmla="*/ 132005 w 180519"/>
                <a:gd name="connsiteY342" fmla="*/ 51053 h 248214"/>
                <a:gd name="connsiteX343" fmla="*/ 131441 w 180519"/>
                <a:gd name="connsiteY343" fmla="*/ 50771 h 248214"/>
                <a:gd name="connsiteX344" fmla="*/ 129748 w 180519"/>
                <a:gd name="connsiteY344" fmla="*/ 51899 h 248214"/>
                <a:gd name="connsiteX345" fmla="*/ 129748 w 180519"/>
                <a:gd name="connsiteY345" fmla="*/ 51335 h 248214"/>
                <a:gd name="connsiteX346" fmla="*/ 129467 w 180519"/>
                <a:gd name="connsiteY346" fmla="*/ 51053 h 248214"/>
                <a:gd name="connsiteX347" fmla="*/ 128902 w 180519"/>
                <a:gd name="connsiteY347" fmla="*/ 51617 h 248214"/>
                <a:gd name="connsiteX348" fmla="*/ 127774 w 180519"/>
                <a:gd name="connsiteY348" fmla="*/ 51899 h 248214"/>
                <a:gd name="connsiteX349" fmla="*/ 127492 w 180519"/>
                <a:gd name="connsiteY349" fmla="*/ 51899 h 248214"/>
                <a:gd name="connsiteX350" fmla="*/ 127492 w 180519"/>
                <a:gd name="connsiteY350" fmla="*/ 51335 h 248214"/>
                <a:gd name="connsiteX351" fmla="*/ 127210 w 180519"/>
                <a:gd name="connsiteY351" fmla="*/ 51335 h 248214"/>
                <a:gd name="connsiteX352" fmla="*/ 125800 w 180519"/>
                <a:gd name="connsiteY352" fmla="*/ 52181 h 248214"/>
                <a:gd name="connsiteX353" fmla="*/ 125236 w 180519"/>
                <a:gd name="connsiteY353" fmla="*/ 52181 h 248214"/>
                <a:gd name="connsiteX354" fmla="*/ 122415 w 180519"/>
                <a:gd name="connsiteY354" fmla="*/ 51617 h 248214"/>
                <a:gd name="connsiteX355" fmla="*/ 122133 w 180519"/>
                <a:gd name="connsiteY355" fmla="*/ 51335 h 248214"/>
                <a:gd name="connsiteX356" fmla="*/ 121569 w 180519"/>
                <a:gd name="connsiteY356" fmla="*/ 50771 h 248214"/>
                <a:gd name="connsiteX357" fmla="*/ 120440 w 180519"/>
                <a:gd name="connsiteY357" fmla="*/ 51335 h 248214"/>
                <a:gd name="connsiteX358" fmla="*/ 120158 w 180519"/>
                <a:gd name="connsiteY358" fmla="*/ 51617 h 248214"/>
                <a:gd name="connsiteX359" fmla="*/ 119594 w 180519"/>
                <a:gd name="connsiteY359" fmla="*/ 51335 h 248214"/>
                <a:gd name="connsiteX360" fmla="*/ 115928 w 180519"/>
                <a:gd name="connsiteY360" fmla="*/ 52463 h 248214"/>
                <a:gd name="connsiteX361" fmla="*/ 114799 w 180519"/>
                <a:gd name="connsiteY361" fmla="*/ 52745 h 248214"/>
                <a:gd name="connsiteX362" fmla="*/ 113671 w 180519"/>
                <a:gd name="connsiteY362" fmla="*/ 52745 h 248214"/>
                <a:gd name="connsiteX363" fmla="*/ 112825 w 180519"/>
                <a:gd name="connsiteY363" fmla="*/ 53028 h 248214"/>
                <a:gd name="connsiteX364" fmla="*/ 108030 w 180519"/>
                <a:gd name="connsiteY364" fmla="*/ 54156 h 248214"/>
                <a:gd name="connsiteX365" fmla="*/ 106055 w 180519"/>
                <a:gd name="connsiteY365" fmla="*/ 54438 h 248214"/>
                <a:gd name="connsiteX366" fmla="*/ 104927 w 180519"/>
                <a:gd name="connsiteY366" fmla="*/ 54438 h 248214"/>
                <a:gd name="connsiteX367" fmla="*/ 100978 w 180519"/>
                <a:gd name="connsiteY367" fmla="*/ 55284 h 248214"/>
                <a:gd name="connsiteX368" fmla="*/ 100414 w 180519"/>
                <a:gd name="connsiteY368" fmla="*/ 55002 h 248214"/>
                <a:gd name="connsiteX369" fmla="*/ 100414 w 180519"/>
                <a:gd name="connsiteY369" fmla="*/ 53310 h 248214"/>
                <a:gd name="connsiteX370" fmla="*/ 100978 w 180519"/>
                <a:gd name="connsiteY370" fmla="*/ 52745 h 248214"/>
                <a:gd name="connsiteX371" fmla="*/ 100696 w 180519"/>
                <a:gd name="connsiteY371" fmla="*/ 52463 h 248214"/>
                <a:gd name="connsiteX372" fmla="*/ 100414 w 180519"/>
                <a:gd name="connsiteY372" fmla="*/ 52745 h 248214"/>
                <a:gd name="connsiteX373" fmla="*/ 99850 w 180519"/>
                <a:gd name="connsiteY373" fmla="*/ 53028 h 248214"/>
                <a:gd name="connsiteX374" fmla="*/ 97875 w 180519"/>
                <a:gd name="connsiteY374" fmla="*/ 54438 h 248214"/>
                <a:gd name="connsiteX375" fmla="*/ 97030 w 180519"/>
                <a:gd name="connsiteY375" fmla="*/ 54438 h 248214"/>
                <a:gd name="connsiteX376" fmla="*/ 95055 w 180519"/>
                <a:gd name="connsiteY376" fmla="*/ 55284 h 248214"/>
                <a:gd name="connsiteX377" fmla="*/ 86875 w 180519"/>
                <a:gd name="connsiteY377" fmla="*/ 66849 h 248214"/>
                <a:gd name="connsiteX378" fmla="*/ 86311 w 180519"/>
                <a:gd name="connsiteY378" fmla="*/ 65720 h 248214"/>
                <a:gd name="connsiteX379" fmla="*/ 86311 w 180519"/>
                <a:gd name="connsiteY379" fmla="*/ 65438 h 248214"/>
                <a:gd name="connsiteX380" fmla="*/ 85747 w 180519"/>
                <a:gd name="connsiteY380" fmla="*/ 65720 h 248214"/>
                <a:gd name="connsiteX381" fmla="*/ 85465 w 180519"/>
                <a:gd name="connsiteY381" fmla="*/ 66002 h 248214"/>
                <a:gd name="connsiteX382" fmla="*/ 86593 w 180519"/>
                <a:gd name="connsiteY382" fmla="*/ 68823 h 248214"/>
                <a:gd name="connsiteX383" fmla="*/ 86593 w 180519"/>
                <a:gd name="connsiteY383" fmla="*/ 69105 h 248214"/>
                <a:gd name="connsiteX384" fmla="*/ 86029 w 180519"/>
                <a:gd name="connsiteY384" fmla="*/ 70515 h 248214"/>
                <a:gd name="connsiteX385" fmla="*/ 85182 w 180519"/>
                <a:gd name="connsiteY385" fmla="*/ 71079 h 248214"/>
                <a:gd name="connsiteX386" fmla="*/ 85747 w 180519"/>
                <a:gd name="connsiteY386" fmla="*/ 71644 h 248214"/>
                <a:gd name="connsiteX387" fmla="*/ 86029 w 180519"/>
                <a:gd name="connsiteY387" fmla="*/ 72208 h 248214"/>
                <a:gd name="connsiteX388" fmla="*/ 85747 w 180519"/>
                <a:gd name="connsiteY388" fmla="*/ 73618 h 248214"/>
                <a:gd name="connsiteX389" fmla="*/ 84901 w 180519"/>
                <a:gd name="connsiteY389" fmla="*/ 74182 h 248214"/>
                <a:gd name="connsiteX390" fmla="*/ 84054 w 180519"/>
                <a:gd name="connsiteY390" fmla="*/ 74746 h 248214"/>
                <a:gd name="connsiteX391" fmla="*/ 83208 w 180519"/>
                <a:gd name="connsiteY391" fmla="*/ 75310 h 248214"/>
                <a:gd name="connsiteX392" fmla="*/ 84054 w 180519"/>
                <a:gd name="connsiteY392" fmla="*/ 75875 h 248214"/>
                <a:gd name="connsiteX393" fmla="*/ 84337 w 180519"/>
                <a:gd name="connsiteY393" fmla="*/ 76439 h 248214"/>
                <a:gd name="connsiteX394" fmla="*/ 83208 w 180519"/>
                <a:gd name="connsiteY394" fmla="*/ 77567 h 248214"/>
                <a:gd name="connsiteX395" fmla="*/ 83208 w 180519"/>
                <a:gd name="connsiteY395" fmla="*/ 77849 h 248214"/>
                <a:gd name="connsiteX396" fmla="*/ 78977 w 180519"/>
                <a:gd name="connsiteY396" fmla="*/ 94491 h 248214"/>
                <a:gd name="connsiteX397" fmla="*/ 78131 w 180519"/>
                <a:gd name="connsiteY397" fmla="*/ 96747 h 248214"/>
                <a:gd name="connsiteX398" fmla="*/ 78131 w 180519"/>
                <a:gd name="connsiteY398" fmla="*/ 98721 h 248214"/>
                <a:gd name="connsiteX399" fmla="*/ 77285 w 180519"/>
                <a:gd name="connsiteY399" fmla="*/ 99568 h 248214"/>
                <a:gd name="connsiteX400" fmla="*/ 77567 w 180519"/>
                <a:gd name="connsiteY400" fmla="*/ 99850 h 248214"/>
                <a:gd name="connsiteX401" fmla="*/ 77285 w 180519"/>
                <a:gd name="connsiteY401" fmla="*/ 100978 h 248214"/>
                <a:gd name="connsiteX402" fmla="*/ 77285 w 180519"/>
                <a:gd name="connsiteY402" fmla="*/ 101542 h 248214"/>
                <a:gd name="connsiteX403" fmla="*/ 75875 w 180519"/>
                <a:gd name="connsiteY403" fmla="*/ 104081 h 248214"/>
                <a:gd name="connsiteX404" fmla="*/ 75310 w 180519"/>
                <a:gd name="connsiteY404" fmla="*/ 104927 h 248214"/>
                <a:gd name="connsiteX405" fmla="*/ 76157 w 180519"/>
                <a:gd name="connsiteY405" fmla="*/ 105491 h 248214"/>
                <a:gd name="connsiteX406" fmla="*/ 75593 w 180519"/>
                <a:gd name="connsiteY406" fmla="*/ 106055 h 248214"/>
                <a:gd name="connsiteX407" fmla="*/ 75875 w 180519"/>
                <a:gd name="connsiteY407" fmla="*/ 106337 h 248214"/>
                <a:gd name="connsiteX408" fmla="*/ 75875 w 180519"/>
                <a:gd name="connsiteY408" fmla="*/ 107183 h 248214"/>
                <a:gd name="connsiteX409" fmla="*/ 75310 w 180519"/>
                <a:gd name="connsiteY409" fmla="*/ 107183 h 248214"/>
                <a:gd name="connsiteX410" fmla="*/ 75593 w 180519"/>
                <a:gd name="connsiteY410" fmla="*/ 108594 h 248214"/>
                <a:gd name="connsiteX411" fmla="*/ 74746 w 180519"/>
                <a:gd name="connsiteY411" fmla="*/ 109722 h 248214"/>
                <a:gd name="connsiteX412" fmla="*/ 75029 w 180519"/>
                <a:gd name="connsiteY412" fmla="*/ 110286 h 248214"/>
                <a:gd name="connsiteX413" fmla="*/ 75029 w 180519"/>
                <a:gd name="connsiteY413" fmla="*/ 110568 h 248214"/>
                <a:gd name="connsiteX414" fmla="*/ 74465 w 180519"/>
                <a:gd name="connsiteY414" fmla="*/ 111132 h 248214"/>
                <a:gd name="connsiteX415" fmla="*/ 74182 w 180519"/>
                <a:gd name="connsiteY415" fmla="*/ 113107 h 248214"/>
                <a:gd name="connsiteX416" fmla="*/ 73900 w 180519"/>
                <a:gd name="connsiteY416" fmla="*/ 113953 h 248214"/>
                <a:gd name="connsiteX417" fmla="*/ 73336 w 180519"/>
                <a:gd name="connsiteY417" fmla="*/ 115363 h 248214"/>
                <a:gd name="connsiteX418" fmla="*/ 73618 w 180519"/>
                <a:gd name="connsiteY418" fmla="*/ 115927 h 248214"/>
                <a:gd name="connsiteX419" fmla="*/ 73618 w 180519"/>
                <a:gd name="connsiteY419" fmla="*/ 116491 h 248214"/>
                <a:gd name="connsiteX420" fmla="*/ 73054 w 180519"/>
                <a:gd name="connsiteY420" fmla="*/ 118184 h 248214"/>
                <a:gd name="connsiteX421" fmla="*/ 72490 w 180519"/>
                <a:gd name="connsiteY421" fmla="*/ 119030 h 248214"/>
                <a:gd name="connsiteX422" fmla="*/ 71079 w 180519"/>
                <a:gd name="connsiteY422" fmla="*/ 119876 h 248214"/>
                <a:gd name="connsiteX423" fmla="*/ 71644 w 180519"/>
                <a:gd name="connsiteY423" fmla="*/ 120158 h 248214"/>
                <a:gd name="connsiteX424" fmla="*/ 71926 w 180519"/>
                <a:gd name="connsiteY424" fmla="*/ 120722 h 248214"/>
                <a:gd name="connsiteX425" fmla="*/ 71926 w 180519"/>
                <a:gd name="connsiteY425" fmla="*/ 121286 h 248214"/>
                <a:gd name="connsiteX426" fmla="*/ 70515 w 180519"/>
                <a:gd name="connsiteY426" fmla="*/ 123261 h 248214"/>
                <a:gd name="connsiteX427" fmla="*/ 69951 w 180519"/>
                <a:gd name="connsiteY427" fmla="*/ 123825 h 248214"/>
                <a:gd name="connsiteX428" fmla="*/ 70234 w 180519"/>
                <a:gd name="connsiteY428" fmla="*/ 124107 h 248214"/>
                <a:gd name="connsiteX429" fmla="*/ 70515 w 180519"/>
                <a:gd name="connsiteY429" fmla="*/ 124953 h 248214"/>
                <a:gd name="connsiteX430" fmla="*/ 70798 w 180519"/>
                <a:gd name="connsiteY430" fmla="*/ 125517 h 248214"/>
                <a:gd name="connsiteX431" fmla="*/ 70515 w 180519"/>
                <a:gd name="connsiteY431" fmla="*/ 125799 h 248214"/>
                <a:gd name="connsiteX432" fmla="*/ 70798 w 180519"/>
                <a:gd name="connsiteY432" fmla="*/ 126363 h 248214"/>
                <a:gd name="connsiteX433" fmla="*/ 71362 w 180519"/>
                <a:gd name="connsiteY433" fmla="*/ 126363 h 248214"/>
                <a:gd name="connsiteX434" fmla="*/ 71362 w 180519"/>
                <a:gd name="connsiteY434" fmla="*/ 126646 h 248214"/>
                <a:gd name="connsiteX435" fmla="*/ 71079 w 180519"/>
                <a:gd name="connsiteY435" fmla="*/ 126928 h 248214"/>
                <a:gd name="connsiteX436" fmla="*/ 70515 w 180519"/>
                <a:gd name="connsiteY436" fmla="*/ 126928 h 248214"/>
                <a:gd name="connsiteX437" fmla="*/ 69951 w 180519"/>
                <a:gd name="connsiteY437" fmla="*/ 126363 h 248214"/>
                <a:gd name="connsiteX438" fmla="*/ 69669 w 180519"/>
                <a:gd name="connsiteY438" fmla="*/ 126363 h 248214"/>
                <a:gd name="connsiteX439" fmla="*/ 68823 w 180519"/>
                <a:gd name="connsiteY439" fmla="*/ 127774 h 248214"/>
                <a:gd name="connsiteX440" fmla="*/ 68541 w 180519"/>
                <a:gd name="connsiteY440" fmla="*/ 128056 h 248214"/>
                <a:gd name="connsiteX441" fmla="*/ 67977 w 180519"/>
                <a:gd name="connsiteY441" fmla="*/ 128056 h 248214"/>
                <a:gd name="connsiteX442" fmla="*/ 67131 w 180519"/>
                <a:gd name="connsiteY442" fmla="*/ 128338 h 248214"/>
                <a:gd name="connsiteX443" fmla="*/ 66848 w 180519"/>
                <a:gd name="connsiteY443" fmla="*/ 129466 h 248214"/>
                <a:gd name="connsiteX444" fmla="*/ 66848 w 180519"/>
                <a:gd name="connsiteY444" fmla="*/ 130030 h 248214"/>
                <a:gd name="connsiteX445" fmla="*/ 66567 w 180519"/>
                <a:gd name="connsiteY445" fmla="*/ 130594 h 248214"/>
                <a:gd name="connsiteX446" fmla="*/ 66567 w 180519"/>
                <a:gd name="connsiteY446" fmla="*/ 131723 h 248214"/>
                <a:gd name="connsiteX447" fmla="*/ 67131 w 180519"/>
                <a:gd name="connsiteY447" fmla="*/ 132851 h 248214"/>
                <a:gd name="connsiteX448" fmla="*/ 67131 w 180519"/>
                <a:gd name="connsiteY448" fmla="*/ 133133 h 248214"/>
                <a:gd name="connsiteX449" fmla="*/ 66848 w 180519"/>
                <a:gd name="connsiteY449" fmla="*/ 133415 h 248214"/>
                <a:gd name="connsiteX450" fmla="*/ 66003 w 180519"/>
                <a:gd name="connsiteY450" fmla="*/ 134825 h 248214"/>
                <a:gd name="connsiteX451" fmla="*/ 66284 w 180519"/>
                <a:gd name="connsiteY451" fmla="*/ 135389 h 248214"/>
                <a:gd name="connsiteX452" fmla="*/ 66567 w 180519"/>
                <a:gd name="connsiteY452" fmla="*/ 135389 h 248214"/>
                <a:gd name="connsiteX453" fmla="*/ 67413 w 180519"/>
                <a:gd name="connsiteY453" fmla="*/ 134825 h 248214"/>
                <a:gd name="connsiteX454" fmla="*/ 68541 w 180519"/>
                <a:gd name="connsiteY454" fmla="*/ 134261 h 248214"/>
                <a:gd name="connsiteX455" fmla="*/ 69387 w 180519"/>
                <a:gd name="connsiteY455" fmla="*/ 133697 h 248214"/>
                <a:gd name="connsiteX456" fmla="*/ 69951 w 180519"/>
                <a:gd name="connsiteY456" fmla="*/ 133697 h 248214"/>
                <a:gd name="connsiteX457" fmla="*/ 69951 w 180519"/>
                <a:gd name="connsiteY457" fmla="*/ 134261 h 248214"/>
                <a:gd name="connsiteX458" fmla="*/ 69105 w 180519"/>
                <a:gd name="connsiteY458" fmla="*/ 135389 h 248214"/>
                <a:gd name="connsiteX459" fmla="*/ 69105 w 180519"/>
                <a:gd name="connsiteY459" fmla="*/ 135954 h 248214"/>
                <a:gd name="connsiteX460" fmla="*/ 67413 w 180519"/>
                <a:gd name="connsiteY460" fmla="*/ 137082 h 248214"/>
                <a:gd name="connsiteX461" fmla="*/ 67131 w 180519"/>
                <a:gd name="connsiteY461" fmla="*/ 137928 h 248214"/>
                <a:gd name="connsiteX462" fmla="*/ 67131 w 180519"/>
                <a:gd name="connsiteY462" fmla="*/ 138774 h 248214"/>
                <a:gd name="connsiteX463" fmla="*/ 67413 w 180519"/>
                <a:gd name="connsiteY463" fmla="*/ 139338 h 248214"/>
                <a:gd name="connsiteX464" fmla="*/ 68541 w 180519"/>
                <a:gd name="connsiteY464" fmla="*/ 139902 h 248214"/>
                <a:gd name="connsiteX465" fmla="*/ 68541 w 180519"/>
                <a:gd name="connsiteY465" fmla="*/ 140185 h 248214"/>
                <a:gd name="connsiteX466" fmla="*/ 68259 w 180519"/>
                <a:gd name="connsiteY466" fmla="*/ 141031 h 248214"/>
                <a:gd name="connsiteX467" fmla="*/ 67695 w 180519"/>
                <a:gd name="connsiteY467" fmla="*/ 141595 h 248214"/>
                <a:gd name="connsiteX468" fmla="*/ 67413 w 180519"/>
                <a:gd name="connsiteY468" fmla="*/ 141877 h 248214"/>
                <a:gd name="connsiteX469" fmla="*/ 67695 w 180519"/>
                <a:gd name="connsiteY469" fmla="*/ 143005 h 248214"/>
                <a:gd name="connsiteX470" fmla="*/ 67413 w 180519"/>
                <a:gd name="connsiteY470" fmla="*/ 143287 h 248214"/>
                <a:gd name="connsiteX471" fmla="*/ 66848 w 180519"/>
                <a:gd name="connsiteY471" fmla="*/ 143005 h 248214"/>
                <a:gd name="connsiteX472" fmla="*/ 66848 w 180519"/>
                <a:gd name="connsiteY472" fmla="*/ 142723 h 248214"/>
                <a:gd name="connsiteX473" fmla="*/ 66567 w 180519"/>
                <a:gd name="connsiteY473" fmla="*/ 142441 h 248214"/>
                <a:gd name="connsiteX474" fmla="*/ 67131 w 180519"/>
                <a:gd name="connsiteY474" fmla="*/ 140749 h 248214"/>
                <a:gd name="connsiteX475" fmla="*/ 66848 w 180519"/>
                <a:gd name="connsiteY475" fmla="*/ 140185 h 248214"/>
                <a:gd name="connsiteX476" fmla="*/ 65156 w 180519"/>
                <a:gd name="connsiteY476" fmla="*/ 141595 h 248214"/>
                <a:gd name="connsiteX477" fmla="*/ 64874 w 180519"/>
                <a:gd name="connsiteY477" fmla="*/ 141877 h 248214"/>
                <a:gd name="connsiteX478" fmla="*/ 65156 w 180519"/>
                <a:gd name="connsiteY478" fmla="*/ 142159 h 248214"/>
                <a:gd name="connsiteX479" fmla="*/ 65720 w 180519"/>
                <a:gd name="connsiteY479" fmla="*/ 142441 h 248214"/>
                <a:gd name="connsiteX480" fmla="*/ 65720 w 180519"/>
                <a:gd name="connsiteY480" fmla="*/ 142723 h 248214"/>
                <a:gd name="connsiteX481" fmla="*/ 65156 w 180519"/>
                <a:gd name="connsiteY481" fmla="*/ 144133 h 248214"/>
                <a:gd name="connsiteX482" fmla="*/ 64310 w 180519"/>
                <a:gd name="connsiteY482" fmla="*/ 144697 h 248214"/>
                <a:gd name="connsiteX483" fmla="*/ 63464 w 180519"/>
                <a:gd name="connsiteY483" fmla="*/ 145262 h 248214"/>
                <a:gd name="connsiteX484" fmla="*/ 64028 w 180519"/>
                <a:gd name="connsiteY484" fmla="*/ 145826 h 248214"/>
                <a:gd name="connsiteX485" fmla="*/ 64592 w 180519"/>
                <a:gd name="connsiteY485" fmla="*/ 146954 h 248214"/>
                <a:gd name="connsiteX486" fmla="*/ 63746 w 180519"/>
                <a:gd name="connsiteY486" fmla="*/ 147800 h 248214"/>
                <a:gd name="connsiteX487" fmla="*/ 64028 w 180519"/>
                <a:gd name="connsiteY487" fmla="*/ 148082 h 248214"/>
                <a:gd name="connsiteX488" fmla="*/ 63746 w 180519"/>
                <a:gd name="connsiteY488" fmla="*/ 149210 h 248214"/>
                <a:gd name="connsiteX489" fmla="*/ 63182 w 180519"/>
                <a:gd name="connsiteY489" fmla="*/ 149775 h 248214"/>
                <a:gd name="connsiteX490" fmla="*/ 63746 w 180519"/>
                <a:gd name="connsiteY490" fmla="*/ 150621 h 248214"/>
                <a:gd name="connsiteX491" fmla="*/ 64028 w 180519"/>
                <a:gd name="connsiteY491" fmla="*/ 150903 h 248214"/>
                <a:gd name="connsiteX492" fmla="*/ 63464 w 180519"/>
                <a:gd name="connsiteY492" fmla="*/ 151467 h 248214"/>
                <a:gd name="connsiteX493" fmla="*/ 62618 w 180519"/>
                <a:gd name="connsiteY493" fmla="*/ 153159 h 248214"/>
                <a:gd name="connsiteX494" fmla="*/ 62618 w 180519"/>
                <a:gd name="connsiteY494" fmla="*/ 153441 h 248214"/>
                <a:gd name="connsiteX495" fmla="*/ 62900 w 180519"/>
                <a:gd name="connsiteY495" fmla="*/ 154570 h 248214"/>
                <a:gd name="connsiteX496" fmla="*/ 62618 w 180519"/>
                <a:gd name="connsiteY496" fmla="*/ 155416 h 248214"/>
                <a:gd name="connsiteX497" fmla="*/ 62618 w 180519"/>
                <a:gd name="connsiteY497" fmla="*/ 156544 h 248214"/>
                <a:gd name="connsiteX498" fmla="*/ 62900 w 180519"/>
                <a:gd name="connsiteY498" fmla="*/ 157108 h 248214"/>
                <a:gd name="connsiteX499" fmla="*/ 63182 w 180519"/>
                <a:gd name="connsiteY499" fmla="*/ 157390 h 248214"/>
                <a:gd name="connsiteX500" fmla="*/ 62618 w 180519"/>
                <a:gd name="connsiteY500" fmla="*/ 157954 h 248214"/>
                <a:gd name="connsiteX501" fmla="*/ 62336 w 180519"/>
                <a:gd name="connsiteY501" fmla="*/ 159647 h 248214"/>
                <a:gd name="connsiteX502" fmla="*/ 62054 w 180519"/>
                <a:gd name="connsiteY502" fmla="*/ 160211 h 248214"/>
                <a:gd name="connsiteX503" fmla="*/ 62336 w 180519"/>
                <a:gd name="connsiteY503" fmla="*/ 160775 h 248214"/>
                <a:gd name="connsiteX504" fmla="*/ 62336 w 180519"/>
                <a:gd name="connsiteY504" fmla="*/ 161621 h 248214"/>
                <a:gd name="connsiteX505" fmla="*/ 61207 w 180519"/>
                <a:gd name="connsiteY505" fmla="*/ 162467 h 248214"/>
                <a:gd name="connsiteX506" fmla="*/ 60643 w 180519"/>
                <a:gd name="connsiteY506" fmla="*/ 162749 h 248214"/>
                <a:gd name="connsiteX507" fmla="*/ 60926 w 180519"/>
                <a:gd name="connsiteY507" fmla="*/ 163596 h 248214"/>
                <a:gd name="connsiteX508" fmla="*/ 62054 w 180519"/>
                <a:gd name="connsiteY508" fmla="*/ 164724 h 248214"/>
                <a:gd name="connsiteX509" fmla="*/ 61772 w 180519"/>
                <a:gd name="connsiteY509" fmla="*/ 165288 h 248214"/>
                <a:gd name="connsiteX510" fmla="*/ 62054 w 180519"/>
                <a:gd name="connsiteY510" fmla="*/ 165570 h 248214"/>
                <a:gd name="connsiteX511" fmla="*/ 62054 w 180519"/>
                <a:gd name="connsiteY511" fmla="*/ 166698 h 248214"/>
                <a:gd name="connsiteX512" fmla="*/ 61207 w 180519"/>
                <a:gd name="connsiteY512" fmla="*/ 167827 h 248214"/>
                <a:gd name="connsiteX513" fmla="*/ 61207 w 180519"/>
                <a:gd name="connsiteY513" fmla="*/ 169519 h 248214"/>
                <a:gd name="connsiteX514" fmla="*/ 60926 w 180519"/>
                <a:gd name="connsiteY514" fmla="*/ 170365 h 248214"/>
                <a:gd name="connsiteX515" fmla="*/ 60643 w 180519"/>
                <a:gd name="connsiteY515" fmla="*/ 170929 h 248214"/>
                <a:gd name="connsiteX516" fmla="*/ 60926 w 180519"/>
                <a:gd name="connsiteY516" fmla="*/ 171493 h 248214"/>
                <a:gd name="connsiteX517" fmla="*/ 62054 w 180519"/>
                <a:gd name="connsiteY517" fmla="*/ 171493 h 248214"/>
                <a:gd name="connsiteX518" fmla="*/ 62618 w 180519"/>
                <a:gd name="connsiteY518" fmla="*/ 170929 h 248214"/>
                <a:gd name="connsiteX519" fmla="*/ 62900 w 180519"/>
                <a:gd name="connsiteY519" fmla="*/ 170929 h 248214"/>
                <a:gd name="connsiteX520" fmla="*/ 63182 w 180519"/>
                <a:gd name="connsiteY520" fmla="*/ 171211 h 248214"/>
                <a:gd name="connsiteX521" fmla="*/ 63464 w 180519"/>
                <a:gd name="connsiteY521" fmla="*/ 172340 h 248214"/>
                <a:gd name="connsiteX522" fmla="*/ 63746 w 180519"/>
                <a:gd name="connsiteY522" fmla="*/ 172622 h 248214"/>
                <a:gd name="connsiteX523" fmla="*/ 64028 w 180519"/>
                <a:gd name="connsiteY523" fmla="*/ 173186 h 248214"/>
                <a:gd name="connsiteX524" fmla="*/ 63182 w 180519"/>
                <a:gd name="connsiteY524" fmla="*/ 174032 h 248214"/>
                <a:gd name="connsiteX525" fmla="*/ 62618 w 180519"/>
                <a:gd name="connsiteY525" fmla="*/ 174314 h 248214"/>
                <a:gd name="connsiteX526" fmla="*/ 61490 w 180519"/>
                <a:gd name="connsiteY526" fmla="*/ 172904 h 248214"/>
                <a:gd name="connsiteX527" fmla="*/ 61207 w 180519"/>
                <a:gd name="connsiteY527" fmla="*/ 172622 h 248214"/>
                <a:gd name="connsiteX528" fmla="*/ 60926 w 180519"/>
                <a:gd name="connsiteY528" fmla="*/ 173186 h 248214"/>
                <a:gd name="connsiteX529" fmla="*/ 60079 w 180519"/>
                <a:gd name="connsiteY529" fmla="*/ 174878 h 248214"/>
                <a:gd name="connsiteX530" fmla="*/ 60079 w 180519"/>
                <a:gd name="connsiteY530" fmla="*/ 175160 h 248214"/>
                <a:gd name="connsiteX531" fmla="*/ 59797 w 180519"/>
                <a:gd name="connsiteY531" fmla="*/ 178263 h 248214"/>
                <a:gd name="connsiteX532" fmla="*/ 59797 w 180519"/>
                <a:gd name="connsiteY532" fmla="*/ 179391 h 248214"/>
                <a:gd name="connsiteX533" fmla="*/ 59515 w 180519"/>
                <a:gd name="connsiteY533" fmla="*/ 180237 h 248214"/>
                <a:gd name="connsiteX534" fmla="*/ 59515 w 180519"/>
                <a:gd name="connsiteY534" fmla="*/ 181365 h 248214"/>
                <a:gd name="connsiteX535" fmla="*/ 59797 w 180519"/>
                <a:gd name="connsiteY535" fmla="*/ 181930 h 248214"/>
                <a:gd name="connsiteX536" fmla="*/ 59797 w 180519"/>
                <a:gd name="connsiteY536" fmla="*/ 183058 h 248214"/>
                <a:gd name="connsiteX537" fmla="*/ 59233 w 180519"/>
                <a:gd name="connsiteY537" fmla="*/ 183904 h 248214"/>
                <a:gd name="connsiteX538" fmla="*/ 59233 w 180519"/>
                <a:gd name="connsiteY538" fmla="*/ 184750 h 248214"/>
                <a:gd name="connsiteX539" fmla="*/ 59515 w 180519"/>
                <a:gd name="connsiteY539" fmla="*/ 186443 h 248214"/>
                <a:gd name="connsiteX540" fmla="*/ 59233 w 180519"/>
                <a:gd name="connsiteY540" fmla="*/ 187853 h 248214"/>
                <a:gd name="connsiteX541" fmla="*/ 59233 w 180519"/>
                <a:gd name="connsiteY541" fmla="*/ 188135 h 248214"/>
                <a:gd name="connsiteX542" fmla="*/ 59515 w 180519"/>
                <a:gd name="connsiteY542" fmla="*/ 188417 h 248214"/>
                <a:gd name="connsiteX543" fmla="*/ 59797 w 180519"/>
                <a:gd name="connsiteY543" fmla="*/ 188417 h 248214"/>
                <a:gd name="connsiteX544" fmla="*/ 60079 w 180519"/>
                <a:gd name="connsiteY544" fmla="*/ 188981 h 248214"/>
                <a:gd name="connsiteX545" fmla="*/ 59515 w 180519"/>
                <a:gd name="connsiteY545" fmla="*/ 189827 h 248214"/>
                <a:gd name="connsiteX546" fmla="*/ 59515 w 180519"/>
                <a:gd name="connsiteY546" fmla="*/ 192084 h 248214"/>
                <a:gd name="connsiteX547" fmla="*/ 59797 w 180519"/>
                <a:gd name="connsiteY547" fmla="*/ 192366 h 248214"/>
                <a:gd name="connsiteX548" fmla="*/ 60079 w 180519"/>
                <a:gd name="connsiteY548" fmla="*/ 192366 h 248214"/>
                <a:gd name="connsiteX549" fmla="*/ 60643 w 180519"/>
                <a:gd name="connsiteY549" fmla="*/ 190956 h 248214"/>
                <a:gd name="connsiteX550" fmla="*/ 60926 w 180519"/>
                <a:gd name="connsiteY550" fmla="*/ 190673 h 248214"/>
                <a:gd name="connsiteX551" fmla="*/ 61207 w 180519"/>
                <a:gd name="connsiteY551" fmla="*/ 190956 h 248214"/>
                <a:gd name="connsiteX552" fmla="*/ 62054 w 180519"/>
                <a:gd name="connsiteY552" fmla="*/ 192084 h 248214"/>
                <a:gd name="connsiteX553" fmla="*/ 61490 w 180519"/>
                <a:gd name="connsiteY553" fmla="*/ 192648 h 248214"/>
                <a:gd name="connsiteX554" fmla="*/ 62054 w 180519"/>
                <a:gd name="connsiteY554" fmla="*/ 192930 h 248214"/>
                <a:gd name="connsiteX555" fmla="*/ 61772 w 180519"/>
                <a:gd name="connsiteY555" fmla="*/ 195751 h 248214"/>
                <a:gd name="connsiteX556" fmla="*/ 61207 w 180519"/>
                <a:gd name="connsiteY556" fmla="*/ 195751 h 248214"/>
                <a:gd name="connsiteX557" fmla="*/ 60643 w 180519"/>
                <a:gd name="connsiteY557" fmla="*/ 195186 h 248214"/>
                <a:gd name="connsiteX558" fmla="*/ 60079 w 180519"/>
                <a:gd name="connsiteY558" fmla="*/ 194058 h 248214"/>
                <a:gd name="connsiteX559" fmla="*/ 60643 w 180519"/>
                <a:gd name="connsiteY559" fmla="*/ 193212 h 248214"/>
                <a:gd name="connsiteX560" fmla="*/ 60926 w 180519"/>
                <a:gd name="connsiteY560" fmla="*/ 192930 h 248214"/>
                <a:gd name="connsiteX561" fmla="*/ 60643 w 180519"/>
                <a:gd name="connsiteY561" fmla="*/ 192930 h 248214"/>
                <a:gd name="connsiteX562" fmla="*/ 60079 w 180519"/>
                <a:gd name="connsiteY562" fmla="*/ 192648 h 248214"/>
                <a:gd name="connsiteX563" fmla="*/ 59233 w 180519"/>
                <a:gd name="connsiteY563" fmla="*/ 194058 h 248214"/>
                <a:gd name="connsiteX564" fmla="*/ 59233 w 180519"/>
                <a:gd name="connsiteY564" fmla="*/ 194904 h 248214"/>
                <a:gd name="connsiteX565" fmla="*/ 58387 w 180519"/>
                <a:gd name="connsiteY565" fmla="*/ 195751 h 248214"/>
                <a:gd name="connsiteX566" fmla="*/ 58951 w 180519"/>
                <a:gd name="connsiteY566" fmla="*/ 196315 h 248214"/>
                <a:gd name="connsiteX567" fmla="*/ 59515 w 180519"/>
                <a:gd name="connsiteY567" fmla="*/ 196879 h 248214"/>
                <a:gd name="connsiteX568" fmla="*/ 58669 w 180519"/>
                <a:gd name="connsiteY568" fmla="*/ 197443 h 248214"/>
                <a:gd name="connsiteX569" fmla="*/ 58669 w 180519"/>
                <a:gd name="connsiteY569" fmla="*/ 198007 h 248214"/>
                <a:gd name="connsiteX570" fmla="*/ 60079 w 180519"/>
                <a:gd name="connsiteY570" fmla="*/ 198571 h 248214"/>
                <a:gd name="connsiteX571" fmla="*/ 60926 w 180519"/>
                <a:gd name="connsiteY571" fmla="*/ 198571 h 248214"/>
                <a:gd name="connsiteX572" fmla="*/ 62054 w 180519"/>
                <a:gd name="connsiteY572" fmla="*/ 198853 h 248214"/>
                <a:gd name="connsiteX573" fmla="*/ 61772 w 180519"/>
                <a:gd name="connsiteY573" fmla="*/ 199982 h 248214"/>
                <a:gd name="connsiteX574" fmla="*/ 62054 w 180519"/>
                <a:gd name="connsiteY574" fmla="*/ 204777 h 248214"/>
                <a:gd name="connsiteX575" fmla="*/ 62054 w 180519"/>
                <a:gd name="connsiteY575" fmla="*/ 205905 h 248214"/>
                <a:gd name="connsiteX576" fmla="*/ 61490 w 180519"/>
                <a:gd name="connsiteY576" fmla="*/ 206187 h 248214"/>
                <a:gd name="connsiteX577" fmla="*/ 61772 w 180519"/>
                <a:gd name="connsiteY577" fmla="*/ 207033 h 248214"/>
                <a:gd name="connsiteX578" fmla="*/ 62054 w 180519"/>
                <a:gd name="connsiteY578" fmla="*/ 209290 h 248214"/>
                <a:gd name="connsiteX579" fmla="*/ 61772 w 180519"/>
                <a:gd name="connsiteY579" fmla="*/ 209854 h 248214"/>
                <a:gd name="connsiteX580" fmla="*/ 61207 w 180519"/>
                <a:gd name="connsiteY580" fmla="*/ 210700 h 248214"/>
                <a:gd name="connsiteX581" fmla="*/ 61207 w 180519"/>
                <a:gd name="connsiteY581" fmla="*/ 212392 h 248214"/>
                <a:gd name="connsiteX582" fmla="*/ 61772 w 180519"/>
                <a:gd name="connsiteY582" fmla="*/ 212674 h 248214"/>
                <a:gd name="connsiteX583" fmla="*/ 61490 w 180519"/>
                <a:gd name="connsiteY583" fmla="*/ 212956 h 248214"/>
                <a:gd name="connsiteX584" fmla="*/ 62054 w 180519"/>
                <a:gd name="connsiteY584" fmla="*/ 213803 h 248214"/>
                <a:gd name="connsiteX585" fmla="*/ 62054 w 180519"/>
                <a:gd name="connsiteY585" fmla="*/ 214085 h 248214"/>
                <a:gd name="connsiteX586" fmla="*/ 61490 w 180519"/>
                <a:gd name="connsiteY586" fmla="*/ 214649 h 248214"/>
                <a:gd name="connsiteX587" fmla="*/ 61772 w 180519"/>
                <a:gd name="connsiteY587" fmla="*/ 215213 h 248214"/>
                <a:gd name="connsiteX588" fmla="*/ 61490 w 180519"/>
                <a:gd name="connsiteY588" fmla="*/ 215495 h 248214"/>
                <a:gd name="connsiteX589" fmla="*/ 61207 w 180519"/>
                <a:gd name="connsiteY589" fmla="*/ 215777 h 248214"/>
                <a:gd name="connsiteX590" fmla="*/ 60926 w 180519"/>
                <a:gd name="connsiteY590" fmla="*/ 215495 h 248214"/>
                <a:gd name="connsiteX591" fmla="*/ 60926 w 180519"/>
                <a:gd name="connsiteY591" fmla="*/ 214649 h 248214"/>
                <a:gd name="connsiteX592" fmla="*/ 60079 w 180519"/>
                <a:gd name="connsiteY592" fmla="*/ 214085 h 248214"/>
                <a:gd name="connsiteX593" fmla="*/ 59797 w 180519"/>
                <a:gd name="connsiteY593" fmla="*/ 214649 h 248214"/>
                <a:gd name="connsiteX594" fmla="*/ 59515 w 180519"/>
                <a:gd name="connsiteY594" fmla="*/ 217751 h 248214"/>
                <a:gd name="connsiteX595" fmla="*/ 60362 w 180519"/>
                <a:gd name="connsiteY595" fmla="*/ 218033 h 248214"/>
                <a:gd name="connsiteX596" fmla="*/ 60926 w 180519"/>
                <a:gd name="connsiteY596" fmla="*/ 217469 h 248214"/>
                <a:gd name="connsiteX597" fmla="*/ 61772 w 180519"/>
                <a:gd name="connsiteY597" fmla="*/ 217751 h 248214"/>
                <a:gd name="connsiteX598" fmla="*/ 62054 w 180519"/>
                <a:gd name="connsiteY598" fmla="*/ 218598 h 248214"/>
                <a:gd name="connsiteX599" fmla="*/ 62054 w 180519"/>
                <a:gd name="connsiteY599" fmla="*/ 219726 h 248214"/>
                <a:gd name="connsiteX600" fmla="*/ 62618 w 180519"/>
                <a:gd name="connsiteY600" fmla="*/ 220854 h 248214"/>
                <a:gd name="connsiteX601" fmla="*/ 62618 w 180519"/>
                <a:gd name="connsiteY601" fmla="*/ 221982 h 248214"/>
                <a:gd name="connsiteX602" fmla="*/ 62336 w 180519"/>
                <a:gd name="connsiteY602" fmla="*/ 222828 h 248214"/>
                <a:gd name="connsiteX603" fmla="*/ 62900 w 180519"/>
                <a:gd name="connsiteY603" fmla="*/ 223957 h 248214"/>
                <a:gd name="connsiteX604" fmla="*/ 62900 w 180519"/>
                <a:gd name="connsiteY604" fmla="*/ 224803 h 248214"/>
                <a:gd name="connsiteX605" fmla="*/ 63182 w 180519"/>
                <a:gd name="connsiteY605" fmla="*/ 225367 h 248214"/>
                <a:gd name="connsiteX606" fmla="*/ 63182 w 180519"/>
                <a:gd name="connsiteY606" fmla="*/ 225649 h 248214"/>
                <a:gd name="connsiteX607" fmla="*/ 63182 w 180519"/>
                <a:gd name="connsiteY607" fmla="*/ 227624 h 248214"/>
                <a:gd name="connsiteX608" fmla="*/ 64028 w 180519"/>
                <a:gd name="connsiteY608" fmla="*/ 229034 h 248214"/>
                <a:gd name="connsiteX609" fmla="*/ 64028 w 180519"/>
                <a:gd name="connsiteY609" fmla="*/ 229880 h 248214"/>
                <a:gd name="connsiteX610" fmla="*/ 64874 w 180519"/>
                <a:gd name="connsiteY610" fmla="*/ 230726 h 248214"/>
                <a:gd name="connsiteX611" fmla="*/ 64874 w 180519"/>
                <a:gd name="connsiteY611" fmla="*/ 231290 h 248214"/>
                <a:gd name="connsiteX612" fmla="*/ 66567 w 180519"/>
                <a:gd name="connsiteY612" fmla="*/ 231008 h 248214"/>
                <a:gd name="connsiteX613" fmla="*/ 68259 w 180519"/>
                <a:gd name="connsiteY613" fmla="*/ 230162 h 248214"/>
                <a:gd name="connsiteX614" fmla="*/ 69669 w 180519"/>
                <a:gd name="connsiteY614" fmla="*/ 229034 h 248214"/>
                <a:gd name="connsiteX615" fmla="*/ 70515 w 180519"/>
                <a:gd name="connsiteY615" fmla="*/ 227624 h 248214"/>
                <a:gd name="connsiteX616" fmla="*/ 70515 w 180519"/>
                <a:gd name="connsiteY616" fmla="*/ 227341 h 248214"/>
                <a:gd name="connsiteX617" fmla="*/ 72490 w 180519"/>
                <a:gd name="connsiteY617" fmla="*/ 225367 h 248214"/>
                <a:gd name="connsiteX618" fmla="*/ 73618 w 180519"/>
                <a:gd name="connsiteY618" fmla="*/ 224239 h 248214"/>
                <a:gd name="connsiteX619" fmla="*/ 73618 w 180519"/>
                <a:gd name="connsiteY619" fmla="*/ 223393 h 248214"/>
                <a:gd name="connsiteX620" fmla="*/ 73900 w 180519"/>
                <a:gd name="connsiteY620" fmla="*/ 222828 h 248214"/>
                <a:gd name="connsiteX621" fmla="*/ 74465 w 180519"/>
                <a:gd name="connsiteY621" fmla="*/ 222264 h 248214"/>
                <a:gd name="connsiteX622" fmla="*/ 74746 w 180519"/>
                <a:gd name="connsiteY622" fmla="*/ 221136 h 248214"/>
                <a:gd name="connsiteX623" fmla="*/ 75875 w 180519"/>
                <a:gd name="connsiteY623" fmla="*/ 220290 h 248214"/>
                <a:gd name="connsiteX624" fmla="*/ 76721 w 180519"/>
                <a:gd name="connsiteY624" fmla="*/ 218880 h 248214"/>
                <a:gd name="connsiteX625" fmla="*/ 76721 w 180519"/>
                <a:gd name="connsiteY625" fmla="*/ 218315 h 248214"/>
                <a:gd name="connsiteX626" fmla="*/ 77285 w 180519"/>
                <a:gd name="connsiteY626" fmla="*/ 216623 h 248214"/>
                <a:gd name="connsiteX627" fmla="*/ 79260 w 180519"/>
                <a:gd name="connsiteY627" fmla="*/ 214931 h 248214"/>
                <a:gd name="connsiteX628" fmla="*/ 79824 w 180519"/>
                <a:gd name="connsiteY628" fmla="*/ 213520 h 248214"/>
                <a:gd name="connsiteX629" fmla="*/ 80388 w 180519"/>
                <a:gd name="connsiteY629" fmla="*/ 212392 h 248214"/>
                <a:gd name="connsiteX630" fmla="*/ 80106 w 180519"/>
                <a:gd name="connsiteY630" fmla="*/ 212110 h 248214"/>
                <a:gd name="connsiteX631" fmla="*/ 80670 w 180519"/>
                <a:gd name="connsiteY631" fmla="*/ 210982 h 248214"/>
                <a:gd name="connsiteX632" fmla="*/ 81516 w 180519"/>
                <a:gd name="connsiteY632" fmla="*/ 209290 h 248214"/>
                <a:gd name="connsiteX633" fmla="*/ 82926 w 180519"/>
                <a:gd name="connsiteY633" fmla="*/ 207033 h 248214"/>
                <a:gd name="connsiteX634" fmla="*/ 82926 w 180519"/>
                <a:gd name="connsiteY634" fmla="*/ 206751 h 248214"/>
                <a:gd name="connsiteX635" fmla="*/ 83772 w 180519"/>
                <a:gd name="connsiteY635" fmla="*/ 206187 h 248214"/>
                <a:gd name="connsiteX636" fmla="*/ 83490 w 180519"/>
                <a:gd name="connsiteY636" fmla="*/ 206187 h 248214"/>
                <a:gd name="connsiteX637" fmla="*/ 84337 w 180519"/>
                <a:gd name="connsiteY637" fmla="*/ 204495 h 248214"/>
                <a:gd name="connsiteX638" fmla="*/ 84618 w 180519"/>
                <a:gd name="connsiteY638" fmla="*/ 203366 h 248214"/>
                <a:gd name="connsiteX639" fmla="*/ 85747 w 180519"/>
                <a:gd name="connsiteY639" fmla="*/ 202238 h 248214"/>
                <a:gd name="connsiteX640" fmla="*/ 85465 w 180519"/>
                <a:gd name="connsiteY640" fmla="*/ 201392 h 248214"/>
                <a:gd name="connsiteX641" fmla="*/ 85747 w 180519"/>
                <a:gd name="connsiteY641" fmla="*/ 200828 h 248214"/>
                <a:gd name="connsiteX642" fmla="*/ 86593 w 180519"/>
                <a:gd name="connsiteY642" fmla="*/ 199982 h 248214"/>
                <a:gd name="connsiteX643" fmla="*/ 87157 w 180519"/>
                <a:gd name="connsiteY643" fmla="*/ 198571 h 248214"/>
                <a:gd name="connsiteX644" fmla="*/ 88568 w 180519"/>
                <a:gd name="connsiteY644" fmla="*/ 196879 h 248214"/>
                <a:gd name="connsiteX645" fmla="*/ 89978 w 180519"/>
                <a:gd name="connsiteY645" fmla="*/ 194058 h 248214"/>
                <a:gd name="connsiteX646" fmla="*/ 90542 w 180519"/>
                <a:gd name="connsiteY646" fmla="*/ 193212 h 248214"/>
                <a:gd name="connsiteX647" fmla="*/ 91388 w 180519"/>
                <a:gd name="connsiteY647" fmla="*/ 190956 h 248214"/>
                <a:gd name="connsiteX648" fmla="*/ 92516 w 180519"/>
                <a:gd name="connsiteY648" fmla="*/ 189263 h 248214"/>
                <a:gd name="connsiteX649" fmla="*/ 92234 w 180519"/>
                <a:gd name="connsiteY649" fmla="*/ 188981 h 248214"/>
                <a:gd name="connsiteX650" fmla="*/ 92799 w 180519"/>
                <a:gd name="connsiteY650" fmla="*/ 187853 h 248214"/>
                <a:gd name="connsiteX651" fmla="*/ 94209 w 180519"/>
                <a:gd name="connsiteY651" fmla="*/ 185878 h 248214"/>
                <a:gd name="connsiteX652" fmla="*/ 93927 w 180519"/>
                <a:gd name="connsiteY652" fmla="*/ 185314 h 248214"/>
                <a:gd name="connsiteX653" fmla="*/ 94209 w 180519"/>
                <a:gd name="connsiteY653" fmla="*/ 184468 h 248214"/>
                <a:gd name="connsiteX654" fmla="*/ 95619 w 180519"/>
                <a:gd name="connsiteY654" fmla="*/ 183058 h 248214"/>
                <a:gd name="connsiteX655" fmla="*/ 96183 w 180519"/>
                <a:gd name="connsiteY655" fmla="*/ 181648 h 248214"/>
                <a:gd name="connsiteX656" fmla="*/ 96465 w 180519"/>
                <a:gd name="connsiteY656" fmla="*/ 180519 h 248214"/>
                <a:gd name="connsiteX657" fmla="*/ 96183 w 180519"/>
                <a:gd name="connsiteY657" fmla="*/ 180237 h 248214"/>
                <a:gd name="connsiteX658" fmla="*/ 96747 w 180519"/>
                <a:gd name="connsiteY658" fmla="*/ 179391 h 248214"/>
                <a:gd name="connsiteX659" fmla="*/ 97875 w 180519"/>
                <a:gd name="connsiteY659" fmla="*/ 178263 h 248214"/>
                <a:gd name="connsiteX660" fmla="*/ 98158 w 180519"/>
                <a:gd name="connsiteY660" fmla="*/ 177417 h 248214"/>
                <a:gd name="connsiteX661" fmla="*/ 98722 w 180519"/>
                <a:gd name="connsiteY661" fmla="*/ 176288 h 248214"/>
                <a:gd name="connsiteX662" fmla="*/ 99850 w 180519"/>
                <a:gd name="connsiteY662" fmla="*/ 175160 h 248214"/>
                <a:gd name="connsiteX663" fmla="*/ 99568 w 180519"/>
                <a:gd name="connsiteY663" fmla="*/ 174314 h 248214"/>
                <a:gd name="connsiteX664" fmla="*/ 99850 w 180519"/>
                <a:gd name="connsiteY664" fmla="*/ 173186 h 248214"/>
                <a:gd name="connsiteX665" fmla="*/ 100414 w 180519"/>
                <a:gd name="connsiteY665" fmla="*/ 172622 h 248214"/>
                <a:gd name="connsiteX666" fmla="*/ 100414 w 180519"/>
                <a:gd name="connsiteY666" fmla="*/ 172340 h 248214"/>
                <a:gd name="connsiteX667" fmla="*/ 100978 w 180519"/>
                <a:gd name="connsiteY667" fmla="*/ 171775 h 248214"/>
                <a:gd name="connsiteX668" fmla="*/ 101260 w 180519"/>
                <a:gd name="connsiteY668" fmla="*/ 171211 h 248214"/>
                <a:gd name="connsiteX669" fmla="*/ 101824 w 180519"/>
                <a:gd name="connsiteY669" fmla="*/ 170365 h 248214"/>
                <a:gd name="connsiteX670" fmla="*/ 101824 w 180519"/>
                <a:gd name="connsiteY670" fmla="*/ 169801 h 248214"/>
                <a:gd name="connsiteX671" fmla="*/ 102106 w 180519"/>
                <a:gd name="connsiteY671" fmla="*/ 169519 h 248214"/>
                <a:gd name="connsiteX672" fmla="*/ 103516 w 180519"/>
                <a:gd name="connsiteY672" fmla="*/ 166416 h 248214"/>
                <a:gd name="connsiteX673" fmla="*/ 103799 w 180519"/>
                <a:gd name="connsiteY673" fmla="*/ 165006 h 248214"/>
                <a:gd name="connsiteX674" fmla="*/ 104645 w 180519"/>
                <a:gd name="connsiteY674" fmla="*/ 163596 h 248214"/>
                <a:gd name="connsiteX675" fmla="*/ 105491 w 180519"/>
                <a:gd name="connsiteY675" fmla="*/ 162467 h 248214"/>
                <a:gd name="connsiteX676" fmla="*/ 106619 w 180519"/>
                <a:gd name="connsiteY676" fmla="*/ 160211 h 248214"/>
                <a:gd name="connsiteX677" fmla="*/ 106619 w 180519"/>
                <a:gd name="connsiteY677" fmla="*/ 159083 h 248214"/>
                <a:gd name="connsiteX678" fmla="*/ 106902 w 180519"/>
                <a:gd name="connsiteY678" fmla="*/ 158801 h 248214"/>
                <a:gd name="connsiteX679" fmla="*/ 107747 w 180519"/>
                <a:gd name="connsiteY679" fmla="*/ 157108 h 248214"/>
                <a:gd name="connsiteX680" fmla="*/ 108312 w 180519"/>
                <a:gd name="connsiteY680" fmla="*/ 156262 h 248214"/>
                <a:gd name="connsiteX681" fmla="*/ 107747 w 180519"/>
                <a:gd name="connsiteY681" fmla="*/ 155980 h 248214"/>
                <a:gd name="connsiteX682" fmla="*/ 108594 w 180519"/>
                <a:gd name="connsiteY682" fmla="*/ 155134 h 248214"/>
                <a:gd name="connsiteX683" fmla="*/ 109440 w 180519"/>
                <a:gd name="connsiteY683" fmla="*/ 154006 h 248214"/>
                <a:gd name="connsiteX684" fmla="*/ 109158 w 180519"/>
                <a:gd name="connsiteY684" fmla="*/ 154006 h 248214"/>
                <a:gd name="connsiteX685" fmla="*/ 109158 w 180519"/>
                <a:gd name="connsiteY685" fmla="*/ 153723 h 248214"/>
                <a:gd name="connsiteX686" fmla="*/ 109722 w 180519"/>
                <a:gd name="connsiteY686" fmla="*/ 153159 h 248214"/>
                <a:gd name="connsiteX687" fmla="*/ 109440 w 180519"/>
                <a:gd name="connsiteY687" fmla="*/ 152595 h 248214"/>
                <a:gd name="connsiteX688" fmla="*/ 110004 w 180519"/>
                <a:gd name="connsiteY688" fmla="*/ 151467 h 248214"/>
                <a:gd name="connsiteX689" fmla="*/ 110850 w 180519"/>
                <a:gd name="connsiteY689" fmla="*/ 150621 h 248214"/>
                <a:gd name="connsiteX690" fmla="*/ 112261 w 180519"/>
                <a:gd name="connsiteY690" fmla="*/ 148646 h 248214"/>
                <a:gd name="connsiteX691" fmla="*/ 126364 w 180519"/>
                <a:gd name="connsiteY691" fmla="*/ 130594 h 248214"/>
                <a:gd name="connsiteX692" fmla="*/ 118466 w 180519"/>
                <a:gd name="connsiteY692" fmla="*/ 148364 h 248214"/>
                <a:gd name="connsiteX693" fmla="*/ 118748 w 180519"/>
                <a:gd name="connsiteY693" fmla="*/ 148364 h 248214"/>
                <a:gd name="connsiteX694" fmla="*/ 118748 w 180519"/>
                <a:gd name="connsiteY694" fmla="*/ 148646 h 248214"/>
                <a:gd name="connsiteX695" fmla="*/ 118466 w 180519"/>
                <a:gd name="connsiteY695" fmla="*/ 149493 h 248214"/>
                <a:gd name="connsiteX696" fmla="*/ 119030 w 180519"/>
                <a:gd name="connsiteY696" fmla="*/ 149493 h 248214"/>
                <a:gd name="connsiteX697" fmla="*/ 120440 w 180519"/>
                <a:gd name="connsiteY697" fmla="*/ 148928 h 248214"/>
                <a:gd name="connsiteX698" fmla="*/ 120440 w 180519"/>
                <a:gd name="connsiteY698" fmla="*/ 149493 h 248214"/>
                <a:gd name="connsiteX699" fmla="*/ 119594 w 180519"/>
                <a:gd name="connsiteY699" fmla="*/ 151467 h 248214"/>
                <a:gd name="connsiteX700" fmla="*/ 119594 w 180519"/>
                <a:gd name="connsiteY700" fmla="*/ 151749 h 248214"/>
                <a:gd name="connsiteX701" fmla="*/ 118466 w 180519"/>
                <a:gd name="connsiteY701" fmla="*/ 152595 h 248214"/>
                <a:gd name="connsiteX702" fmla="*/ 118184 w 180519"/>
                <a:gd name="connsiteY702" fmla="*/ 153441 h 248214"/>
                <a:gd name="connsiteX703" fmla="*/ 118184 w 180519"/>
                <a:gd name="connsiteY703" fmla="*/ 154006 h 248214"/>
                <a:gd name="connsiteX704" fmla="*/ 117902 w 180519"/>
                <a:gd name="connsiteY704" fmla="*/ 154570 h 248214"/>
                <a:gd name="connsiteX705" fmla="*/ 117338 w 180519"/>
                <a:gd name="connsiteY705" fmla="*/ 155416 h 248214"/>
                <a:gd name="connsiteX706" fmla="*/ 117902 w 180519"/>
                <a:gd name="connsiteY706" fmla="*/ 156262 h 248214"/>
                <a:gd name="connsiteX707" fmla="*/ 118184 w 180519"/>
                <a:gd name="connsiteY707" fmla="*/ 156544 h 248214"/>
                <a:gd name="connsiteX708" fmla="*/ 117620 w 180519"/>
                <a:gd name="connsiteY708" fmla="*/ 156826 h 248214"/>
                <a:gd name="connsiteX709" fmla="*/ 117056 w 180519"/>
                <a:gd name="connsiteY709" fmla="*/ 157108 h 248214"/>
                <a:gd name="connsiteX710" fmla="*/ 114799 w 180519"/>
                <a:gd name="connsiteY710" fmla="*/ 158236 h 248214"/>
                <a:gd name="connsiteX711" fmla="*/ 114799 w 180519"/>
                <a:gd name="connsiteY711" fmla="*/ 158801 h 248214"/>
                <a:gd name="connsiteX712" fmla="*/ 115928 w 180519"/>
                <a:gd name="connsiteY712" fmla="*/ 159365 h 248214"/>
                <a:gd name="connsiteX713" fmla="*/ 114517 w 180519"/>
                <a:gd name="connsiteY713" fmla="*/ 159929 h 248214"/>
                <a:gd name="connsiteX714" fmla="*/ 113389 w 180519"/>
                <a:gd name="connsiteY714" fmla="*/ 160493 h 248214"/>
                <a:gd name="connsiteX715" fmla="*/ 113107 w 180519"/>
                <a:gd name="connsiteY715" fmla="*/ 161057 h 248214"/>
                <a:gd name="connsiteX716" fmla="*/ 113107 w 180519"/>
                <a:gd name="connsiteY716" fmla="*/ 161339 h 248214"/>
                <a:gd name="connsiteX717" fmla="*/ 114235 w 180519"/>
                <a:gd name="connsiteY717" fmla="*/ 161339 h 248214"/>
                <a:gd name="connsiteX718" fmla="*/ 114235 w 180519"/>
                <a:gd name="connsiteY718" fmla="*/ 161903 h 248214"/>
                <a:gd name="connsiteX719" fmla="*/ 114517 w 180519"/>
                <a:gd name="connsiteY719" fmla="*/ 162467 h 248214"/>
                <a:gd name="connsiteX720" fmla="*/ 114799 w 180519"/>
                <a:gd name="connsiteY720" fmla="*/ 163031 h 248214"/>
                <a:gd name="connsiteX721" fmla="*/ 114517 w 180519"/>
                <a:gd name="connsiteY721" fmla="*/ 163314 h 248214"/>
                <a:gd name="connsiteX722" fmla="*/ 113389 w 180519"/>
                <a:gd name="connsiteY722" fmla="*/ 164160 h 248214"/>
                <a:gd name="connsiteX723" fmla="*/ 113389 w 180519"/>
                <a:gd name="connsiteY723" fmla="*/ 166416 h 248214"/>
                <a:gd name="connsiteX724" fmla="*/ 113107 w 180519"/>
                <a:gd name="connsiteY724" fmla="*/ 166980 h 248214"/>
                <a:gd name="connsiteX725" fmla="*/ 112825 w 180519"/>
                <a:gd name="connsiteY725" fmla="*/ 167827 h 248214"/>
                <a:gd name="connsiteX726" fmla="*/ 112543 w 180519"/>
                <a:gd name="connsiteY726" fmla="*/ 168109 h 248214"/>
                <a:gd name="connsiteX727" fmla="*/ 111697 w 180519"/>
                <a:gd name="connsiteY727" fmla="*/ 169237 h 248214"/>
                <a:gd name="connsiteX728" fmla="*/ 112261 w 180519"/>
                <a:gd name="connsiteY728" fmla="*/ 170365 h 248214"/>
                <a:gd name="connsiteX729" fmla="*/ 110850 w 180519"/>
                <a:gd name="connsiteY729" fmla="*/ 170929 h 248214"/>
                <a:gd name="connsiteX730" fmla="*/ 110568 w 180519"/>
                <a:gd name="connsiteY730" fmla="*/ 171211 h 248214"/>
                <a:gd name="connsiteX731" fmla="*/ 110568 w 180519"/>
                <a:gd name="connsiteY731" fmla="*/ 171775 h 248214"/>
                <a:gd name="connsiteX732" fmla="*/ 110850 w 180519"/>
                <a:gd name="connsiteY732" fmla="*/ 172622 h 248214"/>
                <a:gd name="connsiteX733" fmla="*/ 109440 w 180519"/>
                <a:gd name="connsiteY733" fmla="*/ 174032 h 248214"/>
                <a:gd name="connsiteX734" fmla="*/ 109440 w 180519"/>
                <a:gd name="connsiteY734" fmla="*/ 174596 h 248214"/>
                <a:gd name="connsiteX735" fmla="*/ 110568 w 180519"/>
                <a:gd name="connsiteY735" fmla="*/ 174596 h 248214"/>
                <a:gd name="connsiteX736" fmla="*/ 111133 w 180519"/>
                <a:gd name="connsiteY736" fmla="*/ 174314 h 248214"/>
                <a:gd name="connsiteX737" fmla="*/ 111697 w 180519"/>
                <a:gd name="connsiteY737" fmla="*/ 174596 h 248214"/>
                <a:gd name="connsiteX738" fmla="*/ 111414 w 180519"/>
                <a:gd name="connsiteY738" fmla="*/ 175160 h 248214"/>
                <a:gd name="connsiteX739" fmla="*/ 111133 w 180519"/>
                <a:gd name="connsiteY739" fmla="*/ 175724 h 248214"/>
                <a:gd name="connsiteX740" fmla="*/ 110568 w 180519"/>
                <a:gd name="connsiteY740" fmla="*/ 177699 h 248214"/>
                <a:gd name="connsiteX741" fmla="*/ 110568 w 180519"/>
                <a:gd name="connsiteY741" fmla="*/ 178545 h 248214"/>
                <a:gd name="connsiteX742" fmla="*/ 110850 w 180519"/>
                <a:gd name="connsiteY742" fmla="*/ 179109 h 248214"/>
                <a:gd name="connsiteX743" fmla="*/ 110568 w 180519"/>
                <a:gd name="connsiteY743" fmla="*/ 179955 h 248214"/>
                <a:gd name="connsiteX744" fmla="*/ 110286 w 180519"/>
                <a:gd name="connsiteY744" fmla="*/ 180237 h 248214"/>
                <a:gd name="connsiteX745" fmla="*/ 110286 w 180519"/>
                <a:gd name="connsiteY745" fmla="*/ 180519 h 248214"/>
                <a:gd name="connsiteX746" fmla="*/ 109722 w 180519"/>
                <a:gd name="connsiteY746" fmla="*/ 181083 h 248214"/>
                <a:gd name="connsiteX747" fmla="*/ 109158 w 180519"/>
                <a:gd name="connsiteY747" fmla="*/ 182212 h 248214"/>
                <a:gd name="connsiteX748" fmla="*/ 108876 w 180519"/>
                <a:gd name="connsiteY748" fmla="*/ 183058 h 248214"/>
                <a:gd name="connsiteX749" fmla="*/ 106902 w 180519"/>
                <a:gd name="connsiteY749" fmla="*/ 183904 h 248214"/>
                <a:gd name="connsiteX750" fmla="*/ 106902 w 180519"/>
                <a:gd name="connsiteY750" fmla="*/ 184750 h 248214"/>
                <a:gd name="connsiteX751" fmla="*/ 104927 w 180519"/>
                <a:gd name="connsiteY751" fmla="*/ 186725 h 248214"/>
                <a:gd name="connsiteX752" fmla="*/ 105209 w 180519"/>
                <a:gd name="connsiteY752" fmla="*/ 186725 h 248214"/>
                <a:gd name="connsiteX753" fmla="*/ 105773 w 180519"/>
                <a:gd name="connsiteY753" fmla="*/ 187571 h 248214"/>
                <a:gd name="connsiteX754" fmla="*/ 105773 w 180519"/>
                <a:gd name="connsiteY754" fmla="*/ 187853 h 248214"/>
                <a:gd name="connsiteX755" fmla="*/ 105491 w 180519"/>
                <a:gd name="connsiteY755" fmla="*/ 188981 h 248214"/>
                <a:gd name="connsiteX756" fmla="*/ 105209 w 180519"/>
                <a:gd name="connsiteY756" fmla="*/ 189545 h 248214"/>
                <a:gd name="connsiteX757" fmla="*/ 104363 w 180519"/>
                <a:gd name="connsiteY757" fmla="*/ 190956 h 248214"/>
                <a:gd name="connsiteX758" fmla="*/ 104927 w 180519"/>
                <a:gd name="connsiteY758" fmla="*/ 191238 h 248214"/>
                <a:gd name="connsiteX759" fmla="*/ 103516 w 180519"/>
                <a:gd name="connsiteY759" fmla="*/ 192366 h 248214"/>
                <a:gd name="connsiteX760" fmla="*/ 102952 w 180519"/>
                <a:gd name="connsiteY760" fmla="*/ 192084 h 248214"/>
                <a:gd name="connsiteX761" fmla="*/ 102671 w 180519"/>
                <a:gd name="connsiteY761" fmla="*/ 190956 h 248214"/>
                <a:gd name="connsiteX762" fmla="*/ 103235 w 180519"/>
                <a:gd name="connsiteY762" fmla="*/ 190673 h 248214"/>
                <a:gd name="connsiteX763" fmla="*/ 103799 w 180519"/>
                <a:gd name="connsiteY763" fmla="*/ 189827 h 248214"/>
                <a:gd name="connsiteX764" fmla="*/ 103516 w 180519"/>
                <a:gd name="connsiteY764" fmla="*/ 189545 h 248214"/>
                <a:gd name="connsiteX765" fmla="*/ 101542 w 180519"/>
                <a:gd name="connsiteY765" fmla="*/ 190673 h 248214"/>
                <a:gd name="connsiteX766" fmla="*/ 101542 w 180519"/>
                <a:gd name="connsiteY766" fmla="*/ 190956 h 248214"/>
                <a:gd name="connsiteX767" fmla="*/ 100696 w 180519"/>
                <a:gd name="connsiteY767" fmla="*/ 192930 h 248214"/>
                <a:gd name="connsiteX768" fmla="*/ 100696 w 180519"/>
                <a:gd name="connsiteY768" fmla="*/ 193212 h 248214"/>
                <a:gd name="connsiteX769" fmla="*/ 100132 w 180519"/>
                <a:gd name="connsiteY769" fmla="*/ 194340 h 248214"/>
                <a:gd name="connsiteX770" fmla="*/ 100132 w 180519"/>
                <a:gd name="connsiteY770" fmla="*/ 195469 h 248214"/>
                <a:gd name="connsiteX771" fmla="*/ 100696 w 180519"/>
                <a:gd name="connsiteY771" fmla="*/ 195751 h 248214"/>
                <a:gd name="connsiteX772" fmla="*/ 100132 w 180519"/>
                <a:gd name="connsiteY772" fmla="*/ 196315 h 248214"/>
                <a:gd name="connsiteX773" fmla="*/ 99850 w 180519"/>
                <a:gd name="connsiteY773" fmla="*/ 198007 h 248214"/>
                <a:gd name="connsiteX774" fmla="*/ 99850 w 180519"/>
                <a:gd name="connsiteY774" fmla="*/ 199417 h 248214"/>
                <a:gd name="connsiteX775" fmla="*/ 99004 w 180519"/>
                <a:gd name="connsiteY775" fmla="*/ 200264 h 248214"/>
                <a:gd name="connsiteX776" fmla="*/ 99004 w 180519"/>
                <a:gd name="connsiteY776" fmla="*/ 201392 h 248214"/>
                <a:gd name="connsiteX777" fmla="*/ 98440 w 180519"/>
                <a:gd name="connsiteY777" fmla="*/ 202520 h 248214"/>
                <a:gd name="connsiteX778" fmla="*/ 97875 w 180519"/>
                <a:gd name="connsiteY778" fmla="*/ 202520 h 248214"/>
                <a:gd name="connsiteX779" fmla="*/ 97030 w 180519"/>
                <a:gd name="connsiteY779" fmla="*/ 202802 h 248214"/>
                <a:gd name="connsiteX780" fmla="*/ 96747 w 180519"/>
                <a:gd name="connsiteY780" fmla="*/ 203366 h 248214"/>
                <a:gd name="connsiteX781" fmla="*/ 97594 w 180519"/>
                <a:gd name="connsiteY781" fmla="*/ 203930 h 248214"/>
                <a:gd name="connsiteX782" fmla="*/ 97030 w 180519"/>
                <a:gd name="connsiteY782" fmla="*/ 204777 h 248214"/>
                <a:gd name="connsiteX783" fmla="*/ 95055 w 180519"/>
                <a:gd name="connsiteY783" fmla="*/ 205623 h 248214"/>
                <a:gd name="connsiteX784" fmla="*/ 94491 w 180519"/>
                <a:gd name="connsiteY784" fmla="*/ 205905 h 248214"/>
                <a:gd name="connsiteX785" fmla="*/ 94209 w 180519"/>
                <a:gd name="connsiteY785" fmla="*/ 206469 h 248214"/>
                <a:gd name="connsiteX786" fmla="*/ 94209 w 180519"/>
                <a:gd name="connsiteY786" fmla="*/ 207597 h 248214"/>
                <a:gd name="connsiteX787" fmla="*/ 93363 w 180519"/>
                <a:gd name="connsiteY787" fmla="*/ 209007 h 248214"/>
                <a:gd name="connsiteX788" fmla="*/ 92799 w 180519"/>
                <a:gd name="connsiteY788" fmla="*/ 209572 h 248214"/>
                <a:gd name="connsiteX789" fmla="*/ 92799 w 180519"/>
                <a:gd name="connsiteY789" fmla="*/ 210136 h 248214"/>
                <a:gd name="connsiteX790" fmla="*/ 92516 w 180519"/>
                <a:gd name="connsiteY790" fmla="*/ 210700 h 248214"/>
                <a:gd name="connsiteX791" fmla="*/ 91670 w 180519"/>
                <a:gd name="connsiteY791" fmla="*/ 210418 h 248214"/>
                <a:gd name="connsiteX792" fmla="*/ 91670 w 180519"/>
                <a:gd name="connsiteY792" fmla="*/ 210136 h 248214"/>
                <a:gd name="connsiteX793" fmla="*/ 91388 w 180519"/>
                <a:gd name="connsiteY793" fmla="*/ 210418 h 248214"/>
                <a:gd name="connsiteX794" fmla="*/ 90542 w 180519"/>
                <a:gd name="connsiteY794" fmla="*/ 210982 h 248214"/>
                <a:gd name="connsiteX795" fmla="*/ 90260 w 180519"/>
                <a:gd name="connsiteY795" fmla="*/ 211546 h 248214"/>
                <a:gd name="connsiteX796" fmla="*/ 90260 w 180519"/>
                <a:gd name="connsiteY796" fmla="*/ 212110 h 248214"/>
                <a:gd name="connsiteX797" fmla="*/ 90542 w 180519"/>
                <a:gd name="connsiteY797" fmla="*/ 212392 h 248214"/>
                <a:gd name="connsiteX798" fmla="*/ 91670 w 180519"/>
                <a:gd name="connsiteY798" fmla="*/ 211264 h 248214"/>
                <a:gd name="connsiteX799" fmla="*/ 91952 w 180519"/>
                <a:gd name="connsiteY799" fmla="*/ 210982 h 248214"/>
                <a:gd name="connsiteX800" fmla="*/ 92516 w 180519"/>
                <a:gd name="connsiteY800" fmla="*/ 211264 h 248214"/>
                <a:gd name="connsiteX801" fmla="*/ 93080 w 180519"/>
                <a:gd name="connsiteY801" fmla="*/ 212110 h 248214"/>
                <a:gd name="connsiteX802" fmla="*/ 94209 w 180519"/>
                <a:gd name="connsiteY802" fmla="*/ 212674 h 248214"/>
                <a:gd name="connsiteX803" fmla="*/ 95055 w 180519"/>
                <a:gd name="connsiteY803" fmla="*/ 212674 h 248214"/>
                <a:gd name="connsiteX804" fmla="*/ 94773 w 180519"/>
                <a:gd name="connsiteY804" fmla="*/ 212392 h 248214"/>
                <a:gd name="connsiteX805" fmla="*/ 94773 w 180519"/>
                <a:gd name="connsiteY805" fmla="*/ 211264 h 248214"/>
                <a:gd name="connsiteX806" fmla="*/ 95337 w 180519"/>
                <a:gd name="connsiteY806" fmla="*/ 210982 h 248214"/>
                <a:gd name="connsiteX807" fmla="*/ 95337 w 180519"/>
                <a:gd name="connsiteY807" fmla="*/ 211264 h 248214"/>
                <a:gd name="connsiteX808" fmla="*/ 95619 w 180519"/>
                <a:gd name="connsiteY808" fmla="*/ 213238 h 248214"/>
                <a:gd name="connsiteX809" fmla="*/ 95619 w 180519"/>
                <a:gd name="connsiteY809" fmla="*/ 213803 h 248214"/>
                <a:gd name="connsiteX810" fmla="*/ 94209 w 180519"/>
                <a:gd name="connsiteY810" fmla="*/ 214931 h 248214"/>
                <a:gd name="connsiteX811" fmla="*/ 93080 w 180519"/>
                <a:gd name="connsiteY811" fmla="*/ 215777 h 248214"/>
                <a:gd name="connsiteX812" fmla="*/ 91952 w 180519"/>
                <a:gd name="connsiteY812" fmla="*/ 215213 h 248214"/>
                <a:gd name="connsiteX813" fmla="*/ 91388 w 180519"/>
                <a:gd name="connsiteY813" fmla="*/ 214931 h 248214"/>
                <a:gd name="connsiteX814" fmla="*/ 90824 w 180519"/>
                <a:gd name="connsiteY814" fmla="*/ 215495 h 248214"/>
                <a:gd name="connsiteX815" fmla="*/ 89978 w 180519"/>
                <a:gd name="connsiteY815" fmla="*/ 216059 h 248214"/>
                <a:gd name="connsiteX816" fmla="*/ 89413 w 180519"/>
                <a:gd name="connsiteY816" fmla="*/ 216341 h 248214"/>
                <a:gd name="connsiteX817" fmla="*/ 90260 w 180519"/>
                <a:gd name="connsiteY817" fmla="*/ 217187 h 248214"/>
                <a:gd name="connsiteX818" fmla="*/ 90260 w 180519"/>
                <a:gd name="connsiteY818" fmla="*/ 217751 h 248214"/>
                <a:gd name="connsiteX819" fmla="*/ 90824 w 180519"/>
                <a:gd name="connsiteY819" fmla="*/ 218315 h 248214"/>
                <a:gd name="connsiteX820" fmla="*/ 91106 w 180519"/>
                <a:gd name="connsiteY820" fmla="*/ 218880 h 248214"/>
                <a:gd name="connsiteX821" fmla="*/ 90260 w 180519"/>
                <a:gd name="connsiteY821" fmla="*/ 219444 h 248214"/>
                <a:gd name="connsiteX822" fmla="*/ 88285 w 180519"/>
                <a:gd name="connsiteY822" fmla="*/ 221418 h 248214"/>
                <a:gd name="connsiteX823" fmla="*/ 87721 w 180519"/>
                <a:gd name="connsiteY823" fmla="*/ 221982 h 248214"/>
                <a:gd name="connsiteX824" fmla="*/ 88285 w 180519"/>
                <a:gd name="connsiteY824" fmla="*/ 222828 h 248214"/>
                <a:gd name="connsiteX825" fmla="*/ 88568 w 180519"/>
                <a:gd name="connsiteY825" fmla="*/ 222546 h 248214"/>
                <a:gd name="connsiteX826" fmla="*/ 89132 w 180519"/>
                <a:gd name="connsiteY826" fmla="*/ 222264 h 248214"/>
                <a:gd name="connsiteX827" fmla="*/ 89132 w 180519"/>
                <a:gd name="connsiteY827" fmla="*/ 222546 h 248214"/>
                <a:gd name="connsiteX828" fmla="*/ 89413 w 180519"/>
                <a:gd name="connsiteY828" fmla="*/ 222546 h 248214"/>
                <a:gd name="connsiteX829" fmla="*/ 89132 w 180519"/>
                <a:gd name="connsiteY829" fmla="*/ 222828 h 248214"/>
                <a:gd name="connsiteX830" fmla="*/ 88849 w 180519"/>
                <a:gd name="connsiteY830" fmla="*/ 223393 h 248214"/>
                <a:gd name="connsiteX831" fmla="*/ 89132 w 180519"/>
                <a:gd name="connsiteY831" fmla="*/ 223675 h 248214"/>
                <a:gd name="connsiteX832" fmla="*/ 88849 w 180519"/>
                <a:gd name="connsiteY832" fmla="*/ 223957 h 248214"/>
                <a:gd name="connsiteX833" fmla="*/ 88285 w 180519"/>
                <a:gd name="connsiteY833" fmla="*/ 224803 h 248214"/>
                <a:gd name="connsiteX834" fmla="*/ 87721 w 180519"/>
                <a:gd name="connsiteY834" fmla="*/ 225085 h 248214"/>
                <a:gd name="connsiteX835" fmla="*/ 86875 w 180519"/>
                <a:gd name="connsiteY835" fmla="*/ 226495 h 248214"/>
                <a:gd name="connsiteX836" fmla="*/ 86875 w 180519"/>
                <a:gd name="connsiteY836" fmla="*/ 227059 h 248214"/>
                <a:gd name="connsiteX837" fmla="*/ 85747 w 180519"/>
                <a:gd name="connsiteY837" fmla="*/ 228752 h 248214"/>
                <a:gd name="connsiteX838" fmla="*/ 85747 w 180519"/>
                <a:gd name="connsiteY838" fmla="*/ 230162 h 248214"/>
                <a:gd name="connsiteX839" fmla="*/ 84618 w 180519"/>
                <a:gd name="connsiteY839" fmla="*/ 231572 h 248214"/>
                <a:gd name="connsiteX840" fmla="*/ 83772 w 180519"/>
                <a:gd name="connsiteY840" fmla="*/ 232983 h 248214"/>
                <a:gd name="connsiteX841" fmla="*/ 83208 w 180519"/>
                <a:gd name="connsiteY841" fmla="*/ 233547 h 248214"/>
                <a:gd name="connsiteX842" fmla="*/ 82926 w 180519"/>
                <a:gd name="connsiteY842" fmla="*/ 234111 h 248214"/>
                <a:gd name="connsiteX843" fmla="*/ 82926 w 180519"/>
                <a:gd name="connsiteY843" fmla="*/ 234675 h 248214"/>
                <a:gd name="connsiteX844" fmla="*/ 81234 w 180519"/>
                <a:gd name="connsiteY844" fmla="*/ 235803 h 248214"/>
                <a:gd name="connsiteX845" fmla="*/ 80952 w 180519"/>
                <a:gd name="connsiteY845" fmla="*/ 236367 h 248214"/>
                <a:gd name="connsiteX846" fmla="*/ 81516 w 180519"/>
                <a:gd name="connsiteY846" fmla="*/ 236932 h 248214"/>
                <a:gd name="connsiteX847" fmla="*/ 81798 w 180519"/>
                <a:gd name="connsiteY847" fmla="*/ 237496 h 248214"/>
                <a:gd name="connsiteX848" fmla="*/ 81516 w 180519"/>
                <a:gd name="connsiteY848" fmla="*/ 237778 h 248214"/>
                <a:gd name="connsiteX849" fmla="*/ 80952 w 180519"/>
                <a:gd name="connsiteY849" fmla="*/ 238624 h 248214"/>
                <a:gd name="connsiteX850" fmla="*/ 81234 w 180519"/>
                <a:gd name="connsiteY850" fmla="*/ 239188 h 248214"/>
                <a:gd name="connsiteX851" fmla="*/ 81516 w 180519"/>
                <a:gd name="connsiteY851" fmla="*/ 239752 h 248214"/>
                <a:gd name="connsiteX852" fmla="*/ 81516 w 180519"/>
                <a:gd name="connsiteY852" fmla="*/ 240034 h 248214"/>
                <a:gd name="connsiteX853" fmla="*/ 81234 w 180519"/>
                <a:gd name="connsiteY853" fmla="*/ 240316 h 248214"/>
                <a:gd name="connsiteX854" fmla="*/ 80388 w 180519"/>
                <a:gd name="connsiteY854" fmla="*/ 240316 h 248214"/>
                <a:gd name="connsiteX855" fmla="*/ 79824 w 180519"/>
                <a:gd name="connsiteY855" fmla="*/ 240880 h 248214"/>
                <a:gd name="connsiteX856" fmla="*/ 78413 w 180519"/>
                <a:gd name="connsiteY856" fmla="*/ 242855 h 248214"/>
                <a:gd name="connsiteX857" fmla="*/ 77285 w 180519"/>
                <a:gd name="connsiteY857" fmla="*/ 243983 h 248214"/>
                <a:gd name="connsiteX858" fmla="*/ 77003 w 180519"/>
                <a:gd name="connsiteY858" fmla="*/ 244547 h 248214"/>
                <a:gd name="connsiteX859" fmla="*/ 75875 w 180519"/>
                <a:gd name="connsiteY859" fmla="*/ 244547 h 248214"/>
                <a:gd name="connsiteX860" fmla="*/ 74746 w 180519"/>
                <a:gd name="connsiteY860" fmla="*/ 245111 h 248214"/>
                <a:gd name="connsiteX861" fmla="*/ 73900 w 180519"/>
                <a:gd name="connsiteY861" fmla="*/ 245675 h 248214"/>
                <a:gd name="connsiteX862" fmla="*/ 73618 w 180519"/>
                <a:gd name="connsiteY862" fmla="*/ 245958 h 248214"/>
                <a:gd name="connsiteX863" fmla="*/ 73336 w 180519"/>
                <a:gd name="connsiteY863" fmla="*/ 246522 h 248214"/>
                <a:gd name="connsiteX864" fmla="*/ 72490 w 180519"/>
                <a:gd name="connsiteY864" fmla="*/ 246240 h 248214"/>
                <a:gd name="connsiteX865" fmla="*/ 69951 w 180519"/>
                <a:gd name="connsiteY865" fmla="*/ 249342 h 248214"/>
                <a:gd name="connsiteX866" fmla="*/ 69387 w 180519"/>
                <a:gd name="connsiteY866" fmla="*/ 249906 h 248214"/>
                <a:gd name="connsiteX867" fmla="*/ 66848 w 180519"/>
                <a:gd name="connsiteY867" fmla="*/ 249906 h 248214"/>
                <a:gd name="connsiteX868" fmla="*/ 66003 w 180519"/>
                <a:gd name="connsiteY868" fmla="*/ 249342 h 248214"/>
                <a:gd name="connsiteX869" fmla="*/ 64028 w 180519"/>
                <a:gd name="connsiteY869" fmla="*/ 249624 h 248214"/>
                <a:gd name="connsiteX870" fmla="*/ 62900 w 180519"/>
                <a:gd name="connsiteY870" fmla="*/ 249342 h 248214"/>
                <a:gd name="connsiteX871" fmla="*/ 61772 w 180519"/>
                <a:gd name="connsiteY871" fmla="*/ 249624 h 248214"/>
                <a:gd name="connsiteX872" fmla="*/ 60926 w 180519"/>
                <a:gd name="connsiteY872" fmla="*/ 249906 h 248214"/>
                <a:gd name="connsiteX873" fmla="*/ 56976 w 180519"/>
                <a:gd name="connsiteY873" fmla="*/ 247650 h 248214"/>
                <a:gd name="connsiteX874" fmla="*/ 56131 w 180519"/>
                <a:gd name="connsiteY874" fmla="*/ 247932 h 248214"/>
                <a:gd name="connsiteX875" fmla="*/ 55566 w 180519"/>
                <a:gd name="connsiteY875" fmla="*/ 248214 h 248214"/>
                <a:gd name="connsiteX876" fmla="*/ 54720 w 180519"/>
                <a:gd name="connsiteY876" fmla="*/ 247932 h 248214"/>
                <a:gd name="connsiteX877" fmla="*/ 52745 w 180519"/>
                <a:gd name="connsiteY877" fmla="*/ 246240 h 248214"/>
                <a:gd name="connsiteX878" fmla="*/ 51053 w 180519"/>
                <a:gd name="connsiteY878" fmla="*/ 245675 h 248214"/>
                <a:gd name="connsiteX879" fmla="*/ 50489 w 180519"/>
                <a:gd name="connsiteY879" fmla="*/ 244829 h 248214"/>
                <a:gd name="connsiteX880" fmla="*/ 49643 w 180519"/>
                <a:gd name="connsiteY880" fmla="*/ 243983 h 248214"/>
                <a:gd name="connsiteX881" fmla="*/ 48233 w 180519"/>
                <a:gd name="connsiteY881" fmla="*/ 243137 h 248214"/>
                <a:gd name="connsiteX882" fmla="*/ 47950 w 180519"/>
                <a:gd name="connsiteY882" fmla="*/ 242573 h 248214"/>
                <a:gd name="connsiteX883" fmla="*/ 48514 w 180519"/>
                <a:gd name="connsiteY883" fmla="*/ 242291 h 248214"/>
                <a:gd name="connsiteX884" fmla="*/ 48797 w 180519"/>
                <a:gd name="connsiteY884" fmla="*/ 242291 h 248214"/>
                <a:gd name="connsiteX885" fmla="*/ 48514 w 180519"/>
                <a:gd name="connsiteY885" fmla="*/ 242009 h 248214"/>
                <a:gd name="connsiteX886" fmla="*/ 48514 w 180519"/>
                <a:gd name="connsiteY886" fmla="*/ 241162 h 248214"/>
                <a:gd name="connsiteX887" fmla="*/ 48233 w 180519"/>
                <a:gd name="connsiteY887" fmla="*/ 240880 h 248214"/>
                <a:gd name="connsiteX888" fmla="*/ 47104 w 180519"/>
                <a:gd name="connsiteY888" fmla="*/ 240316 h 248214"/>
                <a:gd name="connsiteX889" fmla="*/ 47386 w 180519"/>
                <a:gd name="connsiteY889" fmla="*/ 240034 h 248214"/>
                <a:gd name="connsiteX890" fmla="*/ 47669 w 180519"/>
                <a:gd name="connsiteY890" fmla="*/ 239752 h 248214"/>
                <a:gd name="connsiteX891" fmla="*/ 47669 w 180519"/>
                <a:gd name="connsiteY891" fmla="*/ 239470 h 248214"/>
                <a:gd name="connsiteX892" fmla="*/ 47386 w 180519"/>
                <a:gd name="connsiteY892" fmla="*/ 238906 h 248214"/>
                <a:gd name="connsiteX893" fmla="*/ 47104 w 180519"/>
                <a:gd name="connsiteY893" fmla="*/ 238624 h 248214"/>
                <a:gd name="connsiteX894" fmla="*/ 47386 w 180519"/>
                <a:gd name="connsiteY894" fmla="*/ 237778 h 248214"/>
                <a:gd name="connsiteX895" fmla="*/ 46822 w 180519"/>
                <a:gd name="connsiteY895" fmla="*/ 237214 h 248214"/>
                <a:gd name="connsiteX896" fmla="*/ 46822 w 180519"/>
                <a:gd name="connsiteY896" fmla="*/ 236932 h 248214"/>
                <a:gd name="connsiteX897" fmla="*/ 46540 w 180519"/>
                <a:gd name="connsiteY897" fmla="*/ 236085 h 248214"/>
                <a:gd name="connsiteX898" fmla="*/ 46259 w 180519"/>
                <a:gd name="connsiteY898" fmla="*/ 234675 h 248214"/>
                <a:gd name="connsiteX899" fmla="*/ 45976 w 180519"/>
                <a:gd name="connsiteY899" fmla="*/ 233547 h 248214"/>
                <a:gd name="connsiteX900" fmla="*/ 44848 w 180519"/>
                <a:gd name="connsiteY900" fmla="*/ 233265 h 248214"/>
                <a:gd name="connsiteX901" fmla="*/ 44284 w 180519"/>
                <a:gd name="connsiteY901" fmla="*/ 233265 h 248214"/>
                <a:gd name="connsiteX902" fmla="*/ 43720 w 180519"/>
                <a:gd name="connsiteY902" fmla="*/ 232983 h 248214"/>
                <a:gd name="connsiteX903" fmla="*/ 43720 w 180519"/>
                <a:gd name="connsiteY903" fmla="*/ 232137 h 248214"/>
                <a:gd name="connsiteX904" fmla="*/ 44002 w 180519"/>
                <a:gd name="connsiteY904" fmla="*/ 231854 h 248214"/>
                <a:gd name="connsiteX905" fmla="*/ 44566 w 180519"/>
                <a:gd name="connsiteY905" fmla="*/ 231008 h 248214"/>
                <a:gd name="connsiteX906" fmla="*/ 44566 w 180519"/>
                <a:gd name="connsiteY906" fmla="*/ 230162 h 248214"/>
                <a:gd name="connsiteX907" fmla="*/ 44284 w 180519"/>
                <a:gd name="connsiteY907" fmla="*/ 227906 h 248214"/>
                <a:gd name="connsiteX908" fmla="*/ 43720 w 180519"/>
                <a:gd name="connsiteY908" fmla="*/ 226777 h 248214"/>
                <a:gd name="connsiteX909" fmla="*/ 43720 w 180519"/>
                <a:gd name="connsiteY909" fmla="*/ 226495 h 248214"/>
                <a:gd name="connsiteX910" fmla="*/ 43438 w 180519"/>
                <a:gd name="connsiteY910" fmla="*/ 226213 h 248214"/>
                <a:gd name="connsiteX911" fmla="*/ 43438 w 180519"/>
                <a:gd name="connsiteY911" fmla="*/ 226495 h 248214"/>
                <a:gd name="connsiteX912" fmla="*/ 42873 w 180519"/>
                <a:gd name="connsiteY912" fmla="*/ 226495 h 248214"/>
                <a:gd name="connsiteX913" fmla="*/ 42873 w 180519"/>
                <a:gd name="connsiteY913" fmla="*/ 225649 h 248214"/>
                <a:gd name="connsiteX914" fmla="*/ 42592 w 180519"/>
                <a:gd name="connsiteY914" fmla="*/ 225085 h 248214"/>
                <a:gd name="connsiteX915" fmla="*/ 42309 w 180519"/>
                <a:gd name="connsiteY915" fmla="*/ 224803 h 248214"/>
                <a:gd name="connsiteX916" fmla="*/ 43156 w 180519"/>
                <a:gd name="connsiteY916" fmla="*/ 223957 h 248214"/>
                <a:gd name="connsiteX917" fmla="*/ 42873 w 180519"/>
                <a:gd name="connsiteY917" fmla="*/ 223111 h 248214"/>
                <a:gd name="connsiteX918" fmla="*/ 42309 w 180519"/>
                <a:gd name="connsiteY918" fmla="*/ 222828 h 248214"/>
                <a:gd name="connsiteX919" fmla="*/ 42309 w 180519"/>
                <a:gd name="connsiteY919" fmla="*/ 220854 h 248214"/>
                <a:gd name="connsiteX920" fmla="*/ 42592 w 180519"/>
                <a:gd name="connsiteY920" fmla="*/ 218880 h 248214"/>
                <a:gd name="connsiteX921" fmla="*/ 43156 w 180519"/>
                <a:gd name="connsiteY921" fmla="*/ 218880 h 248214"/>
                <a:gd name="connsiteX922" fmla="*/ 43720 w 180519"/>
                <a:gd name="connsiteY922" fmla="*/ 218315 h 248214"/>
                <a:gd name="connsiteX923" fmla="*/ 43438 w 180519"/>
                <a:gd name="connsiteY923" fmla="*/ 216623 h 248214"/>
                <a:gd name="connsiteX924" fmla="*/ 43156 w 180519"/>
                <a:gd name="connsiteY924" fmla="*/ 216059 h 248214"/>
                <a:gd name="connsiteX925" fmla="*/ 43156 w 180519"/>
                <a:gd name="connsiteY925" fmla="*/ 215495 h 248214"/>
                <a:gd name="connsiteX926" fmla="*/ 43438 w 180519"/>
                <a:gd name="connsiteY926" fmla="*/ 214367 h 248214"/>
                <a:gd name="connsiteX927" fmla="*/ 43156 w 180519"/>
                <a:gd name="connsiteY927" fmla="*/ 212956 h 248214"/>
                <a:gd name="connsiteX928" fmla="*/ 43438 w 180519"/>
                <a:gd name="connsiteY928" fmla="*/ 212674 h 248214"/>
                <a:gd name="connsiteX929" fmla="*/ 42028 w 180519"/>
                <a:gd name="connsiteY929" fmla="*/ 211264 h 248214"/>
                <a:gd name="connsiteX930" fmla="*/ 42309 w 180519"/>
                <a:gd name="connsiteY930" fmla="*/ 210700 h 248214"/>
                <a:gd name="connsiteX931" fmla="*/ 41463 w 180519"/>
                <a:gd name="connsiteY931" fmla="*/ 210136 h 248214"/>
                <a:gd name="connsiteX932" fmla="*/ 41745 w 180519"/>
                <a:gd name="connsiteY932" fmla="*/ 209854 h 248214"/>
                <a:gd name="connsiteX933" fmla="*/ 43156 w 180519"/>
                <a:gd name="connsiteY933" fmla="*/ 208725 h 248214"/>
                <a:gd name="connsiteX934" fmla="*/ 42309 w 180519"/>
                <a:gd name="connsiteY934" fmla="*/ 207033 h 248214"/>
                <a:gd name="connsiteX935" fmla="*/ 42028 w 180519"/>
                <a:gd name="connsiteY935" fmla="*/ 206751 h 248214"/>
                <a:gd name="connsiteX936" fmla="*/ 42309 w 180519"/>
                <a:gd name="connsiteY936" fmla="*/ 206187 h 248214"/>
                <a:gd name="connsiteX937" fmla="*/ 41745 w 180519"/>
                <a:gd name="connsiteY937" fmla="*/ 205905 h 248214"/>
                <a:gd name="connsiteX938" fmla="*/ 41745 w 180519"/>
                <a:gd name="connsiteY938" fmla="*/ 205341 h 248214"/>
                <a:gd name="connsiteX939" fmla="*/ 41463 w 180519"/>
                <a:gd name="connsiteY939" fmla="*/ 203084 h 248214"/>
                <a:gd name="connsiteX940" fmla="*/ 41463 w 180519"/>
                <a:gd name="connsiteY940" fmla="*/ 201110 h 248214"/>
                <a:gd name="connsiteX941" fmla="*/ 41745 w 180519"/>
                <a:gd name="connsiteY941" fmla="*/ 199982 h 248214"/>
                <a:gd name="connsiteX942" fmla="*/ 42873 w 180519"/>
                <a:gd name="connsiteY942" fmla="*/ 199699 h 248214"/>
                <a:gd name="connsiteX943" fmla="*/ 42028 w 180519"/>
                <a:gd name="connsiteY943" fmla="*/ 198571 h 248214"/>
                <a:gd name="connsiteX944" fmla="*/ 41745 w 180519"/>
                <a:gd name="connsiteY944" fmla="*/ 198007 h 248214"/>
                <a:gd name="connsiteX945" fmla="*/ 42592 w 180519"/>
                <a:gd name="connsiteY945" fmla="*/ 196879 h 248214"/>
                <a:gd name="connsiteX946" fmla="*/ 42309 w 180519"/>
                <a:gd name="connsiteY946" fmla="*/ 195751 h 248214"/>
                <a:gd name="connsiteX947" fmla="*/ 42309 w 180519"/>
                <a:gd name="connsiteY947" fmla="*/ 194058 h 248214"/>
                <a:gd name="connsiteX948" fmla="*/ 43438 w 180519"/>
                <a:gd name="connsiteY948" fmla="*/ 192366 h 248214"/>
                <a:gd name="connsiteX949" fmla="*/ 43156 w 180519"/>
                <a:gd name="connsiteY949" fmla="*/ 192084 h 248214"/>
                <a:gd name="connsiteX950" fmla="*/ 43156 w 180519"/>
                <a:gd name="connsiteY950" fmla="*/ 190673 h 248214"/>
                <a:gd name="connsiteX951" fmla="*/ 42873 w 180519"/>
                <a:gd name="connsiteY951" fmla="*/ 190391 h 248214"/>
                <a:gd name="connsiteX952" fmla="*/ 43156 w 180519"/>
                <a:gd name="connsiteY952" fmla="*/ 189827 h 248214"/>
                <a:gd name="connsiteX953" fmla="*/ 44002 w 180519"/>
                <a:gd name="connsiteY953" fmla="*/ 188981 h 248214"/>
                <a:gd name="connsiteX954" fmla="*/ 43720 w 180519"/>
                <a:gd name="connsiteY954" fmla="*/ 187289 h 248214"/>
                <a:gd name="connsiteX955" fmla="*/ 44002 w 180519"/>
                <a:gd name="connsiteY955" fmla="*/ 186443 h 248214"/>
                <a:gd name="connsiteX956" fmla="*/ 43720 w 180519"/>
                <a:gd name="connsiteY956" fmla="*/ 185314 h 248214"/>
                <a:gd name="connsiteX957" fmla="*/ 43720 w 180519"/>
                <a:gd name="connsiteY957" fmla="*/ 184750 h 248214"/>
                <a:gd name="connsiteX958" fmla="*/ 44566 w 180519"/>
                <a:gd name="connsiteY958" fmla="*/ 183622 h 248214"/>
                <a:gd name="connsiteX959" fmla="*/ 44566 w 180519"/>
                <a:gd name="connsiteY959" fmla="*/ 180519 h 248214"/>
                <a:gd name="connsiteX960" fmla="*/ 44848 w 180519"/>
                <a:gd name="connsiteY960" fmla="*/ 180237 h 248214"/>
                <a:gd name="connsiteX961" fmla="*/ 44284 w 180519"/>
                <a:gd name="connsiteY961" fmla="*/ 179109 h 248214"/>
                <a:gd name="connsiteX962" fmla="*/ 44284 w 180519"/>
                <a:gd name="connsiteY962" fmla="*/ 178545 h 248214"/>
                <a:gd name="connsiteX963" fmla="*/ 45130 w 180519"/>
                <a:gd name="connsiteY963" fmla="*/ 177135 h 248214"/>
                <a:gd name="connsiteX964" fmla="*/ 44848 w 180519"/>
                <a:gd name="connsiteY964" fmla="*/ 176288 h 248214"/>
                <a:gd name="connsiteX965" fmla="*/ 44566 w 180519"/>
                <a:gd name="connsiteY965" fmla="*/ 175724 h 248214"/>
                <a:gd name="connsiteX966" fmla="*/ 44848 w 180519"/>
                <a:gd name="connsiteY966" fmla="*/ 175442 h 248214"/>
                <a:gd name="connsiteX967" fmla="*/ 45130 w 180519"/>
                <a:gd name="connsiteY967" fmla="*/ 175160 h 248214"/>
                <a:gd name="connsiteX968" fmla="*/ 44566 w 180519"/>
                <a:gd name="connsiteY968" fmla="*/ 174596 h 248214"/>
                <a:gd name="connsiteX969" fmla="*/ 44002 w 180519"/>
                <a:gd name="connsiteY969" fmla="*/ 173750 h 248214"/>
                <a:gd name="connsiteX970" fmla="*/ 44002 w 180519"/>
                <a:gd name="connsiteY970" fmla="*/ 172340 h 248214"/>
                <a:gd name="connsiteX971" fmla="*/ 44284 w 180519"/>
                <a:gd name="connsiteY971" fmla="*/ 170929 h 248214"/>
                <a:gd name="connsiteX972" fmla="*/ 44566 w 180519"/>
                <a:gd name="connsiteY972" fmla="*/ 170365 h 248214"/>
                <a:gd name="connsiteX973" fmla="*/ 44284 w 180519"/>
                <a:gd name="connsiteY973" fmla="*/ 169519 h 248214"/>
                <a:gd name="connsiteX974" fmla="*/ 45130 w 180519"/>
                <a:gd name="connsiteY974" fmla="*/ 168673 h 248214"/>
                <a:gd name="connsiteX975" fmla="*/ 45412 w 180519"/>
                <a:gd name="connsiteY975" fmla="*/ 168391 h 248214"/>
                <a:gd name="connsiteX976" fmla="*/ 45412 w 180519"/>
                <a:gd name="connsiteY976" fmla="*/ 167262 h 248214"/>
                <a:gd name="connsiteX977" fmla="*/ 45130 w 180519"/>
                <a:gd name="connsiteY977" fmla="*/ 166980 h 248214"/>
                <a:gd name="connsiteX978" fmla="*/ 45412 w 180519"/>
                <a:gd name="connsiteY978" fmla="*/ 166698 h 248214"/>
                <a:gd name="connsiteX979" fmla="*/ 46259 w 180519"/>
                <a:gd name="connsiteY979" fmla="*/ 165288 h 248214"/>
                <a:gd name="connsiteX980" fmla="*/ 45412 w 180519"/>
                <a:gd name="connsiteY980" fmla="*/ 163878 h 248214"/>
                <a:gd name="connsiteX981" fmla="*/ 45976 w 180519"/>
                <a:gd name="connsiteY981" fmla="*/ 162749 h 248214"/>
                <a:gd name="connsiteX982" fmla="*/ 45976 w 180519"/>
                <a:gd name="connsiteY982" fmla="*/ 162185 h 248214"/>
                <a:gd name="connsiteX983" fmla="*/ 46540 w 180519"/>
                <a:gd name="connsiteY983" fmla="*/ 161339 h 248214"/>
                <a:gd name="connsiteX984" fmla="*/ 46822 w 180519"/>
                <a:gd name="connsiteY984" fmla="*/ 159929 h 248214"/>
                <a:gd name="connsiteX985" fmla="*/ 46822 w 180519"/>
                <a:gd name="connsiteY985" fmla="*/ 159083 h 248214"/>
                <a:gd name="connsiteX986" fmla="*/ 46822 w 180519"/>
                <a:gd name="connsiteY986" fmla="*/ 158801 h 248214"/>
                <a:gd name="connsiteX987" fmla="*/ 46540 w 180519"/>
                <a:gd name="connsiteY987" fmla="*/ 158801 h 248214"/>
                <a:gd name="connsiteX988" fmla="*/ 46540 w 180519"/>
                <a:gd name="connsiteY988" fmla="*/ 157954 h 248214"/>
                <a:gd name="connsiteX989" fmla="*/ 46822 w 180519"/>
                <a:gd name="connsiteY989" fmla="*/ 157672 h 248214"/>
                <a:gd name="connsiteX990" fmla="*/ 47950 w 180519"/>
                <a:gd name="connsiteY990" fmla="*/ 156262 h 248214"/>
                <a:gd name="connsiteX991" fmla="*/ 47669 w 180519"/>
                <a:gd name="connsiteY991" fmla="*/ 155416 h 248214"/>
                <a:gd name="connsiteX992" fmla="*/ 48233 w 180519"/>
                <a:gd name="connsiteY992" fmla="*/ 154288 h 248214"/>
                <a:gd name="connsiteX993" fmla="*/ 48233 w 180519"/>
                <a:gd name="connsiteY993" fmla="*/ 154006 h 248214"/>
                <a:gd name="connsiteX994" fmla="*/ 47669 w 180519"/>
                <a:gd name="connsiteY994" fmla="*/ 152877 h 248214"/>
                <a:gd name="connsiteX995" fmla="*/ 47669 w 180519"/>
                <a:gd name="connsiteY995" fmla="*/ 151749 h 248214"/>
                <a:gd name="connsiteX996" fmla="*/ 47950 w 180519"/>
                <a:gd name="connsiteY996" fmla="*/ 151185 h 248214"/>
                <a:gd name="connsiteX997" fmla="*/ 48233 w 180519"/>
                <a:gd name="connsiteY997" fmla="*/ 150903 h 248214"/>
                <a:gd name="connsiteX998" fmla="*/ 48514 w 180519"/>
                <a:gd name="connsiteY998" fmla="*/ 150903 h 248214"/>
                <a:gd name="connsiteX999" fmla="*/ 48797 w 180519"/>
                <a:gd name="connsiteY999" fmla="*/ 150621 h 248214"/>
                <a:gd name="connsiteX1000" fmla="*/ 48514 w 180519"/>
                <a:gd name="connsiteY1000" fmla="*/ 150057 h 248214"/>
                <a:gd name="connsiteX1001" fmla="*/ 48233 w 180519"/>
                <a:gd name="connsiteY1001" fmla="*/ 149493 h 248214"/>
                <a:gd name="connsiteX1002" fmla="*/ 48233 w 180519"/>
                <a:gd name="connsiteY1002" fmla="*/ 149210 h 248214"/>
                <a:gd name="connsiteX1003" fmla="*/ 48797 w 180519"/>
                <a:gd name="connsiteY1003" fmla="*/ 148082 h 248214"/>
                <a:gd name="connsiteX1004" fmla="*/ 48797 w 180519"/>
                <a:gd name="connsiteY1004" fmla="*/ 147800 h 248214"/>
                <a:gd name="connsiteX1005" fmla="*/ 49079 w 180519"/>
                <a:gd name="connsiteY1005" fmla="*/ 147236 h 248214"/>
                <a:gd name="connsiteX1006" fmla="*/ 48797 w 180519"/>
                <a:gd name="connsiteY1006" fmla="*/ 146390 h 248214"/>
                <a:gd name="connsiteX1007" fmla="*/ 48233 w 180519"/>
                <a:gd name="connsiteY1007" fmla="*/ 145544 h 248214"/>
                <a:gd name="connsiteX1008" fmla="*/ 48797 w 180519"/>
                <a:gd name="connsiteY1008" fmla="*/ 144980 h 248214"/>
                <a:gd name="connsiteX1009" fmla="*/ 50771 w 180519"/>
                <a:gd name="connsiteY1009" fmla="*/ 143287 h 248214"/>
                <a:gd name="connsiteX1010" fmla="*/ 50771 w 180519"/>
                <a:gd name="connsiteY1010" fmla="*/ 142441 h 248214"/>
                <a:gd name="connsiteX1011" fmla="*/ 50489 w 180519"/>
                <a:gd name="connsiteY1011" fmla="*/ 141313 h 248214"/>
                <a:gd name="connsiteX1012" fmla="*/ 50489 w 180519"/>
                <a:gd name="connsiteY1012" fmla="*/ 140185 h 248214"/>
                <a:gd name="connsiteX1013" fmla="*/ 51053 w 180519"/>
                <a:gd name="connsiteY1013" fmla="*/ 137646 h 248214"/>
                <a:gd name="connsiteX1014" fmla="*/ 50771 w 180519"/>
                <a:gd name="connsiteY1014" fmla="*/ 136800 h 248214"/>
                <a:gd name="connsiteX1015" fmla="*/ 51053 w 180519"/>
                <a:gd name="connsiteY1015" fmla="*/ 135954 h 248214"/>
                <a:gd name="connsiteX1016" fmla="*/ 51335 w 180519"/>
                <a:gd name="connsiteY1016" fmla="*/ 134825 h 248214"/>
                <a:gd name="connsiteX1017" fmla="*/ 51335 w 180519"/>
                <a:gd name="connsiteY1017" fmla="*/ 132851 h 248214"/>
                <a:gd name="connsiteX1018" fmla="*/ 51900 w 180519"/>
                <a:gd name="connsiteY1018" fmla="*/ 132569 h 248214"/>
                <a:gd name="connsiteX1019" fmla="*/ 51900 w 180519"/>
                <a:gd name="connsiteY1019" fmla="*/ 131159 h 248214"/>
                <a:gd name="connsiteX1020" fmla="*/ 52181 w 180519"/>
                <a:gd name="connsiteY1020" fmla="*/ 129748 h 248214"/>
                <a:gd name="connsiteX1021" fmla="*/ 51617 w 180519"/>
                <a:gd name="connsiteY1021" fmla="*/ 129466 h 248214"/>
                <a:gd name="connsiteX1022" fmla="*/ 52464 w 180519"/>
                <a:gd name="connsiteY1022" fmla="*/ 128056 h 248214"/>
                <a:gd name="connsiteX1023" fmla="*/ 52745 w 180519"/>
                <a:gd name="connsiteY1023" fmla="*/ 127492 h 248214"/>
                <a:gd name="connsiteX1024" fmla="*/ 52464 w 180519"/>
                <a:gd name="connsiteY1024" fmla="*/ 126363 h 248214"/>
                <a:gd name="connsiteX1025" fmla="*/ 53310 w 180519"/>
                <a:gd name="connsiteY1025" fmla="*/ 125235 h 248214"/>
                <a:gd name="connsiteX1026" fmla="*/ 53592 w 180519"/>
                <a:gd name="connsiteY1026" fmla="*/ 124671 h 248214"/>
                <a:gd name="connsiteX1027" fmla="*/ 53310 w 180519"/>
                <a:gd name="connsiteY1027" fmla="*/ 123543 h 248214"/>
                <a:gd name="connsiteX1028" fmla="*/ 54438 w 180519"/>
                <a:gd name="connsiteY1028" fmla="*/ 122133 h 248214"/>
                <a:gd name="connsiteX1029" fmla="*/ 54156 w 180519"/>
                <a:gd name="connsiteY1029" fmla="*/ 121568 h 248214"/>
                <a:gd name="connsiteX1030" fmla="*/ 54438 w 180519"/>
                <a:gd name="connsiteY1030" fmla="*/ 120158 h 248214"/>
                <a:gd name="connsiteX1031" fmla="*/ 54720 w 180519"/>
                <a:gd name="connsiteY1031" fmla="*/ 119312 h 248214"/>
                <a:gd name="connsiteX1032" fmla="*/ 55566 w 180519"/>
                <a:gd name="connsiteY1032" fmla="*/ 118466 h 248214"/>
                <a:gd name="connsiteX1033" fmla="*/ 55566 w 180519"/>
                <a:gd name="connsiteY1033" fmla="*/ 116209 h 248214"/>
                <a:gd name="connsiteX1034" fmla="*/ 54720 w 180519"/>
                <a:gd name="connsiteY1034" fmla="*/ 115363 h 248214"/>
                <a:gd name="connsiteX1035" fmla="*/ 55284 w 180519"/>
                <a:gd name="connsiteY1035" fmla="*/ 114235 h 248214"/>
                <a:gd name="connsiteX1036" fmla="*/ 56412 w 180519"/>
                <a:gd name="connsiteY1036" fmla="*/ 112542 h 248214"/>
                <a:gd name="connsiteX1037" fmla="*/ 56412 w 180519"/>
                <a:gd name="connsiteY1037" fmla="*/ 110850 h 248214"/>
                <a:gd name="connsiteX1038" fmla="*/ 56976 w 180519"/>
                <a:gd name="connsiteY1038" fmla="*/ 110286 h 248214"/>
                <a:gd name="connsiteX1039" fmla="*/ 56976 w 180519"/>
                <a:gd name="connsiteY1039" fmla="*/ 109722 h 248214"/>
                <a:gd name="connsiteX1040" fmla="*/ 57259 w 180519"/>
                <a:gd name="connsiteY1040" fmla="*/ 109440 h 248214"/>
                <a:gd name="connsiteX1041" fmla="*/ 57259 w 180519"/>
                <a:gd name="connsiteY1041" fmla="*/ 109158 h 248214"/>
                <a:gd name="connsiteX1042" fmla="*/ 57823 w 180519"/>
                <a:gd name="connsiteY1042" fmla="*/ 107747 h 248214"/>
                <a:gd name="connsiteX1043" fmla="*/ 57823 w 180519"/>
                <a:gd name="connsiteY1043" fmla="*/ 105491 h 248214"/>
                <a:gd name="connsiteX1044" fmla="*/ 58105 w 180519"/>
                <a:gd name="connsiteY1044" fmla="*/ 104927 h 248214"/>
                <a:gd name="connsiteX1045" fmla="*/ 58105 w 180519"/>
                <a:gd name="connsiteY1045" fmla="*/ 103517 h 248214"/>
                <a:gd name="connsiteX1046" fmla="*/ 58951 w 180519"/>
                <a:gd name="connsiteY1046" fmla="*/ 101824 h 248214"/>
                <a:gd name="connsiteX1047" fmla="*/ 58669 w 180519"/>
                <a:gd name="connsiteY1047" fmla="*/ 101260 h 248214"/>
                <a:gd name="connsiteX1048" fmla="*/ 59515 w 180519"/>
                <a:gd name="connsiteY1048" fmla="*/ 99850 h 248214"/>
                <a:gd name="connsiteX1049" fmla="*/ 59233 w 180519"/>
                <a:gd name="connsiteY1049" fmla="*/ 99286 h 248214"/>
                <a:gd name="connsiteX1050" fmla="*/ 59233 w 180519"/>
                <a:gd name="connsiteY1050" fmla="*/ 98721 h 248214"/>
                <a:gd name="connsiteX1051" fmla="*/ 59797 w 180519"/>
                <a:gd name="connsiteY1051" fmla="*/ 96747 h 248214"/>
                <a:gd name="connsiteX1052" fmla="*/ 60079 w 180519"/>
                <a:gd name="connsiteY1052" fmla="*/ 96183 h 248214"/>
                <a:gd name="connsiteX1053" fmla="*/ 64592 w 180519"/>
                <a:gd name="connsiteY1053" fmla="*/ 77849 h 248214"/>
                <a:gd name="connsiteX1054" fmla="*/ 65720 w 180519"/>
                <a:gd name="connsiteY1054" fmla="*/ 76721 h 248214"/>
                <a:gd name="connsiteX1055" fmla="*/ 65720 w 180519"/>
                <a:gd name="connsiteY1055" fmla="*/ 76439 h 248214"/>
                <a:gd name="connsiteX1056" fmla="*/ 65156 w 180519"/>
                <a:gd name="connsiteY1056" fmla="*/ 75028 h 248214"/>
                <a:gd name="connsiteX1057" fmla="*/ 64592 w 180519"/>
                <a:gd name="connsiteY1057" fmla="*/ 74464 h 248214"/>
                <a:gd name="connsiteX1058" fmla="*/ 65720 w 180519"/>
                <a:gd name="connsiteY1058" fmla="*/ 74182 h 248214"/>
                <a:gd name="connsiteX1059" fmla="*/ 66848 w 180519"/>
                <a:gd name="connsiteY1059" fmla="*/ 73054 h 248214"/>
                <a:gd name="connsiteX1060" fmla="*/ 66567 w 180519"/>
                <a:gd name="connsiteY1060" fmla="*/ 71926 h 248214"/>
                <a:gd name="connsiteX1061" fmla="*/ 67131 w 180519"/>
                <a:gd name="connsiteY1061" fmla="*/ 71079 h 248214"/>
                <a:gd name="connsiteX1062" fmla="*/ 70798 w 180519"/>
                <a:gd name="connsiteY1062" fmla="*/ 58669 h 248214"/>
                <a:gd name="connsiteX1063" fmla="*/ 69105 w 180519"/>
                <a:gd name="connsiteY1063" fmla="*/ 58669 h 248214"/>
                <a:gd name="connsiteX1064" fmla="*/ 67977 w 180519"/>
                <a:gd name="connsiteY1064" fmla="*/ 59233 h 248214"/>
                <a:gd name="connsiteX1065" fmla="*/ 63182 w 180519"/>
                <a:gd name="connsiteY1065" fmla="*/ 60643 h 248214"/>
                <a:gd name="connsiteX1066" fmla="*/ 62618 w 180519"/>
                <a:gd name="connsiteY1066" fmla="*/ 60643 h 248214"/>
                <a:gd name="connsiteX1067" fmla="*/ 61207 w 180519"/>
                <a:gd name="connsiteY1067" fmla="*/ 59797 h 248214"/>
                <a:gd name="connsiteX1068" fmla="*/ 60362 w 180519"/>
                <a:gd name="connsiteY1068" fmla="*/ 59797 h 248214"/>
                <a:gd name="connsiteX1069" fmla="*/ 58951 w 180519"/>
                <a:gd name="connsiteY1069" fmla="*/ 60079 h 248214"/>
                <a:gd name="connsiteX1070" fmla="*/ 58105 w 180519"/>
                <a:gd name="connsiteY1070" fmla="*/ 60925 h 248214"/>
                <a:gd name="connsiteX1071" fmla="*/ 56695 w 180519"/>
                <a:gd name="connsiteY1071" fmla="*/ 60925 h 248214"/>
                <a:gd name="connsiteX1072" fmla="*/ 55566 w 180519"/>
                <a:gd name="connsiteY1072" fmla="*/ 61207 h 248214"/>
                <a:gd name="connsiteX1073" fmla="*/ 54720 w 180519"/>
                <a:gd name="connsiteY1073" fmla="*/ 61771 h 248214"/>
                <a:gd name="connsiteX1074" fmla="*/ 54156 w 180519"/>
                <a:gd name="connsiteY1074" fmla="*/ 61771 h 248214"/>
                <a:gd name="connsiteX1075" fmla="*/ 51053 w 180519"/>
                <a:gd name="connsiteY1075" fmla="*/ 62618 h 248214"/>
                <a:gd name="connsiteX1076" fmla="*/ 47386 w 180519"/>
                <a:gd name="connsiteY1076" fmla="*/ 63182 h 248214"/>
                <a:gd name="connsiteX1077" fmla="*/ 46540 w 180519"/>
                <a:gd name="connsiteY1077" fmla="*/ 63182 h 248214"/>
                <a:gd name="connsiteX1078" fmla="*/ 45130 w 180519"/>
                <a:gd name="connsiteY1078" fmla="*/ 63746 h 248214"/>
                <a:gd name="connsiteX1079" fmla="*/ 44566 w 180519"/>
                <a:gd name="connsiteY1079" fmla="*/ 64028 h 248214"/>
                <a:gd name="connsiteX1080" fmla="*/ 44284 w 180519"/>
                <a:gd name="connsiteY1080" fmla="*/ 63746 h 248214"/>
                <a:gd name="connsiteX1081" fmla="*/ 44284 w 180519"/>
                <a:gd name="connsiteY1081" fmla="*/ 63464 h 248214"/>
                <a:gd name="connsiteX1082" fmla="*/ 44566 w 180519"/>
                <a:gd name="connsiteY1082" fmla="*/ 63182 h 248214"/>
                <a:gd name="connsiteX1083" fmla="*/ 44284 w 180519"/>
                <a:gd name="connsiteY1083" fmla="*/ 63182 h 248214"/>
                <a:gd name="connsiteX1084" fmla="*/ 44284 w 180519"/>
                <a:gd name="connsiteY1084" fmla="*/ 62618 h 248214"/>
                <a:gd name="connsiteX1085" fmla="*/ 43438 w 180519"/>
                <a:gd name="connsiteY1085" fmla="*/ 62900 h 248214"/>
                <a:gd name="connsiteX1086" fmla="*/ 43438 w 180519"/>
                <a:gd name="connsiteY1086" fmla="*/ 63182 h 248214"/>
                <a:gd name="connsiteX1087" fmla="*/ 44002 w 180519"/>
                <a:gd name="connsiteY1087" fmla="*/ 63464 h 248214"/>
                <a:gd name="connsiteX1088" fmla="*/ 42873 w 180519"/>
                <a:gd name="connsiteY1088" fmla="*/ 64310 h 248214"/>
                <a:gd name="connsiteX1089" fmla="*/ 42592 w 180519"/>
                <a:gd name="connsiteY1089" fmla="*/ 64310 h 248214"/>
                <a:gd name="connsiteX1090" fmla="*/ 42309 w 180519"/>
                <a:gd name="connsiteY1090" fmla="*/ 64592 h 248214"/>
                <a:gd name="connsiteX1091" fmla="*/ 42028 w 180519"/>
                <a:gd name="connsiteY1091" fmla="*/ 64592 h 248214"/>
                <a:gd name="connsiteX1092" fmla="*/ 41463 w 180519"/>
                <a:gd name="connsiteY1092" fmla="*/ 64310 h 248214"/>
                <a:gd name="connsiteX1093" fmla="*/ 41745 w 180519"/>
                <a:gd name="connsiteY1093" fmla="*/ 64028 h 248214"/>
                <a:gd name="connsiteX1094" fmla="*/ 41463 w 180519"/>
                <a:gd name="connsiteY1094" fmla="*/ 64028 h 248214"/>
                <a:gd name="connsiteX1095" fmla="*/ 40899 w 180519"/>
                <a:gd name="connsiteY1095" fmla="*/ 63746 h 248214"/>
                <a:gd name="connsiteX1096" fmla="*/ 40899 w 180519"/>
                <a:gd name="connsiteY1096" fmla="*/ 64028 h 248214"/>
                <a:gd name="connsiteX1097" fmla="*/ 39771 w 180519"/>
                <a:gd name="connsiteY1097" fmla="*/ 65438 h 248214"/>
                <a:gd name="connsiteX1098" fmla="*/ 38925 w 180519"/>
                <a:gd name="connsiteY1098" fmla="*/ 65720 h 248214"/>
                <a:gd name="connsiteX1099" fmla="*/ 38361 w 180519"/>
                <a:gd name="connsiteY1099" fmla="*/ 64874 h 248214"/>
                <a:gd name="connsiteX1100" fmla="*/ 36668 w 180519"/>
                <a:gd name="connsiteY1100" fmla="*/ 65720 h 248214"/>
                <a:gd name="connsiteX1101" fmla="*/ 34130 w 180519"/>
                <a:gd name="connsiteY1101" fmla="*/ 66284 h 248214"/>
                <a:gd name="connsiteX1102" fmla="*/ 33001 w 180519"/>
                <a:gd name="connsiteY1102" fmla="*/ 66284 h 248214"/>
                <a:gd name="connsiteX1103" fmla="*/ 32437 w 180519"/>
                <a:gd name="connsiteY1103" fmla="*/ 66849 h 248214"/>
                <a:gd name="connsiteX1104" fmla="*/ 31873 w 180519"/>
                <a:gd name="connsiteY1104" fmla="*/ 66566 h 248214"/>
                <a:gd name="connsiteX1105" fmla="*/ 30463 w 180519"/>
                <a:gd name="connsiteY1105" fmla="*/ 67131 h 248214"/>
                <a:gd name="connsiteX1106" fmla="*/ 27078 w 180519"/>
                <a:gd name="connsiteY1106" fmla="*/ 67977 h 248214"/>
                <a:gd name="connsiteX1107" fmla="*/ 26514 w 180519"/>
                <a:gd name="connsiteY1107" fmla="*/ 67977 h 248214"/>
                <a:gd name="connsiteX1108" fmla="*/ 25104 w 180519"/>
                <a:gd name="connsiteY1108" fmla="*/ 69105 h 248214"/>
                <a:gd name="connsiteX1109" fmla="*/ 23411 w 180519"/>
                <a:gd name="connsiteY1109" fmla="*/ 69105 h 248214"/>
                <a:gd name="connsiteX1110" fmla="*/ 22565 w 180519"/>
                <a:gd name="connsiteY1110" fmla="*/ 68823 h 248214"/>
                <a:gd name="connsiteX1111" fmla="*/ 21719 w 180519"/>
                <a:gd name="connsiteY1111" fmla="*/ 69105 h 248214"/>
                <a:gd name="connsiteX1112" fmla="*/ 19744 w 180519"/>
                <a:gd name="connsiteY1112" fmla="*/ 70515 h 248214"/>
                <a:gd name="connsiteX1113" fmla="*/ 18616 w 180519"/>
                <a:gd name="connsiteY1113" fmla="*/ 70797 h 248214"/>
                <a:gd name="connsiteX1114" fmla="*/ 18052 w 180519"/>
                <a:gd name="connsiteY1114" fmla="*/ 70515 h 248214"/>
                <a:gd name="connsiteX1115" fmla="*/ 16360 w 180519"/>
                <a:gd name="connsiteY1115" fmla="*/ 70515 h 248214"/>
                <a:gd name="connsiteX1116" fmla="*/ 13257 w 180519"/>
                <a:gd name="connsiteY1116" fmla="*/ 72208 h 248214"/>
                <a:gd name="connsiteX1117" fmla="*/ 11001 w 180519"/>
                <a:gd name="connsiteY1117" fmla="*/ 72208 h 248214"/>
                <a:gd name="connsiteX1118" fmla="*/ 2821 w 180519"/>
                <a:gd name="connsiteY1118" fmla="*/ 74746 h 248214"/>
                <a:gd name="connsiteX1119" fmla="*/ 1410 w 180519"/>
                <a:gd name="connsiteY1119" fmla="*/ 75592 h 248214"/>
                <a:gd name="connsiteX1120" fmla="*/ 282 w 180519"/>
                <a:gd name="connsiteY1120" fmla="*/ 76157 h 248214"/>
                <a:gd name="connsiteX1121" fmla="*/ 0 w 180519"/>
                <a:gd name="connsiteY1121" fmla="*/ 75028 h 248214"/>
                <a:gd name="connsiteX1122" fmla="*/ 7898 w 180519"/>
                <a:gd name="connsiteY1122" fmla="*/ 62900 h 248214"/>
                <a:gd name="connsiteX1123" fmla="*/ 8744 w 180519"/>
                <a:gd name="connsiteY1123" fmla="*/ 62900 h 248214"/>
                <a:gd name="connsiteX1124" fmla="*/ 8744 w 180519"/>
                <a:gd name="connsiteY1124" fmla="*/ 63182 h 248214"/>
                <a:gd name="connsiteX1125" fmla="*/ 9872 w 180519"/>
                <a:gd name="connsiteY1125" fmla="*/ 63182 h 248214"/>
                <a:gd name="connsiteX1126" fmla="*/ 9308 w 180519"/>
                <a:gd name="connsiteY1126" fmla="*/ 64028 h 248214"/>
                <a:gd name="connsiteX1127" fmla="*/ 8744 w 180519"/>
                <a:gd name="connsiteY1127" fmla="*/ 65156 h 248214"/>
                <a:gd name="connsiteX1128" fmla="*/ 8744 w 180519"/>
                <a:gd name="connsiteY1128" fmla="*/ 66566 h 248214"/>
                <a:gd name="connsiteX1129" fmla="*/ 9308 w 180519"/>
                <a:gd name="connsiteY1129" fmla="*/ 66566 h 248214"/>
                <a:gd name="connsiteX1130" fmla="*/ 9308 w 180519"/>
                <a:gd name="connsiteY1130" fmla="*/ 66002 h 248214"/>
                <a:gd name="connsiteX1131" fmla="*/ 11001 w 180519"/>
                <a:gd name="connsiteY1131" fmla="*/ 65156 h 248214"/>
                <a:gd name="connsiteX1132" fmla="*/ 11282 w 180519"/>
                <a:gd name="connsiteY1132" fmla="*/ 65156 h 248214"/>
                <a:gd name="connsiteX1133" fmla="*/ 11282 w 180519"/>
                <a:gd name="connsiteY1133" fmla="*/ 65438 h 248214"/>
                <a:gd name="connsiteX1134" fmla="*/ 11001 w 180519"/>
                <a:gd name="connsiteY1134" fmla="*/ 66002 h 248214"/>
                <a:gd name="connsiteX1135" fmla="*/ 11846 w 180519"/>
                <a:gd name="connsiteY1135" fmla="*/ 66284 h 248214"/>
                <a:gd name="connsiteX1136" fmla="*/ 12693 w 180519"/>
                <a:gd name="connsiteY1136" fmla="*/ 66002 h 248214"/>
                <a:gd name="connsiteX1137" fmla="*/ 13257 w 180519"/>
                <a:gd name="connsiteY1137" fmla="*/ 65720 h 248214"/>
                <a:gd name="connsiteX1138" fmla="*/ 13821 w 180519"/>
                <a:gd name="connsiteY1138" fmla="*/ 65720 h 248214"/>
                <a:gd name="connsiteX1139" fmla="*/ 14103 w 180519"/>
                <a:gd name="connsiteY1139" fmla="*/ 66002 h 248214"/>
                <a:gd name="connsiteX1140" fmla="*/ 15513 w 180519"/>
                <a:gd name="connsiteY1140" fmla="*/ 65438 h 248214"/>
                <a:gd name="connsiteX1141" fmla="*/ 16077 w 180519"/>
                <a:gd name="connsiteY1141" fmla="*/ 64874 h 248214"/>
                <a:gd name="connsiteX1142" fmla="*/ 16077 w 180519"/>
                <a:gd name="connsiteY1142" fmla="*/ 64028 h 248214"/>
                <a:gd name="connsiteX1143" fmla="*/ 15513 w 180519"/>
                <a:gd name="connsiteY1143" fmla="*/ 63746 h 248214"/>
                <a:gd name="connsiteX1144" fmla="*/ 15796 w 180519"/>
                <a:gd name="connsiteY1144" fmla="*/ 62618 h 248214"/>
                <a:gd name="connsiteX1145" fmla="*/ 14949 w 180519"/>
                <a:gd name="connsiteY1145" fmla="*/ 62336 h 248214"/>
                <a:gd name="connsiteX1146" fmla="*/ 17206 w 180519"/>
                <a:gd name="connsiteY1146" fmla="*/ 60643 h 248214"/>
                <a:gd name="connsiteX1147" fmla="*/ 21155 w 180519"/>
                <a:gd name="connsiteY1147" fmla="*/ 59515 h 248214"/>
                <a:gd name="connsiteX1148" fmla="*/ 23129 w 180519"/>
                <a:gd name="connsiteY1148" fmla="*/ 59233 h 248214"/>
                <a:gd name="connsiteX1149" fmla="*/ 25668 w 180519"/>
                <a:gd name="connsiteY1149" fmla="*/ 58951 h 248214"/>
                <a:gd name="connsiteX1150" fmla="*/ 26514 w 180519"/>
                <a:gd name="connsiteY1150" fmla="*/ 58951 h 248214"/>
                <a:gd name="connsiteX1151" fmla="*/ 30463 w 180519"/>
                <a:gd name="connsiteY1151" fmla="*/ 57258 h 248214"/>
                <a:gd name="connsiteX1152" fmla="*/ 33001 w 180519"/>
                <a:gd name="connsiteY1152" fmla="*/ 57258 h 248214"/>
                <a:gd name="connsiteX1153" fmla="*/ 34130 w 180519"/>
                <a:gd name="connsiteY1153" fmla="*/ 57541 h 248214"/>
                <a:gd name="connsiteX1154" fmla="*/ 34130 w 180519"/>
                <a:gd name="connsiteY1154" fmla="*/ 57823 h 248214"/>
                <a:gd name="connsiteX1155" fmla="*/ 33283 w 180519"/>
                <a:gd name="connsiteY1155" fmla="*/ 58669 h 248214"/>
                <a:gd name="connsiteX1156" fmla="*/ 31309 w 180519"/>
                <a:gd name="connsiteY1156" fmla="*/ 60079 h 248214"/>
                <a:gd name="connsiteX1157" fmla="*/ 30745 w 180519"/>
                <a:gd name="connsiteY1157" fmla="*/ 60643 h 248214"/>
                <a:gd name="connsiteX1158" fmla="*/ 29899 w 180519"/>
                <a:gd name="connsiteY1158" fmla="*/ 61207 h 248214"/>
                <a:gd name="connsiteX1159" fmla="*/ 29899 w 180519"/>
                <a:gd name="connsiteY1159" fmla="*/ 61489 h 248214"/>
                <a:gd name="connsiteX1160" fmla="*/ 31027 w 180519"/>
                <a:gd name="connsiteY1160" fmla="*/ 61489 h 248214"/>
                <a:gd name="connsiteX1161" fmla="*/ 31873 w 180519"/>
                <a:gd name="connsiteY1161" fmla="*/ 60925 h 248214"/>
                <a:gd name="connsiteX1162" fmla="*/ 32437 w 180519"/>
                <a:gd name="connsiteY1162" fmla="*/ 60079 h 248214"/>
                <a:gd name="connsiteX1163" fmla="*/ 33001 w 180519"/>
                <a:gd name="connsiteY1163" fmla="*/ 59797 h 248214"/>
                <a:gd name="connsiteX1164" fmla="*/ 33283 w 180519"/>
                <a:gd name="connsiteY1164" fmla="*/ 59797 h 248214"/>
                <a:gd name="connsiteX1165" fmla="*/ 33847 w 180519"/>
                <a:gd name="connsiteY1165" fmla="*/ 60925 h 248214"/>
                <a:gd name="connsiteX1166" fmla="*/ 34694 w 180519"/>
                <a:gd name="connsiteY1166" fmla="*/ 61207 h 248214"/>
                <a:gd name="connsiteX1167" fmla="*/ 36104 w 180519"/>
                <a:gd name="connsiteY1167" fmla="*/ 61207 h 248214"/>
                <a:gd name="connsiteX1168" fmla="*/ 37514 w 180519"/>
                <a:gd name="connsiteY1168" fmla="*/ 60643 h 248214"/>
                <a:gd name="connsiteX1169" fmla="*/ 38361 w 180519"/>
                <a:gd name="connsiteY1169" fmla="*/ 60643 h 248214"/>
                <a:gd name="connsiteX1170" fmla="*/ 38361 w 180519"/>
                <a:gd name="connsiteY1170" fmla="*/ 60361 h 248214"/>
                <a:gd name="connsiteX1171" fmla="*/ 39207 w 180519"/>
                <a:gd name="connsiteY1171" fmla="*/ 58669 h 248214"/>
                <a:gd name="connsiteX1172" fmla="*/ 40053 w 180519"/>
                <a:gd name="connsiteY1172" fmla="*/ 58387 h 248214"/>
                <a:gd name="connsiteX1173" fmla="*/ 39771 w 180519"/>
                <a:gd name="connsiteY1173" fmla="*/ 58951 h 248214"/>
                <a:gd name="connsiteX1174" fmla="*/ 39207 w 180519"/>
                <a:gd name="connsiteY1174" fmla="*/ 60361 h 248214"/>
                <a:gd name="connsiteX1175" fmla="*/ 39207 w 180519"/>
                <a:gd name="connsiteY1175" fmla="*/ 60925 h 248214"/>
                <a:gd name="connsiteX1176" fmla="*/ 39771 w 180519"/>
                <a:gd name="connsiteY1176" fmla="*/ 60925 h 248214"/>
                <a:gd name="connsiteX1177" fmla="*/ 41181 w 180519"/>
                <a:gd name="connsiteY1177" fmla="*/ 59515 h 248214"/>
                <a:gd name="connsiteX1178" fmla="*/ 40899 w 180519"/>
                <a:gd name="connsiteY1178" fmla="*/ 58669 h 248214"/>
                <a:gd name="connsiteX1179" fmla="*/ 40899 w 180519"/>
                <a:gd name="connsiteY1179" fmla="*/ 58387 h 248214"/>
                <a:gd name="connsiteX1180" fmla="*/ 41181 w 180519"/>
                <a:gd name="connsiteY1180" fmla="*/ 58105 h 248214"/>
                <a:gd name="connsiteX1181" fmla="*/ 42309 w 180519"/>
                <a:gd name="connsiteY1181" fmla="*/ 56694 h 248214"/>
                <a:gd name="connsiteX1182" fmla="*/ 40899 w 180519"/>
                <a:gd name="connsiteY1182" fmla="*/ 56412 h 248214"/>
                <a:gd name="connsiteX1183" fmla="*/ 40899 w 180519"/>
                <a:gd name="connsiteY1183" fmla="*/ 56130 h 248214"/>
                <a:gd name="connsiteX1184" fmla="*/ 40617 w 180519"/>
                <a:gd name="connsiteY1184" fmla="*/ 56130 h 248214"/>
                <a:gd name="connsiteX1185" fmla="*/ 39771 w 180519"/>
                <a:gd name="connsiteY1185" fmla="*/ 56412 h 248214"/>
                <a:gd name="connsiteX1186" fmla="*/ 38361 w 180519"/>
                <a:gd name="connsiteY1186" fmla="*/ 58105 h 248214"/>
                <a:gd name="connsiteX1187" fmla="*/ 38078 w 180519"/>
                <a:gd name="connsiteY1187" fmla="*/ 57258 h 248214"/>
                <a:gd name="connsiteX1188" fmla="*/ 36668 w 180519"/>
                <a:gd name="connsiteY1188" fmla="*/ 57258 h 248214"/>
                <a:gd name="connsiteX1189" fmla="*/ 18052 w 180519"/>
                <a:gd name="connsiteY1189" fmla="*/ 62053 h 248214"/>
                <a:gd name="connsiteX1190" fmla="*/ 16077 w 180519"/>
                <a:gd name="connsiteY1190" fmla="*/ 64028 h 248214"/>
                <a:gd name="connsiteX1191" fmla="*/ 18052 w 180519"/>
                <a:gd name="connsiteY1191" fmla="*/ 62336 h 248214"/>
                <a:gd name="connsiteX1192" fmla="*/ 18052 w 180519"/>
                <a:gd name="connsiteY1192" fmla="*/ 62053 h 248214"/>
                <a:gd name="connsiteX1193" fmla="*/ 17206 w 180519"/>
                <a:gd name="connsiteY1193" fmla="*/ 66849 h 248214"/>
                <a:gd name="connsiteX1194" fmla="*/ 16360 w 180519"/>
                <a:gd name="connsiteY1194" fmla="*/ 66849 h 248214"/>
                <a:gd name="connsiteX1195" fmla="*/ 16360 w 180519"/>
                <a:gd name="connsiteY1195" fmla="*/ 67977 h 248214"/>
                <a:gd name="connsiteX1196" fmla="*/ 16924 w 180519"/>
                <a:gd name="connsiteY1196" fmla="*/ 67413 h 248214"/>
                <a:gd name="connsiteX1197" fmla="*/ 17206 w 180519"/>
                <a:gd name="connsiteY1197" fmla="*/ 66849 h 248214"/>
                <a:gd name="connsiteX1198" fmla="*/ 20027 w 180519"/>
                <a:gd name="connsiteY1198" fmla="*/ 65720 h 248214"/>
                <a:gd name="connsiteX1199" fmla="*/ 20308 w 180519"/>
                <a:gd name="connsiteY1199" fmla="*/ 65720 h 248214"/>
                <a:gd name="connsiteX1200" fmla="*/ 20591 w 180519"/>
                <a:gd name="connsiteY1200" fmla="*/ 65156 h 248214"/>
                <a:gd name="connsiteX1201" fmla="*/ 21155 w 180519"/>
                <a:gd name="connsiteY1201" fmla="*/ 64592 h 248214"/>
                <a:gd name="connsiteX1202" fmla="*/ 21155 w 180519"/>
                <a:gd name="connsiteY1202" fmla="*/ 64310 h 248214"/>
                <a:gd name="connsiteX1203" fmla="*/ 20873 w 180519"/>
                <a:gd name="connsiteY1203" fmla="*/ 64310 h 248214"/>
                <a:gd name="connsiteX1204" fmla="*/ 19180 w 180519"/>
                <a:gd name="connsiteY1204" fmla="*/ 65156 h 248214"/>
                <a:gd name="connsiteX1205" fmla="*/ 20027 w 180519"/>
                <a:gd name="connsiteY1205" fmla="*/ 65720 h 248214"/>
                <a:gd name="connsiteX1206" fmla="*/ 28206 w 180519"/>
                <a:gd name="connsiteY1206" fmla="*/ 60079 h 248214"/>
                <a:gd name="connsiteX1207" fmla="*/ 26514 w 180519"/>
                <a:gd name="connsiteY1207" fmla="*/ 61489 h 248214"/>
                <a:gd name="connsiteX1208" fmla="*/ 26514 w 180519"/>
                <a:gd name="connsiteY1208" fmla="*/ 61771 h 248214"/>
                <a:gd name="connsiteX1209" fmla="*/ 27078 w 180519"/>
                <a:gd name="connsiteY1209" fmla="*/ 61771 h 248214"/>
                <a:gd name="connsiteX1210" fmla="*/ 27925 w 180519"/>
                <a:gd name="connsiteY1210" fmla="*/ 61207 h 248214"/>
                <a:gd name="connsiteX1211" fmla="*/ 28206 w 180519"/>
                <a:gd name="connsiteY1211" fmla="*/ 60361 h 248214"/>
                <a:gd name="connsiteX1212" fmla="*/ 28206 w 180519"/>
                <a:gd name="connsiteY1212" fmla="*/ 60079 h 248214"/>
                <a:gd name="connsiteX1213" fmla="*/ 38361 w 180519"/>
                <a:gd name="connsiteY1213" fmla="*/ 58669 h 248214"/>
                <a:gd name="connsiteX1214" fmla="*/ 38078 w 180519"/>
                <a:gd name="connsiteY1214" fmla="*/ 59233 h 248214"/>
                <a:gd name="connsiteX1215" fmla="*/ 37797 w 180519"/>
                <a:gd name="connsiteY1215" fmla="*/ 59515 h 248214"/>
                <a:gd name="connsiteX1216" fmla="*/ 37514 w 180519"/>
                <a:gd name="connsiteY1216" fmla="*/ 58951 h 248214"/>
                <a:gd name="connsiteX1217" fmla="*/ 38361 w 180519"/>
                <a:gd name="connsiteY1217" fmla="*/ 58387 h 248214"/>
                <a:gd name="connsiteX1218" fmla="*/ 38361 w 180519"/>
                <a:gd name="connsiteY1218" fmla="*/ 58669 h 248214"/>
                <a:gd name="connsiteX1219" fmla="*/ 45130 w 180519"/>
                <a:gd name="connsiteY1219" fmla="*/ 236649 h 248214"/>
                <a:gd name="connsiteX1220" fmla="*/ 44848 w 180519"/>
                <a:gd name="connsiteY1220" fmla="*/ 236367 h 248214"/>
                <a:gd name="connsiteX1221" fmla="*/ 45130 w 180519"/>
                <a:gd name="connsiteY1221" fmla="*/ 236085 h 248214"/>
                <a:gd name="connsiteX1222" fmla="*/ 45130 w 180519"/>
                <a:gd name="connsiteY1222" fmla="*/ 236649 h 248214"/>
                <a:gd name="connsiteX1223" fmla="*/ 59233 w 180519"/>
                <a:gd name="connsiteY1223" fmla="*/ 203366 h 248214"/>
                <a:gd name="connsiteX1224" fmla="*/ 60079 w 180519"/>
                <a:gd name="connsiteY1224" fmla="*/ 202520 h 248214"/>
                <a:gd name="connsiteX1225" fmla="*/ 59797 w 180519"/>
                <a:gd name="connsiteY1225" fmla="*/ 201674 h 248214"/>
                <a:gd name="connsiteX1226" fmla="*/ 60362 w 180519"/>
                <a:gd name="connsiteY1226" fmla="*/ 201110 h 248214"/>
                <a:gd name="connsiteX1227" fmla="*/ 59233 w 180519"/>
                <a:gd name="connsiteY1227" fmla="*/ 200264 h 248214"/>
                <a:gd name="connsiteX1228" fmla="*/ 59515 w 180519"/>
                <a:gd name="connsiteY1228" fmla="*/ 202520 h 248214"/>
                <a:gd name="connsiteX1229" fmla="*/ 58951 w 180519"/>
                <a:gd name="connsiteY1229" fmla="*/ 203084 h 248214"/>
                <a:gd name="connsiteX1230" fmla="*/ 58669 w 180519"/>
                <a:gd name="connsiteY1230" fmla="*/ 203084 h 248214"/>
                <a:gd name="connsiteX1231" fmla="*/ 58951 w 180519"/>
                <a:gd name="connsiteY1231" fmla="*/ 203366 h 248214"/>
                <a:gd name="connsiteX1232" fmla="*/ 59233 w 180519"/>
                <a:gd name="connsiteY1232" fmla="*/ 203366 h 248214"/>
                <a:gd name="connsiteX1233" fmla="*/ 59515 w 180519"/>
                <a:gd name="connsiteY1233" fmla="*/ 210700 h 248214"/>
                <a:gd name="connsiteX1234" fmla="*/ 59515 w 180519"/>
                <a:gd name="connsiteY1234" fmla="*/ 212392 h 248214"/>
                <a:gd name="connsiteX1235" fmla="*/ 60362 w 180519"/>
                <a:gd name="connsiteY1235" fmla="*/ 212674 h 248214"/>
                <a:gd name="connsiteX1236" fmla="*/ 60926 w 180519"/>
                <a:gd name="connsiteY1236" fmla="*/ 212674 h 248214"/>
                <a:gd name="connsiteX1237" fmla="*/ 60643 w 180519"/>
                <a:gd name="connsiteY1237" fmla="*/ 212392 h 248214"/>
                <a:gd name="connsiteX1238" fmla="*/ 60643 w 180519"/>
                <a:gd name="connsiteY1238" fmla="*/ 210700 h 248214"/>
                <a:gd name="connsiteX1239" fmla="*/ 59515 w 180519"/>
                <a:gd name="connsiteY1239" fmla="*/ 210700 h 248214"/>
                <a:gd name="connsiteX1240" fmla="*/ 59515 w 180519"/>
                <a:gd name="connsiteY1240" fmla="*/ 220008 h 248214"/>
                <a:gd name="connsiteX1241" fmla="*/ 59797 w 180519"/>
                <a:gd name="connsiteY1241" fmla="*/ 220854 h 248214"/>
                <a:gd name="connsiteX1242" fmla="*/ 60079 w 180519"/>
                <a:gd name="connsiteY1242" fmla="*/ 221136 h 248214"/>
                <a:gd name="connsiteX1243" fmla="*/ 60079 w 180519"/>
                <a:gd name="connsiteY1243" fmla="*/ 220854 h 248214"/>
                <a:gd name="connsiteX1244" fmla="*/ 60643 w 180519"/>
                <a:gd name="connsiteY1244" fmla="*/ 219726 h 248214"/>
                <a:gd name="connsiteX1245" fmla="*/ 59797 w 180519"/>
                <a:gd name="connsiteY1245" fmla="*/ 219162 h 248214"/>
                <a:gd name="connsiteX1246" fmla="*/ 59515 w 180519"/>
                <a:gd name="connsiteY1246" fmla="*/ 219726 h 248214"/>
                <a:gd name="connsiteX1247" fmla="*/ 59515 w 180519"/>
                <a:gd name="connsiteY1247" fmla="*/ 220008 h 248214"/>
                <a:gd name="connsiteX1248" fmla="*/ 59797 w 180519"/>
                <a:gd name="connsiteY1248" fmla="*/ 187007 h 248214"/>
                <a:gd name="connsiteX1249" fmla="*/ 60079 w 180519"/>
                <a:gd name="connsiteY1249" fmla="*/ 186725 h 248214"/>
                <a:gd name="connsiteX1250" fmla="*/ 62336 w 180519"/>
                <a:gd name="connsiteY1250" fmla="*/ 185878 h 248214"/>
                <a:gd name="connsiteX1251" fmla="*/ 62618 w 180519"/>
                <a:gd name="connsiteY1251" fmla="*/ 186725 h 248214"/>
                <a:gd name="connsiteX1252" fmla="*/ 60643 w 180519"/>
                <a:gd name="connsiteY1252" fmla="*/ 187289 h 248214"/>
                <a:gd name="connsiteX1253" fmla="*/ 59797 w 180519"/>
                <a:gd name="connsiteY1253" fmla="*/ 187007 h 248214"/>
                <a:gd name="connsiteX1254" fmla="*/ 60079 w 180519"/>
                <a:gd name="connsiteY1254" fmla="*/ 205059 h 248214"/>
                <a:gd name="connsiteX1255" fmla="*/ 59797 w 180519"/>
                <a:gd name="connsiteY1255" fmla="*/ 205341 h 248214"/>
                <a:gd name="connsiteX1256" fmla="*/ 60079 w 180519"/>
                <a:gd name="connsiteY1256" fmla="*/ 205623 h 248214"/>
                <a:gd name="connsiteX1257" fmla="*/ 60079 w 180519"/>
                <a:gd name="connsiteY1257" fmla="*/ 205059 h 248214"/>
                <a:gd name="connsiteX1258" fmla="*/ 60643 w 180519"/>
                <a:gd name="connsiteY1258" fmla="*/ 188417 h 248214"/>
                <a:gd name="connsiteX1259" fmla="*/ 60926 w 180519"/>
                <a:gd name="connsiteY1259" fmla="*/ 188135 h 248214"/>
                <a:gd name="connsiteX1260" fmla="*/ 61207 w 180519"/>
                <a:gd name="connsiteY1260" fmla="*/ 188417 h 248214"/>
                <a:gd name="connsiteX1261" fmla="*/ 60643 w 180519"/>
                <a:gd name="connsiteY1261" fmla="*/ 188417 h 248214"/>
                <a:gd name="connsiteX1262" fmla="*/ 61207 w 180519"/>
                <a:gd name="connsiteY1262" fmla="*/ 176288 h 248214"/>
                <a:gd name="connsiteX1263" fmla="*/ 60926 w 180519"/>
                <a:gd name="connsiteY1263" fmla="*/ 176006 h 248214"/>
                <a:gd name="connsiteX1264" fmla="*/ 61490 w 180519"/>
                <a:gd name="connsiteY1264" fmla="*/ 175724 h 248214"/>
                <a:gd name="connsiteX1265" fmla="*/ 62054 w 180519"/>
                <a:gd name="connsiteY1265" fmla="*/ 176006 h 248214"/>
                <a:gd name="connsiteX1266" fmla="*/ 61490 w 180519"/>
                <a:gd name="connsiteY1266" fmla="*/ 176288 h 248214"/>
                <a:gd name="connsiteX1267" fmla="*/ 61207 w 180519"/>
                <a:gd name="connsiteY1267" fmla="*/ 176288 h 248214"/>
                <a:gd name="connsiteX1268" fmla="*/ 61207 w 180519"/>
                <a:gd name="connsiteY1268" fmla="*/ 184750 h 248214"/>
                <a:gd name="connsiteX1269" fmla="*/ 61207 w 180519"/>
                <a:gd name="connsiteY1269" fmla="*/ 183904 h 248214"/>
                <a:gd name="connsiteX1270" fmla="*/ 62054 w 180519"/>
                <a:gd name="connsiteY1270" fmla="*/ 183340 h 248214"/>
                <a:gd name="connsiteX1271" fmla="*/ 62618 w 180519"/>
                <a:gd name="connsiteY1271" fmla="*/ 183622 h 248214"/>
                <a:gd name="connsiteX1272" fmla="*/ 62336 w 180519"/>
                <a:gd name="connsiteY1272" fmla="*/ 184186 h 248214"/>
                <a:gd name="connsiteX1273" fmla="*/ 61772 w 180519"/>
                <a:gd name="connsiteY1273" fmla="*/ 184750 h 248214"/>
                <a:gd name="connsiteX1274" fmla="*/ 61207 w 180519"/>
                <a:gd name="connsiteY1274" fmla="*/ 184750 h 248214"/>
                <a:gd name="connsiteX1275" fmla="*/ 62054 w 180519"/>
                <a:gd name="connsiteY1275" fmla="*/ 188981 h 248214"/>
                <a:gd name="connsiteX1276" fmla="*/ 62054 w 180519"/>
                <a:gd name="connsiteY1276" fmla="*/ 189263 h 248214"/>
                <a:gd name="connsiteX1277" fmla="*/ 61490 w 180519"/>
                <a:gd name="connsiteY1277" fmla="*/ 188981 h 248214"/>
                <a:gd name="connsiteX1278" fmla="*/ 61490 w 180519"/>
                <a:gd name="connsiteY1278" fmla="*/ 188699 h 248214"/>
                <a:gd name="connsiteX1279" fmla="*/ 61207 w 180519"/>
                <a:gd name="connsiteY1279" fmla="*/ 188417 h 248214"/>
                <a:gd name="connsiteX1280" fmla="*/ 61772 w 180519"/>
                <a:gd name="connsiteY1280" fmla="*/ 188417 h 248214"/>
                <a:gd name="connsiteX1281" fmla="*/ 62054 w 180519"/>
                <a:gd name="connsiteY1281" fmla="*/ 188981 h 248214"/>
                <a:gd name="connsiteX1282" fmla="*/ 61490 w 180519"/>
                <a:gd name="connsiteY1282" fmla="*/ 181648 h 248214"/>
                <a:gd name="connsiteX1283" fmla="*/ 62336 w 180519"/>
                <a:gd name="connsiteY1283" fmla="*/ 181648 h 248214"/>
                <a:gd name="connsiteX1284" fmla="*/ 62618 w 180519"/>
                <a:gd name="connsiteY1284" fmla="*/ 182212 h 248214"/>
                <a:gd name="connsiteX1285" fmla="*/ 62336 w 180519"/>
                <a:gd name="connsiteY1285" fmla="*/ 183058 h 248214"/>
                <a:gd name="connsiteX1286" fmla="*/ 61490 w 180519"/>
                <a:gd name="connsiteY1286" fmla="*/ 182494 h 248214"/>
                <a:gd name="connsiteX1287" fmla="*/ 61490 w 180519"/>
                <a:gd name="connsiteY1287" fmla="*/ 181648 h 248214"/>
                <a:gd name="connsiteX1288" fmla="*/ 62336 w 180519"/>
                <a:gd name="connsiteY1288" fmla="*/ 178545 h 248214"/>
                <a:gd name="connsiteX1289" fmla="*/ 61772 w 180519"/>
                <a:gd name="connsiteY1289" fmla="*/ 178545 h 248214"/>
                <a:gd name="connsiteX1290" fmla="*/ 62054 w 180519"/>
                <a:gd name="connsiteY1290" fmla="*/ 178263 h 248214"/>
                <a:gd name="connsiteX1291" fmla="*/ 62336 w 180519"/>
                <a:gd name="connsiteY1291" fmla="*/ 178545 h 248214"/>
                <a:gd name="connsiteX1292" fmla="*/ 63182 w 180519"/>
                <a:gd name="connsiteY1292" fmla="*/ 168109 h 248214"/>
                <a:gd name="connsiteX1293" fmla="*/ 63746 w 180519"/>
                <a:gd name="connsiteY1293" fmla="*/ 168673 h 248214"/>
                <a:gd name="connsiteX1294" fmla="*/ 63182 w 180519"/>
                <a:gd name="connsiteY1294" fmla="*/ 169237 h 248214"/>
                <a:gd name="connsiteX1295" fmla="*/ 62618 w 180519"/>
                <a:gd name="connsiteY1295" fmla="*/ 168955 h 248214"/>
                <a:gd name="connsiteX1296" fmla="*/ 63182 w 180519"/>
                <a:gd name="connsiteY1296" fmla="*/ 168109 h 248214"/>
                <a:gd name="connsiteX1297" fmla="*/ 65438 w 180519"/>
                <a:gd name="connsiteY1297" fmla="*/ 136800 h 248214"/>
                <a:gd name="connsiteX1298" fmla="*/ 66567 w 180519"/>
                <a:gd name="connsiteY1298" fmla="*/ 136518 h 248214"/>
                <a:gd name="connsiteX1299" fmla="*/ 65720 w 180519"/>
                <a:gd name="connsiteY1299" fmla="*/ 135954 h 248214"/>
                <a:gd name="connsiteX1300" fmla="*/ 65438 w 180519"/>
                <a:gd name="connsiteY1300" fmla="*/ 136518 h 248214"/>
                <a:gd name="connsiteX1301" fmla="*/ 65438 w 180519"/>
                <a:gd name="connsiteY1301" fmla="*/ 136800 h 248214"/>
                <a:gd name="connsiteX1302" fmla="*/ 65438 w 180519"/>
                <a:gd name="connsiteY1302" fmla="*/ 153159 h 248214"/>
                <a:gd name="connsiteX1303" fmla="*/ 65438 w 180519"/>
                <a:gd name="connsiteY1303" fmla="*/ 151467 h 248214"/>
                <a:gd name="connsiteX1304" fmla="*/ 66003 w 180519"/>
                <a:gd name="connsiteY1304" fmla="*/ 151185 h 248214"/>
                <a:gd name="connsiteX1305" fmla="*/ 66567 w 180519"/>
                <a:gd name="connsiteY1305" fmla="*/ 151467 h 248214"/>
                <a:gd name="connsiteX1306" fmla="*/ 65720 w 180519"/>
                <a:gd name="connsiteY1306" fmla="*/ 152877 h 248214"/>
                <a:gd name="connsiteX1307" fmla="*/ 65438 w 180519"/>
                <a:gd name="connsiteY1307" fmla="*/ 153159 h 248214"/>
                <a:gd name="connsiteX1308" fmla="*/ 69444 w 180519"/>
                <a:gd name="connsiteY1308" fmla="*/ 132569 h 248214"/>
                <a:gd name="connsiteX1309" fmla="*/ 68034 w 180519"/>
                <a:gd name="connsiteY1309" fmla="*/ 131441 h 248214"/>
                <a:gd name="connsiteX1310" fmla="*/ 68034 w 180519"/>
                <a:gd name="connsiteY1310" fmla="*/ 131159 h 248214"/>
                <a:gd name="connsiteX1311" fmla="*/ 69444 w 180519"/>
                <a:gd name="connsiteY1311" fmla="*/ 130594 h 248214"/>
                <a:gd name="connsiteX1312" fmla="*/ 70572 w 180519"/>
                <a:gd name="connsiteY1312" fmla="*/ 131159 h 248214"/>
                <a:gd name="connsiteX1313" fmla="*/ 70572 w 180519"/>
                <a:gd name="connsiteY1313" fmla="*/ 131723 h 248214"/>
                <a:gd name="connsiteX1314" fmla="*/ 69726 w 180519"/>
                <a:gd name="connsiteY1314" fmla="*/ 132569 h 248214"/>
                <a:gd name="connsiteX1315" fmla="*/ 69444 w 180519"/>
                <a:gd name="connsiteY1315" fmla="*/ 132569 h 248214"/>
                <a:gd name="connsiteX1316" fmla="*/ 72490 w 180519"/>
                <a:gd name="connsiteY1316" fmla="*/ 49361 h 248214"/>
                <a:gd name="connsiteX1317" fmla="*/ 71926 w 180519"/>
                <a:gd name="connsiteY1317" fmla="*/ 49643 h 248214"/>
                <a:gd name="connsiteX1318" fmla="*/ 72490 w 180519"/>
                <a:gd name="connsiteY1318" fmla="*/ 49361 h 248214"/>
                <a:gd name="connsiteX1319" fmla="*/ 83547 w 180519"/>
                <a:gd name="connsiteY1319" fmla="*/ 237778 h 248214"/>
                <a:gd name="connsiteX1320" fmla="*/ 83265 w 180519"/>
                <a:gd name="connsiteY1320" fmla="*/ 237496 h 248214"/>
                <a:gd name="connsiteX1321" fmla="*/ 83547 w 180519"/>
                <a:gd name="connsiteY1321" fmla="*/ 236932 h 248214"/>
                <a:gd name="connsiteX1322" fmla="*/ 83547 w 180519"/>
                <a:gd name="connsiteY1322" fmla="*/ 237778 h 248214"/>
                <a:gd name="connsiteX1323" fmla="*/ 89188 w 180519"/>
                <a:gd name="connsiteY1323" fmla="*/ 218598 h 248214"/>
                <a:gd name="connsiteX1324" fmla="*/ 88906 w 180519"/>
                <a:gd name="connsiteY1324" fmla="*/ 218315 h 248214"/>
                <a:gd name="connsiteX1325" fmla="*/ 88060 w 180519"/>
                <a:gd name="connsiteY1325" fmla="*/ 219444 h 248214"/>
                <a:gd name="connsiteX1326" fmla="*/ 88342 w 180519"/>
                <a:gd name="connsiteY1326" fmla="*/ 219726 h 248214"/>
                <a:gd name="connsiteX1327" fmla="*/ 89188 w 180519"/>
                <a:gd name="connsiteY1327" fmla="*/ 218598 h 248214"/>
                <a:gd name="connsiteX1328" fmla="*/ 94829 w 180519"/>
                <a:gd name="connsiteY1328" fmla="*/ 205059 h 248214"/>
                <a:gd name="connsiteX1329" fmla="*/ 95675 w 180519"/>
                <a:gd name="connsiteY1329" fmla="*/ 204777 h 248214"/>
                <a:gd name="connsiteX1330" fmla="*/ 95393 w 180519"/>
                <a:gd name="connsiteY1330" fmla="*/ 204495 h 248214"/>
                <a:gd name="connsiteX1331" fmla="*/ 94829 w 180519"/>
                <a:gd name="connsiteY1331" fmla="*/ 203930 h 248214"/>
                <a:gd name="connsiteX1332" fmla="*/ 94265 w 180519"/>
                <a:gd name="connsiteY1332" fmla="*/ 204495 h 248214"/>
                <a:gd name="connsiteX1333" fmla="*/ 94829 w 180519"/>
                <a:gd name="connsiteY1333" fmla="*/ 205059 h 248214"/>
                <a:gd name="connsiteX1334" fmla="*/ 101599 w 180519"/>
                <a:gd name="connsiteY1334" fmla="*/ 202802 h 248214"/>
                <a:gd name="connsiteX1335" fmla="*/ 101316 w 180519"/>
                <a:gd name="connsiteY1335" fmla="*/ 203084 h 248214"/>
                <a:gd name="connsiteX1336" fmla="*/ 101316 w 180519"/>
                <a:gd name="connsiteY1336" fmla="*/ 203366 h 248214"/>
                <a:gd name="connsiteX1337" fmla="*/ 100188 w 180519"/>
                <a:gd name="connsiteY1337" fmla="*/ 203366 h 248214"/>
                <a:gd name="connsiteX1338" fmla="*/ 100188 w 180519"/>
                <a:gd name="connsiteY1338" fmla="*/ 203084 h 248214"/>
                <a:gd name="connsiteX1339" fmla="*/ 100752 w 180519"/>
                <a:gd name="connsiteY1339" fmla="*/ 202520 h 248214"/>
                <a:gd name="connsiteX1340" fmla="*/ 100188 w 180519"/>
                <a:gd name="connsiteY1340" fmla="*/ 201674 h 248214"/>
                <a:gd name="connsiteX1341" fmla="*/ 100188 w 180519"/>
                <a:gd name="connsiteY1341" fmla="*/ 201392 h 248214"/>
                <a:gd name="connsiteX1342" fmla="*/ 100471 w 180519"/>
                <a:gd name="connsiteY1342" fmla="*/ 200828 h 248214"/>
                <a:gd name="connsiteX1343" fmla="*/ 101035 w 180519"/>
                <a:gd name="connsiteY1343" fmla="*/ 200264 h 248214"/>
                <a:gd name="connsiteX1344" fmla="*/ 101599 w 180519"/>
                <a:gd name="connsiteY1344" fmla="*/ 200828 h 248214"/>
                <a:gd name="connsiteX1345" fmla="*/ 101599 w 180519"/>
                <a:gd name="connsiteY1345" fmla="*/ 202802 h 248214"/>
                <a:gd name="connsiteX1346" fmla="*/ 104419 w 180519"/>
                <a:gd name="connsiteY1346" fmla="*/ 49079 h 248214"/>
                <a:gd name="connsiteX1347" fmla="*/ 105830 w 180519"/>
                <a:gd name="connsiteY1347" fmla="*/ 48515 h 248214"/>
                <a:gd name="connsiteX1348" fmla="*/ 106112 w 180519"/>
                <a:gd name="connsiteY1348" fmla="*/ 47668 h 248214"/>
                <a:gd name="connsiteX1349" fmla="*/ 105830 w 180519"/>
                <a:gd name="connsiteY1349" fmla="*/ 47386 h 248214"/>
                <a:gd name="connsiteX1350" fmla="*/ 104137 w 180519"/>
                <a:gd name="connsiteY1350" fmla="*/ 48515 h 248214"/>
                <a:gd name="connsiteX1351" fmla="*/ 103855 w 180519"/>
                <a:gd name="connsiteY1351" fmla="*/ 49079 h 248214"/>
                <a:gd name="connsiteX1352" fmla="*/ 103855 w 180519"/>
                <a:gd name="connsiteY1352" fmla="*/ 49361 h 248214"/>
                <a:gd name="connsiteX1353" fmla="*/ 104419 w 180519"/>
                <a:gd name="connsiteY1353" fmla="*/ 49079 h 248214"/>
                <a:gd name="connsiteX1354" fmla="*/ 108932 w 180519"/>
                <a:gd name="connsiteY1354" fmla="*/ 176288 h 248214"/>
                <a:gd name="connsiteX1355" fmla="*/ 109214 w 180519"/>
                <a:gd name="connsiteY1355" fmla="*/ 177135 h 248214"/>
                <a:gd name="connsiteX1356" fmla="*/ 109496 w 180519"/>
                <a:gd name="connsiteY1356" fmla="*/ 177417 h 248214"/>
                <a:gd name="connsiteX1357" fmla="*/ 110343 w 180519"/>
                <a:gd name="connsiteY1357" fmla="*/ 176288 h 248214"/>
                <a:gd name="connsiteX1358" fmla="*/ 108932 w 180519"/>
                <a:gd name="connsiteY1358" fmla="*/ 176288 h 248214"/>
                <a:gd name="connsiteX1359" fmla="*/ 109778 w 180519"/>
                <a:gd name="connsiteY1359" fmla="*/ 45694 h 248214"/>
                <a:gd name="connsiteX1360" fmla="*/ 110060 w 180519"/>
                <a:gd name="connsiteY1360" fmla="*/ 45130 h 248214"/>
                <a:gd name="connsiteX1361" fmla="*/ 110060 w 180519"/>
                <a:gd name="connsiteY1361" fmla="*/ 44848 h 248214"/>
                <a:gd name="connsiteX1362" fmla="*/ 109778 w 180519"/>
                <a:gd name="connsiteY1362" fmla="*/ 45130 h 248214"/>
                <a:gd name="connsiteX1363" fmla="*/ 109778 w 180519"/>
                <a:gd name="connsiteY1363" fmla="*/ 45694 h 248214"/>
                <a:gd name="connsiteX1364" fmla="*/ 111978 w 180519"/>
                <a:gd name="connsiteY1364" fmla="*/ 155980 h 248214"/>
                <a:gd name="connsiteX1365" fmla="*/ 110568 w 180519"/>
                <a:gd name="connsiteY1365" fmla="*/ 155416 h 248214"/>
                <a:gd name="connsiteX1366" fmla="*/ 110568 w 180519"/>
                <a:gd name="connsiteY1366" fmla="*/ 155980 h 248214"/>
                <a:gd name="connsiteX1367" fmla="*/ 111414 w 180519"/>
                <a:gd name="connsiteY1367" fmla="*/ 156544 h 248214"/>
                <a:gd name="connsiteX1368" fmla="*/ 111978 w 180519"/>
                <a:gd name="connsiteY1368" fmla="*/ 155980 h 248214"/>
                <a:gd name="connsiteX1369" fmla="*/ 113163 w 180519"/>
                <a:gd name="connsiteY1369" fmla="*/ 153723 h 248214"/>
                <a:gd name="connsiteX1370" fmla="*/ 113163 w 180519"/>
                <a:gd name="connsiteY1370" fmla="*/ 152313 h 248214"/>
                <a:gd name="connsiteX1371" fmla="*/ 112317 w 180519"/>
                <a:gd name="connsiteY1371" fmla="*/ 152313 h 248214"/>
                <a:gd name="connsiteX1372" fmla="*/ 112317 w 180519"/>
                <a:gd name="connsiteY1372" fmla="*/ 152595 h 248214"/>
                <a:gd name="connsiteX1373" fmla="*/ 112035 w 180519"/>
                <a:gd name="connsiteY1373" fmla="*/ 153441 h 248214"/>
                <a:gd name="connsiteX1374" fmla="*/ 112317 w 180519"/>
                <a:gd name="connsiteY1374" fmla="*/ 154006 h 248214"/>
                <a:gd name="connsiteX1375" fmla="*/ 113163 w 180519"/>
                <a:gd name="connsiteY1375" fmla="*/ 153723 h 248214"/>
                <a:gd name="connsiteX1376" fmla="*/ 114799 w 180519"/>
                <a:gd name="connsiteY1376" fmla="*/ 49361 h 248214"/>
                <a:gd name="connsiteX1377" fmla="*/ 115928 w 180519"/>
                <a:gd name="connsiteY1377" fmla="*/ 48797 h 248214"/>
                <a:gd name="connsiteX1378" fmla="*/ 115364 w 180519"/>
                <a:gd name="connsiteY1378" fmla="*/ 48797 h 248214"/>
                <a:gd name="connsiteX1379" fmla="*/ 114799 w 180519"/>
                <a:gd name="connsiteY1379" fmla="*/ 48515 h 248214"/>
                <a:gd name="connsiteX1380" fmla="*/ 113953 w 180519"/>
                <a:gd name="connsiteY1380" fmla="*/ 48797 h 248214"/>
                <a:gd name="connsiteX1381" fmla="*/ 113671 w 180519"/>
                <a:gd name="connsiteY1381" fmla="*/ 48797 h 248214"/>
                <a:gd name="connsiteX1382" fmla="*/ 113389 w 180519"/>
                <a:gd name="connsiteY1382" fmla="*/ 49079 h 248214"/>
                <a:gd name="connsiteX1383" fmla="*/ 113953 w 180519"/>
                <a:gd name="connsiteY1383" fmla="*/ 49361 h 248214"/>
                <a:gd name="connsiteX1384" fmla="*/ 114799 w 180519"/>
                <a:gd name="connsiteY1384" fmla="*/ 49361 h 248214"/>
                <a:gd name="connsiteX1385" fmla="*/ 115702 w 180519"/>
                <a:gd name="connsiteY1385" fmla="*/ 167827 h 248214"/>
                <a:gd name="connsiteX1386" fmla="*/ 115702 w 180519"/>
                <a:gd name="connsiteY1386" fmla="*/ 168109 h 248214"/>
                <a:gd name="connsiteX1387" fmla="*/ 114855 w 180519"/>
                <a:gd name="connsiteY1387" fmla="*/ 168673 h 248214"/>
                <a:gd name="connsiteX1388" fmla="*/ 114855 w 180519"/>
                <a:gd name="connsiteY1388" fmla="*/ 168391 h 248214"/>
                <a:gd name="connsiteX1389" fmla="*/ 114291 w 180519"/>
                <a:gd name="connsiteY1389" fmla="*/ 167827 h 248214"/>
                <a:gd name="connsiteX1390" fmla="*/ 115138 w 180519"/>
                <a:gd name="connsiteY1390" fmla="*/ 167262 h 248214"/>
                <a:gd name="connsiteX1391" fmla="*/ 115984 w 180519"/>
                <a:gd name="connsiteY1391" fmla="*/ 167262 h 248214"/>
                <a:gd name="connsiteX1392" fmla="*/ 115702 w 180519"/>
                <a:gd name="connsiteY1392" fmla="*/ 167827 h 248214"/>
                <a:gd name="connsiteX1393" fmla="*/ 115702 w 180519"/>
                <a:gd name="connsiteY1393" fmla="*/ 169519 h 248214"/>
                <a:gd name="connsiteX1394" fmla="*/ 115984 w 180519"/>
                <a:gd name="connsiteY1394" fmla="*/ 169801 h 248214"/>
                <a:gd name="connsiteX1395" fmla="*/ 115138 w 180519"/>
                <a:gd name="connsiteY1395" fmla="*/ 170365 h 248214"/>
                <a:gd name="connsiteX1396" fmla="*/ 115138 w 180519"/>
                <a:gd name="connsiteY1396" fmla="*/ 170083 h 248214"/>
                <a:gd name="connsiteX1397" fmla="*/ 114855 w 180519"/>
                <a:gd name="connsiteY1397" fmla="*/ 169801 h 248214"/>
                <a:gd name="connsiteX1398" fmla="*/ 114291 w 180519"/>
                <a:gd name="connsiteY1398" fmla="*/ 169519 h 248214"/>
                <a:gd name="connsiteX1399" fmla="*/ 115702 w 180519"/>
                <a:gd name="connsiteY1399" fmla="*/ 169519 h 248214"/>
                <a:gd name="connsiteX1400" fmla="*/ 116209 w 180519"/>
                <a:gd name="connsiteY1400" fmla="*/ 47386 h 248214"/>
                <a:gd name="connsiteX1401" fmla="*/ 116774 w 180519"/>
                <a:gd name="connsiteY1401" fmla="*/ 46540 h 248214"/>
                <a:gd name="connsiteX1402" fmla="*/ 116774 w 180519"/>
                <a:gd name="connsiteY1402" fmla="*/ 46258 h 248214"/>
                <a:gd name="connsiteX1403" fmla="*/ 115364 w 180519"/>
                <a:gd name="connsiteY1403" fmla="*/ 46540 h 248214"/>
                <a:gd name="connsiteX1404" fmla="*/ 115081 w 180519"/>
                <a:gd name="connsiteY1404" fmla="*/ 48232 h 248214"/>
                <a:gd name="connsiteX1405" fmla="*/ 116209 w 180519"/>
                <a:gd name="connsiteY1405" fmla="*/ 47386 h 248214"/>
                <a:gd name="connsiteX1406" fmla="*/ 117394 w 180519"/>
                <a:gd name="connsiteY1406" fmla="*/ 162749 h 248214"/>
                <a:gd name="connsiteX1407" fmla="*/ 117112 w 180519"/>
                <a:gd name="connsiteY1407" fmla="*/ 162467 h 248214"/>
                <a:gd name="connsiteX1408" fmla="*/ 117394 w 180519"/>
                <a:gd name="connsiteY1408" fmla="*/ 162185 h 248214"/>
                <a:gd name="connsiteX1409" fmla="*/ 117676 w 180519"/>
                <a:gd name="connsiteY1409" fmla="*/ 162185 h 248214"/>
                <a:gd name="connsiteX1410" fmla="*/ 117958 w 180519"/>
                <a:gd name="connsiteY1410" fmla="*/ 162467 h 248214"/>
                <a:gd name="connsiteX1411" fmla="*/ 118522 w 180519"/>
                <a:gd name="connsiteY1411" fmla="*/ 162749 h 248214"/>
                <a:gd name="connsiteX1412" fmla="*/ 117676 w 180519"/>
                <a:gd name="connsiteY1412" fmla="*/ 163314 h 248214"/>
                <a:gd name="connsiteX1413" fmla="*/ 117394 w 180519"/>
                <a:gd name="connsiteY1413" fmla="*/ 162749 h 248214"/>
                <a:gd name="connsiteX1414" fmla="*/ 120440 w 180519"/>
                <a:gd name="connsiteY1414" fmla="*/ 51335 h 248214"/>
                <a:gd name="connsiteX1415" fmla="*/ 120158 w 180519"/>
                <a:gd name="connsiteY1415" fmla="*/ 51053 h 248214"/>
                <a:gd name="connsiteX1416" fmla="*/ 119594 w 180519"/>
                <a:gd name="connsiteY1416" fmla="*/ 51335 h 248214"/>
                <a:gd name="connsiteX1417" fmla="*/ 120440 w 180519"/>
                <a:gd name="connsiteY1417" fmla="*/ 51335 h 248214"/>
                <a:gd name="connsiteX1418" fmla="*/ 121625 w 180519"/>
                <a:gd name="connsiteY1418" fmla="*/ 45976 h 248214"/>
                <a:gd name="connsiteX1419" fmla="*/ 121625 w 180519"/>
                <a:gd name="connsiteY1419" fmla="*/ 45694 h 248214"/>
                <a:gd name="connsiteX1420" fmla="*/ 121343 w 180519"/>
                <a:gd name="connsiteY1420" fmla="*/ 45694 h 248214"/>
                <a:gd name="connsiteX1421" fmla="*/ 121061 w 180519"/>
                <a:gd name="connsiteY1421" fmla="*/ 46258 h 248214"/>
                <a:gd name="connsiteX1422" fmla="*/ 121625 w 180519"/>
                <a:gd name="connsiteY1422" fmla="*/ 45976 h 248214"/>
                <a:gd name="connsiteX1423" fmla="*/ 121850 w 180519"/>
                <a:gd name="connsiteY1423" fmla="*/ 152313 h 248214"/>
                <a:gd name="connsiteX1424" fmla="*/ 121569 w 180519"/>
                <a:gd name="connsiteY1424" fmla="*/ 151467 h 248214"/>
                <a:gd name="connsiteX1425" fmla="*/ 121569 w 180519"/>
                <a:gd name="connsiteY1425" fmla="*/ 150903 h 248214"/>
                <a:gd name="connsiteX1426" fmla="*/ 121286 w 180519"/>
                <a:gd name="connsiteY1426" fmla="*/ 150903 h 248214"/>
                <a:gd name="connsiteX1427" fmla="*/ 121569 w 180519"/>
                <a:gd name="connsiteY1427" fmla="*/ 150339 h 248214"/>
                <a:gd name="connsiteX1428" fmla="*/ 121850 w 180519"/>
                <a:gd name="connsiteY1428" fmla="*/ 150057 h 248214"/>
                <a:gd name="connsiteX1429" fmla="*/ 123261 w 180519"/>
                <a:gd name="connsiteY1429" fmla="*/ 150621 h 248214"/>
                <a:gd name="connsiteX1430" fmla="*/ 123543 w 180519"/>
                <a:gd name="connsiteY1430" fmla="*/ 150903 h 248214"/>
                <a:gd name="connsiteX1431" fmla="*/ 123261 w 180519"/>
                <a:gd name="connsiteY1431" fmla="*/ 151467 h 248214"/>
                <a:gd name="connsiteX1432" fmla="*/ 122133 w 180519"/>
                <a:gd name="connsiteY1432" fmla="*/ 152313 h 248214"/>
                <a:gd name="connsiteX1433" fmla="*/ 121850 w 180519"/>
                <a:gd name="connsiteY1433" fmla="*/ 152313 h 248214"/>
                <a:gd name="connsiteX1434" fmla="*/ 123600 w 180519"/>
                <a:gd name="connsiteY1434" fmla="*/ 148646 h 248214"/>
                <a:gd name="connsiteX1435" fmla="*/ 124164 w 180519"/>
                <a:gd name="connsiteY1435" fmla="*/ 148646 h 248214"/>
                <a:gd name="connsiteX1436" fmla="*/ 124728 w 180519"/>
                <a:gd name="connsiteY1436" fmla="*/ 149775 h 248214"/>
                <a:gd name="connsiteX1437" fmla="*/ 124446 w 180519"/>
                <a:gd name="connsiteY1437" fmla="*/ 150057 h 248214"/>
                <a:gd name="connsiteX1438" fmla="*/ 123600 w 180519"/>
                <a:gd name="connsiteY1438" fmla="*/ 149775 h 248214"/>
                <a:gd name="connsiteX1439" fmla="*/ 123600 w 180519"/>
                <a:gd name="connsiteY1439" fmla="*/ 148646 h 248214"/>
                <a:gd name="connsiteX1440" fmla="*/ 128677 w 180519"/>
                <a:gd name="connsiteY1440" fmla="*/ 48797 h 248214"/>
                <a:gd name="connsiteX1441" fmla="*/ 129805 w 180519"/>
                <a:gd name="connsiteY1441" fmla="*/ 48515 h 248214"/>
                <a:gd name="connsiteX1442" fmla="*/ 129805 w 180519"/>
                <a:gd name="connsiteY1442" fmla="*/ 48232 h 248214"/>
                <a:gd name="connsiteX1443" fmla="*/ 129805 w 180519"/>
                <a:gd name="connsiteY1443" fmla="*/ 47950 h 248214"/>
                <a:gd name="connsiteX1444" fmla="*/ 128958 w 180519"/>
                <a:gd name="connsiteY1444" fmla="*/ 47950 h 248214"/>
                <a:gd name="connsiteX1445" fmla="*/ 128677 w 180519"/>
                <a:gd name="connsiteY1445" fmla="*/ 48515 h 248214"/>
                <a:gd name="connsiteX1446" fmla="*/ 128677 w 180519"/>
                <a:gd name="connsiteY1446" fmla="*/ 48797 h 248214"/>
                <a:gd name="connsiteX1447" fmla="*/ 133753 w 180519"/>
                <a:gd name="connsiteY1447" fmla="*/ 46540 h 248214"/>
                <a:gd name="connsiteX1448" fmla="*/ 134318 w 180519"/>
                <a:gd name="connsiteY1448" fmla="*/ 45694 h 248214"/>
                <a:gd name="connsiteX1449" fmla="*/ 134318 w 180519"/>
                <a:gd name="connsiteY1449" fmla="*/ 45130 h 248214"/>
                <a:gd name="connsiteX1450" fmla="*/ 134318 w 180519"/>
                <a:gd name="connsiteY1450" fmla="*/ 44848 h 248214"/>
                <a:gd name="connsiteX1451" fmla="*/ 134036 w 180519"/>
                <a:gd name="connsiteY1451" fmla="*/ 44848 h 248214"/>
                <a:gd name="connsiteX1452" fmla="*/ 133189 w 180519"/>
                <a:gd name="connsiteY1452" fmla="*/ 45412 h 248214"/>
                <a:gd name="connsiteX1453" fmla="*/ 133753 w 180519"/>
                <a:gd name="connsiteY1453" fmla="*/ 46258 h 248214"/>
                <a:gd name="connsiteX1454" fmla="*/ 133753 w 180519"/>
                <a:gd name="connsiteY1454" fmla="*/ 46540 h 248214"/>
                <a:gd name="connsiteX1455" fmla="*/ 142498 w 180519"/>
                <a:gd name="connsiteY1455" fmla="*/ 48232 h 248214"/>
                <a:gd name="connsiteX1456" fmla="*/ 143908 w 180519"/>
                <a:gd name="connsiteY1456" fmla="*/ 47104 h 248214"/>
                <a:gd name="connsiteX1457" fmla="*/ 141934 w 180519"/>
                <a:gd name="connsiteY1457" fmla="*/ 48232 h 248214"/>
                <a:gd name="connsiteX1458" fmla="*/ 142498 w 180519"/>
                <a:gd name="connsiteY1458" fmla="*/ 48232 h 248214"/>
                <a:gd name="connsiteX1459" fmla="*/ 167319 w 180519"/>
                <a:gd name="connsiteY1459" fmla="*/ 54156 h 248214"/>
                <a:gd name="connsiteX1460" fmla="*/ 167319 w 180519"/>
                <a:gd name="connsiteY1460" fmla="*/ 53874 h 248214"/>
                <a:gd name="connsiteX1461" fmla="*/ 166755 w 180519"/>
                <a:gd name="connsiteY1461" fmla="*/ 54156 h 248214"/>
                <a:gd name="connsiteX1462" fmla="*/ 167319 w 180519"/>
                <a:gd name="connsiteY1462" fmla="*/ 54156 h 248214"/>
                <a:gd name="connsiteX1463" fmla="*/ 171550 w 180519"/>
                <a:gd name="connsiteY1463" fmla="*/ 41463 h 248214"/>
                <a:gd name="connsiteX1464" fmla="*/ 171832 w 180519"/>
                <a:gd name="connsiteY1464" fmla="*/ 40617 h 248214"/>
                <a:gd name="connsiteX1465" fmla="*/ 171268 w 180519"/>
                <a:gd name="connsiteY1465" fmla="*/ 41181 h 248214"/>
                <a:gd name="connsiteX1466" fmla="*/ 171550 w 180519"/>
                <a:gd name="connsiteY1466" fmla="*/ 41745 h 248214"/>
                <a:gd name="connsiteX1467" fmla="*/ 171550 w 180519"/>
                <a:gd name="connsiteY1467" fmla="*/ 41463 h 24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</a:cxnLst>
              <a:rect l="l" t="t" r="r" b="b"/>
              <a:pathLst>
                <a:path w="180519" h="248214">
                  <a:moveTo>
                    <a:pt x="36668" y="57258"/>
                  </a:moveTo>
                  <a:cubicBezTo>
                    <a:pt x="36386" y="57258"/>
                    <a:pt x="36386" y="57258"/>
                    <a:pt x="36386" y="56976"/>
                  </a:cubicBezTo>
                  <a:lnTo>
                    <a:pt x="36386" y="56694"/>
                  </a:lnTo>
                  <a:cubicBezTo>
                    <a:pt x="37514" y="56412"/>
                    <a:pt x="37797" y="56130"/>
                    <a:pt x="38078" y="55566"/>
                  </a:cubicBezTo>
                  <a:lnTo>
                    <a:pt x="38642" y="55566"/>
                  </a:lnTo>
                  <a:cubicBezTo>
                    <a:pt x="38925" y="55566"/>
                    <a:pt x="39771" y="55284"/>
                    <a:pt x="40617" y="55284"/>
                  </a:cubicBezTo>
                  <a:cubicBezTo>
                    <a:pt x="40899" y="55002"/>
                    <a:pt x="41463" y="55284"/>
                    <a:pt x="41745" y="54720"/>
                  </a:cubicBezTo>
                  <a:cubicBezTo>
                    <a:pt x="42028" y="54720"/>
                    <a:pt x="43156" y="54156"/>
                    <a:pt x="43156" y="54156"/>
                  </a:cubicBezTo>
                  <a:cubicBezTo>
                    <a:pt x="43720" y="53592"/>
                    <a:pt x="44002" y="53310"/>
                    <a:pt x="44848" y="53310"/>
                  </a:cubicBezTo>
                  <a:lnTo>
                    <a:pt x="45976" y="53310"/>
                  </a:lnTo>
                  <a:lnTo>
                    <a:pt x="49925" y="52463"/>
                  </a:lnTo>
                  <a:lnTo>
                    <a:pt x="50771" y="52463"/>
                  </a:lnTo>
                  <a:lnTo>
                    <a:pt x="51335" y="53028"/>
                  </a:lnTo>
                  <a:cubicBezTo>
                    <a:pt x="51053" y="53592"/>
                    <a:pt x="50771" y="54156"/>
                    <a:pt x="49925" y="54720"/>
                  </a:cubicBezTo>
                  <a:cubicBezTo>
                    <a:pt x="49643" y="54720"/>
                    <a:pt x="49643" y="54720"/>
                    <a:pt x="49079" y="55002"/>
                  </a:cubicBezTo>
                  <a:cubicBezTo>
                    <a:pt x="49079" y="55002"/>
                    <a:pt x="48797" y="55002"/>
                    <a:pt x="48797" y="55284"/>
                  </a:cubicBezTo>
                  <a:lnTo>
                    <a:pt x="48797" y="55566"/>
                  </a:lnTo>
                  <a:cubicBezTo>
                    <a:pt x="48797" y="55848"/>
                    <a:pt x="49079" y="56130"/>
                    <a:pt x="49361" y="56130"/>
                  </a:cubicBezTo>
                  <a:cubicBezTo>
                    <a:pt x="49361" y="56130"/>
                    <a:pt x="49643" y="56412"/>
                    <a:pt x="49925" y="56412"/>
                  </a:cubicBezTo>
                  <a:lnTo>
                    <a:pt x="50489" y="56412"/>
                  </a:lnTo>
                  <a:cubicBezTo>
                    <a:pt x="51053" y="56412"/>
                    <a:pt x="50771" y="56976"/>
                    <a:pt x="51053" y="56976"/>
                  </a:cubicBezTo>
                  <a:lnTo>
                    <a:pt x="51617" y="56976"/>
                  </a:lnTo>
                  <a:cubicBezTo>
                    <a:pt x="52745" y="56412"/>
                    <a:pt x="52745" y="56130"/>
                    <a:pt x="52745" y="55566"/>
                  </a:cubicBezTo>
                  <a:cubicBezTo>
                    <a:pt x="53310" y="55002"/>
                    <a:pt x="53592" y="54720"/>
                    <a:pt x="54720" y="54156"/>
                  </a:cubicBezTo>
                  <a:lnTo>
                    <a:pt x="55284" y="52463"/>
                  </a:lnTo>
                  <a:cubicBezTo>
                    <a:pt x="56131" y="51899"/>
                    <a:pt x="56131" y="51617"/>
                    <a:pt x="56976" y="51335"/>
                  </a:cubicBezTo>
                  <a:lnTo>
                    <a:pt x="57541" y="51335"/>
                  </a:lnTo>
                  <a:cubicBezTo>
                    <a:pt x="58105" y="51335"/>
                    <a:pt x="58387" y="51335"/>
                    <a:pt x="58951" y="51053"/>
                  </a:cubicBezTo>
                  <a:cubicBezTo>
                    <a:pt x="59515" y="50489"/>
                    <a:pt x="60079" y="50489"/>
                    <a:pt x="60362" y="50489"/>
                  </a:cubicBezTo>
                  <a:cubicBezTo>
                    <a:pt x="60643" y="50489"/>
                    <a:pt x="60926" y="50489"/>
                    <a:pt x="61207" y="51053"/>
                  </a:cubicBezTo>
                  <a:cubicBezTo>
                    <a:pt x="61490" y="51053"/>
                    <a:pt x="61490" y="51335"/>
                    <a:pt x="61490" y="51617"/>
                  </a:cubicBezTo>
                  <a:cubicBezTo>
                    <a:pt x="61772" y="51617"/>
                    <a:pt x="62336" y="51335"/>
                    <a:pt x="62618" y="51335"/>
                  </a:cubicBezTo>
                  <a:lnTo>
                    <a:pt x="62900" y="51335"/>
                  </a:lnTo>
                  <a:cubicBezTo>
                    <a:pt x="62900" y="51053"/>
                    <a:pt x="62900" y="51053"/>
                    <a:pt x="63182" y="51053"/>
                  </a:cubicBezTo>
                  <a:cubicBezTo>
                    <a:pt x="64310" y="49643"/>
                    <a:pt x="65438" y="49079"/>
                    <a:pt x="66003" y="49079"/>
                  </a:cubicBezTo>
                  <a:lnTo>
                    <a:pt x="68823" y="49079"/>
                  </a:lnTo>
                  <a:cubicBezTo>
                    <a:pt x="69105" y="49079"/>
                    <a:pt x="69105" y="49079"/>
                    <a:pt x="69105" y="49361"/>
                  </a:cubicBezTo>
                  <a:lnTo>
                    <a:pt x="69105" y="49643"/>
                  </a:lnTo>
                  <a:lnTo>
                    <a:pt x="68259" y="50771"/>
                  </a:lnTo>
                  <a:lnTo>
                    <a:pt x="68259" y="51053"/>
                  </a:lnTo>
                  <a:lnTo>
                    <a:pt x="69105" y="51053"/>
                  </a:lnTo>
                  <a:cubicBezTo>
                    <a:pt x="69387" y="51053"/>
                    <a:pt x="69951" y="51053"/>
                    <a:pt x="70798" y="50489"/>
                  </a:cubicBezTo>
                  <a:cubicBezTo>
                    <a:pt x="70798" y="49925"/>
                    <a:pt x="71362" y="49925"/>
                    <a:pt x="71926" y="49643"/>
                  </a:cubicBezTo>
                  <a:cubicBezTo>
                    <a:pt x="71644" y="49925"/>
                    <a:pt x="71362" y="50771"/>
                    <a:pt x="71079" y="50771"/>
                  </a:cubicBezTo>
                  <a:cubicBezTo>
                    <a:pt x="70798" y="51899"/>
                    <a:pt x="70798" y="51899"/>
                    <a:pt x="69387" y="51899"/>
                  </a:cubicBezTo>
                  <a:lnTo>
                    <a:pt x="68823" y="51899"/>
                  </a:lnTo>
                  <a:cubicBezTo>
                    <a:pt x="68541" y="52181"/>
                    <a:pt x="68259" y="52181"/>
                    <a:pt x="68259" y="52463"/>
                  </a:cubicBezTo>
                  <a:lnTo>
                    <a:pt x="68259" y="53028"/>
                  </a:lnTo>
                  <a:cubicBezTo>
                    <a:pt x="69387" y="52463"/>
                    <a:pt x="70234" y="52463"/>
                    <a:pt x="71079" y="52463"/>
                  </a:cubicBezTo>
                  <a:lnTo>
                    <a:pt x="71644" y="52463"/>
                  </a:lnTo>
                  <a:cubicBezTo>
                    <a:pt x="71926" y="52463"/>
                    <a:pt x="72490" y="51899"/>
                    <a:pt x="73054" y="51899"/>
                  </a:cubicBezTo>
                  <a:cubicBezTo>
                    <a:pt x="73054" y="51899"/>
                    <a:pt x="73336" y="51617"/>
                    <a:pt x="73618" y="51617"/>
                  </a:cubicBezTo>
                  <a:cubicBezTo>
                    <a:pt x="73336" y="51335"/>
                    <a:pt x="73054" y="51335"/>
                    <a:pt x="73054" y="51335"/>
                  </a:cubicBezTo>
                  <a:lnTo>
                    <a:pt x="72772" y="51053"/>
                  </a:lnTo>
                  <a:cubicBezTo>
                    <a:pt x="72772" y="50771"/>
                    <a:pt x="72772" y="50771"/>
                    <a:pt x="72490" y="50489"/>
                  </a:cubicBezTo>
                  <a:cubicBezTo>
                    <a:pt x="72490" y="50489"/>
                    <a:pt x="72772" y="49925"/>
                    <a:pt x="73054" y="49643"/>
                  </a:cubicBezTo>
                  <a:cubicBezTo>
                    <a:pt x="73618" y="49643"/>
                    <a:pt x="73900" y="49361"/>
                    <a:pt x="73900" y="49079"/>
                  </a:cubicBezTo>
                  <a:cubicBezTo>
                    <a:pt x="73900" y="48797"/>
                    <a:pt x="74182" y="48232"/>
                    <a:pt x="74465" y="47950"/>
                  </a:cubicBezTo>
                  <a:cubicBezTo>
                    <a:pt x="75029" y="47104"/>
                    <a:pt x="77567" y="36950"/>
                    <a:pt x="77567" y="36668"/>
                  </a:cubicBezTo>
                  <a:cubicBezTo>
                    <a:pt x="77567" y="36104"/>
                    <a:pt x="77567" y="32155"/>
                    <a:pt x="77849" y="31873"/>
                  </a:cubicBezTo>
                  <a:cubicBezTo>
                    <a:pt x="78977" y="31591"/>
                    <a:pt x="79541" y="31591"/>
                    <a:pt x="79824" y="30463"/>
                  </a:cubicBezTo>
                  <a:cubicBezTo>
                    <a:pt x="80106" y="30181"/>
                    <a:pt x="80388" y="30181"/>
                    <a:pt x="80388" y="29899"/>
                  </a:cubicBezTo>
                  <a:lnTo>
                    <a:pt x="80106" y="29616"/>
                  </a:lnTo>
                  <a:cubicBezTo>
                    <a:pt x="80106" y="29334"/>
                    <a:pt x="80106" y="29052"/>
                    <a:pt x="80388" y="28770"/>
                  </a:cubicBezTo>
                  <a:cubicBezTo>
                    <a:pt x="79260" y="28770"/>
                    <a:pt x="79260" y="28770"/>
                    <a:pt x="79260" y="28206"/>
                  </a:cubicBezTo>
                  <a:cubicBezTo>
                    <a:pt x="79260" y="27642"/>
                    <a:pt x="79260" y="27078"/>
                    <a:pt x="78977" y="26796"/>
                  </a:cubicBezTo>
                  <a:lnTo>
                    <a:pt x="78977" y="26232"/>
                  </a:lnTo>
                  <a:cubicBezTo>
                    <a:pt x="79260" y="25668"/>
                    <a:pt x="79541" y="25668"/>
                    <a:pt x="79824" y="25386"/>
                  </a:cubicBezTo>
                  <a:cubicBezTo>
                    <a:pt x="80106" y="25103"/>
                    <a:pt x="80106" y="24821"/>
                    <a:pt x="80106" y="24539"/>
                  </a:cubicBezTo>
                  <a:lnTo>
                    <a:pt x="80106" y="23975"/>
                  </a:lnTo>
                  <a:cubicBezTo>
                    <a:pt x="80106" y="23411"/>
                    <a:pt x="80670" y="23129"/>
                    <a:pt x="80670" y="22565"/>
                  </a:cubicBezTo>
                  <a:cubicBezTo>
                    <a:pt x="80952" y="22283"/>
                    <a:pt x="81516" y="21719"/>
                    <a:pt x="81516" y="21155"/>
                  </a:cubicBezTo>
                  <a:lnTo>
                    <a:pt x="81516" y="20873"/>
                  </a:lnTo>
                  <a:cubicBezTo>
                    <a:pt x="82080" y="20873"/>
                    <a:pt x="82080" y="20308"/>
                    <a:pt x="82080" y="19462"/>
                  </a:cubicBezTo>
                  <a:lnTo>
                    <a:pt x="82362" y="19180"/>
                  </a:lnTo>
                  <a:lnTo>
                    <a:pt x="82362" y="18898"/>
                  </a:lnTo>
                  <a:lnTo>
                    <a:pt x="82080" y="18616"/>
                  </a:lnTo>
                  <a:lnTo>
                    <a:pt x="82080" y="17206"/>
                  </a:lnTo>
                  <a:cubicBezTo>
                    <a:pt x="82080" y="16924"/>
                    <a:pt x="82362" y="16924"/>
                    <a:pt x="82362" y="16642"/>
                  </a:cubicBezTo>
                  <a:cubicBezTo>
                    <a:pt x="82926" y="16360"/>
                    <a:pt x="83490" y="16077"/>
                    <a:pt x="83772" y="15513"/>
                  </a:cubicBezTo>
                  <a:lnTo>
                    <a:pt x="83490" y="15231"/>
                  </a:lnTo>
                  <a:cubicBezTo>
                    <a:pt x="84337" y="14949"/>
                    <a:pt x="84337" y="13821"/>
                    <a:pt x="84337" y="13539"/>
                  </a:cubicBezTo>
                  <a:lnTo>
                    <a:pt x="84054" y="13257"/>
                  </a:lnTo>
                  <a:cubicBezTo>
                    <a:pt x="84054" y="13257"/>
                    <a:pt x="84337" y="12975"/>
                    <a:pt x="85182" y="12693"/>
                  </a:cubicBezTo>
                  <a:lnTo>
                    <a:pt x="86311" y="11847"/>
                  </a:lnTo>
                  <a:lnTo>
                    <a:pt x="86311" y="10436"/>
                  </a:lnTo>
                  <a:cubicBezTo>
                    <a:pt x="86593" y="10154"/>
                    <a:pt x="86875" y="9590"/>
                    <a:pt x="88003" y="9026"/>
                  </a:cubicBezTo>
                  <a:cubicBezTo>
                    <a:pt x="88003" y="9026"/>
                    <a:pt x="88285" y="7052"/>
                    <a:pt x="88849" y="6487"/>
                  </a:cubicBezTo>
                  <a:cubicBezTo>
                    <a:pt x="89132" y="6487"/>
                    <a:pt x="89132" y="6487"/>
                    <a:pt x="89413" y="6205"/>
                  </a:cubicBezTo>
                  <a:cubicBezTo>
                    <a:pt x="89696" y="5923"/>
                    <a:pt x="89696" y="5641"/>
                    <a:pt x="89696" y="5359"/>
                  </a:cubicBezTo>
                  <a:cubicBezTo>
                    <a:pt x="89696" y="4513"/>
                    <a:pt x="89696" y="4513"/>
                    <a:pt x="90542" y="3949"/>
                  </a:cubicBezTo>
                  <a:lnTo>
                    <a:pt x="91952" y="2821"/>
                  </a:lnTo>
                  <a:cubicBezTo>
                    <a:pt x="91670" y="2539"/>
                    <a:pt x="91670" y="2539"/>
                    <a:pt x="91670" y="2256"/>
                  </a:cubicBezTo>
                  <a:cubicBezTo>
                    <a:pt x="91670" y="1974"/>
                    <a:pt x="91952" y="1692"/>
                    <a:pt x="92799" y="1692"/>
                  </a:cubicBezTo>
                  <a:cubicBezTo>
                    <a:pt x="92799" y="1692"/>
                    <a:pt x="93080" y="1410"/>
                    <a:pt x="93363" y="1410"/>
                  </a:cubicBezTo>
                  <a:cubicBezTo>
                    <a:pt x="93644" y="1410"/>
                    <a:pt x="93644" y="1128"/>
                    <a:pt x="93927" y="1128"/>
                  </a:cubicBezTo>
                  <a:lnTo>
                    <a:pt x="94209" y="1128"/>
                  </a:lnTo>
                  <a:cubicBezTo>
                    <a:pt x="94209" y="1128"/>
                    <a:pt x="94209" y="1410"/>
                    <a:pt x="94491" y="1410"/>
                  </a:cubicBezTo>
                  <a:cubicBezTo>
                    <a:pt x="94491" y="1410"/>
                    <a:pt x="94773" y="1410"/>
                    <a:pt x="95055" y="1128"/>
                  </a:cubicBezTo>
                  <a:cubicBezTo>
                    <a:pt x="95619" y="846"/>
                    <a:pt x="95901" y="846"/>
                    <a:pt x="96465" y="282"/>
                  </a:cubicBezTo>
                  <a:cubicBezTo>
                    <a:pt x="96747" y="282"/>
                    <a:pt x="97030" y="0"/>
                    <a:pt x="97311" y="0"/>
                  </a:cubicBezTo>
                  <a:cubicBezTo>
                    <a:pt x="97594" y="0"/>
                    <a:pt x="97875" y="282"/>
                    <a:pt x="98440" y="564"/>
                  </a:cubicBezTo>
                  <a:cubicBezTo>
                    <a:pt x="98440" y="846"/>
                    <a:pt x="98722" y="846"/>
                    <a:pt x="98722" y="846"/>
                  </a:cubicBezTo>
                  <a:cubicBezTo>
                    <a:pt x="98722" y="1692"/>
                    <a:pt x="98722" y="2256"/>
                    <a:pt x="98440" y="2821"/>
                  </a:cubicBezTo>
                  <a:lnTo>
                    <a:pt x="99004" y="3103"/>
                  </a:lnTo>
                  <a:lnTo>
                    <a:pt x="99568" y="3103"/>
                  </a:lnTo>
                  <a:lnTo>
                    <a:pt x="100414" y="1692"/>
                  </a:lnTo>
                  <a:lnTo>
                    <a:pt x="100696" y="1692"/>
                  </a:lnTo>
                  <a:cubicBezTo>
                    <a:pt x="100978" y="1692"/>
                    <a:pt x="100978" y="1974"/>
                    <a:pt x="100978" y="2256"/>
                  </a:cubicBezTo>
                  <a:lnTo>
                    <a:pt x="101542" y="2821"/>
                  </a:lnTo>
                  <a:cubicBezTo>
                    <a:pt x="101542" y="2821"/>
                    <a:pt x="101824" y="3103"/>
                    <a:pt x="102106" y="3103"/>
                  </a:cubicBezTo>
                  <a:lnTo>
                    <a:pt x="104363" y="3103"/>
                  </a:lnTo>
                  <a:cubicBezTo>
                    <a:pt x="104363" y="3103"/>
                    <a:pt x="104081" y="3385"/>
                    <a:pt x="104081" y="3667"/>
                  </a:cubicBezTo>
                  <a:lnTo>
                    <a:pt x="104081" y="4231"/>
                  </a:lnTo>
                  <a:lnTo>
                    <a:pt x="105209" y="4231"/>
                  </a:lnTo>
                  <a:lnTo>
                    <a:pt x="105491" y="3949"/>
                  </a:lnTo>
                  <a:cubicBezTo>
                    <a:pt x="106055" y="3949"/>
                    <a:pt x="106337" y="3667"/>
                    <a:pt x="106619" y="3667"/>
                  </a:cubicBezTo>
                  <a:cubicBezTo>
                    <a:pt x="106619" y="3667"/>
                    <a:pt x="106902" y="3949"/>
                    <a:pt x="107183" y="3949"/>
                  </a:cubicBezTo>
                  <a:cubicBezTo>
                    <a:pt x="107747" y="3949"/>
                    <a:pt x="108312" y="4231"/>
                    <a:pt x="108876" y="4231"/>
                  </a:cubicBezTo>
                  <a:cubicBezTo>
                    <a:pt x="109722" y="4231"/>
                    <a:pt x="110004" y="4795"/>
                    <a:pt x="110004" y="5077"/>
                  </a:cubicBezTo>
                  <a:cubicBezTo>
                    <a:pt x="110004" y="5923"/>
                    <a:pt x="109722" y="6487"/>
                    <a:pt x="109722" y="7052"/>
                  </a:cubicBezTo>
                  <a:cubicBezTo>
                    <a:pt x="109722" y="7334"/>
                    <a:pt x="109722" y="7616"/>
                    <a:pt x="110286" y="7898"/>
                  </a:cubicBezTo>
                  <a:lnTo>
                    <a:pt x="110568" y="8462"/>
                  </a:lnTo>
                  <a:cubicBezTo>
                    <a:pt x="110004" y="9026"/>
                    <a:pt x="109722" y="9590"/>
                    <a:pt x="109722" y="9872"/>
                  </a:cubicBezTo>
                  <a:cubicBezTo>
                    <a:pt x="109722" y="10154"/>
                    <a:pt x="109440" y="10154"/>
                    <a:pt x="109440" y="10718"/>
                  </a:cubicBezTo>
                  <a:cubicBezTo>
                    <a:pt x="108594" y="10718"/>
                    <a:pt x="108876" y="11565"/>
                    <a:pt x="108312" y="11847"/>
                  </a:cubicBezTo>
                  <a:cubicBezTo>
                    <a:pt x="108030" y="11847"/>
                    <a:pt x="108030" y="12129"/>
                    <a:pt x="108030" y="12411"/>
                  </a:cubicBezTo>
                  <a:cubicBezTo>
                    <a:pt x="108030" y="12693"/>
                    <a:pt x="107747" y="12975"/>
                    <a:pt x="107747" y="13257"/>
                  </a:cubicBezTo>
                  <a:cubicBezTo>
                    <a:pt x="107466" y="13257"/>
                    <a:pt x="107466" y="13539"/>
                    <a:pt x="107466" y="13539"/>
                  </a:cubicBezTo>
                  <a:cubicBezTo>
                    <a:pt x="107466" y="13539"/>
                    <a:pt x="107466" y="13821"/>
                    <a:pt x="107183" y="13821"/>
                  </a:cubicBezTo>
                  <a:lnTo>
                    <a:pt x="107183" y="15231"/>
                  </a:lnTo>
                  <a:cubicBezTo>
                    <a:pt x="107183" y="15795"/>
                    <a:pt x="106337" y="16360"/>
                    <a:pt x="106337" y="16642"/>
                  </a:cubicBezTo>
                  <a:lnTo>
                    <a:pt x="106337" y="16924"/>
                  </a:lnTo>
                  <a:cubicBezTo>
                    <a:pt x="105773" y="17770"/>
                    <a:pt x="106337" y="18616"/>
                    <a:pt x="105491" y="18898"/>
                  </a:cubicBezTo>
                  <a:cubicBezTo>
                    <a:pt x="105491" y="19462"/>
                    <a:pt x="105209" y="19744"/>
                    <a:pt x="105209" y="20026"/>
                  </a:cubicBezTo>
                  <a:lnTo>
                    <a:pt x="105209" y="20308"/>
                  </a:lnTo>
                  <a:cubicBezTo>
                    <a:pt x="104927" y="20873"/>
                    <a:pt x="104363" y="21155"/>
                    <a:pt x="104363" y="21437"/>
                  </a:cubicBezTo>
                  <a:lnTo>
                    <a:pt x="104645" y="21719"/>
                  </a:lnTo>
                  <a:lnTo>
                    <a:pt x="104645" y="22283"/>
                  </a:lnTo>
                  <a:cubicBezTo>
                    <a:pt x="103799" y="22565"/>
                    <a:pt x="103516" y="23411"/>
                    <a:pt x="103235" y="23975"/>
                  </a:cubicBezTo>
                  <a:cubicBezTo>
                    <a:pt x="103516" y="23975"/>
                    <a:pt x="103516" y="24257"/>
                    <a:pt x="103516" y="24257"/>
                  </a:cubicBezTo>
                  <a:lnTo>
                    <a:pt x="103516" y="24539"/>
                  </a:lnTo>
                  <a:cubicBezTo>
                    <a:pt x="103516" y="24821"/>
                    <a:pt x="103235" y="24821"/>
                    <a:pt x="103235" y="25103"/>
                  </a:cubicBezTo>
                  <a:lnTo>
                    <a:pt x="103235" y="25386"/>
                  </a:lnTo>
                  <a:cubicBezTo>
                    <a:pt x="102671" y="25668"/>
                    <a:pt x="102388" y="25950"/>
                    <a:pt x="102388" y="26232"/>
                  </a:cubicBezTo>
                  <a:lnTo>
                    <a:pt x="102388" y="26514"/>
                  </a:lnTo>
                  <a:cubicBezTo>
                    <a:pt x="102388" y="27078"/>
                    <a:pt x="101824" y="27078"/>
                    <a:pt x="101824" y="27360"/>
                  </a:cubicBezTo>
                  <a:cubicBezTo>
                    <a:pt x="101824" y="27642"/>
                    <a:pt x="101542" y="28206"/>
                    <a:pt x="101260" y="28770"/>
                  </a:cubicBezTo>
                  <a:lnTo>
                    <a:pt x="100978" y="29052"/>
                  </a:lnTo>
                  <a:lnTo>
                    <a:pt x="100978" y="29616"/>
                  </a:lnTo>
                  <a:lnTo>
                    <a:pt x="101260" y="29899"/>
                  </a:lnTo>
                  <a:cubicBezTo>
                    <a:pt x="100978" y="30463"/>
                    <a:pt x="100414" y="30745"/>
                    <a:pt x="100414" y="31591"/>
                  </a:cubicBezTo>
                  <a:lnTo>
                    <a:pt x="99004" y="45130"/>
                  </a:lnTo>
                  <a:cubicBezTo>
                    <a:pt x="99286" y="45130"/>
                    <a:pt x="99568" y="44848"/>
                    <a:pt x="99850" y="44566"/>
                  </a:cubicBezTo>
                  <a:cubicBezTo>
                    <a:pt x="100132" y="44284"/>
                    <a:pt x="100132" y="44284"/>
                    <a:pt x="100414" y="44284"/>
                  </a:cubicBezTo>
                  <a:cubicBezTo>
                    <a:pt x="100978" y="44284"/>
                    <a:pt x="101542" y="44848"/>
                    <a:pt x="101542" y="45412"/>
                  </a:cubicBezTo>
                  <a:cubicBezTo>
                    <a:pt x="101542" y="46540"/>
                    <a:pt x="102106" y="46540"/>
                    <a:pt x="102952" y="46540"/>
                  </a:cubicBezTo>
                  <a:cubicBezTo>
                    <a:pt x="104081" y="46540"/>
                    <a:pt x="104927" y="46540"/>
                    <a:pt x="105773" y="45130"/>
                  </a:cubicBezTo>
                  <a:lnTo>
                    <a:pt x="102952" y="45694"/>
                  </a:lnTo>
                  <a:cubicBezTo>
                    <a:pt x="102952" y="45694"/>
                    <a:pt x="102388" y="45694"/>
                    <a:pt x="102388" y="45412"/>
                  </a:cubicBezTo>
                  <a:lnTo>
                    <a:pt x="102388" y="45130"/>
                  </a:lnTo>
                  <a:cubicBezTo>
                    <a:pt x="103516" y="44284"/>
                    <a:pt x="104081" y="44284"/>
                    <a:pt x="104927" y="44284"/>
                  </a:cubicBezTo>
                  <a:cubicBezTo>
                    <a:pt x="105209" y="44002"/>
                    <a:pt x="105209" y="44002"/>
                    <a:pt x="105491" y="44002"/>
                  </a:cubicBezTo>
                  <a:cubicBezTo>
                    <a:pt x="105773" y="44002"/>
                    <a:pt x="106055" y="44002"/>
                    <a:pt x="106055" y="44566"/>
                  </a:cubicBezTo>
                  <a:cubicBezTo>
                    <a:pt x="105773" y="44848"/>
                    <a:pt x="105773" y="45130"/>
                    <a:pt x="105773" y="45130"/>
                  </a:cubicBezTo>
                  <a:cubicBezTo>
                    <a:pt x="106055" y="45130"/>
                    <a:pt x="106055" y="45130"/>
                    <a:pt x="106337" y="44848"/>
                  </a:cubicBezTo>
                  <a:cubicBezTo>
                    <a:pt x="106902" y="44848"/>
                    <a:pt x="107747" y="44566"/>
                    <a:pt x="107747" y="44284"/>
                  </a:cubicBezTo>
                  <a:cubicBezTo>
                    <a:pt x="109158" y="43720"/>
                    <a:pt x="110004" y="43720"/>
                    <a:pt x="110568" y="43720"/>
                  </a:cubicBezTo>
                  <a:cubicBezTo>
                    <a:pt x="111133" y="43720"/>
                    <a:pt x="111414" y="43720"/>
                    <a:pt x="112261" y="43437"/>
                  </a:cubicBezTo>
                  <a:lnTo>
                    <a:pt x="113107" y="43437"/>
                  </a:lnTo>
                  <a:lnTo>
                    <a:pt x="112825" y="44002"/>
                  </a:lnTo>
                  <a:cubicBezTo>
                    <a:pt x="112825" y="44284"/>
                    <a:pt x="112543" y="44284"/>
                    <a:pt x="112261" y="44566"/>
                  </a:cubicBezTo>
                  <a:lnTo>
                    <a:pt x="111697" y="45412"/>
                  </a:lnTo>
                  <a:cubicBezTo>
                    <a:pt x="111697" y="45694"/>
                    <a:pt x="111978" y="45694"/>
                    <a:pt x="111978" y="45694"/>
                  </a:cubicBezTo>
                  <a:lnTo>
                    <a:pt x="111697" y="45976"/>
                  </a:lnTo>
                  <a:cubicBezTo>
                    <a:pt x="111697" y="46258"/>
                    <a:pt x="111414" y="46540"/>
                    <a:pt x="110568" y="47386"/>
                  </a:cubicBezTo>
                  <a:cubicBezTo>
                    <a:pt x="109440" y="47950"/>
                    <a:pt x="108594" y="49079"/>
                    <a:pt x="108030" y="49361"/>
                  </a:cubicBezTo>
                  <a:cubicBezTo>
                    <a:pt x="107466" y="49643"/>
                    <a:pt x="107183" y="49925"/>
                    <a:pt x="107183" y="49925"/>
                  </a:cubicBezTo>
                  <a:cubicBezTo>
                    <a:pt x="107183" y="50207"/>
                    <a:pt x="107466" y="50489"/>
                    <a:pt x="108030" y="50489"/>
                  </a:cubicBezTo>
                  <a:cubicBezTo>
                    <a:pt x="108312" y="50489"/>
                    <a:pt x="108594" y="49925"/>
                    <a:pt x="108594" y="49925"/>
                  </a:cubicBezTo>
                  <a:cubicBezTo>
                    <a:pt x="108594" y="49925"/>
                    <a:pt x="108876" y="49643"/>
                    <a:pt x="109440" y="49361"/>
                  </a:cubicBezTo>
                  <a:cubicBezTo>
                    <a:pt x="109440" y="49079"/>
                    <a:pt x="109722" y="48797"/>
                    <a:pt x="110568" y="48515"/>
                  </a:cubicBezTo>
                  <a:lnTo>
                    <a:pt x="111697" y="48515"/>
                  </a:lnTo>
                  <a:cubicBezTo>
                    <a:pt x="111978" y="48515"/>
                    <a:pt x="112543" y="48232"/>
                    <a:pt x="113389" y="47386"/>
                  </a:cubicBezTo>
                  <a:cubicBezTo>
                    <a:pt x="113671" y="47104"/>
                    <a:pt x="113671" y="46822"/>
                    <a:pt x="113671" y="46822"/>
                  </a:cubicBezTo>
                  <a:lnTo>
                    <a:pt x="113953" y="46540"/>
                  </a:lnTo>
                  <a:cubicBezTo>
                    <a:pt x="113953" y="46540"/>
                    <a:pt x="113671" y="46540"/>
                    <a:pt x="113389" y="46258"/>
                  </a:cubicBezTo>
                  <a:lnTo>
                    <a:pt x="112825" y="46258"/>
                  </a:lnTo>
                  <a:cubicBezTo>
                    <a:pt x="112543" y="46258"/>
                    <a:pt x="112825" y="45976"/>
                    <a:pt x="113107" y="45694"/>
                  </a:cubicBezTo>
                  <a:cubicBezTo>
                    <a:pt x="113107" y="45694"/>
                    <a:pt x="113107" y="45412"/>
                    <a:pt x="113389" y="45412"/>
                  </a:cubicBezTo>
                  <a:cubicBezTo>
                    <a:pt x="115081" y="45412"/>
                    <a:pt x="115928" y="44566"/>
                    <a:pt x="117056" y="43437"/>
                  </a:cubicBezTo>
                  <a:cubicBezTo>
                    <a:pt x="117338" y="43155"/>
                    <a:pt x="117338" y="43155"/>
                    <a:pt x="117620" y="43155"/>
                  </a:cubicBezTo>
                  <a:lnTo>
                    <a:pt x="117902" y="43437"/>
                  </a:lnTo>
                  <a:lnTo>
                    <a:pt x="117902" y="44002"/>
                  </a:lnTo>
                  <a:cubicBezTo>
                    <a:pt x="117902" y="44284"/>
                    <a:pt x="117902" y="44566"/>
                    <a:pt x="118184" y="45130"/>
                  </a:cubicBezTo>
                  <a:lnTo>
                    <a:pt x="118748" y="45130"/>
                  </a:lnTo>
                  <a:cubicBezTo>
                    <a:pt x="118748" y="44284"/>
                    <a:pt x="119312" y="43155"/>
                    <a:pt x="119594" y="42873"/>
                  </a:cubicBezTo>
                  <a:cubicBezTo>
                    <a:pt x="119876" y="42309"/>
                    <a:pt x="121005" y="41745"/>
                    <a:pt x="121569" y="41745"/>
                  </a:cubicBezTo>
                  <a:lnTo>
                    <a:pt x="124107" y="41745"/>
                  </a:lnTo>
                  <a:cubicBezTo>
                    <a:pt x="124389" y="41745"/>
                    <a:pt x="124107" y="42309"/>
                    <a:pt x="123825" y="42873"/>
                  </a:cubicBezTo>
                  <a:lnTo>
                    <a:pt x="123543" y="43155"/>
                  </a:lnTo>
                  <a:lnTo>
                    <a:pt x="123543" y="43720"/>
                  </a:lnTo>
                  <a:cubicBezTo>
                    <a:pt x="124107" y="43720"/>
                    <a:pt x="124389" y="44002"/>
                    <a:pt x="125236" y="44002"/>
                  </a:cubicBezTo>
                  <a:lnTo>
                    <a:pt x="125517" y="44002"/>
                  </a:lnTo>
                  <a:lnTo>
                    <a:pt x="125517" y="44848"/>
                  </a:lnTo>
                  <a:cubicBezTo>
                    <a:pt x="125517" y="44848"/>
                    <a:pt x="124671" y="45130"/>
                    <a:pt x="124389" y="45130"/>
                  </a:cubicBezTo>
                  <a:cubicBezTo>
                    <a:pt x="123825" y="45130"/>
                    <a:pt x="123261" y="45412"/>
                    <a:pt x="122979" y="45694"/>
                  </a:cubicBezTo>
                  <a:lnTo>
                    <a:pt x="122697" y="45976"/>
                  </a:lnTo>
                  <a:lnTo>
                    <a:pt x="122697" y="46540"/>
                  </a:lnTo>
                  <a:lnTo>
                    <a:pt x="123543" y="46540"/>
                  </a:lnTo>
                  <a:cubicBezTo>
                    <a:pt x="124953" y="45976"/>
                    <a:pt x="125517" y="45976"/>
                    <a:pt x="126646" y="45976"/>
                  </a:cubicBezTo>
                  <a:cubicBezTo>
                    <a:pt x="127210" y="46258"/>
                    <a:pt x="127492" y="46258"/>
                    <a:pt x="127492" y="47104"/>
                  </a:cubicBezTo>
                  <a:cubicBezTo>
                    <a:pt x="127774" y="47386"/>
                    <a:pt x="127774" y="47386"/>
                    <a:pt x="128056" y="47386"/>
                  </a:cubicBezTo>
                  <a:cubicBezTo>
                    <a:pt x="128338" y="47386"/>
                    <a:pt x="128338" y="47386"/>
                    <a:pt x="128620" y="47104"/>
                  </a:cubicBezTo>
                  <a:cubicBezTo>
                    <a:pt x="129467" y="46822"/>
                    <a:pt x="129467" y="46540"/>
                    <a:pt x="129748" y="45694"/>
                  </a:cubicBezTo>
                  <a:lnTo>
                    <a:pt x="129748" y="45412"/>
                  </a:lnTo>
                  <a:lnTo>
                    <a:pt x="129467" y="45412"/>
                  </a:lnTo>
                  <a:lnTo>
                    <a:pt x="129184" y="45694"/>
                  </a:lnTo>
                  <a:lnTo>
                    <a:pt x="128902" y="45694"/>
                  </a:lnTo>
                  <a:lnTo>
                    <a:pt x="129184" y="45412"/>
                  </a:lnTo>
                  <a:lnTo>
                    <a:pt x="129184" y="45130"/>
                  </a:lnTo>
                  <a:cubicBezTo>
                    <a:pt x="129748" y="44848"/>
                    <a:pt x="129748" y="44284"/>
                    <a:pt x="130031" y="44002"/>
                  </a:cubicBezTo>
                  <a:cubicBezTo>
                    <a:pt x="130031" y="43720"/>
                    <a:pt x="130031" y="43437"/>
                    <a:pt x="130595" y="42873"/>
                  </a:cubicBezTo>
                  <a:cubicBezTo>
                    <a:pt x="130031" y="43155"/>
                    <a:pt x="129748" y="43155"/>
                    <a:pt x="129184" y="43155"/>
                  </a:cubicBezTo>
                  <a:cubicBezTo>
                    <a:pt x="128620" y="43155"/>
                    <a:pt x="128056" y="43155"/>
                    <a:pt x="127774" y="42873"/>
                  </a:cubicBezTo>
                  <a:lnTo>
                    <a:pt x="128056" y="42591"/>
                  </a:lnTo>
                  <a:lnTo>
                    <a:pt x="128056" y="42309"/>
                  </a:lnTo>
                  <a:cubicBezTo>
                    <a:pt x="128056" y="42027"/>
                    <a:pt x="128338" y="41463"/>
                    <a:pt x="128338" y="41463"/>
                  </a:cubicBezTo>
                  <a:cubicBezTo>
                    <a:pt x="128620" y="41745"/>
                    <a:pt x="128902" y="41745"/>
                    <a:pt x="129184" y="41745"/>
                  </a:cubicBezTo>
                  <a:cubicBezTo>
                    <a:pt x="129184" y="42309"/>
                    <a:pt x="129748" y="42591"/>
                    <a:pt x="130031" y="42591"/>
                  </a:cubicBezTo>
                  <a:cubicBezTo>
                    <a:pt x="130312" y="42309"/>
                    <a:pt x="130877" y="42027"/>
                    <a:pt x="131159" y="41181"/>
                  </a:cubicBezTo>
                  <a:lnTo>
                    <a:pt x="134262" y="41181"/>
                  </a:lnTo>
                  <a:cubicBezTo>
                    <a:pt x="135390" y="41181"/>
                    <a:pt x="136800" y="40899"/>
                    <a:pt x="138774" y="40053"/>
                  </a:cubicBezTo>
                  <a:lnTo>
                    <a:pt x="140749" y="40053"/>
                  </a:lnTo>
                  <a:cubicBezTo>
                    <a:pt x="141313" y="40335"/>
                    <a:pt x="141313" y="40899"/>
                    <a:pt x="141313" y="41745"/>
                  </a:cubicBezTo>
                  <a:cubicBezTo>
                    <a:pt x="141313" y="42309"/>
                    <a:pt x="141877" y="42309"/>
                    <a:pt x="141877" y="42309"/>
                  </a:cubicBezTo>
                  <a:cubicBezTo>
                    <a:pt x="143005" y="42027"/>
                    <a:pt x="143005" y="42027"/>
                    <a:pt x="143287" y="42027"/>
                  </a:cubicBezTo>
                  <a:lnTo>
                    <a:pt x="144415" y="42027"/>
                  </a:lnTo>
                  <a:cubicBezTo>
                    <a:pt x="144415" y="42027"/>
                    <a:pt x="144134" y="42873"/>
                    <a:pt x="143851" y="43437"/>
                  </a:cubicBezTo>
                  <a:cubicBezTo>
                    <a:pt x="143851" y="44002"/>
                    <a:pt x="144134" y="44284"/>
                    <a:pt x="144415" y="44848"/>
                  </a:cubicBezTo>
                  <a:cubicBezTo>
                    <a:pt x="144980" y="44848"/>
                    <a:pt x="145262" y="44848"/>
                    <a:pt x="145262" y="45130"/>
                  </a:cubicBezTo>
                  <a:lnTo>
                    <a:pt x="144980" y="45412"/>
                  </a:lnTo>
                  <a:cubicBezTo>
                    <a:pt x="144980" y="45694"/>
                    <a:pt x="144698" y="45976"/>
                    <a:pt x="144415" y="46258"/>
                  </a:cubicBezTo>
                  <a:cubicBezTo>
                    <a:pt x="144415" y="46822"/>
                    <a:pt x="144134" y="47104"/>
                    <a:pt x="143851" y="47104"/>
                  </a:cubicBezTo>
                  <a:cubicBezTo>
                    <a:pt x="144415" y="47104"/>
                    <a:pt x="144980" y="46822"/>
                    <a:pt x="144980" y="46258"/>
                  </a:cubicBezTo>
                  <a:cubicBezTo>
                    <a:pt x="145826" y="45976"/>
                    <a:pt x="146390" y="45412"/>
                    <a:pt x="146672" y="45412"/>
                  </a:cubicBezTo>
                  <a:cubicBezTo>
                    <a:pt x="146954" y="45412"/>
                    <a:pt x="146954" y="45130"/>
                    <a:pt x="147236" y="45130"/>
                  </a:cubicBezTo>
                  <a:lnTo>
                    <a:pt x="147518" y="45412"/>
                  </a:lnTo>
                  <a:lnTo>
                    <a:pt x="148365" y="44848"/>
                  </a:lnTo>
                  <a:cubicBezTo>
                    <a:pt x="148929" y="43720"/>
                    <a:pt x="148929" y="43437"/>
                    <a:pt x="148929" y="43155"/>
                  </a:cubicBezTo>
                  <a:cubicBezTo>
                    <a:pt x="148929" y="42873"/>
                    <a:pt x="148929" y="42873"/>
                    <a:pt x="148929" y="42873"/>
                  </a:cubicBezTo>
                  <a:cubicBezTo>
                    <a:pt x="149211" y="42309"/>
                    <a:pt x="149775" y="41745"/>
                    <a:pt x="149775" y="41463"/>
                  </a:cubicBezTo>
                  <a:cubicBezTo>
                    <a:pt x="150339" y="40335"/>
                    <a:pt x="150903" y="40335"/>
                    <a:pt x="151467" y="39771"/>
                  </a:cubicBezTo>
                  <a:cubicBezTo>
                    <a:pt x="151467" y="39489"/>
                    <a:pt x="151467" y="39771"/>
                    <a:pt x="152313" y="39771"/>
                  </a:cubicBezTo>
                  <a:cubicBezTo>
                    <a:pt x="152596" y="39771"/>
                    <a:pt x="152877" y="40053"/>
                    <a:pt x="153160" y="40053"/>
                  </a:cubicBezTo>
                  <a:cubicBezTo>
                    <a:pt x="154288" y="40053"/>
                    <a:pt x="154852" y="39489"/>
                    <a:pt x="155980" y="38924"/>
                  </a:cubicBezTo>
                  <a:lnTo>
                    <a:pt x="156544" y="38924"/>
                  </a:lnTo>
                  <a:cubicBezTo>
                    <a:pt x="156826" y="39207"/>
                    <a:pt x="156826" y="39207"/>
                    <a:pt x="157390" y="39207"/>
                  </a:cubicBezTo>
                  <a:cubicBezTo>
                    <a:pt x="158237" y="39207"/>
                    <a:pt x="158518" y="39207"/>
                    <a:pt x="159083" y="38924"/>
                  </a:cubicBezTo>
                  <a:cubicBezTo>
                    <a:pt x="160211" y="38924"/>
                    <a:pt x="161057" y="39489"/>
                    <a:pt x="161621" y="39489"/>
                  </a:cubicBezTo>
                  <a:cubicBezTo>
                    <a:pt x="162749" y="39489"/>
                    <a:pt x="163878" y="38924"/>
                    <a:pt x="164724" y="38924"/>
                  </a:cubicBezTo>
                  <a:lnTo>
                    <a:pt x="165852" y="38924"/>
                  </a:lnTo>
                  <a:lnTo>
                    <a:pt x="165852" y="39207"/>
                  </a:lnTo>
                  <a:cubicBezTo>
                    <a:pt x="165852" y="39489"/>
                    <a:pt x="165852" y="39489"/>
                    <a:pt x="166135" y="39489"/>
                  </a:cubicBezTo>
                  <a:cubicBezTo>
                    <a:pt x="166416" y="39489"/>
                    <a:pt x="166416" y="39489"/>
                    <a:pt x="166699" y="39207"/>
                  </a:cubicBezTo>
                  <a:lnTo>
                    <a:pt x="167827" y="39207"/>
                  </a:lnTo>
                  <a:cubicBezTo>
                    <a:pt x="168391" y="39207"/>
                    <a:pt x="169801" y="39207"/>
                    <a:pt x="169801" y="40053"/>
                  </a:cubicBezTo>
                  <a:cubicBezTo>
                    <a:pt x="169801" y="40335"/>
                    <a:pt x="169801" y="40617"/>
                    <a:pt x="170366" y="40617"/>
                  </a:cubicBezTo>
                  <a:cubicBezTo>
                    <a:pt x="170366" y="40617"/>
                    <a:pt x="170930" y="40335"/>
                    <a:pt x="171494" y="40335"/>
                  </a:cubicBezTo>
                  <a:lnTo>
                    <a:pt x="172058" y="40335"/>
                  </a:lnTo>
                  <a:cubicBezTo>
                    <a:pt x="172622" y="40053"/>
                    <a:pt x="173468" y="39771"/>
                    <a:pt x="174314" y="39771"/>
                  </a:cubicBezTo>
                  <a:cubicBezTo>
                    <a:pt x="174878" y="39771"/>
                    <a:pt x="175442" y="40053"/>
                    <a:pt x="175724" y="40617"/>
                  </a:cubicBezTo>
                  <a:lnTo>
                    <a:pt x="177981" y="40617"/>
                  </a:lnTo>
                  <a:cubicBezTo>
                    <a:pt x="178263" y="40335"/>
                    <a:pt x="178827" y="40335"/>
                    <a:pt x="179109" y="40335"/>
                  </a:cubicBezTo>
                  <a:cubicBezTo>
                    <a:pt x="179673" y="40335"/>
                    <a:pt x="179955" y="40899"/>
                    <a:pt x="180519" y="41181"/>
                  </a:cubicBezTo>
                  <a:cubicBezTo>
                    <a:pt x="180802" y="41181"/>
                    <a:pt x="181083" y="41463"/>
                    <a:pt x="181083" y="42027"/>
                  </a:cubicBezTo>
                  <a:lnTo>
                    <a:pt x="181083" y="42309"/>
                  </a:lnTo>
                  <a:cubicBezTo>
                    <a:pt x="181083" y="43155"/>
                    <a:pt x="181648" y="43720"/>
                    <a:pt x="181648" y="44566"/>
                  </a:cubicBezTo>
                  <a:lnTo>
                    <a:pt x="181648" y="45130"/>
                  </a:lnTo>
                  <a:cubicBezTo>
                    <a:pt x="181930" y="45412"/>
                    <a:pt x="182494" y="45976"/>
                    <a:pt x="182494" y="46258"/>
                  </a:cubicBezTo>
                  <a:cubicBezTo>
                    <a:pt x="181930" y="47104"/>
                    <a:pt x="181648" y="47668"/>
                    <a:pt x="181930" y="47668"/>
                  </a:cubicBezTo>
                  <a:lnTo>
                    <a:pt x="181930" y="50771"/>
                  </a:lnTo>
                  <a:cubicBezTo>
                    <a:pt x="181930" y="51335"/>
                    <a:pt x="181083" y="51617"/>
                    <a:pt x="180802" y="51899"/>
                  </a:cubicBezTo>
                  <a:cubicBezTo>
                    <a:pt x="180519" y="51899"/>
                    <a:pt x="180238" y="52181"/>
                    <a:pt x="179955" y="52745"/>
                  </a:cubicBezTo>
                  <a:lnTo>
                    <a:pt x="177981" y="54156"/>
                  </a:lnTo>
                  <a:cubicBezTo>
                    <a:pt x="177699" y="54720"/>
                    <a:pt x="177417" y="54720"/>
                    <a:pt x="177417" y="54720"/>
                  </a:cubicBezTo>
                  <a:lnTo>
                    <a:pt x="176571" y="54720"/>
                  </a:lnTo>
                  <a:cubicBezTo>
                    <a:pt x="175724" y="54720"/>
                    <a:pt x="175160" y="55002"/>
                    <a:pt x="174314" y="55566"/>
                  </a:cubicBezTo>
                  <a:cubicBezTo>
                    <a:pt x="173186" y="56130"/>
                    <a:pt x="171776" y="56694"/>
                    <a:pt x="170647" y="56694"/>
                  </a:cubicBezTo>
                  <a:cubicBezTo>
                    <a:pt x="170083" y="56694"/>
                    <a:pt x="169801" y="56694"/>
                    <a:pt x="169519" y="56976"/>
                  </a:cubicBezTo>
                  <a:cubicBezTo>
                    <a:pt x="168673" y="57541"/>
                    <a:pt x="167827" y="57541"/>
                    <a:pt x="166699" y="57541"/>
                  </a:cubicBezTo>
                  <a:lnTo>
                    <a:pt x="165852" y="57541"/>
                  </a:lnTo>
                  <a:cubicBezTo>
                    <a:pt x="165570" y="57541"/>
                    <a:pt x="165288" y="57823"/>
                    <a:pt x="165288" y="57823"/>
                  </a:cubicBezTo>
                  <a:lnTo>
                    <a:pt x="165288" y="57541"/>
                  </a:lnTo>
                  <a:cubicBezTo>
                    <a:pt x="164724" y="57258"/>
                    <a:pt x="165006" y="56412"/>
                    <a:pt x="164160" y="56130"/>
                  </a:cubicBezTo>
                  <a:lnTo>
                    <a:pt x="164724" y="55566"/>
                  </a:lnTo>
                  <a:lnTo>
                    <a:pt x="166135" y="54438"/>
                  </a:lnTo>
                  <a:lnTo>
                    <a:pt x="164160" y="54438"/>
                  </a:lnTo>
                  <a:cubicBezTo>
                    <a:pt x="163878" y="54438"/>
                    <a:pt x="163878" y="54438"/>
                    <a:pt x="163878" y="54156"/>
                  </a:cubicBezTo>
                  <a:lnTo>
                    <a:pt x="165288" y="52745"/>
                  </a:lnTo>
                  <a:lnTo>
                    <a:pt x="165852" y="52745"/>
                  </a:lnTo>
                  <a:cubicBezTo>
                    <a:pt x="165852" y="52463"/>
                    <a:pt x="166416" y="52181"/>
                    <a:pt x="166699" y="51899"/>
                  </a:cubicBezTo>
                  <a:lnTo>
                    <a:pt x="166699" y="51617"/>
                  </a:lnTo>
                  <a:cubicBezTo>
                    <a:pt x="166416" y="51335"/>
                    <a:pt x="166416" y="51335"/>
                    <a:pt x="165852" y="51335"/>
                  </a:cubicBezTo>
                  <a:lnTo>
                    <a:pt x="165288" y="51617"/>
                  </a:lnTo>
                  <a:lnTo>
                    <a:pt x="165006" y="51617"/>
                  </a:lnTo>
                  <a:lnTo>
                    <a:pt x="165288" y="51335"/>
                  </a:lnTo>
                  <a:cubicBezTo>
                    <a:pt x="165288" y="51053"/>
                    <a:pt x="165570" y="51053"/>
                    <a:pt x="165570" y="50771"/>
                  </a:cubicBezTo>
                  <a:cubicBezTo>
                    <a:pt x="165570" y="50489"/>
                    <a:pt x="165006" y="50207"/>
                    <a:pt x="164160" y="50207"/>
                  </a:cubicBezTo>
                  <a:lnTo>
                    <a:pt x="163314" y="50207"/>
                  </a:lnTo>
                  <a:cubicBezTo>
                    <a:pt x="163032" y="50207"/>
                    <a:pt x="162749" y="50207"/>
                    <a:pt x="162468" y="50771"/>
                  </a:cubicBezTo>
                  <a:cubicBezTo>
                    <a:pt x="161904" y="51335"/>
                    <a:pt x="161339" y="51335"/>
                    <a:pt x="161057" y="51335"/>
                  </a:cubicBezTo>
                  <a:lnTo>
                    <a:pt x="159647" y="51335"/>
                  </a:lnTo>
                  <a:cubicBezTo>
                    <a:pt x="158801" y="51053"/>
                    <a:pt x="157673" y="50771"/>
                    <a:pt x="156544" y="50771"/>
                  </a:cubicBezTo>
                  <a:lnTo>
                    <a:pt x="152596" y="50771"/>
                  </a:lnTo>
                  <a:cubicBezTo>
                    <a:pt x="152313" y="50771"/>
                    <a:pt x="152032" y="50489"/>
                    <a:pt x="152032" y="50489"/>
                  </a:cubicBezTo>
                  <a:cubicBezTo>
                    <a:pt x="151749" y="50489"/>
                    <a:pt x="151749" y="50207"/>
                    <a:pt x="151749" y="49925"/>
                  </a:cubicBezTo>
                  <a:lnTo>
                    <a:pt x="151749" y="49361"/>
                  </a:lnTo>
                  <a:cubicBezTo>
                    <a:pt x="152032" y="48797"/>
                    <a:pt x="152313" y="48515"/>
                    <a:pt x="152313" y="48232"/>
                  </a:cubicBezTo>
                  <a:cubicBezTo>
                    <a:pt x="152313" y="47950"/>
                    <a:pt x="152313" y="47950"/>
                    <a:pt x="152032" y="47950"/>
                  </a:cubicBezTo>
                  <a:cubicBezTo>
                    <a:pt x="151467" y="48515"/>
                    <a:pt x="151185" y="48515"/>
                    <a:pt x="150903" y="49079"/>
                  </a:cubicBezTo>
                  <a:cubicBezTo>
                    <a:pt x="150057" y="49643"/>
                    <a:pt x="149775" y="49643"/>
                    <a:pt x="149493" y="49643"/>
                  </a:cubicBezTo>
                  <a:lnTo>
                    <a:pt x="149211" y="49643"/>
                  </a:lnTo>
                  <a:cubicBezTo>
                    <a:pt x="149211" y="49643"/>
                    <a:pt x="149211" y="49361"/>
                    <a:pt x="149493" y="49079"/>
                  </a:cubicBezTo>
                  <a:lnTo>
                    <a:pt x="149211" y="49079"/>
                  </a:lnTo>
                  <a:cubicBezTo>
                    <a:pt x="148929" y="49079"/>
                    <a:pt x="148365" y="49643"/>
                    <a:pt x="148365" y="49925"/>
                  </a:cubicBezTo>
                  <a:cubicBezTo>
                    <a:pt x="148082" y="50489"/>
                    <a:pt x="147236" y="51053"/>
                    <a:pt x="146954" y="51053"/>
                  </a:cubicBezTo>
                  <a:cubicBezTo>
                    <a:pt x="146108" y="51053"/>
                    <a:pt x="145544" y="51053"/>
                    <a:pt x="145262" y="50771"/>
                  </a:cubicBezTo>
                  <a:lnTo>
                    <a:pt x="143851" y="51335"/>
                  </a:lnTo>
                  <a:cubicBezTo>
                    <a:pt x="143005" y="51617"/>
                    <a:pt x="143005" y="51617"/>
                    <a:pt x="142723" y="51617"/>
                  </a:cubicBezTo>
                  <a:cubicBezTo>
                    <a:pt x="142441" y="51617"/>
                    <a:pt x="141877" y="51617"/>
                    <a:pt x="141313" y="51335"/>
                  </a:cubicBezTo>
                  <a:lnTo>
                    <a:pt x="140749" y="51335"/>
                  </a:lnTo>
                  <a:cubicBezTo>
                    <a:pt x="140467" y="51335"/>
                    <a:pt x="139903" y="51335"/>
                    <a:pt x="140184" y="51053"/>
                  </a:cubicBezTo>
                  <a:cubicBezTo>
                    <a:pt x="140184" y="50771"/>
                    <a:pt x="139903" y="51053"/>
                    <a:pt x="139620" y="51053"/>
                  </a:cubicBezTo>
                  <a:cubicBezTo>
                    <a:pt x="138492" y="51335"/>
                    <a:pt x="138492" y="51335"/>
                    <a:pt x="137928" y="51335"/>
                  </a:cubicBezTo>
                  <a:cubicBezTo>
                    <a:pt x="137082" y="51335"/>
                    <a:pt x="136518" y="51335"/>
                    <a:pt x="136236" y="50771"/>
                  </a:cubicBezTo>
                  <a:cubicBezTo>
                    <a:pt x="135954" y="51053"/>
                    <a:pt x="135954" y="51053"/>
                    <a:pt x="135672" y="51053"/>
                  </a:cubicBezTo>
                  <a:cubicBezTo>
                    <a:pt x="135390" y="51053"/>
                    <a:pt x="135108" y="50489"/>
                    <a:pt x="134543" y="50489"/>
                  </a:cubicBezTo>
                  <a:cubicBezTo>
                    <a:pt x="134543" y="50489"/>
                    <a:pt x="134262" y="50207"/>
                    <a:pt x="133979" y="50207"/>
                  </a:cubicBezTo>
                  <a:cubicBezTo>
                    <a:pt x="133698" y="50207"/>
                    <a:pt x="133415" y="50489"/>
                    <a:pt x="133133" y="50489"/>
                  </a:cubicBezTo>
                  <a:cubicBezTo>
                    <a:pt x="133133" y="50771"/>
                    <a:pt x="133133" y="51053"/>
                    <a:pt x="132287" y="51335"/>
                  </a:cubicBezTo>
                  <a:lnTo>
                    <a:pt x="132005" y="51335"/>
                  </a:lnTo>
                  <a:lnTo>
                    <a:pt x="132005" y="51053"/>
                  </a:lnTo>
                  <a:cubicBezTo>
                    <a:pt x="131723" y="51053"/>
                    <a:pt x="131441" y="50771"/>
                    <a:pt x="131441" y="50771"/>
                  </a:cubicBezTo>
                  <a:cubicBezTo>
                    <a:pt x="131159" y="50771"/>
                    <a:pt x="130877" y="51335"/>
                    <a:pt x="129748" y="51899"/>
                  </a:cubicBezTo>
                  <a:lnTo>
                    <a:pt x="129748" y="51335"/>
                  </a:lnTo>
                  <a:lnTo>
                    <a:pt x="129467" y="51053"/>
                  </a:lnTo>
                  <a:cubicBezTo>
                    <a:pt x="128902" y="51335"/>
                    <a:pt x="128902" y="51617"/>
                    <a:pt x="128902" y="51617"/>
                  </a:cubicBezTo>
                  <a:cubicBezTo>
                    <a:pt x="128338" y="51899"/>
                    <a:pt x="128056" y="51899"/>
                    <a:pt x="127774" y="51899"/>
                  </a:cubicBezTo>
                  <a:lnTo>
                    <a:pt x="127492" y="51899"/>
                  </a:lnTo>
                  <a:lnTo>
                    <a:pt x="127492" y="51335"/>
                  </a:lnTo>
                  <a:lnTo>
                    <a:pt x="127210" y="51335"/>
                  </a:lnTo>
                  <a:cubicBezTo>
                    <a:pt x="126646" y="51899"/>
                    <a:pt x="126364" y="52181"/>
                    <a:pt x="125800" y="52181"/>
                  </a:cubicBezTo>
                  <a:lnTo>
                    <a:pt x="125236" y="52181"/>
                  </a:lnTo>
                  <a:cubicBezTo>
                    <a:pt x="124107" y="51899"/>
                    <a:pt x="123261" y="51617"/>
                    <a:pt x="122415" y="51617"/>
                  </a:cubicBezTo>
                  <a:cubicBezTo>
                    <a:pt x="122415" y="51617"/>
                    <a:pt x="122133" y="51617"/>
                    <a:pt x="122133" y="51335"/>
                  </a:cubicBezTo>
                  <a:cubicBezTo>
                    <a:pt x="121850" y="51053"/>
                    <a:pt x="121850" y="50771"/>
                    <a:pt x="121569" y="50771"/>
                  </a:cubicBezTo>
                  <a:cubicBezTo>
                    <a:pt x="121286" y="50771"/>
                    <a:pt x="120722" y="51335"/>
                    <a:pt x="120440" y="51335"/>
                  </a:cubicBezTo>
                  <a:lnTo>
                    <a:pt x="120158" y="51617"/>
                  </a:lnTo>
                  <a:lnTo>
                    <a:pt x="119594" y="51335"/>
                  </a:lnTo>
                  <a:cubicBezTo>
                    <a:pt x="118466" y="51899"/>
                    <a:pt x="117338" y="52463"/>
                    <a:pt x="115928" y="52463"/>
                  </a:cubicBezTo>
                  <a:cubicBezTo>
                    <a:pt x="115645" y="52745"/>
                    <a:pt x="115364" y="52745"/>
                    <a:pt x="114799" y="52745"/>
                  </a:cubicBezTo>
                  <a:lnTo>
                    <a:pt x="113671" y="52745"/>
                  </a:lnTo>
                  <a:cubicBezTo>
                    <a:pt x="113389" y="52745"/>
                    <a:pt x="113389" y="52745"/>
                    <a:pt x="112825" y="53028"/>
                  </a:cubicBezTo>
                  <a:cubicBezTo>
                    <a:pt x="110850" y="53874"/>
                    <a:pt x="109158" y="54156"/>
                    <a:pt x="108030" y="54156"/>
                  </a:cubicBezTo>
                  <a:cubicBezTo>
                    <a:pt x="107183" y="54438"/>
                    <a:pt x="106619" y="54438"/>
                    <a:pt x="106055" y="54438"/>
                  </a:cubicBezTo>
                  <a:lnTo>
                    <a:pt x="104927" y="54438"/>
                  </a:lnTo>
                  <a:cubicBezTo>
                    <a:pt x="103799" y="54438"/>
                    <a:pt x="102388" y="54720"/>
                    <a:pt x="100978" y="55284"/>
                  </a:cubicBezTo>
                  <a:cubicBezTo>
                    <a:pt x="100696" y="55284"/>
                    <a:pt x="100696" y="55002"/>
                    <a:pt x="100414" y="55002"/>
                  </a:cubicBezTo>
                  <a:lnTo>
                    <a:pt x="100414" y="53310"/>
                  </a:lnTo>
                  <a:cubicBezTo>
                    <a:pt x="100414" y="53028"/>
                    <a:pt x="100414" y="53028"/>
                    <a:pt x="100978" y="52745"/>
                  </a:cubicBezTo>
                  <a:cubicBezTo>
                    <a:pt x="100696" y="52745"/>
                    <a:pt x="100696" y="52463"/>
                    <a:pt x="100696" y="52463"/>
                  </a:cubicBezTo>
                  <a:cubicBezTo>
                    <a:pt x="100696" y="52463"/>
                    <a:pt x="100414" y="52463"/>
                    <a:pt x="100414" y="52745"/>
                  </a:cubicBezTo>
                  <a:cubicBezTo>
                    <a:pt x="100132" y="52745"/>
                    <a:pt x="99850" y="53028"/>
                    <a:pt x="99850" y="53028"/>
                  </a:cubicBezTo>
                  <a:lnTo>
                    <a:pt x="97875" y="54438"/>
                  </a:lnTo>
                  <a:lnTo>
                    <a:pt x="97030" y="54438"/>
                  </a:lnTo>
                  <a:cubicBezTo>
                    <a:pt x="96465" y="55002"/>
                    <a:pt x="95901" y="55284"/>
                    <a:pt x="95055" y="55284"/>
                  </a:cubicBezTo>
                  <a:cubicBezTo>
                    <a:pt x="89978" y="64874"/>
                    <a:pt x="87721" y="66849"/>
                    <a:pt x="86875" y="66849"/>
                  </a:cubicBezTo>
                  <a:cubicBezTo>
                    <a:pt x="86311" y="66849"/>
                    <a:pt x="86311" y="66284"/>
                    <a:pt x="86311" y="65720"/>
                  </a:cubicBezTo>
                  <a:lnTo>
                    <a:pt x="86311" y="65438"/>
                  </a:lnTo>
                  <a:cubicBezTo>
                    <a:pt x="86311" y="65438"/>
                    <a:pt x="86029" y="65720"/>
                    <a:pt x="85747" y="65720"/>
                  </a:cubicBezTo>
                  <a:cubicBezTo>
                    <a:pt x="85465" y="65720"/>
                    <a:pt x="85465" y="65720"/>
                    <a:pt x="85465" y="66002"/>
                  </a:cubicBezTo>
                  <a:cubicBezTo>
                    <a:pt x="85465" y="66284"/>
                    <a:pt x="86593" y="68541"/>
                    <a:pt x="86593" y="68823"/>
                  </a:cubicBezTo>
                  <a:lnTo>
                    <a:pt x="86593" y="69105"/>
                  </a:lnTo>
                  <a:cubicBezTo>
                    <a:pt x="86311" y="69387"/>
                    <a:pt x="86311" y="69669"/>
                    <a:pt x="86029" y="70515"/>
                  </a:cubicBezTo>
                  <a:lnTo>
                    <a:pt x="85182" y="71079"/>
                  </a:lnTo>
                  <a:cubicBezTo>
                    <a:pt x="85182" y="71362"/>
                    <a:pt x="85465" y="71362"/>
                    <a:pt x="85747" y="71644"/>
                  </a:cubicBezTo>
                  <a:cubicBezTo>
                    <a:pt x="85747" y="71644"/>
                    <a:pt x="86029" y="71926"/>
                    <a:pt x="86029" y="72208"/>
                  </a:cubicBezTo>
                  <a:cubicBezTo>
                    <a:pt x="86029" y="72490"/>
                    <a:pt x="86029" y="73054"/>
                    <a:pt x="85747" y="73618"/>
                  </a:cubicBezTo>
                  <a:cubicBezTo>
                    <a:pt x="85182" y="73900"/>
                    <a:pt x="84901" y="74182"/>
                    <a:pt x="84901" y="74182"/>
                  </a:cubicBezTo>
                  <a:cubicBezTo>
                    <a:pt x="84618" y="74464"/>
                    <a:pt x="84337" y="74746"/>
                    <a:pt x="84054" y="74746"/>
                  </a:cubicBezTo>
                  <a:cubicBezTo>
                    <a:pt x="83490" y="75028"/>
                    <a:pt x="83208" y="75028"/>
                    <a:pt x="83208" y="75310"/>
                  </a:cubicBezTo>
                  <a:cubicBezTo>
                    <a:pt x="83208" y="75310"/>
                    <a:pt x="83772" y="75592"/>
                    <a:pt x="84054" y="75875"/>
                  </a:cubicBezTo>
                  <a:cubicBezTo>
                    <a:pt x="84337" y="75875"/>
                    <a:pt x="84618" y="76439"/>
                    <a:pt x="84337" y="76439"/>
                  </a:cubicBezTo>
                  <a:cubicBezTo>
                    <a:pt x="83490" y="77003"/>
                    <a:pt x="83490" y="77003"/>
                    <a:pt x="83208" y="77567"/>
                  </a:cubicBezTo>
                  <a:lnTo>
                    <a:pt x="83208" y="77849"/>
                  </a:lnTo>
                  <a:cubicBezTo>
                    <a:pt x="83490" y="78977"/>
                    <a:pt x="78977" y="92516"/>
                    <a:pt x="78977" y="94491"/>
                  </a:cubicBezTo>
                  <a:cubicBezTo>
                    <a:pt x="78977" y="95619"/>
                    <a:pt x="78977" y="96465"/>
                    <a:pt x="78131" y="96747"/>
                  </a:cubicBezTo>
                  <a:lnTo>
                    <a:pt x="78131" y="98721"/>
                  </a:lnTo>
                  <a:cubicBezTo>
                    <a:pt x="78131" y="99004"/>
                    <a:pt x="77285" y="99004"/>
                    <a:pt x="77285" y="99568"/>
                  </a:cubicBezTo>
                  <a:lnTo>
                    <a:pt x="77567" y="99850"/>
                  </a:lnTo>
                  <a:cubicBezTo>
                    <a:pt x="77567" y="100132"/>
                    <a:pt x="77567" y="100978"/>
                    <a:pt x="77285" y="100978"/>
                  </a:cubicBezTo>
                  <a:lnTo>
                    <a:pt x="77285" y="101542"/>
                  </a:lnTo>
                  <a:cubicBezTo>
                    <a:pt x="77285" y="102106"/>
                    <a:pt x="76721" y="104081"/>
                    <a:pt x="75875" y="104081"/>
                  </a:cubicBezTo>
                  <a:cubicBezTo>
                    <a:pt x="75310" y="104081"/>
                    <a:pt x="75310" y="104927"/>
                    <a:pt x="75310" y="104927"/>
                  </a:cubicBezTo>
                  <a:cubicBezTo>
                    <a:pt x="75593" y="104927"/>
                    <a:pt x="76157" y="105209"/>
                    <a:pt x="76157" y="105491"/>
                  </a:cubicBezTo>
                  <a:cubicBezTo>
                    <a:pt x="76157" y="105773"/>
                    <a:pt x="76157" y="105773"/>
                    <a:pt x="75593" y="106055"/>
                  </a:cubicBezTo>
                  <a:lnTo>
                    <a:pt x="75875" y="106337"/>
                  </a:lnTo>
                  <a:lnTo>
                    <a:pt x="75875" y="107183"/>
                  </a:lnTo>
                  <a:lnTo>
                    <a:pt x="75310" y="107183"/>
                  </a:lnTo>
                  <a:cubicBezTo>
                    <a:pt x="75593" y="107747"/>
                    <a:pt x="75593" y="108312"/>
                    <a:pt x="75593" y="108594"/>
                  </a:cubicBezTo>
                  <a:lnTo>
                    <a:pt x="74746" y="109722"/>
                  </a:lnTo>
                  <a:cubicBezTo>
                    <a:pt x="74746" y="110004"/>
                    <a:pt x="75029" y="110004"/>
                    <a:pt x="75029" y="110286"/>
                  </a:cubicBezTo>
                  <a:lnTo>
                    <a:pt x="75029" y="110568"/>
                  </a:lnTo>
                  <a:cubicBezTo>
                    <a:pt x="75029" y="110850"/>
                    <a:pt x="74746" y="110850"/>
                    <a:pt x="74465" y="111132"/>
                  </a:cubicBezTo>
                  <a:cubicBezTo>
                    <a:pt x="74465" y="111978"/>
                    <a:pt x="74465" y="112542"/>
                    <a:pt x="74182" y="113107"/>
                  </a:cubicBezTo>
                  <a:cubicBezTo>
                    <a:pt x="74182" y="113389"/>
                    <a:pt x="73900" y="113671"/>
                    <a:pt x="73900" y="113953"/>
                  </a:cubicBezTo>
                  <a:cubicBezTo>
                    <a:pt x="73618" y="113953"/>
                    <a:pt x="73336" y="114517"/>
                    <a:pt x="73336" y="115363"/>
                  </a:cubicBezTo>
                  <a:cubicBezTo>
                    <a:pt x="73336" y="115645"/>
                    <a:pt x="73618" y="115645"/>
                    <a:pt x="73618" y="115927"/>
                  </a:cubicBezTo>
                  <a:lnTo>
                    <a:pt x="73618" y="116491"/>
                  </a:lnTo>
                  <a:cubicBezTo>
                    <a:pt x="73618" y="117055"/>
                    <a:pt x="73054" y="117055"/>
                    <a:pt x="73054" y="118184"/>
                  </a:cubicBezTo>
                  <a:cubicBezTo>
                    <a:pt x="73054" y="118466"/>
                    <a:pt x="72490" y="119030"/>
                    <a:pt x="72490" y="119030"/>
                  </a:cubicBezTo>
                  <a:cubicBezTo>
                    <a:pt x="71644" y="119594"/>
                    <a:pt x="71079" y="119594"/>
                    <a:pt x="71079" y="119876"/>
                  </a:cubicBezTo>
                  <a:cubicBezTo>
                    <a:pt x="71079" y="119876"/>
                    <a:pt x="71362" y="120158"/>
                    <a:pt x="71644" y="120158"/>
                  </a:cubicBezTo>
                  <a:cubicBezTo>
                    <a:pt x="71644" y="120440"/>
                    <a:pt x="71926" y="120440"/>
                    <a:pt x="71926" y="120722"/>
                  </a:cubicBezTo>
                  <a:lnTo>
                    <a:pt x="71926" y="121286"/>
                  </a:lnTo>
                  <a:cubicBezTo>
                    <a:pt x="71926" y="122133"/>
                    <a:pt x="71362" y="122697"/>
                    <a:pt x="70515" y="123261"/>
                  </a:cubicBezTo>
                  <a:cubicBezTo>
                    <a:pt x="70234" y="123543"/>
                    <a:pt x="69951" y="123543"/>
                    <a:pt x="69951" y="123825"/>
                  </a:cubicBezTo>
                  <a:lnTo>
                    <a:pt x="70234" y="124107"/>
                  </a:lnTo>
                  <a:cubicBezTo>
                    <a:pt x="70234" y="124389"/>
                    <a:pt x="70234" y="124671"/>
                    <a:pt x="70515" y="124953"/>
                  </a:cubicBezTo>
                  <a:cubicBezTo>
                    <a:pt x="70515" y="125235"/>
                    <a:pt x="70798" y="125517"/>
                    <a:pt x="70798" y="125517"/>
                  </a:cubicBezTo>
                  <a:cubicBezTo>
                    <a:pt x="70798" y="125799"/>
                    <a:pt x="70515" y="125799"/>
                    <a:pt x="70515" y="125799"/>
                  </a:cubicBezTo>
                  <a:cubicBezTo>
                    <a:pt x="70515" y="126081"/>
                    <a:pt x="70515" y="126363"/>
                    <a:pt x="70798" y="126363"/>
                  </a:cubicBezTo>
                  <a:lnTo>
                    <a:pt x="71362" y="126363"/>
                  </a:lnTo>
                  <a:lnTo>
                    <a:pt x="71362" y="126646"/>
                  </a:lnTo>
                  <a:lnTo>
                    <a:pt x="71079" y="126928"/>
                  </a:lnTo>
                  <a:lnTo>
                    <a:pt x="70515" y="126928"/>
                  </a:lnTo>
                  <a:cubicBezTo>
                    <a:pt x="70234" y="126928"/>
                    <a:pt x="70234" y="126646"/>
                    <a:pt x="69951" y="126363"/>
                  </a:cubicBezTo>
                  <a:lnTo>
                    <a:pt x="69669" y="126363"/>
                  </a:lnTo>
                  <a:cubicBezTo>
                    <a:pt x="69387" y="126363"/>
                    <a:pt x="68823" y="126928"/>
                    <a:pt x="68823" y="127774"/>
                  </a:cubicBezTo>
                  <a:cubicBezTo>
                    <a:pt x="68823" y="128056"/>
                    <a:pt x="68541" y="128056"/>
                    <a:pt x="68541" y="128056"/>
                  </a:cubicBezTo>
                  <a:lnTo>
                    <a:pt x="67977" y="128056"/>
                  </a:lnTo>
                  <a:cubicBezTo>
                    <a:pt x="67977" y="127774"/>
                    <a:pt x="67131" y="128338"/>
                    <a:pt x="67131" y="128338"/>
                  </a:cubicBezTo>
                  <a:cubicBezTo>
                    <a:pt x="66848" y="128902"/>
                    <a:pt x="66848" y="129184"/>
                    <a:pt x="66848" y="129466"/>
                  </a:cubicBezTo>
                  <a:lnTo>
                    <a:pt x="66848" y="130030"/>
                  </a:lnTo>
                  <a:cubicBezTo>
                    <a:pt x="66848" y="130312"/>
                    <a:pt x="66848" y="130594"/>
                    <a:pt x="66567" y="130594"/>
                  </a:cubicBezTo>
                  <a:lnTo>
                    <a:pt x="66567" y="131723"/>
                  </a:lnTo>
                  <a:lnTo>
                    <a:pt x="67131" y="132851"/>
                  </a:lnTo>
                  <a:lnTo>
                    <a:pt x="67131" y="133133"/>
                  </a:lnTo>
                  <a:cubicBezTo>
                    <a:pt x="67131" y="133415"/>
                    <a:pt x="67131" y="133415"/>
                    <a:pt x="66848" y="133415"/>
                  </a:cubicBezTo>
                  <a:cubicBezTo>
                    <a:pt x="66848" y="133979"/>
                    <a:pt x="66567" y="134261"/>
                    <a:pt x="66003" y="134825"/>
                  </a:cubicBezTo>
                  <a:cubicBezTo>
                    <a:pt x="66003" y="134825"/>
                    <a:pt x="66003" y="135107"/>
                    <a:pt x="66284" y="135389"/>
                  </a:cubicBezTo>
                  <a:lnTo>
                    <a:pt x="66567" y="135389"/>
                  </a:lnTo>
                  <a:lnTo>
                    <a:pt x="67413" y="134825"/>
                  </a:lnTo>
                  <a:cubicBezTo>
                    <a:pt x="67695" y="134825"/>
                    <a:pt x="67977" y="134261"/>
                    <a:pt x="68541" y="134261"/>
                  </a:cubicBezTo>
                  <a:cubicBezTo>
                    <a:pt x="68823" y="134261"/>
                    <a:pt x="69387" y="133979"/>
                    <a:pt x="69387" y="133697"/>
                  </a:cubicBezTo>
                  <a:lnTo>
                    <a:pt x="69951" y="133697"/>
                  </a:lnTo>
                  <a:lnTo>
                    <a:pt x="69951" y="134261"/>
                  </a:lnTo>
                  <a:cubicBezTo>
                    <a:pt x="69669" y="134261"/>
                    <a:pt x="69387" y="134825"/>
                    <a:pt x="69105" y="135389"/>
                  </a:cubicBezTo>
                  <a:lnTo>
                    <a:pt x="69105" y="135954"/>
                  </a:lnTo>
                  <a:cubicBezTo>
                    <a:pt x="69105" y="136800"/>
                    <a:pt x="69105" y="137082"/>
                    <a:pt x="67413" y="137082"/>
                  </a:cubicBezTo>
                  <a:cubicBezTo>
                    <a:pt x="67131" y="137082"/>
                    <a:pt x="67131" y="137646"/>
                    <a:pt x="67131" y="137928"/>
                  </a:cubicBezTo>
                  <a:lnTo>
                    <a:pt x="67131" y="138774"/>
                  </a:lnTo>
                  <a:cubicBezTo>
                    <a:pt x="67131" y="139056"/>
                    <a:pt x="67131" y="139056"/>
                    <a:pt x="67413" y="139338"/>
                  </a:cubicBezTo>
                  <a:cubicBezTo>
                    <a:pt x="67695" y="139620"/>
                    <a:pt x="68541" y="139338"/>
                    <a:pt x="68541" y="139902"/>
                  </a:cubicBezTo>
                  <a:lnTo>
                    <a:pt x="68541" y="140185"/>
                  </a:lnTo>
                  <a:cubicBezTo>
                    <a:pt x="68541" y="140467"/>
                    <a:pt x="68259" y="140467"/>
                    <a:pt x="68259" y="141031"/>
                  </a:cubicBezTo>
                  <a:cubicBezTo>
                    <a:pt x="68259" y="141595"/>
                    <a:pt x="67695" y="141595"/>
                    <a:pt x="67695" y="141595"/>
                  </a:cubicBezTo>
                  <a:lnTo>
                    <a:pt x="67413" y="141877"/>
                  </a:lnTo>
                  <a:cubicBezTo>
                    <a:pt x="67413" y="142441"/>
                    <a:pt x="67413" y="142441"/>
                    <a:pt x="67695" y="143005"/>
                  </a:cubicBezTo>
                  <a:cubicBezTo>
                    <a:pt x="67695" y="143287"/>
                    <a:pt x="67695" y="143287"/>
                    <a:pt x="67413" y="143287"/>
                  </a:cubicBezTo>
                  <a:cubicBezTo>
                    <a:pt x="67413" y="143287"/>
                    <a:pt x="67131" y="143287"/>
                    <a:pt x="66848" y="143005"/>
                  </a:cubicBezTo>
                  <a:lnTo>
                    <a:pt x="66848" y="142723"/>
                  </a:lnTo>
                  <a:lnTo>
                    <a:pt x="66567" y="142441"/>
                  </a:lnTo>
                  <a:cubicBezTo>
                    <a:pt x="66848" y="141877"/>
                    <a:pt x="67131" y="141595"/>
                    <a:pt x="67131" y="140749"/>
                  </a:cubicBezTo>
                  <a:lnTo>
                    <a:pt x="66848" y="140185"/>
                  </a:lnTo>
                  <a:cubicBezTo>
                    <a:pt x="65720" y="140749"/>
                    <a:pt x="65438" y="141313"/>
                    <a:pt x="65156" y="141595"/>
                  </a:cubicBezTo>
                  <a:lnTo>
                    <a:pt x="64874" y="141877"/>
                  </a:lnTo>
                  <a:cubicBezTo>
                    <a:pt x="64874" y="141877"/>
                    <a:pt x="64874" y="142159"/>
                    <a:pt x="65156" y="142159"/>
                  </a:cubicBezTo>
                  <a:cubicBezTo>
                    <a:pt x="65438" y="142441"/>
                    <a:pt x="65720" y="142441"/>
                    <a:pt x="65720" y="142441"/>
                  </a:cubicBezTo>
                  <a:lnTo>
                    <a:pt x="65720" y="142723"/>
                  </a:lnTo>
                  <a:cubicBezTo>
                    <a:pt x="65438" y="143005"/>
                    <a:pt x="65156" y="143287"/>
                    <a:pt x="65156" y="144133"/>
                  </a:cubicBezTo>
                  <a:cubicBezTo>
                    <a:pt x="65156" y="144415"/>
                    <a:pt x="65156" y="144415"/>
                    <a:pt x="64310" y="144697"/>
                  </a:cubicBezTo>
                  <a:cubicBezTo>
                    <a:pt x="63746" y="144980"/>
                    <a:pt x="63464" y="144980"/>
                    <a:pt x="63464" y="145262"/>
                  </a:cubicBezTo>
                  <a:cubicBezTo>
                    <a:pt x="63464" y="145544"/>
                    <a:pt x="63746" y="145544"/>
                    <a:pt x="64028" y="145826"/>
                  </a:cubicBezTo>
                  <a:cubicBezTo>
                    <a:pt x="64592" y="146108"/>
                    <a:pt x="64592" y="146954"/>
                    <a:pt x="64592" y="146954"/>
                  </a:cubicBezTo>
                  <a:cubicBezTo>
                    <a:pt x="63746" y="147236"/>
                    <a:pt x="63746" y="147518"/>
                    <a:pt x="63746" y="147800"/>
                  </a:cubicBezTo>
                  <a:lnTo>
                    <a:pt x="64028" y="148082"/>
                  </a:lnTo>
                  <a:cubicBezTo>
                    <a:pt x="64028" y="148646"/>
                    <a:pt x="64028" y="148646"/>
                    <a:pt x="63746" y="149210"/>
                  </a:cubicBezTo>
                  <a:cubicBezTo>
                    <a:pt x="63464" y="149493"/>
                    <a:pt x="63182" y="149493"/>
                    <a:pt x="63182" y="149775"/>
                  </a:cubicBezTo>
                  <a:cubicBezTo>
                    <a:pt x="63182" y="150057"/>
                    <a:pt x="63464" y="150339"/>
                    <a:pt x="63746" y="150621"/>
                  </a:cubicBezTo>
                  <a:lnTo>
                    <a:pt x="64028" y="150903"/>
                  </a:lnTo>
                  <a:cubicBezTo>
                    <a:pt x="64028" y="151185"/>
                    <a:pt x="63746" y="151467"/>
                    <a:pt x="63464" y="151467"/>
                  </a:cubicBezTo>
                  <a:lnTo>
                    <a:pt x="62618" y="153159"/>
                  </a:lnTo>
                  <a:lnTo>
                    <a:pt x="62618" y="153441"/>
                  </a:lnTo>
                  <a:cubicBezTo>
                    <a:pt x="62900" y="153723"/>
                    <a:pt x="62900" y="154006"/>
                    <a:pt x="62900" y="154570"/>
                  </a:cubicBezTo>
                  <a:cubicBezTo>
                    <a:pt x="62618" y="154852"/>
                    <a:pt x="62618" y="155134"/>
                    <a:pt x="62618" y="155416"/>
                  </a:cubicBezTo>
                  <a:lnTo>
                    <a:pt x="62618" y="156544"/>
                  </a:lnTo>
                  <a:cubicBezTo>
                    <a:pt x="62618" y="156826"/>
                    <a:pt x="62900" y="156826"/>
                    <a:pt x="62900" y="157108"/>
                  </a:cubicBezTo>
                  <a:cubicBezTo>
                    <a:pt x="63182" y="157108"/>
                    <a:pt x="63182" y="157108"/>
                    <a:pt x="63182" y="157390"/>
                  </a:cubicBezTo>
                  <a:cubicBezTo>
                    <a:pt x="63182" y="157672"/>
                    <a:pt x="62900" y="157954"/>
                    <a:pt x="62618" y="157954"/>
                  </a:cubicBezTo>
                  <a:cubicBezTo>
                    <a:pt x="62618" y="158236"/>
                    <a:pt x="62618" y="159083"/>
                    <a:pt x="62336" y="159647"/>
                  </a:cubicBezTo>
                  <a:cubicBezTo>
                    <a:pt x="62054" y="159929"/>
                    <a:pt x="62054" y="160211"/>
                    <a:pt x="62054" y="160211"/>
                  </a:cubicBezTo>
                  <a:cubicBezTo>
                    <a:pt x="62054" y="160493"/>
                    <a:pt x="62054" y="160775"/>
                    <a:pt x="62336" y="160775"/>
                  </a:cubicBezTo>
                  <a:lnTo>
                    <a:pt x="62336" y="161621"/>
                  </a:lnTo>
                  <a:cubicBezTo>
                    <a:pt x="62336" y="161903"/>
                    <a:pt x="62054" y="162185"/>
                    <a:pt x="61207" y="162467"/>
                  </a:cubicBezTo>
                  <a:cubicBezTo>
                    <a:pt x="60926" y="162749"/>
                    <a:pt x="60643" y="162749"/>
                    <a:pt x="60643" y="162749"/>
                  </a:cubicBezTo>
                  <a:cubicBezTo>
                    <a:pt x="60643" y="163314"/>
                    <a:pt x="60643" y="163596"/>
                    <a:pt x="60926" y="163596"/>
                  </a:cubicBezTo>
                  <a:cubicBezTo>
                    <a:pt x="61772" y="163596"/>
                    <a:pt x="61772" y="163878"/>
                    <a:pt x="62054" y="164724"/>
                  </a:cubicBezTo>
                  <a:cubicBezTo>
                    <a:pt x="62054" y="165006"/>
                    <a:pt x="61772" y="165006"/>
                    <a:pt x="61772" y="165288"/>
                  </a:cubicBezTo>
                  <a:lnTo>
                    <a:pt x="62054" y="165570"/>
                  </a:lnTo>
                  <a:lnTo>
                    <a:pt x="62054" y="166698"/>
                  </a:lnTo>
                  <a:cubicBezTo>
                    <a:pt x="62054" y="166980"/>
                    <a:pt x="61772" y="167544"/>
                    <a:pt x="61207" y="167827"/>
                  </a:cubicBezTo>
                  <a:lnTo>
                    <a:pt x="61207" y="169519"/>
                  </a:lnTo>
                  <a:cubicBezTo>
                    <a:pt x="60926" y="169801"/>
                    <a:pt x="60926" y="170083"/>
                    <a:pt x="60926" y="170365"/>
                  </a:cubicBezTo>
                  <a:cubicBezTo>
                    <a:pt x="60926" y="170647"/>
                    <a:pt x="60926" y="170647"/>
                    <a:pt x="60643" y="170929"/>
                  </a:cubicBezTo>
                  <a:cubicBezTo>
                    <a:pt x="60643" y="171211"/>
                    <a:pt x="60643" y="171493"/>
                    <a:pt x="60926" y="171493"/>
                  </a:cubicBezTo>
                  <a:lnTo>
                    <a:pt x="62054" y="171493"/>
                  </a:lnTo>
                  <a:cubicBezTo>
                    <a:pt x="62336" y="171493"/>
                    <a:pt x="62618" y="171211"/>
                    <a:pt x="62618" y="170929"/>
                  </a:cubicBezTo>
                  <a:lnTo>
                    <a:pt x="62900" y="170929"/>
                  </a:lnTo>
                  <a:cubicBezTo>
                    <a:pt x="62900" y="170929"/>
                    <a:pt x="63182" y="170929"/>
                    <a:pt x="63182" y="171211"/>
                  </a:cubicBezTo>
                  <a:cubicBezTo>
                    <a:pt x="63182" y="171493"/>
                    <a:pt x="63182" y="171775"/>
                    <a:pt x="63464" y="172340"/>
                  </a:cubicBezTo>
                  <a:cubicBezTo>
                    <a:pt x="63464" y="172340"/>
                    <a:pt x="63464" y="172622"/>
                    <a:pt x="63746" y="172622"/>
                  </a:cubicBezTo>
                  <a:cubicBezTo>
                    <a:pt x="64028" y="172904"/>
                    <a:pt x="64028" y="173186"/>
                    <a:pt x="64028" y="173186"/>
                  </a:cubicBezTo>
                  <a:cubicBezTo>
                    <a:pt x="64028" y="173468"/>
                    <a:pt x="63746" y="173468"/>
                    <a:pt x="63182" y="174032"/>
                  </a:cubicBezTo>
                  <a:cubicBezTo>
                    <a:pt x="62900" y="174314"/>
                    <a:pt x="62900" y="174314"/>
                    <a:pt x="62618" y="174314"/>
                  </a:cubicBezTo>
                  <a:cubicBezTo>
                    <a:pt x="62336" y="174032"/>
                    <a:pt x="62054" y="173186"/>
                    <a:pt x="61490" y="172904"/>
                  </a:cubicBezTo>
                  <a:lnTo>
                    <a:pt x="61207" y="172622"/>
                  </a:lnTo>
                  <a:cubicBezTo>
                    <a:pt x="61207" y="172622"/>
                    <a:pt x="61207" y="172904"/>
                    <a:pt x="60926" y="173186"/>
                  </a:cubicBezTo>
                  <a:cubicBezTo>
                    <a:pt x="60643" y="173750"/>
                    <a:pt x="60079" y="174314"/>
                    <a:pt x="60079" y="174878"/>
                  </a:cubicBezTo>
                  <a:lnTo>
                    <a:pt x="60079" y="175160"/>
                  </a:lnTo>
                  <a:cubicBezTo>
                    <a:pt x="60079" y="176006"/>
                    <a:pt x="60079" y="177135"/>
                    <a:pt x="59797" y="178263"/>
                  </a:cubicBezTo>
                  <a:lnTo>
                    <a:pt x="59797" y="179391"/>
                  </a:lnTo>
                  <a:cubicBezTo>
                    <a:pt x="59515" y="179673"/>
                    <a:pt x="59515" y="179955"/>
                    <a:pt x="59515" y="180237"/>
                  </a:cubicBezTo>
                  <a:lnTo>
                    <a:pt x="59515" y="181365"/>
                  </a:lnTo>
                  <a:cubicBezTo>
                    <a:pt x="59797" y="181648"/>
                    <a:pt x="59797" y="181648"/>
                    <a:pt x="59797" y="181930"/>
                  </a:cubicBezTo>
                  <a:lnTo>
                    <a:pt x="59797" y="183058"/>
                  </a:lnTo>
                  <a:cubicBezTo>
                    <a:pt x="59797" y="183058"/>
                    <a:pt x="59797" y="183622"/>
                    <a:pt x="59233" y="183904"/>
                  </a:cubicBezTo>
                  <a:lnTo>
                    <a:pt x="59233" y="184750"/>
                  </a:lnTo>
                  <a:cubicBezTo>
                    <a:pt x="59233" y="185314"/>
                    <a:pt x="59515" y="185878"/>
                    <a:pt x="59515" y="186443"/>
                  </a:cubicBezTo>
                  <a:cubicBezTo>
                    <a:pt x="59515" y="187007"/>
                    <a:pt x="59233" y="187289"/>
                    <a:pt x="59233" y="187853"/>
                  </a:cubicBezTo>
                  <a:lnTo>
                    <a:pt x="59233" y="188135"/>
                  </a:lnTo>
                  <a:cubicBezTo>
                    <a:pt x="59233" y="188417"/>
                    <a:pt x="59233" y="188417"/>
                    <a:pt x="59515" y="188417"/>
                  </a:cubicBezTo>
                  <a:lnTo>
                    <a:pt x="59797" y="188417"/>
                  </a:lnTo>
                  <a:lnTo>
                    <a:pt x="60079" y="188981"/>
                  </a:lnTo>
                  <a:cubicBezTo>
                    <a:pt x="59515" y="189263"/>
                    <a:pt x="59797" y="189545"/>
                    <a:pt x="59515" y="189827"/>
                  </a:cubicBezTo>
                  <a:lnTo>
                    <a:pt x="59515" y="192084"/>
                  </a:lnTo>
                  <a:cubicBezTo>
                    <a:pt x="59515" y="192366"/>
                    <a:pt x="59515" y="192366"/>
                    <a:pt x="59797" y="192366"/>
                  </a:cubicBezTo>
                  <a:lnTo>
                    <a:pt x="60079" y="192366"/>
                  </a:lnTo>
                  <a:cubicBezTo>
                    <a:pt x="60079" y="191802"/>
                    <a:pt x="60643" y="191238"/>
                    <a:pt x="60643" y="190956"/>
                  </a:cubicBezTo>
                  <a:lnTo>
                    <a:pt x="60926" y="190673"/>
                  </a:lnTo>
                  <a:cubicBezTo>
                    <a:pt x="60926" y="190673"/>
                    <a:pt x="60926" y="190956"/>
                    <a:pt x="61207" y="190956"/>
                  </a:cubicBezTo>
                  <a:cubicBezTo>
                    <a:pt x="62054" y="191238"/>
                    <a:pt x="62054" y="191238"/>
                    <a:pt x="62054" y="192084"/>
                  </a:cubicBezTo>
                  <a:cubicBezTo>
                    <a:pt x="61490" y="192084"/>
                    <a:pt x="61490" y="192366"/>
                    <a:pt x="61490" y="192648"/>
                  </a:cubicBezTo>
                  <a:cubicBezTo>
                    <a:pt x="61490" y="192648"/>
                    <a:pt x="62054" y="192648"/>
                    <a:pt x="62054" y="192930"/>
                  </a:cubicBezTo>
                  <a:cubicBezTo>
                    <a:pt x="61772" y="194058"/>
                    <a:pt x="61772" y="194904"/>
                    <a:pt x="61772" y="195751"/>
                  </a:cubicBezTo>
                  <a:lnTo>
                    <a:pt x="61207" y="195751"/>
                  </a:lnTo>
                  <a:cubicBezTo>
                    <a:pt x="60926" y="195751"/>
                    <a:pt x="60926" y="195469"/>
                    <a:pt x="60643" y="195186"/>
                  </a:cubicBezTo>
                  <a:cubicBezTo>
                    <a:pt x="60079" y="194622"/>
                    <a:pt x="60079" y="194340"/>
                    <a:pt x="60079" y="194058"/>
                  </a:cubicBezTo>
                  <a:cubicBezTo>
                    <a:pt x="60079" y="194058"/>
                    <a:pt x="60079" y="193776"/>
                    <a:pt x="60643" y="193212"/>
                  </a:cubicBezTo>
                  <a:lnTo>
                    <a:pt x="60926" y="192930"/>
                  </a:lnTo>
                  <a:lnTo>
                    <a:pt x="60643" y="192930"/>
                  </a:lnTo>
                  <a:cubicBezTo>
                    <a:pt x="60643" y="192648"/>
                    <a:pt x="60079" y="192648"/>
                    <a:pt x="60079" y="192648"/>
                  </a:cubicBezTo>
                  <a:cubicBezTo>
                    <a:pt x="59797" y="192930"/>
                    <a:pt x="59515" y="193212"/>
                    <a:pt x="59233" y="194058"/>
                  </a:cubicBezTo>
                  <a:lnTo>
                    <a:pt x="59233" y="194904"/>
                  </a:lnTo>
                  <a:cubicBezTo>
                    <a:pt x="59233" y="195186"/>
                    <a:pt x="58951" y="195469"/>
                    <a:pt x="58387" y="195751"/>
                  </a:cubicBezTo>
                  <a:cubicBezTo>
                    <a:pt x="58105" y="195751"/>
                    <a:pt x="58387" y="196033"/>
                    <a:pt x="58951" y="196315"/>
                  </a:cubicBezTo>
                  <a:lnTo>
                    <a:pt x="59515" y="196879"/>
                  </a:lnTo>
                  <a:cubicBezTo>
                    <a:pt x="58669" y="197161"/>
                    <a:pt x="58669" y="197161"/>
                    <a:pt x="58669" y="197443"/>
                  </a:cubicBezTo>
                  <a:lnTo>
                    <a:pt x="58669" y="198007"/>
                  </a:lnTo>
                  <a:cubicBezTo>
                    <a:pt x="58669" y="198289"/>
                    <a:pt x="59515" y="198571"/>
                    <a:pt x="60079" y="198571"/>
                  </a:cubicBezTo>
                  <a:lnTo>
                    <a:pt x="60926" y="198571"/>
                  </a:lnTo>
                  <a:cubicBezTo>
                    <a:pt x="61772" y="198571"/>
                    <a:pt x="62054" y="198571"/>
                    <a:pt x="62054" y="198853"/>
                  </a:cubicBezTo>
                  <a:cubicBezTo>
                    <a:pt x="62054" y="199135"/>
                    <a:pt x="61772" y="199417"/>
                    <a:pt x="61772" y="199982"/>
                  </a:cubicBezTo>
                  <a:cubicBezTo>
                    <a:pt x="61772" y="201392"/>
                    <a:pt x="61772" y="203084"/>
                    <a:pt x="62054" y="204777"/>
                  </a:cubicBezTo>
                  <a:lnTo>
                    <a:pt x="62054" y="205905"/>
                  </a:lnTo>
                  <a:cubicBezTo>
                    <a:pt x="61490" y="205905"/>
                    <a:pt x="61490" y="206187"/>
                    <a:pt x="61490" y="206187"/>
                  </a:cubicBezTo>
                  <a:cubicBezTo>
                    <a:pt x="61772" y="206469"/>
                    <a:pt x="61772" y="206469"/>
                    <a:pt x="61772" y="207033"/>
                  </a:cubicBezTo>
                  <a:cubicBezTo>
                    <a:pt x="62054" y="207879"/>
                    <a:pt x="62054" y="208725"/>
                    <a:pt x="62054" y="209290"/>
                  </a:cubicBezTo>
                  <a:cubicBezTo>
                    <a:pt x="62054" y="209290"/>
                    <a:pt x="61772" y="209572"/>
                    <a:pt x="61772" y="209854"/>
                  </a:cubicBezTo>
                  <a:cubicBezTo>
                    <a:pt x="61772" y="210136"/>
                    <a:pt x="61772" y="210418"/>
                    <a:pt x="61207" y="210700"/>
                  </a:cubicBezTo>
                  <a:lnTo>
                    <a:pt x="61207" y="212392"/>
                  </a:lnTo>
                  <a:cubicBezTo>
                    <a:pt x="61490" y="212674"/>
                    <a:pt x="61772" y="212674"/>
                    <a:pt x="61772" y="212674"/>
                  </a:cubicBezTo>
                  <a:lnTo>
                    <a:pt x="61490" y="212956"/>
                  </a:lnTo>
                  <a:cubicBezTo>
                    <a:pt x="61490" y="213238"/>
                    <a:pt x="61490" y="213520"/>
                    <a:pt x="62054" y="213803"/>
                  </a:cubicBezTo>
                  <a:lnTo>
                    <a:pt x="62054" y="214085"/>
                  </a:lnTo>
                  <a:cubicBezTo>
                    <a:pt x="61490" y="214367"/>
                    <a:pt x="61490" y="214367"/>
                    <a:pt x="61490" y="214649"/>
                  </a:cubicBezTo>
                  <a:cubicBezTo>
                    <a:pt x="61772" y="214931"/>
                    <a:pt x="61772" y="215213"/>
                    <a:pt x="61772" y="215213"/>
                  </a:cubicBezTo>
                  <a:cubicBezTo>
                    <a:pt x="61772" y="215495"/>
                    <a:pt x="61772" y="215495"/>
                    <a:pt x="61490" y="215495"/>
                  </a:cubicBezTo>
                  <a:lnTo>
                    <a:pt x="61207" y="215777"/>
                  </a:lnTo>
                  <a:lnTo>
                    <a:pt x="60926" y="215495"/>
                  </a:lnTo>
                  <a:lnTo>
                    <a:pt x="60926" y="214649"/>
                  </a:lnTo>
                  <a:cubicBezTo>
                    <a:pt x="60926" y="214367"/>
                    <a:pt x="60643" y="214085"/>
                    <a:pt x="60079" y="214085"/>
                  </a:cubicBezTo>
                  <a:cubicBezTo>
                    <a:pt x="60079" y="214085"/>
                    <a:pt x="59797" y="214367"/>
                    <a:pt x="59797" y="214649"/>
                  </a:cubicBezTo>
                  <a:cubicBezTo>
                    <a:pt x="59797" y="215495"/>
                    <a:pt x="59515" y="216623"/>
                    <a:pt x="59515" y="217751"/>
                  </a:cubicBezTo>
                  <a:cubicBezTo>
                    <a:pt x="59515" y="218033"/>
                    <a:pt x="59797" y="218033"/>
                    <a:pt x="60362" y="218033"/>
                  </a:cubicBezTo>
                  <a:cubicBezTo>
                    <a:pt x="60643" y="218033"/>
                    <a:pt x="60643" y="217469"/>
                    <a:pt x="60926" y="217469"/>
                  </a:cubicBezTo>
                  <a:cubicBezTo>
                    <a:pt x="61207" y="217469"/>
                    <a:pt x="61772" y="217751"/>
                    <a:pt x="61772" y="217751"/>
                  </a:cubicBezTo>
                  <a:cubicBezTo>
                    <a:pt x="61772" y="218033"/>
                    <a:pt x="62054" y="218598"/>
                    <a:pt x="62054" y="218598"/>
                  </a:cubicBezTo>
                  <a:lnTo>
                    <a:pt x="62054" y="219726"/>
                  </a:lnTo>
                  <a:lnTo>
                    <a:pt x="62618" y="220854"/>
                  </a:lnTo>
                  <a:lnTo>
                    <a:pt x="62618" y="221982"/>
                  </a:lnTo>
                  <a:cubicBezTo>
                    <a:pt x="62618" y="222264"/>
                    <a:pt x="62336" y="222546"/>
                    <a:pt x="62336" y="222828"/>
                  </a:cubicBezTo>
                  <a:cubicBezTo>
                    <a:pt x="62336" y="223111"/>
                    <a:pt x="62618" y="223675"/>
                    <a:pt x="62900" y="223957"/>
                  </a:cubicBezTo>
                  <a:lnTo>
                    <a:pt x="62900" y="224803"/>
                  </a:lnTo>
                  <a:cubicBezTo>
                    <a:pt x="62900" y="225085"/>
                    <a:pt x="62900" y="225367"/>
                    <a:pt x="63182" y="225367"/>
                  </a:cubicBezTo>
                  <a:cubicBezTo>
                    <a:pt x="63464" y="225367"/>
                    <a:pt x="63182" y="225649"/>
                    <a:pt x="63182" y="225649"/>
                  </a:cubicBezTo>
                  <a:lnTo>
                    <a:pt x="63182" y="227624"/>
                  </a:lnTo>
                  <a:cubicBezTo>
                    <a:pt x="63182" y="227906"/>
                    <a:pt x="63182" y="228470"/>
                    <a:pt x="64028" y="229034"/>
                  </a:cubicBezTo>
                  <a:lnTo>
                    <a:pt x="64028" y="229880"/>
                  </a:lnTo>
                  <a:cubicBezTo>
                    <a:pt x="64028" y="230162"/>
                    <a:pt x="64310" y="230444"/>
                    <a:pt x="64874" y="230726"/>
                  </a:cubicBezTo>
                  <a:cubicBezTo>
                    <a:pt x="64874" y="231008"/>
                    <a:pt x="64592" y="231290"/>
                    <a:pt x="64874" y="231290"/>
                  </a:cubicBezTo>
                  <a:cubicBezTo>
                    <a:pt x="65438" y="231290"/>
                    <a:pt x="65438" y="231290"/>
                    <a:pt x="66567" y="231008"/>
                  </a:cubicBezTo>
                  <a:cubicBezTo>
                    <a:pt x="66848" y="230726"/>
                    <a:pt x="67413" y="230162"/>
                    <a:pt x="68259" y="230162"/>
                  </a:cubicBezTo>
                  <a:lnTo>
                    <a:pt x="69669" y="229034"/>
                  </a:lnTo>
                  <a:cubicBezTo>
                    <a:pt x="69951" y="228752"/>
                    <a:pt x="69951" y="227906"/>
                    <a:pt x="70515" y="227624"/>
                  </a:cubicBezTo>
                  <a:lnTo>
                    <a:pt x="70515" y="227341"/>
                  </a:lnTo>
                  <a:cubicBezTo>
                    <a:pt x="71644" y="226777"/>
                    <a:pt x="71926" y="225649"/>
                    <a:pt x="72490" y="225367"/>
                  </a:cubicBezTo>
                  <a:cubicBezTo>
                    <a:pt x="73054" y="225085"/>
                    <a:pt x="73054" y="224803"/>
                    <a:pt x="73618" y="224239"/>
                  </a:cubicBezTo>
                  <a:lnTo>
                    <a:pt x="73618" y="223393"/>
                  </a:lnTo>
                  <a:cubicBezTo>
                    <a:pt x="73618" y="223111"/>
                    <a:pt x="73618" y="223111"/>
                    <a:pt x="73900" y="222828"/>
                  </a:cubicBezTo>
                  <a:lnTo>
                    <a:pt x="74465" y="222264"/>
                  </a:lnTo>
                  <a:cubicBezTo>
                    <a:pt x="74465" y="221982"/>
                    <a:pt x="74746" y="221700"/>
                    <a:pt x="74746" y="221136"/>
                  </a:cubicBezTo>
                  <a:lnTo>
                    <a:pt x="75875" y="220290"/>
                  </a:lnTo>
                  <a:cubicBezTo>
                    <a:pt x="75875" y="219726"/>
                    <a:pt x="75875" y="219162"/>
                    <a:pt x="76721" y="218880"/>
                  </a:cubicBezTo>
                  <a:lnTo>
                    <a:pt x="76721" y="218315"/>
                  </a:lnTo>
                  <a:cubicBezTo>
                    <a:pt x="76721" y="217751"/>
                    <a:pt x="77003" y="217187"/>
                    <a:pt x="77285" y="216623"/>
                  </a:cubicBezTo>
                  <a:lnTo>
                    <a:pt x="79260" y="214931"/>
                  </a:lnTo>
                  <a:cubicBezTo>
                    <a:pt x="79541" y="214367"/>
                    <a:pt x="79541" y="213803"/>
                    <a:pt x="79824" y="213520"/>
                  </a:cubicBezTo>
                  <a:cubicBezTo>
                    <a:pt x="80106" y="212956"/>
                    <a:pt x="80388" y="212674"/>
                    <a:pt x="80388" y="212392"/>
                  </a:cubicBezTo>
                  <a:lnTo>
                    <a:pt x="80106" y="212110"/>
                  </a:lnTo>
                  <a:cubicBezTo>
                    <a:pt x="80106" y="211828"/>
                    <a:pt x="80106" y="211264"/>
                    <a:pt x="80670" y="210982"/>
                  </a:cubicBezTo>
                  <a:lnTo>
                    <a:pt x="81516" y="209290"/>
                  </a:lnTo>
                  <a:cubicBezTo>
                    <a:pt x="82080" y="209007"/>
                    <a:pt x="82080" y="207879"/>
                    <a:pt x="82926" y="207033"/>
                  </a:cubicBezTo>
                  <a:lnTo>
                    <a:pt x="82926" y="206751"/>
                  </a:lnTo>
                  <a:cubicBezTo>
                    <a:pt x="82926" y="206469"/>
                    <a:pt x="83490" y="206469"/>
                    <a:pt x="83772" y="206187"/>
                  </a:cubicBezTo>
                  <a:lnTo>
                    <a:pt x="83490" y="206187"/>
                  </a:lnTo>
                  <a:cubicBezTo>
                    <a:pt x="84054" y="205905"/>
                    <a:pt x="84337" y="205341"/>
                    <a:pt x="84337" y="204495"/>
                  </a:cubicBezTo>
                  <a:cubicBezTo>
                    <a:pt x="84337" y="203930"/>
                    <a:pt x="84618" y="203366"/>
                    <a:pt x="84618" y="203366"/>
                  </a:cubicBezTo>
                  <a:cubicBezTo>
                    <a:pt x="84618" y="203084"/>
                    <a:pt x="85747" y="202802"/>
                    <a:pt x="85747" y="202238"/>
                  </a:cubicBezTo>
                  <a:cubicBezTo>
                    <a:pt x="85747" y="201956"/>
                    <a:pt x="85465" y="201674"/>
                    <a:pt x="85465" y="201392"/>
                  </a:cubicBezTo>
                  <a:cubicBezTo>
                    <a:pt x="85465" y="201110"/>
                    <a:pt x="85465" y="201110"/>
                    <a:pt x="85747" y="200828"/>
                  </a:cubicBezTo>
                  <a:cubicBezTo>
                    <a:pt x="86593" y="200264"/>
                    <a:pt x="86593" y="200264"/>
                    <a:pt x="86593" y="199982"/>
                  </a:cubicBezTo>
                  <a:cubicBezTo>
                    <a:pt x="86875" y="199417"/>
                    <a:pt x="87157" y="198853"/>
                    <a:pt x="87157" y="198571"/>
                  </a:cubicBezTo>
                  <a:cubicBezTo>
                    <a:pt x="87439" y="198007"/>
                    <a:pt x="88285" y="197161"/>
                    <a:pt x="88568" y="196879"/>
                  </a:cubicBezTo>
                  <a:cubicBezTo>
                    <a:pt x="88568" y="195469"/>
                    <a:pt x="89132" y="194340"/>
                    <a:pt x="89978" y="194058"/>
                  </a:cubicBezTo>
                  <a:cubicBezTo>
                    <a:pt x="89978" y="193494"/>
                    <a:pt x="90542" y="193212"/>
                    <a:pt x="90542" y="193212"/>
                  </a:cubicBezTo>
                  <a:cubicBezTo>
                    <a:pt x="90824" y="192648"/>
                    <a:pt x="91388" y="191802"/>
                    <a:pt x="91388" y="190956"/>
                  </a:cubicBezTo>
                  <a:cubicBezTo>
                    <a:pt x="91670" y="190956"/>
                    <a:pt x="92516" y="189545"/>
                    <a:pt x="92516" y="189263"/>
                  </a:cubicBezTo>
                  <a:lnTo>
                    <a:pt x="92234" y="188981"/>
                  </a:lnTo>
                  <a:cubicBezTo>
                    <a:pt x="92234" y="188699"/>
                    <a:pt x="92799" y="188135"/>
                    <a:pt x="92799" y="187853"/>
                  </a:cubicBezTo>
                  <a:cubicBezTo>
                    <a:pt x="92799" y="187007"/>
                    <a:pt x="93927" y="186725"/>
                    <a:pt x="94209" y="185878"/>
                  </a:cubicBezTo>
                  <a:cubicBezTo>
                    <a:pt x="93927" y="185596"/>
                    <a:pt x="93927" y="185314"/>
                    <a:pt x="93927" y="185314"/>
                  </a:cubicBezTo>
                  <a:cubicBezTo>
                    <a:pt x="93927" y="184750"/>
                    <a:pt x="94209" y="184750"/>
                    <a:pt x="94209" y="184468"/>
                  </a:cubicBezTo>
                  <a:cubicBezTo>
                    <a:pt x="95337" y="184186"/>
                    <a:pt x="94773" y="183340"/>
                    <a:pt x="95619" y="183058"/>
                  </a:cubicBezTo>
                  <a:cubicBezTo>
                    <a:pt x="95619" y="182494"/>
                    <a:pt x="95901" y="181930"/>
                    <a:pt x="96183" y="181648"/>
                  </a:cubicBezTo>
                  <a:cubicBezTo>
                    <a:pt x="96183" y="181365"/>
                    <a:pt x="96465" y="180801"/>
                    <a:pt x="96465" y="180519"/>
                  </a:cubicBezTo>
                  <a:lnTo>
                    <a:pt x="96183" y="180237"/>
                  </a:lnTo>
                  <a:cubicBezTo>
                    <a:pt x="96183" y="180237"/>
                    <a:pt x="96465" y="179391"/>
                    <a:pt x="96747" y="179391"/>
                  </a:cubicBezTo>
                  <a:lnTo>
                    <a:pt x="97875" y="178263"/>
                  </a:lnTo>
                  <a:cubicBezTo>
                    <a:pt x="98158" y="177981"/>
                    <a:pt x="98158" y="177699"/>
                    <a:pt x="98158" y="177417"/>
                  </a:cubicBezTo>
                  <a:lnTo>
                    <a:pt x="98722" y="176288"/>
                  </a:lnTo>
                  <a:cubicBezTo>
                    <a:pt x="98722" y="175724"/>
                    <a:pt x="99850" y="175724"/>
                    <a:pt x="99850" y="175160"/>
                  </a:cubicBezTo>
                  <a:cubicBezTo>
                    <a:pt x="99568" y="174878"/>
                    <a:pt x="99568" y="174596"/>
                    <a:pt x="99568" y="174314"/>
                  </a:cubicBezTo>
                  <a:cubicBezTo>
                    <a:pt x="99568" y="174032"/>
                    <a:pt x="99568" y="173750"/>
                    <a:pt x="99850" y="173186"/>
                  </a:cubicBezTo>
                  <a:cubicBezTo>
                    <a:pt x="99850" y="173186"/>
                    <a:pt x="100414" y="172904"/>
                    <a:pt x="100414" y="172622"/>
                  </a:cubicBezTo>
                  <a:lnTo>
                    <a:pt x="100414" y="172340"/>
                  </a:lnTo>
                  <a:cubicBezTo>
                    <a:pt x="100414" y="172057"/>
                    <a:pt x="100414" y="172057"/>
                    <a:pt x="100978" y="171775"/>
                  </a:cubicBezTo>
                  <a:cubicBezTo>
                    <a:pt x="101260" y="171775"/>
                    <a:pt x="101260" y="171493"/>
                    <a:pt x="101260" y="171211"/>
                  </a:cubicBezTo>
                  <a:cubicBezTo>
                    <a:pt x="101260" y="170929"/>
                    <a:pt x="101542" y="170647"/>
                    <a:pt x="101824" y="170365"/>
                  </a:cubicBezTo>
                  <a:lnTo>
                    <a:pt x="101824" y="169801"/>
                  </a:lnTo>
                  <a:cubicBezTo>
                    <a:pt x="101824" y="169519"/>
                    <a:pt x="101824" y="169519"/>
                    <a:pt x="102106" y="169519"/>
                  </a:cubicBezTo>
                  <a:cubicBezTo>
                    <a:pt x="102106" y="168391"/>
                    <a:pt x="102671" y="167262"/>
                    <a:pt x="103516" y="166416"/>
                  </a:cubicBezTo>
                  <a:cubicBezTo>
                    <a:pt x="103516" y="165852"/>
                    <a:pt x="103799" y="165288"/>
                    <a:pt x="103799" y="165006"/>
                  </a:cubicBezTo>
                  <a:cubicBezTo>
                    <a:pt x="103799" y="164724"/>
                    <a:pt x="104645" y="164160"/>
                    <a:pt x="104645" y="163596"/>
                  </a:cubicBezTo>
                  <a:cubicBezTo>
                    <a:pt x="104645" y="163314"/>
                    <a:pt x="104927" y="162749"/>
                    <a:pt x="105491" y="162467"/>
                  </a:cubicBezTo>
                  <a:cubicBezTo>
                    <a:pt x="106055" y="161903"/>
                    <a:pt x="106619" y="161057"/>
                    <a:pt x="106619" y="160211"/>
                  </a:cubicBezTo>
                  <a:lnTo>
                    <a:pt x="106619" y="159083"/>
                  </a:lnTo>
                  <a:cubicBezTo>
                    <a:pt x="106337" y="158801"/>
                    <a:pt x="106902" y="158801"/>
                    <a:pt x="106902" y="158801"/>
                  </a:cubicBezTo>
                  <a:lnTo>
                    <a:pt x="107747" y="157108"/>
                  </a:lnTo>
                  <a:cubicBezTo>
                    <a:pt x="107747" y="156826"/>
                    <a:pt x="108594" y="156544"/>
                    <a:pt x="108312" y="156262"/>
                  </a:cubicBezTo>
                  <a:lnTo>
                    <a:pt x="107747" y="155980"/>
                  </a:lnTo>
                  <a:cubicBezTo>
                    <a:pt x="107747" y="155698"/>
                    <a:pt x="108594" y="155416"/>
                    <a:pt x="108594" y="155134"/>
                  </a:cubicBezTo>
                  <a:cubicBezTo>
                    <a:pt x="108594" y="154852"/>
                    <a:pt x="109440" y="154288"/>
                    <a:pt x="109440" y="154006"/>
                  </a:cubicBezTo>
                  <a:lnTo>
                    <a:pt x="109158" y="154006"/>
                  </a:lnTo>
                  <a:lnTo>
                    <a:pt x="109158" y="153723"/>
                  </a:lnTo>
                  <a:cubicBezTo>
                    <a:pt x="109158" y="153441"/>
                    <a:pt x="109722" y="153441"/>
                    <a:pt x="109722" y="153159"/>
                  </a:cubicBezTo>
                  <a:cubicBezTo>
                    <a:pt x="109722" y="153159"/>
                    <a:pt x="109722" y="152877"/>
                    <a:pt x="109440" y="152595"/>
                  </a:cubicBezTo>
                  <a:cubicBezTo>
                    <a:pt x="109440" y="152313"/>
                    <a:pt x="110286" y="151749"/>
                    <a:pt x="110004" y="151467"/>
                  </a:cubicBezTo>
                  <a:cubicBezTo>
                    <a:pt x="110286" y="150903"/>
                    <a:pt x="110568" y="150621"/>
                    <a:pt x="110850" y="150621"/>
                  </a:cubicBezTo>
                  <a:cubicBezTo>
                    <a:pt x="111414" y="150057"/>
                    <a:pt x="110850" y="149210"/>
                    <a:pt x="112261" y="148646"/>
                  </a:cubicBezTo>
                  <a:cubicBezTo>
                    <a:pt x="122133" y="135389"/>
                    <a:pt x="125800" y="130594"/>
                    <a:pt x="126364" y="130594"/>
                  </a:cubicBezTo>
                  <a:cubicBezTo>
                    <a:pt x="127210" y="130594"/>
                    <a:pt x="118748" y="144415"/>
                    <a:pt x="118466" y="148364"/>
                  </a:cubicBezTo>
                  <a:lnTo>
                    <a:pt x="118748" y="148364"/>
                  </a:lnTo>
                  <a:lnTo>
                    <a:pt x="118748" y="148646"/>
                  </a:lnTo>
                  <a:cubicBezTo>
                    <a:pt x="118748" y="149210"/>
                    <a:pt x="118748" y="149210"/>
                    <a:pt x="118466" y="149493"/>
                  </a:cubicBezTo>
                  <a:lnTo>
                    <a:pt x="119030" y="149493"/>
                  </a:lnTo>
                  <a:cubicBezTo>
                    <a:pt x="119312" y="149493"/>
                    <a:pt x="119594" y="149493"/>
                    <a:pt x="120440" y="148928"/>
                  </a:cubicBezTo>
                  <a:lnTo>
                    <a:pt x="120440" y="149493"/>
                  </a:lnTo>
                  <a:cubicBezTo>
                    <a:pt x="120440" y="150339"/>
                    <a:pt x="119876" y="150903"/>
                    <a:pt x="119594" y="151467"/>
                  </a:cubicBezTo>
                  <a:lnTo>
                    <a:pt x="119594" y="151749"/>
                  </a:lnTo>
                  <a:cubicBezTo>
                    <a:pt x="119312" y="152313"/>
                    <a:pt x="119312" y="152313"/>
                    <a:pt x="118466" y="152595"/>
                  </a:cubicBezTo>
                  <a:cubicBezTo>
                    <a:pt x="118184" y="152877"/>
                    <a:pt x="118184" y="153159"/>
                    <a:pt x="118184" y="153441"/>
                  </a:cubicBezTo>
                  <a:lnTo>
                    <a:pt x="118184" y="154006"/>
                  </a:lnTo>
                  <a:cubicBezTo>
                    <a:pt x="118184" y="154006"/>
                    <a:pt x="118184" y="154288"/>
                    <a:pt x="117902" y="154570"/>
                  </a:cubicBezTo>
                  <a:cubicBezTo>
                    <a:pt x="117338" y="154852"/>
                    <a:pt x="117338" y="155134"/>
                    <a:pt x="117338" y="155416"/>
                  </a:cubicBezTo>
                  <a:cubicBezTo>
                    <a:pt x="117338" y="155698"/>
                    <a:pt x="117338" y="155980"/>
                    <a:pt x="117902" y="156262"/>
                  </a:cubicBezTo>
                  <a:lnTo>
                    <a:pt x="118184" y="156544"/>
                  </a:lnTo>
                  <a:cubicBezTo>
                    <a:pt x="118184" y="156544"/>
                    <a:pt x="117902" y="156544"/>
                    <a:pt x="117620" y="156826"/>
                  </a:cubicBezTo>
                  <a:cubicBezTo>
                    <a:pt x="117620" y="156826"/>
                    <a:pt x="117338" y="157108"/>
                    <a:pt x="117056" y="157108"/>
                  </a:cubicBezTo>
                  <a:cubicBezTo>
                    <a:pt x="116492" y="157672"/>
                    <a:pt x="115928" y="158236"/>
                    <a:pt x="114799" y="158236"/>
                  </a:cubicBezTo>
                  <a:lnTo>
                    <a:pt x="114799" y="158801"/>
                  </a:lnTo>
                  <a:cubicBezTo>
                    <a:pt x="115081" y="159083"/>
                    <a:pt x="115081" y="159365"/>
                    <a:pt x="115928" y="159365"/>
                  </a:cubicBezTo>
                  <a:cubicBezTo>
                    <a:pt x="115081" y="159647"/>
                    <a:pt x="115081" y="159929"/>
                    <a:pt x="114517" y="159929"/>
                  </a:cubicBezTo>
                  <a:cubicBezTo>
                    <a:pt x="113953" y="159929"/>
                    <a:pt x="113389" y="159929"/>
                    <a:pt x="113389" y="160493"/>
                  </a:cubicBezTo>
                  <a:cubicBezTo>
                    <a:pt x="113107" y="160493"/>
                    <a:pt x="113107" y="160775"/>
                    <a:pt x="113107" y="161057"/>
                  </a:cubicBezTo>
                  <a:lnTo>
                    <a:pt x="113107" y="161339"/>
                  </a:lnTo>
                  <a:lnTo>
                    <a:pt x="114235" y="161339"/>
                  </a:lnTo>
                  <a:lnTo>
                    <a:pt x="114235" y="161903"/>
                  </a:lnTo>
                  <a:cubicBezTo>
                    <a:pt x="114235" y="162185"/>
                    <a:pt x="114235" y="162467"/>
                    <a:pt x="114517" y="162467"/>
                  </a:cubicBezTo>
                  <a:cubicBezTo>
                    <a:pt x="114517" y="162749"/>
                    <a:pt x="114799" y="162749"/>
                    <a:pt x="114799" y="163031"/>
                  </a:cubicBezTo>
                  <a:cubicBezTo>
                    <a:pt x="114799" y="163314"/>
                    <a:pt x="114517" y="163314"/>
                    <a:pt x="114517" y="163314"/>
                  </a:cubicBezTo>
                  <a:lnTo>
                    <a:pt x="113389" y="164160"/>
                  </a:lnTo>
                  <a:lnTo>
                    <a:pt x="113389" y="166416"/>
                  </a:lnTo>
                  <a:cubicBezTo>
                    <a:pt x="113107" y="166416"/>
                    <a:pt x="113107" y="166698"/>
                    <a:pt x="113107" y="166980"/>
                  </a:cubicBezTo>
                  <a:cubicBezTo>
                    <a:pt x="113107" y="167262"/>
                    <a:pt x="112825" y="167544"/>
                    <a:pt x="112825" y="167827"/>
                  </a:cubicBezTo>
                  <a:lnTo>
                    <a:pt x="112543" y="168109"/>
                  </a:lnTo>
                  <a:cubicBezTo>
                    <a:pt x="111978" y="168391"/>
                    <a:pt x="111697" y="168955"/>
                    <a:pt x="111697" y="169237"/>
                  </a:cubicBezTo>
                  <a:cubicBezTo>
                    <a:pt x="111697" y="169519"/>
                    <a:pt x="112261" y="169801"/>
                    <a:pt x="112261" y="170365"/>
                  </a:cubicBezTo>
                  <a:cubicBezTo>
                    <a:pt x="112261" y="170365"/>
                    <a:pt x="111133" y="170929"/>
                    <a:pt x="110850" y="170929"/>
                  </a:cubicBezTo>
                  <a:cubicBezTo>
                    <a:pt x="110568" y="170929"/>
                    <a:pt x="110568" y="170929"/>
                    <a:pt x="110568" y="171211"/>
                  </a:cubicBezTo>
                  <a:lnTo>
                    <a:pt x="110568" y="171775"/>
                  </a:lnTo>
                  <a:cubicBezTo>
                    <a:pt x="110568" y="172057"/>
                    <a:pt x="110850" y="172340"/>
                    <a:pt x="110850" y="172622"/>
                  </a:cubicBezTo>
                  <a:cubicBezTo>
                    <a:pt x="110850" y="173186"/>
                    <a:pt x="110286" y="173468"/>
                    <a:pt x="109440" y="174032"/>
                  </a:cubicBezTo>
                  <a:lnTo>
                    <a:pt x="109440" y="174596"/>
                  </a:lnTo>
                  <a:lnTo>
                    <a:pt x="110568" y="174596"/>
                  </a:lnTo>
                  <a:cubicBezTo>
                    <a:pt x="110568" y="174314"/>
                    <a:pt x="110850" y="174314"/>
                    <a:pt x="111133" y="174314"/>
                  </a:cubicBezTo>
                  <a:cubicBezTo>
                    <a:pt x="111414" y="174596"/>
                    <a:pt x="111697" y="174596"/>
                    <a:pt x="111697" y="174596"/>
                  </a:cubicBezTo>
                  <a:cubicBezTo>
                    <a:pt x="111697" y="174596"/>
                    <a:pt x="111414" y="174878"/>
                    <a:pt x="111414" y="175160"/>
                  </a:cubicBezTo>
                  <a:cubicBezTo>
                    <a:pt x="111133" y="175442"/>
                    <a:pt x="111133" y="175442"/>
                    <a:pt x="111133" y="175724"/>
                  </a:cubicBezTo>
                  <a:cubicBezTo>
                    <a:pt x="111133" y="176288"/>
                    <a:pt x="111133" y="177135"/>
                    <a:pt x="110568" y="177699"/>
                  </a:cubicBezTo>
                  <a:lnTo>
                    <a:pt x="110568" y="178545"/>
                  </a:lnTo>
                  <a:cubicBezTo>
                    <a:pt x="110850" y="178545"/>
                    <a:pt x="110850" y="178827"/>
                    <a:pt x="110850" y="179109"/>
                  </a:cubicBezTo>
                  <a:cubicBezTo>
                    <a:pt x="110850" y="179391"/>
                    <a:pt x="110850" y="179673"/>
                    <a:pt x="110568" y="179955"/>
                  </a:cubicBezTo>
                  <a:cubicBezTo>
                    <a:pt x="110286" y="179955"/>
                    <a:pt x="110286" y="179955"/>
                    <a:pt x="110286" y="180237"/>
                  </a:cubicBezTo>
                  <a:lnTo>
                    <a:pt x="110286" y="180519"/>
                  </a:lnTo>
                  <a:cubicBezTo>
                    <a:pt x="109722" y="180519"/>
                    <a:pt x="109722" y="180519"/>
                    <a:pt x="109722" y="181083"/>
                  </a:cubicBezTo>
                  <a:cubicBezTo>
                    <a:pt x="109722" y="181648"/>
                    <a:pt x="109158" y="181648"/>
                    <a:pt x="109158" y="182212"/>
                  </a:cubicBezTo>
                  <a:cubicBezTo>
                    <a:pt x="109158" y="182494"/>
                    <a:pt x="109158" y="183058"/>
                    <a:pt x="108876" y="183058"/>
                  </a:cubicBezTo>
                  <a:cubicBezTo>
                    <a:pt x="107747" y="183058"/>
                    <a:pt x="107747" y="183622"/>
                    <a:pt x="106902" y="183904"/>
                  </a:cubicBezTo>
                  <a:lnTo>
                    <a:pt x="106902" y="184750"/>
                  </a:lnTo>
                  <a:cubicBezTo>
                    <a:pt x="105773" y="185314"/>
                    <a:pt x="105491" y="185878"/>
                    <a:pt x="104927" y="186725"/>
                  </a:cubicBezTo>
                  <a:lnTo>
                    <a:pt x="105209" y="186725"/>
                  </a:lnTo>
                  <a:cubicBezTo>
                    <a:pt x="105773" y="186725"/>
                    <a:pt x="105491" y="187289"/>
                    <a:pt x="105773" y="187571"/>
                  </a:cubicBezTo>
                  <a:lnTo>
                    <a:pt x="105773" y="187853"/>
                  </a:lnTo>
                  <a:cubicBezTo>
                    <a:pt x="105491" y="188135"/>
                    <a:pt x="105491" y="188699"/>
                    <a:pt x="105491" y="188981"/>
                  </a:cubicBezTo>
                  <a:cubicBezTo>
                    <a:pt x="105491" y="189263"/>
                    <a:pt x="105491" y="189545"/>
                    <a:pt x="105209" y="189545"/>
                  </a:cubicBezTo>
                  <a:cubicBezTo>
                    <a:pt x="104927" y="190109"/>
                    <a:pt x="104363" y="190391"/>
                    <a:pt x="104363" y="190956"/>
                  </a:cubicBezTo>
                  <a:lnTo>
                    <a:pt x="104927" y="191238"/>
                  </a:lnTo>
                  <a:cubicBezTo>
                    <a:pt x="104927" y="192084"/>
                    <a:pt x="103799" y="192084"/>
                    <a:pt x="103516" y="192366"/>
                  </a:cubicBezTo>
                  <a:cubicBezTo>
                    <a:pt x="103516" y="192366"/>
                    <a:pt x="102952" y="192366"/>
                    <a:pt x="102952" y="192084"/>
                  </a:cubicBezTo>
                  <a:cubicBezTo>
                    <a:pt x="102952" y="191802"/>
                    <a:pt x="102952" y="191238"/>
                    <a:pt x="102671" y="190956"/>
                  </a:cubicBezTo>
                  <a:cubicBezTo>
                    <a:pt x="102671" y="190956"/>
                    <a:pt x="102952" y="190673"/>
                    <a:pt x="103235" y="190673"/>
                  </a:cubicBezTo>
                  <a:cubicBezTo>
                    <a:pt x="103516" y="190673"/>
                    <a:pt x="103516" y="190391"/>
                    <a:pt x="103799" y="189827"/>
                  </a:cubicBezTo>
                  <a:cubicBezTo>
                    <a:pt x="103799" y="189545"/>
                    <a:pt x="103516" y="189545"/>
                    <a:pt x="103516" y="189545"/>
                  </a:cubicBezTo>
                  <a:cubicBezTo>
                    <a:pt x="102671" y="189545"/>
                    <a:pt x="102106" y="189827"/>
                    <a:pt x="101542" y="190673"/>
                  </a:cubicBezTo>
                  <a:lnTo>
                    <a:pt x="101542" y="190956"/>
                  </a:lnTo>
                  <a:cubicBezTo>
                    <a:pt x="101542" y="191520"/>
                    <a:pt x="100696" y="192084"/>
                    <a:pt x="100696" y="192930"/>
                  </a:cubicBezTo>
                  <a:lnTo>
                    <a:pt x="100696" y="193212"/>
                  </a:lnTo>
                  <a:cubicBezTo>
                    <a:pt x="100132" y="193776"/>
                    <a:pt x="100132" y="194058"/>
                    <a:pt x="100132" y="194340"/>
                  </a:cubicBezTo>
                  <a:lnTo>
                    <a:pt x="100132" y="195469"/>
                  </a:lnTo>
                  <a:cubicBezTo>
                    <a:pt x="100414" y="195469"/>
                    <a:pt x="100696" y="195751"/>
                    <a:pt x="100696" y="195751"/>
                  </a:cubicBezTo>
                  <a:cubicBezTo>
                    <a:pt x="100696" y="196033"/>
                    <a:pt x="100414" y="196033"/>
                    <a:pt x="100132" y="196315"/>
                  </a:cubicBezTo>
                  <a:cubicBezTo>
                    <a:pt x="99850" y="196879"/>
                    <a:pt x="99850" y="197161"/>
                    <a:pt x="99850" y="198007"/>
                  </a:cubicBezTo>
                  <a:lnTo>
                    <a:pt x="99850" y="199417"/>
                  </a:lnTo>
                  <a:cubicBezTo>
                    <a:pt x="99568" y="199982"/>
                    <a:pt x="99004" y="199982"/>
                    <a:pt x="99004" y="200264"/>
                  </a:cubicBezTo>
                  <a:lnTo>
                    <a:pt x="99004" y="201392"/>
                  </a:lnTo>
                  <a:cubicBezTo>
                    <a:pt x="99004" y="201674"/>
                    <a:pt x="98722" y="202520"/>
                    <a:pt x="98440" y="202520"/>
                  </a:cubicBezTo>
                  <a:lnTo>
                    <a:pt x="97875" y="202520"/>
                  </a:lnTo>
                  <a:cubicBezTo>
                    <a:pt x="97594" y="202520"/>
                    <a:pt x="97311" y="202520"/>
                    <a:pt x="97030" y="202802"/>
                  </a:cubicBezTo>
                  <a:cubicBezTo>
                    <a:pt x="96747" y="203084"/>
                    <a:pt x="96747" y="203366"/>
                    <a:pt x="96747" y="203366"/>
                  </a:cubicBezTo>
                  <a:cubicBezTo>
                    <a:pt x="97311" y="203648"/>
                    <a:pt x="97594" y="203648"/>
                    <a:pt x="97594" y="203930"/>
                  </a:cubicBezTo>
                  <a:cubicBezTo>
                    <a:pt x="97594" y="204212"/>
                    <a:pt x="97311" y="204495"/>
                    <a:pt x="97030" y="204777"/>
                  </a:cubicBezTo>
                  <a:cubicBezTo>
                    <a:pt x="96465" y="205623"/>
                    <a:pt x="95901" y="205623"/>
                    <a:pt x="95055" y="205623"/>
                  </a:cubicBezTo>
                  <a:cubicBezTo>
                    <a:pt x="94773" y="205623"/>
                    <a:pt x="94491" y="205905"/>
                    <a:pt x="94491" y="205905"/>
                  </a:cubicBezTo>
                  <a:cubicBezTo>
                    <a:pt x="94491" y="206187"/>
                    <a:pt x="94209" y="206469"/>
                    <a:pt x="94209" y="206469"/>
                  </a:cubicBezTo>
                  <a:lnTo>
                    <a:pt x="94209" y="207597"/>
                  </a:lnTo>
                  <a:cubicBezTo>
                    <a:pt x="93363" y="207879"/>
                    <a:pt x="93363" y="208443"/>
                    <a:pt x="93363" y="209007"/>
                  </a:cubicBezTo>
                  <a:cubicBezTo>
                    <a:pt x="93363" y="209290"/>
                    <a:pt x="93080" y="209290"/>
                    <a:pt x="92799" y="209572"/>
                  </a:cubicBezTo>
                  <a:lnTo>
                    <a:pt x="92799" y="210136"/>
                  </a:lnTo>
                  <a:cubicBezTo>
                    <a:pt x="92799" y="210418"/>
                    <a:pt x="92799" y="210700"/>
                    <a:pt x="92516" y="210700"/>
                  </a:cubicBezTo>
                  <a:cubicBezTo>
                    <a:pt x="92234" y="210700"/>
                    <a:pt x="91952" y="210418"/>
                    <a:pt x="91670" y="210418"/>
                  </a:cubicBezTo>
                  <a:lnTo>
                    <a:pt x="91670" y="210136"/>
                  </a:lnTo>
                  <a:cubicBezTo>
                    <a:pt x="91388" y="210136"/>
                    <a:pt x="91388" y="210418"/>
                    <a:pt x="91388" y="210418"/>
                  </a:cubicBezTo>
                  <a:cubicBezTo>
                    <a:pt x="91106" y="210418"/>
                    <a:pt x="90824" y="210700"/>
                    <a:pt x="90542" y="210982"/>
                  </a:cubicBezTo>
                  <a:cubicBezTo>
                    <a:pt x="90260" y="211264"/>
                    <a:pt x="90260" y="211264"/>
                    <a:pt x="90260" y="211546"/>
                  </a:cubicBezTo>
                  <a:lnTo>
                    <a:pt x="90260" y="212110"/>
                  </a:lnTo>
                  <a:lnTo>
                    <a:pt x="90542" y="212392"/>
                  </a:lnTo>
                  <a:lnTo>
                    <a:pt x="91670" y="211264"/>
                  </a:lnTo>
                  <a:cubicBezTo>
                    <a:pt x="91670" y="211264"/>
                    <a:pt x="91670" y="210982"/>
                    <a:pt x="91952" y="210982"/>
                  </a:cubicBezTo>
                  <a:cubicBezTo>
                    <a:pt x="92234" y="210982"/>
                    <a:pt x="92516" y="211264"/>
                    <a:pt x="92516" y="211264"/>
                  </a:cubicBezTo>
                  <a:cubicBezTo>
                    <a:pt x="92799" y="211546"/>
                    <a:pt x="93080" y="211828"/>
                    <a:pt x="93080" y="212110"/>
                  </a:cubicBezTo>
                  <a:cubicBezTo>
                    <a:pt x="93080" y="212392"/>
                    <a:pt x="93644" y="212674"/>
                    <a:pt x="94209" y="212674"/>
                  </a:cubicBezTo>
                  <a:lnTo>
                    <a:pt x="95055" y="212674"/>
                  </a:lnTo>
                  <a:lnTo>
                    <a:pt x="94773" y="212392"/>
                  </a:lnTo>
                  <a:lnTo>
                    <a:pt x="94773" y="211264"/>
                  </a:lnTo>
                  <a:lnTo>
                    <a:pt x="95337" y="210982"/>
                  </a:lnTo>
                  <a:lnTo>
                    <a:pt x="95337" y="211264"/>
                  </a:lnTo>
                  <a:cubicBezTo>
                    <a:pt x="95337" y="211828"/>
                    <a:pt x="95337" y="212392"/>
                    <a:pt x="95619" y="213238"/>
                  </a:cubicBezTo>
                  <a:lnTo>
                    <a:pt x="95619" y="213803"/>
                  </a:lnTo>
                  <a:cubicBezTo>
                    <a:pt x="94773" y="214085"/>
                    <a:pt x="94491" y="214649"/>
                    <a:pt x="94209" y="214931"/>
                  </a:cubicBezTo>
                  <a:cubicBezTo>
                    <a:pt x="93644" y="215495"/>
                    <a:pt x="93363" y="215777"/>
                    <a:pt x="93080" y="215777"/>
                  </a:cubicBezTo>
                  <a:cubicBezTo>
                    <a:pt x="92799" y="215777"/>
                    <a:pt x="92516" y="215495"/>
                    <a:pt x="91952" y="215213"/>
                  </a:cubicBezTo>
                  <a:cubicBezTo>
                    <a:pt x="91952" y="215213"/>
                    <a:pt x="91670" y="214931"/>
                    <a:pt x="91388" y="214931"/>
                  </a:cubicBezTo>
                  <a:cubicBezTo>
                    <a:pt x="91106" y="214931"/>
                    <a:pt x="91106" y="215213"/>
                    <a:pt x="90824" y="215495"/>
                  </a:cubicBezTo>
                  <a:cubicBezTo>
                    <a:pt x="90542" y="215495"/>
                    <a:pt x="90260" y="215495"/>
                    <a:pt x="89978" y="216059"/>
                  </a:cubicBezTo>
                  <a:cubicBezTo>
                    <a:pt x="89413" y="216059"/>
                    <a:pt x="89413" y="216341"/>
                    <a:pt x="89413" y="216341"/>
                  </a:cubicBezTo>
                  <a:cubicBezTo>
                    <a:pt x="90260" y="216623"/>
                    <a:pt x="90260" y="216905"/>
                    <a:pt x="90260" y="217187"/>
                  </a:cubicBezTo>
                  <a:lnTo>
                    <a:pt x="90260" y="217751"/>
                  </a:lnTo>
                  <a:cubicBezTo>
                    <a:pt x="90260" y="218033"/>
                    <a:pt x="90260" y="218033"/>
                    <a:pt x="90824" y="218315"/>
                  </a:cubicBezTo>
                  <a:cubicBezTo>
                    <a:pt x="90824" y="218598"/>
                    <a:pt x="91106" y="218598"/>
                    <a:pt x="91106" y="218880"/>
                  </a:cubicBezTo>
                  <a:lnTo>
                    <a:pt x="90260" y="219444"/>
                  </a:lnTo>
                  <a:cubicBezTo>
                    <a:pt x="89132" y="220008"/>
                    <a:pt x="88849" y="220854"/>
                    <a:pt x="88285" y="221418"/>
                  </a:cubicBezTo>
                  <a:cubicBezTo>
                    <a:pt x="88003" y="221700"/>
                    <a:pt x="87721" y="221700"/>
                    <a:pt x="87721" y="221982"/>
                  </a:cubicBezTo>
                  <a:cubicBezTo>
                    <a:pt x="87721" y="222264"/>
                    <a:pt x="88003" y="222546"/>
                    <a:pt x="88285" y="222828"/>
                  </a:cubicBezTo>
                  <a:lnTo>
                    <a:pt x="88568" y="222546"/>
                  </a:lnTo>
                  <a:cubicBezTo>
                    <a:pt x="88568" y="222546"/>
                    <a:pt x="88849" y="222264"/>
                    <a:pt x="89132" y="222264"/>
                  </a:cubicBezTo>
                  <a:cubicBezTo>
                    <a:pt x="89132" y="222264"/>
                    <a:pt x="89413" y="222264"/>
                    <a:pt x="89132" y="222546"/>
                  </a:cubicBezTo>
                  <a:lnTo>
                    <a:pt x="89413" y="222546"/>
                  </a:lnTo>
                  <a:lnTo>
                    <a:pt x="89132" y="222828"/>
                  </a:lnTo>
                  <a:cubicBezTo>
                    <a:pt x="88849" y="222828"/>
                    <a:pt x="88849" y="223111"/>
                    <a:pt x="88849" y="223393"/>
                  </a:cubicBezTo>
                  <a:cubicBezTo>
                    <a:pt x="88849" y="223675"/>
                    <a:pt x="89132" y="223675"/>
                    <a:pt x="89132" y="223675"/>
                  </a:cubicBezTo>
                  <a:lnTo>
                    <a:pt x="88849" y="223957"/>
                  </a:lnTo>
                  <a:cubicBezTo>
                    <a:pt x="88568" y="224239"/>
                    <a:pt x="88285" y="224803"/>
                    <a:pt x="88285" y="224803"/>
                  </a:cubicBezTo>
                  <a:lnTo>
                    <a:pt x="87721" y="225085"/>
                  </a:lnTo>
                  <a:cubicBezTo>
                    <a:pt x="87439" y="225649"/>
                    <a:pt x="87439" y="225931"/>
                    <a:pt x="86875" y="226495"/>
                  </a:cubicBezTo>
                  <a:lnTo>
                    <a:pt x="86875" y="227059"/>
                  </a:lnTo>
                  <a:cubicBezTo>
                    <a:pt x="86875" y="227906"/>
                    <a:pt x="86311" y="228188"/>
                    <a:pt x="85747" y="228752"/>
                  </a:cubicBezTo>
                  <a:lnTo>
                    <a:pt x="85747" y="230162"/>
                  </a:lnTo>
                  <a:cubicBezTo>
                    <a:pt x="85747" y="230726"/>
                    <a:pt x="85182" y="231008"/>
                    <a:pt x="84618" y="231572"/>
                  </a:cubicBezTo>
                  <a:cubicBezTo>
                    <a:pt x="84054" y="231854"/>
                    <a:pt x="83772" y="232137"/>
                    <a:pt x="83772" y="232983"/>
                  </a:cubicBezTo>
                  <a:cubicBezTo>
                    <a:pt x="83772" y="233265"/>
                    <a:pt x="83772" y="233547"/>
                    <a:pt x="83208" y="233547"/>
                  </a:cubicBezTo>
                  <a:cubicBezTo>
                    <a:pt x="82926" y="233829"/>
                    <a:pt x="82926" y="233829"/>
                    <a:pt x="82926" y="234111"/>
                  </a:cubicBezTo>
                  <a:lnTo>
                    <a:pt x="82926" y="234675"/>
                  </a:lnTo>
                  <a:cubicBezTo>
                    <a:pt x="82362" y="234675"/>
                    <a:pt x="82080" y="234957"/>
                    <a:pt x="81234" y="235803"/>
                  </a:cubicBezTo>
                  <a:cubicBezTo>
                    <a:pt x="80952" y="236085"/>
                    <a:pt x="80952" y="236085"/>
                    <a:pt x="80952" y="236367"/>
                  </a:cubicBezTo>
                  <a:cubicBezTo>
                    <a:pt x="80952" y="236649"/>
                    <a:pt x="81234" y="236932"/>
                    <a:pt x="81516" y="236932"/>
                  </a:cubicBezTo>
                  <a:cubicBezTo>
                    <a:pt x="81516" y="237214"/>
                    <a:pt x="81798" y="237496"/>
                    <a:pt x="81798" y="237496"/>
                  </a:cubicBezTo>
                  <a:cubicBezTo>
                    <a:pt x="81798" y="237778"/>
                    <a:pt x="81516" y="237778"/>
                    <a:pt x="81516" y="237778"/>
                  </a:cubicBezTo>
                  <a:lnTo>
                    <a:pt x="80952" y="238624"/>
                  </a:lnTo>
                  <a:cubicBezTo>
                    <a:pt x="80952" y="238906"/>
                    <a:pt x="80952" y="239188"/>
                    <a:pt x="81234" y="239188"/>
                  </a:cubicBezTo>
                  <a:cubicBezTo>
                    <a:pt x="81234" y="239188"/>
                    <a:pt x="81234" y="239470"/>
                    <a:pt x="81516" y="239752"/>
                  </a:cubicBezTo>
                  <a:lnTo>
                    <a:pt x="81516" y="240034"/>
                  </a:lnTo>
                  <a:lnTo>
                    <a:pt x="81234" y="240316"/>
                  </a:lnTo>
                  <a:lnTo>
                    <a:pt x="80388" y="240316"/>
                  </a:lnTo>
                  <a:cubicBezTo>
                    <a:pt x="80106" y="240316"/>
                    <a:pt x="79824" y="240316"/>
                    <a:pt x="79824" y="240880"/>
                  </a:cubicBezTo>
                  <a:cubicBezTo>
                    <a:pt x="79541" y="242009"/>
                    <a:pt x="79541" y="242009"/>
                    <a:pt x="78413" y="242855"/>
                  </a:cubicBezTo>
                  <a:cubicBezTo>
                    <a:pt x="78413" y="243137"/>
                    <a:pt x="78131" y="243419"/>
                    <a:pt x="77285" y="243983"/>
                  </a:cubicBezTo>
                  <a:lnTo>
                    <a:pt x="77003" y="244547"/>
                  </a:lnTo>
                  <a:lnTo>
                    <a:pt x="75875" y="244547"/>
                  </a:lnTo>
                  <a:cubicBezTo>
                    <a:pt x="75875" y="244829"/>
                    <a:pt x="75593" y="245111"/>
                    <a:pt x="74746" y="245111"/>
                  </a:cubicBezTo>
                  <a:cubicBezTo>
                    <a:pt x="74465" y="245111"/>
                    <a:pt x="74182" y="245958"/>
                    <a:pt x="73900" y="245675"/>
                  </a:cubicBezTo>
                  <a:lnTo>
                    <a:pt x="73618" y="245958"/>
                  </a:lnTo>
                  <a:cubicBezTo>
                    <a:pt x="73618" y="246240"/>
                    <a:pt x="73618" y="246522"/>
                    <a:pt x="73336" y="246522"/>
                  </a:cubicBezTo>
                  <a:cubicBezTo>
                    <a:pt x="73054" y="246522"/>
                    <a:pt x="72490" y="246240"/>
                    <a:pt x="72490" y="246240"/>
                  </a:cubicBezTo>
                  <a:lnTo>
                    <a:pt x="69951" y="249342"/>
                  </a:lnTo>
                  <a:cubicBezTo>
                    <a:pt x="69951" y="249906"/>
                    <a:pt x="69669" y="249906"/>
                    <a:pt x="69387" y="249906"/>
                  </a:cubicBezTo>
                  <a:lnTo>
                    <a:pt x="66848" y="249906"/>
                  </a:lnTo>
                  <a:cubicBezTo>
                    <a:pt x="66848" y="249342"/>
                    <a:pt x="66567" y="249342"/>
                    <a:pt x="66003" y="249342"/>
                  </a:cubicBezTo>
                  <a:cubicBezTo>
                    <a:pt x="65438" y="249342"/>
                    <a:pt x="64592" y="249624"/>
                    <a:pt x="64028" y="249624"/>
                  </a:cubicBezTo>
                  <a:cubicBezTo>
                    <a:pt x="63464" y="249624"/>
                    <a:pt x="63182" y="249342"/>
                    <a:pt x="62900" y="249342"/>
                  </a:cubicBezTo>
                  <a:cubicBezTo>
                    <a:pt x="62336" y="249624"/>
                    <a:pt x="62054" y="249624"/>
                    <a:pt x="61772" y="249624"/>
                  </a:cubicBezTo>
                  <a:cubicBezTo>
                    <a:pt x="61490" y="249624"/>
                    <a:pt x="61207" y="249624"/>
                    <a:pt x="60926" y="249906"/>
                  </a:cubicBezTo>
                  <a:lnTo>
                    <a:pt x="56976" y="247650"/>
                  </a:lnTo>
                  <a:cubicBezTo>
                    <a:pt x="56412" y="247650"/>
                    <a:pt x="56412" y="247932"/>
                    <a:pt x="56131" y="247932"/>
                  </a:cubicBezTo>
                  <a:cubicBezTo>
                    <a:pt x="55848" y="248214"/>
                    <a:pt x="55566" y="248214"/>
                    <a:pt x="55566" y="248214"/>
                  </a:cubicBezTo>
                  <a:cubicBezTo>
                    <a:pt x="55284" y="248214"/>
                    <a:pt x="55002" y="248214"/>
                    <a:pt x="54720" y="247932"/>
                  </a:cubicBezTo>
                  <a:cubicBezTo>
                    <a:pt x="54156" y="247650"/>
                    <a:pt x="53592" y="246804"/>
                    <a:pt x="52745" y="246240"/>
                  </a:cubicBezTo>
                  <a:cubicBezTo>
                    <a:pt x="52181" y="246240"/>
                    <a:pt x="52181" y="245675"/>
                    <a:pt x="51053" y="245675"/>
                  </a:cubicBezTo>
                  <a:cubicBezTo>
                    <a:pt x="51053" y="245393"/>
                    <a:pt x="51053" y="245111"/>
                    <a:pt x="50489" y="244829"/>
                  </a:cubicBezTo>
                  <a:cubicBezTo>
                    <a:pt x="50207" y="244547"/>
                    <a:pt x="49643" y="244547"/>
                    <a:pt x="49643" y="243983"/>
                  </a:cubicBezTo>
                  <a:cubicBezTo>
                    <a:pt x="49643" y="243137"/>
                    <a:pt x="48797" y="243137"/>
                    <a:pt x="48233" y="243137"/>
                  </a:cubicBezTo>
                  <a:cubicBezTo>
                    <a:pt x="47950" y="243137"/>
                    <a:pt x="47950" y="242855"/>
                    <a:pt x="47950" y="242573"/>
                  </a:cubicBezTo>
                  <a:cubicBezTo>
                    <a:pt x="47950" y="242573"/>
                    <a:pt x="48233" y="242291"/>
                    <a:pt x="48514" y="242291"/>
                  </a:cubicBezTo>
                  <a:lnTo>
                    <a:pt x="48797" y="242291"/>
                  </a:lnTo>
                  <a:lnTo>
                    <a:pt x="48514" y="242009"/>
                  </a:lnTo>
                  <a:lnTo>
                    <a:pt x="48514" y="241162"/>
                  </a:lnTo>
                  <a:cubicBezTo>
                    <a:pt x="48514" y="240880"/>
                    <a:pt x="48514" y="240880"/>
                    <a:pt x="48233" y="240880"/>
                  </a:cubicBezTo>
                  <a:cubicBezTo>
                    <a:pt x="47669" y="240880"/>
                    <a:pt x="47104" y="240598"/>
                    <a:pt x="47104" y="240316"/>
                  </a:cubicBezTo>
                  <a:lnTo>
                    <a:pt x="47386" y="240034"/>
                  </a:lnTo>
                  <a:cubicBezTo>
                    <a:pt x="47669" y="240034"/>
                    <a:pt x="47669" y="240034"/>
                    <a:pt x="47669" y="239752"/>
                  </a:cubicBezTo>
                  <a:lnTo>
                    <a:pt x="47669" y="239470"/>
                  </a:lnTo>
                  <a:cubicBezTo>
                    <a:pt x="47669" y="239188"/>
                    <a:pt x="47386" y="239188"/>
                    <a:pt x="47386" y="238906"/>
                  </a:cubicBezTo>
                  <a:lnTo>
                    <a:pt x="47104" y="238624"/>
                  </a:lnTo>
                  <a:cubicBezTo>
                    <a:pt x="47386" y="238342"/>
                    <a:pt x="47386" y="238060"/>
                    <a:pt x="47386" y="237778"/>
                  </a:cubicBezTo>
                  <a:cubicBezTo>
                    <a:pt x="47386" y="237496"/>
                    <a:pt x="47386" y="237214"/>
                    <a:pt x="46822" y="237214"/>
                  </a:cubicBezTo>
                  <a:lnTo>
                    <a:pt x="46822" y="236932"/>
                  </a:lnTo>
                  <a:cubicBezTo>
                    <a:pt x="46540" y="236649"/>
                    <a:pt x="46540" y="236367"/>
                    <a:pt x="46540" y="236085"/>
                  </a:cubicBezTo>
                  <a:cubicBezTo>
                    <a:pt x="46540" y="235521"/>
                    <a:pt x="46259" y="234957"/>
                    <a:pt x="46259" y="234675"/>
                  </a:cubicBezTo>
                  <a:cubicBezTo>
                    <a:pt x="45976" y="234111"/>
                    <a:pt x="45976" y="234111"/>
                    <a:pt x="45976" y="233547"/>
                  </a:cubicBezTo>
                  <a:cubicBezTo>
                    <a:pt x="45694" y="233547"/>
                    <a:pt x="45130" y="233265"/>
                    <a:pt x="44848" y="233265"/>
                  </a:cubicBezTo>
                  <a:lnTo>
                    <a:pt x="44284" y="233265"/>
                  </a:lnTo>
                  <a:cubicBezTo>
                    <a:pt x="44284" y="233265"/>
                    <a:pt x="44002" y="233265"/>
                    <a:pt x="43720" y="232983"/>
                  </a:cubicBezTo>
                  <a:lnTo>
                    <a:pt x="43720" y="232137"/>
                  </a:lnTo>
                  <a:lnTo>
                    <a:pt x="44002" y="231854"/>
                  </a:lnTo>
                  <a:cubicBezTo>
                    <a:pt x="44002" y="231290"/>
                    <a:pt x="44566" y="231290"/>
                    <a:pt x="44566" y="231008"/>
                  </a:cubicBezTo>
                  <a:lnTo>
                    <a:pt x="44566" y="230162"/>
                  </a:lnTo>
                  <a:cubicBezTo>
                    <a:pt x="44566" y="229034"/>
                    <a:pt x="44284" y="228470"/>
                    <a:pt x="44284" y="227906"/>
                  </a:cubicBezTo>
                  <a:cubicBezTo>
                    <a:pt x="44284" y="227624"/>
                    <a:pt x="43720" y="227341"/>
                    <a:pt x="43720" y="226777"/>
                  </a:cubicBezTo>
                  <a:lnTo>
                    <a:pt x="43720" y="226495"/>
                  </a:lnTo>
                  <a:cubicBezTo>
                    <a:pt x="43720" y="226213"/>
                    <a:pt x="43438" y="226213"/>
                    <a:pt x="43438" y="226213"/>
                  </a:cubicBezTo>
                  <a:lnTo>
                    <a:pt x="43438" y="226495"/>
                  </a:lnTo>
                  <a:lnTo>
                    <a:pt x="42873" y="226495"/>
                  </a:lnTo>
                  <a:lnTo>
                    <a:pt x="42873" y="225649"/>
                  </a:lnTo>
                  <a:cubicBezTo>
                    <a:pt x="42873" y="225367"/>
                    <a:pt x="42873" y="225367"/>
                    <a:pt x="42592" y="225085"/>
                  </a:cubicBezTo>
                  <a:cubicBezTo>
                    <a:pt x="42309" y="225085"/>
                    <a:pt x="42309" y="225085"/>
                    <a:pt x="42309" y="224803"/>
                  </a:cubicBezTo>
                  <a:lnTo>
                    <a:pt x="43156" y="223957"/>
                  </a:lnTo>
                  <a:cubicBezTo>
                    <a:pt x="43156" y="223957"/>
                    <a:pt x="42873" y="223393"/>
                    <a:pt x="42873" y="223111"/>
                  </a:cubicBezTo>
                  <a:cubicBezTo>
                    <a:pt x="42309" y="223111"/>
                    <a:pt x="42309" y="222828"/>
                    <a:pt x="42309" y="222828"/>
                  </a:cubicBezTo>
                  <a:lnTo>
                    <a:pt x="42309" y="220854"/>
                  </a:lnTo>
                  <a:cubicBezTo>
                    <a:pt x="42309" y="220290"/>
                    <a:pt x="42309" y="219726"/>
                    <a:pt x="42592" y="218880"/>
                  </a:cubicBezTo>
                  <a:lnTo>
                    <a:pt x="43156" y="218880"/>
                  </a:lnTo>
                  <a:cubicBezTo>
                    <a:pt x="43438" y="218880"/>
                    <a:pt x="43720" y="218880"/>
                    <a:pt x="43720" y="218315"/>
                  </a:cubicBezTo>
                  <a:cubicBezTo>
                    <a:pt x="43438" y="217751"/>
                    <a:pt x="43438" y="217469"/>
                    <a:pt x="43438" y="216623"/>
                  </a:cubicBezTo>
                  <a:cubicBezTo>
                    <a:pt x="43438" y="216341"/>
                    <a:pt x="43156" y="216341"/>
                    <a:pt x="43156" y="216059"/>
                  </a:cubicBezTo>
                  <a:cubicBezTo>
                    <a:pt x="42873" y="216059"/>
                    <a:pt x="43156" y="215777"/>
                    <a:pt x="43156" y="215495"/>
                  </a:cubicBezTo>
                  <a:cubicBezTo>
                    <a:pt x="43438" y="215213"/>
                    <a:pt x="43438" y="214649"/>
                    <a:pt x="43438" y="214367"/>
                  </a:cubicBezTo>
                  <a:cubicBezTo>
                    <a:pt x="43438" y="214085"/>
                    <a:pt x="43438" y="213803"/>
                    <a:pt x="43156" y="212956"/>
                  </a:cubicBezTo>
                  <a:lnTo>
                    <a:pt x="43438" y="212674"/>
                  </a:lnTo>
                  <a:cubicBezTo>
                    <a:pt x="42873" y="212392"/>
                    <a:pt x="42028" y="211828"/>
                    <a:pt x="42028" y="211264"/>
                  </a:cubicBezTo>
                  <a:cubicBezTo>
                    <a:pt x="42028" y="210982"/>
                    <a:pt x="42309" y="210982"/>
                    <a:pt x="42309" y="210700"/>
                  </a:cubicBezTo>
                  <a:cubicBezTo>
                    <a:pt x="42309" y="210700"/>
                    <a:pt x="41463" y="210418"/>
                    <a:pt x="41463" y="210136"/>
                  </a:cubicBezTo>
                  <a:cubicBezTo>
                    <a:pt x="41463" y="210136"/>
                    <a:pt x="41463" y="209854"/>
                    <a:pt x="41745" y="209854"/>
                  </a:cubicBezTo>
                  <a:cubicBezTo>
                    <a:pt x="43156" y="209290"/>
                    <a:pt x="43156" y="209290"/>
                    <a:pt x="43156" y="208725"/>
                  </a:cubicBezTo>
                  <a:cubicBezTo>
                    <a:pt x="43156" y="207879"/>
                    <a:pt x="43156" y="207315"/>
                    <a:pt x="42309" y="207033"/>
                  </a:cubicBezTo>
                  <a:lnTo>
                    <a:pt x="42028" y="206751"/>
                  </a:lnTo>
                  <a:cubicBezTo>
                    <a:pt x="42028" y="206751"/>
                    <a:pt x="42028" y="206469"/>
                    <a:pt x="42309" y="206187"/>
                  </a:cubicBezTo>
                  <a:lnTo>
                    <a:pt x="41745" y="205905"/>
                  </a:lnTo>
                  <a:lnTo>
                    <a:pt x="41745" y="205341"/>
                  </a:lnTo>
                  <a:cubicBezTo>
                    <a:pt x="41463" y="204495"/>
                    <a:pt x="41463" y="203648"/>
                    <a:pt x="41463" y="203084"/>
                  </a:cubicBezTo>
                  <a:lnTo>
                    <a:pt x="41463" y="201110"/>
                  </a:lnTo>
                  <a:cubicBezTo>
                    <a:pt x="41463" y="200264"/>
                    <a:pt x="41463" y="200264"/>
                    <a:pt x="41745" y="199982"/>
                  </a:cubicBezTo>
                  <a:cubicBezTo>
                    <a:pt x="42309" y="199982"/>
                    <a:pt x="42592" y="199982"/>
                    <a:pt x="42873" y="199699"/>
                  </a:cubicBezTo>
                  <a:cubicBezTo>
                    <a:pt x="42873" y="199417"/>
                    <a:pt x="42592" y="199135"/>
                    <a:pt x="42028" y="198571"/>
                  </a:cubicBezTo>
                  <a:cubicBezTo>
                    <a:pt x="41745" y="198571"/>
                    <a:pt x="41745" y="198007"/>
                    <a:pt x="41745" y="198007"/>
                  </a:cubicBezTo>
                  <a:cubicBezTo>
                    <a:pt x="42309" y="197725"/>
                    <a:pt x="42592" y="197443"/>
                    <a:pt x="42592" y="196879"/>
                  </a:cubicBezTo>
                  <a:cubicBezTo>
                    <a:pt x="42592" y="196597"/>
                    <a:pt x="42309" y="196033"/>
                    <a:pt x="42309" y="195751"/>
                  </a:cubicBezTo>
                  <a:lnTo>
                    <a:pt x="42309" y="194058"/>
                  </a:lnTo>
                  <a:cubicBezTo>
                    <a:pt x="42592" y="193212"/>
                    <a:pt x="43156" y="192648"/>
                    <a:pt x="43438" y="192366"/>
                  </a:cubicBezTo>
                  <a:lnTo>
                    <a:pt x="43156" y="192084"/>
                  </a:lnTo>
                  <a:lnTo>
                    <a:pt x="43156" y="190673"/>
                  </a:lnTo>
                  <a:cubicBezTo>
                    <a:pt x="42873" y="190673"/>
                    <a:pt x="42873" y="190391"/>
                    <a:pt x="42873" y="190391"/>
                  </a:cubicBezTo>
                  <a:cubicBezTo>
                    <a:pt x="42873" y="190391"/>
                    <a:pt x="42873" y="190109"/>
                    <a:pt x="43156" y="189827"/>
                  </a:cubicBezTo>
                  <a:cubicBezTo>
                    <a:pt x="43720" y="189545"/>
                    <a:pt x="43720" y="188981"/>
                    <a:pt x="44002" y="188981"/>
                  </a:cubicBezTo>
                  <a:cubicBezTo>
                    <a:pt x="43720" y="188417"/>
                    <a:pt x="43720" y="187853"/>
                    <a:pt x="43720" y="187289"/>
                  </a:cubicBezTo>
                  <a:cubicBezTo>
                    <a:pt x="43720" y="187007"/>
                    <a:pt x="44002" y="186725"/>
                    <a:pt x="44002" y="186443"/>
                  </a:cubicBezTo>
                  <a:cubicBezTo>
                    <a:pt x="44002" y="186161"/>
                    <a:pt x="43720" y="185878"/>
                    <a:pt x="43720" y="185314"/>
                  </a:cubicBezTo>
                  <a:lnTo>
                    <a:pt x="43720" y="184750"/>
                  </a:lnTo>
                  <a:cubicBezTo>
                    <a:pt x="43720" y="184750"/>
                    <a:pt x="43720" y="184186"/>
                    <a:pt x="44566" y="183622"/>
                  </a:cubicBezTo>
                  <a:lnTo>
                    <a:pt x="44566" y="180519"/>
                  </a:lnTo>
                  <a:lnTo>
                    <a:pt x="44848" y="180237"/>
                  </a:lnTo>
                  <a:cubicBezTo>
                    <a:pt x="44284" y="179955"/>
                    <a:pt x="44284" y="179391"/>
                    <a:pt x="44284" y="179109"/>
                  </a:cubicBezTo>
                  <a:lnTo>
                    <a:pt x="44284" y="178545"/>
                  </a:lnTo>
                  <a:cubicBezTo>
                    <a:pt x="44284" y="177981"/>
                    <a:pt x="44284" y="177699"/>
                    <a:pt x="45130" y="177135"/>
                  </a:cubicBezTo>
                  <a:cubicBezTo>
                    <a:pt x="45130" y="177135"/>
                    <a:pt x="45130" y="176288"/>
                    <a:pt x="44848" y="176288"/>
                  </a:cubicBezTo>
                  <a:cubicBezTo>
                    <a:pt x="44566" y="176006"/>
                    <a:pt x="44566" y="176006"/>
                    <a:pt x="44566" y="175724"/>
                  </a:cubicBezTo>
                  <a:cubicBezTo>
                    <a:pt x="44566" y="175724"/>
                    <a:pt x="44566" y="175442"/>
                    <a:pt x="44848" y="175442"/>
                  </a:cubicBezTo>
                  <a:cubicBezTo>
                    <a:pt x="44848" y="175442"/>
                    <a:pt x="45130" y="175442"/>
                    <a:pt x="45130" y="175160"/>
                  </a:cubicBezTo>
                  <a:cubicBezTo>
                    <a:pt x="44848" y="174878"/>
                    <a:pt x="44566" y="174878"/>
                    <a:pt x="44566" y="174596"/>
                  </a:cubicBezTo>
                  <a:cubicBezTo>
                    <a:pt x="44002" y="174314"/>
                    <a:pt x="44002" y="174032"/>
                    <a:pt x="44002" y="173750"/>
                  </a:cubicBezTo>
                  <a:lnTo>
                    <a:pt x="44002" y="172340"/>
                  </a:lnTo>
                  <a:cubicBezTo>
                    <a:pt x="44284" y="172057"/>
                    <a:pt x="44284" y="171493"/>
                    <a:pt x="44284" y="170929"/>
                  </a:cubicBezTo>
                  <a:cubicBezTo>
                    <a:pt x="44566" y="170647"/>
                    <a:pt x="44566" y="170647"/>
                    <a:pt x="44566" y="170365"/>
                  </a:cubicBezTo>
                  <a:cubicBezTo>
                    <a:pt x="44566" y="170083"/>
                    <a:pt x="44284" y="169801"/>
                    <a:pt x="44284" y="169519"/>
                  </a:cubicBezTo>
                  <a:cubicBezTo>
                    <a:pt x="44284" y="169237"/>
                    <a:pt x="44566" y="168955"/>
                    <a:pt x="45130" y="168673"/>
                  </a:cubicBezTo>
                  <a:cubicBezTo>
                    <a:pt x="45412" y="168673"/>
                    <a:pt x="45412" y="168673"/>
                    <a:pt x="45412" y="168391"/>
                  </a:cubicBezTo>
                  <a:lnTo>
                    <a:pt x="45412" y="167262"/>
                  </a:lnTo>
                  <a:cubicBezTo>
                    <a:pt x="45412" y="167262"/>
                    <a:pt x="45130" y="167262"/>
                    <a:pt x="45130" y="166980"/>
                  </a:cubicBezTo>
                  <a:lnTo>
                    <a:pt x="45412" y="166698"/>
                  </a:lnTo>
                  <a:cubicBezTo>
                    <a:pt x="45412" y="166698"/>
                    <a:pt x="46259" y="165852"/>
                    <a:pt x="46259" y="165288"/>
                  </a:cubicBezTo>
                  <a:cubicBezTo>
                    <a:pt x="45694" y="164724"/>
                    <a:pt x="45412" y="164160"/>
                    <a:pt x="45412" y="163878"/>
                  </a:cubicBezTo>
                  <a:cubicBezTo>
                    <a:pt x="45412" y="163596"/>
                    <a:pt x="45412" y="163314"/>
                    <a:pt x="45976" y="162749"/>
                  </a:cubicBezTo>
                  <a:lnTo>
                    <a:pt x="45976" y="162185"/>
                  </a:lnTo>
                  <a:cubicBezTo>
                    <a:pt x="45976" y="161903"/>
                    <a:pt x="45976" y="161621"/>
                    <a:pt x="46540" y="161339"/>
                  </a:cubicBezTo>
                  <a:cubicBezTo>
                    <a:pt x="46822" y="161057"/>
                    <a:pt x="46822" y="160493"/>
                    <a:pt x="46822" y="159929"/>
                  </a:cubicBezTo>
                  <a:lnTo>
                    <a:pt x="46822" y="159083"/>
                  </a:lnTo>
                  <a:cubicBezTo>
                    <a:pt x="47104" y="159083"/>
                    <a:pt x="46822" y="158801"/>
                    <a:pt x="46822" y="158801"/>
                  </a:cubicBezTo>
                  <a:lnTo>
                    <a:pt x="46540" y="158801"/>
                  </a:lnTo>
                  <a:lnTo>
                    <a:pt x="46540" y="157954"/>
                  </a:lnTo>
                  <a:lnTo>
                    <a:pt x="46822" y="157672"/>
                  </a:lnTo>
                  <a:cubicBezTo>
                    <a:pt x="47669" y="157108"/>
                    <a:pt x="47950" y="156826"/>
                    <a:pt x="47950" y="156262"/>
                  </a:cubicBezTo>
                  <a:cubicBezTo>
                    <a:pt x="47669" y="155980"/>
                    <a:pt x="47669" y="155698"/>
                    <a:pt x="47669" y="155416"/>
                  </a:cubicBezTo>
                  <a:cubicBezTo>
                    <a:pt x="47669" y="155134"/>
                    <a:pt x="47950" y="154570"/>
                    <a:pt x="48233" y="154288"/>
                  </a:cubicBezTo>
                  <a:lnTo>
                    <a:pt x="48233" y="154006"/>
                  </a:lnTo>
                  <a:cubicBezTo>
                    <a:pt x="47950" y="153723"/>
                    <a:pt x="47669" y="153159"/>
                    <a:pt x="47669" y="152877"/>
                  </a:cubicBezTo>
                  <a:lnTo>
                    <a:pt x="47669" y="151749"/>
                  </a:lnTo>
                  <a:cubicBezTo>
                    <a:pt x="47669" y="151467"/>
                    <a:pt x="47669" y="151467"/>
                    <a:pt x="47950" y="151185"/>
                  </a:cubicBezTo>
                  <a:cubicBezTo>
                    <a:pt x="47950" y="150903"/>
                    <a:pt x="48233" y="150903"/>
                    <a:pt x="48233" y="150903"/>
                  </a:cubicBezTo>
                  <a:lnTo>
                    <a:pt x="48514" y="150903"/>
                  </a:lnTo>
                  <a:cubicBezTo>
                    <a:pt x="48514" y="150903"/>
                    <a:pt x="48797" y="150903"/>
                    <a:pt x="48797" y="150621"/>
                  </a:cubicBezTo>
                  <a:cubicBezTo>
                    <a:pt x="48797" y="150621"/>
                    <a:pt x="48514" y="150339"/>
                    <a:pt x="48514" y="150057"/>
                  </a:cubicBezTo>
                  <a:cubicBezTo>
                    <a:pt x="48514" y="150057"/>
                    <a:pt x="48233" y="149775"/>
                    <a:pt x="48233" y="149493"/>
                  </a:cubicBezTo>
                  <a:lnTo>
                    <a:pt x="48233" y="149210"/>
                  </a:lnTo>
                  <a:cubicBezTo>
                    <a:pt x="48797" y="148928"/>
                    <a:pt x="48797" y="148364"/>
                    <a:pt x="48797" y="148082"/>
                  </a:cubicBezTo>
                  <a:lnTo>
                    <a:pt x="48797" y="147800"/>
                  </a:lnTo>
                  <a:cubicBezTo>
                    <a:pt x="49079" y="147518"/>
                    <a:pt x="49079" y="147236"/>
                    <a:pt x="49079" y="147236"/>
                  </a:cubicBezTo>
                  <a:cubicBezTo>
                    <a:pt x="49079" y="146954"/>
                    <a:pt x="48797" y="146954"/>
                    <a:pt x="48797" y="146390"/>
                  </a:cubicBezTo>
                  <a:cubicBezTo>
                    <a:pt x="48514" y="146108"/>
                    <a:pt x="48233" y="145826"/>
                    <a:pt x="48233" y="145544"/>
                  </a:cubicBezTo>
                  <a:cubicBezTo>
                    <a:pt x="48233" y="145262"/>
                    <a:pt x="48514" y="145262"/>
                    <a:pt x="48797" y="144980"/>
                  </a:cubicBezTo>
                  <a:cubicBezTo>
                    <a:pt x="50489" y="144697"/>
                    <a:pt x="50489" y="144133"/>
                    <a:pt x="50771" y="143287"/>
                  </a:cubicBezTo>
                  <a:lnTo>
                    <a:pt x="50771" y="142441"/>
                  </a:lnTo>
                  <a:cubicBezTo>
                    <a:pt x="50489" y="142159"/>
                    <a:pt x="50489" y="141595"/>
                    <a:pt x="50489" y="141313"/>
                  </a:cubicBezTo>
                  <a:lnTo>
                    <a:pt x="50489" y="140185"/>
                  </a:lnTo>
                  <a:cubicBezTo>
                    <a:pt x="50771" y="139620"/>
                    <a:pt x="50771" y="138492"/>
                    <a:pt x="51053" y="137646"/>
                  </a:cubicBezTo>
                  <a:cubicBezTo>
                    <a:pt x="51053" y="137364"/>
                    <a:pt x="50771" y="137082"/>
                    <a:pt x="50771" y="136800"/>
                  </a:cubicBezTo>
                  <a:cubicBezTo>
                    <a:pt x="50771" y="136518"/>
                    <a:pt x="50771" y="136236"/>
                    <a:pt x="51053" y="135954"/>
                  </a:cubicBezTo>
                  <a:cubicBezTo>
                    <a:pt x="51053" y="135672"/>
                    <a:pt x="51335" y="135107"/>
                    <a:pt x="51335" y="134825"/>
                  </a:cubicBezTo>
                  <a:lnTo>
                    <a:pt x="51335" y="132851"/>
                  </a:lnTo>
                  <a:cubicBezTo>
                    <a:pt x="51900" y="132851"/>
                    <a:pt x="51900" y="132569"/>
                    <a:pt x="51900" y="132569"/>
                  </a:cubicBezTo>
                  <a:lnTo>
                    <a:pt x="51900" y="131159"/>
                  </a:lnTo>
                  <a:cubicBezTo>
                    <a:pt x="52181" y="130594"/>
                    <a:pt x="52181" y="130312"/>
                    <a:pt x="52181" y="129748"/>
                  </a:cubicBezTo>
                  <a:lnTo>
                    <a:pt x="51617" y="129466"/>
                  </a:lnTo>
                  <a:cubicBezTo>
                    <a:pt x="51617" y="129184"/>
                    <a:pt x="52181" y="128620"/>
                    <a:pt x="52464" y="128056"/>
                  </a:cubicBezTo>
                  <a:cubicBezTo>
                    <a:pt x="52464" y="128056"/>
                    <a:pt x="52745" y="127774"/>
                    <a:pt x="52745" y="127492"/>
                  </a:cubicBezTo>
                  <a:cubicBezTo>
                    <a:pt x="52745" y="127210"/>
                    <a:pt x="52464" y="126928"/>
                    <a:pt x="52464" y="126363"/>
                  </a:cubicBezTo>
                  <a:cubicBezTo>
                    <a:pt x="52464" y="126363"/>
                    <a:pt x="52464" y="125799"/>
                    <a:pt x="53310" y="125235"/>
                  </a:cubicBezTo>
                  <a:cubicBezTo>
                    <a:pt x="53592" y="125235"/>
                    <a:pt x="53592" y="124953"/>
                    <a:pt x="53592" y="124671"/>
                  </a:cubicBezTo>
                  <a:cubicBezTo>
                    <a:pt x="53592" y="124389"/>
                    <a:pt x="53592" y="124107"/>
                    <a:pt x="53310" y="123543"/>
                  </a:cubicBezTo>
                  <a:cubicBezTo>
                    <a:pt x="54156" y="123261"/>
                    <a:pt x="53592" y="122697"/>
                    <a:pt x="54438" y="122133"/>
                  </a:cubicBezTo>
                  <a:cubicBezTo>
                    <a:pt x="54720" y="122133"/>
                    <a:pt x="54438" y="121851"/>
                    <a:pt x="54156" y="121568"/>
                  </a:cubicBezTo>
                  <a:cubicBezTo>
                    <a:pt x="54156" y="121568"/>
                    <a:pt x="54438" y="120722"/>
                    <a:pt x="54438" y="120158"/>
                  </a:cubicBezTo>
                  <a:cubicBezTo>
                    <a:pt x="54438" y="120158"/>
                    <a:pt x="54438" y="119876"/>
                    <a:pt x="54720" y="119312"/>
                  </a:cubicBezTo>
                  <a:cubicBezTo>
                    <a:pt x="55284" y="119030"/>
                    <a:pt x="55284" y="118748"/>
                    <a:pt x="55566" y="118466"/>
                  </a:cubicBezTo>
                  <a:lnTo>
                    <a:pt x="55566" y="116209"/>
                  </a:lnTo>
                  <a:cubicBezTo>
                    <a:pt x="55566" y="115927"/>
                    <a:pt x="54720" y="115645"/>
                    <a:pt x="54720" y="115363"/>
                  </a:cubicBezTo>
                  <a:cubicBezTo>
                    <a:pt x="54720" y="115081"/>
                    <a:pt x="55002" y="114799"/>
                    <a:pt x="55284" y="114235"/>
                  </a:cubicBezTo>
                  <a:cubicBezTo>
                    <a:pt x="55566" y="113953"/>
                    <a:pt x="55284" y="113107"/>
                    <a:pt x="56412" y="112542"/>
                  </a:cubicBezTo>
                  <a:lnTo>
                    <a:pt x="56412" y="110850"/>
                  </a:lnTo>
                  <a:cubicBezTo>
                    <a:pt x="56976" y="110568"/>
                    <a:pt x="56976" y="110568"/>
                    <a:pt x="56976" y="110286"/>
                  </a:cubicBezTo>
                  <a:lnTo>
                    <a:pt x="56976" y="109722"/>
                  </a:lnTo>
                  <a:lnTo>
                    <a:pt x="57259" y="109440"/>
                  </a:lnTo>
                  <a:lnTo>
                    <a:pt x="57259" y="109158"/>
                  </a:lnTo>
                  <a:cubicBezTo>
                    <a:pt x="57259" y="108594"/>
                    <a:pt x="57823" y="108312"/>
                    <a:pt x="57823" y="107747"/>
                  </a:cubicBezTo>
                  <a:lnTo>
                    <a:pt x="57823" y="105491"/>
                  </a:lnTo>
                  <a:cubicBezTo>
                    <a:pt x="58105" y="105491"/>
                    <a:pt x="58105" y="105209"/>
                    <a:pt x="58105" y="104927"/>
                  </a:cubicBezTo>
                  <a:lnTo>
                    <a:pt x="58105" y="103517"/>
                  </a:lnTo>
                  <a:cubicBezTo>
                    <a:pt x="58105" y="103234"/>
                    <a:pt x="58951" y="102388"/>
                    <a:pt x="58951" y="101824"/>
                  </a:cubicBezTo>
                  <a:cubicBezTo>
                    <a:pt x="58951" y="101542"/>
                    <a:pt x="58951" y="101542"/>
                    <a:pt x="58669" y="101260"/>
                  </a:cubicBezTo>
                  <a:cubicBezTo>
                    <a:pt x="59233" y="100696"/>
                    <a:pt x="59515" y="100132"/>
                    <a:pt x="59515" y="99850"/>
                  </a:cubicBezTo>
                  <a:cubicBezTo>
                    <a:pt x="59515" y="99568"/>
                    <a:pt x="59233" y="99568"/>
                    <a:pt x="59233" y="99286"/>
                  </a:cubicBezTo>
                  <a:lnTo>
                    <a:pt x="59233" y="98721"/>
                  </a:lnTo>
                  <a:cubicBezTo>
                    <a:pt x="59233" y="98157"/>
                    <a:pt x="59515" y="97311"/>
                    <a:pt x="59797" y="96747"/>
                  </a:cubicBezTo>
                  <a:cubicBezTo>
                    <a:pt x="60079" y="96465"/>
                    <a:pt x="60079" y="96465"/>
                    <a:pt x="60079" y="96183"/>
                  </a:cubicBezTo>
                  <a:cubicBezTo>
                    <a:pt x="60079" y="95619"/>
                    <a:pt x="64874" y="78413"/>
                    <a:pt x="64592" y="77849"/>
                  </a:cubicBezTo>
                  <a:cubicBezTo>
                    <a:pt x="64874" y="77003"/>
                    <a:pt x="65720" y="77003"/>
                    <a:pt x="65720" y="76721"/>
                  </a:cubicBezTo>
                  <a:lnTo>
                    <a:pt x="65720" y="76439"/>
                  </a:lnTo>
                  <a:cubicBezTo>
                    <a:pt x="65720" y="75875"/>
                    <a:pt x="65438" y="75310"/>
                    <a:pt x="65156" y="75028"/>
                  </a:cubicBezTo>
                  <a:cubicBezTo>
                    <a:pt x="64592" y="75028"/>
                    <a:pt x="64592" y="74746"/>
                    <a:pt x="64592" y="74464"/>
                  </a:cubicBezTo>
                  <a:cubicBezTo>
                    <a:pt x="64592" y="74182"/>
                    <a:pt x="65438" y="74182"/>
                    <a:pt x="65720" y="74182"/>
                  </a:cubicBezTo>
                  <a:cubicBezTo>
                    <a:pt x="66567" y="74182"/>
                    <a:pt x="66848" y="73618"/>
                    <a:pt x="66848" y="73054"/>
                  </a:cubicBezTo>
                  <a:cubicBezTo>
                    <a:pt x="66567" y="72490"/>
                    <a:pt x="66567" y="72208"/>
                    <a:pt x="66567" y="71926"/>
                  </a:cubicBezTo>
                  <a:cubicBezTo>
                    <a:pt x="66567" y="71644"/>
                    <a:pt x="67131" y="71362"/>
                    <a:pt x="67131" y="71079"/>
                  </a:cubicBezTo>
                  <a:cubicBezTo>
                    <a:pt x="70515" y="59515"/>
                    <a:pt x="69669" y="63182"/>
                    <a:pt x="70798" y="58669"/>
                  </a:cubicBezTo>
                  <a:lnTo>
                    <a:pt x="69105" y="58669"/>
                  </a:lnTo>
                  <a:cubicBezTo>
                    <a:pt x="68823" y="58669"/>
                    <a:pt x="68259" y="59233"/>
                    <a:pt x="67977" y="59233"/>
                  </a:cubicBezTo>
                  <a:cubicBezTo>
                    <a:pt x="66284" y="59515"/>
                    <a:pt x="65156" y="59515"/>
                    <a:pt x="63182" y="60643"/>
                  </a:cubicBezTo>
                  <a:lnTo>
                    <a:pt x="62618" y="60643"/>
                  </a:lnTo>
                  <a:cubicBezTo>
                    <a:pt x="61772" y="60643"/>
                    <a:pt x="61490" y="60079"/>
                    <a:pt x="61207" y="59797"/>
                  </a:cubicBezTo>
                  <a:lnTo>
                    <a:pt x="60362" y="59797"/>
                  </a:lnTo>
                  <a:cubicBezTo>
                    <a:pt x="59797" y="59797"/>
                    <a:pt x="59233" y="59797"/>
                    <a:pt x="58951" y="60079"/>
                  </a:cubicBezTo>
                  <a:cubicBezTo>
                    <a:pt x="58669" y="60643"/>
                    <a:pt x="58105" y="60925"/>
                    <a:pt x="58105" y="60925"/>
                  </a:cubicBezTo>
                  <a:lnTo>
                    <a:pt x="56695" y="60925"/>
                  </a:lnTo>
                  <a:cubicBezTo>
                    <a:pt x="56131" y="60925"/>
                    <a:pt x="56131" y="60925"/>
                    <a:pt x="55566" y="61207"/>
                  </a:cubicBezTo>
                  <a:cubicBezTo>
                    <a:pt x="55284" y="61771"/>
                    <a:pt x="54720" y="61771"/>
                    <a:pt x="54720" y="61771"/>
                  </a:cubicBezTo>
                  <a:lnTo>
                    <a:pt x="54156" y="61771"/>
                  </a:lnTo>
                  <a:cubicBezTo>
                    <a:pt x="53310" y="61771"/>
                    <a:pt x="52181" y="62053"/>
                    <a:pt x="51053" y="62618"/>
                  </a:cubicBezTo>
                  <a:lnTo>
                    <a:pt x="47386" y="63182"/>
                  </a:lnTo>
                  <a:lnTo>
                    <a:pt x="46540" y="63182"/>
                  </a:lnTo>
                  <a:cubicBezTo>
                    <a:pt x="45412" y="63464"/>
                    <a:pt x="45130" y="63746"/>
                    <a:pt x="45130" y="63746"/>
                  </a:cubicBezTo>
                  <a:cubicBezTo>
                    <a:pt x="44848" y="64028"/>
                    <a:pt x="44848" y="64028"/>
                    <a:pt x="44566" y="64028"/>
                  </a:cubicBezTo>
                  <a:cubicBezTo>
                    <a:pt x="44284" y="64028"/>
                    <a:pt x="44284" y="64028"/>
                    <a:pt x="44284" y="63746"/>
                  </a:cubicBezTo>
                  <a:lnTo>
                    <a:pt x="44284" y="63464"/>
                  </a:lnTo>
                  <a:lnTo>
                    <a:pt x="44566" y="63182"/>
                  </a:lnTo>
                  <a:lnTo>
                    <a:pt x="44284" y="63182"/>
                  </a:lnTo>
                  <a:lnTo>
                    <a:pt x="44284" y="62618"/>
                  </a:lnTo>
                  <a:cubicBezTo>
                    <a:pt x="44002" y="62618"/>
                    <a:pt x="43438" y="62900"/>
                    <a:pt x="43438" y="62900"/>
                  </a:cubicBezTo>
                  <a:lnTo>
                    <a:pt x="43438" y="63182"/>
                  </a:lnTo>
                  <a:cubicBezTo>
                    <a:pt x="43438" y="63182"/>
                    <a:pt x="44002" y="63182"/>
                    <a:pt x="44002" y="63464"/>
                  </a:cubicBezTo>
                  <a:cubicBezTo>
                    <a:pt x="43720" y="63746"/>
                    <a:pt x="43438" y="64310"/>
                    <a:pt x="42873" y="64310"/>
                  </a:cubicBezTo>
                  <a:lnTo>
                    <a:pt x="42592" y="64310"/>
                  </a:lnTo>
                  <a:lnTo>
                    <a:pt x="42309" y="64592"/>
                  </a:lnTo>
                  <a:lnTo>
                    <a:pt x="42028" y="64592"/>
                  </a:lnTo>
                  <a:cubicBezTo>
                    <a:pt x="41745" y="64592"/>
                    <a:pt x="41463" y="64310"/>
                    <a:pt x="41463" y="64310"/>
                  </a:cubicBezTo>
                  <a:lnTo>
                    <a:pt x="41745" y="64028"/>
                  </a:lnTo>
                  <a:lnTo>
                    <a:pt x="41463" y="64028"/>
                  </a:lnTo>
                  <a:cubicBezTo>
                    <a:pt x="41181" y="64028"/>
                    <a:pt x="40899" y="63746"/>
                    <a:pt x="40899" y="63746"/>
                  </a:cubicBezTo>
                  <a:lnTo>
                    <a:pt x="40899" y="64028"/>
                  </a:lnTo>
                  <a:cubicBezTo>
                    <a:pt x="40335" y="64310"/>
                    <a:pt x="40335" y="64874"/>
                    <a:pt x="39771" y="65438"/>
                  </a:cubicBezTo>
                  <a:cubicBezTo>
                    <a:pt x="39489" y="65720"/>
                    <a:pt x="39207" y="65720"/>
                    <a:pt x="38925" y="65720"/>
                  </a:cubicBezTo>
                  <a:cubicBezTo>
                    <a:pt x="38361" y="65438"/>
                    <a:pt x="38642" y="64874"/>
                    <a:pt x="38361" y="64874"/>
                  </a:cubicBezTo>
                  <a:cubicBezTo>
                    <a:pt x="38078" y="64874"/>
                    <a:pt x="37232" y="65438"/>
                    <a:pt x="36668" y="65720"/>
                  </a:cubicBezTo>
                  <a:lnTo>
                    <a:pt x="34130" y="66284"/>
                  </a:lnTo>
                  <a:lnTo>
                    <a:pt x="33001" y="66284"/>
                  </a:lnTo>
                  <a:cubicBezTo>
                    <a:pt x="33001" y="66849"/>
                    <a:pt x="32719" y="66849"/>
                    <a:pt x="32437" y="66849"/>
                  </a:cubicBezTo>
                  <a:cubicBezTo>
                    <a:pt x="32155" y="66849"/>
                    <a:pt x="31873" y="66849"/>
                    <a:pt x="31873" y="66566"/>
                  </a:cubicBezTo>
                  <a:cubicBezTo>
                    <a:pt x="31309" y="66566"/>
                    <a:pt x="30745" y="66849"/>
                    <a:pt x="30463" y="67131"/>
                  </a:cubicBezTo>
                  <a:cubicBezTo>
                    <a:pt x="29052" y="67413"/>
                    <a:pt x="28206" y="67977"/>
                    <a:pt x="27078" y="67977"/>
                  </a:cubicBezTo>
                  <a:lnTo>
                    <a:pt x="26514" y="67977"/>
                  </a:lnTo>
                  <a:cubicBezTo>
                    <a:pt x="25668" y="68541"/>
                    <a:pt x="25104" y="69105"/>
                    <a:pt x="25104" y="69105"/>
                  </a:cubicBezTo>
                  <a:lnTo>
                    <a:pt x="23411" y="69105"/>
                  </a:lnTo>
                  <a:cubicBezTo>
                    <a:pt x="23129" y="69105"/>
                    <a:pt x="22847" y="69105"/>
                    <a:pt x="22565" y="68823"/>
                  </a:cubicBezTo>
                  <a:cubicBezTo>
                    <a:pt x="22001" y="68823"/>
                    <a:pt x="21719" y="69105"/>
                    <a:pt x="21719" y="69105"/>
                  </a:cubicBezTo>
                  <a:cubicBezTo>
                    <a:pt x="21155" y="69669"/>
                    <a:pt x="20308" y="69387"/>
                    <a:pt x="19744" y="70515"/>
                  </a:cubicBezTo>
                  <a:cubicBezTo>
                    <a:pt x="18898" y="70797"/>
                    <a:pt x="18616" y="70797"/>
                    <a:pt x="18616" y="70797"/>
                  </a:cubicBezTo>
                  <a:cubicBezTo>
                    <a:pt x="18616" y="70515"/>
                    <a:pt x="18616" y="70515"/>
                    <a:pt x="18052" y="70515"/>
                  </a:cubicBezTo>
                  <a:lnTo>
                    <a:pt x="16360" y="70515"/>
                  </a:lnTo>
                  <a:cubicBezTo>
                    <a:pt x="15513" y="70515"/>
                    <a:pt x="14949" y="70797"/>
                    <a:pt x="13257" y="72208"/>
                  </a:cubicBezTo>
                  <a:lnTo>
                    <a:pt x="11001" y="72208"/>
                  </a:lnTo>
                  <a:cubicBezTo>
                    <a:pt x="9308" y="73336"/>
                    <a:pt x="4795" y="74746"/>
                    <a:pt x="2821" y="74746"/>
                  </a:cubicBezTo>
                  <a:cubicBezTo>
                    <a:pt x="2257" y="74746"/>
                    <a:pt x="1974" y="75310"/>
                    <a:pt x="1410" y="75592"/>
                  </a:cubicBezTo>
                  <a:cubicBezTo>
                    <a:pt x="1129" y="76157"/>
                    <a:pt x="564" y="76157"/>
                    <a:pt x="282" y="76157"/>
                  </a:cubicBezTo>
                  <a:cubicBezTo>
                    <a:pt x="0" y="76157"/>
                    <a:pt x="0" y="75592"/>
                    <a:pt x="0" y="75028"/>
                  </a:cubicBezTo>
                  <a:cubicBezTo>
                    <a:pt x="0" y="72208"/>
                    <a:pt x="4231" y="62900"/>
                    <a:pt x="7898" y="62900"/>
                  </a:cubicBezTo>
                  <a:lnTo>
                    <a:pt x="8744" y="62900"/>
                  </a:lnTo>
                  <a:lnTo>
                    <a:pt x="8744" y="63182"/>
                  </a:lnTo>
                  <a:lnTo>
                    <a:pt x="9872" y="63182"/>
                  </a:lnTo>
                  <a:cubicBezTo>
                    <a:pt x="10154" y="63182"/>
                    <a:pt x="9591" y="63746"/>
                    <a:pt x="9308" y="64028"/>
                  </a:cubicBezTo>
                  <a:lnTo>
                    <a:pt x="8744" y="65156"/>
                  </a:lnTo>
                  <a:lnTo>
                    <a:pt x="8744" y="66566"/>
                  </a:lnTo>
                  <a:cubicBezTo>
                    <a:pt x="8744" y="66849"/>
                    <a:pt x="9026" y="66566"/>
                    <a:pt x="9308" y="66566"/>
                  </a:cubicBezTo>
                  <a:lnTo>
                    <a:pt x="9308" y="66002"/>
                  </a:lnTo>
                  <a:cubicBezTo>
                    <a:pt x="9591" y="65156"/>
                    <a:pt x="10436" y="65156"/>
                    <a:pt x="11001" y="65156"/>
                  </a:cubicBezTo>
                  <a:lnTo>
                    <a:pt x="11282" y="65156"/>
                  </a:lnTo>
                  <a:lnTo>
                    <a:pt x="11282" y="65438"/>
                  </a:lnTo>
                  <a:cubicBezTo>
                    <a:pt x="11282" y="65720"/>
                    <a:pt x="11001" y="66002"/>
                    <a:pt x="11001" y="66002"/>
                  </a:cubicBezTo>
                  <a:cubicBezTo>
                    <a:pt x="11565" y="66002"/>
                    <a:pt x="11846" y="66284"/>
                    <a:pt x="11846" y="66284"/>
                  </a:cubicBezTo>
                  <a:cubicBezTo>
                    <a:pt x="12411" y="66284"/>
                    <a:pt x="12411" y="66284"/>
                    <a:pt x="12693" y="66002"/>
                  </a:cubicBezTo>
                  <a:lnTo>
                    <a:pt x="13257" y="65720"/>
                  </a:lnTo>
                  <a:lnTo>
                    <a:pt x="13821" y="65720"/>
                  </a:lnTo>
                  <a:cubicBezTo>
                    <a:pt x="13821" y="66002"/>
                    <a:pt x="14103" y="66002"/>
                    <a:pt x="14103" y="66002"/>
                  </a:cubicBezTo>
                  <a:cubicBezTo>
                    <a:pt x="14385" y="66002"/>
                    <a:pt x="14949" y="65438"/>
                    <a:pt x="15513" y="65438"/>
                  </a:cubicBezTo>
                  <a:cubicBezTo>
                    <a:pt x="15513" y="65438"/>
                    <a:pt x="15513" y="65156"/>
                    <a:pt x="16077" y="64874"/>
                  </a:cubicBezTo>
                  <a:lnTo>
                    <a:pt x="16077" y="64028"/>
                  </a:lnTo>
                  <a:cubicBezTo>
                    <a:pt x="15513" y="64028"/>
                    <a:pt x="15513" y="64028"/>
                    <a:pt x="15513" y="63746"/>
                  </a:cubicBezTo>
                  <a:cubicBezTo>
                    <a:pt x="15513" y="63464"/>
                    <a:pt x="15513" y="63182"/>
                    <a:pt x="15796" y="62618"/>
                  </a:cubicBezTo>
                  <a:cubicBezTo>
                    <a:pt x="15796" y="62336"/>
                    <a:pt x="15513" y="62336"/>
                    <a:pt x="14949" y="62336"/>
                  </a:cubicBezTo>
                  <a:cubicBezTo>
                    <a:pt x="15513" y="61771"/>
                    <a:pt x="16642" y="60643"/>
                    <a:pt x="17206" y="60643"/>
                  </a:cubicBezTo>
                  <a:cubicBezTo>
                    <a:pt x="18616" y="60079"/>
                    <a:pt x="20308" y="60079"/>
                    <a:pt x="21155" y="59515"/>
                  </a:cubicBezTo>
                  <a:cubicBezTo>
                    <a:pt x="22001" y="59233"/>
                    <a:pt x="22565" y="59233"/>
                    <a:pt x="23129" y="59233"/>
                  </a:cubicBezTo>
                  <a:cubicBezTo>
                    <a:pt x="23975" y="58951"/>
                    <a:pt x="24822" y="58951"/>
                    <a:pt x="25668" y="58951"/>
                  </a:cubicBezTo>
                  <a:lnTo>
                    <a:pt x="26514" y="58951"/>
                  </a:lnTo>
                  <a:cubicBezTo>
                    <a:pt x="27642" y="57823"/>
                    <a:pt x="29335" y="57823"/>
                    <a:pt x="30463" y="57258"/>
                  </a:cubicBezTo>
                  <a:lnTo>
                    <a:pt x="33001" y="57258"/>
                  </a:lnTo>
                  <a:cubicBezTo>
                    <a:pt x="33001" y="57258"/>
                    <a:pt x="33847" y="57541"/>
                    <a:pt x="34130" y="57541"/>
                  </a:cubicBezTo>
                  <a:lnTo>
                    <a:pt x="34130" y="57823"/>
                  </a:lnTo>
                  <a:cubicBezTo>
                    <a:pt x="34130" y="58387"/>
                    <a:pt x="33847" y="58387"/>
                    <a:pt x="33283" y="58669"/>
                  </a:cubicBezTo>
                  <a:cubicBezTo>
                    <a:pt x="32437" y="58669"/>
                    <a:pt x="31591" y="58951"/>
                    <a:pt x="31309" y="60079"/>
                  </a:cubicBezTo>
                  <a:cubicBezTo>
                    <a:pt x="31309" y="60079"/>
                    <a:pt x="31027" y="60079"/>
                    <a:pt x="30745" y="60643"/>
                  </a:cubicBezTo>
                  <a:lnTo>
                    <a:pt x="29899" y="61207"/>
                  </a:lnTo>
                  <a:lnTo>
                    <a:pt x="29899" y="61489"/>
                  </a:lnTo>
                  <a:lnTo>
                    <a:pt x="31027" y="61489"/>
                  </a:lnTo>
                  <a:lnTo>
                    <a:pt x="31873" y="60925"/>
                  </a:lnTo>
                  <a:cubicBezTo>
                    <a:pt x="31873" y="60925"/>
                    <a:pt x="32155" y="60643"/>
                    <a:pt x="32437" y="60079"/>
                  </a:cubicBezTo>
                  <a:cubicBezTo>
                    <a:pt x="32437" y="60079"/>
                    <a:pt x="32437" y="59797"/>
                    <a:pt x="33001" y="59797"/>
                  </a:cubicBezTo>
                  <a:lnTo>
                    <a:pt x="33283" y="59797"/>
                  </a:lnTo>
                  <a:cubicBezTo>
                    <a:pt x="33283" y="60079"/>
                    <a:pt x="33847" y="60361"/>
                    <a:pt x="33847" y="60925"/>
                  </a:cubicBezTo>
                  <a:cubicBezTo>
                    <a:pt x="34130" y="61207"/>
                    <a:pt x="34411" y="61207"/>
                    <a:pt x="34694" y="61207"/>
                  </a:cubicBezTo>
                  <a:lnTo>
                    <a:pt x="36104" y="61207"/>
                  </a:lnTo>
                  <a:cubicBezTo>
                    <a:pt x="36386" y="60643"/>
                    <a:pt x="36950" y="60643"/>
                    <a:pt x="37514" y="60643"/>
                  </a:cubicBezTo>
                  <a:lnTo>
                    <a:pt x="38361" y="60643"/>
                  </a:lnTo>
                  <a:lnTo>
                    <a:pt x="38361" y="60361"/>
                  </a:lnTo>
                  <a:lnTo>
                    <a:pt x="39207" y="58669"/>
                  </a:lnTo>
                  <a:cubicBezTo>
                    <a:pt x="39207" y="58669"/>
                    <a:pt x="40053" y="58105"/>
                    <a:pt x="40053" y="58387"/>
                  </a:cubicBezTo>
                  <a:cubicBezTo>
                    <a:pt x="40053" y="58387"/>
                    <a:pt x="40053" y="58669"/>
                    <a:pt x="39771" y="58951"/>
                  </a:cubicBezTo>
                  <a:cubicBezTo>
                    <a:pt x="39771" y="59515"/>
                    <a:pt x="39489" y="59797"/>
                    <a:pt x="39207" y="60361"/>
                  </a:cubicBezTo>
                  <a:lnTo>
                    <a:pt x="39207" y="60925"/>
                  </a:lnTo>
                  <a:lnTo>
                    <a:pt x="39771" y="60925"/>
                  </a:lnTo>
                  <a:cubicBezTo>
                    <a:pt x="40617" y="60925"/>
                    <a:pt x="40899" y="59797"/>
                    <a:pt x="41181" y="59515"/>
                  </a:cubicBezTo>
                  <a:cubicBezTo>
                    <a:pt x="41181" y="59233"/>
                    <a:pt x="40899" y="58951"/>
                    <a:pt x="40899" y="58669"/>
                  </a:cubicBezTo>
                  <a:lnTo>
                    <a:pt x="40899" y="58387"/>
                  </a:lnTo>
                  <a:cubicBezTo>
                    <a:pt x="40899" y="58387"/>
                    <a:pt x="40899" y="58105"/>
                    <a:pt x="41181" y="58105"/>
                  </a:cubicBezTo>
                  <a:lnTo>
                    <a:pt x="42309" y="56694"/>
                  </a:lnTo>
                  <a:lnTo>
                    <a:pt x="40899" y="56412"/>
                  </a:lnTo>
                  <a:lnTo>
                    <a:pt x="40899" y="56130"/>
                  </a:lnTo>
                  <a:lnTo>
                    <a:pt x="40617" y="56130"/>
                  </a:lnTo>
                  <a:lnTo>
                    <a:pt x="39771" y="56412"/>
                  </a:lnTo>
                  <a:cubicBezTo>
                    <a:pt x="38925" y="56694"/>
                    <a:pt x="38642" y="56976"/>
                    <a:pt x="38361" y="58105"/>
                  </a:cubicBezTo>
                  <a:cubicBezTo>
                    <a:pt x="38361" y="57823"/>
                    <a:pt x="38361" y="57258"/>
                    <a:pt x="38078" y="57258"/>
                  </a:cubicBezTo>
                  <a:lnTo>
                    <a:pt x="36668" y="57258"/>
                  </a:lnTo>
                  <a:close/>
                  <a:moveTo>
                    <a:pt x="18052" y="62053"/>
                  </a:moveTo>
                  <a:cubicBezTo>
                    <a:pt x="17488" y="62336"/>
                    <a:pt x="16924" y="63182"/>
                    <a:pt x="16077" y="64028"/>
                  </a:cubicBezTo>
                  <a:cubicBezTo>
                    <a:pt x="16642" y="64028"/>
                    <a:pt x="17488" y="63182"/>
                    <a:pt x="18052" y="62336"/>
                  </a:cubicBezTo>
                  <a:cubicBezTo>
                    <a:pt x="18334" y="62336"/>
                    <a:pt x="18052" y="62053"/>
                    <a:pt x="18052" y="62053"/>
                  </a:cubicBezTo>
                  <a:close/>
                  <a:moveTo>
                    <a:pt x="17206" y="66849"/>
                  </a:moveTo>
                  <a:lnTo>
                    <a:pt x="16360" y="66849"/>
                  </a:lnTo>
                  <a:lnTo>
                    <a:pt x="16360" y="67977"/>
                  </a:lnTo>
                  <a:cubicBezTo>
                    <a:pt x="16360" y="67695"/>
                    <a:pt x="16642" y="67695"/>
                    <a:pt x="16924" y="67413"/>
                  </a:cubicBezTo>
                  <a:lnTo>
                    <a:pt x="17206" y="66849"/>
                  </a:lnTo>
                  <a:close/>
                  <a:moveTo>
                    <a:pt x="20027" y="65720"/>
                  </a:moveTo>
                  <a:lnTo>
                    <a:pt x="20308" y="65720"/>
                  </a:lnTo>
                  <a:cubicBezTo>
                    <a:pt x="20591" y="65438"/>
                    <a:pt x="20591" y="65156"/>
                    <a:pt x="20591" y="65156"/>
                  </a:cubicBezTo>
                  <a:cubicBezTo>
                    <a:pt x="20591" y="65156"/>
                    <a:pt x="21155" y="64874"/>
                    <a:pt x="21155" y="64592"/>
                  </a:cubicBezTo>
                  <a:lnTo>
                    <a:pt x="21155" y="64310"/>
                  </a:lnTo>
                  <a:lnTo>
                    <a:pt x="20873" y="64310"/>
                  </a:lnTo>
                  <a:cubicBezTo>
                    <a:pt x="20308" y="64310"/>
                    <a:pt x="19744" y="64310"/>
                    <a:pt x="19180" y="65156"/>
                  </a:cubicBezTo>
                  <a:cubicBezTo>
                    <a:pt x="19180" y="65438"/>
                    <a:pt x="19744" y="65720"/>
                    <a:pt x="20027" y="65720"/>
                  </a:cubicBezTo>
                  <a:close/>
                  <a:moveTo>
                    <a:pt x="28206" y="60079"/>
                  </a:moveTo>
                  <a:lnTo>
                    <a:pt x="26514" y="61489"/>
                  </a:lnTo>
                  <a:lnTo>
                    <a:pt x="26514" y="61771"/>
                  </a:lnTo>
                  <a:lnTo>
                    <a:pt x="27078" y="61771"/>
                  </a:lnTo>
                  <a:cubicBezTo>
                    <a:pt x="27642" y="61771"/>
                    <a:pt x="27925" y="61771"/>
                    <a:pt x="27925" y="61207"/>
                  </a:cubicBezTo>
                  <a:cubicBezTo>
                    <a:pt x="27925" y="61207"/>
                    <a:pt x="28206" y="60925"/>
                    <a:pt x="28206" y="60361"/>
                  </a:cubicBezTo>
                  <a:lnTo>
                    <a:pt x="28206" y="60079"/>
                  </a:lnTo>
                  <a:close/>
                  <a:moveTo>
                    <a:pt x="38361" y="58669"/>
                  </a:moveTo>
                  <a:cubicBezTo>
                    <a:pt x="38361" y="58951"/>
                    <a:pt x="38078" y="59233"/>
                    <a:pt x="38078" y="59233"/>
                  </a:cubicBezTo>
                  <a:cubicBezTo>
                    <a:pt x="38078" y="59515"/>
                    <a:pt x="38078" y="59515"/>
                    <a:pt x="37797" y="59515"/>
                  </a:cubicBezTo>
                  <a:cubicBezTo>
                    <a:pt x="37797" y="59515"/>
                    <a:pt x="37514" y="59233"/>
                    <a:pt x="37514" y="58951"/>
                  </a:cubicBezTo>
                  <a:cubicBezTo>
                    <a:pt x="38078" y="58387"/>
                    <a:pt x="38361" y="58387"/>
                    <a:pt x="38361" y="58387"/>
                  </a:cubicBezTo>
                  <a:lnTo>
                    <a:pt x="38361" y="58669"/>
                  </a:lnTo>
                  <a:close/>
                  <a:moveTo>
                    <a:pt x="45130" y="236649"/>
                  </a:moveTo>
                  <a:cubicBezTo>
                    <a:pt x="45130" y="236649"/>
                    <a:pt x="44848" y="236649"/>
                    <a:pt x="44848" y="236367"/>
                  </a:cubicBezTo>
                  <a:cubicBezTo>
                    <a:pt x="44848" y="236367"/>
                    <a:pt x="45130" y="236367"/>
                    <a:pt x="45130" y="236085"/>
                  </a:cubicBezTo>
                  <a:lnTo>
                    <a:pt x="45130" y="236649"/>
                  </a:lnTo>
                  <a:close/>
                  <a:moveTo>
                    <a:pt x="59233" y="203366"/>
                  </a:moveTo>
                  <a:cubicBezTo>
                    <a:pt x="59515" y="203366"/>
                    <a:pt x="59797" y="203084"/>
                    <a:pt x="60079" y="202520"/>
                  </a:cubicBezTo>
                  <a:cubicBezTo>
                    <a:pt x="60079" y="202238"/>
                    <a:pt x="59797" y="201674"/>
                    <a:pt x="59797" y="201674"/>
                  </a:cubicBezTo>
                  <a:cubicBezTo>
                    <a:pt x="59797" y="201674"/>
                    <a:pt x="60362" y="201392"/>
                    <a:pt x="60362" y="201110"/>
                  </a:cubicBezTo>
                  <a:cubicBezTo>
                    <a:pt x="59797" y="200828"/>
                    <a:pt x="59797" y="200264"/>
                    <a:pt x="59233" y="200264"/>
                  </a:cubicBezTo>
                  <a:lnTo>
                    <a:pt x="59515" y="202520"/>
                  </a:lnTo>
                  <a:cubicBezTo>
                    <a:pt x="59515" y="202802"/>
                    <a:pt x="58951" y="203084"/>
                    <a:pt x="58951" y="203084"/>
                  </a:cubicBezTo>
                  <a:lnTo>
                    <a:pt x="58669" y="203084"/>
                  </a:lnTo>
                  <a:cubicBezTo>
                    <a:pt x="58669" y="203084"/>
                    <a:pt x="58669" y="203366"/>
                    <a:pt x="58951" y="203366"/>
                  </a:cubicBezTo>
                  <a:lnTo>
                    <a:pt x="59233" y="203366"/>
                  </a:lnTo>
                  <a:close/>
                  <a:moveTo>
                    <a:pt x="59515" y="210700"/>
                  </a:moveTo>
                  <a:lnTo>
                    <a:pt x="59515" y="212392"/>
                  </a:lnTo>
                  <a:cubicBezTo>
                    <a:pt x="60079" y="212674"/>
                    <a:pt x="60362" y="212674"/>
                    <a:pt x="60362" y="212674"/>
                  </a:cubicBezTo>
                  <a:lnTo>
                    <a:pt x="60926" y="212674"/>
                  </a:lnTo>
                  <a:lnTo>
                    <a:pt x="60643" y="212392"/>
                  </a:lnTo>
                  <a:lnTo>
                    <a:pt x="60643" y="210700"/>
                  </a:lnTo>
                  <a:lnTo>
                    <a:pt x="59515" y="210700"/>
                  </a:lnTo>
                  <a:close/>
                  <a:moveTo>
                    <a:pt x="59515" y="220008"/>
                  </a:moveTo>
                  <a:cubicBezTo>
                    <a:pt x="59515" y="220290"/>
                    <a:pt x="59515" y="220572"/>
                    <a:pt x="59797" y="220854"/>
                  </a:cubicBezTo>
                  <a:cubicBezTo>
                    <a:pt x="59797" y="220854"/>
                    <a:pt x="59797" y="221136"/>
                    <a:pt x="60079" y="221136"/>
                  </a:cubicBezTo>
                  <a:lnTo>
                    <a:pt x="60079" y="220854"/>
                  </a:lnTo>
                  <a:cubicBezTo>
                    <a:pt x="60643" y="220572"/>
                    <a:pt x="60643" y="220008"/>
                    <a:pt x="60643" y="219726"/>
                  </a:cubicBezTo>
                  <a:cubicBezTo>
                    <a:pt x="60643" y="219444"/>
                    <a:pt x="60362" y="219162"/>
                    <a:pt x="59797" y="219162"/>
                  </a:cubicBezTo>
                  <a:cubicBezTo>
                    <a:pt x="59515" y="219162"/>
                    <a:pt x="59515" y="219444"/>
                    <a:pt x="59515" y="219726"/>
                  </a:cubicBezTo>
                  <a:lnTo>
                    <a:pt x="59515" y="220008"/>
                  </a:lnTo>
                  <a:close/>
                  <a:moveTo>
                    <a:pt x="59797" y="187007"/>
                  </a:moveTo>
                  <a:lnTo>
                    <a:pt x="60079" y="186725"/>
                  </a:lnTo>
                  <a:cubicBezTo>
                    <a:pt x="60926" y="186161"/>
                    <a:pt x="62054" y="185878"/>
                    <a:pt x="62336" y="185878"/>
                  </a:cubicBezTo>
                  <a:cubicBezTo>
                    <a:pt x="62336" y="185878"/>
                    <a:pt x="62618" y="186443"/>
                    <a:pt x="62618" y="186725"/>
                  </a:cubicBezTo>
                  <a:cubicBezTo>
                    <a:pt x="62054" y="187007"/>
                    <a:pt x="61772" y="187289"/>
                    <a:pt x="60643" y="187289"/>
                  </a:cubicBezTo>
                  <a:cubicBezTo>
                    <a:pt x="60362" y="187289"/>
                    <a:pt x="59797" y="187289"/>
                    <a:pt x="59797" y="187007"/>
                  </a:cubicBezTo>
                  <a:close/>
                  <a:moveTo>
                    <a:pt x="60079" y="205059"/>
                  </a:moveTo>
                  <a:cubicBezTo>
                    <a:pt x="60079" y="205341"/>
                    <a:pt x="59797" y="205341"/>
                    <a:pt x="59797" y="205341"/>
                  </a:cubicBezTo>
                  <a:cubicBezTo>
                    <a:pt x="59797" y="205341"/>
                    <a:pt x="59797" y="205623"/>
                    <a:pt x="60079" y="205623"/>
                  </a:cubicBezTo>
                  <a:lnTo>
                    <a:pt x="60079" y="205059"/>
                  </a:lnTo>
                  <a:close/>
                  <a:moveTo>
                    <a:pt x="60643" y="188417"/>
                  </a:moveTo>
                  <a:cubicBezTo>
                    <a:pt x="60643" y="188135"/>
                    <a:pt x="60926" y="188135"/>
                    <a:pt x="60926" y="188135"/>
                  </a:cubicBezTo>
                  <a:cubicBezTo>
                    <a:pt x="60926" y="188135"/>
                    <a:pt x="60926" y="188417"/>
                    <a:pt x="61207" y="188417"/>
                  </a:cubicBezTo>
                  <a:lnTo>
                    <a:pt x="60643" y="188417"/>
                  </a:lnTo>
                  <a:close/>
                  <a:moveTo>
                    <a:pt x="61207" y="176288"/>
                  </a:moveTo>
                  <a:lnTo>
                    <a:pt x="60926" y="176006"/>
                  </a:lnTo>
                  <a:cubicBezTo>
                    <a:pt x="61207" y="176006"/>
                    <a:pt x="61490" y="175724"/>
                    <a:pt x="61490" y="175724"/>
                  </a:cubicBezTo>
                  <a:cubicBezTo>
                    <a:pt x="62054" y="175724"/>
                    <a:pt x="62054" y="176006"/>
                    <a:pt x="62054" y="176006"/>
                  </a:cubicBezTo>
                  <a:cubicBezTo>
                    <a:pt x="62054" y="176006"/>
                    <a:pt x="62054" y="176288"/>
                    <a:pt x="61490" y="176288"/>
                  </a:cubicBezTo>
                  <a:lnTo>
                    <a:pt x="61207" y="176288"/>
                  </a:lnTo>
                  <a:close/>
                  <a:moveTo>
                    <a:pt x="61207" y="184750"/>
                  </a:moveTo>
                  <a:lnTo>
                    <a:pt x="61207" y="183904"/>
                  </a:lnTo>
                  <a:cubicBezTo>
                    <a:pt x="61490" y="183622"/>
                    <a:pt x="62054" y="183340"/>
                    <a:pt x="62054" y="183340"/>
                  </a:cubicBezTo>
                  <a:cubicBezTo>
                    <a:pt x="62336" y="183340"/>
                    <a:pt x="62618" y="183340"/>
                    <a:pt x="62618" y="183622"/>
                  </a:cubicBezTo>
                  <a:cubicBezTo>
                    <a:pt x="62618" y="183622"/>
                    <a:pt x="62336" y="183904"/>
                    <a:pt x="62336" y="184186"/>
                  </a:cubicBezTo>
                  <a:cubicBezTo>
                    <a:pt x="62336" y="184750"/>
                    <a:pt x="61772" y="184750"/>
                    <a:pt x="61772" y="184750"/>
                  </a:cubicBezTo>
                  <a:lnTo>
                    <a:pt x="61207" y="184750"/>
                  </a:lnTo>
                  <a:close/>
                  <a:moveTo>
                    <a:pt x="62054" y="188981"/>
                  </a:moveTo>
                  <a:lnTo>
                    <a:pt x="62054" y="189263"/>
                  </a:lnTo>
                  <a:cubicBezTo>
                    <a:pt x="62054" y="189263"/>
                    <a:pt x="61490" y="189263"/>
                    <a:pt x="61490" y="188981"/>
                  </a:cubicBezTo>
                  <a:lnTo>
                    <a:pt x="61490" y="188699"/>
                  </a:lnTo>
                  <a:lnTo>
                    <a:pt x="61207" y="188417"/>
                  </a:lnTo>
                  <a:lnTo>
                    <a:pt x="61772" y="188417"/>
                  </a:lnTo>
                  <a:lnTo>
                    <a:pt x="62054" y="188981"/>
                  </a:lnTo>
                  <a:close/>
                  <a:moveTo>
                    <a:pt x="61490" y="181648"/>
                  </a:moveTo>
                  <a:lnTo>
                    <a:pt x="62336" y="181648"/>
                  </a:lnTo>
                  <a:cubicBezTo>
                    <a:pt x="62618" y="181648"/>
                    <a:pt x="62618" y="181930"/>
                    <a:pt x="62618" y="182212"/>
                  </a:cubicBezTo>
                  <a:cubicBezTo>
                    <a:pt x="62618" y="182494"/>
                    <a:pt x="62618" y="182776"/>
                    <a:pt x="62336" y="183058"/>
                  </a:cubicBezTo>
                  <a:cubicBezTo>
                    <a:pt x="62054" y="183058"/>
                    <a:pt x="62054" y="183058"/>
                    <a:pt x="61490" y="182494"/>
                  </a:cubicBezTo>
                  <a:lnTo>
                    <a:pt x="61490" y="181648"/>
                  </a:lnTo>
                  <a:close/>
                  <a:moveTo>
                    <a:pt x="62336" y="178545"/>
                  </a:moveTo>
                  <a:lnTo>
                    <a:pt x="61772" y="178545"/>
                  </a:lnTo>
                  <a:cubicBezTo>
                    <a:pt x="61772" y="178545"/>
                    <a:pt x="62054" y="178545"/>
                    <a:pt x="62054" y="178263"/>
                  </a:cubicBezTo>
                  <a:lnTo>
                    <a:pt x="62336" y="178545"/>
                  </a:lnTo>
                  <a:close/>
                  <a:moveTo>
                    <a:pt x="63182" y="168109"/>
                  </a:moveTo>
                  <a:cubicBezTo>
                    <a:pt x="63464" y="168109"/>
                    <a:pt x="63746" y="168391"/>
                    <a:pt x="63746" y="168673"/>
                  </a:cubicBezTo>
                  <a:cubicBezTo>
                    <a:pt x="63746" y="168955"/>
                    <a:pt x="63464" y="169237"/>
                    <a:pt x="63182" y="169237"/>
                  </a:cubicBezTo>
                  <a:cubicBezTo>
                    <a:pt x="62900" y="169237"/>
                    <a:pt x="62618" y="168955"/>
                    <a:pt x="62618" y="168955"/>
                  </a:cubicBezTo>
                  <a:cubicBezTo>
                    <a:pt x="62618" y="168391"/>
                    <a:pt x="62618" y="168109"/>
                    <a:pt x="63182" y="168109"/>
                  </a:cubicBezTo>
                  <a:close/>
                  <a:moveTo>
                    <a:pt x="65438" y="136800"/>
                  </a:moveTo>
                  <a:cubicBezTo>
                    <a:pt x="66284" y="136800"/>
                    <a:pt x="66567" y="136800"/>
                    <a:pt x="66567" y="136518"/>
                  </a:cubicBezTo>
                  <a:cubicBezTo>
                    <a:pt x="66567" y="136236"/>
                    <a:pt x="66284" y="135954"/>
                    <a:pt x="65720" y="135954"/>
                  </a:cubicBezTo>
                  <a:cubicBezTo>
                    <a:pt x="65438" y="135954"/>
                    <a:pt x="65438" y="136236"/>
                    <a:pt x="65438" y="136518"/>
                  </a:cubicBezTo>
                  <a:lnTo>
                    <a:pt x="65438" y="136800"/>
                  </a:lnTo>
                  <a:close/>
                  <a:moveTo>
                    <a:pt x="65438" y="153159"/>
                  </a:moveTo>
                  <a:lnTo>
                    <a:pt x="65438" y="151467"/>
                  </a:lnTo>
                  <a:cubicBezTo>
                    <a:pt x="65720" y="151185"/>
                    <a:pt x="65720" y="151185"/>
                    <a:pt x="66003" y="151185"/>
                  </a:cubicBezTo>
                  <a:cubicBezTo>
                    <a:pt x="66567" y="151185"/>
                    <a:pt x="66567" y="151185"/>
                    <a:pt x="66567" y="151467"/>
                  </a:cubicBezTo>
                  <a:cubicBezTo>
                    <a:pt x="66567" y="151749"/>
                    <a:pt x="66567" y="152313"/>
                    <a:pt x="65720" y="152877"/>
                  </a:cubicBezTo>
                  <a:lnTo>
                    <a:pt x="65438" y="153159"/>
                  </a:lnTo>
                  <a:close/>
                  <a:moveTo>
                    <a:pt x="69444" y="132569"/>
                  </a:moveTo>
                  <a:cubicBezTo>
                    <a:pt x="68879" y="132569"/>
                    <a:pt x="68598" y="132005"/>
                    <a:pt x="68034" y="131441"/>
                  </a:cubicBezTo>
                  <a:lnTo>
                    <a:pt x="68034" y="131159"/>
                  </a:lnTo>
                  <a:cubicBezTo>
                    <a:pt x="68315" y="130876"/>
                    <a:pt x="69162" y="130594"/>
                    <a:pt x="69444" y="130594"/>
                  </a:cubicBezTo>
                  <a:cubicBezTo>
                    <a:pt x="70008" y="130594"/>
                    <a:pt x="70290" y="130876"/>
                    <a:pt x="70572" y="131159"/>
                  </a:cubicBezTo>
                  <a:lnTo>
                    <a:pt x="70572" y="131723"/>
                  </a:lnTo>
                  <a:cubicBezTo>
                    <a:pt x="70572" y="132005"/>
                    <a:pt x="70008" y="132287"/>
                    <a:pt x="69726" y="132569"/>
                  </a:cubicBezTo>
                  <a:lnTo>
                    <a:pt x="69444" y="132569"/>
                  </a:lnTo>
                  <a:close/>
                  <a:moveTo>
                    <a:pt x="72490" y="49361"/>
                  </a:moveTo>
                  <a:cubicBezTo>
                    <a:pt x="72208" y="49643"/>
                    <a:pt x="71926" y="49643"/>
                    <a:pt x="71926" y="49643"/>
                  </a:cubicBezTo>
                  <a:lnTo>
                    <a:pt x="72490" y="49361"/>
                  </a:lnTo>
                  <a:close/>
                  <a:moveTo>
                    <a:pt x="83547" y="237778"/>
                  </a:moveTo>
                  <a:lnTo>
                    <a:pt x="83265" y="237496"/>
                  </a:lnTo>
                  <a:cubicBezTo>
                    <a:pt x="83265" y="237214"/>
                    <a:pt x="83547" y="237214"/>
                    <a:pt x="83547" y="236932"/>
                  </a:cubicBezTo>
                  <a:lnTo>
                    <a:pt x="83547" y="237778"/>
                  </a:lnTo>
                  <a:close/>
                  <a:moveTo>
                    <a:pt x="89188" y="218598"/>
                  </a:moveTo>
                  <a:lnTo>
                    <a:pt x="88906" y="218315"/>
                  </a:lnTo>
                  <a:cubicBezTo>
                    <a:pt x="88906" y="218315"/>
                    <a:pt x="88342" y="218880"/>
                    <a:pt x="88060" y="219444"/>
                  </a:cubicBezTo>
                  <a:cubicBezTo>
                    <a:pt x="88060" y="219444"/>
                    <a:pt x="88060" y="219726"/>
                    <a:pt x="88342" y="219726"/>
                  </a:cubicBezTo>
                  <a:cubicBezTo>
                    <a:pt x="88624" y="219726"/>
                    <a:pt x="89188" y="218880"/>
                    <a:pt x="89188" y="218598"/>
                  </a:cubicBezTo>
                  <a:close/>
                  <a:moveTo>
                    <a:pt x="94829" y="205059"/>
                  </a:moveTo>
                  <a:cubicBezTo>
                    <a:pt x="95393" y="205059"/>
                    <a:pt x="95675" y="205059"/>
                    <a:pt x="95675" y="204777"/>
                  </a:cubicBezTo>
                  <a:cubicBezTo>
                    <a:pt x="95675" y="204777"/>
                    <a:pt x="95393" y="204777"/>
                    <a:pt x="95393" y="204495"/>
                  </a:cubicBezTo>
                  <a:cubicBezTo>
                    <a:pt x="95393" y="204212"/>
                    <a:pt x="95393" y="203930"/>
                    <a:pt x="94829" y="203930"/>
                  </a:cubicBezTo>
                  <a:cubicBezTo>
                    <a:pt x="94547" y="203930"/>
                    <a:pt x="94265" y="204212"/>
                    <a:pt x="94265" y="204495"/>
                  </a:cubicBezTo>
                  <a:lnTo>
                    <a:pt x="94829" y="205059"/>
                  </a:lnTo>
                  <a:close/>
                  <a:moveTo>
                    <a:pt x="101599" y="202802"/>
                  </a:moveTo>
                  <a:lnTo>
                    <a:pt x="101316" y="203084"/>
                  </a:lnTo>
                  <a:lnTo>
                    <a:pt x="101316" y="203366"/>
                  </a:lnTo>
                  <a:lnTo>
                    <a:pt x="100188" y="203366"/>
                  </a:lnTo>
                  <a:lnTo>
                    <a:pt x="100188" y="203084"/>
                  </a:lnTo>
                  <a:cubicBezTo>
                    <a:pt x="100188" y="203084"/>
                    <a:pt x="100752" y="202802"/>
                    <a:pt x="100752" y="202520"/>
                  </a:cubicBezTo>
                  <a:cubicBezTo>
                    <a:pt x="100752" y="202238"/>
                    <a:pt x="100471" y="202238"/>
                    <a:pt x="100188" y="201674"/>
                  </a:cubicBezTo>
                  <a:lnTo>
                    <a:pt x="100188" y="201392"/>
                  </a:lnTo>
                  <a:cubicBezTo>
                    <a:pt x="100188" y="201110"/>
                    <a:pt x="100188" y="201110"/>
                    <a:pt x="100471" y="200828"/>
                  </a:cubicBezTo>
                  <a:lnTo>
                    <a:pt x="101035" y="200264"/>
                  </a:lnTo>
                  <a:cubicBezTo>
                    <a:pt x="101316" y="200264"/>
                    <a:pt x="101599" y="200828"/>
                    <a:pt x="101599" y="200828"/>
                  </a:cubicBezTo>
                  <a:lnTo>
                    <a:pt x="101599" y="202802"/>
                  </a:lnTo>
                  <a:close/>
                  <a:moveTo>
                    <a:pt x="104419" y="49079"/>
                  </a:moveTo>
                  <a:cubicBezTo>
                    <a:pt x="105266" y="48797"/>
                    <a:pt x="105830" y="48797"/>
                    <a:pt x="105830" y="48515"/>
                  </a:cubicBezTo>
                  <a:cubicBezTo>
                    <a:pt x="105830" y="47950"/>
                    <a:pt x="105830" y="47950"/>
                    <a:pt x="106112" y="47668"/>
                  </a:cubicBezTo>
                  <a:cubicBezTo>
                    <a:pt x="106112" y="47668"/>
                    <a:pt x="106112" y="47386"/>
                    <a:pt x="105830" y="47386"/>
                  </a:cubicBezTo>
                  <a:cubicBezTo>
                    <a:pt x="105266" y="47386"/>
                    <a:pt x="104702" y="47950"/>
                    <a:pt x="104137" y="48515"/>
                  </a:cubicBezTo>
                  <a:lnTo>
                    <a:pt x="103855" y="49079"/>
                  </a:lnTo>
                  <a:lnTo>
                    <a:pt x="103855" y="49361"/>
                  </a:lnTo>
                  <a:lnTo>
                    <a:pt x="104419" y="49079"/>
                  </a:lnTo>
                  <a:close/>
                  <a:moveTo>
                    <a:pt x="108932" y="176288"/>
                  </a:moveTo>
                  <a:lnTo>
                    <a:pt x="109214" y="177135"/>
                  </a:lnTo>
                  <a:lnTo>
                    <a:pt x="109496" y="177417"/>
                  </a:lnTo>
                  <a:cubicBezTo>
                    <a:pt x="109778" y="177135"/>
                    <a:pt x="110343" y="176852"/>
                    <a:pt x="110343" y="176288"/>
                  </a:cubicBezTo>
                  <a:lnTo>
                    <a:pt x="108932" y="176288"/>
                  </a:lnTo>
                  <a:close/>
                  <a:moveTo>
                    <a:pt x="109778" y="45694"/>
                  </a:moveTo>
                  <a:cubicBezTo>
                    <a:pt x="110060" y="45694"/>
                    <a:pt x="110060" y="45412"/>
                    <a:pt x="110060" y="45130"/>
                  </a:cubicBezTo>
                  <a:lnTo>
                    <a:pt x="110060" y="44848"/>
                  </a:lnTo>
                  <a:cubicBezTo>
                    <a:pt x="109778" y="44848"/>
                    <a:pt x="110060" y="45130"/>
                    <a:pt x="109778" y="45130"/>
                  </a:cubicBezTo>
                  <a:lnTo>
                    <a:pt x="109778" y="45694"/>
                  </a:lnTo>
                  <a:close/>
                  <a:moveTo>
                    <a:pt x="111978" y="155980"/>
                  </a:moveTo>
                  <a:cubicBezTo>
                    <a:pt x="111978" y="155980"/>
                    <a:pt x="111133" y="155416"/>
                    <a:pt x="110568" y="155416"/>
                  </a:cubicBezTo>
                  <a:lnTo>
                    <a:pt x="110568" y="155980"/>
                  </a:lnTo>
                  <a:cubicBezTo>
                    <a:pt x="110850" y="156544"/>
                    <a:pt x="110850" y="156544"/>
                    <a:pt x="111414" y="156544"/>
                  </a:cubicBezTo>
                  <a:cubicBezTo>
                    <a:pt x="111471" y="156544"/>
                    <a:pt x="112261" y="156262"/>
                    <a:pt x="111978" y="155980"/>
                  </a:cubicBezTo>
                  <a:close/>
                  <a:moveTo>
                    <a:pt x="113163" y="153723"/>
                  </a:moveTo>
                  <a:lnTo>
                    <a:pt x="113163" y="152313"/>
                  </a:lnTo>
                  <a:lnTo>
                    <a:pt x="112317" y="152313"/>
                  </a:lnTo>
                  <a:lnTo>
                    <a:pt x="112317" y="152595"/>
                  </a:lnTo>
                  <a:cubicBezTo>
                    <a:pt x="112317" y="152877"/>
                    <a:pt x="112035" y="153159"/>
                    <a:pt x="112035" y="153441"/>
                  </a:cubicBezTo>
                  <a:cubicBezTo>
                    <a:pt x="112317" y="153723"/>
                    <a:pt x="112317" y="154006"/>
                    <a:pt x="112317" y="154006"/>
                  </a:cubicBezTo>
                  <a:cubicBezTo>
                    <a:pt x="112599" y="154006"/>
                    <a:pt x="113163" y="153723"/>
                    <a:pt x="113163" y="153723"/>
                  </a:cubicBezTo>
                  <a:close/>
                  <a:moveTo>
                    <a:pt x="114799" y="49361"/>
                  </a:moveTo>
                  <a:cubicBezTo>
                    <a:pt x="115645" y="49361"/>
                    <a:pt x="115645" y="49079"/>
                    <a:pt x="115928" y="48797"/>
                  </a:cubicBezTo>
                  <a:lnTo>
                    <a:pt x="115364" y="48797"/>
                  </a:lnTo>
                  <a:cubicBezTo>
                    <a:pt x="115081" y="48797"/>
                    <a:pt x="115081" y="48515"/>
                    <a:pt x="114799" y="48515"/>
                  </a:cubicBezTo>
                  <a:cubicBezTo>
                    <a:pt x="114517" y="48515"/>
                    <a:pt x="113953" y="48797"/>
                    <a:pt x="113953" y="48797"/>
                  </a:cubicBezTo>
                  <a:lnTo>
                    <a:pt x="113671" y="48797"/>
                  </a:lnTo>
                  <a:lnTo>
                    <a:pt x="113389" y="49079"/>
                  </a:lnTo>
                  <a:cubicBezTo>
                    <a:pt x="113671" y="49361"/>
                    <a:pt x="113953" y="49361"/>
                    <a:pt x="113953" y="49361"/>
                  </a:cubicBezTo>
                  <a:lnTo>
                    <a:pt x="114799" y="49361"/>
                  </a:lnTo>
                  <a:close/>
                  <a:moveTo>
                    <a:pt x="115702" y="167827"/>
                  </a:moveTo>
                  <a:lnTo>
                    <a:pt x="115702" y="168109"/>
                  </a:lnTo>
                  <a:cubicBezTo>
                    <a:pt x="115702" y="168391"/>
                    <a:pt x="114855" y="168391"/>
                    <a:pt x="114855" y="168673"/>
                  </a:cubicBezTo>
                  <a:lnTo>
                    <a:pt x="114855" y="168391"/>
                  </a:lnTo>
                  <a:lnTo>
                    <a:pt x="114291" y="167827"/>
                  </a:lnTo>
                  <a:cubicBezTo>
                    <a:pt x="114574" y="167827"/>
                    <a:pt x="115138" y="167262"/>
                    <a:pt x="115138" y="167262"/>
                  </a:cubicBezTo>
                  <a:lnTo>
                    <a:pt x="115984" y="167262"/>
                  </a:lnTo>
                  <a:lnTo>
                    <a:pt x="115702" y="167827"/>
                  </a:lnTo>
                  <a:close/>
                  <a:moveTo>
                    <a:pt x="115702" y="169519"/>
                  </a:moveTo>
                  <a:lnTo>
                    <a:pt x="115984" y="169801"/>
                  </a:lnTo>
                  <a:cubicBezTo>
                    <a:pt x="115984" y="170083"/>
                    <a:pt x="115702" y="170083"/>
                    <a:pt x="115138" y="170365"/>
                  </a:cubicBezTo>
                  <a:lnTo>
                    <a:pt x="115138" y="170083"/>
                  </a:lnTo>
                  <a:cubicBezTo>
                    <a:pt x="114855" y="170083"/>
                    <a:pt x="114855" y="169801"/>
                    <a:pt x="114855" y="169801"/>
                  </a:cubicBezTo>
                  <a:cubicBezTo>
                    <a:pt x="114574" y="169801"/>
                    <a:pt x="114291" y="169519"/>
                    <a:pt x="114291" y="169519"/>
                  </a:cubicBezTo>
                  <a:lnTo>
                    <a:pt x="115702" y="169519"/>
                  </a:lnTo>
                  <a:close/>
                  <a:moveTo>
                    <a:pt x="116209" y="47386"/>
                  </a:moveTo>
                  <a:cubicBezTo>
                    <a:pt x="116209" y="47386"/>
                    <a:pt x="116492" y="47104"/>
                    <a:pt x="116774" y="46540"/>
                  </a:cubicBezTo>
                  <a:lnTo>
                    <a:pt x="116774" y="46258"/>
                  </a:lnTo>
                  <a:cubicBezTo>
                    <a:pt x="115928" y="46258"/>
                    <a:pt x="115928" y="46258"/>
                    <a:pt x="115364" y="46540"/>
                  </a:cubicBezTo>
                  <a:cubicBezTo>
                    <a:pt x="115364" y="47104"/>
                    <a:pt x="115364" y="47668"/>
                    <a:pt x="115081" y="48232"/>
                  </a:cubicBezTo>
                  <a:cubicBezTo>
                    <a:pt x="115702" y="47668"/>
                    <a:pt x="116209" y="47668"/>
                    <a:pt x="116209" y="47386"/>
                  </a:cubicBezTo>
                  <a:close/>
                  <a:moveTo>
                    <a:pt x="117394" y="162749"/>
                  </a:moveTo>
                  <a:cubicBezTo>
                    <a:pt x="117112" y="162749"/>
                    <a:pt x="117112" y="162467"/>
                    <a:pt x="117112" y="162467"/>
                  </a:cubicBezTo>
                  <a:lnTo>
                    <a:pt x="117394" y="162185"/>
                  </a:lnTo>
                  <a:lnTo>
                    <a:pt x="117676" y="162185"/>
                  </a:lnTo>
                  <a:lnTo>
                    <a:pt x="117958" y="162467"/>
                  </a:lnTo>
                  <a:lnTo>
                    <a:pt x="118522" y="162749"/>
                  </a:lnTo>
                  <a:cubicBezTo>
                    <a:pt x="117958" y="162749"/>
                    <a:pt x="117958" y="163314"/>
                    <a:pt x="117676" y="163314"/>
                  </a:cubicBezTo>
                  <a:cubicBezTo>
                    <a:pt x="117394" y="163314"/>
                    <a:pt x="117394" y="163314"/>
                    <a:pt x="117394" y="162749"/>
                  </a:cubicBezTo>
                  <a:close/>
                  <a:moveTo>
                    <a:pt x="120440" y="51335"/>
                  </a:moveTo>
                  <a:cubicBezTo>
                    <a:pt x="120158" y="51335"/>
                    <a:pt x="120158" y="51053"/>
                    <a:pt x="120158" y="51053"/>
                  </a:cubicBezTo>
                  <a:cubicBezTo>
                    <a:pt x="120158" y="51053"/>
                    <a:pt x="119876" y="51335"/>
                    <a:pt x="119594" y="51335"/>
                  </a:cubicBezTo>
                  <a:lnTo>
                    <a:pt x="120440" y="51335"/>
                  </a:lnTo>
                  <a:close/>
                  <a:moveTo>
                    <a:pt x="121625" y="45976"/>
                  </a:moveTo>
                  <a:cubicBezTo>
                    <a:pt x="121625" y="45976"/>
                    <a:pt x="121907" y="45694"/>
                    <a:pt x="121625" y="45694"/>
                  </a:cubicBezTo>
                  <a:lnTo>
                    <a:pt x="121343" y="45694"/>
                  </a:lnTo>
                  <a:cubicBezTo>
                    <a:pt x="121061" y="45976"/>
                    <a:pt x="121061" y="45976"/>
                    <a:pt x="121061" y="46258"/>
                  </a:cubicBezTo>
                  <a:cubicBezTo>
                    <a:pt x="121343" y="45976"/>
                    <a:pt x="121625" y="45976"/>
                    <a:pt x="121625" y="45976"/>
                  </a:cubicBezTo>
                  <a:close/>
                  <a:moveTo>
                    <a:pt x="121850" y="152313"/>
                  </a:moveTo>
                  <a:cubicBezTo>
                    <a:pt x="121569" y="152031"/>
                    <a:pt x="121569" y="151749"/>
                    <a:pt x="121569" y="151467"/>
                  </a:cubicBezTo>
                  <a:lnTo>
                    <a:pt x="121569" y="150903"/>
                  </a:lnTo>
                  <a:lnTo>
                    <a:pt x="121286" y="150903"/>
                  </a:lnTo>
                  <a:cubicBezTo>
                    <a:pt x="121286" y="150621"/>
                    <a:pt x="121569" y="150621"/>
                    <a:pt x="121569" y="150339"/>
                  </a:cubicBezTo>
                  <a:lnTo>
                    <a:pt x="121850" y="150057"/>
                  </a:lnTo>
                  <a:cubicBezTo>
                    <a:pt x="122133" y="150339"/>
                    <a:pt x="122415" y="150621"/>
                    <a:pt x="123261" y="150621"/>
                  </a:cubicBezTo>
                  <a:cubicBezTo>
                    <a:pt x="123543" y="150621"/>
                    <a:pt x="123543" y="150903"/>
                    <a:pt x="123543" y="150903"/>
                  </a:cubicBezTo>
                  <a:cubicBezTo>
                    <a:pt x="123543" y="150903"/>
                    <a:pt x="123543" y="151185"/>
                    <a:pt x="123261" y="151467"/>
                  </a:cubicBezTo>
                  <a:cubicBezTo>
                    <a:pt x="123261" y="152313"/>
                    <a:pt x="123261" y="152313"/>
                    <a:pt x="122133" y="152313"/>
                  </a:cubicBezTo>
                  <a:lnTo>
                    <a:pt x="121850" y="152313"/>
                  </a:lnTo>
                  <a:close/>
                  <a:moveTo>
                    <a:pt x="123600" y="148646"/>
                  </a:moveTo>
                  <a:lnTo>
                    <a:pt x="124164" y="148646"/>
                  </a:lnTo>
                  <a:cubicBezTo>
                    <a:pt x="124164" y="148928"/>
                    <a:pt x="124164" y="149493"/>
                    <a:pt x="124728" y="149775"/>
                  </a:cubicBezTo>
                  <a:lnTo>
                    <a:pt x="124446" y="150057"/>
                  </a:lnTo>
                  <a:cubicBezTo>
                    <a:pt x="124164" y="150057"/>
                    <a:pt x="123881" y="150057"/>
                    <a:pt x="123600" y="149775"/>
                  </a:cubicBezTo>
                  <a:lnTo>
                    <a:pt x="123600" y="148646"/>
                  </a:lnTo>
                  <a:close/>
                  <a:moveTo>
                    <a:pt x="128677" y="48797"/>
                  </a:moveTo>
                  <a:cubicBezTo>
                    <a:pt x="128958" y="48797"/>
                    <a:pt x="129522" y="48797"/>
                    <a:pt x="129805" y="48515"/>
                  </a:cubicBezTo>
                  <a:lnTo>
                    <a:pt x="129805" y="48232"/>
                  </a:lnTo>
                  <a:cubicBezTo>
                    <a:pt x="130087" y="47950"/>
                    <a:pt x="129805" y="47950"/>
                    <a:pt x="129805" y="47950"/>
                  </a:cubicBezTo>
                  <a:lnTo>
                    <a:pt x="128958" y="47950"/>
                  </a:lnTo>
                  <a:cubicBezTo>
                    <a:pt x="128958" y="47950"/>
                    <a:pt x="128677" y="48232"/>
                    <a:pt x="128677" y="48515"/>
                  </a:cubicBezTo>
                  <a:lnTo>
                    <a:pt x="128677" y="48797"/>
                  </a:lnTo>
                  <a:close/>
                  <a:moveTo>
                    <a:pt x="133753" y="46540"/>
                  </a:moveTo>
                  <a:lnTo>
                    <a:pt x="134318" y="45694"/>
                  </a:lnTo>
                  <a:lnTo>
                    <a:pt x="134318" y="45130"/>
                  </a:lnTo>
                  <a:cubicBezTo>
                    <a:pt x="134600" y="44848"/>
                    <a:pt x="134318" y="44848"/>
                    <a:pt x="134318" y="44848"/>
                  </a:cubicBezTo>
                  <a:lnTo>
                    <a:pt x="134036" y="44848"/>
                  </a:lnTo>
                  <a:cubicBezTo>
                    <a:pt x="133753" y="44848"/>
                    <a:pt x="133472" y="45130"/>
                    <a:pt x="133189" y="45412"/>
                  </a:cubicBezTo>
                  <a:cubicBezTo>
                    <a:pt x="133189" y="45694"/>
                    <a:pt x="133753" y="45694"/>
                    <a:pt x="133753" y="46258"/>
                  </a:cubicBezTo>
                  <a:lnTo>
                    <a:pt x="133753" y="46540"/>
                  </a:lnTo>
                  <a:close/>
                  <a:moveTo>
                    <a:pt x="142498" y="48232"/>
                  </a:moveTo>
                  <a:cubicBezTo>
                    <a:pt x="143626" y="47950"/>
                    <a:pt x="143626" y="47386"/>
                    <a:pt x="143908" y="47104"/>
                  </a:cubicBezTo>
                  <a:cubicBezTo>
                    <a:pt x="142780" y="47104"/>
                    <a:pt x="142498" y="47668"/>
                    <a:pt x="141934" y="48232"/>
                  </a:cubicBezTo>
                  <a:lnTo>
                    <a:pt x="142498" y="48232"/>
                  </a:lnTo>
                  <a:close/>
                  <a:moveTo>
                    <a:pt x="167319" y="54156"/>
                  </a:moveTo>
                  <a:cubicBezTo>
                    <a:pt x="167319" y="54156"/>
                    <a:pt x="167601" y="53874"/>
                    <a:pt x="167319" y="53874"/>
                  </a:cubicBezTo>
                  <a:cubicBezTo>
                    <a:pt x="167037" y="54156"/>
                    <a:pt x="167037" y="54156"/>
                    <a:pt x="166755" y="54156"/>
                  </a:cubicBezTo>
                  <a:lnTo>
                    <a:pt x="167319" y="54156"/>
                  </a:lnTo>
                  <a:close/>
                  <a:moveTo>
                    <a:pt x="171550" y="41463"/>
                  </a:moveTo>
                  <a:cubicBezTo>
                    <a:pt x="171550" y="41181"/>
                    <a:pt x="171550" y="41181"/>
                    <a:pt x="171832" y="40617"/>
                  </a:cubicBezTo>
                  <a:lnTo>
                    <a:pt x="171268" y="41181"/>
                  </a:lnTo>
                  <a:cubicBezTo>
                    <a:pt x="171268" y="41463"/>
                    <a:pt x="171550" y="41463"/>
                    <a:pt x="171550" y="41745"/>
                  </a:cubicBezTo>
                  <a:lnTo>
                    <a:pt x="171550" y="41463"/>
                  </a:lnTo>
                  <a:close/>
                </a:path>
              </a:pathLst>
            </a:custGeom>
            <a:solidFill>
              <a:srgbClr val="000000"/>
            </a:solidFill>
            <a:ln w="5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ACA939A-243B-442F-A8FA-064F40E83326}"/>
                </a:ext>
              </a:extLst>
            </p:cNvPr>
            <p:cNvSpPr/>
            <p:nvPr/>
          </p:nvSpPr>
          <p:spPr>
            <a:xfrm>
              <a:off x="6003285" y="3358484"/>
              <a:ext cx="124107" cy="253855"/>
            </a:xfrm>
            <a:custGeom>
              <a:avLst/>
              <a:gdLst>
                <a:gd name="connsiteX0" fmla="*/ 118747 w 124107"/>
                <a:gd name="connsiteY0" fmla="*/ 92798 h 253855"/>
                <a:gd name="connsiteX1" fmla="*/ 118466 w 124107"/>
                <a:gd name="connsiteY1" fmla="*/ 92798 h 253855"/>
                <a:gd name="connsiteX2" fmla="*/ 118183 w 124107"/>
                <a:gd name="connsiteY2" fmla="*/ 93080 h 253855"/>
                <a:gd name="connsiteX3" fmla="*/ 118183 w 124107"/>
                <a:gd name="connsiteY3" fmla="*/ 92798 h 253855"/>
                <a:gd name="connsiteX4" fmla="*/ 117337 w 124107"/>
                <a:gd name="connsiteY4" fmla="*/ 93362 h 253855"/>
                <a:gd name="connsiteX5" fmla="*/ 117620 w 124107"/>
                <a:gd name="connsiteY5" fmla="*/ 96183 h 253855"/>
                <a:gd name="connsiteX6" fmla="*/ 118747 w 124107"/>
                <a:gd name="connsiteY6" fmla="*/ 97311 h 253855"/>
                <a:gd name="connsiteX7" fmla="*/ 119311 w 124107"/>
                <a:gd name="connsiteY7" fmla="*/ 97311 h 253855"/>
                <a:gd name="connsiteX8" fmla="*/ 119594 w 124107"/>
                <a:gd name="connsiteY8" fmla="*/ 96747 h 253855"/>
                <a:gd name="connsiteX9" fmla="*/ 119594 w 124107"/>
                <a:gd name="connsiteY9" fmla="*/ 97311 h 253855"/>
                <a:gd name="connsiteX10" fmla="*/ 119311 w 124107"/>
                <a:gd name="connsiteY10" fmla="*/ 97875 h 253855"/>
                <a:gd name="connsiteX11" fmla="*/ 119311 w 124107"/>
                <a:gd name="connsiteY11" fmla="*/ 98439 h 253855"/>
                <a:gd name="connsiteX12" fmla="*/ 120158 w 124107"/>
                <a:gd name="connsiteY12" fmla="*/ 99286 h 253855"/>
                <a:gd name="connsiteX13" fmla="*/ 120440 w 124107"/>
                <a:gd name="connsiteY13" fmla="*/ 99286 h 253855"/>
                <a:gd name="connsiteX14" fmla="*/ 120158 w 124107"/>
                <a:gd name="connsiteY14" fmla="*/ 98721 h 253855"/>
                <a:gd name="connsiteX15" fmla="*/ 120440 w 124107"/>
                <a:gd name="connsiteY15" fmla="*/ 98157 h 253855"/>
                <a:gd name="connsiteX16" fmla="*/ 120722 w 124107"/>
                <a:gd name="connsiteY16" fmla="*/ 97029 h 253855"/>
                <a:gd name="connsiteX17" fmla="*/ 121286 w 124107"/>
                <a:gd name="connsiteY17" fmla="*/ 96465 h 253855"/>
                <a:gd name="connsiteX18" fmla="*/ 121568 w 124107"/>
                <a:gd name="connsiteY18" fmla="*/ 97029 h 253855"/>
                <a:gd name="connsiteX19" fmla="*/ 121850 w 124107"/>
                <a:gd name="connsiteY19" fmla="*/ 97311 h 253855"/>
                <a:gd name="connsiteX20" fmla="*/ 121850 w 124107"/>
                <a:gd name="connsiteY20" fmla="*/ 105491 h 253855"/>
                <a:gd name="connsiteX21" fmla="*/ 122414 w 124107"/>
                <a:gd name="connsiteY21" fmla="*/ 106055 h 253855"/>
                <a:gd name="connsiteX22" fmla="*/ 122414 w 124107"/>
                <a:gd name="connsiteY22" fmla="*/ 108030 h 253855"/>
                <a:gd name="connsiteX23" fmla="*/ 122132 w 124107"/>
                <a:gd name="connsiteY23" fmla="*/ 108030 h 253855"/>
                <a:gd name="connsiteX24" fmla="*/ 121568 w 124107"/>
                <a:gd name="connsiteY24" fmla="*/ 108030 h 253855"/>
                <a:gd name="connsiteX25" fmla="*/ 121286 w 124107"/>
                <a:gd name="connsiteY25" fmla="*/ 111132 h 253855"/>
                <a:gd name="connsiteX26" fmla="*/ 121286 w 124107"/>
                <a:gd name="connsiteY26" fmla="*/ 111978 h 253855"/>
                <a:gd name="connsiteX27" fmla="*/ 121568 w 124107"/>
                <a:gd name="connsiteY27" fmla="*/ 114799 h 253855"/>
                <a:gd name="connsiteX28" fmla="*/ 121286 w 124107"/>
                <a:gd name="connsiteY28" fmla="*/ 115363 h 253855"/>
                <a:gd name="connsiteX29" fmla="*/ 120440 w 124107"/>
                <a:gd name="connsiteY29" fmla="*/ 116773 h 253855"/>
                <a:gd name="connsiteX30" fmla="*/ 119876 w 124107"/>
                <a:gd name="connsiteY30" fmla="*/ 115363 h 253855"/>
                <a:gd name="connsiteX31" fmla="*/ 119030 w 124107"/>
                <a:gd name="connsiteY31" fmla="*/ 114799 h 253855"/>
                <a:gd name="connsiteX32" fmla="*/ 118183 w 124107"/>
                <a:gd name="connsiteY32" fmla="*/ 115363 h 253855"/>
                <a:gd name="connsiteX33" fmla="*/ 118747 w 124107"/>
                <a:gd name="connsiteY33" fmla="*/ 115645 h 253855"/>
                <a:gd name="connsiteX34" fmla="*/ 119311 w 124107"/>
                <a:gd name="connsiteY34" fmla="*/ 116491 h 253855"/>
                <a:gd name="connsiteX35" fmla="*/ 119030 w 124107"/>
                <a:gd name="connsiteY35" fmla="*/ 117338 h 253855"/>
                <a:gd name="connsiteX36" fmla="*/ 119594 w 124107"/>
                <a:gd name="connsiteY36" fmla="*/ 119312 h 253855"/>
                <a:gd name="connsiteX37" fmla="*/ 120440 w 124107"/>
                <a:gd name="connsiteY37" fmla="*/ 121286 h 253855"/>
                <a:gd name="connsiteX38" fmla="*/ 120158 w 124107"/>
                <a:gd name="connsiteY38" fmla="*/ 122697 h 253855"/>
                <a:gd name="connsiteX39" fmla="*/ 120158 w 124107"/>
                <a:gd name="connsiteY39" fmla="*/ 129184 h 253855"/>
                <a:gd name="connsiteX40" fmla="*/ 119311 w 124107"/>
                <a:gd name="connsiteY40" fmla="*/ 131441 h 253855"/>
                <a:gd name="connsiteX41" fmla="*/ 119030 w 124107"/>
                <a:gd name="connsiteY41" fmla="*/ 133415 h 253855"/>
                <a:gd name="connsiteX42" fmla="*/ 118747 w 124107"/>
                <a:gd name="connsiteY42" fmla="*/ 135389 h 253855"/>
                <a:gd name="connsiteX43" fmla="*/ 118747 w 124107"/>
                <a:gd name="connsiteY43" fmla="*/ 137364 h 253855"/>
                <a:gd name="connsiteX44" fmla="*/ 119030 w 124107"/>
                <a:gd name="connsiteY44" fmla="*/ 137646 h 253855"/>
                <a:gd name="connsiteX45" fmla="*/ 119311 w 124107"/>
                <a:gd name="connsiteY45" fmla="*/ 137928 h 253855"/>
                <a:gd name="connsiteX46" fmla="*/ 119030 w 124107"/>
                <a:gd name="connsiteY46" fmla="*/ 139902 h 253855"/>
                <a:gd name="connsiteX47" fmla="*/ 118747 w 124107"/>
                <a:gd name="connsiteY47" fmla="*/ 140749 h 253855"/>
                <a:gd name="connsiteX48" fmla="*/ 118466 w 124107"/>
                <a:gd name="connsiteY48" fmla="*/ 141595 h 253855"/>
                <a:gd name="connsiteX49" fmla="*/ 117620 w 124107"/>
                <a:gd name="connsiteY49" fmla="*/ 144697 h 253855"/>
                <a:gd name="connsiteX50" fmla="*/ 115927 w 124107"/>
                <a:gd name="connsiteY50" fmla="*/ 149493 h 253855"/>
                <a:gd name="connsiteX51" fmla="*/ 115645 w 124107"/>
                <a:gd name="connsiteY51" fmla="*/ 151185 h 253855"/>
                <a:gd name="connsiteX52" fmla="*/ 114517 w 124107"/>
                <a:gd name="connsiteY52" fmla="*/ 154006 h 253855"/>
                <a:gd name="connsiteX53" fmla="*/ 113953 w 124107"/>
                <a:gd name="connsiteY53" fmla="*/ 155134 h 253855"/>
                <a:gd name="connsiteX54" fmla="*/ 113953 w 124107"/>
                <a:gd name="connsiteY54" fmla="*/ 157672 h 253855"/>
                <a:gd name="connsiteX55" fmla="*/ 113670 w 124107"/>
                <a:gd name="connsiteY55" fmla="*/ 160493 h 253855"/>
                <a:gd name="connsiteX56" fmla="*/ 113953 w 124107"/>
                <a:gd name="connsiteY56" fmla="*/ 161339 h 253855"/>
                <a:gd name="connsiteX57" fmla="*/ 113389 w 124107"/>
                <a:gd name="connsiteY57" fmla="*/ 162185 h 253855"/>
                <a:gd name="connsiteX58" fmla="*/ 113389 w 124107"/>
                <a:gd name="connsiteY58" fmla="*/ 163596 h 253855"/>
                <a:gd name="connsiteX59" fmla="*/ 112825 w 124107"/>
                <a:gd name="connsiteY59" fmla="*/ 165288 h 253855"/>
                <a:gd name="connsiteX60" fmla="*/ 112825 w 124107"/>
                <a:gd name="connsiteY60" fmla="*/ 165570 h 253855"/>
                <a:gd name="connsiteX61" fmla="*/ 111696 w 124107"/>
                <a:gd name="connsiteY61" fmla="*/ 167827 h 253855"/>
                <a:gd name="connsiteX62" fmla="*/ 111414 w 124107"/>
                <a:gd name="connsiteY62" fmla="*/ 168955 h 253855"/>
                <a:gd name="connsiteX63" fmla="*/ 109722 w 124107"/>
                <a:gd name="connsiteY63" fmla="*/ 171775 h 253855"/>
                <a:gd name="connsiteX64" fmla="*/ 110004 w 124107"/>
                <a:gd name="connsiteY64" fmla="*/ 172339 h 253855"/>
                <a:gd name="connsiteX65" fmla="*/ 109722 w 124107"/>
                <a:gd name="connsiteY65" fmla="*/ 173186 h 253855"/>
                <a:gd name="connsiteX66" fmla="*/ 109158 w 124107"/>
                <a:gd name="connsiteY66" fmla="*/ 174032 h 253855"/>
                <a:gd name="connsiteX67" fmla="*/ 109439 w 124107"/>
                <a:gd name="connsiteY67" fmla="*/ 174878 h 253855"/>
                <a:gd name="connsiteX68" fmla="*/ 109439 w 124107"/>
                <a:gd name="connsiteY68" fmla="*/ 175160 h 253855"/>
                <a:gd name="connsiteX69" fmla="*/ 108594 w 124107"/>
                <a:gd name="connsiteY69" fmla="*/ 176006 h 253855"/>
                <a:gd name="connsiteX70" fmla="*/ 107747 w 124107"/>
                <a:gd name="connsiteY70" fmla="*/ 177699 h 253855"/>
                <a:gd name="connsiteX71" fmla="*/ 107465 w 124107"/>
                <a:gd name="connsiteY71" fmla="*/ 178545 h 253855"/>
                <a:gd name="connsiteX72" fmla="*/ 107465 w 124107"/>
                <a:gd name="connsiteY72" fmla="*/ 179109 h 253855"/>
                <a:gd name="connsiteX73" fmla="*/ 106901 w 124107"/>
                <a:gd name="connsiteY73" fmla="*/ 181930 h 253855"/>
                <a:gd name="connsiteX74" fmla="*/ 104644 w 124107"/>
                <a:gd name="connsiteY74" fmla="*/ 186443 h 253855"/>
                <a:gd name="connsiteX75" fmla="*/ 102952 w 124107"/>
                <a:gd name="connsiteY75" fmla="*/ 190673 h 253855"/>
                <a:gd name="connsiteX76" fmla="*/ 102670 w 124107"/>
                <a:gd name="connsiteY76" fmla="*/ 190956 h 253855"/>
                <a:gd name="connsiteX77" fmla="*/ 101260 w 124107"/>
                <a:gd name="connsiteY77" fmla="*/ 193494 h 253855"/>
                <a:gd name="connsiteX78" fmla="*/ 100132 w 124107"/>
                <a:gd name="connsiteY78" fmla="*/ 195469 h 253855"/>
                <a:gd name="connsiteX79" fmla="*/ 98722 w 124107"/>
                <a:gd name="connsiteY79" fmla="*/ 198289 h 253855"/>
                <a:gd name="connsiteX80" fmla="*/ 97593 w 124107"/>
                <a:gd name="connsiteY80" fmla="*/ 200828 h 253855"/>
                <a:gd name="connsiteX81" fmla="*/ 97311 w 124107"/>
                <a:gd name="connsiteY81" fmla="*/ 201392 h 253855"/>
                <a:gd name="connsiteX82" fmla="*/ 91952 w 124107"/>
                <a:gd name="connsiteY82" fmla="*/ 210982 h 253855"/>
                <a:gd name="connsiteX83" fmla="*/ 90260 w 124107"/>
                <a:gd name="connsiteY83" fmla="*/ 212674 h 253855"/>
                <a:gd name="connsiteX84" fmla="*/ 88567 w 124107"/>
                <a:gd name="connsiteY84" fmla="*/ 214367 h 253855"/>
                <a:gd name="connsiteX85" fmla="*/ 86874 w 124107"/>
                <a:gd name="connsiteY85" fmla="*/ 216341 h 253855"/>
                <a:gd name="connsiteX86" fmla="*/ 86593 w 124107"/>
                <a:gd name="connsiteY86" fmla="*/ 217469 h 253855"/>
                <a:gd name="connsiteX87" fmla="*/ 86029 w 124107"/>
                <a:gd name="connsiteY87" fmla="*/ 217751 h 253855"/>
                <a:gd name="connsiteX88" fmla="*/ 85746 w 124107"/>
                <a:gd name="connsiteY88" fmla="*/ 217469 h 253855"/>
                <a:gd name="connsiteX89" fmla="*/ 85464 w 124107"/>
                <a:gd name="connsiteY89" fmla="*/ 217187 h 253855"/>
                <a:gd name="connsiteX90" fmla="*/ 85746 w 124107"/>
                <a:gd name="connsiteY90" fmla="*/ 216905 h 253855"/>
                <a:gd name="connsiteX91" fmla="*/ 85746 w 124107"/>
                <a:gd name="connsiteY91" fmla="*/ 215777 h 253855"/>
                <a:gd name="connsiteX92" fmla="*/ 85182 w 124107"/>
                <a:gd name="connsiteY92" fmla="*/ 215495 h 253855"/>
                <a:gd name="connsiteX93" fmla="*/ 84618 w 124107"/>
                <a:gd name="connsiteY93" fmla="*/ 215777 h 253855"/>
                <a:gd name="connsiteX94" fmla="*/ 84054 w 124107"/>
                <a:gd name="connsiteY94" fmla="*/ 216623 h 253855"/>
                <a:gd name="connsiteX95" fmla="*/ 84618 w 124107"/>
                <a:gd name="connsiteY95" fmla="*/ 217469 h 253855"/>
                <a:gd name="connsiteX96" fmla="*/ 83772 w 124107"/>
                <a:gd name="connsiteY96" fmla="*/ 219162 h 253855"/>
                <a:gd name="connsiteX97" fmla="*/ 82079 w 124107"/>
                <a:gd name="connsiteY97" fmla="*/ 219162 h 253855"/>
                <a:gd name="connsiteX98" fmla="*/ 81516 w 124107"/>
                <a:gd name="connsiteY98" fmla="*/ 220290 h 253855"/>
                <a:gd name="connsiteX99" fmla="*/ 80952 w 124107"/>
                <a:gd name="connsiteY99" fmla="*/ 220854 h 253855"/>
                <a:gd name="connsiteX100" fmla="*/ 79823 w 124107"/>
                <a:gd name="connsiteY100" fmla="*/ 223111 h 253855"/>
                <a:gd name="connsiteX101" fmla="*/ 80105 w 124107"/>
                <a:gd name="connsiteY101" fmla="*/ 224521 h 253855"/>
                <a:gd name="connsiteX102" fmla="*/ 80105 w 124107"/>
                <a:gd name="connsiteY102" fmla="*/ 225085 h 253855"/>
                <a:gd name="connsiteX103" fmla="*/ 78977 w 124107"/>
                <a:gd name="connsiteY103" fmla="*/ 223675 h 253855"/>
                <a:gd name="connsiteX104" fmla="*/ 78977 w 124107"/>
                <a:gd name="connsiteY104" fmla="*/ 223393 h 253855"/>
                <a:gd name="connsiteX105" fmla="*/ 78413 w 124107"/>
                <a:gd name="connsiteY105" fmla="*/ 223957 h 253855"/>
                <a:gd name="connsiteX106" fmla="*/ 78413 w 124107"/>
                <a:gd name="connsiteY106" fmla="*/ 225085 h 253855"/>
                <a:gd name="connsiteX107" fmla="*/ 78695 w 124107"/>
                <a:gd name="connsiteY107" fmla="*/ 226213 h 253855"/>
                <a:gd name="connsiteX108" fmla="*/ 78413 w 124107"/>
                <a:gd name="connsiteY108" fmla="*/ 226777 h 253855"/>
                <a:gd name="connsiteX109" fmla="*/ 78695 w 124107"/>
                <a:gd name="connsiteY109" fmla="*/ 227059 h 253855"/>
                <a:gd name="connsiteX110" fmla="*/ 79541 w 124107"/>
                <a:gd name="connsiteY110" fmla="*/ 227341 h 253855"/>
                <a:gd name="connsiteX111" fmla="*/ 78695 w 124107"/>
                <a:gd name="connsiteY111" fmla="*/ 227906 h 253855"/>
                <a:gd name="connsiteX112" fmla="*/ 77285 w 124107"/>
                <a:gd name="connsiteY112" fmla="*/ 229880 h 253855"/>
                <a:gd name="connsiteX113" fmla="*/ 74746 w 124107"/>
                <a:gd name="connsiteY113" fmla="*/ 231572 h 253855"/>
                <a:gd name="connsiteX114" fmla="*/ 73336 w 124107"/>
                <a:gd name="connsiteY114" fmla="*/ 232701 h 253855"/>
                <a:gd name="connsiteX115" fmla="*/ 71361 w 124107"/>
                <a:gd name="connsiteY115" fmla="*/ 234957 h 253855"/>
                <a:gd name="connsiteX116" fmla="*/ 71361 w 124107"/>
                <a:gd name="connsiteY116" fmla="*/ 235239 h 253855"/>
                <a:gd name="connsiteX117" fmla="*/ 70797 w 124107"/>
                <a:gd name="connsiteY117" fmla="*/ 235521 h 253855"/>
                <a:gd name="connsiteX118" fmla="*/ 70515 w 124107"/>
                <a:gd name="connsiteY118" fmla="*/ 235521 h 253855"/>
                <a:gd name="connsiteX119" fmla="*/ 69951 w 124107"/>
                <a:gd name="connsiteY119" fmla="*/ 236367 h 253855"/>
                <a:gd name="connsiteX120" fmla="*/ 69105 w 124107"/>
                <a:gd name="connsiteY120" fmla="*/ 237778 h 253855"/>
                <a:gd name="connsiteX121" fmla="*/ 66566 w 124107"/>
                <a:gd name="connsiteY121" fmla="*/ 239188 h 253855"/>
                <a:gd name="connsiteX122" fmla="*/ 65438 w 124107"/>
                <a:gd name="connsiteY122" fmla="*/ 239470 h 253855"/>
                <a:gd name="connsiteX123" fmla="*/ 62899 w 124107"/>
                <a:gd name="connsiteY123" fmla="*/ 241445 h 253855"/>
                <a:gd name="connsiteX124" fmla="*/ 62618 w 124107"/>
                <a:gd name="connsiteY124" fmla="*/ 241445 h 253855"/>
                <a:gd name="connsiteX125" fmla="*/ 63182 w 124107"/>
                <a:gd name="connsiteY125" fmla="*/ 241727 h 253855"/>
                <a:gd name="connsiteX126" fmla="*/ 63464 w 124107"/>
                <a:gd name="connsiteY126" fmla="*/ 241727 h 253855"/>
                <a:gd name="connsiteX127" fmla="*/ 63464 w 124107"/>
                <a:gd name="connsiteY127" fmla="*/ 242291 h 253855"/>
                <a:gd name="connsiteX128" fmla="*/ 62335 w 124107"/>
                <a:gd name="connsiteY128" fmla="*/ 243137 h 253855"/>
                <a:gd name="connsiteX129" fmla="*/ 61489 w 124107"/>
                <a:gd name="connsiteY129" fmla="*/ 244265 h 253855"/>
                <a:gd name="connsiteX130" fmla="*/ 60361 w 124107"/>
                <a:gd name="connsiteY130" fmla="*/ 245111 h 253855"/>
                <a:gd name="connsiteX131" fmla="*/ 53873 w 124107"/>
                <a:gd name="connsiteY131" fmla="*/ 247932 h 253855"/>
                <a:gd name="connsiteX132" fmla="*/ 53592 w 124107"/>
                <a:gd name="connsiteY132" fmla="*/ 247932 h 253855"/>
                <a:gd name="connsiteX133" fmla="*/ 52463 w 124107"/>
                <a:gd name="connsiteY133" fmla="*/ 247086 h 253855"/>
                <a:gd name="connsiteX134" fmla="*/ 51617 w 124107"/>
                <a:gd name="connsiteY134" fmla="*/ 247086 h 253855"/>
                <a:gd name="connsiteX135" fmla="*/ 51335 w 124107"/>
                <a:gd name="connsiteY135" fmla="*/ 247650 h 253855"/>
                <a:gd name="connsiteX136" fmla="*/ 51335 w 124107"/>
                <a:gd name="connsiteY136" fmla="*/ 248214 h 253855"/>
                <a:gd name="connsiteX137" fmla="*/ 51617 w 124107"/>
                <a:gd name="connsiteY137" fmla="*/ 249060 h 253855"/>
                <a:gd name="connsiteX138" fmla="*/ 50771 w 124107"/>
                <a:gd name="connsiteY138" fmla="*/ 249624 h 253855"/>
                <a:gd name="connsiteX139" fmla="*/ 49078 w 124107"/>
                <a:gd name="connsiteY139" fmla="*/ 250753 h 253855"/>
                <a:gd name="connsiteX140" fmla="*/ 47950 w 124107"/>
                <a:gd name="connsiteY140" fmla="*/ 250753 h 253855"/>
                <a:gd name="connsiteX141" fmla="*/ 47104 w 124107"/>
                <a:gd name="connsiteY141" fmla="*/ 251317 h 253855"/>
                <a:gd name="connsiteX142" fmla="*/ 45411 w 124107"/>
                <a:gd name="connsiteY142" fmla="*/ 252163 h 253855"/>
                <a:gd name="connsiteX143" fmla="*/ 44565 w 124107"/>
                <a:gd name="connsiteY143" fmla="*/ 252163 h 253855"/>
                <a:gd name="connsiteX144" fmla="*/ 42873 w 124107"/>
                <a:gd name="connsiteY144" fmla="*/ 252445 h 253855"/>
                <a:gd name="connsiteX145" fmla="*/ 42309 w 124107"/>
                <a:gd name="connsiteY145" fmla="*/ 252445 h 253855"/>
                <a:gd name="connsiteX146" fmla="*/ 42027 w 124107"/>
                <a:gd name="connsiteY146" fmla="*/ 252727 h 253855"/>
                <a:gd name="connsiteX147" fmla="*/ 40899 w 124107"/>
                <a:gd name="connsiteY147" fmla="*/ 253573 h 253855"/>
                <a:gd name="connsiteX148" fmla="*/ 36386 w 124107"/>
                <a:gd name="connsiteY148" fmla="*/ 255548 h 253855"/>
                <a:gd name="connsiteX149" fmla="*/ 34693 w 124107"/>
                <a:gd name="connsiteY149" fmla="*/ 256676 h 253855"/>
                <a:gd name="connsiteX150" fmla="*/ 33847 w 124107"/>
                <a:gd name="connsiteY150" fmla="*/ 257522 h 253855"/>
                <a:gd name="connsiteX151" fmla="*/ 33283 w 124107"/>
                <a:gd name="connsiteY151" fmla="*/ 256958 h 253855"/>
                <a:gd name="connsiteX152" fmla="*/ 33001 w 124107"/>
                <a:gd name="connsiteY152" fmla="*/ 256676 h 253855"/>
                <a:gd name="connsiteX153" fmla="*/ 31027 w 124107"/>
                <a:gd name="connsiteY153" fmla="*/ 257804 h 253855"/>
                <a:gd name="connsiteX154" fmla="*/ 30180 w 124107"/>
                <a:gd name="connsiteY154" fmla="*/ 257522 h 253855"/>
                <a:gd name="connsiteX155" fmla="*/ 29334 w 124107"/>
                <a:gd name="connsiteY155" fmla="*/ 256958 h 253855"/>
                <a:gd name="connsiteX156" fmla="*/ 28770 w 124107"/>
                <a:gd name="connsiteY156" fmla="*/ 257240 h 253855"/>
                <a:gd name="connsiteX157" fmla="*/ 25386 w 124107"/>
                <a:gd name="connsiteY157" fmla="*/ 258086 h 253855"/>
                <a:gd name="connsiteX158" fmla="*/ 23975 w 124107"/>
                <a:gd name="connsiteY158" fmla="*/ 258368 h 253855"/>
                <a:gd name="connsiteX159" fmla="*/ 22565 w 124107"/>
                <a:gd name="connsiteY159" fmla="*/ 258650 h 253855"/>
                <a:gd name="connsiteX160" fmla="*/ 21436 w 124107"/>
                <a:gd name="connsiteY160" fmla="*/ 258932 h 253855"/>
                <a:gd name="connsiteX161" fmla="*/ 20590 w 124107"/>
                <a:gd name="connsiteY161" fmla="*/ 258650 h 253855"/>
                <a:gd name="connsiteX162" fmla="*/ 20026 w 124107"/>
                <a:gd name="connsiteY162" fmla="*/ 258086 h 253855"/>
                <a:gd name="connsiteX163" fmla="*/ 18334 w 124107"/>
                <a:gd name="connsiteY163" fmla="*/ 257522 h 253855"/>
                <a:gd name="connsiteX164" fmla="*/ 17488 w 124107"/>
                <a:gd name="connsiteY164" fmla="*/ 258086 h 253855"/>
                <a:gd name="connsiteX165" fmla="*/ 16924 w 124107"/>
                <a:gd name="connsiteY165" fmla="*/ 257804 h 253855"/>
                <a:gd name="connsiteX166" fmla="*/ 16359 w 124107"/>
                <a:gd name="connsiteY166" fmla="*/ 258086 h 253855"/>
                <a:gd name="connsiteX167" fmla="*/ 14949 w 124107"/>
                <a:gd name="connsiteY167" fmla="*/ 258932 h 253855"/>
                <a:gd name="connsiteX168" fmla="*/ 12693 w 124107"/>
                <a:gd name="connsiteY168" fmla="*/ 258086 h 253855"/>
                <a:gd name="connsiteX169" fmla="*/ 10154 w 124107"/>
                <a:gd name="connsiteY169" fmla="*/ 257804 h 253855"/>
                <a:gd name="connsiteX170" fmla="*/ 5359 w 124107"/>
                <a:gd name="connsiteY170" fmla="*/ 254419 h 253855"/>
                <a:gd name="connsiteX171" fmla="*/ 4795 w 124107"/>
                <a:gd name="connsiteY171" fmla="*/ 253291 h 253855"/>
                <a:gd name="connsiteX172" fmla="*/ 3666 w 124107"/>
                <a:gd name="connsiteY172" fmla="*/ 251599 h 253855"/>
                <a:gd name="connsiteX173" fmla="*/ 3385 w 124107"/>
                <a:gd name="connsiteY173" fmla="*/ 251317 h 253855"/>
                <a:gd name="connsiteX174" fmla="*/ 2256 w 124107"/>
                <a:gd name="connsiteY174" fmla="*/ 248214 h 253855"/>
                <a:gd name="connsiteX175" fmla="*/ 2256 w 124107"/>
                <a:gd name="connsiteY175" fmla="*/ 247650 h 253855"/>
                <a:gd name="connsiteX176" fmla="*/ 1692 w 124107"/>
                <a:gd name="connsiteY176" fmla="*/ 247086 h 253855"/>
                <a:gd name="connsiteX177" fmla="*/ 564 w 124107"/>
                <a:gd name="connsiteY177" fmla="*/ 244265 h 253855"/>
                <a:gd name="connsiteX178" fmla="*/ 282 w 124107"/>
                <a:gd name="connsiteY178" fmla="*/ 242855 h 253855"/>
                <a:gd name="connsiteX179" fmla="*/ 282 w 124107"/>
                <a:gd name="connsiteY179" fmla="*/ 241162 h 253855"/>
                <a:gd name="connsiteX180" fmla="*/ 564 w 124107"/>
                <a:gd name="connsiteY180" fmla="*/ 240316 h 253855"/>
                <a:gd name="connsiteX181" fmla="*/ 846 w 124107"/>
                <a:gd name="connsiteY181" fmla="*/ 240316 h 253855"/>
                <a:gd name="connsiteX182" fmla="*/ 1128 w 124107"/>
                <a:gd name="connsiteY182" fmla="*/ 240034 h 253855"/>
                <a:gd name="connsiteX183" fmla="*/ 846 w 124107"/>
                <a:gd name="connsiteY183" fmla="*/ 239470 h 253855"/>
                <a:gd name="connsiteX184" fmla="*/ 1128 w 124107"/>
                <a:gd name="connsiteY184" fmla="*/ 238906 h 253855"/>
                <a:gd name="connsiteX185" fmla="*/ 846 w 124107"/>
                <a:gd name="connsiteY185" fmla="*/ 238906 h 253855"/>
                <a:gd name="connsiteX186" fmla="*/ 564 w 124107"/>
                <a:gd name="connsiteY186" fmla="*/ 237778 h 253855"/>
                <a:gd name="connsiteX187" fmla="*/ 846 w 124107"/>
                <a:gd name="connsiteY187" fmla="*/ 236367 h 253855"/>
                <a:gd name="connsiteX188" fmla="*/ 282 w 124107"/>
                <a:gd name="connsiteY188" fmla="*/ 235521 h 253855"/>
                <a:gd name="connsiteX189" fmla="*/ 0 w 124107"/>
                <a:gd name="connsiteY189" fmla="*/ 235239 h 253855"/>
                <a:gd name="connsiteX190" fmla="*/ 0 w 124107"/>
                <a:gd name="connsiteY190" fmla="*/ 231854 h 253855"/>
                <a:gd name="connsiteX191" fmla="*/ 564 w 124107"/>
                <a:gd name="connsiteY191" fmla="*/ 228752 h 253855"/>
                <a:gd name="connsiteX192" fmla="*/ 846 w 124107"/>
                <a:gd name="connsiteY192" fmla="*/ 226777 h 253855"/>
                <a:gd name="connsiteX193" fmla="*/ 1128 w 124107"/>
                <a:gd name="connsiteY193" fmla="*/ 226495 h 253855"/>
                <a:gd name="connsiteX194" fmla="*/ 1410 w 124107"/>
                <a:gd name="connsiteY194" fmla="*/ 223393 h 253855"/>
                <a:gd name="connsiteX195" fmla="*/ 1692 w 124107"/>
                <a:gd name="connsiteY195" fmla="*/ 221982 h 253855"/>
                <a:gd name="connsiteX196" fmla="*/ 1692 w 124107"/>
                <a:gd name="connsiteY196" fmla="*/ 221418 h 253855"/>
                <a:gd name="connsiteX197" fmla="*/ 1410 w 124107"/>
                <a:gd name="connsiteY197" fmla="*/ 220008 h 253855"/>
                <a:gd name="connsiteX198" fmla="*/ 1410 w 124107"/>
                <a:gd name="connsiteY198" fmla="*/ 217751 h 253855"/>
                <a:gd name="connsiteX199" fmla="*/ 1128 w 124107"/>
                <a:gd name="connsiteY199" fmla="*/ 217469 h 253855"/>
                <a:gd name="connsiteX200" fmla="*/ 1974 w 124107"/>
                <a:gd name="connsiteY200" fmla="*/ 214649 h 253855"/>
                <a:gd name="connsiteX201" fmla="*/ 2256 w 124107"/>
                <a:gd name="connsiteY201" fmla="*/ 214367 h 253855"/>
                <a:gd name="connsiteX202" fmla="*/ 2538 w 124107"/>
                <a:gd name="connsiteY202" fmla="*/ 214649 h 253855"/>
                <a:gd name="connsiteX203" fmla="*/ 2821 w 124107"/>
                <a:gd name="connsiteY203" fmla="*/ 214649 h 253855"/>
                <a:gd name="connsiteX204" fmla="*/ 2821 w 124107"/>
                <a:gd name="connsiteY204" fmla="*/ 211828 h 253855"/>
                <a:gd name="connsiteX205" fmla="*/ 4513 w 124107"/>
                <a:gd name="connsiteY205" fmla="*/ 207033 h 253855"/>
                <a:gd name="connsiteX206" fmla="*/ 4513 w 124107"/>
                <a:gd name="connsiteY206" fmla="*/ 205623 h 253855"/>
                <a:gd name="connsiteX207" fmla="*/ 4231 w 124107"/>
                <a:gd name="connsiteY207" fmla="*/ 204777 h 253855"/>
                <a:gd name="connsiteX208" fmla="*/ 4513 w 124107"/>
                <a:gd name="connsiteY208" fmla="*/ 203648 h 253855"/>
                <a:gd name="connsiteX209" fmla="*/ 4795 w 124107"/>
                <a:gd name="connsiteY209" fmla="*/ 202802 h 253855"/>
                <a:gd name="connsiteX210" fmla="*/ 4795 w 124107"/>
                <a:gd name="connsiteY210" fmla="*/ 202238 h 253855"/>
                <a:gd name="connsiteX211" fmla="*/ 5641 w 124107"/>
                <a:gd name="connsiteY211" fmla="*/ 202238 h 253855"/>
                <a:gd name="connsiteX212" fmla="*/ 5923 w 124107"/>
                <a:gd name="connsiteY212" fmla="*/ 202520 h 253855"/>
                <a:gd name="connsiteX213" fmla="*/ 6487 w 124107"/>
                <a:gd name="connsiteY213" fmla="*/ 201392 h 253855"/>
                <a:gd name="connsiteX214" fmla="*/ 6205 w 124107"/>
                <a:gd name="connsiteY214" fmla="*/ 200546 h 253855"/>
                <a:gd name="connsiteX215" fmla="*/ 6769 w 124107"/>
                <a:gd name="connsiteY215" fmla="*/ 199135 h 253855"/>
                <a:gd name="connsiteX216" fmla="*/ 7616 w 124107"/>
                <a:gd name="connsiteY216" fmla="*/ 197161 h 253855"/>
                <a:gd name="connsiteX217" fmla="*/ 7333 w 124107"/>
                <a:gd name="connsiteY217" fmla="*/ 196315 h 253855"/>
                <a:gd name="connsiteX218" fmla="*/ 7333 w 124107"/>
                <a:gd name="connsiteY218" fmla="*/ 196033 h 253855"/>
                <a:gd name="connsiteX219" fmla="*/ 7616 w 124107"/>
                <a:gd name="connsiteY219" fmla="*/ 195469 h 253855"/>
                <a:gd name="connsiteX220" fmla="*/ 8180 w 124107"/>
                <a:gd name="connsiteY220" fmla="*/ 195469 h 253855"/>
                <a:gd name="connsiteX221" fmla="*/ 8462 w 124107"/>
                <a:gd name="connsiteY221" fmla="*/ 195751 h 253855"/>
                <a:gd name="connsiteX222" fmla="*/ 8462 w 124107"/>
                <a:gd name="connsiteY222" fmla="*/ 195469 h 253855"/>
                <a:gd name="connsiteX223" fmla="*/ 8743 w 124107"/>
                <a:gd name="connsiteY223" fmla="*/ 194622 h 253855"/>
                <a:gd name="connsiteX224" fmla="*/ 9307 w 124107"/>
                <a:gd name="connsiteY224" fmla="*/ 193494 h 253855"/>
                <a:gd name="connsiteX225" fmla="*/ 10436 w 124107"/>
                <a:gd name="connsiteY225" fmla="*/ 191520 h 253855"/>
                <a:gd name="connsiteX226" fmla="*/ 11000 w 124107"/>
                <a:gd name="connsiteY226" fmla="*/ 190391 h 253855"/>
                <a:gd name="connsiteX227" fmla="*/ 10436 w 124107"/>
                <a:gd name="connsiteY227" fmla="*/ 188699 h 253855"/>
                <a:gd name="connsiteX228" fmla="*/ 11000 w 124107"/>
                <a:gd name="connsiteY228" fmla="*/ 188135 h 253855"/>
                <a:gd name="connsiteX229" fmla="*/ 11564 w 124107"/>
                <a:gd name="connsiteY229" fmla="*/ 187571 h 253855"/>
                <a:gd name="connsiteX230" fmla="*/ 11564 w 124107"/>
                <a:gd name="connsiteY230" fmla="*/ 187007 h 253855"/>
                <a:gd name="connsiteX231" fmla="*/ 12410 w 124107"/>
                <a:gd name="connsiteY231" fmla="*/ 185596 h 253855"/>
                <a:gd name="connsiteX232" fmla="*/ 12693 w 124107"/>
                <a:gd name="connsiteY232" fmla="*/ 184750 h 253855"/>
                <a:gd name="connsiteX233" fmla="*/ 12693 w 124107"/>
                <a:gd name="connsiteY233" fmla="*/ 184468 h 253855"/>
                <a:gd name="connsiteX234" fmla="*/ 14385 w 124107"/>
                <a:gd name="connsiteY234" fmla="*/ 184468 h 253855"/>
                <a:gd name="connsiteX235" fmla="*/ 14667 w 124107"/>
                <a:gd name="connsiteY235" fmla="*/ 184186 h 253855"/>
                <a:gd name="connsiteX236" fmla="*/ 14385 w 124107"/>
                <a:gd name="connsiteY236" fmla="*/ 183904 h 253855"/>
                <a:gd name="connsiteX237" fmla="*/ 13821 w 124107"/>
                <a:gd name="connsiteY237" fmla="*/ 183340 h 253855"/>
                <a:gd name="connsiteX238" fmla="*/ 14103 w 124107"/>
                <a:gd name="connsiteY238" fmla="*/ 182776 h 253855"/>
                <a:gd name="connsiteX239" fmla="*/ 14949 w 124107"/>
                <a:gd name="connsiteY239" fmla="*/ 180801 h 253855"/>
                <a:gd name="connsiteX240" fmla="*/ 15231 w 124107"/>
                <a:gd name="connsiteY240" fmla="*/ 180801 h 253855"/>
                <a:gd name="connsiteX241" fmla="*/ 14949 w 124107"/>
                <a:gd name="connsiteY241" fmla="*/ 180519 h 253855"/>
                <a:gd name="connsiteX242" fmla="*/ 15795 w 124107"/>
                <a:gd name="connsiteY242" fmla="*/ 180237 h 253855"/>
                <a:gd name="connsiteX243" fmla="*/ 16641 w 124107"/>
                <a:gd name="connsiteY243" fmla="*/ 181083 h 253855"/>
                <a:gd name="connsiteX244" fmla="*/ 16641 w 124107"/>
                <a:gd name="connsiteY244" fmla="*/ 181648 h 253855"/>
                <a:gd name="connsiteX245" fmla="*/ 15795 w 124107"/>
                <a:gd name="connsiteY245" fmla="*/ 183058 h 253855"/>
                <a:gd name="connsiteX246" fmla="*/ 15795 w 124107"/>
                <a:gd name="connsiteY246" fmla="*/ 184750 h 253855"/>
                <a:gd name="connsiteX247" fmla="*/ 14949 w 124107"/>
                <a:gd name="connsiteY247" fmla="*/ 185032 h 253855"/>
                <a:gd name="connsiteX248" fmla="*/ 14103 w 124107"/>
                <a:gd name="connsiteY248" fmla="*/ 185314 h 253855"/>
                <a:gd name="connsiteX249" fmla="*/ 13257 w 124107"/>
                <a:gd name="connsiteY249" fmla="*/ 186443 h 253855"/>
                <a:gd name="connsiteX250" fmla="*/ 13257 w 124107"/>
                <a:gd name="connsiteY250" fmla="*/ 187007 h 253855"/>
                <a:gd name="connsiteX251" fmla="*/ 13821 w 124107"/>
                <a:gd name="connsiteY251" fmla="*/ 187007 h 253855"/>
                <a:gd name="connsiteX252" fmla="*/ 14949 w 124107"/>
                <a:gd name="connsiteY252" fmla="*/ 185878 h 253855"/>
                <a:gd name="connsiteX253" fmla="*/ 14949 w 124107"/>
                <a:gd name="connsiteY253" fmla="*/ 186161 h 253855"/>
                <a:gd name="connsiteX254" fmla="*/ 14385 w 124107"/>
                <a:gd name="connsiteY254" fmla="*/ 187289 h 253855"/>
                <a:gd name="connsiteX255" fmla="*/ 13538 w 124107"/>
                <a:gd name="connsiteY255" fmla="*/ 188135 h 253855"/>
                <a:gd name="connsiteX256" fmla="*/ 12974 w 124107"/>
                <a:gd name="connsiteY256" fmla="*/ 188417 h 253855"/>
                <a:gd name="connsiteX257" fmla="*/ 12974 w 124107"/>
                <a:gd name="connsiteY257" fmla="*/ 188699 h 253855"/>
                <a:gd name="connsiteX258" fmla="*/ 13538 w 124107"/>
                <a:gd name="connsiteY258" fmla="*/ 189263 h 253855"/>
                <a:gd name="connsiteX259" fmla="*/ 12974 w 124107"/>
                <a:gd name="connsiteY259" fmla="*/ 190109 h 253855"/>
                <a:gd name="connsiteX260" fmla="*/ 11846 w 124107"/>
                <a:gd name="connsiteY260" fmla="*/ 190673 h 253855"/>
                <a:gd name="connsiteX261" fmla="*/ 11564 w 124107"/>
                <a:gd name="connsiteY261" fmla="*/ 191520 h 253855"/>
                <a:gd name="connsiteX262" fmla="*/ 11564 w 124107"/>
                <a:gd name="connsiteY262" fmla="*/ 192930 h 253855"/>
                <a:gd name="connsiteX263" fmla="*/ 11846 w 124107"/>
                <a:gd name="connsiteY263" fmla="*/ 193494 h 253855"/>
                <a:gd name="connsiteX264" fmla="*/ 11564 w 124107"/>
                <a:gd name="connsiteY264" fmla="*/ 194340 h 253855"/>
                <a:gd name="connsiteX265" fmla="*/ 11000 w 124107"/>
                <a:gd name="connsiteY265" fmla="*/ 195469 h 253855"/>
                <a:gd name="connsiteX266" fmla="*/ 11000 w 124107"/>
                <a:gd name="connsiteY266" fmla="*/ 196033 h 253855"/>
                <a:gd name="connsiteX267" fmla="*/ 9872 w 124107"/>
                <a:gd name="connsiteY267" fmla="*/ 197161 h 253855"/>
                <a:gd name="connsiteX268" fmla="*/ 9590 w 124107"/>
                <a:gd name="connsiteY268" fmla="*/ 197725 h 253855"/>
                <a:gd name="connsiteX269" fmla="*/ 9590 w 124107"/>
                <a:gd name="connsiteY269" fmla="*/ 199135 h 253855"/>
                <a:gd name="connsiteX270" fmla="*/ 9026 w 124107"/>
                <a:gd name="connsiteY270" fmla="*/ 199982 h 253855"/>
                <a:gd name="connsiteX271" fmla="*/ 9026 w 124107"/>
                <a:gd name="connsiteY271" fmla="*/ 200546 h 253855"/>
                <a:gd name="connsiteX272" fmla="*/ 8743 w 124107"/>
                <a:gd name="connsiteY272" fmla="*/ 201392 h 253855"/>
                <a:gd name="connsiteX273" fmla="*/ 8462 w 124107"/>
                <a:gd name="connsiteY273" fmla="*/ 203084 h 253855"/>
                <a:gd name="connsiteX274" fmla="*/ 9307 w 124107"/>
                <a:gd name="connsiteY274" fmla="*/ 203930 h 253855"/>
                <a:gd name="connsiteX275" fmla="*/ 11846 w 124107"/>
                <a:gd name="connsiteY275" fmla="*/ 203930 h 253855"/>
                <a:gd name="connsiteX276" fmla="*/ 11846 w 124107"/>
                <a:gd name="connsiteY276" fmla="*/ 204494 h 253855"/>
                <a:gd name="connsiteX277" fmla="*/ 10154 w 124107"/>
                <a:gd name="connsiteY277" fmla="*/ 208725 h 253855"/>
                <a:gd name="connsiteX278" fmla="*/ 9872 w 124107"/>
                <a:gd name="connsiteY278" fmla="*/ 209007 h 253855"/>
                <a:gd name="connsiteX279" fmla="*/ 9307 w 124107"/>
                <a:gd name="connsiteY279" fmla="*/ 209290 h 253855"/>
                <a:gd name="connsiteX280" fmla="*/ 9307 w 124107"/>
                <a:gd name="connsiteY280" fmla="*/ 209007 h 253855"/>
                <a:gd name="connsiteX281" fmla="*/ 9872 w 124107"/>
                <a:gd name="connsiteY281" fmla="*/ 207879 h 253855"/>
                <a:gd name="connsiteX282" fmla="*/ 10154 w 124107"/>
                <a:gd name="connsiteY282" fmla="*/ 207597 h 253855"/>
                <a:gd name="connsiteX283" fmla="*/ 9590 w 124107"/>
                <a:gd name="connsiteY283" fmla="*/ 207033 h 253855"/>
                <a:gd name="connsiteX284" fmla="*/ 9307 w 124107"/>
                <a:gd name="connsiteY284" fmla="*/ 207033 h 253855"/>
                <a:gd name="connsiteX285" fmla="*/ 8743 w 124107"/>
                <a:gd name="connsiteY285" fmla="*/ 205905 h 253855"/>
                <a:gd name="connsiteX286" fmla="*/ 9026 w 124107"/>
                <a:gd name="connsiteY286" fmla="*/ 205623 h 253855"/>
                <a:gd name="connsiteX287" fmla="*/ 8462 w 124107"/>
                <a:gd name="connsiteY287" fmla="*/ 205059 h 253855"/>
                <a:gd name="connsiteX288" fmla="*/ 7616 w 124107"/>
                <a:gd name="connsiteY288" fmla="*/ 207033 h 253855"/>
                <a:gd name="connsiteX289" fmla="*/ 6487 w 124107"/>
                <a:gd name="connsiteY289" fmla="*/ 209007 h 253855"/>
                <a:gd name="connsiteX290" fmla="*/ 7052 w 124107"/>
                <a:gd name="connsiteY290" fmla="*/ 210700 h 253855"/>
                <a:gd name="connsiteX291" fmla="*/ 7052 w 124107"/>
                <a:gd name="connsiteY291" fmla="*/ 210982 h 253855"/>
                <a:gd name="connsiteX292" fmla="*/ 6487 w 124107"/>
                <a:gd name="connsiteY292" fmla="*/ 211264 h 253855"/>
                <a:gd name="connsiteX293" fmla="*/ 6205 w 124107"/>
                <a:gd name="connsiteY293" fmla="*/ 211264 h 253855"/>
                <a:gd name="connsiteX294" fmla="*/ 5923 w 124107"/>
                <a:gd name="connsiteY294" fmla="*/ 211546 h 253855"/>
                <a:gd name="connsiteX295" fmla="*/ 5359 w 124107"/>
                <a:gd name="connsiteY295" fmla="*/ 214367 h 253855"/>
                <a:gd name="connsiteX296" fmla="*/ 4795 w 124107"/>
                <a:gd name="connsiteY296" fmla="*/ 218033 h 253855"/>
                <a:gd name="connsiteX297" fmla="*/ 5359 w 124107"/>
                <a:gd name="connsiteY297" fmla="*/ 221136 h 253855"/>
                <a:gd name="connsiteX298" fmla="*/ 5641 w 124107"/>
                <a:gd name="connsiteY298" fmla="*/ 221700 h 253855"/>
                <a:gd name="connsiteX299" fmla="*/ 5359 w 124107"/>
                <a:gd name="connsiteY299" fmla="*/ 222264 h 253855"/>
                <a:gd name="connsiteX300" fmla="*/ 4795 w 124107"/>
                <a:gd name="connsiteY300" fmla="*/ 224239 h 253855"/>
                <a:gd name="connsiteX301" fmla="*/ 5641 w 124107"/>
                <a:gd name="connsiteY301" fmla="*/ 225649 h 253855"/>
                <a:gd name="connsiteX302" fmla="*/ 6205 w 124107"/>
                <a:gd name="connsiteY302" fmla="*/ 226777 h 253855"/>
                <a:gd name="connsiteX303" fmla="*/ 6769 w 124107"/>
                <a:gd name="connsiteY303" fmla="*/ 226495 h 253855"/>
                <a:gd name="connsiteX304" fmla="*/ 7052 w 124107"/>
                <a:gd name="connsiteY304" fmla="*/ 226777 h 253855"/>
                <a:gd name="connsiteX305" fmla="*/ 7052 w 124107"/>
                <a:gd name="connsiteY305" fmla="*/ 227624 h 253855"/>
                <a:gd name="connsiteX306" fmla="*/ 7616 w 124107"/>
                <a:gd name="connsiteY306" fmla="*/ 229598 h 253855"/>
                <a:gd name="connsiteX307" fmla="*/ 7333 w 124107"/>
                <a:gd name="connsiteY307" fmla="*/ 231008 h 253855"/>
                <a:gd name="connsiteX308" fmla="*/ 7333 w 124107"/>
                <a:gd name="connsiteY308" fmla="*/ 231572 h 253855"/>
                <a:gd name="connsiteX309" fmla="*/ 7897 w 124107"/>
                <a:gd name="connsiteY309" fmla="*/ 237214 h 253855"/>
                <a:gd name="connsiteX310" fmla="*/ 8180 w 124107"/>
                <a:gd name="connsiteY310" fmla="*/ 239470 h 253855"/>
                <a:gd name="connsiteX311" fmla="*/ 9307 w 124107"/>
                <a:gd name="connsiteY311" fmla="*/ 240880 h 253855"/>
                <a:gd name="connsiteX312" fmla="*/ 9590 w 124107"/>
                <a:gd name="connsiteY312" fmla="*/ 241162 h 253855"/>
                <a:gd name="connsiteX313" fmla="*/ 11000 w 124107"/>
                <a:gd name="connsiteY313" fmla="*/ 243983 h 253855"/>
                <a:gd name="connsiteX314" fmla="*/ 13821 w 124107"/>
                <a:gd name="connsiteY314" fmla="*/ 246522 h 253855"/>
                <a:gd name="connsiteX315" fmla="*/ 14103 w 124107"/>
                <a:gd name="connsiteY315" fmla="*/ 246522 h 253855"/>
                <a:gd name="connsiteX316" fmla="*/ 14667 w 124107"/>
                <a:gd name="connsiteY316" fmla="*/ 246240 h 253855"/>
                <a:gd name="connsiteX317" fmla="*/ 15231 w 124107"/>
                <a:gd name="connsiteY317" fmla="*/ 245958 h 253855"/>
                <a:gd name="connsiteX318" fmla="*/ 15513 w 124107"/>
                <a:gd name="connsiteY318" fmla="*/ 246240 h 253855"/>
                <a:gd name="connsiteX319" fmla="*/ 15795 w 124107"/>
                <a:gd name="connsiteY319" fmla="*/ 247086 h 253855"/>
                <a:gd name="connsiteX320" fmla="*/ 17769 w 124107"/>
                <a:gd name="connsiteY320" fmla="*/ 248778 h 253855"/>
                <a:gd name="connsiteX321" fmla="*/ 18052 w 124107"/>
                <a:gd name="connsiteY321" fmla="*/ 248778 h 253855"/>
                <a:gd name="connsiteX322" fmla="*/ 22000 w 124107"/>
                <a:gd name="connsiteY322" fmla="*/ 249060 h 253855"/>
                <a:gd name="connsiteX323" fmla="*/ 23129 w 124107"/>
                <a:gd name="connsiteY323" fmla="*/ 249060 h 253855"/>
                <a:gd name="connsiteX324" fmla="*/ 27077 w 124107"/>
                <a:gd name="connsiteY324" fmla="*/ 247650 h 253855"/>
                <a:gd name="connsiteX325" fmla="*/ 28206 w 124107"/>
                <a:gd name="connsiteY325" fmla="*/ 247932 h 253855"/>
                <a:gd name="connsiteX326" fmla="*/ 30462 w 124107"/>
                <a:gd name="connsiteY326" fmla="*/ 247086 h 253855"/>
                <a:gd name="connsiteX327" fmla="*/ 32155 w 124107"/>
                <a:gd name="connsiteY327" fmla="*/ 245958 h 253855"/>
                <a:gd name="connsiteX328" fmla="*/ 32719 w 124107"/>
                <a:gd name="connsiteY328" fmla="*/ 245958 h 253855"/>
                <a:gd name="connsiteX329" fmla="*/ 33001 w 124107"/>
                <a:gd name="connsiteY329" fmla="*/ 245675 h 253855"/>
                <a:gd name="connsiteX330" fmla="*/ 34975 w 124107"/>
                <a:gd name="connsiteY330" fmla="*/ 244829 h 253855"/>
                <a:gd name="connsiteX331" fmla="*/ 36386 w 124107"/>
                <a:gd name="connsiteY331" fmla="*/ 244265 h 253855"/>
                <a:gd name="connsiteX332" fmla="*/ 39206 w 124107"/>
                <a:gd name="connsiteY332" fmla="*/ 243701 h 253855"/>
                <a:gd name="connsiteX333" fmla="*/ 43155 w 124107"/>
                <a:gd name="connsiteY333" fmla="*/ 241162 h 253855"/>
                <a:gd name="connsiteX334" fmla="*/ 47950 w 124107"/>
                <a:gd name="connsiteY334" fmla="*/ 238060 h 253855"/>
                <a:gd name="connsiteX335" fmla="*/ 48514 w 124107"/>
                <a:gd name="connsiteY335" fmla="*/ 237496 h 253855"/>
                <a:gd name="connsiteX336" fmla="*/ 50206 w 124107"/>
                <a:gd name="connsiteY336" fmla="*/ 235803 h 253855"/>
                <a:gd name="connsiteX337" fmla="*/ 52463 w 124107"/>
                <a:gd name="connsiteY337" fmla="*/ 233547 h 253855"/>
                <a:gd name="connsiteX338" fmla="*/ 52745 w 124107"/>
                <a:gd name="connsiteY338" fmla="*/ 233265 h 253855"/>
                <a:gd name="connsiteX339" fmla="*/ 53027 w 124107"/>
                <a:gd name="connsiteY339" fmla="*/ 233265 h 253855"/>
                <a:gd name="connsiteX340" fmla="*/ 54156 w 124107"/>
                <a:gd name="connsiteY340" fmla="*/ 232137 h 253855"/>
                <a:gd name="connsiteX341" fmla="*/ 55566 w 124107"/>
                <a:gd name="connsiteY341" fmla="*/ 230444 h 253855"/>
                <a:gd name="connsiteX342" fmla="*/ 57258 w 124107"/>
                <a:gd name="connsiteY342" fmla="*/ 228470 h 253855"/>
                <a:gd name="connsiteX343" fmla="*/ 59797 w 124107"/>
                <a:gd name="connsiteY343" fmla="*/ 225367 h 253855"/>
                <a:gd name="connsiteX344" fmla="*/ 60925 w 124107"/>
                <a:gd name="connsiteY344" fmla="*/ 223957 h 253855"/>
                <a:gd name="connsiteX345" fmla="*/ 63745 w 124107"/>
                <a:gd name="connsiteY345" fmla="*/ 220290 h 253855"/>
                <a:gd name="connsiteX346" fmla="*/ 66002 w 124107"/>
                <a:gd name="connsiteY346" fmla="*/ 218033 h 253855"/>
                <a:gd name="connsiteX347" fmla="*/ 66848 w 124107"/>
                <a:gd name="connsiteY347" fmla="*/ 216341 h 253855"/>
                <a:gd name="connsiteX348" fmla="*/ 68540 w 124107"/>
                <a:gd name="connsiteY348" fmla="*/ 214085 h 253855"/>
                <a:gd name="connsiteX349" fmla="*/ 71361 w 124107"/>
                <a:gd name="connsiteY349" fmla="*/ 210700 h 253855"/>
                <a:gd name="connsiteX350" fmla="*/ 74182 w 124107"/>
                <a:gd name="connsiteY350" fmla="*/ 204777 h 253855"/>
                <a:gd name="connsiteX351" fmla="*/ 76157 w 124107"/>
                <a:gd name="connsiteY351" fmla="*/ 202238 h 253855"/>
                <a:gd name="connsiteX352" fmla="*/ 76721 w 124107"/>
                <a:gd name="connsiteY352" fmla="*/ 201110 h 253855"/>
                <a:gd name="connsiteX353" fmla="*/ 77002 w 124107"/>
                <a:gd name="connsiteY353" fmla="*/ 200264 h 253855"/>
                <a:gd name="connsiteX354" fmla="*/ 78977 w 124107"/>
                <a:gd name="connsiteY354" fmla="*/ 197161 h 253855"/>
                <a:gd name="connsiteX355" fmla="*/ 80388 w 124107"/>
                <a:gd name="connsiteY355" fmla="*/ 194340 h 253855"/>
                <a:gd name="connsiteX356" fmla="*/ 80388 w 124107"/>
                <a:gd name="connsiteY356" fmla="*/ 194058 h 253855"/>
                <a:gd name="connsiteX357" fmla="*/ 83208 w 124107"/>
                <a:gd name="connsiteY357" fmla="*/ 189263 h 253855"/>
                <a:gd name="connsiteX358" fmla="*/ 85464 w 124107"/>
                <a:gd name="connsiteY358" fmla="*/ 184186 h 253855"/>
                <a:gd name="connsiteX359" fmla="*/ 86029 w 124107"/>
                <a:gd name="connsiteY359" fmla="*/ 182212 h 253855"/>
                <a:gd name="connsiteX360" fmla="*/ 86874 w 124107"/>
                <a:gd name="connsiteY360" fmla="*/ 178827 h 253855"/>
                <a:gd name="connsiteX361" fmla="*/ 88849 w 124107"/>
                <a:gd name="connsiteY361" fmla="*/ 174596 h 253855"/>
                <a:gd name="connsiteX362" fmla="*/ 89695 w 124107"/>
                <a:gd name="connsiteY362" fmla="*/ 172339 h 253855"/>
                <a:gd name="connsiteX363" fmla="*/ 90824 w 124107"/>
                <a:gd name="connsiteY363" fmla="*/ 168673 h 253855"/>
                <a:gd name="connsiteX364" fmla="*/ 92798 w 124107"/>
                <a:gd name="connsiteY364" fmla="*/ 163314 h 253855"/>
                <a:gd name="connsiteX365" fmla="*/ 93644 w 124107"/>
                <a:gd name="connsiteY365" fmla="*/ 161903 h 253855"/>
                <a:gd name="connsiteX366" fmla="*/ 94772 w 124107"/>
                <a:gd name="connsiteY366" fmla="*/ 157108 h 253855"/>
                <a:gd name="connsiteX367" fmla="*/ 96183 w 124107"/>
                <a:gd name="connsiteY367" fmla="*/ 150057 h 253855"/>
                <a:gd name="connsiteX368" fmla="*/ 96465 w 124107"/>
                <a:gd name="connsiteY368" fmla="*/ 149210 h 253855"/>
                <a:gd name="connsiteX369" fmla="*/ 96747 w 124107"/>
                <a:gd name="connsiteY369" fmla="*/ 147800 h 253855"/>
                <a:gd name="connsiteX370" fmla="*/ 99850 w 124107"/>
                <a:gd name="connsiteY370" fmla="*/ 130594 h 253855"/>
                <a:gd name="connsiteX371" fmla="*/ 100696 w 124107"/>
                <a:gd name="connsiteY371" fmla="*/ 126364 h 253855"/>
                <a:gd name="connsiteX372" fmla="*/ 101260 w 124107"/>
                <a:gd name="connsiteY372" fmla="*/ 119030 h 253855"/>
                <a:gd name="connsiteX373" fmla="*/ 101824 w 124107"/>
                <a:gd name="connsiteY373" fmla="*/ 111978 h 253855"/>
                <a:gd name="connsiteX374" fmla="*/ 102106 w 124107"/>
                <a:gd name="connsiteY374" fmla="*/ 107183 h 253855"/>
                <a:gd name="connsiteX375" fmla="*/ 101824 w 124107"/>
                <a:gd name="connsiteY375" fmla="*/ 103234 h 253855"/>
                <a:gd name="connsiteX376" fmla="*/ 100977 w 124107"/>
                <a:gd name="connsiteY376" fmla="*/ 102670 h 253855"/>
                <a:gd name="connsiteX377" fmla="*/ 100696 w 124107"/>
                <a:gd name="connsiteY377" fmla="*/ 102670 h 253855"/>
                <a:gd name="connsiteX378" fmla="*/ 97875 w 124107"/>
                <a:gd name="connsiteY378" fmla="*/ 104927 h 253855"/>
                <a:gd name="connsiteX379" fmla="*/ 97593 w 124107"/>
                <a:gd name="connsiteY379" fmla="*/ 105491 h 253855"/>
                <a:gd name="connsiteX380" fmla="*/ 97029 w 124107"/>
                <a:gd name="connsiteY380" fmla="*/ 106337 h 253855"/>
                <a:gd name="connsiteX381" fmla="*/ 96465 w 124107"/>
                <a:gd name="connsiteY381" fmla="*/ 106055 h 253855"/>
                <a:gd name="connsiteX382" fmla="*/ 95901 w 124107"/>
                <a:gd name="connsiteY382" fmla="*/ 105773 h 253855"/>
                <a:gd name="connsiteX383" fmla="*/ 95055 w 124107"/>
                <a:gd name="connsiteY383" fmla="*/ 106055 h 253855"/>
                <a:gd name="connsiteX384" fmla="*/ 94491 w 124107"/>
                <a:gd name="connsiteY384" fmla="*/ 105773 h 253855"/>
                <a:gd name="connsiteX385" fmla="*/ 93926 w 124107"/>
                <a:gd name="connsiteY385" fmla="*/ 105491 h 253855"/>
                <a:gd name="connsiteX386" fmla="*/ 93644 w 124107"/>
                <a:gd name="connsiteY386" fmla="*/ 106055 h 253855"/>
                <a:gd name="connsiteX387" fmla="*/ 94208 w 124107"/>
                <a:gd name="connsiteY387" fmla="*/ 107183 h 253855"/>
                <a:gd name="connsiteX388" fmla="*/ 94208 w 124107"/>
                <a:gd name="connsiteY388" fmla="*/ 108030 h 253855"/>
                <a:gd name="connsiteX389" fmla="*/ 92516 w 124107"/>
                <a:gd name="connsiteY389" fmla="*/ 109158 h 253855"/>
                <a:gd name="connsiteX390" fmla="*/ 91670 w 124107"/>
                <a:gd name="connsiteY390" fmla="*/ 109722 h 253855"/>
                <a:gd name="connsiteX391" fmla="*/ 91670 w 124107"/>
                <a:gd name="connsiteY391" fmla="*/ 110004 h 253855"/>
                <a:gd name="connsiteX392" fmla="*/ 90824 w 124107"/>
                <a:gd name="connsiteY392" fmla="*/ 110850 h 253855"/>
                <a:gd name="connsiteX393" fmla="*/ 89977 w 124107"/>
                <a:gd name="connsiteY393" fmla="*/ 111696 h 253855"/>
                <a:gd name="connsiteX394" fmla="*/ 89413 w 124107"/>
                <a:gd name="connsiteY394" fmla="*/ 112542 h 253855"/>
                <a:gd name="connsiteX395" fmla="*/ 89131 w 124107"/>
                <a:gd name="connsiteY395" fmla="*/ 112260 h 253855"/>
                <a:gd name="connsiteX396" fmla="*/ 88285 w 124107"/>
                <a:gd name="connsiteY396" fmla="*/ 112260 h 253855"/>
                <a:gd name="connsiteX397" fmla="*/ 87721 w 124107"/>
                <a:gd name="connsiteY397" fmla="*/ 112825 h 253855"/>
                <a:gd name="connsiteX398" fmla="*/ 86029 w 124107"/>
                <a:gd name="connsiteY398" fmla="*/ 114799 h 253855"/>
                <a:gd name="connsiteX399" fmla="*/ 84618 w 124107"/>
                <a:gd name="connsiteY399" fmla="*/ 115363 h 253855"/>
                <a:gd name="connsiteX400" fmla="*/ 81798 w 124107"/>
                <a:gd name="connsiteY400" fmla="*/ 117055 h 253855"/>
                <a:gd name="connsiteX401" fmla="*/ 79823 w 124107"/>
                <a:gd name="connsiteY401" fmla="*/ 118748 h 253855"/>
                <a:gd name="connsiteX402" fmla="*/ 78977 w 124107"/>
                <a:gd name="connsiteY402" fmla="*/ 119876 h 253855"/>
                <a:gd name="connsiteX403" fmla="*/ 78695 w 124107"/>
                <a:gd name="connsiteY403" fmla="*/ 120440 h 253855"/>
                <a:gd name="connsiteX404" fmla="*/ 77567 w 124107"/>
                <a:gd name="connsiteY404" fmla="*/ 121851 h 253855"/>
                <a:gd name="connsiteX405" fmla="*/ 76721 w 124107"/>
                <a:gd name="connsiteY405" fmla="*/ 122133 h 253855"/>
                <a:gd name="connsiteX406" fmla="*/ 76157 w 124107"/>
                <a:gd name="connsiteY406" fmla="*/ 122133 h 253855"/>
                <a:gd name="connsiteX407" fmla="*/ 75310 w 124107"/>
                <a:gd name="connsiteY407" fmla="*/ 121568 h 253855"/>
                <a:gd name="connsiteX408" fmla="*/ 75028 w 124107"/>
                <a:gd name="connsiteY408" fmla="*/ 122133 h 253855"/>
                <a:gd name="connsiteX409" fmla="*/ 75028 w 124107"/>
                <a:gd name="connsiteY409" fmla="*/ 124107 h 253855"/>
                <a:gd name="connsiteX410" fmla="*/ 74182 w 124107"/>
                <a:gd name="connsiteY410" fmla="*/ 124107 h 253855"/>
                <a:gd name="connsiteX411" fmla="*/ 73618 w 124107"/>
                <a:gd name="connsiteY411" fmla="*/ 123543 h 253855"/>
                <a:gd name="connsiteX412" fmla="*/ 73618 w 124107"/>
                <a:gd name="connsiteY412" fmla="*/ 125235 h 253855"/>
                <a:gd name="connsiteX413" fmla="*/ 73336 w 124107"/>
                <a:gd name="connsiteY413" fmla="*/ 125517 h 253855"/>
                <a:gd name="connsiteX414" fmla="*/ 73054 w 124107"/>
                <a:gd name="connsiteY414" fmla="*/ 125517 h 253855"/>
                <a:gd name="connsiteX415" fmla="*/ 72490 w 124107"/>
                <a:gd name="connsiteY415" fmla="*/ 125235 h 253855"/>
                <a:gd name="connsiteX416" fmla="*/ 72207 w 124107"/>
                <a:gd name="connsiteY416" fmla="*/ 125235 h 253855"/>
                <a:gd name="connsiteX417" fmla="*/ 72207 w 124107"/>
                <a:gd name="connsiteY417" fmla="*/ 127210 h 253855"/>
                <a:gd name="connsiteX418" fmla="*/ 71926 w 124107"/>
                <a:gd name="connsiteY418" fmla="*/ 128056 h 253855"/>
                <a:gd name="connsiteX419" fmla="*/ 70797 w 124107"/>
                <a:gd name="connsiteY419" fmla="*/ 129184 h 253855"/>
                <a:gd name="connsiteX420" fmla="*/ 68540 w 124107"/>
                <a:gd name="connsiteY420" fmla="*/ 130876 h 253855"/>
                <a:gd name="connsiteX421" fmla="*/ 67695 w 124107"/>
                <a:gd name="connsiteY421" fmla="*/ 131159 h 253855"/>
                <a:gd name="connsiteX422" fmla="*/ 66848 w 124107"/>
                <a:gd name="connsiteY422" fmla="*/ 130030 h 253855"/>
                <a:gd name="connsiteX423" fmla="*/ 66002 w 124107"/>
                <a:gd name="connsiteY423" fmla="*/ 129184 h 253855"/>
                <a:gd name="connsiteX424" fmla="*/ 65720 w 124107"/>
                <a:gd name="connsiteY424" fmla="*/ 129184 h 253855"/>
                <a:gd name="connsiteX425" fmla="*/ 65438 w 124107"/>
                <a:gd name="connsiteY425" fmla="*/ 128620 h 253855"/>
                <a:gd name="connsiteX426" fmla="*/ 64592 w 124107"/>
                <a:gd name="connsiteY426" fmla="*/ 126081 h 253855"/>
                <a:gd name="connsiteX427" fmla="*/ 65720 w 124107"/>
                <a:gd name="connsiteY427" fmla="*/ 124671 h 253855"/>
                <a:gd name="connsiteX428" fmla="*/ 66002 w 124107"/>
                <a:gd name="connsiteY428" fmla="*/ 123261 h 253855"/>
                <a:gd name="connsiteX429" fmla="*/ 65720 w 124107"/>
                <a:gd name="connsiteY429" fmla="*/ 123261 h 253855"/>
                <a:gd name="connsiteX430" fmla="*/ 65156 w 124107"/>
                <a:gd name="connsiteY430" fmla="*/ 123825 h 253855"/>
                <a:gd name="connsiteX431" fmla="*/ 63745 w 124107"/>
                <a:gd name="connsiteY431" fmla="*/ 124671 h 253855"/>
                <a:gd name="connsiteX432" fmla="*/ 63745 w 124107"/>
                <a:gd name="connsiteY432" fmla="*/ 124953 h 253855"/>
                <a:gd name="connsiteX433" fmla="*/ 63182 w 124107"/>
                <a:gd name="connsiteY433" fmla="*/ 124953 h 253855"/>
                <a:gd name="connsiteX434" fmla="*/ 62618 w 124107"/>
                <a:gd name="connsiteY434" fmla="*/ 124671 h 253855"/>
                <a:gd name="connsiteX435" fmla="*/ 62054 w 124107"/>
                <a:gd name="connsiteY435" fmla="*/ 125517 h 253855"/>
                <a:gd name="connsiteX436" fmla="*/ 62335 w 124107"/>
                <a:gd name="connsiteY436" fmla="*/ 126364 h 253855"/>
                <a:gd name="connsiteX437" fmla="*/ 63464 w 124107"/>
                <a:gd name="connsiteY437" fmla="*/ 126646 h 253855"/>
                <a:gd name="connsiteX438" fmla="*/ 64028 w 124107"/>
                <a:gd name="connsiteY438" fmla="*/ 127210 h 253855"/>
                <a:gd name="connsiteX439" fmla="*/ 63745 w 124107"/>
                <a:gd name="connsiteY439" fmla="*/ 127774 h 253855"/>
                <a:gd name="connsiteX440" fmla="*/ 63745 w 124107"/>
                <a:gd name="connsiteY440" fmla="*/ 128338 h 253855"/>
                <a:gd name="connsiteX441" fmla="*/ 64309 w 124107"/>
                <a:gd name="connsiteY441" fmla="*/ 128620 h 253855"/>
                <a:gd name="connsiteX442" fmla="*/ 64309 w 124107"/>
                <a:gd name="connsiteY442" fmla="*/ 128902 h 253855"/>
                <a:gd name="connsiteX443" fmla="*/ 64592 w 124107"/>
                <a:gd name="connsiteY443" fmla="*/ 129466 h 253855"/>
                <a:gd name="connsiteX444" fmla="*/ 64874 w 124107"/>
                <a:gd name="connsiteY444" fmla="*/ 130312 h 253855"/>
                <a:gd name="connsiteX445" fmla="*/ 64874 w 124107"/>
                <a:gd name="connsiteY445" fmla="*/ 130876 h 253855"/>
                <a:gd name="connsiteX446" fmla="*/ 64592 w 124107"/>
                <a:gd name="connsiteY446" fmla="*/ 131441 h 253855"/>
                <a:gd name="connsiteX447" fmla="*/ 64874 w 124107"/>
                <a:gd name="connsiteY447" fmla="*/ 133133 h 253855"/>
                <a:gd name="connsiteX448" fmla="*/ 64309 w 124107"/>
                <a:gd name="connsiteY448" fmla="*/ 134261 h 253855"/>
                <a:gd name="connsiteX449" fmla="*/ 63464 w 124107"/>
                <a:gd name="connsiteY449" fmla="*/ 135954 h 253855"/>
                <a:gd name="connsiteX450" fmla="*/ 61489 w 124107"/>
                <a:gd name="connsiteY450" fmla="*/ 137928 h 253855"/>
                <a:gd name="connsiteX451" fmla="*/ 60643 w 124107"/>
                <a:gd name="connsiteY451" fmla="*/ 139056 h 253855"/>
                <a:gd name="connsiteX452" fmla="*/ 58951 w 124107"/>
                <a:gd name="connsiteY452" fmla="*/ 141877 h 253855"/>
                <a:gd name="connsiteX453" fmla="*/ 55002 w 124107"/>
                <a:gd name="connsiteY453" fmla="*/ 146108 h 253855"/>
                <a:gd name="connsiteX454" fmla="*/ 51053 w 124107"/>
                <a:gd name="connsiteY454" fmla="*/ 150339 h 253855"/>
                <a:gd name="connsiteX455" fmla="*/ 50771 w 124107"/>
                <a:gd name="connsiteY455" fmla="*/ 150903 h 253855"/>
                <a:gd name="connsiteX456" fmla="*/ 50771 w 124107"/>
                <a:gd name="connsiteY456" fmla="*/ 151185 h 253855"/>
                <a:gd name="connsiteX457" fmla="*/ 49361 w 124107"/>
                <a:gd name="connsiteY457" fmla="*/ 152877 h 253855"/>
                <a:gd name="connsiteX458" fmla="*/ 47950 w 124107"/>
                <a:gd name="connsiteY458" fmla="*/ 155416 h 253855"/>
                <a:gd name="connsiteX459" fmla="*/ 46540 w 124107"/>
                <a:gd name="connsiteY459" fmla="*/ 156826 h 253855"/>
                <a:gd name="connsiteX460" fmla="*/ 45411 w 124107"/>
                <a:gd name="connsiteY460" fmla="*/ 157954 h 253855"/>
                <a:gd name="connsiteX461" fmla="*/ 44284 w 124107"/>
                <a:gd name="connsiteY461" fmla="*/ 159083 h 253855"/>
                <a:gd name="connsiteX462" fmla="*/ 43437 w 124107"/>
                <a:gd name="connsiteY462" fmla="*/ 160493 h 253855"/>
                <a:gd name="connsiteX463" fmla="*/ 42873 w 124107"/>
                <a:gd name="connsiteY463" fmla="*/ 160775 h 253855"/>
                <a:gd name="connsiteX464" fmla="*/ 42591 w 124107"/>
                <a:gd name="connsiteY464" fmla="*/ 161057 h 253855"/>
                <a:gd name="connsiteX465" fmla="*/ 42027 w 124107"/>
                <a:gd name="connsiteY465" fmla="*/ 160493 h 253855"/>
                <a:gd name="connsiteX466" fmla="*/ 42027 w 124107"/>
                <a:gd name="connsiteY466" fmla="*/ 159647 h 253855"/>
                <a:gd name="connsiteX467" fmla="*/ 41181 w 124107"/>
                <a:gd name="connsiteY467" fmla="*/ 158801 h 253855"/>
                <a:gd name="connsiteX468" fmla="*/ 40053 w 124107"/>
                <a:gd name="connsiteY468" fmla="*/ 159647 h 253855"/>
                <a:gd name="connsiteX469" fmla="*/ 39206 w 124107"/>
                <a:gd name="connsiteY469" fmla="*/ 161339 h 253855"/>
                <a:gd name="connsiteX470" fmla="*/ 39206 w 124107"/>
                <a:gd name="connsiteY470" fmla="*/ 163314 h 253855"/>
                <a:gd name="connsiteX471" fmla="*/ 39489 w 124107"/>
                <a:gd name="connsiteY471" fmla="*/ 165006 h 253855"/>
                <a:gd name="connsiteX472" fmla="*/ 39770 w 124107"/>
                <a:gd name="connsiteY472" fmla="*/ 165852 h 253855"/>
                <a:gd name="connsiteX473" fmla="*/ 39206 w 124107"/>
                <a:gd name="connsiteY473" fmla="*/ 166698 h 253855"/>
                <a:gd name="connsiteX474" fmla="*/ 37796 w 124107"/>
                <a:gd name="connsiteY474" fmla="*/ 168673 h 253855"/>
                <a:gd name="connsiteX475" fmla="*/ 36668 w 124107"/>
                <a:gd name="connsiteY475" fmla="*/ 170647 h 253855"/>
                <a:gd name="connsiteX476" fmla="*/ 36386 w 124107"/>
                <a:gd name="connsiteY476" fmla="*/ 170929 h 253855"/>
                <a:gd name="connsiteX477" fmla="*/ 36103 w 124107"/>
                <a:gd name="connsiteY477" fmla="*/ 170365 h 253855"/>
                <a:gd name="connsiteX478" fmla="*/ 35822 w 124107"/>
                <a:gd name="connsiteY478" fmla="*/ 170083 h 253855"/>
                <a:gd name="connsiteX479" fmla="*/ 34975 w 124107"/>
                <a:gd name="connsiteY479" fmla="*/ 170365 h 253855"/>
                <a:gd name="connsiteX480" fmla="*/ 34693 w 124107"/>
                <a:gd name="connsiteY480" fmla="*/ 170647 h 253855"/>
                <a:gd name="connsiteX481" fmla="*/ 34411 w 124107"/>
                <a:gd name="connsiteY481" fmla="*/ 170083 h 253855"/>
                <a:gd name="connsiteX482" fmla="*/ 36386 w 124107"/>
                <a:gd name="connsiteY482" fmla="*/ 168109 h 253855"/>
                <a:gd name="connsiteX483" fmla="*/ 36668 w 124107"/>
                <a:gd name="connsiteY483" fmla="*/ 167544 h 253855"/>
                <a:gd name="connsiteX484" fmla="*/ 36386 w 124107"/>
                <a:gd name="connsiteY484" fmla="*/ 166980 h 253855"/>
                <a:gd name="connsiteX485" fmla="*/ 36386 w 124107"/>
                <a:gd name="connsiteY485" fmla="*/ 166416 h 253855"/>
                <a:gd name="connsiteX486" fmla="*/ 35539 w 124107"/>
                <a:gd name="connsiteY486" fmla="*/ 166134 h 253855"/>
                <a:gd name="connsiteX487" fmla="*/ 34693 w 124107"/>
                <a:gd name="connsiteY487" fmla="*/ 166416 h 253855"/>
                <a:gd name="connsiteX488" fmla="*/ 34693 w 124107"/>
                <a:gd name="connsiteY488" fmla="*/ 167262 h 253855"/>
                <a:gd name="connsiteX489" fmla="*/ 34411 w 124107"/>
                <a:gd name="connsiteY489" fmla="*/ 167544 h 253855"/>
                <a:gd name="connsiteX490" fmla="*/ 33847 w 124107"/>
                <a:gd name="connsiteY490" fmla="*/ 168391 h 253855"/>
                <a:gd name="connsiteX491" fmla="*/ 32719 w 124107"/>
                <a:gd name="connsiteY491" fmla="*/ 168955 h 253855"/>
                <a:gd name="connsiteX492" fmla="*/ 31308 w 124107"/>
                <a:gd name="connsiteY492" fmla="*/ 170647 h 253855"/>
                <a:gd name="connsiteX493" fmla="*/ 31308 w 124107"/>
                <a:gd name="connsiteY493" fmla="*/ 170929 h 253855"/>
                <a:gd name="connsiteX494" fmla="*/ 31591 w 124107"/>
                <a:gd name="connsiteY494" fmla="*/ 171211 h 253855"/>
                <a:gd name="connsiteX495" fmla="*/ 32719 w 124107"/>
                <a:gd name="connsiteY495" fmla="*/ 171775 h 253855"/>
                <a:gd name="connsiteX496" fmla="*/ 33001 w 124107"/>
                <a:gd name="connsiteY496" fmla="*/ 172622 h 253855"/>
                <a:gd name="connsiteX497" fmla="*/ 32719 w 124107"/>
                <a:gd name="connsiteY497" fmla="*/ 172622 h 253855"/>
                <a:gd name="connsiteX498" fmla="*/ 31027 w 124107"/>
                <a:gd name="connsiteY498" fmla="*/ 173468 h 253855"/>
                <a:gd name="connsiteX499" fmla="*/ 30462 w 124107"/>
                <a:gd name="connsiteY499" fmla="*/ 174878 h 253855"/>
                <a:gd name="connsiteX500" fmla="*/ 29898 w 124107"/>
                <a:gd name="connsiteY500" fmla="*/ 175442 h 253855"/>
                <a:gd name="connsiteX501" fmla="*/ 30462 w 124107"/>
                <a:gd name="connsiteY501" fmla="*/ 176288 h 253855"/>
                <a:gd name="connsiteX502" fmla="*/ 31308 w 124107"/>
                <a:gd name="connsiteY502" fmla="*/ 176570 h 253855"/>
                <a:gd name="connsiteX503" fmla="*/ 31872 w 124107"/>
                <a:gd name="connsiteY503" fmla="*/ 175724 h 253855"/>
                <a:gd name="connsiteX504" fmla="*/ 31872 w 124107"/>
                <a:gd name="connsiteY504" fmla="*/ 175160 h 253855"/>
                <a:gd name="connsiteX505" fmla="*/ 33283 w 124107"/>
                <a:gd name="connsiteY505" fmla="*/ 173186 h 253855"/>
                <a:gd name="connsiteX506" fmla="*/ 34129 w 124107"/>
                <a:gd name="connsiteY506" fmla="*/ 173468 h 253855"/>
                <a:gd name="connsiteX507" fmla="*/ 34129 w 124107"/>
                <a:gd name="connsiteY507" fmla="*/ 174878 h 253855"/>
                <a:gd name="connsiteX508" fmla="*/ 33565 w 124107"/>
                <a:gd name="connsiteY508" fmla="*/ 176288 h 253855"/>
                <a:gd name="connsiteX509" fmla="*/ 32437 w 124107"/>
                <a:gd name="connsiteY509" fmla="*/ 177135 h 253855"/>
                <a:gd name="connsiteX510" fmla="*/ 31027 w 124107"/>
                <a:gd name="connsiteY510" fmla="*/ 179391 h 253855"/>
                <a:gd name="connsiteX511" fmla="*/ 30462 w 124107"/>
                <a:gd name="connsiteY511" fmla="*/ 180801 h 253855"/>
                <a:gd name="connsiteX512" fmla="*/ 30462 w 124107"/>
                <a:gd name="connsiteY512" fmla="*/ 181365 h 253855"/>
                <a:gd name="connsiteX513" fmla="*/ 29898 w 124107"/>
                <a:gd name="connsiteY513" fmla="*/ 183340 h 253855"/>
                <a:gd name="connsiteX514" fmla="*/ 29616 w 124107"/>
                <a:gd name="connsiteY514" fmla="*/ 183622 h 253855"/>
                <a:gd name="connsiteX515" fmla="*/ 29052 w 124107"/>
                <a:gd name="connsiteY515" fmla="*/ 183340 h 253855"/>
                <a:gd name="connsiteX516" fmla="*/ 27924 w 124107"/>
                <a:gd name="connsiteY516" fmla="*/ 182776 h 253855"/>
                <a:gd name="connsiteX517" fmla="*/ 27077 w 124107"/>
                <a:gd name="connsiteY517" fmla="*/ 182776 h 253855"/>
                <a:gd name="connsiteX518" fmla="*/ 27360 w 124107"/>
                <a:gd name="connsiteY518" fmla="*/ 182494 h 253855"/>
                <a:gd name="connsiteX519" fmla="*/ 27924 w 124107"/>
                <a:gd name="connsiteY519" fmla="*/ 180801 h 253855"/>
                <a:gd name="connsiteX520" fmla="*/ 27641 w 124107"/>
                <a:gd name="connsiteY520" fmla="*/ 180237 h 253855"/>
                <a:gd name="connsiteX521" fmla="*/ 28206 w 124107"/>
                <a:gd name="connsiteY521" fmla="*/ 179109 h 253855"/>
                <a:gd name="connsiteX522" fmla="*/ 29616 w 124107"/>
                <a:gd name="connsiteY522" fmla="*/ 177699 h 253855"/>
                <a:gd name="connsiteX523" fmla="*/ 29898 w 124107"/>
                <a:gd name="connsiteY523" fmla="*/ 176852 h 253855"/>
                <a:gd name="connsiteX524" fmla="*/ 29898 w 124107"/>
                <a:gd name="connsiteY524" fmla="*/ 176570 h 253855"/>
                <a:gd name="connsiteX525" fmla="*/ 28488 w 124107"/>
                <a:gd name="connsiteY525" fmla="*/ 176570 h 253855"/>
                <a:gd name="connsiteX526" fmla="*/ 27641 w 124107"/>
                <a:gd name="connsiteY526" fmla="*/ 178545 h 253855"/>
                <a:gd name="connsiteX527" fmla="*/ 27641 w 124107"/>
                <a:gd name="connsiteY527" fmla="*/ 179109 h 253855"/>
                <a:gd name="connsiteX528" fmla="*/ 26231 w 124107"/>
                <a:gd name="connsiteY528" fmla="*/ 181365 h 253855"/>
                <a:gd name="connsiteX529" fmla="*/ 25950 w 124107"/>
                <a:gd name="connsiteY529" fmla="*/ 182212 h 253855"/>
                <a:gd name="connsiteX530" fmla="*/ 24821 w 124107"/>
                <a:gd name="connsiteY530" fmla="*/ 184750 h 253855"/>
                <a:gd name="connsiteX531" fmla="*/ 24257 w 124107"/>
                <a:gd name="connsiteY531" fmla="*/ 185596 h 253855"/>
                <a:gd name="connsiteX532" fmla="*/ 23411 w 124107"/>
                <a:gd name="connsiteY532" fmla="*/ 187007 h 253855"/>
                <a:gd name="connsiteX533" fmla="*/ 22565 w 124107"/>
                <a:gd name="connsiteY533" fmla="*/ 188417 h 253855"/>
                <a:gd name="connsiteX534" fmla="*/ 21719 w 124107"/>
                <a:gd name="connsiteY534" fmla="*/ 188135 h 253855"/>
                <a:gd name="connsiteX535" fmla="*/ 21155 w 124107"/>
                <a:gd name="connsiteY535" fmla="*/ 187853 h 253855"/>
                <a:gd name="connsiteX536" fmla="*/ 20026 w 124107"/>
                <a:gd name="connsiteY536" fmla="*/ 187853 h 253855"/>
                <a:gd name="connsiteX537" fmla="*/ 20026 w 124107"/>
                <a:gd name="connsiteY537" fmla="*/ 188135 h 253855"/>
                <a:gd name="connsiteX538" fmla="*/ 18898 w 124107"/>
                <a:gd name="connsiteY538" fmla="*/ 187853 h 253855"/>
                <a:gd name="connsiteX539" fmla="*/ 18898 w 124107"/>
                <a:gd name="connsiteY539" fmla="*/ 187571 h 253855"/>
                <a:gd name="connsiteX540" fmla="*/ 18052 w 124107"/>
                <a:gd name="connsiteY540" fmla="*/ 187571 h 253855"/>
                <a:gd name="connsiteX541" fmla="*/ 18052 w 124107"/>
                <a:gd name="connsiteY541" fmla="*/ 188699 h 253855"/>
                <a:gd name="connsiteX542" fmla="*/ 18898 w 124107"/>
                <a:gd name="connsiteY542" fmla="*/ 189263 h 253855"/>
                <a:gd name="connsiteX543" fmla="*/ 20026 w 124107"/>
                <a:gd name="connsiteY543" fmla="*/ 189545 h 253855"/>
                <a:gd name="connsiteX544" fmla="*/ 20590 w 124107"/>
                <a:gd name="connsiteY544" fmla="*/ 189545 h 253855"/>
                <a:gd name="connsiteX545" fmla="*/ 21155 w 124107"/>
                <a:gd name="connsiteY545" fmla="*/ 190109 h 253855"/>
                <a:gd name="connsiteX546" fmla="*/ 21155 w 124107"/>
                <a:gd name="connsiteY546" fmla="*/ 190391 h 253855"/>
                <a:gd name="connsiteX547" fmla="*/ 20308 w 124107"/>
                <a:gd name="connsiteY547" fmla="*/ 192366 h 253855"/>
                <a:gd name="connsiteX548" fmla="*/ 19744 w 124107"/>
                <a:gd name="connsiteY548" fmla="*/ 192648 h 253855"/>
                <a:gd name="connsiteX549" fmla="*/ 19462 w 124107"/>
                <a:gd name="connsiteY549" fmla="*/ 192366 h 253855"/>
                <a:gd name="connsiteX550" fmla="*/ 18898 w 124107"/>
                <a:gd name="connsiteY550" fmla="*/ 191238 h 253855"/>
                <a:gd name="connsiteX551" fmla="*/ 17488 w 124107"/>
                <a:gd name="connsiteY551" fmla="*/ 190109 h 253855"/>
                <a:gd name="connsiteX552" fmla="*/ 17488 w 124107"/>
                <a:gd name="connsiteY552" fmla="*/ 190673 h 253855"/>
                <a:gd name="connsiteX553" fmla="*/ 16077 w 124107"/>
                <a:gd name="connsiteY553" fmla="*/ 192930 h 253855"/>
                <a:gd name="connsiteX554" fmla="*/ 15795 w 124107"/>
                <a:gd name="connsiteY554" fmla="*/ 193212 h 253855"/>
                <a:gd name="connsiteX555" fmla="*/ 14667 w 124107"/>
                <a:gd name="connsiteY555" fmla="*/ 193776 h 253855"/>
                <a:gd name="connsiteX556" fmla="*/ 14949 w 124107"/>
                <a:gd name="connsiteY556" fmla="*/ 194622 h 253855"/>
                <a:gd name="connsiteX557" fmla="*/ 15231 w 124107"/>
                <a:gd name="connsiteY557" fmla="*/ 195186 h 253855"/>
                <a:gd name="connsiteX558" fmla="*/ 15513 w 124107"/>
                <a:gd name="connsiteY558" fmla="*/ 195751 h 253855"/>
                <a:gd name="connsiteX559" fmla="*/ 15231 w 124107"/>
                <a:gd name="connsiteY559" fmla="*/ 196033 h 253855"/>
                <a:gd name="connsiteX560" fmla="*/ 13821 w 124107"/>
                <a:gd name="connsiteY560" fmla="*/ 197161 h 253855"/>
                <a:gd name="connsiteX561" fmla="*/ 12974 w 124107"/>
                <a:gd name="connsiteY561" fmla="*/ 197725 h 253855"/>
                <a:gd name="connsiteX562" fmla="*/ 13257 w 124107"/>
                <a:gd name="connsiteY562" fmla="*/ 199135 h 253855"/>
                <a:gd name="connsiteX563" fmla="*/ 13538 w 124107"/>
                <a:gd name="connsiteY563" fmla="*/ 200264 h 253855"/>
                <a:gd name="connsiteX564" fmla="*/ 13257 w 124107"/>
                <a:gd name="connsiteY564" fmla="*/ 200828 h 253855"/>
                <a:gd name="connsiteX565" fmla="*/ 12410 w 124107"/>
                <a:gd name="connsiteY565" fmla="*/ 202238 h 253855"/>
                <a:gd name="connsiteX566" fmla="*/ 12410 w 124107"/>
                <a:gd name="connsiteY566" fmla="*/ 202802 h 253855"/>
                <a:gd name="connsiteX567" fmla="*/ 11846 w 124107"/>
                <a:gd name="connsiteY567" fmla="*/ 203930 h 253855"/>
                <a:gd name="connsiteX568" fmla="*/ 11564 w 124107"/>
                <a:gd name="connsiteY568" fmla="*/ 202802 h 253855"/>
                <a:gd name="connsiteX569" fmla="*/ 11282 w 124107"/>
                <a:gd name="connsiteY569" fmla="*/ 202238 h 253855"/>
                <a:gd name="connsiteX570" fmla="*/ 10718 w 124107"/>
                <a:gd name="connsiteY570" fmla="*/ 202520 h 253855"/>
                <a:gd name="connsiteX571" fmla="*/ 10436 w 124107"/>
                <a:gd name="connsiteY571" fmla="*/ 202238 h 253855"/>
                <a:gd name="connsiteX572" fmla="*/ 10436 w 124107"/>
                <a:gd name="connsiteY572" fmla="*/ 201956 h 253855"/>
                <a:gd name="connsiteX573" fmla="*/ 11000 w 124107"/>
                <a:gd name="connsiteY573" fmla="*/ 201392 h 253855"/>
                <a:gd name="connsiteX574" fmla="*/ 11564 w 124107"/>
                <a:gd name="connsiteY574" fmla="*/ 200828 h 253855"/>
                <a:gd name="connsiteX575" fmla="*/ 11282 w 124107"/>
                <a:gd name="connsiteY575" fmla="*/ 200546 h 253855"/>
                <a:gd name="connsiteX576" fmla="*/ 11000 w 124107"/>
                <a:gd name="connsiteY576" fmla="*/ 199982 h 253855"/>
                <a:gd name="connsiteX577" fmla="*/ 11282 w 124107"/>
                <a:gd name="connsiteY577" fmla="*/ 198853 h 253855"/>
                <a:gd name="connsiteX578" fmla="*/ 12128 w 124107"/>
                <a:gd name="connsiteY578" fmla="*/ 197161 h 253855"/>
                <a:gd name="connsiteX579" fmla="*/ 12128 w 124107"/>
                <a:gd name="connsiteY579" fmla="*/ 195751 h 253855"/>
                <a:gd name="connsiteX580" fmla="*/ 12693 w 124107"/>
                <a:gd name="connsiteY580" fmla="*/ 195186 h 253855"/>
                <a:gd name="connsiteX581" fmla="*/ 13538 w 124107"/>
                <a:gd name="connsiteY581" fmla="*/ 194058 h 253855"/>
                <a:gd name="connsiteX582" fmla="*/ 13538 w 124107"/>
                <a:gd name="connsiteY582" fmla="*/ 192648 h 253855"/>
                <a:gd name="connsiteX583" fmla="*/ 14385 w 124107"/>
                <a:gd name="connsiteY583" fmla="*/ 190673 h 253855"/>
                <a:gd name="connsiteX584" fmla="*/ 14949 w 124107"/>
                <a:gd name="connsiteY584" fmla="*/ 190391 h 253855"/>
                <a:gd name="connsiteX585" fmla="*/ 15513 w 124107"/>
                <a:gd name="connsiteY585" fmla="*/ 190391 h 253855"/>
                <a:gd name="connsiteX586" fmla="*/ 16077 w 124107"/>
                <a:gd name="connsiteY586" fmla="*/ 188699 h 253855"/>
                <a:gd name="connsiteX587" fmla="*/ 15513 w 124107"/>
                <a:gd name="connsiteY587" fmla="*/ 187571 h 253855"/>
                <a:gd name="connsiteX588" fmla="*/ 16924 w 124107"/>
                <a:gd name="connsiteY588" fmla="*/ 185314 h 253855"/>
                <a:gd name="connsiteX589" fmla="*/ 17488 w 124107"/>
                <a:gd name="connsiteY589" fmla="*/ 183622 h 253855"/>
                <a:gd name="connsiteX590" fmla="*/ 18616 w 124107"/>
                <a:gd name="connsiteY590" fmla="*/ 182776 h 253855"/>
                <a:gd name="connsiteX591" fmla="*/ 18898 w 124107"/>
                <a:gd name="connsiteY591" fmla="*/ 182212 h 253855"/>
                <a:gd name="connsiteX592" fmla="*/ 18616 w 124107"/>
                <a:gd name="connsiteY592" fmla="*/ 181648 h 253855"/>
                <a:gd name="connsiteX593" fmla="*/ 18616 w 124107"/>
                <a:gd name="connsiteY593" fmla="*/ 181083 h 253855"/>
                <a:gd name="connsiteX594" fmla="*/ 19744 w 124107"/>
                <a:gd name="connsiteY594" fmla="*/ 177981 h 253855"/>
                <a:gd name="connsiteX595" fmla="*/ 21155 w 124107"/>
                <a:gd name="connsiteY595" fmla="*/ 176288 h 253855"/>
                <a:gd name="connsiteX596" fmla="*/ 21719 w 124107"/>
                <a:gd name="connsiteY596" fmla="*/ 176288 h 253855"/>
                <a:gd name="connsiteX597" fmla="*/ 21719 w 124107"/>
                <a:gd name="connsiteY597" fmla="*/ 176852 h 253855"/>
                <a:gd name="connsiteX598" fmla="*/ 21155 w 124107"/>
                <a:gd name="connsiteY598" fmla="*/ 178263 h 253855"/>
                <a:gd name="connsiteX599" fmla="*/ 21436 w 124107"/>
                <a:gd name="connsiteY599" fmla="*/ 178827 h 253855"/>
                <a:gd name="connsiteX600" fmla="*/ 21436 w 124107"/>
                <a:gd name="connsiteY600" fmla="*/ 179109 h 253855"/>
                <a:gd name="connsiteX601" fmla="*/ 21155 w 124107"/>
                <a:gd name="connsiteY601" fmla="*/ 179673 h 253855"/>
                <a:gd name="connsiteX602" fmla="*/ 20026 w 124107"/>
                <a:gd name="connsiteY602" fmla="*/ 182212 h 253855"/>
                <a:gd name="connsiteX603" fmla="*/ 19744 w 124107"/>
                <a:gd name="connsiteY603" fmla="*/ 182776 h 253855"/>
                <a:gd name="connsiteX604" fmla="*/ 20026 w 124107"/>
                <a:gd name="connsiteY604" fmla="*/ 183058 h 253855"/>
                <a:gd name="connsiteX605" fmla="*/ 20308 w 124107"/>
                <a:gd name="connsiteY605" fmla="*/ 183058 h 253855"/>
                <a:gd name="connsiteX606" fmla="*/ 20872 w 124107"/>
                <a:gd name="connsiteY606" fmla="*/ 183340 h 253855"/>
                <a:gd name="connsiteX607" fmla="*/ 20590 w 124107"/>
                <a:gd name="connsiteY607" fmla="*/ 183904 h 253855"/>
                <a:gd name="connsiteX608" fmla="*/ 20590 w 124107"/>
                <a:gd name="connsiteY608" fmla="*/ 184468 h 253855"/>
                <a:gd name="connsiteX609" fmla="*/ 22283 w 124107"/>
                <a:gd name="connsiteY609" fmla="*/ 183622 h 253855"/>
                <a:gd name="connsiteX610" fmla="*/ 25103 w 124107"/>
                <a:gd name="connsiteY610" fmla="*/ 180519 h 253855"/>
                <a:gd name="connsiteX611" fmla="*/ 24821 w 124107"/>
                <a:gd name="connsiteY611" fmla="*/ 179673 h 253855"/>
                <a:gd name="connsiteX612" fmla="*/ 24257 w 124107"/>
                <a:gd name="connsiteY612" fmla="*/ 178827 h 253855"/>
                <a:gd name="connsiteX613" fmla="*/ 24257 w 124107"/>
                <a:gd name="connsiteY613" fmla="*/ 177981 h 253855"/>
                <a:gd name="connsiteX614" fmla="*/ 23411 w 124107"/>
                <a:gd name="connsiteY614" fmla="*/ 177699 h 253855"/>
                <a:gd name="connsiteX615" fmla="*/ 21719 w 124107"/>
                <a:gd name="connsiteY615" fmla="*/ 176288 h 253855"/>
                <a:gd name="connsiteX616" fmla="*/ 23129 w 124107"/>
                <a:gd name="connsiteY616" fmla="*/ 174596 h 253855"/>
                <a:gd name="connsiteX617" fmla="*/ 23129 w 124107"/>
                <a:gd name="connsiteY617" fmla="*/ 173750 h 253855"/>
                <a:gd name="connsiteX618" fmla="*/ 22847 w 124107"/>
                <a:gd name="connsiteY618" fmla="*/ 173468 h 253855"/>
                <a:gd name="connsiteX619" fmla="*/ 22565 w 124107"/>
                <a:gd name="connsiteY619" fmla="*/ 172904 h 253855"/>
                <a:gd name="connsiteX620" fmla="*/ 22565 w 124107"/>
                <a:gd name="connsiteY620" fmla="*/ 172622 h 253855"/>
                <a:gd name="connsiteX621" fmla="*/ 23411 w 124107"/>
                <a:gd name="connsiteY621" fmla="*/ 172904 h 253855"/>
                <a:gd name="connsiteX622" fmla="*/ 23975 w 124107"/>
                <a:gd name="connsiteY622" fmla="*/ 173468 h 253855"/>
                <a:gd name="connsiteX623" fmla="*/ 24257 w 124107"/>
                <a:gd name="connsiteY623" fmla="*/ 173186 h 253855"/>
                <a:gd name="connsiteX624" fmla="*/ 24821 w 124107"/>
                <a:gd name="connsiteY624" fmla="*/ 171775 h 253855"/>
                <a:gd name="connsiteX625" fmla="*/ 26231 w 124107"/>
                <a:gd name="connsiteY625" fmla="*/ 168391 h 253855"/>
                <a:gd name="connsiteX626" fmla="*/ 26796 w 124107"/>
                <a:gd name="connsiteY626" fmla="*/ 167827 h 253855"/>
                <a:gd name="connsiteX627" fmla="*/ 27360 w 124107"/>
                <a:gd name="connsiteY627" fmla="*/ 166980 h 253855"/>
                <a:gd name="connsiteX628" fmla="*/ 27641 w 124107"/>
                <a:gd name="connsiteY628" fmla="*/ 166416 h 253855"/>
                <a:gd name="connsiteX629" fmla="*/ 27077 w 124107"/>
                <a:gd name="connsiteY629" fmla="*/ 165852 h 253855"/>
                <a:gd name="connsiteX630" fmla="*/ 25667 w 124107"/>
                <a:gd name="connsiteY630" fmla="*/ 165006 h 253855"/>
                <a:gd name="connsiteX631" fmla="*/ 25386 w 124107"/>
                <a:gd name="connsiteY631" fmla="*/ 165006 h 253855"/>
                <a:gd name="connsiteX632" fmla="*/ 25386 w 124107"/>
                <a:gd name="connsiteY632" fmla="*/ 165288 h 253855"/>
                <a:gd name="connsiteX633" fmla="*/ 25950 w 124107"/>
                <a:gd name="connsiteY633" fmla="*/ 166980 h 253855"/>
                <a:gd name="connsiteX634" fmla="*/ 25667 w 124107"/>
                <a:gd name="connsiteY634" fmla="*/ 168391 h 253855"/>
                <a:gd name="connsiteX635" fmla="*/ 25103 w 124107"/>
                <a:gd name="connsiteY635" fmla="*/ 168955 h 253855"/>
                <a:gd name="connsiteX636" fmla="*/ 24257 w 124107"/>
                <a:gd name="connsiteY636" fmla="*/ 170083 h 253855"/>
                <a:gd name="connsiteX637" fmla="*/ 23129 w 124107"/>
                <a:gd name="connsiteY637" fmla="*/ 169801 h 253855"/>
                <a:gd name="connsiteX638" fmla="*/ 22565 w 124107"/>
                <a:gd name="connsiteY638" fmla="*/ 169519 h 253855"/>
                <a:gd name="connsiteX639" fmla="*/ 21719 w 124107"/>
                <a:gd name="connsiteY639" fmla="*/ 170365 h 253855"/>
                <a:gd name="connsiteX640" fmla="*/ 21719 w 124107"/>
                <a:gd name="connsiteY640" fmla="*/ 170929 h 253855"/>
                <a:gd name="connsiteX641" fmla="*/ 21719 w 124107"/>
                <a:gd name="connsiteY641" fmla="*/ 171493 h 253855"/>
                <a:gd name="connsiteX642" fmla="*/ 21155 w 124107"/>
                <a:gd name="connsiteY642" fmla="*/ 172622 h 253855"/>
                <a:gd name="connsiteX643" fmla="*/ 21155 w 124107"/>
                <a:gd name="connsiteY643" fmla="*/ 173468 h 253855"/>
                <a:gd name="connsiteX644" fmla="*/ 20590 w 124107"/>
                <a:gd name="connsiteY644" fmla="*/ 174596 h 253855"/>
                <a:gd name="connsiteX645" fmla="*/ 20308 w 124107"/>
                <a:gd name="connsiteY645" fmla="*/ 175160 h 253855"/>
                <a:gd name="connsiteX646" fmla="*/ 20590 w 124107"/>
                <a:gd name="connsiteY646" fmla="*/ 175442 h 253855"/>
                <a:gd name="connsiteX647" fmla="*/ 20872 w 124107"/>
                <a:gd name="connsiteY647" fmla="*/ 175724 h 253855"/>
                <a:gd name="connsiteX648" fmla="*/ 20590 w 124107"/>
                <a:gd name="connsiteY648" fmla="*/ 176288 h 253855"/>
                <a:gd name="connsiteX649" fmla="*/ 19462 w 124107"/>
                <a:gd name="connsiteY649" fmla="*/ 176288 h 253855"/>
                <a:gd name="connsiteX650" fmla="*/ 17488 w 124107"/>
                <a:gd name="connsiteY650" fmla="*/ 175724 h 253855"/>
                <a:gd name="connsiteX651" fmla="*/ 17488 w 124107"/>
                <a:gd name="connsiteY651" fmla="*/ 175442 h 253855"/>
                <a:gd name="connsiteX652" fmla="*/ 17769 w 124107"/>
                <a:gd name="connsiteY652" fmla="*/ 174596 h 253855"/>
                <a:gd name="connsiteX653" fmla="*/ 17488 w 124107"/>
                <a:gd name="connsiteY653" fmla="*/ 173468 h 253855"/>
                <a:gd name="connsiteX654" fmla="*/ 17769 w 124107"/>
                <a:gd name="connsiteY654" fmla="*/ 172904 h 253855"/>
                <a:gd name="connsiteX655" fmla="*/ 18334 w 124107"/>
                <a:gd name="connsiteY655" fmla="*/ 173186 h 253855"/>
                <a:gd name="connsiteX656" fmla="*/ 18616 w 124107"/>
                <a:gd name="connsiteY656" fmla="*/ 173186 h 253855"/>
                <a:gd name="connsiteX657" fmla="*/ 19462 w 124107"/>
                <a:gd name="connsiteY657" fmla="*/ 173468 h 253855"/>
                <a:gd name="connsiteX658" fmla="*/ 20308 w 124107"/>
                <a:gd name="connsiteY658" fmla="*/ 173750 h 253855"/>
                <a:gd name="connsiteX659" fmla="*/ 20308 w 124107"/>
                <a:gd name="connsiteY659" fmla="*/ 173468 h 253855"/>
                <a:gd name="connsiteX660" fmla="*/ 20026 w 124107"/>
                <a:gd name="connsiteY660" fmla="*/ 172904 h 253855"/>
                <a:gd name="connsiteX661" fmla="*/ 19744 w 124107"/>
                <a:gd name="connsiteY661" fmla="*/ 172904 h 253855"/>
                <a:gd name="connsiteX662" fmla="*/ 19462 w 124107"/>
                <a:gd name="connsiteY662" fmla="*/ 171775 h 253855"/>
                <a:gd name="connsiteX663" fmla="*/ 19180 w 124107"/>
                <a:gd name="connsiteY663" fmla="*/ 171775 h 253855"/>
                <a:gd name="connsiteX664" fmla="*/ 18052 w 124107"/>
                <a:gd name="connsiteY664" fmla="*/ 172339 h 253855"/>
                <a:gd name="connsiteX665" fmla="*/ 18334 w 124107"/>
                <a:gd name="connsiteY665" fmla="*/ 170929 h 253855"/>
                <a:gd name="connsiteX666" fmla="*/ 20308 w 124107"/>
                <a:gd name="connsiteY666" fmla="*/ 168109 h 253855"/>
                <a:gd name="connsiteX667" fmla="*/ 20590 w 124107"/>
                <a:gd name="connsiteY667" fmla="*/ 167827 h 253855"/>
                <a:gd name="connsiteX668" fmla="*/ 19462 w 124107"/>
                <a:gd name="connsiteY668" fmla="*/ 170647 h 253855"/>
                <a:gd name="connsiteX669" fmla="*/ 19744 w 124107"/>
                <a:gd name="connsiteY669" fmla="*/ 170929 h 253855"/>
                <a:gd name="connsiteX670" fmla="*/ 20590 w 124107"/>
                <a:gd name="connsiteY670" fmla="*/ 170083 h 253855"/>
                <a:gd name="connsiteX671" fmla="*/ 22283 w 124107"/>
                <a:gd name="connsiteY671" fmla="*/ 167827 h 253855"/>
                <a:gd name="connsiteX672" fmla="*/ 22283 w 124107"/>
                <a:gd name="connsiteY672" fmla="*/ 166980 h 253855"/>
                <a:gd name="connsiteX673" fmla="*/ 21719 w 124107"/>
                <a:gd name="connsiteY673" fmla="*/ 166134 h 253855"/>
                <a:gd name="connsiteX674" fmla="*/ 21719 w 124107"/>
                <a:gd name="connsiteY674" fmla="*/ 165852 h 253855"/>
                <a:gd name="connsiteX675" fmla="*/ 23411 w 124107"/>
                <a:gd name="connsiteY675" fmla="*/ 163596 h 253855"/>
                <a:gd name="connsiteX676" fmla="*/ 24257 w 124107"/>
                <a:gd name="connsiteY676" fmla="*/ 161903 h 253855"/>
                <a:gd name="connsiteX677" fmla="*/ 24257 w 124107"/>
                <a:gd name="connsiteY677" fmla="*/ 161621 h 253855"/>
                <a:gd name="connsiteX678" fmla="*/ 25950 w 124107"/>
                <a:gd name="connsiteY678" fmla="*/ 159365 h 253855"/>
                <a:gd name="connsiteX679" fmla="*/ 26514 w 124107"/>
                <a:gd name="connsiteY679" fmla="*/ 158801 h 253855"/>
                <a:gd name="connsiteX680" fmla="*/ 26796 w 124107"/>
                <a:gd name="connsiteY680" fmla="*/ 157954 h 253855"/>
                <a:gd name="connsiteX681" fmla="*/ 28206 w 124107"/>
                <a:gd name="connsiteY681" fmla="*/ 155698 h 253855"/>
                <a:gd name="connsiteX682" fmla="*/ 28488 w 124107"/>
                <a:gd name="connsiteY682" fmla="*/ 154852 h 253855"/>
                <a:gd name="connsiteX683" fmla="*/ 28488 w 124107"/>
                <a:gd name="connsiteY683" fmla="*/ 154570 h 253855"/>
                <a:gd name="connsiteX684" fmla="*/ 30744 w 124107"/>
                <a:gd name="connsiteY684" fmla="*/ 152031 h 253855"/>
                <a:gd name="connsiteX685" fmla="*/ 32437 w 124107"/>
                <a:gd name="connsiteY685" fmla="*/ 150621 h 253855"/>
                <a:gd name="connsiteX686" fmla="*/ 33001 w 124107"/>
                <a:gd name="connsiteY686" fmla="*/ 150621 h 253855"/>
                <a:gd name="connsiteX687" fmla="*/ 33001 w 124107"/>
                <a:gd name="connsiteY687" fmla="*/ 150903 h 253855"/>
                <a:gd name="connsiteX688" fmla="*/ 32437 w 124107"/>
                <a:gd name="connsiteY688" fmla="*/ 152031 h 253855"/>
                <a:gd name="connsiteX689" fmla="*/ 34411 w 124107"/>
                <a:gd name="connsiteY689" fmla="*/ 151467 h 253855"/>
                <a:gd name="connsiteX690" fmla="*/ 34693 w 124107"/>
                <a:gd name="connsiteY690" fmla="*/ 150621 h 253855"/>
                <a:gd name="connsiteX691" fmla="*/ 34129 w 124107"/>
                <a:gd name="connsiteY691" fmla="*/ 148646 h 253855"/>
                <a:gd name="connsiteX692" fmla="*/ 34129 w 124107"/>
                <a:gd name="connsiteY692" fmla="*/ 148082 h 253855"/>
                <a:gd name="connsiteX693" fmla="*/ 35539 w 124107"/>
                <a:gd name="connsiteY693" fmla="*/ 146108 h 253855"/>
                <a:gd name="connsiteX694" fmla="*/ 37796 w 124107"/>
                <a:gd name="connsiteY694" fmla="*/ 144133 h 253855"/>
                <a:gd name="connsiteX695" fmla="*/ 38078 w 124107"/>
                <a:gd name="connsiteY695" fmla="*/ 143851 h 253855"/>
                <a:gd name="connsiteX696" fmla="*/ 38360 w 124107"/>
                <a:gd name="connsiteY696" fmla="*/ 144133 h 253855"/>
                <a:gd name="connsiteX697" fmla="*/ 38642 w 124107"/>
                <a:gd name="connsiteY697" fmla="*/ 144415 h 253855"/>
                <a:gd name="connsiteX698" fmla="*/ 39206 w 124107"/>
                <a:gd name="connsiteY698" fmla="*/ 144415 h 253855"/>
                <a:gd name="connsiteX699" fmla="*/ 39770 w 124107"/>
                <a:gd name="connsiteY699" fmla="*/ 143569 h 253855"/>
                <a:gd name="connsiteX700" fmla="*/ 39770 w 124107"/>
                <a:gd name="connsiteY700" fmla="*/ 143005 h 253855"/>
                <a:gd name="connsiteX701" fmla="*/ 39489 w 124107"/>
                <a:gd name="connsiteY701" fmla="*/ 142723 h 253855"/>
                <a:gd name="connsiteX702" fmla="*/ 39770 w 124107"/>
                <a:gd name="connsiteY702" fmla="*/ 142159 h 253855"/>
                <a:gd name="connsiteX703" fmla="*/ 40334 w 124107"/>
                <a:gd name="connsiteY703" fmla="*/ 142159 h 253855"/>
                <a:gd name="connsiteX704" fmla="*/ 39770 w 124107"/>
                <a:gd name="connsiteY704" fmla="*/ 143005 h 253855"/>
                <a:gd name="connsiteX705" fmla="*/ 41181 w 124107"/>
                <a:gd name="connsiteY705" fmla="*/ 142723 h 253855"/>
                <a:gd name="connsiteX706" fmla="*/ 41181 w 124107"/>
                <a:gd name="connsiteY706" fmla="*/ 142159 h 253855"/>
                <a:gd name="connsiteX707" fmla="*/ 40617 w 124107"/>
                <a:gd name="connsiteY707" fmla="*/ 141031 h 253855"/>
                <a:gd name="connsiteX708" fmla="*/ 40899 w 124107"/>
                <a:gd name="connsiteY708" fmla="*/ 139902 h 253855"/>
                <a:gd name="connsiteX709" fmla="*/ 42309 w 124107"/>
                <a:gd name="connsiteY709" fmla="*/ 137646 h 253855"/>
                <a:gd name="connsiteX710" fmla="*/ 43155 w 124107"/>
                <a:gd name="connsiteY710" fmla="*/ 136236 h 253855"/>
                <a:gd name="connsiteX711" fmla="*/ 44284 w 124107"/>
                <a:gd name="connsiteY711" fmla="*/ 135954 h 253855"/>
                <a:gd name="connsiteX712" fmla="*/ 44565 w 124107"/>
                <a:gd name="connsiteY712" fmla="*/ 136800 h 253855"/>
                <a:gd name="connsiteX713" fmla="*/ 44284 w 124107"/>
                <a:gd name="connsiteY713" fmla="*/ 137082 h 253855"/>
                <a:gd name="connsiteX714" fmla="*/ 44284 w 124107"/>
                <a:gd name="connsiteY714" fmla="*/ 137646 h 253855"/>
                <a:gd name="connsiteX715" fmla="*/ 44565 w 124107"/>
                <a:gd name="connsiteY715" fmla="*/ 137646 h 253855"/>
                <a:gd name="connsiteX716" fmla="*/ 45130 w 124107"/>
                <a:gd name="connsiteY716" fmla="*/ 137364 h 253855"/>
                <a:gd name="connsiteX717" fmla="*/ 45975 w 124107"/>
                <a:gd name="connsiteY717" fmla="*/ 136236 h 253855"/>
                <a:gd name="connsiteX718" fmla="*/ 46540 w 124107"/>
                <a:gd name="connsiteY718" fmla="*/ 135954 h 253855"/>
                <a:gd name="connsiteX719" fmla="*/ 46258 w 124107"/>
                <a:gd name="connsiteY719" fmla="*/ 135107 h 253855"/>
                <a:gd name="connsiteX720" fmla="*/ 45975 w 124107"/>
                <a:gd name="connsiteY720" fmla="*/ 134825 h 253855"/>
                <a:gd name="connsiteX721" fmla="*/ 46258 w 124107"/>
                <a:gd name="connsiteY721" fmla="*/ 134261 h 253855"/>
                <a:gd name="connsiteX722" fmla="*/ 47668 w 124107"/>
                <a:gd name="connsiteY722" fmla="*/ 133415 h 253855"/>
                <a:gd name="connsiteX723" fmla="*/ 47668 w 124107"/>
                <a:gd name="connsiteY723" fmla="*/ 132287 h 253855"/>
                <a:gd name="connsiteX724" fmla="*/ 47950 w 124107"/>
                <a:gd name="connsiteY724" fmla="*/ 131723 h 253855"/>
                <a:gd name="connsiteX725" fmla="*/ 48514 w 124107"/>
                <a:gd name="connsiteY725" fmla="*/ 132287 h 253855"/>
                <a:gd name="connsiteX726" fmla="*/ 49078 w 124107"/>
                <a:gd name="connsiteY726" fmla="*/ 132005 h 253855"/>
                <a:gd name="connsiteX727" fmla="*/ 50206 w 124107"/>
                <a:gd name="connsiteY727" fmla="*/ 129184 h 253855"/>
                <a:gd name="connsiteX728" fmla="*/ 50771 w 124107"/>
                <a:gd name="connsiteY728" fmla="*/ 128056 h 253855"/>
                <a:gd name="connsiteX729" fmla="*/ 52463 w 124107"/>
                <a:gd name="connsiteY729" fmla="*/ 127210 h 253855"/>
                <a:gd name="connsiteX730" fmla="*/ 53592 w 124107"/>
                <a:gd name="connsiteY730" fmla="*/ 126364 h 253855"/>
                <a:gd name="connsiteX731" fmla="*/ 53873 w 124107"/>
                <a:gd name="connsiteY731" fmla="*/ 125517 h 253855"/>
                <a:gd name="connsiteX732" fmla="*/ 55284 w 124107"/>
                <a:gd name="connsiteY732" fmla="*/ 124389 h 253855"/>
                <a:gd name="connsiteX733" fmla="*/ 56694 w 124107"/>
                <a:gd name="connsiteY733" fmla="*/ 122979 h 253855"/>
                <a:gd name="connsiteX734" fmla="*/ 57823 w 124107"/>
                <a:gd name="connsiteY734" fmla="*/ 121851 h 253855"/>
                <a:gd name="connsiteX735" fmla="*/ 59233 w 124107"/>
                <a:gd name="connsiteY735" fmla="*/ 120440 h 253855"/>
                <a:gd name="connsiteX736" fmla="*/ 60079 w 124107"/>
                <a:gd name="connsiteY736" fmla="*/ 119876 h 253855"/>
                <a:gd name="connsiteX737" fmla="*/ 61771 w 124107"/>
                <a:gd name="connsiteY737" fmla="*/ 119594 h 253855"/>
                <a:gd name="connsiteX738" fmla="*/ 62618 w 124107"/>
                <a:gd name="connsiteY738" fmla="*/ 117338 h 253855"/>
                <a:gd name="connsiteX739" fmla="*/ 64028 w 124107"/>
                <a:gd name="connsiteY739" fmla="*/ 116209 h 253855"/>
                <a:gd name="connsiteX740" fmla="*/ 65438 w 124107"/>
                <a:gd name="connsiteY740" fmla="*/ 115927 h 253855"/>
                <a:gd name="connsiteX741" fmla="*/ 66284 w 124107"/>
                <a:gd name="connsiteY741" fmla="*/ 115363 h 253855"/>
                <a:gd name="connsiteX742" fmla="*/ 67130 w 124107"/>
                <a:gd name="connsiteY742" fmla="*/ 114799 h 253855"/>
                <a:gd name="connsiteX743" fmla="*/ 66848 w 124107"/>
                <a:gd name="connsiteY743" fmla="*/ 113953 h 253855"/>
                <a:gd name="connsiteX744" fmla="*/ 67695 w 124107"/>
                <a:gd name="connsiteY744" fmla="*/ 112542 h 253855"/>
                <a:gd name="connsiteX745" fmla="*/ 70233 w 124107"/>
                <a:gd name="connsiteY745" fmla="*/ 111132 h 253855"/>
                <a:gd name="connsiteX746" fmla="*/ 72490 w 124107"/>
                <a:gd name="connsiteY746" fmla="*/ 109722 h 253855"/>
                <a:gd name="connsiteX747" fmla="*/ 73900 w 124107"/>
                <a:gd name="connsiteY747" fmla="*/ 108594 h 253855"/>
                <a:gd name="connsiteX748" fmla="*/ 74182 w 124107"/>
                <a:gd name="connsiteY748" fmla="*/ 108030 h 253855"/>
                <a:gd name="connsiteX749" fmla="*/ 75028 w 124107"/>
                <a:gd name="connsiteY749" fmla="*/ 106901 h 253855"/>
                <a:gd name="connsiteX750" fmla="*/ 75874 w 124107"/>
                <a:gd name="connsiteY750" fmla="*/ 106901 h 253855"/>
                <a:gd name="connsiteX751" fmla="*/ 76721 w 124107"/>
                <a:gd name="connsiteY751" fmla="*/ 106337 h 253855"/>
                <a:gd name="connsiteX752" fmla="*/ 77567 w 124107"/>
                <a:gd name="connsiteY752" fmla="*/ 106619 h 253855"/>
                <a:gd name="connsiteX753" fmla="*/ 78413 w 124107"/>
                <a:gd name="connsiteY753" fmla="*/ 105773 h 253855"/>
                <a:gd name="connsiteX754" fmla="*/ 79823 w 124107"/>
                <a:gd name="connsiteY754" fmla="*/ 104081 h 253855"/>
                <a:gd name="connsiteX755" fmla="*/ 80669 w 124107"/>
                <a:gd name="connsiteY755" fmla="*/ 102106 h 253855"/>
                <a:gd name="connsiteX756" fmla="*/ 83490 w 124107"/>
                <a:gd name="connsiteY756" fmla="*/ 100978 h 253855"/>
                <a:gd name="connsiteX757" fmla="*/ 85182 w 124107"/>
                <a:gd name="connsiteY757" fmla="*/ 100414 h 253855"/>
                <a:gd name="connsiteX758" fmla="*/ 84900 w 124107"/>
                <a:gd name="connsiteY758" fmla="*/ 101542 h 253855"/>
                <a:gd name="connsiteX759" fmla="*/ 85182 w 124107"/>
                <a:gd name="connsiteY759" fmla="*/ 101542 h 253855"/>
                <a:gd name="connsiteX760" fmla="*/ 86593 w 124107"/>
                <a:gd name="connsiteY760" fmla="*/ 99568 h 253855"/>
                <a:gd name="connsiteX761" fmla="*/ 86593 w 124107"/>
                <a:gd name="connsiteY761" fmla="*/ 99286 h 253855"/>
                <a:gd name="connsiteX762" fmla="*/ 87439 w 124107"/>
                <a:gd name="connsiteY762" fmla="*/ 97593 h 253855"/>
                <a:gd name="connsiteX763" fmla="*/ 89131 w 124107"/>
                <a:gd name="connsiteY763" fmla="*/ 97029 h 253855"/>
                <a:gd name="connsiteX764" fmla="*/ 90260 w 124107"/>
                <a:gd name="connsiteY764" fmla="*/ 95901 h 253855"/>
                <a:gd name="connsiteX765" fmla="*/ 91670 w 124107"/>
                <a:gd name="connsiteY765" fmla="*/ 94491 h 253855"/>
                <a:gd name="connsiteX766" fmla="*/ 92234 w 124107"/>
                <a:gd name="connsiteY766" fmla="*/ 94491 h 253855"/>
                <a:gd name="connsiteX767" fmla="*/ 92798 w 124107"/>
                <a:gd name="connsiteY767" fmla="*/ 94773 h 253855"/>
                <a:gd name="connsiteX768" fmla="*/ 93362 w 124107"/>
                <a:gd name="connsiteY768" fmla="*/ 93926 h 253855"/>
                <a:gd name="connsiteX769" fmla="*/ 93926 w 124107"/>
                <a:gd name="connsiteY769" fmla="*/ 92798 h 253855"/>
                <a:gd name="connsiteX770" fmla="*/ 95619 w 124107"/>
                <a:gd name="connsiteY770" fmla="*/ 92234 h 253855"/>
                <a:gd name="connsiteX771" fmla="*/ 96183 w 124107"/>
                <a:gd name="connsiteY771" fmla="*/ 92234 h 253855"/>
                <a:gd name="connsiteX772" fmla="*/ 96747 w 124107"/>
                <a:gd name="connsiteY772" fmla="*/ 91952 h 253855"/>
                <a:gd name="connsiteX773" fmla="*/ 96747 w 124107"/>
                <a:gd name="connsiteY773" fmla="*/ 91106 h 253855"/>
                <a:gd name="connsiteX774" fmla="*/ 100977 w 124107"/>
                <a:gd name="connsiteY774" fmla="*/ 89131 h 253855"/>
                <a:gd name="connsiteX775" fmla="*/ 102952 w 124107"/>
                <a:gd name="connsiteY775" fmla="*/ 88285 h 253855"/>
                <a:gd name="connsiteX776" fmla="*/ 103798 w 124107"/>
                <a:gd name="connsiteY776" fmla="*/ 86029 h 253855"/>
                <a:gd name="connsiteX777" fmla="*/ 103798 w 124107"/>
                <a:gd name="connsiteY777" fmla="*/ 83772 h 253855"/>
                <a:gd name="connsiteX778" fmla="*/ 104080 w 124107"/>
                <a:gd name="connsiteY778" fmla="*/ 81516 h 253855"/>
                <a:gd name="connsiteX779" fmla="*/ 103516 w 124107"/>
                <a:gd name="connsiteY779" fmla="*/ 75028 h 253855"/>
                <a:gd name="connsiteX780" fmla="*/ 103516 w 124107"/>
                <a:gd name="connsiteY780" fmla="*/ 72490 h 253855"/>
                <a:gd name="connsiteX781" fmla="*/ 103798 w 124107"/>
                <a:gd name="connsiteY781" fmla="*/ 71362 h 253855"/>
                <a:gd name="connsiteX782" fmla="*/ 103798 w 124107"/>
                <a:gd name="connsiteY782" fmla="*/ 66849 h 253855"/>
                <a:gd name="connsiteX783" fmla="*/ 103516 w 124107"/>
                <a:gd name="connsiteY783" fmla="*/ 61489 h 253855"/>
                <a:gd name="connsiteX784" fmla="*/ 103516 w 124107"/>
                <a:gd name="connsiteY784" fmla="*/ 59515 h 253855"/>
                <a:gd name="connsiteX785" fmla="*/ 103234 w 124107"/>
                <a:gd name="connsiteY785" fmla="*/ 57541 h 253855"/>
                <a:gd name="connsiteX786" fmla="*/ 103234 w 124107"/>
                <a:gd name="connsiteY786" fmla="*/ 56130 h 253855"/>
                <a:gd name="connsiteX787" fmla="*/ 103798 w 124107"/>
                <a:gd name="connsiteY787" fmla="*/ 53592 h 253855"/>
                <a:gd name="connsiteX788" fmla="*/ 103234 w 124107"/>
                <a:gd name="connsiteY788" fmla="*/ 47386 h 253855"/>
                <a:gd name="connsiteX789" fmla="*/ 103234 w 124107"/>
                <a:gd name="connsiteY789" fmla="*/ 41463 h 253855"/>
                <a:gd name="connsiteX790" fmla="*/ 102952 w 124107"/>
                <a:gd name="connsiteY790" fmla="*/ 40335 h 253855"/>
                <a:gd name="connsiteX791" fmla="*/ 102106 w 124107"/>
                <a:gd name="connsiteY791" fmla="*/ 39771 h 253855"/>
                <a:gd name="connsiteX792" fmla="*/ 99003 w 124107"/>
                <a:gd name="connsiteY792" fmla="*/ 39771 h 253855"/>
                <a:gd name="connsiteX793" fmla="*/ 98157 w 124107"/>
                <a:gd name="connsiteY793" fmla="*/ 41181 h 253855"/>
                <a:gd name="connsiteX794" fmla="*/ 96747 w 124107"/>
                <a:gd name="connsiteY794" fmla="*/ 42873 h 253855"/>
                <a:gd name="connsiteX795" fmla="*/ 96747 w 124107"/>
                <a:gd name="connsiteY795" fmla="*/ 43720 h 253855"/>
                <a:gd name="connsiteX796" fmla="*/ 95336 w 124107"/>
                <a:gd name="connsiteY796" fmla="*/ 46822 h 253855"/>
                <a:gd name="connsiteX797" fmla="*/ 94491 w 124107"/>
                <a:gd name="connsiteY797" fmla="*/ 47668 h 253855"/>
                <a:gd name="connsiteX798" fmla="*/ 94491 w 124107"/>
                <a:gd name="connsiteY798" fmla="*/ 48232 h 253855"/>
                <a:gd name="connsiteX799" fmla="*/ 92798 w 124107"/>
                <a:gd name="connsiteY799" fmla="*/ 49925 h 253855"/>
                <a:gd name="connsiteX800" fmla="*/ 92234 w 124107"/>
                <a:gd name="connsiteY800" fmla="*/ 49925 h 253855"/>
                <a:gd name="connsiteX801" fmla="*/ 91952 w 124107"/>
                <a:gd name="connsiteY801" fmla="*/ 50207 h 253855"/>
                <a:gd name="connsiteX802" fmla="*/ 90260 w 124107"/>
                <a:gd name="connsiteY802" fmla="*/ 53310 h 253855"/>
                <a:gd name="connsiteX803" fmla="*/ 88849 w 124107"/>
                <a:gd name="connsiteY803" fmla="*/ 55284 h 253855"/>
                <a:gd name="connsiteX804" fmla="*/ 87439 w 124107"/>
                <a:gd name="connsiteY804" fmla="*/ 56694 h 253855"/>
                <a:gd name="connsiteX805" fmla="*/ 86593 w 124107"/>
                <a:gd name="connsiteY805" fmla="*/ 59797 h 253855"/>
                <a:gd name="connsiteX806" fmla="*/ 85182 w 124107"/>
                <a:gd name="connsiteY806" fmla="*/ 61207 h 253855"/>
                <a:gd name="connsiteX807" fmla="*/ 84336 w 124107"/>
                <a:gd name="connsiteY807" fmla="*/ 61771 h 253855"/>
                <a:gd name="connsiteX808" fmla="*/ 83208 w 124107"/>
                <a:gd name="connsiteY808" fmla="*/ 63182 h 253855"/>
                <a:gd name="connsiteX809" fmla="*/ 82643 w 124107"/>
                <a:gd name="connsiteY809" fmla="*/ 64592 h 253855"/>
                <a:gd name="connsiteX810" fmla="*/ 82079 w 124107"/>
                <a:gd name="connsiteY810" fmla="*/ 66566 h 253855"/>
                <a:gd name="connsiteX811" fmla="*/ 81516 w 124107"/>
                <a:gd name="connsiteY811" fmla="*/ 66566 h 253855"/>
                <a:gd name="connsiteX812" fmla="*/ 79259 w 124107"/>
                <a:gd name="connsiteY812" fmla="*/ 69387 h 253855"/>
                <a:gd name="connsiteX813" fmla="*/ 78131 w 124107"/>
                <a:gd name="connsiteY813" fmla="*/ 70515 h 253855"/>
                <a:gd name="connsiteX814" fmla="*/ 76438 w 124107"/>
                <a:gd name="connsiteY814" fmla="*/ 72208 h 253855"/>
                <a:gd name="connsiteX815" fmla="*/ 75874 w 124107"/>
                <a:gd name="connsiteY815" fmla="*/ 72772 h 253855"/>
                <a:gd name="connsiteX816" fmla="*/ 75310 w 124107"/>
                <a:gd name="connsiteY816" fmla="*/ 73336 h 253855"/>
                <a:gd name="connsiteX817" fmla="*/ 73900 w 124107"/>
                <a:gd name="connsiteY817" fmla="*/ 77003 h 253855"/>
                <a:gd name="connsiteX818" fmla="*/ 72771 w 124107"/>
                <a:gd name="connsiteY818" fmla="*/ 79541 h 253855"/>
                <a:gd name="connsiteX819" fmla="*/ 71079 w 124107"/>
                <a:gd name="connsiteY819" fmla="*/ 80670 h 253855"/>
                <a:gd name="connsiteX820" fmla="*/ 69387 w 124107"/>
                <a:gd name="connsiteY820" fmla="*/ 82926 h 253855"/>
                <a:gd name="connsiteX821" fmla="*/ 67412 w 124107"/>
                <a:gd name="connsiteY821" fmla="*/ 84900 h 253855"/>
                <a:gd name="connsiteX822" fmla="*/ 66848 w 124107"/>
                <a:gd name="connsiteY822" fmla="*/ 85747 h 253855"/>
                <a:gd name="connsiteX823" fmla="*/ 66002 w 124107"/>
                <a:gd name="connsiteY823" fmla="*/ 87439 h 253855"/>
                <a:gd name="connsiteX824" fmla="*/ 65438 w 124107"/>
                <a:gd name="connsiteY824" fmla="*/ 87721 h 253855"/>
                <a:gd name="connsiteX825" fmla="*/ 61771 w 124107"/>
                <a:gd name="connsiteY825" fmla="*/ 91670 h 253855"/>
                <a:gd name="connsiteX826" fmla="*/ 61489 w 124107"/>
                <a:gd name="connsiteY826" fmla="*/ 92516 h 253855"/>
                <a:gd name="connsiteX827" fmla="*/ 61207 w 124107"/>
                <a:gd name="connsiteY827" fmla="*/ 93080 h 253855"/>
                <a:gd name="connsiteX828" fmla="*/ 59515 w 124107"/>
                <a:gd name="connsiteY828" fmla="*/ 93926 h 253855"/>
                <a:gd name="connsiteX829" fmla="*/ 56976 w 124107"/>
                <a:gd name="connsiteY829" fmla="*/ 97029 h 253855"/>
                <a:gd name="connsiteX830" fmla="*/ 55002 w 124107"/>
                <a:gd name="connsiteY830" fmla="*/ 98721 h 253855"/>
                <a:gd name="connsiteX831" fmla="*/ 54437 w 124107"/>
                <a:gd name="connsiteY831" fmla="*/ 99286 h 253855"/>
                <a:gd name="connsiteX832" fmla="*/ 53309 w 124107"/>
                <a:gd name="connsiteY832" fmla="*/ 99850 h 253855"/>
                <a:gd name="connsiteX833" fmla="*/ 53027 w 124107"/>
                <a:gd name="connsiteY833" fmla="*/ 100414 h 253855"/>
                <a:gd name="connsiteX834" fmla="*/ 52181 w 124107"/>
                <a:gd name="connsiteY834" fmla="*/ 101260 h 253855"/>
                <a:gd name="connsiteX835" fmla="*/ 50206 w 124107"/>
                <a:gd name="connsiteY835" fmla="*/ 102952 h 253855"/>
                <a:gd name="connsiteX836" fmla="*/ 48796 w 124107"/>
                <a:gd name="connsiteY836" fmla="*/ 103799 h 253855"/>
                <a:gd name="connsiteX837" fmla="*/ 47950 w 124107"/>
                <a:gd name="connsiteY837" fmla="*/ 105209 h 253855"/>
                <a:gd name="connsiteX838" fmla="*/ 46540 w 124107"/>
                <a:gd name="connsiteY838" fmla="*/ 106055 h 253855"/>
                <a:gd name="connsiteX839" fmla="*/ 44848 w 124107"/>
                <a:gd name="connsiteY839" fmla="*/ 106619 h 253855"/>
                <a:gd name="connsiteX840" fmla="*/ 42309 w 124107"/>
                <a:gd name="connsiteY840" fmla="*/ 107747 h 253855"/>
                <a:gd name="connsiteX841" fmla="*/ 40334 w 124107"/>
                <a:gd name="connsiteY841" fmla="*/ 108594 h 253855"/>
                <a:gd name="connsiteX842" fmla="*/ 38078 w 124107"/>
                <a:gd name="connsiteY842" fmla="*/ 109158 h 253855"/>
                <a:gd name="connsiteX843" fmla="*/ 37796 w 124107"/>
                <a:gd name="connsiteY843" fmla="*/ 109158 h 253855"/>
                <a:gd name="connsiteX844" fmla="*/ 36386 w 124107"/>
                <a:gd name="connsiteY844" fmla="*/ 109722 h 253855"/>
                <a:gd name="connsiteX845" fmla="*/ 34411 w 124107"/>
                <a:gd name="connsiteY845" fmla="*/ 109158 h 253855"/>
                <a:gd name="connsiteX846" fmla="*/ 33847 w 124107"/>
                <a:gd name="connsiteY846" fmla="*/ 109158 h 253855"/>
                <a:gd name="connsiteX847" fmla="*/ 31027 w 124107"/>
                <a:gd name="connsiteY847" fmla="*/ 107747 h 253855"/>
                <a:gd name="connsiteX848" fmla="*/ 29898 w 124107"/>
                <a:gd name="connsiteY848" fmla="*/ 107465 h 253855"/>
                <a:gd name="connsiteX849" fmla="*/ 27641 w 124107"/>
                <a:gd name="connsiteY849" fmla="*/ 105773 h 253855"/>
                <a:gd name="connsiteX850" fmla="*/ 23693 w 124107"/>
                <a:gd name="connsiteY850" fmla="*/ 102106 h 253855"/>
                <a:gd name="connsiteX851" fmla="*/ 22000 w 124107"/>
                <a:gd name="connsiteY851" fmla="*/ 99850 h 253855"/>
                <a:gd name="connsiteX852" fmla="*/ 21155 w 124107"/>
                <a:gd name="connsiteY852" fmla="*/ 97311 h 253855"/>
                <a:gd name="connsiteX853" fmla="*/ 21155 w 124107"/>
                <a:gd name="connsiteY853" fmla="*/ 96465 h 253855"/>
                <a:gd name="connsiteX854" fmla="*/ 20872 w 124107"/>
                <a:gd name="connsiteY854" fmla="*/ 93080 h 253855"/>
                <a:gd name="connsiteX855" fmla="*/ 20590 w 124107"/>
                <a:gd name="connsiteY855" fmla="*/ 90542 h 253855"/>
                <a:gd name="connsiteX856" fmla="*/ 20872 w 124107"/>
                <a:gd name="connsiteY856" fmla="*/ 89131 h 253855"/>
                <a:gd name="connsiteX857" fmla="*/ 20872 w 124107"/>
                <a:gd name="connsiteY857" fmla="*/ 86311 h 253855"/>
                <a:gd name="connsiteX858" fmla="*/ 21155 w 124107"/>
                <a:gd name="connsiteY858" fmla="*/ 82926 h 253855"/>
                <a:gd name="connsiteX859" fmla="*/ 21719 w 124107"/>
                <a:gd name="connsiteY859" fmla="*/ 79541 h 253855"/>
                <a:gd name="connsiteX860" fmla="*/ 22847 w 124107"/>
                <a:gd name="connsiteY860" fmla="*/ 75592 h 253855"/>
                <a:gd name="connsiteX861" fmla="*/ 25667 w 124107"/>
                <a:gd name="connsiteY861" fmla="*/ 67131 h 253855"/>
                <a:gd name="connsiteX862" fmla="*/ 26514 w 124107"/>
                <a:gd name="connsiteY862" fmla="*/ 63182 h 253855"/>
                <a:gd name="connsiteX863" fmla="*/ 28488 w 124107"/>
                <a:gd name="connsiteY863" fmla="*/ 56130 h 253855"/>
                <a:gd name="connsiteX864" fmla="*/ 28770 w 124107"/>
                <a:gd name="connsiteY864" fmla="*/ 55002 h 253855"/>
                <a:gd name="connsiteX865" fmla="*/ 29616 w 124107"/>
                <a:gd name="connsiteY865" fmla="*/ 52463 h 253855"/>
                <a:gd name="connsiteX866" fmla="*/ 31027 w 124107"/>
                <a:gd name="connsiteY866" fmla="*/ 49079 h 253855"/>
                <a:gd name="connsiteX867" fmla="*/ 31027 w 124107"/>
                <a:gd name="connsiteY867" fmla="*/ 48232 h 253855"/>
                <a:gd name="connsiteX868" fmla="*/ 31308 w 124107"/>
                <a:gd name="connsiteY868" fmla="*/ 47104 h 253855"/>
                <a:gd name="connsiteX869" fmla="*/ 34975 w 124107"/>
                <a:gd name="connsiteY869" fmla="*/ 38642 h 253855"/>
                <a:gd name="connsiteX870" fmla="*/ 36103 w 124107"/>
                <a:gd name="connsiteY870" fmla="*/ 35822 h 253855"/>
                <a:gd name="connsiteX871" fmla="*/ 38360 w 124107"/>
                <a:gd name="connsiteY871" fmla="*/ 30463 h 253855"/>
                <a:gd name="connsiteX872" fmla="*/ 39770 w 124107"/>
                <a:gd name="connsiteY872" fmla="*/ 27642 h 253855"/>
                <a:gd name="connsiteX873" fmla="*/ 40334 w 124107"/>
                <a:gd name="connsiteY873" fmla="*/ 25668 h 253855"/>
                <a:gd name="connsiteX874" fmla="*/ 41463 w 124107"/>
                <a:gd name="connsiteY874" fmla="*/ 22847 h 253855"/>
                <a:gd name="connsiteX875" fmla="*/ 42873 w 124107"/>
                <a:gd name="connsiteY875" fmla="*/ 20308 h 253855"/>
                <a:gd name="connsiteX876" fmla="*/ 44565 w 124107"/>
                <a:gd name="connsiteY876" fmla="*/ 14949 h 253855"/>
                <a:gd name="connsiteX877" fmla="*/ 46540 w 124107"/>
                <a:gd name="connsiteY877" fmla="*/ 11847 h 253855"/>
                <a:gd name="connsiteX878" fmla="*/ 46822 w 124107"/>
                <a:gd name="connsiteY878" fmla="*/ 11000 h 253855"/>
                <a:gd name="connsiteX879" fmla="*/ 46822 w 124107"/>
                <a:gd name="connsiteY879" fmla="*/ 10718 h 253855"/>
                <a:gd name="connsiteX880" fmla="*/ 50489 w 124107"/>
                <a:gd name="connsiteY880" fmla="*/ 5359 h 253855"/>
                <a:gd name="connsiteX881" fmla="*/ 52181 w 124107"/>
                <a:gd name="connsiteY881" fmla="*/ 2539 h 253855"/>
                <a:gd name="connsiteX882" fmla="*/ 52745 w 124107"/>
                <a:gd name="connsiteY882" fmla="*/ 846 h 253855"/>
                <a:gd name="connsiteX883" fmla="*/ 53592 w 124107"/>
                <a:gd name="connsiteY883" fmla="*/ 564 h 253855"/>
                <a:gd name="connsiteX884" fmla="*/ 54156 w 124107"/>
                <a:gd name="connsiteY884" fmla="*/ 564 h 253855"/>
                <a:gd name="connsiteX885" fmla="*/ 54720 w 124107"/>
                <a:gd name="connsiteY885" fmla="*/ 0 h 253855"/>
                <a:gd name="connsiteX886" fmla="*/ 55284 w 124107"/>
                <a:gd name="connsiteY886" fmla="*/ 282 h 253855"/>
                <a:gd name="connsiteX887" fmla="*/ 55284 w 124107"/>
                <a:gd name="connsiteY887" fmla="*/ 564 h 253855"/>
                <a:gd name="connsiteX888" fmla="*/ 55002 w 124107"/>
                <a:gd name="connsiteY888" fmla="*/ 846 h 253855"/>
                <a:gd name="connsiteX889" fmla="*/ 55566 w 124107"/>
                <a:gd name="connsiteY889" fmla="*/ 1692 h 253855"/>
                <a:gd name="connsiteX890" fmla="*/ 55848 w 124107"/>
                <a:gd name="connsiteY890" fmla="*/ 2256 h 253855"/>
                <a:gd name="connsiteX891" fmla="*/ 56976 w 124107"/>
                <a:gd name="connsiteY891" fmla="*/ 3103 h 253855"/>
                <a:gd name="connsiteX892" fmla="*/ 57823 w 124107"/>
                <a:gd name="connsiteY892" fmla="*/ 2821 h 253855"/>
                <a:gd name="connsiteX893" fmla="*/ 58951 w 124107"/>
                <a:gd name="connsiteY893" fmla="*/ 3385 h 253855"/>
                <a:gd name="connsiteX894" fmla="*/ 59515 w 124107"/>
                <a:gd name="connsiteY894" fmla="*/ 3385 h 253855"/>
                <a:gd name="connsiteX895" fmla="*/ 60361 w 124107"/>
                <a:gd name="connsiteY895" fmla="*/ 3103 h 253855"/>
                <a:gd name="connsiteX896" fmla="*/ 62899 w 124107"/>
                <a:gd name="connsiteY896" fmla="*/ 4231 h 253855"/>
                <a:gd name="connsiteX897" fmla="*/ 63745 w 124107"/>
                <a:gd name="connsiteY897" fmla="*/ 4231 h 253855"/>
                <a:gd name="connsiteX898" fmla="*/ 64309 w 124107"/>
                <a:gd name="connsiteY898" fmla="*/ 3385 h 253855"/>
                <a:gd name="connsiteX899" fmla="*/ 65720 w 124107"/>
                <a:gd name="connsiteY899" fmla="*/ 4513 h 253855"/>
                <a:gd name="connsiteX900" fmla="*/ 66002 w 124107"/>
                <a:gd name="connsiteY900" fmla="*/ 4795 h 253855"/>
                <a:gd name="connsiteX901" fmla="*/ 66566 w 124107"/>
                <a:gd name="connsiteY901" fmla="*/ 5077 h 253855"/>
                <a:gd name="connsiteX902" fmla="*/ 67976 w 124107"/>
                <a:gd name="connsiteY902" fmla="*/ 3949 h 253855"/>
                <a:gd name="connsiteX903" fmla="*/ 67976 w 124107"/>
                <a:gd name="connsiteY903" fmla="*/ 3667 h 253855"/>
                <a:gd name="connsiteX904" fmla="*/ 68259 w 124107"/>
                <a:gd name="connsiteY904" fmla="*/ 4231 h 253855"/>
                <a:gd name="connsiteX905" fmla="*/ 67130 w 124107"/>
                <a:gd name="connsiteY905" fmla="*/ 7052 h 253855"/>
                <a:gd name="connsiteX906" fmla="*/ 64592 w 124107"/>
                <a:gd name="connsiteY906" fmla="*/ 11847 h 253855"/>
                <a:gd name="connsiteX907" fmla="*/ 63464 w 124107"/>
                <a:gd name="connsiteY907" fmla="*/ 14385 h 253855"/>
                <a:gd name="connsiteX908" fmla="*/ 61489 w 124107"/>
                <a:gd name="connsiteY908" fmla="*/ 18334 h 253855"/>
                <a:gd name="connsiteX909" fmla="*/ 61489 w 124107"/>
                <a:gd name="connsiteY909" fmla="*/ 18616 h 253855"/>
                <a:gd name="connsiteX910" fmla="*/ 60925 w 124107"/>
                <a:gd name="connsiteY910" fmla="*/ 20026 h 253855"/>
                <a:gd name="connsiteX911" fmla="*/ 59797 w 124107"/>
                <a:gd name="connsiteY911" fmla="*/ 22001 h 253855"/>
                <a:gd name="connsiteX912" fmla="*/ 60079 w 124107"/>
                <a:gd name="connsiteY912" fmla="*/ 22565 h 253855"/>
                <a:gd name="connsiteX913" fmla="*/ 59233 w 124107"/>
                <a:gd name="connsiteY913" fmla="*/ 23693 h 253855"/>
                <a:gd name="connsiteX914" fmla="*/ 58951 w 124107"/>
                <a:gd name="connsiteY914" fmla="*/ 24539 h 253855"/>
                <a:gd name="connsiteX915" fmla="*/ 58668 w 124107"/>
                <a:gd name="connsiteY915" fmla="*/ 26232 h 253855"/>
                <a:gd name="connsiteX916" fmla="*/ 58104 w 124107"/>
                <a:gd name="connsiteY916" fmla="*/ 27078 h 253855"/>
                <a:gd name="connsiteX917" fmla="*/ 56694 w 124107"/>
                <a:gd name="connsiteY917" fmla="*/ 30745 h 253855"/>
                <a:gd name="connsiteX918" fmla="*/ 56130 w 124107"/>
                <a:gd name="connsiteY918" fmla="*/ 32437 h 253855"/>
                <a:gd name="connsiteX919" fmla="*/ 53592 w 124107"/>
                <a:gd name="connsiteY919" fmla="*/ 38360 h 253855"/>
                <a:gd name="connsiteX920" fmla="*/ 53027 w 124107"/>
                <a:gd name="connsiteY920" fmla="*/ 40053 h 253855"/>
                <a:gd name="connsiteX921" fmla="*/ 52181 w 124107"/>
                <a:gd name="connsiteY921" fmla="*/ 41745 h 253855"/>
                <a:gd name="connsiteX922" fmla="*/ 51617 w 124107"/>
                <a:gd name="connsiteY922" fmla="*/ 42591 h 253855"/>
                <a:gd name="connsiteX923" fmla="*/ 51053 w 124107"/>
                <a:gd name="connsiteY923" fmla="*/ 44284 h 253855"/>
                <a:gd name="connsiteX924" fmla="*/ 51053 w 124107"/>
                <a:gd name="connsiteY924" fmla="*/ 45694 h 253855"/>
                <a:gd name="connsiteX925" fmla="*/ 49925 w 124107"/>
                <a:gd name="connsiteY925" fmla="*/ 47950 h 253855"/>
                <a:gd name="connsiteX926" fmla="*/ 49361 w 124107"/>
                <a:gd name="connsiteY926" fmla="*/ 48232 h 253855"/>
                <a:gd name="connsiteX927" fmla="*/ 48796 w 124107"/>
                <a:gd name="connsiteY927" fmla="*/ 48232 h 253855"/>
                <a:gd name="connsiteX928" fmla="*/ 49078 w 124107"/>
                <a:gd name="connsiteY928" fmla="*/ 48797 h 253855"/>
                <a:gd name="connsiteX929" fmla="*/ 49361 w 124107"/>
                <a:gd name="connsiteY929" fmla="*/ 50207 h 253855"/>
                <a:gd name="connsiteX930" fmla="*/ 49078 w 124107"/>
                <a:gd name="connsiteY930" fmla="*/ 50771 h 253855"/>
                <a:gd name="connsiteX931" fmla="*/ 49078 w 124107"/>
                <a:gd name="connsiteY931" fmla="*/ 51899 h 253855"/>
                <a:gd name="connsiteX932" fmla="*/ 48514 w 124107"/>
                <a:gd name="connsiteY932" fmla="*/ 52745 h 253855"/>
                <a:gd name="connsiteX933" fmla="*/ 46540 w 124107"/>
                <a:gd name="connsiteY933" fmla="*/ 55002 h 253855"/>
                <a:gd name="connsiteX934" fmla="*/ 46258 w 124107"/>
                <a:gd name="connsiteY934" fmla="*/ 55284 h 253855"/>
                <a:gd name="connsiteX935" fmla="*/ 46540 w 124107"/>
                <a:gd name="connsiteY935" fmla="*/ 55848 h 253855"/>
                <a:gd name="connsiteX936" fmla="*/ 46822 w 124107"/>
                <a:gd name="connsiteY936" fmla="*/ 56694 h 253855"/>
                <a:gd name="connsiteX937" fmla="*/ 46540 w 124107"/>
                <a:gd name="connsiteY937" fmla="*/ 56976 h 253855"/>
                <a:gd name="connsiteX938" fmla="*/ 44565 w 124107"/>
                <a:gd name="connsiteY938" fmla="*/ 62900 h 253855"/>
                <a:gd name="connsiteX939" fmla="*/ 42591 w 124107"/>
                <a:gd name="connsiteY939" fmla="*/ 70233 h 253855"/>
                <a:gd name="connsiteX940" fmla="*/ 41463 w 124107"/>
                <a:gd name="connsiteY940" fmla="*/ 73900 h 253855"/>
                <a:gd name="connsiteX941" fmla="*/ 41463 w 124107"/>
                <a:gd name="connsiteY941" fmla="*/ 75310 h 253855"/>
                <a:gd name="connsiteX942" fmla="*/ 41181 w 124107"/>
                <a:gd name="connsiteY942" fmla="*/ 76439 h 253855"/>
                <a:gd name="connsiteX943" fmla="*/ 40899 w 124107"/>
                <a:gd name="connsiteY943" fmla="*/ 78977 h 253855"/>
                <a:gd name="connsiteX944" fmla="*/ 40617 w 124107"/>
                <a:gd name="connsiteY944" fmla="*/ 82362 h 253855"/>
                <a:gd name="connsiteX945" fmla="*/ 40053 w 124107"/>
                <a:gd name="connsiteY945" fmla="*/ 83772 h 253855"/>
                <a:gd name="connsiteX946" fmla="*/ 40053 w 124107"/>
                <a:gd name="connsiteY946" fmla="*/ 87157 h 253855"/>
                <a:gd name="connsiteX947" fmla="*/ 40617 w 124107"/>
                <a:gd name="connsiteY947" fmla="*/ 88849 h 253855"/>
                <a:gd name="connsiteX948" fmla="*/ 41181 w 124107"/>
                <a:gd name="connsiteY948" fmla="*/ 89978 h 253855"/>
                <a:gd name="connsiteX949" fmla="*/ 42027 w 124107"/>
                <a:gd name="connsiteY949" fmla="*/ 89978 h 253855"/>
                <a:gd name="connsiteX950" fmla="*/ 43437 w 124107"/>
                <a:gd name="connsiteY950" fmla="*/ 88003 h 253855"/>
                <a:gd name="connsiteX951" fmla="*/ 48232 w 124107"/>
                <a:gd name="connsiteY951" fmla="*/ 84054 h 253855"/>
                <a:gd name="connsiteX952" fmla="*/ 48514 w 124107"/>
                <a:gd name="connsiteY952" fmla="*/ 84054 h 253855"/>
                <a:gd name="connsiteX953" fmla="*/ 50771 w 124107"/>
                <a:gd name="connsiteY953" fmla="*/ 81234 h 253855"/>
                <a:gd name="connsiteX954" fmla="*/ 51335 w 124107"/>
                <a:gd name="connsiteY954" fmla="*/ 80105 h 253855"/>
                <a:gd name="connsiteX955" fmla="*/ 53027 w 124107"/>
                <a:gd name="connsiteY955" fmla="*/ 78413 h 253855"/>
                <a:gd name="connsiteX956" fmla="*/ 53592 w 124107"/>
                <a:gd name="connsiteY956" fmla="*/ 77849 h 253855"/>
                <a:gd name="connsiteX957" fmla="*/ 56694 w 124107"/>
                <a:gd name="connsiteY957" fmla="*/ 73336 h 253855"/>
                <a:gd name="connsiteX958" fmla="*/ 58668 w 124107"/>
                <a:gd name="connsiteY958" fmla="*/ 70797 h 253855"/>
                <a:gd name="connsiteX959" fmla="*/ 59797 w 124107"/>
                <a:gd name="connsiteY959" fmla="*/ 70233 h 253855"/>
                <a:gd name="connsiteX960" fmla="*/ 60361 w 124107"/>
                <a:gd name="connsiteY960" fmla="*/ 69387 h 253855"/>
                <a:gd name="connsiteX961" fmla="*/ 60643 w 124107"/>
                <a:gd name="connsiteY961" fmla="*/ 69387 h 253855"/>
                <a:gd name="connsiteX962" fmla="*/ 61771 w 124107"/>
                <a:gd name="connsiteY962" fmla="*/ 67977 h 253855"/>
                <a:gd name="connsiteX963" fmla="*/ 62335 w 124107"/>
                <a:gd name="connsiteY963" fmla="*/ 66566 h 253855"/>
                <a:gd name="connsiteX964" fmla="*/ 65156 w 124107"/>
                <a:gd name="connsiteY964" fmla="*/ 62900 h 253855"/>
                <a:gd name="connsiteX965" fmla="*/ 66848 w 124107"/>
                <a:gd name="connsiteY965" fmla="*/ 60079 h 253855"/>
                <a:gd name="connsiteX966" fmla="*/ 69105 w 124107"/>
                <a:gd name="connsiteY966" fmla="*/ 56976 h 253855"/>
                <a:gd name="connsiteX967" fmla="*/ 71079 w 124107"/>
                <a:gd name="connsiteY967" fmla="*/ 53874 h 253855"/>
                <a:gd name="connsiteX968" fmla="*/ 75028 w 124107"/>
                <a:gd name="connsiteY968" fmla="*/ 48797 h 253855"/>
                <a:gd name="connsiteX969" fmla="*/ 78413 w 124107"/>
                <a:gd name="connsiteY969" fmla="*/ 44284 h 253855"/>
                <a:gd name="connsiteX970" fmla="*/ 78695 w 124107"/>
                <a:gd name="connsiteY970" fmla="*/ 43720 h 253855"/>
                <a:gd name="connsiteX971" fmla="*/ 80669 w 124107"/>
                <a:gd name="connsiteY971" fmla="*/ 41463 h 253855"/>
                <a:gd name="connsiteX972" fmla="*/ 81233 w 124107"/>
                <a:gd name="connsiteY972" fmla="*/ 39489 h 253855"/>
                <a:gd name="connsiteX973" fmla="*/ 83208 w 124107"/>
                <a:gd name="connsiteY973" fmla="*/ 37514 h 253855"/>
                <a:gd name="connsiteX974" fmla="*/ 84336 w 124107"/>
                <a:gd name="connsiteY974" fmla="*/ 36950 h 253855"/>
                <a:gd name="connsiteX975" fmla="*/ 88003 w 124107"/>
                <a:gd name="connsiteY975" fmla="*/ 31591 h 253855"/>
                <a:gd name="connsiteX976" fmla="*/ 90260 w 124107"/>
                <a:gd name="connsiteY976" fmla="*/ 28770 h 253855"/>
                <a:gd name="connsiteX977" fmla="*/ 92798 w 124107"/>
                <a:gd name="connsiteY977" fmla="*/ 25668 h 253855"/>
                <a:gd name="connsiteX978" fmla="*/ 93926 w 124107"/>
                <a:gd name="connsiteY978" fmla="*/ 23975 h 253855"/>
                <a:gd name="connsiteX979" fmla="*/ 99286 w 124107"/>
                <a:gd name="connsiteY979" fmla="*/ 18334 h 253855"/>
                <a:gd name="connsiteX980" fmla="*/ 100696 w 124107"/>
                <a:gd name="connsiteY980" fmla="*/ 15795 h 253855"/>
                <a:gd name="connsiteX981" fmla="*/ 101542 w 124107"/>
                <a:gd name="connsiteY981" fmla="*/ 13821 h 253855"/>
                <a:gd name="connsiteX982" fmla="*/ 104363 w 124107"/>
                <a:gd name="connsiteY982" fmla="*/ 11565 h 253855"/>
                <a:gd name="connsiteX983" fmla="*/ 104927 w 124107"/>
                <a:gd name="connsiteY983" fmla="*/ 11282 h 253855"/>
                <a:gd name="connsiteX984" fmla="*/ 105208 w 124107"/>
                <a:gd name="connsiteY984" fmla="*/ 10436 h 253855"/>
                <a:gd name="connsiteX985" fmla="*/ 106055 w 124107"/>
                <a:gd name="connsiteY985" fmla="*/ 11282 h 253855"/>
                <a:gd name="connsiteX986" fmla="*/ 106055 w 124107"/>
                <a:gd name="connsiteY986" fmla="*/ 11565 h 253855"/>
                <a:gd name="connsiteX987" fmla="*/ 106337 w 124107"/>
                <a:gd name="connsiteY987" fmla="*/ 11847 h 253855"/>
                <a:gd name="connsiteX988" fmla="*/ 106619 w 124107"/>
                <a:gd name="connsiteY988" fmla="*/ 11282 h 253855"/>
                <a:gd name="connsiteX989" fmla="*/ 106901 w 124107"/>
                <a:gd name="connsiteY989" fmla="*/ 10718 h 253855"/>
                <a:gd name="connsiteX990" fmla="*/ 106901 w 124107"/>
                <a:gd name="connsiteY990" fmla="*/ 10436 h 253855"/>
                <a:gd name="connsiteX991" fmla="*/ 108594 w 124107"/>
                <a:gd name="connsiteY991" fmla="*/ 11565 h 253855"/>
                <a:gd name="connsiteX992" fmla="*/ 108875 w 124107"/>
                <a:gd name="connsiteY992" fmla="*/ 13257 h 253855"/>
                <a:gd name="connsiteX993" fmla="*/ 109439 w 124107"/>
                <a:gd name="connsiteY993" fmla="*/ 13539 h 253855"/>
                <a:gd name="connsiteX994" fmla="*/ 109722 w 124107"/>
                <a:gd name="connsiteY994" fmla="*/ 13539 h 253855"/>
                <a:gd name="connsiteX995" fmla="*/ 110004 w 124107"/>
                <a:gd name="connsiteY995" fmla="*/ 13821 h 253855"/>
                <a:gd name="connsiteX996" fmla="*/ 110286 w 124107"/>
                <a:gd name="connsiteY996" fmla="*/ 14103 h 253855"/>
                <a:gd name="connsiteX997" fmla="*/ 111414 w 124107"/>
                <a:gd name="connsiteY997" fmla="*/ 14103 h 253855"/>
                <a:gd name="connsiteX998" fmla="*/ 112825 w 124107"/>
                <a:gd name="connsiteY998" fmla="*/ 14667 h 253855"/>
                <a:gd name="connsiteX999" fmla="*/ 113106 w 124107"/>
                <a:gd name="connsiteY999" fmla="*/ 14667 h 253855"/>
                <a:gd name="connsiteX1000" fmla="*/ 113106 w 124107"/>
                <a:gd name="connsiteY1000" fmla="*/ 14103 h 253855"/>
                <a:gd name="connsiteX1001" fmla="*/ 113670 w 124107"/>
                <a:gd name="connsiteY1001" fmla="*/ 13821 h 253855"/>
                <a:gd name="connsiteX1002" fmla="*/ 114799 w 124107"/>
                <a:gd name="connsiteY1002" fmla="*/ 13539 h 253855"/>
                <a:gd name="connsiteX1003" fmla="*/ 115645 w 124107"/>
                <a:gd name="connsiteY1003" fmla="*/ 14667 h 253855"/>
                <a:gd name="connsiteX1004" fmla="*/ 115645 w 124107"/>
                <a:gd name="connsiteY1004" fmla="*/ 15231 h 253855"/>
                <a:gd name="connsiteX1005" fmla="*/ 115927 w 124107"/>
                <a:gd name="connsiteY1005" fmla="*/ 15513 h 253855"/>
                <a:gd name="connsiteX1006" fmla="*/ 116491 w 124107"/>
                <a:gd name="connsiteY1006" fmla="*/ 15231 h 253855"/>
                <a:gd name="connsiteX1007" fmla="*/ 117337 w 124107"/>
                <a:gd name="connsiteY1007" fmla="*/ 15231 h 253855"/>
                <a:gd name="connsiteX1008" fmla="*/ 117620 w 124107"/>
                <a:gd name="connsiteY1008" fmla="*/ 15513 h 253855"/>
                <a:gd name="connsiteX1009" fmla="*/ 118183 w 124107"/>
                <a:gd name="connsiteY1009" fmla="*/ 14949 h 253855"/>
                <a:gd name="connsiteX1010" fmla="*/ 118183 w 124107"/>
                <a:gd name="connsiteY1010" fmla="*/ 14385 h 253855"/>
                <a:gd name="connsiteX1011" fmla="*/ 118466 w 124107"/>
                <a:gd name="connsiteY1011" fmla="*/ 14103 h 253855"/>
                <a:gd name="connsiteX1012" fmla="*/ 118747 w 124107"/>
                <a:gd name="connsiteY1012" fmla="*/ 14385 h 253855"/>
                <a:gd name="connsiteX1013" fmla="*/ 120722 w 124107"/>
                <a:gd name="connsiteY1013" fmla="*/ 16642 h 253855"/>
                <a:gd name="connsiteX1014" fmla="*/ 121004 w 124107"/>
                <a:gd name="connsiteY1014" fmla="*/ 16924 h 253855"/>
                <a:gd name="connsiteX1015" fmla="*/ 121286 w 124107"/>
                <a:gd name="connsiteY1015" fmla="*/ 19462 h 253855"/>
                <a:gd name="connsiteX1016" fmla="*/ 121004 w 124107"/>
                <a:gd name="connsiteY1016" fmla="*/ 21155 h 253855"/>
                <a:gd name="connsiteX1017" fmla="*/ 120722 w 124107"/>
                <a:gd name="connsiteY1017" fmla="*/ 23693 h 253855"/>
                <a:gd name="connsiteX1018" fmla="*/ 120722 w 124107"/>
                <a:gd name="connsiteY1018" fmla="*/ 26796 h 253855"/>
                <a:gd name="connsiteX1019" fmla="*/ 120158 w 124107"/>
                <a:gd name="connsiteY1019" fmla="*/ 27642 h 253855"/>
                <a:gd name="connsiteX1020" fmla="*/ 119594 w 124107"/>
                <a:gd name="connsiteY1020" fmla="*/ 27642 h 253855"/>
                <a:gd name="connsiteX1021" fmla="*/ 119311 w 124107"/>
                <a:gd name="connsiteY1021" fmla="*/ 27924 h 253855"/>
                <a:gd name="connsiteX1022" fmla="*/ 119594 w 124107"/>
                <a:gd name="connsiteY1022" fmla="*/ 31027 h 253855"/>
                <a:gd name="connsiteX1023" fmla="*/ 119594 w 124107"/>
                <a:gd name="connsiteY1023" fmla="*/ 32155 h 253855"/>
                <a:gd name="connsiteX1024" fmla="*/ 119876 w 124107"/>
                <a:gd name="connsiteY1024" fmla="*/ 33001 h 253855"/>
                <a:gd name="connsiteX1025" fmla="*/ 120440 w 124107"/>
                <a:gd name="connsiteY1025" fmla="*/ 32437 h 253855"/>
                <a:gd name="connsiteX1026" fmla="*/ 120722 w 124107"/>
                <a:gd name="connsiteY1026" fmla="*/ 32155 h 253855"/>
                <a:gd name="connsiteX1027" fmla="*/ 121286 w 124107"/>
                <a:gd name="connsiteY1027" fmla="*/ 33283 h 253855"/>
                <a:gd name="connsiteX1028" fmla="*/ 120722 w 124107"/>
                <a:gd name="connsiteY1028" fmla="*/ 35258 h 253855"/>
                <a:gd name="connsiteX1029" fmla="*/ 120722 w 124107"/>
                <a:gd name="connsiteY1029" fmla="*/ 37514 h 253855"/>
                <a:gd name="connsiteX1030" fmla="*/ 120440 w 124107"/>
                <a:gd name="connsiteY1030" fmla="*/ 39489 h 253855"/>
                <a:gd name="connsiteX1031" fmla="*/ 120440 w 124107"/>
                <a:gd name="connsiteY1031" fmla="*/ 40053 h 253855"/>
                <a:gd name="connsiteX1032" fmla="*/ 121004 w 124107"/>
                <a:gd name="connsiteY1032" fmla="*/ 42309 h 253855"/>
                <a:gd name="connsiteX1033" fmla="*/ 120722 w 124107"/>
                <a:gd name="connsiteY1033" fmla="*/ 43155 h 253855"/>
                <a:gd name="connsiteX1034" fmla="*/ 121004 w 124107"/>
                <a:gd name="connsiteY1034" fmla="*/ 44848 h 253855"/>
                <a:gd name="connsiteX1035" fmla="*/ 121004 w 124107"/>
                <a:gd name="connsiteY1035" fmla="*/ 46540 h 253855"/>
                <a:gd name="connsiteX1036" fmla="*/ 121568 w 124107"/>
                <a:gd name="connsiteY1036" fmla="*/ 48797 h 253855"/>
                <a:gd name="connsiteX1037" fmla="*/ 121568 w 124107"/>
                <a:gd name="connsiteY1037" fmla="*/ 53592 h 253855"/>
                <a:gd name="connsiteX1038" fmla="*/ 121286 w 124107"/>
                <a:gd name="connsiteY1038" fmla="*/ 55002 h 253855"/>
                <a:gd name="connsiteX1039" fmla="*/ 121568 w 124107"/>
                <a:gd name="connsiteY1039" fmla="*/ 56412 h 253855"/>
                <a:gd name="connsiteX1040" fmla="*/ 121850 w 124107"/>
                <a:gd name="connsiteY1040" fmla="*/ 56694 h 253855"/>
                <a:gd name="connsiteX1041" fmla="*/ 121568 w 124107"/>
                <a:gd name="connsiteY1041" fmla="*/ 56976 h 253855"/>
                <a:gd name="connsiteX1042" fmla="*/ 121850 w 124107"/>
                <a:gd name="connsiteY1042" fmla="*/ 59233 h 253855"/>
                <a:gd name="connsiteX1043" fmla="*/ 122132 w 124107"/>
                <a:gd name="connsiteY1043" fmla="*/ 60361 h 253855"/>
                <a:gd name="connsiteX1044" fmla="*/ 121850 w 124107"/>
                <a:gd name="connsiteY1044" fmla="*/ 62054 h 253855"/>
                <a:gd name="connsiteX1045" fmla="*/ 122132 w 124107"/>
                <a:gd name="connsiteY1045" fmla="*/ 63464 h 253855"/>
                <a:gd name="connsiteX1046" fmla="*/ 121850 w 124107"/>
                <a:gd name="connsiteY1046" fmla="*/ 64592 h 253855"/>
                <a:gd name="connsiteX1047" fmla="*/ 121850 w 124107"/>
                <a:gd name="connsiteY1047" fmla="*/ 66002 h 253855"/>
                <a:gd name="connsiteX1048" fmla="*/ 122414 w 124107"/>
                <a:gd name="connsiteY1048" fmla="*/ 68823 h 253855"/>
                <a:gd name="connsiteX1049" fmla="*/ 122978 w 124107"/>
                <a:gd name="connsiteY1049" fmla="*/ 69951 h 253855"/>
                <a:gd name="connsiteX1050" fmla="*/ 122697 w 124107"/>
                <a:gd name="connsiteY1050" fmla="*/ 71362 h 253855"/>
                <a:gd name="connsiteX1051" fmla="*/ 122414 w 124107"/>
                <a:gd name="connsiteY1051" fmla="*/ 73054 h 253855"/>
                <a:gd name="connsiteX1052" fmla="*/ 122132 w 124107"/>
                <a:gd name="connsiteY1052" fmla="*/ 74746 h 253855"/>
                <a:gd name="connsiteX1053" fmla="*/ 123542 w 124107"/>
                <a:gd name="connsiteY1053" fmla="*/ 77003 h 253855"/>
                <a:gd name="connsiteX1054" fmla="*/ 124953 w 124107"/>
                <a:gd name="connsiteY1054" fmla="*/ 77003 h 253855"/>
                <a:gd name="connsiteX1055" fmla="*/ 125235 w 124107"/>
                <a:gd name="connsiteY1055" fmla="*/ 77849 h 253855"/>
                <a:gd name="connsiteX1056" fmla="*/ 124953 w 124107"/>
                <a:gd name="connsiteY1056" fmla="*/ 78413 h 253855"/>
                <a:gd name="connsiteX1057" fmla="*/ 124389 w 124107"/>
                <a:gd name="connsiteY1057" fmla="*/ 78131 h 253855"/>
                <a:gd name="connsiteX1058" fmla="*/ 124107 w 124107"/>
                <a:gd name="connsiteY1058" fmla="*/ 77849 h 253855"/>
                <a:gd name="connsiteX1059" fmla="*/ 124107 w 124107"/>
                <a:gd name="connsiteY1059" fmla="*/ 78131 h 253855"/>
                <a:gd name="connsiteX1060" fmla="*/ 123542 w 124107"/>
                <a:gd name="connsiteY1060" fmla="*/ 79823 h 253855"/>
                <a:gd name="connsiteX1061" fmla="*/ 123825 w 124107"/>
                <a:gd name="connsiteY1061" fmla="*/ 80952 h 253855"/>
                <a:gd name="connsiteX1062" fmla="*/ 124389 w 124107"/>
                <a:gd name="connsiteY1062" fmla="*/ 81516 h 253855"/>
                <a:gd name="connsiteX1063" fmla="*/ 125235 w 124107"/>
                <a:gd name="connsiteY1063" fmla="*/ 81234 h 253855"/>
                <a:gd name="connsiteX1064" fmla="*/ 126081 w 124107"/>
                <a:gd name="connsiteY1064" fmla="*/ 80952 h 253855"/>
                <a:gd name="connsiteX1065" fmla="*/ 126363 w 124107"/>
                <a:gd name="connsiteY1065" fmla="*/ 81234 h 253855"/>
                <a:gd name="connsiteX1066" fmla="*/ 125517 w 124107"/>
                <a:gd name="connsiteY1066" fmla="*/ 82080 h 253855"/>
                <a:gd name="connsiteX1067" fmla="*/ 123825 w 124107"/>
                <a:gd name="connsiteY1067" fmla="*/ 83772 h 253855"/>
                <a:gd name="connsiteX1068" fmla="*/ 123542 w 124107"/>
                <a:gd name="connsiteY1068" fmla="*/ 84336 h 253855"/>
                <a:gd name="connsiteX1069" fmla="*/ 122978 w 124107"/>
                <a:gd name="connsiteY1069" fmla="*/ 86029 h 253855"/>
                <a:gd name="connsiteX1070" fmla="*/ 122978 w 124107"/>
                <a:gd name="connsiteY1070" fmla="*/ 86311 h 253855"/>
                <a:gd name="connsiteX1071" fmla="*/ 123261 w 124107"/>
                <a:gd name="connsiteY1071" fmla="*/ 88567 h 253855"/>
                <a:gd name="connsiteX1072" fmla="*/ 122697 w 124107"/>
                <a:gd name="connsiteY1072" fmla="*/ 89413 h 253855"/>
                <a:gd name="connsiteX1073" fmla="*/ 121568 w 124107"/>
                <a:gd name="connsiteY1073" fmla="*/ 92798 h 253855"/>
                <a:gd name="connsiteX1074" fmla="*/ 121004 w 124107"/>
                <a:gd name="connsiteY1074" fmla="*/ 92798 h 253855"/>
                <a:gd name="connsiteX1075" fmla="*/ 121004 w 124107"/>
                <a:gd name="connsiteY1075" fmla="*/ 92516 h 253855"/>
                <a:gd name="connsiteX1076" fmla="*/ 119030 w 124107"/>
                <a:gd name="connsiteY1076" fmla="*/ 94491 h 253855"/>
                <a:gd name="connsiteX1077" fmla="*/ 119594 w 124107"/>
                <a:gd name="connsiteY1077" fmla="*/ 94209 h 253855"/>
                <a:gd name="connsiteX1078" fmla="*/ 119594 w 124107"/>
                <a:gd name="connsiteY1078" fmla="*/ 95619 h 253855"/>
                <a:gd name="connsiteX1079" fmla="*/ 119311 w 124107"/>
                <a:gd name="connsiteY1079" fmla="*/ 95337 h 253855"/>
                <a:gd name="connsiteX1080" fmla="*/ 119030 w 124107"/>
                <a:gd name="connsiteY1080" fmla="*/ 94491 h 253855"/>
                <a:gd name="connsiteX1081" fmla="*/ 118183 w 124107"/>
                <a:gd name="connsiteY1081" fmla="*/ 93080 h 253855"/>
                <a:gd name="connsiteX1082" fmla="*/ 118747 w 124107"/>
                <a:gd name="connsiteY1082" fmla="*/ 93080 h 253855"/>
                <a:gd name="connsiteX1083" fmla="*/ 118747 w 124107"/>
                <a:gd name="connsiteY1083" fmla="*/ 92798 h 253855"/>
                <a:gd name="connsiteX1084" fmla="*/ 3385 w 124107"/>
                <a:gd name="connsiteY1084" fmla="*/ 221136 h 253855"/>
                <a:gd name="connsiteX1085" fmla="*/ 3385 w 124107"/>
                <a:gd name="connsiteY1085" fmla="*/ 220854 h 253855"/>
                <a:gd name="connsiteX1086" fmla="*/ 3102 w 124107"/>
                <a:gd name="connsiteY1086" fmla="*/ 221136 h 253855"/>
                <a:gd name="connsiteX1087" fmla="*/ 3102 w 124107"/>
                <a:gd name="connsiteY1087" fmla="*/ 221700 h 253855"/>
                <a:gd name="connsiteX1088" fmla="*/ 2821 w 124107"/>
                <a:gd name="connsiteY1088" fmla="*/ 223111 h 253855"/>
                <a:gd name="connsiteX1089" fmla="*/ 3102 w 124107"/>
                <a:gd name="connsiteY1089" fmla="*/ 223393 h 253855"/>
                <a:gd name="connsiteX1090" fmla="*/ 3666 w 124107"/>
                <a:gd name="connsiteY1090" fmla="*/ 223111 h 253855"/>
                <a:gd name="connsiteX1091" fmla="*/ 3666 w 124107"/>
                <a:gd name="connsiteY1091" fmla="*/ 222264 h 253855"/>
                <a:gd name="connsiteX1092" fmla="*/ 3385 w 124107"/>
                <a:gd name="connsiteY1092" fmla="*/ 221136 h 253855"/>
                <a:gd name="connsiteX1093" fmla="*/ 3385 w 124107"/>
                <a:gd name="connsiteY1093" fmla="*/ 226495 h 253855"/>
                <a:gd name="connsiteX1094" fmla="*/ 3102 w 124107"/>
                <a:gd name="connsiteY1094" fmla="*/ 226213 h 253855"/>
                <a:gd name="connsiteX1095" fmla="*/ 2821 w 124107"/>
                <a:gd name="connsiteY1095" fmla="*/ 226495 h 253855"/>
                <a:gd name="connsiteX1096" fmla="*/ 2821 w 124107"/>
                <a:gd name="connsiteY1096" fmla="*/ 227059 h 253855"/>
                <a:gd name="connsiteX1097" fmla="*/ 3102 w 124107"/>
                <a:gd name="connsiteY1097" fmla="*/ 227341 h 253855"/>
                <a:gd name="connsiteX1098" fmla="*/ 3385 w 124107"/>
                <a:gd name="connsiteY1098" fmla="*/ 227059 h 253855"/>
                <a:gd name="connsiteX1099" fmla="*/ 3385 w 124107"/>
                <a:gd name="connsiteY1099" fmla="*/ 226495 h 253855"/>
                <a:gd name="connsiteX1100" fmla="*/ 4231 w 124107"/>
                <a:gd name="connsiteY1100" fmla="*/ 214931 h 253855"/>
                <a:gd name="connsiteX1101" fmla="*/ 4513 w 124107"/>
                <a:gd name="connsiteY1101" fmla="*/ 214367 h 253855"/>
                <a:gd name="connsiteX1102" fmla="*/ 4795 w 124107"/>
                <a:gd name="connsiteY1102" fmla="*/ 212674 h 253855"/>
                <a:gd name="connsiteX1103" fmla="*/ 5077 w 124107"/>
                <a:gd name="connsiteY1103" fmla="*/ 210700 h 253855"/>
                <a:gd name="connsiteX1104" fmla="*/ 4513 w 124107"/>
                <a:gd name="connsiteY1104" fmla="*/ 210700 h 253855"/>
                <a:gd name="connsiteX1105" fmla="*/ 3949 w 124107"/>
                <a:gd name="connsiteY1105" fmla="*/ 212392 h 253855"/>
                <a:gd name="connsiteX1106" fmla="*/ 3666 w 124107"/>
                <a:gd name="connsiteY1106" fmla="*/ 213803 h 253855"/>
                <a:gd name="connsiteX1107" fmla="*/ 3949 w 124107"/>
                <a:gd name="connsiteY1107" fmla="*/ 214649 h 253855"/>
                <a:gd name="connsiteX1108" fmla="*/ 4231 w 124107"/>
                <a:gd name="connsiteY1108" fmla="*/ 214931 h 253855"/>
                <a:gd name="connsiteX1109" fmla="*/ 5077 w 124107"/>
                <a:gd name="connsiteY1109" fmla="*/ 209290 h 253855"/>
                <a:gd name="connsiteX1110" fmla="*/ 4795 w 124107"/>
                <a:gd name="connsiteY1110" fmla="*/ 209572 h 253855"/>
                <a:gd name="connsiteX1111" fmla="*/ 5077 w 124107"/>
                <a:gd name="connsiteY1111" fmla="*/ 209290 h 253855"/>
                <a:gd name="connsiteX1112" fmla="*/ 6487 w 124107"/>
                <a:gd name="connsiteY1112" fmla="*/ 232983 h 253855"/>
                <a:gd name="connsiteX1113" fmla="*/ 5359 w 124107"/>
                <a:gd name="connsiteY1113" fmla="*/ 232137 h 253855"/>
                <a:gd name="connsiteX1114" fmla="*/ 5641 w 124107"/>
                <a:gd name="connsiteY1114" fmla="*/ 233265 h 253855"/>
                <a:gd name="connsiteX1115" fmla="*/ 6205 w 124107"/>
                <a:gd name="connsiteY1115" fmla="*/ 233265 h 253855"/>
                <a:gd name="connsiteX1116" fmla="*/ 6487 w 124107"/>
                <a:gd name="connsiteY1116" fmla="*/ 232983 h 253855"/>
                <a:gd name="connsiteX1117" fmla="*/ 6487 w 124107"/>
                <a:gd name="connsiteY1117" fmla="*/ 215495 h 253855"/>
                <a:gd name="connsiteX1118" fmla="*/ 6487 w 124107"/>
                <a:gd name="connsiteY1118" fmla="*/ 216341 h 253855"/>
                <a:gd name="connsiteX1119" fmla="*/ 6205 w 124107"/>
                <a:gd name="connsiteY1119" fmla="*/ 216623 h 253855"/>
                <a:gd name="connsiteX1120" fmla="*/ 5641 w 124107"/>
                <a:gd name="connsiteY1120" fmla="*/ 216341 h 253855"/>
                <a:gd name="connsiteX1121" fmla="*/ 6205 w 124107"/>
                <a:gd name="connsiteY1121" fmla="*/ 215495 h 253855"/>
                <a:gd name="connsiteX1122" fmla="*/ 6487 w 124107"/>
                <a:gd name="connsiteY1122" fmla="*/ 215495 h 253855"/>
                <a:gd name="connsiteX1123" fmla="*/ 8743 w 124107"/>
                <a:gd name="connsiteY1123" fmla="*/ 192366 h 253855"/>
                <a:gd name="connsiteX1124" fmla="*/ 8743 w 124107"/>
                <a:gd name="connsiteY1124" fmla="*/ 192648 h 253855"/>
                <a:gd name="connsiteX1125" fmla="*/ 9026 w 124107"/>
                <a:gd name="connsiteY1125" fmla="*/ 192648 h 253855"/>
                <a:gd name="connsiteX1126" fmla="*/ 8462 w 124107"/>
                <a:gd name="connsiteY1126" fmla="*/ 193494 h 253855"/>
                <a:gd name="connsiteX1127" fmla="*/ 8180 w 124107"/>
                <a:gd name="connsiteY1127" fmla="*/ 193494 h 253855"/>
                <a:gd name="connsiteX1128" fmla="*/ 8743 w 124107"/>
                <a:gd name="connsiteY1128" fmla="*/ 192366 h 253855"/>
                <a:gd name="connsiteX1129" fmla="*/ 8743 w 124107"/>
                <a:gd name="connsiteY1129" fmla="*/ 230444 h 253855"/>
                <a:gd name="connsiteX1130" fmla="*/ 9307 w 124107"/>
                <a:gd name="connsiteY1130" fmla="*/ 231854 h 253855"/>
                <a:gd name="connsiteX1131" fmla="*/ 9590 w 124107"/>
                <a:gd name="connsiteY1131" fmla="*/ 232137 h 253855"/>
                <a:gd name="connsiteX1132" fmla="*/ 9026 w 124107"/>
                <a:gd name="connsiteY1132" fmla="*/ 233265 h 253855"/>
                <a:gd name="connsiteX1133" fmla="*/ 8743 w 124107"/>
                <a:gd name="connsiteY1133" fmla="*/ 233265 h 253855"/>
                <a:gd name="connsiteX1134" fmla="*/ 8462 w 124107"/>
                <a:gd name="connsiteY1134" fmla="*/ 232983 h 253855"/>
                <a:gd name="connsiteX1135" fmla="*/ 8462 w 124107"/>
                <a:gd name="connsiteY1135" fmla="*/ 228188 h 253855"/>
                <a:gd name="connsiteX1136" fmla="*/ 8743 w 124107"/>
                <a:gd name="connsiteY1136" fmla="*/ 228470 h 253855"/>
                <a:gd name="connsiteX1137" fmla="*/ 9026 w 124107"/>
                <a:gd name="connsiteY1137" fmla="*/ 229034 h 253855"/>
                <a:gd name="connsiteX1138" fmla="*/ 9026 w 124107"/>
                <a:gd name="connsiteY1138" fmla="*/ 229316 h 253855"/>
                <a:gd name="connsiteX1139" fmla="*/ 8743 w 124107"/>
                <a:gd name="connsiteY1139" fmla="*/ 230444 h 253855"/>
                <a:gd name="connsiteX1140" fmla="*/ 9307 w 124107"/>
                <a:gd name="connsiteY1140" fmla="*/ 210982 h 253855"/>
                <a:gd name="connsiteX1141" fmla="*/ 9307 w 124107"/>
                <a:gd name="connsiteY1141" fmla="*/ 212110 h 253855"/>
                <a:gd name="connsiteX1142" fmla="*/ 8743 w 124107"/>
                <a:gd name="connsiteY1142" fmla="*/ 212110 h 253855"/>
                <a:gd name="connsiteX1143" fmla="*/ 8743 w 124107"/>
                <a:gd name="connsiteY1143" fmla="*/ 211546 h 253855"/>
                <a:gd name="connsiteX1144" fmla="*/ 9307 w 124107"/>
                <a:gd name="connsiteY1144" fmla="*/ 210982 h 253855"/>
                <a:gd name="connsiteX1145" fmla="*/ 11846 w 124107"/>
                <a:gd name="connsiteY1145" fmla="*/ 210418 h 253855"/>
                <a:gd name="connsiteX1146" fmla="*/ 11846 w 124107"/>
                <a:gd name="connsiteY1146" fmla="*/ 210982 h 253855"/>
                <a:gd name="connsiteX1147" fmla="*/ 11564 w 124107"/>
                <a:gd name="connsiteY1147" fmla="*/ 212674 h 253855"/>
                <a:gd name="connsiteX1148" fmla="*/ 11282 w 124107"/>
                <a:gd name="connsiteY1148" fmla="*/ 213520 h 253855"/>
                <a:gd name="connsiteX1149" fmla="*/ 11564 w 124107"/>
                <a:gd name="connsiteY1149" fmla="*/ 214367 h 253855"/>
                <a:gd name="connsiteX1150" fmla="*/ 10718 w 124107"/>
                <a:gd name="connsiteY1150" fmla="*/ 216059 h 253855"/>
                <a:gd name="connsiteX1151" fmla="*/ 10436 w 124107"/>
                <a:gd name="connsiteY1151" fmla="*/ 216341 h 253855"/>
                <a:gd name="connsiteX1152" fmla="*/ 10154 w 124107"/>
                <a:gd name="connsiteY1152" fmla="*/ 215495 h 253855"/>
                <a:gd name="connsiteX1153" fmla="*/ 10154 w 124107"/>
                <a:gd name="connsiteY1153" fmla="*/ 215213 h 253855"/>
                <a:gd name="connsiteX1154" fmla="*/ 10436 w 124107"/>
                <a:gd name="connsiteY1154" fmla="*/ 214649 h 253855"/>
                <a:gd name="connsiteX1155" fmla="*/ 9872 w 124107"/>
                <a:gd name="connsiteY1155" fmla="*/ 213238 h 253855"/>
                <a:gd name="connsiteX1156" fmla="*/ 10436 w 124107"/>
                <a:gd name="connsiteY1156" fmla="*/ 212110 h 253855"/>
                <a:gd name="connsiteX1157" fmla="*/ 11846 w 124107"/>
                <a:gd name="connsiteY1157" fmla="*/ 210418 h 253855"/>
                <a:gd name="connsiteX1158" fmla="*/ 10718 w 124107"/>
                <a:gd name="connsiteY1158" fmla="*/ 228470 h 253855"/>
                <a:gd name="connsiteX1159" fmla="*/ 11564 w 124107"/>
                <a:gd name="connsiteY1159" fmla="*/ 227059 h 253855"/>
                <a:gd name="connsiteX1160" fmla="*/ 11282 w 124107"/>
                <a:gd name="connsiteY1160" fmla="*/ 228188 h 253855"/>
                <a:gd name="connsiteX1161" fmla="*/ 11564 w 124107"/>
                <a:gd name="connsiteY1161" fmla="*/ 229034 h 253855"/>
                <a:gd name="connsiteX1162" fmla="*/ 11564 w 124107"/>
                <a:gd name="connsiteY1162" fmla="*/ 229316 h 253855"/>
                <a:gd name="connsiteX1163" fmla="*/ 10718 w 124107"/>
                <a:gd name="connsiteY1163" fmla="*/ 228470 h 253855"/>
                <a:gd name="connsiteX1164" fmla="*/ 11846 w 124107"/>
                <a:gd name="connsiteY1164" fmla="*/ 209854 h 253855"/>
                <a:gd name="connsiteX1165" fmla="*/ 11846 w 124107"/>
                <a:gd name="connsiteY1165" fmla="*/ 208725 h 253855"/>
                <a:gd name="connsiteX1166" fmla="*/ 12128 w 124107"/>
                <a:gd name="connsiteY1166" fmla="*/ 208725 h 253855"/>
                <a:gd name="connsiteX1167" fmla="*/ 12410 w 124107"/>
                <a:gd name="connsiteY1167" fmla="*/ 209007 h 253855"/>
                <a:gd name="connsiteX1168" fmla="*/ 11846 w 124107"/>
                <a:gd name="connsiteY1168" fmla="*/ 209854 h 253855"/>
                <a:gd name="connsiteX1169" fmla="*/ 14385 w 124107"/>
                <a:gd name="connsiteY1169" fmla="*/ 210418 h 253855"/>
                <a:gd name="connsiteX1170" fmla="*/ 14385 w 124107"/>
                <a:gd name="connsiteY1170" fmla="*/ 210982 h 253855"/>
                <a:gd name="connsiteX1171" fmla="*/ 14103 w 124107"/>
                <a:gd name="connsiteY1171" fmla="*/ 214649 h 253855"/>
                <a:gd name="connsiteX1172" fmla="*/ 13257 w 124107"/>
                <a:gd name="connsiteY1172" fmla="*/ 216059 h 253855"/>
                <a:gd name="connsiteX1173" fmla="*/ 12974 w 124107"/>
                <a:gd name="connsiteY1173" fmla="*/ 216059 h 253855"/>
                <a:gd name="connsiteX1174" fmla="*/ 12128 w 124107"/>
                <a:gd name="connsiteY1174" fmla="*/ 215213 h 253855"/>
                <a:gd name="connsiteX1175" fmla="*/ 12410 w 124107"/>
                <a:gd name="connsiteY1175" fmla="*/ 214649 h 253855"/>
                <a:gd name="connsiteX1176" fmla="*/ 12974 w 124107"/>
                <a:gd name="connsiteY1176" fmla="*/ 213238 h 253855"/>
                <a:gd name="connsiteX1177" fmla="*/ 14385 w 124107"/>
                <a:gd name="connsiteY1177" fmla="*/ 210418 h 253855"/>
                <a:gd name="connsiteX1178" fmla="*/ 12410 w 124107"/>
                <a:gd name="connsiteY1178" fmla="*/ 206751 h 253855"/>
                <a:gd name="connsiteX1179" fmla="*/ 13257 w 124107"/>
                <a:gd name="connsiteY1179" fmla="*/ 205905 h 253855"/>
                <a:gd name="connsiteX1180" fmla="*/ 13538 w 124107"/>
                <a:gd name="connsiteY1180" fmla="*/ 205905 h 253855"/>
                <a:gd name="connsiteX1181" fmla="*/ 13538 w 124107"/>
                <a:gd name="connsiteY1181" fmla="*/ 206187 h 253855"/>
                <a:gd name="connsiteX1182" fmla="*/ 12693 w 124107"/>
                <a:gd name="connsiteY1182" fmla="*/ 207033 h 253855"/>
                <a:gd name="connsiteX1183" fmla="*/ 12410 w 124107"/>
                <a:gd name="connsiteY1183" fmla="*/ 206751 h 253855"/>
                <a:gd name="connsiteX1184" fmla="*/ 16359 w 124107"/>
                <a:gd name="connsiteY1184" fmla="*/ 204212 h 253855"/>
                <a:gd name="connsiteX1185" fmla="*/ 16641 w 124107"/>
                <a:gd name="connsiteY1185" fmla="*/ 204777 h 253855"/>
                <a:gd name="connsiteX1186" fmla="*/ 16077 w 124107"/>
                <a:gd name="connsiteY1186" fmla="*/ 207597 h 253855"/>
                <a:gd name="connsiteX1187" fmla="*/ 15231 w 124107"/>
                <a:gd name="connsiteY1187" fmla="*/ 207879 h 253855"/>
                <a:gd name="connsiteX1188" fmla="*/ 14949 w 124107"/>
                <a:gd name="connsiteY1188" fmla="*/ 207315 h 253855"/>
                <a:gd name="connsiteX1189" fmla="*/ 15231 w 124107"/>
                <a:gd name="connsiteY1189" fmla="*/ 206751 h 253855"/>
                <a:gd name="connsiteX1190" fmla="*/ 15231 w 124107"/>
                <a:gd name="connsiteY1190" fmla="*/ 206469 h 253855"/>
                <a:gd name="connsiteX1191" fmla="*/ 15513 w 124107"/>
                <a:gd name="connsiteY1191" fmla="*/ 205341 h 253855"/>
                <a:gd name="connsiteX1192" fmla="*/ 14949 w 124107"/>
                <a:gd name="connsiteY1192" fmla="*/ 204494 h 253855"/>
                <a:gd name="connsiteX1193" fmla="*/ 14949 w 124107"/>
                <a:gd name="connsiteY1193" fmla="*/ 203930 h 253855"/>
                <a:gd name="connsiteX1194" fmla="*/ 15513 w 124107"/>
                <a:gd name="connsiteY1194" fmla="*/ 203366 h 253855"/>
                <a:gd name="connsiteX1195" fmla="*/ 15795 w 124107"/>
                <a:gd name="connsiteY1195" fmla="*/ 202802 h 253855"/>
                <a:gd name="connsiteX1196" fmla="*/ 15231 w 124107"/>
                <a:gd name="connsiteY1196" fmla="*/ 201956 h 253855"/>
                <a:gd name="connsiteX1197" fmla="*/ 14667 w 124107"/>
                <a:gd name="connsiteY1197" fmla="*/ 201392 h 253855"/>
                <a:gd name="connsiteX1198" fmla="*/ 15231 w 124107"/>
                <a:gd name="connsiteY1198" fmla="*/ 200828 h 253855"/>
                <a:gd name="connsiteX1199" fmla="*/ 15795 w 124107"/>
                <a:gd name="connsiteY1199" fmla="*/ 200828 h 253855"/>
                <a:gd name="connsiteX1200" fmla="*/ 17205 w 124107"/>
                <a:gd name="connsiteY1200" fmla="*/ 196879 h 253855"/>
                <a:gd name="connsiteX1201" fmla="*/ 18616 w 124107"/>
                <a:gd name="connsiteY1201" fmla="*/ 194904 h 253855"/>
                <a:gd name="connsiteX1202" fmla="*/ 18898 w 124107"/>
                <a:gd name="connsiteY1202" fmla="*/ 194904 h 253855"/>
                <a:gd name="connsiteX1203" fmla="*/ 19180 w 124107"/>
                <a:gd name="connsiteY1203" fmla="*/ 195469 h 253855"/>
                <a:gd name="connsiteX1204" fmla="*/ 18334 w 124107"/>
                <a:gd name="connsiteY1204" fmla="*/ 197725 h 253855"/>
                <a:gd name="connsiteX1205" fmla="*/ 17488 w 124107"/>
                <a:gd name="connsiteY1205" fmla="*/ 199982 h 253855"/>
                <a:gd name="connsiteX1206" fmla="*/ 17769 w 124107"/>
                <a:gd name="connsiteY1206" fmla="*/ 200264 h 253855"/>
                <a:gd name="connsiteX1207" fmla="*/ 17205 w 124107"/>
                <a:gd name="connsiteY1207" fmla="*/ 201674 h 253855"/>
                <a:gd name="connsiteX1208" fmla="*/ 17205 w 124107"/>
                <a:gd name="connsiteY1208" fmla="*/ 202802 h 253855"/>
                <a:gd name="connsiteX1209" fmla="*/ 16359 w 124107"/>
                <a:gd name="connsiteY1209" fmla="*/ 204212 h 253855"/>
                <a:gd name="connsiteX1210" fmla="*/ 17488 w 124107"/>
                <a:gd name="connsiteY1210" fmla="*/ 175724 h 253855"/>
                <a:gd name="connsiteX1211" fmla="*/ 18334 w 124107"/>
                <a:gd name="connsiteY1211" fmla="*/ 176570 h 253855"/>
                <a:gd name="connsiteX1212" fmla="*/ 18616 w 124107"/>
                <a:gd name="connsiteY1212" fmla="*/ 177135 h 253855"/>
                <a:gd name="connsiteX1213" fmla="*/ 18334 w 124107"/>
                <a:gd name="connsiteY1213" fmla="*/ 177417 h 253855"/>
                <a:gd name="connsiteX1214" fmla="*/ 17488 w 124107"/>
                <a:gd name="connsiteY1214" fmla="*/ 179109 h 253855"/>
                <a:gd name="connsiteX1215" fmla="*/ 17205 w 124107"/>
                <a:gd name="connsiteY1215" fmla="*/ 179955 h 253855"/>
                <a:gd name="connsiteX1216" fmla="*/ 16924 w 124107"/>
                <a:gd name="connsiteY1216" fmla="*/ 179673 h 253855"/>
                <a:gd name="connsiteX1217" fmla="*/ 16077 w 124107"/>
                <a:gd name="connsiteY1217" fmla="*/ 178545 h 253855"/>
                <a:gd name="connsiteX1218" fmla="*/ 16359 w 124107"/>
                <a:gd name="connsiteY1218" fmla="*/ 177417 h 253855"/>
                <a:gd name="connsiteX1219" fmla="*/ 17488 w 124107"/>
                <a:gd name="connsiteY1219" fmla="*/ 175724 h 253855"/>
                <a:gd name="connsiteX1220" fmla="*/ 21155 w 124107"/>
                <a:gd name="connsiteY1220" fmla="*/ 202238 h 253855"/>
                <a:gd name="connsiteX1221" fmla="*/ 22000 w 124107"/>
                <a:gd name="connsiteY1221" fmla="*/ 202238 h 253855"/>
                <a:gd name="connsiteX1222" fmla="*/ 20872 w 124107"/>
                <a:gd name="connsiteY1222" fmla="*/ 203084 h 253855"/>
                <a:gd name="connsiteX1223" fmla="*/ 20026 w 124107"/>
                <a:gd name="connsiteY1223" fmla="*/ 202802 h 253855"/>
                <a:gd name="connsiteX1224" fmla="*/ 19744 w 124107"/>
                <a:gd name="connsiteY1224" fmla="*/ 202802 h 253855"/>
                <a:gd name="connsiteX1225" fmla="*/ 18898 w 124107"/>
                <a:gd name="connsiteY1225" fmla="*/ 203366 h 253855"/>
                <a:gd name="connsiteX1226" fmla="*/ 18334 w 124107"/>
                <a:gd name="connsiteY1226" fmla="*/ 205905 h 253855"/>
                <a:gd name="connsiteX1227" fmla="*/ 17205 w 124107"/>
                <a:gd name="connsiteY1227" fmla="*/ 209572 h 253855"/>
                <a:gd name="connsiteX1228" fmla="*/ 16924 w 124107"/>
                <a:gd name="connsiteY1228" fmla="*/ 209854 h 253855"/>
                <a:gd name="connsiteX1229" fmla="*/ 16924 w 124107"/>
                <a:gd name="connsiteY1229" fmla="*/ 209290 h 253855"/>
                <a:gd name="connsiteX1230" fmla="*/ 17488 w 124107"/>
                <a:gd name="connsiteY1230" fmla="*/ 206187 h 253855"/>
                <a:gd name="connsiteX1231" fmla="*/ 19744 w 124107"/>
                <a:gd name="connsiteY1231" fmla="*/ 199699 h 253855"/>
                <a:gd name="connsiteX1232" fmla="*/ 20308 w 124107"/>
                <a:gd name="connsiteY1232" fmla="*/ 199417 h 253855"/>
                <a:gd name="connsiteX1233" fmla="*/ 20590 w 124107"/>
                <a:gd name="connsiteY1233" fmla="*/ 199699 h 253855"/>
                <a:gd name="connsiteX1234" fmla="*/ 21436 w 124107"/>
                <a:gd name="connsiteY1234" fmla="*/ 200828 h 253855"/>
                <a:gd name="connsiteX1235" fmla="*/ 21155 w 124107"/>
                <a:gd name="connsiteY1235" fmla="*/ 201674 h 253855"/>
                <a:gd name="connsiteX1236" fmla="*/ 21155 w 124107"/>
                <a:gd name="connsiteY1236" fmla="*/ 202238 h 253855"/>
                <a:gd name="connsiteX1237" fmla="*/ 20590 w 124107"/>
                <a:gd name="connsiteY1237" fmla="*/ 184468 h 253855"/>
                <a:gd name="connsiteX1238" fmla="*/ 19462 w 124107"/>
                <a:gd name="connsiteY1238" fmla="*/ 185314 h 253855"/>
                <a:gd name="connsiteX1239" fmla="*/ 19180 w 124107"/>
                <a:gd name="connsiteY1239" fmla="*/ 185878 h 253855"/>
                <a:gd name="connsiteX1240" fmla="*/ 19462 w 124107"/>
                <a:gd name="connsiteY1240" fmla="*/ 186161 h 253855"/>
                <a:gd name="connsiteX1241" fmla="*/ 20590 w 124107"/>
                <a:gd name="connsiteY1241" fmla="*/ 184468 h 253855"/>
                <a:gd name="connsiteX1242" fmla="*/ 22565 w 124107"/>
                <a:gd name="connsiteY1242" fmla="*/ 185032 h 253855"/>
                <a:gd name="connsiteX1243" fmla="*/ 21719 w 124107"/>
                <a:gd name="connsiteY1243" fmla="*/ 184468 h 253855"/>
                <a:gd name="connsiteX1244" fmla="*/ 21436 w 124107"/>
                <a:gd name="connsiteY1244" fmla="*/ 184750 h 253855"/>
                <a:gd name="connsiteX1245" fmla="*/ 20872 w 124107"/>
                <a:gd name="connsiteY1245" fmla="*/ 186443 h 253855"/>
                <a:gd name="connsiteX1246" fmla="*/ 21155 w 124107"/>
                <a:gd name="connsiteY1246" fmla="*/ 186443 h 253855"/>
                <a:gd name="connsiteX1247" fmla="*/ 22565 w 124107"/>
                <a:gd name="connsiteY1247" fmla="*/ 185596 h 253855"/>
                <a:gd name="connsiteX1248" fmla="*/ 22565 w 124107"/>
                <a:gd name="connsiteY1248" fmla="*/ 185032 h 253855"/>
                <a:gd name="connsiteX1249" fmla="*/ 22847 w 124107"/>
                <a:gd name="connsiteY1249" fmla="*/ 192930 h 253855"/>
                <a:gd name="connsiteX1250" fmla="*/ 22847 w 124107"/>
                <a:gd name="connsiteY1250" fmla="*/ 193776 h 253855"/>
                <a:gd name="connsiteX1251" fmla="*/ 22283 w 124107"/>
                <a:gd name="connsiteY1251" fmla="*/ 193494 h 253855"/>
                <a:gd name="connsiteX1252" fmla="*/ 22283 w 124107"/>
                <a:gd name="connsiteY1252" fmla="*/ 192930 h 253855"/>
                <a:gd name="connsiteX1253" fmla="*/ 22847 w 124107"/>
                <a:gd name="connsiteY1253" fmla="*/ 192930 h 253855"/>
                <a:gd name="connsiteX1254" fmla="*/ 23693 w 124107"/>
                <a:gd name="connsiteY1254" fmla="*/ 194622 h 253855"/>
                <a:gd name="connsiteX1255" fmla="*/ 24539 w 124107"/>
                <a:gd name="connsiteY1255" fmla="*/ 194904 h 253855"/>
                <a:gd name="connsiteX1256" fmla="*/ 23975 w 124107"/>
                <a:gd name="connsiteY1256" fmla="*/ 195469 h 253855"/>
                <a:gd name="connsiteX1257" fmla="*/ 23129 w 124107"/>
                <a:gd name="connsiteY1257" fmla="*/ 195186 h 253855"/>
                <a:gd name="connsiteX1258" fmla="*/ 23411 w 124107"/>
                <a:gd name="connsiteY1258" fmla="*/ 194622 h 253855"/>
                <a:gd name="connsiteX1259" fmla="*/ 23693 w 124107"/>
                <a:gd name="connsiteY1259" fmla="*/ 194622 h 253855"/>
                <a:gd name="connsiteX1260" fmla="*/ 24257 w 124107"/>
                <a:gd name="connsiteY1260" fmla="*/ 177981 h 253855"/>
                <a:gd name="connsiteX1261" fmla="*/ 24821 w 124107"/>
                <a:gd name="connsiteY1261" fmla="*/ 178263 h 253855"/>
                <a:gd name="connsiteX1262" fmla="*/ 25386 w 124107"/>
                <a:gd name="connsiteY1262" fmla="*/ 178263 h 253855"/>
                <a:gd name="connsiteX1263" fmla="*/ 25950 w 124107"/>
                <a:gd name="connsiteY1263" fmla="*/ 177699 h 253855"/>
                <a:gd name="connsiteX1264" fmla="*/ 25667 w 124107"/>
                <a:gd name="connsiteY1264" fmla="*/ 177417 h 253855"/>
                <a:gd name="connsiteX1265" fmla="*/ 25667 w 124107"/>
                <a:gd name="connsiteY1265" fmla="*/ 176570 h 253855"/>
                <a:gd name="connsiteX1266" fmla="*/ 26231 w 124107"/>
                <a:gd name="connsiteY1266" fmla="*/ 176570 h 253855"/>
                <a:gd name="connsiteX1267" fmla="*/ 26796 w 124107"/>
                <a:gd name="connsiteY1267" fmla="*/ 176288 h 253855"/>
                <a:gd name="connsiteX1268" fmla="*/ 27641 w 124107"/>
                <a:gd name="connsiteY1268" fmla="*/ 175442 h 253855"/>
                <a:gd name="connsiteX1269" fmla="*/ 28206 w 124107"/>
                <a:gd name="connsiteY1269" fmla="*/ 174314 h 253855"/>
                <a:gd name="connsiteX1270" fmla="*/ 27641 w 124107"/>
                <a:gd name="connsiteY1270" fmla="*/ 174032 h 253855"/>
                <a:gd name="connsiteX1271" fmla="*/ 27077 w 124107"/>
                <a:gd name="connsiteY1271" fmla="*/ 173468 h 253855"/>
                <a:gd name="connsiteX1272" fmla="*/ 26514 w 124107"/>
                <a:gd name="connsiteY1272" fmla="*/ 173750 h 253855"/>
                <a:gd name="connsiteX1273" fmla="*/ 26514 w 124107"/>
                <a:gd name="connsiteY1273" fmla="*/ 174314 h 253855"/>
                <a:gd name="connsiteX1274" fmla="*/ 24257 w 124107"/>
                <a:gd name="connsiteY1274" fmla="*/ 177981 h 253855"/>
                <a:gd name="connsiteX1275" fmla="*/ 28206 w 124107"/>
                <a:gd name="connsiteY1275" fmla="*/ 185878 h 253855"/>
                <a:gd name="connsiteX1276" fmla="*/ 27924 w 124107"/>
                <a:gd name="connsiteY1276" fmla="*/ 186725 h 253855"/>
                <a:gd name="connsiteX1277" fmla="*/ 28206 w 124107"/>
                <a:gd name="connsiteY1277" fmla="*/ 187289 h 253855"/>
                <a:gd name="connsiteX1278" fmla="*/ 26796 w 124107"/>
                <a:gd name="connsiteY1278" fmla="*/ 190109 h 253855"/>
                <a:gd name="connsiteX1279" fmla="*/ 25950 w 124107"/>
                <a:gd name="connsiteY1279" fmla="*/ 190956 h 253855"/>
                <a:gd name="connsiteX1280" fmla="*/ 25386 w 124107"/>
                <a:gd name="connsiteY1280" fmla="*/ 190673 h 253855"/>
                <a:gd name="connsiteX1281" fmla="*/ 25103 w 124107"/>
                <a:gd name="connsiteY1281" fmla="*/ 189827 h 253855"/>
                <a:gd name="connsiteX1282" fmla="*/ 24257 w 124107"/>
                <a:gd name="connsiteY1282" fmla="*/ 189263 h 253855"/>
                <a:gd name="connsiteX1283" fmla="*/ 24539 w 124107"/>
                <a:gd name="connsiteY1283" fmla="*/ 188981 h 253855"/>
                <a:gd name="connsiteX1284" fmla="*/ 25950 w 124107"/>
                <a:gd name="connsiteY1284" fmla="*/ 186161 h 253855"/>
                <a:gd name="connsiteX1285" fmla="*/ 26514 w 124107"/>
                <a:gd name="connsiteY1285" fmla="*/ 184750 h 253855"/>
                <a:gd name="connsiteX1286" fmla="*/ 27924 w 124107"/>
                <a:gd name="connsiteY1286" fmla="*/ 185596 h 253855"/>
                <a:gd name="connsiteX1287" fmla="*/ 28206 w 124107"/>
                <a:gd name="connsiteY1287" fmla="*/ 185878 h 253855"/>
                <a:gd name="connsiteX1288" fmla="*/ 26231 w 124107"/>
                <a:gd name="connsiteY1288" fmla="*/ 163314 h 253855"/>
                <a:gd name="connsiteX1289" fmla="*/ 25667 w 124107"/>
                <a:gd name="connsiteY1289" fmla="*/ 163878 h 253855"/>
                <a:gd name="connsiteX1290" fmla="*/ 26231 w 124107"/>
                <a:gd name="connsiteY1290" fmla="*/ 164160 h 253855"/>
                <a:gd name="connsiteX1291" fmla="*/ 26514 w 124107"/>
                <a:gd name="connsiteY1291" fmla="*/ 163596 h 253855"/>
                <a:gd name="connsiteX1292" fmla="*/ 26231 w 124107"/>
                <a:gd name="connsiteY1292" fmla="*/ 163314 h 253855"/>
                <a:gd name="connsiteX1293" fmla="*/ 27360 w 124107"/>
                <a:gd name="connsiteY1293" fmla="*/ 159647 h 253855"/>
                <a:gd name="connsiteX1294" fmla="*/ 27077 w 124107"/>
                <a:gd name="connsiteY1294" fmla="*/ 159365 h 253855"/>
                <a:gd name="connsiteX1295" fmla="*/ 26231 w 124107"/>
                <a:gd name="connsiteY1295" fmla="*/ 160775 h 253855"/>
                <a:gd name="connsiteX1296" fmla="*/ 26231 w 124107"/>
                <a:gd name="connsiteY1296" fmla="*/ 161057 h 253855"/>
                <a:gd name="connsiteX1297" fmla="*/ 27360 w 124107"/>
                <a:gd name="connsiteY1297" fmla="*/ 159647 h 253855"/>
                <a:gd name="connsiteX1298" fmla="*/ 27360 w 124107"/>
                <a:gd name="connsiteY1298" fmla="*/ 163596 h 253855"/>
                <a:gd name="connsiteX1299" fmla="*/ 27924 w 124107"/>
                <a:gd name="connsiteY1299" fmla="*/ 163596 h 253855"/>
                <a:gd name="connsiteX1300" fmla="*/ 28488 w 124107"/>
                <a:gd name="connsiteY1300" fmla="*/ 164442 h 253855"/>
                <a:gd name="connsiteX1301" fmla="*/ 28488 w 124107"/>
                <a:gd name="connsiteY1301" fmla="*/ 164724 h 253855"/>
                <a:gd name="connsiteX1302" fmla="*/ 28770 w 124107"/>
                <a:gd name="connsiteY1302" fmla="*/ 164724 h 253855"/>
                <a:gd name="connsiteX1303" fmla="*/ 29616 w 124107"/>
                <a:gd name="connsiteY1303" fmla="*/ 163031 h 253855"/>
                <a:gd name="connsiteX1304" fmla="*/ 28206 w 124107"/>
                <a:gd name="connsiteY1304" fmla="*/ 163031 h 253855"/>
                <a:gd name="connsiteX1305" fmla="*/ 27641 w 124107"/>
                <a:gd name="connsiteY1305" fmla="*/ 162749 h 253855"/>
                <a:gd name="connsiteX1306" fmla="*/ 27077 w 124107"/>
                <a:gd name="connsiteY1306" fmla="*/ 163314 h 253855"/>
                <a:gd name="connsiteX1307" fmla="*/ 27360 w 124107"/>
                <a:gd name="connsiteY1307" fmla="*/ 163596 h 253855"/>
                <a:gd name="connsiteX1308" fmla="*/ 27641 w 124107"/>
                <a:gd name="connsiteY1308" fmla="*/ 158236 h 253855"/>
                <a:gd name="connsiteX1309" fmla="*/ 28206 w 124107"/>
                <a:gd name="connsiteY1309" fmla="*/ 158236 h 253855"/>
                <a:gd name="connsiteX1310" fmla="*/ 28206 w 124107"/>
                <a:gd name="connsiteY1310" fmla="*/ 157390 h 253855"/>
                <a:gd name="connsiteX1311" fmla="*/ 27924 w 124107"/>
                <a:gd name="connsiteY1311" fmla="*/ 157954 h 253855"/>
                <a:gd name="connsiteX1312" fmla="*/ 27641 w 124107"/>
                <a:gd name="connsiteY1312" fmla="*/ 158236 h 253855"/>
                <a:gd name="connsiteX1313" fmla="*/ 29052 w 124107"/>
                <a:gd name="connsiteY1313" fmla="*/ 160211 h 253855"/>
                <a:gd name="connsiteX1314" fmla="*/ 29334 w 124107"/>
                <a:gd name="connsiteY1314" fmla="*/ 161339 h 253855"/>
                <a:gd name="connsiteX1315" fmla="*/ 29616 w 124107"/>
                <a:gd name="connsiteY1315" fmla="*/ 163031 h 253855"/>
                <a:gd name="connsiteX1316" fmla="*/ 30744 w 124107"/>
                <a:gd name="connsiteY1316" fmla="*/ 162185 h 253855"/>
                <a:gd name="connsiteX1317" fmla="*/ 32155 w 124107"/>
                <a:gd name="connsiteY1317" fmla="*/ 160211 h 253855"/>
                <a:gd name="connsiteX1318" fmla="*/ 33283 w 124107"/>
                <a:gd name="connsiteY1318" fmla="*/ 158801 h 253855"/>
                <a:gd name="connsiteX1319" fmla="*/ 33283 w 124107"/>
                <a:gd name="connsiteY1319" fmla="*/ 158518 h 253855"/>
                <a:gd name="connsiteX1320" fmla="*/ 33001 w 124107"/>
                <a:gd name="connsiteY1320" fmla="*/ 158518 h 253855"/>
                <a:gd name="connsiteX1321" fmla="*/ 30744 w 124107"/>
                <a:gd name="connsiteY1321" fmla="*/ 159365 h 253855"/>
                <a:gd name="connsiteX1322" fmla="*/ 29616 w 124107"/>
                <a:gd name="connsiteY1322" fmla="*/ 159365 h 253855"/>
                <a:gd name="connsiteX1323" fmla="*/ 29052 w 124107"/>
                <a:gd name="connsiteY1323" fmla="*/ 160211 h 253855"/>
                <a:gd name="connsiteX1324" fmla="*/ 33565 w 124107"/>
                <a:gd name="connsiteY1324" fmla="*/ 162749 h 253855"/>
                <a:gd name="connsiteX1325" fmla="*/ 32719 w 124107"/>
                <a:gd name="connsiteY1325" fmla="*/ 163878 h 253855"/>
                <a:gd name="connsiteX1326" fmla="*/ 33001 w 124107"/>
                <a:gd name="connsiteY1326" fmla="*/ 164724 h 253855"/>
                <a:gd name="connsiteX1327" fmla="*/ 33847 w 124107"/>
                <a:gd name="connsiteY1327" fmla="*/ 163031 h 253855"/>
                <a:gd name="connsiteX1328" fmla="*/ 33565 w 124107"/>
                <a:gd name="connsiteY1328" fmla="*/ 162749 h 253855"/>
                <a:gd name="connsiteX1329" fmla="*/ 33283 w 124107"/>
                <a:gd name="connsiteY1329" fmla="*/ 170083 h 253855"/>
                <a:gd name="connsiteX1330" fmla="*/ 33283 w 124107"/>
                <a:gd name="connsiteY1330" fmla="*/ 170647 h 253855"/>
                <a:gd name="connsiteX1331" fmla="*/ 32719 w 124107"/>
                <a:gd name="connsiteY1331" fmla="*/ 170083 h 253855"/>
                <a:gd name="connsiteX1332" fmla="*/ 32719 w 124107"/>
                <a:gd name="connsiteY1332" fmla="*/ 169519 h 253855"/>
                <a:gd name="connsiteX1333" fmla="*/ 33283 w 124107"/>
                <a:gd name="connsiteY1333" fmla="*/ 170083 h 253855"/>
                <a:gd name="connsiteX1334" fmla="*/ 33565 w 124107"/>
                <a:gd name="connsiteY1334" fmla="*/ 160775 h 253855"/>
                <a:gd name="connsiteX1335" fmla="*/ 34411 w 124107"/>
                <a:gd name="connsiteY1335" fmla="*/ 160211 h 253855"/>
                <a:gd name="connsiteX1336" fmla="*/ 33565 w 124107"/>
                <a:gd name="connsiteY1336" fmla="*/ 160211 h 253855"/>
                <a:gd name="connsiteX1337" fmla="*/ 33565 w 124107"/>
                <a:gd name="connsiteY1337" fmla="*/ 160775 h 253855"/>
                <a:gd name="connsiteX1338" fmla="*/ 34693 w 124107"/>
                <a:gd name="connsiteY1338" fmla="*/ 156826 h 253855"/>
                <a:gd name="connsiteX1339" fmla="*/ 34975 w 124107"/>
                <a:gd name="connsiteY1339" fmla="*/ 156826 h 253855"/>
                <a:gd name="connsiteX1340" fmla="*/ 34693 w 124107"/>
                <a:gd name="connsiteY1340" fmla="*/ 156544 h 253855"/>
                <a:gd name="connsiteX1341" fmla="*/ 34693 w 124107"/>
                <a:gd name="connsiteY1341" fmla="*/ 156826 h 253855"/>
                <a:gd name="connsiteX1342" fmla="*/ 34693 w 124107"/>
                <a:gd name="connsiteY1342" fmla="*/ 160775 h 253855"/>
                <a:gd name="connsiteX1343" fmla="*/ 35258 w 124107"/>
                <a:gd name="connsiteY1343" fmla="*/ 162467 h 253855"/>
                <a:gd name="connsiteX1344" fmla="*/ 35539 w 124107"/>
                <a:gd name="connsiteY1344" fmla="*/ 162749 h 253855"/>
                <a:gd name="connsiteX1345" fmla="*/ 36103 w 124107"/>
                <a:gd name="connsiteY1345" fmla="*/ 162749 h 253855"/>
                <a:gd name="connsiteX1346" fmla="*/ 36950 w 124107"/>
                <a:gd name="connsiteY1346" fmla="*/ 161339 h 253855"/>
                <a:gd name="connsiteX1347" fmla="*/ 38078 w 124107"/>
                <a:gd name="connsiteY1347" fmla="*/ 160493 h 253855"/>
                <a:gd name="connsiteX1348" fmla="*/ 38360 w 124107"/>
                <a:gd name="connsiteY1348" fmla="*/ 159083 h 253855"/>
                <a:gd name="connsiteX1349" fmla="*/ 38924 w 124107"/>
                <a:gd name="connsiteY1349" fmla="*/ 158518 h 253855"/>
                <a:gd name="connsiteX1350" fmla="*/ 38642 w 124107"/>
                <a:gd name="connsiteY1350" fmla="*/ 157954 h 253855"/>
                <a:gd name="connsiteX1351" fmla="*/ 37796 w 124107"/>
                <a:gd name="connsiteY1351" fmla="*/ 157390 h 253855"/>
                <a:gd name="connsiteX1352" fmla="*/ 36950 w 124107"/>
                <a:gd name="connsiteY1352" fmla="*/ 157672 h 253855"/>
                <a:gd name="connsiteX1353" fmla="*/ 36668 w 124107"/>
                <a:gd name="connsiteY1353" fmla="*/ 158801 h 253855"/>
                <a:gd name="connsiteX1354" fmla="*/ 36668 w 124107"/>
                <a:gd name="connsiteY1354" fmla="*/ 159365 h 253855"/>
                <a:gd name="connsiteX1355" fmla="*/ 36103 w 124107"/>
                <a:gd name="connsiteY1355" fmla="*/ 159929 h 253855"/>
                <a:gd name="connsiteX1356" fmla="*/ 35539 w 124107"/>
                <a:gd name="connsiteY1356" fmla="*/ 159929 h 253855"/>
                <a:gd name="connsiteX1357" fmla="*/ 34693 w 124107"/>
                <a:gd name="connsiteY1357" fmla="*/ 160775 h 253855"/>
                <a:gd name="connsiteX1358" fmla="*/ 35258 w 124107"/>
                <a:gd name="connsiteY1358" fmla="*/ 172904 h 253855"/>
                <a:gd name="connsiteX1359" fmla="*/ 34975 w 124107"/>
                <a:gd name="connsiteY1359" fmla="*/ 173750 h 253855"/>
                <a:gd name="connsiteX1360" fmla="*/ 34693 w 124107"/>
                <a:gd name="connsiteY1360" fmla="*/ 173750 h 253855"/>
                <a:gd name="connsiteX1361" fmla="*/ 34693 w 124107"/>
                <a:gd name="connsiteY1361" fmla="*/ 172904 h 253855"/>
                <a:gd name="connsiteX1362" fmla="*/ 35258 w 124107"/>
                <a:gd name="connsiteY1362" fmla="*/ 172904 h 253855"/>
                <a:gd name="connsiteX1363" fmla="*/ 35822 w 124107"/>
                <a:gd name="connsiteY1363" fmla="*/ 164724 h 253855"/>
                <a:gd name="connsiteX1364" fmla="*/ 36103 w 124107"/>
                <a:gd name="connsiteY1364" fmla="*/ 165006 h 253855"/>
                <a:gd name="connsiteX1365" fmla="*/ 36103 w 124107"/>
                <a:gd name="connsiteY1365" fmla="*/ 164442 h 253855"/>
                <a:gd name="connsiteX1366" fmla="*/ 35822 w 124107"/>
                <a:gd name="connsiteY1366" fmla="*/ 164724 h 253855"/>
                <a:gd name="connsiteX1367" fmla="*/ 36386 w 124107"/>
                <a:gd name="connsiteY1367" fmla="*/ 146672 h 253855"/>
                <a:gd name="connsiteX1368" fmla="*/ 36386 w 124107"/>
                <a:gd name="connsiteY1368" fmla="*/ 146954 h 253855"/>
                <a:gd name="connsiteX1369" fmla="*/ 36950 w 124107"/>
                <a:gd name="connsiteY1369" fmla="*/ 147236 h 253855"/>
                <a:gd name="connsiteX1370" fmla="*/ 37232 w 124107"/>
                <a:gd name="connsiteY1370" fmla="*/ 146672 h 253855"/>
                <a:gd name="connsiteX1371" fmla="*/ 36950 w 124107"/>
                <a:gd name="connsiteY1371" fmla="*/ 146390 h 253855"/>
                <a:gd name="connsiteX1372" fmla="*/ 36386 w 124107"/>
                <a:gd name="connsiteY1372" fmla="*/ 146672 h 253855"/>
                <a:gd name="connsiteX1373" fmla="*/ 37232 w 124107"/>
                <a:gd name="connsiteY1373" fmla="*/ 150621 h 253855"/>
                <a:gd name="connsiteX1374" fmla="*/ 37232 w 124107"/>
                <a:gd name="connsiteY1374" fmla="*/ 150903 h 253855"/>
                <a:gd name="connsiteX1375" fmla="*/ 37796 w 124107"/>
                <a:gd name="connsiteY1375" fmla="*/ 150903 h 253855"/>
                <a:gd name="connsiteX1376" fmla="*/ 37232 w 124107"/>
                <a:gd name="connsiteY1376" fmla="*/ 150621 h 253855"/>
                <a:gd name="connsiteX1377" fmla="*/ 37796 w 124107"/>
                <a:gd name="connsiteY1377" fmla="*/ 164724 h 253855"/>
                <a:gd name="connsiteX1378" fmla="*/ 37514 w 124107"/>
                <a:gd name="connsiteY1378" fmla="*/ 165288 h 253855"/>
                <a:gd name="connsiteX1379" fmla="*/ 37796 w 124107"/>
                <a:gd name="connsiteY1379" fmla="*/ 165570 h 253855"/>
                <a:gd name="connsiteX1380" fmla="*/ 37796 w 124107"/>
                <a:gd name="connsiteY1380" fmla="*/ 164724 h 253855"/>
                <a:gd name="connsiteX1381" fmla="*/ 38078 w 124107"/>
                <a:gd name="connsiteY1381" fmla="*/ 155980 h 253855"/>
                <a:gd name="connsiteX1382" fmla="*/ 38360 w 124107"/>
                <a:gd name="connsiteY1382" fmla="*/ 156262 h 253855"/>
                <a:gd name="connsiteX1383" fmla="*/ 38924 w 124107"/>
                <a:gd name="connsiteY1383" fmla="*/ 156544 h 253855"/>
                <a:gd name="connsiteX1384" fmla="*/ 39206 w 124107"/>
                <a:gd name="connsiteY1384" fmla="*/ 156544 h 253855"/>
                <a:gd name="connsiteX1385" fmla="*/ 40053 w 124107"/>
                <a:gd name="connsiteY1385" fmla="*/ 155980 h 253855"/>
                <a:gd name="connsiteX1386" fmla="*/ 40617 w 124107"/>
                <a:gd name="connsiteY1386" fmla="*/ 154852 h 253855"/>
                <a:gd name="connsiteX1387" fmla="*/ 40334 w 124107"/>
                <a:gd name="connsiteY1387" fmla="*/ 154006 h 253855"/>
                <a:gd name="connsiteX1388" fmla="*/ 38360 w 124107"/>
                <a:gd name="connsiteY1388" fmla="*/ 154852 h 253855"/>
                <a:gd name="connsiteX1389" fmla="*/ 38078 w 124107"/>
                <a:gd name="connsiteY1389" fmla="*/ 155980 h 253855"/>
                <a:gd name="connsiteX1390" fmla="*/ 38360 w 124107"/>
                <a:gd name="connsiteY1390" fmla="*/ 152031 h 253855"/>
                <a:gd name="connsiteX1391" fmla="*/ 38924 w 124107"/>
                <a:gd name="connsiteY1391" fmla="*/ 152313 h 253855"/>
                <a:gd name="connsiteX1392" fmla="*/ 38924 w 124107"/>
                <a:gd name="connsiteY1392" fmla="*/ 152031 h 253855"/>
                <a:gd name="connsiteX1393" fmla="*/ 38642 w 124107"/>
                <a:gd name="connsiteY1393" fmla="*/ 151749 h 253855"/>
                <a:gd name="connsiteX1394" fmla="*/ 38360 w 124107"/>
                <a:gd name="connsiteY1394" fmla="*/ 152031 h 253855"/>
                <a:gd name="connsiteX1395" fmla="*/ 39206 w 124107"/>
                <a:gd name="connsiteY1395" fmla="*/ 146390 h 253855"/>
                <a:gd name="connsiteX1396" fmla="*/ 39489 w 124107"/>
                <a:gd name="connsiteY1396" fmla="*/ 146954 h 253855"/>
                <a:gd name="connsiteX1397" fmla="*/ 40334 w 124107"/>
                <a:gd name="connsiteY1397" fmla="*/ 147518 h 253855"/>
                <a:gd name="connsiteX1398" fmla="*/ 41463 w 124107"/>
                <a:gd name="connsiteY1398" fmla="*/ 147518 h 253855"/>
                <a:gd name="connsiteX1399" fmla="*/ 41463 w 124107"/>
                <a:gd name="connsiteY1399" fmla="*/ 148364 h 253855"/>
                <a:gd name="connsiteX1400" fmla="*/ 40899 w 124107"/>
                <a:gd name="connsiteY1400" fmla="*/ 149210 h 253855"/>
                <a:gd name="connsiteX1401" fmla="*/ 42591 w 124107"/>
                <a:gd name="connsiteY1401" fmla="*/ 147236 h 253855"/>
                <a:gd name="connsiteX1402" fmla="*/ 42591 w 124107"/>
                <a:gd name="connsiteY1402" fmla="*/ 146390 h 253855"/>
                <a:gd name="connsiteX1403" fmla="*/ 42309 w 124107"/>
                <a:gd name="connsiteY1403" fmla="*/ 145262 h 253855"/>
                <a:gd name="connsiteX1404" fmla="*/ 42027 w 124107"/>
                <a:gd name="connsiteY1404" fmla="*/ 144980 h 253855"/>
                <a:gd name="connsiteX1405" fmla="*/ 41463 w 124107"/>
                <a:gd name="connsiteY1405" fmla="*/ 145544 h 253855"/>
                <a:gd name="connsiteX1406" fmla="*/ 40334 w 124107"/>
                <a:gd name="connsiteY1406" fmla="*/ 146108 h 253855"/>
                <a:gd name="connsiteX1407" fmla="*/ 40053 w 124107"/>
                <a:gd name="connsiteY1407" fmla="*/ 146108 h 253855"/>
                <a:gd name="connsiteX1408" fmla="*/ 39770 w 124107"/>
                <a:gd name="connsiteY1408" fmla="*/ 145826 h 253855"/>
                <a:gd name="connsiteX1409" fmla="*/ 39206 w 124107"/>
                <a:gd name="connsiteY1409" fmla="*/ 146108 h 253855"/>
                <a:gd name="connsiteX1410" fmla="*/ 39206 w 124107"/>
                <a:gd name="connsiteY1410" fmla="*/ 146390 h 253855"/>
                <a:gd name="connsiteX1411" fmla="*/ 40334 w 124107"/>
                <a:gd name="connsiteY1411" fmla="*/ 150057 h 253855"/>
                <a:gd name="connsiteX1412" fmla="*/ 40899 w 124107"/>
                <a:gd name="connsiteY1412" fmla="*/ 149210 h 253855"/>
                <a:gd name="connsiteX1413" fmla="*/ 40053 w 124107"/>
                <a:gd name="connsiteY1413" fmla="*/ 149493 h 253855"/>
                <a:gd name="connsiteX1414" fmla="*/ 39770 w 124107"/>
                <a:gd name="connsiteY1414" fmla="*/ 149775 h 253855"/>
                <a:gd name="connsiteX1415" fmla="*/ 40334 w 124107"/>
                <a:gd name="connsiteY1415" fmla="*/ 150057 h 253855"/>
                <a:gd name="connsiteX1416" fmla="*/ 41463 w 124107"/>
                <a:gd name="connsiteY1416" fmla="*/ 152877 h 253855"/>
                <a:gd name="connsiteX1417" fmla="*/ 42027 w 124107"/>
                <a:gd name="connsiteY1417" fmla="*/ 152313 h 253855"/>
                <a:gd name="connsiteX1418" fmla="*/ 42591 w 124107"/>
                <a:gd name="connsiteY1418" fmla="*/ 152313 h 253855"/>
                <a:gd name="connsiteX1419" fmla="*/ 42591 w 124107"/>
                <a:gd name="connsiteY1419" fmla="*/ 152031 h 253855"/>
                <a:gd name="connsiteX1420" fmla="*/ 42027 w 124107"/>
                <a:gd name="connsiteY1420" fmla="*/ 151749 h 253855"/>
                <a:gd name="connsiteX1421" fmla="*/ 41463 w 124107"/>
                <a:gd name="connsiteY1421" fmla="*/ 152031 h 253855"/>
                <a:gd name="connsiteX1422" fmla="*/ 40899 w 124107"/>
                <a:gd name="connsiteY1422" fmla="*/ 152877 h 253855"/>
                <a:gd name="connsiteX1423" fmla="*/ 40334 w 124107"/>
                <a:gd name="connsiteY1423" fmla="*/ 154006 h 253855"/>
                <a:gd name="connsiteX1424" fmla="*/ 42027 w 124107"/>
                <a:gd name="connsiteY1424" fmla="*/ 154006 h 253855"/>
                <a:gd name="connsiteX1425" fmla="*/ 42309 w 124107"/>
                <a:gd name="connsiteY1425" fmla="*/ 153723 h 253855"/>
                <a:gd name="connsiteX1426" fmla="*/ 42027 w 124107"/>
                <a:gd name="connsiteY1426" fmla="*/ 153723 h 253855"/>
                <a:gd name="connsiteX1427" fmla="*/ 42027 w 124107"/>
                <a:gd name="connsiteY1427" fmla="*/ 153441 h 253855"/>
                <a:gd name="connsiteX1428" fmla="*/ 41463 w 124107"/>
                <a:gd name="connsiteY1428" fmla="*/ 152877 h 253855"/>
                <a:gd name="connsiteX1429" fmla="*/ 40617 w 124107"/>
                <a:gd name="connsiteY1429" fmla="*/ 144980 h 253855"/>
                <a:gd name="connsiteX1430" fmla="*/ 40899 w 124107"/>
                <a:gd name="connsiteY1430" fmla="*/ 144697 h 253855"/>
                <a:gd name="connsiteX1431" fmla="*/ 40617 w 124107"/>
                <a:gd name="connsiteY1431" fmla="*/ 144415 h 253855"/>
                <a:gd name="connsiteX1432" fmla="*/ 40617 w 124107"/>
                <a:gd name="connsiteY1432" fmla="*/ 144980 h 253855"/>
                <a:gd name="connsiteX1433" fmla="*/ 42027 w 124107"/>
                <a:gd name="connsiteY1433" fmla="*/ 140749 h 253855"/>
                <a:gd name="connsiteX1434" fmla="*/ 43437 w 124107"/>
                <a:gd name="connsiteY1434" fmla="*/ 139902 h 253855"/>
                <a:gd name="connsiteX1435" fmla="*/ 42591 w 124107"/>
                <a:gd name="connsiteY1435" fmla="*/ 139620 h 253855"/>
                <a:gd name="connsiteX1436" fmla="*/ 42027 w 124107"/>
                <a:gd name="connsiteY1436" fmla="*/ 140749 h 253855"/>
                <a:gd name="connsiteX1437" fmla="*/ 43720 w 124107"/>
                <a:gd name="connsiteY1437" fmla="*/ 141313 h 253855"/>
                <a:gd name="connsiteX1438" fmla="*/ 43437 w 124107"/>
                <a:gd name="connsiteY1438" fmla="*/ 141595 h 253855"/>
                <a:gd name="connsiteX1439" fmla="*/ 42591 w 124107"/>
                <a:gd name="connsiteY1439" fmla="*/ 142441 h 253855"/>
                <a:gd name="connsiteX1440" fmla="*/ 44284 w 124107"/>
                <a:gd name="connsiteY1440" fmla="*/ 142159 h 253855"/>
                <a:gd name="connsiteX1441" fmla="*/ 44284 w 124107"/>
                <a:gd name="connsiteY1441" fmla="*/ 141877 h 253855"/>
                <a:gd name="connsiteX1442" fmla="*/ 43720 w 124107"/>
                <a:gd name="connsiteY1442" fmla="*/ 141313 h 253855"/>
                <a:gd name="connsiteX1443" fmla="*/ 43720 w 124107"/>
                <a:gd name="connsiteY1443" fmla="*/ 144697 h 253855"/>
                <a:gd name="connsiteX1444" fmla="*/ 43720 w 124107"/>
                <a:gd name="connsiteY1444" fmla="*/ 144980 h 253855"/>
                <a:gd name="connsiteX1445" fmla="*/ 44001 w 124107"/>
                <a:gd name="connsiteY1445" fmla="*/ 144697 h 253855"/>
                <a:gd name="connsiteX1446" fmla="*/ 43720 w 124107"/>
                <a:gd name="connsiteY1446" fmla="*/ 144697 h 253855"/>
                <a:gd name="connsiteX1447" fmla="*/ 44848 w 124107"/>
                <a:gd name="connsiteY1447" fmla="*/ 151467 h 253855"/>
                <a:gd name="connsiteX1448" fmla="*/ 44848 w 124107"/>
                <a:gd name="connsiteY1448" fmla="*/ 152031 h 253855"/>
                <a:gd name="connsiteX1449" fmla="*/ 45130 w 124107"/>
                <a:gd name="connsiteY1449" fmla="*/ 151749 h 253855"/>
                <a:gd name="connsiteX1450" fmla="*/ 45130 w 124107"/>
                <a:gd name="connsiteY1450" fmla="*/ 151185 h 253855"/>
                <a:gd name="connsiteX1451" fmla="*/ 44848 w 124107"/>
                <a:gd name="connsiteY1451" fmla="*/ 151467 h 253855"/>
                <a:gd name="connsiteX1452" fmla="*/ 45975 w 124107"/>
                <a:gd name="connsiteY1452" fmla="*/ 150621 h 253855"/>
                <a:gd name="connsiteX1453" fmla="*/ 45975 w 124107"/>
                <a:gd name="connsiteY1453" fmla="*/ 150057 h 253855"/>
                <a:gd name="connsiteX1454" fmla="*/ 45694 w 124107"/>
                <a:gd name="connsiteY1454" fmla="*/ 149775 h 253855"/>
                <a:gd name="connsiteX1455" fmla="*/ 45130 w 124107"/>
                <a:gd name="connsiteY1455" fmla="*/ 150903 h 253855"/>
                <a:gd name="connsiteX1456" fmla="*/ 45130 w 124107"/>
                <a:gd name="connsiteY1456" fmla="*/ 151185 h 253855"/>
                <a:gd name="connsiteX1457" fmla="*/ 45975 w 124107"/>
                <a:gd name="connsiteY1457" fmla="*/ 150621 h 253855"/>
                <a:gd name="connsiteX1458" fmla="*/ 45975 w 124107"/>
                <a:gd name="connsiteY1458" fmla="*/ 250471 h 253855"/>
                <a:gd name="connsiteX1459" fmla="*/ 45411 w 124107"/>
                <a:gd name="connsiteY1459" fmla="*/ 250471 h 253855"/>
                <a:gd name="connsiteX1460" fmla="*/ 45130 w 124107"/>
                <a:gd name="connsiteY1460" fmla="*/ 250753 h 253855"/>
                <a:gd name="connsiteX1461" fmla="*/ 45411 w 124107"/>
                <a:gd name="connsiteY1461" fmla="*/ 251035 h 253855"/>
                <a:gd name="connsiteX1462" fmla="*/ 45975 w 124107"/>
                <a:gd name="connsiteY1462" fmla="*/ 250471 h 253855"/>
                <a:gd name="connsiteX1463" fmla="*/ 45411 w 124107"/>
                <a:gd name="connsiteY1463" fmla="*/ 140749 h 253855"/>
                <a:gd name="connsiteX1464" fmla="*/ 45975 w 124107"/>
                <a:gd name="connsiteY1464" fmla="*/ 141031 h 253855"/>
                <a:gd name="connsiteX1465" fmla="*/ 46258 w 124107"/>
                <a:gd name="connsiteY1465" fmla="*/ 140467 h 253855"/>
                <a:gd name="connsiteX1466" fmla="*/ 45411 w 124107"/>
                <a:gd name="connsiteY1466" fmla="*/ 140467 h 253855"/>
                <a:gd name="connsiteX1467" fmla="*/ 45411 w 124107"/>
                <a:gd name="connsiteY1467" fmla="*/ 140749 h 253855"/>
                <a:gd name="connsiteX1468" fmla="*/ 46258 w 124107"/>
                <a:gd name="connsiteY1468" fmla="*/ 138492 h 253855"/>
                <a:gd name="connsiteX1469" fmla="*/ 46540 w 124107"/>
                <a:gd name="connsiteY1469" fmla="*/ 139338 h 253855"/>
                <a:gd name="connsiteX1470" fmla="*/ 47668 w 124107"/>
                <a:gd name="connsiteY1470" fmla="*/ 140184 h 253855"/>
                <a:gd name="connsiteX1471" fmla="*/ 47950 w 124107"/>
                <a:gd name="connsiteY1471" fmla="*/ 139902 h 253855"/>
                <a:gd name="connsiteX1472" fmla="*/ 47950 w 124107"/>
                <a:gd name="connsiteY1472" fmla="*/ 139338 h 253855"/>
                <a:gd name="connsiteX1473" fmla="*/ 46822 w 124107"/>
                <a:gd name="connsiteY1473" fmla="*/ 137928 h 253855"/>
                <a:gd name="connsiteX1474" fmla="*/ 46540 w 124107"/>
                <a:gd name="connsiteY1474" fmla="*/ 137646 h 253855"/>
                <a:gd name="connsiteX1475" fmla="*/ 46258 w 124107"/>
                <a:gd name="connsiteY1475" fmla="*/ 138492 h 253855"/>
                <a:gd name="connsiteX1476" fmla="*/ 48232 w 124107"/>
                <a:gd name="connsiteY1476" fmla="*/ 141877 h 253855"/>
                <a:gd name="connsiteX1477" fmla="*/ 47668 w 124107"/>
                <a:gd name="connsiteY1477" fmla="*/ 141877 h 253855"/>
                <a:gd name="connsiteX1478" fmla="*/ 47668 w 124107"/>
                <a:gd name="connsiteY1478" fmla="*/ 142441 h 253855"/>
                <a:gd name="connsiteX1479" fmla="*/ 49078 w 124107"/>
                <a:gd name="connsiteY1479" fmla="*/ 143287 h 253855"/>
                <a:gd name="connsiteX1480" fmla="*/ 49078 w 124107"/>
                <a:gd name="connsiteY1480" fmla="*/ 143569 h 253855"/>
                <a:gd name="connsiteX1481" fmla="*/ 49361 w 124107"/>
                <a:gd name="connsiteY1481" fmla="*/ 143287 h 253855"/>
                <a:gd name="connsiteX1482" fmla="*/ 49078 w 124107"/>
                <a:gd name="connsiteY1482" fmla="*/ 143287 h 253855"/>
                <a:gd name="connsiteX1483" fmla="*/ 49078 w 124107"/>
                <a:gd name="connsiteY1483" fmla="*/ 142441 h 253855"/>
                <a:gd name="connsiteX1484" fmla="*/ 48232 w 124107"/>
                <a:gd name="connsiteY1484" fmla="*/ 141877 h 253855"/>
                <a:gd name="connsiteX1485" fmla="*/ 49078 w 124107"/>
                <a:gd name="connsiteY1485" fmla="*/ 137364 h 253855"/>
                <a:gd name="connsiteX1486" fmla="*/ 49642 w 124107"/>
                <a:gd name="connsiteY1486" fmla="*/ 138492 h 253855"/>
                <a:gd name="connsiteX1487" fmla="*/ 49642 w 124107"/>
                <a:gd name="connsiteY1487" fmla="*/ 139338 h 253855"/>
                <a:gd name="connsiteX1488" fmla="*/ 49925 w 124107"/>
                <a:gd name="connsiteY1488" fmla="*/ 139620 h 253855"/>
                <a:gd name="connsiteX1489" fmla="*/ 51617 w 124107"/>
                <a:gd name="connsiteY1489" fmla="*/ 137646 h 253855"/>
                <a:gd name="connsiteX1490" fmla="*/ 52463 w 124107"/>
                <a:gd name="connsiteY1490" fmla="*/ 136236 h 253855"/>
                <a:gd name="connsiteX1491" fmla="*/ 53027 w 124107"/>
                <a:gd name="connsiteY1491" fmla="*/ 136236 h 253855"/>
                <a:gd name="connsiteX1492" fmla="*/ 53027 w 124107"/>
                <a:gd name="connsiteY1492" fmla="*/ 135672 h 253855"/>
                <a:gd name="connsiteX1493" fmla="*/ 52745 w 124107"/>
                <a:gd name="connsiteY1493" fmla="*/ 135672 h 253855"/>
                <a:gd name="connsiteX1494" fmla="*/ 51335 w 124107"/>
                <a:gd name="connsiteY1494" fmla="*/ 136236 h 253855"/>
                <a:gd name="connsiteX1495" fmla="*/ 50489 w 124107"/>
                <a:gd name="connsiteY1495" fmla="*/ 136236 h 253855"/>
                <a:gd name="connsiteX1496" fmla="*/ 49925 w 124107"/>
                <a:gd name="connsiteY1496" fmla="*/ 135954 h 253855"/>
                <a:gd name="connsiteX1497" fmla="*/ 49642 w 124107"/>
                <a:gd name="connsiteY1497" fmla="*/ 136236 h 253855"/>
                <a:gd name="connsiteX1498" fmla="*/ 49078 w 124107"/>
                <a:gd name="connsiteY1498" fmla="*/ 137364 h 253855"/>
                <a:gd name="connsiteX1499" fmla="*/ 50206 w 124107"/>
                <a:gd name="connsiteY1499" fmla="*/ 235803 h 253855"/>
                <a:gd name="connsiteX1500" fmla="*/ 49642 w 124107"/>
                <a:gd name="connsiteY1500" fmla="*/ 235803 h 253855"/>
                <a:gd name="connsiteX1501" fmla="*/ 49361 w 124107"/>
                <a:gd name="connsiteY1501" fmla="*/ 235521 h 253855"/>
                <a:gd name="connsiteX1502" fmla="*/ 49925 w 124107"/>
                <a:gd name="connsiteY1502" fmla="*/ 235521 h 253855"/>
                <a:gd name="connsiteX1503" fmla="*/ 50206 w 124107"/>
                <a:gd name="connsiteY1503" fmla="*/ 235803 h 253855"/>
                <a:gd name="connsiteX1504" fmla="*/ 50771 w 124107"/>
                <a:gd name="connsiteY1504" fmla="*/ 248496 h 253855"/>
                <a:gd name="connsiteX1505" fmla="*/ 50489 w 124107"/>
                <a:gd name="connsiteY1505" fmla="*/ 248214 h 253855"/>
                <a:gd name="connsiteX1506" fmla="*/ 49925 w 124107"/>
                <a:gd name="connsiteY1506" fmla="*/ 248496 h 253855"/>
                <a:gd name="connsiteX1507" fmla="*/ 50206 w 124107"/>
                <a:gd name="connsiteY1507" fmla="*/ 249060 h 253855"/>
                <a:gd name="connsiteX1508" fmla="*/ 50771 w 124107"/>
                <a:gd name="connsiteY1508" fmla="*/ 248496 h 253855"/>
                <a:gd name="connsiteX1509" fmla="*/ 54156 w 124107"/>
                <a:gd name="connsiteY1509" fmla="*/ 246522 h 253855"/>
                <a:gd name="connsiteX1510" fmla="*/ 53309 w 124107"/>
                <a:gd name="connsiteY1510" fmla="*/ 245393 h 253855"/>
                <a:gd name="connsiteX1511" fmla="*/ 52463 w 124107"/>
                <a:gd name="connsiteY1511" fmla="*/ 247086 h 253855"/>
                <a:gd name="connsiteX1512" fmla="*/ 53873 w 124107"/>
                <a:gd name="connsiteY1512" fmla="*/ 247086 h 253855"/>
                <a:gd name="connsiteX1513" fmla="*/ 54156 w 124107"/>
                <a:gd name="connsiteY1513" fmla="*/ 246522 h 253855"/>
                <a:gd name="connsiteX1514" fmla="*/ 53027 w 124107"/>
                <a:gd name="connsiteY1514" fmla="*/ 131723 h 253855"/>
                <a:gd name="connsiteX1515" fmla="*/ 53309 w 124107"/>
                <a:gd name="connsiteY1515" fmla="*/ 131441 h 253855"/>
                <a:gd name="connsiteX1516" fmla="*/ 53027 w 124107"/>
                <a:gd name="connsiteY1516" fmla="*/ 130876 h 253855"/>
                <a:gd name="connsiteX1517" fmla="*/ 53027 w 124107"/>
                <a:gd name="connsiteY1517" fmla="*/ 131723 h 253855"/>
                <a:gd name="connsiteX1518" fmla="*/ 53592 w 124107"/>
                <a:gd name="connsiteY1518" fmla="*/ 133979 h 253855"/>
                <a:gd name="connsiteX1519" fmla="*/ 53027 w 124107"/>
                <a:gd name="connsiteY1519" fmla="*/ 134543 h 253855"/>
                <a:gd name="connsiteX1520" fmla="*/ 53309 w 124107"/>
                <a:gd name="connsiteY1520" fmla="*/ 134825 h 253855"/>
                <a:gd name="connsiteX1521" fmla="*/ 53873 w 124107"/>
                <a:gd name="connsiteY1521" fmla="*/ 134543 h 253855"/>
                <a:gd name="connsiteX1522" fmla="*/ 53592 w 124107"/>
                <a:gd name="connsiteY1522" fmla="*/ 133979 h 253855"/>
                <a:gd name="connsiteX1523" fmla="*/ 54437 w 124107"/>
                <a:gd name="connsiteY1523" fmla="*/ 126646 h 253855"/>
                <a:gd name="connsiteX1524" fmla="*/ 54720 w 124107"/>
                <a:gd name="connsiteY1524" fmla="*/ 127210 h 253855"/>
                <a:gd name="connsiteX1525" fmla="*/ 54720 w 124107"/>
                <a:gd name="connsiteY1525" fmla="*/ 126928 h 253855"/>
                <a:gd name="connsiteX1526" fmla="*/ 54437 w 124107"/>
                <a:gd name="connsiteY1526" fmla="*/ 126364 h 253855"/>
                <a:gd name="connsiteX1527" fmla="*/ 54437 w 124107"/>
                <a:gd name="connsiteY1527" fmla="*/ 126646 h 253855"/>
                <a:gd name="connsiteX1528" fmla="*/ 54437 w 124107"/>
                <a:gd name="connsiteY1528" fmla="*/ 137082 h 253855"/>
                <a:gd name="connsiteX1529" fmla="*/ 55002 w 124107"/>
                <a:gd name="connsiteY1529" fmla="*/ 137082 h 253855"/>
                <a:gd name="connsiteX1530" fmla="*/ 55566 w 124107"/>
                <a:gd name="connsiteY1530" fmla="*/ 136518 h 253855"/>
                <a:gd name="connsiteX1531" fmla="*/ 55284 w 124107"/>
                <a:gd name="connsiteY1531" fmla="*/ 136236 h 253855"/>
                <a:gd name="connsiteX1532" fmla="*/ 54437 w 124107"/>
                <a:gd name="connsiteY1532" fmla="*/ 137082 h 253855"/>
                <a:gd name="connsiteX1533" fmla="*/ 55002 w 124107"/>
                <a:gd name="connsiteY1533" fmla="*/ 132851 h 253855"/>
                <a:gd name="connsiteX1534" fmla="*/ 54720 w 124107"/>
                <a:gd name="connsiteY1534" fmla="*/ 133415 h 253855"/>
                <a:gd name="connsiteX1535" fmla="*/ 55002 w 124107"/>
                <a:gd name="connsiteY1535" fmla="*/ 133697 h 253855"/>
                <a:gd name="connsiteX1536" fmla="*/ 55284 w 124107"/>
                <a:gd name="connsiteY1536" fmla="*/ 133133 h 253855"/>
                <a:gd name="connsiteX1537" fmla="*/ 55002 w 124107"/>
                <a:gd name="connsiteY1537" fmla="*/ 132851 h 253855"/>
                <a:gd name="connsiteX1538" fmla="*/ 55848 w 124107"/>
                <a:gd name="connsiteY1538" fmla="*/ 135954 h 253855"/>
                <a:gd name="connsiteX1539" fmla="*/ 56412 w 124107"/>
                <a:gd name="connsiteY1539" fmla="*/ 136236 h 253855"/>
                <a:gd name="connsiteX1540" fmla="*/ 56694 w 124107"/>
                <a:gd name="connsiteY1540" fmla="*/ 135954 h 253855"/>
                <a:gd name="connsiteX1541" fmla="*/ 56694 w 124107"/>
                <a:gd name="connsiteY1541" fmla="*/ 135672 h 253855"/>
                <a:gd name="connsiteX1542" fmla="*/ 56412 w 124107"/>
                <a:gd name="connsiteY1542" fmla="*/ 135389 h 253855"/>
                <a:gd name="connsiteX1543" fmla="*/ 55848 w 124107"/>
                <a:gd name="connsiteY1543" fmla="*/ 135672 h 253855"/>
                <a:gd name="connsiteX1544" fmla="*/ 55848 w 124107"/>
                <a:gd name="connsiteY1544" fmla="*/ 135954 h 253855"/>
                <a:gd name="connsiteX1545" fmla="*/ 57258 w 124107"/>
                <a:gd name="connsiteY1545" fmla="*/ 124389 h 253855"/>
                <a:gd name="connsiteX1546" fmla="*/ 57540 w 124107"/>
                <a:gd name="connsiteY1546" fmla="*/ 124107 h 253855"/>
                <a:gd name="connsiteX1547" fmla="*/ 57258 w 124107"/>
                <a:gd name="connsiteY1547" fmla="*/ 124107 h 253855"/>
                <a:gd name="connsiteX1548" fmla="*/ 57258 w 124107"/>
                <a:gd name="connsiteY1548" fmla="*/ 124389 h 253855"/>
                <a:gd name="connsiteX1549" fmla="*/ 57258 w 124107"/>
                <a:gd name="connsiteY1549" fmla="*/ 136800 h 253855"/>
                <a:gd name="connsiteX1550" fmla="*/ 57540 w 124107"/>
                <a:gd name="connsiteY1550" fmla="*/ 136800 h 253855"/>
                <a:gd name="connsiteX1551" fmla="*/ 58104 w 124107"/>
                <a:gd name="connsiteY1551" fmla="*/ 137082 h 253855"/>
                <a:gd name="connsiteX1552" fmla="*/ 58387 w 124107"/>
                <a:gd name="connsiteY1552" fmla="*/ 137928 h 253855"/>
                <a:gd name="connsiteX1553" fmla="*/ 58387 w 124107"/>
                <a:gd name="connsiteY1553" fmla="*/ 138492 h 253855"/>
                <a:gd name="connsiteX1554" fmla="*/ 58951 w 124107"/>
                <a:gd name="connsiteY1554" fmla="*/ 138492 h 253855"/>
                <a:gd name="connsiteX1555" fmla="*/ 59515 w 124107"/>
                <a:gd name="connsiteY1555" fmla="*/ 137364 h 253855"/>
                <a:gd name="connsiteX1556" fmla="*/ 59233 w 124107"/>
                <a:gd name="connsiteY1556" fmla="*/ 136518 h 253855"/>
                <a:gd name="connsiteX1557" fmla="*/ 58387 w 124107"/>
                <a:gd name="connsiteY1557" fmla="*/ 136236 h 253855"/>
                <a:gd name="connsiteX1558" fmla="*/ 57540 w 124107"/>
                <a:gd name="connsiteY1558" fmla="*/ 136800 h 253855"/>
                <a:gd name="connsiteX1559" fmla="*/ 57540 w 124107"/>
                <a:gd name="connsiteY1559" fmla="*/ 136236 h 253855"/>
                <a:gd name="connsiteX1560" fmla="*/ 57258 w 124107"/>
                <a:gd name="connsiteY1560" fmla="*/ 136236 h 253855"/>
                <a:gd name="connsiteX1561" fmla="*/ 57258 w 124107"/>
                <a:gd name="connsiteY1561" fmla="*/ 136800 h 253855"/>
                <a:gd name="connsiteX1562" fmla="*/ 57540 w 124107"/>
                <a:gd name="connsiteY1562" fmla="*/ 124107 h 253855"/>
                <a:gd name="connsiteX1563" fmla="*/ 57823 w 124107"/>
                <a:gd name="connsiteY1563" fmla="*/ 123825 h 253855"/>
                <a:gd name="connsiteX1564" fmla="*/ 57540 w 124107"/>
                <a:gd name="connsiteY1564" fmla="*/ 124107 h 253855"/>
                <a:gd name="connsiteX1565" fmla="*/ 57540 w 124107"/>
                <a:gd name="connsiteY1565" fmla="*/ 134261 h 253855"/>
                <a:gd name="connsiteX1566" fmla="*/ 57540 w 124107"/>
                <a:gd name="connsiteY1566" fmla="*/ 134543 h 253855"/>
                <a:gd name="connsiteX1567" fmla="*/ 57823 w 124107"/>
                <a:gd name="connsiteY1567" fmla="*/ 134543 h 253855"/>
                <a:gd name="connsiteX1568" fmla="*/ 58104 w 124107"/>
                <a:gd name="connsiteY1568" fmla="*/ 133697 h 253855"/>
                <a:gd name="connsiteX1569" fmla="*/ 58104 w 124107"/>
                <a:gd name="connsiteY1569" fmla="*/ 133415 h 253855"/>
                <a:gd name="connsiteX1570" fmla="*/ 57823 w 124107"/>
                <a:gd name="connsiteY1570" fmla="*/ 133133 h 253855"/>
                <a:gd name="connsiteX1571" fmla="*/ 57823 w 124107"/>
                <a:gd name="connsiteY1571" fmla="*/ 133415 h 253855"/>
                <a:gd name="connsiteX1572" fmla="*/ 57540 w 124107"/>
                <a:gd name="connsiteY1572" fmla="*/ 134261 h 253855"/>
                <a:gd name="connsiteX1573" fmla="*/ 59233 w 124107"/>
                <a:gd name="connsiteY1573" fmla="*/ 125799 h 253855"/>
                <a:gd name="connsiteX1574" fmla="*/ 58951 w 124107"/>
                <a:gd name="connsiteY1574" fmla="*/ 125799 h 253855"/>
                <a:gd name="connsiteX1575" fmla="*/ 58951 w 124107"/>
                <a:gd name="connsiteY1575" fmla="*/ 125517 h 253855"/>
                <a:gd name="connsiteX1576" fmla="*/ 58104 w 124107"/>
                <a:gd name="connsiteY1576" fmla="*/ 126081 h 253855"/>
                <a:gd name="connsiteX1577" fmla="*/ 57823 w 124107"/>
                <a:gd name="connsiteY1577" fmla="*/ 126928 h 253855"/>
                <a:gd name="connsiteX1578" fmla="*/ 58668 w 124107"/>
                <a:gd name="connsiteY1578" fmla="*/ 126928 h 253855"/>
                <a:gd name="connsiteX1579" fmla="*/ 59233 w 124107"/>
                <a:gd name="connsiteY1579" fmla="*/ 125799 h 253855"/>
                <a:gd name="connsiteX1580" fmla="*/ 58387 w 124107"/>
                <a:gd name="connsiteY1580" fmla="*/ 122979 h 253855"/>
                <a:gd name="connsiteX1581" fmla="*/ 59797 w 124107"/>
                <a:gd name="connsiteY1581" fmla="*/ 122133 h 253855"/>
                <a:gd name="connsiteX1582" fmla="*/ 58387 w 124107"/>
                <a:gd name="connsiteY1582" fmla="*/ 122979 h 253855"/>
                <a:gd name="connsiteX1583" fmla="*/ 59797 w 124107"/>
                <a:gd name="connsiteY1583" fmla="*/ 122133 h 253855"/>
                <a:gd name="connsiteX1584" fmla="*/ 61771 w 124107"/>
                <a:gd name="connsiteY1584" fmla="*/ 121286 h 253855"/>
                <a:gd name="connsiteX1585" fmla="*/ 61489 w 124107"/>
                <a:gd name="connsiteY1585" fmla="*/ 121004 h 253855"/>
                <a:gd name="connsiteX1586" fmla="*/ 60925 w 124107"/>
                <a:gd name="connsiteY1586" fmla="*/ 120722 h 253855"/>
                <a:gd name="connsiteX1587" fmla="*/ 60361 w 124107"/>
                <a:gd name="connsiteY1587" fmla="*/ 121004 h 253855"/>
                <a:gd name="connsiteX1588" fmla="*/ 59797 w 124107"/>
                <a:gd name="connsiteY1588" fmla="*/ 122133 h 253855"/>
                <a:gd name="connsiteX1589" fmla="*/ 62054 w 124107"/>
                <a:gd name="connsiteY1589" fmla="*/ 240598 h 253855"/>
                <a:gd name="connsiteX1590" fmla="*/ 61771 w 124107"/>
                <a:gd name="connsiteY1590" fmla="*/ 240880 h 253855"/>
                <a:gd name="connsiteX1591" fmla="*/ 62054 w 124107"/>
                <a:gd name="connsiteY1591" fmla="*/ 240880 h 253855"/>
                <a:gd name="connsiteX1592" fmla="*/ 62618 w 124107"/>
                <a:gd name="connsiteY1592" fmla="*/ 240598 h 253855"/>
                <a:gd name="connsiteX1593" fmla="*/ 62054 w 124107"/>
                <a:gd name="connsiteY1593" fmla="*/ 240598 h 253855"/>
                <a:gd name="connsiteX1594" fmla="*/ 63464 w 124107"/>
                <a:gd name="connsiteY1594" fmla="*/ 120722 h 253855"/>
                <a:gd name="connsiteX1595" fmla="*/ 63745 w 124107"/>
                <a:gd name="connsiteY1595" fmla="*/ 121286 h 253855"/>
                <a:gd name="connsiteX1596" fmla="*/ 64309 w 124107"/>
                <a:gd name="connsiteY1596" fmla="*/ 121286 h 253855"/>
                <a:gd name="connsiteX1597" fmla="*/ 66002 w 124107"/>
                <a:gd name="connsiteY1597" fmla="*/ 122415 h 253855"/>
                <a:gd name="connsiteX1598" fmla="*/ 67412 w 124107"/>
                <a:gd name="connsiteY1598" fmla="*/ 121851 h 253855"/>
                <a:gd name="connsiteX1599" fmla="*/ 67976 w 124107"/>
                <a:gd name="connsiteY1599" fmla="*/ 121286 h 253855"/>
                <a:gd name="connsiteX1600" fmla="*/ 67695 w 124107"/>
                <a:gd name="connsiteY1600" fmla="*/ 121004 h 253855"/>
                <a:gd name="connsiteX1601" fmla="*/ 66566 w 124107"/>
                <a:gd name="connsiteY1601" fmla="*/ 120158 h 253855"/>
                <a:gd name="connsiteX1602" fmla="*/ 66002 w 124107"/>
                <a:gd name="connsiteY1602" fmla="*/ 119876 h 253855"/>
                <a:gd name="connsiteX1603" fmla="*/ 64309 w 124107"/>
                <a:gd name="connsiteY1603" fmla="*/ 120158 h 253855"/>
                <a:gd name="connsiteX1604" fmla="*/ 63745 w 124107"/>
                <a:gd name="connsiteY1604" fmla="*/ 120158 h 253855"/>
                <a:gd name="connsiteX1605" fmla="*/ 63464 w 124107"/>
                <a:gd name="connsiteY1605" fmla="*/ 120440 h 253855"/>
                <a:gd name="connsiteX1606" fmla="*/ 63464 w 124107"/>
                <a:gd name="connsiteY1606" fmla="*/ 120722 h 253855"/>
                <a:gd name="connsiteX1607" fmla="*/ 63745 w 124107"/>
                <a:gd name="connsiteY1607" fmla="*/ 118184 h 253855"/>
                <a:gd name="connsiteX1608" fmla="*/ 64309 w 124107"/>
                <a:gd name="connsiteY1608" fmla="*/ 118466 h 253855"/>
                <a:gd name="connsiteX1609" fmla="*/ 64874 w 124107"/>
                <a:gd name="connsiteY1609" fmla="*/ 117902 h 253855"/>
                <a:gd name="connsiteX1610" fmla="*/ 64592 w 124107"/>
                <a:gd name="connsiteY1610" fmla="*/ 117620 h 253855"/>
                <a:gd name="connsiteX1611" fmla="*/ 64309 w 124107"/>
                <a:gd name="connsiteY1611" fmla="*/ 117620 h 253855"/>
                <a:gd name="connsiteX1612" fmla="*/ 63745 w 124107"/>
                <a:gd name="connsiteY1612" fmla="*/ 117902 h 253855"/>
                <a:gd name="connsiteX1613" fmla="*/ 63745 w 124107"/>
                <a:gd name="connsiteY1613" fmla="*/ 118184 h 253855"/>
                <a:gd name="connsiteX1614" fmla="*/ 68540 w 124107"/>
                <a:gd name="connsiteY1614" fmla="*/ 117055 h 253855"/>
                <a:gd name="connsiteX1615" fmla="*/ 69105 w 124107"/>
                <a:gd name="connsiteY1615" fmla="*/ 117620 h 253855"/>
                <a:gd name="connsiteX1616" fmla="*/ 69387 w 124107"/>
                <a:gd name="connsiteY1616" fmla="*/ 117902 h 253855"/>
                <a:gd name="connsiteX1617" fmla="*/ 69951 w 124107"/>
                <a:gd name="connsiteY1617" fmla="*/ 116491 h 253855"/>
                <a:gd name="connsiteX1618" fmla="*/ 69951 w 124107"/>
                <a:gd name="connsiteY1618" fmla="*/ 116209 h 253855"/>
                <a:gd name="connsiteX1619" fmla="*/ 69387 w 124107"/>
                <a:gd name="connsiteY1619" fmla="*/ 116209 h 253855"/>
                <a:gd name="connsiteX1620" fmla="*/ 68540 w 124107"/>
                <a:gd name="connsiteY1620" fmla="*/ 117055 h 253855"/>
                <a:gd name="connsiteX1621" fmla="*/ 70233 w 124107"/>
                <a:gd name="connsiteY1621" fmla="*/ 121568 h 253855"/>
                <a:gd name="connsiteX1622" fmla="*/ 69669 w 124107"/>
                <a:gd name="connsiteY1622" fmla="*/ 122133 h 253855"/>
                <a:gd name="connsiteX1623" fmla="*/ 69669 w 124107"/>
                <a:gd name="connsiteY1623" fmla="*/ 122415 h 253855"/>
                <a:gd name="connsiteX1624" fmla="*/ 70233 w 124107"/>
                <a:gd name="connsiteY1624" fmla="*/ 122133 h 253855"/>
                <a:gd name="connsiteX1625" fmla="*/ 70515 w 124107"/>
                <a:gd name="connsiteY1625" fmla="*/ 122133 h 253855"/>
                <a:gd name="connsiteX1626" fmla="*/ 70797 w 124107"/>
                <a:gd name="connsiteY1626" fmla="*/ 122415 h 253855"/>
                <a:gd name="connsiteX1627" fmla="*/ 70515 w 124107"/>
                <a:gd name="connsiteY1627" fmla="*/ 121568 h 253855"/>
                <a:gd name="connsiteX1628" fmla="*/ 70233 w 124107"/>
                <a:gd name="connsiteY1628" fmla="*/ 121568 h 253855"/>
                <a:gd name="connsiteX1629" fmla="*/ 73054 w 124107"/>
                <a:gd name="connsiteY1629" fmla="*/ 117620 h 253855"/>
                <a:gd name="connsiteX1630" fmla="*/ 73336 w 124107"/>
                <a:gd name="connsiteY1630" fmla="*/ 117338 h 253855"/>
                <a:gd name="connsiteX1631" fmla="*/ 73900 w 124107"/>
                <a:gd name="connsiteY1631" fmla="*/ 115927 h 253855"/>
                <a:gd name="connsiteX1632" fmla="*/ 75592 w 124107"/>
                <a:gd name="connsiteY1632" fmla="*/ 114799 h 253855"/>
                <a:gd name="connsiteX1633" fmla="*/ 78131 w 124107"/>
                <a:gd name="connsiteY1633" fmla="*/ 112825 h 253855"/>
                <a:gd name="connsiteX1634" fmla="*/ 75592 w 124107"/>
                <a:gd name="connsiteY1634" fmla="*/ 114235 h 253855"/>
                <a:gd name="connsiteX1635" fmla="*/ 75028 w 124107"/>
                <a:gd name="connsiteY1635" fmla="*/ 114517 h 253855"/>
                <a:gd name="connsiteX1636" fmla="*/ 73336 w 124107"/>
                <a:gd name="connsiteY1636" fmla="*/ 115645 h 253855"/>
                <a:gd name="connsiteX1637" fmla="*/ 72771 w 124107"/>
                <a:gd name="connsiteY1637" fmla="*/ 117055 h 253855"/>
                <a:gd name="connsiteX1638" fmla="*/ 73054 w 124107"/>
                <a:gd name="connsiteY1638" fmla="*/ 117620 h 253855"/>
                <a:gd name="connsiteX1639" fmla="*/ 74746 w 124107"/>
                <a:gd name="connsiteY1639" fmla="*/ 117902 h 253855"/>
                <a:gd name="connsiteX1640" fmla="*/ 73900 w 124107"/>
                <a:gd name="connsiteY1640" fmla="*/ 118466 h 253855"/>
                <a:gd name="connsiteX1641" fmla="*/ 74182 w 124107"/>
                <a:gd name="connsiteY1641" fmla="*/ 119030 h 253855"/>
                <a:gd name="connsiteX1642" fmla="*/ 75028 w 124107"/>
                <a:gd name="connsiteY1642" fmla="*/ 118184 h 253855"/>
                <a:gd name="connsiteX1643" fmla="*/ 74746 w 124107"/>
                <a:gd name="connsiteY1643" fmla="*/ 117902 h 253855"/>
                <a:gd name="connsiteX1644" fmla="*/ 77849 w 124107"/>
                <a:gd name="connsiteY1644" fmla="*/ 225085 h 253855"/>
                <a:gd name="connsiteX1645" fmla="*/ 77567 w 124107"/>
                <a:gd name="connsiteY1645" fmla="*/ 224521 h 253855"/>
                <a:gd name="connsiteX1646" fmla="*/ 76721 w 124107"/>
                <a:gd name="connsiteY1646" fmla="*/ 224521 h 253855"/>
                <a:gd name="connsiteX1647" fmla="*/ 76438 w 124107"/>
                <a:gd name="connsiteY1647" fmla="*/ 225931 h 253855"/>
                <a:gd name="connsiteX1648" fmla="*/ 76438 w 124107"/>
                <a:gd name="connsiteY1648" fmla="*/ 226777 h 253855"/>
                <a:gd name="connsiteX1649" fmla="*/ 77002 w 124107"/>
                <a:gd name="connsiteY1649" fmla="*/ 226777 h 253855"/>
                <a:gd name="connsiteX1650" fmla="*/ 77849 w 124107"/>
                <a:gd name="connsiteY1650" fmla="*/ 225085 h 253855"/>
                <a:gd name="connsiteX1651" fmla="*/ 78977 w 124107"/>
                <a:gd name="connsiteY1651" fmla="*/ 221700 h 253855"/>
                <a:gd name="connsiteX1652" fmla="*/ 78413 w 124107"/>
                <a:gd name="connsiteY1652" fmla="*/ 221982 h 253855"/>
                <a:gd name="connsiteX1653" fmla="*/ 78131 w 124107"/>
                <a:gd name="connsiteY1653" fmla="*/ 222264 h 253855"/>
                <a:gd name="connsiteX1654" fmla="*/ 78413 w 124107"/>
                <a:gd name="connsiteY1654" fmla="*/ 222264 h 253855"/>
                <a:gd name="connsiteX1655" fmla="*/ 78695 w 124107"/>
                <a:gd name="connsiteY1655" fmla="*/ 221982 h 253855"/>
                <a:gd name="connsiteX1656" fmla="*/ 78977 w 124107"/>
                <a:gd name="connsiteY1656" fmla="*/ 221700 h 253855"/>
                <a:gd name="connsiteX1657" fmla="*/ 80105 w 124107"/>
                <a:gd name="connsiteY1657" fmla="*/ 111414 h 253855"/>
                <a:gd name="connsiteX1658" fmla="*/ 81798 w 124107"/>
                <a:gd name="connsiteY1658" fmla="*/ 110568 h 253855"/>
                <a:gd name="connsiteX1659" fmla="*/ 83208 w 124107"/>
                <a:gd name="connsiteY1659" fmla="*/ 112260 h 253855"/>
                <a:gd name="connsiteX1660" fmla="*/ 83208 w 124107"/>
                <a:gd name="connsiteY1660" fmla="*/ 112542 h 253855"/>
                <a:gd name="connsiteX1661" fmla="*/ 82079 w 124107"/>
                <a:gd name="connsiteY1661" fmla="*/ 112260 h 253855"/>
                <a:gd name="connsiteX1662" fmla="*/ 81516 w 124107"/>
                <a:gd name="connsiteY1662" fmla="*/ 113107 h 253855"/>
                <a:gd name="connsiteX1663" fmla="*/ 81516 w 124107"/>
                <a:gd name="connsiteY1663" fmla="*/ 113671 h 253855"/>
                <a:gd name="connsiteX1664" fmla="*/ 82079 w 124107"/>
                <a:gd name="connsiteY1664" fmla="*/ 114517 h 253855"/>
                <a:gd name="connsiteX1665" fmla="*/ 82362 w 124107"/>
                <a:gd name="connsiteY1665" fmla="*/ 114799 h 253855"/>
                <a:gd name="connsiteX1666" fmla="*/ 82643 w 124107"/>
                <a:gd name="connsiteY1666" fmla="*/ 114517 h 253855"/>
                <a:gd name="connsiteX1667" fmla="*/ 83772 w 124107"/>
                <a:gd name="connsiteY1667" fmla="*/ 113671 h 253855"/>
                <a:gd name="connsiteX1668" fmla="*/ 84336 w 124107"/>
                <a:gd name="connsiteY1668" fmla="*/ 112825 h 253855"/>
                <a:gd name="connsiteX1669" fmla="*/ 84054 w 124107"/>
                <a:gd name="connsiteY1669" fmla="*/ 111978 h 253855"/>
                <a:gd name="connsiteX1670" fmla="*/ 84336 w 124107"/>
                <a:gd name="connsiteY1670" fmla="*/ 111132 h 253855"/>
                <a:gd name="connsiteX1671" fmla="*/ 84900 w 124107"/>
                <a:gd name="connsiteY1671" fmla="*/ 110568 h 253855"/>
                <a:gd name="connsiteX1672" fmla="*/ 84618 w 124107"/>
                <a:gd name="connsiteY1672" fmla="*/ 110004 h 253855"/>
                <a:gd name="connsiteX1673" fmla="*/ 84336 w 124107"/>
                <a:gd name="connsiteY1673" fmla="*/ 109722 h 253855"/>
                <a:gd name="connsiteX1674" fmla="*/ 84900 w 124107"/>
                <a:gd name="connsiteY1674" fmla="*/ 109440 h 253855"/>
                <a:gd name="connsiteX1675" fmla="*/ 86310 w 124107"/>
                <a:gd name="connsiteY1675" fmla="*/ 107747 h 253855"/>
                <a:gd name="connsiteX1676" fmla="*/ 87157 w 124107"/>
                <a:gd name="connsiteY1676" fmla="*/ 107183 h 253855"/>
                <a:gd name="connsiteX1677" fmla="*/ 87157 w 124107"/>
                <a:gd name="connsiteY1677" fmla="*/ 108312 h 253855"/>
                <a:gd name="connsiteX1678" fmla="*/ 88567 w 124107"/>
                <a:gd name="connsiteY1678" fmla="*/ 107183 h 253855"/>
                <a:gd name="connsiteX1679" fmla="*/ 87721 w 124107"/>
                <a:gd name="connsiteY1679" fmla="*/ 106337 h 253855"/>
                <a:gd name="connsiteX1680" fmla="*/ 87157 w 124107"/>
                <a:gd name="connsiteY1680" fmla="*/ 105209 h 253855"/>
                <a:gd name="connsiteX1681" fmla="*/ 86593 w 124107"/>
                <a:gd name="connsiteY1681" fmla="*/ 105209 h 253855"/>
                <a:gd name="connsiteX1682" fmla="*/ 84054 w 124107"/>
                <a:gd name="connsiteY1682" fmla="*/ 106337 h 253855"/>
                <a:gd name="connsiteX1683" fmla="*/ 83772 w 124107"/>
                <a:gd name="connsiteY1683" fmla="*/ 106337 h 253855"/>
                <a:gd name="connsiteX1684" fmla="*/ 82643 w 124107"/>
                <a:gd name="connsiteY1684" fmla="*/ 107465 h 253855"/>
                <a:gd name="connsiteX1685" fmla="*/ 82079 w 124107"/>
                <a:gd name="connsiteY1685" fmla="*/ 108312 h 253855"/>
                <a:gd name="connsiteX1686" fmla="*/ 79823 w 124107"/>
                <a:gd name="connsiteY1686" fmla="*/ 110568 h 253855"/>
                <a:gd name="connsiteX1687" fmla="*/ 79823 w 124107"/>
                <a:gd name="connsiteY1687" fmla="*/ 111414 h 253855"/>
                <a:gd name="connsiteX1688" fmla="*/ 80105 w 124107"/>
                <a:gd name="connsiteY1688" fmla="*/ 111414 h 253855"/>
                <a:gd name="connsiteX1689" fmla="*/ 80669 w 124107"/>
                <a:gd name="connsiteY1689" fmla="*/ 217751 h 253855"/>
                <a:gd name="connsiteX1690" fmla="*/ 80388 w 124107"/>
                <a:gd name="connsiteY1690" fmla="*/ 217187 h 253855"/>
                <a:gd name="connsiteX1691" fmla="*/ 80105 w 124107"/>
                <a:gd name="connsiteY1691" fmla="*/ 217469 h 253855"/>
                <a:gd name="connsiteX1692" fmla="*/ 80388 w 124107"/>
                <a:gd name="connsiteY1692" fmla="*/ 217751 h 253855"/>
                <a:gd name="connsiteX1693" fmla="*/ 80669 w 124107"/>
                <a:gd name="connsiteY1693" fmla="*/ 217751 h 253855"/>
                <a:gd name="connsiteX1694" fmla="*/ 80388 w 124107"/>
                <a:gd name="connsiteY1694" fmla="*/ 219726 h 253855"/>
                <a:gd name="connsiteX1695" fmla="*/ 80105 w 124107"/>
                <a:gd name="connsiteY1695" fmla="*/ 219726 h 253855"/>
                <a:gd name="connsiteX1696" fmla="*/ 80388 w 124107"/>
                <a:gd name="connsiteY1696" fmla="*/ 219726 h 253855"/>
                <a:gd name="connsiteX1697" fmla="*/ 86874 w 124107"/>
                <a:gd name="connsiteY1697" fmla="*/ 214367 h 253855"/>
                <a:gd name="connsiteX1698" fmla="*/ 86593 w 124107"/>
                <a:gd name="connsiteY1698" fmla="*/ 213803 h 253855"/>
                <a:gd name="connsiteX1699" fmla="*/ 85464 w 124107"/>
                <a:gd name="connsiteY1699" fmla="*/ 212956 h 253855"/>
                <a:gd name="connsiteX1700" fmla="*/ 84900 w 124107"/>
                <a:gd name="connsiteY1700" fmla="*/ 212674 h 253855"/>
                <a:gd name="connsiteX1701" fmla="*/ 84618 w 124107"/>
                <a:gd name="connsiteY1701" fmla="*/ 212956 h 253855"/>
                <a:gd name="connsiteX1702" fmla="*/ 82362 w 124107"/>
                <a:gd name="connsiteY1702" fmla="*/ 214931 h 253855"/>
                <a:gd name="connsiteX1703" fmla="*/ 81798 w 124107"/>
                <a:gd name="connsiteY1703" fmla="*/ 215777 h 253855"/>
                <a:gd name="connsiteX1704" fmla="*/ 81516 w 124107"/>
                <a:gd name="connsiteY1704" fmla="*/ 216341 h 253855"/>
                <a:gd name="connsiteX1705" fmla="*/ 81798 w 124107"/>
                <a:gd name="connsiteY1705" fmla="*/ 216623 h 253855"/>
                <a:gd name="connsiteX1706" fmla="*/ 82362 w 124107"/>
                <a:gd name="connsiteY1706" fmla="*/ 216623 h 253855"/>
                <a:gd name="connsiteX1707" fmla="*/ 83208 w 124107"/>
                <a:gd name="connsiteY1707" fmla="*/ 215777 h 253855"/>
                <a:gd name="connsiteX1708" fmla="*/ 83208 w 124107"/>
                <a:gd name="connsiteY1708" fmla="*/ 215213 h 253855"/>
                <a:gd name="connsiteX1709" fmla="*/ 84054 w 124107"/>
                <a:gd name="connsiteY1709" fmla="*/ 214367 h 253855"/>
                <a:gd name="connsiteX1710" fmla="*/ 85746 w 124107"/>
                <a:gd name="connsiteY1710" fmla="*/ 214931 h 253855"/>
                <a:gd name="connsiteX1711" fmla="*/ 86874 w 124107"/>
                <a:gd name="connsiteY1711" fmla="*/ 214367 h 253855"/>
                <a:gd name="connsiteX1712" fmla="*/ 85182 w 124107"/>
                <a:gd name="connsiteY1712" fmla="*/ 100132 h 253855"/>
                <a:gd name="connsiteX1713" fmla="*/ 85464 w 124107"/>
                <a:gd name="connsiteY1713" fmla="*/ 100132 h 253855"/>
                <a:gd name="connsiteX1714" fmla="*/ 85182 w 124107"/>
                <a:gd name="connsiteY1714" fmla="*/ 100414 h 253855"/>
                <a:gd name="connsiteX1715" fmla="*/ 85182 w 124107"/>
                <a:gd name="connsiteY1715" fmla="*/ 100132 h 253855"/>
                <a:gd name="connsiteX1716" fmla="*/ 86874 w 124107"/>
                <a:gd name="connsiteY1716" fmla="*/ 211546 h 253855"/>
                <a:gd name="connsiteX1717" fmla="*/ 86593 w 124107"/>
                <a:gd name="connsiteY1717" fmla="*/ 211264 h 253855"/>
                <a:gd name="connsiteX1718" fmla="*/ 86310 w 124107"/>
                <a:gd name="connsiteY1718" fmla="*/ 211264 h 253855"/>
                <a:gd name="connsiteX1719" fmla="*/ 86029 w 124107"/>
                <a:gd name="connsiteY1719" fmla="*/ 211828 h 253855"/>
                <a:gd name="connsiteX1720" fmla="*/ 86593 w 124107"/>
                <a:gd name="connsiteY1720" fmla="*/ 212392 h 253855"/>
                <a:gd name="connsiteX1721" fmla="*/ 86593 w 124107"/>
                <a:gd name="connsiteY1721" fmla="*/ 212110 h 253855"/>
                <a:gd name="connsiteX1722" fmla="*/ 86874 w 124107"/>
                <a:gd name="connsiteY1722" fmla="*/ 212110 h 253855"/>
                <a:gd name="connsiteX1723" fmla="*/ 86874 w 124107"/>
                <a:gd name="connsiteY1723" fmla="*/ 211546 h 253855"/>
                <a:gd name="connsiteX1724" fmla="*/ 88003 w 124107"/>
                <a:gd name="connsiteY1724" fmla="*/ 102670 h 253855"/>
                <a:gd name="connsiteX1725" fmla="*/ 88285 w 124107"/>
                <a:gd name="connsiteY1725" fmla="*/ 102388 h 253855"/>
                <a:gd name="connsiteX1726" fmla="*/ 88003 w 124107"/>
                <a:gd name="connsiteY1726" fmla="*/ 102106 h 253855"/>
                <a:gd name="connsiteX1727" fmla="*/ 87439 w 124107"/>
                <a:gd name="connsiteY1727" fmla="*/ 102388 h 253855"/>
                <a:gd name="connsiteX1728" fmla="*/ 88003 w 124107"/>
                <a:gd name="connsiteY1728" fmla="*/ 102670 h 253855"/>
                <a:gd name="connsiteX1729" fmla="*/ 88567 w 124107"/>
                <a:gd name="connsiteY1729" fmla="*/ 104645 h 253855"/>
                <a:gd name="connsiteX1730" fmla="*/ 91388 w 124107"/>
                <a:gd name="connsiteY1730" fmla="*/ 102106 h 253855"/>
                <a:gd name="connsiteX1731" fmla="*/ 90824 w 124107"/>
                <a:gd name="connsiteY1731" fmla="*/ 102106 h 253855"/>
                <a:gd name="connsiteX1732" fmla="*/ 87721 w 124107"/>
                <a:gd name="connsiteY1732" fmla="*/ 104645 h 253855"/>
                <a:gd name="connsiteX1733" fmla="*/ 88567 w 124107"/>
                <a:gd name="connsiteY1733" fmla="*/ 104645 h 253855"/>
                <a:gd name="connsiteX1734" fmla="*/ 88567 w 124107"/>
                <a:gd name="connsiteY1734" fmla="*/ 207315 h 253855"/>
                <a:gd name="connsiteX1735" fmla="*/ 89131 w 124107"/>
                <a:gd name="connsiteY1735" fmla="*/ 207033 h 253855"/>
                <a:gd name="connsiteX1736" fmla="*/ 88849 w 124107"/>
                <a:gd name="connsiteY1736" fmla="*/ 207033 h 253855"/>
                <a:gd name="connsiteX1737" fmla="*/ 88849 w 124107"/>
                <a:gd name="connsiteY1737" fmla="*/ 206751 h 253855"/>
                <a:gd name="connsiteX1738" fmla="*/ 88285 w 124107"/>
                <a:gd name="connsiteY1738" fmla="*/ 207315 h 253855"/>
                <a:gd name="connsiteX1739" fmla="*/ 88567 w 124107"/>
                <a:gd name="connsiteY1739" fmla="*/ 207315 h 253855"/>
                <a:gd name="connsiteX1740" fmla="*/ 90260 w 124107"/>
                <a:gd name="connsiteY1740" fmla="*/ 209290 h 253855"/>
                <a:gd name="connsiteX1741" fmla="*/ 88285 w 124107"/>
                <a:gd name="connsiteY1741" fmla="*/ 208443 h 253855"/>
                <a:gd name="connsiteX1742" fmla="*/ 88285 w 124107"/>
                <a:gd name="connsiteY1742" fmla="*/ 208725 h 253855"/>
                <a:gd name="connsiteX1743" fmla="*/ 89131 w 124107"/>
                <a:gd name="connsiteY1743" fmla="*/ 210136 h 253855"/>
                <a:gd name="connsiteX1744" fmla="*/ 89977 w 124107"/>
                <a:gd name="connsiteY1744" fmla="*/ 209854 h 253855"/>
                <a:gd name="connsiteX1745" fmla="*/ 90260 w 124107"/>
                <a:gd name="connsiteY1745" fmla="*/ 209290 h 253855"/>
                <a:gd name="connsiteX1746" fmla="*/ 89413 w 124107"/>
                <a:gd name="connsiteY1746" fmla="*/ 99568 h 253855"/>
                <a:gd name="connsiteX1747" fmla="*/ 89977 w 124107"/>
                <a:gd name="connsiteY1747" fmla="*/ 100414 h 253855"/>
                <a:gd name="connsiteX1748" fmla="*/ 89977 w 124107"/>
                <a:gd name="connsiteY1748" fmla="*/ 100696 h 253855"/>
                <a:gd name="connsiteX1749" fmla="*/ 90541 w 124107"/>
                <a:gd name="connsiteY1749" fmla="*/ 100978 h 253855"/>
                <a:gd name="connsiteX1750" fmla="*/ 90824 w 124107"/>
                <a:gd name="connsiteY1750" fmla="*/ 100696 h 253855"/>
                <a:gd name="connsiteX1751" fmla="*/ 91952 w 124107"/>
                <a:gd name="connsiteY1751" fmla="*/ 99568 h 253855"/>
                <a:gd name="connsiteX1752" fmla="*/ 91388 w 124107"/>
                <a:gd name="connsiteY1752" fmla="*/ 99568 h 253855"/>
                <a:gd name="connsiteX1753" fmla="*/ 90260 w 124107"/>
                <a:gd name="connsiteY1753" fmla="*/ 99004 h 253855"/>
                <a:gd name="connsiteX1754" fmla="*/ 90260 w 124107"/>
                <a:gd name="connsiteY1754" fmla="*/ 98439 h 253855"/>
                <a:gd name="connsiteX1755" fmla="*/ 89695 w 124107"/>
                <a:gd name="connsiteY1755" fmla="*/ 98721 h 253855"/>
                <a:gd name="connsiteX1756" fmla="*/ 88849 w 124107"/>
                <a:gd name="connsiteY1756" fmla="*/ 99004 h 253855"/>
                <a:gd name="connsiteX1757" fmla="*/ 89413 w 124107"/>
                <a:gd name="connsiteY1757" fmla="*/ 99568 h 253855"/>
                <a:gd name="connsiteX1758" fmla="*/ 91105 w 124107"/>
                <a:gd name="connsiteY1758" fmla="*/ 96747 h 253855"/>
                <a:gd name="connsiteX1759" fmla="*/ 91388 w 124107"/>
                <a:gd name="connsiteY1759" fmla="*/ 97029 h 253855"/>
                <a:gd name="connsiteX1760" fmla="*/ 92516 w 124107"/>
                <a:gd name="connsiteY1760" fmla="*/ 96747 h 253855"/>
                <a:gd name="connsiteX1761" fmla="*/ 92234 w 124107"/>
                <a:gd name="connsiteY1761" fmla="*/ 96465 h 253855"/>
                <a:gd name="connsiteX1762" fmla="*/ 91388 w 124107"/>
                <a:gd name="connsiteY1762" fmla="*/ 96465 h 253855"/>
                <a:gd name="connsiteX1763" fmla="*/ 91105 w 124107"/>
                <a:gd name="connsiteY1763" fmla="*/ 96747 h 253855"/>
                <a:gd name="connsiteX1764" fmla="*/ 92234 w 124107"/>
                <a:gd name="connsiteY1764" fmla="*/ 101260 h 253855"/>
                <a:gd name="connsiteX1765" fmla="*/ 91952 w 124107"/>
                <a:gd name="connsiteY1765" fmla="*/ 101260 h 253855"/>
                <a:gd name="connsiteX1766" fmla="*/ 91388 w 124107"/>
                <a:gd name="connsiteY1766" fmla="*/ 102106 h 253855"/>
                <a:gd name="connsiteX1767" fmla="*/ 92516 w 124107"/>
                <a:gd name="connsiteY1767" fmla="*/ 101542 h 253855"/>
                <a:gd name="connsiteX1768" fmla="*/ 92234 w 124107"/>
                <a:gd name="connsiteY1768" fmla="*/ 101260 h 253855"/>
                <a:gd name="connsiteX1769" fmla="*/ 93362 w 124107"/>
                <a:gd name="connsiteY1769" fmla="*/ 98721 h 253855"/>
                <a:gd name="connsiteX1770" fmla="*/ 93644 w 124107"/>
                <a:gd name="connsiteY1770" fmla="*/ 98721 h 253855"/>
                <a:gd name="connsiteX1771" fmla="*/ 94491 w 124107"/>
                <a:gd name="connsiteY1771" fmla="*/ 98439 h 253855"/>
                <a:gd name="connsiteX1772" fmla="*/ 93926 w 124107"/>
                <a:gd name="connsiteY1772" fmla="*/ 98157 h 253855"/>
                <a:gd name="connsiteX1773" fmla="*/ 93362 w 124107"/>
                <a:gd name="connsiteY1773" fmla="*/ 98721 h 253855"/>
                <a:gd name="connsiteX1774" fmla="*/ 93926 w 124107"/>
                <a:gd name="connsiteY1774" fmla="*/ 100696 h 253855"/>
                <a:gd name="connsiteX1775" fmla="*/ 94208 w 124107"/>
                <a:gd name="connsiteY1775" fmla="*/ 100414 h 253855"/>
                <a:gd name="connsiteX1776" fmla="*/ 94772 w 124107"/>
                <a:gd name="connsiteY1776" fmla="*/ 100696 h 253855"/>
                <a:gd name="connsiteX1777" fmla="*/ 94491 w 124107"/>
                <a:gd name="connsiteY1777" fmla="*/ 100132 h 253855"/>
                <a:gd name="connsiteX1778" fmla="*/ 93926 w 124107"/>
                <a:gd name="connsiteY1778" fmla="*/ 100414 h 253855"/>
                <a:gd name="connsiteX1779" fmla="*/ 93926 w 124107"/>
                <a:gd name="connsiteY1779" fmla="*/ 100696 h 253855"/>
                <a:gd name="connsiteX1780" fmla="*/ 94491 w 124107"/>
                <a:gd name="connsiteY1780" fmla="*/ 103799 h 253855"/>
                <a:gd name="connsiteX1781" fmla="*/ 95901 w 124107"/>
                <a:gd name="connsiteY1781" fmla="*/ 103234 h 253855"/>
                <a:gd name="connsiteX1782" fmla="*/ 95619 w 124107"/>
                <a:gd name="connsiteY1782" fmla="*/ 102670 h 253855"/>
                <a:gd name="connsiteX1783" fmla="*/ 94491 w 124107"/>
                <a:gd name="connsiteY1783" fmla="*/ 103799 h 253855"/>
                <a:gd name="connsiteX1784" fmla="*/ 96465 w 124107"/>
                <a:gd name="connsiteY1784" fmla="*/ 96183 h 253855"/>
                <a:gd name="connsiteX1785" fmla="*/ 95901 w 124107"/>
                <a:gd name="connsiteY1785" fmla="*/ 96747 h 253855"/>
                <a:gd name="connsiteX1786" fmla="*/ 95619 w 124107"/>
                <a:gd name="connsiteY1786" fmla="*/ 97029 h 253855"/>
                <a:gd name="connsiteX1787" fmla="*/ 95901 w 124107"/>
                <a:gd name="connsiteY1787" fmla="*/ 97311 h 253855"/>
                <a:gd name="connsiteX1788" fmla="*/ 96183 w 124107"/>
                <a:gd name="connsiteY1788" fmla="*/ 96747 h 253855"/>
                <a:gd name="connsiteX1789" fmla="*/ 97593 w 124107"/>
                <a:gd name="connsiteY1789" fmla="*/ 96183 h 253855"/>
                <a:gd name="connsiteX1790" fmla="*/ 99003 w 124107"/>
                <a:gd name="connsiteY1790" fmla="*/ 94773 h 253855"/>
                <a:gd name="connsiteX1791" fmla="*/ 99286 w 124107"/>
                <a:gd name="connsiteY1791" fmla="*/ 94491 h 253855"/>
                <a:gd name="connsiteX1792" fmla="*/ 99003 w 124107"/>
                <a:gd name="connsiteY1792" fmla="*/ 94209 h 253855"/>
                <a:gd name="connsiteX1793" fmla="*/ 97593 w 124107"/>
                <a:gd name="connsiteY1793" fmla="*/ 94491 h 253855"/>
                <a:gd name="connsiteX1794" fmla="*/ 97029 w 124107"/>
                <a:gd name="connsiteY1794" fmla="*/ 93926 h 253855"/>
                <a:gd name="connsiteX1795" fmla="*/ 96747 w 124107"/>
                <a:gd name="connsiteY1795" fmla="*/ 93644 h 253855"/>
                <a:gd name="connsiteX1796" fmla="*/ 95619 w 124107"/>
                <a:gd name="connsiteY1796" fmla="*/ 94209 h 253855"/>
                <a:gd name="connsiteX1797" fmla="*/ 95336 w 124107"/>
                <a:gd name="connsiteY1797" fmla="*/ 94209 h 253855"/>
                <a:gd name="connsiteX1798" fmla="*/ 95619 w 124107"/>
                <a:gd name="connsiteY1798" fmla="*/ 94773 h 253855"/>
                <a:gd name="connsiteX1799" fmla="*/ 95901 w 124107"/>
                <a:gd name="connsiteY1799" fmla="*/ 95055 h 253855"/>
                <a:gd name="connsiteX1800" fmla="*/ 96465 w 124107"/>
                <a:gd name="connsiteY1800" fmla="*/ 96183 h 253855"/>
                <a:gd name="connsiteX1801" fmla="*/ 96465 w 124107"/>
                <a:gd name="connsiteY1801" fmla="*/ 104081 h 253855"/>
                <a:gd name="connsiteX1802" fmla="*/ 96465 w 124107"/>
                <a:gd name="connsiteY1802" fmla="*/ 104363 h 253855"/>
                <a:gd name="connsiteX1803" fmla="*/ 96747 w 124107"/>
                <a:gd name="connsiteY1803" fmla="*/ 103799 h 253855"/>
                <a:gd name="connsiteX1804" fmla="*/ 96465 w 124107"/>
                <a:gd name="connsiteY1804" fmla="*/ 104081 h 253855"/>
                <a:gd name="connsiteX1805" fmla="*/ 96747 w 124107"/>
                <a:gd name="connsiteY1805" fmla="*/ 98721 h 253855"/>
                <a:gd name="connsiteX1806" fmla="*/ 97029 w 124107"/>
                <a:gd name="connsiteY1806" fmla="*/ 98721 h 253855"/>
                <a:gd name="connsiteX1807" fmla="*/ 98157 w 124107"/>
                <a:gd name="connsiteY1807" fmla="*/ 97029 h 253855"/>
                <a:gd name="connsiteX1808" fmla="*/ 98157 w 124107"/>
                <a:gd name="connsiteY1808" fmla="*/ 96747 h 253855"/>
                <a:gd name="connsiteX1809" fmla="*/ 97875 w 124107"/>
                <a:gd name="connsiteY1809" fmla="*/ 96747 h 253855"/>
                <a:gd name="connsiteX1810" fmla="*/ 96747 w 124107"/>
                <a:gd name="connsiteY1810" fmla="*/ 98439 h 253855"/>
                <a:gd name="connsiteX1811" fmla="*/ 96747 w 124107"/>
                <a:gd name="connsiteY1811" fmla="*/ 98721 h 253855"/>
                <a:gd name="connsiteX1812" fmla="*/ 99286 w 124107"/>
                <a:gd name="connsiteY1812" fmla="*/ 97311 h 253855"/>
                <a:gd name="connsiteX1813" fmla="*/ 99003 w 124107"/>
                <a:gd name="connsiteY1813" fmla="*/ 97593 h 253855"/>
                <a:gd name="connsiteX1814" fmla="*/ 98722 w 124107"/>
                <a:gd name="connsiteY1814" fmla="*/ 98157 h 253855"/>
                <a:gd name="connsiteX1815" fmla="*/ 99850 w 124107"/>
                <a:gd name="connsiteY1815" fmla="*/ 99286 h 253855"/>
                <a:gd name="connsiteX1816" fmla="*/ 99850 w 124107"/>
                <a:gd name="connsiteY1816" fmla="*/ 99004 h 253855"/>
                <a:gd name="connsiteX1817" fmla="*/ 99850 w 124107"/>
                <a:gd name="connsiteY1817" fmla="*/ 97593 h 253855"/>
                <a:gd name="connsiteX1818" fmla="*/ 99286 w 124107"/>
                <a:gd name="connsiteY1818" fmla="*/ 97311 h 253855"/>
                <a:gd name="connsiteX1819" fmla="*/ 99850 w 124107"/>
                <a:gd name="connsiteY1819" fmla="*/ 93362 h 253855"/>
                <a:gd name="connsiteX1820" fmla="*/ 100696 w 124107"/>
                <a:gd name="connsiteY1820" fmla="*/ 93644 h 253855"/>
                <a:gd name="connsiteX1821" fmla="*/ 101824 w 124107"/>
                <a:gd name="connsiteY1821" fmla="*/ 93080 h 253855"/>
                <a:gd name="connsiteX1822" fmla="*/ 101824 w 124107"/>
                <a:gd name="connsiteY1822" fmla="*/ 92516 h 253855"/>
                <a:gd name="connsiteX1823" fmla="*/ 101542 w 124107"/>
                <a:gd name="connsiteY1823" fmla="*/ 92234 h 253855"/>
                <a:gd name="connsiteX1824" fmla="*/ 100977 w 124107"/>
                <a:gd name="connsiteY1824" fmla="*/ 92516 h 253855"/>
                <a:gd name="connsiteX1825" fmla="*/ 99850 w 124107"/>
                <a:gd name="connsiteY1825" fmla="*/ 92798 h 253855"/>
                <a:gd name="connsiteX1826" fmla="*/ 99850 w 124107"/>
                <a:gd name="connsiteY1826" fmla="*/ 93362 h 253855"/>
                <a:gd name="connsiteX1827" fmla="*/ 101824 w 124107"/>
                <a:gd name="connsiteY1827" fmla="*/ 94209 h 253855"/>
                <a:gd name="connsiteX1828" fmla="*/ 100977 w 124107"/>
                <a:gd name="connsiteY1828" fmla="*/ 95055 h 253855"/>
                <a:gd name="connsiteX1829" fmla="*/ 100977 w 124107"/>
                <a:gd name="connsiteY1829" fmla="*/ 95337 h 253855"/>
                <a:gd name="connsiteX1830" fmla="*/ 101260 w 124107"/>
                <a:gd name="connsiteY1830" fmla="*/ 95619 h 253855"/>
                <a:gd name="connsiteX1831" fmla="*/ 101542 w 124107"/>
                <a:gd name="connsiteY1831" fmla="*/ 95619 h 253855"/>
                <a:gd name="connsiteX1832" fmla="*/ 102106 w 124107"/>
                <a:gd name="connsiteY1832" fmla="*/ 95337 h 253855"/>
                <a:gd name="connsiteX1833" fmla="*/ 102106 w 124107"/>
                <a:gd name="connsiteY1833" fmla="*/ 94491 h 253855"/>
                <a:gd name="connsiteX1834" fmla="*/ 101824 w 124107"/>
                <a:gd name="connsiteY1834" fmla="*/ 94209 h 253855"/>
                <a:gd name="connsiteX1835" fmla="*/ 106337 w 124107"/>
                <a:gd name="connsiteY1835" fmla="*/ 171493 h 253855"/>
                <a:gd name="connsiteX1836" fmla="*/ 105773 w 124107"/>
                <a:gd name="connsiteY1836" fmla="*/ 171493 h 253855"/>
                <a:gd name="connsiteX1837" fmla="*/ 104644 w 124107"/>
                <a:gd name="connsiteY1837" fmla="*/ 171211 h 253855"/>
                <a:gd name="connsiteX1838" fmla="*/ 104644 w 124107"/>
                <a:gd name="connsiteY1838" fmla="*/ 171775 h 253855"/>
                <a:gd name="connsiteX1839" fmla="*/ 106055 w 124107"/>
                <a:gd name="connsiteY1839" fmla="*/ 172622 h 253855"/>
                <a:gd name="connsiteX1840" fmla="*/ 106337 w 124107"/>
                <a:gd name="connsiteY1840" fmla="*/ 171775 h 253855"/>
                <a:gd name="connsiteX1841" fmla="*/ 106337 w 124107"/>
                <a:gd name="connsiteY1841" fmla="*/ 171493 h 253855"/>
                <a:gd name="connsiteX1842" fmla="*/ 105491 w 124107"/>
                <a:gd name="connsiteY1842" fmla="*/ 173468 h 253855"/>
                <a:gd name="connsiteX1843" fmla="*/ 104644 w 124107"/>
                <a:gd name="connsiteY1843" fmla="*/ 174878 h 253855"/>
                <a:gd name="connsiteX1844" fmla="*/ 104644 w 124107"/>
                <a:gd name="connsiteY1844" fmla="*/ 175160 h 253855"/>
                <a:gd name="connsiteX1845" fmla="*/ 104927 w 124107"/>
                <a:gd name="connsiteY1845" fmla="*/ 175160 h 253855"/>
                <a:gd name="connsiteX1846" fmla="*/ 106055 w 124107"/>
                <a:gd name="connsiteY1846" fmla="*/ 173468 h 253855"/>
                <a:gd name="connsiteX1847" fmla="*/ 105491 w 124107"/>
                <a:gd name="connsiteY1847" fmla="*/ 173468 h 253855"/>
                <a:gd name="connsiteX1848" fmla="*/ 108594 w 124107"/>
                <a:gd name="connsiteY1848" fmla="*/ 163314 h 253855"/>
                <a:gd name="connsiteX1849" fmla="*/ 108311 w 124107"/>
                <a:gd name="connsiteY1849" fmla="*/ 162185 h 253855"/>
                <a:gd name="connsiteX1850" fmla="*/ 108311 w 124107"/>
                <a:gd name="connsiteY1850" fmla="*/ 161903 h 253855"/>
                <a:gd name="connsiteX1851" fmla="*/ 107747 w 124107"/>
                <a:gd name="connsiteY1851" fmla="*/ 162185 h 253855"/>
                <a:gd name="connsiteX1852" fmla="*/ 106901 w 124107"/>
                <a:gd name="connsiteY1852" fmla="*/ 163596 h 253855"/>
                <a:gd name="connsiteX1853" fmla="*/ 107183 w 124107"/>
                <a:gd name="connsiteY1853" fmla="*/ 164724 h 253855"/>
                <a:gd name="connsiteX1854" fmla="*/ 108029 w 124107"/>
                <a:gd name="connsiteY1854" fmla="*/ 165006 h 253855"/>
                <a:gd name="connsiteX1855" fmla="*/ 108594 w 124107"/>
                <a:gd name="connsiteY1855" fmla="*/ 163596 h 253855"/>
                <a:gd name="connsiteX1856" fmla="*/ 108594 w 124107"/>
                <a:gd name="connsiteY1856" fmla="*/ 163314 h 253855"/>
                <a:gd name="connsiteX1857" fmla="*/ 108029 w 124107"/>
                <a:gd name="connsiteY1857" fmla="*/ 166134 h 253855"/>
                <a:gd name="connsiteX1858" fmla="*/ 107465 w 124107"/>
                <a:gd name="connsiteY1858" fmla="*/ 165570 h 253855"/>
                <a:gd name="connsiteX1859" fmla="*/ 107183 w 124107"/>
                <a:gd name="connsiteY1859" fmla="*/ 166416 h 253855"/>
                <a:gd name="connsiteX1860" fmla="*/ 107747 w 124107"/>
                <a:gd name="connsiteY1860" fmla="*/ 166698 h 253855"/>
                <a:gd name="connsiteX1861" fmla="*/ 108029 w 124107"/>
                <a:gd name="connsiteY1861" fmla="*/ 166134 h 253855"/>
                <a:gd name="connsiteX1862" fmla="*/ 108311 w 124107"/>
                <a:gd name="connsiteY1862" fmla="*/ 157390 h 253855"/>
                <a:gd name="connsiteX1863" fmla="*/ 108311 w 124107"/>
                <a:gd name="connsiteY1863" fmla="*/ 157954 h 253855"/>
                <a:gd name="connsiteX1864" fmla="*/ 108875 w 124107"/>
                <a:gd name="connsiteY1864" fmla="*/ 157954 h 253855"/>
                <a:gd name="connsiteX1865" fmla="*/ 108311 w 124107"/>
                <a:gd name="connsiteY1865" fmla="*/ 157390 h 253855"/>
                <a:gd name="connsiteX1866" fmla="*/ 108875 w 124107"/>
                <a:gd name="connsiteY1866" fmla="*/ 154852 h 253855"/>
                <a:gd name="connsiteX1867" fmla="*/ 109158 w 124107"/>
                <a:gd name="connsiteY1867" fmla="*/ 155134 h 253855"/>
                <a:gd name="connsiteX1868" fmla="*/ 109439 w 124107"/>
                <a:gd name="connsiteY1868" fmla="*/ 154852 h 253855"/>
                <a:gd name="connsiteX1869" fmla="*/ 109158 w 124107"/>
                <a:gd name="connsiteY1869" fmla="*/ 154288 h 253855"/>
                <a:gd name="connsiteX1870" fmla="*/ 109158 w 124107"/>
                <a:gd name="connsiteY1870" fmla="*/ 154570 h 253855"/>
                <a:gd name="connsiteX1871" fmla="*/ 108875 w 124107"/>
                <a:gd name="connsiteY1871" fmla="*/ 154852 h 253855"/>
                <a:gd name="connsiteX1872" fmla="*/ 109439 w 124107"/>
                <a:gd name="connsiteY1872" fmla="*/ 158801 h 253855"/>
                <a:gd name="connsiteX1873" fmla="*/ 109722 w 124107"/>
                <a:gd name="connsiteY1873" fmla="*/ 159365 h 253855"/>
                <a:gd name="connsiteX1874" fmla="*/ 110004 w 124107"/>
                <a:gd name="connsiteY1874" fmla="*/ 159365 h 253855"/>
                <a:gd name="connsiteX1875" fmla="*/ 110004 w 124107"/>
                <a:gd name="connsiteY1875" fmla="*/ 157954 h 253855"/>
                <a:gd name="connsiteX1876" fmla="*/ 109439 w 124107"/>
                <a:gd name="connsiteY1876" fmla="*/ 158801 h 253855"/>
                <a:gd name="connsiteX1877" fmla="*/ 110286 w 124107"/>
                <a:gd name="connsiteY1877" fmla="*/ 161339 h 253855"/>
                <a:gd name="connsiteX1878" fmla="*/ 109722 w 124107"/>
                <a:gd name="connsiteY1878" fmla="*/ 160775 h 253855"/>
                <a:gd name="connsiteX1879" fmla="*/ 109439 w 124107"/>
                <a:gd name="connsiteY1879" fmla="*/ 161057 h 253855"/>
                <a:gd name="connsiteX1880" fmla="*/ 109439 w 124107"/>
                <a:gd name="connsiteY1880" fmla="*/ 161339 h 253855"/>
                <a:gd name="connsiteX1881" fmla="*/ 110004 w 124107"/>
                <a:gd name="connsiteY1881" fmla="*/ 161621 h 253855"/>
                <a:gd name="connsiteX1882" fmla="*/ 110286 w 124107"/>
                <a:gd name="connsiteY1882" fmla="*/ 161339 h 253855"/>
                <a:gd name="connsiteX1883" fmla="*/ 114517 w 124107"/>
                <a:gd name="connsiteY1883" fmla="*/ 142723 h 253855"/>
                <a:gd name="connsiteX1884" fmla="*/ 113670 w 124107"/>
                <a:gd name="connsiteY1884" fmla="*/ 142441 h 253855"/>
                <a:gd name="connsiteX1885" fmla="*/ 113389 w 124107"/>
                <a:gd name="connsiteY1885" fmla="*/ 143287 h 253855"/>
                <a:gd name="connsiteX1886" fmla="*/ 113106 w 124107"/>
                <a:gd name="connsiteY1886" fmla="*/ 144980 h 253855"/>
                <a:gd name="connsiteX1887" fmla="*/ 112260 w 124107"/>
                <a:gd name="connsiteY1887" fmla="*/ 145826 h 253855"/>
                <a:gd name="connsiteX1888" fmla="*/ 112260 w 124107"/>
                <a:gd name="connsiteY1888" fmla="*/ 146108 h 253855"/>
                <a:gd name="connsiteX1889" fmla="*/ 112542 w 124107"/>
                <a:gd name="connsiteY1889" fmla="*/ 146390 h 253855"/>
                <a:gd name="connsiteX1890" fmla="*/ 111414 w 124107"/>
                <a:gd name="connsiteY1890" fmla="*/ 147518 h 253855"/>
                <a:gd name="connsiteX1891" fmla="*/ 110850 w 124107"/>
                <a:gd name="connsiteY1891" fmla="*/ 147800 h 253855"/>
                <a:gd name="connsiteX1892" fmla="*/ 110286 w 124107"/>
                <a:gd name="connsiteY1892" fmla="*/ 149775 h 253855"/>
                <a:gd name="connsiteX1893" fmla="*/ 110568 w 124107"/>
                <a:gd name="connsiteY1893" fmla="*/ 150621 h 253855"/>
                <a:gd name="connsiteX1894" fmla="*/ 111132 w 124107"/>
                <a:gd name="connsiteY1894" fmla="*/ 153159 h 253855"/>
                <a:gd name="connsiteX1895" fmla="*/ 111414 w 124107"/>
                <a:gd name="connsiteY1895" fmla="*/ 153441 h 253855"/>
                <a:gd name="connsiteX1896" fmla="*/ 111696 w 124107"/>
                <a:gd name="connsiteY1896" fmla="*/ 153441 h 253855"/>
                <a:gd name="connsiteX1897" fmla="*/ 111978 w 124107"/>
                <a:gd name="connsiteY1897" fmla="*/ 153159 h 253855"/>
                <a:gd name="connsiteX1898" fmla="*/ 113106 w 124107"/>
                <a:gd name="connsiteY1898" fmla="*/ 148364 h 253855"/>
                <a:gd name="connsiteX1899" fmla="*/ 114517 w 124107"/>
                <a:gd name="connsiteY1899" fmla="*/ 143851 h 253855"/>
                <a:gd name="connsiteX1900" fmla="*/ 114517 w 124107"/>
                <a:gd name="connsiteY1900" fmla="*/ 142723 h 253855"/>
                <a:gd name="connsiteX1901" fmla="*/ 111696 w 124107"/>
                <a:gd name="connsiteY1901" fmla="*/ 155980 h 253855"/>
                <a:gd name="connsiteX1902" fmla="*/ 111132 w 124107"/>
                <a:gd name="connsiteY1902" fmla="*/ 155980 h 253855"/>
                <a:gd name="connsiteX1903" fmla="*/ 111414 w 124107"/>
                <a:gd name="connsiteY1903" fmla="*/ 156262 h 253855"/>
                <a:gd name="connsiteX1904" fmla="*/ 111696 w 124107"/>
                <a:gd name="connsiteY1904" fmla="*/ 155980 h 253855"/>
                <a:gd name="connsiteX1905" fmla="*/ 113953 w 124107"/>
                <a:gd name="connsiteY1905" fmla="*/ 135672 h 253855"/>
                <a:gd name="connsiteX1906" fmla="*/ 113953 w 124107"/>
                <a:gd name="connsiteY1906" fmla="*/ 135389 h 253855"/>
                <a:gd name="connsiteX1907" fmla="*/ 113670 w 124107"/>
                <a:gd name="connsiteY1907" fmla="*/ 134543 h 253855"/>
                <a:gd name="connsiteX1908" fmla="*/ 113389 w 124107"/>
                <a:gd name="connsiteY1908" fmla="*/ 135389 h 253855"/>
                <a:gd name="connsiteX1909" fmla="*/ 113953 w 124107"/>
                <a:gd name="connsiteY1909" fmla="*/ 135672 h 253855"/>
                <a:gd name="connsiteX1910" fmla="*/ 116773 w 124107"/>
                <a:gd name="connsiteY1910" fmla="*/ 131159 h 253855"/>
                <a:gd name="connsiteX1911" fmla="*/ 116491 w 124107"/>
                <a:gd name="connsiteY1911" fmla="*/ 128902 h 253855"/>
                <a:gd name="connsiteX1912" fmla="*/ 116209 w 124107"/>
                <a:gd name="connsiteY1912" fmla="*/ 128902 h 253855"/>
                <a:gd name="connsiteX1913" fmla="*/ 115927 w 124107"/>
                <a:gd name="connsiteY1913" fmla="*/ 130030 h 253855"/>
                <a:gd name="connsiteX1914" fmla="*/ 115645 w 124107"/>
                <a:gd name="connsiteY1914" fmla="*/ 130594 h 253855"/>
                <a:gd name="connsiteX1915" fmla="*/ 115927 w 124107"/>
                <a:gd name="connsiteY1915" fmla="*/ 131441 h 253855"/>
                <a:gd name="connsiteX1916" fmla="*/ 115081 w 124107"/>
                <a:gd name="connsiteY1916" fmla="*/ 131723 h 253855"/>
                <a:gd name="connsiteX1917" fmla="*/ 114235 w 124107"/>
                <a:gd name="connsiteY1917" fmla="*/ 132287 h 253855"/>
                <a:gd name="connsiteX1918" fmla="*/ 113670 w 124107"/>
                <a:gd name="connsiteY1918" fmla="*/ 134543 h 253855"/>
                <a:gd name="connsiteX1919" fmla="*/ 115081 w 124107"/>
                <a:gd name="connsiteY1919" fmla="*/ 135389 h 253855"/>
                <a:gd name="connsiteX1920" fmla="*/ 115363 w 124107"/>
                <a:gd name="connsiteY1920" fmla="*/ 135672 h 253855"/>
                <a:gd name="connsiteX1921" fmla="*/ 115645 w 124107"/>
                <a:gd name="connsiteY1921" fmla="*/ 135672 h 253855"/>
                <a:gd name="connsiteX1922" fmla="*/ 115927 w 124107"/>
                <a:gd name="connsiteY1922" fmla="*/ 135389 h 253855"/>
                <a:gd name="connsiteX1923" fmla="*/ 115645 w 124107"/>
                <a:gd name="connsiteY1923" fmla="*/ 134825 h 253855"/>
                <a:gd name="connsiteX1924" fmla="*/ 115927 w 124107"/>
                <a:gd name="connsiteY1924" fmla="*/ 133133 h 253855"/>
                <a:gd name="connsiteX1925" fmla="*/ 116491 w 124107"/>
                <a:gd name="connsiteY1925" fmla="*/ 132005 h 253855"/>
                <a:gd name="connsiteX1926" fmla="*/ 116773 w 124107"/>
                <a:gd name="connsiteY1926" fmla="*/ 131159 h 253855"/>
                <a:gd name="connsiteX1927" fmla="*/ 114799 w 124107"/>
                <a:gd name="connsiteY1927" fmla="*/ 115081 h 253855"/>
                <a:gd name="connsiteX1928" fmla="*/ 114799 w 124107"/>
                <a:gd name="connsiteY1928" fmla="*/ 115363 h 253855"/>
                <a:gd name="connsiteX1929" fmla="*/ 115081 w 124107"/>
                <a:gd name="connsiteY1929" fmla="*/ 115363 h 253855"/>
                <a:gd name="connsiteX1930" fmla="*/ 115081 w 124107"/>
                <a:gd name="connsiteY1930" fmla="*/ 115081 h 253855"/>
                <a:gd name="connsiteX1931" fmla="*/ 114799 w 124107"/>
                <a:gd name="connsiteY1931" fmla="*/ 115081 h 253855"/>
                <a:gd name="connsiteX1932" fmla="*/ 115645 w 124107"/>
                <a:gd name="connsiteY1932" fmla="*/ 137364 h 253855"/>
                <a:gd name="connsiteX1933" fmla="*/ 114799 w 124107"/>
                <a:gd name="connsiteY1933" fmla="*/ 137364 h 253855"/>
                <a:gd name="connsiteX1934" fmla="*/ 114799 w 124107"/>
                <a:gd name="connsiteY1934" fmla="*/ 137646 h 253855"/>
                <a:gd name="connsiteX1935" fmla="*/ 115645 w 124107"/>
                <a:gd name="connsiteY1935" fmla="*/ 137364 h 253855"/>
                <a:gd name="connsiteX1936" fmla="*/ 115363 w 124107"/>
                <a:gd name="connsiteY1936" fmla="*/ 128620 h 253855"/>
                <a:gd name="connsiteX1937" fmla="*/ 115363 w 124107"/>
                <a:gd name="connsiteY1937" fmla="*/ 128902 h 253855"/>
                <a:gd name="connsiteX1938" fmla="*/ 115927 w 124107"/>
                <a:gd name="connsiteY1938" fmla="*/ 128338 h 253855"/>
                <a:gd name="connsiteX1939" fmla="*/ 115645 w 124107"/>
                <a:gd name="connsiteY1939" fmla="*/ 128056 h 253855"/>
                <a:gd name="connsiteX1940" fmla="*/ 115363 w 124107"/>
                <a:gd name="connsiteY1940" fmla="*/ 128620 h 253855"/>
                <a:gd name="connsiteX1941" fmla="*/ 118183 w 124107"/>
                <a:gd name="connsiteY1941" fmla="*/ 47668 h 253855"/>
                <a:gd name="connsiteX1942" fmla="*/ 118466 w 124107"/>
                <a:gd name="connsiteY1942" fmla="*/ 46540 h 253855"/>
                <a:gd name="connsiteX1943" fmla="*/ 119030 w 124107"/>
                <a:gd name="connsiteY1943" fmla="*/ 45976 h 253855"/>
                <a:gd name="connsiteX1944" fmla="*/ 118747 w 124107"/>
                <a:gd name="connsiteY1944" fmla="*/ 45412 h 253855"/>
                <a:gd name="connsiteX1945" fmla="*/ 117620 w 124107"/>
                <a:gd name="connsiteY1945" fmla="*/ 43437 h 253855"/>
                <a:gd name="connsiteX1946" fmla="*/ 117620 w 124107"/>
                <a:gd name="connsiteY1946" fmla="*/ 41463 h 253855"/>
                <a:gd name="connsiteX1947" fmla="*/ 117337 w 124107"/>
                <a:gd name="connsiteY1947" fmla="*/ 39771 h 253855"/>
                <a:gd name="connsiteX1948" fmla="*/ 117901 w 124107"/>
                <a:gd name="connsiteY1948" fmla="*/ 38078 h 253855"/>
                <a:gd name="connsiteX1949" fmla="*/ 117056 w 124107"/>
                <a:gd name="connsiteY1949" fmla="*/ 37232 h 253855"/>
                <a:gd name="connsiteX1950" fmla="*/ 116209 w 124107"/>
                <a:gd name="connsiteY1950" fmla="*/ 38078 h 253855"/>
                <a:gd name="connsiteX1951" fmla="*/ 115645 w 124107"/>
                <a:gd name="connsiteY1951" fmla="*/ 38924 h 253855"/>
                <a:gd name="connsiteX1952" fmla="*/ 116209 w 124107"/>
                <a:gd name="connsiteY1952" fmla="*/ 40617 h 253855"/>
                <a:gd name="connsiteX1953" fmla="*/ 116773 w 124107"/>
                <a:gd name="connsiteY1953" fmla="*/ 41463 h 253855"/>
                <a:gd name="connsiteX1954" fmla="*/ 116773 w 124107"/>
                <a:gd name="connsiteY1954" fmla="*/ 45694 h 253855"/>
                <a:gd name="connsiteX1955" fmla="*/ 117056 w 124107"/>
                <a:gd name="connsiteY1955" fmla="*/ 46540 h 253855"/>
                <a:gd name="connsiteX1956" fmla="*/ 116773 w 124107"/>
                <a:gd name="connsiteY1956" fmla="*/ 47104 h 253855"/>
                <a:gd name="connsiteX1957" fmla="*/ 116209 w 124107"/>
                <a:gd name="connsiteY1957" fmla="*/ 47386 h 253855"/>
                <a:gd name="connsiteX1958" fmla="*/ 116491 w 124107"/>
                <a:gd name="connsiteY1958" fmla="*/ 47668 h 253855"/>
                <a:gd name="connsiteX1959" fmla="*/ 117337 w 124107"/>
                <a:gd name="connsiteY1959" fmla="*/ 51053 h 253855"/>
                <a:gd name="connsiteX1960" fmla="*/ 117620 w 124107"/>
                <a:gd name="connsiteY1960" fmla="*/ 52463 h 253855"/>
                <a:gd name="connsiteX1961" fmla="*/ 118183 w 124107"/>
                <a:gd name="connsiteY1961" fmla="*/ 49361 h 253855"/>
                <a:gd name="connsiteX1962" fmla="*/ 118183 w 124107"/>
                <a:gd name="connsiteY1962" fmla="*/ 47668 h 253855"/>
                <a:gd name="connsiteX1963" fmla="*/ 117620 w 124107"/>
                <a:gd name="connsiteY1963" fmla="*/ 119594 h 253855"/>
                <a:gd name="connsiteX1964" fmla="*/ 117337 w 124107"/>
                <a:gd name="connsiteY1964" fmla="*/ 119030 h 253855"/>
                <a:gd name="connsiteX1965" fmla="*/ 117056 w 124107"/>
                <a:gd name="connsiteY1965" fmla="*/ 117902 h 253855"/>
                <a:gd name="connsiteX1966" fmla="*/ 116773 w 124107"/>
                <a:gd name="connsiteY1966" fmla="*/ 117620 h 253855"/>
                <a:gd name="connsiteX1967" fmla="*/ 116491 w 124107"/>
                <a:gd name="connsiteY1967" fmla="*/ 117902 h 253855"/>
                <a:gd name="connsiteX1968" fmla="*/ 115927 w 124107"/>
                <a:gd name="connsiteY1968" fmla="*/ 120158 h 253855"/>
                <a:gd name="connsiteX1969" fmla="*/ 116491 w 124107"/>
                <a:gd name="connsiteY1969" fmla="*/ 121004 h 253855"/>
                <a:gd name="connsiteX1970" fmla="*/ 117056 w 124107"/>
                <a:gd name="connsiteY1970" fmla="*/ 121286 h 253855"/>
                <a:gd name="connsiteX1971" fmla="*/ 117337 w 124107"/>
                <a:gd name="connsiteY1971" fmla="*/ 121286 h 253855"/>
                <a:gd name="connsiteX1972" fmla="*/ 117620 w 124107"/>
                <a:gd name="connsiteY1972" fmla="*/ 121004 h 253855"/>
                <a:gd name="connsiteX1973" fmla="*/ 117337 w 124107"/>
                <a:gd name="connsiteY1973" fmla="*/ 120158 h 253855"/>
                <a:gd name="connsiteX1974" fmla="*/ 117620 w 124107"/>
                <a:gd name="connsiteY1974" fmla="*/ 119594 h 253855"/>
                <a:gd name="connsiteX1975" fmla="*/ 116209 w 124107"/>
                <a:gd name="connsiteY1975" fmla="*/ 153159 h 253855"/>
                <a:gd name="connsiteX1976" fmla="*/ 116209 w 124107"/>
                <a:gd name="connsiteY1976" fmla="*/ 152877 h 253855"/>
                <a:gd name="connsiteX1977" fmla="*/ 116491 w 124107"/>
                <a:gd name="connsiteY1977" fmla="*/ 152877 h 253855"/>
                <a:gd name="connsiteX1978" fmla="*/ 116209 w 124107"/>
                <a:gd name="connsiteY1978" fmla="*/ 153159 h 253855"/>
                <a:gd name="connsiteX1979" fmla="*/ 117056 w 124107"/>
                <a:gd name="connsiteY1979" fmla="*/ 111978 h 253855"/>
                <a:gd name="connsiteX1980" fmla="*/ 118466 w 124107"/>
                <a:gd name="connsiteY1980" fmla="*/ 109158 h 253855"/>
                <a:gd name="connsiteX1981" fmla="*/ 118466 w 124107"/>
                <a:gd name="connsiteY1981" fmla="*/ 108594 h 253855"/>
                <a:gd name="connsiteX1982" fmla="*/ 117337 w 124107"/>
                <a:gd name="connsiteY1982" fmla="*/ 107183 h 253855"/>
                <a:gd name="connsiteX1983" fmla="*/ 116773 w 124107"/>
                <a:gd name="connsiteY1983" fmla="*/ 107747 h 253855"/>
                <a:gd name="connsiteX1984" fmla="*/ 116491 w 124107"/>
                <a:gd name="connsiteY1984" fmla="*/ 110004 h 253855"/>
                <a:gd name="connsiteX1985" fmla="*/ 116491 w 124107"/>
                <a:gd name="connsiteY1985" fmla="*/ 116773 h 253855"/>
                <a:gd name="connsiteX1986" fmla="*/ 117056 w 124107"/>
                <a:gd name="connsiteY1986" fmla="*/ 115363 h 253855"/>
                <a:gd name="connsiteX1987" fmla="*/ 118183 w 124107"/>
                <a:gd name="connsiteY1987" fmla="*/ 114799 h 253855"/>
                <a:gd name="connsiteX1988" fmla="*/ 118466 w 124107"/>
                <a:gd name="connsiteY1988" fmla="*/ 114235 h 253855"/>
                <a:gd name="connsiteX1989" fmla="*/ 118747 w 124107"/>
                <a:gd name="connsiteY1989" fmla="*/ 112260 h 253855"/>
                <a:gd name="connsiteX1990" fmla="*/ 118183 w 124107"/>
                <a:gd name="connsiteY1990" fmla="*/ 112260 h 253855"/>
                <a:gd name="connsiteX1991" fmla="*/ 117901 w 124107"/>
                <a:gd name="connsiteY1991" fmla="*/ 111978 h 253855"/>
                <a:gd name="connsiteX1992" fmla="*/ 117337 w 124107"/>
                <a:gd name="connsiteY1992" fmla="*/ 112260 h 253855"/>
                <a:gd name="connsiteX1993" fmla="*/ 117337 w 124107"/>
                <a:gd name="connsiteY1993" fmla="*/ 111978 h 253855"/>
                <a:gd name="connsiteX1994" fmla="*/ 117056 w 124107"/>
                <a:gd name="connsiteY1994" fmla="*/ 111978 h 253855"/>
                <a:gd name="connsiteX1995" fmla="*/ 119311 w 124107"/>
                <a:gd name="connsiteY1995" fmla="*/ 66566 h 253855"/>
                <a:gd name="connsiteX1996" fmla="*/ 119311 w 124107"/>
                <a:gd name="connsiteY1996" fmla="*/ 66284 h 253855"/>
                <a:gd name="connsiteX1997" fmla="*/ 119030 w 124107"/>
                <a:gd name="connsiteY1997" fmla="*/ 66002 h 253855"/>
                <a:gd name="connsiteX1998" fmla="*/ 118747 w 124107"/>
                <a:gd name="connsiteY1998" fmla="*/ 66566 h 253855"/>
                <a:gd name="connsiteX1999" fmla="*/ 118747 w 124107"/>
                <a:gd name="connsiteY1999" fmla="*/ 67977 h 253855"/>
                <a:gd name="connsiteX2000" fmla="*/ 118183 w 124107"/>
                <a:gd name="connsiteY2000" fmla="*/ 68259 h 253855"/>
                <a:gd name="connsiteX2001" fmla="*/ 118183 w 124107"/>
                <a:gd name="connsiteY2001" fmla="*/ 67977 h 253855"/>
                <a:gd name="connsiteX2002" fmla="*/ 117901 w 124107"/>
                <a:gd name="connsiteY2002" fmla="*/ 64874 h 253855"/>
                <a:gd name="connsiteX2003" fmla="*/ 118183 w 124107"/>
                <a:gd name="connsiteY2003" fmla="*/ 64592 h 253855"/>
                <a:gd name="connsiteX2004" fmla="*/ 117901 w 124107"/>
                <a:gd name="connsiteY2004" fmla="*/ 64310 h 253855"/>
                <a:gd name="connsiteX2005" fmla="*/ 116773 w 124107"/>
                <a:gd name="connsiteY2005" fmla="*/ 67977 h 253855"/>
                <a:gd name="connsiteX2006" fmla="*/ 116773 w 124107"/>
                <a:gd name="connsiteY2006" fmla="*/ 68541 h 253855"/>
                <a:gd name="connsiteX2007" fmla="*/ 118466 w 124107"/>
                <a:gd name="connsiteY2007" fmla="*/ 71362 h 253855"/>
                <a:gd name="connsiteX2008" fmla="*/ 118747 w 124107"/>
                <a:gd name="connsiteY2008" fmla="*/ 71362 h 253855"/>
                <a:gd name="connsiteX2009" fmla="*/ 118747 w 124107"/>
                <a:gd name="connsiteY2009" fmla="*/ 69951 h 253855"/>
                <a:gd name="connsiteX2010" fmla="*/ 119030 w 124107"/>
                <a:gd name="connsiteY2010" fmla="*/ 68541 h 253855"/>
                <a:gd name="connsiteX2011" fmla="*/ 119311 w 124107"/>
                <a:gd name="connsiteY2011" fmla="*/ 66566 h 253855"/>
                <a:gd name="connsiteX2012" fmla="*/ 117620 w 124107"/>
                <a:gd name="connsiteY2012" fmla="*/ 97311 h 253855"/>
                <a:gd name="connsiteX2013" fmla="*/ 116773 w 124107"/>
                <a:gd name="connsiteY2013" fmla="*/ 97311 h 253855"/>
                <a:gd name="connsiteX2014" fmla="*/ 116773 w 124107"/>
                <a:gd name="connsiteY2014" fmla="*/ 98157 h 253855"/>
                <a:gd name="connsiteX2015" fmla="*/ 117337 w 124107"/>
                <a:gd name="connsiteY2015" fmla="*/ 100132 h 253855"/>
                <a:gd name="connsiteX2016" fmla="*/ 116773 w 124107"/>
                <a:gd name="connsiteY2016" fmla="*/ 101542 h 253855"/>
                <a:gd name="connsiteX2017" fmla="*/ 117337 w 124107"/>
                <a:gd name="connsiteY2017" fmla="*/ 102952 h 253855"/>
                <a:gd name="connsiteX2018" fmla="*/ 117620 w 124107"/>
                <a:gd name="connsiteY2018" fmla="*/ 103234 h 253855"/>
                <a:gd name="connsiteX2019" fmla="*/ 118183 w 124107"/>
                <a:gd name="connsiteY2019" fmla="*/ 103234 h 253855"/>
                <a:gd name="connsiteX2020" fmla="*/ 118183 w 124107"/>
                <a:gd name="connsiteY2020" fmla="*/ 102670 h 253855"/>
                <a:gd name="connsiteX2021" fmla="*/ 117901 w 124107"/>
                <a:gd name="connsiteY2021" fmla="*/ 100414 h 253855"/>
                <a:gd name="connsiteX2022" fmla="*/ 118183 w 124107"/>
                <a:gd name="connsiteY2022" fmla="*/ 99568 h 253855"/>
                <a:gd name="connsiteX2023" fmla="*/ 118183 w 124107"/>
                <a:gd name="connsiteY2023" fmla="*/ 99004 h 253855"/>
                <a:gd name="connsiteX2024" fmla="*/ 117901 w 124107"/>
                <a:gd name="connsiteY2024" fmla="*/ 98157 h 253855"/>
                <a:gd name="connsiteX2025" fmla="*/ 117620 w 124107"/>
                <a:gd name="connsiteY2025" fmla="*/ 97311 h 253855"/>
                <a:gd name="connsiteX2026" fmla="*/ 117056 w 124107"/>
                <a:gd name="connsiteY2026" fmla="*/ 106055 h 253855"/>
                <a:gd name="connsiteX2027" fmla="*/ 117337 w 124107"/>
                <a:gd name="connsiteY2027" fmla="*/ 105773 h 253855"/>
                <a:gd name="connsiteX2028" fmla="*/ 117337 w 124107"/>
                <a:gd name="connsiteY2028" fmla="*/ 105491 h 253855"/>
                <a:gd name="connsiteX2029" fmla="*/ 116773 w 124107"/>
                <a:gd name="connsiteY2029" fmla="*/ 105491 h 253855"/>
                <a:gd name="connsiteX2030" fmla="*/ 117056 w 124107"/>
                <a:gd name="connsiteY2030" fmla="*/ 106055 h 253855"/>
                <a:gd name="connsiteX2031" fmla="*/ 118183 w 124107"/>
                <a:gd name="connsiteY2031" fmla="*/ 91388 h 253855"/>
                <a:gd name="connsiteX2032" fmla="*/ 117620 w 124107"/>
                <a:gd name="connsiteY2032" fmla="*/ 91106 h 253855"/>
                <a:gd name="connsiteX2033" fmla="*/ 117901 w 124107"/>
                <a:gd name="connsiteY2033" fmla="*/ 91388 h 253855"/>
                <a:gd name="connsiteX2034" fmla="*/ 117620 w 124107"/>
                <a:gd name="connsiteY2034" fmla="*/ 91670 h 253855"/>
                <a:gd name="connsiteX2035" fmla="*/ 117901 w 124107"/>
                <a:gd name="connsiteY2035" fmla="*/ 91670 h 253855"/>
                <a:gd name="connsiteX2036" fmla="*/ 118183 w 124107"/>
                <a:gd name="connsiteY2036" fmla="*/ 91388 h 253855"/>
                <a:gd name="connsiteX2037" fmla="*/ 119311 w 124107"/>
                <a:gd name="connsiteY2037" fmla="*/ 111132 h 253855"/>
                <a:gd name="connsiteX2038" fmla="*/ 119311 w 124107"/>
                <a:gd name="connsiteY2038" fmla="*/ 110568 h 253855"/>
                <a:gd name="connsiteX2039" fmla="*/ 119030 w 124107"/>
                <a:gd name="connsiteY2039" fmla="*/ 110568 h 253855"/>
                <a:gd name="connsiteX2040" fmla="*/ 119311 w 124107"/>
                <a:gd name="connsiteY2040" fmla="*/ 111132 h 253855"/>
                <a:gd name="connsiteX2041" fmla="*/ 120722 w 124107"/>
                <a:gd name="connsiteY2041" fmla="*/ 69951 h 253855"/>
                <a:gd name="connsiteX2042" fmla="*/ 120158 w 124107"/>
                <a:gd name="connsiteY2042" fmla="*/ 69387 h 253855"/>
                <a:gd name="connsiteX2043" fmla="*/ 119876 w 124107"/>
                <a:gd name="connsiteY2043" fmla="*/ 70515 h 253855"/>
                <a:gd name="connsiteX2044" fmla="*/ 119311 w 124107"/>
                <a:gd name="connsiteY2044" fmla="*/ 71926 h 253855"/>
                <a:gd name="connsiteX2045" fmla="*/ 119594 w 124107"/>
                <a:gd name="connsiteY2045" fmla="*/ 72208 h 253855"/>
                <a:gd name="connsiteX2046" fmla="*/ 119876 w 124107"/>
                <a:gd name="connsiteY2046" fmla="*/ 72208 h 253855"/>
                <a:gd name="connsiteX2047" fmla="*/ 119876 w 124107"/>
                <a:gd name="connsiteY2047" fmla="*/ 71926 h 253855"/>
                <a:gd name="connsiteX2048" fmla="*/ 120158 w 124107"/>
                <a:gd name="connsiteY2048" fmla="*/ 70797 h 253855"/>
                <a:gd name="connsiteX2049" fmla="*/ 120722 w 124107"/>
                <a:gd name="connsiteY2049" fmla="*/ 69951 h 253855"/>
                <a:gd name="connsiteX2050" fmla="*/ 120158 w 124107"/>
                <a:gd name="connsiteY2050" fmla="*/ 40335 h 253855"/>
                <a:gd name="connsiteX2051" fmla="*/ 119876 w 124107"/>
                <a:gd name="connsiteY2051" fmla="*/ 40053 h 253855"/>
                <a:gd name="connsiteX2052" fmla="*/ 119594 w 124107"/>
                <a:gd name="connsiteY2052" fmla="*/ 40053 h 253855"/>
                <a:gd name="connsiteX2053" fmla="*/ 119876 w 124107"/>
                <a:gd name="connsiteY2053" fmla="*/ 40617 h 253855"/>
                <a:gd name="connsiteX2054" fmla="*/ 120158 w 124107"/>
                <a:gd name="connsiteY2054" fmla="*/ 40335 h 253855"/>
                <a:gd name="connsiteX2055" fmla="*/ 120440 w 124107"/>
                <a:gd name="connsiteY2055" fmla="*/ 44002 h 253855"/>
                <a:gd name="connsiteX2056" fmla="*/ 119876 w 124107"/>
                <a:gd name="connsiteY2056" fmla="*/ 44002 h 253855"/>
                <a:gd name="connsiteX2057" fmla="*/ 119876 w 124107"/>
                <a:gd name="connsiteY2057" fmla="*/ 44566 h 253855"/>
                <a:gd name="connsiteX2058" fmla="*/ 120440 w 124107"/>
                <a:gd name="connsiteY2058" fmla="*/ 44002 h 253855"/>
                <a:gd name="connsiteX2059" fmla="*/ 122697 w 124107"/>
                <a:gd name="connsiteY2059" fmla="*/ 79259 h 253855"/>
                <a:gd name="connsiteX2060" fmla="*/ 122414 w 124107"/>
                <a:gd name="connsiteY2060" fmla="*/ 79259 h 253855"/>
                <a:gd name="connsiteX2061" fmla="*/ 122132 w 124107"/>
                <a:gd name="connsiteY2061" fmla="*/ 79823 h 253855"/>
                <a:gd name="connsiteX2062" fmla="*/ 122132 w 124107"/>
                <a:gd name="connsiteY2062" fmla="*/ 80105 h 253855"/>
                <a:gd name="connsiteX2063" fmla="*/ 122414 w 124107"/>
                <a:gd name="connsiteY2063" fmla="*/ 80105 h 253855"/>
                <a:gd name="connsiteX2064" fmla="*/ 122697 w 124107"/>
                <a:gd name="connsiteY2064" fmla="*/ 79259 h 253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</a:cxnLst>
              <a:rect l="l" t="t" r="r" b="b"/>
              <a:pathLst>
                <a:path w="124107" h="253855">
                  <a:moveTo>
                    <a:pt x="118747" y="92798"/>
                  </a:moveTo>
                  <a:lnTo>
                    <a:pt x="118466" y="92798"/>
                  </a:lnTo>
                  <a:lnTo>
                    <a:pt x="118183" y="93080"/>
                  </a:lnTo>
                  <a:lnTo>
                    <a:pt x="118183" y="92798"/>
                  </a:lnTo>
                  <a:cubicBezTo>
                    <a:pt x="117620" y="92798"/>
                    <a:pt x="117620" y="92798"/>
                    <a:pt x="117337" y="93362"/>
                  </a:cubicBezTo>
                  <a:cubicBezTo>
                    <a:pt x="117337" y="94491"/>
                    <a:pt x="117620" y="95337"/>
                    <a:pt x="117620" y="96183"/>
                  </a:cubicBezTo>
                  <a:cubicBezTo>
                    <a:pt x="117620" y="96747"/>
                    <a:pt x="118183" y="97311"/>
                    <a:pt x="118747" y="97311"/>
                  </a:cubicBezTo>
                  <a:lnTo>
                    <a:pt x="119311" y="97311"/>
                  </a:lnTo>
                  <a:cubicBezTo>
                    <a:pt x="119311" y="97029"/>
                    <a:pt x="119594" y="97029"/>
                    <a:pt x="119594" y="96747"/>
                  </a:cubicBezTo>
                  <a:lnTo>
                    <a:pt x="119594" y="97311"/>
                  </a:lnTo>
                  <a:cubicBezTo>
                    <a:pt x="119311" y="97593"/>
                    <a:pt x="119311" y="97593"/>
                    <a:pt x="119311" y="97875"/>
                  </a:cubicBezTo>
                  <a:lnTo>
                    <a:pt x="119311" y="98439"/>
                  </a:lnTo>
                  <a:cubicBezTo>
                    <a:pt x="119594" y="98439"/>
                    <a:pt x="119594" y="99004"/>
                    <a:pt x="120158" y="99286"/>
                  </a:cubicBezTo>
                  <a:lnTo>
                    <a:pt x="120440" y="99286"/>
                  </a:lnTo>
                  <a:cubicBezTo>
                    <a:pt x="120158" y="99004"/>
                    <a:pt x="120158" y="99004"/>
                    <a:pt x="120158" y="98721"/>
                  </a:cubicBezTo>
                  <a:cubicBezTo>
                    <a:pt x="120158" y="98439"/>
                    <a:pt x="120158" y="98439"/>
                    <a:pt x="120440" y="98157"/>
                  </a:cubicBezTo>
                  <a:cubicBezTo>
                    <a:pt x="120440" y="97593"/>
                    <a:pt x="120440" y="97311"/>
                    <a:pt x="120722" y="97029"/>
                  </a:cubicBezTo>
                  <a:cubicBezTo>
                    <a:pt x="120722" y="96747"/>
                    <a:pt x="121004" y="96465"/>
                    <a:pt x="121286" y="96465"/>
                  </a:cubicBezTo>
                  <a:cubicBezTo>
                    <a:pt x="121286" y="96465"/>
                    <a:pt x="121568" y="96747"/>
                    <a:pt x="121568" y="97029"/>
                  </a:cubicBezTo>
                  <a:lnTo>
                    <a:pt x="121850" y="97311"/>
                  </a:lnTo>
                  <a:lnTo>
                    <a:pt x="121850" y="105491"/>
                  </a:lnTo>
                  <a:cubicBezTo>
                    <a:pt x="122132" y="105491"/>
                    <a:pt x="122414" y="105773"/>
                    <a:pt x="122414" y="106055"/>
                  </a:cubicBezTo>
                  <a:lnTo>
                    <a:pt x="122414" y="108030"/>
                  </a:lnTo>
                  <a:cubicBezTo>
                    <a:pt x="122414" y="108312"/>
                    <a:pt x="122132" y="108030"/>
                    <a:pt x="122132" y="108030"/>
                  </a:cubicBezTo>
                  <a:lnTo>
                    <a:pt x="121568" y="108030"/>
                  </a:lnTo>
                  <a:cubicBezTo>
                    <a:pt x="121568" y="109158"/>
                    <a:pt x="121286" y="110004"/>
                    <a:pt x="121286" y="111132"/>
                  </a:cubicBezTo>
                  <a:lnTo>
                    <a:pt x="121286" y="111978"/>
                  </a:lnTo>
                  <a:cubicBezTo>
                    <a:pt x="121568" y="113107"/>
                    <a:pt x="121568" y="113953"/>
                    <a:pt x="121568" y="114799"/>
                  </a:cubicBezTo>
                  <a:cubicBezTo>
                    <a:pt x="121568" y="115081"/>
                    <a:pt x="121286" y="115363"/>
                    <a:pt x="121286" y="115363"/>
                  </a:cubicBezTo>
                  <a:cubicBezTo>
                    <a:pt x="121286" y="115927"/>
                    <a:pt x="121004" y="116209"/>
                    <a:pt x="120440" y="116773"/>
                  </a:cubicBezTo>
                  <a:cubicBezTo>
                    <a:pt x="120440" y="116209"/>
                    <a:pt x="120158" y="115927"/>
                    <a:pt x="119876" y="115363"/>
                  </a:cubicBezTo>
                  <a:cubicBezTo>
                    <a:pt x="119594" y="114799"/>
                    <a:pt x="119311" y="114799"/>
                    <a:pt x="119030" y="114799"/>
                  </a:cubicBezTo>
                  <a:lnTo>
                    <a:pt x="118183" y="115363"/>
                  </a:lnTo>
                  <a:cubicBezTo>
                    <a:pt x="118183" y="115645"/>
                    <a:pt x="118466" y="115645"/>
                    <a:pt x="118747" y="115645"/>
                  </a:cubicBezTo>
                  <a:cubicBezTo>
                    <a:pt x="119311" y="115645"/>
                    <a:pt x="119311" y="116209"/>
                    <a:pt x="119311" y="116491"/>
                  </a:cubicBezTo>
                  <a:cubicBezTo>
                    <a:pt x="119030" y="116773"/>
                    <a:pt x="119030" y="117055"/>
                    <a:pt x="119030" y="117338"/>
                  </a:cubicBezTo>
                  <a:cubicBezTo>
                    <a:pt x="119030" y="118466"/>
                    <a:pt x="119030" y="119312"/>
                    <a:pt x="119594" y="119312"/>
                  </a:cubicBezTo>
                  <a:cubicBezTo>
                    <a:pt x="120440" y="119876"/>
                    <a:pt x="120440" y="120440"/>
                    <a:pt x="120440" y="121286"/>
                  </a:cubicBezTo>
                  <a:cubicBezTo>
                    <a:pt x="120440" y="121568"/>
                    <a:pt x="120440" y="122133"/>
                    <a:pt x="120158" y="122697"/>
                  </a:cubicBezTo>
                  <a:lnTo>
                    <a:pt x="120158" y="129184"/>
                  </a:lnTo>
                  <a:lnTo>
                    <a:pt x="119311" y="131441"/>
                  </a:lnTo>
                  <a:cubicBezTo>
                    <a:pt x="119311" y="132005"/>
                    <a:pt x="119311" y="132569"/>
                    <a:pt x="119030" y="133415"/>
                  </a:cubicBezTo>
                  <a:cubicBezTo>
                    <a:pt x="118747" y="134261"/>
                    <a:pt x="118747" y="134825"/>
                    <a:pt x="118747" y="135389"/>
                  </a:cubicBezTo>
                  <a:lnTo>
                    <a:pt x="118747" y="137364"/>
                  </a:lnTo>
                  <a:cubicBezTo>
                    <a:pt x="118747" y="137364"/>
                    <a:pt x="118747" y="137646"/>
                    <a:pt x="119030" y="137646"/>
                  </a:cubicBezTo>
                  <a:lnTo>
                    <a:pt x="119311" y="137928"/>
                  </a:lnTo>
                  <a:cubicBezTo>
                    <a:pt x="119030" y="138492"/>
                    <a:pt x="119030" y="139338"/>
                    <a:pt x="119030" y="139902"/>
                  </a:cubicBezTo>
                  <a:cubicBezTo>
                    <a:pt x="119030" y="140184"/>
                    <a:pt x="119030" y="140467"/>
                    <a:pt x="118747" y="140749"/>
                  </a:cubicBezTo>
                  <a:cubicBezTo>
                    <a:pt x="118747" y="140749"/>
                    <a:pt x="118466" y="141313"/>
                    <a:pt x="118466" y="141595"/>
                  </a:cubicBezTo>
                  <a:cubicBezTo>
                    <a:pt x="118183" y="142723"/>
                    <a:pt x="118183" y="143851"/>
                    <a:pt x="117620" y="144697"/>
                  </a:cubicBezTo>
                  <a:cubicBezTo>
                    <a:pt x="117337" y="146108"/>
                    <a:pt x="116773" y="147518"/>
                    <a:pt x="115927" y="149493"/>
                  </a:cubicBezTo>
                  <a:cubicBezTo>
                    <a:pt x="115927" y="150057"/>
                    <a:pt x="115645" y="150621"/>
                    <a:pt x="115645" y="151185"/>
                  </a:cubicBezTo>
                  <a:cubicBezTo>
                    <a:pt x="115645" y="152313"/>
                    <a:pt x="115363" y="152877"/>
                    <a:pt x="114517" y="154006"/>
                  </a:cubicBezTo>
                  <a:cubicBezTo>
                    <a:pt x="114235" y="154006"/>
                    <a:pt x="113953" y="154288"/>
                    <a:pt x="113953" y="155134"/>
                  </a:cubicBezTo>
                  <a:lnTo>
                    <a:pt x="113953" y="157672"/>
                  </a:lnTo>
                  <a:cubicBezTo>
                    <a:pt x="113670" y="158801"/>
                    <a:pt x="113670" y="159647"/>
                    <a:pt x="113670" y="160493"/>
                  </a:cubicBezTo>
                  <a:cubicBezTo>
                    <a:pt x="113670" y="160775"/>
                    <a:pt x="113953" y="161057"/>
                    <a:pt x="113953" y="161339"/>
                  </a:cubicBezTo>
                  <a:cubicBezTo>
                    <a:pt x="113953" y="161621"/>
                    <a:pt x="113670" y="161903"/>
                    <a:pt x="113389" y="162185"/>
                  </a:cubicBezTo>
                  <a:lnTo>
                    <a:pt x="113389" y="163596"/>
                  </a:lnTo>
                  <a:cubicBezTo>
                    <a:pt x="113389" y="164160"/>
                    <a:pt x="113106" y="164724"/>
                    <a:pt x="112825" y="165288"/>
                  </a:cubicBezTo>
                  <a:lnTo>
                    <a:pt x="112825" y="165570"/>
                  </a:lnTo>
                  <a:cubicBezTo>
                    <a:pt x="112260" y="166416"/>
                    <a:pt x="111696" y="166980"/>
                    <a:pt x="111696" y="167827"/>
                  </a:cubicBezTo>
                  <a:cubicBezTo>
                    <a:pt x="111696" y="168109"/>
                    <a:pt x="111696" y="168673"/>
                    <a:pt x="111414" y="168955"/>
                  </a:cubicBezTo>
                  <a:cubicBezTo>
                    <a:pt x="110286" y="169801"/>
                    <a:pt x="109722" y="170365"/>
                    <a:pt x="109722" y="171775"/>
                  </a:cubicBezTo>
                  <a:cubicBezTo>
                    <a:pt x="109722" y="172057"/>
                    <a:pt x="110004" y="172057"/>
                    <a:pt x="110004" y="172339"/>
                  </a:cubicBezTo>
                  <a:cubicBezTo>
                    <a:pt x="110004" y="172622"/>
                    <a:pt x="109722" y="172904"/>
                    <a:pt x="109722" y="173186"/>
                  </a:cubicBezTo>
                  <a:cubicBezTo>
                    <a:pt x="109722" y="173186"/>
                    <a:pt x="109439" y="173750"/>
                    <a:pt x="109158" y="174032"/>
                  </a:cubicBezTo>
                  <a:cubicBezTo>
                    <a:pt x="109158" y="174314"/>
                    <a:pt x="109439" y="174596"/>
                    <a:pt x="109439" y="174878"/>
                  </a:cubicBezTo>
                  <a:lnTo>
                    <a:pt x="109439" y="175160"/>
                  </a:lnTo>
                  <a:lnTo>
                    <a:pt x="108594" y="176006"/>
                  </a:lnTo>
                  <a:lnTo>
                    <a:pt x="107747" y="177699"/>
                  </a:lnTo>
                  <a:cubicBezTo>
                    <a:pt x="107465" y="177981"/>
                    <a:pt x="107183" y="178545"/>
                    <a:pt x="107465" y="178545"/>
                  </a:cubicBezTo>
                  <a:lnTo>
                    <a:pt x="107465" y="179109"/>
                  </a:lnTo>
                  <a:cubicBezTo>
                    <a:pt x="107465" y="179955"/>
                    <a:pt x="107183" y="181083"/>
                    <a:pt x="106901" y="181930"/>
                  </a:cubicBezTo>
                  <a:cubicBezTo>
                    <a:pt x="106337" y="183340"/>
                    <a:pt x="105491" y="185314"/>
                    <a:pt x="104644" y="186443"/>
                  </a:cubicBezTo>
                  <a:cubicBezTo>
                    <a:pt x="104363" y="187853"/>
                    <a:pt x="103234" y="189263"/>
                    <a:pt x="102952" y="190673"/>
                  </a:cubicBezTo>
                  <a:cubicBezTo>
                    <a:pt x="102952" y="190673"/>
                    <a:pt x="102952" y="190956"/>
                    <a:pt x="102670" y="190956"/>
                  </a:cubicBezTo>
                  <a:cubicBezTo>
                    <a:pt x="102106" y="191802"/>
                    <a:pt x="101542" y="192648"/>
                    <a:pt x="101260" y="193494"/>
                  </a:cubicBezTo>
                  <a:cubicBezTo>
                    <a:pt x="100696" y="194058"/>
                    <a:pt x="100413" y="194622"/>
                    <a:pt x="100132" y="195469"/>
                  </a:cubicBezTo>
                  <a:cubicBezTo>
                    <a:pt x="100132" y="196315"/>
                    <a:pt x="99286" y="197443"/>
                    <a:pt x="98722" y="198289"/>
                  </a:cubicBezTo>
                  <a:cubicBezTo>
                    <a:pt x="98157" y="198853"/>
                    <a:pt x="97593" y="199699"/>
                    <a:pt x="97593" y="200828"/>
                  </a:cubicBezTo>
                  <a:cubicBezTo>
                    <a:pt x="97593" y="201110"/>
                    <a:pt x="97593" y="201392"/>
                    <a:pt x="97311" y="201392"/>
                  </a:cubicBezTo>
                  <a:cubicBezTo>
                    <a:pt x="95336" y="204212"/>
                    <a:pt x="95336" y="209007"/>
                    <a:pt x="91952" y="210982"/>
                  </a:cubicBezTo>
                  <a:cubicBezTo>
                    <a:pt x="91388" y="211828"/>
                    <a:pt x="90824" y="212392"/>
                    <a:pt x="90260" y="212674"/>
                  </a:cubicBezTo>
                  <a:cubicBezTo>
                    <a:pt x="89977" y="213520"/>
                    <a:pt x="89413" y="213803"/>
                    <a:pt x="88567" y="214367"/>
                  </a:cubicBezTo>
                  <a:cubicBezTo>
                    <a:pt x="87721" y="214649"/>
                    <a:pt x="87157" y="215495"/>
                    <a:pt x="86874" y="216341"/>
                  </a:cubicBezTo>
                  <a:cubicBezTo>
                    <a:pt x="86874" y="216623"/>
                    <a:pt x="86593" y="216905"/>
                    <a:pt x="86593" y="217469"/>
                  </a:cubicBezTo>
                  <a:cubicBezTo>
                    <a:pt x="86310" y="217751"/>
                    <a:pt x="86029" y="217751"/>
                    <a:pt x="86029" y="217751"/>
                  </a:cubicBezTo>
                  <a:cubicBezTo>
                    <a:pt x="85746" y="217751"/>
                    <a:pt x="85746" y="217751"/>
                    <a:pt x="85746" y="217469"/>
                  </a:cubicBezTo>
                  <a:cubicBezTo>
                    <a:pt x="85464" y="217469"/>
                    <a:pt x="85464" y="217187"/>
                    <a:pt x="85464" y="217187"/>
                  </a:cubicBezTo>
                  <a:lnTo>
                    <a:pt x="85746" y="216905"/>
                  </a:lnTo>
                  <a:lnTo>
                    <a:pt x="85746" y="215777"/>
                  </a:lnTo>
                  <a:cubicBezTo>
                    <a:pt x="85464" y="215777"/>
                    <a:pt x="85464" y="215495"/>
                    <a:pt x="85182" y="215495"/>
                  </a:cubicBezTo>
                  <a:cubicBezTo>
                    <a:pt x="84900" y="215495"/>
                    <a:pt x="84618" y="215777"/>
                    <a:pt x="84618" y="215777"/>
                  </a:cubicBezTo>
                  <a:cubicBezTo>
                    <a:pt x="84336" y="216059"/>
                    <a:pt x="84054" y="216341"/>
                    <a:pt x="84054" y="216623"/>
                  </a:cubicBezTo>
                  <a:cubicBezTo>
                    <a:pt x="84054" y="216905"/>
                    <a:pt x="84336" y="217187"/>
                    <a:pt x="84618" y="217469"/>
                  </a:cubicBezTo>
                  <a:cubicBezTo>
                    <a:pt x="84618" y="218316"/>
                    <a:pt x="84054" y="218880"/>
                    <a:pt x="83772" y="219162"/>
                  </a:cubicBezTo>
                  <a:lnTo>
                    <a:pt x="82079" y="219162"/>
                  </a:lnTo>
                  <a:cubicBezTo>
                    <a:pt x="81798" y="220008"/>
                    <a:pt x="81233" y="220008"/>
                    <a:pt x="81516" y="220290"/>
                  </a:cubicBezTo>
                  <a:cubicBezTo>
                    <a:pt x="81233" y="220572"/>
                    <a:pt x="81233" y="220854"/>
                    <a:pt x="80952" y="220854"/>
                  </a:cubicBezTo>
                  <a:cubicBezTo>
                    <a:pt x="80105" y="221418"/>
                    <a:pt x="79823" y="222264"/>
                    <a:pt x="79823" y="223111"/>
                  </a:cubicBezTo>
                  <a:cubicBezTo>
                    <a:pt x="79823" y="223675"/>
                    <a:pt x="80105" y="223957"/>
                    <a:pt x="80105" y="224521"/>
                  </a:cubicBezTo>
                  <a:lnTo>
                    <a:pt x="80105" y="225085"/>
                  </a:lnTo>
                  <a:cubicBezTo>
                    <a:pt x="79259" y="224803"/>
                    <a:pt x="78977" y="224521"/>
                    <a:pt x="78977" y="223675"/>
                  </a:cubicBezTo>
                  <a:lnTo>
                    <a:pt x="78977" y="223393"/>
                  </a:lnTo>
                  <a:lnTo>
                    <a:pt x="78413" y="223957"/>
                  </a:lnTo>
                  <a:lnTo>
                    <a:pt x="78413" y="225085"/>
                  </a:lnTo>
                  <a:cubicBezTo>
                    <a:pt x="78413" y="225367"/>
                    <a:pt x="78695" y="225649"/>
                    <a:pt x="78695" y="226213"/>
                  </a:cubicBezTo>
                  <a:cubicBezTo>
                    <a:pt x="78695" y="226495"/>
                    <a:pt x="78695" y="226495"/>
                    <a:pt x="78413" y="226777"/>
                  </a:cubicBezTo>
                  <a:lnTo>
                    <a:pt x="78695" y="227059"/>
                  </a:lnTo>
                  <a:cubicBezTo>
                    <a:pt x="78977" y="227059"/>
                    <a:pt x="79541" y="227341"/>
                    <a:pt x="79541" y="227341"/>
                  </a:cubicBezTo>
                  <a:lnTo>
                    <a:pt x="78695" y="227906"/>
                  </a:lnTo>
                  <a:cubicBezTo>
                    <a:pt x="78131" y="228752"/>
                    <a:pt x="77567" y="229034"/>
                    <a:pt x="77285" y="229880"/>
                  </a:cubicBezTo>
                  <a:cubicBezTo>
                    <a:pt x="76721" y="230726"/>
                    <a:pt x="75874" y="231290"/>
                    <a:pt x="74746" y="231572"/>
                  </a:cubicBezTo>
                  <a:cubicBezTo>
                    <a:pt x="73900" y="231572"/>
                    <a:pt x="73618" y="231572"/>
                    <a:pt x="73336" y="232701"/>
                  </a:cubicBezTo>
                  <a:cubicBezTo>
                    <a:pt x="72771" y="233547"/>
                    <a:pt x="71643" y="233829"/>
                    <a:pt x="71361" y="234957"/>
                  </a:cubicBezTo>
                  <a:lnTo>
                    <a:pt x="71361" y="235239"/>
                  </a:lnTo>
                  <a:cubicBezTo>
                    <a:pt x="71079" y="235239"/>
                    <a:pt x="71079" y="235521"/>
                    <a:pt x="70797" y="235521"/>
                  </a:cubicBezTo>
                  <a:lnTo>
                    <a:pt x="70515" y="235521"/>
                  </a:lnTo>
                  <a:cubicBezTo>
                    <a:pt x="70233" y="235521"/>
                    <a:pt x="69951" y="235803"/>
                    <a:pt x="69951" y="236367"/>
                  </a:cubicBezTo>
                  <a:cubicBezTo>
                    <a:pt x="69669" y="236649"/>
                    <a:pt x="69669" y="237496"/>
                    <a:pt x="69105" y="237778"/>
                  </a:cubicBezTo>
                  <a:cubicBezTo>
                    <a:pt x="67976" y="238342"/>
                    <a:pt x="67412" y="239188"/>
                    <a:pt x="66566" y="239188"/>
                  </a:cubicBezTo>
                  <a:cubicBezTo>
                    <a:pt x="66284" y="239188"/>
                    <a:pt x="66002" y="239470"/>
                    <a:pt x="65438" y="239470"/>
                  </a:cubicBezTo>
                  <a:lnTo>
                    <a:pt x="62899" y="241445"/>
                  </a:lnTo>
                  <a:lnTo>
                    <a:pt x="62618" y="241445"/>
                  </a:lnTo>
                  <a:cubicBezTo>
                    <a:pt x="62899" y="241727"/>
                    <a:pt x="62899" y="241727"/>
                    <a:pt x="63182" y="241727"/>
                  </a:cubicBezTo>
                  <a:lnTo>
                    <a:pt x="63464" y="241727"/>
                  </a:lnTo>
                  <a:lnTo>
                    <a:pt x="63464" y="242291"/>
                  </a:lnTo>
                  <a:cubicBezTo>
                    <a:pt x="62618" y="242291"/>
                    <a:pt x="62335" y="242573"/>
                    <a:pt x="62335" y="243137"/>
                  </a:cubicBezTo>
                  <a:cubicBezTo>
                    <a:pt x="62335" y="243983"/>
                    <a:pt x="62054" y="244265"/>
                    <a:pt x="61489" y="244265"/>
                  </a:cubicBezTo>
                  <a:cubicBezTo>
                    <a:pt x="60925" y="244829"/>
                    <a:pt x="60643" y="245111"/>
                    <a:pt x="60361" y="245111"/>
                  </a:cubicBezTo>
                  <a:cubicBezTo>
                    <a:pt x="57540" y="245111"/>
                    <a:pt x="56694" y="245958"/>
                    <a:pt x="53873" y="247932"/>
                  </a:cubicBezTo>
                  <a:lnTo>
                    <a:pt x="53592" y="247932"/>
                  </a:lnTo>
                  <a:cubicBezTo>
                    <a:pt x="53027" y="247932"/>
                    <a:pt x="52745" y="247650"/>
                    <a:pt x="52463" y="247086"/>
                  </a:cubicBezTo>
                  <a:lnTo>
                    <a:pt x="51617" y="247086"/>
                  </a:lnTo>
                  <a:cubicBezTo>
                    <a:pt x="51335" y="247368"/>
                    <a:pt x="51335" y="247368"/>
                    <a:pt x="51335" y="247650"/>
                  </a:cubicBezTo>
                  <a:lnTo>
                    <a:pt x="51335" y="248214"/>
                  </a:lnTo>
                  <a:cubicBezTo>
                    <a:pt x="51335" y="248496"/>
                    <a:pt x="51617" y="248778"/>
                    <a:pt x="51617" y="249060"/>
                  </a:cubicBezTo>
                  <a:cubicBezTo>
                    <a:pt x="51617" y="249342"/>
                    <a:pt x="51335" y="249624"/>
                    <a:pt x="50771" y="249624"/>
                  </a:cubicBezTo>
                  <a:cubicBezTo>
                    <a:pt x="50489" y="250188"/>
                    <a:pt x="49642" y="250188"/>
                    <a:pt x="49078" y="250753"/>
                  </a:cubicBezTo>
                  <a:lnTo>
                    <a:pt x="47950" y="250753"/>
                  </a:lnTo>
                  <a:cubicBezTo>
                    <a:pt x="47668" y="250753"/>
                    <a:pt x="47386" y="251035"/>
                    <a:pt x="47104" y="251317"/>
                  </a:cubicBezTo>
                  <a:cubicBezTo>
                    <a:pt x="46540" y="251599"/>
                    <a:pt x="45975" y="252163"/>
                    <a:pt x="45411" y="252163"/>
                  </a:cubicBezTo>
                  <a:lnTo>
                    <a:pt x="44565" y="252163"/>
                  </a:lnTo>
                  <a:cubicBezTo>
                    <a:pt x="44001" y="252163"/>
                    <a:pt x="43437" y="252445"/>
                    <a:pt x="42873" y="252445"/>
                  </a:cubicBezTo>
                  <a:lnTo>
                    <a:pt x="42309" y="252445"/>
                  </a:lnTo>
                  <a:cubicBezTo>
                    <a:pt x="42309" y="252445"/>
                    <a:pt x="42027" y="252445"/>
                    <a:pt x="42027" y="252727"/>
                  </a:cubicBezTo>
                  <a:cubicBezTo>
                    <a:pt x="42027" y="253291"/>
                    <a:pt x="41463" y="253573"/>
                    <a:pt x="40899" y="253573"/>
                  </a:cubicBezTo>
                  <a:cubicBezTo>
                    <a:pt x="39489" y="253855"/>
                    <a:pt x="38360" y="254701"/>
                    <a:pt x="36386" y="255548"/>
                  </a:cubicBezTo>
                  <a:lnTo>
                    <a:pt x="34693" y="256676"/>
                  </a:lnTo>
                  <a:cubicBezTo>
                    <a:pt x="34411" y="256676"/>
                    <a:pt x="34129" y="257240"/>
                    <a:pt x="33847" y="257522"/>
                  </a:cubicBezTo>
                  <a:cubicBezTo>
                    <a:pt x="33283" y="257522"/>
                    <a:pt x="33283" y="257240"/>
                    <a:pt x="33283" y="256958"/>
                  </a:cubicBezTo>
                  <a:cubicBezTo>
                    <a:pt x="33283" y="256676"/>
                    <a:pt x="33001" y="256676"/>
                    <a:pt x="33001" y="256676"/>
                  </a:cubicBezTo>
                  <a:cubicBezTo>
                    <a:pt x="32437" y="257522"/>
                    <a:pt x="31591" y="257522"/>
                    <a:pt x="31027" y="257804"/>
                  </a:cubicBezTo>
                  <a:cubicBezTo>
                    <a:pt x="30744" y="257804"/>
                    <a:pt x="30180" y="257804"/>
                    <a:pt x="30180" y="257522"/>
                  </a:cubicBezTo>
                  <a:cubicBezTo>
                    <a:pt x="29898" y="257240"/>
                    <a:pt x="29616" y="256958"/>
                    <a:pt x="29334" y="256958"/>
                  </a:cubicBezTo>
                  <a:cubicBezTo>
                    <a:pt x="29052" y="256958"/>
                    <a:pt x="28770" y="257240"/>
                    <a:pt x="28770" y="257240"/>
                  </a:cubicBezTo>
                  <a:cubicBezTo>
                    <a:pt x="27924" y="257804"/>
                    <a:pt x="26796" y="257804"/>
                    <a:pt x="25386" y="258086"/>
                  </a:cubicBezTo>
                  <a:cubicBezTo>
                    <a:pt x="24821" y="258086"/>
                    <a:pt x="24257" y="258086"/>
                    <a:pt x="23975" y="258368"/>
                  </a:cubicBezTo>
                  <a:cubicBezTo>
                    <a:pt x="23693" y="258650"/>
                    <a:pt x="22847" y="258650"/>
                    <a:pt x="22565" y="258650"/>
                  </a:cubicBezTo>
                  <a:cubicBezTo>
                    <a:pt x="22283" y="258932"/>
                    <a:pt x="21719" y="258932"/>
                    <a:pt x="21436" y="258932"/>
                  </a:cubicBezTo>
                  <a:cubicBezTo>
                    <a:pt x="21155" y="258932"/>
                    <a:pt x="20872" y="258932"/>
                    <a:pt x="20590" y="258650"/>
                  </a:cubicBezTo>
                  <a:cubicBezTo>
                    <a:pt x="20308" y="258650"/>
                    <a:pt x="20026" y="258368"/>
                    <a:pt x="20026" y="258086"/>
                  </a:cubicBezTo>
                  <a:cubicBezTo>
                    <a:pt x="19462" y="257522"/>
                    <a:pt x="18898" y="257522"/>
                    <a:pt x="18334" y="257522"/>
                  </a:cubicBezTo>
                  <a:cubicBezTo>
                    <a:pt x="18334" y="258086"/>
                    <a:pt x="17769" y="258086"/>
                    <a:pt x="17488" y="258086"/>
                  </a:cubicBezTo>
                  <a:cubicBezTo>
                    <a:pt x="17205" y="257804"/>
                    <a:pt x="17205" y="257804"/>
                    <a:pt x="16924" y="257804"/>
                  </a:cubicBezTo>
                  <a:cubicBezTo>
                    <a:pt x="16641" y="257804"/>
                    <a:pt x="16641" y="257804"/>
                    <a:pt x="16359" y="258086"/>
                  </a:cubicBezTo>
                  <a:cubicBezTo>
                    <a:pt x="16077" y="258932"/>
                    <a:pt x="15513" y="258932"/>
                    <a:pt x="14949" y="258932"/>
                  </a:cubicBezTo>
                  <a:lnTo>
                    <a:pt x="12693" y="258086"/>
                  </a:lnTo>
                  <a:cubicBezTo>
                    <a:pt x="11846" y="258086"/>
                    <a:pt x="11000" y="258086"/>
                    <a:pt x="10154" y="257804"/>
                  </a:cubicBezTo>
                  <a:cubicBezTo>
                    <a:pt x="8180" y="256394"/>
                    <a:pt x="6769" y="255830"/>
                    <a:pt x="5359" y="254419"/>
                  </a:cubicBezTo>
                  <a:cubicBezTo>
                    <a:pt x="5359" y="254419"/>
                    <a:pt x="4795" y="253855"/>
                    <a:pt x="4795" y="253291"/>
                  </a:cubicBezTo>
                  <a:cubicBezTo>
                    <a:pt x="4795" y="252445"/>
                    <a:pt x="4513" y="252163"/>
                    <a:pt x="3666" y="251599"/>
                  </a:cubicBezTo>
                  <a:cubicBezTo>
                    <a:pt x="3666" y="251599"/>
                    <a:pt x="3385" y="251599"/>
                    <a:pt x="3385" y="251317"/>
                  </a:cubicBezTo>
                  <a:cubicBezTo>
                    <a:pt x="3102" y="249906"/>
                    <a:pt x="2256" y="249342"/>
                    <a:pt x="2256" y="248214"/>
                  </a:cubicBezTo>
                  <a:lnTo>
                    <a:pt x="2256" y="247650"/>
                  </a:lnTo>
                  <a:cubicBezTo>
                    <a:pt x="2256" y="247368"/>
                    <a:pt x="1974" y="247086"/>
                    <a:pt x="1692" y="247086"/>
                  </a:cubicBezTo>
                  <a:cubicBezTo>
                    <a:pt x="564" y="246522"/>
                    <a:pt x="564" y="245393"/>
                    <a:pt x="564" y="244265"/>
                  </a:cubicBezTo>
                  <a:cubicBezTo>
                    <a:pt x="282" y="243701"/>
                    <a:pt x="282" y="243419"/>
                    <a:pt x="282" y="242855"/>
                  </a:cubicBezTo>
                  <a:lnTo>
                    <a:pt x="282" y="241162"/>
                  </a:lnTo>
                  <a:cubicBezTo>
                    <a:pt x="282" y="240880"/>
                    <a:pt x="282" y="240598"/>
                    <a:pt x="564" y="240316"/>
                  </a:cubicBezTo>
                  <a:lnTo>
                    <a:pt x="846" y="240316"/>
                  </a:lnTo>
                  <a:cubicBezTo>
                    <a:pt x="846" y="240316"/>
                    <a:pt x="1128" y="240316"/>
                    <a:pt x="1128" y="240034"/>
                  </a:cubicBezTo>
                  <a:cubicBezTo>
                    <a:pt x="1128" y="240034"/>
                    <a:pt x="846" y="239752"/>
                    <a:pt x="846" y="239470"/>
                  </a:cubicBezTo>
                  <a:cubicBezTo>
                    <a:pt x="846" y="239188"/>
                    <a:pt x="1128" y="238906"/>
                    <a:pt x="1128" y="238906"/>
                  </a:cubicBezTo>
                  <a:lnTo>
                    <a:pt x="846" y="238906"/>
                  </a:lnTo>
                  <a:cubicBezTo>
                    <a:pt x="564" y="238624"/>
                    <a:pt x="564" y="238060"/>
                    <a:pt x="564" y="237778"/>
                  </a:cubicBezTo>
                  <a:cubicBezTo>
                    <a:pt x="564" y="237214"/>
                    <a:pt x="564" y="236932"/>
                    <a:pt x="846" y="236367"/>
                  </a:cubicBezTo>
                  <a:cubicBezTo>
                    <a:pt x="846" y="235803"/>
                    <a:pt x="846" y="235803"/>
                    <a:pt x="282" y="235521"/>
                  </a:cubicBezTo>
                  <a:cubicBezTo>
                    <a:pt x="0" y="235521"/>
                    <a:pt x="0" y="235521"/>
                    <a:pt x="0" y="235239"/>
                  </a:cubicBezTo>
                  <a:lnTo>
                    <a:pt x="0" y="231854"/>
                  </a:lnTo>
                  <a:cubicBezTo>
                    <a:pt x="282" y="230726"/>
                    <a:pt x="564" y="229880"/>
                    <a:pt x="564" y="228752"/>
                  </a:cubicBezTo>
                  <a:cubicBezTo>
                    <a:pt x="564" y="228188"/>
                    <a:pt x="564" y="227624"/>
                    <a:pt x="846" y="226777"/>
                  </a:cubicBezTo>
                  <a:lnTo>
                    <a:pt x="1128" y="226495"/>
                  </a:lnTo>
                  <a:cubicBezTo>
                    <a:pt x="1128" y="225649"/>
                    <a:pt x="1410" y="224803"/>
                    <a:pt x="1410" y="223393"/>
                  </a:cubicBezTo>
                  <a:cubicBezTo>
                    <a:pt x="1410" y="223111"/>
                    <a:pt x="1410" y="222546"/>
                    <a:pt x="1692" y="221982"/>
                  </a:cubicBezTo>
                  <a:lnTo>
                    <a:pt x="1692" y="221418"/>
                  </a:lnTo>
                  <a:cubicBezTo>
                    <a:pt x="1692" y="221136"/>
                    <a:pt x="1692" y="220572"/>
                    <a:pt x="1410" y="220008"/>
                  </a:cubicBezTo>
                  <a:lnTo>
                    <a:pt x="1410" y="217751"/>
                  </a:lnTo>
                  <a:lnTo>
                    <a:pt x="1128" y="217469"/>
                  </a:lnTo>
                  <a:cubicBezTo>
                    <a:pt x="1974" y="216905"/>
                    <a:pt x="1410" y="215777"/>
                    <a:pt x="1974" y="214649"/>
                  </a:cubicBezTo>
                  <a:lnTo>
                    <a:pt x="2256" y="214367"/>
                  </a:lnTo>
                  <a:cubicBezTo>
                    <a:pt x="2256" y="214367"/>
                    <a:pt x="2256" y="214649"/>
                    <a:pt x="2538" y="214649"/>
                  </a:cubicBezTo>
                  <a:lnTo>
                    <a:pt x="2821" y="214649"/>
                  </a:lnTo>
                  <a:lnTo>
                    <a:pt x="2821" y="211828"/>
                  </a:lnTo>
                  <a:cubicBezTo>
                    <a:pt x="3666" y="210136"/>
                    <a:pt x="3949" y="208725"/>
                    <a:pt x="4513" y="207033"/>
                  </a:cubicBezTo>
                  <a:lnTo>
                    <a:pt x="4513" y="205623"/>
                  </a:lnTo>
                  <a:cubicBezTo>
                    <a:pt x="4231" y="205341"/>
                    <a:pt x="4231" y="205059"/>
                    <a:pt x="4231" y="204777"/>
                  </a:cubicBezTo>
                  <a:cubicBezTo>
                    <a:pt x="4231" y="204494"/>
                    <a:pt x="4231" y="203930"/>
                    <a:pt x="4513" y="203648"/>
                  </a:cubicBezTo>
                  <a:cubicBezTo>
                    <a:pt x="4795" y="203366"/>
                    <a:pt x="4795" y="203084"/>
                    <a:pt x="4795" y="202802"/>
                  </a:cubicBezTo>
                  <a:lnTo>
                    <a:pt x="4795" y="202238"/>
                  </a:lnTo>
                  <a:lnTo>
                    <a:pt x="5641" y="202238"/>
                  </a:lnTo>
                  <a:cubicBezTo>
                    <a:pt x="5641" y="202520"/>
                    <a:pt x="5641" y="202520"/>
                    <a:pt x="5923" y="202520"/>
                  </a:cubicBezTo>
                  <a:cubicBezTo>
                    <a:pt x="5923" y="202238"/>
                    <a:pt x="6487" y="201674"/>
                    <a:pt x="6487" y="201392"/>
                  </a:cubicBezTo>
                  <a:cubicBezTo>
                    <a:pt x="6205" y="201110"/>
                    <a:pt x="6205" y="200828"/>
                    <a:pt x="6205" y="200546"/>
                  </a:cubicBezTo>
                  <a:cubicBezTo>
                    <a:pt x="6205" y="199982"/>
                    <a:pt x="6487" y="199699"/>
                    <a:pt x="6769" y="199135"/>
                  </a:cubicBezTo>
                  <a:cubicBezTo>
                    <a:pt x="7333" y="198289"/>
                    <a:pt x="7333" y="198007"/>
                    <a:pt x="7616" y="197161"/>
                  </a:cubicBezTo>
                  <a:cubicBezTo>
                    <a:pt x="7616" y="196879"/>
                    <a:pt x="7616" y="196597"/>
                    <a:pt x="7333" y="196315"/>
                  </a:cubicBezTo>
                  <a:lnTo>
                    <a:pt x="7333" y="196033"/>
                  </a:lnTo>
                  <a:cubicBezTo>
                    <a:pt x="7333" y="195751"/>
                    <a:pt x="7333" y="195469"/>
                    <a:pt x="7616" y="195469"/>
                  </a:cubicBezTo>
                  <a:lnTo>
                    <a:pt x="8180" y="195469"/>
                  </a:lnTo>
                  <a:lnTo>
                    <a:pt x="8462" y="195751"/>
                  </a:lnTo>
                  <a:lnTo>
                    <a:pt x="8462" y="195469"/>
                  </a:lnTo>
                  <a:cubicBezTo>
                    <a:pt x="8462" y="195186"/>
                    <a:pt x="8462" y="194904"/>
                    <a:pt x="8743" y="194622"/>
                  </a:cubicBezTo>
                  <a:cubicBezTo>
                    <a:pt x="9026" y="194340"/>
                    <a:pt x="9307" y="194058"/>
                    <a:pt x="9307" y="193494"/>
                  </a:cubicBezTo>
                  <a:cubicBezTo>
                    <a:pt x="9307" y="192648"/>
                    <a:pt x="9872" y="191802"/>
                    <a:pt x="10436" y="191520"/>
                  </a:cubicBezTo>
                  <a:cubicBezTo>
                    <a:pt x="11000" y="191238"/>
                    <a:pt x="11000" y="190673"/>
                    <a:pt x="11000" y="190391"/>
                  </a:cubicBezTo>
                  <a:cubicBezTo>
                    <a:pt x="10718" y="189545"/>
                    <a:pt x="10718" y="188981"/>
                    <a:pt x="10436" y="188699"/>
                  </a:cubicBezTo>
                  <a:cubicBezTo>
                    <a:pt x="10436" y="188699"/>
                    <a:pt x="10436" y="188417"/>
                    <a:pt x="11000" y="188135"/>
                  </a:cubicBezTo>
                  <a:cubicBezTo>
                    <a:pt x="11282" y="188135"/>
                    <a:pt x="11564" y="187853"/>
                    <a:pt x="11564" y="187571"/>
                  </a:cubicBezTo>
                  <a:lnTo>
                    <a:pt x="11564" y="187007"/>
                  </a:lnTo>
                  <a:cubicBezTo>
                    <a:pt x="11564" y="185878"/>
                    <a:pt x="11564" y="185878"/>
                    <a:pt x="12410" y="185596"/>
                  </a:cubicBezTo>
                  <a:cubicBezTo>
                    <a:pt x="12693" y="185596"/>
                    <a:pt x="12693" y="185314"/>
                    <a:pt x="12693" y="184750"/>
                  </a:cubicBezTo>
                  <a:cubicBezTo>
                    <a:pt x="12693" y="184750"/>
                    <a:pt x="12974" y="184468"/>
                    <a:pt x="12693" y="184468"/>
                  </a:cubicBezTo>
                  <a:lnTo>
                    <a:pt x="14385" y="184468"/>
                  </a:lnTo>
                  <a:cubicBezTo>
                    <a:pt x="14667" y="184468"/>
                    <a:pt x="14667" y="184468"/>
                    <a:pt x="14667" y="184186"/>
                  </a:cubicBezTo>
                  <a:lnTo>
                    <a:pt x="14385" y="183904"/>
                  </a:lnTo>
                  <a:cubicBezTo>
                    <a:pt x="14103" y="183622"/>
                    <a:pt x="13821" y="183622"/>
                    <a:pt x="13821" y="183340"/>
                  </a:cubicBezTo>
                  <a:cubicBezTo>
                    <a:pt x="13821" y="183058"/>
                    <a:pt x="14103" y="183058"/>
                    <a:pt x="14103" y="182776"/>
                  </a:cubicBezTo>
                  <a:cubicBezTo>
                    <a:pt x="14667" y="182212"/>
                    <a:pt x="14949" y="181365"/>
                    <a:pt x="14949" y="180801"/>
                  </a:cubicBezTo>
                  <a:lnTo>
                    <a:pt x="15231" y="180801"/>
                  </a:lnTo>
                  <a:cubicBezTo>
                    <a:pt x="15231" y="180801"/>
                    <a:pt x="15231" y="180519"/>
                    <a:pt x="14949" y="180519"/>
                  </a:cubicBezTo>
                  <a:cubicBezTo>
                    <a:pt x="15231" y="180237"/>
                    <a:pt x="15513" y="180237"/>
                    <a:pt x="15795" y="180237"/>
                  </a:cubicBezTo>
                  <a:lnTo>
                    <a:pt x="16641" y="181083"/>
                  </a:lnTo>
                  <a:lnTo>
                    <a:pt x="16641" y="181648"/>
                  </a:lnTo>
                  <a:cubicBezTo>
                    <a:pt x="16077" y="181930"/>
                    <a:pt x="15795" y="182212"/>
                    <a:pt x="15795" y="183058"/>
                  </a:cubicBezTo>
                  <a:lnTo>
                    <a:pt x="15795" y="184750"/>
                  </a:lnTo>
                  <a:cubicBezTo>
                    <a:pt x="15513" y="185032"/>
                    <a:pt x="15513" y="185032"/>
                    <a:pt x="14949" y="185032"/>
                  </a:cubicBezTo>
                  <a:cubicBezTo>
                    <a:pt x="14949" y="185032"/>
                    <a:pt x="14385" y="185032"/>
                    <a:pt x="14103" y="185314"/>
                  </a:cubicBezTo>
                  <a:lnTo>
                    <a:pt x="13257" y="186443"/>
                  </a:lnTo>
                  <a:lnTo>
                    <a:pt x="13257" y="187007"/>
                  </a:lnTo>
                  <a:lnTo>
                    <a:pt x="13821" y="187007"/>
                  </a:lnTo>
                  <a:cubicBezTo>
                    <a:pt x="14103" y="187007"/>
                    <a:pt x="14385" y="186443"/>
                    <a:pt x="14949" y="185878"/>
                  </a:cubicBezTo>
                  <a:lnTo>
                    <a:pt x="14949" y="186161"/>
                  </a:lnTo>
                  <a:cubicBezTo>
                    <a:pt x="14949" y="186725"/>
                    <a:pt x="14949" y="187007"/>
                    <a:pt x="14385" y="187289"/>
                  </a:cubicBezTo>
                  <a:cubicBezTo>
                    <a:pt x="14103" y="187853"/>
                    <a:pt x="13821" y="187853"/>
                    <a:pt x="13538" y="188135"/>
                  </a:cubicBezTo>
                  <a:cubicBezTo>
                    <a:pt x="13257" y="188135"/>
                    <a:pt x="13257" y="188135"/>
                    <a:pt x="12974" y="188417"/>
                  </a:cubicBezTo>
                  <a:lnTo>
                    <a:pt x="12974" y="188699"/>
                  </a:lnTo>
                  <a:cubicBezTo>
                    <a:pt x="12974" y="188981"/>
                    <a:pt x="13257" y="188981"/>
                    <a:pt x="13538" y="189263"/>
                  </a:cubicBezTo>
                  <a:cubicBezTo>
                    <a:pt x="13538" y="189827"/>
                    <a:pt x="13538" y="190109"/>
                    <a:pt x="12974" y="190109"/>
                  </a:cubicBezTo>
                  <a:cubicBezTo>
                    <a:pt x="12693" y="190109"/>
                    <a:pt x="12128" y="190391"/>
                    <a:pt x="11846" y="190673"/>
                  </a:cubicBezTo>
                  <a:cubicBezTo>
                    <a:pt x="11846" y="190956"/>
                    <a:pt x="11564" y="191238"/>
                    <a:pt x="11564" y="191520"/>
                  </a:cubicBezTo>
                  <a:lnTo>
                    <a:pt x="11564" y="192930"/>
                  </a:lnTo>
                  <a:cubicBezTo>
                    <a:pt x="11564" y="193212"/>
                    <a:pt x="11564" y="193212"/>
                    <a:pt x="11846" y="193494"/>
                  </a:cubicBezTo>
                  <a:cubicBezTo>
                    <a:pt x="11846" y="193494"/>
                    <a:pt x="11564" y="193776"/>
                    <a:pt x="11564" y="194340"/>
                  </a:cubicBezTo>
                  <a:lnTo>
                    <a:pt x="11000" y="195469"/>
                  </a:lnTo>
                  <a:lnTo>
                    <a:pt x="11000" y="196033"/>
                  </a:lnTo>
                  <a:cubicBezTo>
                    <a:pt x="11000" y="196597"/>
                    <a:pt x="10718" y="197161"/>
                    <a:pt x="9872" y="197161"/>
                  </a:cubicBezTo>
                  <a:cubicBezTo>
                    <a:pt x="9590" y="197161"/>
                    <a:pt x="9590" y="197443"/>
                    <a:pt x="9590" y="197725"/>
                  </a:cubicBezTo>
                  <a:lnTo>
                    <a:pt x="9590" y="199135"/>
                  </a:lnTo>
                  <a:cubicBezTo>
                    <a:pt x="9590" y="199417"/>
                    <a:pt x="9307" y="199699"/>
                    <a:pt x="9026" y="199982"/>
                  </a:cubicBezTo>
                  <a:lnTo>
                    <a:pt x="9026" y="200546"/>
                  </a:lnTo>
                  <a:cubicBezTo>
                    <a:pt x="9026" y="200828"/>
                    <a:pt x="9026" y="201110"/>
                    <a:pt x="8743" y="201392"/>
                  </a:cubicBezTo>
                  <a:cubicBezTo>
                    <a:pt x="8462" y="201956"/>
                    <a:pt x="8462" y="202802"/>
                    <a:pt x="8462" y="203084"/>
                  </a:cubicBezTo>
                  <a:cubicBezTo>
                    <a:pt x="8743" y="203648"/>
                    <a:pt x="9026" y="203930"/>
                    <a:pt x="9307" y="203930"/>
                  </a:cubicBezTo>
                  <a:lnTo>
                    <a:pt x="11846" y="203930"/>
                  </a:lnTo>
                  <a:lnTo>
                    <a:pt x="11846" y="204494"/>
                  </a:lnTo>
                  <a:cubicBezTo>
                    <a:pt x="11282" y="205905"/>
                    <a:pt x="11000" y="207597"/>
                    <a:pt x="10154" y="208725"/>
                  </a:cubicBezTo>
                  <a:cubicBezTo>
                    <a:pt x="10154" y="209007"/>
                    <a:pt x="10154" y="209007"/>
                    <a:pt x="9872" y="209007"/>
                  </a:cubicBezTo>
                  <a:cubicBezTo>
                    <a:pt x="9872" y="209007"/>
                    <a:pt x="9590" y="209290"/>
                    <a:pt x="9307" y="209290"/>
                  </a:cubicBezTo>
                  <a:cubicBezTo>
                    <a:pt x="9307" y="209007"/>
                    <a:pt x="9026" y="209007"/>
                    <a:pt x="9307" y="209007"/>
                  </a:cubicBezTo>
                  <a:cubicBezTo>
                    <a:pt x="9307" y="208725"/>
                    <a:pt x="9590" y="208161"/>
                    <a:pt x="9872" y="207879"/>
                  </a:cubicBezTo>
                  <a:cubicBezTo>
                    <a:pt x="10154" y="207879"/>
                    <a:pt x="10154" y="207597"/>
                    <a:pt x="10154" y="207597"/>
                  </a:cubicBezTo>
                  <a:cubicBezTo>
                    <a:pt x="10154" y="207315"/>
                    <a:pt x="9872" y="207315"/>
                    <a:pt x="9590" y="207033"/>
                  </a:cubicBezTo>
                  <a:lnTo>
                    <a:pt x="9307" y="207033"/>
                  </a:lnTo>
                  <a:cubicBezTo>
                    <a:pt x="8743" y="206751"/>
                    <a:pt x="8743" y="206751"/>
                    <a:pt x="8743" y="205905"/>
                  </a:cubicBezTo>
                  <a:cubicBezTo>
                    <a:pt x="8743" y="205623"/>
                    <a:pt x="9026" y="205623"/>
                    <a:pt x="9026" y="205623"/>
                  </a:cubicBezTo>
                  <a:cubicBezTo>
                    <a:pt x="8743" y="205341"/>
                    <a:pt x="8743" y="205059"/>
                    <a:pt x="8462" y="205059"/>
                  </a:cubicBezTo>
                  <a:lnTo>
                    <a:pt x="7616" y="207033"/>
                  </a:lnTo>
                  <a:cubicBezTo>
                    <a:pt x="7052" y="207597"/>
                    <a:pt x="6487" y="208161"/>
                    <a:pt x="6487" y="209007"/>
                  </a:cubicBezTo>
                  <a:cubicBezTo>
                    <a:pt x="6487" y="209572"/>
                    <a:pt x="6487" y="210136"/>
                    <a:pt x="7052" y="210700"/>
                  </a:cubicBezTo>
                  <a:lnTo>
                    <a:pt x="7052" y="210982"/>
                  </a:lnTo>
                  <a:cubicBezTo>
                    <a:pt x="7052" y="211264"/>
                    <a:pt x="6769" y="211264"/>
                    <a:pt x="6487" y="211264"/>
                  </a:cubicBezTo>
                  <a:lnTo>
                    <a:pt x="6205" y="211264"/>
                  </a:lnTo>
                  <a:cubicBezTo>
                    <a:pt x="6205" y="211264"/>
                    <a:pt x="5923" y="211264"/>
                    <a:pt x="5923" y="211546"/>
                  </a:cubicBezTo>
                  <a:cubicBezTo>
                    <a:pt x="5359" y="212392"/>
                    <a:pt x="5359" y="213520"/>
                    <a:pt x="5359" y="214367"/>
                  </a:cubicBezTo>
                  <a:cubicBezTo>
                    <a:pt x="5077" y="215495"/>
                    <a:pt x="4795" y="216905"/>
                    <a:pt x="4795" y="218033"/>
                  </a:cubicBezTo>
                  <a:cubicBezTo>
                    <a:pt x="4795" y="219162"/>
                    <a:pt x="5077" y="220008"/>
                    <a:pt x="5359" y="221136"/>
                  </a:cubicBezTo>
                  <a:cubicBezTo>
                    <a:pt x="5359" y="221418"/>
                    <a:pt x="5641" y="221418"/>
                    <a:pt x="5641" y="221700"/>
                  </a:cubicBezTo>
                  <a:cubicBezTo>
                    <a:pt x="5641" y="221982"/>
                    <a:pt x="5359" y="222264"/>
                    <a:pt x="5359" y="222264"/>
                  </a:cubicBezTo>
                  <a:cubicBezTo>
                    <a:pt x="4795" y="222828"/>
                    <a:pt x="4795" y="223393"/>
                    <a:pt x="4795" y="224239"/>
                  </a:cubicBezTo>
                  <a:lnTo>
                    <a:pt x="5641" y="225649"/>
                  </a:lnTo>
                  <a:cubicBezTo>
                    <a:pt x="5641" y="226213"/>
                    <a:pt x="5641" y="226777"/>
                    <a:pt x="6205" y="226777"/>
                  </a:cubicBezTo>
                  <a:cubicBezTo>
                    <a:pt x="6487" y="226777"/>
                    <a:pt x="6487" y="226495"/>
                    <a:pt x="6769" y="226495"/>
                  </a:cubicBezTo>
                  <a:lnTo>
                    <a:pt x="7052" y="226777"/>
                  </a:lnTo>
                  <a:lnTo>
                    <a:pt x="7052" y="227624"/>
                  </a:lnTo>
                  <a:cubicBezTo>
                    <a:pt x="7333" y="228188"/>
                    <a:pt x="7616" y="229034"/>
                    <a:pt x="7616" y="229598"/>
                  </a:cubicBezTo>
                  <a:cubicBezTo>
                    <a:pt x="7616" y="230162"/>
                    <a:pt x="7333" y="230444"/>
                    <a:pt x="7333" y="231008"/>
                  </a:cubicBezTo>
                  <a:lnTo>
                    <a:pt x="7333" y="231572"/>
                  </a:lnTo>
                  <a:lnTo>
                    <a:pt x="7897" y="237214"/>
                  </a:lnTo>
                  <a:cubicBezTo>
                    <a:pt x="7897" y="238060"/>
                    <a:pt x="7897" y="238624"/>
                    <a:pt x="8180" y="239470"/>
                  </a:cubicBezTo>
                  <a:cubicBezTo>
                    <a:pt x="8743" y="239470"/>
                    <a:pt x="8743" y="240316"/>
                    <a:pt x="9307" y="240880"/>
                  </a:cubicBezTo>
                  <a:cubicBezTo>
                    <a:pt x="9590" y="240880"/>
                    <a:pt x="9872" y="241445"/>
                    <a:pt x="9590" y="241162"/>
                  </a:cubicBezTo>
                  <a:cubicBezTo>
                    <a:pt x="9590" y="242291"/>
                    <a:pt x="10154" y="243137"/>
                    <a:pt x="11000" y="243983"/>
                  </a:cubicBezTo>
                  <a:cubicBezTo>
                    <a:pt x="11564" y="245111"/>
                    <a:pt x="12974" y="245675"/>
                    <a:pt x="13821" y="246522"/>
                  </a:cubicBezTo>
                  <a:lnTo>
                    <a:pt x="14103" y="246522"/>
                  </a:lnTo>
                  <a:cubicBezTo>
                    <a:pt x="14385" y="246522"/>
                    <a:pt x="14385" y="246522"/>
                    <a:pt x="14667" y="246240"/>
                  </a:cubicBezTo>
                  <a:cubicBezTo>
                    <a:pt x="14949" y="245958"/>
                    <a:pt x="14949" y="245958"/>
                    <a:pt x="15231" y="245958"/>
                  </a:cubicBezTo>
                  <a:cubicBezTo>
                    <a:pt x="15231" y="245958"/>
                    <a:pt x="15513" y="245958"/>
                    <a:pt x="15513" y="246240"/>
                  </a:cubicBezTo>
                  <a:cubicBezTo>
                    <a:pt x="15513" y="246240"/>
                    <a:pt x="15513" y="246804"/>
                    <a:pt x="15795" y="247086"/>
                  </a:cubicBezTo>
                  <a:lnTo>
                    <a:pt x="17769" y="248778"/>
                  </a:lnTo>
                  <a:lnTo>
                    <a:pt x="18052" y="248778"/>
                  </a:lnTo>
                  <a:cubicBezTo>
                    <a:pt x="19180" y="248778"/>
                    <a:pt x="20590" y="249060"/>
                    <a:pt x="22000" y="249060"/>
                  </a:cubicBezTo>
                  <a:lnTo>
                    <a:pt x="23129" y="249060"/>
                  </a:lnTo>
                  <a:cubicBezTo>
                    <a:pt x="24257" y="249060"/>
                    <a:pt x="25386" y="248778"/>
                    <a:pt x="27077" y="247650"/>
                  </a:cubicBezTo>
                  <a:cubicBezTo>
                    <a:pt x="27360" y="247932"/>
                    <a:pt x="27924" y="247932"/>
                    <a:pt x="28206" y="247932"/>
                  </a:cubicBezTo>
                  <a:cubicBezTo>
                    <a:pt x="29052" y="247932"/>
                    <a:pt x="29616" y="247368"/>
                    <a:pt x="30462" y="247086"/>
                  </a:cubicBezTo>
                  <a:cubicBezTo>
                    <a:pt x="31308" y="246804"/>
                    <a:pt x="32155" y="246804"/>
                    <a:pt x="32155" y="245958"/>
                  </a:cubicBezTo>
                  <a:lnTo>
                    <a:pt x="32719" y="245958"/>
                  </a:lnTo>
                  <a:cubicBezTo>
                    <a:pt x="33001" y="245958"/>
                    <a:pt x="33001" y="245958"/>
                    <a:pt x="33001" y="245675"/>
                  </a:cubicBezTo>
                  <a:cubicBezTo>
                    <a:pt x="33565" y="245111"/>
                    <a:pt x="34411" y="245111"/>
                    <a:pt x="34975" y="244829"/>
                  </a:cubicBezTo>
                  <a:cubicBezTo>
                    <a:pt x="35539" y="244829"/>
                    <a:pt x="36103" y="244547"/>
                    <a:pt x="36386" y="244265"/>
                  </a:cubicBezTo>
                  <a:cubicBezTo>
                    <a:pt x="37232" y="244265"/>
                    <a:pt x="38360" y="243983"/>
                    <a:pt x="39206" y="243701"/>
                  </a:cubicBezTo>
                  <a:lnTo>
                    <a:pt x="43155" y="241162"/>
                  </a:lnTo>
                  <a:cubicBezTo>
                    <a:pt x="44848" y="240598"/>
                    <a:pt x="46822" y="239752"/>
                    <a:pt x="47950" y="238060"/>
                  </a:cubicBezTo>
                  <a:cubicBezTo>
                    <a:pt x="48232" y="237778"/>
                    <a:pt x="48232" y="237496"/>
                    <a:pt x="48514" y="237496"/>
                  </a:cubicBezTo>
                  <a:cubicBezTo>
                    <a:pt x="49361" y="236932"/>
                    <a:pt x="49925" y="236367"/>
                    <a:pt x="50206" y="235803"/>
                  </a:cubicBezTo>
                  <a:cubicBezTo>
                    <a:pt x="50771" y="234675"/>
                    <a:pt x="51899" y="234393"/>
                    <a:pt x="52463" y="233547"/>
                  </a:cubicBezTo>
                  <a:cubicBezTo>
                    <a:pt x="52463" y="233547"/>
                    <a:pt x="52463" y="233265"/>
                    <a:pt x="52745" y="233265"/>
                  </a:cubicBezTo>
                  <a:lnTo>
                    <a:pt x="53027" y="233265"/>
                  </a:lnTo>
                  <a:cubicBezTo>
                    <a:pt x="53592" y="233265"/>
                    <a:pt x="53873" y="232701"/>
                    <a:pt x="54156" y="232137"/>
                  </a:cubicBezTo>
                  <a:cubicBezTo>
                    <a:pt x="54437" y="231290"/>
                    <a:pt x="55284" y="231290"/>
                    <a:pt x="55566" y="230444"/>
                  </a:cubicBezTo>
                  <a:cubicBezTo>
                    <a:pt x="56130" y="229598"/>
                    <a:pt x="56412" y="229034"/>
                    <a:pt x="57258" y="228470"/>
                  </a:cubicBezTo>
                  <a:cubicBezTo>
                    <a:pt x="57823" y="227341"/>
                    <a:pt x="59233" y="226777"/>
                    <a:pt x="59797" y="225367"/>
                  </a:cubicBezTo>
                  <a:lnTo>
                    <a:pt x="60925" y="223957"/>
                  </a:lnTo>
                  <a:cubicBezTo>
                    <a:pt x="62054" y="222828"/>
                    <a:pt x="63182" y="221700"/>
                    <a:pt x="63745" y="220290"/>
                  </a:cubicBezTo>
                  <a:cubicBezTo>
                    <a:pt x="64028" y="219444"/>
                    <a:pt x="64874" y="218598"/>
                    <a:pt x="66002" y="218033"/>
                  </a:cubicBezTo>
                  <a:cubicBezTo>
                    <a:pt x="66284" y="217751"/>
                    <a:pt x="66848" y="216905"/>
                    <a:pt x="66848" y="216341"/>
                  </a:cubicBezTo>
                  <a:cubicBezTo>
                    <a:pt x="67695" y="215777"/>
                    <a:pt x="67976" y="214649"/>
                    <a:pt x="68540" y="214085"/>
                  </a:cubicBezTo>
                  <a:cubicBezTo>
                    <a:pt x="69105" y="212956"/>
                    <a:pt x="70515" y="212110"/>
                    <a:pt x="71361" y="210700"/>
                  </a:cubicBezTo>
                  <a:cubicBezTo>
                    <a:pt x="72207" y="208725"/>
                    <a:pt x="73618" y="207033"/>
                    <a:pt x="74182" y="204777"/>
                  </a:cubicBezTo>
                  <a:cubicBezTo>
                    <a:pt x="74746" y="203930"/>
                    <a:pt x="75310" y="203084"/>
                    <a:pt x="76157" y="202238"/>
                  </a:cubicBezTo>
                  <a:cubicBezTo>
                    <a:pt x="76157" y="201956"/>
                    <a:pt x="76721" y="201674"/>
                    <a:pt x="76721" y="201110"/>
                  </a:cubicBezTo>
                  <a:cubicBezTo>
                    <a:pt x="76721" y="200828"/>
                    <a:pt x="76721" y="200546"/>
                    <a:pt x="77002" y="200264"/>
                  </a:cubicBezTo>
                  <a:cubicBezTo>
                    <a:pt x="77849" y="199417"/>
                    <a:pt x="78413" y="198007"/>
                    <a:pt x="78977" y="197161"/>
                  </a:cubicBezTo>
                  <a:cubicBezTo>
                    <a:pt x="79259" y="196315"/>
                    <a:pt x="80388" y="195469"/>
                    <a:pt x="80388" y="194340"/>
                  </a:cubicBezTo>
                  <a:cubicBezTo>
                    <a:pt x="80105" y="194058"/>
                    <a:pt x="80388" y="194058"/>
                    <a:pt x="80388" y="194058"/>
                  </a:cubicBezTo>
                  <a:cubicBezTo>
                    <a:pt x="81516" y="192930"/>
                    <a:pt x="82643" y="190956"/>
                    <a:pt x="83208" y="189263"/>
                  </a:cubicBezTo>
                  <a:cubicBezTo>
                    <a:pt x="83772" y="187571"/>
                    <a:pt x="84618" y="186161"/>
                    <a:pt x="85464" y="184186"/>
                  </a:cubicBezTo>
                  <a:cubicBezTo>
                    <a:pt x="85746" y="183340"/>
                    <a:pt x="85746" y="182494"/>
                    <a:pt x="86029" y="182212"/>
                  </a:cubicBezTo>
                  <a:cubicBezTo>
                    <a:pt x="86593" y="181083"/>
                    <a:pt x="86874" y="179955"/>
                    <a:pt x="86874" y="178827"/>
                  </a:cubicBezTo>
                  <a:cubicBezTo>
                    <a:pt x="88567" y="177699"/>
                    <a:pt x="88285" y="176006"/>
                    <a:pt x="88849" y="174596"/>
                  </a:cubicBezTo>
                  <a:cubicBezTo>
                    <a:pt x="89413" y="174032"/>
                    <a:pt x="89695" y="172904"/>
                    <a:pt x="89695" y="172339"/>
                  </a:cubicBezTo>
                  <a:cubicBezTo>
                    <a:pt x="90260" y="170929"/>
                    <a:pt x="90824" y="170083"/>
                    <a:pt x="90824" y="168673"/>
                  </a:cubicBezTo>
                  <a:cubicBezTo>
                    <a:pt x="91952" y="167262"/>
                    <a:pt x="92516" y="165288"/>
                    <a:pt x="92798" y="163314"/>
                  </a:cubicBezTo>
                  <a:lnTo>
                    <a:pt x="93644" y="161903"/>
                  </a:lnTo>
                  <a:cubicBezTo>
                    <a:pt x="93926" y="160775"/>
                    <a:pt x="94491" y="159083"/>
                    <a:pt x="94772" y="157108"/>
                  </a:cubicBezTo>
                  <a:cubicBezTo>
                    <a:pt x="95619" y="154570"/>
                    <a:pt x="95619" y="152313"/>
                    <a:pt x="96183" y="150057"/>
                  </a:cubicBezTo>
                  <a:cubicBezTo>
                    <a:pt x="96465" y="149775"/>
                    <a:pt x="96465" y="149493"/>
                    <a:pt x="96465" y="149210"/>
                  </a:cubicBezTo>
                  <a:cubicBezTo>
                    <a:pt x="96465" y="148646"/>
                    <a:pt x="96747" y="148364"/>
                    <a:pt x="96747" y="147800"/>
                  </a:cubicBezTo>
                  <a:lnTo>
                    <a:pt x="99850" y="130594"/>
                  </a:lnTo>
                  <a:cubicBezTo>
                    <a:pt x="100413" y="129466"/>
                    <a:pt x="100413" y="127774"/>
                    <a:pt x="100696" y="126364"/>
                  </a:cubicBezTo>
                  <a:cubicBezTo>
                    <a:pt x="100696" y="123825"/>
                    <a:pt x="101260" y="121286"/>
                    <a:pt x="101260" y="119030"/>
                  </a:cubicBezTo>
                  <a:cubicBezTo>
                    <a:pt x="101542" y="116209"/>
                    <a:pt x="101824" y="114235"/>
                    <a:pt x="101824" y="111978"/>
                  </a:cubicBezTo>
                  <a:cubicBezTo>
                    <a:pt x="101824" y="110004"/>
                    <a:pt x="101824" y="108594"/>
                    <a:pt x="102106" y="107183"/>
                  </a:cubicBezTo>
                  <a:cubicBezTo>
                    <a:pt x="102106" y="105773"/>
                    <a:pt x="101824" y="104645"/>
                    <a:pt x="101824" y="103234"/>
                  </a:cubicBezTo>
                  <a:cubicBezTo>
                    <a:pt x="102106" y="102952"/>
                    <a:pt x="101260" y="102670"/>
                    <a:pt x="100977" y="102670"/>
                  </a:cubicBezTo>
                  <a:lnTo>
                    <a:pt x="100696" y="102670"/>
                  </a:lnTo>
                  <a:cubicBezTo>
                    <a:pt x="99567" y="103234"/>
                    <a:pt x="98439" y="104081"/>
                    <a:pt x="97875" y="104927"/>
                  </a:cubicBezTo>
                  <a:cubicBezTo>
                    <a:pt x="97593" y="104927"/>
                    <a:pt x="97593" y="105209"/>
                    <a:pt x="97593" y="105491"/>
                  </a:cubicBezTo>
                  <a:cubicBezTo>
                    <a:pt x="97311" y="106055"/>
                    <a:pt x="97311" y="106337"/>
                    <a:pt x="97029" y="106337"/>
                  </a:cubicBezTo>
                  <a:cubicBezTo>
                    <a:pt x="97029" y="106337"/>
                    <a:pt x="96747" y="106055"/>
                    <a:pt x="96465" y="106055"/>
                  </a:cubicBezTo>
                  <a:cubicBezTo>
                    <a:pt x="96465" y="105773"/>
                    <a:pt x="96183" y="105773"/>
                    <a:pt x="95901" y="105773"/>
                  </a:cubicBezTo>
                  <a:cubicBezTo>
                    <a:pt x="95619" y="106055"/>
                    <a:pt x="95336" y="106055"/>
                    <a:pt x="95055" y="106055"/>
                  </a:cubicBezTo>
                  <a:cubicBezTo>
                    <a:pt x="94772" y="106055"/>
                    <a:pt x="94491" y="106055"/>
                    <a:pt x="94491" y="105773"/>
                  </a:cubicBezTo>
                  <a:cubicBezTo>
                    <a:pt x="94491" y="105491"/>
                    <a:pt x="93926" y="105491"/>
                    <a:pt x="93926" y="105491"/>
                  </a:cubicBezTo>
                  <a:cubicBezTo>
                    <a:pt x="93926" y="105773"/>
                    <a:pt x="93644" y="106055"/>
                    <a:pt x="93644" y="106055"/>
                  </a:cubicBezTo>
                  <a:lnTo>
                    <a:pt x="94208" y="107183"/>
                  </a:lnTo>
                  <a:lnTo>
                    <a:pt x="94208" y="108030"/>
                  </a:lnTo>
                  <a:cubicBezTo>
                    <a:pt x="93644" y="108594"/>
                    <a:pt x="93080" y="108876"/>
                    <a:pt x="92516" y="109158"/>
                  </a:cubicBezTo>
                  <a:cubicBezTo>
                    <a:pt x="92234" y="109158"/>
                    <a:pt x="91670" y="109440"/>
                    <a:pt x="91670" y="109722"/>
                  </a:cubicBezTo>
                  <a:lnTo>
                    <a:pt x="91670" y="110004"/>
                  </a:lnTo>
                  <a:cubicBezTo>
                    <a:pt x="91670" y="110286"/>
                    <a:pt x="91388" y="110568"/>
                    <a:pt x="90824" y="110850"/>
                  </a:cubicBezTo>
                  <a:cubicBezTo>
                    <a:pt x="90541" y="111132"/>
                    <a:pt x="89977" y="111414"/>
                    <a:pt x="89977" y="111696"/>
                  </a:cubicBezTo>
                  <a:cubicBezTo>
                    <a:pt x="89977" y="112260"/>
                    <a:pt x="89695" y="112542"/>
                    <a:pt x="89413" y="112542"/>
                  </a:cubicBezTo>
                  <a:lnTo>
                    <a:pt x="89131" y="112260"/>
                  </a:lnTo>
                  <a:lnTo>
                    <a:pt x="88285" y="112260"/>
                  </a:lnTo>
                  <a:cubicBezTo>
                    <a:pt x="88285" y="112542"/>
                    <a:pt x="88003" y="112825"/>
                    <a:pt x="87721" y="112825"/>
                  </a:cubicBezTo>
                  <a:lnTo>
                    <a:pt x="86029" y="114799"/>
                  </a:lnTo>
                  <a:cubicBezTo>
                    <a:pt x="85746" y="115363"/>
                    <a:pt x="85182" y="115363"/>
                    <a:pt x="84618" y="115363"/>
                  </a:cubicBezTo>
                  <a:cubicBezTo>
                    <a:pt x="84054" y="115645"/>
                    <a:pt x="81798" y="116491"/>
                    <a:pt x="81798" y="117055"/>
                  </a:cubicBezTo>
                  <a:lnTo>
                    <a:pt x="79823" y="118748"/>
                  </a:lnTo>
                  <a:cubicBezTo>
                    <a:pt x="79541" y="118748"/>
                    <a:pt x="79259" y="119312"/>
                    <a:pt x="78977" y="119876"/>
                  </a:cubicBezTo>
                  <a:cubicBezTo>
                    <a:pt x="78695" y="120158"/>
                    <a:pt x="78695" y="120440"/>
                    <a:pt x="78695" y="120440"/>
                  </a:cubicBezTo>
                  <a:cubicBezTo>
                    <a:pt x="78695" y="121286"/>
                    <a:pt x="78131" y="121568"/>
                    <a:pt x="77567" y="121851"/>
                  </a:cubicBezTo>
                  <a:cubicBezTo>
                    <a:pt x="77285" y="122133"/>
                    <a:pt x="77002" y="122133"/>
                    <a:pt x="76721" y="122133"/>
                  </a:cubicBezTo>
                  <a:lnTo>
                    <a:pt x="76157" y="122133"/>
                  </a:lnTo>
                  <a:cubicBezTo>
                    <a:pt x="76157" y="121851"/>
                    <a:pt x="75592" y="121851"/>
                    <a:pt x="75310" y="121568"/>
                  </a:cubicBezTo>
                  <a:cubicBezTo>
                    <a:pt x="75028" y="121568"/>
                    <a:pt x="75028" y="121851"/>
                    <a:pt x="75028" y="122133"/>
                  </a:cubicBezTo>
                  <a:lnTo>
                    <a:pt x="75028" y="124107"/>
                  </a:lnTo>
                  <a:lnTo>
                    <a:pt x="74182" y="124107"/>
                  </a:lnTo>
                  <a:lnTo>
                    <a:pt x="73618" y="123543"/>
                  </a:lnTo>
                  <a:lnTo>
                    <a:pt x="73618" y="125235"/>
                  </a:lnTo>
                  <a:cubicBezTo>
                    <a:pt x="73618" y="125517"/>
                    <a:pt x="73618" y="125517"/>
                    <a:pt x="73336" y="125517"/>
                  </a:cubicBezTo>
                  <a:lnTo>
                    <a:pt x="73054" y="125517"/>
                  </a:lnTo>
                  <a:cubicBezTo>
                    <a:pt x="72771" y="125235"/>
                    <a:pt x="72771" y="125235"/>
                    <a:pt x="72490" y="125235"/>
                  </a:cubicBezTo>
                  <a:lnTo>
                    <a:pt x="72207" y="125235"/>
                  </a:lnTo>
                  <a:lnTo>
                    <a:pt x="72207" y="127210"/>
                  </a:lnTo>
                  <a:cubicBezTo>
                    <a:pt x="72207" y="127492"/>
                    <a:pt x="72207" y="127774"/>
                    <a:pt x="71926" y="128056"/>
                  </a:cubicBezTo>
                  <a:cubicBezTo>
                    <a:pt x="71643" y="128620"/>
                    <a:pt x="70797" y="128620"/>
                    <a:pt x="70797" y="129184"/>
                  </a:cubicBezTo>
                  <a:cubicBezTo>
                    <a:pt x="70233" y="129748"/>
                    <a:pt x="69387" y="130030"/>
                    <a:pt x="68540" y="130876"/>
                  </a:cubicBezTo>
                  <a:cubicBezTo>
                    <a:pt x="68259" y="131159"/>
                    <a:pt x="67976" y="131159"/>
                    <a:pt x="67695" y="131159"/>
                  </a:cubicBezTo>
                  <a:cubicBezTo>
                    <a:pt x="67130" y="131159"/>
                    <a:pt x="67130" y="130594"/>
                    <a:pt x="66848" y="130030"/>
                  </a:cubicBezTo>
                  <a:cubicBezTo>
                    <a:pt x="66848" y="129466"/>
                    <a:pt x="66566" y="129184"/>
                    <a:pt x="66002" y="129184"/>
                  </a:cubicBezTo>
                  <a:lnTo>
                    <a:pt x="65720" y="129184"/>
                  </a:lnTo>
                  <a:cubicBezTo>
                    <a:pt x="65720" y="129184"/>
                    <a:pt x="65438" y="128902"/>
                    <a:pt x="65438" y="128620"/>
                  </a:cubicBezTo>
                  <a:cubicBezTo>
                    <a:pt x="64592" y="128056"/>
                    <a:pt x="64592" y="126928"/>
                    <a:pt x="64592" y="126081"/>
                  </a:cubicBezTo>
                  <a:lnTo>
                    <a:pt x="65720" y="124671"/>
                  </a:lnTo>
                  <a:cubicBezTo>
                    <a:pt x="66002" y="124107"/>
                    <a:pt x="66002" y="123543"/>
                    <a:pt x="66002" y="123261"/>
                  </a:cubicBezTo>
                  <a:lnTo>
                    <a:pt x="65720" y="123261"/>
                  </a:lnTo>
                  <a:cubicBezTo>
                    <a:pt x="65438" y="123543"/>
                    <a:pt x="65438" y="123825"/>
                    <a:pt x="65156" y="123825"/>
                  </a:cubicBezTo>
                  <a:cubicBezTo>
                    <a:pt x="64592" y="123825"/>
                    <a:pt x="63745" y="123825"/>
                    <a:pt x="63745" y="124671"/>
                  </a:cubicBezTo>
                  <a:lnTo>
                    <a:pt x="63745" y="124953"/>
                  </a:lnTo>
                  <a:lnTo>
                    <a:pt x="63182" y="124953"/>
                  </a:lnTo>
                  <a:lnTo>
                    <a:pt x="62618" y="124671"/>
                  </a:lnTo>
                  <a:cubicBezTo>
                    <a:pt x="62054" y="124953"/>
                    <a:pt x="62054" y="125235"/>
                    <a:pt x="62054" y="125517"/>
                  </a:cubicBezTo>
                  <a:cubicBezTo>
                    <a:pt x="62054" y="125799"/>
                    <a:pt x="62054" y="126081"/>
                    <a:pt x="62335" y="126364"/>
                  </a:cubicBezTo>
                  <a:cubicBezTo>
                    <a:pt x="62899" y="126364"/>
                    <a:pt x="63182" y="126646"/>
                    <a:pt x="63464" y="126646"/>
                  </a:cubicBezTo>
                  <a:cubicBezTo>
                    <a:pt x="63745" y="126928"/>
                    <a:pt x="64028" y="126928"/>
                    <a:pt x="64028" y="127210"/>
                  </a:cubicBezTo>
                  <a:cubicBezTo>
                    <a:pt x="64028" y="127210"/>
                    <a:pt x="63745" y="127492"/>
                    <a:pt x="63745" y="127774"/>
                  </a:cubicBezTo>
                  <a:cubicBezTo>
                    <a:pt x="63464" y="127774"/>
                    <a:pt x="63745" y="128056"/>
                    <a:pt x="63745" y="128338"/>
                  </a:cubicBezTo>
                  <a:lnTo>
                    <a:pt x="64309" y="128620"/>
                  </a:lnTo>
                  <a:lnTo>
                    <a:pt x="64309" y="128902"/>
                  </a:lnTo>
                  <a:cubicBezTo>
                    <a:pt x="64309" y="129184"/>
                    <a:pt x="64309" y="129184"/>
                    <a:pt x="64592" y="129466"/>
                  </a:cubicBezTo>
                  <a:cubicBezTo>
                    <a:pt x="64874" y="129748"/>
                    <a:pt x="64874" y="130030"/>
                    <a:pt x="64874" y="130312"/>
                  </a:cubicBezTo>
                  <a:lnTo>
                    <a:pt x="64874" y="130876"/>
                  </a:lnTo>
                  <a:cubicBezTo>
                    <a:pt x="64592" y="131159"/>
                    <a:pt x="64592" y="131159"/>
                    <a:pt x="64592" y="131441"/>
                  </a:cubicBezTo>
                  <a:cubicBezTo>
                    <a:pt x="64592" y="132005"/>
                    <a:pt x="64874" y="132569"/>
                    <a:pt x="64874" y="133133"/>
                  </a:cubicBezTo>
                  <a:cubicBezTo>
                    <a:pt x="64874" y="133697"/>
                    <a:pt x="64874" y="133979"/>
                    <a:pt x="64309" y="134261"/>
                  </a:cubicBezTo>
                  <a:lnTo>
                    <a:pt x="63464" y="135954"/>
                  </a:lnTo>
                  <a:cubicBezTo>
                    <a:pt x="63464" y="136518"/>
                    <a:pt x="62618" y="137646"/>
                    <a:pt x="61489" y="137928"/>
                  </a:cubicBezTo>
                  <a:cubicBezTo>
                    <a:pt x="61207" y="137928"/>
                    <a:pt x="61207" y="138492"/>
                    <a:pt x="60643" y="139056"/>
                  </a:cubicBezTo>
                  <a:cubicBezTo>
                    <a:pt x="60361" y="139902"/>
                    <a:pt x="59515" y="141031"/>
                    <a:pt x="58951" y="141877"/>
                  </a:cubicBezTo>
                  <a:cubicBezTo>
                    <a:pt x="57540" y="143005"/>
                    <a:pt x="56412" y="144415"/>
                    <a:pt x="55002" y="146108"/>
                  </a:cubicBezTo>
                  <a:cubicBezTo>
                    <a:pt x="53873" y="147518"/>
                    <a:pt x="52745" y="148928"/>
                    <a:pt x="51053" y="150339"/>
                  </a:cubicBezTo>
                  <a:cubicBezTo>
                    <a:pt x="50771" y="150621"/>
                    <a:pt x="50771" y="150621"/>
                    <a:pt x="50771" y="150903"/>
                  </a:cubicBezTo>
                  <a:lnTo>
                    <a:pt x="50771" y="151185"/>
                  </a:lnTo>
                  <a:cubicBezTo>
                    <a:pt x="49925" y="151749"/>
                    <a:pt x="49642" y="152595"/>
                    <a:pt x="49361" y="152877"/>
                  </a:cubicBezTo>
                  <a:cubicBezTo>
                    <a:pt x="49078" y="153723"/>
                    <a:pt x="48514" y="154570"/>
                    <a:pt x="47950" y="155416"/>
                  </a:cubicBezTo>
                  <a:cubicBezTo>
                    <a:pt x="47668" y="155698"/>
                    <a:pt x="47104" y="156544"/>
                    <a:pt x="46540" y="156826"/>
                  </a:cubicBezTo>
                  <a:lnTo>
                    <a:pt x="45411" y="157954"/>
                  </a:lnTo>
                  <a:cubicBezTo>
                    <a:pt x="45411" y="158518"/>
                    <a:pt x="45130" y="159083"/>
                    <a:pt x="44284" y="159083"/>
                  </a:cubicBezTo>
                  <a:cubicBezTo>
                    <a:pt x="43720" y="159365"/>
                    <a:pt x="44001" y="160493"/>
                    <a:pt x="43437" y="160493"/>
                  </a:cubicBezTo>
                  <a:cubicBezTo>
                    <a:pt x="43155" y="160493"/>
                    <a:pt x="42873" y="160775"/>
                    <a:pt x="42873" y="160775"/>
                  </a:cubicBezTo>
                  <a:lnTo>
                    <a:pt x="42591" y="161057"/>
                  </a:lnTo>
                  <a:cubicBezTo>
                    <a:pt x="42309" y="161057"/>
                    <a:pt x="42309" y="160775"/>
                    <a:pt x="42027" y="160493"/>
                  </a:cubicBezTo>
                  <a:lnTo>
                    <a:pt x="42027" y="159647"/>
                  </a:lnTo>
                  <a:cubicBezTo>
                    <a:pt x="41745" y="159083"/>
                    <a:pt x="41463" y="158801"/>
                    <a:pt x="41181" y="158801"/>
                  </a:cubicBezTo>
                  <a:cubicBezTo>
                    <a:pt x="40899" y="158801"/>
                    <a:pt x="40617" y="159083"/>
                    <a:pt x="40053" y="159647"/>
                  </a:cubicBezTo>
                  <a:cubicBezTo>
                    <a:pt x="39489" y="159929"/>
                    <a:pt x="39206" y="160493"/>
                    <a:pt x="39206" y="161339"/>
                  </a:cubicBezTo>
                  <a:lnTo>
                    <a:pt x="39206" y="163314"/>
                  </a:lnTo>
                  <a:cubicBezTo>
                    <a:pt x="39206" y="163878"/>
                    <a:pt x="39206" y="164442"/>
                    <a:pt x="39489" y="165006"/>
                  </a:cubicBezTo>
                  <a:cubicBezTo>
                    <a:pt x="39489" y="165288"/>
                    <a:pt x="39770" y="165570"/>
                    <a:pt x="39770" y="165852"/>
                  </a:cubicBezTo>
                  <a:cubicBezTo>
                    <a:pt x="39770" y="166134"/>
                    <a:pt x="39489" y="166416"/>
                    <a:pt x="39206" y="166698"/>
                  </a:cubicBezTo>
                  <a:lnTo>
                    <a:pt x="37796" y="168673"/>
                  </a:lnTo>
                  <a:cubicBezTo>
                    <a:pt x="37232" y="169237"/>
                    <a:pt x="37232" y="170083"/>
                    <a:pt x="36668" y="170647"/>
                  </a:cubicBezTo>
                  <a:lnTo>
                    <a:pt x="36386" y="170929"/>
                  </a:lnTo>
                  <a:cubicBezTo>
                    <a:pt x="36386" y="170929"/>
                    <a:pt x="36386" y="170647"/>
                    <a:pt x="36103" y="170365"/>
                  </a:cubicBezTo>
                  <a:cubicBezTo>
                    <a:pt x="36103" y="170083"/>
                    <a:pt x="35822" y="170083"/>
                    <a:pt x="35822" y="170083"/>
                  </a:cubicBezTo>
                  <a:cubicBezTo>
                    <a:pt x="35539" y="170083"/>
                    <a:pt x="35258" y="170083"/>
                    <a:pt x="34975" y="170365"/>
                  </a:cubicBezTo>
                  <a:lnTo>
                    <a:pt x="34693" y="170647"/>
                  </a:lnTo>
                  <a:cubicBezTo>
                    <a:pt x="34693" y="170647"/>
                    <a:pt x="34411" y="170365"/>
                    <a:pt x="34411" y="170083"/>
                  </a:cubicBezTo>
                  <a:cubicBezTo>
                    <a:pt x="34693" y="168955"/>
                    <a:pt x="35258" y="168391"/>
                    <a:pt x="36386" y="168109"/>
                  </a:cubicBezTo>
                  <a:cubicBezTo>
                    <a:pt x="36386" y="168109"/>
                    <a:pt x="36668" y="167827"/>
                    <a:pt x="36668" y="167544"/>
                  </a:cubicBezTo>
                  <a:cubicBezTo>
                    <a:pt x="36668" y="167262"/>
                    <a:pt x="36386" y="167262"/>
                    <a:pt x="36386" y="166980"/>
                  </a:cubicBezTo>
                  <a:lnTo>
                    <a:pt x="36386" y="166416"/>
                  </a:lnTo>
                  <a:cubicBezTo>
                    <a:pt x="36103" y="166416"/>
                    <a:pt x="35822" y="166134"/>
                    <a:pt x="35539" y="166134"/>
                  </a:cubicBezTo>
                  <a:cubicBezTo>
                    <a:pt x="35258" y="166134"/>
                    <a:pt x="34975" y="166416"/>
                    <a:pt x="34693" y="166416"/>
                  </a:cubicBezTo>
                  <a:lnTo>
                    <a:pt x="34693" y="167262"/>
                  </a:lnTo>
                  <a:cubicBezTo>
                    <a:pt x="34693" y="167262"/>
                    <a:pt x="34693" y="167544"/>
                    <a:pt x="34411" y="167544"/>
                  </a:cubicBezTo>
                  <a:cubicBezTo>
                    <a:pt x="34411" y="167827"/>
                    <a:pt x="34129" y="168109"/>
                    <a:pt x="33847" y="168391"/>
                  </a:cubicBezTo>
                  <a:cubicBezTo>
                    <a:pt x="33565" y="168391"/>
                    <a:pt x="33283" y="168955"/>
                    <a:pt x="32719" y="168955"/>
                  </a:cubicBezTo>
                  <a:cubicBezTo>
                    <a:pt x="31591" y="168955"/>
                    <a:pt x="31591" y="169519"/>
                    <a:pt x="31308" y="170647"/>
                  </a:cubicBezTo>
                  <a:lnTo>
                    <a:pt x="31308" y="170929"/>
                  </a:lnTo>
                  <a:cubicBezTo>
                    <a:pt x="31308" y="171211"/>
                    <a:pt x="31308" y="171211"/>
                    <a:pt x="31591" y="171211"/>
                  </a:cubicBezTo>
                  <a:cubicBezTo>
                    <a:pt x="31872" y="171211"/>
                    <a:pt x="32437" y="171493"/>
                    <a:pt x="32719" y="171775"/>
                  </a:cubicBezTo>
                  <a:cubicBezTo>
                    <a:pt x="33001" y="172057"/>
                    <a:pt x="33001" y="172339"/>
                    <a:pt x="33001" y="172622"/>
                  </a:cubicBezTo>
                  <a:cubicBezTo>
                    <a:pt x="32719" y="172622"/>
                    <a:pt x="32719" y="172904"/>
                    <a:pt x="32719" y="172622"/>
                  </a:cubicBezTo>
                  <a:cubicBezTo>
                    <a:pt x="31308" y="172622"/>
                    <a:pt x="31591" y="172622"/>
                    <a:pt x="31027" y="173468"/>
                  </a:cubicBezTo>
                  <a:cubicBezTo>
                    <a:pt x="30744" y="173750"/>
                    <a:pt x="31027" y="174314"/>
                    <a:pt x="30462" y="174878"/>
                  </a:cubicBezTo>
                  <a:cubicBezTo>
                    <a:pt x="30180" y="175160"/>
                    <a:pt x="29898" y="175160"/>
                    <a:pt x="29898" y="175442"/>
                  </a:cubicBezTo>
                  <a:cubicBezTo>
                    <a:pt x="29898" y="175724"/>
                    <a:pt x="30180" y="176006"/>
                    <a:pt x="30462" y="176288"/>
                  </a:cubicBezTo>
                  <a:cubicBezTo>
                    <a:pt x="30462" y="176570"/>
                    <a:pt x="31308" y="176570"/>
                    <a:pt x="31308" y="176570"/>
                  </a:cubicBezTo>
                  <a:cubicBezTo>
                    <a:pt x="31591" y="176006"/>
                    <a:pt x="31872" y="175724"/>
                    <a:pt x="31872" y="175724"/>
                  </a:cubicBezTo>
                  <a:lnTo>
                    <a:pt x="31872" y="175160"/>
                  </a:lnTo>
                  <a:cubicBezTo>
                    <a:pt x="31872" y="173468"/>
                    <a:pt x="31872" y="173186"/>
                    <a:pt x="33283" y="173186"/>
                  </a:cubicBezTo>
                  <a:cubicBezTo>
                    <a:pt x="33847" y="173186"/>
                    <a:pt x="33847" y="173186"/>
                    <a:pt x="34129" y="173468"/>
                  </a:cubicBezTo>
                  <a:lnTo>
                    <a:pt x="34129" y="174878"/>
                  </a:lnTo>
                  <a:cubicBezTo>
                    <a:pt x="34129" y="175724"/>
                    <a:pt x="33847" y="175724"/>
                    <a:pt x="33565" y="176288"/>
                  </a:cubicBezTo>
                  <a:cubicBezTo>
                    <a:pt x="33283" y="176570"/>
                    <a:pt x="33283" y="176852"/>
                    <a:pt x="32437" y="177135"/>
                  </a:cubicBezTo>
                  <a:cubicBezTo>
                    <a:pt x="31872" y="177981"/>
                    <a:pt x="31591" y="178827"/>
                    <a:pt x="31027" y="179391"/>
                  </a:cubicBezTo>
                  <a:cubicBezTo>
                    <a:pt x="30462" y="179955"/>
                    <a:pt x="30462" y="180519"/>
                    <a:pt x="30462" y="180801"/>
                  </a:cubicBezTo>
                  <a:lnTo>
                    <a:pt x="30462" y="181365"/>
                  </a:lnTo>
                  <a:cubicBezTo>
                    <a:pt x="30462" y="181930"/>
                    <a:pt x="30180" y="182494"/>
                    <a:pt x="29898" y="183340"/>
                  </a:cubicBezTo>
                  <a:cubicBezTo>
                    <a:pt x="29898" y="183622"/>
                    <a:pt x="29616" y="183622"/>
                    <a:pt x="29616" y="183622"/>
                  </a:cubicBezTo>
                  <a:cubicBezTo>
                    <a:pt x="29616" y="183622"/>
                    <a:pt x="29334" y="183622"/>
                    <a:pt x="29052" y="183340"/>
                  </a:cubicBezTo>
                  <a:cubicBezTo>
                    <a:pt x="28770" y="183340"/>
                    <a:pt x="28770" y="182776"/>
                    <a:pt x="27924" y="182776"/>
                  </a:cubicBezTo>
                  <a:lnTo>
                    <a:pt x="27077" y="182776"/>
                  </a:lnTo>
                  <a:lnTo>
                    <a:pt x="27360" y="182494"/>
                  </a:lnTo>
                  <a:cubicBezTo>
                    <a:pt x="27641" y="181648"/>
                    <a:pt x="27924" y="181083"/>
                    <a:pt x="27924" y="180801"/>
                  </a:cubicBezTo>
                  <a:cubicBezTo>
                    <a:pt x="27924" y="180519"/>
                    <a:pt x="27641" y="180519"/>
                    <a:pt x="27641" y="180237"/>
                  </a:cubicBezTo>
                  <a:cubicBezTo>
                    <a:pt x="27641" y="179955"/>
                    <a:pt x="27924" y="179391"/>
                    <a:pt x="28206" y="179109"/>
                  </a:cubicBezTo>
                  <a:cubicBezTo>
                    <a:pt x="28488" y="178545"/>
                    <a:pt x="29052" y="178263"/>
                    <a:pt x="29616" y="177699"/>
                  </a:cubicBezTo>
                  <a:cubicBezTo>
                    <a:pt x="29898" y="177417"/>
                    <a:pt x="29898" y="177135"/>
                    <a:pt x="29898" y="176852"/>
                  </a:cubicBezTo>
                  <a:lnTo>
                    <a:pt x="29898" y="176570"/>
                  </a:lnTo>
                  <a:lnTo>
                    <a:pt x="28488" y="176570"/>
                  </a:lnTo>
                  <a:cubicBezTo>
                    <a:pt x="27924" y="176852"/>
                    <a:pt x="27641" y="177417"/>
                    <a:pt x="27641" y="178545"/>
                  </a:cubicBezTo>
                  <a:lnTo>
                    <a:pt x="27641" y="179109"/>
                  </a:lnTo>
                  <a:cubicBezTo>
                    <a:pt x="26514" y="179673"/>
                    <a:pt x="26514" y="180801"/>
                    <a:pt x="26231" y="181365"/>
                  </a:cubicBezTo>
                  <a:cubicBezTo>
                    <a:pt x="26231" y="181648"/>
                    <a:pt x="26231" y="181930"/>
                    <a:pt x="25950" y="182212"/>
                  </a:cubicBezTo>
                  <a:cubicBezTo>
                    <a:pt x="25103" y="182494"/>
                    <a:pt x="24821" y="183622"/>
                    <a:pt x="24821" y="184750"/>
                  </a:cubicBezTo>
                  <a:cubicBezTo>
                    <a:pt x="24821" y="184750"/>
                    <a:pt x="24539" y="185032"/>
                    <a:pt x="24257" y="185596"/>
                  </a:cubicBezTo>
                  <a:cubicBezTo>
                    <a:pt x="23693" y="185878"/>
                    <a:pt x="23411" y="186443"/>
                    <a:pt x="23411" y="187007"/>
                  </a:cubicBezTo>
                  <a:cubicBezTo>
                    <a:pt x="23129" y="187853"/>
                    <a:pt x="23129" y="188417"/>
                    <a:pt x="22565" y="188417"/>
                  </a:cubicBezTo>
                  <a:cubicBezTo>
                    <a:pt x="22000" y="188417"/>
                    <a:pt x="21719" y="188417"/>
                    <a:pt x="21719" y="188135"/>
                  </a:cubicBezTo>
                  <a:cubicBezTo>
                    <a:pt x="21436" y="188135"/>
                    <a:pt x="21436" y="188135"/>
                    <a:pt x="21155" y="187853"/>
                  </a:cubicBezTo>
                  <a:lnTo>
                    <a:pt x="20026" y="187853"/>
                  </a:lnTo>
                  <a:lnTo>
                    <a:pt x="20026" y="188135"/>
                  </a:lnTo>
                  <a:cubicBezTo>
                    <a:pt x="19180" y="188135"/>
                    <a:pt x="19180" y="188135"/>
                    <a:pt x="18898" y="187853"/>
                  </a:cubicBezTo>
                  <a:lnTo>
                    <a:pt x="18898" y="187571"/>
                  </a:lnTo>
                  <a:lnTo>
                    <a:pt x="18052" y="187571"/>
                  </a:lnTo>
                  <a:lnTo>
                    <a:pt x="18052" y="188699"/>
                  </a:lnTo>
                  <a:cubicBezTo>
                    <a:pt x="18334" y="189263"/>
                    <a:pt x="18616" y="189263"/>
                    <a:pt x="18898" y="189263"/>
                  </a:cubicBezTo>
                  <a:cubicBezTo>
                    <a:pt x="19180" y="189545"/>
                    <a:pt x="19462" y="189545"/>
                    <a:pt x="20026" y="189545"/>
                  </a:cubicBezTo>
                  <a:lnTo>
                    <a:pt x="20590" y="189545"/>
                  </a:lnTo>
                  <a:cubicBezTo>
                    <a:pt x="20872" y="189545"/>
                    <a:pt x="21155" y="189827"/>
                    <a:pt x="21155" y="190109"/>
                  </a:cubicBezTo>
                  <a:lnTo>
                    <a:pt x="21155" y="190391"/>
                  </a:lnTo>
                  <a:lnTo>
                    <a:pt x="20308" y="192366"/>
                  </a:lnTo>
                  <a:cubicBezTo>
                    <a:pt x="20026" y="192648"/>
                    <a:pt x="20026" y="192648"/>
                    <a:pt x="19744" y="192648"/>
                  </a:cubicBezTo>
                  <a:cubicBezTo>
                    <a:pt x="19462" y="192648"/>
                    <a:pt x="19462" y="192648"/>
                    <a:pt x="19462" y="192366"/>
                  </a:cubicBezTo>
                  <a:cubicBezTo>
                    <a:pt x="19180" y="192366"/>
                    <a:pt x="19180" y="191802"/>
                    <a:pt x="18898" y="191238"/>
                  </a:cubicBezTo>
                  <a:cubicBezTo>
                    <a:pt x="18334" y="190673"/>
                    <a:pt x="18334" y="190109"/>
                    <a:pt x="17488" y="190109"/>
                  </a:cubicBezTo>
                  <a:lnTo>
                    <a:pt x="17488" y="190673"/>
                  </a:lnTo>
                  <a:cubicBezTo>
                    <a:pt x="17488" y="191520"/>
                    <a:pt x="16924" y="192366"/>
                    <a:pt x="16077" y="192930"/>
                  </a:cubicBezTo>
                  <a:cubicBezTo>
                    <a:pt x="16077" y="193212"/>
                    <a:pt x="16077" y="193212"/>
                    <a:pt x="15795" y="193212"/>
                  </a:cubicBezTo>
                  <a:cubicBezTo>
                    <a:pt x="14949" y="193494"/>
                    <a:pt x="14667" y="193494"/>
                    <a:pt x="14667" y="193776"/>
                  </a:cubicBezTo>
                  <a:cubicBezTo>
                    <a:pt x="14667" y="194058"/>
                    <a:pt x="14949" y="194340"/>
                    <a:pt x="14949" y="194622"/>
                  </a:cubicBezTo>
                  <a:cubicBezTo>
                    <a:pt x="15231" y="194622"/>
                    <a:pt x="15231" y="194904"/>
                    <a:pt x="15231" y="195186"/>
                  </a:cubicBezTo>
                  <a:cubicBezTo>
                    <a:pt x="15231" y="195469"/>
                    <a:pt x="15513" y="195751"/>
                    <a:pt x="15513" y="195751"/>
                  </a:cubicBezTo>
                  <a:cubicBezTo>
                    <a:pt x="15513" y="196033"/>
                    <a:pt x="15231" y="196033"/>
                    <a:pt x="15231" y="196033"/>
                  </a:cubicBezTo>
                  <a:cubicBezTo>
                    <a:pt x="14667" y="196315"/>
                    <a:pt x="14667" y="196879"/>
                    <a:pt x="13821" y="197161"/>
                  </a:cubicBezTo>
                  <a:cubicBezTo>
                    <a:pt x="13257" y="197161"/>
                    <a:pt x="12974" y="197161"/>
                    <a:pt x="12974" y="197725"/>
                  </a:cubicBezTo>
                  <a:cubicBezTo>
                    <a:pt x="12974" y="198289"/>
                    <a:pt x="12974" y="198853"/>
                    <a:pt x="13257" y="199135"/>
                  </a:cubicBezTo>
                  <a:cubicBezTo>
                    <a:pt x="13538" y="199699"/>
                    <a:pt x="13538" y="199982"/>
                    <a:pt x="13538" y="200264"/>
                  </a:cubicBezTo>
                  <a:cubicBezTo>
                    <a:pt x="13538" y="200546"/>
                    <a:pt x="13538" y="200828"/>
                    <a:pt x="13257" y="200828"/>
                  </a:cubicBezTo>
                  <a:cubicBezTo>
                    <a:pt x="12693" y="201110"/>
                    <a:pt x="12410" y="201674"/>
                    <a:pt x="12410" y="202238"/>
                  </a:cubicBezTo>
                  <a:lnTo>
                    <a:pt x="12410" y="202802"/>
                  </a:lnTo>
                  <a:cubicBezTo>
                    <a:pt x="12410" y="203366"/>
                    <a:pt x="12128" y="203648"/>
                    <a:pt x="11846" y="203930"/>
                  </a:cubicBezTo>
                  <a:cubicBezTo>
                    <a:pt x="11846" y="203648"/>
                    <a:pt x="11846" y="203366"/>
                    <a:pt x="11564" y="202802"/>
                  </a:cubicBezTo>
                  <a:cubicBezTo>
                    <a:pt x="11564" y="202520"/>
                    <a:pt x="11564" y="202238"/>
                    <a:pt x="11282" y="202238"/>
                  </a:cubicBezTo>
                  <a:cubicBezTo>
                    <a:pt x="11000" y="202238"/>
                    <a:pt x="10718" y="202520"/>
                    <a:pt x="10718" y="202520"/>
                  </a:cubicBezTo>
                  <a:lnTo>
                    <a:pt x="10436" y="202238"/>
                  </a:lnTo>
                  <a:lnTo>
                    <a:pt x="10436" y="201956"/>
                  </a:lnTo>
                  <a:cubicBezTo>
                    <a:pt x="10718" y="201956"/>
                    <a:pt x="10718" y="201956"/>
                    <a:pt x="11000" y="201392"/>
                  </a:cubicBezTo>
                  <a:cubicBezTo>
                    <a:pt x="11282" y="201110"/>
                    <a:pt x="11564" y="201110"/>
                    <a:pt x="11564" y="200828"/>
                  </a:cubicBezTo>
                  <a:lnTo>
                    <a:pt x="11282" y="200546"/>
                  </a:lnTo>
                  <a:cubicBezTo>
                    <a:pt x="11282" y="200264"/>
                    <a:pt x="11000" y="200264"/>
                    <a:pt x="11000" y="199982"/>
                  </a:cubicBezTo>
                  <a:cubicBezTo>
                    <a:pt x="11000" y="199417"/>
                    <a:pt x="11000" y="199135"/>
                    <a:pt x="11282" y="198853"/>
                  </a:cubicBezTo>
                  <a:cubicBezTo>
                    <a:pt x="11846" y="198571"/>
                    <a:pt x="12128" y="198007"/>
                    <a:pt x="12128" y="197161"/>
                  </a:cubicBezTo>
                  <a:lnTo>
                    <a:pt x="12128" y="195751"/>
                  </a:lnTo>
                  <a:cubicBezTo>
                    <a:pt x="12128" y="195469"/>
                    <a:pt x="12128" y="195186"/>
                    <a:pt x="12693" y="195186"/>
                  </a:cubicBezTo>
                  <a:cubicBezTo>
                    <a:pt x="13538" y="194904"/>
                    <a:pt x="13538" y="194622"/>
                    <a:pt x="13538" y="194058"/>
                  </a:cubicBezTo>
                  <a:lnTo>
                    <a:pt x="13538" y="192648"/>
                  </a:lnTo>
                  <a:cubicBezTo>
                    <a:pt x="13821" y="192366"/>
                    <a:pt x="13821" y="191802"/>
                    <a:pt x="14385" y="190673"/>
                  </a:cubicBezTo>
                  <a:cubicBezTo>
                    <a:pt x="14385" y="190391"/>
                    <a:pt x="14667" y="190391"/>
                    <a:pt x="14949" y="190391"/>
                  </a:cubicBezTo>
                  <a:lnTo>
                    <a:pt x="15513" y="190391"/>
                  </a:lnTo>
                  <a:cubicBezTo>
                    <a:pt x="15795" y="189545"/>
                    <a:pt x="16077" y="189263"/>
                    <a:pt x="16077" y="188699"/>
                  </a:cubicBezTo>
                  <a:cubicBezTo>
                    <a:pt x="16077" y="188417"/>
                    <a:pt x="15513" y="187853"/>
                    <a:pt x="15513" y="187571"/>
                  </a:cubicBezTo>
                  <a:cubicBezTo>
                    <a:pt x="15795" y="186725"/>
                    <a:pt x="16359" y="185878"/>
                    <a:pt x="16924" y="185314"/>
                  </a:cubicBezTo>
                  <a:cubicBezTo>
                    <a:pt x="17205" y="184750"/>
                    <a:pt x="17488" y="184468"/>
                    <a:pt x="17488" y="183622"/>
                  </a:cubicBezTo>
                  <a:cubicBezTo>
                    <a:pt x="17769" y="183058"/>
                    <a:pt x="18052" y="182776"/>
                    <a:pt x="18616" y="182776"/>
                  </a:cubicBezTo>
                  <a:cubicBezTo>
                    <a:pt x="18898" y="182776"/>
                    <a:pt x="18898" y="182494"/>
                    <a:pt x="18898" y="182212"/>
                  </a:cubicBezTo>
                  <a:cubicBezTo>
                    <a:pt x="18898" y="181930"/>
                    <a:pt x="18898" y="181930"/>
                    <a:pt x="18616" y="181648"/>
                  </a:cubicBezTo>
                  <a:lnTo>
                    <a:pt x="18616" y="181083"/>
                  </a:lnTo>
                  <a:lnTo>
                    <a:pt x="19744" y="177981"/>
                  </a:lnTo>
                  <a:cubicBezTo>
                    <a:pt x="20026" y="177417"/>
                    <a:pt x="20872" y="176852"/>
                    <a:pt x="21155" y="176288"/>
                  </a:cubicBezTo>
                  <a:lnTo>
                    <a:pt x="21719" y="176288"/>
                  </a:lnTo>
                  <a:lnTo>
                    <a:pt x="21719" y="176852"/>
                  </a:lnTo>
                  <a:cubicBezTo>
                    <a:pt x="21436" y="177417"/>
                    <a:pt x="21155" y="177981"/>
                    <a:pt x="21155" y="178263"/>
                  </a:cubicBezTo>
                  <a:cubicBezTo>
                    <a:pt x="21155" y="178545"/>
                    <a:pt x="21155" y="178545"/>
                    <a:pt x="21436" y="178827"/>
                  </a:cubicBezTo>
                  <a:lnTo>
                    <a:pt x="21436" y="179109"/>
                  </a:lnTo>
                  <a:cubicBezTo>
                    <a:pt x="21436" y="179391"/>
                    <a:pt x="21436" y="179673"/>
                    <a:pt x="21155" y="179673"/>
                  </a:cubicBezTo>
                  <a:cubicBezTo>
                    <a:pt x="20026" y="180519"/>
                    <a:pt x="20308" y="181365"/>
                    <a:pt x="20026" y="182212"/>
                  </a:cubicBezTo>
                  <a:cubicBezTo>
                    <a:pt x="20026" y="182494"/>
                    <a:pt x="19744" y="182776"/>
                    <a:pt x="19744" y="182776"/>
                  </a:cubicBezTo>
                  <a:cubicBezTo>
                    <a:pt x="19744" y="183058"/>
                    <a:pt x="20026" y="183058"/>
                    <a:pt x="20026" y="183058"/>
                  </a:cubicBezTo>
                  <a:lnTo>
                    <a:pt x="20308" y="183058"/>
                  </a:lnTo>
                  <a:cubicBezTo>
                    <a:pt x="20590" y="183058"/>
                    <a:pt x="20872" y="183058"/>
                    <a:pt x="20872" y="183340"/>
                  </a:cubicBezTo>
                  <a:cubicBezTo>
                    <a:pt x="20872" y="183340"/>
                    <a:pt x="20590" y="183622"/>
                    <a:pt x="20590" y="183904"/>
                  </a:cubicBezTo>
                  <a:lnTo>
                    <a:pt x="20590" y="184468"/>
                  </a:lnTo>
                  <a:lnTo>
                    <a:pt x="22283" y="183622"/>
                  </a:lnTo>
                  <a:cubicBezTo>
                    <a:pt x="23129" y="183058"/>
                    <a:pt x="24539" y="181365"/>
                    <a:pt x="25103" y="180519"/>
                  </a:cubicBezTo>
                  <a:cubicBezTo>
                    <a:pt x="24821" y="180237"/>
                    <a:pt x="24821" y="179673"/>
                    <a:pt x="24821" y="179673"/>
                  </a:cubicBezTo>
                  <a:cubicBezTo>
                    <a:pt x="24257" y="179673"/>
                    <a:pt x="24257" y="179391"/>
                    <a:pt x="24257" y="178827"/>
                  </a:cubicBezTo>
                  <a:lnTo>
                    <a:pt x="24257" y="177981"/>
                  </a:lnTo>
                  <a:cubicBezTo>
                    <a:pt x="23693" y="177981"/>
                    <a:pt x="23693" y="177981"/>
                    <a:pt x="23411" y="177699"/>
                  </a:cubicBezTo>
                  <a:cubicBezTo>
                    <a:pt x="23411" y="176570"/>
                    <a:pt x="22565" y="176288"/>
                    <a:pt x="21719" y="176288"/>
                  </a:cubicBezTo>
                  <a:cubicBezTo>
                    <a:pt x="22565" y="175724"/>
                    <a:pt x="22847" y="175160"/>
                    <a:pt x="23129" y="174596"/>
                  </a:cubicBezTo>
                  <a:lnTo>
                    <a:pt x="23129" y="173750"/>
                  </a:lnTo>
                  <a:cubicBezTo>
                    <a:pt x="22847" y="173750"/>
                    <a:pt x="22847" y="173750"/>
                    <a:pt x="22847" y="173468"/>
                  </a:cubicBezTo>
                  <a:cubicBezTo>
                    <a:pt x="22565" y="173186"/>
                    <a:pt x="22565" y="173186"/>
                    <a:pt x="22565" y="172904"/>
                  </a:cubicBezTo>
                  <a:lnTo>
                    <a:pt x="22565" y="172622"/>
                  </a:lnTo>
                  <a:cubicBezTo>
                    <a:pt x="23129" y="172622"/>
                    <a:pt x="23129" y="172904"/>
                    <a:pt x="23411" y="172904"/>
                  </a:cubicBezTo>
                  <a:cubicBezTo>
                    <a:pt x="23693" y="173186"/>
                    <a:pt x="23693" y="173468"/>
                    <a:pt x="23975" y="173468"/>
                  </a:cubicBezTo>
                  <a:lnTo>
                    <a:pt x="24257" y="173186"/>
                  </a:lnTo>
                  <a:cubicBezTo>
                    <a:pt x="24257" y="172904"/>
                    <a:pt x="24539" y="172622"/>
                    <a:pt x="24821" y="171775"/>
                  </a:cubicBezTo>
                  <a:lnTo>
                    <a:pt x="26231" y="168391"/>
                  </a:lnTo>
                  <a:cubicBezTo>
                    <a:pt x="26514" y="168109"/>
                    <a:pt x="26514" y="167827"/>
                    <a:pt x="26796" y="167827"/>
                  </a:cubicBezTo>
                  <a:lnTo>
                    <a:pt x="27360" y="166980"/>
                  </a:lnTo>
                  <a:cubicBezTo>
                    <a:pt x="27360" y="166698"/>
                    <a:pt x="27641" y="166698"/>
                    <a:pt x="27641" y="166416"/>
                  </a:cubicBezTo>
                  <a:cubicBezTo>
                    <a:pt x="27641" y="166134"/>
                    <a:pt x="27360" y="166134"/>
                    <a:pt x="27077" y="165852"/>
                  </a:cubicBezTo>
                  <a:cubicBezTo>
                    <a:pt x="26514" y="165852"/>
                    <a:pt x="26231" y="165288"/>
                    <a:pt x="25667" y="165006"/>
                  </a:cubicBezTo>
                  <a:lnTo>
                    <a:pt x="25386" y="165006"/>
                  </a:lnTo>
                  <a:lnTo>
                    <a:pt x="25386" y="165288"/>
                  </a:lnTo>
                  <a:cubicBezTo>
                    <a:pt x="25667" y="165852"/>
                    <a:pt x="25950" y="166134"/>
                    <a:pt x="25950" y="166980"/>
                  </a:cubicBezTo>
                  <a:cubicBezTo>
                    <a:pt x="25950" y="167262"/>
                    <a:pt x="25950" y="167827"/>
                    <a:pt x="25667" y="168391"/>
                  </a:cubicBezTo>
                  <a:cubicBezTo>
                    <a:pt x="25386" y="168391"/>
                    <a:pt x="25103" y="168673"/>
                    <a:pt x="25103" y="168955"/>
                  </a:cubicBezTo>
                  <a:cubicBezTo>
                    <a:pt x="24539" y="169801"/>
                    <a:pt x="24539" y="170083"/>
                    <a:pt x="24257" y="170083"/>
                  </a:cubicBezTo>
                  <a:cubicBezTo>
                    <a:pt x="23975" y="170083"/>
                    <a:pt x="23693" y="170083"/>
                    <a:pt x="23129" y="169801"/>
                  </a:cubicBezTo>
                  <a:cubicBezTo>
                    <a:pt x="22847" y="169801"/>
                    <a:pt x="22565" y="169519"/>
                    <a:pt x="22565" y="169519"/>
                  </a:cubicBezTo>
                  <a:cubicBezTo>
                    <a:pt x="22000" y="169801"/>
                    <a:pt x="21719" y="170083"/>
                    <a:pt x="21719" y="170365"/>
                  </a:cubicBezTo>
                  <a:cubicBezTo>
                    <a:pt x="21719" y="170647"/>
                    <a:pt x="21436" y="170929"/>
                    <a:pt x="21719" y="170929"/>
                  </a:cubicBezTo>
                  <a:lnTo>
                    <a:pt x="21719" y="171493"/>
                  </a:lnTo>
                  <a:cubicBezTo>
                    <a:pt x="21719" y="172057"/>
                    <a:pt x="21436" y="172339"/>
                    <a:pt x="21155" y="172622"/>
                  </a:cubicBezTo>
                  <a:lnTo>
                    <a:pt x="21155" y="173468"/>
                  </a:lnTo>
                  <a:lnTo>
                    <a:pt x="20590" y="174596"/>
                  </a:lnTo>
                  <a:cubicBezTo>
                    <a:pt x="20308" y="174878"/>
                    <a:pt x="20308" y="175160"/>
                    <a:pt x="20308" y="175160"/>
                  </a:cubicBezTo>
                  <a:cubicBezTo>
                    <a:pt x="20308" y="175442"/>
                    <a:pt x="20308" y="175442"/>
                    <a:pt x="20590" y="175442"/>
                  </a:cubicBezTo>
                  <a:lnTo>
                    <a:pt x="20872" y="175724"/>
                  </a:lnTo>
                  <a:cubicBezTo>
                    <a:pt x="20872" y="176006"/>
                    <a:pt x="20590" y="176006"/>
                    <a:pt x="20590" y="176288"/>
                  </a:cubicBezTo>
                  <a:lnTo>
                    <a:pt x="19462" y="176288"/>
                  </a:lnTo>
                  <a:cubicBezTo>
                    <a:pt x="19180" y="175724"/>
                    <a:pt x="18334" y="175724"/>
                    <a:pt x="17488" y="175724"/>
                  </a:cubicBezTo>
                  <a:lnTo>
                    <a:pt x="17488" y="175442"/>
                  </a:lnTo>
                  <a:cubicBezTo>
                    <a:pt x="17769" y="175160"/>
                    <a:pt x="17769" y="174878"/>
                    <a:pt x="17769" y="174596"/>
                  </a:cubicBezTo>
                  <a:cubicBezTo>
                    <a:pt x="17769" y="174314"/>
                    <a:pt x="17769" y="174032"/>
                    <a:pt x="17488" y="173468"/>
                  </a:cubicBezTo>
                  <a:cubicBezTo>
                    <a:pt x="17488" y="173186"/>
                    <a:pt x="17488" y="172904"/>
                    <a:pt x="17769" y="172904"/>
                  </a:cubicBezTo>
                  <a:cubicBezTo>
                    <a:pt x="18052" y="173186"/>
                    <a:pt x="18052" y="173186"/>
                    <a:pt x="18334" y="173186"/>
                  </a:cubicBezTo>
                  <a:lnTo>
                    <a:pt x="18616" y="173186"/>
                  </a:lnTo>
                  <a:cubicBezTo>
                    <a:pt x="19180" y="173186"/>
                    <a:pt x="19180" y="173186"/>
                    <a:pt x="19462" y="173468"/>
                  </a:cubicBezTo>
                  <a:cubicBezTo>
                    <a:pt x="19744" y="173750"/>
                    <a:pt x="20026" y="173750"/>
                    <a:pt x="20308" y="173750"/>
                  </a:cubicBezTo>
                  <a:lnTo>
                    <a:pt x="20308" y="173468"/>
                  </a:lnTo>
                  <a:cubicBezTo>
                    <a:pt x="20308" y="173186"/>
                    <a:pt x="20308" y="173186"/>
                    <a:pt x="20026" y="172904"/>
                  </a:cubicBezTo>
                  <a:lnTo>
                    <a:pt x="19744" y="172904"/>
                  </a:lnTo>
                  <a:cubicBezTo>
                    <a:pt x="19744" y="172339"/>
                    <a:pt x="19462" y="172057"/>
                    <a:pt x="19462" y="171775"/>
                  </a:cubicBezTo>
                  <a:lnTo>
                    <a:pt x="19180" y="171775"/>
                  </a:lnTo>
                  <a:cubicBezTo>
                    <a:pt x="18898" y="171775"/>
                    <a:pt x="18616" y="172057"/>
                    <a:pt x="18052" y="172339"/>
                  </a:cubicBezTo>
                  <a:cubicBezTo>
                    <a:pt x="18052" y="172057"/>
                    <a:pt x="18052" y="171493"/>
                    <a:pt x="18334" y="170929"/>
                  </a:cubicBezTo>
                  <a:cubicBezTo>
                    <a:pt x="19180" y="169801"/>
                    <a:pt x="19462" y="168955"/>
                    <a:pt x="20308" y="168109"/>
                  </a:cubicBezTo>
                  <a:lnTo>
                    <a:pt x="20590" y="167827"/>
                  </a:lnTo>
                  <a:cubicBezTo>
                    <a:pt x="20308" y="168955"/>
                    <a:pt x="20308" y="169801"/>
                    <a:pt x="19462" y="170647"/>
                  </a:cubicBezTo>
                  <a:lnTo>
                    <a:pt x="19744" y="170929"/>
                  </a:lnTo>
                  <a:cubicBezTo>
                    <a:pt x="20308" y="170647"/>
                    <a:pt x="20590" y="170365"/>
                    <a:pt x="20590" y="170083"/>
                  </a:cubicBezTo>
                  <a:cubicBezTo>
                    <a:pt x="20872" y="168955"/>
                    <a:pt x="21436" y="168109"/>
                    <a:pt x="22283" y="167827"/>
                  </a:cubicBezTo>
                  <a:lnTo>
                    <a:pt x="22283" y="166980"/>
                  </a:lnTo>
                  <a:cubicBezTo>
                    <a:pt x="22000" y="166698"/>
                    <a:pt x="21719" y="166416"/>
                    <a:pt x="21719" y="166134"/>
                  </a:cubicBezTo>
                  <a:lnTo>
                    <a:pt x="21719" y="165852"/>
                  </a:lnTo>
                  <a:cubicBezTo>
                    <a:pt x="22000" y="165006"/>
                    <a:pt x="22565" y="164160"/>
                    <a:pt x="23411" y="163596"/>
                  </a:cubicBezTo>
                  <a:cubicBezTo>
                    <a:pt x="23693" y="163314"/>
                    <a:pt x="24257" y="162467"/>
                    <a:pt x="24257" y="161903"/>
                  </a:cubicBezTo>
                  <a:lnTo>
                    <a:pt x="24257" y="161621"/>
                  </a:lnTo>
                  <a:cubicBezTo>
                    <a:pt x="24821" y="160493"/>
                    <a:pt x="25386" y="160211"/>
                    <a:pt x="25950" y="159365"/>
                  </a:cubicBezTo>
                  <a:cubicBezTo>
                    <a:pt x="26231" y="159365"/>
                    <a:pt x="26231" y="159083"/>
                    <a:pt x="26514" y="158801"/>
                  </a:cubicBezTo>
                  <a:cubicBezTo>
                    <a:pt x="26796" y="158518"/>
                    <a:pt x="26796" y="158236"/>
                    <a:pt x="26796" y="157954"/>
                  </a:cubicBezTo>
                  <a:cubicBezTo>
                    <a:pt x="27077" y="157108"/>
                    <a:pt x="27360" y="156544"/>
                    <a:pt x="28206" y="155698"/>
                  </a:cubicBezTo>
                  <a:cubicBezTo>
                    <a:pt x="28206" y="155416"/>
                    <a:pt x="28488" y="155134"/>
                    <a:pt x="28488" y="154852"/>
                  </a:cubicBezTo>
                  <a:lnTo>
                    <a:pt x="28488" y="154570"/>
                  </a:lnTo>
                  <a:cubicBezTo>
                    <a:pt x="29052" y="153441"/>
                    <a:pt x="29898" y="152595"/>
                    <a:pt x="30744" y="152031"/>
                  </a:cubicBezTo>
                  <a:cubicBezTo>
                    <a:pt x="31308" y="151467"/>
                    <a:pt x="31872" y="150903"/>
                    <a:pt x="32437" y="150621"/>
                  </a:cubicBezTo>
                  <a:lnTo>
                    <a:pt x="33001" y="150621"/>
                  </a:lnTo>
                  <a:lnTo>
                    <a:pt x="33001" y="150903"/>
                  </a:lnTo>
                  <a:cubicBezTo>
                    <a:pt x="33001" y="151467"/>
                    <a:pt x="32437" y="151467"/>
                    <a:pt x="32437" y="152031"/>
                  </a:cubicBezTo>
                  <a:cubicBezTo>
                    <a:pt x="33283" y="151749"/>
                    <a:pt x="33565" y="151467"/>
                    <a:pt x="34411" y="151467"/>
                  </a:cubicBezTo>
                  <a:cubicBezTo>
                    <a:pt x="34693" y="151185"/>
                    <a:pt x="34693" y="150621"/>
                    <a:pt x="34693" y="150621"/>
                  </a:cubicBezTo>
                  <a:cubicBezTo>
                    <a:pt x="34411" y="150057"/>
                    <a:pt x="34129" y="149493"/>
                    <a:pt x="34129" y="148646"/>
                  </a:cubicBezTo>
                  <a:lnTo>
                    <a:pt x="34129" y="148082"/>
                  </a:lnTo>
                  <a:cubicBezTo>
                    <a:pt x="34129" y="146954"/>
                    <a:pt x="34693" y="146108"/>
                    <a:pt x="35539" y="146108"/>
                  </a:cubicBezTo>
                  <a:cubicBezTo>
                    <a:pt x="37232" y="145826"/>
                    <a:pt x="37796" y="145262"/>
                    <a:pt x="37796" y="144133"/>
                  </a:cubicBezTo>
                  <a:lnTo>
                    <a:pt x="38078" y="143851"/>
                  </a:lnTo>
                  <a:lnTo>
                    <a:pt x="38360" y="144133"/>
                  </a:lnTo>
                  <a:cubicBezTo>
                    <a:pt x="38360" y="144133"/>
                    <a:pt x="38642" y="144133"/>
                    <a:pt x="38642" y="144415"/>
                  </a:cubicBezTo>
                  <a:lnTo>
                    <a:pt x="39206" y="144415"/>
                  </a:lnTo>
                  <a:cubicBezTo>
                    <a:pt x="39489" y="144133"/>
                    <a:pt x="39770" y="144133"/>
                    <a:pt x="39770" y="143569"/>
                  </a:cubicBezTo>
                  <a:lnTo>
                    <a:pt x="39770" y="143005"/>
                  </a:lnTo>
                  <a:cubicBezTo>
                    <a:pt x="39489" y="143005"/>
                    <a:pt x="39489" y="143005"/>
                    <a:pt x="39489" y="142723"/>
                  </a:cubicBezTo>
                  <a:cubicBezTo>
                    <a:pt x="39489" y="142441"/>
                    <a:pt x="39770" y="142159"/>
                    <a:pt x="39770" y="142159"/>
                  </a:cubicBezTo>
                  <a:lnTo>
                    <a:pt x="40334" y="142159"/>
                  </a:lnTo>
                  <a:cubicBezTo>
                    <a:pt x="40053" y="142441"/>
                    <a:pt x="40053" y="143005"/>
                    <a:pt x="39770" y="143005"/>
                  </a:cubicBezTo>
                  <a:cubicBezTo>
                    <a:pt x="40334" y="143005"/>
                    <a:pt x="40617" y="143005"/>
                    <a:pt x="41181" y="142723"/>
                  </a:cubicBezTo>
                  <a:lnTo>
                    <a:pt x="41181" y="142159"/>
                  </a:lnTo>
                  <a:cubicBezTo>
                    <a:pt x="40617" y="141877"/>
                    <a:pt x="40617" y="141313"/>
                    <a:pt x="40617" y="141031"/>
                  </a:cubicBezTo>
                  <a:cubicBezTo>
                    <a:pt x="40617" y="140749"/>
                    <a:pt x="40617" y="140467"/>
                    <a:pt x="40899" y="139902"/>
                  </a:cubicBezTo>
                  <a:cubicBezTo>
                    <a:pt x="41181" y="139056"/>
                    <a:pt x="41745" y="138210"/>
                    <a:pt x="42309" y="137646"/>
                  </a:cubicBezTo>
                  <a:cubicBezTo>
                    <a:pt x="42591" y="137646"/>
                    <a:pt x="43155" y="136800"/>
                    <a:pt x="43155" y="136236"/>
                  </a:cubicBezTo>
                  <a:cubicBezTo>
                    <a:pt x="43437" y="135954"/>
                    <a:pt x="43437" y="135954"/>
                    <a:pt x="44284" y="135954"/>
                  </a:cubicBezTo>
                  <a:cubicBezTo>
                    <a:pt x="44284" y="136236"/>
                    <a:pt x="44284" y="136518"/>
                    <a:pt x="44565" y="136800"/>
                  </a:cubicBezTo>
                  <a:cubicBezTo>
                    <a:pt x="44565" y="136800"/>
                    <a:pt x="44284" y="136800"/>
                    <a:pt x="44284" y="137082"/>
                  </a:cubicBezTo>
                  <a:lnTo>
                    <a:pt x="44284" y="137646"/>
                  </a:lnTo>
                  <a:lnTo>
                    <a:pt x="44565" y="137646"/>
                  </a:lnTo>
                  <a:cubicBezTo>
                    <a:pt x="44848" y="137646"/>
                    <a:pt x="44848" y="137646"/>
                    <a:pt x="45130" y="137364"/>
                  </a:cubicBezTo>
                  <a:lnTo>
                    <a:pt x="45975" y="136236"/>
                  </a:lnTo>
                  <a:cubicBezTo>
                    <a:pt x="46258" y="136236"/>
                    <a:pt x="46540" y="136236"/>
                    <a:pt x="46540" y="135954"/>
                  </a:cubicBezTo>
                  <a:cubicBezTo>
                    <a:pt x="46540" y="135672"/>
                    <a:pt x="46258" y="135672"/>
                    <a:pt x="46258" y="135107"/>
                  </a:cubicBezTo>
                  <a:cubicBezTo>
                    <a:pt x="45975" y="135107"/>
                    <a:pt x="45975" y="135107"/>
                    <a:pt x="45975" y="134825"/>
                  </a:cubicBezTo>
                  <a:cubicBezTo>
                    <a:pt x="45975" y="134543"/>
                    <a:pt x="45975" y="134543"/>
                    <a:pt x="46258" y="134261"/>
                  </a:cubicBezTo>
                  <a:lnTo>
                    <a:pt x="47668" y="133415"/>
                  </a:lnTo>
                  <a:lnTo>
                    <a:pt x="47668" y="132287"/>
                  </a:lnTo>
                  <a:cubicBezTo>
                    <a:pt x="47668" y="132005"/>
                    <a:pt x="47668" y="131723"/>
                    <a:pt x="47950" y="131723"/>
                  </a:cubicBezTo>
                  <a:lnTo>
                    <a:pt x="48514" y="132287"/>
                  </a:lnTo>
                  <a:cubicBezTo>
                    <a:pt x="48796" y="132005"/>
                    <a:pt x="49078" y="132005"/>
                    <a:pt x="49078" y="132005"/>
                  </a:cubicBezTo>
                  <a:cubicBezTo>
                    <a:pt x="49078" y="130876"/>
                    <a:pt x="49925" y="129466"/>
                    <a:pt x="50206" y="129184"/>
                  </a:cubicBezTo>
                  <a:cubicBezTo>
                    <a:pt x="50206" y="128620"/>
                    <a:pt x="50489" y="128338"/>
                    <a:pt x="50771" y="128056"/>
                  </a:cubicBezTo>
                  <a:cubicBezTo>
                    <a:pt x="51053" y="127492"/>
                    <a:pt x="51899" y="127492"/>
                    <a:pt x="52463" y="127210"/>
                  </a:cubicBezTo>
                  <a:cubicBezTo>
                    <a:pt x="53027" y="127210"/>
                    <a:pt x="53309" y="127210"/>
                    <a:pt x="53592" y="126364"/>
                  </a:cubicBezTo>
                  <a:cubicBezTo>
                    <a:pt x="53592" y="126364"/>
                    <a:pt x="53873" y="126081"/>
                    <a:pt x="53873" y="125517"/>
                  </a:cubicBezTo>
                  <a:cubicBezTo>
                    <a:pt x="54437" y="124953"/>
                    <a:pt x="54437" y="124671"/>
                    <a:pt x="55284" y="124389"/>
                  </a:cubicBezTo>
                  <a:cubicBezTo>
                    <a:pt x="55848" y="124107"/>
                    <a:pt x="56130" y="123825"/>
                    <a:pt x="56694" y="122979"/>
                  </a:cubicBezTo>
                  <a:cubicBezTo>
                    <a:pt x="56976" y="122415"/>
                    <a:pt x="57540" y="122133"/>
                    <a:pt x="57823" y="121851"/>
                  </a:cubicBezTo>
                  <a:cubicBezTo>
                    <a:pt x="58387" y="121286"/>
                    <a:pt x="59233" y="121286"/>
                    <a:pt x="59233" y="120440"/>
                  </a:cubicBezTo>
                  <a:cubicBezTo>
                    <a:pt x="59233" y="120158"/>
                    <a:pt x="59797" y="119876"/>
                    <a:pt x="60079" y="119876"/>
                  </a:cubicBezTo>
                  <a:cubicBezTo>
                    <a:pt x="60925" y="119876"/>
                    <a:pt x="61207" y="119876"/>
                    <a:pt x="61771" y="119594"/>
                  </a:cubicBezTo>
                  <a:cubicBezTo>
                    <a:pt x="61771" y="118748"/>
                    <a:pt x="62618" y="118466"/>
                    <a:pt x="62618" y="117338"/>
                  </a:cubicBezTo>
                  <a:lnTo>
                    <a:pt x="64028" y="116209"/>
                  </a:lnTo>
                  <a:cubicBezTo>
                    <a:pt x="64592" y="116209"/>
                    <a:pt x="64874" y="116209"/>
                    <a:pt x="65438" y="115927"/>
                  </a:cubicBezTo>
                  <a:cubicBezTo>
                    <a:pt x="65720" y="115645"/>
                    <a:pt x="65720" y="115363"/>
                    <a:pt x="66284" y="115363"/>
                  </a:cubicBezTo>
                  <a:cubicBezTo>
                    <a:pt x="66566" y="115363"/>
                    <a:pt x="67130" y="115081"/>
                    <a:pt x="67130" y="114799"/>
                  </a:cubicBezTo>
                  <a:cubicBezTo>
                    <a:pt x="66848" y="114517"/>
                    <a:pt x="66848" y="114235"/>
                    <a:pt x="66848" y="113953"/>
                  </a:cubicBezTo>
                  <a:cubicBezTo>
                    <a:pt x="66848" y="113389"/>
                    <a:pt x="67130" y="113107"/>
                    <a:pt x="67695" y="112542"/>
                  </a:cubicBezTo>
                  <a:cubicBezTo>
                    <a:pt x="68540" y="112260"/>
                    <a:pt x="69387" y="111978"/>
                    <a:pt x="70233" y="111132"/>
                  </a:cubicBezTo>
                  <a:cubicBezTo>
                    <a:pt x="71361" y="110850"/>
                    <a:pt x="72207" y="110568"/>
                    <a:pt x="72490" y="109722"/>
                  </a:cubicBezTo>
                  <a:cubicBezTo>
                    <a:pt x="73054" y="109440"/>
                    <a:pt x="73336" y="108594"/>
                    <a:pt x="73900" y="108594"/>
                  </a:cubicBezTo>
                  <a:cubicBezTo>
                    <a:pt x="74182" y="108594"/>
                    <a:pt x="74182" y="108312"/>
                    <a:pt x="74182" y="108030"/>
                  </a:cubicBezTo>
                  <a:cubicBezTo>
                    <a:pt x="74182" y="107747"/>
                    <a:pt x="74464" y="107183"/>
                    <a:pt x="75028" y="106901"/>
                  </a:cubicBezTo>
                  <a:lnTo>
                    <a:pt x="75874" y="106901"/>
                  </a:lnTo>
                  <a:cubicBezTo>
                    <a:pt x="75874" y="106619"/>
                    <a:pt x="76157" y="106337"/>
                    <a:pt x="76721" y="106337"/>
                  </a:cubicBezTo>
                  <a:cubicBezTo>
                    <a:pt x="77002" y="106619"/>
                    <a:pt x="77285" y="106619"/>
                    <a:pt x="77567" y="106619"/>
                  </a:cubicBezTo>
                  <a:cubicBezTo>
                    <a:pt x="78131" y="106619"/>
                    <a:pt x="78131" y="106055"/>
                    <a:pt x="78413" y="105773"/>
                  </a:cubicBezTo>
                  <a:cubicBezTo>
                    <a:pt x="78977" y="105209"/>
                    <a:pt x="79259" y="104363"/>
                    <a:pt x="79823" y="104081"/>
                  </a:cubicBezTo>
                  <a:cubicBezTo>
                    <a:pt x="79823" y="103234"/>
                    <a:pt x="79823" y="102388"/>
                    <a:pt x="80669" y="102106"/>
                  </a:cubicBezTo>
                  <a:cubicBezTo>
                    <a:pt x="81798" y="101542"/>
                    <a:pt x="82362" y="101260"/>
                    <a:pt x="83490" y="100978"/>
                  </a:cubicBezTo>
                  <a:cubicBezTo>
                    <a:pt x="84054" y="100414"/>
                    <a:pt x="84618" y="100414"/>
                    <a:pt x="85182" y="100414"/>
                  </a:cubicBezTo>
                  <a:cubicBezTo>
                    <a:pt x="84900" y="100978"/>
                    <a:pt x="84900" y="100978"/>
                    <a:pt x="84900" y="101542"/>
                  </a:cubicBezTo>
                  <a:cubicBezTo>
                    <a:pt x="84900" y="101542"/>
                    <a:pt x="84900" y="101824"/>
                    <a:pt x="85182" y="101542"/>
                  </a:cubicBezTo>
                  <a:cubicBezTo>
                    <a:pt x="85746" y="100978"/>
                    <a:pt x="86593" y="100414"/>
                    <a:pt x="86593" y="99568"/>
                  </a:cubicBezTo>
                  <a:lnTo>
                    <a:pt x="86593" y="99286"/>
                  </a:lnTo>
                  <a:cubicBezTo>
                    <a:pt x="86593" y="98721"/>
                    <a:pt x="86874" y="98157"/>
                    <a:pt x="87439" y="97593"/>
                  </a:cubicBezTo>
                  <a:cubicBezTo>
                    <a:pt x="88003" y="97311"/>
                    <a:pt x="88567" y="97593"/>
                    <a:pt x="89131" y="97029"/>
                  </a:cubicBezTo>
                  <a:cubicBezTo>
                    <a:pt x="89413" y="96465"/>
                    <a:pt x="90260" y="96183"/>
                    <a:pt x="90260" y="95901"/>
                  </a:cubicBezTo>
                  <a:cubicBezTo>
                    <a:pt x="90541" y="95055"/>
                    <a:pt x="91105" y="94773"/>
                    <a:pt x="91670" y="94491"/>
                  </a:cubicBezTo>
                  <a:lnTo>
                    <a:pt x="92234" y="94491"/>
                  </a:lnTo>
                  <a:cubicBezTo>
                    <a:pt x="92516" y="94491"/>
                    <a:pt x="92516" y="94773"/>
                    <a:pt x="92798" y="94773"/>
                  </a:cubicBezTo>
                  <a:cubicBezTo>
                    <a:pt x="93080" y="94773"/>
                    <a:pt x="93080" y="94491"/>
                    <a:pt x="93362" y="93926"/>
                  </a:cubicBezTo>
                  <a:cubicBezTo>
                    <a:pt x="93362" y="93644"/>
                    <a:pt x="93644" y="93362"/>
                    <a:pt x="93926" y="92798"/>
                  </a:cubicBezTo>
                  <a:cubicBezTo>
                    <a:pt x="94491" y="92234"/>
                    <a:pt x="94772" y="92234"/>
                    <a:pt x="95619" y="92234"/>
                  </a:cubicBezTo>
                  <a:lnTo>
                    <a:pt x="96183" y="92234"/>
                  </a:lnTo>
                  <a:cubicBezTo>
                    <a:pt x="96465" y="92234"/>
                    <a:pt x="96747" y="92234"/>
                    <a:pt x="96747" y="91952"/>
                  </a:cubicBezTo>
                  <a:lnTo>
                    <a:pt x="96747" y="91106"/>
                  </a:lnTo>
                  <a:cubicBezTo>
                    <a:pt x="97593" y="90542"/>
                    <a:pt x="100132" y="90260"/>
                    <a:pt x="100977" y="89131"/>
                  </a:cubicBezTo>
                  <a:cubicBezTo>
                    <a:pt x="101542" y="89131"/>
                    <a:pt x="102106" y="88849"/>
                    <a:pt x="102952" y="88285"/>
                  </a:cubicBezTo>
                  <a:cubicBezTo>
                    <a:pt x="103516" y="88003"/>
                    <a:pt x="103798" y="87157"/>
                    <a:pt x="103798" y="86029"/>
                  </a:cubicBezTo>
                  <a:lnTo>
                    <a:pt x="103798" y="83772"/>
                  </a:lnTo>
                  <a:cubicBezTo>
                    <a:pt x="103798" y="82926"/>
                    <a:pt x="103798" y="82362"/>
                    <a:pt x="104080" y="81516"/>
                  </a:cubicBezTo>
                  <a:lnTo>
                    <a:pt x="103516" y="75028"/>
                  </a:lnTo>
                  <a:lnTo>
                    <a:pt x="103516" y="72490"/>
                  </a:lnTo>
                  <a:cubicBezTo>
                    <a:pt x="103516" y="72208"/>
                    <a:pt x="103798" y="71644"/>
                    <a:pt x="103798" y="71362"/>
                  </a:cubicBezTo>
                  <a:lnTo>
                    <a:pt x="103798" y="66849"/>
                  </a:lnTo>
                  <a:cubicBezTo>
                    <a:pt x="103798" y="64874"/>
                    <a:pt x="103798" y="63182"/>
                    <a:pt x="103516" y="61489"/>
                  </a:cubicBezTo>
                  <a:lnTo>
                    <a:pt x="103516" y="59515"/>
                  </a:lnTo>
                  <a:cubicBezTo>
                    <a:pt x="103516" y="58951"/>
                    <a:pt x="103516" y="58105"/>
                    <a:pt x="103234" y="57541"/>
                  </a:cubicBezTo>
                  <a:lnTo>
                    <a:pt x="103234" y="56130"/>
                  </a:lnTo>
                  <a:cubicBezTo>
                    <a:pt x="103798" y="55566"/>
                    <a:pt x="103516" y="54720"/>
                    <a:pt x="103798" y="53592"/>
                  </a:cubicBezTo>
                  <a:cubicBezTo>
                    <a:pt x="103798" y="51617"/>
                    <a:pt x="103516" y="49361"/>
                    <a:pt x="103234" y="47386"/>
                  </a:cubicBezTo>
                  <a:lnTo>
                    <a:pt x="103234" y="41463"/>
                  </a:lnTo>
                  <a:cubicBezTo>
                    <a:pt x="103234" y="41181"/>
                    <a:pt x="103234" y="40617"/>
                    <a:pt x="102952" y="40335"/>
                  </a:cubicBezTo>
                  <a:cubicBezTo>
                    <a:pt x="102670" y="39771"/>
                    <a:pt x="102670" y="39771"/>
                    <a:pt x="102106" y="39771"/>
                  </a:cubicBezTo>
                  <a:lnTo>
                    <a:pt x="99003" y="39771"/>
                  </a:lnTo>
                  <a:cubicBezTo>
                    <a:pt x="98722" y="40053"/>
                    <a:pt x="98157" y="40899"/>
                    <a:pt x="98157" y="41181"/>
                  </a:cubicBezTo>
                  <a:cubicBezTo>
                    <a:pt x="97311" y="41181"/>
                    <a:pt x="97029" y="42309"/>
                    <a:pt x="96747" y="42873"/>
                  </a:cubicBezTo>
                  <a:lnTo>
                    <a:pt x="96747" y="43720"/>
                  </a:lnTo>
                  <a:cubicBezTo>
                    <a:pt x="96747" y="44848"/>
                    <a:pt x="95901" y="46540"/>
                    <a:pt x="95336" y="46822"/>
                  </a:cubicBezTo>
                  <a:cubicBezTo>
                    <a:pt x="94772" y="47104"/>
                    <a:pt x="94491" y="47104"/>
                    <a:pt x="94491" y="47668"/>
                  </a:cubicBezTo>
                  <a:lnTo>
                    <a:pt x="94491" y="48232"/>
                  </a:lnTo>
                  <a:cubicBezTo>
                    <a:pt x="93926" y="48797"/>
                    <a:pt x="93362" y="49643"/>
                    <a:pt x="92798" y="49925"/>
                  </a:cubicBezTo>
                  <a:lnTo>
                    <a:pt x="92234" y="49925"/>
                  </a:lnTo>
                  <a:cubicBezTo>
                    <a:pt x="91952" y="49925"/>
                    <a:pt x="91952" y="49925"/>
                    <a:pt x="91952" y="50207"/>
                  </a:cubicBezTo>
                  <a:cubicBezTo>
                    <a:pt x="91670" y="51617"/>
                    <a:pt x="91105" y="52745"/>
                    <a:pt x="90260" y="53310"/>
                  </a:cubicBezTo>
                  <a:cubicBezTo>
                    <a:pt x="89413" y="54156"/>
                    <a:pt x="89695" y="55002"/>
                    <a:pt x="88849" y="55284"/>
                  </a:cubicBezTo>
                  <a:cubicBezTo>
                    <a:pt x="88285" y="55566"/>
                    <a:pt x="87721" y="56130"/>
                    <a:pt x="87439" y="56694"/>
                  </a:cubicBezTo>
                  <a:cubicBezTo>
                    <a:pt x="86874" y="57823"/>
                    <a:pt x="86593" y="58669"/>
                    <a:pt x="86593" y="59797"/>
                  </a:cubicBezTo>
                  <a:cubicBezTo>
                    <a:pt x="86310" y="60925"/>
                    <a:pt x="85746" y="61207"/>
                    <a:pt x="85182" y="61207"/>
                  </a:cubicBezTo>
                  <a:cubicBezTo>
                    <a:pt x="84900" y="61207"/>
                    <a:pt x="84618" y="61489"/>
                    <a:pt x="84336" y="61771"/>
                  </a:cubicBezTo>
                  <a:cubicBezTo>
                    <a:pt x="84336" y="62618"/>
                    <a:pt x="84054" y="63182"/>
                    <a:pt x="83208" y="63182"/>
                  </a:cubicBezTo>
                  <a:cubicBezTo>
                    <a:pt x="82926" y="63464"/>
                    <a:pt x="82643" y="64028"/>
                    <a:pt x="82643" y="64592"/>
                  </a:cubicBezTo>
                  <a:cubicBezTo>
                    <a:pt x="82643" y="65438"/>
                    <a:pt x="82643" y="66002"/>
                    <a:pt x="82079" y="66566"/>
                  </a:cubicBezTo>
                  <a:lnTo>
                    <a:pt x="81516" y="66566"/>
                  </a:lnTo>
                  <a:cubicBezTo>
                    <a:pt x="80669" y="67413"/>
                    <a:pt x="79823" y="67977"/>
                    <a:pt x="79259" y="69387"/>
                  </a:cubicBezTo>
                  <a:cubicBezTo>
                    <a:pt x="79259" y="69951"/>
                    <a:pt x="78977" y="70515"/>
                    <a:pt x="78131" y="70515"/>
                  </a:cubicBezTo>
                  <a:cubicBezTo>
                    <a:pt x="77567" y="71362"/>
                    <a:pt x="76438" y="71362"/>
                    <a:pt x="76438" y="72208"/>
                  </a:cubicBezTo>
                  <a:cubicBezTo>
                    <a:pt x="76157" y="72208"/>
                    <a:pt x="75874" y="72490"/>
                    <a:pt x="75874" y="72772"/>
                  </a:cubicBezTo>
                  <a:cubicBezTo>
                    <a:pt x="75874" y="73054"/>
                    <a:pt x="75592" y="73336"/>
                    <a:pt x="75310" y="73336"/>
                  </a:cubicBezTo>
                  <a:cubicBezTo>
                    <a:pt x="75310" y="75028"/>
                    <a:pt x="74464" y="75875"/>
                    <a:pt x="73900" y="77003"/>
                  </a:cubicBezTo>
                  <a:cubicBezTo>
                    <a:pt x="73900" y="77567"/>
                    <a:pt x="73336" y="78413"/>
                    <a:pt x="72771" y="79541"/>
                  </a:cubicBezTo>
                  <a:lnTo>
                    <a:pt x="71079" y="80670"/>
                  </a:lnTo>
                  <a:cubicBezTo>
                    <a:pt x="70797" y="81234"/>
                    <a:pt x="70233" y="82362"/>
                    <a:pt x="69387" y="82926"/>
                  </a:cubicBezTo>
                  <a:cubicBezTo>
                    <a:pt x="68540" y="83490"/>
                    <a:pt x="67976" y="84336"/>
                    <a:pt x="67412" y="84900"/>
                  </a:cubicBezTo>
                  <a:cubicBezTo>
                    <a:pt x="67412" y="84900"/>
                    <a:pt x="67130" y="85465"/>
                    <a:pt x="66848" y="85747"/>
                  </a:cubicBezTo>
                  <a:lnTo>
                    <a:pt x="66002" y="87439"/>
                  </a:lnTo>
                  <a:cubicBezTo>
                    <a:pt x="66002" y="87721"/>
                    <a:pt x="65720" y="87721"/>
                    <a:pt x="65438" y="87721"/>
                  </a:cubicBezTo>
                  <a:cubicBezTo>
                    <a:pt x="64028" y="88567"/>
                    <a:pt x="62618" y="89978"/>
                    <a:pt x="61771" y="91670"/>
                  </a:cubicBezTo>
                  <a:cubicBezTo>
                    <a:pt x="61489" y="91952"/>
                    <a:pt x="61489" y="92234"/>
                    <a:pt x="61489" y="92516"/>
                  </a:cubicBezTo>
                  <a:cubicBezTo>
                    <a:pt x="61489" y="92798"/>
                    <a:pt x="61489" y="93080"/>
                    <a:pt x="61207" y="93080"/>
                  </a:cubicBezTo>
                  <a:cubicBezTo>
                    <a:pt x="60361" y="93080"/>
                    <a:pt x="60079" y="93926"/>
                    <a:pt x="59515" y="93926"/>
                  </a:cubicBezTo>
                  <a:cubicBezTo>
                    <a:pt x="58387" y="94773"/>
                    <a:pt x="57823" y="95901"/>
                    <a:pt x="56976" y="97029"/>
                  </a:cubicBezTo>
                  <a:cubicBezTo>
                    <a:pt x="56412" y="97593"/>
                    <a:pt x="55848" y="98721"/>
                    <a:pt x="55002" y="98721"/>
                  </a:cubicBezTo>
                  <a:cubicBezTo>
                    <a:pt x="54720" y="98721"/>
                    <a:pt x="54437" y="99004"/>
                    <a:pt x="54437" y="99286"/>
                  </a:cubicBezTo>
                  <a:cubicBezTo>
                    <a:pt x="54156" y="99568"/>
                    <a:pt x="53873" y="99850"/>
                    <a:pt x="53309" y="99850"/>
                  </a:cubicBezTo>
                  <a:cubicBezTo>
                    <a:pt x="53309" y="99850"/>
                    <a:pt x="53027" y="99850"/>
                    <a:pt x="53027" y="100414"/>
                  </a:cubicBezTo>
                  <a:cubicBezTo>
                    <a:pt x="53027" y="100696"/>
                    <a:pt x="52745" y="101260"/>
                    <a:pt x="52181" y="101260"/>
                  </a:cubicBezTo>
                  <a:cubicBezTo>
                    <a:pt x="51335" y="101542"/>
                    <a:pt x="50489" y="102106"/>
                    <a:pt x="50206" y="102952"/>
                  </a:cubicBezTo>
                  <a:cubicBezTo>
                    <a:pt x="49642" y="103517"/>
                    <a:pt x="49078" y="103234"/>
                    <a:pt x="48796" y="103799"/>
                  </a:cubicBezTo>
                  <a:cubicBezTo>
                    <a:pt x="48796" y="104081"/>
                    <a:pt x="48232" y="104927"/>
                    <a:pt x="47950" y="105209"/>
                  </a:cubicBezTo>
                  <a:cubicBezTo>
                    <a:pt x="47668" y="105773"/>
                    <a:pt x="47104" y="106055"/>
                    <a:pt x="46540" y="106055"/>
                  </a:cubicBezTo>
                  <a:cubicBezTo>
                    <a:pt x="45975" y="106055"/>
                    <a:pt x="45130" y="106337"/>
                    <a:pt x="44848" y="106619"/>
                  </a:cubicBezTo>
                  <a:cubicBezTo>
                    <a:pt x="44001" y="107465"/>
                    <a:pt x="43155" y="107747"/>
                    <a:pt x="42309" y="107747"/>
                  </a:cubicBezTo>
                  <a:cubicBezTo>
                    <a:pt x="42027" y="108030"/>
                    <a:pt x="41181" y="108312"/>
                    <a:pt x="40334" y="108594"/>
                  </a:cubicBezTo>
                  <a:cubicBezTo>
                    <a:pt x="39489" y="108876"/>
                    <a:pt x="38924" y="109158"/>
                    <a:pt x="38078" y="109158"/>
                  </a:cubicBezTo>
                  <a:lnTo>
                    <a:pt x="37796" y="109158"/>
                  </a:lnTo>
                  <a:cubicBezTo>
                    <a:pt x="37232" y="109440"/>
                    <a:pt x="36950" y="109722"/>
                    <a:pt x="36386" y="109722"/>
                  </a:cubicBezTo>
                  <a:cubicBezTo>
                    <a:pt x="35539" y="109722"/>
                    <a:pt x="34975" y="109440"/>
                    <a:pt x="34411" y="109158"/>
                  </a:cubicBezTo>
                  <a:lnTo>
                    <a:pt x="33847" y="109158"/>
                  </a:lnTo>
                  <a:cubicBezTo>
                    <a:pt x="32437" y="109158"/>
                    <a:pt x="31591" y="108594"/>
                    <a:pt x="31027" y="107747"/>
                  </a:cubicBezTo>
                  <a:cubicBezTo>
                    <a:pt x="30462" y="107465"/>
                    <a:pt x="30180" y="107465"/>
                    <a:pt x="29898" y="107465"/>
                  </a:cubicBezTo>
                  <a:lnTo>
                    <a:pt x="27641" y="105773"/>
                  </a:lnTo>
                  <a:cubicBezTo>
                    <a:pt x="26514" y="105209"/>
                    <a:pt x="24821" y="103517"/>
                    <a:pt x="23693" y="102106"/>
                  </a:cubicBezTo>
                  <a:cubicBezTo>
                    <a:pt x="23129" y="101260"/>
                    <a:pt x="22847" y="100696"/>
                    <a:pt x="22000" y="99850"/>
                  </a:cubicBezTo>
                  <a:cubicBezTo>
                    <a:pt x="21719" y="99004"/>
                    <a:pt x="21719" y="98157"/>
                    <a:pt x="21155" y="97311"/>
                  </a:cubicBezTo>
                  <a:lnTo>
                    <a:pt x="21155" y="96465"/>
                  </a:lnTo>
                  <a:cubicBezTo>
                    <a:pt x="20872" y="95337"/>
                    <a:pt x="20872" y="94209"/>
                    <a:pt x="20872" y="93080"/>
                  </a:cubicBezTo>
                  <a:cubicBezTo>
                    <a:pt x="20872" y="92234"/>
                    <a:pt x="20590" y="91388"/>
                    <a:pt x="20590" y="90542"/>
                  </a:cubicBezTo>
                  <a:cubicBezTo>
                    <a:pt x="20590" y="89978"/>
                    <a:pt x="20590" y="89413"/>
                    <a:pt x="20872" y="89131"/>
                  </a:cubicBezTo>
                  <a:lnTo>
                    <a:pt x="20872" y="86311"/>
                  </a:lnTo>
                  <a:cubicBezTo>
                    <a:pt x="20872" y="85183"/>
                    <a:pt x="20872" y="84054"/>
                    <a:pt x="21155" y="82926"/>
                  </a:cubicBezTo>
                  <a:cubicBezTo>
                    <a:pt x="21155" y="81798"/>
                    <a:pt x="21436" y="80670"/>
                    <a:pt x="21719" y="79541"/>
                  </a:cubicBezTo>
                  <a:cubicBezTo>
                    <a:pt x="22000" y="78413"/>
                    <a:pt x="22283" y="77003"/>
                    <a:pt x="22847" y="75592"/>
                  </a:cubicBezTo>
                  <a:lnTo>
                    <a:pt x="25667" y="67131"/>
                  </a:lnTo>
                  <a:cubicBezTo>
                    <a:pt x="25667" y="65720"/>
                    <a:pt x="26231" y="64874"/>
                    <a:pt x="26514" y="63182"/>
                  </a:cubicBezTo>
                  <a:cubicBezTo>
                    <a:pt x="27360" y="60925"/>
                    <a:pt x="27641" y="58669"/>
                    <a:pt x="28488" y="56130"/>
                  </a:cubicBezTo>
                  <a:cubicBezTo>
                    <a:pt x="28488" y="55566"/>
                    <a:pt x="28770" y="55284"/>
                    <a:pt x="28770" y="55002"/>
                  </a:cubicBezTo>
                  <a:cubicBezTo>
                    <a:pt x="29052" y="54156"/>
                    <a:pt x="29616" y="53310"/>
                    <a:pt x="29616" y="52463"/>
                  </a:cubicBezTo>
                  <a:cubicBezTo>
                    <a:pt x="29898" y="51335"/>
                    <a:pt x="30462" y="50207"/>
                    <a:pt x="31027" y="49079"/>
                  </a:cubicBezTo>
                  <a:lnTo>
                    <a:pt x="31027" y="48232"/>
                  </a:lnTo>
                  <a:cubicBezTo>
                    <a:pt x="31027" y="47950"/>
                    <a:pt x="31027" y="47386"/>
                    <a:pt x="31308" y="47104"/>
                  </a:cubicBezTo>
                  <a:cubicBezTo>
                    <a:pt x="32155" y="44284"/>
                    <a:pt x="33283" y="41181"/>
                    <a:pt x="34975" y="38642"/>
                  </a:cubicBezTo>
                  <a:cubicBezTo>
                    <a:pt x="35539" y="37796"/>
                    <a:pt x="35539" y="36950"/>
                    <a:pt x="36103" y="35822"/>
                  </a:cubicBezTo>
                  <a:cubicBezTo>
                    <a:pt x="36668" y="33565"/>
                    <a:pt x="37232" y="32155"/>
                    <a:pt x="38360" y="30463"/>
                  </a:cubicBezTo>
                  <a:cubicBezTo>
                    <a:pt x="38642" y="29899"/>
                    <a:pt x="39489" y="29052"/>
                    <a:pt x="39770" y="27642"/>
                  </a:cubicBezTo>
                  <a:cubicBezTo>
                    <a:pt x="40053" y="26796"/>
                    <a:pt x="40334" y="26232"/>
                    <a:pt x="40334" y="25668"/>
                  </a:cubicBezTo>
                  <a:cubicBezTo>
                    <a:pt x="40617" y="24821"/>
                    <a:pt x="40899" y="23693"/>
                    <a:pt x="41463" y="22847"/>
                  </a:cubicBezTo>
                  <a:cubicBezTo>
                    <a:pt x="41745" y="22001"/>
                    <a:pt x="42309" y="21437"/>
                    <a:pt x="42873" y="20308"/>
                  </a:cubicBezTo>
                  <a:cubicBezTo>
                    <a:pt x="43720" y="18334"/>
                    <a:pt x="44284" y="16360"/>
                    <a:pt x="44565" y="14949"/>
                  </a:cubicBezTo>
                  <a:lnTo>
                    <a:pt x="46540" y="11847"/>
                  </a:lnTo>
                  <a:cubicBezTo>
                    <a:pt x="46822" y="11565"/>
                    <a:pt x="46822" y="11282"/>
                    <a:pt x="46822" y="11000"/>
                  </a:cubicBezTo>
                  <a:lnTo>
                    <a:pt x="46822" y="10718"/>
                  </a:lnTo>
                  <a:cubicBezTo>
                    <a:pt x="47668" y="8744"/>
                    <a:pt x="48796" y="7052"/>
                    <a:pt x="50489" y="5359"/>
                  </a:cubicBezTo>
                  <a:cubicBezTo>
                    <a:pt x="50771" y="4231"/>
                    <a:pt x="51335" y="3667"/>
                    <a:pt x="52181" y="2539"/>
                  </a:cubicBezTo>
                  <a:cubicBezTo>
                    <a:pt x="52181" y="1974"/>
                    <a:pt x="52463" y="1128"/>
                    <a:pt x="52745" y="846"/>
                  </a:cubicBezTo>
                  <a:cubicBezTo>
                    <a:pt x="53027" y="564"/>
                    <a:pt x="53309" y="564"/>
                    <a:pt x="53592" y="564"/>
                  </a:cubicBezTo>
                  <a:lnTo>
                    <a:pt x="54156" y="564"/>
                  </a:lnTo>
                  <a:cubicBezTo>
                    <a:pt x="54156" y="564"/>
                    <a:pt x="54720" y="282"/>
                    <a:pt x="54720" y="0"/>
                  </a:cubicBezTo>
                  <a:cubicBezTo>
                    <a:pt x="54720" y="0"/>
                    <a:pt x="55002" y="282"/>
                    <a:pt x="55284" y="282"/>
                  </a:cubicBezTo>
                  <a:lnTo>
                    <a:pt x="55284" y="564"/>
                  </a:lnTo>
                  <a:cubicBezTo>
                    <a:pt x="55284" y="564"/>
                    <a:pt x="55002" y="564"/>
                    <a:pt x="55002" y="846"/>
                  </a:cubicBezTo>
                  <a:cubicBezTo>
                    <a:pt x="55002" y="1128"/>
                    <a:pt x="55284" y="1410"/>
                    <a:pt x="55566" y="1692"/>
                  </a:cubicBezTo>
                  <a:cubicBezTo>
                    <a:pt x="55566" y="1692"/>
                    <a:pt x="55566" y="1974"/>
                    <a:pt x="55848" y="2256"/>
                  </a:cubicBezTo>
                  <a:cubicBezTo>
                    <a:pt x="55848" y="3103"/>
                    <a:pt x="56412" y="3103"/>
                    <a:pt x="56976" y="3103"/>
                  </a:cubicBezTo>
                  <a:cubicBezTo>
                    <a:pt x="57258" y="3103"/>
                    <a:pt x="57540" y="2821"/>
                    <a:pt x="57823" y="2821"/>
                  </a:cubicBezTo>
                  <a:cubicBezTo>
                    <a:pt x="58104" y="2821"/>
                    <a:pt x="58668" y="3103"/>
                    <a:pt x="58951" y="3385"/>
                  </a:cubicBezTo>
                  <a:lnTo>
                    <a:pt x="59515" y="3385"/>
                  </a:lnTo>
                  <a:cubicBezTo>
                    <a:pt x="59797" y="3103"/>
                    <a:pt x="60079" y="3103"/>
                    <a:pt x="60361" y="3103"/>
                  </a:cubicBezTo>
                  <a:cubicBezTo>
                    <a:pt x="60925" y="3103"/>
                    <a:pt x="62054" y="3385"/>
                    <a:pt x="62899" y="4231"/>
                  </a:cubicBezTo>
                  <a:lnTo>
                    <a:pt x="63745" y="4231"/>
                  </a:lnTo>
                  <a:cubicBezTo>
                    <a:pt x="63745" y="3949"/>
                    <a:pt x="64028" y="3667"/>
                    <a:pt x="64309" y="3385"/>
                  </a:cubicBezTo>
                  <a:cubicBezTo>
                    <a:pt x="65156" y="3385"/>
                    <a:pt x="65438" y="3667"/>
                    <a:pt x="65720" y="4513"/>
                  </a:cubicBezTo>
                  <a:cubicBezTo>
                    <a:pt x="66002" y="4513"/>
                    <a:pt x="66002" y="4795"/>
                    <a:pt x="66002" y="4795"/>
                  </a:cubicBezTo>
                  <a:cubicBezTo>
                    <a:pt x="66284" y="5077"/>
                    <a:pt x="66284" y="5077"/>
                    <a:pt x="66566" y="5077"/>
                  </a:cubicBezTo>
                  <a:lnTo>
                    <a:pt x="67976" y="3949"/>
                  </a:lnTo>
                  <a:lnTo>
                    <a:pt x="67976" y="3667"/>
                  </a:lnTo>
                  <a:cubicBezTo>
                    <a:pt x="67976" y="3667"/>
                    <a:pt x="68259" y="3949"/>
                    <a:pt x="68259" y="4231"/>
                  </a:cubicBezTo>
                  <a:cubicBezTo>
                    <a:pt x="68259" y="5359"/>
                    <a:pt x="67695" y="5923"/>
                    <a:pt x="67130" y="7052"/>
                  </a:cubicBezTo>
                  <a:lnTo>
                    <a:pt x="64592" y="11847"/>
                  </a:lnTo>
                  <a:cubicBezTo>
                    <a:pt x="64309" y="12975"/>
                    <a:pt x="63745" y="13821"/>
                    <a:pt x="63464" y="14385"/>
                  </a:cubicBezTo>
                  <a:cubicBezTo>
                    <a:pt x="62899" y="15513"/>
                    <a:pt x="61771" y="16360"/>
                    <a:pt x="61489" y="18334"/>
                  </a:cubicBezTo>
                  <a:lnTo>
                    <a:pt x="61489" y="18616"/>
                  </a:lnTo>
                  <a:cubicBezTo>
                    <a:pt x="61489" y="18898"/>
                    <a:pt x="61207" y="19462"/>
                    <a:pt x="60925" y="20026"/>
                  </a:cubicBezTo>
                  <a:cubicBezTo>
                    <a:pt x="60361" y="20308"/>
                    <a:pt x="60079" y="21155"/>
                    <a:pt x="59797" y="22001"/>
                  </a:cubicBezTo>
                  <a:cubicBezTo>
                    <a:pt x="59797" y="22283"/>
                    <a:pt x="60079" y="22283"/>
                    <a:pt x="60079" y="22565"/>
                  </a:cubicBezTo>
                  <a:cubicBezTo>
                    <a:pt x="60079" y="22847"/>
                    <a:pt x="59797" y="23411"/>
                    <a:pt x="59233" y="23693"/>
                  </a:cubicBezTo>
                  <a:cubicBezTo>
                    <a:pt x="59233" y="23693"/>
                    <a:pt x="58951" y="24257"/>
                    <a:pt x="58951" y="24539"/>
                  </a:cubicBezTo>
                  <a:cubicBezTo>
                    <a:pt x="58951" y="25103"/>
                    <a:pt x="58668" y="25668"/>
                    <a:pt x="58668" y="26232"/>
                  </a:cubicBezTo>
                  <a:cubicBezTo>
                    <a:pt x="58387" y="26514"/>
                    <a:pt x="58104" y="26796"/>
                    <a:pt x="58104" y="27078"/>
                  </a:cubicBezTo>
                  <a:cubicBezTo>
                    <a:pt x="57823" y="28488"/>
                    <a:pt x="56694" y="29899"/>
                    <a:pt x="56694" y="30745"/>
                  </a:cubicBezTo>
                  <a:cubicBezTo>
                    <a:pt x="56694" y="31309"/>
                    <a:pt x="56412" y="31873"/>
                    <a:pt x="56130" y="32437"/>
                  </a:cubicBezTo>
                  <a:cubicBezTo>
                    <a:pt x="55284" y="34411"/>
                    <a:pt x="55002" y="36386"/>
                    <a:pt x="53592" y="38360"/>
                  </a:cubicBezTo>
                  <a:lnTo>
                    <a:pt x="53027" y="40053"/>
                  </a:lnTo>
                  <a:cubicBezTo>
                    <a:pt x="53027" y="40899"/>
                    <a:pt x="52463" y="41181"/>
                    <a:pt x="52181" y="41745"/>
                  </a:cubicBezTo>
                  <a:cubicBezTo>
                    <a:pt x="51899" y="42309"/>
                    <a:pt x="51617" y="42591"/>
                    <a:pt x="51617" y="42591"/>
                  </a:cubicBezTo>
                  <a:cubicBezTo>
                    <a:pt x="51335" y="42873"/>
                    <a:pt x="51053" y="43437"/>
                    <a:pt x="51053" y="44284"/>
                  </a:cubicBezTo>
                  <a:lnTo>
                    <a:pt x="51053" y="45694"/>
                  </a:lnTo>
                  <a:cubicBezTo>
                    <a:pt x="51053" y="46540"/>
                    <a:pt x="50771" y="47386"/>
                    <a:pt x="49925" y="47950"/>
                  </a:cubicBezTo>
                  <a:cubicBezTo>
                    <a:pt x="49642" y="48232"/>
                    <a:pt x="49361" y="48232"/>
                    <a:pt x="49361" y="48232"/>
                  </a:cubicBezTo>
                  <a:lnTo>
                    <a:pt x="48796" y="48232"/>
                  </a:lnTo>
                  <a:cubicBezTo>
                    <a:pt x="48796" y="48515"/>
                    <a:pt x="48796" y="48515"/>
                    <a:pt x="49078" y="48797"/>
                  </a:cubicBezTo>
                  <a:cubicBezTo>
                    <a:pt x="49361" y="49079"/>
                    <a:pt x="49361" y="49643"/>
                    <a:pt x="49361" y="50207"/>
                  </a:cubicBezTo>
                  <a:cubicBezTo>
                    <a:pt x="49361" y="50489"/>
                    <a:pt x="49078" y="50489"/>
                    <a:pt x="49078" y="50771"/>
                  </a:cubicBezTo>
                  <a:lnTo>
                    <a:pt x="49078" y="51899"/>
                  </a:lnTo>
                  <a:cubicBezTo>
                    <a:pt x="49078" y="52181"/>
                    <a:pt x="49078" y="52745"/>
                    <a:pt x="48514" y="52745"/>
                  </a:cubicBezTo>
                  <a:cubicBezTo>
                    <a:pt x="47950" y="53028"/>
                    <a:pt x="47668" y="54156"/>
                    <a:pt x="46540" y="55002"/>
                  </a:cubicBezTo>
                  <a:cubicBezTo>
                    <a:pt x="46258" y="55002"/>
                    <a:pt x="46258" y="55284"/>
                    <a:pt x="46258" y="55284"/>
                  </a:cubicBezTo>
                  <a:cubicBezTo>
                    <a:pt x="46258" y="55566"/>
                    <a:pt x="46540" y="55566"/>
                    <a:pt x="46540" y="55848"/>
                  </a:cubicBezTo>
                  <a:cubicBezTo>
                    <a:pt x="46540" y="56130"/>
                    <a:pt x="46822" y="56412"/>
                    <a:pt x="46822" y="56694"/>
                  </a:cubicBezTo>
                  <a:cubicBezTo>
                    <a:pt x="46822" y="56976"/>
                    <a:pt x="46540" y="56976"/>
                    <a:pt x="46540" y="56976"/>
                  </a:cubicBezTo>
                  <a:cubicBezTo>
                    <a:pt x="45411" y="58951"/>
                    <a:pt x="45130" y="60925"/>
                    <a:pt x="44565" y="62900"/>
                  </a:cubicBezTo>
                  <a:cubicBezTo>
                    <a:pt x="43720" y="65438"/>
                    <a:pt x="43155" y="67977"/>
                    <a:pt x="42591" y="70233"/>
                  </a:cubicBezTo>
                  <a:cubicBezTo>
                    <a:pt x="42027" y="71079"/>
                    <a:pt x="41745" y="72490"/>
                    <a:pt x="41463" y="73900"/>
                  </a:cubicBezTo>
                  <a:lnTo>
                    <a:pt x="41463" y="75310"/>
                  </a:lnTo>
                  <a:cubicBezTo>
                    <a:pt x="41463" y="75875"/>
                    <a:pt x="41463" y="76157"/>
                    <a:pt x="41181" y="76439"/>
                  </a:cubicBezTo>
                  <a:cubicBezTo>
                    <a:pt x="41181" y="77285"/>
                    <a:pt x="41181" y="78131"/>
                    <a:pt x="40899" y="78977"/>
                  </a:cubicBezTo>
                  <a:cubicBezTo>
                    <a:pt x="40899" y="79823"/>
                    <a:pt x="40617" y="80952"/>
                    <a:pt x="40617" y="82362"/>
                  </a:cubicBezTo>
                  <a:cubicBezTo>
                    <a:pt x="40617" y="82926"/>
                    <a:pt x="40334" y="83490"/>
                    <a:pt x="40053" y="83772"/>
                  </a:cubicBezTo>
                  <a:lnTo>
                    <a:pt x="40053" y="87157"/>
                  </a:lnTo>
                  <a:lnTo>
                    <a:pt x="40617" y="88849"/>
                  </a:lnTo>
                  <a:cubicBezTo>
                    <a:pt x="40617" y="89413"/>
                    <a:pt x="40899" y="89413"/>
                    <a:pt x="41181" y="89978"/>
                  </a:cubicBezTo>
                  <a:lnTo>
                    <a:pt x="42027" y="89978"/>
                  </a:lnTo>
                  <a:cubicBezTo>
                    <a:pt x="42591" y="89413"/>
                    <a:pt x="43155" y="88849"/>
                    <a:pt x="43437" y="88003"/>
                  </a:cubicBezTo>
                  <a:cubicBezTo>
                    <a:pt x="45130" y="86875"/>
                    <a:pt x="46540" y="85183"/>
                    <a:pt x="48232" y="84054"/>
                  </a:cubicBezTo>
                  <a:lnTo>
                    <a:pt x="48514" y="84054"/>
                  </a:lnTo>
                  <a:cubicBezTo>
                    <a:pt x="49361" y="82926"/>
                    <a:pt x="50771" y="82362"/>
                    <a:pt x="50771" y="81234"/>
                  </a:cubicBezTo>
                  <a:lnTo>
                    <a:pt x="51335" y="80105"/>
                  </a:lnTo>
                  <a:cubicBezTo>
                    <a:pt x="52181" y="79541"/>
                    <a:pt x="52745" y="79259"/>
                    <a:pt x="53027" y="78413"/>
                  </a:cubicBezTo>
                  <a:lnTo>
                    <a:pt x="53592" y="77849"/>
                  </a:lnTo>
                  <a:cubicBezTo>
                    <a:pt x="54720" y="76157"/>
                    <a:pt x="55848" y="75028"/>
                    <a:pt x="56694" y="73336"/>
                  </a:cubicBezTo>
                  <a:cubicBezTo>
                    <a:pt x="57540" y="72490"/>
                    <a:pt x="58104" y="71362"/>
                    <a:pt x="58668" y="70797"/>
                  </a:cubicBezTo>
                  <a:cubicBezTo>
                    <a:pt x="58951" y="70797"/>
                    <a:pt x="59515" y="70233"/>
                    <a:pt x="59797" y="70233"/>
                  </a:cubicBezTo>
                  <a:cubicBezTo>
                    <a:pt x="59797" y="69669"/>
                    <a:pt x="60079" y="69387"/>
                    <a:pt x="60361" y="69387"/>
                  </a:cubicBezTo>
                  <a:lnTo>
                    <a:pt x="60643" y="69387"/>
                  </a:lnTo>
                  <a:cubicBezTo>
                    <a:pt x="61489" y="69387"/>
                    <a:pt x="61489" y="68823"/>
                    <a:pt x="61771" y="67977"/>
                  </a:cubicBezTo>
                  <a:cubicBezTo>
                    <a:pt x="61771" y="67695"/>
                    <a:pt x="62054" y="66849"/>
                    <a:pt x="62335" y="66566"/>
                  </a:cubicBezTo>
                  <a:cubicBezTo>
                    <a:pt x="62899" y="65438"/>
                    <a:pt x="63745" y="63746"/>
                    <a:pt x="65156" y="62900"/>
                  </a:cubicBezTo>
                  <a:cubicBezTo>
                    <a:pt x="65720" y="61489"/>
                    <a:pt x="66284" y="60925"/>
                    <a:pt x="66848" y="60079"/>
                  </a:cubicBezTo>
                  <a:cubicBezTo>
                    <a:pt x="67695" y="59233"/>
                    <a:pt x="68823" y="58387"/>
                    <a:pt x="69105" y="56976"/>
                  </a:cubicBezTo>
                  <a:cubicBezTo>
                    <a:pt x="69387" y="55566"/>
                    <a:pt x="70797" y="55002"/>
                    <a:pt x="71079" y="53874"/>
                  </a:cubicBezTo>
                  <a:cubicBezTo>
                    <a:pt x="73336" y="52463"/>
                    <a:pt x="73900" y="50489"/>
                    <a:pt x="75028" y="48797"/>
                  </a:cubicBezTo>
                  <a:cubicBezTo>
                    <a:pt x="76157" y="47104"/>
                    <a:pt x="76721" y="45694"/>
                    <a:pt x="78413" y="44284"/>
                  </a:cubicBezTo>
                  <a:cubicBezTo>
                    <a:pt x="78695" y="44284"/>
                    <a:pt x="78695" y="44002"/>
                    <a:pt x="78695" y="43720"/>
                  </a:cubicBezTo>
                  <a:cubicBezTo>
                    <a:pt x="78695" y="42873"/>
                    <a:pt x="79541" y="42027"/>
                    <a:pt x="80669" y="41463"/>
                  </a:cubicBezTo>
                  <a:cubicBezTo>
                    <a:pt x="80952" y="41181"/>
                    <a:pt x="81233" y="40335"/>
                    <a:pt x="81233" y="39489"/>
                  </a:cubicBezTo>
                  <a:lnTo>
                    <a:pt x="83208" y="37514"/>
                  </a:lnTo>
                  <a:cubicBezTo>
                    <a:pt x="83772" y="37232"/>
                    <a:pt x="84054" y="36950"/>
                    <a:pt x="84336" y="36950"/>
                  </a:cubicBezTo>
                  <a:cubicBezTo>
                    <a:pt x="85464" y="34976"/>
                    <a:pt x="86874" y="33565"/>
                    <a:pt x="88003" y="31591"/>
                  </a:cubicBezTo>
                  <a:cubicBezTo>
                    <a:pt x="88849" y="31027"/>
                    <a:pt x="89413" y="30181"/>
                    <a:pt x="90260" y="28770"/>
                  </a:cubicBezTo>
                  <a:cubicBezTo>
                    <a:pt x="91105" y="27924"/>
                    <a:pt x="91670" y="26514"/>
                    <a:pt x="92798" y="25668"/>
                  </a:cubicBezTo>
                  <a:cubicBezTo>
                    <a:pt x="93080" y="24821"/>
                    <a:pt x="93362" y="24257"/>
                    <a:pt x="93926" y="23975"/>
                  </a:cubicBezTo>
                  <a:cubicBezTo>
                    <a:pt x="95901" y="22565"/>
                    <a:pt x="97311" y="20026"/>
                    <a:pt x="99286" y="18334"/>
                  </a:cubicBezTo>
                  <a:cubicBezTo>
                    <a:pt x="99567" y="17488"/>
                    <a:pt x="99850" y="16360"/>
                    <a:pt x="100696" y="15795"/>
                  </a:cubicBezTo>
                  <a:cubicBezTo>
                    <a:pt x="101260" y="15231"/>
                    <a:pt x="101542" y="14667"/>
                    <a:pt x="101542" y="13821"/>
                  </a:cubicBezTo>
                  <a:cubicBezTo>
                    <a:pt x="102388" y="12975"/>
                    <a:pt x="103234" y="11847"/>
                    <a:pt x="104363" y="11565"/>
                  </a:cubicBezTo>
                  <a:cubicBezTo>
                    <a:pt x="104363" y="11565"/>
                    <a:pt x="104644" y="11282"/>
                    <a:pt x="104927" y="11282"/>
                  </a:cubicBezTo>
                  <a:cubicBezTo>
                    <a:pt x="104927" y="10718"/>
                    <a:pt x="104927" y="10436"/>
                    <a:pt x="105208" y="10436"/>
                  </a:cubicBezTo>
                  <a:lnTo>
                    <a:pt x="106055" y="11282"/>
                  </a:lnTo>
                  <a:lnTo>
                    <a:pt x="106055" y="11565"/>
                  </a:lnTo>
                  <a:cubicBezTo>
                    <a:pt x="106055" y="11565"/>
                    <a:pt x="106337" y="11565"/>
                    <a:pt x="106337" y="11847"/>
                  </a:cubicBezTo>
                  <a:cubicBezTo>
                    <a:pt x="106337" y="11565"/>
                    <a:pt x="106619" y="11565"/>
                    <a:pt x="106619" y="11282"/>
                  </a:cubicBezTo>
                  <a:cubicBezTo>
                    <a:pt x="106619" y="11282"/>
                    <a:pt x="106901" y="11000"/>
                    <a:pt x="106901" y="10718"/>
                  </a:cubicBezTo>
                  <a:lnTo>
                    <a:pt x="106901" y="10436"/>
                  </a:lnTo>
                  <a:lnTo>
                    <a:pt x="108594" y="11565"/>
                  </a:lnTo>
                  <a:cubicBezTo>
                    <a:pt x="108875" y="12129"/>
                    <a:pt x="108875" y="12693"/>
                    <a:pt x="108875" y="13257"/>
                  </a:cubicBezTo>
                  <a:cubicBezTo>
                    <a:pt x="109158" y="13539"/>
                    <a:pt x="109158" y="13539"/>
                    <a:pt x="109439" y="13539"/>
                  </a:cubicBezTo>
                  <a:lnTo>
                    <a:pt x="109722" y="13539"/>
                  </a:lnTo>
                  <a:lnTo>
                    <a:pt x="110004" y="13821"/>
                  </a:lnTo>
                  <a:cubicBezTo>
                    <a:pt x="110004" y="14103"/>
                    <a:pt x="110004" y="14103"/>
                    <a:pt x="110286" y="14103"/>
                  </a:cubicBezTo>
                  <a:lnTo>
                    <a:pt x="111414" y="14103"/>
                  </a:lnTo>
                  <a:cubicBezTo>
                    <a:pt x="111696" y="14103"/>
                    <a:pt x="112542" y="14385"/>
                    <a:pt x="112825" y="14667"/>
                  </a:cubicBezTo>
                  <a:lnTo>
                    <a:pt x="113106" y="14667"/>
                  </a:lnTo>
                  <a:lnTo>
                    <a:pt x="113106" y="14103"/>
                  </a:lnTo>
                  <a:cubicBezTo>
                    <a:pt x="113106" y="13821"/>
                    <a:pt x="113389" y="13821"/>
                    <a:pt x="113670" y="13821"/>
                  </a:cubicBezTo>
                  <a:cubicBezTo>
                    <a:pt x="114235" y="13821"/>
                    <a:pt x="114517" y="13539"/>
                    <a:pt x="114799" y="13539"/>
                  </a:cubicBezTo>
                  <a:cubicBezTo>
                    <a:pt x="115363" y="13539"/>
                    <a:pt x="115363" y="13821"/>
                    <a:pt x="115645" y="14667"/>
                  </a:cubicBezTo>
                  <a:lnTo>
                    <a:pt x="115645" y="15231"/>
                  </a:lnTo>
                  <a:cubicBezTo>
                    <a:pt x="115645" y="15513"/>
                    <a:pt x="115645" y="15513"/>
                    <a:pt x="115927" y="15513"/>
                  </a:cubicBezTo>
                  <a:cubicBezTo>
                    <a:pt x="116209" y="15513"/>
                    <a:pt x="116209" y="15513"/>
                    <a:pt x="116491" y="15231"/>
                  </a:cubicBezTo>
                  <a:lnTo>
                    <a:pt x="117337" y="15231"/>
                  </a:lnTo>
                  <a:lnTo>
                    <a:pt x="117620" y="15513"/>
                  </a:lnTo>
                  <a:cubicBezTo>
                    <a:pt x="117901" y="15513"/>
                    <a:pt x="117901" y="15231"/>
                    <a:pt x="118183" y="14949"/>
                  </a:cubicBezTo>
                  <a:lnTo>
                    <a:pt x="118183" y="14385"/>
                  </a:lnTo>
                  <a:cubicBezTo>
                    <a:pt x="118183" y="14385"/>
                    <a:pt x="118183" y="14103"/>
                    <a:pt x="118466" y="14103"/>
                  </a:cubicBezTo>
                  <a:cubicBezTo>
                    <a:pt x="118747" y="14103"/>
                    <a:pt x="118747" y="14103"/>
                    <a:pt x="118747" y="14385"/>
                  </a:cubicBezTo>
                  <a:cubicBezTo>
                    <a:pt x="119311" y="15231"/>
                    <a:pt x="119876" y="16078"/>
                    <a:pt x="120722" y="16642"/>
                  </a:cubicBezTo>
                  <a:lnTo>
                    <a:pt x="121004" y="16924"/>
                  </a:lnTo>
                  <a:cubicBezTo>
                    <a:pt x="121004" y="17770"/>
                    <a:pt x="121286" y="18334"/>
                    <a:pt x="121286" y="19462"/>
                  </a:cubicBezTo>
                  <a:cubicBezTo>
                    <a:pt x="121286" y="20026"/>
                    <a:pt x="121286" y="20590"/>
                    <a:pt x="121004" y="21155"/>
                  </a:cubicBezTo>
                  <a:cubicBezTo>
                    <a:pt x="121004" y="22001"/>
                    <a:pt x="121004" y="22847"/>
                    <a:pt x="120722" y="23693"/>
                  </a:cubicBezTo>
                  <a:lnTo>
                    <a:pt x="120722" y="26796"/>
                  </a:lnTo>
                  <a:cubicBezTo>
                    <a:pt x="120722" y="27642"/>
                    <a:pt x="120722" y="27642"/>
                    <a:pt x="120158" y="27642"/>
                  </a:cubicBezTo>
                  <a:lnTo>
                    <a:pt x="119594" y="27642"/>
                  </a:lnTo>
                  <a:cubicBezTo>
                    <a:pt x="119311" y="27642"/>
                    <a:pt x="119311" y="27642"/>
                    <a:pt x="119311" y="27924"/>
                  </a:cubicBezTo>
                  <a:cubicBezTo>
                    <a:pt x="119594" y="29052"/>
                    <a:pt x="119594" y="30181"/>
                    <a:pt x="119594" y="31027"/>
                  </a:cubicBezTo>
                  <a:lnTo>
                    <a:pt x="119594" y="32155"/>
                  </a:lnTo>
                  <a:cubicBezTo>
                    <a:pt x="119594" y="32437"/>
                    <a:pt x="119594" y="32719"/>
                    <a:pt x="119876" y="33001"/>
                  </a:cubicBezTo>
                  <a:cubicBezTo>
                    <a:pt x="119876" y="32719"/>
                    <a:pt x="120440" y="32437"/>
                    <a:pt x="120440" y="32437"/>
                  </a:cubicBezTo>
                  <a:lnTo>
                    <a:pt x="120722" y="32155"/>
                  </a:lnTo>
                  <a:cubicBezTo>
                    <a:pt x="120722" y="32437"/>
                    <a:pt x="121286" y="32719"/>
                    <a:pt x="121286" y="33283"/>
                  </a:cubicBezTo>
                  <a:cubicBezTo>
                    <a:pt x="120722" y="34129"/>
                    <a:pt x="120722" y="34694"/>
                    <a:pt x="120722" y="35258"/>
                  </a:cubicBezTo>
                  <a:lnTo>
                    <a:pt x="120722" y="37514"/>
                  </a:lnTo>
                  <a:cubicBezTo>
                    <a:pt x="120722" y="38360"/>
                    <a:pt x="120440" y="38924"/>
                    <a:pt x="120440" y="39489"/>
                  </a:cubicBezTo>
                  <a:lnTo>
                    <a:pt x="120440" y="40053"/>
                  </a:lnTo>
                  <a:lnTo>
                    <a:pt x="121004" y="42309"/>
                  </a:lnTo>
                  <a:cubicBezTo>
                    <a:pt x="121004" y="42309"/>
                    <a:pt x="121004" y="42873"/>
                    <a:pt x="120722" y="43155"/>
                  </a:cubicBezTo>
                  <a:cubicBezTo>
                    <a:pt x="121004" y="43720"/>
                    <a:pt x="121004" y="44284"/>
                    <a:pt x="121004" y="44848"/>
                  </a:cubicBezTo>
                  <a:lnTo>
                    <a:pt x="121004" y="46540"/>
                  </a:lnTo>
                  <a:cubicBezTo>
                    <a:pt x="121568" y="47386"/>
                    <a:pt x="121568" y="47950"/>
                    <a:pt x="121568" y="48797"/>
                  </a:cubicBezTo>
                  <a:lnTo>
                    <a:pt x="121568" y="53592"/>
                  </a:lnTo>
                  <a:cubicBezTo>
                    <a:pt x="121286" y="54156"/>
                    <a:pt x="121286" y="54720"/>
                    <a:pt x="121286" y="55002"/>
                  </a:cubicBezTo>
                  <a:cubicBezTo>
                    <a:pt x="121286" y="55566"/>
                    <a:pt x="121286" y="55848"/>
                    <a:pt x="121568" y="56412"/>
                  </a:cubicBezTo>
                  <a:lnTo>
                    <a:pt x="121850" y="56694"/>
                  </a:lnTo>
                  <a:cubicBezTo>
                    <a:pt x="121850" y="56976"/>
                    <a:pt x="121568" y="56976"/>
                    <a:pt x="121568" y="56976"/>
                  </a:cubicBezTo>
                  <a:cubicBezTo>
                    <a:pt x="121568" y="57823"/>
                    <a:pt x="121850" y="58387"/>
                    <a:pt x="121850" y="59233"/>
                  </a:cubicBezTo>
                  <a:cubicBezTo>
                    <a:pt x="122132" y="59515"/>
                    <a:pt x="122132" y="59797"/>
                    <a:pt x="122132" y="60361"/>
                  </a:cubicBezTo>
                  <a:cubicBezTo>
                    <a:pt x="122132" y="60925"/>
                    <a:pt x="122132" y="61489"/>
                    <a:pt x="121850" y="62054"/>
                  </a:cubicBezTo>
                  <a:cubicBezTo>
                    <a:pt x="122132" y="62618"/>
                    <a:pt x="122132" y="62618"/>
                    <a:pt x="122132" y="63464"/>
                  </a:cubicBezTo>
                  <a:cubicBezTo>
                    <a:pt x="122132" y="63746"/>
                    <a:pt x="122132" y="64310"/>
                    <a:pt x="121850" y="64592"/>
                  </a:cubicBezTo>
                  <a:lnTo>
                    <a:pt x="121850" y="66002"/>
                  </a:lnTo>
                  <a:cubicBezTo>
                    <a:pt x="121850" y="67131"/>
                    <a:pt x="122132" y="67977"/>
                    <a:pt x="122414" y="68823"/>
                  </a:cubicBezTo>
                  <a:cubicBezTo>
                    <a:pt x="122697" y="69387"/>
                    <a:pt x="122978" y="69669"/>
                    <a:pt x="122978" y="69951"/>
                  </a:cubicBezTo>
                  <a:cubicBezTo>
                    <a:pt x="122978" y="70233"/>
                    <a:pt x="122697" y="70797"/>
                    <a:pt x="122697" y="71362"/>
                  </a:cubicBezTo>
                  <a:cubicBezTo>
                    <a:pt x="122414" y="71926"/>
                    <a:pt x="122414" y="72490"/>
                    <a:pt x="122414" y="73054"/>
                  </a:cubicBezTo>
                  <a:cubicBezTo>
                    <a:pt x="122414" y="73618"/>
                    <a:pt x="122414" y="74182"/>
                    <a:pt x="122132" y="74746"/>
                  </a:cubicBezTo>
                  <a:cubicBezTo>
                    <a:pt x="122132" y="75592"/>
                    <a:pt x="122697" y="76721"/>
                    <a:pt x="123542" y="77003"/>
                  </a:cubicBezTo>
                  <a:lnTo>
                    <a:pt x="124953" y="77003"/>
                  </a:lnTo>
                  <a:cubicBezTo>
                    <a:pt x="125235" y="77003"/>
                    <a:pt x="125235" y="77285"/>
                    <a:pt x="125235" y="77849"/>
                  </a:cubicBezTo>
                  <a:cubicBezTo>
                    <a:pt x="125235" y="78131"/>
                    <a:pt x="125235" y="78413"/>
                    <a:pt x="124953" y="78413"/>
                  </a:cubicBezTo>
                  <a:cubicBezTo>
                    <a:pt x="124953" y="78413"/>
                    <a:pt x="124671" y="78131"/>
                    <a:pt x="124389" y="78131"/>
                  </a:cubicBezTo>
                  <a:lnTo>
                    <a:pt x="124107" y="77849"/>
                  </a:lnTo>
                  <a:lnTo>
                    <a:pt x="124107" y="78131"/>
                  </a:lnTo>
                  <a:cubicBezTo>
                    <a:pt x="123825" y="78695"/>
                    <a:pt x="123542" y="79259"/>
                    <a:pt x="123542" y="79823"/>
                  </a:cubicBezTo>
                  <a:cubicBezTo>
                    <a:pt x="123542" y="80105"/>
                    <a:pt x="123825" y="80670"/>
                    <a:pt x="123825" y="80952"/>
                  </a:cubicBezTo>
                  <a:lnTo>
                    <a:pt x="124389" y="81516"/>
                  </a:lnTo>
                  <a:cubicBezTo>
                    <a:pt x="124671" y="81516"/>
                    <a:pt x="124953" y="81234"/>
                    <a:pt x="125235" y="81234"/>
                  </a:cubicBezTo>
                  <a:cubicBezTo>
                    <a:pt x="125517" y="81234"/>
                    <a:pt x="125799" y="80952"/>
                    <a:pt x="126081" y="80952"/>
                  </a:cubicBezTo>
                  <a:cubicBezTo>
                    <a:pt x="126363" y="80952"/>
                    <a:pt x="126363" y="81234"/>
                    <a:pt x="126363" y="81234"/>
                  </a:cubicBezTo>
                  <a:cubicBezTo>
                    <a:pt x="126363" y="81798"/>
                    <a:pt x="126081" y="81798"/>
                    <a:pt x="125517" y="82080"/>
                  </a:cubicBezTo>
                  <a:cubicBezTo>
                    <a:pt x="124953" y="82644"/>
                    <a:pt x="124389" y="83772"/>
                    <a:pt x="123825" y="83772"/>
                  </a:cubicBezTo>
                  <a:cubicBezTo>
                    <a:pt x="123825" y="84054"/>
                    <a:pt x="123542" y="84054"/>
                    <a:pt x="123542" y="84336"/>
                  </a:cubicBezTo>
                  <a:cubicBezTo>
                    <a:pt x="123261" y="84900"/>
                    <a:pt x="122978" y="85465"/>
                    <a:pt x="122978" y="86029"/>
                  </a:cubicBezTo>
                  <a:lnTo>
                    <a:pt x="122978" y="86311"/>
                  </a:lnTo>
                  <a:cubicBezTo>
                    <a:pt x="123261" y="87157"/>
                    <a:pt x="123261" y="87721"/>
                    <a:pt x="123261" y="88567"/>
                  </a:cubicBezTo>
                  <a:cubicBezTo>
                    <a:pt x="122978" y="88849"/>
                    <a:pt x="122697" y="89131"/>
                    <a:pt x="122697" y="89413"/>
                  </a:cubicBezTo>
                  <a:lnTo>
                    <a:pt x="121568" y="92798"/>
                  </a:lnTo>
                  <a:lnTo>
                    <a:pt x="121004" y="92798"/>
                  </a:lnTo>
                  <a:lnTo>
                    <a:pt x="121004" y="92516"/>
                  </a:lnTo>
                  <a:cubicBezTo>
                    <a:pt x="120158" y="93080"/>
                    <a:pt x="119594" y="93080"/>
                    <a:pt x="119030" y="94491"/>
                  </a:cubicBezTo>
                  <a:cubicBezTo>
                    <a:pt x="119311" y="94491"/>
                    <a:pt x="119594" y="94209"/>
                    <a:pt x="119594" y="94209"/>
                  </a:cubicBezTo>
                  <a:lnTo>
                    <a:pt x="119594" y="95619"/>
                  </a:lnTo>
                  <a:cubicBezTo>
                    <a:pt x="119594" y="95619"/>
                    <a:pt x="119311" y="95619"/>
                    <a:pt x="119311" y="95337"/>
                  </a:cubicBezTo>
                  <a:cubicBezTo>
                    <a:pt x="119030" y="95055"/>
                    <a:pt x="119030" y="94773"/>
                    <a:pt x="119030" y="94491"/>
                  </a:cubicBezTo>
                  <a:cubicBezTo>
                    <a:pt x="118183" y="94209"/>
                    <a:pt x="118183" y="93926"/>
                    <a:pt x="118183" y="93080"/>
                  </a:cubicBezTo>
                  <a:lnTo>
                    <a:pt x="118747" y="93080"/>
                  </a:lnTo>
                  <a:lnTo>
                    <a:pt x="118747" y="92798"/>
                  </a:lnTo>
                  <a:close/>
                  <a:moveTo>
                    <a:pt x="3385" y="221136"/>
                  </a:moveTo>
                  <a:lnTo>
                    <a:pt x="3385" y="220854"/>
                  </a:lnTo>
                  <a:cubicBezTo>
                    <a:pt x="3385" y="221136"/>
                    <a:pt x="3102" y="221136"/>
                    <a:pt x="3102" y="221136"/>
                  </a:cubicBezTo>
                  <a:lnTo>
                    <a:pt x="3102" y="221700"/>
                  </a:lnTo>
                  <a:cubicBezTo>
                    <a:pt x="3102" y="222264"/>
                    <a:pt x="3102" y="222828"/>
                    <a:pt x="2821" y="223111"/>
                  </a:cubicBezTo>
                  <a:lnTo>
                    <a:pt x="3102" y="223393"/>
                  </a:lnTo>
                  <a:cubicBezTo>
                    <a:pt x="3385" y="223393"/>
                    <a:pt x="3666" y="223111"/>
                    <a:pt x="3666" y="223111"/>
                  </a:cubicBezTo>
                  <a:lnTo>
                    <a:pt x="3666" y="222264"/>
                  </a:lnTo>
                  <a:cubicBezTo>
                    <a:pt x="3666" y="221700"/>
                    <a:pt x="3666" y="221418"/>
                    <a:pt x="3385" y="221136"/>
                  </a:cubicBezTo>
                  <a:close/>
                  <a:moveTo>
                    <a:pt x="3385" y="226495"/>
                  </a:moveTo>
                  <a:cubicBezTo>
                    <a:pt x="3385" y="226213"/>
                    <a:pt x="3102" y="226213"/>
                    <a:pt x="3102" y="226213"/>
                  </a:cubicBezTo>
                  <a:lnTo>
                    <a:pt x="2821" y="226495"/>
                  </a:lnTo>
                  <a:lnTo>
                    <a:pt x="2821" y="227059"/>
                  </a:lnTo>
                  <a:lnTo>
                    <a:pt x="3102" y="227341"/>
                  </a:lnTo>
                  <a:cubicBezTo>
                    <a:pt x="3102" y="227059"/>
                    <a:pt x="3385" y="227059"/>
                    <a:pt x="3385" y="227059"/>
                  </a:cubicBezTo>
                  <a:lnTo>
                    <a:pt x="3385" y="226495"/>
                  </a:lnTo>
                  <a:close/>
                  <a:moveTo>
                    <a:pt x="4231" y="214931"/>
                  </a:moveTo>
                  <a:cubicBezTo>
                    <a:pt x="4231" y="214649"/>
                    <a:pt x="4513" y="214367"/>
                    <a:pt x="4513" y="214367"/>
                  </a:cubicBezTo>
                  <a:cubicBezTo>
                    <a:pt x="4513" y="213803"/>
                    <a:pt x="4513" y="213238"/>
                    <a:pt x="4795" y="212674"/>
                  </a:cubicBezTo>
                  <a:cubicBezTo>
                    <a:pt x="4795" y="212110"/>
                    <a:pt x="4795" y="211264"/>
                    <a:pt x="5077" y="210700"/>
                  </a:cubicBezTo>
                  <a:lnTo>
                    <a:pt x="4513" y="210700"/>
                  </a:lnTo>
                  <a:cubicBezTo>
                    <a:pt x="4231" y="211264"/>
                    <a:pt x="4231" y="212110"/>
                    <a:pt x="3949" y="212392"/>
                  </a:cubicBezTo>
                  <a:cubicBezTo>
                    <a:pt x="3666" y="212956"/>
                    <a:pt x="3666" y="213520"/>
                    <a:pt x="3666" y="213803"/>
                  </a:cubicBezTo>
                  <a:cubicBezTo>
                    <a:pt x="3666" y="214085"/>
                    <a:pt x="3666" y="214367"/>
                    <a:pt x="3949" y="214649"/>
                  </a:cubicBezTo>
                  <a:cubicBezTo>
                    <a:pt x="3949" y="214649"/>
                    <a:pt x="4231" y="214649"/>
                    <a:pt x="4231" y="214931"/>
                  </a:cubicBezTo>
                  <a:close/>
                  <a:moveTo>
                    <a:pt x="5077" y="209290"/>
                  </a:moveTo>
                  <a:cubicBezTo>
                    <a:pt x="4795" y="209290"/>
                    <a:pt x="4795" y="209290"/>
                    <a:pt x="4795" y="209572"/>
                  </a:cubicBezTo>
                  <a:lnTo>
                    <a:pt x="5077" y="209290"/>
                  </a:lnTo>
                  <a:close/>
                  <a:moveTo>
                    <a:pt x="6487" y="232983"/>
                  </a:moveTo>
                  <a:cubicBezTo>
                    <a:pt x="6205" y="232701"/>
                    <a:pt x="5923" y="232137"/>
                    <a:pt x="5359" y="232137"/>
                  </a:cubicBezTo>
                  <a:cubicBezTo>
                    <a:pt x="5359" y="232419"/>
                    <a:pt x="5641" y="232701"/>
                    <a:pt x="5641" y="233265"/>
                  </a:cubicBezTo>
                  <a:lnTo>
                    <a:pt x="6205" y="233265"/>
                  </a:lnTo>
                  <a:cubicBezTo>
                    <a:pt x="6487" y="233265"/>
                    <a:pt x="6487" y="233265"/>
                    <a:pt x="6487" y="232983"/>
                  </a:cubicBezTo>
                  <a:close/>
                  <a:moveTo>
                    <a:pt x="6487" y="215495"/>
                  </a:moveTo>
                  <a:lnTo>
                    <a:pt x="6487" y="216341"/>
                  </a:lnTo>
                  <a:cubicBezTo>
                    <a:pt x="6487" y="216623"/>
                    <a:pt x="6205" y="216623"/>
                    <a:pt x="6205" y="216623"/>
                  </a:cubicBezTo>
                  <a:cubicBezTo>
                    <a:pt x="5923" y="216623"/>
                    <a:pt x="5641" y="216341"/>
                    <a:pt x="5641" y="216341"/>
                  </a:cubicBezTo>
                  <a:lnTo>
                    <a:pt x="6205" y="215495"/>
                  </a:lnTo>
                  <a:lnTo>
                    <a:pt x="6487" y="215495"/>
                  </a:lnTo>
                  <a:close/>
                  <a:moveTo>
                    <a:pt x="8743" y="192366"/>
                  </a:moveTo>
                  <a:lnTo>
                    <a:pt x="8743" y="192648"/>
                  </a:lnTo>
                  <a:lnTo>
                    <a:pt x="9026" y="192648"/>
                  </a:lnTo>
                  <a:cubicBezTo>
                    <a:pt x="8462" y="192930"/>
                    <a:pt x="8462" y="193212"/>
                    <a:pt x="8462" y="193494"/>
                  </a:cubicBezTo>
                  <a:lnTo>
                    <a:pt x="8180" y="193494"/>
                  </a:lnTo>
                  <a:cubicBezTo>
                    <a:pt x="8180" y="192930"/>
                    <a:pt x="8462" y="192648"/>
                    <a:pt x="8743" y="192366"/>
                  </a:cubicBezTo>
                  <a:close/>
                  <a:moveTo>
                    <a:pt x="8743" y="230444"/>
                  </a:moveTo>
                  <a:cubicBezTo>
                    <a:pt x="8743" y="231008"/>
                    <a:pt x="9026" y="231290"/>
                    <a:pt x="9307" y="231854"/>
                  </a:cubicBezTo>
                  <a:cubicBezTo>
                    <a:pt x="9307" y="232137"/>
                    <a:pt x="9590" y="232137"/>
                    <a:pt x="9590" y="232137"/>
                  </a:cubicBezTo>
                  <a:cubicBezTo>
                    <a:pt x="9590" y="232419"/>
                    <a:pt x="9026" y="232983"/>
                    <a:pt x="9026" y="233265"/>
                  </a:cubicBezTo>
                  <a:lnTo>
                    <a:pt x="8743" y="233265"/>
                  </a:lnTo>
                  <a:cubicBezTo>
                    <a:pt x="8462" y="233265"/>
                    <a:pt x="8462" y="232983"/>
                    <a:pt x="8462" y="232983"/>
                  </a:cubicBezTo>
                  <a:lnTo>
                    <a:pt x="8462" y="228188"/>
                  </a:lnTo>
                  <a:lnTo>
                    <a:pt x="8743" y="228470"/>
                  </a:lnTo>
                  <a:cubicBezTo>
                    <a:pt x="8743" y="228752"/>
                    <a:pt x="8743" y="228752"/>
                    <a:pt x="9026" y="229034"/>
                  </a:cubicBezTo>
                  <a:lnTo>
                    <a:pt x="9026" y="229316"/>
                  </a:lnTo>
                  <a:cubicBezTo>
                    <a:pt x="9026" y="229598"/>
                    <a:pt x="8743" y="230162"/>
                    <a:pt x="8743" y="230444"/>
                  </a:cubicBezTo>
                  <a:close/>
                  <a:moveTo>
                    <a:pt x="9307" y="210982"/>
                  </a:moveTo>
                  <a:lnTo>
                    <a:pt x="9307" y="212110"/>
                  </a:lnTo>
                  <a:lnTo>
                    <a:pt x="8743" y="212110"/>
                  </a:lnTo>
                  <a:lnTo>
                    <a:pt x="8743" y="211546"/>
                  </a:lnTo>
                  <a:cubicBezTo>
                    <a:pt x="8743" y="211264"/>
                    <a:pt x="9026" y="211264"/>
                    <a:pt x="9307" y="210982"/>
                  </a:cubicBezTo>
                  <a:close/>
                  <a:moveTo>
                    <a:pt x="11846" y="210418"/>
                  </a:moveTo>
                  <a:lnTo>
                    <a:pt x="11846" y="210982"/>
                  </a:lnTo>
                  <a:cubicBezTo>
                    <a:pt x="11846" y="211828"/>
                    <a:pt x="11846" y="212110"/>
                    <a:pt x="11564" y="212674"/>
                  </a:cubicBezTo>
                  <a:cubicBezTo>
                    <a:pt x="11282" y="212956"/>
                    <a:pt x="11282" y="213238"/>
                    <a:pt x="11282" y="213520"/>
                  </a:cubicBezTo>
                  <a:cubicBezTo>
                    <a:pt x="11282" y="213803"/>
                    <a:pt x="11282" y="214085"/>
                    <a:pt x="11564" y="214367"/>
                  </a:cubicBezTo>
                  <a:cubicBezTo>
                    <a:pt x="11564" y="215213"/>
                    <a:pt x="11282" y="215495"/>
                    <a:pt x="10718" y="216059"/>
                  </a:cubicBezTo>
                  <a:cubicBezTo>
                    <a:pt x="10718" y="216341"/>
                    <a:pt x="10718" y="216341"/>
                    <a:pt x="10436" y="216341"/>
                  </a:cubicBezTo>
                  <a:cubicBezTo>
                    <a:pt x="10436" y="216341"/>
                    <a:pt x="10154" y="215777"/>
                    <a:pt x="10154" y="215495"/>
                  </a:cubicBezTo>
                  <a:lnTo>
                    <a:pt x="10154" y="215213"/>
                  </a:lnTo>
                  <a:cubicBezTo>
                    <a:pt x="10436" y="215213"/>
                    <a:pt x="10436" y="214931"/>
                    <a:pt x="10436" y="214649"/>
                  </a:cubicBezTo>
                  <a:cubicBezTo>
                    <a:pt x="10436" y="214367"/>
                    <a:pt x="10154" y="213803"/>
                    <a:pt x="9872" y="213238"/>
                  </a:cubicBezTo>
                  <a:cubicBezTo>
                    <a:pt x="9872" y="212674"/>
                    <a:pt x="9872" y="212110"/>
                    <a:pt x="10436" y="212110"/>
                  </a:cubicBezTo>
                  <a:cubicBezTo>
                    <a:pt x="11282" y="211264"/>
                    <a:pt x="11564" y="210982"/>
                    <a:pt x="11846" y="210418"/>
                  </a:cubicBezTo>
                  <a:close/>
                  <a:moveTo>
                    <a:pt x="10718" y="228470"/>
                  </a:moveTo>
                  <a:cubicBezTo>
                    <a:pt x="10718" y="228188"/>
                    <a:pt x="11000" y="227624"/>
                    <a:pt x="11564" y="227059"/>
                  </a:cubicBezTo>
                  <a:cubicBezTo>
                    <a:pt x="11282" y="227624"/>
                    <a:pt x="11282" y="227906"/>
                    <a:pt x="11282" y="228188"/>
                  </a:cubicBezTo>
                  <a:cubicBezTo>
                    <a:pt x="11282" y="228470"/>
                    <a:pt x="11282" y="228752"/>
                    <a:pt x="11564" y="229034"/>
                  </a:cubicBezTo>
                  <a:lnTo>
                    <a:pt x="11564" y="229316"/>
                  </a:lnTo>
                  <a:cubicBezTo>
                    <a:pt x="11000" y="229034"/>
                    <a:pt x="10718" y="228752"/>
                    <a:pt x="10718" y="228470"/>
                  </a:cubicBezTo>
                  <a:close/>
                  <a:moveTo>
                    <a:pt x="11846" y="209854"/>
                  </a:moveTo>
                  <a:lnTo>
                    <a:pt x="11846" y="208725"/>
                  </a:lnTo>
                  <a:lnTo>
                    <a:pt x="12128" y="208725"/>
                  </a:lnTo>
                  <a:lnTo>
                    <a:pt x="12410" y="209007"/>
                  </a:lnTo>
                  <a:lnTo>
                    <a:pt x="11846" y="209854"/>
                  </a:lnTo>
                  <a:close/>
                  <a:moveTo>
                    <a:pt x="14385" y="210418"/>
                  </a:moveTo>
                  <a:lnTo>
                    <a:pt x="14385" y="210982"/>
                  </a:lnTo>
                  <a:cubicBezTo>
                    <a:pt x="14385" y="212392"/>
                    <a:pt x="14103" y="213520"/>
                    <a:pt x="14103" y="214649"/>
                  </a:cubicBezTo>
                  <a:cubicBezTo>
                    <a:pt x="14103" y="215213"/>
                    <a:pt x="13821" y="215777"/>
                    <a:pt x="13257" y="216059"/>
                  </a:cubicBezTo>
                  <a:lnTo>
                    <a:pt x="12974" y="216059"/>
                  </a:lnTo>
                  <a:cubicBezTo>
                    <a:pt x="12410" y="215777"/>
                    <a:pt x="12128" y="215495"/>
                    <a:pt x="12128" y="215213"/>
                  </a:cubicBezTo>
                  <a:cubicBezTo>
                    <a:pt x="12128" y="214931"/>
                    <a:pt x="12410" y="214931"/>
                    <a:pt x="12410" y="214649"/>
                  </a:cubicBezTo>
                  <a:cubicBezTo>
                    <a:pt x="12974" y="214085"/>
                    <a:pt x="12974" y="213803"/>
                    <a:pt x="12974" y="213238"/>
                  </a:cubicBezTo>
                  <a:cubicBezTo>
                    <a:pt x="13538" y="212110"/>
                    <a:pt x="13821" y="210982"/>
                    <a:pt x="14385" y="210418"/>
                  </a:cubicBezTo>
                  <a:close/>
                  <a:moveTo>
                    <a:pt x="12410" y="206751"/>
                  </a:moveTo>
                  <a:cubicBezTo>
                    <a:pt x="12410" y="206469"/>
                    <a:pt x="12410" y="205905"/>
                    <a:pt x="13257" y="205905"/>
                  </a:cubicBezTo>
                  <a:lnTo>
                    <a:pt x="13538" y="205905"/>
                  </a:lnTo>
                  <a:lnTo>
                    <a:pt x="13538" y="206187"/>
                  </a:lnTo>
                  <a:cubicBezTo>
                    <a:pt x="13538" y="206751"/>
                    <a:pt x="12974" y="206751"/>
                    <a:pt x="12693" y="207033"/>
                  </a:cubicBezTo>
                  <a:lnTo>
                    <a:pt x="12410" y="206751"/>
                  </a:lnTo>
                  <a:close/>
                  <a:moveTo>
                    <a:pt x="16359" y="204212"/>
                  </a:moveTo>
                  <a:cubicBezTo>
                    <a:pt x="16359" y="204494"/>
                    <a:pt x="16641" y="204494"/>
                    <a:pt x="16641" y="204777"/>
                  </a:cubicBezTo>
                  <a:lnTo>
                    <a:pt x="16077" y="207597"/>
                  </a:lnTo>
                  <a:cubicBezTo>
                    <a:pt x="15795" y="207879"/>
                    <a:pt x="15231" y="208161"/>
                    <a:pt x="15231" y="207879"/>
                  </a:cubicBezTo>
                  <a:cubicBezTo>
                    <a:pt x="14949" y="207879"/>
                    <a:pt x="14949" y="207597"/>
                    <a:pt x="14949" y="207315"/>
                  </a:cubicBezTo>
                  <a:cubicBezTo>
                    <a:pt x="14949" y="207315"/>
                    <a:pt x="15231" y="207033"/>
                    <a:pt x="15231" y="206751"/>
                  </a:cubicBezTo>
                  <a:lnTo>
                    <a:pt x="15231" y="206469"/>
                  </a:lnTo>
                  <a:cubicBezTo>
                    <a:pt x="15231" y="206187"/>
                    <a:pt x="15513" y="205623"/>
                    <a:pt x="15513" y="205341"/>
                  </a:cubicBezTo>
                  <a:cubicBezTo>
                    <a:pt x="15513" y="205059"/>
                    <a:pt x="15231" y="204777"/>
                    <a:pt x="14949" y="204494"/>
                  </a:cubicBezTo>
                  <a:lnTo>
                    <a:pt x="14949" y="203930"/>
                  </a:lnTo>
                  <a:cubicBezTo>
                    <a:pt x="14949" y="203648"/>
                    <a:pt x="15231" y="203366"/>
                    <a:pt x="15513" y="203366"/>
                  </a:cubicBezTo>
                  <a:cubicBezTo>
                    <a:pt x="15795" y="203084"/>
                    <a:pt x="15795" y="203084"/>
                    <a:pt x="15795" y="202802"/>
                  </a:cubicBezTo>
                  <a:cubicBezTo>
                    <a:pt x="15795" y="202520"/>
                    <a:pt x="15513" y="202238"/>
                    <a:pt x="15231" y="201956"/>
                  </a:cubicBezTo>
                  <a:cubicBezTo>
                    <a:pt x="14949" y="201674"/>
                    <a:pt x="14667" y="201674"/>
                    <a:pt x="14667" y="201392"/>
                  </a:cubicBezTo>
                  <a:lnTo>
                    <a:pt x="15231" y="200828"/>
                  </a:lnTo>
                  <a:lnTo>
                    <a:pt x="15795" y="200828"/>
                  </a:lnTo>
                  <a:cubicBezTo>
                    <a:pt x="16359" y="199417"/>
                    <a:pt x="17205" y="198571"/>
                    <a:pt x="17205" y="196879"/>
                  </a:cubicBezTo>
                  <a:cubicBezTo>
                    <a:pt x="17488" y="195751"/>
                    <a:pt x="17769" y="195186"/>
                    <a:pt x="18616" y="194904"/>
                  </a:cubicBezTo>
                  <a:lnTo>
                    <a:pt x="18898" y="194904"/>
                  </a:lnTo>
                  <a:cubicBezTo>
                    <a:pt x="18898" y="195186"/>
                    <a:pt x="18898" y="195186"/>
                    <a:pt x="19180" y="195469"/>
                  </a:cubicBezTo>
                  <a:lnTo>
                    <a:pt x="18334" y="197725"/>
                  </a:lnTo>
                  <a:cubicBezTo>
                    <a:pt x="17769" y="198289"/>
                    <a:pt x="17769" y="199135"/>
                    <a:pt x="17488" y="199982"/>
                  </a:cubicBezTo>
                  <a:cubicBezTo>
                    <a:pt x="17488" y="200264"/>
                    <a:pt x="17769" y="200264"/>
                    <a:pt x="17769" y="200264"/>
                  </a:cubicBezTo>
                  <a:cubicBezTo>
                    <a:pt x="17769" y="200546"/>
                    <a:pt x="17205" y="201110"/>
                    <a:pt x="17205" y="201674"/>
                  </a:cubicBezTo>
                  <a:lnTo>
                    <a:pt x="17205" y="202802"/>
                  </a:lnTo>
                  <a:cubicBezTo>
                    <a:pt x="16924" y="203366"/>
                    <a:pt x="16359" y="203648"/>
                    <a:pt x="16359" y="204212"/>
                  </a:cubicBezTo>
                  <a:close/>
                  <a:moveTo>
                    <a:pt x="17488" y="175724"/>
                  </a:moveTo>
                  <a:cubicBezTo>
                    <a:pt x="17769" y="176288"/>
                    <a:pt x="18334" y="176288"/>
                    <a:pt x="18334" y="176570"/>
                  </a:cubicBezTo>
                  <a:cubicBezTo>
                    <a:pt x="18334" y="176852"/>
                    <a:pt x="18616" y="177135"/>
                    <a:pt x="18616" y="177135"/>
                  </a:cubicBezTo>
                  <a:lnTo>
                    <a:pt x="18334" y="177417"/>
                  </a:lnTo>
                  <a:cubicBezTo>
                    <a:pt x="18052" y="177981"/>
                    <a:pt x="17488" y="178545"/>
                    <a:pt x="17488" y="179109"/>
                  </a:cubicBezTo>
                  <a:cubicBezTo>
                    <a:pt x="17488" y="179673"/>
                    <a:pt x="17488" y="179955"/>
                    <a:pt x="17205" y="179955"/>
                  </a:cubicBezTo>
                  <a:cubicBezTo>
                    <a:pt x="17205" y="179955"/>
                    <a:pt x="16924" y="179955"/>
                    <a:pt x="16924" y="179673"/>
                  </a:cubicBezTo>
                  <a:cubicBezTo>
                    <a:pt x="16359" y="179391"/>
                    <a:pt x="16077" y="179109"/>
                    <a:pt x="16077" y="178545"/>
                  </a:cubicBezTo>
                  <a:cubicBezTo>
                    <a:pt x="16077" y="178263"/>
                    <a:pt x="16077" y="177699"/>
                    <a:pt x="16359" y="177417"/>
                  </a:cubicBezTo>
                  <a:cubicBezTo>
                    <a:pt x="17205" y="176570"/>
                    <a:pt x="17205" y="176006"/>
                    <a:pt x="17488" y="175724"/>
                  </a:cubicBezTo>
                  <a:close/>
                  <a:moveTo>
                    <a:pt x="21155" y="202238"/>
                  </a:moveTo>
                  <a:lnTo>
                    <a:pt x="22000" y="202238"/>
                  </a:lnTo>
                  <a:cubicBezTo>
                    <a:pt x="21719" y="202802"/>
                    <a:pt x="21436" y="203084"/>
                    <a:pt x="20872" y="203084"/>
                  </a:cubicBezTo>
                  <a:cubicBezTo>
                    <a:pt x="20590" y="203084"/>
                    <a:pt x="20308" y="203084"/>
                    <a:pt x="20026" y="202802"/>
                  </a:cubicBezTo>
                  <a:lnTo>
                    <a:pt x="19744" y="202802"/>
                  </a:lnTo>
                  <a:cubicBezTo>
                    <a:pt x="19462" y="202802"/>
                    <a:pt x="19180" y="203084"/>
                    <a:pt x="18898" y="203366"/>
                  </a:cubicBezTo>
                  <a:cubicBezTo>
                    <a:pt x="18898" y="204212"/>
                    <a:pt x="18616" y="205059"/>
                    <a:pt x="18334" y="205905"/>
                  </a:cubicBezTo>
                  <a:cubicBezTo>
                    <a:pt x="18334" y="207033"/>
                    <a:pt x="17488" y="208725"/>
                    <a:pt x="17205" y="209572"/>
                  </a:cubicBezTo>
                  <a:lnTo>
                    <a:pt x="16924" y="209854"/>
                  </a:lnTo>
                  <a:lnTo>
                    <a:pt x="16924" y="209290"/>
                  </a:lnTo>
                  <a:cubicBezTo>
                    <a:pt x="16924" y="208443"/>
                    <a:pt x="17488" y="207315"/>
                    <a:pt x="17488" y="206187"/>
                  </a:cubicBezTo>
                  <a:cubicBezTo>
                    <a:pt x="18334" y="203366"/>
                    <a:pt x="18898" y="201674"/>
                    <a:pt x="19744" y="199699"/>
                  </a:cubicBezTo>
                  <a:cubicBezTo>
                    <a:pt x="19744" y="199699"/>
                    <a:pt x="20026" y="199699"/>
                    <a:pt x="20308" y="199417"/>
                  </a:cubicBezTo>
                  <a:cubicBezTo>
                    <a:pt x="20308" y="199699"/>
                    <a:pt x="20590" y="199699"/>
                    <a:pt x="20590" y="199699"/>
                  </a:cubicBezTo>
                  <a:cubicBezTo>
                    <a:pt x="20590" y="200546"/>
                    <a:pt x="20590" y="200828"/>
                    <a:pt x="21436" y="200828"/>
                  </a:cubicBezTo>
                  <a:cubicBezTo>
                    <a:pt x="21719" y="200828"/>
                    <a:pt x="21436" y="201110"/>
                    <a:pt x="21155" y="201674"/>
                  </a:cubicBezTo>
                  <a:lnTo>
                    <a:pt x="21155" y="202238"/>
                  </a:lnTo>
                  <a:close/>
                  <a:moveTo>
                    <a:pt x="20590" y="184468"/>
                  </a:moveTo>
                  <a:lnTo>
                    <a:pt x="19462" y="185314"/>
                  </a:lnTo>
                  <a:cubicBezTo>
                    <a:pt x="19462" y="185596"/>
                    <a:pt x="19180" y="185596"/>
                    <a:pt x="19180" y="185878"/>
                  </a:cubicBezTo>
                  <a:lnTo>
                    <a:pt x="19462" y="186161"/>
                  </a:lnTo>
                  <a:cubicBezTo>
                    <a:pt x="20026" y="185596"/>
                    <a:pt x="20590" y="185596"/>
                    <a:pt x="20590" y="184468"/>
                  </a:cubicBezTo>
                  <a:close/>
                  <a:moveTo>
                    <a:pt x="22565" y="185032"/>
                  </a:moveTo>
                  <a:cubicBezTo>
                    <a:pt x="22283" y="184750"/>
                    <a:pt x="22000" y="184468"/>
                    <a:pt x="21719" y="184468"/>
                  </a:cubicBezTo>
                  <a:cubicBezTo>
                    <a:pt x="21436" y="184468"/>
                    <a:pt x="21436" y="184750"/>
                    <a:pt x="21436" y="184750"/>
                  </a:cubicBezTo>
                  <a:cubicBezTo>
                    <a:pt x="21436" y="185314"/>
                    <a:pt x="21155" y="185596"/>
                    <a:pt x="20872" y="186443"/>
                  </a:cubicBezTo>
                  <a:cubicBezTo>
                    <a:pt x="20872" y="186443"/>
                    <a:pt x="21155" y="186161"/>
                    <a:pt x="21155" y="186443"/>
                  </a:cubicBezTo>
                  <a:cubicBezTo>
                    <a:pt x="21436" y="186161"/>
                    <a:pt x="22283" y="185596"/>
                    <a:pt x="22565" y="185596"/>
                  </a:cubicBezTo>
                  <a:lnTo>
                    <a:pt x="22565" y="185032"/>
                  </a:lnTo>
                  <a:close/>
                  <a:moveTo>
                    <a:pt x="22847" y="192930"/>
                  </a:moveTo>
                  <a:lnTo>
                    <a:pt x="22847" y="193776"/>
                  </a:lnTo>
                  <a:cubicBezTo>
                    <a:pt x="22565" y="193776"/>
                    <a:pt x="22283" y="193494"/>
                    <a:pt x="22283" y="193494"/>
                  </a:cubicBezTo>
                  <a:lnTo>
                    <a:pt x="22283" y="192930"/>
                  </a:lnTo>
                  <a:lnTo>
                    <a:pt x="22847" y="192930"/>
                  </a:lnTo>
                  <a:close/>
                  <a:moveTo>
                    <a:pt x="23693" y="194622"/>
                  </a:moveTo>
                  <a:cubicBezTo>
                    <a:pt x="23975" y="194622"/>
                    <a:pt x="24257" y="194622"/>
                    <a:pt x="24539" y="194904"/>
                  </a:cubicBezTo>
                  <a:lnTo>
                    <a:pt x="23975" y="195469"/>
                  </a:lnTo>
                  <a:cubicBezTo>
                    <a:pt x="23693" y="195469"/>
                    <a:pt x="23129" y="195186"/>
                    <a:pt x="23129" y="195186"/>
                  </a:cubicBezTo>
                  <a:cubicBezTo>
                    <a:pt x="23129" y="194904"/>
                    <a:pt x="23129" y="194622"/>
                    <a:pt x="23411" y="194622"/>
                  </a:cubicBezTo>
                  <a:lnTo>
                    <a:pt x="23693" y="194622"/>
                  </a:lnTo>
                  <a:close/>
                  <a:moveTo>
                    <a:pt x="24257" y="177981"/>
                  </a:moveTo>
                  <a:cubicBezTo>
                    <a:pt x="24257" y="178263"/>
                    <a:pt x="24539" y="178263"/>
                    <a:pt x="24821" y="178263"/>
                  </a:cubicBezTo>
                  <a:lnTo>
                    <a:pt x="25386" y="178263"/>
                  </a:lnTo>
                  <a:lnTo>
                    <a:pt x="25950" y="177699"/>
                  </a:lnTo>
                  <a:lnTo>
                    <a:pt x="25667" y="177417"/>
                  </a:lnTo>
                  <a:lnTo>
                    <a:pt x="25667" y="176570"/>
                  </a:lnTo>
                  <a:lnTo>
                    <a:pt x="26231" y="176570"/>
                  </a:lnTo>
                  <a:cubicBezTo>
                    <a:pt x="26514" y="176570"/>
                    <a:pt x="26796" y="176570"/>
                    <a:pt x="26796" y="176288"/>
                  </a:cubicBezTo>
                  <a:cubicBezTo>
                    <a:pt x="27077" y="176006"/>
                    <a:pt x="27641" y="175724"/>
                    <a:pt x="27641" y="175442"/>
                  </a:cubicBezTo>
                  <a:cubicBezTo>
                    <a:pt x="27924" y="175160"/>
                    <a:pt x="28206" y="174596"/>
                    <a:pt x="28206" y="174314"/>
                  </a:cubicBezTo>
                  <a:cubicBezTo>
                    <a:pt x="28206" y="174032"/>
                    <a:pt x="27924" y="174032"/>
                    <a:pt x="27641" y="174032"/>
                  </a:cubicBezTo>
                  <a:cubicBezTo>
                    <a:pt x="27360" y="173750"/>
                    <a:pt x="27360" y="173468"/>
                    <a:pt x="27077" y="173468"/>
                  </a:cubicBezTo>
                  <a:cubicBezTo>
                    <a:pt x="26796" y="173468"/>
                    <a:pt x="26514" y="173750"/>
                    <a:pt x="26514" y="173750"/>
                  </a:cubicBezTo>
                  <a:lnTo>
                    <a:pt x="26514" y="174314"/>
                  </a:lnTo>
                  <a:cubicBezTo>
                    <a:pt x="25667" y="175442"/>
                    <a:pt x="24821" y="176570"/>
                    <a:pt x="24257" y="177981"/>
                  </a:cubicBezTo>
                  <a:close/>
                  <a:moveTo>
                    <a:pt x="28206" y="185878"/>
                  </a:moveTo>
                  <a:cubicBezTo>
                    <a:pt x="28206" y="186161"/>
                    <a:pt x="27924" y="186443"/>
                    <a:pt x="27924" y="186725"/>
                  </a:cubicBezTo>
                  <a:cubicBezTo>
                    <a:pt x="27924" y="187007"/>
                    <a:pt x="28206" y="187007"/>
                    <a:pt x="28206" y="187289"/>
                  </a:cubicBezTo>
                  <a:cubicBezTo>
                    <a:pt x="28206" y="188135"/>
                    <a:pt x="27360" y="189263"/>
                    <a:pt x="26796" y="190109"/>
                  </a:cubicBezTo>
                  <a:cubicBezTo>
                    <a:pt x="26514" y="190956"/>
                    <a:pt x="26231" y="190956"/>
                    <a:pt x="25950" y="190956"/>
                  </a:cubicBezTo>
                  <a:cubicBezTo>
                    <a:pt x="25667" y="190956"/>
                    <a:pt x="25386" y="190956"/>
                    <a:pt x="25386" y="190673"/>
                  </a:cubicBezTo>
                  <a:cubicBezTo>
                    <a:pt x="25386" y="190391"/>
                    <a:pt x="25386" y="189827"/>
                    <a:pt x="25103" y="189827"/>
                  </a:cubicBezTo>
                  <a:cubicBezTo>
                    <a:pt x="24821" y="189827"/>
                    <a:pt x="24257" y="189545"/>
                    <a:pt x="24257" y="189263"/>
                  </a:cubicBezTo>
                  <a:cubicBezTo>
                    <a:pt x="24257" y="189263"/>
                    <a:pt x="24257" y="188981"/>
                    <a:pt x="24539" y="188981"/>
                  </a:cubicBezTo>
                  <a:cubicBezTo>
                    <a:pt x="25103" y="188135"/>
                    <a:pt x="25103" y="186725"/>
                    <a:pt x="25950" y="186161"/>
                  </a:cubicBezTo>
                  <a:cubicBezTo>
                    <a:pt x="26231" y="185596"/>
                    <a:pt x="26231" y="184750"/>
                    <a:pt x="26514" y="184750"/>
                  </a:cubicBezTo>
                  <a:cubicBezTo>
                    <a:pt x="27077" y="184750"/>
                    <a:pt x="27077" y="185314"/>
                    <a:pt x="27924" y="185596"/>
                  </a:cubicBezTo>
                  <a:cubicBezTo>
                    <a:pt x="27924" y="185596"/>
                    <a:pt x="28206" y="185596"/>
                    <a:pt x="28206" y="185878"/>
                  </a:cubicBezTo>
                  <a:close/>
                  <a:moveTo>
                    <a:pt x="26231" y="163314"/>
                  </a:moveTo>
                  <a:cubicBezTo>
                    <a:pt x="25667" y="163314"/>
                    <a:pt x="25667" y="163596"/>
                    <a:pt x="25667" y="163878"/>
                  </a:cubicBezTo>
                  <a:cubicBezTo>
                    <a:pt x="25950" y="164160"/>
                    <a:pt x="26231" y="164160"/>
                    <a:pt x="26231" y="164160"/>
                  </a:cubicBezTo>
                  <a:cubicBezTo>
                    <a:pt x="26514" y="164160"/>
                    <a:pt x="26514" y="163878"/>
                    <a:pt x="26514" y="163596"/>
                  </a:cubicBezTo>
                  <a:lnTo>
                    <a:pt x="26231" y="163314"/>
                  </a:lnTo>
                  <a:close/>
                  <a:moveTo>
                    <a:pt x="27360" y="159647"/>
                  </a:moveTo>
                  <a:cubicBezTo>
                    <a:pt x="27077" y="159647"/>
                    <a:pt x="27077" y="159647"/>
                    <a:pt x="27077" y="159365"/>
                  </a:cubicBezTo>
                  <a:lnTo>
                    <a:pt x="26231" y="160775"/>
                  </a:lnTo>
                  <a:lnTo>
                    <a:pt x="26231" y="161057"/>
                  </a:lnTo>
                  <a:cubicBezTo>
                    <a:pt x="26796" y="160775"/>
                    <a:pt x="27077" y="160211"/>
                    <a:pt x="27360" y="159647"/>
                  </a:cubicBezTo>
                  <a:close/>
                  <a:moveTo>
                    <a:pt x="27360" y="163596"/>
                  </a:moveTo>
                  <a:lnTo>
                    <a:pt x="27924" y="163596"/>
                  </a:lnTo>
                  <a:cubicBezTo>
                    <a:pt x="28488" y="163878"/>
                    <a:pt x="28488" y="163878"/>
                    <a:pt x="28488" y="164442"/>
                  </a:cubicBezTo>
                  <a:lnTo>
                    <a:pt x="28488" y="164724"/>
                  </a:lnTo>
                  <a:lnTo>
                    <a:pt x="28770" y="164724"/>
                  </a:lnTo>
                  <a:cubicBezTo>
                    <a:pt x="29334" y="164160"/>
                    <a:pt x="29616" y="163878"/>
                    <a:pt x="29616" y="163031"/>
                  </a:cubicBezTo>
                  <a:lnTo>
                    <a:pt x="28206" y="163031"/>
                  </a:lnTo>
                  <a:cubicBezTo>
                    <a:pt x="27924" y="163031"/>
                    <a:pt x="27641" y="162749"/>
                    <a:pt x="27641" y="162749"/>
                  </a:cubicBezTo>
                  <a:cubicBezTo>
                    <a:pt x="27360" y="163314"/>
                    <a:pt x="27077" y="163314"/>
                    <a:pt x="27077" y="163314"/>
                  </a:cubicBezTo>
                  <a:cubicBezTo>
                    <a:pt x="27077" y="163314"/>
                    <a:pt x="27077" y="163596"/>
                    <a:pt x="27360" y="163596"/>
                  </a:cubicBezTo>
                  <a:close/>
                  <a:moveTo>
                    <a:pt x="27641" y="158236"/>
                  </a:moveTo>
                  <a:lnTo>
                    <a:pt x="28206" y="158236"/>
                  </a:lnTo>
                  <a:lnTo>
                    <a:pt x="28206" y="157390"/>
                  </a:lnTo>
                  <a:cubicBezTo>
                    <a:pt x="28206" y="157672"/>
                    <a:pt x="27924" y="157672"/>
                    <a:pt x="27924" y="157954"/>
                  </a:cubicBezTo>
                  <a:cubicBezTo>
                    <a:pt x="27641" y="157954"/>
                    <a:pt x="27641" y="158236"/>
                    <a:pt x="27641" y="158236"/>
                  </a:cubicBezTo>
                  <a:close/>
                  <a:moveTo>
                    <a:pt x="29052" y="160211"/>
                  </a:moveTo>
                  <a:cubicBezTo>
                    <a:pt x="29052" y="160493"/>
                    <a:pt x="29052" y="161057"/>
                    <a:pt x="29334" y="161339"/>
                  </a:cubicBezTo>
                  <a:cubicBezTo>
                    <a:pt x="29334" y="161903"/>
                    <a:pt x="29616" y="162467"/>
                    <a:pt x="29616" y="163031"/>
                  </a:cubicBezTo>
                  <a:cubicBezTo>
                    <a:pt x="29898" y="163031"/>
                    <a:pt x="30462" y="162467"/>
                    <a:pt x="30744" y="162185"/>
                  </a:cubicBezTo>
                  <a:cubicBezTo>
                    <a:pt x="31027" y="161621"/>
                    <a:pt x="32155" y="160775"/>
                    <a:pt x="32155" y="160211"/>
                  </a:cubicBezTo>
                  <a:lnTo>
                    <a:pt x="33283" y="158801"/>
                  </a:lnTo>
                  <a:lnTo>
                    <a:pt x="33283" y="158518"/>
                  </a:lnTo>
                  <a:cubicBezTo>
                    <a:pt x="33001" y="158518"/>
                    <a:pt x="33001" y="158236"/>
                    <a:pt x="33001" y="158518"/>
                  </a:cubicBezTo>
                  <a:cubicBezTo>
                    <a:pt x="32155" y="159083"/>
                    <a:pt x="31308" y="159083"/>
                    <a:pt x="30744" y="159365"/>
                  </a:cubicBezTo>
                  <a:lnTo>
                    <a:pt x="29616" y="159365"/>
                  </a:lnTo>
                  <a:cubicBezTo>
                    <a:pt x="29334" y="159365"/>
                    <a:pt x="29052" y="159929"/>
                    <a:pt x="29052" y="160211"/>
                  </a:cubicBezTo>
                  <a:close/>
                  <a:moveTo>
                    <a:pt x="33565" y="162749"/>
                  </a:moveTo>
                  <a:cubicBezTo>
                    <a:pt x="33283" y="162749"/>
                    <a:pt x="33001" y="163314"/>
                    <a:pt x="32719" y="163878"/>
                  </a:cubicBezTo>
                  <a:cubicBezTo>
                    <a:pt x="32719" y="164160"/>
                    <a:pt x="33001" y="164442"/>
                    <a:pt x="33001" y="164724"/>
                  </a:cubicBezTo>
                  <a:cubicBezTo>
                    <a:pt x="33565" y="164160"/>
                    <a:pt x="33847" y="163596"/>
                    <a:pt x="33847" y="163031"/>
                  </a:cubicBezTo>
                  <a:cubicBezTo>
                    <a:pt x="33847" y="162749"/>
                    <a:pt x="33565" y="162749"/>
                    <a:pt x="33565" y="162749"/>
                  </a:cubicBezTo>
                  <a:close/>
                  <a:moveTo>
                    <a:pt x="33283" y="170083"/>
                  </a:moveTo>
                  <a:lnTo>
                    <a:pt x="33283" y="170647"/>
                  </a:lnTo>
                  <a:cubicBezTo>
                    <a:pt x="33001" y="170647"/>
                    <a:pt x="32719" y="170365"/>
                    <a:pt x="32719" y="170083"/>
                  </a:cubicBezTo>
                  <a:lnTo>
                    <a:pt x="32719" y="169519"/>
                  </a:lnTo>
                  <a:cubicBezTo>
                    <a:pt x="33283" y="169519"/>
                    <a:pt x="33283" y="169801"/>
                    <a:pt x="33283" y="170083"/>
                  </a:cubicBezTo>
                  <a:close/>
                  <a:moveTo>
                    <a:pt x="33565" y="160775"/>
                  </a:moveTo>
                  <a:lnTo>
                    <a:pt x="34411" y="160211"/>
                  </a:lnTo>
                  <a:lnTo>
                    <a:pt x="33565" y="160211"/>
                  </a:lnTo>
                  <a:lnTo>
                    <a:pt x="33565" y="160775"/>
                  </a:lnTo>
                  <a:close/>
                  <a:moveTo>
                    <a:pt x="34693" y="156826"/>
                  </a:moveTo>
                  <a:cubicBezTo>
                    <a:pt x="34693" y="156826"/>
                    <a:pt x="34693" y="156544"/>
                    <a:pt x="34975" y="156826"/>
                  </a:cubicBezTo>
                  <a:cubicBezTo>
                    <a:pt x="34693" y="156262"/>
                    <a:pt x="34693" y="156544"/>
                    <a:pt x="34693" y="156544"/>
                  </a:cubicBezTo>
                  <a:lnTo>
                    <a:pt x="34693" y="156826"/>
                  </a:lnTo>
                  <a:close/>
                  <a:moveTo>
                    <a:pt x="34693" y="160775"/>
                  </a:moveTo>
                  <a:lnTo>
                    <a:pt x="35258" y="162467"/>
                  </a:lnTo>
                  <a:cubicBezTo>
                    <a:pt x="35258" y="162749"/>
                    <a:pt x="35258" y="162749"/>
                    <a:pt x="35539" y="162749"/>
                  </a:cubicBezTo>
                  <a:lnTo>
                    <a:pt x="36103" y="162749"/>
                  </a:lnTo>
                  <a:cubicBezTo>
                    <a:pt x="36103" y="162185"/>
                    <a:pt x="36386" y="161621"/>
                    <a:pt x="36950" y="161339"/>
                  </a:cubicBezTo>
                  <a:lnTo>
                    <a:pt x="38078" y="160493"/>
                  </a:lnTo>
                  <a:cubicBezTo>
                    <a:pt x="38078" y="159929"/>
                    <a:pt x="38078" y="159647"/>
                    <a:pt x="38360" y="159083"/>
                  </a:cubicBezTo>
                  <a:cubicBezTo>
                    <a:pt x="38642" y="158801"/>
                    <a:pt x="38642" y="158518"/>
                    <a:pt x="38924" y="158518"/>
                  </a:cubicBezTo>
                  <a:cubicBezTo>
                    <a:pt x="39206" y="158518"/>
                    <a:pt x="38924" y="158236"/>
                    <a:pt x="38642" y="157954"/>
                  </a:cubicBezTo>
                  <a:cubicBezTo>
                    <a:pt x="38360" y="157954"/>
                    <a:pt x="38078" y="157672"/>
                    <a:pt x="37796" y="157390"/>
                  </a:cubicBezTo>
                  <a:cubicBezTo>
                    <a:pt x="37514" y="157390"/>
                    <a:pt x="37232" y="157390"/>
                    <a:pt x="36950" y="157672"/>
                  </a:cubicBezTo>
                  <a:cubicBezTo>
                    <a:pt x="36668" y="157954"/>
                    <a:pt x="36668" y="158518"/>
                    <a:pt x="36668" y="158801"/>
                  </a:cubicBezTo>
                  <a:lnTo>
                    <a:pt x="36668" y="159365"/>
                  </a:lnTo>
                  <a:cubicBezTo>
                    <a:pt x="36668" y="159647"/>
                    <a:pt x="36386" y="159929"/>
                    <a:pt x="36103" y="159929"/>
                  </a:cubicBezTo>
                  <a:lnTo>
                    <a:pt x="35539" y="159929"/>
                  </a:lnTo>
                  <a:cubicBezTo>
                    <a:pt x="34975" y="160211"/>
                    <a:pt x="34693" y="160493"/>
                    <a:pt x="34693" y="160775"/>
                  </a:cubicBezTo>
                  <a:close/>
                  <a:moveTo>
                    <a:pt x="35258" y="172904"/>
                  </a:moveTo>
                  <a:cubicBezTo>
                    <a:pt x="35258" y="173186"/>
                    <a:pt x="35258" y="173750"/>
                    <a:pt x="34975" y="173750"/>
                  </a:cubicBezTo>
                  <a:lnTo>
                    <a:pt x="34693" y="173750"/>
                  </a:lnTo>
                  <a:lnTo>
                    <a:pt x="34693" y="172904"/>
                  </a:lnTo>
                  <a:lnTo>
                    <a:pt x="35258" y="172904"/>
                  </a:lnTo>
                  <a:close/>
                  <a:moveTo>
                    <a:pt x="35822" y="164724"/>
                  </a:moveTo>
                  <a:lnTo>
                    <a:pt x="36103" y="165006"/>
                  </a:lnTo>
                  <a:lnTo>
                    <a:pt x="36103" y="164442"/>
                  </a:lnTo>
                  <a:cubicBezTo>
                    <a:pt x="35822" y="164442"/>
                    <a:pt x="35822" y="164724"/>
                    <a:pt x="35822" y="164724"/>
                  </a:cubicBezTo>
                  <a:close/>
                  <a:moveTo>
                    <a:pt x="36386" y="146672"/>
                  </a:moveTo>
                  <a:lnTo>
                    <a:pt x="36386" y="146954"/>
                  </a:lnTo>
                  <a:cubicBezTo>
                    <a:pt x="36386" y="146954"/>
                    <a:pt x="36668" y="147236"/>
                    <a:pt x="36950" y="147236"/>
                  </a:cubicBezTo>
                  <a:cubicBezTo>
                    <a:pt x="36950" y="147236"/>
                    <a:pt x="37232" y="146954"/>
                    <a:pt x="37232" y="146672"/>
                  </a:cubicBezTo>
                  <a:cubicBezTo>
                    <a:pt x="37514" y="146672"/>
                    <a:pt x="36950" y="146390"/>
                    <a:pt x="36950" y="146390"/>
                  </a:cubicBezTo>
                  <a:cubicBezTo>
                    <a:pt x="36668" y="146390"/>
                    <a:pt x="36386" y="146390"/>
                    <a:pt x="36386" y="146672"/>
                  </a:cubicBezTo>
                  <a:close/>
                  <a:moveTo>
                    <a:pt x="37232" y="150621"/>
                  </a:moveTo>
                  <a:lnTo>
                    <a:pt x="37232" y="150903"/>
                  </a:lnTo>
                  <a:lnTo>
                    <a:pt x="37796" y="150903"/>
                  </a:lnTo>
                  <a:cubicBezTo>
                    <a:pt x="37514" y="150621"/>
                    <a:pt x="37232" y="150621"/>
                    <a:pt x="37232" y="150621"/>
                  </a:cubicBezTo>
                  <a:close/>
                  <a:moveTo>
                    <a:pt x="37796" y="164724"/>
                  </a:moveTo>
                  <a:cubicBezTo>
                    <a:pt x="37796" y="165006"/>
                    <a:pt x="37514" y="165006"/>
                    <a:pt x="37514" y="165288"/>
                  </a:cubicBezTo>
                  <a:cubicBezTo>
                    <a:pt x="37514" y="165570"/>
                    <a:pt x="37796" y="165570"/>
                    <a:pt x="37796" y="165570"/>
                  </a:cubicBezTo>
                  <a:lnTo>
                    <a:pt x="37796" y="164724"/>
                  </a:lnTo>
                  <a:close/>
                  <a:moveTo>
                    <a:pt x="38078" y="155980"/>
                  </a:moveTo>
                  <a:cubicBezTo>
                    <a:pt x="38078" y="156262"/>
                    <a:pt x="38078" y="156262"/>
                    <a:pt x="38360" y="156262"/>
                  </a:cubicBezTo>
                  <a:cubicBezTo>
                    <a:pt x="38360" y="156544"/>
                    <a:pt x="38642" y="156544"/>
                    <a:pt x="38924" y="156544"/>
                  </a:cubicBezTo>
                  <a:lnTo>
                    <a:pt x="39206" y="156544"/>
                  </a:lnTo>
                  <a:lnTo>
                    <a:pt x="40053" y="155980"/>
                  </a:lnTo>
                  <a:cubicBezTo>
                    <a:pt x="40334" y="155698"/>
                    <a:pt x="40617" y="155416"/>
                    <a:pt x="40617" y="154852"/>
                  </a:cubicBezTo>
                  <a:cubicBezTo>
                    <a:pt x="40617" y="154570"/>
                    <a:pt x="40617" y="154288"/>
                    <a:pt x="40334" y="154006"/>
                  </a:cubicBezTo>
                  <a:cubicBezTo>
                    <a:pt x="39489" y="154006"/>
                    <a:pt x="38924" y="154288"/>
                    <a:pt x="38360" y="154852"/>
                  </a:cubicBezTo>
                  <a:cubicBezTo>
                    <a:pt x="38078" y="155416"/>
                    <a:pt x="38078" y="155698"/>
                    <a:pt x="38078" y="155980"/>
                  </a:cubicBezTo>
                  <a:close/>
                  <a:moveTo>
                    <a:pt x="38360" y="152031"/>
                  </a:moveTo>
                  <a:cubicBezTo>
                    <a:pt x="38360" y="152313"/>
                    <a:pt x="38642" y="152313"/>
                    <a:pt x="38924" y="152313"/>
                  </a:cubicBezTo>
                  <a:lnTo>
                    <a:pt x="38924" y="152031"/>
                  </a:lnTo>
                  <a:cubicBezTo>
                    <a:pt x="38924" y="151749"/>
                    <a:pt x="38642" y="151749"/>
                    <a:pt x="38642" y="151749"/>
                  </a:cubicBezTo>
                  <a:cubicBezTo>
                    <a:pt x="38360" y="151749"/>
                    <a:pt x="38360" y="152031"/>
                    <a:pt x="38360" y="152031"/>
                  </a:cubicBezTo>
                  <a:close/>
                  <a:moveTo>
                    <a:pt x="39206" y="146390"/>
                  </a:moveTo>
                  <a:cubicBezTo>
                    <a:pt x="39206" y="146672"/>
                    <a:pt x="39489" y="146672"/>
                    <a:pt x="39489" y="146954"/>
                  </a:cubicBezTo>
                  <a:cubicBezTo>
                    <a:pt x="39770" y="147236"/>
                    <a:pt x="40053" y="147518"/>
                    <a:pt x="40334" y="147518"/>
                  </a:cubicBezTo>
                  <a:lnTo>
                    <a:pt x="41463" y="147518"/>
                  </a:lnTo>
                  <a:lnTo>
                    <a:pt x="41463" y="148364"/>
                  </a:lnTo>
                  <a:cubicBezTo>
                    <a:pt x="41181" y="148364"/>
                    <a:pt x="41181" y="148928"/>
                    <a:pt x="40899" y="149210"/>
                  </a:cubicBezTo>
                  <a:cubicBezTo>
                    <a:pt x="41745" y="148646"/>
                    <a:pt x="42027" y="148082"/>
                    <a:pt x="42591" y="147236"/>
                  </a:cubicBezTo>
                  <a:lnTo>
                    <a:pt x="42591" y="146390"/>
                  </a:lnTo>
                  <a:cubicBezTo>
                    <a:pt x="42591" y="146108"/>
                    <a:pt x="42591" y="145262"/>
                    <a:pt x="42309" y="145262"/>
                  </a:cubicBezTo>
                  <a:lnTo>
                    <a:pt x="42027" y="144980"/>
                  </a:lnTo>
                  <a:cubicBezTo>
                    <a:pt x="41745" y="144980"/>
                    <a:pt x="41745" y="145262"/>
                    <a:pt x="41463" y="145544"/>
                  </a:cubicBezTo>
                  <a:cubicBezTo>
                    <a:pt x="41181" y="145826"/>
                    <a:pt x="40899" y="146108"/>
                    <a:pt x="40334" y="146108"/>
                  </a:cubicBezTo>
                  <a:lnTo>
                    <a:pt x="40053" y="146108"/>
                  </a:lnTo>
                  <a:lnTo>
                    <a:pt x="39770" y="145826"/>
                  </a:lnTo>
                  <a:cubicBezTo>
                    <a:pt x="39489" y="145826"/>
                    <a:pt x="39489" y="146108"/>
                    <a:pt x="39206" y="146108"/>
                  </a:cubicBezTo>
                  <a:lnTo>
                    <a:pt x="39206" y="146390"/>
                  </a:lnTo>
                  <a:close/>
                  <a:moveTo>
                    <a:pt x="40334" y="150057"/>
                  </a:moveTo>
                  <a:cubicBezTo>
                    <a:pt x="40617" y="150057"/>
                    <a:pt x="40899" y="149493"/>
                    <a:pt x="40899" y="149210"/>
                  </a:cubicBezTo>
                  <a:cubicBezTo>
                    <a:pt x="40617" y="149493"/>
                    <a:pt x="40334" y="149493"/>
                    <a:pt x="40053" y="149493"/>
                  </a:cubicBezTo>
                  <a:cubicBezTo>
                    <a:pt x="39770" y="149493"/>
                    <a:pt x="39770" y="149775"/>
                    <a:pt x="39770" y="149775"/>
                  </a:cubicBezTo>
                  <a:cubicBezTo>
                    <a:pt x="40053" y="150057"/>
                    <a:pt x="40053" y="150057"/>
                    <a:pt x="40334" y="150057"/>
                  </a:cubicBezTo>
                  <a:close/>
                  <a:moveTo>
                    <a:pt x="41463" y="152877"/>
                  </a:moveTo>
                  <a:lnTo>
                    <a:pt x="42027" y="152313"/>
                  </a:lnTo>
                  <a:lnTo>
                    <a:pt x="42591" y="152313"/>
                  </a:lnTo>
                  <a:lnTo>
                    <a:pt x="42591" y="152031"/>
                  </a:lnTo>
                  <a:cubicBezTo>
                    <a:pt x="42309" y="151749"/>
                    <a:pt x="42309" y="151749"/>
                    <a:pt x="42027" y="151749"/>
                  </a:cubicBezTo>
                  <a:cubicBezTo>
                    <a:pt x="41745" y="151749"/>
                    <a:pt x="41745" y="151749"/>
                    <a:pt x="41463" y="152031"/>
                  </a:cubicBezTo>
                  <a:cubicBezTo>
                    <a:pt x="41463" y="152313"/>
                    <a:pt x="40899" y="152595"/>
                    <a:pt x="40899" y="152877"/>
                  </a:cubicBezTo>
                  <a:lnTo>
                    <a:pt x="40334" y="154006"/>
                  </a:lnTo>
                  <a:lnTo>
                    <a:pt x="42027" y="154006"/>
                  </a:lnTo>
                  <a:lnTo>
                    <a:pt x="42309" y="153723"/>
                  </a:lnTo>
                  <a:lnTo>
                    <a:pt x="42027" y="153723"/>
                  </a:lnTo>
                  <a:lnTo>
                    <a:pt x="42027" y="153441"/>
                  </a:lnTo>
                  <a:cubicBezTo>
                    <a:pt x="41745" y="153159"/>
                    <a:pt x="41463" y="153159"/>
                    <a:pt x="41463" y="152877"/>
                  </a:cubicBezTo>
                  <a:close/>
                  <a:moveTo>
                    <a:pt x="40617" y="144980"/>
                  </a:moveTo>
                  <a:lnTo>
                    <a:pt x="40899" y="144697"/>
                  </a:lnTo>
                  <a:lnTo>
                    <a:pt x="40617" y="144415"/>
                  </a:lnTo>
                  <a:lnTo>
                    <a:pt x="40617" y="144980"/>
                  </a:lnTo>
                  <a:close/>
                  <a:moveTo>
                    <a:pt x="42027" y="140749"/>
                  </a:moveTo>
                  <a:cubicBezTo>
                    <a:pt x="42591" y="140749"/>
                    <a:pt x="42873" y="140467"/>
                    <a:pt x="43437" y="139902"/>
                  </a:cubicBezTo>
                  <a:cubicBezTo>
                    <a:pt x="43155" y="139620"/>
                    <a:pt x="42873" y="139620"/>
                    <a:pt x="42591" y="139620"/>
                  </a:cubicBezTo>
                  <a:cubicBezTo>
                    <a:pt x="42591" y="139902"/>
                    <a:pt x="42309" y="140184"/>
                    <a:pt x="42027" y="140749"/>
                  </a:cubicBezTo>
                  <a:close/>
                  <a:moveTo>
                    <a:pt x="43720" y="141313"/>
                  </a:moveTo>
                  <a:cubicBezTo>
                    <a:pt x="43437" y="141313"/>
                    <a:pt x="43437" y="141313"/>
                    <a:pt x="43437" y="141595"/>
                  </a:cubicBezTo>
                  <a:lnTo>
                    <a:pt x="42591" y="142441"/>
                  </a:lnTo>
                  <a:cubicBezTo>
                    <a:pt x="43155" y="142441"/>
                    <a:pt x="43720" y="142441"/>
                    <a:pt x="44284" y="142159"/>
                  </a:cubicBezTo>
                  <a:lnTo>
                    <a:pt x="44284" y="141877"/>
                  </a:lnTo>
                  <a:cubicBezTo>
                    <a:pt x="44284" y="141595"/>
                    <a:pt x="44001" y="141313"/>
                    <a:pt x="43720" y="141313"/>
                  </a:cubicBezTo>
                  <a:close/>
                  <a:moveTo>
                    <a:pt x="43720" y="144697"/>
                  </a:moveTo>
                  <a:lnTo>
                    <a:pt x="43720" y="144980"/>
                  </a:lnTo>
                  <a:cubicBezTo>
                    <a:pt x="44001" y="144980"/>
                    <a:pt x="44001" y="144697"/>
                    <a:pt x="44001" y="144697"/>
                  </a:cubicBezTo>
                  <a:lnTo>
                    <a:pt x="43720" y="144697"/>
                  </a:lnTo>
                  <a:close/>
                  <a:moveTo>
                    <a:pt x="44848" y="151467"/>
                  </a:moveTo>
                  <a:lnTo>
                    <a:pt x="44848" y="152031"/>
                  </a:lnTo>
                  <a:lnTo>
                    <a:pt x="45130" y="151749"/>
                  </a:lnTo>
                  <a:lnTo>
                    <a:pt x="45130" y="151185"/>
                  </a:lnTo>
                  <a:lnTo>
                    <a:pt x="44848" y="151467"/>
                  </a:lnTo>
                  <a:close/>
                  <a:moveTo>
                    <a:pt x="45975" y="150621"/>
                  </a:moveTo>
                  <a:lnTo>
                    <a:pt x="45975" y="150057"/>
                  </a:lnTo>
                  <a:lnTo>
                    <a:pt x="45694" y="149775"/>
                  </a:lnTo>
                  <a:cubicBezTo>
                    <a:pt x="45411" y="150057"/>
                    <a:pt x="45130" y="150621"/>
                    <a:pt x="45130" y="150903"/>
                  </a:cubicBezTo>
                  <a:lnTo>
                    <a:pt x="45130" y="151185"/>
                  </a:lnTo>
                  <a:cubicBezTo>
                    <a:pt x="45694" y="150903"/>
                    <a:pt x="45975" y="150903"/>
                    <a:pt x="45975" y="150621"/>
                  </a:cubicBezTo>
                  <a:close/>
                  <a:moveTo>
                    <a:pt x="45975" y="250471"/>
                  </a:moveTo>
                  <a:lnTo>
                    <a:pt x="45411" y="250471"/>
                  </a:lnTo>
                  <a:lnTo>
                    <a:pt x="45130" y="250753"/>
                  </a:lnTo>
                  <a:cubicBezTo>
                    <a:pt x="45411" y="250753"/>
                    <a:pt x="45411" y="250753"/>
                    <a:pt x="45411" y="251035"/>
                  </a:cubicBezTo>
                  <a:cubicBezTo>
                    <a:pt x="45694" y="250753"/>
                    <a:pt x="45975" y="250753"/>
                    <a:pt x="45975" y="250471"/>
                  </a:cubicBezTo>
                  <a:close/>
                  <a:moveTo>
                    <a:pt x="45411" y="140749"/>
                  </a:moveTo>
                  <a:cubicBezTo>
                    <a:pt x="45411" y="141031"/>
                    <a:pt x="45694" y="141031"/>
                    <a:pt x="45975" y="141031"/>
                  </a:cubicBezTo>
                  <a:cubicBezTo>
                    <a:pt x="45975" y="141031"/>
                    <a:pt x="45975" y="140749"/>
                    <a:pt x="46258" y="140467"/>
                  </a:cubicBezTo>
                  <a:lnTo>
                    <a:pt x="45411" y="140467"/>
                  </a:lnTo>
                  <a:lnTo>
                    <a:pt x="45411" y="140749"/>
                  </a:lnTo>
                  <a:close/>
                  <a:moveTo>
                    <a:pt x="46258" y="138492"/>
                  </a:moveTo>
                  <a:cubicBezTo>
                    <a:pt x="46258" y="138774"/>
                    <a:pt x="46258" y="139056"/>
                    <a:pt x="46540" y="139338"/>
                  </a:cubicBezTo>
                  <a:cubicBezTo>
                    <a:pt x="46822" y="139902"/>
                    <a:pt x="47104" y="139902"/>
                    <a:pt x="47668" y="140184"/>
                  </a:cubicBezTo>
                  <a:cubicBezTo>
                    <a:pt x="47950" y="140184"/>
                    <a:pt x="47950" y="139902"/>
                    <a:pt x="47950" y="139902"/>
                  </a:cubicBezTo>
                  <a:lnTo>
                    <a:pt x="47950" y="139338"/>
                  </a:lnTo>
                  <a:lnTo>
                    <a:pt x="46822" y="137928"/>
                  </a:lnTo>
                  <a:lnTo>
                    <a:pt x="46540" y="137646"/>
                  </a:lnTo>
                  <a:cubicBezTo>
                    <a:pt x="46258" y="137928"/>
                    <a:pt x="46258" y="138210"/>
                    <a:pt x="46258" y="138492"/>
                  </a:cubicBezTo>
                  <a:close/>
                  <a:moveTo>
                    <a:pt x="48232" y="141877"/>
                  </a:moveTo>
                  <a:lnTo>
                    <a:pt x="47668" y="141877"/>
                  </a:lnTo>
                  <a:lnTo>
                    <a:pt x="47668" y="142441"/>
                  </a:lnTo>
                  <a:cubicBezTo>
                    <a:pt x="48232" y="142723"/>
                    <a:pt x="48514" y="143287"/>
                    <a:pt x="49078" y="143287"/>
                  </a:cubicBezTo>
                  <a:lnTo>
                    <a:pt x="49078" y="143569"/>
                  </a:lnTo>
                  <a:cubicBezTo>
                    <a:pt x="49078" y="143569"/>
                    <a:pt x="49361" y="143569"/>
                    <a:pt x="49361" y="143287"/>
                  </a:cubicBezTo>
                  <a:lnTo>
                    <a:pt x="49078" y="143287"/>
                  </a:lnTo>
                  <a:lnTo>
                    <a:pt x="49078" y="142441"/>
                  </a:lnTo>
                  <a:cubicBezTo>
                    <a:pt x="48796" y="142159"/>
                    <a:pt x="48232" y="142159"/>
                    <a:pt x="48232" y="141877"/>
                  </a:cubicBezTo>
                  <a:close/>
                  <a:moveTo>
                    <a:pt x="49078" y="137364"/>
                  </a:moveTo>
                  <a:cubicBezTo>
                    <a:pt x="49078" y="137646"/>
                    <a:pt x="49361" y="138210"/>
                    <a:pt x="49642" y="138492"/>
                  </a:cubicBezTo>
                  <a:lnTo>
                    <a:pt x="49642" y="139338"/>
                  </a:lnTo>
                  <a:lnTo>
                    <a:pt x="49925" y="139620"/>
                  </a:lnTo>
                  <a:cubicBezTo>
                    <a:pt x="50771" y="139620"/>
                    <a:pt x="51617" y="138492"/>
                    <a:pt x="51617" y="137646"/>
                  </a:cubicBezTo>
                  <a:cubicBezTo>
                    <a:pt x="51617" y="137082"/>
                    <a:pt x="51617" y="136518"/>
                    <a:pt x="52463" y="136236"/>
                  </a:cubicBezTo>
                  <a:lnTo>
                    <a:pt x="53027" y="136236"/>
                  </a:lnTo>
                  <a:cubicBezTo>
                    <a:pt x="53309" y="136236"/>
                    <a:pt x="53027" y="135954"/>
                    <a:pt x="53027" y="135672"/>
                  </a:cubicBezTo>
                  <a:cubicBezTo>
                    <a:pt x="53027" y="135672"/>
                    <a:pt x="52745" y="135389"/>
                    <a:pt x="52745" y="135672"/>
                  </a:cubicBezTo>
                  <a:cubicBezTo>
                    <a:pt x="52181" y="135672"/>
                    <a:pt x="51617" y="135954"/>
                    <a:pt x="51335" y="136236"/>
                  </a:cubicBezTo>
                  <a:lnTo>
                    <a:pt x="50489" y="136236"/>
                  </a:lnTo>
                  <a:lnTo>
                    <a:pt x="49925" y="135954"/>
                  </a:lnTo>
                  <a:cubicBezTo>
                    <a:pt x="49642" y="135954"/>
                    <a:pt x="49642" y="136236"/>
                    <a:pt x="49642" y="136236"/>
                  </a:cubicBezTo>
                  <a:cubicBezTo>
                    <a:pt x="49361" y="136518"/>
                    <a:pt x="49078" y="136800"/>
                    <a:pt x="49078" y="137364"/>
                  </a:cubicBezTo>
                  <a:close/>
                  <a:moveTo>
                    <a:pt x="50206" y="235803"/>
                  </a:moveTo>
                  <a:lnTo>
                    <a:pt x="49642" y="235803"/>
                  </a:lnTo>
                  <a:cubicBezTo>
                    <a:pt x="49642" y="235803"/>
                    <a:pt x="49642" y="235521"/>
                    <a:pt x="49361" y="235521"/>
                  </a:cubicBezTo>
                  <a:lnTo>
                    <a:pt x="49925" y="235521"/>
                  </a:lnTo>
                  <a:lnTo>
                    <a:pt x="50206" y="235803"/>
                  </a:lnTo>
                  <a:close/>
                  <a:moveTo>
                    <a:pt x="50771" y="248496"/>
                  </a:moveTo>
                  <a:lnTo>
                    <a:pt x="50489" y="248214"/>
                  </a:lnTo>
                  <a:cubicBezTo>
                    <a:pt x="50206" y="248496"/>
                    <a:pt x="50206" y="248496"/>
                    <a:pt x="49925" y="248496"/>
                  </a:cubicBezTo>
                  <a:cubicBezTo>
                    <a:pt x="49925" y="248496"/>
                    <a:pt x="49925" y="248778"/>
                    <a:pt x="50206" y="249060"/>
                  </a:cubicBezTo>
                  <a:cubicBezTo>
                    <a:pt x="50206" y="248778"/>
                    <a:pt x="50489" y="248496"/>
                    <a:pt x="50771" y="248496"/>
                  </a:cubicBezTo>
                  <a:close/>
                  <a:moveTo>
                    <a:pt x="54156" y="246522"/>
                  </a:moveTo>
                  <a:cubicBezTo>
                    <a:pt x="54156" y="246240"/>
                    <a:pt x="53873" y="245675"/>
                    <a:pt x="53309" y="245393"/>
                  </a:cubicBezTo>
                  <a:cubicBezTo>
                    <a:pt x="52745" y="245675"/>
                    <a:pt x="52463" y="246240"/>
                    <a:pt x="52463" y="247086"/>
                  </a:cubicBezTo>
                  <a:lnTo>
                    <a:pt x="53873" y="247086"/>
                  </a:lnTo>
                  <a:cubicBezTo>
                    <a:pt x="54156" y="247086"/>
                    <a:pt x="54156" y="246804"/>
                    <a:pt x="54156" y="246522"/>
                  </a:cubicBezTo>
                  <a:close/>
                  <a:moveTo>
                    <a:pt x="53027" y="131723"/>
                  </a:moveTo>
                  <a:cubicBezTo>
                    <a:pt x="53027" y="131723"/>
                    <a:pt x="53309" y="131723"/>
                    <a:pt x="53309" y="131441"/>
                  </a:cubicBezTo>
                  <a:cubicBezTo>
                    <a:pt x="53309" y="131159"/>
                    <a:pt x="53309" y="130876"/>
                    <a:pt x="53027" y="130876"/>
                  </a:cubicBezTo>
                  <a:lnTo>
                    <a:pt x="53027" y="131723"/>
                  </a:lnTo>
                  <a:close/>
                  <a:moveTo>
                    <a:pt x="53592" y="133979"/>
                  </a:moveTo>
                  <a:cubicBezTo>
                    <a:pt x="53309" y="134261"/>
                    <a:pt x="53309" y="134543"/>
                    <a:pt x="53027" y="134543"/>
                  </a:cubicBezTo>
                  <a:cubicBezTo>
                    <a:pt x="53027" y="134825"/>
                    <a:pt x="53309" y="134825"/>
                    <a:pt x="53309" y="134825"/>
                  </a:cubicBezTo>
                  <a:cubicBezTo>
                    <a:pt x="53592" y="134825"/>
                    <a:pt x="53592" y="134543"/>
                    <a:pt x="53873" y="134543"/>
                  </a:cubicBezTo>
                  <a:cubicBezTo>
                    <a:pt x="53873" y="134261"/>
                    <a:pt x="53592" y="134261"/>
                    <a:pt x="53592" y="133979"/>
                  </a:cubicBezTo>
                  <a:close/>
                  <a:moveTo>
                    <a:pt x="54437" y="126646"/>
                  </a:moveTo>
                  <a:cubicBezTo>
                    <a:pt x="54437" y="126928"/>
                    <a:pt x="54437" y="126928"/>
                    <a:pt x="54720" y="127210"/>
                  </a:cubicBezTo>
                  <a:lnTo>
                    <a:pt x="54720" y="126928"/>
                  </a:lnTo>
                  <a:cubicBezTo>
                    <a:pt x="54720" y="126646"/>
                    <a:pt x="54720" y="126646"/>
                    <a:pt x="54437" y="126364"/>
                  </a:cubicBezTo>
                  <a:cubicBezTo>
                    <a:pt x="54437" y="126364"/>
                    <a:pt x="54156" y="126646"/>
                    <a:pt x="54437" y="126646"/>
                  </a:cubicBezTo>
                  <a:close/>
                  <a:moveTo>
                    <a:pt x="54437" y="137082"/>
                  </a:moveTo>
                  <a:lnTo>
                    <a:pt x="55002" y="137082"/>
                  </a:lnTo>
                  <a:cubicBezTo>
                    <a:pt x="55284" y="137082"/>
                    <a:pt x="55566" y="136800"/>
                    <a:pt x="55566" y="136518"/>
                  </a:cubicBezTo>
                  <a:lnTo>
                    <a:pt x="55284" y="136236"/>
                  </a:lnTo>
                  <a:cubicBezTo>
                    <a:pt x="54720" y="136236"/>
                    <a:pt x="54437" y="136518"/>
                    <a:pt x="54437" y="137082"/>
                  </a:cubicBezTo>
                  <a:close/>
                  <a:moveTo>
                    <a:pt x="55002" y="132851"/>
                  </a:moveTo>
                  <a:cubicBezTo>
                    <a:pt x="55002" y="133133"/>
                    <a:pt x="55002" y="133133"/>
                    <a:pt x="54720" y="133415"/>
                  </a:cubicBezTo>
                  <a:cubicBezTo>
                    <a:pt x="54720" y="133415"/>
                    <a:pt x="55002" y="133415"/>
                    <a:pt x="55002" y="133697"/>
                  </a:cubicBezTo>
                  <a:cubicBezTo>
                    <a:pt x="55002" y="133415"/>
                    <a:pt x="55002" y="133415"/>
                    <a:pt x="55284" y="133133"/>
                  </a:cubicBezTo>
                  <a:lnTo>
                    <a:pt x="55002" y="132851"/>
                  </a:lnTo>
                  <a:close/>
                  <a:moveTo>
                    <a:pt x="55848" y="135954"/>
                  </a:moveTo>
                  <a:cubicBezTo>
                    <a:pt x="56130" y="136236"/>
                    <a:pt x="56130" y="136236"/>
                    <a:pt x="56412" y="136236"/>
                  </a:cubicBezTo>
                  <a:cubicBezTo>
                    <a:pt x="56412" y="136236"/>
                    <a:pt x="56694" y="136236"/>
                    <a:pt x="56694" y="135954"/>
                  </a:cubicBezTo>
                  <a:lnTo>
                    <a:pt x="56694" y="135672"/>
                  </a:lnTo>
                  <a:lnTo>
                    <a:pt x="56412" y="135389"/>
                  </a:lnTo>
                  <a:cubicBezTo>
                    <a:pt x="56412" y="135389"/>
                    <a:pt x="56130" y="135389"/>
                    <a:pt x="55848" y="135672"/>
                  </a:cubicBezTo>
                  <a:lnTo>
                    <a:pt x="55848" y="135954"/>
                  </a:lnTo>
                  <a:close/>
                  <a:moveTo>
                    <a:pt x="57258" y="124389"/>
                  </a:moveTo>
                  <a:cubicBezTo>
                    <a:pt x="57258" y="124389"/>
                    <a:pt x="57540" y="124389"/>
                    <a:pt x="57540" y="124107"/>
                  </a:cubicBezTo>
                  <a:lnTo>
                    <a:pt x="57258" y="124107"/>
                  </a:lnTo>
                  <a:lnTo>
                    <a:pt x="57258" y="124389"/>
                  </a:lnTo>
                  <a:close/>
                  <a:moveTo>
                    <a:pt x="57258" y="136800"/>
                  </a:moveTo>
                  <a:lnTo>
                    <a:pt x="57540" y="136800"/>
                  </a:lnTo>
                  <a:cubicBezTo>
                    <a:pt x="57823" y="136800"/>
                    <a:pt x="57823" y="137082"/>
                    <a:pt x="58104" y="137082"/>
                  </a:cubicBezTo>
                  <a:cubicBezTo>
                    <a:pt x="58387" y="137364"/>
                    <a:pt x="58387" y="137646"/>
                    <a:pt x="58387" y="137928"/>
                  </a:cubicBezTo>
                  <a:lnTo>
                    <a:pt x="58387" y="138492"/>
                  </a:lnTo>
                  <a:lnTo>
                    <a:pt x="58951" y="138492"/>
                  </a:lnTo>
                  <a:cubicBezTo>
                    <a:pt x="59515" y="137928"/>
                    <a:pt x="59515" y="137646"/>
                    <a:pt x="59515" y="137364"/>
                  </a:cubicBezTo>
                  <a:cubicBezTo>
                    <a:pt x="59515" y="137082"/>
                    <a:pt x="59515" y="136800"/>
                    <a:pt x="59233" y="136518"/>
                  </a:cubicBezTo>
                  <a:cubicBezTo>
                    <a:pt x="59233" y="136518"/>
                    <a:pt x="58951" y="136518"/>
                    <a:pt x="58387" y="136236"/>
                  </a:cubicBezTo>
                  <a:cubicBezTo>
                    <a:pt x="58387" y="136236"/>
                    <a:pt x="57823" y="136518"/>
                    <a:pt x="57540" y="136800"/>
                  </a:cubicBezTo>
                  <a:lnTo>
                    <a:pt x="57540" y="136236"/>
                  </a:lnTo>
                  <a:lnTo>
                    <a:pt x="57258" y="136236"/>
                  </a:lnTo>
                  <a:lnTo>
                    <a:pt x="57258" y="136800"/>
                  </a:lnTo>
                  <a:close/>
                  <a:moveTo>
                    <a:pt x="57540" y="124107"/>
                  </a:moveTo>
                  <a:cubicBezTo>
                    <a:pt x="57823" y="124107"/>
                    <a:pt x="57823" y="124107"/>
                    <a:pt x="57823" y="123825"/>
                  </a:cubicBezTo>
                  <a:lnTo>
                    <a:pt x="57540" y="124107"/>
                  </a:lnTo>
                  <a:close/>
                  <a:moveTo>
                    <a:pt x="57540" y="134261"/>
                  </a:moveTo>
                  <a:lnTo>
                    <a:pt x="57540" y="134543"/>
                  </a:lnTo>
                  <a:lnTo>
                    <a:pt x="57823" y="134543"/>
                  </a:lnTo>
                  <a:cubicBezTo>
                    <a:pt x="58104" y="134261"/>
                    <a:pt x="58104" y="133979"/>
                    <a:pt x="58104" y="133697"/>
                  </a:cubicBezTo>
                  <a:lnTo>
                    <a:pt x="58104" y="133415"/>
                  </a:lnTo>
                  <a:lnTo>
                    <a:pt x="57823" y="133133"/>
                  </a:lnTo>
                  <a:lnTo>
                    <a:pt x="57823" y="133415"/>
                  </a:lnTo>
                  <a:cubicBezTo>
                    <a:pt x="57540" y="133415"/>
                    <a:pt x="57540" y="133697"/>
                    <a:pt x="57540" y="134261"/>
                  </a:cubicBezTo>
                  <a:close/>
                  <a:moveTo>
                    <a:pt x="59233" y="125799"/>
                  </a:moveTo>
                  <a:lnTo>
                    <a:pt x="58951" y="125799"/>
                  </a:lnTo>
                  <a:lnTo>
                    <a:pt x="58951" y="125517"/>
                  </a:lnTo>
                  <a:cubicBezTo>
                    <a:pt x="58668" y="125517"/>
                    <a:pt x="58387" y="125799"/>
                    <a:pt x="58104" y="126081"/>
                  </a:cubicBezTo>
                  <a:cubicBezTo>
                    <a:pt x="58104" y="126081"/>
                    <a:pt x="57823" y="126646"/>
                    <a:pt x="57823" y="126928"/>
                  </a:cubicBezTo>
                  <a:lnTo>
                    <a:pt x="58668" y="126928"/>
                  </a:lnTo>
                  <a:cubicBezTo>
                    <a:pt x="59233" y="126646"/>
                    <a:pt x="59233" y="126081"/>
                    <a:pt x="59233" y="125799"/>
                  </a:cubicBezTo>
                  <a:close/>
                  <a:moveTo>
                    <a:pt x="58387" y="122979"/>
                  </a:moveTo>
                  <a:cubicBezTo>
                    <a:pt x="59233" y="122979"/>
                    <a:pt x="59515" y="122697"/>
                    <a:pt x="59797" y="122133"/>
                  </a:cubicBezTo>
                  <a:cubicBezTo>
                    <a:pt x="59233" y="122133"/>
                    <a:pt x="58668" y="122133"/>
                    <a:pt x="58387" y="122979"/>
                  </a:cubicBezTo>
                  <a:close/>
                  <a:moveTo>
                    <a:pt x="59797" y="122133"/>
                  </a:moveTo>
                  <a:cubicBezTo>
                    <a:pt x="60361" y="121568"/>
                    <a:pt x="61207" y="121286"/>
                    <a:pt x="61771" y="121286"/>
                  </a:cubicBezTo>
                  <a:lnTo>
                    <a:pt x="61489" y="121004"/>
                  </a:lnTo>
                  <a:cubicBezTo>
                    <a:pt x="61489" y="120722"/>
                    <a:pt x="61207" y="120722"/>
                    <a:pt x="60925" y="120722"/>
                  </a:cubicBezTo>
                  <a:cubicBezTo>
                    <a:pt x="60925" y="120722"/>
                    <a:pt x="60643" y="121004"/>
                    <a:pt x="60361" y="121004"/>
                  </a:cubicBezTo>
                  <a:cubicBezTo>
                    <a:pt x="59797" y="121286"/>
                    <a:pt x="59797" y="121286"/>
                    <a:pt x="59797" y="122133"/>
                  </a:cubicBezTo>
                  <a:close/>
                  <a:moveTo>
                    <a:pt x="62054" y="240598"/>
                  </a:moveTo>
                  <a:lnTo>
                    <a:pt x="61771" y="240880"/>
                  </a:lnTo>
                  <a:lnTo>
                    <a:pt x="62054" y="240880"/>
                  </a:lnTo>
                  <a:lnTo>
                    <a:pt x="62618" y="240598"/>
                  </a:lnTo>
                  <a:lnTo>
                    <a:pt x="62054" y="240598"/>
                  </a:lnTo>
                  <a:close/>
                  <a:moveTo>
                    <a:pt x="63464" y="120722"/>
                  </a:moveTo>
                  <a:cubicBezTo>
                    <a:pt x="63464" y="121004"/>
                    <a:pt x="63464" y="121004"/>
                    <a:pt x="63745" y="121286"/>
                  </a:cubicBezTo>
                  <a:lnTo>
                    <a:pt x="64309" y="121286"/>
                  </a:lnTo>
                  <a:cubicBezTo>
                    <a:pt x="64874" y="121851"/>
                    <a:pt x="65720" y="121851"/>
                    <a:pt x="66002" y="122415"/>
                  </a:cubicBezTo>
                  <a:cubicBezTo>
                    <a:pt x="66848" y="122415"/>
                    <a:pt x="66848" y="122415"/>
                    <a:pt x="67412" y="121851"/>
                  </a:cubicBezTo>
                  <a:cubicBezTo>
                    <a:pt x="67695" y="121568"/>
                    <a:pt x="67976" y="121568"/>
                    <a:pt x="67976" y="121286"/>
                  </a:cubicBezTo>
                  <a:lnTo>
                    <a:pt x="67695" y="121004"/>
                  </a:lnTo>
                  <a:cubicBezTo>
                    <a:pt x="67130" y="120722"/>
                    <a:pt x="66848" y="120158"/>
                    <a:pt x="66566" y="120158"/>
                  </a:cubicBezTo>
                  <a:lnTo>
                    <a:pt x="66002" y="119876"/>
                  </a:lnTo>
                  <a:cubicBezTo>
                    <a:pt x="65438" y="119876"/>
                    <a:pt x="64874" y="120158"/>
                    <a:pt x="64309" y="120158"/>
                  </a:cubicBezTo>
                  <a:lnTo>
                    <a:pt x="63745" y="120158"/>
                  </a:lnTo>
                  <a:cubicBezTo>
                    <a:pt x="63464" y="120158"/>
                    <a:pt x="63464" y="120158"/>
                    <a:pt x="63464" y="120440"/>
                  </a:cubicBezTo>
                  <a:lnTo>
                    <a:pt x="63464" y="120722"/>
                  </a:lnTo>
                  <a:close/>
                  <a:moveTo>
                    <a:pt x="63745" y="118184"/>
                  </a:moveTo>
                  <a:cubicBezTo>
                    <a:pt x="64028" y="118184"/>
                    <a:pt x="64028" y="118466"/>
                    <a:pt x="64309" y="118466"/>
                  </a:cubicBezTo>
                  <a:lnTo>
                    <a:pt x="64874" y="117902"/>
                  </a:lnTo>
                  <a:cubicBezTo>
                    <a:pt x="64874" y="117902"/>
                    <a:pt x="64874" y="117620"/>
                    <a:pt x="64592" y="117620"/>
                  </a:cubicBezTo>
                  <a:lnTo>
                    <a:pt x="64309" y="117620"/>
                  </a:lnTo>
                  <a:cubicBezTo>
                    <a:pt x="64028" y="117620"/>
                    <a:pt x="64028" y="117620"/>
                    <a:pt x="63745" y="117902"/>
                  </a:cubicBezTo>
                  <a:lnTo>
                    <a:pt x="63745" y="118184"/>
                  </a:lnTo>
                  <a:close/>
                  <a:moveTo>
                    <a:pt x="68540" y="117055"/>
                  </a:moveTo>
                  <a:cubicBezTo>
                    <a:pt x="68540" y="117338"/>
                    <a:pt x="68823" y="117338"/>
                    <a:pt x="69105" y="117620"/>
                  </a:cubicBezTo>
                  <a:lnTo>
                    <a:pt x="69387" y="117902"/>
                  </a:lnTo>
                  <a:cubicBezTo>
                    <a:pt x="69387" y="117338"/>
                    <a:pt x="69669" y="116773"/>
                    <a:pt x="69951" y="116491"/>
                  </a:cubicBezTo>
                  <a:lnTo>
                    <a:pt x="69951" y="116209"/>
                  </a:lnTo>
                  <a:lnTo>
                    <a:pt x="69387" y="116209"/>
                  </a:lnTo>
                  <a:cubicBezTo>
                    <a:pt x="68823" y="116491"/>
                    <a:pt x="68540" y="116773"/>
                    <a:pt x="68540" y="117055"/>
                  </a:cubicBezTo>
                  <a:close/>
                  <a:moveTo>
                    <a:pt x="70233" y="121568"/>
                  </a:moveTo>
                  <a:cubicBezTo>
                    <a:pt x="69951" y="121568"/>
                    <a:pt x="69669" y="121851"/>
                    <a:pt x="69669" y="122133"/>
                  </a:cubicBezTo>
                  <a:cubicBezTo>
                    <a:pt x="69387" y="122415"/>
                    <a:pt x="69669" y="122415"/>
                    <a:pt x="69669" y="122415"/>
                  </a:cubicBezTo>
                  <a:cubicBezTo>
                    <a:pt x="69669" y="122415"/>
                    <a:pt x="69951" y="122415"/>
                    <a:pt x="70233" y="122133"/>
                  </a:cubicBezTo>
                  <a:lnTo>
                    <a:pt x="70515" y="122133"/>
                  </a:lnTo>
                  <a:lnTo>
                    <a:pt x="70797" y="122415"/>
                  </a:lnTo>
                  <a:cubicBezTo>
                    <a:pt x="70797" y="122133"/>
                    <a:pt x="70797" y="121851"/>
                    <a:pt x="70515" y="121568"/>
                  </a:cubicBezTo>
                  <a:lnTo>
                    <a:pt x="70233" y="121568"/>
                  </a:lnTo>
                  <a:close/>
                  <a:moveTo>
                    <a:pt x="73054" y="117620"/>
                  </a:moveTo>
                  <a:lnTo>
                    <a:pt x="73336" y="117338"/>
                  </a:lnTo>
                  <a:cubicBezTo>
                    <a:pt x="73336" y="116773"/>
                    <a:pt x="73900" y="116491"/>
                    <a:pt x="73900" y="115927"/>
                  </a:cubicBezTo>
                  <a:cubicBezTo>
                    <a:pt x="74464" y="115363"/>
                    <a:pt x="75028" y="115081"/>
                    <a:pt x="75592" y="114799"/>
                  </a:cubicBezTo>
                  <a:cubicBezTo>
                    <a:pt x="76721" y="114799"/>
                    <a:pt x="77567" y="113953"/>
                    <a:pt x="78131" y="112825"/>
                  </a:cubicBezTo>
                  <a:cubicBezTo>
                    <a:pt x="77002" y="113107"/>
                    <a:pt x="75874" y="113389"/>
                    <a:pt x="75592" y="114235"/>
                  </a:cubicBezTo>
                  <a:cubicBezTo>
                    <a:pt x="75310" y="114517"/>
                    <a:pt x="75028" y="114517"/>
                    <a:pt x="75028" y="114517"/>
                  </a:cubicBezTo>
                  <a:cubicBezTo>
                    <a:pt x="74182" y="114517"/>
                    <a:pt x="73900" y="114799"/>
                    <a:pt x="73336" y="115645"/>
                  </a:cubicBezTo>
                  <a:cubicBezTo>
                    <a:pt x="73336" y="115927"/>
                    <a:pt x="73054" y="116491"/>
                    <a:pt x="72771" y="117055"/>
                  </a:cubicBezTo>
                  <a:lnTo>
                    <a:pt x="73054" y="117620"/>
                  </a:lnTo>
                  <a:close/>
                  <a:moveTo>
                    <a:pt x="74746" y="117902"/>
                  </a:moveTo>
                  <a:cubicBezTo>
                    <a:pt x="74182" y="117902"/>
                    <a:pt x="74182" y="117902"/>
                    <a:pt x="73900" y="118466"/>
                  </a:cubicBezTo>
                  <a:cubicBezTo>
                    <a:pt x="73900" y="118748"/>
                    <a:pt x="73900" y="118748"/>
                    <a:pt x="74182" y="119030"/>
                  </a:cubicBezTo>
                  <a:cubicBezTo>
                    <a:pt x="74464" y="119030"/>
                    <a:pt x="75028" y="118748"/>
                    <a:pt x="75028" y="118184"/>
                  </a:cubicBezTo>
                  <a:cubicBezTo>
                    <a:pt x="75028" y="118184"/>
                    <a:pt x="75028" y="117902"/>
                    <a:pt x="74746" y="117902"/>
                  </a:cubicBezTo>
                  <a:close/>
                  <a:moveTo>
                    <a:pt x="77849" y="225085"/>
                  </a:moveTo>
                  <a:cubicBezTo>
                    <a:pt x="77849" y="224803"/>
                    <a:pt x="77567" y="224803"/>
                    <a:pt x="77567" y="224521"/>
                  </a:cubicBezTo>
                  <a:lnTo>
                    <a:pt x="76721" y="224521"/>
                  </a:lnTo>
                  <a:cubicBezTo>
                    <a:pt x="76438" y="225085"/>
                    <a:pt x="76438" y="225649"/>
                    <a:pt x="76438" y="225931"/>
                  </a:cubicBezTo>
                  <a:cubicBezTo>
                    <a:pt x="76438" y="226213"/>
                    <a:pt x="76438" y="226495"/>
                    <a:pt x="76438" y="226777"/>
                  </a:cubicBezTo>
                  <a:lnTo>
                    <a:pt x="77002" y="226777"/>
                  </a:lnTo>
                  <a:cubicBezTo>
                    <a:pt x="77849" y="226777"/>
                    <a:pt x="77849" y="225931"/>
                    <a:pt x="77849" y="225085"/>
                  </a:cubicBezTo>
                  <a:close/>
                  <a:moveTo>
                    <a:pt x="78977" y="221700"/>
                  </a:moveTo>
                  <a:cubicBezTo>
                    <a:pt x="78695" y="221700"/>
                    <a:pt x="78413" y="221982"/>
                    <a:pt x="78413" y="221982"/>
                  </a:cubicBezTo>
                  <a:cubicBezTo>
                    <a:pt x="78131" y="221982"/>
                    <a:pt x="78131" y="222264"/>
                    <a:pt x="78131" y="222264"/>
                  </a:cubicBezTo>
                  <a:lnTo>
                    <a:pt x="78413" y="222264"/>
                  </a:lnTo>
                  <a:cubicBezTo>
                    <a:pt x="78413" y="222264"/>
                    <a:pt x="78695" y="222264"/>
                    <a:pt x="78695" y="221982"/>
                  </a:cubicBezTo>
                  <a:cubicBezTo>
                    <a:pt x="78977" y="221982"/>
                    <a:pt x="78977" y="221982"/>
                    <a:pt x="78977" y="221700"/>
                  </a:cubicBezTo>
                  <a:close/>
                  <a:moveTo>
                    <a:pt x="80105" y="111414"/>
                  </a:moveTo>
                  <a:cubicBezTo>
                    <a:pt x="80952" y="110850"/>
                    <a:pt x="81516" y="110568"/>
                    <a:pt x="81798" y="110568"/>
                  </a:cubicBezTo>
                  <a:cubicBezTo>
                    <a:pt x="82362" y="110568"/>
                    <a:pt x="82643" y="111132"/>
                    <a:pt x="83208" y="112260"/>
                  </a:cubicBezTo>
                  <a:lnTo>
                    <a:pt x="83208" y="112542"/>
                  </a:lnTo>
                  <a:cubicBezTo>
                    <a:pt x="82643" y="112260"/>
                    <a:pt x="82362" y="112260"/>
                    <a:pt x="82079" y="112260"/>
                  </a:cubicBezTo>
                  <a:cubicBezTo>
                    <a:pt x="81798" y="112542"/>
                    <a:pt x="81516" y="112542"/>
                    <a:pt x="81516" y="113107"/>
                  </a:cubicBezTo>
                  <a:lnTo>
                    <a:pt x="81516" y="113671"/>
                  </a:lnTo>
                  <a:cubicBezTo>
                    <a:pt x="81798" y="113671"/>
                    <a:pt x="82079" y="114235"/>
                    <a:pt x="82079" y="114517"/>
                  </a:cubicBezTo>
                  <a:cubicBezTo>
                    <a:pt x="82079" y="114799"/>
                    <a:pt x="82362" y="114799"/>
                    <a:pt x="82362" y="114799"/>
                  </a:cubicBezTo>
                  <a:lnTo>
                    <a:pt x="82643" y="114517"/>
                  </a:lnTo>
                  <a:cubicBezTo>
                    <a:pt x="82926" y="114517"/>
                    <a:pt x="83208" y="113953"/>
                    <a:pt x="83772" y="113671"/>
                  </a:cubicBezTo>
                  <a:cubicBezTo>
                    <a:pt x="84336" y="113389"/>
                    <a:pt x="84618" y="112825"/>
                    <a:pt x="84336" y="112825"/>
                  </a:cubicBezTo>
                  <a:cubicBezTo>
                    <a:pt x="84054" y="112542"/>
                    <a:pt x="84054" y="112260"/>
                    <a:pt x="84054" y="111978"/>
                  </a:cubicBezTo>
                  <a:cubicBezTo>
                    <a:pt x="84054" y="111696"/>
                    <a:pt x="84054" y="111414"/>
                    <a:pt x="84336" y="111132"/>
                  </a:cubicBezTo>
                  <a:cubicBezTo>
                    <a:pt x="84618" y="110850"/>
                    <a:pt x="84900" y="110850"/>
                    <a:pt x="84900" y="110568"/>
                  </a:cubicBezTo>
                  <a:cubicBezTo>
                    <a:pt x="84900" y="110286"/>
                    <a:pt x="84618" y="110004"/>
                    <a:pt x="84618" y="110004"/>
                  </a:cubicBezTo>
                  <a:cubicBezTo>
                    <a:pt x="84336" y="110004"/>
                    <a:pt x="84336" y="109722"/>
                    <a:pt x="84336" y="109722"/>
                  </a:cubicBezTo>
                  <a:cubicBezTo>
                    <a:pt x="84336" y="109440"/>
                    <a:pt x="84618" y="109440"/>
                    <a:pt x="84900" y="109440"/>
                  </a:cubicBezTo>
                  <a:cubicBezTo>
                    <a:pt x="84900" y="108594"/>
                    <a:pt x="85464" y="108312"/>
                    <a:pt x="86310" y="107747"/>
                  </a:cubicBezTo>
                  <a:lnTo>
                    <a:pt x="87157" y="107183"/>
                  </a:lnTo>
                  <a:lnTo>
                    <a:pt x="87157" y="108312"/>
                  </a:lnTo>
                  <a:cubicBezTo>
                    <a:pt x="88003" y="108030"/>
                    <a:pt x="88003" y="107465"/>
                    <a:pt x="88567" y="107183"/>
                  </a:cubicBezTo>
                  <a:cubicBezTo>
                    <a:pt x="88849" y="106901"/>
                    <a:pt x="88003" y="106619"/>
                    <a:pt x="87721" y="106337"/>
                  </a:cubicBezTo>
                  <a:cubicBezTo>
                    <a:pt x="87721" y="106055"/>
                    <a:pt x="87439" y="105491"/>
                    <a:pt x="87157" y="105209"/>
                  </a:cubicBezTo>
                  <a:lnTo>
                    <a:pt x="86593" y="105209"/>
                  </a:lnTo>
                  <a:cubicBezTo>
                    <a:pt x="85746" y="105491"/>
                    <a:pt x="84900" y="106337"/>
                    <a:pt x="84054" y="106337"/>
                  </a:cubicBezTo>
                  <a:lnTo>
                    <a:pt x="83772" y="106337"/>
                  </a:lnTo>
                  <a:cubicBezTo>
                    <a:pt x="83490" y="106901"/>
                    <a:pt x="82926" y="107183"/>
                    <a:pt x="82643" y="107465"/>
                  </a:cubicBezTo>
                  <a:cubicBezTo>
                    <a:pt x="82643" y="107747"/>
                    <a:pt x="82362" y="108312"/>
                    <a:pt x="82079" y="108312"/>
                  </a:cubicBezTo>
                  <a:cubicBezTo>
                    <a:pt x="81233" y="109158"/>
                    <a:pt x="80669" y="110004"/>
                    <a:pt x="79823" y="110568"/>
                  </a:cubicBezTo>
                  <a:lnTo>
                    <a:pt x="79823" y="111414"/>
                  </a:lnTo>
                  <a:lnTo>
                    <a:pt x="80105" y="111414"/>
                  </a:lnTo>
                  <a:close/>
                  <a:moveTo>
                    <a:pt x="80669" y="217751"/>
                  </a:moveTo>
                  <a:lnTo>
                    <a:pt x="80388" y="217187"/>
                  </a:lnTo>
                  <a:cubicBezTo>
                    <a:pt x="80388" y="217469"/>
                    <a:pt x="80388" y="217469"/>
                    <a:pt x="80105" y="217469"/>
                  </a:cubicBezTo>
                  <a:lnTo>
                    <a:pt x="80388" y="217751"/>
                  </a:lnTo>
                  <a:lnTo>
                    <a:pt x="80669" y="217751"/>
                  </a:lnTo>
                  <a:close/>
                  <a:moveTo>
                    <a:pt x="80388" y="219726"/>
                  </a:moveTo>
                  <a:cubicBezTo>
                    <a:pt x="80388" y="219726"/>
                    <a:pt x="80105" y="219444"/>
                    <a:pt x="80105" y="219726"/>
                  </a:cubicBezTo>
                  <a:lnTo>
                    <a:pt x="80388" y="219726"/>
                  </a:lnTo>
                  <a:close/>
                  <a:moveTo>
                    <a:pt x="86874" y="214367"/>
                  </a:moveTo>
                  <a:cubicBezTo>
                    <a:pt x="86874" y="214085"/>
                    <a:pt x="86874" y="213803"/>
                    <a:pt x="86593" y="213803"/>
                  </a:cubicBezTo>
                  <a:cubicBezTo>
                    <a:pt x="86029" y="213238"/>
                    <a:pt x="85746" y="212956"/>
                    <a:pt x="85464" y="212956"/>
                  </a:cubicBezTo>
                  <a:cubicBezTo>
                    <a:pt x="85182" y="212956"/>
                    <a:pt x="84900" y="212674"/>
                    <a:pt x="84900" y="212674"/>
                  </a:cubicBezTo>
                  <a:lnTo>
                    <a:pt x="84618" y="212956"/>
                  </a:lnTo>
                  <a:cubicBezTo>
                    <a:pt x="83490" y="213238"/>
                    <a:pt x="82643" y="213520"/>
                    <a:pt x="82362" y="214931"/>
                  </a:cubicBezTo>
                  <a:cubicBezTo>
                    <a:pt x="82362" y="215213"/>
                    <a:pt x="81798" y="215495"/>
                    <a:pt x="81798" y="215777"/>
                  </a:cubicBezTo>
                  <a:cubicBezTo>
                    <a:pt x="81516" y="216059"/>
                    <a:pt x="81516" y="216059"/>
                    <a:pt x="81516" y="216341"/>
                  </a:cubicBezTo>
                  <a:lnTo>
                    <a:pt x="81798" y="216623"/>
                  </a:lnTo>
                  <a:lnTo>
                    <a:pt x="82362" y="216623"/>
                  </a:lnTo>
                  <a:cubicBezTo>
                    <a:pt x="82926" y="216623"/>
                    <a:pt x="83208" y="216341"/>
                    <a:pt x="83208" y="215777"/>
                  </a:cubicBezTo>
                  <a:lnTo>
                    <a:pt x="83208" y="215213"/>
                  </a:lnTo>
                  <a:cubicBezTo>
                    <a:pt x="83490" y="214649"/>
                    <a:pt x="83490" y="214367"/>
                    <a:pt x="84054" y="214367"/>
                  </a:cubicBezTo>
                  <a:cubicBezTo>
                    <a:pt x="84618" y="214649"/>
                    <a:pt x="85182" y="214931"/>
                    <a:pt x="85746" y="214931"/>
                  </a:cubicBezTo>
                  <a:cubicBezTo>
                    <a:pt x="86029" y="214931"/>
                    <a:pt x="86874" y="214649"/>
                    <a:pt x="86874" y="214367"/>
                  </a:cubicBezTo>
                  <a:close/>
                  <a:moveTo>
                    <a:pt x="85182" y="100132"/>
                  </a:moveTo>
                  <a:cubicBezTo>
                    <a:pt x="85182" y="99850"/>
                    <a:pt x="85182" y="100132"/>
                    <a:pt x="85464" y="100132"/>
                  </a:cubicBezTo>
                  <a:lnTo>
                    <a:pt x="85182" y="100414"/>
                  </a:lnTo>
                  <a:lnTo>
                    <a:pt x="85182" y="100132"/>
                  </a:lnTo>
                  <a:close/>
                  <a:moveTo>
                    <a:pt x="86874" y="211546"/>
                  </a:moveTo>
                  <a:lnTo>
                    <a:pt x="86593" y="211264"/>
                  </a:lnTo>
                  <a:lnTo>
                    <a:pt x="86310" y="211264"/>
                  </a:lnTo>
                  <a:cubicBezTo>
                    <a:pt x="86029" y="211264"/>
                    <a:pt x="86029" y="211546"/>
                    <a:pt x="86029" y="211828"/>
                  </a:cubicBezTo>
                  <a:lnTo>
                    <a:pt x="86593" y="212392"/>
                  </a:lnTo>
                  <a:lnTo>
                    <a:pt x="86593" y="212110"/>
                  </a:lnTo>
                  <a:lnTo>
                    <a:pt x="86874" y="212110"/>
                  </a:lnTo>
                  <a:lnTo>
                    <a:pt x="86874" y="211546"/>
                  </a:lnTo>
                  <a:close/>
                  <a:moveTo>
                    <a:pt x="88003" y="102670"/>
                  </a:moveTo>
                  <a:cubicBezTo>
                    <a:pt x="88003" y="102670"/>
                    <a:pt x="88003" y="102388"/>
                    <a:pt x="88285" y="102388"/>
                  </a:cubicBezTo>
                  <a:cubicBezTo>
                    <a:pt x="88003" y="102388"/>
                    <a:pt x="88003" y="102106"/>
                    <a:pt x="88003" y="102106"/>
                  </a:cubicBezTo>
                  <a:cubicBezTo>
                    <a:pt x="87721" y="102106"/>
                    <a:pt x="87721" y="102388"/>
                    <a:pt x="87439" y="102388"/>
                  </a:cubicBezTo>
                  <a:lnTo>
                    <a:pt x="88003" y="102670"/>
                  </a:lnTo>
                  <a:close/>
                  <a:moveTo>
                    <a:pt x="88567" y="104645"/>
                  </a:moveTo>
                  <a:cubicBezTo>
                    <a:pt x="89695" y="104363"/>
                    <a:pt x="90824" y="103234"/>
                    <a:pt x="91388" y="102106"/>
                  </a:cubicBezTo>
                  <a:lnTo>
                    <a:pt x="90824" y="102106"/>
                  </a:lnTo>
                  <a:cubicBezTo>
                    <a:pt x="89977" y="102952"/>
                    <a:pt x="88849" y="103517"/>
                    <a:pt x="87721" y="104645"/>
                  </a:cubicBezTo>
                  <a:lnTo>
                    <a:pt x="88567" y="104645"/>
                  </a:lnTo>
                  <a:close/>
                  <a:moveTo>
                    <a:pt x="88567" y="207315"/>
                  </a:moveTo>
                  <a:cubicBezTo>
                    <a:pt x="88849" y="207315"/>
                    <a:pt x="88849" y="207315"/>
                    <a:pt x="89131" y="207033"/>
                  </a:cubicBezTo>
                  <a:lnTo>
                    <a:pt x="88849" y="207033"/>
                  </a:lnTo>
                  <a:lnTo>
                    <a:pt x="88849" y="206751"/>
                  </a:lnTo>
                  <a:cubicBezTo>
                    <a:pt x="88567" y="207033"/>
                    <a:pt x="88567" y="207315"/>
                    <a:pt x="88285" y="207315"/>
                  </a:cubicBezTo>
                  <a:lnTo>
                    <a:pt x="88567" y="207315"/>
                  </a:lnTo>
                  <a:close/>
                  <a:moveTo>
                    <a:pt x="90260" y="209290"/>
                  </a:moveTo>
                  <a:lnTo>
                    <a:pt x="88285" y="208443"/>
                  </a:lnTo>
                  <a:lnTo>
                    <a:pt x="88285" y="208725"/>
                  </a:lnTo>
                  <a:cubicBezTo>
                    <a:pt x="88567" y="209290"/>
                    <a:pt x="89131" y="209572"/>
                    <a:pt x="89131" y="210136"/>
                  </a:cubicBezTo>
                  <a:cubicBezTo>
                    <a:pt x="89131" y="210136"/>
                    <a:pt x="89695" y="210136"/>
                    <a:pt x="89977" y="209854"/>
                  </a:cubicBezTo>
                  <a:cubicBezTo>
                    <a:pt x="90260" y="209854"/>
                    <a:pt x="90260" y="209290"/>
                    <a:pt x="90260" y="209290"/>
                  </a:cubicBezTo>
                  <a:close/>
                  <a:moveTo>
                    <a:pt x="89413" y="99568"/>
                  </a:moveTo>
                  <a:cubicBezTo>
                    <a:pt x="89695" y="99850"/>
                    <a:pt x="89977" y="100132"/>
                    <a:pt x="89977" y="100414"/>
                  </a:cubicBezTo>
                  <a:lnTo>
                    <a:pt x="89977" y="100696"/>
                  </a:lnTo>
                  <a:cubicBezTo>
                    <a:pt x="89977" y="100696"/>
                    <a:pt x="90260" y="100696"/>
                    <a:pt x="90541" y="100978"/>
                  </a:cubicBezTo>
                  <a:lnTo>
                    <a:pt x="90824" y="100696"/>
                  </a:lnTo>
                  <a:cubicBezTo>
                    <a:pt x="91388" y="100414"/>
                    <a:pt x="91388" y="100132"/>
                    <a:pt x="91952" y="99568"/>
                  </a:cubicBezTo>
                  <a:lnTo>
                    <a:pt x="91388" y="99568"/>
                  </a:lnTo>
                  <a:cubicBezTo>
                    <a:pt x="91105" y="99568"/>
                    <a:pt x="90824" y="99286"/>
                    <a:pt x="90260" y="99004"/>
                  </a:cubicBezTo>
                  <a:lnTo>
                    <a:pt x="90260" y="98439"/>
                  </a:lnTo>
                  <a:cubicBezTo>
                    <a:pt x="90260" y="98439"/>
                    <a:pt x="89977" y="98439"/>
                    <a:pt x="89695" y="98721"/>
                  </a:cubicBezTo>
                  <a:cubicBezTo>
                    <a:pt x="89413" y="98721"/>
                    <a:pt x="89413" y="99004"/>
                    <a:pt x="88849" y="99004"/>
                  </a:cubicBezTo>
                  <a:cubicBezTo>
                    <a:pt x="88849" y="99286"/>
                    <a:pt x="88849" y="99568"/>
                    <a:pt x="89413" y="99568"/>
                  </a:cubicBezTo>
                  <a:close/>
                  <a:moveTo>
                    <a:pt x="91105" y="96747"/>
                  </a:moveTo>
                  <a:cubicBezTo>
                    <a:pt x="91105" y="96747"/>
                    <a:pt x="91105" y="97029"/>
                    <a:pt x="91388" y="97029"/>
                  </a:cubicBezTo>
                  <a:cubicBezTo>
                    <a:pt x="91952" y="97029"/>
                    <a:pt x="91952" y="97029"/>
                    <a:pt x="92516" y="96747"/>
                  </a:cubicBezTo>
                  <a:cubicBezTo>
                    <a:pt x="92516" y="96747"/>
                    <a:pt x="92516" y="96465"/>
                    <a:pt x="92234" y="96465"/>
                  </a:cubicBezTo>
                  <a:lnTo>
                    <a:pt x="91388" y="96465"/>
                  </a:lnTo>
                  <a:cubicBezTo>
                    <a:pt x="91105" y="96465"/>
                    <a:pt x="91105" y="96747"/>
                    <a:pt x="91105" y="96747"/>
                  </a:cubicBezTo>
                  <a:close/>
                  <a:moveTo>
                    <a:pt x="92234" y="101260"/>
                  </a:moveTo>
                  <a:cubicBezTo>
                    <a:pt x="92234" y="100978"/>
                    <a:pt x="91952" y="101260"/>
                    <a:pt x="91952" y="101260"/>
                  </a:cubicBezTo>
                  <a:cubicBezTo>
                    <a:pt x="91670" y="101260"/>
                    <a:pt x="91670" y="101824"/>
                    <a:pt x="91388" y="102106"/>
                  </a:cubicBezTo>
                  <a:cubicBezTo>
                    <a:pt x="91952" y="102106"/>
                    <a:pt x="92234" y="102106"/>
                    <a:pt x="92516" y="101542"/>
                  </a:cubicBezTo>
                  <a:cubicBezTo>
                    <a:pt x="92516" y="101260"/>
                    <a:pt x="92516" y="101260"/>
                    <a:pt x="92234" y="101260"/>
                  </a:cubicBezTo>
                  <a:close/>
                  <a:moveTo>
                    <a:pt x="93362" y="98721"/>
                  </a:moveTo>
                  <a:lnTo>
                    <a:pt x="93644" y="98721"/>
                  </a:lnTo>
                  <a:cubicBezTo>
                    <a:pt x="93926" y="98721"/>
                    <a:pt x="94208" y="98721"/>
                    <a:pt x="94491" y="98439"/>
                  </a:cubicBezTo>
                  <a:cubicBezTo>
                    <a:pt x="94208" y="98157"/>
                    <a:pt x="93926" y="97875"/>
                    <a:pt x="93926" y="98157"/>
                  </a:cubicBezTo>
                  <a:cubicBezTo>
                    <a:pt x="93644" y="98157"/>
                    <a:pt x="93644" y="98439"/>
                    <a:pt x="93362" y="98721"/>
                  </a:cubicBezTo>
                  <a:close/>
                  <a:moveTo>
                    <a:pt x="93926" y="100696"/>
                  </a:moveTo>
                  <a:cubicBezTo>
                    <a:pt x="93926" y="100696"/>
                    <a:pt x="93926" y="100414"/>
                    <a:pt x="94208" y="100414"/>
                  </a:cubicBezTo>
                  <a:cubicBezTo>
                    <a:pt x="94208" y="100414"/>
                    <a:pt x="94491" y="100696"/>
                    <a:pt x="94772" y="100696"/>
                  </a:cubicBezTo>
                  <a:cubicBezTo>
                    <a:pt x="94491" y="100414"/>
                    <a:pt x="94491" y="100132"/>
                    <a:pt x="94491" y="100132"/>
                  </a:cubicBezTo>
                  <a:cubicBezTo>
                    <a:pt x="94208" y="100132"/>
                    <a:pt x="94208" y="100414"/>
                    <a:pt x="93926" y="100414"/>
                  </a:cubicBezTo>
                  <a:lnTo>
                    <a:pt x="93926" y="100696"/>
                  </a:lnTo>
                  <a:close/>
                  <a:moveTo>
                    <a:pt x="94491" y="103799"/>
                  </a:moveTo>
                  <a:cubicBezTo>
                    <a:pt x="95055" y="103799"/>
                    <a:pt x="95619" y="103517"/>
                    <a:pt x="95901" y="103234"/>
                  </a:cubicBezTo>
                  <a:cubicBezTo>
                    <a:pt x="95901" y="103234"/>
                    <a:pt x="95901" y="102952"/>
                    <a:pt x="95619" y="102670"/>
                  </a:cubicBezTo>
                  <a:cubicBezTo>
                    <a:pt x="95055" y="102670"/>
                    <a:pt x="94772" y="102952"/>
                    <a:pt x="94491" y="103799"/>
                  </a:cubicBezTo>
                  <a:close/>
                  <a:moveTo>
                    <a:pt x="96465" y="96183"/>
                  </a:moveTo>
                  <a:lnTo>
                    <a:pt x="95901" y="96747"/>
                  </a:lnTo>
                  <a:cubicBezTo>
                    <a:pt x="95901" y="96747"/>
                    <a:pt x="95336" y="97029"/>
                    <a:pt x="95619" y="97029"/>
                  </a:cubicBezTo>
                  <a:cubicBezTo>
                    <a:pt x="95619" y="97311"/>
                    <a:pt x="95901" y="97311"/>
                    <a:pt x="95901" y="97311"/>
                  </a:cubicBezTo>
                  <a:cubicBezTo>
                    <a:pt x="96183" y="97311"/>
                    <a:pt x="96183" y="96747"/>
                    <a:pt x="96183" y="96747"/>
                  </a:cubicBezTo>
                  <a:cubicBezTo>
                    <a:pt x="96747" y="96747"/>
                    <a:pt x="97029" y="96747"/>
                    <a:pt x="97593" y="96183"/>
                  </a:cubicBezTo>
                  <a:cubicBezTo>
                    <a:pt x="97875" y="95337"/>
                    <a:pt x="98157" y="95055"/>
                    <a:pt x="99003" y="94773"/>
                  </a:cubicBezTo>
                  <a:lnTo>
                    <a:pt x="99286" y="94491"/>
                  </a:lnTo>
                  <a:cubicBezTo>
                    <a:pt x="99286" y="94491"/>
                    <a:pt x="99286" y="94209"/>
                    <a:pt x="99003" y="94209"/>
                  </a:cubicBezTo>
                  <a:cubicBezTo>
                    <a:pt x="98439" y="94491"/>
                    <a:pt x="97875" y="94491"/>
                    <a:pt x="97593" y="94491"/>
                  </a:cubicBezTo>
                  <a:cubicBezTo>
                    <a:pt x="97311" y="94491"/>
                    <a:pt x="97029" y="94491"/>
                    <a:pt x="97029" y="93926"/>
                  </a:cubicBezTo>
                  <a:cubicBezTo>
                    <a:pt x="97029" y="93644"/>
                    <a:pt x="96747" y="93362"/>
                    <a:pt x="96747" y="93644"/>
                  </a:cubicBezTo>
                  <a:lnTo>
                    <a:pt x="95619" y="94209"/>
                  </a:lnTo>
                  <a:lnTo>
                    <a:pt x="95336" y="94209"/>
                  </a:lnTo>
                  <a:cubicBezTo>
                    <a:pt x="95336" y="94491"/>
                    <a:pt x="95336" y="94773"/>
                    <a:pt x="95619" y="94773"/>
                  </a:cubicBezTo>
                  <a:cubicBezTo>
                    <a:pt x="95619" y="94773"/>
                    <a:pt x="95901" y="94773"/>
                    <a:pt x="95901" y="95055"/>
                  </a:cubicBezTo>
                  <a:cubicBezTo>
                    <a:pt x="96183" y="95337"/>
                    <a:pt x="96465" y="95901"/>
                    <a:pt x="96465" y="96183"/>
                  </a:cubicBezTo>
                  <a:close/>
                  <a:moveTo>
                    <a:pt x="96465" y="104081"/>
                  </a:moveTo>
                  <a:lnTo>
                    <a:pt x="96465" y="104363"/>
                  </a:lnTo>
                  <a:cubicBezTo>
                    <a:pt x="96465" y="104081"/>
                    <a:pt x="96465" y="104081"/>
                    <a:pt x="96747" y="103799"/>
                  </a:cubicBezTo>
                  <a:cubicBezTo>
                    <a:pt x="96465" y="103799"/>
                    <a:pt x="96465" y="103799"/>
                    <a:pt x="96465" y="104081"/>
                  </a:cubicBezTo>
                  <a:close/>
                  <a:moveTo>
                    <a:pt x="96747" y="98721"/>
                  </a:moveTo>
                  <a:lnTo>
                    <a:pt x="97029" y="98721"/>
                  </a:lnTo>
                  <a:lnTo>
                    <a:pt x="98157" y="97029"/>
                  </a:lnTo>
                  <a:lnTo>
                    <a:pt x="98157" y="96747"/>
                  </a:lnTo>
                  <a:lnTo>
                    <a:pt x="97875" y="96747"/>
                  </a:lnTo>
                  <a:cubicBezTo>
                    <a:pt x="97311" y="97029"/>
                    <a:pt x="97029" y="97593"/>
                    <a:pt x="96747" y="98439"/>
                  </a:cubicBezTo>
                  <a:lnTo>
                    <a:pt x="96747" y="98721"/>
                  </a:lnTo>
                  <a:close/>
                  <a:moveTo>
                    <a:pt x="99286" y="97311"/>
                  </a:moveTo>
                  <a:cubicBezTo>
                    <a:pt x="99286" y="97311"/>
                    <a:pt x="99003" y="97311"/>
                    <a:pt x="99003" y="97593"/>
                  </a:cubicBezTo>
                  <a:cubicBezTo>
                    <a:pt x="98722" y="97593"/>
                    <a:pt x="98722" y="97875"/>
                    <a:pt x="98722" y="98157"/>
                  </a:cubicBezTo>
                  <a:lnTo>
                    <a:pt x="99850" y="99286"/>
                  </a:lnTo>
                  <a:cubicBezTo>
                    <a:pt x="100132" y="99286"/>
                    <a:pt x="99850" y="99004"/>
                    <a:pt x="99850" y="99004"/>
                  </a:cubicBezTo>
                  <a:lnTo>
                    <a:pt x="99850" y="97593"/>
                  </a:lnTo>
                  <a:cubicBezTo>
                    <a:pt x="99567" y="97311"/>
                    <a:pt x="99286" y="97311"/>
                    <a:pt x="99286" y="97311"/>
                  </a:cubicBezTo>
                  <a:close/>
                  <a:moveTo>
                    <a:pt x="99850" y="93362"/>
                  </a:moveTo>
                  <a:cubicBezTo>
                    <a:pt x="100132" y="93362"/>
                    <a:pt x="100413" y="93644"/>
                    <a:pt x="100696" y="93644"/>
                  </a:cubicBezTo>
                  <a:cubicBezTo>
                    <a:pt x="100977" y="93644"/>
                    <a:pt x="101260" y="93362"/>
                    <a:pt x="101824" y="93080"/>
                  </a:cubicBezTo>
                  <a:cubicBezTo>
                    <a:pt x="101824" y="92798"/>
                    <a:pt x="102106" y="92516"/>
                    <a:pt x="101824" y="92516"/>
                  </a:cubicBezTo>
                  <a:cubicBezTo>
                    <a:pt x="101824" y="92234"/>
                    <a:pt x="101824" y="92234"/>
                    <a:pt x="101542" y="92234"/>
                  </a:cubicBezTo>
                  <a:cubicBezTo>
                    <a:pt x="101260" y="92516"/>
                    <a:pt x="101260" y="92516"/>
                    <a:pt x="100977" y="92516"/>
                  </a:cubicBezTo>
                  <a:cubicBezTo>
                    <a:pt x="100696" y="92516"/>
                    <a:pt x="100413" y="92516"/>
                    <a:pt x="99850" y="92798"/>
                  </a:cubicBezTo>
                  <a:lnTo>
                    <a:pt x="99850" y="93362"/>
                  </a:lnTo>
                  <a:close/>
                  <a:moveTo>
                    <a:pt x="101824" y="94209"/>
                  </a:moveTo>
                  <a:cubicBezTo>
                    <a:pt x="101542" y="94209"/>
                    <a:pt x="101260" y="94491"/>
                    <a:pt x="100977" y="95055"/>
                  </a:cubicBezTo>
                  <a:lnTo>
                    <a:pt x="100977" y="95337"/>
                  </a:lnTo>
                  <a:cubicBezTo>
                    <a:pt x="100977" y="95619"/>
                    <a:pt x="100977" y="95619"/>
                    <a:pt x="101260" y="95619"/>
                  </a:cubicBezTo>
                  <a:lnTo>
                    <a:pt x="101542" y="95619"/>
                  </a:lnTo>
                  <a:cubicBezTo>
                    <a:pt x="101542" y="95619"/>
                    <a:pt x="101824" y="95619"/>
                    <a:pt x="102106" y="95337"/>
                  </a:cubicBezTo>
                  <a:lnTo>
                    <a:pt x="102106" y="94491"/>
                  </a:lnTo>
                  <a:lnTo>
                    <a:pt x="101824" y="94209"/>
                  </a:lnTo>
                  <a:close/>
                  <a:moveTo>
                    <a:pt x="106337" y="171493"/>
                  </a:moveTo>
                  <a:lnTo>
                    <a:pt x="105773" y="171493"/>
                  </a:lnTo>
                  <a:cubicBezTo>
                    <a:pt x="105208" y="171493"/>
                    <a:pt x="104927" y="171211"/>
                    <a:pt x="104644" y="171211"/>
                  </a:cubicBezTo>
                  <a:lnTo>
                    <a:pt x="104644" y="171775"/>
                  </a:lnTo>
                  <a:cubicBezTo>
                    <a:pt x="104644" y="172057"/>
                    <a:pt x="105208" y="172339"/>
                    <a:pt x="106055" y="172622"/>
                  </a:cubicBezTo>
                  <a:cubicBezTo>
                    <a:pt x="106055" y="172622"/>
                    <a:pt x="106337" y="172057"/>
                    <a:pt x="106337" y="171775"/>
                  </a:cubicBezTo>
                  <a:lnTo>
                    <a:pt x="106337" y="171493"/>
                  </a:lnTo>
                  <a:close/>
                  <a:moveTo>
                    <a:pt x="105491" y="173468"/>
                  </a:moveTo>
                  <a:cubicBezTo>
                    <a:pt x="104927" y="173468"/>
                    <a:pt x="104644" y="174032"/>
                    <a:pt x="104644" y="174878"/>
                  </a:cubicBezTo>
                  <a:lnTo>
                    <a:pt x="104644" y="175160"/>
                  </a:lnTo>
                  <a:lnTo>
                    <a:pt x="104927" y="175160"/>
                  </a:lnTo>
                  <a:lnTo>
                    <a:pt x="106055" y="173468"/>
                  </a:lnTo>
                  <a:lnTo>
                    <a:pt x="105491" y="173468"/>
                  </a:lnTo>
                  <a:close/>
                  <a:moveTo>
                    <a:pt x="108594" y="163314"/>
                  </a:moveTo>
                  <a:cubicBezTo>
                    <a:pt x="108311" y="163031"/>
                    <a:pt x="108311" y="162749"/>
                    <a:pt x="108311" y="162185"/>
                  </a:cubicBezTo>
                  <a:lnTo>
                    <a:pt x="108311" y="161903"/>
                  </a:lnTo>
                  <a:cubicBezTo>
                    <a:pt x="108029" y="162185"/>
                    <a:pt x="108029" y="162185"/>
                    <a:pt x="107747" y="162185"/>
                  </a:cubicBezTo>
                  <a:cubicBezTo>
                    <a:pt x="107183" y="162467"/>
                    <a:pt x="106901" y="163031"/>
                    <a:pt x="106901" y="163596"/>
                  </a:cubicBezTo>
                  <a:cubicBezTo>
                    <a:pt x="106901" y="163878"/>
                    <a:pt x="107183" y="164442"/>
                    <a:pt x="107183" y="164724"/>
                  </a:cubicBezTo>
                  <a:lnTo>
                    <a:pt x="108029" y="165006"/>
                  </a:lnTo>
                  <a:cubicBezTo>
                    <a:pt x="108029" y="164724"/>
                    <a:pt x="108311" y="164160"/>
                    <a:pt x="108594" y="163596"/>
                  </a:cubicBezTo>
                  <a:lnTo>
                    <a:pt x="108594" y="163314"/>
                  </a:lnTo>
                  <a:close/>
                  <a:moveTo>
                    <a:pt x="108029" y="166134"/>
                  </a:moveTo>
                  <a:cubicBezTo>
                    <a:pt x="107747" y="166134"/>
                    <a:pt x="107747" y="165852"/>
                    <a:pt x="107465" y="165570"/>
                  </a:cubicBezTo>
                  <a:cubicBezTo>
                    <a:pt x="107465" y="165852"/>
                    <a:pt x="107183" y="166134"/>
                    <a:pt x="107183" y="166416"/>
                  </a:cubicBezTo>
                  <a:cubicBezTo>
                    <a:pt x="107465" y="166416"/>
                    <a:pt x="107747" y="166698"/>
                    <a:pt x="107747" y="166698"/>
                  </a:cubicBezTo>
                  <a:cubicBezTo>
                    <a:pt x="107747" y="166698"/>
                    <a:pt x="107747" y="166416"/>
                    <a:pt x="108029" y="166134"/>
                  </a:cubicBezTo>
                  <a:close/>
                  <a:moveTo>
                    <a:pt x="108311" y="157390"/>
                  </a:moveTo>
                  <a:lnTo>
                    <a:pt x="108311" y="157954"/>
                  </a:lnTo>
                  <a:lnTo>
                    <a:pt x="108875" y="157954"/>
                  </a:lnTo>
                  <a:lnTo>
                    <a:pt x="108311" y="157390"/>
                  </a:lnTo>
                  <a:close/>
                  <a:moveTo>
                    <a:pt x="108875" y="154852"/>
                  </a:moveTo>
                  <a:cubicBezTo>
                    <a:pt x="108875" y="154852"/>
                    <a:pt x="108875" y="155134"/>
                    <a:pt x="109158" y="155134"/>
                  </a:cubicBezTo>
                  <a:lnTo>
                    <a:pt x="109439" y="154852"/>
                  </a:lnTo>
                  <a:cubicBezTo>
                    <a:pt x="109439" y="154570"/>
                    <a:pt x="109158" y="154570"/>
                    <a:pt x="109158" y="154288"/>
                  </a:cubicBezTo>
                  <a:lnTo>
                    <a:pt x="109158" y="154570"/>
                  </a:lnTo>
                  <a:lnTo>
                    <a:pt x="108875" y="154852"/>
                  </a:lnTo>
                  <a:close/>
                  <a:moveTo>
                    <a:pt x="109439" y="158801"/>
                  </a:moveTo>
                  <a:cubicBezTo>
                    <a:pt x="109439" y="159083"/>
                    <a:pt x="109439" y="159365"/>
                    <a:pt x="109722" y="159365"/>
                  </a:cubicBezTo>
                  <a:lnTo>
                    <a:pt x="110004" y="159365"/>
                  </a:lnTo>
                  <a:lnTo>
                    <a:pt x="110004" y="157954"/>
                  </a:lnTo>
                  <a:cubicBezTo>
                    <a:pt x="109722" y="158236"/>
                    <a:pt x="109439" y="158801"/>
                    <a:pt x="109439" y="158801"/>
                  </a:cubicBezTo>
                  <a:close/>
                  <a:moveTo>
                    <a:pt x="110286" y="161339"/>
                  </a:moveTo>
                  <a:cubicBezTo>
                    <a:pt x="110004" y="161339"/>
                    <a:pt x="110004" y="161057"/>
                    <a:pt x="109722" y="160775"/>
                  </a:cubicBezTo>
                  <a:cubicBezTo>
                    <a:pt x="109439" y="160775"/>
                    <a:pt x="109439" y="161057"/>
                    <a:pt x="109439" y="161057"/>
                  </a:cubicBezTo>
                  <a:lnTo>
                    <a:pt x="109439" y="161339"/>
                  </a:lnTo>
                  <a:cubicBezTo>
                    <a:pt x="109722" y="161339"/>
                    <a:pt x="110004" y="161339"/>
                    <a:pt x="110004" y="161621"/>
                  </a:cubicBezTo>
                  <a:lnTo>
                    <a:pt x="110286" y="161339"/>
                  </a:lnTo>
                  <a:close/>
                  <a:moveTo>
                    <a:pt x="114517" y="142723"/>
                  </a:moveTo>
                  <a:cubicBezTo>
                    <a:pt x="114235" y="142723"/>
                    <a:pt x="113953" y="142441"/>
                    <a:pt x="113670" y="142441"/>
                  </a:cubicBezTo>
                  <a:cubicBezTo>
                    <a:pt x="113389" y="142441"/>
                    <a:pt x="113389" y="142723"/>
                    <a:pt x="113389" y="143287"/>
                  </a:cubicBezTo>
                  <a:cubicBezTo>
                    <a:pt x="113389" y="143851"/>
                    <a:pt x="113106" y="144415"/>
                    <a:pt x="113106" y="144980"/>
                  </a:cubicBezTo>
                  <a:cubicBezTo>
                    <a:pt x="112260" y="144980"/>
                    <a:pt x="112260" y="145544"/>
                    <a:pt x="112260" y="145826"/>
                  </a:cubicBezTo>
                  <a:lnTo>
                    <a:pt x="112260" y="146108"/>
                  </a:lnTo>
                  <a:lnTo>
                    <a:pt x="112542" y="146390"/>
                  </a:lnTo>
                  <a:cubicBezTo>
                    <a:pt x="112542" y="147236"/>
                    <a:pt x="112542" y="147236"/>
                    <a:pt x="111414" y="147518"/>
                  </a:cubicBezTo>
                  <a:cubicBezTo>
                    <a:pt x="111414" y="147518"/>
                    <a:pt x="111132" y="147800"/>
                    <a:pt x="110850" y="147800"/>
                  </a:cubicBezTo>
                  <a:cubicBezTo>
                    <a:pt x="110568" y="148364"/>
                    <a:pt x="110286" y="149210"/>
                    <a:pt x="110286" y="149775"/>
                  </a:cubicBezTo>
                  <a:cubicBezTo>
                    <a:pt x="110286" y="150057"/>
                    <a:pt x="110286" y="150339"/>
                    <a:pt x="110568" y="150621"/>
                  </a:cubicBezTo>
                  <a:cubicBezTo>
                    <a:pt x="110850" y="151467"/>
                    <a:pt x="110850" y="152595"/>
                    <a:pt x="111132" y="153159"/>
                  </a:cubicBezTo>
                  <a:cubicBezTo>
                    <a:pt x="111132" y="153441"/>
                    <a:pt x="111132" y="153441"/>
                    <a:pt x="111414" y="153441"/>
                  </a:cubicBezTo>
                  <a:cubicBezTo>
                    <a:pt x="111414" y="153723"/>
                    <a:pt x="111414" y="153441"/>
                    <a:pt x="111696" y="153441"/>
                  </a:cubicBezTo>
                  <a:lnTo>
                    <a:pt x="111978" y="153159"/>
                  </a:lnTo>
                  <a:cubicBezTo>
                    <a:pt x="112542" y="152031"/>
                    <a:pt x="113106" y="150339"/>
                    <a:pt x="113106" y="148364"/>
                  </a:cubicBezTo>
                  <a:cubicBezTo>
                    <a:pt x="113953" y="146672"/>
                    <a:pt x="113670" y="145262"/>
                    <a:pt x="114517" y="143851"/>
                  </a:cubicBezTo>
                  <a:lnTo>
                    <a:pt x="114517" y="142723"/>
                  </a:lnTo>
                  <a:close/>
                  <a:moveTo>
                    <a:pt x="111696" y="155980"/>
                  </a:moveTo>
                  <a:lnTo>
                    <a:pt x="111132" y="155980"/>
                  </a:lnTo>
                  <a:lnTo>
                    <a:pt x="111414" y="156262"/>
                  </a:lnTo>
                  <a:lnTo>
                    <a:pt x="111696" y="155980"/>
                  </a:lnTo>
                  <a:close/>
                  <a:moveTo>
                    <a:pt x="113953" y="135672"/>
                  </a:moveTo>
                  <a:lnTo>
                    <a:pt x="113953" y="135389"/>
                  </a:lnTo>
                  <a:cubicBezTo>
                    <a:pt x="113953" y="135389"/>
                    <a:pt x="113670" y="135107"/>
                    <a:pt x="113670" y="134543"/>
                  </a:cubicBezTo>
                  <a:cubicBezTo>
                    <a:pt x="113670" y="134825"/>
                    <a:pt x="113389" y="135107"/>
                    <a:pt x="113389" y="135389"/>
                  </a:cubicBezTo>
                  <a:cubicBezTo>
                    <a:pt x="113670" y="135672"/>
                    <a:pt x="113670" y="135672"/>
                    <a:pt x="113953" y="135672"/>
                  </a:cubicBezTo>
                  <a:close/>
                  <a:moveTo>
                    <a:pt x="116773" y="131159"/>
                  </a:moveTo>
                  <a:cubicBezTo>
                    <a:pt x="116773" y="130594"/>
                    <a:pt x="116491" y="129748"/>
                    <a:pt x="116491" y="128902"/>
                  </a:cubicBezTo>
                  <a:cubicBezTo>
                    <a:pt x="116491" y="128620"/>
                    <a:pt x="116209" y="128902"/>
                    <a:pt x="116209" y="128902"/>
                  </a:cubicBezTo>
                  <a:cubicBezTo>
                    <a:pt x="116209" y="129466"/>
                    <a:pt x="116209" y="129748"/>
                    <a:pt x="115927" y="130030"/>
                  </a:cubicBezTo>
                  <a:cubicBezTo>
                    <a:pt x="115645" y="130312"/>
                    <a:pt x="115645" y="130312"/>
                    <a:pt x="115645" y="130594"/>
                  </a:cubicBezTo>
                  <a:cubicBezTo>
                    <a:pt x="115645" y="130876"/>
                    <a:pt x="115645" y="131159"/>
                    <a:pt x="115927" y="131441"/>
                  </a:cubicBezTo>
                  <a:cubicBezTo>
                    <a:pt x="115927" y="131723"/>
                    <a:pt x="115645" y="131723"/>
                    <a:pt x="115081" y="131723"/>
                  </a:cubicBezTo>
                  <a:cubicBezTo>
                    <a:pt x="115081" y="131441"/>
                    <a:pt x="114799" y="131723"/>
                    <a:pt x="114235" y="132287"/>
                  </a:cubicBezTo>
                  <a:cubicBezTo>
                    <a:pt x="114235" y="132851"/>
                    <a:pt x="113953" y="133697"/>
                    <a:pt x="113670" y="134543"/>
                  </a:cubicBezTo>
                  <a:cubicBezTo>
                    <a:pt x="114517" y="134543"/>
                    <a:pt x="114799" y="135107"/>
                    <a:pt x="115081" y="135389"/>
                  </a:cubicBezTo>
                  <a:cubicBezTo>
                    <a:pt x="115081" y="135672"/>
                    <a:pt x="115081" y="135672"/>
                    <a:pt x="115363" y="135672"/>
                  </a:cubicBezTo>
                  <a:lnTo>
                    <a:pt x="115645" y="135672"/>
                  </a:lnTo>
                  <a:cubicBezTo>
                    <a:pt x="115927" y="135672"/>
                    <a:pt x="115927" y="135389"/>
                    <a:pt x="115927" y="135389"/>
                  </a:cubicBezTo>
                  <a:cubicBezTo>
                    <a:pt x="115927" y="135389"/>
                    <a:pt x="115645" y="135107"/>
                    <a:pt x="115645" y="134825"/>
                  </a:cubicBezTo>
                  <a:cubicBezTo>
                    <a:pt x="115645" y="134261"/>
                    <a:pt x="115645" y="133415"/>
                    <a:pt x="115927" y="133133"/>
                  </a:cubicBezTo>
                  <a:lnTo>
                    <a:pt x="116491" y="132005"/>
                  </a:lnTo>
                  <a:cubicBezTo>
                    <a:pt x="116773" y="131723"/>
                    <a:pt x="116773" y="131441"/>
                    <a:pt x="116773" y="131159"/>
                  </a:cubicBezTo>
                  <a:close/>
                  <a:moveTo>
                    <a:pt x="114799" y="115081"/>
                  </a:moveTo>
                  <a:lnTo>
                    <a:pt x="114799" y="115363"/>
                  </a:lnTo>
                  <a:lnTo>
                    <a:pt x="115081" y="115363"/>
                  </a:lnTo>
                  <a:lnTo>
                    <a:pt x="115081" y="115081"/>
                  </a:lnTo>
                  <a:lnTo>
                    <a:pt x="114799" y="115081"/>
                  </a:lnTo>
                  <a:close/>
                  <a:moveTo>
                    <a:pt x="115645" y="137364"/>
                  </a:moveTo>
                  <a:lnTo>
                    <a:pt x="114799" y="137364"/>
                  </a:lnTo>
                  <a:lnTo>
                    <a:pt x="114799" y="137646"/>
                  </a:lnTo>
                  <a:cubicBezTo>
                    <a:pt x="115081" y="137646"/>
                    <a:pt x="115645" y="137646"/>
                    <a:pt x="115645" y="137364"/>
                  </a:cubicBezTo>
                  <a:close/>
                  <a:moveTo>
                    <a:pt x="115363" y="128620"/>
                  </a:moveTo>
                  <a:lnTo>
                    <a:pt x="115363" y="128902"/>
                  </a:lnTo>
                  <a:cubicBezTo>
                    <a:pt x="115645" y="128902"/>
                    <a:pt x="115645" y="128620"/>
                    <a:pt x="115927" y="128338"/>
                  </a:cubicBezTo>
                  <a:lnTo>
                    <a:pt x="115645" y="128056"/>
                  </a:lnTo>
                  <a:cubicBezTo>
                    <a:pt x="115363" y="128056"/>
                    <a:pt x="115363" y="128338"/>
                    <a:pt x="115363" y="128620"/>
                  </a:cubicBezTo>
                  <a:close/>
                  <a:moveTo>
                    <a:pt x="118183" y="47668"/>
                  </a:moveTo>
                  <a:cubicBezTo>
                    <a:pt x="118183" y="47386"/>
                    <a:pt x="118183" y="47104"/>
                    <a:pt x="118466" y="46540"/>
                  </a:cubicBezTo>
                  <a:cubicBezTo>
                    <a:pt x="118747" y="46258"/>
                    <a:pt x="119030" y="46258"/>
                    <a:pt x="119030" y="45976"/>
                  </a:cubicBezTo>
                  <a:cubicBezTo>
                    <a:pt x="119030" y="45976"/>
                    <a:pt x="118747" y="45694"/>
                    <a:pt x="118747" y="45412"/>
                  </a:cubicBezTo>
                  <a:cubicBezTo>
                    <a:pt x="117901" y="45130"/>
                    <a:pt x="117620" y="44284"/>
                    <a:pt x="117620" y="43437"/>
                  </a:cubicBezTo>
                  <a:lnTo>
                    <a:pt x="117620" y="41463"/>
                  </a:lnTo>
                  <a:cubicBezTo>
                    <a:pt x="117620" y="40617"/>
                    <a:pt x="117620" y="39771"/>
                    <a:pt x="117337" y="39771"/>
                  </a:cubicBezTo>
                  <a:lnTo>
                    <a:pt x="117901" y="38078"/>
                  </a:lnTo>
                  <a:cubicBezTo>
                    <a:pt x="117901" y="37514"/>
                    <a:pt x="117620" y="37514"/>
                    <a:pt x="117056" y="37232"/>
                  </a:cubicBezTo>
                  <a:cubicBezTo>
                    <a:pt x="116773" y="37232"/>
                    <a:pt x="116491" y="37514"/>
                    <a:pt x="116209" y="38078"/>
                  </a:cubicBezTo>
                  <a:cubicBezTo>
                    <a:pt x="116209" y="38078"/>
                    <a:pt x="115927" y="38642"/>
                    <a:pt x="115645" y="38924"/>
                  </a:cubicBezTo>
                  <a:cubicBezTo>
                    <a:pt x="115645" y="39771"/>
                    <a:pt x="115927" y="40053"/>
                    <a:pt x="116209" y="40617"/>
                  </a:cubicBezTo>
                  <a:cubicBezTo>
                    <a:pt x="116491" y="40899"/>
                    <a:pt x="116773" y="41463"/>
                    <a:pt x="116773" y="41463"/>
                  </a:cubicBezTo>
                  <a:lnTo>
                    <a:pt x="116773" y="45694"/>
                  </a:lnTo>
                  <a:cubicBezTo>
                    <a:pt x="116773" y="45976"/>
                    <a:pt x="117056" y="46258"/>
                    <a:pt x="117056" y="46540"/>
                  </a:cubicBezTo>
                  <a:cubicBezTo>
                    <a:pt x="117056" y="46822"/>
                    <a:pt x="116773" y="46822"/>
                    <a:pt x="116773" y="47104"/>
                  </a:cubicBezTo>
                  <a:cubicBezTo>
                    <a:pt x="116491" y="47104"/>
                    <a:pt x="116209" y="47386"/>
                    <a:pt x="116209" y="47386"/>
                  </a:cubicBezTo>
                  <a:lnTo>
                    <a:pt x="116491" y="47668"/>
                  </a:lnTo>
                  <a:cubicBezTo>
                    <a:pt x="116773" y="48797"/>
                    <a:pt x="116491" y="49925"/>
                    <a:pt x="117337" y="51053"/>
                  </a:cubicBezTo>
                  <a:cubicBezTo>
                    <a:pt x="117620" y="51617"/>
                    <a:pt x="117620" y="51899"/>
                    <a:pt x="117620" y="52463"/>
                  </a:cubicBezTo>
                  <a:cubicBezTo>
                    <a:pt x="118183" y="51617"/>
                    <a:pt x="118183" y="50489"/>
                    <a:pt x="118183" y="49361"/>
                  </a:cubicBezTo>
                  <a:lnTo>
                    <a:pt x="118183" y="47668"/>
                  </a:lnTo>
                  <a:close/>
                  <a:moveTo>
                    <a:pt x="117620" y="119594"/>
                  </a:moveTo>
                  <a:cubicBezTo>
                    <a:pt x="117620" y="119312"/>
                    <a:pt x="117337" y="119312"/>
                    <a:pt x="117337" y="119030"/>
                  </a:cubicBezTo>
                  <a:cubicBezTo>
                    <a:pt x="117337" y="118466"/>
                    <a:pt x="117337" y="118184"/>
                    <a:pt x="117056" y="117902"/>
                  </a:cubicBezTo>
                  <a:cubicBezTo>
                    <a:pt x="116773" y="117902"/>
                    <a:pt x="116773" y="117620"/>
                    <a:pt x="116773" y="117620"/>
                  </a:cubicBezTo>
                  <a:lnTo>
                    <a:pt x="116491" y="117902"/>
                  </a:lnTo>
                  <a:cubicBezTo>
                    <a:pt x="116209" y="118184"/>
                    <a:pt x="115927" y="119312"/>
                    <a:pt x="115927" y="120158"/>
                  </a:cubicBezTo>
                  <a:cubicBezTo>
                    <a:pt x="115927" y="120440"/>
                    <a:pt x="116209" y="120440"/>
                    <a:pt x="116491" y="121004"/>
                  </a:cubicBezTo>
                  <a:cubicBezTo>
                    <a:pt x="116773" y="121286"/>
                    <a:pt x="116773" y="121286"/>
                    <a:pt x="117056" y="121286"/>
                  </a:cubicBezTo>
                  <a:lnTo>
                    <a:pt x="117337" y="121286"/>
                  </a:lnTo>
                  <a:cubicBezTo>
                    <a:pt x="117620" y="121286"/>
                    <a:pt x="117620" y="121286"/>
                    <a:pt x="117620" y="121004"/>
                  </a:cubicBezTo>
                  <a:cubicBezTo>
                    <a:pt x="117620" y="120722"/>
                    <a:pt x="117337" y="120158"/>
                    <a:pt x="117337" y="120158"/>
                  </a:cubicBezTo>
                  <a:cubicBezTo>
                    <a:pt x="117337" y="120158"/>
                    <a:pt x="117620" y="119876"/>
                    <a:pt x="117620" y="119594"/>
                  </a:cubicBezTo>
                  <a:close/>
                  <a:moveTo>
                    <a:pt x="116209" y="153159"/>
                  </a:moveTo>
                  <a:lnTo>
                    <a:pt x="116209" y="152877"/>
                  </a:lnTo>
                  <a:lnTo>
                    <a:pt x="116491" y="152877"/>
                  </a:lnTo>
                  <a:cubicBezTo>
                    <a:pt x="116491" y="152877"/>
                    <a:pt x="116491" y="153159"/>
                    <a:pt x="116209" y="153159"/>
                  </a:cubicBezTo>
                  <a:close/>
                  <a:moveTo>
                    <a:pt x="117056" y="111978"/>
                  </a:moveTo>
                  <a:cubicBezTo>
                    <a:pt x="117901" y="110850"/>
                    <a:pt x="117901" y="109722"/>
                    <a:pt x="118466" y="109158"/>
                  </a:cubicBezTo>
                  <a:lnTo>
                    <a:pt x="118466" y="108594"/>
                  </a:lnTo>
                  <a:cubicBezTo>
                    <a:pt x="118466" y="108030"/>
                    <a:pt x="117620" y="107183"/>
                    <a:pt x="117337" y="107183"/>
                  </a:cubicBezTo>
                  <a:cubicBezTo>
                    <a:pt x="116773" y="107183"/>
                    <a:pt x="116773" y="107747"/>
                    <a:pt x="116773" y="107747"/>
                  </a:cubicBezTo>
                  <a:cubicBezTo>
                    <a:pt x="116773" y="108594"/>
                    <a:pt x="116491" y="109440"/>
                    <a:pt x="116491" y="110004"/>
                  </a:cubicBezTo>
                  <a:lnTo>
                    <a:pt x="116491" y="116773"/>
                  </a:lnTo>
                  <a:cubicBezTo>
                    <a:pt x="117056" y="116209"/>
                    <a:pt x="117056" y="115927"/>
                    <a:pt x="117056" y="115363"/>
                  </a:cubicBezTo>
                  <a:cubicBezTo>
                    <a:pt x="117056" y="115081"/>
                    <a:pt x="117337" y="114799"/>
                    <a:pt x="118183" y="114799"/>
                  </a:cubicBezTo>
                  <a:cubicBezTo>
                    <a:pt x="118183" y="114799"/>
                    <a:pt x="118466" y="114517"/>
                    <a:pt x="118466" y="114235"/>
                  </a:cubicBezTo>
                  <a:cubicBezTo>
                    <a:pt x="118747" y="113671"/>
                    <a:pt x="118747" y="113107"/>
                    <a:pt x="118747" y="112260"/>
                  </a:cubicBezTo>
                  <a:lnTo>
                    <a:pt x="118183" y="112260"/>
                  </a:lnTo>
                  <a:lnTo>
                    <a:pt x="117901" y="111978"/>
                  </a:lnTo>
                  <a:cubicBezTo>
                    <a:pt x="117620" y="112260"/>
                    <a:pt x="117337" y="112260"/>
                    <a:pt x="117337" y="112260"/>
                  </a:cubicBezTo>
                  <a:lnTo>
                    <a:pt x="117337" y="111978"/>
                  </a:lnTo>
                  <a:lnTo>
                    <a:pt x="117056" y="111978"/>
                  </a:lnTo>
                  <a:close/>
                  <a:moveTo>
                    <a:pt x="119311" y="66566"/>
                  </a:moveTo>
                  <a:lnTo>
                    <a:pt x="119311" y="66284"/>
                  </a:lnTo>
                  <a:lnTo>
                    <a:pt x="119030" y="66002"/>
                  </a:lnTo>
                  <a:cubicBezTo>
                    <a:pt x="119030" y="66284"/>
                    <a:pt x="118747" y="66284"/>
                    <a:pt x="118747" y="66566"/>
                  </a:cubicBezTo>
                  <a:lnTo>
                    <a:pt x="118747" y="67977"/>
                  </a:lnTo>
                  <a:cubicBezTo>
                    <a:pt x="118747" y="67977"/>
                    <a:pt x="118466" y="68259"/>
                    <a:pt x="118183" y="68259"/>
                  </a:cubicBezTo>
                  <a:lnTo>
                    <a:pt x="118183" y="67977"/>
                  </a:lnTo>
                  <a:cubicBezTo>
                    <a:pt x="118183" y="66849"/>
                    <a:pt x="118183" y="65720"/>
                    <a:pt x="117901" y="64874"/>
                  </a:cubicBezTo>
                  <a:cubicBezTo>
                    <a:pt x="117901" y="64874"/>
                    <a:pt x="118183" y="64874"/>
                    <a:pt x="118183" y="64592"/>
                  </a:cubicBezTo>
                  <a:lnTo>
                    <a:pt x="117901" y="64310"/>
                  </a:lnTo>
                  <a:cubicBezTo>
                    <a:pt x="117337" y="64310"/>
                    <a:pt x="117620" y="66566"/>
                    <a:pt x="116773" y="67977"/>
                  </a:cubicBezTo>
                  <a:lnTo>
                    <a:pt x="116773" y="68541"/>
                  </a:lnTo>
                  <a:cubicBezTo>
                    <a:pt x="117337" y="69387"/>
                    <a:pt x="117620" y="71362"/>
                    <a:pt x="118466" y="71362"/>
                  </a:cubicBezTo>
                  <a:lnTo>
                    <a:pt x="118747" y="71362"/>
                  </a:lnTo>
                  <a:lnTo>
                    <a:pt x="118747" y="69951"/>
                  </a:lnTo>
                  <a:cubicBezTo>
                    <a:pt x="118747" y="69669"/>
                    <a:pt x="118747" y="69105"/>
                    <a:pt x="119030" y="68541"/>
                  </a:cubicBezTo>
                  <a:cubicBezTo>
                    <a:pt x="119311" y="68259"/>
                    <a:pt x="119311" y="67413"/>
                    <a:pt x="119311" y="66566"/>
                  </a:cubicBezTo>
                  <a:close/>
                  <a:moveTo>
                    <a:pt x="117620" y="97311"/>
                  </a:moveTo>
                  <a:lnTo>
                    <a:pt x="116773" y="97311"/>
                  </a:lnTo>
                  <a:lnTo>
                    <a:pt x="116773" y="98157"/>
                  </a:lnTo>
                  <a:cubicBezTo>
                    <a:pt x="117337" y="99004"/>
                    <a:pt x="117337" y="99850"/>
                    <a:pt x="117337" y="100132"/>
                  </a:cubicBezTo>
                  <a:lnTo>
                    <a:pt x="116773" y="101542"/>
                  </a:lnTo>
                  <a:cubicBezTo>
                    <a:pt x="116773" y="101824"/>
                    <a:pt x="117056" y="102670"/>
                    <a:pt x="117337" y="102952"/>
                  </a:cubicBezTo>
                  <a:lnTo>
                    <a:pt x="117620" y="103234"/>
                  </a:lnTo>
                  <a:lnTo>
                    <a:pt x="118183" y="103234"/>
                  </a:lnTo>
                  <a:lnTo>
                    <a:pt x="118183" y="102670"/>
                  </a:lnTo>
                  <a:cubicBezTo>
                    <a:pt x="117901" y="101824"/>
                    <a:pt x="117901" y="100978"/>
                    <a:pt x="117901" y="100414"/>
                  </a:cubicBezTo>
                  <a:cubicBezTo>
                    <a:pt x="117901" y="100132"/>
                    <a:pt x="118183" y="100132"/>
                    <a:pt x="118183" y="99568"/>
                  </a:cubicBezTo>
                  <a:lnTo>
                    <a:pt x="118183" y="99004"/>
                  </a:lnTo>
                  <a:cubicBezTo>
                    <a:pt x="117901" y="98721"/>
                    <a:pt x="117901" y="98157"/>
                    <a:pt x="117901" y="98157"/>
                  </a:cubicBezTo>
                  <a:cubicBezTo>
                    <a:pt x="117901" y="97593"/>
                    <a:pt x="117901" y="97311"/>
                    <a:pt x="117620" y="97311"/>
                  </a:cubicBezTo>
                  <a:close/>
                  <a:moveTo>
                    <a:pt x="117056" y="106055"/>
                  </a:moveTo>
                  <a:cubicBezTo>
                    <a:pt x="117056" y="105773"/>
                    <a:pt x="117337" y="105773"/>
                    <a:pt x="117337" y="105773"/>
                  </a:cubicBezTo>
                  <a:lnTo>
                    <a:pt x="117337" y="105491"/>
                  </a:lnTo>
                  <a:lnTo>
                    <a:pt x="116773" y="105491"/>
                  </a:lnTo>
                  <a:cubicBezTo>
                    <a:pt x="116773" y="105773"/>
                    <a:pt x="116773" y="105773"/>
                    <a:pt x="117056" y="106055"/>
                  </a:cubicBezTo>
                  <a:close/>
                  <a:moveTo>
                    <a:pt x="118183" y="91388"/>
                  </a:moveTo>
                  <a:lnTo>
                    <a:pt x="117620" y="91106"/>
                  </a:lnTo>
                  <a:cubicBezTo>
                    <a:pt x="117620" y="91388"/>
                    <a:pt x="117901" y="91388"/>
                    <a:pt x="117901" y="91388"/>
                  </a:cubicBezTo>
                  <a:lnTo>
                    <a:pt x="117620" y="91670"/>
                  </a:lnTo>
                  <a:lnTo>
                    <a:pt x="117901" y="91670"/>
                  </a:lnTo>
                  <a:cubicBezTo>
                    <a:pt x="117901" y="91670"/>
                    <a:pt x="117901" y="91388"/>
                    <a:pt x="118183" y="91388"/>
                  </a:cubicBezTo>
                  <a:close/>
                  <a:moveTo>
                    <a:pt x="119311" y="111132"/>
                  </a:moveTo>
                  <a:lnTo>
                    <a:pt x="119311" y="110568"/>
                  </a:lnTo>
                  <a:lnTo>
                    <a:pt x="119030" y="110568"/>
                  </a:lnTo>
                  <a:cubicBezTo>
                    <a:pt x="119030" y="110850"/>
                    <a:pt x="119311" y="110850"/>
                    <a:pt x="119311" y="111132"/>
                  </a:cubicBezTo>
                  <a:close/>
                  <a:moveTo>
                    <a:pt x="120722" y="69951"/>
                  </a:moveTo>
                  <a:cubicBezTo>
                    <a:pt x="120722" y="69669"/>
                    <a:pt x="120440" y="69387"/>
                    <a:pt x="120158" y="69387"/>
                  </a:cubicBezTo>
                  <a:cubicBezTo>
                    <a:pt x="120158" y="69951"/>
                    <a:pt x="119876" y="70233"/>
                    <a:pt x="119876" y="70515"/>
                  </a:cubicBezTo>
                  <a:cubicBezTo>
                    <a:pt x="119876" y="71079"/>
                    <a:pt x="119311" y="71644"/>
                    <a:pt x="119311" y="71926"/>
                  </a:cubicBezTo>
                  <a:cubicBezTo>
                    <a:pt x="119311" y="72208"/>
                    <a:pt x="119311" y="72208"/>
                    <a:pt x="119594" y="72208"/>
                  </a:cubicBezTo>
                  <a:lnTo>
                    <a:pt x="119876" y="72208"/>
                  </a:lnTo>
                  <a:lnTo>
                    <a:pt x="119876" y="71926"/>
                  </a:lnTo>
                  <a:cubicBezTo>
                    <a:pt x="119876" y="71644"/>
                    <a:pt x="119876" y="71362"/>
                    <a:pt x="120158" y="70797"/>
                  </a:cubicBezTo>
                  <a:cubicBezTo>
                    <a:pt x="120158" y="70233"/>
                    <a:pt x="120440" y="70233"/>
                    <a:pt x="120722" y="69951"/>
                  </a:cubicBezTo>
                  <a:close/>
                  <a:moveTo>
                    <a:pt x="120158" y="40335"/>
                  </a:moveTo>
                  <a:lnTo>
                    <a:pt x="119876" y="40053"/>
                  </a:lnTo>
                  <a:lnTo>
                    <a:pt x="119594" y="40053"/>
                  </a:lnTo>
                  <a:cubicBezTo>
                    <a:pt x="119594" y="40335"/>
                    <a:pt x="119876" y="40335"/>
                    <a:pt x="119876" y="40617"/>
                  </a:cubicBezTo>
                  <a:cubicBezTo>
                    <a:pt x="120158" y="40617"/>
                    <a:pt x="120158" y="40335"/>
                    <a:pt x="120158" y="40335"/>
                  </a:cubicBezTo>
                  <a:close/>
                  <a:moveTo>
                    <a:pt x="120440" y="44002"/>
                  </a:moveTo>
                  <a:lnTo>
                    <a:pt x="119876" y="44002"/>
                  </a:lnTo>
                  <a:lnTo>
                    <a:pt x="119876" y="44566"/>
                  </a:lnTo>
                  <a:lnTo>
                    <a:pt x="120440" y="44002"/>
                  </a:lnTo>
                  <a:close/>
                  <a:moveTo>
                    <a:pt x="122697" y="79259"/>
                  </a:moveTo>
                  <a:lnTo>
                    <a:pt x="122414" y="79259"/>
                  </a:lnTo>
                  <a:cubicBezTo>
                    <a:pt x="122132" y="79541"/>
                    <a:pt x="122132" y="79541"/>
                    <a:pt x="122132" y="79823"/>
                  </a:cubicBezTo>
                  <a:lnTo>
                    <a:pt x="122132" y="80105"/>
                  </a:lnTo>
                  <a:lnTo>
                    <a:pt x="122414" y="80105"/>
                  </a:lnTo>
                  <a:cubicBezTo>
                    <a:pt x="122697" y="79823"/>
                    <a:pt x="122697" y="79541"/>
                    <a:pt x="122697" y="79259"/>
                  </a:cubicBezTo>
                  <a:close/>
                </a:path>
              </a:pathLst>
            </a:custGeom>
            <a:solidFill>
              <a:srgbClr val="000000"/>
            </a:solidFill>
            <a:ln w="5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203CA297-7038-429E-AC50-5B6204B12460}"/>
                </a:ext>
              </a:extLst>
            </p:cNvPr>
            <p:cNvSpPr/>
            <p:nvPr/>
          </p:nvSpPr>
          <p:spPr>
            <a:xfrm>
              <a:off x="6127109" y="3329150"/>
              <a:ext cx="163596" cy="265138"/>
            </a:xfrm>
            <a:custGeom>
              <a:avLst/>
              <a:gdLst>
                <a:gd name="connsiteX0" fmla="*/ 68259 w 163595"/>
                <a:gd name="connsiteY0" fmla="*/ 59515 h 265137"/>
                <a:gd name="connsiteX1" fmla="*/ 67695 w 163595"/>
                <a:gd name="connsiteY1" fmla="*/ 60361 h 265137"/>
                <a:gd name="connsiteX2" fmla="*/ 66848 w 163595"/>
                <a:gd name="connsiteY2" fmla="*/ 61207 h 265137"/>
                <a:gd name="connsiteX3" fmla="*/ 65438 w 163595"/>
                <a:gd name="connsiteY3" fmla="*/ 63182 h 265137"/>
                <a:gd name="connsiteX4" fmla="*/ 66284 w 163595"/>
                <a:gd name="connsiteY4" fmla="*/ 63464 h 265137"/>
                <a:gd name="connsiteX5" fmla="*/ 65156 w 163595"/>
                <a:gd name="connsiteY5" fmla="*/ 64874 h 265137"/>
                <a:gd name="connsiteX6" fmla="*/ 64028 w 163595"/>
                <a:gd name="connsiteY6" fmla="*/ 66566 h 265137"/>
                <a:gd name="connsiteX7" fmla="*/ 62900 w 163595"/>
                <a:gd name="connsiteY7" fmla="*/ 67131 h 265137"/>
                <a:gd name="connsiteX8" fmla="*/ 62336 w 163595"/>
                <a:gd name="connsiteY8" fmla="*/ 66849 h 265137"/>
                <a:gd name="connsiteX9" fmla="*/ 61771 w 163595"/>
                <a:gd name="connsiteY9" fmla="*/ 67413 h 265137"/>
                <a:gd name="connsiteX10" fmla="*/ 62336 w 163595"/>
                <a:gd name="connsiteY10" fmla="*/ 67695 h 265137"/>
                <a:gd name="connsiteX11" fmla="*/ 62618 w 163595"/>
                <a:gd name="connsiteY11" fmla="*/ 67977 h 265137"/>
                <a:gd name="connsiteX12" fmla="*/ 60643 w 163595"/>
                <a:gd name="connsiteY12" fmla="*/ 71644 h 265137"/>
                <a:gd name="connsiteX13" fmla="*/ 59797 w 163595"/>
                <a:gd name="connsiteY13" fmla="*/ 73054 h 265137"/>
                <a:gd name="connsiteX14" fmla="*/ 58669 w 163595"/>
                <a:gd name="connsiteY14" fmla="*/ 74464 h 265137"/>
                <a:gd name="connsiteX15" fmla="*/ 58105 w 163595"/>
                <a:gd name="connsiteY15" fmla="*/ 75310 h 265137"/>
                <a:gd name="connsiteX16" fmla="*/ 57823 w 163595"/>
                <a:gd name="connsiteY16" fmla="*/ 75592 h 265137"/>
                <a:gd name="connsiteX17" fmla="*/ 57540 w 163595"/>
                <a:gd name="connsiteY17" fmla="*/ 75592 h 265137"/>
                <a:gd name="connsiteX18" fmla="*/ 57540 w 163595"/>
                <a:gd name="connsiteY18" fmla="*/ 74746 h 265137"/>
                <a:gd name="connsiteX19" fmla="*/ 56976 w 163595"/>
                <a:gd name="connsiteY19" fmla="*/ 74746 h 265137"/>
                <a:gd name="connsiteX20" fmla="*/ 56130 w 163595"/>
                <a:gd name="connsiteY20" fmla="*/ 75592 h 265137"/>
                <a:gd name="connsiteX21" fmla="*/ 56130 w 163595"/>
                <a:gd name="connsiteY21" fmla="*/ 76157 h 265137"/>
                <a:gd name="connsiteX22" fmla="*/ 56695 w 163595"/>
                <a:gd name="connsiteY22" fmla="*/ 76157 h 265137"/>
                <a:gd name="connsiteX23" fmla="*/ 56695 w 163595"/>
                <a:gd name="connsiteY23" fmla="*/ 76439 h 265137"/>
                <a:gd name="connsiteX24" fmla="*/ 56976 w 163595"/>
                <a:gd name="connsiteY24" fmla="*/ 76721 h 265137"/>
                <a:gd name="connsiteX25" fmla="*/ 56695 w 163595"/>
                <a:gd name="connsiteY25" fmla="*/ 77003 h 265137"/>
                <a:gd name="connsiteX26" fmla="*/ 55566 w 163595"/>
                <a:gd name="connsiteY26" fmla="*/ 77003 h 265137"/>
                <a:gd name="connsiteX27" fmla="*/ 55002 w 163595"/>
                <a:gd name="connsiteY27" fmla="*/ 77285 h 265137"/>
                <a:gd name="connsiteX28" fmla="*/ 55002 w 163595"/>
                <a:gd name="connsiteY28" fmla="*/ 78131 h 265137"/>
                <a:gd name="connsiteX29" fmla="*/ 55566 w 163595"/>
                <a:gd name="connsiteY29" fmla="*/ 78413 h 265137"/>
                <a:gd name="connsiteX30" fmla="*/ 55848 w 163595"/>
                <a:gd name="connsiteY30" fmla="*/ 78977 h 265137"/>
                <a:gd name="connsiteX31" fmla="*/ 55566 w 163595"/>
                <a:gd name="connsiteY31" fmla="*/ 79259 h 265137"/>
                <a:gd name="connsiteX32" fmla="*/ 54438 w 163595"/>
                <a:gd name="connsiteY32" fmla="*/ 79823 h 265137"/>
                <a:gd name="connsiteX33" fmla="*/ 52745 w 163595"/>
                <a:gd name="connsiteY33" fmla="*/ 80387 h 265137"/>
                <a:gd name="connsiteX34" fmla="*/ 52745 w 163595"/>
                <a:gd name="connsiteY34" fmla="*/ 80670 h 265137"/>
                <a:gd name="connsiteX35" fmla="*/ 53309 w 163595"/>
                <a:gd name="connsiteY35" fmla="*/ 81516 h 265137"/>
                <a:gd name="connsiteX36" fmla="*/ 53309 w 163595"/>
                <a:gd name="connsiteY36" fmla="*/ 81798 h 265137"/>
                <a:gd name="connsiteX37" fmla="*/ 53028 w 163595"/>
                <a:gd name="connsiteY37" fmla="*/ 82080 h 265137"/>
                <a:gd name="connsiteX38" fmla="*/ 52745 w 163595"/>
                <a:gd name="connsiteY38" fmla="*/ 82362 h 265137"/>
                <a:gd name="connsiteX39" fmla="*/ 52464 w 163595"/>
                <a:gd name="connsiteY39" fmla="*/ 82926 h 265137"/>
                <a:gd name="connsiteX40" fmla="*/ 52745 w 163595"/>
                <a:gd name="connsiteY40" fmla="*/ 83490 h 265137"/>
                <a:gd name="connsiteX41" fmla="*/ 53028 w 163595"/>
                <a:gd name="connsiteY41" fmla="*/ 84054 h 265137"/>
                <a:gd name="connsiteX42" fmla="*/ 52745 w 163595"/>
                <a:gd name="connsiteY42" fmla="*/ 84900 h 265137"/>
                <a:gd name="connsiteX43" fmla="*/ 52181 w 163595"/>
                <a:gd name="connsiteY43" fmla="*/ 86029 h 265137"/>
                <a:gd name="connsiteX44" fmla="*/ 51335 w 163595"/>
                <a:gd name="connsiteY44" fmla="*/ 86311 h 265137"/>
                <a:gd name="connsiteX45" fmla="*/ 50489 w 163595"/>
                <a:gd name="connsiteY45" fmla="*/ 86593 h 265137"/>
                <a:gd name="connsiteX46" fmla="*/ 50489 w 163595"/>
                <a:gd name="connsiteY46" fmla="*/ 87157 h 265137"/>
                <a:gd name="connsiteX47" fmla="*/ 50771 w 163595"/>
                <a:gd name="connsiteY47" fmla="*/ 87439 h 265137"/>
                <a:gd name="connsiteX48" fmla="*/ 50489 w 163595"/>
                <a:gd name="connsiteY48" fmla="*/ 88003 h 265137"/>
                <a:gd name="connsiteX49" fmla="*/ 49925 w 163595"/>
                <a:gd name="connsiteY49" fmla="*/ 88003 h 265137"/>
                <a:gd name="connsiteX50" fmla="*/ 49361 w 163595"/>
                <a:gd name="connsiteY50" fmla="*/ 88285 h 265137"/>
                <a:gd name="connsiteX51" fmla="*/ 49078 w 163595"/>
                <a:gd name="connsiteY51" fmla="*/ 89413 h 265137"/>
                <a:gd name="connsiteX52" fmla="*/ 49078 w 163595"/>
                <a:gd name="connsiteY52" fmla="*/ 89696 h 265137"/>
                <a:gd name="connsiteX53" fmla="*/ 49643 w 163595"/>
                <a:gd name="connsiteY53" fmla="*/ 90824 h 265137"/>
                <a:gd name="connsiteX54" fmla="*/ 49361 w 163595"/>
                <a:gd name="connsiteY54" fmla="*/ 91388 h 265137"/>
                <a:gd name="connsiteX55" fmla="*/ 47668 w 163595"/>
                <a:gd name="connsiteY55" fmla="*/ 95055 h 265137"/>
                <a:gd name="connsiteX56" fmla="*/ 46258 w 163595"/>
                <a:gd name="connsiteY56" fmla="*/ 95901 h 265137"/>
                <a:gd name="connsiteX57" fmla="*/ 45694 w 163595"/>
                <a:gd name="connsiteY57" fmla="*/ 96465 h 265137"/>
                <a:gd name="connsiteX58" fmla="*/ 45412 w 163595"/>
                <a:gd name="connsiteY58" fmla="*/ 97029 h 265137"/>
                <a:gd name="connsiteX59" fmla="*/ 45694 w 163595"/>
                <a:gd name="connsiteY59" fmla="*/ 97311 h 265137"/>
                <a:gd name="connsiteX60" fmla="*/ 45976 w 163595"/>
                <a:gd name="connsiteY60" fmla="*/ 97311 h 265137"/>
                <a:gd name="connsiteX61" fmla="*/ 46540 w 163595"/>
                <a:gd name="connsiteY61" fmla="*/ 97593 h 265137"/>
                <a:gd name="connsiteX62" fmla="*/ 46258 w 163595"/>
                <a:gd name="connsiteY62" fmla="*/ 97875 h 265137"/>
                <a:gd name="connsiteX63" fmla="*/ 44848 w 163595"/>
                <a:gd name="connsiteY63" fmla="*/ 99004 h 265137"/>
                <a:gd name="connsiteX64" fmla="*/ 44566 w 163595"/>
                <a:gd name="connsiteY64" fmla="*/ 99286 h 265137"/>
                <a:gd name="connsiteX65" fmla="*/ 44848 w 163595"/>
                <a:gd name="connsiteY65" fmla="*/ 99568 h 265137"/>
                <a:gd name="connsiteX66" fmla="*/ 45130 w 163595"/>
                <a:gd name="connsiteY66" fmla="*/ 100132 h 265137"/>
                <a:gd name="connsiteX67" fmla="*/ 44848 w 163595"/>
                <a:gd name="connsiteY67" fmla="*/ 100696 h 265137"/>
                <a:gd name="connsiteX68" fmla="*/ 44002 w 163595"/>
                <a:gd name="connsiteY68" fmla="*/ 102952 h 265137"/>
                <a:gd name="connsiteX69" fmla="*/ 43720 w 163595"/>
                <a:gd name="connsiteY69" fmla="*/ 103799 h 265137"/>
                <a:gd name="connsiteX70" fmla="*/ 42027 w 163595"/>
                <a:gd name="connsiteY70" fmla="*/ 106055 h 265137"/>
                <a:gd name="connsiteX71" fmla="*/ 41463 w 163595"/>
                <a:gd name="connsiteY71" fmla="*/ 107183 h 265137"/>
                <a:gd name="connsiteX72" fmla="*/ 40617 w 163595"/>
                <a:gd name="connsiteY72" fmla="*/ 109440 h 265137"/>
                <a:gd name="connsiteX73" fmla="*/ 39489 w 163595"/>
                <a:gd name="connsiteY73" fmla="*/ 111978 h 265137"/>
                <a:gd name="connsiteX74" fmla="*/ 38642 w 163595"/>
                <a:gd name="connsiteY74" fmla="*/ 113107 h 265137"/>
                <a:gd name="connsiteX75" fmla="*/ 38361 w 163595"/>
                <a:gd name="connsiteY75" fmla="*/ 113953 h 265137"/>
                <a:gd name="connsiteX76" fmla="*/ 38361 w 163595"/>
                <a:gd name="connsiteY76" fmla="*/ 114517 h 265137"/>
                <a:gd name="connsiteX77" fmla="*/ 37796 w 163595"/>
                <a:gd name="connsiteY77" fmla="*/ 116773 h 265137"/>
                <a:gd name="connsiteX78" fmla="*/ 37232 w 163595"/>
                <a:gd name="connsiteY78" fmla="*/ 118184 h 265137"/>
                <a:gd name="connsiteX79" fmla="*/ 35258 w 163595"/>
                <a:gd name="connsiteY79" fmla="*/ 124389 h 265137"/>
                <a:gd name="connsiteX80" fmla="*/ 34694 w 163595"/>
                <a:gd name="connsiteY80" fmla="*/ 128902 h 265137"/>
                <a:gd name="connsiteX81" fmla="*/ 34975 w 163595"/>
                <a:gd name="connsiteY81" fmla="*/ 130030 h 265137"/>
                <a:gd name="connsiteX82" fmla="*/ 34975 w 163595"/>
                <a:gd name="connsiteY82" fmla="*/ 130312 h 265137"/>
                <a:gd name="connsiteX83" fmla="*/ 34411 w 163595"/>
                <a:gd name="connsiteY83" fmla="*/ 131159 h 265137"/>
                <a:gd name="connsiteX84" fmla="*/ 33565 w 163595"/>
                <a:gd name="connsiteY84" fmla="*/ 132287 h 265137"/>
                <a:gd name="connsiteX85" fmla="*/ 32719 w 163595"/>
                <a:gd name="connsiteY85" fmla="*/ 132569 h 265137"/>
                <a:gd name="connsiteX86" fmla="*/ 32437 w 163595"/>
                <a:gd name="connsiteY86" fmla="*/ 132569 h 265137"/>
                <a:gd name="connsiteX87" fmla="*/ 31027 w 163595"/>
                <a:gd name="connsiteY87" fmla="*/ 131441 h 265137"/>
                <a:gd name="connsiteX88" fmla="*/ 30744 w 163595"/>
                <a:gd name="connsiteY88" fmla="*/ 131159 h 265137"/>
                <a:gd name="connsiteX89" fmla="*/ 30180 w 163595"/>
                <a:gd name="connsiteY89" fmla="*/ 131723 h 265137"/>
                <a:gd name="connsiteX90" fmla="*/ 29616 w 163595"/>
                <a:gd name="connsiteY90" fmla="*/ 133133 h 265137"/>
                <a:gd name="connsiteX91" fmla="*/ 29052 w 163595"/>
                <a:gd name="connsiteY91" fmla="*/ 133697 h 265137"/>
                <a:gd name="connsiteX92" fmla="*/ 28770 w 163595"/>
                <a:gd name="connsiteY92" fmla="*/ 133133 h 265137"/>
                <a:gd name="connsiteX93" fmla="*/ 27924 w 163595"/>
                <a:gd name="connsiteY93" fmla="*/ 132287 h 265137"/>
                <a:gd name="connsiteX94" fmla="*/ 27642 w 163595"/>
                <a:gd name="connsiteY94" fmla="*/ 132569 h 265137"/>
                <a:gd name="connsiteX95" fmla="*/ 27642 w 163595"/>
                <a:gd name="connsiteY95" fmla="*/ 133133 h 265137"/>
                <a:gd name="connsiteX96" fmla="*/ 27078 w 163595"/>
                <a:gd name="connsiteY96" fmla="*/ 135389 h 265137"/>
                <a:gd name="connsiteX97" fmla="*/ 26796 w 163595"/>
                <a:gd name="connsiteY97" fmla="*/ 136518 h 265137"/>
                <a:gd name="connsiteX98" fmla="*/ 26514 w 163595"/>
                <a:gd name="connsiteY98" fmla="*/ 137082 h 265137"/>
                <a:gd name="connsiteX99" fmla="*/ 27360 w 163595"/>
                <a:gd name="connsiteY99" fmla="*/ 137364 h 265137"/>
                <a:gd name="connsiteX100" fmla="*/ 27924 w 163595"/>
                <a:gd name="connsiteY100" fmla="*/ 137646 h 265137"/>
                <a:gd name="connsiteX101" fmla="*/ 27360 w 163595"/>
                <a:gd name="connsiteY101" fmla="*/ 139056 h 265137"/>
                <a:gd name="connsiteX102" fmla="*/ 25950 w 163595"/>
                <a:gd name="connsiteY102" fmla="*/ 143005 h 265137"/>
                <a:gd name="connsiteX103" fmla="*/ 25668 w 163595"/>
                <a:gd name="connsiteY103" fmla="*/ 145544 h 265137"/>
                <a:gd name="connsiteX104" fmla="*/ 25103 w 163595"/>
                <a:gd name="connsiteY104" fmla="*/ 146108 h 265137"/>
                <a:gd name="connsiteX105" fmla="*/ 24822 w 163595"/>
                <a:gd name="connsiteY105" fmla="*/ 146108 h 265137"/>
                <a:gd name="connsiteX106" fmla="*/ 25103 w 163595"/>
                <a:gd name="connsiteY106" fmla="*/ 146390 h 265137"/>
                <a:gd name="connsiteX107" fmla="*/ 25668 w 163595"/>
                <a:gd name="connsiteY107" fmla="*/ 146954 h 265137"/>
                <a:gd name="connsiteX108" fmla="*/ 25103 w 163595"/>
                <a:gd name="connsiteY108" fmla="*/ 147800 h 265137"/>
                <a:gd name="connsiteX109" fmla="*/ 25386 w 163595"/>
                <a:gd name="connsiteY109" fmla="*/ 148364 h 265137"/>
                <a:gd name="connsiteX110" fmla="*/ 25103 w 163595"/>
                <a:gd name="connsiteY110" fmla="*/ 149493 h 265137"/>
                <a:gd name="connsiteX111" fmla="*/ 25103 w 163595"/>
                <a:gd name="connsiteY111" fmla="*/ 149775 h 265137"/>
                <a:gd name="connsiteX112" fmla="*/ 24822 w 163595"/>
                <a:gd name="connsiteY112" fmla="*/ 150057 h 265137"/>
                <a:gd name="connsiteX113" fmla="*/ 24539 w 163595"/>
                <a:gd name="connsiteY113" fmla="*/ 150621 h 265137"/>
                <a:gd name="connsiteX114" fmla="*/ 24539 w 163595"/>
                <a:gd name="connsiteY114" fmla="*/ 150903 h 265137"/>
                <a:gd name="connsiteX115" fmla="*/ 24822 w 163595"/>
                <a:gd name="connsiteY115" fmla="*/ 153441 h 265137"/>
                <a:gd name="connsiteX116" fmla="*/ 23693 w 163595"/>
                <a:gd name="connsiteY116" fmla="*/ 154852 h 265137"/>
                <a:gd name="connsiteX117" fmla="*/ 23411 w 163595"/>
                <a:gd name="connsiteY117" fmla="*/ 155416 h 265137"/>
                <a:gd name="connsiteX118" fmla="*/ 23693 w 163595"/>
                <a:gd name="connsiteY118" fmla="*/ 155980 h 265137"/>
                <a:gd name="connsiteX119" fmla="*/ 24258 w 163595"/>
                <a:gd name="connsiteY119" fmla="*/ 156826 h 265137"/>
                <a:gd name="connsiteX120" fmla="*/ 24258 w 163595"/>
                <a:gd name="connsiteY120" fmla="*/ 157108 h 265137"/>
                <a:gd name="connsiteX121" fmla="*/ 23129 w 163595"/>
                <a:gd name="connsiteY121" fmla="*/ 160775 h 265137"/>
                <a:gd name="connsiteX122" fmla="*/ 23129 w 163595"/>
                <a:gd name="connsiteY122" fmla="*/ 161621 h 265137"/>
                <a:gd name="connsiteX123" fmla="*/ 22847 w 163595"/>
                <a:gd name="connsiteY123" fmla="*/ 161903 h 265137"/>
                <a:gd name="connsiteX124" fmla="*/ 22565 w 163595"/>
                <a:gd name="connsiteY124" fmla="*/ 163031 h 265137"/>
                <a:gd name="connsiteX125" fmla="*/ 22283 w 163595"/>
                <a:gd name="connsiteY125" fmla="*/ 163878 h 265137"/>
                <a:gd name="connsiteX126" fmla="*/ 22001 w 163595"/>
                <a:gd name="connsiteY126" fmla="*/ 165852 h 265137"/>
                <a:gd name="connsiteX127" fmla="*/ 22001 w 163595"/>
                <a:gd name="connsiteY127" fmla="*/ 167262 h 265137"/>
                <a:gd name="connsiteX128" fmla="*/ 22283 w 163595"/>
                <a:gd name="connsiteY128" fmla="*/ 167827 h 265137"/>
                <a:gd name="connsiteX129" fmla="*/ 22001 w 163595"/>
                <a:gd name="connsiteY129" fmla="*/ 168673 h 265137"/>
                <a:gd name="connsiteX130" fmla="*/ 20872 w 163595"/>
                <a:gd name="connsiteY130" fmla="*/ 171775 h 265137"/>
                <a:gd name="connsiteX131" fmla="*/ 20872 w 163595"/>
                <a:gd name="connsiteY131" fmla="*/ 172904 h 265137"/>
                <a:gd name="connsiteX132" fmla="*/ 20308 w 163595"/>
                <a:gd name="connsiteY132" fmla="*/ 174032 h 265137"/>
                <a:gd name="connsiteX133" fmla="*/ 20027 w 163595"/>
                <a:gd name="connsiteY133" fmla="*/ 174878 h 265137"/>
                <a:gd name="connsiteX134" fmla="*/ 20027 w 163595"/>
                <a:gd name="connsiteY134" fmla="*/ 176006 h 265137"/>
                <a:gd name="connsiteX135" fmla="*/ 19744 w 163595"/>
                <a:gd name="connsiteY135" fmla="*/ 176570 h 265137"/>
                <a:gd name="connsiteX136" fmla="*/ 20027 w 163595"/>
                <a:gd name="connsiteY136" fmla="*/ 177135 h 265137"/>
                <a:gd name="connsiteX137" fmla="*/ 20308 w 163595"/>
                <a:gd name="connsiteY137" fmla="*/ 177417 h 265137"/>
                <a:gd name="connsiteX138" fmla="*/ 20308 w 163595"/>
                <a:gd name="connsiteY138" fmla="*/ 178827 h 265137"/>
                <a:gd name="connsiteX139" fmla="*/ 19744 w 163595"/>
                <a:gd name="connsiteY139" fmla="*/ 180237 h 265137"/>
                <a:gd name="connsiteX140" fmla="*/ 19744 w 163595"/>
                <a:gd name="connsiteY140" fmla="*/ 180519 h 265137"/>
                <a:gd name="connsiteX141" fmla="*/ 20027 w 163595"/>
                <a:gd name="connsiteY141" fmla="*/ 181648 h 265137"/>
                <a:gd name="connsiteX142" fmla="*/ 19744 w 163595"/>
                <a:gd name="connsiteY142" fmla="*/ 182776 h 265137"/>
                <a:gd name="connsiteX143" fmla="*/ 19462 w 163595"/>
                <a:gd name="connsiteY143" fmla="*/ 183058 h 265137"/>
                <a:gd name="connsiteX144" fmla="*/ 19744 w 163595"/>
                <a:gd name="connsiteY144" fmla="*/ 183904 h 265137"/>
                <a:gd name="connsiteX145" fmla="*/ 19180 w 163595"/>
                <a:gd name="connsiteY145" fmla="*/ 185032 h 265137"/>
                <a:gd name="connsiteX146" fmla="*/ 18898 w 163595"/>
                <a:gd name="connsiteY146" fmla="*/ 185596 h 265137"/>
                <a:gd name="connsiteX147" fmla="*/ 18898 w 163595"/>
                <a:gd name="connsiteY147" fmla="*/ 185878 h 265137"/>
                <a:gd name="connsiteX148" fmla="*/ 19462 w 163595"/>
                <a:gd name="connsiteY148" fmla="*/ 186161 h 265137"/>
                <a:gd name="connsiteX149" fmla="*/ 19180 w 163595"/>
                <a:gd name="connsiteY149" fmla="*/ 187007 h 265137"/>
                <a:gd name="connsiteX150" fmla="*/ 19180 w 163595"/>
                <a:gd name="connsiteY150" fmla="*/ 190109 h 265137"/>
                <a:gd name="connsiteX151" fmla="*/ 19462 w 163595"/>
                <a:gd name="connsiteY151" fmla="*/ 192930 h 265137"/>
                <a:gd name="connsiteX152" fmla="*/ 19180 w 163595"/>
                <a:gd name="connsiteY152" fmla="*/ 194622 h 265137"/>
                <a:gd name="connsiteX153" fmla="*/ 19180 w 163595"/>
                <a:gd name="connsiteY153" fmla="*/ 197725 h 265137"/>
                <a:gd name="connsiteX154" fmla="*/ 18616 w 163595"/>
                <a:gd name="connsiteY154" fmla="*/ 199982 h 265137"/>
                <a:gd name="connsiteX155" fmla="*/ 18334 w 163595"/>
                <a:gd name="connsiteY155" fmla="*/ 200264 h 265137"/>
                <a:gd name="connsiteX156" fmla="*/ 18616 w 163595"/>
                <a:gd name="connsiteY156" fmla="*/ 200546 h 265137"/>
                <a:gd name="connsiteX157" fmla="*/ 18898 w 163595"/>
                <a:gd name="connsiteY157" fmla="*/ 201392 h 265137"/>
                <a:gd name="connsiteX158" fmla="*/ 18616 w 163595"/>
                <a:gd name="connsiteY158" fmla="*/ 201956 h 265137"/>
                <a:gd name="connsiteX159" fmla="*/ 18334 w 163595"/>
                <a:gd name="connsiteY159" fmla="*/ 202520 h 265137"/>
                <a:gd name="connsiteX160" fmla="*/ 18898 w 163595"/>
                <a:gd name="connsiteY160" fmla="*/ 203084 h 265137"/>
                <a:gd name="connsiteX161" fmla="*/ 18616 w 163595"/>
                <a:gd name="connsiteY161" fmla="*/ 203366 h 265137"/>
                <a:gd name="connsiteX162" fmla="*/ 18334 w 163595"/>
                <a:gd name="connsiteY162" fmla="*/ 203930 h 265137"/>
                <a:gd name="connsiteX163" fmla="*/ 18052 w 163595"/>
                <a:gd name="connsiteY163" fmla="*/ 204494 h 265137"/>
                <a:gd name="connsiteX164" fmla="*/ 18334 w 163595"/>
                <a:gd name="connsiteY164" fmla="*/ 205059 h 265137"/>
                <a:gd name="connsiteX165" fmla="*/ 18334 w 163595"/>
                <a:gd name="connsiteY165" fmla="*/ 207315 h 265137"/>
                <a:gd name="connsiteX166" fmla="*/ 17770 w 163595"/>
                <a:gd name="connsiteY166" fmla="*/ 209854 h 265137"/>
                <a:gd name="connsiteX167" fmla="*/ 17770 w 163595"/>
                <a:gd name="connsiteY167" fmla="*/ 210700 h 265137"/>
                <a:gd name="connsiteX168" fmla="*/ 18334 w 163595"/>
                <a:gd name="connsiteY168" fmla="*/ 211828 h 265137"/>
                <a:gd name="connsiteX169" fmla="*/ 18052 w 163595"/>
                <a:gd name="connsiteY169" fmla="*/ 212674 h 265137"/>
                <a:gd name="connsiteX170" fmla="*/ 17770 w 163595"/>
                <a:gd name="connsiteY170" fmla="*/ 213520 h 265137"/>
                <a:gd name="connsiteX171" fmla="*/ 18052 w 163595"/>
                <a:gd name="connsiteY171" fmla="*/ 214931 h 265137"/>
                <a:gd name="connsiteX172" fmla="*/ 17770 w 163595"/>
                <a:gd name="connsiteY172" fmla="*/ 217469 h 265137"/>
                <a:gd name="connsiteX173" fmla="*/ 17488 w 163595"/>
                <a:gd name="connsiteY173" fmla="*/ 218880 h 265137"/>
                <a:gd name="connsiteX174" fmla="*/ 17770 w 163595"/>
                <a:gd name="connsiteY174" fmla="*/ 219444 h 265137"/>
                <a:gd name="connsiteX175" fmla="*/ 18052 w 163595"/>
                <a:gd name="connsiteY175" fmla="*/ 220572 h 265137"/>
                <a:gd name="connsiteX176" fmla="*/ 17770 w 163595"/>
                <a:gd name="connsiteY176" fmla="*/ 224239 h 265137"/>
                <a:gd name="connsiteX177" fmla="*/ 17488 w 163595"/>
                <a:gd name="connsiteY177" fmla="*/ 225367 h 265137"/>
                <a:gd name="connsiteX178" fmla="*/ 17770 w 163595"/>
                <a:gd name="connsiteY178" fmla="*/ 226495 h 265137"/>
                <a:gd name="connsiteX179" fmla="*/ 18052 w 163595"/>
                <a:gd name="connsiteY179" fmla="*/ 227341 h 265137"/>
                <a:gd name="connsiteX180" fmla="*/ 17488 w 163595"/>
                <a:gd name="connsiteY180" fmla="*/ 228752 h 265137"/>
                <a:gd name="connsiteX181" fmla="*/ 17206 w 163595"/>
                <a:gd name="connsiteY181" fmla="*/ 229598 h 265137"/>
                <a:gd name="connsiteX182" fmla="*/ 17770 w 163595"/>
                <a:gd name="connsiteY182" fmla="*/ 232137 h 265137"/>
                <a:gd name="connsiteX183" fmla="*/ 18052 w 163595"/>
                <a:gd name="connsiteY183" fmla="*/ 233829 h 265137"/>
                <a:gd name="connsiteX184" fmla="*/ 17770 w 163595"/>
                <a:gd name="connsiteY184" fmla="*/ 235521 h 265137"/>
                <a:gd name="connsiteX185" fmla="*/ 17770 w 163595"/>
                <a:gd name="connsiteY185" fmla="*/ 238060 h 265137"/>
                <a:gd name="connsiteX186" fmla="*/ 18052 w 163595"/>
                <a:gd name="connsiteY186" fmla="*/ 239188 h 265137"/>
                <a:gd name="connsiteX187" fmla="*/ 17770 w 163595"/>
                <a:gd name="connsiteY187" fmla="*/ 240598 h 265137"/>
                <a:gd name="connsiteX188" fmla="*/ 18052 w 163595"/>
                <a:gd name="connsiteY188" fmla="*/ 241445 h 265137"/>
                <a:gd name="connsiteX189" fmla="*/ 18334 w 163595"/>
                <a:gd name="connsiteY189" fmla="*/ 242009 h 265137"/>
                <a:gd name="connsiteX190" fmla="*/ 18616 w 163595"/>
                <a:gd name="connsiteY190" fmla="*/ 245958 h 265137"/>
                <a:gd name="connsiteX191" fmla="*/ 18616 w 163595"/>
                <a:gd name="connsiteY191" fmla="*/ 246804 h 265137"/>
                <a:gd name="connsiteX192" fmla="*/ 18052 w 163595"/>
                <a:gd name="connsiteY192" fmla="*/ 247932 h 265137"/>
                <a:gd name="connsiteX193" fmla="*/ 18334 w 163595"/>
                <a:gd name="connsiteY193" fmla="*/ 249060 h 265137"/>
                <a:gd name="connsiteX194" fmla="*/ 18334 w 163595"/>
                <a:gd name="connsiteY194" fmla="*/ 249624 h 265137"/>
                <a:gd name="connsiteX195" fmla="*/ 18052 w 163595"/>
                <a:gd name="connsiteY195" fmla="*/ 250753 h 265137"/>
                <a:gd name="connsiteX196" fmla="*/ 18616 w 163595"/>
                <a:gd name="connsiteY196" fmla="*/ 254701 h 265137"/>
                <a:gd name="connsiteX197" fmla="*/ 18898 w 163595"/>
                <a:gd name="connsiteY197" fmla="*/ 255548 h 265137"/>
                <a:gd name="connsiteX198" fmla="*/ 18616 w 163595"/>
                <a:gd name="connsiteY198" fmla="*/ 256112 h 265137"/>
                <a:gd name="connsiteX199" fmla="*/ 18334 w 163595"/>
                <a:gd name="connsiteY199" fmla="*/ 256958 h 265137"/>
                <a:gd name="connsiteX200" fmla="*/ 18334 w 163595"/>
                <a:gd name="connsiteY200" fmla="*/ 257522 h 265137"/>
                <a:gd name="connsiteX201" fmla="*/ 18052 w 163595"/>
                <a:gd name="connsiteY201" fmla="*/ 258086 h 265137"/>
                <a:gd name="connsiteX202" fmla="*/ 17488 w 163595"/>
                <a:gd name="connsiteY202" fmla="*/ 258086 h 265137"/>
                <a:gd name="connsiteX203" fmla="*/ 17206 w 163595"/>
                <a:gd name="connsiteY203" fmla="*/ 257804 h 265137"/>
                <a:gd name="connsiteX204" fmla="*/ 16924 w 163595"/>
                <a:gd name="connsiteY204" fmla="*/ 258086 h 265137"/>
                <a:gd name="connsiteX205" fmla="*/ 15231 w 163595"/>
                <a:gd name="connsiteY205" fmla="*/ 260061 h 265137"/>
                <a:gd name="connsiteX206" fmla="*/ 14667 w 163595"/>
                <a:gd name="connsiteY206" fmla="*/ 260625 h 265137"/>
                <a:gd name="connsiteX207" fmla="*/ 13821 w 163595"/>
                <a:gd name="connsiteY207" fmla="*/ 261189 h 265137"/>
                <a:gd name="connsiteX208" fmla="*/ 13257 w 163595"/>
                <a:gd name="connsiteY208" fmla="*/ 260907 h 265137"/>
                <a:gd name="connsiteX209" fmla="*/ 11565 w 163595"/>
                <a:gd name="connsiteY209" fmla="*/ 260343 h 265137"/>
                <a:gd name="connsiteX210" fmla="*/ 11282 w 163595"/>
                <a:gd name="connsiteY210" fmla="*/ 260625 h 265137"/>
                <a:gd name="connsiteX211" fmla="*/ 11000 w 163595"/>
                <a:gd name="connsiteY211" fmla="*/ 261753 h 265137"/>
                <a:gd name="connsiteX212" fmla="*/ 10718 w 163595"/>
                <a:gd name="connsiteY212" fmla="*/ 262317 h 265137"/>
                <a:gd name="connsiteX213" fmla="*/ 10154 w 163595"/>
                <a:gd name="connsiteY213" fmla="*/ 262317 h 265137"/>
                <a:gd name="connsiteX214" fmla="*/ 8744 w 163595"/>
                <a:gd name="connsiteY214" fmla="*/ 260625 h 265137"/>
                <a:gd name="connsiteX215" fmla="*/ 8744 w 163595"/>
                <a:gd name="connsiteY215" fmla="*/ 260343 h 265137"/>
                <a:gd name="connsiteX216" fmla="*/ 7898 w 163595"/>
                <a:gd name="connsiteY216" fmla="*/ 259214 h 265137"/>
                <a:gd name="connsiteX217" fmla="*/ 7616 w 163595"/>
                <a:gd name="connsiteY217" fmla="*/ 259214 h 265137"/>
                <a:gd name="connsiteX218" fmla="*/ 7616 w 163595"/>
                <a:gd name="connsiteY218" fmla="*/ 260343 h 265137"/>
                <a:gd name="connsiteX219" fmla="*/ 7898 w 163595"/>
                <a:gd name="connsiteY219" fmla="*/ 261189 h 265137"/>
                <a:gd name="connsiteX220" fmla="*/ 8180 w 163595"/>
                <a:gd name="connsiteY220" fmla="*/ 261753 h 265137"/>
                <a:gd name="connsiteX221" fmla="*/ 7616 w 163595"/>
                <a:gd name="connsiteY221" fmla="*/ 262317 h 265137"/>
                <a:gd name="connsiteX222" fmla="*/ 7334 w 163595"/>
                <a:gd name="connsiteY222" fmla="*/ 262881 h 265137"/>
                <a:gd name="connsiteX223" fmla="*/ 7052 w 163595"/>
                <a:gd name="connsiteY223" fmla="*/ 263163 h 265137"/>
                <a:gd name="connsiteX224" fmla="*/ 6769 w 163595"/>
                <a:gd name="connsiteY224" fmla="*/ 262881 h 265137"/>
                <a:gd name="connsiteX225" fmla="*/ 6205 w 163595"/>
                <a:gd name="connsiteY225" fmla="*/ 261471 h 265137"/>
                <a:gd name="connsiteX226" fmla="*/ 5641 w 163595"/>
                <a:gd name="connsiteY226" fmla="*/ 261471 h 265137"/>
                <a:gd name="connsiteX227" fmla="*/ 5359 w 163595"/>
                <a:gd name="connsiteY227" fmla="*/ 262599 h 265137"/>
                <a:gd name="connsiteX228" fmla="*/ 5641 w 163595"/>
                <a:gd name="connsiteY228" fmla="*/ 263163 h 265137"/>
                <a:gd name="connsiteX229" fmla="*/ 5641 w 163595"/>
                <a:gd name="connsiteY229" fmla="*/ 264292 h 265137"/>
                <a:gd name="connsiteX230" fmla="*/ 5924 w 163595"/>
                <a:gd name="connsiteY230" fmla="*/ 265138 h 265137"/>
                <a:gd name="connsiteX231" fmla="*/ 5641 w 163595"/>
                <a:gd name="connsiteY231" fmla="*/ 265138 h 265137"/>
                <a:gd name="connsiteX232" fmla="*/ 4795 w 163595"/>
                <a:gd name="connsiteY232" fmla="*/ 264856 h 265137"/>
                <a:gd name="connsiteX233" fmla="*/ 4231 w 163595"/>
                <a:gd name="connsiteY233" fmla="*/ 264009 h 265137"/>
                <a:gd name="connsiteX234" fmla="*/ 3949 w 163595"/>
                <a:gd name="connsiteY234" fmla="*/ 262317 h 265137"/>
                <a:gd name="connsiteX235" fmla="*/ 3667 w 163595"/>
                <a:gd name="connsiteY235" fmla="*/ 260907 h 265137"/>
                <a:gd name="connsiteX236" fmla="*/ 3667 w 163595"/>
                <a:gd name="connsiteY236" fmla="*/ 260061 h 265137"/>
                <a:gd name="connsiteX237" fmla="*/ 2821 w 163595"/>
                <a:gd name="connsiteY237" fmla="*/ 258650 h 265137"/>
                <a:gd name="connsiteX238" fmla="*/ 2257 w 163595"/>
                <a:gd name="connsiteY238" fmla="*/ 257522 h 265137"/>
                <a:gd name="connsiteX239" fmla="*/ 2538 w 163595"/>
                <a:gd name="connsiteY239" fmla="*/ 256394 h 265137"/>
                <a:gd name="connsiteX240" fmla="*/ 2257 w 163595"/>
                <a:gd name="connsiteY240" fmla="*/ 255266 h 265137"/>
                <a:gd name="connsiteX241" fmla="*/ 1693 w 163595"/>
                <a:gd name="connsiteY241" fmla="*/ 254419 h 265137"/>
                <a:gd name="connsiteX242" fmla="*/ 1974 w 163595"/>
                <a:gd name="connsiteY242" fmla="*/ 253573 h 265137"/>
                <a:gd name="connsiteX243" fmla="*/ 1693 w 163595"/>
                <a:gd name="connsiteY243" fmla="*/ 252727 h 265137"/>
                <a:gd name="connsiteX244" fmla="*/ 1128 w 163595"/>
                <a:gd name="connsiteY244" fmla="*/ 251599 h 265137"/>
                <a:gd name="connsiteX245" fmla="*/ 1410 w 163595"/>
                <a:gd name="connsiteY245" fmla="*/ 250753 h 265137"/>
                <a:gd name="connsiteX246" fmla="*/ 1974 w 163595"/>
                <a:gd name="connsiteY246" fmla="*/ 248496 h 265137"/>
                <a:gd name="connsiteX247" fmla="*/ 1974 w 163595"/>
                <a:gd name="connsiteY247" fmla="*/ 247650 h 265137"/>
                <a:gd name="connsiteX248" fmla="*/ 2257 w 163595"/>
                <a:gd name="connsiteY248" fmla="*/ 247086 h 265137"/>
                <a:gd name="connsiteX249" fmla="*/ 1974 w 163595"/>
                <a:gd name="connsiteY249" fmla="*/ 246240 h 265137"/>
                <a:gd name="connsiteX250" fmla="*/ 1410 w 163595"/>
                <a:gd name="connsiteY250" fmla="*/ 244829 h 265137"/>
                <a:gd name="connsiteX251" fmla="*/ 1693 w 163595"/>
                <a:gd name="connsiteY251" fmla="*/ 243983 h 265137"/>
                <a:gd name="connsiteX252" fmla="*/ 1410 w 163595"/>
                <a:gd name="connsiteY252" fmla="*/ 243701 h 265137"/>
                <a:gd name="connsiteX253" fmla="*/ 846 w 163595"/>
                <a:gd name="connsiteY253" fmla="*/ 243137 h 265137"/>
                <a:gd name="connsiteX254" fmla="*/ 564 w 163595"/>
                <a:gd name="connsiteY254" fmla="*/ 239752 h 265137"/>
                <a:gd name="connsiteX255" fmla="*/ 0 w 163595"/>
                <a:gd name="connsiteY255" fmla="*/ 238342 h 265137"/>
                <a:gd name="connsiteX256" fmla="*/ 282 w 163595"/>
                <a:gd name="connsiteY256" fmla="*/ 237214 h 265137"/>
                <a:gd name="connsiteX257" fmla="*/ 282 w 163595"/>
                <a:gd name="connsiteY257" fmla="*/ 229034 h 265137"/>
                <a:gd name="connsiteX258" fmla="*/ 564 w 163595"/>
                <a:gd name="connsiteY258" fmla="*/ 227059 h 265137"/>
                <a:gd name="connsiteX259" fmla="*/ 282 w 163595"/>
                <a:gd name="connsiteY259" fmla="*/ 226213 h 265137"/>
                <a:gd name="connsiteX260" fmla="*/ 282 w 163595"/>
                <a:gd name="connsiteY260" fmla="*/ 225085 h 265137"/>
                <a:gd name="connsiteX261" fmla="*/ 564 w 163595"/>
                <a:gd name="connsiteY261" fmla="*/ 223957 h 265137"/>
                <a:gd name="connsiteX262" fmla="*/ 564 w 163595"/>
                <a:gd name="connsiteY262" fmla="*/ 221700 h 265137"/>
                <a:gd name="connsiteX263" fmla="*/ 1128 w 163595"/>
                <a:gd name="connsiteY263" fmla="*/ 220290 h 265137"/>
                <a:gd name="connsiteX264" fmla="*/ 1410 w 163595"/>
                <a:gd name="connsiteY264" fmla="*/ 219726 h 265137"/>
                <a:gd name="connsiteX265" fmla="*/ 1410 w 163595"/>
                <a:gd name="connsiteY265" fmla="*/ 219444 h 265137"/>
                <a:gd name="connsiteX266" fmla="*/ 1128 w 163595"/>
                <a:gd name="connsiteY266" fmla="*/ 218598 h 265137"/>
                <a:gd name="connsiteX267" fmla="*/ 1693 w 163595"/>
                <a:gd name="connsiteY267" fmla="*/ 216905 h 265137"/>
                <a:gd name="connsiteX268" fmla="*/ 1974 w 163595"/>
                <a:gd name="connsiteY268" fmla="*/ 216059 h 265137"/>
                <a:gd name="connsiteX269" fmla="*/ 1693 w 163595"/>
                <a:gd name="connsiteY269" fmla="*/ 215495 h 265137"/>
                <a:gd name="connsiteX270" fmla="*/ 1410 w 163595"/>
                <a:gd name="connsiteY270" fmla="*/ 215213 h 265137"/>
                <a:gd name="connsiteX271" fmla="*/ 1693 w 163595"/>
                <a:gd name="connsiteY271" fmla="*/ 214367 h 265137"/>
                <a:gd name="connsiteX272" fmla="*/ 1128 w 163595"/>
                <a:gd name="connsiteY272" fmla="*/ 212392 h 265137"/>
                <a:gd name="connsiteX273" fmla="*/ 846 w 163595"/>
                <a:gd name="connsiteY273" fmla="*/ 211546 h 265137"/>
                <a:gd name="connsiteX274" fmla="*/ 846 w 163595"/>
                <a:gd name="connsiteY274" fmla="*/ 207033 h 265137"/>
                <a:gd name="connsiteX275" fmla="*/ 1128 w 163595"/>
                <a:gd name="connsiteY275" fmla="*/ 205623 h 265137"/>
                <a:gd name="connsiteX276" fmla="*/ 1128 w 163595"/>
                <a:gd name="connsiteY276" fmla="*/ 201110 h 265137"/>
                <a:gd name="connsiteX277" fmla="*/ 1693 w 163595"/>
                <a:gd name="connsiteY277" fmla="*/ 198853 h 265137"/>
                <a:gd name="connsiteX278" fmla="*/ 1693 w 163595"/>
                <a:gd name="connsiteY278" fmla="*/ 197443 h 265137"/>
                <a:gd name="connsiteX279" fmla="*/ 1974 w 163595"/>
                <a:gd name="connsiteY279" fmla="*/ 194340 h 265137"/>
                <a:gd name="connsiteX280" fmla="*/ 2257 w 163595"/>
                <a:gd name="connsiteY280" fmla="*/ 193494 h 265137"/>
                <a:gd name="connsiteX281" fmla="*/ 2538 w 163595"/>
                <a:gd name="connsiteY281" fmla="*/ 192930 h 265137"/>
                <a:gd name="connsiteX282" fmla="*/ 2538 w 163595"/>
                <a:gd name="connsiteY282" fmla="*/ 192366 h 265137"/>
                <a:gd name="connsiteX283" fmla="*/ 2257 w 163595"/>
                <a:gd name="connsiteY283" fmla="*/ 191520 h 265137"/>
                <a:gd name="connsiteX284" fmla="*/ 2257 w 163595"/>
                <a:gd name="connsiteY284" fmla="*/ 186725 h 265137"/>
                <a:gd name="connsiteX285" fmla="*/ 2538 w 163595"/>
                <a:gd name="connsiteY285" fmla="*/ 185314 h 265137"/>
                <a:gd name="connsiteX286" fmla="*/ 3103 w 163595"/>
                <a:gd name="connsiteY286" fmla="*/ 182212 h 265137"/>
                <a:gd name="connsiteX287" fmla="*/ 3385 w 163595"/>
                <a:gd name="connsiteY287" fmla="*/ 181648 h 265137"/>
                <a:gd name="connsiteX288" fmla="*/ 3103 w 163595"/>
                <a:gd name="connsiteY288" fmla="*/ 180801 h 265137"/>
                <a:gd name="connsiteX289" fmla="*/ 2821 w 163595"/>
                <a:gd name="connsiteY289" fmla="*/ 179955 h 265137"/>
                <a:gd name="connsiteX290" fmla="*/ 3667 w 163595"/>
                <a:gd name="connsiteY290" fmla="*/ 177135 h 265137"/>
                <a:gd name="connsiteX291" fmla="*/ 4513 w 163595"/>
                <a:gd name="connsiteY291" fmla="*/ 175724 h 265137"/>
                <a:gd name="connsiteX292" fmla="*/ 4795 w 163595"/>
                <a:gd name="connsiteY292" fmla="*/ 175160 h 265137"/>
                <a:gd name="connsiteX293" fmla="*/ 4513 w 163595"/>
                <a:gd name="connsiteY293" fmla="*/ 174314 h 265137"/>
                <a:gd name="connsiteX294" fmla="*/ 3949 w 163595"/>
                <a:gd name="connsiteY294" fmla="*/ 173750 h 265137"/>
                <a:gd name="connsiteX295" fmla="*/ 4231 w 163595"/>
                <a:gd name="connsiteY295" fmla="*/ 173186 h 265137"/>
                <a:gd name="connsiteX296" fmla="*/ 4795 w 163595"/>
                <a:gd name="connsiteY296" fmla="*/ 170929 h 265137"/>
                <a:gd name="connsiteX297" fmla="*/ 4795 w 163595"/>
                <a:gd name="connsiteY297" fmla="*/ 170365 h 265137"/>
                <a:gd name="connsiteX298" fmla="*/ 5077 w 163595"/>
                <a:gd name="connsiteY298" fmla="*/ 169519 h 265137"/>
                <a:gd name="connsiteX299" fmla="*/ 5077 w 163595"/>
                <a:gd name="connsiteY299" fmla="*/ 168955 h 265137"/>
                <a:gd name="connsiteX300" fmla="*/ 5359 w 163595"/>
                <a:gd name="connsiteY300" fmla="*/ 166980 h 265137"/>
                <a:gd name="connsiteX301" fmla="*/ 6205 w 163595"/>
                <a:gd name="connsiteY301" fmla="*/ 163031 h 265137"/>
                <a:gd name="connsiteX302" fmla="*/ 6488 w 163595"/>
                <a:gd name="connsiteY302" fmla="*/ 162467 h 265137"/>
                <a:gd name="connsiteX303" fmla="*/ 6769 w 163595"/>
                <a:gd name="connsiteY303" fmla="*/ 161903 h 265137"/>
                <a:gd name="connsiteX304" fmla="*/ 6488 w 163595"/>
                <a:gd name="connsiteY304" fmla="*/ 161057 h 265137"/>
                <a:gd name="connsiteX305" fmla="*/ 6205 w 163595"/>
                <a:gd name="connsiteY305" fmla="*/ 159365 h 265137"/>
                <a:gd name="connsiteX306" fmla="*/ 7334 w 163595"/>
                <a:gd name="connsiteY306" fmla="*/ 157672 h 265137"/>
                <a:gd name="connsiteX307" fmla="*/ 7616 w 163595"/>
                <a:gd name="connsiteY307" fmla="*/ 157108 h 265137"/>
                <a:gd name="connsiteX308" fmla="*/ 7616 w 163595"/>
                <a:gd name="connsiteY308" fmla="*/ 156826 h 265137"/>
                <a:gd name="connsiteX309" fmla="*/ 7334 w 163595"/>
                <a:gd name="connsiteY309" fmla="*/ 156262 h 265137"/>
                <a:gd name="connsiteX310" fmla="*/ 7052 w 163595"/>
                <a:gd name="connsiteY310" fmla="*/ 155698 h 265137"/>
                <a:gd name="connsiteX311" fmla="*/ 7616 w 163595"/>
                <a:gd name="connsiteY311" fmla="*/ 155134 h 265137"/>
                <a:gd name="connsiteX312" fmla="*/ 7898 w 163595"/>
                <a:gd name="connsiteY312" fmla="*/ 154852 h 265137"/>
                <a:gd name="connsiteX313" fmla="*/ 7616 w 163595"/>
                <a:gd name="connsiteY313" fmla="*/ 154570 h 265137"/>
                <a:gd name="connsiteX314" fmla="*/ 7052 w 163595"/>
                <a:gd name="connsiteY314" fmla="*/ 154288 h 265137"/>
                <a:gd name="connsiteX315" fmla="*/ 7616 w 163595"/>
                <a:gd name="connsiteY315" fmla="*/ 153723 h 265137"/>
                <a:gd name="connsiteX316" fmla="*/ 7898 w 163595"/>
                <a:gd name="connsiteY316" fmla="*/ 153159 h 265137"/>
                <a:gd name="connsiteX317" fmla="*/ 8180 w 163595"/>
                <a:gd name="connsiteY317" fmla="*/ 152595 h 265137"/>
                <a:gd name="connsiteX318" fmla="*/ 7898 w 163595"/>
                <a:gd name="connsiteY318" fmla="*/ 152031 h 265137"/>
                <a:gd name="connsiteX319" fmla="*/ 7616 w 163595"/>
                <a:gd name="connsiteY319" fmla="*/ 151749 h 265137"/>
                <a:gd name="connsiteX320" fmla="*/ 7334 w 163595"/>
                <a:gd name="connsiteY320" fmla="*/ 151185 h 265137"/>
                <a:gd name="connsiteX321" fmla="*/ 7616 w 163595"/>
                <a:gd name="connsiteY321" fmla="*/ 150621 h 265137"/>
                <a:gd name="connsiteX322" fmla="*/ 8744 w 163595"/>
                <a:gd name="connsiteY322" fmla="*/ 149493 h 265137"/>
                <a:gd name="connsiteX323" fmla="*/ 9026 w 163595"/>
                <a:gd name="connsiteY323" fmla="*/ 148928 h 265137"/>
                <a:gd name="connsiteX324" fmla="*/ 8744 w 163595"/>
                <a:gd name="connsiteY324" fmla="*/ 148082 h 265137"/>
                <a:gd name="connsiteX325" fmla="*/ 8462 w 163595"/>
                <a:gd name="connsiteY325" fmla="*/ 147518 h 265137"/>
                <a:gd name="connsiteX326" fmla="*/ 8744 w 163595"/>
                <a:gd name="connsiteY326" fmla="*/ 146672 h 265137"/>
                <a:gd name="connsiteX327" fmla="*/ 8462 w 163595"/>
                <a:gd name="connsiteY327" fmla="*/ 145262 h 265137"/>
                <a:gd name="connsiteX328" fmla="*/ 8462 w 163595"/>
                <a:gd name="connsiteY328" fmla="*/ 144697 h 265137"/>
                <a:gd name="connsiteX329" fmla="*/ 9590 w 163595"/>
                <a:gd name="connsiteY329" fmla="*/ 142723 h 265137"/>
                <a:gd name="connsiteX330" fmla="*/ 9590 w 163595"/>
                <a:gd name="connsiteY330" fmla="*/ 142441 h 265137"/>
                <a:gd name="connsiteX331" fmla="*/ 9308 w 163595"/>
                <a:gd name="connsiteY331" fmla="*/ 141595 h 265137"/>
                <a:gd name="connsiteX332" fmla="*/ 10436 w 163595"/>
                <a:gd name="connsiteY332" fmla="*/ 139620 h 265137"/>
                <a:gd name="connsiteX333" fmla="*/ 10718 w 163595"/>
                <a:gd name="connsiteY333" fmla="*/ 139338 h 265137"/>
                <a:gd name="connsiteX334" fmla="*/ 10154 w 163595"/>
                <a:gd name="connsiteY334" fmla="*/ 138774 h 265137"/>
                <a:gd name="connsiteX335" fmla="*/ 9590 w 163595"/>
                <a:gd name="connsiteY335" fmla="*/ 138210 h 265137"/>
                <a:gd name="connsiteX336" fmla="*/ 9872 w 163595"/>
                <a:gd name="connsiteY336" fmla="*/ 137928 h 265137"/>
                <a:gd name="connsiteX337" fmla="*/ 10154 w 163595"/>
                <a:gd name="connsiteY337" fmla="*/ 137646 h 265137"/>
                <a:gd name="connsiteX338" fmla="*/ 10154 w 163595"/>
                <a:gd name="connsiteY338" fmla="*/ 137082 h 265137"/>
                <a:gd name="connsiteX339" fmla="*/ 10718 w 163595"/>
                <a:gd name="connsiteY339" fmla="*/ 136518 h 265137"/>
                <a:gd name="connsiteX340" fmla="*/ 11282 w 163595"/>
                <a:gd name="connsiteY340" fmla="*/ 135954 h 265137"/>
                <a:gd name="connsiteX341" fmla="*/ 11000 w 163595"/>
                <a:gd name="connsiteY341" fmla="*/ 135107 h 265137"/>
                <a:gd name="connsiteX342" fmla="*/ 11282 w 163595"/>
                <a:gd name="connsiteY342" fmla="*/ 133979 h 265137"/>
                <a:gd name="connsiteX343" fmla="*/ 11282 w 163595"/>
                <a:gd name="connsiteY343" fmla="*/ 133697 h 265137"/>
                <a:gd name="connsiteX344" fmla="*/ 11565 w 163595"/>
                <a:gd name="connsiteY344" fmla="*/ 131723 h 265137"/>
                <a:gd name="connsiteX345" fmla="*/ 21719 w 163595"/>
                <a:gd name="connsiteY345" fmla="*/ 84618 h 265137"/>
                <a:gd name="connsiteX346" fmla="*/ 21719 w 163595"/>
                <a:gd name="connsiteY346" fmla="*/ 84336 h 265137"/>
                <a:gd name="connsiteX347" fmla="*/ 23975 w 163595"/>
                <a:gd name="connsiteY347" fmla="*/ 79823 h 265137"/>
                <a:gd name="connsiteX348" fmla="*/ 24539 w 163595"/>
                <a:gd name="connsiteY348" fmla="*/ 78977 h 265137"/>
                <a:gd name="connsiteX349" fmla="*/ 24822 w 163595"/>
                <a:gd name="connsiteY349" fmla="*/ 78131 h 265137"/>
                <a:gd name="connsiteX350" fmla="*/ 24822 w 163595"/>
                <a:gd name="connsiteY350" fmla="*/ 77567 h 265137"/>
                <a:gd name="connsiteX351" fmla="*/ 25103 w 163595"/>
                <a:gd name="connsiteY351" fmla="*/ 76439 h 265137"/>
                <a:gd name="connsiteX352" fmla="*/ 25950 w 163595"/>
                <a:gd name="connsiteY352" fmla="*/ 75028 h 265137"/>
                <a:gd name="connsiteX353" fmla="*/ 26796 w 163595"/>
                <a:gd name="connsiteY353" fmla="*/ 73054 h 265137"/>
                <a:gd name="connsiteX354" fmla="*/ 26796 w 163595"/>
                <a:gd name="connsiteY354" fmla="*/ 72208 h 265137"/>
                <a:gd name="connsiteX355" fmla="*/ 27924 w 163595"/>
                <a:gd name="connsiteY355" fmla="*/ 68823 h 265137"/>
                <a:gd name="connsiteX356" fmla="*/ 28206 w 163595"/>
                <a:gd name="connsiteY356" fmla="*/ 68259 h 265137"/>
                <a:gd name="connsiteX357" fmla="*/ 28770 w 163595"/>
                <a:gd name="connsiteY357" fmla="*/ 64874 h 265137"/>
                <a:gd name="connsiteX358" fmla="*/ 29052 w 163595"/>
                <a:gd name="connsiteY358" fmla="*/ 64028 h 265137"/>
                <a:gd name="connsiteX359" fmla="*/ 35258 w 163595"/>
                <a:gd name="connsiteY359" fmla="*/ 47104 h 265137"/>
                <a:gd name="connsiteX360" fmla="*/ 36950 w 163595"/>
                <a:gd name="connsiteY360" fmla="*/ 42873 h 265137"/>
                <a:gd name="connsiteX361" fmla="*/ 38361 w 163595"/>
                <a:gd name="connsiteY361" fmla="*/ 38642 h 265137"/>
                <a:gd name="connsiteX362" fmla="*/ 39489 w 163595"/>
                <a:gd name="connsiteY362" fmla="*/ 35822 h 265137"/>
                <a:gd name="connsiteX363" fmla="*/ 40335 w 163595"/>
                <a:gd name="connsiteY363" fmla="*/ 33283 h 265137"/>
                <a:gd name="connsiteX364" fmla="*/ 41463 w 163595"/>
                <a:gd name="connsiteY364" fmla="*/ 31027 h 265137"/>
                <a:gd name="connsiteX365" fmla="*/ 41463 w 163595"/>
                <a:gd name="connsiteY365" fmla="*/ 30463 h 265137"/>
                <a:gd name="connsiteX366" fmla="*/ 43156 w 163595"/>
                <a:gd name="connsiteY366" fmla="*/ 26514 h 265137"/>
                <a:gd name="connsiteX367" fmla="*/ 43720 w 163595"/>
                <a:gd name="connsiteY367" fmla="*/ 24539 h 265137"/>
                <a:gd name="connsiteX368" fmla="*/ 44284 w 163595"/>
                <a:gd name="connsiteY368" fmla="*/ 23411 h 265137"/>
                <a:gd name="connsiteX369" fmla="*/ 44566 w 163595"/>
                <a:gd name="connsiteY369" fmla="*/ 23129 h 265137"/>
                <a:gd name="connsiteX370" fmla="*/ 44566 w 163595"/>
                <a:gd name="connsiteY370" fmla="*/ 22565 h 265137"/>
                <a:gd name="connsiteX371" fmla="*/ 45412 w 163595"/>
                <a:gd name="connsiteY371" fmla="*/ 20308 h 265137"/>
                <a:gd name="connsiteX372" fmla="*/ 47386 w 163595"/>
                <a:gd name="connsiteY372" fmla="*/ 14667 h 265137"/>
                <a:gd name="connsiteX373" fmla="*/ 48514 w 163595"/>
                <a:gd name="connsiteY373" fmla="*/ 11565 h 265137"/>
                <a:gd name="connsiteX374" fmla="*/ 49078 w 163595"/>
                <a:gd name="connsiteY374" fmla="*/ 9308 h 265137"/>
                <a:gd name="connsiteX375" fmla="*/ 49925 w 163595"/>
                <a:gd name="connsiteY375" fmla="*/ 7616 h 265137"/>
                <a:gd name="connsiteX376" fmla="*/ 51617 w 163595"/>
                <a:gd name="connsiteY376" fmla="*/ 3667 h 265137"/>
                <a:gd name="connsiteX377" fmla="*/ 51899 w 163595"/>
                <a:gd name="connsiteY377" fmla="*/ 2821 h 265137"/>
                <a:gd name="connsiteX378" fmla="*/ 53874 w 163595"/>
                <a:gd name="connsiteY378" fmla="*/ 1128 h 265137"/>
                <a:gd name="connsiteX379" fmla="*/ 54720 w 163595"/>
                <a:gd name="connsiteY379" fmla="*/ 564 h 265137"/>
                <a:gd name="connsiteX380" fmla="*/ 55848 w 163595"/>
                <a:gd name="connsiteY380" fmla="*/ 282 h 265137"/>
                <a:gd name="connsiteX381" fmla="*/ 56695 w 163595"/>
                <a:gd name="connsiteY381" fmla="*/ 0 h 265137"/>
                <a:gd name="connsiteX382" fmla="*/ 57259 w 163595"/>
                <a:gd name="connsiteY382" fmla="*/ 282 h 265137"/>
                <a:gd name="connsiteX383" fmla="*/ 59233 w 163595"/>
                <a:gd name="connsiteY383" fmla="*/ 2539 h 265137"/>
                <a:gd name="connsiteX384" fmla="*/ 59515 w 163595"/>
                <a:gd name="connsiteY384" fmla="*/ 2821 h 265137"/>
                <a:gd name="connsiteX385" fmla="*/ 60361 w 163595"/>
                <a:gd name="connsiteY385" fmla="*/ 2256 h 265137"/>
                <a:gd name="connsiteX386" fmla="*/ 61207 w 163595"/>
                <a:gd name="connsiteY386" fmla="*/ 2821 h 265137"/>
                <a:gd name="connsiteX387" fmla="*/ 61771 w 163595"/>
                <a:gd name="connsiteY387" fmla="*/ 3385 h 265137"/>
                <a:gd name="connsiteX388" fmla="*/ 62054 w 163595"/>
                <a:gd name="connsiteY388" fmla="*/ 3667 h 265137"/>
                <a:gd name="connsiteX389" fmla="*/ 62336 w 163595"/>
                <a:gd name="connsiteY389" fmla="*/ 3385 h 265137"/>
                <a:gd name="connsiteX390" fmla="*/ 63182 w 163595"/>
                <a:gd name="connsiteY390" fmla="*/ 3667 h 265137"/>
                <a:gd name="connsiteX391" fmla="*/ 64310 w 163595"/>
                <a:gd name="connsiteY391" fmla="*/ 3949 h 265137"/>
                <a:gd name="connsiteX392" fmla="*/ 65438 w 163595"/>
                <a:gd name="connsiteY392" fmla="*/ 3667 h 265137"/>
                <a:gd name="connsiteX393" fmla="*/ 66848 w 163595"/>
                <a:gd name="connsiteY393" fmla="*/ 4231 h 265137"/>
                <a:gd name="connsiteX394" fmla="*/ 67412 w 163595"/>
                <a:gd name="connsiteY394" fmla="*/ 4231 h 265137"/>
                <a:gd name="connsiteX395" fmla="*/ 67977 w 163595"/>
                <a:gd name="connsiteY395" fmla="*/ 3949 h 265137"/>
                <a:gd name="connsiteX396" fmla="*/ 69387 w 163595"/>
                <a:gd name="connsiteY396" fmla="*/ 4795 h 265137"/>
                <a:gd name="connsiteX397" fmla="*/ 69669 w 163595"/>
                <a:gd name="connsiteY397" fmla="*/ 5359 h 265137"/>
                <a:gd name="connsiteX398" fmla="*/ 68823 w 163595"/>
                <a:gd name="connsiteY398" fmla="*/ 7052 h 265137"/>
                <a:gd name="connsiteX399" fmla="*/ 67977 w 163595"/>
                <a:gd name="connsiteY399" fmla="*/ 9026 h 265137"/>
                <a:gd name="connsiteX400" fmla="*/ 67977 w 163595"/>
                <a:gd name="connsiteY400" fmla="*/ 9590 h 265137"/>
                <a:gd name="connsiteX401" fmla="*/ 67131 w 163595"/>
                <a:gd name="connsiteY401" fmla="*/ 11847 h 265137"/>
                <a:gd name="connsiteX402" fmla="*/ 66284 w 163595"/>
                <a:gd name="connsiteY402" fmla="*/ 14103 h 265137"/>
                <a:gd name="connsiteX403" fmla="*/ 64592 w 163595"/>
                <a:gd name="connsiteY403" fmla="*/ 16924 h 265137"/>
                <a:gd name="connsiteX404" fmla="*/ 63746 w 163595"/>
                <a:gd name="connsiteY404" fmla="*/ 18616 h 265137"/>
                <a:gd name="connsiteX405" fmla="*/ 63464 w 163595"/>
                <a:gd name="connsiteY405" fmla="*/ 19744 h 265137"/>
                <a:gd name="connsiteX406" fmla="*/ 63182 w 163595"/>
                <a:gd name="connsiteY406" fmla="*/ 20873 h 265137"/>
                <a:gd name="connsiteX407" fmla="*/ 62336 w 163595"/>
                <a:gd name="connsiteY407" fmla="*/ 22283 h 265137"/>
                <a:gd name="connsiteX408" fmla="*/ 62054 w 163595"/>
                <a:gd name="connsiteY408" fmla="*/ 23693 h 265137"/>
                <a:gd name="connsiteX409" fmla="*/ 62054 w 163595"/>
                <a:gd name="connsiteY409" fmla="*/ 23975 h 265137"/>
                <a:gd name="connsiteX410" fmla="*/ 61207 w 163595"/>
                <a:gd name="connsiteY410" fmla="*/ 25668 h 265137"/>
                <a:gd name="connsiteX411" fmla="*/ 60643 w 163595"/>
                <a:gd name="connsiteY411" fmla="*/ 26796 h 265137"/>
                <a:gd name="connsiteX412" fmla="*/ 60643 w 163595"/>
                <a:gd name="connsiteY412" fmla="*/ 27360 h 265137"/>
                <a:gd name="connsiteX413" fmla="*/ 60926 w 163595"/>
                <a:gd name="connsiteY413" fmla="*/ 27924 h 265137"/>
                <a:gd name="connsiteX414" fmla="*/ 61207 w 163595"/>
                <a:gd name="connsiteY414" fmla="*/ 28488 h 265137"/>
                <a:gd name="connsiteX415" fmla="*/ 60926 w 163595"/>
                <a:gd name="connsiteY415" fmla="*/ 29052 h 265137"/>
                <a:gd name="connsiteX416" fmla="*/ 60079 w 163595"/>
                <a:gd name="connsiteY416" fmla="*/ 30463 h 265137"/>
                <a:gd name="connsiteX417" fmla="*/ 60079 w 163595"/>
                <a:gd name="connsiteY417" fmla="*/ 30745 h 265137"/>
                <a:gd name="connsiteX418" fmla="*/ 58669 w 163595"/>
                <a:gd name="connsiteY418" fmla="*/ 32719 h 265137"/>
                <a:gd name="connsiteX419" fmla="*/ 57540 w 163595"/>
                <a:gd name="connsiteY419" fmla="*/ 34411 h 265137"/>
                <a:gd name="connsiteX420" fmla="*/ 57259 w 163595"/>
                <a:gd name="connsiteY420" fmla="*/ 34694 h 265137"/>
                <a:gd name="connsiteX421" fmla="*/ 57540 w 163595"/>
                <a:gd name="connsiteY421" fmla="*/ 34976 h 265137"/>
                <a:gd name="connsiteX422" fmla="*/ 58105 w 163595"/>
                <a:gd name="connsiteY422" fmla="*/ 36104 h 265137"/>
                <a:gd name="connsiteX423" fmla="*/ 58105 w 163595"/>
                <a:gd name="connsiteY423" fmla="*/ 36668 h 265137"/>
                <a:gd name="connsiteX424" fmla="*/ 57259 w 163595"/>
                <a:gd name="connsiteY424" fmla="*/ 38078 h 265137"/>
                <a:gd name="connsiteX425" fmla="*/ 56695 w 163595"/>
                <a:gd name="connsiteY425" fmla="*/ 38924 h 265137"/>
                <a:gd name="connsiteX426" fmla="*/ 55848 w 163595"/>
                <a:gd name="connsiteY426" fmla="*/ 40335 h 265137"/>
                <a:gd name="connsiteX427" fmla="*/ 55284 w 163595"/>
                <a:gd name="connsiteY427" fmla="*/ 43437 h 265137"/>
                <a:gd name="connsiteX428" fmla="*/ 55002 w 163595"/>
                <a:gd name="connsiteY428" fmla="*/ 44002 h 265137"/>
                <a:gd name="connsiteX429" fmla="*/ 54156 w 163595"/>
                <a:gd name="connsiteY429" fmla="*/ 45412 h 265137"/>
                <a:gd name="connsiteX430" fmla="*/ 54156 w 163595"/>
                <a:gd name="connsiteY430" fmla="*/ 45976 h 265137"/>
                <a:gd name="connsiteX431" fmla="*/ 53592 w 163595"/>
                <a:gd name="connsiteY431" fmla="*/ 47104 h 265137"/>
                <a:gd name="connsiteX432" fmla="*/ 53592 w 163595"/>
                <a:gd name="connsiteY432" fmla="*/ 48232 h 265137"/>
                <a:gd name="connsiteX433" fmla="*/ 53028 w 163595"/>
                <a:gd name="connsiteY433" fmla="*/ 49643 h 265137"/>
                <a:gd name="connsiteX434" fmla="*/ 52464 w 163595"/>
                <a:gd name="connsiteY434" fmla="*/ 50771 h 265137"/>
                <a:gd name="connsiteX435" fmla="*/ 52181 w 163595"/>
                <a:gd name="connsiteY435" fmla="*/ 51053 h 265137"/>
                <a:gd name="connsiteX436" fmla="*/ 51335 w 163595"/>
                <a:gd name="connsiteY436" fmla="*/ 53310 h 265137"/>
                <a:gd name="connsiteX437" fmla="*/ 50489 w 163595"/>
                <a:gd name="connsiteY437" fmla="*/ 55002 h 265137"/>
                <a:gd name="connsiteX438" fmla="*/ 50771 w 163595"/>
                <a:gd name="connsiteY438" fmla="*/ 56130 h 265137"/>
                <a:gd name="connsiteX439" fmla="*/ 50771 w 163595"/>
                <a:gd name="connsiteY439" fmla="*/ 56412 h 265137"/>
                <a:gd name="connsiteX440" fmla="*/ 49361 w 163595"/>
                <a:gd name="connsiteY440" fmla="*/ 57258 h 265137"/>
                <a:gd name="connsiteX441" fmla="*/ 49643 w 163595"/>
                <a:gd name="connsiteY441" fmla="*/ 57823 h 265137"/>
                <a:gd name="connsiteX442" fmla="*/ 50207 w 163595"/>
                <a:gd name="connsiteY442" fmla="*/ 58387 h 265137"/>
                <a:gd name="connsiteX443" fmla="*/ 49925 w 163595"/>
                <a:gd name="connsiteY443" fmla="*/ 58669 h 265137"/>
                <a:gd name="connsiteX444" fmla="*/ 48233 w 163595"/>
                <a:gd name="connsiteY444" fmla="*/ 60643 h 265137"/>
                <a:gd name="connsiteX445" fmla="*/ 47950 w 163595"/>
                <a:gd name="connsiteY445" fmla="*/ 61771 h 265137"/>
                <a:gd name="connsiteX446" fmla="*/ 48233 w 163595"/>
                <a:gd name="connsiteY446" fmla="*/ 62336 h 265137"/>
                <a:gd name="connsiteX447" fmla="*/ 48797 w 163595"/>
                <a:gd name="connsiteY447" fmla="*/ 62053 h 265137"/>
                <a:gd name="connsiteX448" fmla="*/ 50207 w 163595"/>
                <a:gd name="connsiteY448" fmla="*/ 60079 h 265137"/>
                <a:gd name="connsiteX449" fmla="*/ 51617 w 163595"/>
                <a:gd name="connsiteY449" fmla="*/ 58105 h 265137"/>
                <a:gd name="connsiteX450" fmla="*/ 54438 w 163595"/>
                <a:gd name="connsiteY450" fmla="*/ 54720 h 265137"/>
                <a:gd name="connsiteX451" fmla="*/ 55848 w 163595"/>
                <a:gd name="connsiteY451" fmla="*/ 53310 h 265137"/>
                <a:gd name="connsiteX452" fmla="*/ 60643 w 163595"/>
                <a:gd name="connsiteY452" fmla="*/ 48232 h 265137"/>
                <a:gd name="connsiteX453" fmla="*/ 62618 w 163595"/>
                <a:gd name="connsiteY453" fmla="*/ 46258 h 265137"/>
                <a:gd name="connsiteX454" fmla="*/ 63464 w 163595"/>
                <a:gd name="connsiteY454" fmla="*/ 45694 h 265137"/>
                <a:gd name="connsiteX455" fmla="*/ 66848 w 163595"/>
                <a:gd name="connsiteY455" fmla="*/ 42591 h 265137"/>
                <a:gd name="connsiteX456" fmla="*/ 72208 w 163595"/>
                <a:gd name="connsiteY456" fmla="*/ 38924 h 265137"/>
                <a:gd name="connsiteX457" fmla="*/ 76721 w 163595"/>
                <a:gd name="connsiteY457" fmla="*/ 36386 h 265137"/>
                <a:gd name="connsiteX458" fmla="*/ 78695 w 163595"/>
                <a:gd name="connsiteY458" fmla="*/ 35540 h 265137"/>
                <a:gd name="connsiteX459" fmla="*/ 83490 w 163595"/>
                <a:gd name="connsiteY459" fmla="*/ 33847 h 265137"/>
                <a:gd name="connsiteX460" fmla="*/ 87439 w 163595"/>
                <a:gd name="connsiteY460" fmla="*/ 33001 h 265137"/>
                <a:gd name="connsiteX461" fmla="*/ 92798 w 163595"/>
                <a:gd name="connsiteY461" fmla="*/ 33001 h 265137"/>
                <a:gd name="connsiteX462" fmla="*/ 94773 w 163595"/>
                <a:gd name="connsiteY462" fmla="*/ 33283 h 265137"/>
                <a:gd name="connsiteX463" fmla="*/ 95337 w 163595"/>
                <a:gd name="connsiteY463" fmla="*/ 33565 h 265137"/>
                <a:gd name="connsiteX464" fmla="*/ 97029 w 163595"/>
                <a:gd name="connsiteY464" fmla="*/ 34129 h 265137"/>
                <a:gd name="connsiteX465" fmla="*/ 104080 w 163595"/>
                <a:gd name="connsiteY465" fmla="*/ 36668 h 265137"/>
                <a:gd name="connsiteX466" fmla="*/ 105491 w 163595"/>
                <a:gd name="connsiteY466" fmla="*/ 37232 h 265137"/>
                <a:gd name="connsiteX467" fmla="*/ 108594 w 163595"/>
                <a:gd name="connsiteY467" fmla="*/ 40053 h 265137"/>
                <a:gd name="connsiteX468" fmla="*/ 109440 w 163595"/>
                <a:gd name="connsiteY468" fmla="*/ 41181 h 265137"/>
                <a:gd name="connsiteX469" fmla="*/ 109722 w 163595"/>
                <a:gd name="connsiteY469" fmla="*/ 41463 h 265137"/>
                <a:gd name="connsiteX470" fmla="*/ 111697 w 163595"/>
                <a:gd name="connsiteY470" fmla="*/ 43720 h 265137"/>
                <a:gd name="connsiteX471" fmla="*/ 112261 w 163595"/>
                <a:gd name="connsiteY471" fmla="*/ 44284 h 265137"/>
                <a:gd name="connsiteX472" fmla="*/ 113107 w 163595"/>
                <a:gd name="connsiteY472" fmla="*/ 44848 h 265137"/>
                <a:gd name="connsiteX473" fmla="*/ 113953 w 163595"/>
                <a:gd name="connsiteY473" fmla="*/ 45976 h 265137"/>
                <a:gd name="connsiteX474" fmla="*/ 114235 w 163595"/>
                <a:gd name="connsiteY474" fmla="*/ 46540 h 265137"/>
                <a:gd name="connsiteX475" fmla="*/ 114235 w 163595"/>
                <a:gd name="connsiteY475" fmla="*/ 47668 h 265137"/>
                <a:gd name="connsiteX476" fmla="*/ 115363 w 163595"/>
                <a:gd name="connsiteY476" fmla="*/ 48515 h 265137"/>
                <a:gd name="connsiteX477" fmla="*/ 116209 w 163595"/>
                <a:gd name="connsiteY477" fmla="*/ 48515 h 265137"/>
                <a:gd name="connsiteX478" fmla="*/ 116773 w 163595"/>
                <a:gd name="connsiteY478" fmla="*/ 49361 h 265137"/>
                <a:gd name="connsiteX479" fmla="*/ 116773 w 163595"/>
                <a:gd name="connsiteY479" fmla="*/ 49643 h 265137"/>
                <a:gd name="connsiteX480" fmla="*/ 115928 w 163595"/>
                <a:gd name="connsiteY480" fmla="*/ 50771 h 265137"/>
                <a:gd name="connsiteX481" fmla="*/ 116209 w 163595"/>
                <a:gd name="connsiteY481" fmla="*/ 51335 h 265137"/>
                <a:gd name="connsiteX482" fmla="*/ 116773 w 163595"/>
                <a:gd name="connsiteY482" fmla="*/ 54156 h 265137"/>
                <a:gd name="connsiteX483" fmla="*/ 117056 w 163595"/>
                <a:gd name="connsiteY483" fmla="*/ 54720 h 265137"/>
                <a:gd name="connsiteX484" fmla="*/ 117338 w 163595"/>
                <a:gd name="connsiteY484" fmla="*/ 55284 h 265137"/>
                <a:gd name="connsiteX485" fmla="*/ 118183 w 163595"/>
                <a:gd name="connsiteY485" fmla="*/ 58951 h 265137"/>
                <a:gd name="connsiteX486" fmla="*/ 118466 w 163595"/>
                <a:gd name="connsiteY486" fmla="*/ 60361 h 265137"/>
                <a:gd name="connsiteX487" fmla="*/ 118466 w 163595"/>
                <a:gd name="connsiteY487" fmla="*/ 61489 h 265137"/>
                <a:gd name="connsiteX488" fmla="*/ 118748 w 163595"/>
                <a:gd name="connsiteY488" fmla="*/ 63746 h 265137"/>
                <a:gd name="connsiteX489" fmla="*/ 119312 w 163595"/>
                <a:gd name="connsiteY489" fmla="*/ 64310 h 265137"/>
                <a:gd name="connsiteX490" fmla="*/ 121850 w 163595"/>
                <a:gd name="connsiteY490" fmla="*/ 63464 h 265137"/>
                <a:gd name="connsiteX491" fmla="*/ 122697 w 163595"/>
                <a:gd name="connsiteY491" fmla="*/ 63182 h 265137"/>
                <a:gd name="connsiteX492" fmla="*/ 123543 w 163595"/>
                <a:gd name="connsiteY492" fmla="*/ 63182 h 265137"/>
                <a:gd name="connsiteX493" fmla="*/ 124107 w 163595"/>
                <a:gd name="connsiteY493" fmla="*/ 62900 h 265137"/>
                <a:gd name="connsiteX494" fmla="*/ 128902 w 163595"/>
                <a:gd name="connsiteY494" fmla="*/ 60079 h 265137"/>
                <a:gd name="connsiteX495" fmla="*/ 131159 w 163595"/>
                <a:gd name="connsiteY495" fmla="*/ 59233 h 265137"/>
                <a:gd name="connsiteX496" fmla="*/ 131441 w 163595"/>
                <a:gd name="connsiteY496" fmla="*/ 59233 h 265137"/>
                <a:gd name="connsiteX497" fmla="*/ 134826 w 163595"/>
                <a:gd name="connsiteY497" fmla="*/ 57823 h 265137"/>
                <a:gd name="connsiteX498" fmla="*/ 137928 w 163595"/>
                <a:gd name="connsiteY498" fmla="*/ 56976 h 265137"/>
                <a:gd name="connsiteX499" fmla="*/ 138774 w 163595"/>
                <a:gd name="connsiteY499" fmla="*/ 56694 h 265137"/>
                <a:gd name="connsiteX500" fmla="*/ 147518 w 163595"/>
                <a:gd name="connsiteY500" fmla="*/ 55566 h 265137"/>
                <a:gd name="connsiteX501" fmla="*/ 149775 w 163595"/>
                <a:gd name="connsiteY501" fmla="*/ 55566 h 265137"/>
                <a:gd name="connsiteX502" fmla="*/ 150339 w 163595"/>
                <a:gd name="connsiteY502" fmla="*/ 55848 h 265137"/>
                <a:gd name="connsiteX503" fmla="*/ 150903 w 163595"/>
                <a:gd name="connsiteY503" fmla="*/ 56412 h 265137"/>
                <a:gd name="connsiteX504" fmla="*/ 151185 w 163595"/>
                <a:gd name="connsiteY504" fmla="*/ 56412 h 265137"/>
                <a:gd name="connsiteX505" fmla="*/ 155980 w 163595"/>
                <a:gd name="connsiteY505" fmla="*/ 56130 h 265137"/>
                <a:gd name="connsiteX506" fmla="*/ 156826 w 163595"/>
                <a:gd name="connsiteY506" fmla="*/ 56130 h 265137"/>
                <a:gd name="connsiteX507" fmla="*/ 158801 w 163595"/>
                <a:gd name="connsiteY507" fmla="*/ 55848 h 265137"/>
                <a:gd name="connsiteX508" fmla="*/ 159082 w 163595"/>
                <a:gd name="connsiteY508" fmla="*/ 56130 h 265137"/>
                <a:gd name="connsiteX509" fmla="*/ 158801 w 163595"/>
                <a:gd name="connsiteY509" fmla="*/ 56130 h 265137"/>
                <a:gd name="connsiteX510" fmla="*/ 157954 w 163595"/>
                <a:gd name="connsiteY510" fmla="*/ 56694 h 265137"/>
                <a:gd name="connsiteX511" fmla="*/ 157954 w 163595"/>
                <a:gd name="connsiteY511" fmla="*/ 56976 h 265137"/>
                <a:gd name="connsiteX512" fmla="*/ 158237 w 163595"/>
                <a:gd name="connsiteY512" fmla="*/ 57258 h 265137"/>
                <a:gd name="connsiteX513" fmla="*/ 160775 w 163595"/>
                <a:gd name="connsiteY513" fmla="*/ 56976 h 265137"/>
                <a:gd name="connsiteX514" fmla="*/ 163313 w 163595"/>
                <a:gd name="connsiteY514" fmla="*/ 56694 h 265137"/>
                <a:gd name="connsiteX515" fmla="*/ 164442 w 163595"/>
                <a:gd name="connsiteY515" fmla="*/ 56694 h 265137"/>
                <a:gd name="connsiteX516" fmla="*/ 164160 w 163595"/>
                <a:gd name="connsiteY516" fmla="*/ 56976 h 265137"/>
                <a:gd name="connsiteX517" fmla="*/ 162468 w 163595"/>
                <a:gd name="connsiteY517" fmla="*/ 57541 h 265137"/>
                <a:gd name="connsiteX518" fmla="*/ 162185 w 163595"/>
                <a:gd name="connsiteY518" fmla="*/ 57823 h 265137"/>
                <a:gd name="connsiteX519" fmla="*/ 162468 w 163595"/>
                <a:gd name="connsiteY519" fmla="*/ 58105 h 265137"/>
                <a:gd name="connsiteX520" fmla="*/ 162185 w 163595"/>
                <a:gd name="connsiteY520" fmla="*/ 58669 h 265137"/>
                <a:gd name="connsiteX521" fmla="*/ 161903 w 163595"/>
                <a:gd name="connsiteY521" fmla="*/ 58951 h 265137"/>
                <a:gd name="connsiteX522" fmla="*/ 161903 w 163595"/>
                <a:gd name="connsiteY522" fmla="*/ 59233 h 265137"/>
                <a:gd name="connsiteX523" fmla="*/ 162185 w 163595"/>
                <a:gd name="connsiteY523" fmla="*/ 59515 h 265137"/>
                <a:gd name="connsiteX524" fmla="*/ 162468 w 163595"/>
                <a:gd name="connsiteY524" fmla="*/ 59515 h 265137"/>
                <a:gd name="connsiteX525" fmla="*/ 162185 w 163595"/>
                <a:gd name="connsiteY525" fmla="*/ 59797 h 265137"/>
                <a:gd name="connsiteX526" fmla="*/ 161621 w 163595"/>
                <a:gd name="connsiteY526" fmla="*/ 60079 h 265137"/>
                <a:gd name="connsiteX527" fmla="*/ 160211 w 163595"/>
                <a:gd name="connsiteY527" fmla="*/ 60925 h 265137"/>
                <a:gd name="connsiteX528" fmla="*/ 160211 w 163595"/>
                <a:gd name="connsiteY528" fmla="*/ 61207 h 265137"/>
                <a:gd name="connsiteX529" fmla="*/ 160775 w 163595"/>
                <a:gd name="connsiteY529" fmla="*/ 61771 h 265137"/>
                <a:gd name="connsiteX530" fmla="*/ 160493 w 163595"/>
                <a:gd name="connsiteY530" fmla="*/ 62618 h 265137"/>
                <a:gd name="connsiteX531" fmla="*/ 160493 w 163595"/>
                <a:gd name="connsiteY531" fmla="*/ 62900 h 265137"/>
                <a:gd name="connsiteX532" fmla="*/ 160211 w 163595"/>
                <a:gd name="connsiteY532" fmla="*/ 63182 h 265137"/>
                <a:gd name="connsiteX533" fmla="*/ 159082 w 163595"/>
                <a:gd name="connsiteY533" fmla="*/ 63464 h 265137"/>
                <a:gd name="connsiteX534" fmla="*/ 154288 w 163595"/>
                <a:gd name="connsiteY534" fmla="*/ 64028 h 265137"/>
                <a:gd name="connsiteX535" fmla="*/ 153160 w 163595"/>
                <a:gd name="connsiteY535" fmla="*/ 64028 h 265137"/>
                <a:gd name="connsiteX536" fmla="*/ 150621 w 163595"/>
                <a:gd name="connsiteY536" fmla="*/ 64874 h 265137"/>
                <a:gd name="connsiteX537" fmla="*/ 149210 w 163595"/>
                <a:gd name="connsiteY537" fmla="*/ 65156 h 265137"/>
                <a:gd name="connsiteX538" fmla="*/ 147518 w 163595"/>
                <a:gd name="connsiteY538" fmla="*/ 65438 h 265137"/>
                <a:gd name="connsiteX539" fmla="*/ 137646 w 163595"/>
                <a:gd name="connsiteY539" fmla="*/ 69105 h 265137"/>
                <a:gd name="connsiteX540" fmla="*/ 130876 w 163595"/>
                <a:gd name="connsiteY540" fmla="*/ 70797 h 265137"/>
                <a:gd name="connsiteX541" fmla="*/ 128902 w 163595"/>
                <a:gd name="connsiteY541" fmla="*/ 71644 h 265137"/>
                <a:gd name="connsiteX542" fmla="*/ 123261 w 163595"/>
                <a:gd name="connsiteY542" fmla="*/ 74746 h 265137"/>
                <a:gd name="connsiteX543" fmla="*/ 118466 w 163595"/>
                <a:gd name="connsiteY543" fmla="*/ 77003 h 265137"/>
                <a:gd name="connsiteX544" fmla="*/ 117902 w 163595"/>
                <a:gd name="connsiteY544" fmla="*/ 78413 h 265137"/>
                <a:gd name="connsiteX545" fmla="*/ 118183 w 163595"/>
                <a:gd name="connsiteY545" fmla="*/ 78695 h 265137"/>
                <a:gd name="connsiteX546" fmla="*/ 118748 w 163595"/>
                <a:gd name="connsiteY546" fmla="*/ 78977 h 265137"/>
                <a:gd name="connsiteX547" fmla="*/ 119030 w 163595"/>
                <a:gd name="connsiteY547" fmla="*/ 79541 h 265137"/>
                <a:gd name="connsiteX548" fmla="*/ 118183 w 163595"/>
                <a:gd name="connsiteY548" fmla="*/ 80387 h 265137"/>
                <a:gd name="connsiteX549" fmla="*/ 117902 w 163595"/>
                <a:gd name="connsiteY549" fmla="*/ 80670 h 265137"/>
                <a:gd name="connsiteX550" fmla="*/ 118183 w 163595"/>
                <a:gd name="connsiteY550" fmla="*/ 80952 h 265137"/>
                <a:gd name="connsiteX551" fmla="*/ 118466 w 163595"/>
                <a:gd name="connsiteY551" fmla="*/ 81234 h 265137"/>
                <a:gd name="connsiteX552" fmla="*/ 118748 w 163595"/>
                <a:gd name="connsiteY552" fmla="*/ 81798 h 265137"/>
                <a:gd name="connsiteX553" fmla="*/ 118466 w 163595"/>
                <a:gd name="connsiteY553" fmla="*/ 82362 h 265137"/>
                <a:gd name="connsiteX554" fmla="*/ 117902 w 163595"/>
                <a:gd name="connsiteY554" fmla="*/ 82362 h 265137"/>
                <a:gd name="connsiteX555" fmla="*/ 117338 w 163595"/>
                <a:gd name="connsiteY555" fmla="*/ 83208 h 265137"/>
                <a:gd name="connsiteX556" fmla="*/ 117338 w 163595"/>
                <a:gd name="connsiteY556" fmla="*/ 83772 h 265137"/>
                <a:gd name="connsiteX557" fmla="*/ 117056 w 163595"/>
                <a:gd name="connsiteY557" fmla="*/ 84054 h 265137"/>
                <a:gd name="connsiteX558" fmla="*/ 116773 w 163595"/>
                <a:gd name="connsiteY558" fmla="*/ 84618 h 265137"/>
                <a:gd name="connsiteX559" fmla="*/ 117056 w 163595"/>
                <a:gd name="connsiteY559" fmla="*/ 84900 h 265137"/>
                <a:gd name="connsiteX560" fmla="*/ 117338 w 163595"/>
                <a:gd name="connsiteY560" fmla="*/ 85465 h 265137"/>
                <a:gd name="connsiteX561" fmla="*/ 117338 w 163595"/>
                <a:gd name="connsiteY561" fmla="*/ 85747 h 265137"/>
                <a:gd name="connsiteX562" fmla="*/ 116492 w 163595"/>
                <a:gd name="connsiteY562" fmla="*/ 86875 h 265137"/>
                <a:gd name="connsiteX563" fmla="*/ 116492 w 163595"/>
                <a:gd name="connsiteY563" fmla="*/ 87439 h 265137"/>
                <a:gd name="connsiteX564" fmla="*/ 116773 w 163595"/>
                <a:gd name="connsiteY564" fmla="*/ 88285 h 265137"/>
                <a:gd name="connsiteX565" fmla="*/ 117338 w 163595"/>
                <a:gd name="connsiteY565" fmla="*/ 88849 h 265137"/>
                <a:gd name="connsiteX566" fmla="*/ 117056 w 163595"/>
                <a:gd name="connsiteY566" fmla="*/ 89696 h 265137"/>
                <a:gd name="connsiteX567" fmla="*/ 116773 w 163595"/>
                <a:gd name="connsiteY567" fmla="*/ 90260 h 265137"/>
                <a:gd name="connsiteX568" fmla="*/ 117056 w 163595"/>
                <a:gd name="connsiteY568" fmla="*/ 91388 h 265137"/>
                <a:gd name="connsiteX569" fmla="*/ 115363 w 163595"/>
                <a:gd name="connsiteY569" fmla="*/ 94491 h 265137"/>
                <a:gd name="connsiteX570" fmla="*/ 115081 w 163595"/>
                <a:gd name="connsiteY570" fmla="*/ 94773 h 265137"/>
                <a:gd name="connsiteX571" fmla="*/ 115363 w 163595"/>
                <a:gd name="connsiteY571" fmla="*/ 95055 h 265137"/>
                <a:gd name="connsiteX572" fmla="*/ 115081 w 163595"/>
                <a:gd name="connsiteY572" fmla="*/ 95901 h 265137"/>
                <a:gd name="connsiteX573" fmla="*/ 114517 w 163595"/>
                <a:gd name="connsiteY573" fmla="*/ 96465 h 265137"/>
                <a:gd name="connsiteX574" fmla="*/ 114235 w 163595"/>
                <a:gd name="connsiteY574" fmla="*/ 96465 h 265137"/>
                <a:gd name="connsiteX575" fmla="*/ 113107 w 163595"/>
                <a:gd name="connsiteY575" fmla="*/ 97311 h 265137"/>
                <a:gd name="connsiteX576" fmla="*/ 113107 w 163595"/>
                <a:gd name="connsiteY576" fmla="*/ 98439 h 265137"/>
                <a:gd name="connsiteX577" fmla="*/ 112261 w 163595"/>
                <a:gd name="connsiteY577" fmla="*/ 99568 h 265137"/>
                <a:gd name="connsiteX578" fmla="*/ 112261 w 163595"/>
                <a:gd name="connsiteY578" fmla="*/ 99850 h 265137"/>
                <a:gd name="connsiteX579" fmla="*/ 112542 w 163595"/>
                <a:gd name="connsiteY579" fmla="*/ 100414 h 265137"/>
                <a:gd name="connsiteX580" fmla="*/ 111978 w 163595"/>
                <a:gd name="connsiteY580" fmla="*/ 100978 h 265137"/>
                <a:gd name="connsiteX581" fmla="*/ 111978 w 163595"/>
                <a:gd name="connsiteY581" fmla="*/ 101260 h 265137"/>
                <a:gd name="connsiteX582" fmla="*/ 112542 w 163595"/>
                <a:gd name="connsiteY582" fmla="*/ 101542 h 265137"/>
                <a:gd name="connsiteX583" fmla="*/ 112825 w 163595"/>
                <a:gd name="connsiteY583" fmla="*/ 101260 h 265137"/>
                <a:gd name="connsiteX584" fmla="*/ 113107 w 163595"/>
                <a:gd name="connsiteY584" fmla="*/ 100414 h 265137"/>
                <a:gd name="connsiteX585" fmla="*/ 113389 w 163595"/>
                <a:gd name="connsiteY585" fmla="*/ 100132 h 265137"/>
                <a:gd name="connsiteX586" fmla="*/ 113953 w 163595"/>
                <a:gd name="connsiteY586" fmla="*/ 100696 h 265137"/>
                <a:gd name="connsiteX587" fmla="*/ 113671 w 163595"/>
                <a:gd name="connsiteY587" fmla="*/ 102106 h 265137"/>
                <a:gd name="connsiteX588" fmla="*/ 112261 w 163595"/>
                <a:gd name="connsiteY588" fmla="*/ 103799 h 265137"/>
                <a:gd name="connsiteX589" fmla="*/ 111978 w 163595"/>
                <a:gd name="connsiteY589" fmla="*/ 104081 h 265137"/>
                <a:gd name="connsiteX590" fmla="*/ 112261 w 163595"/>
                <a:gd name="connsiteY590" fmla="*/ 104645 h 265137"/>
                <a:gd name="connsiteX591" fmla="*/ 111978 w 163595"/>
                <a:gd name="connsiteY591" fmla="*/ 104927 h 265137"/>
                <a:gd name="connsiteX592" fmla="*/ 111132 w 163595"/>
                <a:gd name="connsiteY592" fmla="*/ 105773 h 265137"/>
                <a:gd name="connsiteX593" fmla="*/ 110850 w 163595"/>
                <a:gd name="connsiteY593" fmla="*/ 106337 h 265137"/>
                <a:gd name="connsiteX594" fmla="*/ 111132 w 163595"/>
                <a:gd name="connsiteY594" fmla="*/ 106901 h 265137"/>
                <a:gd name="connsiteX595" fmla="*/ 110568 w 163595"/>
                <a:gd name="connsiteY595" fmla="*/ 106901 h 265137"/>
                <a:gd name="connsiteX596" fmla="*/ 110004 w 163595"/>
                <a:gd name="connsiteY596" fmla="*/ 107183 h 265137"/>
                <a:gd name="connsiteX597" fmla="*/ 109722 w 163595"/>
                <a:gd name="connsiteY597" fmla="*/ 107465 h 265137"/>
                <a:gd name="connsiteX598" fmla="*/ 110286 w 163595"/>
                <a:gd name="connsiteY598" fmla="*/ 107747 h 265137"/>
                <a:gd name="connsiteX599" fmla="*/ 111132 w 163595"/>
                <a:gd name="connsiteY599" fmla="*/ 106901 h 265137"/>
                <a:gd name="connsiteX600" fmla="*/ 111414 w 163595"/>
                <a:gd name="connsiteY600" fmla="*/ 107183 h 265137"/>
                <a:gd name="connsiteX601" fmla="*/ 111132 w 163595"/>
                <a:gd name="connsiteY601" fmla="*/ 108876 h 265137"/>
                <a:gd name="connsiteX602" fmla="*/ 111132 w 163595"/>
                <a:gd name="connsiteY602" fmla="*/ 109158 h 265137"/>
                <a:gd name="connsiteX603" fmla="*/ 110568 w 163595"/>
                <a:gd name="connsiteY603" fmla="*/ 109722 h 265137"/>
                <a:gd name="connsiteX604" fmla="*/ 110004 w 163595"/>
                <a:gd name="connsiteY604" fmla="*/ 110286 h 265137"/>
                <a:gd name="connsiteX605" fmla="*/ 109722 w 163595"/>
                <a:gd name="connsiteY605" fmla="*/ 111132 h 265137"/>
                <a:gd name="connsiteX606" fmla="*/ 108876 w 163595"/>
                <a:gd name="connsiteY606" fmla="*/ 111978 h 265137"/>
                <a:gd name="connsiteX607" fmla="*/ 107747 w 163595"/>
                <a:gd name="connsiteY607" fmla="*/ 111978 h 265137"/>
                <a:gd name="connsiteX608" fmla="*/ 107466 w 163595"/>
                <a:gd name="connsiteY608" fmla="*/ 111978 h 265137"/>
                <a:gd name="connsiteX609" fmla="*/ 107747 w 163595"/>
                <a:gd name="connsiteY609" fmla="*/ 112260 h 265137"/>
                <a:gd name="connsiteX610" fmla="*/ 108876 w 163595"/>
                <a:gd name="connsiteY610" fmla="*/ 112825 h 265137"/>
                <a:gd name="connsiteX611" fmla="*/ 108876 w 163595"/>
                <a:gd name="connsiteY611" fmla="*/ 113389 h 265137"/>
                <a:gd name="connsiteX612" fmla="*/ 108030 w 163595"/>
                <a:gd name="connsiteY612" fmla="*/ 114799 h 265137"/>
                <a:gd name="connsiteX613" fmla="*/ 107466 w 163595"/>
                <a:gd name="connsiteY613" fmla="*/ 115645 h 265137"/>
                <a:gd name="connsiteX614" fmla="*/ 107466 w 163595"/>
                <a:gd name="connsiteY614" fmla="*/ 115927 h 265137"/>
                <a:gd name="connsiteX615" fmla="*/ 107183 w 163595"/>
                <a:gd name="connsiteY615" fmla="*/ 116491 h 265137"/>
                <a:gd name="connsiteX616" fmla="*/ 106337 w 163595"/>
                <a:gd name="connsiteY616" fmla="*/ 117338 h 265137"/>
                <a:gd name="connsiteX617" fmla="*/ 106055 w 163595"/>
                <a:gd name="connsiteY617" fmla="*/ 117620 h 265137"/>
                <a:gd name="connsiteX618" fmla="*/ 104927 w 163595"/>
                <a:gd name="connsiteY618" fmla="*/ 120158 h 265137"/>
                <a:gd name="connsiteX619" fmla="*/ 103799 w 163595"/>
                <a:gd name="connsiteY619" fmla="*/ 121851 h 265137"/>
                <a:gd name="connsiteX620" fmla="*/ 103235 w 163595"/>
                <a:gd name="connsiteY620" fmla="*/ 123261 h 265137"/>
                <a:gd name="connsiteX621" fmla="*/ 101824 w 163595"/>
                <a:gd name="connsiteY621" fmla="*/ 125799 h 265137"/>
                <a:gd name="connsiteX622" fmla="*/ 101260 w 163595"/>
                <a:gd name="connsiteY622" fmla="*/ 126646 h 265137"/>
                <a:gd name="connsiteX623" fmla="*/ 99004 w 163595"/>
                <a:gd name="connsiteY623" fmla="*/ 130030 h 265137"/>
                <a:gd name="connsiteX624" fmla="*/ 99004 w 163595"/>
                <a:gd name="connsiteY624" fmla="*/ 130594 h 265137"/>
                <a:gd name="connsiteX625" fmla="*/ 97311 w 163595"/>
                <a:gd name="connsiteY625" fmla="*/ 132287 h 265137"/>
                <a:gd name="connsiteX626" fmla="*/ 95901 w 163595"/>
                <a:gd name="connsiteY626" fmla="*/ 134261 h 265137"/>
                <a:gd name="connsiteX627" fmla="*/ 93927 w 163595"/>
                <a:gd name="connsiteY627" fmla="*/ 136518 h 265137"/>
                <a:gd name="connsiteX628" fmla="*/ 93363 w 163595"/>
                <a:gd name="connsiteY628" fmla="*/ 137082 h 265137"/>
                <a:gd name="connsiteX629" fmla="*/ 90542 w 163595"/>
                <a:gd name="connsiteY629" fmla="*/ 140467 h 265137"/>
                <a:gd name="connsiteX630" fmla="*/ 89696 w 163595"/>
                <a:gd name="connsiteY630" fmla="*/ 141313 h 265137"/>
                <a:gd name="connsiteX631" fmla="*/ 86311 w 163595"/>
                <a:gd name="connsiteY631" fmla="*/ 144980 h 265137"/>
                <a:gd name="connsiteX632" fmla="*/ 85465 w 163595"/>
                <a:gd name="connsiteY632" fmla="*/ 145826 h 265137"/>
                <a:gd name="connsiteX633" fmla="*/ 82362 w 163595"/>
                <a:gd name="connsiteY633" fmla="*/ 148082 h 265137"/>
                <a:gd name="connsiteX634" fmla="*/ 78977 w 163595"/>
                <a:gd name="connsiteY634" fmla="*/ 151185 h 265137"/>
                <a:gd name="connsiteX635" fmla="*/ 78695 w 163595"/>
                <a:gd name="connsiteY635" fmla="*/ 151749 h 265137"/>
                <a:gd name="connsiteX636" fmla="*/ 77567 w 163595"/>
                <a:gd name="connsiteY636" fmla="*/ 152313 h 265137"/>
                <a:gd name="connsiteX637" fmla="*/ 76721 w 163595"/>
                <a:gd name="connsiteY637" fmla="*/ 153159 h 265137"/>
                <a:gd name="connsiteX638" fmla="*/ 75029 w 163595"/>
                <a:gd name="connsiteY638" fmla="*/ 154288 h 265137"/>
                <a:gd name="connsiteX639" fmla="*/ 73054 w 163595"/>
                <a:gd name="connsiteY639" fmla="*/ 155980 h 265137"/>
                <a:gd name="connsiteX640" fmla="*/ 71926 w 163595"/>
                <a:gd name="connsiteY640" fmla="*/ 156826 h 265137"/>
                <a:gd name="connsiteX641" fmla="*/ 70515 w 163595"/>
                <a:gd name="connsiteY641" fmla="*/ 158519 h 265137"/>
                <a:gd name="connsiteX642" fmla="*/ 69669 w 163595"/>
                <a:gd name="connsiteY642" fmla="*/ 159647 h 265137"/>
                <a:gd name="connsiteX643" fmla="*/ 68259 w 163595"/>
                <a:gd name="connsiteY643" fmla="*/ 160775 h 265137"/>
                <a:gd name="connsiteX644" fmla="*/ 66284 w 163595"/>
                <a:gd name="connsiteY644" fmla="*/ 161339 h 265137"/>
                <a:gd name="connsiteX645" fmla="*/ 65720 w 163595"/>
                <a:gd name="connsiteY645" fmla="*/ 161339 h 265137"/>
                <a:gd name="connsiteX646" fmla="*/ 65720 w 163595"/>
                <a:gd name="connsiteY646" fmla="*/ 161621 h 265137"/>
                <a:gd name="connsiteX647" fmla="*/ 64874 w 163595"/>
                <a:gd name="connsiteY647" fmla="*/ 162185 h 265137"/>
                <a:gd name="connsiteX648" fmla="*/ 64028 w 163595"/>
                <a:gd name="connsiteY648" fmla="*/ 162749 h 265137"/>
                <a:gd name="connsiteX649" fmla="*/ 62054 w 163595"/>
                <a:gd name="connsiteY649" fmla="*/ 163596 h 265137"/>
                <a:gd name="connsiteX650" fmla="*/ 60643 w 163595"/>
                <a:gd name="connsiteY650" fmla="*/ 163596 h 265137"/>
                <a:gd name="connsiteX651" fmla="*/ 60361 w 163595"/>
                <a:gd name="connsiteY651" fmla="*/ 163878 h 265137"/>
                <a:gd name="connsiteX652" fmla="*/ 60079 w 163595"/>
                <a:gd name="connsiteY652" fmla="*/ 164160 h 265137"/>
                <a:gd name="connsiteX653" fmla="*/ 59797 w 163595"/>
                <a:gd name="connsiteY653" fmla="*/ 164160 h 265137"/>
                <a:gd name="connsiteX654" fmla="*/ 60079 w 163595"/>
                <a:gd name="connsiteY654" fmla="*/ 164442 h 265137"/>
                <a:gd name="connsiteX655" fmla="*/ 60361 w 163595"/>
                <a:gd name="connsiteY655" fmla="*/ 164442 h 265137"/>
                <a:gd name="connsiteX656" fmla="*/ 60079 w 163595"/>
                <a:gd name="connsiteY656" fmla="*/ 165006 h 265137"/>
                <a:gd name="connsiteX657" fmla="*/ 57259 w 163595"/>
                <a:gd name="connsiteY657" fmla="*/ 165570 h 265137"/>
                <a:gd name="connsiteX658" fmla="*/ 56130 w 163595"/>
                <a:gd name="connsiteY658" fmla="*/ 165570 h 265137"/>
                <a:gd name="connsiteX659" fmla="*/ 53874 w 163595"/>
                <a:gd name="connsiteY659" fmla="*/ 165006 h 265137"/>
                <a:gd name="connsiteX660" fmla="*/ 52745 w 163595"/>
                <a:gd name="connsiteY660" fmla="*/ 165288 h 265137"/>
                <a:gd name="connsiteX661" fmla="*/ 51335 w 163595"/>
                <a:gd name="connsiteY661" fmla="*/ 165852 h 265137"/>
                <a:gd name="connsiteX662" fmla="*/ 49361 w 163595"/>
                <a:gd name="connsiteY662" fmla="*/ 165852 h 265137"/>
                <a:gd name="connsiteX663" fmla="*/ 47104 w 163595"/>
                <a:gd name="connsiteY663" fmla="*/ 166698 h 265137"/>
                <a:gd name="connsiteX664" fmla="*/ 44002 w 163595"/>
                <a:gd name="connsiteY664" fmla="*/ 168109 h 265137"/>
                <a:gd name="connsiteX665" fmla="*/ 41745 w 163595"/>
                <a:gd name="connsiteY665" fmla="*/ 168391 h 265137"/>
                <a:gd name="connsiteX666" fmla="*/ 39489 w 163595"/>
                <a:gd name="connsiteY666" fmla="*/ 167544 h 265137"/>
                <a:gd name="connsiteX667" fmla="*/ 38925 w 163595"/>
                <a:gd name="connsiteY667" fmla="*/ 167262 h 265137"/>
                <a:gd name="connsiteX668" fmla="*/ 38078 w 163595"/>
                <a:gd name="connsiteY668" fmla="*/ 167262 h 265137"/>
                <a:gd name="connsiteX669" fmla="*/ 37232 w 163595"/>
                <a:gd name="connsiteY669" fmla="*/ 165852 h 265137"/>
                <a:gd name="connsiteX670" fmla="*/ 37514 w 163595"/>
                <a:gd name="connsiteY670" fmla="*/ 164724 h 265137"/>
                <a:gd name="connsiteX671" fmla="*/ 37796 w 163595"/>
                <a:gd name="connsiteY671" fmla="*/ 163031 h 265137"/>
                <a:gd name="connsiteX672" fmla="*/ 37796 w 163595"/>
                <a:gd name="connsiteY672" fmla="*/ 160775 h 265137"/>
                <a:gd name="connsiteX673" fmla="*/ 38078 w 163595"/>
                <a:gd name="connsiteY673" fmla="*/ 158801 h 265137"/>
                <a:gd name="connsiteX674" fmla="*/ 38078 w 163595"/>
                <a:gd name="connsiteY674" fmla="*/ 158519 h 265137"/>
                <a:gd name="connsiteX675" fmla="*/ 38361 w 163595"/>
                <a:gd name="connsiteY675" fmla="*/ 156544 h 265137"/>
                <a:gd name="connsiteX676" fmla="*/ 38642 w 163595"/>
                <a:gd name="connsiteY676" fmla="*/ 155698 h 265137"/>
                <a:gd name="connsiteX677" fmla="*/ 39489 w 163595"/>
                <a:gd name="connsiteY677" fmla="*/ 153441 h 265137"/>
                <a:gd name="connsiteX678" fmla="*/ 40053 w 163595"/>
                <a:gd name="connsiteY678" fmla="*/ 152877 h 265137"/>
                <a:gd name="connsiteX679" fmla="*/ 40053 w 163595"/>
                <a:gd name="connsiteY679" fmla="*/ 152313 h 265137"/>
                <a:gd name="connsiteX680" fmla="*/ 39489 w 163595"/>
                <a:gd name="connsiteY680" fmla="*/ 151185 h 265137"/>
                <a:gd name="connsiteX681" fmla="*/ 39771 w 163595"/>
                <a:gd name="connsiteY681" fmla="*/ 150621 h 265137"/>
                <a:gd name="connsiteX682" fmla="*/ 40335 w 163595"/>
                <a:gd name="connsiteY682" fmla="*/ 149210 h 265137"/>
                <a:gd name="connsiteX683" fmla="*/ 40617 w 163595"/>
                <a:gd name="connsiteY683" fmla="*/ 148928 h 265137"/>
                <a:gd name="connsiteX684" fmla="*/ 41463 w 163595"/>
                <a:gd name="connsiteY684" fmla="*/ 147518 h 265137"/>
                <a:gd name="connsiteX685" fmla="*/ 42027 w 163595"/>
                <a:gd name="connsiteY685" fmla="*/ 146954 h 265137"/>
                <a:gd name="connsiteX686" fmla="*/ 41745 w 163595"/>
                <a:gd name="connsiteY686" fmla="*/ 146672 h 265137"/>
                <a:gd name="connsiteX687" fmla="*/ 41181 w 163595"/>
                <a:gd name="connsiteY687" fmla="*/ 145826 h 265137"/>
                <a:gd name="connsiteX688" fmla="*/ 41463 w 163595"/>
                <a:gd name="connsiteY688" fmla="*/ 144980 h 265137"/>
                <a:gd name="connsiteX689" fmla="*/ 42309 w 163595"/>
                <a:gd name="connsiteY689" fmla="*/ 143569 h 265137"/>
                <a:gd name="connsiteX690" fmla="*/ 43156 w 163595"/>
                <a:gd name="connsiteY690" fmla="*/ 142723 h 265137"/>
                <a:gd name="connsiteX691" fmla="*/ 44002 w 163595"/>
                <a:gd name="connsiteY691" fmla="*/ 142723 h 265137"/>
                <a:gd name="connsiteX692" fmla="*/ 44284 w 163595"/>
                <a:gd name="connsiteY692" fmla="*/ 141877 h 265137"/>
                <a:gd name="connsiteX693" fmla="*/ 43720 w 163595"/>
                <a:gd name="connsiteY693" fmla="*/ 141313 h 265137"/>
                <a:gd name="connsiteX694" fmla="*/ 43437 w 163595"/>
                <a:gd name="connsiteY694" fmla="*/ 141313 h 265137"/>
                <a:gd name="connsiteX695" fmla="*/ 43156 w 163595"/>
                <a:gd name="connsiteY695" fmla="*/ 141031 h 265137"/>
                <a:gd name="connsiteX696" fmla="*/ 43437 w 163595"/>
                <a:gd name="connsiteY696" fmla="*/ 140467 h 265137"/>
                <a:gd name="connsiteX697" fmla="*/ 43720 w 163595"/>
                <a:gd name="connsiteY697" fmla="*/ 140185 h 265137"/>
                <a:gd name="connsiteX698" fmla="*/ 44848 w 163595"/>
                <a:gd name="connsiteY698" fmla="*/ 138774 h 265137"/>
                <a:gd name="connsiteX699" fmla="*/ 45412 w 163595"/>
                <a:gd name="connsiteY699" fmla="*/ 139056 h 265137"/>
                <a:gd name="connsiteX700" fmla="*/ 45694 w 163595"/>
                <a:gd name="connsiteY700" fmla="*/ 139056 h 265137"/>
                <a:gd name="connsiteX701" fmla="*/ 46822 w 163595"/>
                <a:gd name="connsiteY701" fmla="*/ 140185 h 265137"/>
                <a:gd name="connsiteX702" fmla="*/ 47386 w 163595"/>
                <a:gd name="connsiteY702" fmla="*/ 139620 h 265137"/>
                <a:gd name="connsiteX703" fmla="*/ 47668 w 163595"/>
                <a:gd name="connsiteY703" fmla="*/ 139338 h 265137"/>
                <a:gd name="connsiteX704" fmla="*/ 47386 w 163595"/>
                <a:gd name="connsiteY704" fmla="*/ 139056 h 265137"/>
                <a:gd name="connsiteX705" fmla="*/ 45976 w 163595"/>
                <a:gd name="connsiteY705" fmla="*/ 138492 h 265137"/>
                <a:gd name="connsiteX706" fmla="*/ 46258 w 163595"/>
                <a:gd name="connsiteY706" fmla="*/ 137646 h 265137"/>
                <a:gd name="connsiteX707" fmla="*/ 46540 w 163595"/>
                <a:gd name="connsiteY707" fmla="*/ 135954 h 265137"/>
                <a:gd name="connsiteX708" fmla="*/ 47668 w 163595"/>
                <a:gd name="connsiteY708" fmla="*/ 134261 h 265137"/>
                <a:gd name="connsiteX709" fmla="*/ 48233 w 163595"/>
                <a:gd name="connsiteY709" fmla="*/ 132287 h 265137"/>
                <a:gd name="connsiteX710" fmla="*/ 49361 w 163595"/>
                <a:gd name="connsiteY710" fmla="*/ 130594 h 265137"/>
                <a:gd name="connsiteX711" fmla="*/ 49925 w 163595"/>
                <a:gd name="connsiteY711" fmla="*/ 130030 h 265137"/>
                <a:gd name="connsiteX712" fmla="*/ 50489 w 163595"/>
                <a:gd name="connsiteY712" fmla="*/ 129184 h 265137"/>
                <a:gd name="connsiteX713" fmla="*/ 50771 w 163595"/>
                <a:gd name="connsiteY713" fmla="*/ 128620 h 265137"/>
                <a:gd name="connsiteX714" fmla="*/ 50489 w 163595"/>
                <a:gd name="connsiteY714" fmla="*/ 127774 h 265137"/>
                <a:gd name="connsiteX715" fmla="*/ 50489 w 163595"/>
                <a:gd name="connsiteY715" fmla="*/ 127492 h 265137"/>
                <a:gd name="connsiteX716" fmla="*/ 50771 w 163595"/>
                <a:gd name="connsiteY716" fmla="*/ 127210 h 265137"/>
                <a:gd name="connsiteX717" fmla="*/ 51899 w 163595"/>
                <a:gd name="connsiteY717" fmla="*/ 127210 h 265137"/>
                <a:gd name="connsiteX718" fmla="*/ 52464 w 163595"/>
                <a:gd name="connsiteY718" fmla="*/ 126363 h 265137"/>
                <a:gd name="connsiteX719" fmla="*/ 52181 w 163595"/>
                <a:gd name="connsiteY719" fmla="*/ 125799 h 265137"/>
                <a:gd name="connsiteX720" fmla="*/ 52464 w 163595"/>
                <a:gd name="connsiteY720" fmla="*/ 125235 h 265137"/>
                <a:gd name="connsiteX721" fmla="*/ 53592 w 163595"/>
                <a:gd name="connsiteY721" fmla="*/ 124107 h 265137"/>
                <a:gd name="connsiteX722" fmla="*/ 53874 w 163595"/>
                <a:gd name="connsiteY722" fmla="*/ 123825 h 265137"/>
                <a:gd name="connsiteX723" fmla="*/ 53592 w 163595"/>
                <a:gd name="connsiteY723" fmla="*/ 123261 h 265137"/>
                <a:gd name="connsiteX724" fmla="*/ 53874 w 163595"/>
                <a:gd name="connsiteY724" fmla="*/ 122697 h 265137"/>
                <a:gd name="connsiteX725" fmla="*/ 55002 w 163595"/>
                <a:gd name="connsiteY725" fmla="*/ 122415 h 265137"/>
                <a:gd name="connsiteX726" fmla="*/ 55284 w 163595"/>
                <a:gd name="connsiteY726" fmla="*/ 122415 h 265137"/>
                <a:gd name="connsiteX727" fmla="*/ 55284 w 163595"/>
                <a:gd name="connsiteY727" fmla="*/ 122133 h 265137"/>
                <a:gd name="connsiteX728" fmla="*/ 55848 w 163595"/>
                <a:gd name="connsiteY728" fmla="*/ 121004 h 265137"/>
                <a:gd name="connsiteX729" fmla="*/ 57823 w 163595"/>
                <a:gd name="connsiteY729" fmla="*/ 119030 h 265137"/>
                <a:gd name="connsiteX730" fmla="*/ 58105 w 163595"/>
                <a:gd name="connsiteY730" fmla="*/ 118184 h 265137"/>
                <a:gd name="connsiteX731" fmla="*/ 57823 w 163595"/>
                <a:gd name="connsiteY731" fmla="*/ 117620 h 265137"/>
                <a:gd name="connsiteX732" fmla="*/ 58669 w 163595"/>
                <a:gd name="connsiteY732" fmla="*/ 117055 h 265137"/>
                <a:gd name="connsiteX733" fmla="*/ 58951 w 163595"/>
                <a:gd name="connsiteY733" fmla="*/ 116773 h 265137"/>
                <a:gd name="connsiteX734" fmla="*/ 59797 w 163595"/>
                <a:gd name="connsiteY734" fmla="*/ 116209 h 265137"/>
                <a:gd name="connsiteX735" fmla="*/ 60361 w 163595"/>
                <a:gd name="connsiteY735" fmla="*/ 115363 h 265137"/>
                <a:gd name="connsiteX736" fmla="*/ 62054 w 163595"/>
                <a:gd name="connsiteY736" fmla="*/ 113671 h 265137"/>
                <a:gd name="connsiteX737" fmla="*/ 63464 w 163595"/>
                <a:gd name="connsiteY737" fmla="*/ 111696 h 265137"/>
                <a:gd name="connsiteX738" fmla="*/ 64310 w 163595"/>
                <a:gd name="connsiteY738" fmla="*/ 110004 h 265137"/>
                <a:gd name="connsiteX739" fmla="*/ 64592 w 163595"/>
                <a:gd name="connsiteY739" fmla="*/ 109722 h 265137"/>
                <a:gd name="connsiteX740" fmla="*/ 65720 w 163595"/>
                <a:gd name="connsiteY740" fmla="*/ 108312 h 265137"/>
                <a:gd name="connsiteX741" fmla="*/ 66567 w 163595"/>
                <a:gd name="connsiteY741" fmla="*/ 107465 h 265137"/>
                <a:gd name="connsiteX742" fmla="*/ 67977 w 163595"/>
                <a:gd name="connsiteY742" fmla="*/ 105773 h 265137"/>
                <a:gd name="connsiteX743" fmla="*/ 69105 w 163595"/>
                <a:gd name="connsiteY743" fmla="*/ 104081 h 265137"/>
                <a:gd name="connsiteX744" fmla="*/ 69669 w 163595"/>
                <a:gd name="connsiteY744" fmla="*/ 103517 h 265137"/>
                <a:gd name="connsiteX745" fmla="*/ 70515 w 163595"/>
                <a:gd name="connsiteY745" fmla="*/ 103234 h 265137"/>
                <a:gd name="connsiteX746" fmla="*/ 71079 w 163595"/>
                <a:gd name="connsiteY746" fmla="*/ 102670 h 265137"/>
                <a:gd name="connsiteX747" fmla="*/ 72490 w 163595"/>
                <a:gd name="connsiteY747" fmla="*/ 100414 h 265137"/>
                <a:gd name="connsiteX748" fmla="*/ 74464 w 163595"/>
                <a:gd name="connsiteY748" fmla="*/ 98157 h 265137"/>
                <a:gd name="connsiteX749" fmla="*/ 75593 w 163595"/>
                <a:gd name="connsiteY749" fmla="*/ 96183 h 265137"/>
                <a:gd name="connsiteX750" fmla="*/ 77003 w 163595"/>
                <a:gd name="connsiteY750" fmla="*/ 95337 h 265137"/>
                <a:gd name="connsiteX751" fmla="*/ 78131 w 163595"/>
                <a:gd name="connsiteY751" fmla="*/ 93926 h 265137"/>
                <a:gd name="connsiteX752" fmla="*/ 78977 w 163595"/>
                <a:gd name="connsiteY752" fmla="*/ 93362 h 265137"/>
                <a:gd name="connsiteX753" fmla="*/ 79824 w 163595"/>
                <a:gd name="connsiteY753" fmla="*/ 92798 h 265137"/>
                <a:gd name="connsiteX754" fmla="*/ 80952 w 163595"/>
                <a:gd name="connsiteY754" fmla="*/ 91952 h 265137"/>
                <a:gd name="connsiteX755" fmla="*/ 81234 w 163595"/>
                <a:gd name="connsiteY755" fmla="*/ 91388 h 265137"/>
                <a:gd name="connsiteX756" fmla="*/ 82362 w 163595"/>
                <a:gd name="connsiteY756" fmla="*/ 89696 h 265137"/>
                <a:gd name="connsiteX757" fmla="*/ 84054 w 163595"/>
                <a:gd name="connsiteY757" fmla="*/ 87439 h 265137"/>
                <a:gd name="connsiteX758" fmla="*/ 84336 w 163595"/>
                <a:gd name="connsiteY758" fmla="*/ 87157 h 265137"/>
                <a:gd name="connsiteX759" fmla="*/ 86311 w 163595"/>
                <a:gd name="connsiteY759" fmla="*/ 86029 h 265137"/>
                <a:gd name="connsiteX760" fmla="*/ 88003 w 163595"/>
                <a:gd name="connsiteY760" fmla="*/ 84900 h 265137"/>
                <a:gd name="connsiteX761" fmla="*/ 89977 w 163595"/>
                <a:gd name="connsiteY761" fmla="*/ 82926 h 265137"/>
                <a:gd name="connsiteX762" fmla="*/ 95619 w 163595"/>
                <a:gd name="connsiteY762" fmla="*/ 78977 h 265137"/>
                <a:gd name="connsiteX763" fmla="*/ 97594 w 163595"/>
                <a:gd name="connsiteY763" fmla="*/ 77567 h 265137"/>
                <a:gd name="connsiteX764" fmla="*/ 98722 w 163595"/>
                <a:gd name="connsiteY764" fmla="*/ 76721 h 265137"/>
                <a:gd name="connsiteX765" fmla="*/ 99850 w 163595"/>
                <a:gd name="connsiteY765" fmla="*/ 75875 h 265137"/>
                <a:gd name="connsiteX766" fmla="*/ 100978 w 163595"/>
                <a:gd name="connsiteY766" fmla="*/ 74464 h 265137"/>
                <a:gd name="connsiteX767" fmla="*/ 101260 w 163595"/>
                <a:gd name="connsiteY767" fmla="*/ 71644 h 265137"/>
                <a:gd name="connsiteX768" fmla="*/ 101260 w 163595"/>
                <a:gd name="connsiteY768" fmla="*/ 71079 h 265137"/>
                <a:gd name="connsiteX769" fmla="*/ 100978 w 163595"/>
                <a:gd name="connsiteY769" fmla="*/ 70515 h 265137"/>
                <a:gd name="connsiteX770" fmla="*/ 101260 w 163595"/>
                <a:gd name="connsiteY770" fmla="*/ 69951 h 265137"/>
                <a:gd name="connsiteX771" fmla="*/ 100978 w 163595"/>
                <a:gd name="connsiteY771" fmla="*/ 68259 h 265137"/>
                <a:gd name="connsiteX772" fmla="*/ 100978 w 163595"/>
                <a:gd name="connsiteY772" fmla="*/ 65438 h 265137"/>
                <a:gd name="connsiteX773" fmla="*/ 100696 w 163595"/>
                <a:gd name="connsiteY773" fmla="*/ 63464 h 265137"/>
                <a:gd name="connsiteX774" fmla="*/ 100696 w 163595"/>
                <a:gd name="connsiteY774" fmla="*/ 62053 h 265137"/>
                <a:gd name="connsiteX775" fmla="*/ 100132 w 163595"/>
                <a:gd name="connsiteY775" fmla="*/ 60925 h 265137"/>
                <a:gd name="connsiteX776" fmla="*/ 100414 w 163595"/>
                <a:gd name="connsiteY776" fmla="*/ 60361 h 265137"/>
                <a:gd name="connsiteX777" fmla="*/ 100132 w 163595"/>
                <a:gd name="connsiteY777" fmla="*/ 58669 h 265137"/>
                <a:gd name="connsiteX778" fmla="*/ 99004 w 163595"/>
                <a:gd name="connsiteY778" fmla="*/ 55848 h 265137"/>
                <a:gd name="connsiteX779" fmla="*/ 98722 w 163595"/>
                <a:gd name="connsiteY779" fmla="*/ 55002 h 265137"/>
                <a:gd name="connsiteX780" fmla="*/ 98722 w 163595"/>
                <a:gd name="connsiteY780" fmla="*/ 54438 h 265137"/>
                <a:gd name="connsiteX781" fmla="*/ 98439 w 163595"/>
                <a:gd name="connsiteY781" fmla="*/ 53592 h 265137"/>
                <a:gd name="connsiteX782" fmla="*/ 96465 w 163595"/>
                <a:gd name="connsiteY782" fmla="*/ 51053 h 265137"/>
                <a:gd name="connsiteX783" fmla="*/ 96747 w 163595"/>
                <a:gd name="connsiteY783" fmla="*/ 50207 h 265137"/>
                <a:gd name="connsiteX784" fmla="*/ 95619 w 163595"/>
                <a:gd name="connsiteY784" fmla="*/ 49361 h 265137"/>
                <a:gd name="connsiteX785" fmla="*/ 94773 w 163595"/>
                <a:gd name="connsiteY785" fmla="*/ 48797 h 265137"/>
                <a:gd name="connsiteX786" fmla="*/ 92234 w 163595"/>
                <a:gd name="connsiteY786" fmla="*/ 46258 h 265137"/>
                <a:gd name="connsiteX787" fmla="*/ 91388 w 163595"/>
                <a:gd name="connsiteY787" fmla="*/ 45976 h 265137"/>
                <a:gd name="connsiteX788" fmla="*/ 87157 w 163595"/>
                <a:gd name="connsiteY788" fmla="*/ 44848 h 265137"/>
                <a:gd name="connsiteX789" fmla="*/ 85746 w 163595"/>
                <a:gd name="connsiteY789" fmla="*/ 45412 h 265137"/>
                <a:gd name="connsiteX790" fmla="*/ 85465 w 163595"/>
                <a:gd name="connsiteY790" fmla="*/ 45412 h 265137"/>
                <a:gd name="connsiteX791" fmla="*/ 80952 w 163595"/>
                <a:gd name="connsiteY791" fmla="*/ 47950 h 265137"/>
                <a:gd name="connsiteX792" fmla="*/ 79824 w 163595"/>
                <a:gd name="connsiteY792" fmla="*/ 48515 h 265137"/>
                <a:gd name="connsiteX793" fmla="*/ 77849 w 163595"/>
                <a:gd name="connsiteY793" fmla="*/ 49361 h 265137"/>
                <a:gd name="connsiteX794" fmla="*/ 77285 w 163595"/>
                <a:gd name="connsiteY794" fmla="*/ 49361 h 265137"/>
                <a:gd name="connsiteX795" fmla="*/ 77567 w 163595"/>
                <a:gd name="connsiteY795" fmla="*/ 49925 h 265137"/>
                <a:gd name="connsiteX796" fmla="*/ 77285 w 163595"/>
                <a:gd name="connsiteY796" fmla="*/ 50489 h 265137"/>
                <a:gd name="connsiteX797" fmla="*/ 76157 w 163595"/>
                <a:gd name="connsiteY797" fmla="*/ 52181 h 265137"/>
                <a:gd name="connsiteX798" fmla="*/ 75593 w 163595"/>
                <a:gd name="connsiteY798" fmla="*/ 52745 h 265137"/>
                <a:gd name="connsiteX799" fmla="*/ 74746 w 163595"/>
                <a:gd name="connsiteY799" fmla="*/ 52745 h 265137"/>
                <a:gd name="connsiteX800" fmla="*/ 74746 w 163595"/>
                <a:gd name="connsiteY800" fmla="*/ 53310 h 265137"/>
                <a:gd name="connsiteX801" fmla="*/ 74182 w 163595"/>
                <a:gd name="connsiteY801" fmla="*/ 53874 h 265137"/>
                <a:gd name="connsiteX802" fmla="*/ 72772 w 163595"/>
                <a:gd name="connsiteY802" fmla="*/ 55848 h 265137"/>
                <a:gd name="connsiteX803" fmla="*/ 71926 w 163595"/>
                <a:gd name="connsiteY803" fmla="*/ 56130 h 265137"/>
                <a:gd name="connsiteX804" fmla="*/ 71362 w 163595"/>
                <a:gd name="connsiteY804" fmla="*/ 56130 h 265137"/>
                <a:gd name="connsiteX805" fmla="*/ 70798 w 163595"/>
                <a:gd name="connsiteY805" fmla="*/ 56694 h 265137"/>
                <a:gd name="connsiteX806" fmla="*/ 70515 w 163595"/>
                <a:gd name="connsiteY806" fmla="*/ 57258 h 265137"/>
                <a:gd name="connsiteX807" fmla="*/ 70515 w 163595"/>
                <a:gd name="connsiteY807" fmla="*/ 57823 h 265137"/>
                <a:gd name="connsiteX808" fmla="*/ 69669 w 163595"/>
                <a:gd name="connsiteY808" fmla="*/ 58387 h 265137"/>
                <a:gd name="connsiteX809" fmla="*/ 69105 w 163595"/>
                <a:gd name="connsiteY809" fmla="*/ 58387 h 265137"/>
                <a:gd name="connsiteX810" fmla="*/ 68259 w 163595"/>
                <a:gd name="connsiteY810" fmla="*/ 59515 h 265137"/>
                <a:gd name="connsiteX811" fmla="*/ 68823 w 163595"/>
                <a:gd name="connsiteY811" fmla="*/ 59515 h 265137"/>
                <a:gd name="connsiteX812" fmla="*/ 68823 w 163595"/>
                <a:gd name="connsiteY812" fmla="*/ 59797 h 265137"/>
                <a:gd name="connsiteX813" fmla="*/ 68541 w 163595"/>
                <a:gd name="connsiteY813" fmla="*/ 60079 h 265137"/>
                <a:gd name="connsiteX814" fmla="*/ 68259 w 163595"/>
                <a:gd name="connsiteY814" fmla="*/ 59515 h 265137"/>
                <a:gd name="connsiteX815" fmla="*/ 2257 w 163595"/>
                <a:gd name="connsiteY815" fmla="*/ 204777 h 265137"/>
                <a:gd name="connsiteX816" fmla="*/ 1974 w 163595"/>
                <a:gd name="connsiteY816" fmla="*/ 204494 h 265137"/>
                <a:gd name="connsiteX817" fmla="*/ 1974 w 163595"/>
                <a:gd name="connsiteY817" fmla="*/ 205059 h 265137"/>
                <a:gd name="connsiteX818" fmla="*/ 2257 w 163595"/>
                <a:gd name="connsiteY818" fmla="*/ 204777 h 265137"/>
                <a:gd name="connsiteX819" fmla="*/ 42592 w 163595"/>
                <a:gd name="connsiteY819" fmla="*/ 147518 h 265137"/>
                <a:gd name="connsiteX820" fmla="*/ 42027 w 163595"/>
                <a:gd name="connsiteY820" fmla="*/ 149493 h 265137"/>
                <a:gd name="connsiteX821" fmla="*/ 42309 w 163595"/>
                <a:gd name="connsiteY821" fmla="*/ 149493 h 265137"/>
                <a:gd name="connsiteX822" fmla="*/ 42873 w 163595"/>
                <a:gd name="connsiteY822" fmla="*/ 148082 h 265137"/>
                <a:gd name="connsiteX823" fmla="*/ 42592 w 163595"/>
                <a:gd name="connsiteY823" fmla="*/ 147518 h 265137"/>
                <a:gd name="connsiteX824" fmla="*/ 98722 w 163595"/>
                <a:gd name="connsiteY824" fmla="*/ 91952 h 265137"/>
                <a:gd name="connsiteX825" fmla="*/ 98722 w 163595"/>
                <a:gd name="connsiteY825" fmla="*/ 91388 h 265137"/>
                <a:gd name="connsiteX826" fmla="*/ 98439 w 163595"/>
                <a:gd name="connsiteY826" fmla="*/ 90542 h 265137"/>
                <a:gd name="connsiteX827" fmla="*/ 97875 w 163595"/>
                <a:gd name="connsiteY827" fmla="*/ 91106 h 265137"/>
                <a:gd name="connsiteX828" fmla="*/ 95337 w 163595"/>
                <a:gd name="connsiteY828" fmla="*/ 92798 h 265137"/>
                <a:gd name="connsiteX829" fmla="*/ 94773 w 163595"/>
                <a:gd name="connsiteY829" fmla="*/ 93080 h 265137"/>
                <a:gd name="connsiteX830" fmla="*/ 94773 w 163595"/>
                <a:gd name="connsiteY830" fmla="*/ 93362 h 265137"/>
                <a:gd name="connsiteX831" fmla="*/ 93927 w 163595"/>
                <a:gd name="connsiteY831" fmla="*/ 94491 h 265137"/>
                <a:gd name="connsiteX832" fmla="*/ 92798 w 163595"/>
                <a:gd name="connsiteY832" fmla="*/ 95901 h 265137"/>
                <a:gd name="connsiteX833" fmla="*/ 92234 w 163595"/>
                <a:gd name="connsiteY833" fmla="*/ 96747 h 265137"/>
                <a:gd name="connsiteX834" fmla="*/ 90260 w 163595"/>
                <a:gd name="connsiteY834" fmla="*/ 98157 h 265137"/>
                <a:gd name="connsiteX835" fmla="*/ 89977 w 163595"/>
                <a:gd name="connsiteY835" fmla="*/ 97875 h 265137"/>
                <a:gd name="connsiteX836" fmla="*/ 89696 w 163595"/>
                <a:gd name="connsiteY836" fmla="*/ 97029 h 265137"/>
                <a:gd name="connsiteX837" fmla="*/ 90260 w 163595"/>
                <a:gd name="connsiteY837" fmla="*/ 96183 h 265137"/>
                <a:gd name="connsiteX838" fmla="*/ 90260 w 163595"/>
                <a:gd name="connsiteY838" fmla="*/ 95901 h 265137"/>
                <a:gd name="connsiteX839" fmla="*/ 89977 w 163595"/>
                <a:gd name="connsiteY839" fmla="*/ 95055 h 265137"/>
                <a:gd name="connsiteX840" fmla="*/ 88285 w 163595"/>
                <a:gd name="connsiteY840" fmla="*/ 95337 h 265137"/>
                <a:gd name="connsiteX841" fmla="*/ 87721 w 163595"/>
                <a:gd name="connsiteY841" fmla="*/ 95901 h 265137"/>
                <a:gd name="connsiteX842" fmla="*/ 87721 w 163595"/>
                <a:gd name="connsiteY842" fmla="*/ 96747 h 265137"/>
                <a:gd name="connsiteX843" fmla="*/ 87439 w 163595"/>
                <a:gd name="connsiteY843" fmla="*/ 96747 h 265137"/>
                <a:gd name="connsiteX844" fmla="*/ 86875 w 163595"/>
                <a:gd name="connsiteY844" fmla="*/ 96465 h 265137"/>
                <a:gd name="connsiteX845" fmla="*/ 86593 w 163595"/>
                <a:gd name="connsiteY845" fmla="*/ 96183 h 265137"/>
                <a:gd name="connsiteX846" fmla="*/ 86311 w 163595"/>
                <a:gd name="connsiteY846" fmla="*/ 95901 h 265137"/>
                <a:gd name="connsiteX847" fmla="*/ 86029 w 163595"/>
                <a:gd name="connsiteY847" fmla="*/ 96183 h 265137"/>
                <a:gd name="connsiteX848" fmla="*/ 85465 w 163595"/>
                <a:gd name="connsiteY848" fmla="*/ 96747 h 265137"/>
                <a:gd name="connsiteX849" fmla="*/ 85182 w 163595"/>
                <a:gd name="connsiteY849" fmla="*/ 97311 h 265137"/>
                <a:gd name="connsiteX850" fmla="*/ 85182 w 163595"/>
                <a:gd name="connsiteY850" fmla="*/ 97875 h 265137"/>
                <a:gd name="connsiteX851" fmla="*/ 84336 w 163595"/>
                <a:gd name="connsiteY851" fmla="*/ 99850 h 265137"/>
                <a:gd name="connsiteX852" fmla="*/ 84054 w 163595"/>
                <a:gd name="connsiteY852" fmla="*/ 100414 h 265137"/>
                <a:gd name="connsiteX853" fmla="*/ 84054 w 163595"/>
                <a:gd name="connsiteY853" fmla="*/ 100978 h 265137"/>
                <a:gd name="connsiteX854" fmla="*/ 84336 w 163595"/>
                <a:gd name="connsiteY854" fmla="*/ 100978 h 265137"/>
                <a:gd name="connsiteX855" fmla="*/ 85465 w 163595"/>
                <a:gd name="connsiteY855" fmla="*/ 99850 h 265137"/>
                <a:gd name="connsiteX856" fmla="*/ 87157 w 163595"/>
                <a:gd name="connsiteY856" fmla="*/ 98721 h 265137"/>
                <a:gd name="connsiteX857" fmla="*/ 88003 w 163595"/>
                <a:gd name="connsiteY857" fmla="*/ 99286 h 265137"/>
                <a:gd name="connsiteX858" fmla="*/ 88285 w 163595"/>
                <a:gd name="connsiteY858" fmla="*/ 99568 h 265137"/>
                <a:gd name="connsiteX859" fmla="*/ 88567 w 163595"/>
                <a:gd name="connsiteY859" fmla="*/ 100132 h 265137"/>
                <a:gd name="connsiteX860" fmla="*/ 88285 w 163595"/>
                <a:gd name="connsiteY860" fmla="*/ 100414 h 265137"/>
                <a:gd name="connsiteX861" fmla="*/ 86875 w 163595"/>
                <a:gd name="connsiteY861" fmla="*/ 101824 h 265137"/>
                <a:gd name="connsiteX862" fmla="*/ 86029 w 163595"/>
                <a:gd name="connsiteY862" fmla="*/ 102670 h 265137"/>
                <a:gd name="connsiteX863" fmla="*/ 85182 w 163595"/>
                <a:gd name="connsiteY863" fmla="*/ 103234 h 265137"/>
                <a:gd name="connsiteX864" fmla="*/ 82926 w 163595"/>
                <a:gd name="connsiteY864" fmla="*/ 105491 h 265137"/>
                <a:gd name="connsiteX865" fmla="*/ 82362 w 163595"/>
                <a:gd name="connsiteY865" fmla="*/ 106055 h 265137"/>
                <a:gd name="connsiteX866" fmla="*/ 80388 w 163595"/>
                <a:gd name="connsiteY866" fmla="*/ 109158 h 265137"/>
                <a:gd name="connsiteX867" fmla="*/ 79260 w 163595"/>
                <a:gd name="connsiteY867" fmla="*/ 110568 h 265137"/>
                <a:gd name="connsiteX868" fmla="*/ 78977 w 163595"/>
                <a:gd name="connsiteY868" fmla="*/ 111132 h 265137"/>
                <a:gd name="connsiteX869" fmla="*/ 77567 w 163595"/>
                <a:gd name="connsiteY869" fmla="*/ 112542 h 265137"/>
                <a:gd name="connsiteX870" fmla="*/ 77003 w 163595"/>
                <a:gd name="connsiteY870" fmla="*/ 113107 h 265137"/>
                <a:gd name="connsiteX871" fmla="*/ 75593 w 163595"/>
                <a:gd name="connsiteY871" fmla="*/ 115081 h 265137"/>
                <a:gd name="connsiteX872" fmla="*/ 75029 w 163595"/>
                <a:gd name="connsiteY872" fmla="*/ 115645 h 265137"/>
                <a:gd name="connsiteX873" fmla="*/ 72490 w 163595"/>
                <a:gd name="connsiteY873" fmla="*/ 119030 h 265137"/>
                <a:gd name="connsiteX874" fmla="*/ 71926 w 163595"/>
                <a:gd name="connsiteY874" fmla="*/ 119312 h 265137"/>
                <a:gd name="connsiteX875" fmla="*/ 71643 w 163595"/>
                <a:gd name="connsiteY875" fmla="*/ 119312 h 265137"/>
                <a:gd name="connsiteX876" fmla="*/ 71079 w 163595"/>
                <a:gd name="connsiteY876" fmla="*/ 119030 h 265137"/>
                <a:gd name="connsiteX877" fmla="*/ 71643 w 163595"/>
                <a:gd name="connsiteY877" fmla="*/ 118748 h 265137"/>
                <a:gd name="connsiteX878" fmla="*/ 72490 w 163595"/>
                <a:gd name="connsiteY878" fmla="*/ 117338 h 265137"/>
                <a:gd name="connsiteX879" fmla="*/ 72490 w 163595"/>
                <a:gd name="connsiteY879" fmla="*/ 117055 h 265137"/>
                <a:gd name="connsiteX880" fmla="*/ 71926 w 163595"/>
                <a:gd name="connsiteY880" fmla="*/ 116491 h 265137"/>
                <a:gd name="connsiteX881" fmla="*/ 71926 w 163595"/>
                <a:gd name="connsiteY881" fmla="*/ 115645 h 265137"/>
                <a:gd name="connsiteX882" fmla="*/ 73054 w 163595"/>
                <a:gd name="connsiteY882" fmla="*/ 115081 h 265137"/>
                <a:gd name="connsiteX883" fmla="*/ 73618 w 163595"/>
                <a:gd name="connsiteY883" fmla="*/ 115081 h 265137"/>
                <a:gd name="connsiteX884" fmla="*/ 73900 w 163595"/>
                <a:gd name="connsiteY884" fmla="*/ 115081 h 265137"/>
                <a:gd name="connsiteX885" fmla="*/ 74182 w 163595"/>
                <a:gd name="connsiteY885" fmla="*/ 115081 h 265137"/>
                <a:gd name="connsiteX886" fmla="*/ 74464 w 163595"/>
                <a:gd name="connsiteY886" fmla="*/ 114517 h 265137"/>
                <a:gd name="connsiteX887" fmla="*/ 73900 w 163595"/>
                <a:gd name="connsiteY887" fmla="*/ 113389 h 265137"/>
                <a:gd name="connsiteX888" fmla="*/ 74464 w 163595"/>
                <a:gd name="connsiteY888" fmla="*/ 112542 h 265137"/>
                <a:gd name="connsiteX889" fmla="*/ 75874 w 163595"/>
                <a:gd name="connsiteY889" fmla="*/ 111132 h 265137"/>
                <a:gd name="connsiteX890" fmla="*/ 76157 w 163595"/>
                <a:gd name="connsiteY890" fmla="*/ 110850 h 265137"/>
                <a:gd name="connsiteX891" fmla="*/ 77567 w 163595"/>
                <a:gd name="connsiteY891" fmla="*/ 108594 h 265137"/>
                <a:gd name="connsiteX892" fmla="*/ 79541 w 163595"/>
                <a:gd name="connsiteY892" fmla="*/ 107465 h 265137"/>
                <a:gd name="connsiteX893" fmla="*/ 79824 w 163595"/>
                <a:gd name="connsiteY893" fmla="*/ 106901 h 265137"/>
                <a:gd name="connsiteX894" fmla="*/ 79824 w 163595"/>
                <a:gd name="connsiteY894" fmla="*/ 106337 h 265137"/>
                <a:gd name="connsiteX895" fmla="*/ 81234 w 163595"/>
                <a:gd name="connsiteY895" fmla="*/ 104645 h 265137"/>
                <a:gd name="connsiteX896" fmla="*/ 81798 w 163595"/>
                <a:gd name="connsiteY896" fmla="*/ 104363 h 265137"/>
                <a:gd name="connsiteX897" fmla="*/ 82362 w 163595"/>
                <a:gd name="connsiteY897" fmla="*/ 104645 h 265137"/>
                <a:gd name="connsiteX898" fmla="*/ 83208 w 163595"/>
                <a:gd name="connsiteY898" fmla="*/ 104363 h 265137"/>
                <a:gd name="connsiteX899" fmla="*/ 84054 w 163595"/>
                <a:gd name="connsiteY899" fmla="*/ 103517 h 265137"/>
                <a:gd name="connsiteX900" fmla="*/ 85182 w 163595"/>
                <a:gd name="connsiteY900" fmla="*/ 101824 h 265137"/>
                <a:gd name="connsiteX901" fmla="*/ 85182 w 163595"/>
                <a:gd name="connsiteY901" fmla="*/ 101542 h 265137"/>
                <a:gd name="connsiteX902" fmla="*/ 84901 w 163595"/>
                <a:gd name="connsiteY902" fmla="*/ 101542 h 265137"/>
                <a:gd name="connsiteX903" fmla="*/ 83490 w 163595"/>
                <a:gd name="connsiteY903" fmla="*/ 102670 h 265137"/>
                <a:gd name="connsiteX904" fmla="*/ 82926 w 163595"/>
                <a:gd name="connsiteY904" fmla="*/ 102952 h 265137"/>
                <a:gd name="connsiteX905" fmla="*/ 82644 w 163595"/>
                <a:gd name="connsiteY905" fmla="*/ 102670 h 265137"/>
                <a:gd name="connsiteX906" fmla="*/ 82080 w 163595"/>
                <a:gd name="connsiteY906" fmla="*/ 102106 h 265137"/>
                <a:gd name="connsiteX907" fmla="*/ 81234 w 163595"/>
                <a:gd name="connsiteY907" fmla="*/ 102670 h 265137"/>
                <a:gd name="connsiteX908" fmla="*/ 79541 w 163595"/>
                <a:gd name="connsiteY908" fmla="*/ 104081 h 265137"/>
                <a:gd name="connsiteX909" fmla="*/ 78695 w 163595"/>
                <a:gd name="connsiteY909" fmla="*/ 105491 h 265137"/>
                <a:gd name="connsiteX910" fmla="*/ 78695 w 163595"/>
                <a:gd name="connsiteY910" fmla="*/ 106055 h 265137"/>
                <a:gd name="connsiteX911" fmla="*/ 76439 w 163595"/>
                <a:gd name="connsiteY911" fmla="*/ 108876 h 265137"/>
                <a:gd name="connsiteX912" fmla="*/ 74464 w 163595"/>
                <a:gd name="connsiteY912" fmla="*/ 110568 h 265137"/>
                <a:gd name="connsiteX913" fmla="*/ 73900 w 163595"/>
                <a:gd name="connsiteY913" fmla="*/ 110850 h 265137"/>
                <a:gd name="connsiteX914" fmla="*/ 73054 w 163595"/>
                <a:gd name="connsiteY914" fmla="*/ 110850 h 265137"/>
                <a:gd name="connsiteX915" fmla="*/ 71643 w 163595"/>
                <a:gd name="connsiteY915" fmla="*/ 111696 h 265137"/>
                <a:gd name="connsiteX916" fmla="*/ 71079 w 163595"/>
                <a:gd name="connsiteY916" fmla="*/ 111978 h 265137"/>
                <a:gd name="connsiteX917" fmla="*/ 69951 w 163595"/>
                <a:gd name="connsiteY917" fmla="*/ 111978 h 265137"/>
                <a:gd name="connsiteX918" fmla="*/ 69105 w 163595"/>
                <a:gd name="connsiteY918" fmla="*/ 113107 h 265137"/>
                <a:gd name="connsiteX919" fmla="*/ 69105 w 163595"/>
                <a:gd name="connsiteY919" fmla="*/ 114517 h 265137"/>
                <a:gd name="connsiteX920" fmla="*/ 68823 w 163595"/>
                <a:gd name="connsiteY920" fmla="*/ 114799 h 265137"/>
                <a:gd name="connsiteX921" fmla="*/ 68541 w 163595"/>
                <a:gd name="connsiteY921" fmla="*/ 114517 h 265137"/>
                <a:gd name="connsiteX922" fmla="*/ 67977 w 163595"/>
                <a:gd name="connsiteY922" fmla="*/ 113953 h 265137"/>
                <a:gd name="connsiteX923" fmla="*/ 67412 w 163595"/>
                <a:gd name="connsiteY923" fmla="*/ 114517 h 265137"/>
                <a:gd name="connsiteX924" fmla="*/ 66002 w 163595"/>
                <a:gd name="connsiteY924" fmla="*/ 115645 h 265137"/>
                <a:gd name="connsiteX925" fmla="*/ 65438 w 163595"/>
                <a:gd name="connsiteY925" fmla="*/ 116491 h 265137"/>
                <a:gd name="connsiteX926" fmla="*/ 66002 w 163595"/>
                <a:gd name="connsiteY926" fmla="*/ 117055 h 265137"/>
                <a:gd name="connsiteX927" fmla="*/ 66848 w 163595"/>
                <a:gd name="connsiteY927" fmla="*/ 117902 h 265137"/>
                <a:gd name="connsiteX928" fmla="*/ 67131 w 163595"/>
                <a:gd name="connsiteY928" fmla="*/ 118184 h 265137"/>
                <a:gd name="connsiteX929" fmla="*/ 67131 w 163595"/>
                <a:gd name="connsiteY929" fmla="*/ 118466 h 265137"/>
                <a:gd name="connsiteX930" fmla="*/ 66567 w 163595"/>
                <a:gd name="connsiteY930" fmla="*/ 118748 h 265137"/>
                <a:gd name="connsiteX931" fmla="*/ 66002 w 163595"/>
                <a:gd name="connsiteY931" fmla="*/ 119594 h 265137"/>
                <a:gd name="connsiteX932" fmla="*/ 66284 w 163595"/>
                <a:gd name="connsiteY932" fmla="*/ 119876 h 265137"/>
                <a:gd name="connsiteX933" fmla="*/ 66284 w 163595"/>
                <a:gd name="connsiteY933" fmla="*/ 120440 h 265137"/>
                <a:gd name="connsiteX934" fmla="*/ 65720 w 163595"/>
                <a:gd name="connsiteY934" fmla="*/ 121286 h 265137"/>
                <a:gd name="connsiteX935" fmla="*/ 64592 w 163595"/>
                <a:gd name="connsiteY935" fmla="*/ 121568 h 265137"/>
                <a:gd name="connsiteX936" fmla="*/ 63746 w 163595"/>
                <a:gd name="connsiteY936" fmla="*/ 121286 h 265137"/>
                <a:gd name="connsiteX937" fmla="*/ 63464 w 163595"/>
                <a:gd name="connsiteY937" fmla="*/ 121004 h 265137"/>
                <a:gd name="connsiteX938" fmla="*/ 63182 w 163595"/>
                <a:gd name="connsiteY938" fmla="*/ 121286 h 265137"/>
                <a:gd name="connsiteX939" fmla="*/ 62054 w 163595"/>
                <a:gd name="connsiteY939" fmla="*/ 121568 h 265137"/>
                <a:gd name="connsiteX940" fmla="*/ 60926 w 163595"/>
                <a:gd name="connsiteY940" fmla="*/ 122133 h 265137"/>
                <a:gd name="connsiteX941" fmla="*/ 60926 w 163595"/>
                <a:gd name="connsiteY941" fmla="*/ 122415 h 265137"/>
                <a:gd name="connsiteX942" fmla="*/ 60643 w 163595"/>
                <a:gd name="connsiteY942" fmla="*/ 122133 h 265137"/>
                <a:gd name="connsiteX943" fmla="*/ 60079 w 163595"/>
                <a:gd name="connsiteY943" fmla="*/ 121851 h 265137"/>
                <a:gd name="connsiteX944" fmla="*/ 59797 w 163595"/>
                <a:gd name="connsiteY944" fmla="*/ 122415 h 265137"/>
                <a:gd name="connsiteX945" fmla="*/ 59515 w 163595"/>
                <a:gd name="connsiteY945" fmla="*/ 122697 h 265137"/>
                <a:gd name="connsiteX946" fmla="*/ 59797 w 163595"/>
                <a:gd name="connsiteY946" fmla="*/ 122979 h 265137"/>
                <a:gd name="connsiteX947" fmla="*/ 60926 w 163595"/>
                <a:gd name="connsiteY947" fmla="*/ 124671 h 265137"/>
                <a:gd name="connsiteX948" fmla="*/ 60926 w 163595"/>
                <a:gd name="connsiteY948" fmla="*/ 124953 h 265137"/>
                <a:gd name="connsiteX949" fmla="*/ 61771 w 163595"/>
                <a:gd name="connsiteY949" fmla="*/ 125235 h 265137"/>
                <a:gd name="connsiteX950" fmla="*/ 62054 w 163595"/>
                <a:gd name="connsiteY950" fmla="*/ 125235 h 265137"/>
                <a:gd name="connsiteX951" fmla="*/ 63182 w 163595"/>
                <a:gd name="connsiteY951" fmla="*/ 124671 h 265137"/>
                <a:gd name="connsiteX952" fmla="*/ 63464 w 163595"/>
                <a:gd name="connsiteY952" fmla="*/ 124671 h 265137"/>
                <a:gd name="connsiteX953" fmla="*/ 63464 w 163595"/>
                <a:gd name="connsiteY953" fmla="*/ 125235 h 265137"/>
                <a:gd name="connsiteX954" fmla="*/ 64874 w 163595"/>
                <a:gd name="connsiteY954" fmla="*/ 125799 h 265137"/>
                <a:gd name="connsiteX955" fmla="*/ 65438 w 163595"/>
                <a:gd name="connsiteY955" fmla="*/ 125235 h 265137"/>
                <a:gd name="connsiteX956" fmla="*/ 66002 w 163595"/>
                <a:gd name="connsiteY956" fmla="*/ 123825 h 265137"/>
                <a:gd name="connsiteX957" fmla="*/ 66284 w 163595"/>
                <a:gd name="connsiteY957" fmla="*/ 123261 h 265137"/>
                <a:gd name="connsiteX958" fmla="*/ 68259 w 163595"/>
                <a:gd name="connsiteY958" fmla="*/ 120440 h 265137"/>
                <a:gd name="connsiteX959" fmla="*/ 69669 w 163595"/>
                <a:gd name="connsiteY959" fmla="*/ 120158 h 265137"/>
                <a:gd name="connsiteX960" fmla="*/ 70798 w 163595"/>
                <a:gd name="connsiteY960" fmla="*/ 120722 h 265137"/>
                <a:gd name="connsiteX961" fmla="*/ 70798 w 163595"/>
                <a:gd name="connsiteY961" fmla="*/ 121286 h 265137"/>
                <a:gd name="connsiteX962" fmla="*/ 70233 w 163595"/>
                <a:gd name="connsiteY962" fmla="*/ 121851 h 265137"/>
                <a:gd name="connsiteX963" fmla="*/ 68541 w 163595"/>
                <a:gd name="connsiteY963" fmla="*/ 124671 h 265137"/>
                <a:gd name="connsiteX964" fmla="*/ 67977 w 163595"/>
                <a:gd name="connsiteY964" fmla="*/ 124953 h 265137"/>
                <a:gd name="connsiteX965" fmla="*/ 66567 w 163595"/>
                <a:gd name="connsiteY965" fmla="*/ 127492 h 265137"/>
                <a:gd name="connsiteX966" fmla="*/ 65438 w 163595"/>
                <a:gd name="connsiteY966" fmla="*/ 128620 h 265137"/>
                <a:gd name="connsiteX967" fmla="*/ 64874 w 163595"/>
                <a:gd name="connsiteY967" fmla="*/ 129184 h 265137"/>
                <a:gd name="connsiteX968" fmla="*/ 63182 w 163595"/>
                <a:gd name="connsiteY968" fmla="*/ 132005 h 265137"/>
                <a:gd name="connsiteX969" fmla="*/ 62054 w 163595"/>
                <a:gd name="connsiteY969" fmla="*/ 133133 h 265137"/>
                <a:gd name="connsiteX970" fmla="*/ 61771 w 163595"/>
                <a:gd name="connsiteY970" fmla="*/ 132569 h 265137"/>
                <a:gd name="connsiteX971" fmla="*/ 62054 w 163595"/>
                <a:gd name="connsiteY971" fmla="*/ 131723 h 265137"/>
                <a:gd name="connsiteX972" fmla="*/ 62054 w 163595"/>
                <a:gd name="connsiteY972" fmla="*/ 130876 h 265137"/>
                <a:gd name="connsiteX973" fmla="*/ 59515 w 163595"/>
                <a:gd name="connsiteY973" fmla="*/ 129748 h 265137"/>
                <a:gd name="connsiteX974" fmla="*/ 58951 w 163595"/>
                <a:gd name="connsiteY974" fmla="*/ 129748 h 265137"/>
                <a:gd name="connsiteX975" fmla="*/ 58387 w 163595"/>
                <a:gd name="connsiteY975" fmla="*/ 129466 h 265137"/>
                <a:gd name="connsiteX976" fmla="*/ 57540 w 163595"/>
                <a:gd name="connsiteY976" fmla="*/ 129748 h 265137"/>
                <a:gd name="connsiteX977" fmla="*/ 56976 w 163595"/>
                <a:gd name="connsiteY977" fmla="*/ 130312 h 265137"/>
                <a:gd name="connsiteX978" fmla="*/ 56412 w 163595"/>
                <a:gd name="connsiteY978" fmla="*/ 130030 h 265137"/>
                <a:gd name="connsiteX979" fmla="*/ 55848 w 163595"/>
                <a:gd name="connsiteY979" fmla="*/ 129184 h 265137"/>
                <a:gd name="connsiteX980" fmla="*/ 56130 w 163595"/>
                <a:gd name="connsiteY980" fmla="*/ 128056 h 265137"/>
                <a:gd name="connsiteX981" fmla="*/ 56412 w 163595"/>
                <a:gd name="connsiteY981" fmla="*/ 127774 h 265137"/>
                <a:gd name="connsiteX982" fmla="*/ 56130 w 163595"/>
                <a:gd name="connsiteY982" fmla="*/ 127774 h 265137"/>
                <a:gd name="connsiteX983" fmla="*/ 55284 w 163595"/>
                <a:gd name="connsiteY983" fmla="*/ 128056 h 265137"/>
                <a:gd name="connsiteX984" fmla="*/ 53874 w 163595"/>
                <a:gd name="connsiteY984" fmla="*/ 130594 h 265137"/>
                <a:gd name="connsiteX985" fmla="*/ 51335 w 163595"/>
                <a:gd name="connsiteY985" fmla="*/ 135389 h 265137"/>
                <a:gd name="connsiteX986" fmla="*/ 51335 w 163595"/>
                <a:gd name="connsiteY986" fmla="*/ 135672 h 265137"/>
                <a:gd name="connsiteX987" fmla="*/ 50489 w 163595"/>
                <a:gd name="connsiteY987" fmla="*/ 137082 h 265137"/>
                <a:gd name="connsiteX988" fmla="*/ 49925 w 163595"/>
                <a:gd name="connsiteY988" fmla="*/ 137364 h 265137"/>
                <a:gd name="connsiteX989" fmla="*/ 49643 w 163595"/>
                <a:gd name="connsiteY989" fmla="*/ 137928 h 265137"/>
                <a:gd name="connsiteX990" fmla="*/ 50207 w 163595"/>
                <a:gd name="connsiteY990" fmla="*/ 138210 h 265137"/>
                <a:gd name="connsiteX991" fmla="*/ 52181 w 163595"/>
                <a:gd name="connsiteY991" fmla="*/ 137364 h 265137"/>
                <a:gd name="connsiteX992" fmla="*/ 53028 w 163595"/>
                <a:gd name="connsiteY992" fmla="*/ 137082 h 265137"/>
                <a:gd name="connsiteX993" fmla="*/ 51899 w 163595"/>
                <a:gd name="connsiteY993" fmla="*/ 138774 h 265137"/>
                <a:gd name="connsiteX994" fmla="*/ 50771 w 163595"/>
                <a:gd name="connsiteY994" fmla="*/ 138774 h 265137"/>
                <a:gd name="connsiteX995" fmla="*/ 50207 w 163595"/>
                <a:gd name="connsiteY995" fmla="*/ 139056 h 265137"/>
                <a:gd name="connsiteX996" fmla="*/ 49925 w 163595"/>
                <a:gd name="connsiteY996" fmla="*/ 139056 h 265137"/>
                <a:gd name="connsiteX997" fmla="*/ 49361 w 163595"/>
                <a:gd name="connsiteY997" fmla="*/ 139620 h 265137"/>
                <a:gd name="connsiteX998" fmla="*/ 48233 w 163595"/>
                <a:gd name="connsiteY998" fmla="*/ 141595 h 265137"/>
                <a:gd name="connsiteX999" fmla="*/ 47950 w 163595"/>
                <a:gd name="connsiteY999" fmla="*/ 143287 h 265137"/>
                <a:gd name="connsiteX1000" fmla="*/ 47386 w 163595"/>
                <a:gd name="connsiteY1000" fmla="*/ 144697 h 265137"/>
                <a:gd name="connsiteX1001" fmla="*/ 47386 w 163595"/>
                <a:gd name="connsiteY1001" fmla="*/ 144980 h 265137"/>
                <a:gd name="connsiteX1002" fmla="*/ 47668 w 163595"/>
                <a:gd name="connsiteY1002" fmla="*/ 145262 h 265137"/>
                <a:gd name="connsiteX1003" fmla="*/ 47950 w 163595"/>
                <a:gd name="connsiteY1003" fmla="*/ 144980 h 265137"/>
                <a:gd name="connsiteX1004" fmla="*/ 48514 w 163595"/>
                <a:gd name="connsiteY1004" fmla="*/ 143851 h 265137"/>
                <a:gd name="connsiteX1005" fmla="*/ 48514 w 163595"/>
                <a:gd name="connsiteY1005" fmla="*/ 143569 h 265137"/>
                <a:gd name="connsiteX1006" fmla="*/ 49078 w 163595"/>
                <a:gd name="connsiteY1006" fmla="*/ 142723 h 265137"/>
                <a:gd name="connsiteX1007" fmla="*/ 49643 w 163595"/>
                <a:gd name="connsiteY1007" fmla="*/ 142159 h 265137"/>
                <a:gd name="connsiteX1008" fmla="*/ 50489 w 163595"/>
                <a:gd name="connsiteY1008" fmla="*/ 141877 h 265137"/>
                <a:gd name="connsiteX1009" fmla="*/ 51053 w 163595"/>
                <a:gd name="connsiteY1009" fmla="*/ 142441 h 265137"/>
                <a:gd name="connsiteX1010" fmla="*/ 50489 w 163595"/>
                <a:gd name="connsiteY1010" fmla="*/ 143569 h 265137"/>
                <a:gd name="connsiteX1011" fmla="*/ 49361 w 163595"/>
                <a:gd name="connsiteY1011" fmla="*/ 144415 h 265137"/>
                <a:gd name="connsiteX1012" fmla="*/ 49361 w 163595"/>
                <a:gd name="connsiteY1012" fmla="*/ 144697 h 265137"/>
                <a:gd name="connsiteX1013" fmla="*/ 49643 w 163595"/>
                <a:gd name="connsiteY1013" fmla="*/ 144697 h 265137"/>
                <a:gd name="connsiteX1014" fmla="*/ 50207 w 163595"/>
                <a:gd name="connsiteY1014" fmla="*/ 144415 h 265137"/>
                <a:gd name="connsiteX1015" fmla="*/ 51053 w 163595"/>
                <a:gd name="connsiteY1015" fmla="*/ 144980 h 265137"/>
                <a:gd name="connsiteX1016" fmla="*/ 51617 w 163595"/>
                <a:gd name="connsiteY1016" fmla="*/ 145544 h 265137"/>
                <a:gd name="connsiteX1017" fmla="*/ 51899 w 163595"/>
                <a:gd name="connsiteY1017" fmla="*/ 145262 h 265137"/>
                <a:gd name="connsiteX1018" fmla="*/ 52464 w 163595"/>
                <a:gd name="connsiteY1018" fmla="*/ 145826 h 265137"/>
                <a:gd name="connsiteX1019" fmla="*/ 52181 w 163595"/>
                <a:gd name="connsiteY1019" fmla="*/ 147518 h 265137"/>
                <a:gd name="connsiteX1020" fmla="*/ 52745 w 163595"/>
                <a:gd name="connsiteY1020" fmla="*/ 148082 h 265137"/>
                <a:gd name="connsiteX1021" fmla="*/ 53028 w 163595"/>
                <a:gd name="connsiteY1021" fmla="*/ 148082 h 265137"/>
                <a:gd name="connsiteX1022" fmla="*/ 53309 w 163595"/>
                <a:gd name="connsiteY1022" fmla="*/ 148364 h 265137"/>
                <a:gd name="connsiteX1023" fmla="*/ 53874 w 163595"/>
                <a:gd name="connsiteY1023" fmla="*/ 150057 h 265137"/>
                <a:gd name="connsiteX1024" fmla="*/ 52745 w 163595"/>
                <a:gd name="connsiteY1024" fmla="*/ 151467 h 265137"/>
                <a:gd name="connsiteX1025" fmla="*/ 52181 w 163595"/>
                <a:gd name="connsiteY1025" fmla="*/ 152595 h 265137"/>
                <a:gd name="connsiteX1026" fmla="*/ 52181 w 163595"/>
                <a:gd name="connsiteY1026" fmla="*/ 152877 h 265137"/>
                <a:gd name="connsiteX1027" fmla="*/ 51617 w 163595"/>
                <a:gd name="connsiteY1027" fmla="*/ 152877 h 265137"/>
                <a:gd name="connsiteX1028" fmla="*/ 50207 w 163595"/>
                <a:gd name="connsiteY1028" fmla="*/ 152595 h 265137"/>
                <a:gd name="connsiteX1029" fmla="*/ 49925 w 163595"/>
                <a:gd name="connsiteY1029" fmla="*/ 151467 h 265137"/>
                <a:gd name="connsiteX1030" fmla="*/ 49361 w 163595"/>
                <a:gd name="connsiteY1030" fmla="*/ 151467 h 265137"/>
                <a:gd name="connsiteX1031" fmla="*/ 49361 w 163595"/>
                <a:gd name="connsiteY1031" fmla="*/ 151749 h 265137"/>
                <a:gd name="connsiteX1032" fmla="*/ 49078 w 163595"/>
                <a:gd name="connsiteY1032" fmla="*/ 153441 h 265137"/>
                <a:gd name="connsiteX1033" fmla="*/ 48797 w 163595"/>
                <a:gd name="connsiteY1033" fmla="*/ 154288 h 265137"/>
                <a:gd name="connsiteX1034" fmla="*/ 48514 w 163595"/>
                <a:gd name="connsiteY1034" fmla="*/ 154288 h 265137"/>
                <a:gd name="connsiteX1035" fmla="*/ 47668 w 163595"/>
                <a:gd name="connsiteY1035" fmla="*/ 154006 h 265137"/>
                <a:gd name="connsiteX1036" fmla="*/ 47386 w 163595"/>
                <a:gd name="connsiteY1036" fmla="*/ 153723 h 265137"/>
                <a:gd name="connsiteX1037" fmla="*/ 47104 w 163595"/>
                <a:gd name="connsiteY1037" fmla="*/ 154006 h 265137"/>
                <a:gd name="connsiteX1038" fmla="*/ 46822 w 163595"/>
                <a:gd name="connsiteY1038" fmla="*/ 154570 h 265137"/>
                <a:gd name="connsiteX1039" fmla="*/ 47386 w 163595"/>
                <a:gd name="connsiteY1039" fmla="*/ 155416 h 265137"/>
                <a:gd name="connsiteX1040" fmla="*/ 48233 w 163595"/>
                <a:gd name="connsiteY1040" fmla="*/ 156826 h 265137"/>
                <a:gd name="connsiteX1041" fmla="*/ 48797 w 163595"/>
                <a:gd name="connsiteY1041" fmla="*/ 157108 h 265137"/>
                <a:gd name="connsiteX1042" fmla="*/ 49361 w 163595"/>
                <a:gd name="connsiteY1042" fmla="*/ 157108 h 265137"/>
                <a:gd name="connsiteX1043" fmla="*/ 51899 w 163595"/>
                <a:gd name="connsiteY1043" fmla="*/ 156262 h 265137"/>
                <a:gd name="connsiteX1044" fmla="*/ 52745 w 163595"/>
                <a:gd name="connsiteY1044" fmla="*/ 155416 h 265137"/>
                <a:gd name="connsiteX1045" fmla="*/ 54438 w 163595"/>
                <a:gd name="connsiteY1045" fmla="*/ 155134 h 265137"/>
                <a:gd name="connsiteX1046" fmla="*/ 54720 w 163595"/>
                <a:gd name="connsiteY1046" fmla="*/ 154852 h 265137"/>
                <a:gd name="connsiteX1047" fmla="*/ 55566 w 163595"/>
                <a:gd name="connsiteY1047" fmla="*/ 154288 h 265137"/>
                <a:gd name="connsiteX1048" fmla="*/ 59797 w 163595"/>
                <a:gd name="connsiteY1048" fmla="*/ 151467 h 265137"/>
                <a:gd name="connsiteX1049" fmla="*/ 61490 w 163595"/>
                <a:gd name="connsiteY1049" fmla="*/ 150339 h 265137"/>
                <a:gd name="connsiteX1050" fmla="*/ 65438 w 163595"/>
                <a:gd name="connsiteY1050" fmla="*/ 146954 h 265137"/>
                <a:gd name="connsiteX1051" fmla="*/ 69387 w 163595"/>
                <a:gd name="connsiteY1051" fmla="*/ 143569 h 265137"/>
                <a:gd name="connsiteX1052" fmla="*/ 70798 w 163595"/>
                <a:gd name="connsiteY1052" fmla="*/ 141877 h 265137"/>
                <a:gd name="connsiteX1053" fmla="*/ 73054 w 163595"/>
                <a:gd name="connsiteY1053" fmla="*/ 139902 h 265137"/>
                <a:gd name="connsiteX1054" fmla="*/ 75874 w 163595"/>
                <a:gd name="connsiteY1054" fmla="*/ 136800 h 265137"/>
                <a:gd name="connsiteX1055" fmla="*/ 76439 w 163595"/>
                <a:gd name="connsiteY1055" fmla="*/ 136518 h 265137"/>
                <a:gd name="connsiteX1056" fmla="*/ 81234 w 163595"/>
                <a:gd name="connsiteY1056" fmla="*/ 130876 h 265137"/>
                <a:gd name="connsiteX1057" fmla="*/ 86029 w 163595"/>
                <a:gd name="connsiteY1057" fmla="*/ 124389 h 265137"/>
                <a:gd name="connsiteX1058" fmla="*/ 88849 w 163595"/>
                <a:gd name="connsiteY1058" fmla="*/ 119030 h 265137"/>
                <a:gd name="connsiteX1059" fmla="*/ 93080 w 163595"/>
                <a:gd name="connsiteY1059" fmla="*/ 109722 h 265137"/>
                <a:gd name="connsiteX1060" fmla="*/ 93363 w 163595"/>
                <a:gd name="connsiteY1060" fmla="*/ 109440 h 265137"/>
                <a:gd name="connsiteX1061" fmla="*/ 96465 w 163595"/>
                <a:gd name="connsiteY1061" fmla="*/ 100414 h 265137"/>
                <a:gd name="connsiteX1062" fmla="*/ 98158 w 163595"/>
                <a:gd name="connsiteY1062" fmla="*/ 94773 h 265137"/>
                <a:gd name="connsiteX1063" fmla="*/ 98439 w 163595"/>
                <a:gd name="connsiteY1063" fmla="*/ 93926 h 265137"/>
                <a:gd name="connsiteX1064" fmla="*/ 98722 w 163595"/>
                <a:gd name="connsiteY1064" fmla="*/ 91952 h 265137"/>
                <a:gd name="connsiteX1065" fmla="*/ 47668 w 163595"/>
                <a:gd name="connsiteY1065" fmla="*/ 152877 h 265137"/>
                <a:gd name="connsiteX1066" fmla="*/ 47950 w 163595"/>
                <a:gd name="connsiteY1066" fmla="*/ 152595 h 265137"/>
                <a:gd name="connsiteX1067" fmla="*/ 47950 w 163595"/>
                <a:gd name="connsiteY1067" fmla="*/ 152031 h 265137"/>
                <a:gd name="connsiteX1068" fmla="*/ 47668 w 163595"/>
                <a:gd name="connsiteY1068" fmla="*/ 151749 h 265137"/>
                <a:gd name="connsiteX1069" fmla="*/ 47386 w 163595"/>
                <a:gd name="connsiteY1069" fmla="*/ 152313 h 265137"/>
                <a:gd name="connsiteX1070" fmla="*/ 47668 w 163595"/>
                <a:gd name="connsiteY1070" fmla="*/ 152877 h 265137"/>
                <a:gd name="connsiteX1071" fmla="*/ 48514 w 163595"/>
                <a:gd name="connsiteY1071" fmla="*/ 137646 h 265137"/>
                <a:gd name="connsiteX1072" fmla="*/ 49078 w 163595"/>
                <a:gd name="connsiteY1072" fmla="*/ 137082 h 265137"/>
                <a:gd name="connsiteX1073" fmla="*/ 48514 w 163595"/>
                <a:gd name="connsiteY1073" fmla="*/ 136518 h 265137"/>
                <a:gd name="connsiteX1074" fmla="*/ 47950 w 163595"/>
                <a:gd name="connsiteY1074" fmla="*/ 136800 h 265137"/>
                <a:gd name="connsiteX1075" fmla="*/ 47950 w 163595"/>
                <a:gd name="connsiteY1075" fmla="*/ 137646 h 265137"/>
                <a:gd name="connsiteX1076" fmla="*/ 47668 w 163595"/>
                <a:gd name="connsiteY1076" fmla="*/ 138210 h 265137"/>
                <a:gd name="connsiteX1077" fmla="*/ 48514 w 163595"/>
                <a:gd name="connsiteY1077" fmla="*/ 137646 h 265137"/>
                <a:gd name="connsiteX1078" fmla="*/ 49078 w 163595"/>
                <a:gd name="connsiteY1078" fmla="*/ 135672 h 265137"/>
                <a:gd name="connsiteX1079" fmla="*/ 49361 w 163595"/>
                <a:gd name="connsiteY1079" fmla="*/ 135672 h 265137"/>
                <a:gd name="connsiteX1080" fmla="*/ 51053 w 163595"/>
                <a:gd name="connsiteY1080" fmla="*/ 133415 h 265137"/>
                <a:gd name="connsiteX1081" fmla="*/ 50771 w 163595"/>
                <a:gd name="connsiteY1081" fmla="*/ 133415 h 265137"/>
                <a:gd name="connsiteX1082" fmla="*/ 50207 w 163595"/>
                <a:gd name="connsiteY1082" fmla="*/ 133697 h 265137"/>
                <a:gd name="connsiteX1083" fmla="*/ 49643 w 163595"/>
                <a:gd name="connsiteY1083" fmla="*/ 134543 h 265137"/>
                <a:gd name="connsiteX1084" fmla="*/ 49078 w 163595"/>
                <a:gd name="connsiteY1084" fmla="*/ 135389 h 265137"/>
                <a:gd name="connsiteX1085" fmla="*/ 49078 w 163595"/>
                <a:gd name="connsiteY1085" fmla="*/ 135672 h 265137"/>
                <a:gd name="connsiteX1086" fmla="*/ 53592 w 163595"/>
                <a:gd name="connsiteY1086" fmla="*/ 134825 h 265137"/>
                <a:gd name="connsiteX1087" fmla="*/ 53874 w 163595"/>
                <a:gd name="connsiteY1087" fmla="*/ 134261 h 265137"/>
                <a:gd name="connsiteX1088" fmla="*/ 53592 w 163595"/>
                <a:gd name="connsiteY1088" fmla="*/ 133415 h 265137"/>
                <a:gd name="connsiteX1089" fmla="*/ 54438 w 163595"/>
                <a:gd name="connsiteY1089" fmla="*/ 132287 h 265137"/>
                <a:gd name="connsiteX1090" fmla="*/ 55284 w 163595"/>
                <a:gd name="connsiteY1090" fmla="*/ 132005 h 265137"/>
                <a:gd name="connsiteX1091" fmla="*/ 55566 w 163595"/>
                <a:gd name="connsiteY1091" fmla="*/ 132005 h 265137"/>
                <a:gd name="connsiteX1092" fmla="*/ 55848 w 163595"/>
                <a:gd name="connsiteY1092" fmla="*/ 132287 h 265137"/>
                <a:gd name="connsiteX1093" fmla="*/ 55848 w 163595"/>
                <a:gd name="connsiteY1093" fmla="*/ 133133 h 265137"/>
                <a:gd name="connsiteX1094" fmla="*/ 56130 w 163595"/>
                <a:gd name="connsiteY1094" fmla="*/ 133415 h 265137"/>
                <a:gd name="connsiteX1095" fmla="*/ 56412 w 163595"/>
                <a:gd name="connsiteY1095" fmla="*/ 133415 h 265137"/>
                <a:gd name="connsiteX1096" fmla="*/ 56976 w 163595"/>
                <a:gd name="connsiteY1096" fmla="*/ 133697 h 265137"/>
                <a:gd name="connsiteX1097" fmla="*/ 56976 w 163595"/>
                <a:gd name="connsiteY1097" fmla="*/ 134543 h 265137"/>
                <a:gd name="connsiteX1098" fmla="*/ 56412 w 163595"/>
                <a:gd name="connsiteY1098" fmla="*/ 135672 h 265137"/>
                <a:gd name="connsiteX1099" fmla="*/ 55848 w 163595"/>
                <a:gd name="connsiteY1099" fmla="*/ 135954 h 265137"/>
                <a:gd name="connsiteX1100" fmla="*/ 55566 w 163595"/>
                <a:gd name="connsiteY1100" fmla="*/ 135954 h 265137"/>
                <a:gd name="connsiteX1101" fmla="*/ 54720 w 163595"/>
                <a:gd name="connsiteY1101" fmla="*/ 137082 h 265137"/>
                <a:gd name="connsiteX1102" fmla="*/ 53028 w 163595"/>
                <a:gd name="connsiteY1102" fmla="*/ 137082 h 265137"/>
                <a:gd name="connsiteX1103" fmla="*/ 53592 w 163595"/>
                <a:gd name="connsiteY1103" fmla="*/ 134825 h 265137"/>
                <a:gd name="connsiteX1104" fmla="*/ 54720 w 163595"/>
                <a:gd name="connsiteY1104" fmla="*/ 148082 h 265137"/>
                <a:gd name="connsiteX1105" fmla="*/ 55002 w 163595"/>
                <a:gd name="connsiteY1105" fmla="*/ 148646 h 265137"/>
                <a:gd name="connsiteX1106" fmla="*/ 54720 w 163595"/>
                <a:gd name="connsiteY1106" fmla="*/ 148928 h 265137"/>
                <a:gd name="connsiteX1107" fmla="*/ 54438 w 163595"/>
                <a:gd name="connsiteY1107" fmla="*/ 148928 h 265137"/>
                <a:gd name="connsiteX1108" fmla="*/ 54438 w 163595"/>
                <a:gd name="connsiteY1108" fmla="*/ 148364 h 265137"/>
                <a:gd name="connsiteX1109" fmla="*/ 54720 w 163595"/>
                <a:gd name="connsiteY1109" fmla="*/ 148082 h 265137"/>
                <a:gd name="connsiteX1110" fmla="*/ 54720 w 163595"/>
                <a:gd name="connsiteY1110" fmla="*/ 126646 h 265137"/>
                <a:gd name="connsiteX1111" fmla="*/ 55002 w 163595"/>
                <a:gd name="connsiteY1111" fmla="*/ 126646 h 265137"/>
                <a:gd name="connsiteX1112" fmla="*/ 55566 w 163595"/>
                <a:gd name="connsiteY1112" fmla="*/ 126081 h 265137"/>
                <a:gd name="connsiteX1113" fmla="*/ 55284 w 163595"/>
                <a:gd name="connsiteY1113" fmla="*/ 126081 h 265137"/>
                <a:gd name="connsiteX1114" fmla="*/ 55284 w 163595"/>
                <a:gd name="connsiteY1114" fmla="*/ 125799 h 265137"/>
                <a:gd name="connsiteX1115" fmla="*/ 54720 w 163595"/>
                <a:gd name="connsiteY1115" fmla="*/ 126363 h 265137"/>
                <a:gd name="connsiteX1116" fmla="*/ 54720 w 163595"/>
                <a:gd name="connsiteY1116" fmla="*/ 126646 h 265137"/>
                <a:gd name="connsiteX1117" fmla="*/ 56976 w 163595"/>
                <a:gd name="connsiteY1117" fmla="*/ 131723 h 265137"/>
                <a:gd name="connsiteX1118" fmla="*/ 56695 w 163595"/>
                <a:gd name="connsiteY1118" fmla="*/ 131723 h 265137"/>
                <a:gd name="connsiteX1119" fmla="*/ 56130 w 163595"/>
                <a:gd name="connsiteY1119" fmla="*/ 131441 h 265137"/>
                <a:gd name="connsiteX1120" fmla="*/ 56976 w 163595"/>
                <a:gd name="connsiteY1120" fmla="*/ 130876 h 265137"/>
                <a:gd name="connsiteX1121" fmla="*/ 56976 w 163595"/>
                <a:gd name="connsiteY1121" fmla="*/ 131723 h 265137"/>
                <a:gd name="connsiteX1122" fmla="*/ 58951 w 163595"/>
                <a:gd name="connsiteY1122" fmla="*/ 128056 h 265137"/>
                <a:gd name="connsiteX1123" fmla="*/ 59233 w 163595"/>
                <a:gd name="connsiteY1123" fmla="*/ 128338 h 265137"/>
                <a:gd name="connsiteX1124" fmla="*/ 61771 w 163595"/>
                <a:gd name="connsiteY1124" fmla="*/ 127774 h 265137"/>
                <a:gd name="connsiteX1125" fmla="*/ 61771 w 163595"/>
                <a:gd name="connsiteY1125" fmla="*/ 127492 h 265137"/>
                <a:gd name="connsiteX1126" fmla="*/ 60926 w 163595"/>
                <a:gd name="connsiteY1126" fmla="*/ 126928 h 265137"/>
                <a:gd name="connsiteX1127" fmla="*/ 59233 w 163595"/>
                <a:gd name="connsiteY1127" fmla="*/ 127774 h 265137"/>
                <a:gd name="connsiteX1128" fmla="*/ 58951 w 163595"/>
                <a:gd name="connsiteY1128" fmla="*/ 128056 h 265137"/>
                <a:gd name="connsiteX1129" fmla="*/ 59797 w 163595"/>
                <a:gd name="connsiteY1129" fmla="*/ 120440 h 265137"/>
                <a:gd name="connsiteX1130" fmla="*/ 60079 w 163595"/>
                <a:gd name="connsiteY1130" fmla="*/ 120158 h 265137"/>
                <a:gd name="connsiteX1131" fmla="*/ 59797 w 163595"/>
                <a:gd name="connsiteY1131" fmla="*/ 120158 h 265137"/>
                <a:gd name="connsiteX1132" fmla="*/ 59797 w 163595"/>
                <a:gd name="connsiteY1132" fmla="*/ 120440 h 265137"/>
                <a:gd name="connsiteX1133" fmla="*/ 66848 w 163595"/>
                <a:gd name="connsiteY1133" fmla="*/ 62900 h 265137"/>
                <a:gd name="connsiteX1134" fmla="*/ 66284 w 163595"/>
                <a:gd name="connsiteY1134" fmla="*/ 63182 h 265137"/>
                <a:gd name="connsiteX1135" fmla="*/ 66567 w 163595"/>
                <a:gd name="connsiteY1135" fmla="*/ 62618 h 265137"/>
                <a:gd name="connsiteX1136" fmla="*/ 66848 w 163595"/>
                <a:gd name="connsiteY1136" fmla="*/ 62618 h 265137"/>
                <a:gd name="connsiteX1137" fmla="*/ 66848 w 163595"/>
                <a:gd name="connsiteY1137" fmla="*/ 62900 h 265137"/>
                <a:gd name="connsiteX1138" fmla="*/ 67412 w 163595"/>
                <a:gd name="connsiteY1138" fmla="*/ 116491 h 265137"/>
                <a:gd name="connsiteX1139" fmla="*/ 67131 w 163595"/>
                <a:gd name="connsiteY1139" fmla="*/ 116773 h 265137"/>
                <a:gd name="connsiteX1140" fmla="*/ 66848 w 163595"/>
                <a:gd name="connsiteY1140" fmla="*/ 116773 h 265137"/>
                <a:gd name="connsiteX1141" fmla="*/ 66848 w 163595"/>
                <a:gd name="connsiteY1141" fmla="*/ 116491 h 265137"/>
                <a:gd name="connsiteX1142" fmla="*/ 67412 w 163595"/>
                <a:gd name="connsiteY1142" fmla="*/ 116491 h 265137"/>
                <a:gd name="connsiteX1143" fmla="*/ 70515 w 163595"/>
                <a:gd name="connsiteY1143" fmla="*/ 110004 h 265137"/>
                <a:gd name="connsiteX1144" fmla="*/ 71079 w 163595"/>
                <a:gd name="connsiteY1144" fmla="*/ 110286 h 265137"/>
                <a:gd name="connsiteX1145" fmla="*/ 71643 w 163595"/>
                <a:gd name="connsiteY1145" fmla="*/ 109722 h 265137"/>
                <a:gd name="connsiteX1146" fmla="*/ 71643 w 163595"/>
                <a:gd name="connsiteY1146" fmla="*/ 109440 h 265137"/>
                <a:gd name="connsiteX1147" fmla="*/ 71079 w 163595"/>
                <a:gd name="connsiteY1147" fmla="*/ 109158 h 265137"/>
                <a:gd name="connsiteX1148" fmla="*/ 70515 w 163595"/>
                <a:gd name="connsiteY1148" fmla="*/ 109440 h 265137"/>
                <a:gd name="connsiteX1149" fmla="*/ 70515 w 163595"/>
                <a:gd name="connsiteY1149" fmla="*/ 110004 h 265137"/>
                <a:gd name="connsiteX1150" fmla="*/ 75593 w 163595"/>
                <a:gd name="connsiteY1150" fmla="*/ 107183 h 265137"/>
                <a:gd name="connsiteX1151" fmla="*/ 76157 w 163595"/>
                <a:gd name="connsiteY1151" fmla="*/ 107183 h 265137"/>
                <a:gd name="connsiteX1152" fmla="*/ 76721 w 163595"/>
                <a:gd name="connsiteY1152" fmla="*/ 106901 h 265137"/>
                <a:gd name="connsiteX1153" fmla="*/ 76439 w 163595"/>
                <a:gd name="connsiteY1153" fmla="*/ 106619 h 265137"/>
                <a:gd name="connsiteX1154" fmla="*/ 76157 w 163595"/>
                <a:gd name="connsiteY1154" fmla="*/ 106337 h 265137"/>
                <a:gd name="connsiteX1155" fmla="*/ 75874 w 163595"/>
                <a:gd name="connsiteY1155" fmla="*/ 106619 h 265137"/>
                <a:gd name="connsiteX1156" fmla="*/ 75593 w 163595"/>
                <a:gd name="connsiteY1156" fmla="*/ 107183 h 265137"/>
                <a:gd name="connsiteX1157" fmla="*/ 77849 w 163595"/>
                <a:gd name="connsiteY1157" fmla="*/ 109722 h 265137"/>
                <a:gd name="connsiteX1158" fmla="*/ 77285 w 163595"/>
                <a:gd name="connsiteY1158" fmla="*/ 110286 h 265137"/>
                <a:gd name="connsiteX1159" fmla="*/ 77285 w 163595"/>
                <a:gd name="connsiteY1159" fmla="*/ 110568 h 265137"/>
                <a:gd name="connsiteX1160" fmla="*/ 77567 w 163595"/>
                <a:gd name="connsiteY1160" fmla="*/ 110568 h 265137"/>
                <a:gd name="connsiteX1161" fmla="*/ 78131 w 163595"/>
                <a:gd name="connsiteY1161" fmla="*/ 109722 h 265137"/>
                <a:gd name="connsiteX1162" fmla="*/ 77849 w 163595"/>
                <a:gd name="connsiteY1162" fmla="*/ 109722 h 265137"/>
                <a:gd name="connsiteX1163" fmla="*/ 77567 w 163595"/>
                <a:gd name="connsiteY1163" fmla="*/ 153159 h 265137"/>
                <a:gd name="connsiteX1164" fmla="*/ 78131 w 163595"/>
                <a:gd name="connsiteY1164" fmla="*/ 153159 h 265137"/>
                <a:gd name="connsiteX1165" fmla="*/ 77849 w 163595"/>
                <a:gd name="connsiteY1165" fmla="*/ 153441 h 265137"/>
                <a:gd name="connsiteX1166" fmla="*/ 77567 w 163595"/>
                <a:gd name="connsiteY1166" fmla="*/ 153441 h 265137"/>
                <a:gd name="connsiteX1167" fmla="*/ 77567 w 163595"/>
                <a:gd name="connsiteY1167" fmla="*/ 153159 h 265137"/>
                <a:gd name="connsiteX1168" fmla="*/ 78977 w 163595"/>
                <a:gd name="connsiteY1168" fmla="*/ 151749 h 265137"/>
                <a:gd name="connsiteX1169" fmla="*/ 79824 w 163595"/>
                <a:gd name="connsiteY1169" fmla="*/ 151749 h 265137"/>
                <a:gd name="connsiteX1170" fmla="*/ 79260 w 163595"/>
                <a:gd name="connsiteY1170" fmla="*/ 152877 h 265137"/>
                <a:gd name="connsiteX1171" fmla="*/ 78131 w 163595"/>
                <a:gd name="connsiteY1171" fmla="*/ 153159 h 265137"/>
                <a:gd name="connsiteX1172" fmla="*/ 78977 w 163595"/>
                <a:gd name="connsiteY1172" fmla="*/ 151749 h 265137"/>
                <a:gd name="connsiteX1173" fmla="*/ 79880 w 163595"/>
                <a:gd name="connsiteY1173" fmla="*/ 100978 h 265137"/>
                <a:gd name="connsiteX1174" fmla="*/ 80444 w 163595"/>
                <a:gd name="connsiteY1174" fmla="*/ 101542 h 265137"/>
                <a:gd name="connsiteX1175" fmla="*/ 81290 w 163595"/>
                <a:gd name="connsiteY1175" fmla="*/ 100978 h 265137"/>
                <a:gd name="connsiteX1176" fmla="*/ 81290 w 163595"/>
                <a:gd name="connsiteY1176" fmla="*/ 100696 h 265137"/>
                <a:gd name="connsiteX1177" fmla="*/ 81008 w 163595"/>
                <a:gd name="connsiteY1177" fmla="*/ 100414 h 265137"/>
                <a:gd name="connsiteX1178" fmla="*/ 80444 w 163595"/>
                <a:gd name="connsiteY1178" fmla="*/ 100696 h 265137"/>
                <a:gd name="connsiteX1179" fmla="*/ 80162 w 163595"/>
                <a:gd name="connsiteY1179" fmla="*/ 100978 h 265137"/>
                <a:gd name="connsiteX1180" fmla="*/ 79880 w 163595"/>
                <a:gd name="connsiteY1180" fmla="*/ 100978 h 265137"/>
                <a:gd name="connsiteX1181" fmla="*/ 93363 w 163595"/>
                <a:gd name="connsiteY1181" fmla="*/ 92234 h 265137"/>
                <a:gd name="connsiteX1182" fmla="*/ 93927 w 163595"/>
                <a:gd name="connsiteY1182" fmla="*/ 91670 h 265137"/>
                <a:gd name="connsiteX1183" fmla="*/ 94491 w 163595"/>
                <a:gd name="connsiteY1183" fmla="*/ 89978 h 265137"/>
                <a:gd name="connsiteX1184" fmla="*/ 94491 w 163595"/>
                <a:gd name="connsiteY1184" fmla="*/ 89696 h 265137"/>
                <a:gd name="connsiteX1185" fmla="*/ 94208 w 163595"/>
                <a:gd name="connsiteY1185" fmla="*/ 89413 h 265137"/>
                <a:gd name="connsiteX1186" fmla="*/ 93363 w 163595"/>
                <a:gd name="connsiteY1186" fmla="*/ 89978 h 265137"/>
                <a:gd name="connsiteX1187" fmla="*/ 92798 w 163595"/>
                <a:gd name="connsiteY1187" fmla="*/ 90824 h 265137"/>
                <a:gd name="connsiteX1188" fmla="*/ 92516 w 163595"/>
                <a:gd name="connsiteY1188" fmla="*/ 91670 h 265137"/>
                <a:gd name="connsiteX1189" fmla="*/ 93363 w 163595"/>
                <a:gd name="connsiteY1189" fmla="*/ 92234 h 265137"/>
                <a:gd name="connsiteX1190" fmla="*/ 96521 w 163595"/>
                <a:gd name="connsiteY1190" fmla="*/ 90542 h 265137"/>
                <a:gd name="connsiteX1191" fmla="*/ 97085 w 163595"/>
                <a:gd name="connsiteY1191" fmla="*/ 90260 h 265137"/>
                <a:gd name="connsiteX1192" fmla="*/ 97085 w 163595"/>
                <a:gd name="connsiteY1192" fmla="*/ 89978 h 265137"/>
                <a:gd name="connsiteX1193" fmla="*/ 96804 w 163595"/>
                <a:gd name="connsiteY1193" fmla="*/ 89978 h 265137"/>
                <a:gd name="connsiteX1194" fmla="*/ 96521 w 163595"/>
                <a:gd name="connsiteY1194" fmla="*/ 90260 h 265137"/>
                <a:gd name="connsiteX1195" fmla="*/ 96521 w 163595"/>
                <a:gd name="connsiteY1195" fmla="*/ 90542 h 265137"/>
                <a:gd name="connsiteX1196" fmla="*/ 108594 w 163595"/>
                <a:gd name="connsiteY1196" fmla="*/ 108876 h 265137"/>
                <a:gd name="connsiteX1197" fmla="*/ 108594 w 163595"/>
                <a:gd name="connsiteY1197" fmla="*/ 108594 h 265137"/>
                <a:gd name="connsiteX1198" fmla="*/ 107747 w 163595"/>
                <a:gd name="connsiteY1198" fmla="*/ 108876 h 265137"/>
                <a:gd name="connsiteX1199" fmla="*/ 108030 w 163595"/>
                <a:gd name="connsiteY1199" fmla="*/ 109158 h 265137"/>
                <a:gd name="connsiteX1200" fmla="*/ 108594 w 163595"/>
                <a:gd name="connsiteY1200" fmla="*/ 108876 h 265137"/>
                <a:gd name="connsiteX1201" fmla="*/ 115645 w 163595"/>
                <a:gd name="connsiteY1201" fmla="*/ 90260 h 265137"/>
                <a:gd name="connsiteX1202" fmla="*/ 115363 w 163595"/>
                <a:gd name="connsiteY1202" fmla="*/ 90260 h 265137"/>
                <a:gd name="connsiteX1203" fmla="*/ 115928 w 163595"/>
                <a:gd name="connsiteY1203" fmla="*/ 91106 h 265137"/>
                <a:gd name="connsiteX1204" fmla="*/ 116209 w 163595"/>
                <a:gd name="connsiteY1204" fmla="*/ 91106 h 265137"/>
                <a:gd name="connsiteX1205" fmla="*/ 116209 w 163595"/>
                <a:gd name="connsiteY1205" fmla="*/ 90824 h 265137"/>
                <a:gd name="connsiteX1206" fmla="*/ 115645 w 163595"/>
                <a:gd name="connsiteY1206" fmla="*/ 90260 h 265137"/>
                <a:gd name="connsiteX1207" fmla="*/ 130369 w 163595"/>
                <a:gd name="connsiteY1207" fmla="*/ 70233 h 265137"/>
                <a:gd name="connsiteX1208" fmla="*/ 130086 w 163595"/>
                <a:gd name="connsiteY1208" fmla="*/ 70233 h 265137"/>
                <a:gd name="connsiteX1209" fmla="*/ 129805 w 163595"/>
                <a:gd name="connsiteY1209" fmla="*/ 70515 h 265137"/>
                <a:gd name="connsiteX1210" fmla="*/ 130369 w 163595"/>
                <a:gd name="connsiteY1210" fmla="*/ 70233 h 265137"/>
                <a:gd name="connsiteX1211" fmla="*/ 153216 w 163595"/>
                <a:gd name="connsiteY1211" fmla="*/ 55566 h 265137"/>
                <a:gd name="connsiteX1212" fmla="*/ 153216 w 163595"/>
                <a:gd name="connsiteY1212" fmla="*/ 55284 h 265137"/>
                <a:gd name="connsiteX1213" fmla="*/ 153216 w 163595"/>
                <a:gd name="connsiteY1213" fmla="*/ 55566 h 2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</a:cxnLst>
              <a:rect l="l" t="t" r="r" b="b"/>
              <a:pathLst>
                <a:path w="163595" h="265137">
                  <a:moveTo>
                    <a:pt x="68259" y="59515"/>
                  </a:moveTo>
                  <a:cubicBezTo>
                    <a:pt x="67977" y="59515"/>
                    <a:pt x="67977" y="60079"/>
                    <a:pt x="67695" y="60361"/>
                  </a:cubicBezTo>
                  <a:cubicBezTo>
                    <a:pt x="67695" y="60925"/>
                    <a:pt x="67412" y="61207"/>
                    <a:pt x="66848" y="61207"/>
                  </a:cubicBezTo>
                  <a:cubicBezTo>
                    <a:pt x="66002" y="61489"/>
                    <a:pt x="65438" y="62053"/>
                    <a:pt x="65438" y="63182"/>
                  </a:cubicBezTo>
                  <a:cubicBezTo>
                    <a:pt x="65720" y="63464"/>
                    <a:pt x="66002" y="63464"/>
                    <a:pt x="66284" y="63464"/>
                  </a:cubicBezTo>
                  <a:lnTo>
                    <a:pt x="65156" y="64874"/>
                  </a:lnTo>
                  <a:cubicBezTo>
                    <a:pt x="64874" y="65438"/>
                    <a:pt x="64592" y="66002"/>
                    <a:pt x="64028" y="66566"/>
                  </a:cubicBezTo>
                  <a:cubicBezTo>
                    <a:pt x="63746" y="66849"/>
                    <a:pt x="63182" y="67131"/>
                    <a:pt x="62900" y="67131"/>
                  </a:cubicBezTo>
                  <a:cubicBezTo>
                    <a:pt x="62618" y="67131"/>
                    <a:pt x="62618" y="67131"/>
                    <a:pt x="62336" y="66849"/>
                  </a:cubicBezTo>
                  <a:cubicBezTo>
                    <a:pt x="62054" y="66849"/>
                    <a:pt x="61771" y="67131"/>
                    <a:pt x="61771" y="67413"/>
                  </a:cubicBezTo>
                  <a:cubicBezTo>
                    <a:pt x="61771" y="67695"/>
                    <a:pt x="61771" y="67695"/>
                    <a:pt x="62336" y="67695"/>
                  </a:cubicBezTo>
                  <a:cubicBezTo>
                    <a:pt x="62618" y="67695"/>
                    <a:pt x="62900" y="67977"/>
                    <a:pt x="62618" y="67977"/>
                  </a:cubicBezTo>
                  <a:cubicBezTo>
                    <a:pt x="62054" y="69387"/>
                    <a:pt x="61490" y="70515"/>
                    <a:pt x="60643" y="71644"/>
                  </a:cubicBezTo>
                  <a:cubicBezTo>
                    <a:pt x="60079" y="71926"/>
                    <a:pt x="59797" y="72490"/>
                    <a:pt x="59797" y="73054"/>
                  </a:cubicBezTo>
                  <a:cubicBezTo>
                    <a:pt x="59515" y="73618"/>
                    <a:pt x="59233" y="74182"/>
                    <a:pt x="58669" y="74464"/>
                  </a:cubicBezTo>
                  <a:lnTo>
                    <a:pt x="58105" y="75310"/>
                  </a:lnTo>
                  <a:lnTo>
                    <a:pt x="57823" y="75592"/>
                  </a:lnTo>
                  <a:lnTo>
                    <a:pt x="57540" y="75592"/>
                  </a:lnTo>
                  <a:lnTo>
                    <a:pt x="57540" y="74746"/>
                  </a:lnTo>
                  <a:lnTo>
                    <a:pt x="56976" y="74746"/>
                  </a:lnTo>
                  <a:lnTo>
                    <a:pt x="56130" y="75592"/>
                  </a:lnTo>
                  <a:lnTo>
                    <a:pt x="56130" y="76157"/>
                  </a:lnTo>
                  <a:cubicBezTo>
                    <a:pt x="55848" y="76439"/>
                    <a:pt x="56412" y="76157"/>
                    <a:pt x="56695" y="76157"/>
                  </a:cubicBezTo>
                  <a:cubicBezTo>
                    <a:pt x="56695" y="76157"/>
                    <a:pt x="56976" y="76157"/>
                    <a:pt x="56695" y="76439"/>
                  </a:cubicBezTo>
                  <a:cubicBezTo>
                    <a:pt x="56976" y="76439"/>
                    <a:pt x="56976" y="76721"/>
                    <a:pt x="56976" y="76721"/>
                  </a:cubicBezTo>
                  <a:cubicBezTo>
                    <a:pt x="56976" y="77003"/>
                    <a:pt x="56695" y="77003"/>
                    <a:pt x="56695" y="77003"/>
                  </a:cubicBezTo>
                  <a:lnTo>
                    <a:pt x="55566" y="77003"/>
                  </a:lnTo>
                  <a:cubicBezTo>
                    <a:pt x="55284" y="77003"/>
                    <a:pt x="55284" y="77003"/>
                    <a:pt x="55002" y="77285"/>
                  </a:cubicBezTo>
                  <a:lnTo>
                    <a:pt x="55002" y="78131"/>
                  </a:lnTo>
                  <a:cubicBezTo>
                    <a:pt x="55002" y="78413"/>
                    <a:pt x="55284" y="78413"/>
                    <a:pt x="55566" y="78413"/>
                  </a:cubicBezTo>
                  <a:cubicBezTo>
                    <a:pt x="55848" y="78695"/>
                    <a:pt x="55848" y="78695"/>
                    <a:pt x="55848" y="78977"/>
                  </a:cubicBezTo>
                  <a:cubicBezTo>
                    <a:pt x="55848" y="78977"/>
                    <a:pt x="55848" y="79259"/>
                    <a:pt x="55566" y="79259"/>
                  </a:cubicBezTo>
                  <a:cubicBezTo>
                    <a:pt x="55566" y="79541"/>
                    <a:pt x="54720" y="79823"/>
                    <a:pt x="54438" y="79823"/>
                  </a:cubicBezTo>
                  <a:cubicBezTo>
                    <a:pt x="53874" y="80105"/>
                    <a:pt x="53309" y="80387"/>
                    <a:pt x="52745" y="80387"/>
                  </a:cubicBezTo>
                  <a:cubicBezTo>
                    <a:pt x="52745" y="80387"/>
                    <a:pt x="52464" y="80670"/>
                    <a:pt x="52745" y="80670"/>
                  </a:cubicBezTo>
                  <a:cubicBezTo>
                    <a:pt x="52745" y="80952"/>
                    <a:pt x="53028" y="81234"/>
                    <a:pt x="53309" y="81516"/>
                  </a:cubicBezTo>
                  <a:lnTo>
                    <a:pt x="53309" y="81798"/>
                  </a:lnTo>
                  <a:cubicBezTo>
                    <a:pt x="53309" y="82080"/>
                    <a:pt x="53309" y="82080"/>
                    <a:pt x="53028" y="82080"/>
                  </a:cubicBezTo>
                  <a:lnTo>
                    <a:pt x="52745" y="82362"/>
                  </a:lnTo>
                  <a:cubicBezTo>
                    <a:pt x="52745" y="82362"/>
                    <a:pt x="52464" y="82644"/>
                    <a:pt x="52464" y="82926"/>
                  </a:cubicBezTo>
                  <a:cubicBezTo>
                    <a:pt x="52464" y="83208"/>
                    <a:pt x="52745" y="83208"/>
                    <a:pt x="52745" y="83490"/>
                  </a:cubicBezTo>
                  <a:cubicBezTo>
                    <a:pt x="52745" y="83772"/>
                    <a:pt x="53028" y="83772"/>
                    <a:pt x="53028" y="84054"/>
                  </a:cubicBezTo>
                  <a:cubicBezTo>
                    <a:pt x="53028" y="84336"/>
                    <a:pt x="52745" y="84618"/>
                    <a:pt x="52745" y="84900"/>
                  </a:cubicBezTo>
                  <a:cubicBezTo>
                    <a:pt x="52464" y="85183"/>
                    <a:pt x="52181" y="85465"/>
                    <a:pt x="52181" y="86029"/>
                  </a:cubicBezTo>
                  <a:cubicBezTo>
                    <a:pt x="52181" y="86029"/>
                    <a:pt x="51617" y="86311"/>
                    <a:pt x="51335" y="86311"/>
                  </a:cubicBezTo>
                  <a:cubicBezTo>
                    <a:pt x="51335" y="86029"/>
                    <a:pt x="50771" y="86311"/>
                    <a:pt x="50489" y="86593"/>
                  </a:cubicBezTo>
                  <a:lnTo>
                    <a:pt x="50489" y="87157"/>
                  </a:lnTo>
                  <a:cubicBezTo>
                    <a:pt x="50489" y="87439"/>
                    <a:pt x="50489" y="87439"/>
                    <a:pt x="50771" y="87439"/>
                  </a:cubicBezTo>
                  <a:cubicBezTo>
                    <a:pt x="50771" y="87721"/>
                    <a:pt x="50771" y="88003"/>
                    <a:pt x="50489" y="88003"/>
                  </a:cubicBezTo>
                  <a:lnTo>
                    <a:pt x="49925" y="88003"/>
                  </a:lnTo>
                  <a:lnTo>
                    <a:pt x="49361" y="88285"/>
                  </a:lnTo>
                  <a:cubicBezTo>
                    <a:pt x="49078" y="88567"/>
                    <a:pt x="49078" y="89131"/>
                    <a:pt x="49078" y="89413"/>
                  </a:cubicBezTo>
                  <a:lnTo>
                    <a:pt x="49078" y="89696"/>
                  </a:lnTo>
                  <a:cubicBezTo>
                    <a:pt x="49361" y="89978"/>
                    <a:pt x="49643" y="90542"/>
                    <a:pt x="49643" y="90824"/>
                  </a:cubicBezTo>
                  <a:cubicBezTo>
                    <a:pt x="49643" y="91106"/>
                    <a:pt x="49361" y="91106"/>
                    <a:pt x="49361" y="91388"/>
                  </a:cubicBezTo>
                  <a:lnTo>
                    <a:pt x="47668" y="95055"/>
                  </a:lnTo>
                  <a:cubicBezTo>
                    <a:pt x="47386" y="95337"/>
                    <a:pt x="46822" y="95901"/>
                    <a:pt x="46258" y="95901"/>
                  </a:cubicBezTo>
                  <a:cubicBezTo>
                    <a:pt x="45976" y="95901"/>
                    <a:pt x="45694" y="96183"/>
                    <a:pt x="45694" y="96465"/>
                  </a:cubicBezTo>
                  <a:cubicBezTo>
                    <a:pt x="45694" y="96747"/>
                    <a:pt x="45412" y="97029"/>
                    <a:pt x="45412" y="97029"/>
                  </a:cubicBezTo>
                  <a:cubicBezTo>
                    <a:pt x="45412" y="97311"/>
                    <a:pt x="45694" y="97311"/>
                    <a:pt x="45694" y="97311"/>
                  </a:cubicBezTo>
                  <a:lnTo>
                    <a:pt x="45976" y="97311"/>
                  </a:lnTo>
                  <a:cubicBezTo>
                    <a:pt x="46258" y="97593"/>
                    <a:pt x="46540" y="97593"/>
                    <a:pt x="46540" y="97593"/>
                  </a:cubicBezTo>
                  <a:lnTo>
                    <a:pt x="46258" y="97875"/>
                  </a:lnTo>
                  <a:cubicBezTo>
                    <a:pt x="45976" y="98439"/>
                    <a:pt x="45694" y="99004"/>
                    <a:pt x="44848" y="99004"/>
                  </a:cubicBezTo>
                  <a:cubicBezTo>
                    <a:pt x="44566" y="99004"/>
                    <a:pt x="44566" y="99286"/>
                    <a:pt x="44566" y="99286"/>
                  </a:cubicBezTo>
                  <a:cubicBezTo>
                    <a:pt x="44566" y="99286"/>
                    <a:pt x="44566" y="99568"/>
                    <a:pt x="44848" y="99568"/>
                  </a:cubicBezTo>
                  <a:cubicBezTo>
                    <a:pt x="44848" y="99850"/>
                    <a:pt x="45130" y="99850"/>
                    <a:pt x="45130" y="100132"/>
                  </a:cubicBezTo>
                  <a:cubicBezTo>
                    <a:pt x="45130" y="100414"/>
                    <a:pt x="44848" y="100696"/>
                    <a:pt x="44848" y="100696"/>
                  </a:cubicBezTo>
                  <a:cubicBezTo>
                    <a:pt x="44284" y="101260"/>
                    <a:pt x="44002" y="102106"/>
                    <a:pt x="44002" y="102952"/>
                  </a:cubicBezTo>
                  <a:cubicBezTo>
                    <a:pt x="44002" y="103234"/>
                    <a:pt x="44002" y="103517"/>
                    <a:pt x="43720" y="103799"/>
                  </a:cubicBezTo>
                  <a:cubicBezTo>
                    <a:pt x="43156" y="104363"/>
                    <a:pt x="42873" y="105491"/>
                    <a:pt x="42027" y="106055"/>
                  </a:cubicBezTo>
                  <a:cubicBezTo>
                    <a:pt x="41463" y="106337"/>
                    <a:pt x="41463" y="106901"/>
                    <a:pt x="41463" y="107183"/>
                  </a:cubicBezTo>
                  <a:cubicBezTo>
                    <a:pt x="41463" y="108030"/>
                    <a:pt x="41463" y="108594"/>
                    <a:pt x="40617" y="109440"/>
                  </a:cubicBezTo>
                  <a:cubicBezTo>
                    <a:pt x="40053" y="110004"/>
                    <a:pt x="40053" y="111132"/>
                    <a:pt x="39489" y="111978"/>
                  </a:cubicBezTo>
                  <a:cubicBezTo>
                    <a:pt x="39489" y="112542"/>
                    <a:pt x="39206" y="112825"/>
                    <a:pt x="38642" y="113107"/>
                  </a:cubicBezTo>
                  <a:cubicBezTo>
                    <a:pt x="38361" y="113389"/>
                    <a:pt x="38361" y="113671"/>
                    <a:pt x="38361" y="113953"/>
                  </a:cubicBezTo>
                  <a:lnTo>
                    <a:pt x="38361" y="114517"/>
                  </a:lnTo>
                  <a:cubicBezTo>
                    <a:pt x="38361" y="115363"/>
                    <a:pt x="38078" y="116209"/>
                    <a:pt x="37796" y="116773"/>
                  </a:cubicBezTo>
                  <a:cubicBezTo>
                    <a:pt x="37514" y="117338"/>
                    <a:pt x="37514" y="117902"/>
                    <a:pt x="37232" y="118184"/>
                  </a:cubicBezTo>
                  <a:lnTo>
                    <a:pt x="35258" y="124389"/>
                  </a:lnTo>
                  <a:cubicBezTo>
                    <a:pt x="34694" y="125799"/>
                    <a:pt x="34694" y="127492"/>
                    <a:pt x="34694" y="128902"/>
                  </a:cubicBezTo>
                  <a:cubicBezTo>
                    <a:pt x="34694" y="129184"/>
                    <a:pt x="34694" y="129748"/>
                    <a:pt x="34975" y="130030"/>
                  </a:cubicBezTo>
                  <a:lnTo>
                    <a:pt x="34975" y="130312"/>
                  </a:lnTo>
                  <a:cubicBezTo>
                    <a:pt x="34975" y="130594"/>
                    <a:pt x="34694" y="130876"/>
                    <a:pt x="34411" y="131159"/>
                  </a:cubicBezTo>
                  <a:cubicBezTo>
                    <a:pt x="33847" y="131441"/>
                    <a:pt x="33565" y="131723"/>
                    <a:pt x="33565" y="132287"/>
                  </a:cubicBezTo>
                  <a:cubicBezTo>
                    <a:pt x="33283" y="132569"/>
                    <a:pt x="33001" y="132569"/>
                    <a:pt x="32719" y="132569"/>
                  </a:cubicBezTo>
                  <a:lnTo>
                    <a:pt x="32437" y="132569"/>
                  </a:lnTo>
                  <a:lnTo>
                    <a:pt x="31027" y="131441"/>
                  </a:lnTo>
                  <a:lnTo>
                    <a:pt x="30744" y="131159"/>
                  </a:lnTo>
                  <a:cubicBezTo>
                    <a:pt x="30463" y="131159"/>
                    <a:pt x="30463" y="131441"/>
                    <a:pt x="30180" y="131723"/>
                  </a:cubicBezTo>
                  <a:lnTo>
                    <a:pt x="29616" y="133133"/>
                  </a:lnTo>
                  <a:cubicBezTo>
                    <a:pt x="29616" y="133415"/>
                    <a:pt x="29334" y="133697"/>
                    <a:pt x="29052" y="133697"/>
                  </a:cubicBezTo>
                  <a:cubicBezTo>
                    <a:pt x="28770" y="133697"/>
                    <a:pt x="28770" y="133415"/>
                    <a:pt x="28770" y="133133"/>
                  </a:cubicBezTo>
                  <a:cubicBezTo>
                    <a:pt x="28770" y="132569"/>
                    <a:pt x="28488" y="132287"/>
                    <a:pt x="27924" y="132287"/>
                  </a:cubicBezTo>
                  <a:lnTo>
                    <a:pt x="27642" y="132569"/>
                  </a:lnTo>
                  <a:lnTo>
                    <a:pt x="27642" y="133133"/>
                  </a:lnTo>
                  <a:cubicBezTo>
                    <a:pt x="27642" y="133979"/>
                    <a:pt x="27078" y="134543"/>
                    <a:pt x="27078" y="135389"/>
                  </a:cubicBezTo>
                  <a:cubicBezTo>
                    <a:pt x="27078" y="135672"/>
                    <a:pt x="26796" y="136236"/>
                    <a:pt x="26796" y="136518"/>
                  </a:cubicBezTo>
                  <a:cubicBezTo>
                    <a:pt x="26796" y="136800"/>
                    <a:pt x="26514" y="137082"/>
                    <a:pt x="26514" y="137082"/>
                  </a:cubicBezTo>
                  <a:cubicBezTo>
                    <a:pt x="26514" y="137364"/>
                    <a:pt x="26796" y="137364"/>
                    <a:pt x="27360" y="137364"/>
                  </a:cubicBezTo>
                  <a:cubicBezTo>
                    <a:pt x="27642" y="137364"/>
                    <a:pt x="27924" y="137364"/>
                    <a:pt x="27924" y="137646"/>
                  </a:cubicBezTo>
                  <a:lnTo>
                    <a:pt x="27360" y="139056"/>
                  </a:lnTo>
                  <a:cubicBezTo>
                    <a:pt x="26514" y="140185"/>
                    <a:pt x="25950" y="141595"/>
                    <a:pt x="25950" y="143005"/>
                  </a:cubicBezTo>
                  <a:cubicBezTo>
                    <a:pt x="25950" y="143851"/>
                    <a:pt x="25668" y="144697"/>
                    <a:pt x="25668" y="145544"/>
                  </a:cubicBezTo>
                  <a:cubicBezTo>
                    <a:pt x="25668" y="145826"/>
                    <a:pt x="25386" y="145826"/>
                    <a:pt x="25103" y="146108"/>
                  </a:cubicBezTo>
                  <a:lnTo>
                    <a:pt x="24822" y="146108"/>
                  </a:lnTo>
                  <a:lnTo>
                    <a:pt x="25103" y="146390"/>
                  </a:lnTo>
                  <a:cubicBezTo>
                    <a:pt x="25668" y="146672"/>
                    <a:pt x="25668" y="146672"/>
                    <a:pt x="25668" y="146954"/>
                  </a:cubicBezTo>
                  <a:cubicBezTo>
                    <a:pt x="25386" y="147236"/>
                    <a:pt x="25103" y="147518"/>
                    <a:pt x="25103" y="147800"/>
                  </a:cubicBezTo>
                  <a:cubicBezTo>
                    <a:pt x="25103" y="148082"/>
                    <a:pt x="25386" y="148082"/>
                    <a:pt x="25386" y="148364"/>
                  </a:cubicBezTo>
                  <a:cubicBezTo>
                    <a:pt x="25668" y="148646"/>
                    <a:pt x="24822" y="149210"/>
                    <a:pt x="25103" y="149493"/>
                  </a:cubicBezTo>
                  <a:lnTo>
                    <a:pt x="25103" y="149775"/>
                  </a:lnTo>
                  <a:cubicBezTo>
                    <a:pt x="25103" y="150057"/>
                    <a:pt x="25103" y="150057"/>
                    <a:pt x="24822" y="150057"/>
                  </a:cubicBezTo>
                  <a:cubicBezTo>
                    <a:pt x="24822" y="150339"/>
                    <a:pt x="24539" y="150339"/>
                    <a:pt x="24539" y="150621"/>
                  </a:cubicBezTo>
                  <a:lnTo>
                    <a:pt x="24539" y="150903"/>
                  </a:lnTo>
                  <a:cubicBezTo>
                    <a:pt x="24822" y="151749"/>
                    <a:pt x="24822" y="152595"/>
                    <a:pt x="24822" y="153441"/>
                  </a:cubicBezTo>
                  <a:cubicBezTo>
                    <a:pt x="24539" y="154006"/>
                    <a:pt x="24258" y="154570"/>
                    <a:pt x="23693" y="154852"/>
                  </a:cubicBezTo>
                  <a:cubicBezTo>
                    <a:pt x="23411" y="155134"/>
                    <a:pt x="23411" y="155134"/>
                    <a:pt x="23411" y="155416"/>
                  </a:cubicBezTo>
                  <a:cubicBezTo>
                    <a:pt x="23411" y="155698"/>
                    <a:pt x="23411" y="155698"/>
                    <a:pt x="23693" y="155980"/>
                  </a:cubicBezTo>
                  <a:cubicBezTo>
                    <a:pt x="23975" y="156262"/>
                    <a:pt x="24258" y="156544"/>
                    <a:pt x="24258" y="156826"/>
                  </a:cubicBezTo>
                  <a:lnTo>
                    <a:pt x="24258" y="157108"/>
                  </a:lnTo>
                  <a:cubicBezTo>
                    <a:pt x="23975" y="158519"/>
                    <a:pt x="23975" y="159647"/>
                    <a:pt x="23129" y="160775"/>
                  </a:cubicBezTo>
                  <a:lnTo>
                    <a:pt x="23129" y="161621"/>
                  </a:lnTo>
                  <a:cubicBezTo>
                    <a:pt x="23129" y="161903"/>
                    <a:pt x="23129" y="161903"/>
                    <a:pt x="22847" y="161903"/>
                  </a:cubicBezTo>
                  <a:cubicBezTo>
                    <a:pt x="22565" y="162185"/>
                    <a:pt x="22565" y="162467"/>
                    <a:pt x="22565" y="163031"/>
                  </a:cubicBezTo>
                  <a:cubicBezTo>
                    <a:pt x="22565" y="163314"/>
                    <a:pt x="22283" y="163596"/>
                    <a:pt x="22283" y="163878"/>
                  </a:cubicBezTo>
                  <a:cubicBezTo>
                    <a:pt x="22283" y="164724"/>
                    <a:pt x="22283" y="165288"/>
                    <a:pt x="22001" y="165852"/>
                  </a:cubicBezTo>
                  <a:lnTo>
                    <a:pt x="22001" y="167262"/>
                  </a:lnTo>
                  <a:cubicBezTo>
                    <a:pt x="22283" y="167262"/>
                    <a:pt x="22283" y="167544"/>
                    <a:pt x="22283" y="167827"/>
                  </a:cubicBezTo>
                  <a:cubicBezTo>
                    <a:pt x="22283" y="168109"/>
                    <a:pt x="22283" y="168391"/>
                    <a:pt x="22001" y="168673"/>
                  </a:cubicBezTo>
                  <a:cubicBezTo>
                    <a:pt x="21437" y="169519"/>
                    <a:pt x="20872" y="170647"/>
                    <a:pt x="20872" y="171775"/>
                  </a:cubicBezTo>
                  <a:lnTo>
                    <a:pt x="20872" y="172904"/>
                  </a:lnTo>
                  <a:lnTo>
                    <a:pt x="20308" y="174032"/>
                  </a:lnTo>
                  <a:cubicBezTo>
                    <a:pt x="20027" y="174314"/>
                    <a:pt x="20027" y="174596"/>
                    <a:pt x="20027" y="174878"/>
                  </a:cubicBezTo>
                  <a:lnTo>
                    <a:pt x="20027" y="176006"/>
                  </a:lnTo>
                  <a:cubicBezTo>
                    <a:pt x="19744" y="176288"/>
                    <a:pt x="19744" y="176288"/>
                    <a:pt x="19744" y="176570"/>
                  </a:cubicBezTo>
                  <a:cubicBezTo>
                    <a:pt x="19744" y="176852"/>
                    <a:pt x="19744" y="177135"/>
                    <a:pt x="20027" y="177135"/>
                  </a:cubicBezTo>
                  <a:lnTo>
                    <a:pt x="20308" y="177417"/>
                  </a:lnTo>
                  <a:lnTo>
                    <a:pt x="20308" y="178827"/>
                  </a:lnTo>
                  <a:cubicBezTo>
                    <a:pt x="20308" y="179391"/>
                    <a:pt x="20308" y="179955"/>
                    <a:pt x="19744" y="180237"/>
                  </a:cubicBezTo>
                  <a:cubicBezTo>
                    <a:pt x="19744" y="180237"/>
                    <a:pt x="19462" y="180519"/>
                    <a:pt x="19744" y="180519"/>
                  </a:cubicBezTo>
                  <a:cubicBezTo>
                    <a:pt x="19744" y="181083"/>
                    <a:pt x="20027" y="181365"/>
                    <a:pt x="20027" y="181648"/>
                  </a:cubicBezTo>
                  <a:cubicBezTo>
                    <a:pt x="20027" y="181930"/>
                    <a:pt x="19744" y="182494"/>
                    <a:pt x="19744" y="182776"/>
                  </a:cubicBezTo>
                  <a:lnTo>
                    <a:pt x="19462" y="183058"/>
                  </a:lnTo>
                  <a:cubicBezTo>
                    <a:pt x="19744" y="183340"/>
                    <a:pt x="19744" y="183622"/>
                    <a:pt x="19744" y="183904"/>
                  </a:cubicBezTo>
                  <a:cubicBezTo>
                    <a:pt x="19744" y="184186"/>
                    <a:pt x="19462" y="184750"/>
                    <a:pt x="19180" y="185032"/>
                  </a:cubicBezTo>
                  <a:cubicBezTo>
                    <a:pt x="18898" y="185032"/>
                    <a:pt x="18898" y="185314"/>
                    <a:pt x="18898" y="185596"/>
                  </a:cubicBezTo>
                  <a:lnTo>
                    <a:pt x="18898" y="185878"/>
                  </a:lnTo>
                  <a:cubicBezTo>
                    <a:pt x="19180" y="185878"/>
                    <a:pt x="19462" y="185878"/>
                    <a:pt x="19462" y="186161"/>
                  </a:cubicBezTo>
                  <a:cubicBezTo>
                    <a:pt x="19462" y="186443"/>
                    <a:pt x="19180" y="186725"/>
                    <a:pt x="19180" y="187007"/>
                  </a:cubicBezTo>
                  <a:lnTo>
                    <a:pt x="19180" y="190109"/>
                  </a:lnTo>
                  <a:cubicBezTo>
                    <a:pt x="19180" y="190956"/>
                    <a:pt x="19462" y="191802"/>
                    <a:pt x="19462" y="192930"/>
                  </a:cubicBezTo>
                  <a:cubicBezTo>
                    <a:pt x="19462" y="193494"/>
                    <a:pt x="19462" y="194058"/>
                    <a:pt x="19180" y="194622"/>
                  </a:cubicBezTo>
                  <a:lnTo>
                    <a:pt x="19180" y="197725"/>
                  </a:lnTo>
                  <a:lnTo>
                    <a:pt x="18616" y="199982"/>
                  </a:lnTo>
                  <a:lnTo>
                    <a:pt x="18334" y="200264"/>
                  </a:lnTo>
                  <a:cubicBezTo>
                    <a:pt x="18334" y="200264"/>
                    <a:pt x="18334" y="200546"/>
                    <a:pt x="18616" y="200546"/>
                  </a:cubicBezTo>
                  <a:cubicBezTo>
                    <a:pt x="18616" y="200828"/>
                    <a:pt x="18898" y="201110"/>
                    <a:pt x="18898" y="201392"/>
                  </a:cubicBezTo>
                  <a:cubicBezTo>
                    <a:pt x="18898" y="201674"/>
                    <a:pt x="18616" y="201674"/>
                    <a:pt x="18616" y="201956"/>
                  </a:cubicBezTo>
                  <a:cubicBezTo>
                    <a:pt x="18616" y="201956"/>
                    <a:pt x="18334" y="202238"/>
                    <a:pt x="18334" y="202520"/>
                  </a:cubicBezTo>
                  <a:cubicBezTo>
                    <a:pt x="18616" y="202802"/>
                    <a:pt x="18898" y="202802"/>
                    <a:pt x="18898" y="203084"/>
                  </a:cubicBezTo>
                  <a:lnTo>
                    <a:pt x="18616" y="203366"/>
                  </a:lnTo>
                  <a:cubicBezTo>
                    <a:pt x="18334" y="203648"/>
                    <a:pt x="18334" y="203648"/>
                    <a:pt x="18334" y="203930"/>
                  </a:cubicBezTo>
                  <a:cubicBezTo>
                    <a:pt x="18052" y="204212"/>
                    <a:pt x="18052" y="204212"/>
                    <a:pt x="18052" y="204494"/>
                  </a:cubicBezTo>
                  <a:cubicBezTo>
                    <a:pt x="18052" y="204777"/>
                    <a:pt x="18052" y="204777"/>
                    <a:pt x="18334" y="205059"/>
                  </a:cubicBezTo>
                  <a:lnTo>
                    <a:pt x="18334" y="207315"/>
                  </a:lnTo>
                  <a:cubicBezTo>
                    <a:pt x="18334" y="208161"/>
                    <a:pt x="17770" y="209007"/>
                    <a:pt x="17770" y="209854"/>
                  </a:cubicBezTo>
                  <a:lnTo>
                    <a:pt x="17770" y="210700"/>
                  </a:lnTo>
                  <a:cubicBezTo>
                    <a:pt x="18052" y="210982"/>
                    <a:pt x="18334" y="211546"/>
                    <a:pt x="18334" y="211828"/>
                  </a:cubicBezTo>
                  <a:cubicBezTo>
                    <a:pt x="18334" y="212110"/>
                    <a:pt x="18052" y="212392"/>
                    <a:pt x="18052" y="212674"/>
                  </a:cubicBezTo>
                  <a:cubicBezTo>
                    <a:pt x="17770" y="212956"/>
                    <a:pt x="17770" y="213238"/>
                    <a:pt x="17770" y="213520"/>
                  </a:cubicBezTo>
                  <a:cubicBezTo>
                    <a:pt x="17770" y="213803"/>
                    <a:pt x="17770" y="214367"/>
                    <a:pt x="18052" y="214931"/>
                  </a:cubicBezTo>
                  <a:cubicBezTo>
                    <a:pt x="18052" y="215777"/>
                    <a:pt x="18052" y="216623"/>
                    <a:pt x="17770" y="217469"/>
                  </a:cubicBezTo>
                  <a:cubicBezTo>
                    <a:pt x="17770" y="217751"/>
                    <a:pt x="17488" y="218316"/>
                    <a:pt x="17488" y="218880"/>
                  </a:cubicBezTo>
                  <a:cubicBezTo>
                    <a:pt x="17488" y="219162"/>
                    <a:pt x="17488" y="219162"/>
                    <a:pt x="17770" y="219444"/>
                  </a:cubicBezTo>
                  <a:cubicBezTo>
                    <a:pt x="18052" y="219726"/>
                    <a:pt x="18052" y="220008"/>
                    <a:pt x="18052" y="220572"/>
                  </a:cubicBezTo>
                  <a:cubicBezTo>
                    <a:pt x="17770" y="221700"/>
                    <a:pt x="17770" y="223111"/>
                    <a:pt x="17770" y="224239"/>
                  </a:cubicBezTo>
                  <a:cubicBezTo>
                    <a:pt x="17488" y="224803"/>
                    <a:pt x="17488" y="225085"/>
                    <a:pt x="17488" y="225367"/>
                  </a:cubicBezTo>
                  <a:cubicBezTo>
                    <a:pt x="17488" y="225649"/>
                    <a:pt x="17488" y="226213"/>
                    <a:pt x="17770" y="226495"/>
                  </a:cubicBezTo>
                  <a:cubicBezTo>
                    <a:pt x="17770" y="226777"/>
                    <a:pt x="18052" y="227059"/>
                    <a:pt x="18052" y="227341"/>
                  </a:cubicBezTo>
                  <a:cubicBezTo>
                    <a:pt x="18052" y="227906"/>
                    <a:pt x="17770" y="228188"/>
                    <a:pt x="17488" y="228752"/>
                  </a:cubicBezTo>
                  <a:cubicBezTo>
                    <a:pt x="17206" y="229034"/>
                    <a:pt x="17206" y="229316"/>
                    <a:pt x="17206" y="229598"/>
                  </a:cubicBezTo>
                  <a:lnTo>
                    <a:pt x="17770" y="232137"/>
                  </a:lnTo>
                  <a:cubicBezTo>
                    <a:pt x="17770" y="232701"/>
                    <a:pt x="18052" y="233265"/>
                    <a:pt x="18052" y="233829"/>
                  </a:cubicBezTo>
                  <a:cubicBezTo>
                    <a:pt x="18052" y="234393"/>
                    <a:pt x="17770" y="234957"/>
                    <a:pt x="17770" y="235521"/>
                  </a:cubicBezTo>
                  <a:lnTo>
                    <a:pt x="17770" y="238060"/>
                  </a:lnTo>
                  <a:cubicBezTo>
                    <a:pt x="18052" y="238342"/>
                    <a:pt x="18052" y="238906"/>
                    <a:pt x="18052" y="239188"/>
                  </a:cubicBezTo>
                  <a:cubicBezTo>
                    <a:pt x="17770" y="239752"/>
                    <a:pt x="17770" y="240034"/>
                    <a:pt x="17770" y="240598"/>
                  </a:cubicBezTo>
                  <a:cubicBezTo>
                    <a:pt x="17770" y="240880"/>
                    <a:pt x="17770" y="241162"/>
                    <a:pt x="18052" y="241445"/>
                  </a:cubicBezTo>
                  <a:cubicBezTo>
                    <a:pt x="18334" y="241445"/>
                    <a:pt x="18334" y="241727"/>
                    <a:pt x="18334" y="242009"/>
                  </a:cubicBezTo>
                  <a:cubicBezTo>
                    <a:pt x="18334" y="243419"/>
                    <a:pt x="18334" y="244547"/>
                    <a:pt x="18616" y="245958"/>
                  </a:cubicBezTo>
                  <a:lnTo>
                    <a:pt x="18616" y="246804"/>
                  </a:lnTo>
                  <a:cubicBezTo>
                    <a:pt x="18334" y="247086"/>
                    <a:pt x="18052" y="247368"/>
                    <a:pt x="18052" y="247932"/>
                  </a:cubicBezTo>
                  <a:cubicBezTo>
                    <a:pt x="18052" y="248214"/>
                    <a:pt x="18334" y="248778"/>
                    <a:pt x="18334" y="249060"/>
                  </a:cubicBezTo>
                  <a:lnTo>
                    <a:pt x="18334" y="249624"/>
                  </a:lnTo>
                  <a:cubicBezTo>
                    <a:pt x="18334" y="249906"/>
                    <a:pt x="18334" y="250471"/>
                    <a:pt x="18052" y="250753"/>
                  </a:cubicBezTo>
                  <a:cubicBezTo>
                    <a:pt x="18052" y="252163"/>
                    <a:pt x="18334" y="253291"/>
                    <a:pt x="18616" y="254701"/>
                  </a:cubicBezTo>
                  <a:cubicBezTo>
                    <a:pt x="18616" y="254983"/>
                    <a:pt x="18898" y="255266"/>
                    <a:pt x="18898" y="255548"/>
                  </a:cubicBezTo>
                  <a:cubicBezTo>
                    <a:pt x="18898" y="255830"/>
                    <a:pt x="18616" y="255830"/>
                    <a:pt x="18616" y="256112"/>
                  </a:cubicBezTo>
                  <a:cubicBezTo>
                    <a:pt x="18334" y="256394"/>
                    <a:pt x="18334" y="256676"/>
                    <a:pt x="18334" y="256958"/>
                  </a:cubicBezTo>
                  <a:lnTo>
                    <a:pt x="18334" y="257522"/>
                  </a:lnTo>
                  <a:cubicBezTo>
                    <a:pt x="18334" y="257804"/>
                    <a:pt x="18052" y="258086"/>
                    <a:pt x="18052" y="258086"/>
                  </a:cubicBezTo>
                  <a:cubicBezTo>
                    <a:pt x="18052" y="258368"/>
                    <a:pt x="17770" y="258086"/>
                    <a:pt x="17488" y="258086"/>
                  </a:cubicBezTo>
                  <a:cubicBezTo>
                    <a:pt x="17206" y="258086"/>
                    <a:pt x="17206" y="257804"/>
                    <a:pt x="17206" y="257804"/>
                  </a:cubicBezTo>
                  <a:lnTo>
                    <a:pt x="16924" y="258086"/>
                  </a:lnTo>
                  <a:cubicBezTo>
                    <a:pt x="16641" y="258932"/>
                    <a:pt x="16077" y="259779"/>
                    <a:pt x="15231" y="260061"/>
                  </a:cubicBezTo>
                  <a:cubicBezTo>
                    <a:pt x="15231" y="260061"/>
                    <a:pt x="14667" y="260343"/>
                    <a:pt x="14667" y="260625"/>
                  </a:cubicBezTo>
                  <a:cubicBezTo>
                    <a:pt x="14385" y="260907"/>
                    <a:pt x="14103" y="261189"/>
                    <a:pt x="13821" y="261189"/>
                  </a:cubicBezTo>
                  <a:cubicBezTo>
                    <a:pt x="13539" y="261189"/>
                    <a:pt x="13539" y="260907"/>
                    <a:pt x="13257" y="260907"/>
                  </a:cubicBezTo>
                  <a:cubicBezTo>
                    <a:pt x="12975" y="260625"/>
                    <a:pt x="12129" y="260907"/>
                    <a:pt x="11565" y="260343"/>
                  </a:cubicBezTo>
                  <a:cubicBezTo>
                    <a:pt x="11846" y="260061"/>
                    <a:pt x="11282" y="260343"/>
                    <a:pt x="11282" y="260625"/>
                  </a:cubicBezTo>
                  <a:cubicBezTo>
                    <a:pt x="11282" y="260907"/>
                    <a:pt x="11282" y="261471"/>
                    <a:pt x="11000" y="261753"/>
                  </a:cubicBezTo>
                  <a:cubicBezTo>
                    <a:pt x="11000" y="262035"/>
                    <a:pt x="11000" y="262035"/>
                    <a:pt x="10718" y="262317"/>
                  </a:cubicBezTo>
                  <a:lnTo>
                    <a:pt x="10154" y="262317"/>
                  </a:lnTo>
                  <a:cubicBezTo>
                    <a:pt x="9590" y="261753"/>
                    <a:pt x="9026" y="261471"/>
                    <a:pt x="8744" y="260625"/>
                  </a:cubicBezTo>
                  <a:lnTo>
                    <a:pt x="8744" y="260343"/>
                  </a:lnTo>
                  <a:cubicBezTo>
                    <a:pt x="8744" y="259779"/>
                    <a:pt x="8462" y="259779"/>
                    <a:pt x="7898" y="259214"/>
                  </a:cubicBezTo>
                  <a:lnTo>
                    <a:pt x="7616" y="259214"/>
                  </a:lnTo>
                  <a:lnTo>
                    <a:pt x="7616" y="260343"/>
                  </a:lnTo>
                  <a:cubicBezTo>
                    <a:pt x="7616" y="260625"/>
                    <a:pt x="7616" y="260907"/>
                    <a:pt x="7898" y="261189"/>
                  </a:cubicBezTo>
                  <a:cubicBezTo>
                    <a:pt x="7898" y="261471"/>
                    <a:pt x="8180" y="261471"/>
                    <a:pt x="8180" y="261753"/>
                  </a:cubicBezTo>
                  <a:cubicBezTo>
                    <a:pt x="8180" y="262035"/>
                    <a:pt x="7898" y="262035"/>
                    <a:pt x="7616" y="262317"/>
                  </a:cubicBezTo>
                  <a:cubicBezTo>
                    <a:pt x="7616" y="262599"/>
                    <a:pt x="7334" y="262881"/>
                    <a:pt x="7334" y="262881"/>
                  </a:cubicBezTo>
                  <a:lnTo>
                    <a:pt x="7052" y="263163"/>
                  </a:lnTo>
                  <a:cubicBezTo>
                    <a:pt x="7052" y="263163"/>
                    <a:pt x="6769" y="263163"/>
                    <a:pt x="6769" y="262881"/>
                  </a:cubicBezTo>
                  <a:cubicBezTo>
                    <a:pt x="6488" y="262599"/>
                    <a:pt x="6205" y="262035"/>
                    <a:pt x="6205" y="261471"/>
                  </a:cubicBezTo>
                  <a:lnTo>
                    <a:pt x="5641" y="261471"/>
                  </a:lnTo>
                  <a:cubicBezTo>
                    <a:pt x="5641" y="261753"/>
                    <a:pt x="5359" y="262317"/>
                    <a:pt x="5359" y="262599"/>
                  </a:cubicBezTo>
                  <a:cubicBezTo>
                    <a:pt x="5359" y="262881"/>
                    <a:pt x="5359" y="263163"/>
                    <a:pt x="5641" y="263163"/>
                  </a:cubicBezTo>
                  <a:lnTo>
                    <a:pt x="5641" y="264292"/>
                  </a:lnTo>
                  <a:cubicBezTo>
                    <a:pt x="5641" y="264574"/>
                    <a:pt x="5641" y="264856"/>
                    <a:pt x="5924" y="265138"/>
                  </a:cubicBezTo>
                  <a:cubicBezTo>
                    <a:pt x="5924" y="265138"/>
                    <a:pt x="5641" y="265420"/>
                    <a:pt x="5641" y="265138"/>
                  </a:cubicBezTo>
                  <a:cubicBezTo>
                    <a:pt x="5359" y="265138"/>
                    <a:pt x="5077" y="264856"/>
                    <a:pt x="4795" y="264856"/>
                  </a:cubicBezTo>
                  <a:cubicBezTo>
                    <a:pt x="4513" y="264574"/>
                    <a:pt x="4231" y="264292"/>
                    <a:pt x="4231" y="264009"/>
                  </a:cubicBezTo>
                  <a:cubicBezTo>
                    <a:pt x="4231" y="263445"/>
                    <a:pt x="4231" y="262881"/>
                    <a:pt x="3949" y="262317"/>
                  </a:cubicBezTo>
                  <a:cubicBezTo>
                    <a:pt x="3667" y="262035"/>
                    <a:pt x="3667" y="261471"/>
                    <a:pt x="3667" y="260907"/>
                  </a:cubicBezTo>
                  <a:lnTo>
                    <a:pt x="3667" y="260061"/>
                  </a:lnTo>
                  <a:cubicBezTo>
                    <a:pt x="3667" y="259496"/>
                    <a:pt x="3385" y="258932"/>
                    <a:pt x="2821" y="258650"/>
                  </a:cubicBezTo>
                  <a:cubicBezTo>
                    <a:pt x="2538" y="258368"/>
                    <a:pt x="2257" y="258086"/>
                    <a:pt x="2257" y="257522"/>
                  </a:cubicBezTo>
                  <a:cubicBezTo>
                    <a:pt x="2257" y="257240"/>
                    <a:pt x="2538" y="256676"/>
                    <a:pt x="2538" y="256394"/>
                  </a:cubicBezTo>
                  <a:cubicBezTo>
                    <a:pt x="2538" y="256112"/>
                    <a:pt x="2538" y="255830"/>
                    <a:pt x="2257" y="255266"/>
                  </a:cubicBezTo>
                  <a:cubicBezTo>
                    <a:pt x="1974" y="254983"/>
                    <a:pt x="1693" y="254701"/>
                    <a:pt x="1693" y="254419"/>
                  </a:cubicBezTo>
                  <a:cubicBezTo>
                    <a:pt x="1693" y="254137"/>
                    <a:pt x="1693" y="253855"/>
                    <a:pt x="1974" y="253573"/>
                  </a:cubicBezTo>
                  <a:cubicBezTo>
                    <a:pt x="1974" y="253291"/>
                    <a:pt x="1974" y="253009"/>
                    <a:pt x="1693" y="252727"/>
                  </a:cubicBezTo>
                  <a:cubicBezTo>
                    <a:pt x="1410" y="252445"/>
                    <a:pt x="1128" y="251881"/>
                    <a:pt x="1128" y="251599"/>
                  </a:cubicBezTo>
                  <a:cubicBezTo>
                    <a:pt x="1128" y="251317"/>
                    <a:pt x="1410" y="251035"/>
                    <a:pt x="1410" y="250753"/>
                  </a:cubicBezTo>
                  <a:cubicBezTo>
                    <a:pt x="1693" y="249906"/>
                    <a:pt x="1974" y="249342"/>
                    <a:pt x="1974" y="248496"/>
                  </a:cubicBezTo>
                  <a:lnTo>
                    <a:pt x="1974" y="247650"/>
                  </a:lnTo>
                  <a:cubicBezTo>
                    <a:pt x="2257" y="247368"/>
                    <a:pt x="2257" y="247368"/>
                    <a:pt x="2257" y="247086"/>
                  </a:cubicBezTo>
                  <a:cubicBezTo>
                    <a:pt x="2257" y="246804"/>
                    <a:pt x="1974" y="246522"/>
                    <a:pt x="1974" y="246240"/>
                  </a:cubicBezTo>
                  <a:cubicBezTo>
                    <a:pt x="1693" y="245958"/>
                    <a:pt x="1410" y="245393"/>
                    <a:pt x="1410" y="244829"/>
                  </a:cubicBezTo>
                  <a:cubicBezTo>
                    <a:pt x="1410" y="244547"/>
                    <a:pt x="1410" y="244265"/>
                    <a:pt x="1693" y="243983"/>
                  </a:cubicBezTo>
                  <a:cubicBezTo>
                    <a:pt x="1974" y="243983"/>
                    <a:pt x="1693" y="243701"/>
                    <a:pt x="1410" y="243701"/>
                  </a:cubicBezTo>
                  <a:cubicBezTo>
                    <a:pt x="1128" y="243701"/>
                    <a:pt x="846" y="243701"/>
                    <a:pt x="846" y="243137"/>
                  </a:cubicBezTo>
                  <a:cubicBezTo>
                    <a:pt x="846" y="242009"/>
                    <a:pt x="564" y="240880"/>
                    <a:pt x="564" y="239752"/>
                  </a:cubicBezTo>
                  <a:cubicBezTo>
                    <a:pt x="282" y="239470"/>
                    <a:pt x="282" y="238906"/>
                    <a:pt x="0" y="238342"/>
                  </a:cubicBezTo>
                  <a:cubicBezTo>
                    <a:pt x="0" y="238060"/>
                    <a:pt x="0" y="237778"/>
                    <a:pt x="282" y="237214"/>
                  </a:cubicBezTo>
                  <a:lnTo>
                    <a:pt x="282" y="229034"/>
                  </a:lnTo>
                  <a:cubicBezTo>
                    <a:pt x="282" y="228470"/>
                    <a:pt x="564" y="227624"/>
                    <a:pt x="564" y="227059"/>
                  </a:cubicBezTo>
                  <a:cubicBezTo>
                    <a:pt x="564" y="226777"/>
                    <a:pt x="564" y="226495"/>
                    <a:pt x="282" y="226213"/>
                  </a:cubicBezTo>
                  <a:lnTo>
                    <a:pt x="282" y="225085"/>
                  </a:lnTo>
                  <a:cubicBezTo>
                    <a:pt x="282" y="224803"/>
                    <a:pt x="282" y="224521"/>
                    <a:pt x="564" y="223957"/>
                  </a:cubicBezTo>
                  <a:lnTo>
                    <a:pt x="564" y="221700"/>
                  </a:lnTo>
                  <a:lnTo>
                    <a:pt x="1128" y="220290"/>
                  </a:lnTo>
                  <a:cubicBezTo>
                    <a:pt x="1410" y="220290"/>
                    <a:pt x="1410" y="220008"/>
                    <a:pt x="1410" y="219726"/>
                  </a:cubicBezTo>
                  <a:lnTo>
                    <a:pt x="1410" y="219444"/>
                  </a:lnTo>
                  <a:cubicBezTo>
                    <a:pt x="1128" y="219162"/>
                    <a:pt x="1128" y="218880"/>
                    <a:pt x="1128" y="218598"/>
                  </a:cubicBezTo>
                  <a:cubicBezTo>
                    <a:pt x="1128" y="218033"/>
                    <a:pt x="1410" y="217469"/>
                    <a:pt x="1693" y="216905"/>
                  </a:cubicBezTo>
                  <a:cubicBezTo>
                    <a:pt x="1693" y="216623"/>
                    <a:pt x="1974" y="216341"/>
                    <a:pt x="1974" y="216059"/>
                  </a:cubicBezTo>
                  <a:cubicBezTo>
                    <a:pt x="1974" y="215777"/>
                    <a:pt x="1693" y="215777"/>
                    <a:pt x="1693" y="215495"/>
                  </a:cubicBezTo>
                  <a:cubicBezTo>
                    <a:pt x="1410" y="215495"/>
                    <a:pt x="1410" y="215213"/>
                    <a:pt x="1410" y="215213"/>
                  </a:cubicBezTo>
                  <a:cubicBezTo>
                    <a:pt x="1693" y="214931"/>
                    <a:pt x="1693" y="214649"/>
                    <a:pt x="1693" y="214367"/>
                  </a:cubicBezTo>
                  <a:cubicBezTo>
                    <a:pt x="1693" y="213803"/>
                    <a:pt x="1410" y="212956"/>
                    <a:pt x="1128" y="212392"/>
                  </a:cubicBezTo>
                  <a:cubicBezTo>
                    <a:pt x="1128" y="212110"/>
                    <a:pt x="1128" y="211828"/>
                    <a:pt x="846" y="211546"/>
                  </a:cubicBezTo>
                  <a:lnTo>
                    <a:pt x="846" y="207033"/>
                  </a:lnTo>
                  <a:cubicBezTo>
                    <a:pt x="846" y="206469"/>
                    <a:pt x="1128" y="205905"/>
                    <a:pt x="1128" y="205623"/>
                  </a:cubicBezTo>
                  <a:lnTo>
                    <a:pt x="1128" y="201110"/>
                  </a:lnTo>
                  <a:lnTo>
                    <a:pt x="1693" y="198853"/>
                  </a:lnTo>
                  <a:lnTo>
                    <a:pt x="1693" y="197443"/>
                  </a:lnTo>
                  <a:cubicBezTo>
                    <a:pt x="1693" y="196315"/>
                    <a:pt x="1693" y="195469"/>
                    <a:pt x="1974" y="194340"/>
                  </a:cubicBezTo>
                  <a:cubicBezTo>
                    <a:pt x="1974" y="194058"/>
                    <a:pt x="1974" y="193776"/>
                    <a:pt x="2257" y="193494"/>
                  </a:cubicBezTo>
                  <a:cubicBezTo>
                    <a:pt x="2538" y="193212"/>
                    <a:pt x="2538" y="193212"/>
                    <a:pt x="2538" y="192930"/>
                  </a:cubicBezTo>
                  <a:lnTo>
                    <a:pt x="2538" y="192366"/>
                  </a:lnTo>
                  <a:cubicBezTo>
                    <a:pt x="2257" y="192084"/>
                    <a:pt x="2257" y="191802"/>
                    <a:pt x="2257" y="191520"/>
                  </a:cubicBezTo>
                  <a:lnTo>
                    <a:pt x="2257" y="186725"/>
                  </a:lnTo>
                  <a:cubicBezTo>
                    <a:pt x="2257" y="186443"/>
                    <a:pt x="2257" y="185878"/>
                    <a:pt x="2538" y="185314"/>
                  </a:cubicBezTo>
                  <a:cubicBezTo>
                    <a:pt x="2538" y="184186"/>
                    <a:pt x="2821" y="183340"/>
                    <a:pt x="3103" y="182212"/>
                  </a:cubicBezTo>
                  <a:cubicBezTo>
                    <a:pt x="3103" y="181930"/>
                    <a:pt x="3385" y="181930"/>
                    <a:pt x="3385" y="181648"/>
                  </a:cubicBezTo>
                  <a:cubicBezTo>
                    <a:pt x="3385" y="181365"/>
                    <a:pt x="3103" y="181083"/>
                    <a:pt x="3103" y="180801"/>
                  </a:cubicBezTo>
                  <a:cubicBezTo>
                    <a:pt x="2821" y="180519"/>
                    <a:pt x="2821" y="180237"/>
                    <a:pt x="2821" y="179955"/>
                  </a:cubicBezTo>
                  <a:cubicBezTo>
                    <a:pt x="3667" y="179109"/>
                    <a:pt x="3667" y="177981"/>
                    <a:pt x="3667" y="177135"/>
                  </a:cubicBezTo>
                  <a:cubicBezTo>
                    <a:pt x="3667" y="176570"/>
                    <a:pt x="3949" y="176006"/>
                    <a:pt x="4513" y="175724"/>
                  </a:cubicBezTo>
                  <a:cubicBezTo>
                    <a:pt x="4513" y="175442"/>
                    <a:pt x="4795" y="175442"/>
                    <a:pt x="4795" y="175160"/>
                  </a:cubicBezTo>
                  <a:cubicBezTo>
                    <a:pt x="4795" y="174878"/>
                    <a:pt x="4513" y="174596"/>
                    <a:pt x="4513" y="174314"/>
                  </a:cubicBezTo>
                  <a:cubicBezTo>
                    <a:pt x="4231" y="174032"/>
                    <a:pt x="3949" y="174032"/>
                    <a:pt x="3949" y="173750"/>
                  </a:cubicBezTo>
                  <a:cubicBezTo>
                    <a:pt x="3949" y="173468"/>
                    <a:pt x="4231" y="173186"/>
                    <a:pt x="4231" y="173186"/>
                  </a:cubicBezTo>
                  <a:cubicBezTo>
                    <a:pt x="4795" y="172339"/>
                    <a:pt x="4795" y="171775"/>
                    <a:pt x="4795" y="170929"/>
                  </a:cubicBezTo>
                  <a:lnTo>
                    <a:pt x="4795" y="170365"/>
                  </a:lnTo>
                  <a:cubicBezTo>
                    <a:pt x="4795" y="170083"/>
                    <a:pt x="4795" y="169801"/>
                    <a:pt x="5077" y="169519"/>
                  </a:cubicBezTo>
                  <a:lnTo>
                    <a:pt x="5077" y="168955"/>
                  </a:lnTo>
                  <a:cubicBezTo>
                    <a:pt x="5077" y="168391"/>
                    <a:pt x="5359" y="167544"/>
                    <a:pt x="5359" y="166980"/>
                  </a:cubicBezTo>
                  <a:cubicBezTo>
                    <a:pt x="5359" y="165570"/>
                    <a:pt x="5641" y="164442"/>
                    <a:pt x="6205" y="163031"/>
                  </a:cubicBezTo>
                  <a:cubicBezTo>
                    <a:pt x="6205" y="162749"/>
                    <a:pt x="6488" y="162749"/>
                    <a:pt x="6488" y="162467"/>
                  </a:cubicBezTo>
                  <a:cubicBezTo>
                    <a:pt x="6769" y="162185"/>
                    <a:pt x="6769" y="162185"/>
                    <a:pt x="6769" y="161903"/>
                  </a:cubicBezTo>
                  <a:cubicBezTo>
                    <a:pt x="6769" y="161903"/>
                    <a:pt x="6769" y="161621"/>
                    <a:pt x="6488" y="161057"/>
                  </a:cubicBezTo>
                  <a:cubicBezTo>
                    <a:pt x="6205" y="160493"/>
                    <a:pt x="6205" y="159929"/>
                    <a:pt x="6205" y="159365"/>
                  </a:cubicBezTo>
                  <a:cubicBezTo>
                    <a:pt x="6488" y="158519"/>
                    <a:pt x="6488" y="157954"/>
                    <a:pt x="7334" y="157672"/>
                  </a:cubicBezTo>
                  <a:cubicBezTo>
                    <a:pt x="7334" y="157672"/>
                    <a:pt x="7616" y="157390"/>
                    <a:pt x="7616" y="157108"/>
                  </a:cubicBezTo>
                  <a:lnTo>
                    <a:pt x="7616" y="156826"/>
                  </a:lnTo>
                  <a:cubicBezTo>
                    <a:pt x="7616" y="156544"/>
                    <a:pt x="7616" y="156544"/>
                    <a:pt x="7334" y="156262"/>
                  </a:cubicBezTo>
                  <a:cubicBezTo>
                    <a:pt x="7334" y="155980"/>
                    <a:pt x="7052" y="155698"/>
                    <a:pt x="7052" y="155698"/>
                  </a:cubicBezTo>
                  <a:cubicBezTo>
                    <a:pt x="7052" y="155416"/>
                    <a:pt x="7334" y="155416"/>
                    <a:pt x="7616" y="155134"/>
                  </a:cubicBezTo>
                  <a:lnTo>
                    <a:pt x="7898" y="154852"/>
                  </a:lnTo>
                  <a:cubicBezTo>
                    <a:pt x="8180" y="154852"/>
                    <a:pt x="7898" y="154570"/>
                    <a:pt x="7616" y="154570"/>
                  </a:cubicBezTo>
                  <a:cubicBezTo>
                    <a:pt x="7334" y="154570"/>
                    <a:pt x="7052" y="154288"/>
                    <a:pt x="7052" y="154288"/>
                  </a:cubicBezTo>
                  <a:lnTo>
                    <a:pt x="7616" y="153723"/>
                  </a:lnTo>
                  <a:cubicBezTo>
                    <a:pt x="7616" y="153723"/>
                    <a:pt x="7616" y="153441"/>
                    <a:pt x="7898" y="153159"/>
                  </a:cubicBezTo>
                  <a:cubicBezTo>
                    <a:pt x="7898" y="153159"/>
                    <a:pt x="8180" y="152877"/>
                    <a:pt x="8180" y="152595"/>
                  </a:cubicBezTo>
                  <a:cubicBezTo>
                    <a:pt x="8180" y="152313"/>
                    <a:pt x="7898" y="152313"/>
                    <a:pt x="7898" y="152031"/>
                  </a:cubicBezTo>
                  <a:cubicBezTo>
                    <a:pt x="7616" y="152031"/>
                    <a:pt x="7616" y="151749"/>
                    <a:pt x="7616" y="151749"/>
                  </a:cubicBezTo>
                  <a:cubicBezTo>
                    <a:pt x="7334" y="151467"/>
                    <a:pt x="7334" y="151467"/>
                    <a:pt x="7334" y="151185"/>
                  </a:cubicBezTo>
                  <a:cubicBezTo>
                    <a:pt x="7334" y="150903"/>
                    <a:pt x="7334" y="150903"/>
                    <a:pt x="7616" y="150621"/>
                  </a:cubicBezTo>
                  <a:lnTo>
                    <a:pt x="8744" y="149493"/>
                  </a:lnTo>
                  <a:cubicBezTo>
                    <a:pt x="8744" y="149210"/>
                    <a:pt x="9026" y="149210"/>
                    <a:pt x="9026" y="148928"/>
                  </a:cubicBezTo>
                  <a:cubicBezTo>
                    <a:pt x="9026" y="148646"/>
                    <a:pt x="8744" y="148364"/>
                    <a:pt x="8744" y="148082"/>
                  </a:cubicBezTo>
                  <a:cubicBezTo>
                    <a:pt x="8462" y="148082"/>
                    <a:pt x="8462" y="147800"/>
                    <a:pt x="8462" y="147518"/>
                  </a:cubicBezTo>
                  <a:cubicBezTo>
                    <a:pt x="8744" y="147236"/>
                    <a:pt x="8744" y="146954"/>
                    <a:pt x="8744" y="146672"/>
                  </a:cubicBezTo>
                  <a:cubicBezTo>
                    <a:pt x="8462" y="146390"/>
                    <a:pt x="8462" y="145826"/>
                    <a:pt x="8462" y="145262"/>
                  </a:cubicBezTo>
                  <a:lnTo>
                    <a:pt x="8462" y="144697"/>
                  </a:lnTo>
                  <a:cubicBezTo>
                    <a:pt x="8744" y="144133"/>
                    <a:pt x="8744" y="143287"/>
                    <a:pt x="9590" y="142723"/>
                  </a:cubicBezTo>
                  <a:lnTo>
                    <a:pt x="9590" y="142441"/>
                  </a:lnTo>
                  <a:cubicBezTo>
                    <a:pt x="9590" y="142159"/>
                    <a:pt x="9308" y="141877"/>
                    <a:pt x="9308" y="141595"/>
                  </a:cubicBezTo>
                  <a:cubicBezTo>
                    <a:pt x="9308" y="140749"/>
                    <a:pt x="9872" y="140185"/>
                    <a:pt x="10436" y="139620"/>
                  </a:cubicBezTo>
                  <a:lnTo>
                    <a:pt x="10718" y="139338"/>
                  </a:lnTo>
                  <a:lnTo>
                    <a:pt x="10154" y="138774"/>
                  </a:lnTo>
                  <a:cubicBezTo>
                    <a:pt x="9872" y="138774"/>
                    <a:pt x="9590" y="138492"/>
                    <a:pt x="9590" y="138210"/>
                  </a:cubicBezTo>
                  <a:cubicBezTo>
                    <a:pt x="9590" y="138210"/>
                    <a:pt x="9590" y="137928"/>
                    <a:pt x="9872" y="137928"/>
                  </a:cubicBezTo>
                  <a:lnTo>
                    <a:pt x="10154" y="137646"/>
                  </a:lnTo>
                  <a:lnTo>
                    <a:pt x="10154" y="137082"/>
                  </a:lnTo>
                  <a:cubicBezTo>
                    <a:pt x="10154" y="136800"/>
                    <a:pt x="10436" y="136518"/>
                    <a:pt x="10718" y="136518"/>
                  </a:cubicBezTo>
                  <a:cubicBezTo>
                    <a:pt x="11000" y="136518"/>
                    <a:pt x="11282" y="136236"/>
                    <a:pt x="11282" y="135954"/>
                  </a:cubicBezTo>
                  <a:cubicBezTo>
                    <a:pt x="11000" y="135672"/>
                    <a:pt x="11000" y="135389"/>
                    <a:pt x="11000" y="135107"/>
                  </a:cubicBezTo>
                  <a:cubicBezTo>
                    <a:pt x="11000" y="134825"/>
                    <a:pt x="11000" y="134543"/>
                    <a:pt x="11282" y="133979"/>
                  </a:cubicBezTo>
                  <a:lnTo>
                    <a:pt x="11282" y="133697"/>
                  </a:lnTo>
                  <a:cubicBezTo>
                    <a:pt x="11282" y="133133"/>
                    <a:pt x="11282" y="132287"/>
                    <a:pt x="11565" y="131723"/>
                  </a:cubicBezTo>
                  <a:cubicBezTo>
                    <a:pt x="15796" y="115645"/>
                    <a:pt x="17206" y="100696"/>
                    <a:pt x="21719" y="84618"/>
                  </a:cubicBezTo>
                  <a:lnTo>
                    <a:pt x="21719" y="84336"/>
                  </a:lnTo>
                  <a:cubicBezTo>
                    <a:pt x="22565" y="82926"/>
                    <a:pt x="23411" y="81516"/>
                    <a:pt x="23975" y="79823"/>
                  </a:cubicBezTo>
                  <a:cubicBezTo>
                    <a:pt x="24258" y="79541"/>
                    <a:pt x="24539" y="79259"/>
                    <a:pt x="24539" y="78977"/>
                  </a:cubicBezTo>
                  <a:cubicBezTo>
                    <a:pt x="24822" y="78695"/>
                    <a:pt x="24822" y="78413"/>
                    <a:pt x="24822" y="78131"/>
                  </a:cubicBezTo>
                  <a:lnTo>
                    <a:pt x="24822" y="77567"/>
                  </a:lnTo>
                  <a:cubicBezTo>
                    <a:pt x="24822" y="77285"/>
                    <a:pt x="24822" y="76721"/>
                    <a:pt x="25103" y="76439"/>
                  </a:cubicBezTo>
                  <a:cubicBezTo>
                    <a:pt x="25668" y="75875"/>
                    <a:pt x="25950" y="75592"/>
                    <a:pt x="25950" y="75028"/>
                  </a:cubicBezTo>
                  <a:cubicBezTo>
                    <a:pt x="25950" y="74464"/>
                    <a:pt x="25950" y="73618"/>
                    <a:pt x="26796" y="73054"/>
                  </a:cubicBezTo>
                  <a:lnTo>
                    <a:pt x="26796" y="72208"/>
                  </a:lnTo>
                  <a:cubicBezTo>
                    <a:pt x="27078" y="71079"/>
                    <a:pt x="27360" y="69951"/>
                    <a:pt x="27924" y="68823"/>
                  </a:cubicBezTo>
                  <a:cubicBezTo>
                    <a:pt x="28206" y="68823"/>
                    <a:pt x="28206" y="68541"/>
                    <a:pt x="28206" y="68259"/>
                  </a:cubicBezTo>
                  <a:cubicBezTo>
                    <a:pt x="28206" y="67131"/>
                    <a:pt x="28770" y="66002"/>
                    <a:pt x="28770" y="64874"/>
                  </a:cubicBezTo>
                  <a:cubicBezTo>
                    <a:pt x="28770" y="64592"/>
                    <a:pt x="29052" y="64310"/>
                    <a:pt x="29052" y="64028"/>
                  </a:cubicBezTo>
                  <a:lnTo>
                    <a:pt x="35258" y="47104"/>
                  </a:lnTo>
                  <a:cubicBezTo>
                    <a:pt x="35540" y="45694"/>
                    <a:pt x="36104" y="44284"/>
                    <a:pt x="36950" y="42873"/>
                  </a:cubicBezTo>
                  <a:cubicBezTo>
                    <a:pt x="37232" y="41463"/>
                    <a:pt x="37796" y="40053"/>
                    <a:pt x="38361" y="38642"/>
                  </a:cubicBezTo>
                  <a:cubicBezTo>
                    <a:pt x="38642" y="37514"/>
                    <a:pt x="38925" y="36668"/>
                    <a:pt x="39489" y="35822"/>
                  </a:cubicBezTo>
                  <a:lnTo>
                    <a:pt x="40335" y="33283"/>
                  </a:lnTo>
                  <a:cubicBezTo>
                    <a:pt x="40899" y="32719"/>
                    <a:pt x="41181" y="31873"/>
                    <a:pt x="41463" y="31027"/>
                  </a:cubicBezTo>
                  <a:lnTo>
                    <a:pt x="41463" y="30463"/>
                  </a:lnTo>
                  <a:lnTo>
                    <a:pt x="43156" y="26514"/>
                  </a:lnTo>
                  <a:cubicBezTo>
                    <a:pt x="43156" y="25950"/>
                    <a:pt x="43437" y="25103"/>
                    <a:pt x="43720" y="24539"/>
                  </a:cubicBezTo>
                  <a:lnTo>
                    <a:pt x="44284" y="23411"/>
                  </a:lnTo>
                  <a:lnTo>
                    <a:pt x="44566" y="23129"/>
                  </a:lnTo>
                  <a:lnTo>
                    <a:pt x="44566" y="22565"/>
                  </a:lnTo>
                  <a:cubicBezTo>
                    <a:pt x="44566" y="21719"/>
                    <a:pt x="45130" y="21155"/>
                    <a:pt x="45412" y="20308"/>
                  </a:cubicBezTo>
                  <a:cubicBezTo>
                    <a:pt x="46258" y="18334"/>
                    <a:pt x="46540" y="16642"/>
                    <a:pt x="47386" y="14667"/>
                  </a:cubicBezTo>
                  <a:cubicBezTo>
                    <a:pt x="47668" y="13821"/>
                    <a:pt x="47950" y="12693"/>
                    <a:pt x="48514" y="11565"/>
                  </a:cubicBezTo>
                  <a:lnTo>
                    <a:pt x="49078" y="9308"/>
                  </a:lnTo>
                  <a:cubicBezTo>
                    <a:pt x="49078" y="8744"/>
                    <a:pt x="49643" y="8180"/>
                    <a:pt x="49925" y="7616"/>
                  </a:cubicBezTo>
                  <a:cubicBezTo>
                    <a:pt x="50207" y="6205"/>
                    <a:pt x="51053" y="5077"/>
                    <a:pt x="51617" y="3667"/>
                  </a:cubicBezTo>
                  <a:cubicBezTo>
                    <a:pt x="51617" y="3385"/>
                    <a:pt x="51899" y="3103"/>
                    <a:pt x="51899" y="2821"/>
                  </a:cubicBezTo>
                  <a:lnTo>
                    <a:pt x="53874" y="1128"/>
                  </a:lnTo>
                  <a:cubicBezTo>
                    <a:pt x="54156" y="846"/>
                    <a:pt x="54438" y="564"/>
                    <a:pt x="54720" y="564"/>
                  </a:cubicBezTo>
                  <a:cubicBezTo>
                    <a:pt x="55002" y="282"/>
                    <a:pt x="55566" y="282"/>
                    <a:pt x="55848" y="282"/>
                  </a:cubicBezTo>
                  <a:cubicBezTo>
                    <a:pt x="56130" y="0"/>
                    <a:pt x="56412" y="0"/>
                    <a:pt x="56695" y="0"/>
                  </a:cubicBezTo>
                  <a:cubicBezTo>
                    <a:pt x="56976" y="0"/>
                    <a:pt x="56976" y="0"/>
                    <a:pt x="57259" y="282"/>
                  </a:cubicBezTo>
                  <a:cubicBezTo>
                    <a:pt x="57823" y="1128"/>
                    <a:pt x="58951" y="1410"/>
                    <a:pt x="59233" y="2539"/>
                  </a:cubicBezTo>
                  <a:lnTo>
                    <a:pt x="59515" y="2821"/>
                  </a:lnTo>
                  <a:cubicBezTo>
                    <a:pt x="59797" y="2539"/>
                    <a:pt x="60079" y="2256"/>
                    <a:pt x="60361" y="2256"/>
                  </a:cubicBezTo>
                  <a:cubicBezTo>
                    <a:pt x="60643" y="2256"/>
                    <a:pt x="60926" y="2539"/>
                    <a:pt x="61207" y="2821"/>
                  </a:cubicBezTo>
                  <a:lnTo>
                    <a:pt x="61771" y="3385"/>
                  </a:lnTo>
                  <a:cubicBezTo>
                    <a:pt x="61771" y="3667"/>
                    <a:pt x="62054" y="3667"/>
                    <a:pt x="62054" y="3667"/>
                  </a:cubicBezTo>
                  <a:lnTo>
                    <a:pt x="62336" y="3385"/>
                  </a:lnTo>
                  <a:cubicBezTo>
                    <a:pt x="62618" y="3385"/>
                    <a:pt x="62900" y="3385"/>
                    <a:pt x="63182" y="3667"/>
                  </a:cubicBezTo>
                  <a:cubicBezTo>
                    <a:pt x="63464" y="3949"/>
                    <a:pt x="63746" y="3949"/>
                    <a:pt x="64310" y="3949"/>
                  </a:cubicBezTo>
                  <a:cubicBezTo>
                    <a:pt x="64592" y="3949"/>
                    <a:pt x="64874" y="3667"/>
                    <a:pt x="65438" y="3667"/>
                  </a:cubicBezTo>
                  <a:cubicBezTo>
                    <a:pt x="65720" y="3667"/>
                    <a:pt x="66284" y="3949"/>
                    <a:pt x="66848" y="4231"/>
                  </a:cubicBezTo>
                  <a:lnTo>
                    <a:pt x="67412" y="4231"/>
                  </a:lnTo>
                  <a:cubicBezTo>
                    <a:pt x="67695" y="3949"/>
                    <a:pt x="67695" y="3949"/>
                    <a:pt x="67977" y="3949"/>
                  </a:cubicBezTo>
                  <a:cubicBezTo>
                    <a:pt x="68541" y="3949"/>
                    <a:pt x="69105" y="4513"/>
                    <a:pt x="69387" y="4795"/>
                  </a:cubicBezTo>
                  <a:cubicBezTo>
                    <a:pt x="69669" y="5077"/>
                    <a:pt x="69669" y="5359"/>
                    <a:pt x="69669" y="5359"/>
                  </a:cubicBezTo>
                  <a:cubicBezTo>
                    <a:pt x="69105" y="5923"/>
                    <a:pt x="69105" y="6487"/>
                    <a:pt x="68823" y="7052"/>
                  </a:cubicBezTo>
                  <a:lnTo>
                    <a:pt x="67977" y="9026"/>
                  </a:lnTo>
                  <a:lnTo>
                    <a:pt x="67977" y="9590"/>
                  </a:lnTo>
                  <a:cubicBezTo>
                    <a:pt x="67412" y="10436"/>
                    <a:pt x="67131" y="11282"/>
                    <a:pt x="67131" y="11847"/>
                  </a:cubicBezTo>
                  <a:cubicBezTo>
                    <a:pt x="66567" y="12693"/>
                    <a:pt x="66567" y="13539"/>
                    <a:pt x="66284" y="14103"/>
                  </a:cubicBezTo>
                  <a:cubicBezTo>
                    <a:pt x="65438" y="15231"/>
                    <a:pt x="65156" y="16077"/>
                    <a:pt x="64592" y="16924"/>
                  </a:cubicBezTo>
                  <a:cubicBezTo>
                    <a:pt x="64310" y="17488"/>
                    <a:pt x="64310" y="18052"/>
                    <a:pt x="63746" y="18616"/>
                  </a:cubicBezTo>
                  <a:cubicBezTo>
                    <a:pt x="63746" y="18898"/>
                    <a:pt x="63746" y="19180"/>
                    <a:pt x="63464" y="19744"/>
                  </a:cubicBezTo>
                  <a:cubicBezTo>
                    <a:pt x="63464" y="20026"/>
                    <a:pt x="63182" y="20308"/>
                    <a:pt x="63182" y="20873"/>
                  </a:cubicBezTo>
                  <a:cubicBezTo>
                    <a:pt x="63182" y="21437"/>
                    <a:pt x="62618" y="22001"/>
                    <a:pt x="62336" y="22283"/>
                  </a:cubicBezTo>
                  <a:cubicBezTo>
                    <a:pt x="62054" y="22847"/>
                    <a:pt x="62054" y="23129"/>
                    <a:pt x="62054" y="23693"/>
                  </a:cubicBezTo>
                  <a:lnTo>
                    <a:pt x="62054" y="23975"/>
                  </a:lnTo>
                  <a:cubicBezTo>
                    <a:pt x="62054" y="24539"/>
                    <a:pt x="61490" y="25103"/>
                    <a:pt x="61207" y="25668"/>
                  </a:cubicBezTo>
                  <a:cubicBezTo>
                    <a:pt x="61207" y="25950"/>
                    <a:pt x="60926" y="26514"/>
                    <a:pt x="60643" y="26796"/>
                  </a:cubicBezTo>
                  <a:lnTo>
                    <a:pt x="60643" y="27360"/>
                  </a:lnTo>
                  <a:cubicBezTo>
                    <a:pt x="60643" y="27642"/>
                    <a:pt x="60643" y="27642"/>
                    <a:pt x="60926" y="27924"/>
                  </a:cubicBezTo>
                  <a:cubicBezTo>
                    <a:pt x="60926" y="28206"/>
                    <a:pt x="61207" y="28206"/>
                    <a:pt x="61207" y="28488"/>
                  </a:cubicBezTo>
                  <a:cubicBezTo>
                    <a:pt x="61207" y="28770"/>
                    <a:pt x="60926" y="28770"/>
                    <a:pt x="60926" y="29052"/>
                  </a:cubicBezTo>
                  <a:cubicBezTo>
                    <a:pt x="60926" y="29616"/>
                    <a:pt x="60643" y="30181"/>
                    <a:pt x="60079" y="30463"/>
                  </a:cubicBezTo>
                  <a:lnTo>
                    <a:pt x="60079" y="30745"/>
                  </a:lnTo>
                  <a:lnTo>
                    <a:pt x="58669" y="32719"/>
                  </a:lnTo>
                  <a:cubicBezTo>
                    <a:pt x="58105" y="33283"/>
                    <a:pt x="57823" y="33847"/>
                    <a:pt x="57540" y="34411"/>
                  </a:cubicBezTo>
                  <a:lnTo>
                    <a:pt x="57259" y="34694"/>
                  </a:lnTo>
                  <a:cubicBezTo>
                    <a:pt x="57259" y="34694"/>
                    <a:pt x="57259" y="34976"/>
                    <a:pt x="57540" y="34976"/>
                  </a:cubicBezTo>
                  <a:cubicBezTo>
                    <a:pt x="57823" y="35258"/>
                    <a:pt x="58105" y="35540"/>
                    <a:pt x="58105" y="36104"/>
                  </a:cubicBezTo>
                  <a:lnTo>
                    <a:pt x="58105" y="36668"/>
                  </a:lnTo>
                  <a:cubicBezTo>
                    <a:pt x="58105" y="36950"/>
                    <a:pt x="57823" y="37514"/>
                    <a:pt x="57259" y="38078"/>
                  </a:cubicBezTo>
                  <a:cubicBezTo>
                    <a:pt x="57259" y="38360"/>
                    <a:pt x="56976" y="38924"/>
                    <a:pt x="56695" y="38924"/>
                  </a:cubicBezTo>
                  <a:cubicBezTo>
                    <a:pt x="56130" y="39207"/>
                    <a:pt x="55848" y="39489"/>
                    <a:pt x="55848" y="40335"/>
                  </a:cubicBezTo>
                  <a:cubicBezTo>
                    <a:pt x="55566" y="41181"/>
                    <a:pt x="55284" y="42309"/>
                    <a:pt x="55284" y="43437"/>
                  </a:cubicBezTo>
                  <a:cubicBezTo>
                    <a:pt x="55002" y="43720"/>
                    <a:pt x="55002" y="43720"/>
                    <a:pt x="55002" y="44002"/>
                  </a:cubicBezTo>
                  <a:cubicBezTo>
                    <a:pt x="54156" y="44284"/>
                    <a:pt x="54156" y="44848"/>
                    <a:pt x="54156" y="45412"/>
                  </a:cubicBezTo>
                  <a:lnTo>
                    <a:pt x="54156" y="45976"/>
                  </a:lnTo>
                  <a:cubicBezTo>
                    <a:pt x="54156" y="46258"/>
                    <a:pt x="53592" y="46540"/>
                    <a:pt x="53592" y="47104"/>
                  </a:cubicBezTo>
                  <a:lnTo>
                    <a:pt x="53592" y="48232"/>
                  </a:lnTo>
                  <a:cubicBezTo>
                    <a:pt x="53592" y="48797"/>
                    <a:pt x="53309" y="49079"/>
                    <a:pt x="53028" y="49643"/>
                  </a:cubicBezTo>
                  <a:cubicBezTo>
                    <a:pt x="52745" y="49925"/>
                    <a:pt x="52464" y="50207"/>
                    <a:pt x="52464" y="50771"/>
                  </a:cubicBezTo>
                  <a:cubicBezTo>
                    <a:pt x="52464" y="50771"/>
                    <a:pt x="52464" y="51053"/>
                    <a:pt x="52181" y="51053"/>
                  </a:cubicBezTo>
                  <a:cubicBezTo>
                    <a:pt x="51617" y="51617"/>
                    <a:pt x="51335" y="52463"/>
                    <a:pt x="51335" y="53310"/>
                  </a:cubicBezTo>
                  <a:cubicBezTo>
                    <a:pt x="50771" y="53874"/>
                    <a:pt x="50771" y="54438"/>
                    <a:pt x="50489" y="55002"/>
                  </a:cubicBezTo>
                  <a:cubicBezTo>
                    <a:pt x="50489" y="55284"/>
                    <a:pt x="50771" y="55566"/>
                    <a:pt x="50771" y="56130"/>
                  </a:cubicBezTo>
                  <a:lnTo>
                    <a:pt x="50771" y="56412"/>
                  </a:lnTo>
                  <a:lnTo>
                    <a:pt x="49361" y="57258"/>
                  </a:lnTo>
                  <a:cubicBezTo>
                    <a:pt x="49361" y="57541"/>
                    <a:pt x="49361" y="57541"/>
                    <a:pt x="49643" y="57823"/>
                  </a:cubicBezTo>
                  <a:cubicBezTo>
                    <a:pt x="49925" y="58105"/>
                    <a:pt x="50207" y="58105"/>
                    <a:pt x="50207" y="58387"/>
                  </a:cubicBezTo>
                  <a:lnTo>
                    <a:pt x="49925" y="58669"/>
                  </a:lnTo>
                  <a:cubicBezTo>
                    <a:pt x="49078" y="59233"/>
                    <a:pt x="48797" y="59797"/>
                    <a:pt x="48233" y="60643"/>
                  </a:cubicBezTo>
                  <a:cubicBezTo>
                    <a:pt x="48233" y="60925"/>
                    <a:pt x="48233" y="61489"/>
                    <a:pt x="47950" y="61771"/>
                  </a:cubicBezTo>
                  <a:cubicBezTo>
                    <a:pt x="47950" y="62053"/>
                    <a:pt x="47950" y="62618"/>
                    <a:pt x="48233" y="62336"/>
                  </a:cubicBezTo>
                  <a:lnTo>
                    <a:pt x="48797" y="62053"/>
                  </a:lnTo>
                  <a:cubicBezTo>
                    <a:pt x="48797" y="61207"/>
                    <a:pt x="49643" y="60925"/>
                    <a:pt x="50207" y="60079"/>
                  </a:cubicBezTo>
                  <a:cubicBezTo>
                    <a:pt x="50489" y="59233"/>
                    <a:pt x="51335" y="58951"/>
                    <a:pt x="51617" y="58105"/>
                  </a:cubicBezTo>
                  <a:cubicBezTo>
                    <a:pt x="52745" y="56976"/>
                    <a:pt x="53592" y="55848"/>
                    <a:pt x="54438" y="54720"/>
                  </a:cubicBezTo>
                  <a:cubicBezTo>
                    <a:pt x="54720" y="54156"/>
                    <a:pt x="55566" y="53592"/>
                    <a:pt x="55848" y="53310"/>
                  </a:cubicBezTo>
                  <a:cubicBezTo>
                    <a:pt x="57259" y="51335"/>
                    <a:pt x="58951" y="49643"/>
                    <a:pt x="60643" y="48232"/>
                  </a:cubicBezTo>
                  <a:cubicBezTo>
                    <a:pt x="61490" y="47668"/>
                    <a:pt x="62336" y="47104"/>
                    <a:pt x="62618" y="46258"/>
                  </a:cubicBezTo>
                  <a:lnTo>
                    <a:pt x="63464" y="45694"/>
                  </a:lnTo>
                  <a:cubicBezTo>
                    <a:pt x="64310" y="44566"/>
                    <a:pt x="65720" y="43720"/>
                    <a:pt x="66848" y="42591"/>
                  </a:cubicBezTo>
                  <a:cubicBezTo>
                    <a:pt x="68541" y="41181"/>
                    <a:pt x="70515" y="40053"/>
                    <a:pt x="72208" y="38924"/>
                  </a:cubicBezTo>
                  <a:lnTo>
                    <a:pt x="76721" y="36386"/>
                  </a:lnTo>
                  <a:cubicBezTo>
                    <a:pt x="77285" y="35822"/>
                    <a:pt x="78131" y="35822"/>
                    <a:pt x="78695" y="35540"/>
                  </a:cubicBezTo>
                  <a:cubicBezTo>
                    <a:pt x="80105" y="34976"/>
                    <a:pt x="82080" y="34129"/>
                    <a:pt x="83490" y="33847"/>
                  </a:cubicBezTo>
                  <a:cubicBezTo>
                    <a:pt x="84901" y="33283"/>
                    <a:pt x="86311" y="33001"/>
                    <a:pt x="87439" y="33001"/>
                  </a:cubicBezTo>
                  <a:lnTo>
                    <a:pt x="92798" y="33001"/>
                  </a:lnTo>
                  <a:cubicBezTo>
                    <a:pt x="93363" y="33283"/>
                    <a:pt x="93927" y="33283"/>
                    <a:pt x="94773" y="33283"/>
                  </a:cubicBezTo>
                  <a:cubicBezTo>
                    <a:pt x="95055" y="33283"/>
                    <a:pt x="95337" y="33283"/>
                    <a:pt x="95337" y="33565"/>
                  </a:cubicBezTo>
                  <a:cubicBezTo>
                    <a:pt x="95901" y="34129"/>
                    <a:pt x="96465" y="34129"/>
                    <a:pt x="97029" y="34129"/>
                  </a:cubicBezTo>
                  <a:cubicBezTo>
                    <a:pt x="99286" y="34694"/>
                    <a:pt x="101824" y="35540"/>
                    <a:pt x="104080" y="36668"/>
                  </a:cubicBezTo>
                  <a:cubicBezTo>
                    <a:pt x="104645" y="36668"/>
                    <a:pt x="104927" y="36950"/>
                    <a:pt x="105491" y="37232"/>
                  </a:cubicBezTo>
                  <a:lnTo>
                    <a:pt x="108594" y="40053"/>
                  </a:lnTo>
                  <a:cubicBezTo>
                    <a:pt x="109158" y="40335"/>
                    <a:pt x="109440" y="40617"/>
                    <a:pt x="109440" y="41181"/>
                  </a:cubicBezTo>
                  <a:lnTo>
                    <a:pt x="109722" y="41463"/>
                  </a:lnTo>
                  <a:cubicBezTo>
                    <a:pt x="110568" y="42027"/>
                    <a:pt x="111414" y="42873"/>
                    <a:pt x="111697" y="43720"/>
                  </a:cubicBezTo>
                  <a:cubicBezTo>
                    <a:pt x="111978" y="44002"/>
                    <a:pt x="111978" y="44284"/>
                    <a:pt x="112261" y="44284"/>
                  </a:cubicBezTo>
                  <a:cubicBezTo>
                    <a:pt x="112825" y="44284"/>
                    <a:pt x="113107" y="44566"/>
                    <a:pt x="113107" y="44848"/>
                  </a:cubicBezTo>
                  <a:cubicBezTo>
                    <a:pt x="113389" y="45412"/>
                    <a:pt x="113389" y="45694"/>
                    <a:pt x="113953" y="45976"/>
                  </a:cubicBezTo>
                  <a:cubicBezTo>
                    <a:pt x="113953" y="45976"/>
                    <a:pt x="114235" y="46258"/>
                    <a:pt x="114235" y="46540"/>
                  </a:cubicBezTo>
                  <a:lnTo>
                    <a:pt x="114235" y="47668"/>
                  </a:lnTo>
                  <a:cubicBezTo>
                    <a:pt x="114517" y="48232"/>
                    <a:pt x="114799" y="48515"/>
                    <a:pt x="115363" y="48515"/>
                  </a:cubicBezTo>
                  <a:lnTo>
                    <a:pt x="116209" y="48515"/>
                  </a:lnTo>
                  <a:cubicBezTo>
                    <a:pt x="116492" y="48515"/>
                    <a:pt x="116773" y="49079"/>
                    <a:pt x="116773" y="49361"/>
                  </a:cubicBezTo>
                  <a:lnTo>
                    <a:pt x="116773" y="49643"/>
                  </a:lnTo>
                  <a:cubicBezTo>
                    <a:pt x="116209" y="49925"/>
                    <a:pt x="115928" y="50489"/>
                    <a:pt x="115928" y="50771"/>
                  </a:cubicBezTo>
                  <a:cubicBezTo>
                    <a:pt x="115928" y="51053"/>
                    <a:pt x="116209" y="51053"/>
                    <a:pt x="116209" y="51335"/>
                  </a:cubicBezTo>
                  <a:cubicBezTo>
                    <a:pt x="116492" y="52181"/>
                    <a:pt x="116773" y="53028"/>
                    <a:pt x="116773" y="54156"/>
                  </a:cubicBezTo>
                  <a:cubicBezTo>
                    <a:pt x="116773" y="54156"/>
                    <a:pt x="116773" y="54438"/>
                    <a:pt x="117056" y="54720"/>
                  </a:cubicBezTo>
                  <a:cubicBezTo>
                    <a:pt x="117056" y="54720"/>
                    <a:pt x="117338" y="55002"/>
                    <a:pt x="117338" y="55284"/>
                  </a:cubicBezTo>
                  <a:cubicBezTo>
                    <a:pt x="117338" y="56694"/>
                    <a:pt x="117620" y="57823"/>
                    <a:pt x="118183" y="58951"/>
                  </a:cubicBezTo>
                  <a:cubicBezTo>
                    <a:pt x="118466" y="59515"/>
                    <a:pt x="118466" y="60079"/>
                    <a:pt x="118466" y="60361"/>
                  </a:cubicBezTo>
                  <a:lnTo>
                    <a:pt x="118466" y="61489"/>
                  </a:lnTo>
                  <a:cubicBezTo>
                    <a:pt x="118466" y="62053"/>
                    <a:pt x="118748" y="62900"/>
                    <a:pt x="118748" y="63746"/>
                  </a:cubicBezTo>
                  <a:cubicBezTo>
                    <a:pt x="118748" y="64028"/>
                    <a:pt x="119030" y="64310"/>
                    <a:pt x="119312" y="64310"/>
                  </a:cubicBezTo>
                  <a:lnTo>
                    <a:pt x="121850" y="63464"/>
                  </a:lnTo>
                  <a:cubicBezTo>
                    <a:pt x="122133" y="63182"/>
                    <a:pt x="122414" y="63182"/>
                    <a:pt x="122697" y="63182"/>
                  </a:cubicBezTo>
                  <a:lnTo>
                    <a:pt x="123543" y="63182"/>
                  </a:lnTo>
                  <a:cubicBezTo>
                    <a:pt x="123825" y="63182"/>
                    <a:pt x="123825" y="63182"/>
                    <a:pt x="124107" y="62900"/>
                  </a:cubicBezTo>
                  <a:cubicBezTo>
                    <a:pt x="125235" y="61489"/>
                    <a:pt x="126928" y="60925"/>
                    <a:pt x="128902" y="60079"/>
                  </a:cubicBezTo>
                  <a:lnTo>
                    <a:pt x="131159" y="59233"/>
                  </a:lnTo>
                  <a:lnTo>
                    <a:pt x="131441" y="59233"/>
                  </a:lnTo>
                  <a:cubicBezTo>
                    <a:pt x="132569" y="58387"/>
                    <a:pt x="133697" y="58105"/>
                    <a:pt x="134826" y="57823"/>
                  </a:cubicBezTo>
                  <a:cubicBezTo>
                    <a:pt x="135954" y="57258"/>
                    <a:pt x="137082" y="56976"/>
                    <a:pt x="137928" y="56976"/>
                  </a:cubicBezTo>
                  <a:cubicBezTo>
                    <a:pt x="138210" y="56976"/>
                    <a:pt x="138492" y="56976"/>
                    <a:pt x="138774" y="56694"/>
                  </a:cubicBezTo>
                  <a:cubicBezTo>
                    <a:pt x="139620" y="56412"/>
                    <a:pt x="147518" y="55566"/>
                    <a:pt x="147518" y="55566"/>
                  </a:cubicBezTo>
                  <a:lnTo>
                    <a:pt x="149775" y="55566"/>
                  </a:lnTo>
                  <a:lnTo>
                    <a:pt x="150339" y="55848"/>
                  </a:lnTo>
                  <a:cubicBezTo>
                    <a:pt x="150339" y="56130"/>
                    <a:pt x="150621" y="56412"/>
                    <a:pt x="150903" y="56412"/>
                  </a:cubicBezTo>
                  <a:lnTo>
                    <a:pt x="151185" y="56412"/>
                  </a:lnTo>
                  <a:cubicBezTo>
                    <a:pt x="152877" y="56130"/>
                    <a:pt x="154570" y="56130"/>
                    <a:pt x="155980" y="56130"/>
                  </a:cubicBezTo>
                  <a:lnTo>
                    <a:pt x="156826" y="56130"/>
                  </a:lnTo>
                  <a:cubicBezTo>
                    <a:pt x="157672" y="55848"/>
                    <a:pt x="158237" y="55848"/>
                    <a:pt x="158801" y="55848"/>
                  </a:cubicBezTo>
                  <a:cubicBezTo>
                    <a:pt x="159082" y="55848"/>
                    <a:pt x="159082" y="55848"/>
                    <a:pt x="159082" y="56130"/>
                  </a:cubicBezTo>
                  <a:lnTo>
                    <a:pt x="158801" y="56130"/>
                  </a:lnTo>
                  <a:lnTo>
                    <a:pt x="157954" y="56694"/>
                  </a:lnTo>
                  <a:lnTo>
                    <a:pt x="157954" y="56976"/>
                  </a:lnTo>
                  <a:lnTo>
                    <a:pt x="158237" y="57258"/>
                  </a:lnTo>
                  <a:cubicBezTo>
                    <a:pt x="159082" y="56976"/>
                    <a:pt x="159929" y="56976"/>
                    <a:pt x="160775" y="56976"/>
                  </a:cubicBezTo>
                  <a:cubicBezTo>
                    <a:pt x="161621" y="56976"/>
                    <a:pt x="162468" y="56976"/>
                    <a:pt x="163313" y="56694"/>
                  </a:cubicBezTo>
                  <a:lnTo>
                    <a:pt x="164442" y="56694"/>
                  </a:lnTo>
                  <a:cubicBezTo>
                    <a:pt x="164442" y="56976"/>
                    <a:pt x="164442" y="56976"/>
                    <a:pt x="164160" y="56976"/>
                  </a:cubicBezTo>
                  <a:cubicBezTo>
                    <a:pt x="163596" y="57258"/>
                    <a:pt x="163032" y="57541"/>
                    <a:pt x="162468" y="57541"/>
                  </a:cubicBezTo>
                  <a:cubicBezTo>
                    <a:pt x="162185" y="57541"/>
                    <a:pt x="162185" y="57823"/>
                    <a:pt x="162185" y="57823"/>
                  </a:cubicBezTo>
                  <a:lnTo>
                    <a:pt x="162468" y="58105"/>
                  </a:lnTo>
                  <a:cubicBezTo>
                    <a:pt x="162468" y="58387"/>
                    <a:pt x="162468" y="58387"/>
                    <a:pt x="162185" y="58669"/>
                  </a:cubicBezTo>
                  <a:lnTo>
                    <a:pt x="161903" y="58951"/>
                  </a:lnTo>
                  <a:lnTo>
                    <a:pt x="161903" y="59233"/>
                  </a:lnTo>
                  <a:cubicBezTo>
                    <a:pt x="161903" y="59515"/>
                    <a:pt x="162185" y="59515"/>
                    <a:pt x="162185" y="59515"/>
                  </a:cubicBezTo>
                  <a:lnTo>
                    <a:pt x="162468" y="59515"/>
                  </a:lnTo>
                  <a:lnTo>
                    <a:pt x="162185" y="59797"/>
                  </a:lnTo>
                  <a:cubicBezTo>
                    <a:pt x="161903" y="59797"/>
                    <a:pt x="161903" y="60079"/>
                    <a:pt x="161621" y="60079"/>
                  </a:cubicBezTo>
                  <a:cubicBezTo>
                    <a:pt x="161057" y="60079"/>
                    <a:pt x="160493" y="60361"/>
                    <a:pt x="160211" y="60925"/>
                  </a:cubicBezTo>
                  <a:lnTo>
                    <a:pt x="160211" y="61207"/>
                  </a:lnTo>
                  <a:cubicBezTo>
                    <a:pt x="160493" y="61489"/>
                    <a:pt x="160775" y="61489"/>
                    <a:pt x="160775" y="61771"/>
                  </a:cubicBezTo>
                  <a:cubicBezTo>
                    <a:pt x="160775" y="62053"/>
                    <a:pt x="160493" y="62336"/>
                    <a:pt x="160493" y="62618"/>
                  </a:cubicBezTo>
                  <a:lnTo>
                    <a:pt x="160493" y="62900"/>
                  </a:lnTo>
                  <a:lnTo>
                    <a:pt x="160211" y="63182"/>
                  </a:lnTo>
                  <a:cubicBezTo>
                    <a:pt x="159929" y="63464"/>
                    <a:pt x="159365" y="63464"/>
                    <a:pt x="159082" y="63464"/>
                  </a:cubicBezTo>
                  <a:cubicBezTo>
                    <a:pt x="157390" y="63746"/>
                    <a:pt x="155980" y="64028"/>
                    <a:pt x="154288" y="64028"/>
                  </a:cubicBezTo>
                  <a:lnTo>
                    <a:pt x="153160" y="64028"/>
                  </a:lnTo>
                  <a:cubicBezTo>
                    <a:pt x="152313" y="64310"/>
                    <a:pt x="151467" y="64310"/>
                    <a:pt x="150621" y="64874"/>
                  </a:cubicBezTo>
                  <a:cubicBezTo>
                    <a:pt x="150057" y="64874"/>
                    <a:pt x="149775" y="65156"/>
                    <a:pt x="149210" y="65156"/>
                  </a:cubicBezTo>
                  <a:cubicBezTo>
                    <a:pt x="148646" y="65156"/>
                    <a:pt x="148365" y="65156"/>
                    <a:pt x="147518" y="65438"/>
                  </a:cubicBezTo>
                  <a:cubicBezTo>
                    <a:pt x="148365" y="64592"/>
                    <a:pt x="137082" y="69387"/>
                    <a:pt x="137646" y="69105"/>
                  </a:cubicBezTo>
                  <a:lnTo>
                    <a:pt x="130876" y="70797"/>
                  </a:lnTo>
                  <a:cubicBezTo>
                    <a:pt x="130312" y="71079"/>
                    <a:pt x="129466" y="71079"/>
                    <a:pt x="128902" y="71644"/>
                  </a:cubicBezTo>
                  <a:cubicBezTo>
                    <a:pt x="126928" y="72490"/>
                    <a:pt x="124953" y="73618"/>
                    <a:pt x="123261" y="74746"/>
                  </a:cubicBezTo>
                  <a:lnTo>
                    <a:pt x="118466" y="77003"/>
                  </a:lnTo>
                  <a:cubicBezTo>
                    <a:pt x="118183" y="77285"/>
                    <a:pt x="118183" y="77849"/>
                    <a:pt x="117902" y="78413"/>
                  </a:cubicBezTo>
                  <a:lnTo>
                    <a:pt x="118183" y="78695"/>
                  </a:lnTo>
                  <a:cubicBezTo>
                    <a:pt x="118466" y="78695"/>
                    <a:pt x="118748" y="78977"/>
                    <a:pt x="118748" y="78977"/>
                  </a:cubicBezTo>
                  <a:cubicBezTo>
                    <a:pt x="119030" y="78977"/>
                    <a:pt x="119312" y="79541"/>
                    <a:pt x="119030" y="79541"/>
                  </a:cubicBezTo>
                  <a:cubicBezTo>
                    <a:pt x="118748" y="80105"/>
                    <a:pt x="118466" y="80105"/>
                    <a:pt x="118183" y="80387"/>
                  </a:cubicBezTo>
                  <a:lnTo>
                    <a:pt x="117902" y="80670"/>
                  </a:lnTo>
                  <a:cubicBezTo>
                    <a:pt x="117902" y="80670"/>
                    <a:pt x="117902" y="80952"/>
                    <a:pt x="118183" y="80952"/>
                  </a:cubicBezTo>
                  <a:lnTo>
                    <a:pt x="118466" y="81234"/>
                  </a:lnTo>
                  <a:cubicBezTo>
                    <a:pt x="118748" y="81234"/>
                    <a:pt x="118748" y="81516"/>
                    <a:pt x="118748" y="81798"/>
                  </a:cubicBezTo>
                  <a:cubicBezTo>
                    <a:pt x="118748" y="82080"/>
                    <a:pt x="118748" y="82080"/>
                    <a:pt x="118466" y="82362"/>
                  </a:cubicBezTo>
                  <a:lnTo>
                    <a:pt x="117902" y="82362"/>
                  </a:lnTo>
                  <a:cubicBezTo>
                    <a:pt x="117338" y="82644"/>
                    <a:pt x="117338" y="82644"/>
                    <a:pt x="117338" y="83208"/>
                  </a:cubicBezTo>
                  <a:lnTo>
                    <a:pt x="117338" y="83772"/>
                  </a:lnTo>
                  <a:cubicBezTo>
                    <a:pt x="117338" y="83772"/>
                    <a:pt x="117338" y="84054"/>
                    <a:pt x="117056" y="84054"/>
                  </a:cubicBezTo>
                  <a:cubicBezTo>
                    <a:pt x="116773" y="84336"/>
                    <a:pt x="116773" y="84618"/>
                    <a:pt x="116773" y="84618"/>
                  </a:cubicBezTo>
                  <a:cubicBezTo>
                    <a:pt x="116773" y="84900"/>
                    <a:pt x="116773" y="84900"/>
                    <a:pt x="117056" y="84900"/>
                  </a:cubicBezTo>
                  <a:cubicBezTo>
                    <a:pt x="117338" y="85183"/>
                    <a:pt x="117338" y="85183"/>
                    <a:pt x="117338" y="85465"/>
                  </a:cubicBezTo>
                  <a:lnTo>
                    <a:pt x="117338" y="85747"/>
                  </a:lnTo>
                  <a:lnTo>
                    <a:pt x="116492" y="86875"/>
                  </a:lnTo>
                  <a:lnTo>
                    <a:pt x="116492" y="87439"/>
                  </a:lnTo>
                  <a:cubicBezTo>
                    <a:pt x="116492" y="87721"/>
                    <a:pt x="116492" y="88003"/>
                    <a:pt x="116773" y="88285"/>
                  </a:cubicBezTo>
                  <a:lnTo>
                    <a:pt x="117338" y="88849"/>
                  </a:lnTo>
                  <a:cubicBezTo>
                    <a:pt x="117338" y="89131"/>
                    <a:pt x="117056" y="89413"/>
                    <a:pt x="117056" y="89696"/>
                  </a:cubicBezTo>
                  <a:cubicBezTo>
                    <a:pt x="116773" y="89978"/>
                    <a:pt x="116773" y="89978"/>
                    <a:pt x="116773" y="90260"/>
                  </a:cubicBezTo>
                  <a:cubicBezTo>
                    <a:pt x="116773" y="90542"/>
                    <a:pt x="117056" y="91106"/>
                    <a:pt x="117056" y="91388"/>
                  </a:cubicBezTo>
                  <a:cubicBezTo>
                    <a:pt x="116773" y="92516"/>
                    <a:pt x="116492" y="93644"/>
                    <a:pt x="115363" y="94491"/>
                  </a:cubicBezTo>
                  <a:cubicBezTo>
                    <a:pt x="115081" y="94491"/>
                    <a:pt x="115081" y="94773"/>
                    <a:pt x="115081" y="94773"/>
                  </a:cubicBezTo>
                  <a:cubicBezTo>
                    <a:pt x="115081" y="94773"/>
                    <a:pt x="115081" y="95055"/>
                    <a:pt x="115363" y="95055"/>
                  </a:cubicBezTo>
                  <a:cubicBezTo>
                    <a:pt x="115363" y="95337"/>
                    <a:pt x="115363" y="95619"/>
                    <a:pt x="115081" y="95901"/>
                  </a:cubicBezTo>
                  <a:cubicBezTo>
                    <a:pt x="114799" y="96183"/>
                    <a:pt x="114799" y="96465"/>
                    <a:pt x="114517" y="96465"/>
                  </a:cubicBezTo>
                  <a:lnTo>
                    <a:pt x="114235" y="96465"/>
                  </a:lnTo>
                  <a:cubicBezTo>
                    <a:pt x="113671" y="96465"/>
                    <a:pt x="113671" y="96747"/>
                    <a:pt x="113107" y="97311"/>
                  </a:cubicBezTo>
                  <a:lnTo>
                    <a:pt x="113107" y="98439"/>
                  </a:lnTo>
                  <a:lnTo>
                    <a:pt x="112261" y="99568"/>
                  </a:lnTo>
                  <a:lnTo>
                    <a:pt x="112261" y="99850"/>
                  </a:lnTo>
                  <a:cubicBezTo>
                    <a:pt x="112261" y="100132"/>
                    <a:pt x="112542" y="100132"/>
                    <a:pt x="112542" y="100414"/>
                  </a:cubicBezTo>
                  <a:cubicBezTo>
                    <a:pt x="112542" y="100696"/>
                    <a:pt x="112261" y="100696"/>
                    <a:pt x="111978" y="100978"/>
                  </a:cubicBezTo>
                  <a:lnTo>
                    <a:pt x="111978" y="101260"/>
                  </a:lnTo>
                  <a:cubicBezTo>
                    <a:pt x="111978" y="101542"/>
                    <a:pt x="112261" y="101542"/>
                    <a:pt x="112542" y="101542"/>
                  </a:cubicBezTo>
                  <a:cubicBezTo>
                    <a:pt x="112542" y="101824"/>
                    <a:pt x="112825" y="101542"/>
                    <a:pt x="112825" y="101260"/>
                  </a:cubicBezTo>
                  <a:cubicBezTo>
                    <a:pt x="113107" y="100978"/>
                    <a:pt x="113107" y="100696"/>
                    <a:pt x="113107" y="100414"/>
                  </a:cubicBezTo>
                  <a:cubicBezTo>
                    <a:pt x="113389" y="100414"/>
                    <a:pt x="113389" y="100132"/>
                    <a:pt x="113389" y="100132"/>
                  </a:cubicBezTo>
                  <a:cubicBezTo>
                    <a:pt x="113671" y="100414"/>
                    <a:pt x="113953" y="100414"/>
                    <a:pt x="113953" y="100696"/>
                  </a:cubicBezTo>
                  <a:cubicBezTo>
                    <a:pt x="113953" y="101260"/>
                    <a:pt x="113953" y="101824"/>
                    <a:pt x="113671" y="102106"/>
                  </a:cubicBezTo>
                  <a:cubicBezTo>
                    <a:pt x="113107" y="102670"/>
                    <a:pt x="113107" y="103517"/>
                    <a:pt x="112261" y="103799"/>
                  </a:cubicBezTo>
                  <a:cubicBezTo>
                    <a:pt x="112261" y="103799"/>
                    <a:pt x="112261" y="104081"/>
                    <a:pt x="111978" y="104081"/>
                  </a:cubicBezTo>
                  <a:cubicBezTo>
                    <a:pt x="111978" y="104363"/>
                    <a:pt x="112261" y="104363"/>
                    <a:pt x="112261" y="104645"/>
                  </a:cubicBezTo>
                  <a:cubicBezTo>
                    <a:pt x="112261" y="104645"/>
                    <a:pt x="112261" y="104927"/>
                    <a:pt x="111978" y="104927"/>
                  </a:cubicBezTo>
                  <a:cubicBezTo>
                    <a:pt x="111697" y="105209"/>
                    <a:pt x="111132" y="105491"/>
                    <a:pt x="111132" y="105773"/>
                  </a:cubicBezTo>
                  <a:cubicBezTo>
                    <a:pt x="110850" y="106055"/>
                    <a:pt x="110850" y="106055"/>
                    <a:pt x="110850" y="106337"/>
                  </a:cubicBezTo>
                  <a:cubicBezTo>
                    <a:pt x="110850" y="106619"/>
                    <a:pt x="110850" y="106619"/>
                    <a:pt x="111132" y="106901"/>
                  </a:cubicBezTo>
                  <a:lnTo>
                    <a:pt x="110568" y="106901"/>
                  </a:lnTo>
                  <a:cubicBezTo>
                    <a:pt x="110286" y="106901"/>
                    <a:pt x="110004" y="106901"/>
                    <a:pt x="110004" y="107183"/>
                  </a:cubicBezTo>
                  <a:cubicBezTo>
                    <a:pt x="109722" y="107183"/>
                    <a:pt x="109722" y="107465"/>
                    <a:pt x="109722" y="107465"/>
                  </a:cubicBezTo>
                  <a:cubicBezTo>
                    <a:pt x="109722" y="107747"/>
                    <a:pt x="110004" y="107747"/>
                    <a:pt x="110286" y="107747"/>
                  </a:cubicBezTo>
                  <a:cubicBezTo>
                    <a:pt x="110850" y="107747"/>
                    <a:pt x="111132" y="107183"/>
                    <a:pt x="111132" y="106901"/>
                  </a:cubicBezTo>
                  <a:lnTo>
                    <a:pt x="111414" y="107183"/>
                  </a:lnTo>
                  <a:cubicBezTo>
                    <a:pt x="111414" y="107747"/>
                    <a:pt x="111132" y="108312"/>
                    <a:pt x="111132" y="108876"/>
                  </a:cubicBezTo>
                  <a:lnTo>
                    <a:pt x="111132" y="109158"/>
                  </a:lnTo>
                  <a:cubicBezTo>
                    <a:pt x="111132" y="109440"/>
                    <a:pt x="110850" y="109440"/>
                    <a:pt x="110568" y="109722"/>
                  </a:cubicBezTo>
                  <a:cubicBezTo>
                    <a:pt x="110286" y="109722"/>
                    <a:pt x="110286" y="110004"/>
                    <a:pt x="110004" y="110286"/>
                  </a:cubicBezTo>
                  <a:cubicBezTo>
                    <a:pt x="110004" y="110568"/>
                    <a:pt x="109722" y="110850"/>
                    <a:pt x="109722" y="111132"/>
                  </a:cubicBezTo>
                  <a:cubicBezTo>
                    <a:pt x="109440" y="111414"/>
                    <a:pt x="109440" y="111696"/>
                    <a:pt x="108876" y="111978"/>
                  </a:cubicBezTo>
                  <a:lnTo>
                    <a:pt x="107747" y="111978"/>
                  </a:lnTo>
                  <a:cubicBezTo>
                    <a:pt x="108030" y="111696"/>
                    <a:pt x="107466" y="111978"/>
                    <a:pt x="107466" y="111978"/>
                  </a:cubicBezTo>
                  <a:lnTo>
                    <a:pt x="107747" y="112260"/>
                  </a:lnTo>
                  <a:lnTo>
                    <a:pt x="108876" y="112825"/>
                  </a:lnTo>
                  <a:lnTo>
                    <a:pt x="108876" y="113389"/>
                  </a:lnTo>
                  <a:lnTo>
                    <a:pt x="108030" y="114799"/>
                  </a:lnTo>
                  <a:cubicBezTo>
                    <a:pt x="107747" y="115081"/>
                    <a:pt x="107466" y="115363"/>
                    <a:pt x="107466" y="115645"/>
                  </a:cubicBezTo>
                  <a:lnTo>
                    <a:pt x="107466" y="115927"/>
                  </a:lnTo>
                  <a:cubicBezTo>
                    <a:pt x="107466" y="116209"/>
                    <a:pt x="107466" y="116491"/>
                    <a:pt x="107183" y="116491"/>
                  </a:cubicBezTo>
                  <a:lnTo>
                    <a:pt x="106337" y="117338"/>
                  </a:lnTo>
                  <a:cubicBezTo>
                    <a:pt x="106055" y="117338"/>
                    <a:pt x="106055" y="117620"/>
                    <a:pt x="106055" y="117620"/>
                  </a:cubicBezTo>
                  <a:cubicBezTo>
                    <a:pt x="106055" y="118748"/>
                    <a:pt x="105773" y="119594"/>
                    <a:pt x="104927" y="120158"/>
                  </a:cubicBezTo>
                  <a:cubicBezTo>
                    <a:pt x="104645" y="120722"/>
                    <a:pt x="104363" y="121286"/>
                    <a:pt x="103799" y="121851"/>
                  </a:cubicBezTo>
                  <a:cubicBezTo>
                    <a:pt x="103799" y="122415"/>
                    <a:pt x="103516" y="122697"/>
                    <a:pt x="103235" y="123261"/>
                  </a:cubicBezTo>
                  <a:cubicBezTo>
                    <a:pt x="102952" y="124107"/>
                    <a:pt x="102106" y="124953"/>
                    <a:pt x="101824" y="125799"/>
                  </a:cubicBezTo>
                  <a:cubicBezTo>
                    <a:pt x="101824" y="126081"/>
                    <a:pt x="101542" y="126363"/>
                    <a:pt x="101260" y="126646"/>
                  </a:cubicBezTo>
                  <a:cubicBezTo>
                    <a:pt x="100414" y="127492"/>
                    <a:pt x="99286" y="128620"/>
                    <a:pt x="99004" y="130030"/>
                  </a:cubicBezTo>
                  <a:lnTo>
                    <a:pt x="99004" y="130594"/>
                  </a:lnTo>
                  <a:cubicBezTo>
                    <a:pt x="98439" y="131159"/>
                    <a:pt x="97594" y="131723"/>
                    <a:pt x="97311" y="132287"/>
                  </a:cubicBezTo>
                  <a:cubicBezTo>
                    <a:pt x="96747" y="132851"/>
                    <a:pt x="95901" y="133415"/>
                    <a:pt x="95901" y="134261"/>
                  </a:cubicBezTo>
                  <a:cubicBezTo>
                    <a:pt x="95055" y="134825"/>
                    <a:pt x="94491" y="135672"/>
                    <a:pt x="93927" y="136518"/>
                  </a:cubicBezTo>
                  <a:cubicBezTo>
                    <a:pt x="93644" y="136800"/>
                    <a:pt x="93363" y="136800"/>
                    <a:pt x="93363" y="137082"/>
                  </a:cubicBezTo>
                  <a:lnTo>
                    <a:pt x="90542" y="140467"/>
                  </a:lnTo>
                  <a:cubicBezTo>
                    <a:pt x="90260" y="140749"/>
                    <a:pt x="89696" y="141031"/>
                    <a:pt x="89696" y="141313"/>
                  </a:cubicBezTo>
                  <a:cubicBezTo>
                    <a:pt x="88285" y="142441"/>
                    <a:pt x="87439" y="143569"/>
                    <a:pt x="86311" y="144980"/>
                  </a:cubicBezTo>
                  <a:lnTo>
                    <a:pt x="85465" y="145826"/>
                  </a:lnTo>
                  <a:cubicBezTo>
                    <a:pt x="84336" y="146390"/>
                    <a:pt x="83490" y="147236"/>
                    <a:pt x="82362" y="148082"/>
                  </a:cubicBezTo>
                  <a:lnTo>
                    <a:pt x="78977" y="151185"/>
                  </a:lnTo>
                  <a:cubicBezTo>
                    <a:pt x="78977" y="151185"/>
                    <a:pt x="78977" y="151467"/>
                    <a:pt x="78695" y="151749"/>
                  </a:cubicBezTo>
                  <a:lnTo>
                    <a:pt x="77567" y="152313"/>
                  </a:lnTo>
                  <a:cubicBezTo>
                    <a:pt x="77285" y="152595"/>
                    <a:pt x="77003" y="153159"/>
                    <a:pt x="76721" y="153159"/>
                  </a:cubicBezTo>
                  <a:cubicBezTo>
                    <a:pt x="75874" y="153441"/>
                    <a:pt x="75310" y="154006"/>
                    <a:pt x="75029" y="154288"/>
                  </a:cubicBezTo>
                  <a:lnTo>
                    <a:pt x="73054" y="155980"/>
                  </a:lnTo>
                  <a:cubicBezTo>
                    <a:pt x="72772" y="156544"/>
                    <a:pt x="72490" y="156544"/>
                    <a:pt x="71926" y="156826"/>
                  </a:cubicBezTo>
                  <a:cubicBezTo>
                    <a:pt x="71079" y="157108"/>
                    <a:pt x="70515" y="157672"/>
                    <a:pt x="70515" y="158519"/>
                  </a:cubicBezTo>
                  <a:cubicBezTo>
                    <a:pt x="70233" y="158801"/>
                    <a:pt x="69669" y="159083"/>
                    <a:pt x="69669" y="159647"/>
                  </a:cubicBezTo>
                  <a:cubicBezTo>
                    <a:pt x="69387" y="160211"/>
                    <a:pt x="68541" y="160493"/>
                    <a:pt x="68259" y="160775"/>
                  </a:cubicBezTo>
                  <a:cubicBezTo>
                    <a:pt x="67412" y="161057"/>
                    <a:pt x="66848" y="161339"/>
                    <a:pt x="66284" y="161339"/>
                  </a:cubicBezTo>
                  <a:lnTo>
                    <a:pt x="65720" y="161339"/>
                  </a:lnTo>
                  <a:lnTo>
                    <a:pt x="65720" y="161621"/>
                  </a:lnTo>
                  <a:cubicBezTo>
                    <a:pt x="65720" y="162185"/>
                    <a:pt x="65438" y="162185"/>
                    <a:pt x="64874" y="162185"/>
                  </a:cubicBezTo>
                  <a:cubicBezTo>
                    <a:pt x="64592" y="162185"/>
                    <a:pt x="64310" y="162467"/>
                    <a:pt x="64028" y="162749"/>
                  </a:cubicBezTo>
                  <a:cubicBezTo>
                    <a:pt x="63746" y="163314"/>
                    <a:pt x="62618" y="163596"/>
                    <a:pt x="62054" y="163596"/>
                  </a:cubicBezTo>
                  <a:lnTo>
                    <a:pt x="60643" y="163596"/>
                  </a:lnTo>
                  <a:cubicBezTo>
                    <a:pt x="60643" y="163878"/>
                    <a:pt x="60643" y="163878"/>
                    <a:pt x="60361" y="163878"/>
                  </a:cubicBezTo>
                  <a:cubicBezTo>
                    <a:pt x="60361" y="163878"/>
                    <a:pt x="60079" y="163878"/>
                    <a:pt x="60079" y="164160"/>
                  </a:cubicBezTo>
                  <a:lnTo>
                    <a:pt x="59797" y="164160"/>
                  </a:lnTo>
                  <a:cubicBezTo>
                    <a:pt x="60079" y="164160"/>
                    <a:pt x="60079" y="164442"/>
                    <a:pt x="60079" y="164442"/>
                  </a:cubicBezTo>
                  <a:lnTo>
                    <a:pt x="60361" y="164442"/>
                  </a:lnTo>
                  <a:cubicBezTo>
                    <a:pt x="60079" y="164442"/>
                    <a:pt x="60079" y="164724"/>
                    <a:pt x="60079" y="165006"/>
                  </a:cubicBezTo>
                  <a:cubicBezTo>
                    <a:pt x="58951" y="165288"/>
                    <a:pt x="58105" y="165570"/>
                    <a:pt x="57259" y="165570"/>
                  </a:cubicBezTo>
                  <a:lnTo>
                    <a:pt x="56130" y="165570"/>
                  </a:lnTo>
                  <a:lnTo>
                    <a:pt x="53874" y="165006"/>
                  </a:lnTo>
                  <a:cubicBezTo>
                    <a:pt x="53592" y="165006"/>
                    <a:pt x="53028" y="165006"/>
                    <a:pt x="52745" y="165288"/>
                  </a:cubicBezTo>
                  <a:cubicBezTo>
                    <a:pt x="52464" y="165852"/>
                    <a:pt x="51899" y="165852"/>
                    <a:pt x="51335" y="165852"/>
                  </a:cubicBezTo>
                  <a:lnTo>
                    <a:pt x="49361" y="165852"/>
                  </a:lnTo>
                  <a:cubicBezTo>
                    <a:pt x="48797" y="166416"/>
                    <a:pt x="47668" y="166416"/>
                    <a:pt x="47104" y="166698"/>
                  </a:cubicBezTo>
                  <a:cubicBezTo>
                    <a:pt x="45976" y="167262"/>
                    <a:pt x="44848" y="167544"/>
                    <a:pt x="44002" y="168109"/>
                  </a:cubicBezTo>
                  <a:cubicBezTo>
                    <a:pt x="43156" y="168109"/>
                    <a:pt x="42592" y="168391"/>
                    <a:pt x="41745" y="168391"/>
                  </a:cubicBezTo>
                  <a:cubicBezTo>
                    <a:pt x="40899" y="168391"/>
                    <a:pt x="40053" y="168109"/>
                    <a:pt x="39489" y="167544"/>
                  </a:cubicBezTo>
                  <a:cubicBezTo>
                    <a:pt x="39489" y="167262"/>
                    <a:pt x="39206" y="167262"/>
                    <a:pt x="38925" y="167262"/>
                  </a:cubicBezTo>
                  <a:lnTo>
                    <a:pt x="38078" y="167262"/>
                  </a:lnTo>
                  <a:cubicBezTo>
                    <a:pt x="37232" y="167262"/>
                    <a:pt x="37232" y="166698"/>
                    <a:pt x="37232" y="165852"/>
                  </a:cubicBezTo>
                  <a:cubicBezTo>
                    <a:pt x="37232" y="165570"/>
                    <a:pt x="37514" y="165006"/>
                    <a:pt x="37514" y="164724"/>
                  </a:cubicBezTo>
                  <a:cubicBezTo>
                    <a:pt x="37796" y="164160"/>
                    <a:pt x="37796" y="163596"/>
                    <a:pt x="37796" y="163031"/>
                  </a:cubicBezTo>
                  <a:lnTo>
                    <a:pt x="37796" y="160775"/>
                  </a:lnTo>
                  <a:cubicBezTo>
                    <a:pt x="37796" y="160211"/>
                    <a:pt x="38078" y="159365"/>
                    <a:pt x="38078" y="158801"/>
                  </a:cubicBezTo>
                  <a:lnTo>
                    <a:pt x="38078" y="158519"/>
                  </a:lnTo>
                  <a:cubicBezTo>
                    <a:pt x="38078" y="157954"/>
                    <a:pt x="38361" y="157108"/>
                    <a:pt x="38361" y="156544"/>
                  </a:cubicBezTo>
                  <a:cubicBezTo>
                    <a:pt x="38361" y="156262"/>
                    <a:pt x="38642" y="155980"/>
                    <a:pt x="38642" y="155698"/>
                  </a:cubicBezTo>
                  <a:cubicBezTo>
                    <a:pt x="39206" y="155134"/>
                    <a:pt x="39489" y="154288"/>
                    <a:pt x="39489" y="153441"/>
                  </a:cubicBezTo>
                  <a:cubicBezTo>
                    <a:pt x="39489" y="153159"/>
                    <a:pt x="39771" y="152877"/>
                    <a:pt x="40053" y="152877"/>
                  </a:cubicBezTo>
                  <a:lnTo>
                    <a:pt x="40053" y="152313"/>
                  </a:lnTo>
                  <a:cubicBezTo>
                    <a:pt x="39771" y="152031"/>
                    <a:pt x="39489" y="151467"/>
                    <a:pt x="39489" y="151185"/>
                  </a:cubicBezTo>
                  <a:cubicBezTo>
                    <a:pt x="39489" y="150903"/>
                    <a:pt x="39771" y="150903"/>
                    <a:pt x="39771" y="150621"/>
                  </a:cubicBezTo>
                  <a:lnTo>
                    <a:pt x="40335" y="149210"/>
                  </a:lnTo>
                  <a:cubicBezTo>
                    <a:pt x="40335" y="149210"/>
                    <a:pt x="40335" y="148928"/>
                    <a:pt x="40617" y="148928"/>
                  </a:cubicBezTo>
                  <a:cubicBezTo>
                    <a:pt x="41463" y="148928"/>
                    <a:pt x="41181" y="148082"/>
                    <a:pt x="41463" y="147518"/>
                  </a:cubicBezTo>
                  <a:cubicBezTo>
                    <a:pt x="41745" y="147236"/>
                    <a:pt x="42027" y="147236"/>
                    <a:pt x="42027" y="146954"/>
                  </a:cubicBezTo>
                  <a:lnTo>
                    <a:pt x="41745" y="146672"/>
                  </a:lnTo>
                  <a:cubicBezTo>
                    <a:pt x="41181" y="146390"/>
                    <a:pt x="41181" y="146108"/>
                    <a:pt x="41181" y="145826"/>
                  </a:cubicBezTo>
                  <a:cubicBezTo>
                    <a:pt x="41181" y="145544"/>
                    <a:pt x="41181" y="145262"/>
                    <a:pt x="41463" y="144980"/>
                  </a:cubicBezTo>
                  <a:cubicBezTo>
                    <a:pt x="41745" y="144415"/>
                    <a:pt x="42309" y="144133"/>
                    <a:pt x="42309" y="143569"/>
                  </a:cubicBezTo>
                  <a:cubicBezTo>
                    <a:pt x="42309" y="143005"/>
                    <a:pt x="42592" y="143005"/>
                    <a:pt x="43156" y="142723"/>
                  </a:cubicBezTo>
                  <a:lnTo>
                    <a:pt x="44002" y="142723"/>
                  </a:lnTo>
                  <a:cubicBezTo>
                    <a:pt x="44284" y="142441"/>
                    <a:pt x="44284" y="142159"/>
                    <a:pt x="44284" y="141877"/>
                  </a:cubicBezTo>
                  <a:cubicBezTo>
                    <a:pt x="44284" y="141595"/>
                    <a:pt x="44002" y="141313"/>
                    <a:pt x="43720" y="141313"/>
                  </a:cubicBezTo>
                  <a:lnTo>
                    <a:pt x="43437" y="141313"/>
                  </a:lnTo>
                  <a:cubicBezTo>
                    <a:pt x="43156" y="141313"/>
                    <a:pt x="43156" y="141313"/>
                    <a:pt x="43156" y="141031"/>
                  </a:cubicBezTo>
                  <a:cubicBezTo>
                    <a:pt x="43156" y="140749"/>
                    <a:pt x="43156" y="140749"/>
                    <a:pt x="43437" y="140467"/>
                  </a:cubicBezTo>
                  <a:cubicBezTo>
                    <a:pt x="43437" y="140467"/>
                    <a:pt x="43437" y="140185"/>
                    <a:pt x="43720" y="140185"/>
                  </a:cubicBezTo>
                  <a:lnTo>
                    <a:pt x="44848" y="138774"/>
                  </a:lnTo>
                  <a:cubicBezTo>
                    <a:pt x="45130" y="138774"/>
                    <a:pt x="45412" y="138774"/>
                    <a:pt x="45412" y="139056"/>
                  </a:cubicBezTo>
                  <a:lnTo>
                    <a:pt x="45694" y="139056"/>
                  </a:lnTo>
                  <a:cubicBezTo>
                    <a:pt x="45694" y="139902"/>
                    <a:pt x="46258" y="139902"/>
                    <a:pt x="46822" y="140185"/>
                  </a:cubicBezTo>
                  <a:cubicBezTo>
                    <a:pt x="47104" y="140185"/>
                    <a:pt x="47386" y="140185"/>
                    <a:pt x="47386" y="139620"/>
                  </a:cubicBezTo>
                  <a:lnTo>
                    <a:pt x="47668" y="139338"/>
                  </a:lnTo>
                  <a:cubicBezTo>
                    <a:pt x="47668" y="139056"/>
                    <a:pt x="47668" y="139056"/>
                    <a:pt x="47386" y="139056"/>
                  </a:cubicBezTo>
                  <a:cubicBezTo>
                    <a:pt x="46540" y="138774"/>
                    <a:pt x="45976" y="138774"/>
                    <a:pt x="45976" y="138492"/>
                  </a:cubicBezTo>
                  <a:cubicBezTo>
                    <a:pt x="45976" y="138210"/>
                    <a:pt x="46258" y="137928"/>
                    <a:pt x="46258" y="137646"/>
                  </a:cubicBezTo>
                  <a:cubicBezTo>
                    <a:pt x="46258" y="137082"/>
                    <a:pt x="46540" y="136518"/>
                    <a:pt x="46540" y="135954"/>
                  </a:cubicBezTo>
                  <a:cubicBezTo>
                    <a:pt x="47104" y="135389"/>
                    <a:pt x="46822" y="134543"/>
                    <a:pt x="47668" y="134261"/>
                  </a:cubicBezTo>
                  <a:cubicBezTo>
                    <a:pt x="48233" y="133697"/>
                    <a:pt x="47950" y="132851"/>
                    <a:pt x="48233" y="132287"/>
                  </a:cubicBezTo>
                  <a:cubicBezTo>
                    <a:pt x="48514" y="131723"/>
                    <a:pt x="49078" y="131441"/>
                    <a:pt x="49361" y="130594"/>
                  </a:cubicBezTo>
                  <a:cubicBezTo>
                    <a:pt x="49361" y="130312"/>
                    <a:pt x="49643" y="130312"/>
                    <a:pt x="49925" y="130030"/>
                  </a:cubicBezTo>
                  <a:cubicBezTo>
                    <a:pt x="50207" y="129748"/>
                    <a:pt x="50489" y="129466"/>
                    <a:pt x="50489" y="129184"/>
                  </a:cubicBezTo>
                  <a:cubicBezTo>
                    <a:pt x="50489" y="128902"/>
                    <a:pt x="50771" y="128902"/>
                    <a:pt x="50771" y="128620"/>
                  </a:cubicBezTo>
                  <a:cubicBezTo>
                    <a:pt x="50771" y="128338"/>
                    <a:pt x="50489" y="128056"/>
                    <a:pt x="50489" y="127774"/>
                  </a:cubicBezTo>
                  <a:lnTo>
                    <a:pt x="50489" y="127492"/>
                  </a:lnTo>
                  <a:cubicBezTo>
                    <a:pt x="50489" y="127210"/>
                    <a:pt x="50489" y="127210"/>
                    <a:pt x="50771" y="127210"/>
                  </a:cubicBezTo>
                  <a:lnTo>
                    <a:pt x="51899" y="127210"/>
                  </a:lnTo>
                  <a:cubicBezTo>
                    <a:pt x="52181" y="127210"/>
                    <a:pt x="52464" y="126646"/>
                    <a:pt x="52464" y="126363"/>
                  </a:cubicBezTo>
                  <a:cubicBezTo>
                    <a:pt x="52181" y="126081"/>
                    <a:pt x="52181" y="126081"/>
                    <a:pt x="52181" y="125799"/>
                  </a:cubicBezTo>
                  <a:cubicBezTo>
                    <a:pt x="52181" y="125517"/>
                    <a:pt x="52181" y="125517"/>
                    <a:pt x="52464" y="125235"/>
                  </a:cubicBezTo>
                  <a:lnTo>
                    <a:pt x="53592" y="124107"/>
                  </a:lnTo>
                  <a:cubicBezTo>
                    <a:pt x="53592" y="124107"/>
                    <a:pt x="53874" y="124107"/>
                    <a:pt x="53874" y="123825"/>
                  </a:cubicBezTo>
                  <a:cubicBezTo>
                    <a:pt x="53874" y="123825"/>
                    <a:pt x="53592" y="123543"/>
                    <a:pt x="53592" y="123261"/>
                  </a:cubicBezTo>
                  <a:cubicBezTo>
                    <a:pt x="53592" y="122979"/>
                    <a:pt x="53592" y="122697"/>
                    <a:pt x="53874" y="122697"/>
                  </a:cubicBezTo>
                  <a:cubicBezTo>
                    <a:pt x="54156" y="122697"/>
                    <a:pt x="54720" y="122697"/>
                    <a:pt x="55002" y="122415"/>
                  </a:cubicBezTo>
                  <a:lnTo>
                    <a:pt x="55284" y="122415"/>
                  </a:lnTo>
                  <a:lnTo>
                    <a:pt x="55284" y="122133"/>
                  </a:lnTo>
                  <a:cubicBezTo>
                    <a:pt x="55284" y="121568"/>
                    <a:pt x="55566" y="121286"/>
                    <a:pt x="55848" y="121004"/>
                  </a:cubicBezTo>
                  <a:cubicBezTo>
                    <a:pt x="56412" y="120440"/>
                    <a:pt x="56976" y="119594"/>
                    <a:pt x="57823" y="119030"/>
                  </a:cubicBezTo>
                  <a:cubicBezTo>
                    <a:pt x="57823" y="118748"/>
                    <a:pt x="57823" y="118466"/>
                    <a:pt x="58105" y="118184"/>
                  </a:cubicBezTo>
                  <a:cubicBezTo>
                    <a:pt x="58105" y="117902"/>
                    <a:pt x="57823" y="117620"/>
                    <a:pt x="57823" y="117620"/>
                  </a:cubicBezTo>
                  <a:cubicBezTo>
                    <a:pt x="57823" y="117338"/>
                    <a:pt x="58105" y="117338"/>
                    <a:pt x="58669" y="117055"/>
                  </a:cubicBezTo>
                  <a:lnTo>
                    <a:pt x="58951" y="116773"/>
                  </a:lnTo>
                  <a:cubicBezTo>
                    <a:pt x="59233" y="116773"/>
                    <a:pt x="59515" y="116491"/>
                    <a:pt x="59797" y="116209"/>
                  </a:cubicBezTo>
                  <a:cubicBezTo>
                    <a:pt x="59797" y="115645"/>
                    <a:pt x="60079" y="115363"/>
                    <a:pt x="60361" y="115363"/>
                  </a:cubicBezTo>
                  <a:cubicBezTo>
                    <a:pt x="61207" y="114799"/>
                    <a:pt x="61771" y="114235"/>
                    <a:pt x="62054" y="113671"/>
                  </a:cubicBezTo>
                  <a:cubicBezTo>
                    <a:pt x="62618" y="113107"/>
                    <a:pt x="63182" y="112542"/>
                    <a:pt x="63464" y="111696"/>
                  </a:cubicBezTo>
                  <a:lnTo>
                    <a:pt x="64310" y="110004"/>
                  </a:lnTo>
                  <a:cubicBezTo>
                    <a:pt x="64310" y="109722"/>
                    <a:pt x="64592" y="109722"/>
                    <a:pt x="64592" y="109722"/>
                  </a:cubicBezTo>
                  <a:cubicBezTo>
                    <a:pt x="65156" y="109440"/>
                    <a:pt x="65438" y="109158"/>
                    <a:pt x="65720" y="108312"/>
                  </a:cubicBezTo>
                  <a:cubicBezTo>
                    <a:pt x="65720" y="108030"/>
                    <a:pt x="66284" y="107465"/>
                    <a:pt x="66567" y="107465"/>
                  </a:cubicBezTo>
                  <a:cubicBezTo>
                    <a:pt x="67131" y="106901"/>
                    <a:pt x="67695" y="106619"/>
                    <a:pt x="67977" y="105773"/>
                  </a:cubicBezTo>
                  <a:cubicBezTo>
                    <a:pt x="68259" y="105209"/>
                    <a:pt x="68823" y="104927"/>
                    <a:pt x="69105" y="104081"/>
                  </a:cubicBezTo>
                  <a:lnTo>
                    <a:pt x="69669" y="103517"/>
                  </a:lnTo>
                  <a:cubicBezTo>
                    <a:pt x="69951" y="103517"/>
                    <a:pt x="70233" y="103234"/>
                    <a:pt x="70515" y="103234"/>
                  </a:cubicBezTo>
                  <a:cubicBezTo>
                    <a:pt x="70798" y="103234"/>
                    <a:pt x="71079" y="102952"/>
                    <a:pt x="71079" y="102670"/>
                  </a:cubicBezTo>
                  <a:cubicBezTo>
                    <a:pt x="71362" y="101824"/>
                    <a:pt x="71926" y="100978"/>
                    <a:pt x="72490" y="100414"/>
                  </a:cubicBezTo>
                  <a:cubicBezTo>
                    <a:pt x="73336" y="99850"/>
                    <a:pt x="73900" y="99004"/>
                    <a:pt x="74464" y="98157"/>
                  </a:cubicBezTo>
                  <a:cubicBezTo>
                    <a:pt x="74746" y="97593"/>
                    <a:pt x="75593" y="97029"/>
                    <a:pt x="75593" y="96183"/>
                  </a:cubicBezTo>
                  <a:lnTo>
                    <a:pt x="77003" y="95337"/>
                  </a:lnTo>
                  <a:cubicBezTo>
                    <a:pt x="77567" y="95055"/>
                    <a:pt x="77849" y="94491"/>
                    <a:pt x="78131" y="93926"/>
                  </a:cubicBezTo>
                  <a:cubicBezTo>
                    <a:pt x="78413" y="93644"/>
                    <a:pt x="78413" y="93362"/>
                    <a:pt x="78977" y="93362"/>
                  </a:cubicBezTo>
                  <a:cubicBezTo>
                    <a:pt x="79260" y="93362"/>
                    <a:pt x="79824" y="93080"/>
                    <a:pt x="79824" y="92798"/>
                  </a:cubicBezTo>
                  <a:lnTo>
                    <a:pt x="80952" y="91952"/>
                  </a:lnTo>
                  <a:cubicBezTo>
                    <a:pt x="80952" y="91670"/>
                    <a:pt x="81234" y="91670"/>
                    <a:pt x="81234" y="91388"/>
                  </a:cubicBezTo>
                  <a:cubicBezTo>
                    <a:pt x="81234" y="90542"/>
                    <a:pt x="81798" y="90260"/>
                    <a:pt x="82362" y="89696"/>
                  </a:cubicBezTo>
                  <a:cubicBezTo>
                    <a:pt x="83208" y="89131"/>
                    <a:pt x="84054" y="88567"/>
                    <a:pt x="84054" y="87439"/>
                  </a:cubicBezTo>
                  <a:lnTo>
                    <a:pt x="84336" y="87157"/>
                  </a:lnTo>
                  <a:cubicBezTo>
                    <a:pt x="85182" y="86875"/>
                    <a:pt x="85465" y="86311"/>
                    <a:pt x="86311" y="86029"/>
                  </a:cubicBezTo>
                  <a:lnTo>
                    <a:pt x="88003" y="84900"/>
                  </a:lnTo>
                  <a:cubicBezTo>
                    <a:pt x="88849" y="84336"/>
                    <a:pt x="89413" y="83772"/>
                    <a:pt x="89977" y="82926"/>
                  </a:cubicBezTo>
                  <a:lnTo>
                    <a:pt x="95619" y="78977"/>
                  </a:lnTo>
                  <a:cubicBezTo>
                    <a:pt x="96183" y="78413"/>
                    <a:pt x="96747" y="77849"/>
                    <a:pt x="97594" y="77567"/>
                  </a:cubicBezTo>
                  <a:lnTo>
                    <a:pt x="98722" y="76721"/>
                  </a:lnTo>
                  <a:cubicBezTo>
                    <a:pt x="99004" y="76439"/>
                    <a:pt x="99568" y="75875"/>
                    <a:pt x="99850" y="75875"/>
                  </a:cubicBezTo>
                  <a:cubicBezTo>
                    <a:pt x="100696" y="75592"/>
                    <a:pt x="100696" y="75028"/>
                    <a:pt x="100978" y="74464"/>
                  </a:cubicBezTo>
                  <a:cubicBezTo>
                    <a:pt x="100978" y="73618"/>
                    <a:pt x="101260" y="72490"/>
                    <a:pt x="101260" y="71644"/>
                  </a:cubicBezTo>
                  <a:lnTo>
                    <a:pt x="101260" y="71079"/>
                  </a:lnTo>
                  <a:cubicBezTo>
                    <a:pt x="100978" y="71079"/>
                    <a:pt x="100978" y="70797"/>
                    <a:pt x="100978" y="70515"/>
                  </a:cubicBezTo>
                  <a:cubicBezTo>
                    <a:pt x="100978" y="70233"/>
                    <a:pt x="100978" y="70233"/>
                    <a:pt x="101260" y="69951"/>
                  </a:cubicBezTo>
                  <a:cubicBezTo>
                    <a:pt x="101260" y="69387"/>
                    <a:pt x="101260" y="68823"/>
                    <a:pt x="100978" y="68259"/>
                  </a:cubicBezTo>
                  <a:lnTo>
                    <a:pt x="100978" y="65438"/>
                  </a:lnTo>
                  <a:cubicBezTo>
                    <a:pt x="100978" y="64874"/>
                    <a:pt x="100696" y="64028"/>
                    <a:pt x="100696" y="63464"/>
                  </a:cubicBezTo>
                  <a:lnTo>
                    <a:pt x="100696" y="62053"/>
                  </a:lnTo>
                  <a:cubicBezTo>
                    <a:pt x="100414" y="61771"/>
                    <a:pt x="100132" y="61207"/>
                    <a:pt x="100132" y="60925"/>
                  </a:cubicBezTo>
                  <a:cubicBezTo>
                    <a:pt x="100132" y="60643"/>
                    <a:pt x="100132" y="60643"/>
                    <a:pt x="100414" y="60361"/>
                  </a:cubicBezTo>
                  <a:cubicBezTo>
                    <a:pt x="100414" y="59797"/>
                    <a:pt x="100132" y="59233"/>
                    <a:pt x="100132" y="58669"/>
                  </a:cubicBezTo>
                  <a:cubicBezTo>
                    <a:pt x="99568" y="57823"/>
                    <a:pt x="99286" y="56976"/>
                    <a:pt x="99004" y="55848"/>
                  </a:cubicBezTo>
                  <a:cubicBezTo>
                    <a:pt x="98722" y="55566"/>
                    <a:pt x="98722" y="55284"/>
                    <a:pt x="98722" y="55002"/>
                  </a:cubicBezTo>
                  <a:lnTo>
                    <a:pt x="98722" y="54438"/>
                  </a:lnTo>
                  <a:cubicBezTo>
                    <a:pt x="98722" y="54156"/>
                    <a:pt x="98722" y="53874"/>
                    <a:pt x="98439" y="53592"/>
                  </a:cubicBezTo>
                  <a:cubicBezTo>
                    <a:pt x="97875" y="52745"/>
                    <a:pt x="97311" y="51899"/>
                    <a:pt x="96465" y="51053"/>
                  </a:cubicBezTo>
                  <a:cubicBezTo>
                    <a:pt x="96465" y="50771"/>
                    <a:pt x="96747" y="50489"/>
                    <a:pt x="96747" y="50207"/>
                  </a:cubicBezTo>
                  <a:cubicBezTo>
                    <a:pt x="96747" y="49643"/>
                    <a:pt x="96183" y="49361"/>
                    <a:pt x="95619" y="49361"/>
                  </a:cubicBezTo>
                  <a:lnTo>
                    <a:pt x="94773" y="48797"/>
                  </a:lnTo>
                  <a:cubicBezTo>
                    <a:pt x="93927" y="47668"/>
                    <a:pt x="93080" y="47104"/>
                    <a:pt x="92234" y="46258"/>
                  </a:cubicBezTo>
                  <a:cubicBezTo>
                    <a:pt x="91952" y="46258"/>
                    <a:pt x="91670" y="45976"/>
                    <a:pt x="91388" y="45976"/>
                  </a:cubicBezTo>
                  <a:cubicBezTo>
                    <a:pt x="89413" y="44848"/>
                    <a:pt x="89413" y="44848"/>
                    <a:pt x="87157" y="44848"/>
                  </a:cubicBezTo>
                  <a:cubicBezTo>
                    <a:pt x="86593" y="45130"/>
                    <a:pt x="86029" y="45130"/>
                    <a:pt x="85746" y="45412"/>
                  </a:cubicBezTo>
                  <a:lnTo>
                    <a:pt x="85465" y="45412"/>
                  </a:lnTo>
                  <a:cubicBezTo>
                    <a:pt x="83772" y="45694"/>
                    <a:pt x="82644" y="47104"/>
                    <a:pt x="80952" y="47950"/>
                  </a:cubicBezTo>
                  <a:cubicBezTo>
                    <a:pt x="80388" y="48232"/>
                    <a:pt x="80105" y="48515"/>
                    <a:pt x="79824" y="48515"/>
                  </a:cubicBezTo>
                  <a:cubicBezTo>
                    <a:pt x="79260" y="49079"/>
                    <a:pt x="78695" y="49361"/>
                    <a:pt x="77849" y="49361"/>
                  </a:cubicBezTo>
                  <a:lnTo>
                    <a:pt x="77285" y="49361"/>
                  </a:lnTo>
                  <a:cubicBezTo>
                    <a:pt x="77285" y="49361"/>
                    <a:pt x="77567" y="49643"/>
                    <a:pt x="77567" y="49925"/>
                  </a:cubicBezTo>
                  <a:cubicBezTo>
                    <a:pt x="77567" y="50207"/>
                    <a:pt x="77567" y="50489"/>
                    <a:pt x="77285" y="50489"/>
                  </a:cubicBezTo>
                  <a:cubicBezTo>
                    <a:pt x="76721" y="51053"/>
                    <a:pt x="76439" y="51617"/>
                    <a:pt x="76157" y="52181"/>
                  </a:cubicBezTo>
                  <a:lnTo>
                    <a:pt x="75593" y="52745"/>
                  </a:lnTo>
                  <a:lnTo>
                    <a:pt x="74746" y="52745"/>
                  </a:lnTo>
                  <a:lnTo>
                    <a:pt x="74746" y="53310"/>
                  </a:lnTo>
                  <a:cubicBezTo>
                    <a:pt x="74746" y="53592"/>
                    <a:pt x="74746" y="53592"/>
                    <a:pt x="74182" y="53874"/>
                  </a:cubicBezTo>
                  <a:lnTo>
                    <a:pt x="72772" y="55848"/>
                  </a:lnTo>
                  <a:cubicBezTo>
                    <a:pt x="72490" y="56130"/>
                    <a:pt x="72208" y="56130"/>
                    <a:pt x="71926" y="56130"/>
                  </a:cubicBezTo>
                  <a:lnTo>
                    <a:pt x="71362" y="56130"/>
                  </a:lnTo>
                  <a:cubicBezTo>
                    <a:pt x="71079" y="56130"/>
                    <a:pt x="70798" y="56412"/>
                    <a:pt x="70798" y="56694"/>
                  </a:cubicBezTo>
                  <a:cubicBezTo>
                    <a:pt x="70798" y="56976"/>
                    <a:pt x="70798" y="56976"/>
                    <a:pt x="70515" y="57258"/>
                  </a:cubicBezTo>
                  <a:lnTo>
                    <a:pt x="70515" y="57823"/>
                  </a:lnTo>
                  <a:cubicBezTo>
                    <a:pt x="70515" y="58387"/>
                    <a:pt x="70233" y="58387"/>
                    <a:pt x="69669" y="58387"/>
                  </a:cubicBezTo>
                  <a:lnTo>
                    <a:pt x="69105" y="58387"/>
                  </a:lnTo>
                  <a:cubicBezTo>
                    <a:pt x="68541" y="58387"/>
                    <a:pt x="68259" y="58951"/>
                    <a:pt x="68259" y="59515"/>
                  </a:cubicBezTo>
                  <a:lnTo>
                    <a:pt x="68823" y="59515"/>
                  </a:lnTo>
                  <a:lnTo>
                    <a:pt x="68823" y="59797"/>
                  </a:lnTo>
                  <a:cubicBezTo>
                    <a:pt x="68823" y="59797"/>
                    <a:pt x="68823" y="60079"/>
                    <a:pt x="68541" y="60079"/>
                  </a:cubicBezTo>
                  <a:lnTo>
                    <a:pt x="68259" y="59515"/>
                  </a:lnTo>
                  <a:close/>
                  <a:moveTo>
                    <a:pt x="2257" y="204777"/>
                  </a:moveTo>
                  <a:lnTo>
                    <a:pt x="1974" y="204494"/>
                  </a:lnTo>
                  <a:lnTo>
                    <a:pt x="1974" y="205059"/>
                  </a:lnTo>
                  <a:cubicBezTo>
                    <a:pt x="1974" y="205059"/>
                    <a:pt x="2257" y="205059"/>
                    <a:pt x="2257" y="204777"/>
                  </a:cubicBezTo>
                  <a:close/>
                  <a:moveTo>
                    <a:pt x="42592" y="147518"/>
                  </a:moveTo>
                  <a:cubicBezTo>
                    <a:pt x="42309" y="148082"/>
                    <a:pt x="42027" y="148646"/>
                    <a:pt x="42027" y="149493"/>
                  </a:cubicBezTo>
                  <a:lnTo>
                    <a:pt x="42309" y="149493"/>
                  </a:lnTo>
                  <a:lnTo>
                    <a:pt x="42873" y="148082"/>
                  </a:lnTo>
                  <a:lnTo>
                    <a:pt x="42592" y="147518"/>
                  </a:lnTo>
                  <a:close/>
                  <a:moveTo>
                    <a:pt x="98722" y="91952"/>
                  </a:moveTo>
                  <a:lnTo>
                    <a:pt x="98722" y="91388"/>
                  </a:lnTo>
                  <a:cubicBezTo>
                    <a:pt x="98722" y="91106"/>
                    <a:pt x="98722" y="90824"/>
                    <a:pt x="98439" y="90542"/>
                  </a:cubicBezTo>
                  <a:cubicBezTo>
                    <a:pt x="98158" y="90542"/>
                    <a:pt x="98158" y="90824"/>
                    <a:pt x="97875" y="91106"/>
                  </a:cubicBezTo>
                  <a:cubicBezTo>
                    <a:pt x="97311" y="91670"/>
                    <a:pt x="96465" y="92234"/>
                    <a:pt x="95337" y="92798"/>
                  </a:cubicBezTo>
                  <a:cubicBezTo>
                    <a:pt x="95055" y="92798"/>
                    <a:pt x="94773" y="93080"/>
                    <a:pt x="94773" y="93080"/>
                  </a:cubicBezTo>
                  <a:lnTo>
                    <a:pt x="94773" y="93362"/>
                  </a:lnTo>
                  <a:cubicBezTo>
                    <a:pt x="94773" y="93644"/>
                    <a:pt x="94491" y="93926"/>
                    <a:pt x="93927" y="94491"/>
                  </a:cubicBezTo>
                  <a:lnTo>
                    <a:pt x="92798" y="95901"/>
                  </a:lnTo>
                  <a:cubicBezTo>
                    <a:pt x="92798" y="96183"/>
                    <a:pt x="92234" y="96465"/>
                    <a:pt x="92234" y="96747"/>
                  </a:cubicBezTo>
                  <a:cubicBezTo>
                    <a:pt x="91388" y="97029"/>
                    <a:pt x="90824" y="97593"/>
                    <a:pt x="90260" y="98157"/>
                  </a:cubicBezTo>
                  <a:cubicBezTo>
                    <a:pt x="90260" y="98157"/>
                    <a:pt x="89977" y="98157"/>
                    <a:pt x="89977" y="97875"/>
                  </a:cubicBezTo>
                  <a:cubicBezTo>
                    <a:pt x="89696" y="97593"/>
                    <a:pt x="89696" y="97311"/>
                    <a:pt x="89696" y="97029"/>
                  </a:cubicBezTo>
                  <a:cubicBezTo>
                    <a:pt x="89696" y="96747"/>
                    <a:pt x="89696" y="96465"/>
                    <a:pt x="90260" y="96183"/>
                  </a:cubicBezTo>
                  <a:lnTo>
                    <a:pt x="90260" y="95901"/>
                  </a:lnTo>
                  <a:cubicBezTo>
                    <a:pt x="90260" y="95619"/>
                    <a:pt x="90260" y="95055"/>
                    <a:pt x="89977" y="95055"/>
                  </a:cubicBezTo>
                  <a:cubicBezTo>
                    <a:pt x="89413" y="95055"/>
                    <a:pt x="88849" y="95055"/>
                    <a:pt x="88285" y="95337"/>
                  </a:cubicBezTo>
                  <a:cubicBezTo>
                    <a:pt x="88003" y="95337"/>
                    <a:pt x="88003" y="95619"/>
                    <a:pt x="87721" y="95901"/>
                  </a:cubicBezTo>
                  <a:lnTo>
                    <a:pt x="87721" y="96747"/>
                  </a:lnTo>
                  <a:lnTo>
                    <a:pt x="87439" y="96747"/>
                  </a:lnTo>
                  <a:cubicBezTo>
                    <a:pt x="87157" y="96747"/>
                    <a:pt x="87157" y="96465"/>
                    <a:pt x="86875" y="96465"/>
                  </a:cubicBezTo>
                  <a:lnTo>
                    <a:pt x="86593" y="96183"/>
                  </a:lnTo>
                  <a:cubicBezTo>
                    <a:pt x="86311" y="96183"/>
                    <a:pt x="86311" y="95901"/>
                    <a:pt x="86311" y="95901"/>
                  </a:cubicBezTo>
                  <a:lnTo>
                    <a:pt x="86029" y="96183"/>
                  </a:lnTo>
                  <a:cubicBezTo>
                    <a:pt x="85746" y="96465"/>
                    <a:pt x="85465" y="96465"/>
                    <a:pt x="85465" y="96747"/>
                  </a:cubicBezTo>
                  <a:cubicBezTo>
                    <a:pt x="85182" y="97029"/>
                    <a:pt x="85182" y="97029"/>
                    <a:pt x="85182" y="97311"/>
                  </a:cubicBezTo>
                  <a:lnTo>
                    <a:pt x="85182" y="97875"/>
                  </a:lnTo>
                  <a:cubicBezTo>
                    <a:pt x="85182" y="98439"/>
                    <a:pt x="84901" y="99286"/>
                    <a:pt x="84336" y="99850"/>
                  </a:cubicBezTo>
                  <a:cubicBezTo>
                    <a:pt x="84336" y="100132"/>
                    <a:pt x="84054" y="100414"/>
                    <a:pt x="84054" y="100414"/>
                  </a:cubicBezTo>
                  <a:lnTo>
                    <a:pt x="84054" y="100978"/>
                  </a:lnTo>
                  <a:lnTo>
                    <a:pt x="84336" y="100978"/>
                  </a:lnTo>
                  <a:lnTo>
                    <a:pt x="85465" y="99850"/>
                  </a:lnTo>
                  <a:cubicBezTo>
                    <a:pt x="85746" y="99286"/>
                    <a:pt x="86311" y="99004"/>
                    <a:pt x="87157" y="98721"/>
                  </a:cubicBezTo>
                  <a:cubicBezTo>
                    <a:pt x="87439" y="98721"/>
                    <a:pt x="87439" y="99286"/>
                    <a:pt x="88003" y="99286"/>
                  </a:cubicBezTo>
                  <a:cubicBezTo>
                    <a:pt x="88003" y="99568"/>
                    <a:pt x="88285" y="99568"/>
                    <a:pt x="88285" y="99568"/>
                  </a:cubicBezTo>
                  <a:cubicBezTo>
                    <a:pt x="88285" y="99850"/>
                    <a:pt x="88567" y="100132"/>
                    <a:pt x="88567" y="100132"/>
                  </a:cubicBezTo>
                  <a:cubicBezTo>
                    <a:pt x="88567" y="100414"/>
                    <a:pt x="88285" y="100414"/>
                    <a:pt x="88285" y="100414"/>
                  </a:cubicBezTo>
                  <a:cubicBezTo>
                    <a:pt x="87721" y="100696"/>
                    <a:pt x="87157" y="101260"/>
                    <a:pt x="86875" y="101824"/>
                  </a:cubicBezTo>
                  <a:cubicBezTo>
                    <a:pt x="86875" y="102106"/>
                    <a:pt x="86029" y="102388"/>
                    <a:pt x="86029" y="102670"/>
                  </a:cubicBezTo>
                  <a:cubicBezTo>
                    <a:pt x="85746" y="102952"/>
                    <a:pt x="85465" y="103234"/>
                    <a:pt x="85182" y="103234"/>
                  </a:cubicBezTo>
                  <a:cubicBezTo>
                    <a:pt x="84901" y="104363"/>
                    <a:pt x="84054" y="104927"/>
                    <a:pt x="82926" y="105491"/>
                  </a:cubicBezTo>
                  <a:cubicBezTo>
                    <a:pt x="82644" y="105491"/>
                    <a:pt x="82644" y="105773"/>
                    <a:pt x="82362" y="106055"/>
                  </a:cubicBezTo>
                  <a:cubicBezTo>
                    <a:pt x="82080" y="107183"/>
                    <a:pt x="81234" y="108312"/>
                    <a:pt x="80388" y="109158"/>
                  </a:cubicBezTo>
                  <a:cubicBezTo>
                    <a:pt x="80388" y="109722"/>
                    <a:pt x="79824" y="110286"/>
                    <a:pt x="79260" y="110568"/>
                  </a:cubicBezTo>
                  <a:cubicBezTo>
                    <a:pt x="79260" y="110568"/>
                    <a:pt x="78977" y="110850"/>
                    <a:pt x="78977" y="111132"/>
                  </a:cubicBezTo>
                  <a:cubicBezTo>
                    <a:pt x="78977" y="111696"/>
                    <a:pt x="78131" y="112260"/>
                    <a:pt x="77567" y="112542"/>
                  </a:cubicBezTo>
                  <a:cubicBezTo>
                    <a:pt x="77285" y="112542"/>
                    <a:pt x="77003" y="112825"/>
                    <a:pt x="77003" y="113107"/>
                  </a:cubicBezTo>
                  <a:cubicBezTo>
                    <a:pt x="77003" y="113953"/>
                    <a:pt x="76157" y="114235"/>
                    <a:pt x="75593" y="115081"/>
                  </a:cubicBezTo>
                  <a:cubicBezTo>
                    <a:pt x="75593" y="115081"/>
                    <a:pt x="75029" y="115363"/>
                    <a:pt x="75029" y="115645"/>
                  </a:cubicBezTo>
                  <a:cubicBezTo>
                    <a:pt x="74464" y="117055"/>
                    <a:pt x="73618" y="117902"/>
                    <a:pt x="72490" y="119030"/>
                  </a:cubicBezTo>
                  <a:cubicBezTo>
                    <a:pt x="72490" y="119312"/>
                    <a:pt x="72208" y="119312"/>
                    <a:pt x="71926" y="119312"/>
                  </a:cubicBezTo>
                  <a:lnTo>
                    <a:pt x="71643" y="119312"/>
                  </a:lnTo>
                  <a:cubicBezTo>
                    <a:pt x="71362" y="119312"/>
                    <a:pt x="71079" y="119030"/>
                    <a:pt x="71079" y="119030"/>
                  </a:cubicBezTo>
                  <a:cubicBezTo>
                    <a:pt x="71079" y="119030"/>
                    <a:pt x="71362" y="119030"/>
                    <a:pt x="71643" y="118748"/>
                  </a:cubicBezTo>
                  <a:cubicBezTo>
                    <a:pt x="71926" y="118466"/>
                    <a:pt x="72490" y="117902"/>
                    <a:pt x="72490" y="117338"/>
                  </a:cubicBezTo>
                  <a:lnTo>
                    <a:pt x="72490" y="117055"/>
                  </a:lnTo>
                  <a:cubicBezTo>
                    <a:pt x="72490" y="116773"/>
                    <a:pt x="72208" y="116773"/>
                    <a:pt x="71926" y="116491"/>
                  </a:cubicBezTo>
                  <a:lnTo>
                    <a:pt x="71926" y="115645"/>
                  </a:lnTo>
                  <a:cubicBezTo>
                    <a:pt x="72208" y="115363"/>
                    <a:pt x="72772" y="115081"/>
                    <a:pt x="73054" y="115081"/>
                  </a:cubicBezTo>
                  <a:lnTo>
                    <a:pt x="73618" y="115081"/>
                  </a:lnTo>
                  <a:cubicBezTo>
                    <a:pt x="73618" y="115081"/>
                    <a:pt x="73336" y="115363"/>
                    <a:pt x="73900" y="115081"/>
                  </a:cubicBezTo>
                  <a:lnTo>
                    <a:pt x="74182" y="115081"/>
                  </a:lnTo>
                  <a:cubicBezTo>
                    <a:pt x="74464" y="114799"/>
                    <a:pt x="74464" y="114517"/>
                    <a:pt x="74464" y="114517"/>
                  </a:cubicBezTo>
                  <a:cubicBezTo>
                    <a:pt x="73900" y="114235"/>
                    <a:pt x="73900" y="113671"/>
                    <a:pt x="73900" y="113389"/>
                  </a:cubicBezTo>
                  <a:cubicBezTo>
                    <a:pt x="73900" y="113107"/>
                    <a:pt x="73900" y="112825"/>
                    <a:pt x="74464" y="112542"/>
                  </a:cubicBezTo>
                  <a:cubicBezTo>
                    <a:pt x="74746" y="111978"/>
                    <a:pt x="75310" y="111414"/>
                    <a:pt x="75874" y="111132"/>
                  </a:cubicBezTo>
                  <a:cubicBezTo>
                    <a:pt x="76157" y="111132"/>
                    <a:pt x="76157" y="110850"/>
                    <a:pt x="76157" y="110850"/>
                  </a:cubicBezTo>
                  <a:cubicBezTo>
                    <a:pt x="76157" y="110004"/>
                    <a:pt x="77003" y="109440"/>
                    <a:pt x="77567" y="108594"/>
                  </a:cubicBezTo>
                  <a:cubicBezTo>
                    <a:pt x="78131" y="108030"/>
                    <a:pt x="78695" y="107465"/>
                    <a:pt x="79541" y="107465"/>
                  </a:cubicBezTo>
                  <a:cubicBezTo>
                    <a:pt x="79824" y="107465"/>
                    <a:pt x="79824" y="107183"/>
                    <a:pt x="79824" y="106901"/>
                  </a:cubicBezTo>
                  <a:cubicBezTo>
                    <a:pt x="79824" y="106619"/>
                    <a:pt x="79541" y="106337"/>
                    <a:pt x="79824" y="106337"/>
                  </a:cubicBezTo>
                  <a:cubicBezTo>
                    <a:pt x="80105" y="105773"/>
                    <a:pt x="80670" y="105209"/>
                    <a:pt x="81234" y="104645"/>
                  </a:cubicBezTo>
                  <a:cubicBezTo>
                    <a:pt x="81516" y="104363"/>
                    <a:pt x="81516" y="104363"/>
                    <a:pt x="81798" y="104363"/>
                  </a:cubicBezTo>
                  <a:cubicBezTo>
                    <a:pt x="82080" y="104645"/>
                    <a:pt x="82080" y="104645"/>
                    <a:pt x="82362" y="104645"/>
                  </a:cubicBezTo>
                  <a:cubicBezTo>
                    <a:pt x="82644" y="104645"/>
                    <a:pt x="82926" y="104645"/>
                    <a:pt x="83208" y="104363"/>
                  </a:cubicBezTo>
                  <a:cubicBezTo>
                    <a:pt x="83772" y="104081"/>
                    <a:pt x="84054" y="103799"/>
                    <a:pt x="84054" y="103517"/>
                  </a:cubicBezTo>
                  <a:cubicBezTo>
                    <a:pt x="84336" y="102952"/>
                    <a:pt x="84618" y="102388"/>
                    <a:pt x="85182" y="101824"/>
                  </a:cubicBezTo>
                  <a:lnTo>
                    <a:pt x="85182" y="101542"/>
                  </a:lnTo>
                  <a:lnTo>
                    <a:pt x="84901" y="101542"/>
                  </a:lnTo>
                  <a:lnTo>
                    <a:pt x="83490" y="102670"/>
                  </a:lnTo>
                  <a:cubicBezTo>
                    <a:pt x="83208" y="102952"/>
                    <a:pt x="82926" y="102952"/>
                    <a:pt x="82926" y="102952"/>
                  </a:cubicBezTo>
                  <a:cubicBezTo>
                    <a:pt x="82644" y="102952"/>
                    <a:pt x="82644" y="102952"/>
                    <a:pt x="82644" y="102670"/>
                  </a:cubicBezTo>
                  <a:lnTo>
                    <a:pt x="82080" y="102106"/>
                  </a:lnTo>
                  <a:cubicBezTo>
                    <a:pt x="81798" y="102106"/>
                    <a:pt x="81516" y="102388"/>
                    <a:pt x="81234" y="102670"/>
                  </a:cubicBezTo>
                  <a:cubicBezTo>
                    <a:pt x="80670" y="102952"/>
                    <a:pt x="80105" y="103517"/>
                    <a:pt x="79541" y="104081"/>
                  </a:cubicBezTo>
                  <a:cubicBezTo>
                    <a:pt x="78977" y="104645"/>
                    <a:pt x="78695" y="104927"/>
                    <a:pt x="78695" y="105491"/>
                  </a:cubicBezTo>
                  <a:cubicBezTo>
                    <a:pt x="78977" y="105491"/>
                    <a:pt x="78695" y="105773"/>
                    <a:pt x="78695" y="106055"/>
                  </a:cubicBezTo>
                  <a:cubicBezTo>
                    <a:pt x="78131" y="107183"/>
                    <a:pt x="77567" y="108030"/>
                    <a:pt x="76439" y="108876"/>
                  </a:cubicBezTo>
                  <a:lnTo>
                    <a:pt x="74464" y="110568"/>
                  </a:lnTo>
                  <a:cubicBezTo>
                    <a:pt x="74464" y="110850"/>
                    <a:pt x="74182" y="110850"/>
                    <a:pt x="73900" y="110850"/>
                  </a:cubicBezTo>
                  <a:lnTo>
                    <a:pt x="73054" y="110850"/>
                  </a:lnTo>
                  <a:cubicBezTo>
                    <a:pt x="72490" y="110850"/>
                    <a:pt x="71926" y="110850"/>
                    <a:pt x="71643" y="111696"/>
                  </a:cubicBezTo>
                  <a:cubicBezTo>
                    <a:pt x="71362" y="111978"/>
                    <a:pt x="71362" y="111978"/>
                    <a:pt x="71079" y="111978"/>
                  </a:cubicBezTo>
                  <a:lnTo>
                    <a:pt x="69951" y="111978"/>
                  </a:lnTo>
                  <a:cubicBezTo>
                    <a:pt x="69387" y="112260"/>
                    <a:pt x="69105" y="112542"/>
                    <a:pt x="69105" y="113107"/>
                  </a:cubicBezTo>
                  <a:lnTo>
                    <a:pt x="69105" y="114517"/>
                  </a:lnTo>
                  <a:cubicBezTo>
                    <a:pt x="69105" y="114799"/>
                    <a:pt x="68823" y="114799"/>
                    <a:pt x="68823" y="114799"/>
                  </a:cubicBezTo>
                  <a:cubicBezTo>
                    <a:pt x="68823" y="114799"/>
                    <a:pt x="68541" y="114799"/>
                    <a:pt x="68541" y="114517"/>
                  </a:cubicBezTo>
                  <a:cubicBezTo>
                    <a:pt x="68259" y="114517"/>
                    <a:pt x="68541" y="113953"/>
                    <a:pt x="67977" y="113953"/>
                  </a:cubicBezTo>
                  <a:cubicBezTo>
                    <a:pt x="67695" y="113953"/>
                    <a:pt x="67695" y="114235"/>
                    <a:pt x="67412" y="114517"/>
                  </a:cubicBezTo>
                  <a:lnTo>
                    <a:pt x="66002" y="115645"/>
                  </a:lnTo>
                  <a:cubicBezTo>
                    <a:pt x="65720" y="115927"/>
                    <a:pt x="65438" y="116209"/>
                    <a:pt x="65438" y="116491"/>
                  </a:cubicBezTo>
                  <a:cubicBezTo>
                    <a:pt x="65438" y="116773"/>
                    <a:pt x="65720" y="117055"/>
                    <a:pt x="66002" y="117055"/>
                  </a:cubicBezTo>
                  <a:lnTo>
                    <a:pt x="66848" y="117902"/>
                  </a:lnTo>
                  <a:cubicBezTo>
                    <a:pt x="67131" y="117902"/>
                    <a:pt x="67131" y="117902"/>
                    <a:pt x="67131" y="118184"/>
                  </a:cubicBezTo>
                  <a:lnTo>
                    <a:pt x="67131" y="118466"/>
                  </a:lnTo>
                  <a:cubicBezTo>
                    <a:pt x="67131" y="118748"/>
                    <a:pt x="66848" y="118748"/>
                    <a:pt x="66567" y="118748"/>
                  </a:cubicBezTo>
                  <a:cubicBezTo>
                    <a:pt x="66284" y="119030"/>
                    <a:pt x="66002" y="119030"/>
                    <a:pt x="66002" y="119594"/>
                  </a:cubicBezTo>
                  <a:cubicBezTo>
                    <a:pt x="66284" y="119594"/>
                    <a:pt x="66284" y="119876"/>
                    <a:pt x="66284" y="119876"/>
                  </a:cubicBezTo>
                  <a:lnTo>
                    <a:pt x="66284" y="120440"/>
                  </a:lnTo>
                  <a:cubicBezTo>
                    <a:pt x="66284" y="121004"/>
                    <a:pt x="66002" y="121004"/>
                    <a:pt x="65720" y="121286"/>
                  </a:cubicBezTo>
                  <a:cubicBezTo>
                    <a:pt x="65438" y="121286"/>
                    <a:pt x="65156" y="121286"/>
                    <a:pt x="64592" y="121568"/>
                  </a:cubicBezTo>
                  <a:cubicBezTo>
                    <a:pt x="64310" y="121568"/>
                    <a:pt x="63746" y="121568"/>
                    <a:pt x="63746" y="121286"/>
                  </a:cubicBezTo>
                  <a:cubicBezTo>
                    <a:pt x="63464" y="121286"/>
                    <a:pt x="63464" y="121004"/>
                    <a:pt x="63464" y="121004"/>
                  </a:cubicBezTo>
                  <a:lnTo>
                    <a:pt x="63182" y="121286"/>
                  </a:lnTo>
                  <a:cubicBezTo>
                    <a:pt x="62618" y="121568"/>
                    <a:pt x="62336" y="121568"/>
                    <a:pt x="62054" y="121568"/>
                  </a:cubicBezTo>
                  <a:cubicBezTo>
                    <a:pt x="61490" y="121568"/>
                    <a:pt x="61207" y="121851"/>
                    <a:pt x="60926" y="122133"/>
                  </a:cubicBezTo>
                  <a:lnTo>
                    <a:pt x="60926" y="122415"/>
                  </a:lnTo>
                  <a:cubicBezTo>
                    <a:pt x="60926" y="122415"/>
                    <a:pt x="60643" y="122415"/>
                    <a:pt x="60643" y="122133"/>
                  </a:cubicBezTo>
                  <a:cubicBezTo>
                    <a:pt x="60361" y="121851"/>
                    <a:pt x="60361" y="121851"/>
                    <a:pt x="60079" y="121851"/>
                  </a:cubicBezTo>
                  <a:cubicBezTo>
                    <a:pt x="59797" y="122133"/>
                    <a:pt x="59797" y="122133"/>
                    <a:pt x="59797" y="122415"/>
                  </a:cubicBezTo>
                  <a:lnTo>
                    <a:pt x="59515" y="122697"/>
                  </a:lnTo>
                  <a:cubicBezTo>
                    <a:pt x="59515" y="122697"/>
                    <a:pt x="59515" y="122979"/>
                    <a:pt x="59797" y="122979"/>
                  </a:cubicBezTo>
                  <a:cubicBezTo>
                    <a:pt x="60361" y="123543"/>
                    <a:pt x="60926" y="123825"/>
                    <a:pt x="60926" y="124671"/>
                  </a:cubicBezTo>
                  <a:lnTo>
                    <a:pt x="60926" y="124953"/>
                  </a:lnTo>
                  <a:cubicBezTo>
                    <a:pt x="60926" y="125235"/>
                    <a:pt x="61207" y="125235"/>
                    <a:pt x="61771" y="125235"/>
                  </a:cubicBezTo>
                  <a:lnTo>
                    <a:pt x="62054" y="125235"/>
                  </a:lnTo>
                  <a:cubicBezTo>
                    <a:pt x="62336" y="124953"/>
                    <a:pt x="62900" y="124671"/>
                    <a:pt x="63182" y="124671"/>
                  </a:cubicBezTo>
                  <a:lnTo>
                    <a:pt x="63464" y="124671"/>
                  </a:lnTo>
                  <a:lnTo>
                    <a:pt x="63464" y="125235"/>
                  </a:lnTo>
                  <a:cubicBezTo>
                    <a:pt x="64028" y="125799"/>
                    <a:pt x="64310" y="125799"/>
                    <a:pt x="64874" y="125799"/>
                  </a:cubicBezTo>
                  <a:cubicBezTo>
                    <a:pt x="65156" y="125799"/>
                    <a:pt x="65438" y="125517"/>
                    <a:pt x="65438" y="125235"/>
                  </a:cubicBezTo>
                  <a:cubicBezTo>
                    <a:pt x="65438" y="124671"/>
                    <a:pt x="65438" y="124389"/>
                    <a:pt x="66002" y="123825"/>
                  </a:cubicBezTo>
                  <a:cubicBezTo>
                    <a:pt x="66002" y="123825"/>
                    <a:pt x="66002" y="123543"/>
                    <a:pt x="66284" y="123261"/>
                  </a:cubicBezTo>
                  <a:cubicBezTo>
                    <a:pt x="66567" y="122133"/>
                    <a:pt x="67695" y="121286"/>
                    <a:pt x="68259" y="120440"/>
                  </a:cubicBezTo>
                  <a:cubicBezTo>
                    <a:pt x="68823" y="120158"/>
                    <a:pt x="69105" y="120158"/>
                    <a:pt x="69669" y="120158"/>
                  </a:cubicBezTo>
                  <a:lnTo>
                    <a:pt x="70798" y="120722"/>
                  </a:lnTo>
                  <a:lnTo>
                    <a:pt x="70798" y="121286"/>
                  </a:lnTo>
                  <a:lnTo>
                    <a:pt x="70233" y="121851"/>
                  </a:lnTo>
                  <a:cubicBezTo>
                    <a:pt x="69387" y="122697"/>
                    <a:pt x="68823" y="123543"/>
                    <a:pt x="68541" y="124671"/>
                  </a:cubicBezTo>
                  <a:lnTo>
                    <a:pt x="67977" y="124953"/>
                  </a:lnTo>
                  <a:lnTo>
                    <a:pt x="66567" y="127492"/>
                  </a:lnTo>
                  <a:cubicBezTo>
                    <a:pt x="66284" y="127774"/>
                    <a:pt x="65720" y="128056"/>
                    <a:pt x="65438" y="128620"/>
                  </a:cubicBezTo>
                  <a:cubicBezTo>
                    <a:pt x="65156" y="128620"/>
                    <a:pt x="64874" y="128902"/>
                    <a:pt x="64874" y="129184"/>
                  </a:cubicBezTo>
                  <a:cubicBezTo>
                    <a:pt x="64592" y="130030"/>
                    <a:pt x="64028" y="131159"/>
                    <a:pt x="63182" y="132005"/>
                  </a:cubicBezTo>
                  <a:cubicBezTo>
                    <a:pt x="62900" y="132569"/>
                    <a:pt x="62900" y="133133"/>
                    <a:pt x="62054" y="133133"/>
                  </a:cubicBezTo>
                  <a:cubicBezTo>
                    <a:pt x="61771" y="133133"/>
                    <a:pt x="61771" y="132851"/>
                    <a:pt x="61771" y="132569"/>
                  </a:cubicBezTo>
                  <a:cubicBezTo>
                    <a:pt x="61771" y="132287"/>
                    <a:pt x="61771" y="132005"/>
                    <a:pt x="62054" y="131723"/>
                  </a:cubicBezTo>
                  <a:lnTo>
                    <a:pt x="62054" y="130876"/>
                  </a:lnTo>
                  <a:cubicBezTo>
                    <a:pt x="61207" y="130312"/>
                    <a:pt x="60643" y="129748"/>
                    <a:pt x="59515" y="129748"/>
                  </a:cubicBezTo>
                  <a:lnTo>
                    <a:pt x="58951" y="129748"/>
                  </a:lnTo>
                  <a:cubicBezTo>
                    <a:pt x="58669" y="129748"/>
                    <a:pt x="58669" y="129466"/>
                    <a:pt x="58387" y="129466"/>
                  </a:cubicBezTo>
                  <a:cubicBezTo>
                    <a:pt x="58105" y="129466"/>
                    <a:pt x="57823" y="129466"/>
                    <a:pt x="57540" y="129748"/>
                  </a:cubicBezTo>
                  <a:cubicBezTo>
                    <a:pt x="57259" y="130030"/>
                    <a:pt x="57259" y="130312"/>
                    <a:pt x="56976" y="130312"/>
                  </a:cubicBezTo>
                  <a:cubicBezTo>
                    <a:pt x="56976" y="130312"/>
                    <a:pt x="56695" y="130030"/>
                    <a:pt x="56412" y="130030"/>
                  </a:cubicBezTo>
                  <a:cubicBezTo>
                    <a:pt x="55848" y="129466"/>
                    <a:pt x="55848" y="129466"/>
                    <a:pt x="55848" y="129184"/>
                  </a:cubicBezTo>
                  <a:cubicBezTo>
                    <a:pt x="55848" y="128902"/>
                    <a:pt x="55848" y="128620"/>
                    <a:pt x="56130" y="128056"/>
                  </a:cubicBezTo>
                  <a:lnTo>
                    <a:pt x="56412" y="127774"/>
                  </a:lnTo>
                  <a:lnTo>
                    <a:pt x="56130" y="127774"/>
                  </a:lnTo>
                  <a:cubicBezTo>
                    <a:pt x="55848" y="127774"/>
                    <a:pt x="55848" y="127774"/>
                    <a:pt x="55284" y="128056"/>
                  </a:cubicBezTo>
                  <a:cubicBezTo>
                    <a:pt x="55002" y="128902"/>
                    <a:pt x="54438" y="129748"/>
                    <a:pt x="53874" y="130594"/>
                  </a:cubicBezTo>
                  <a:cubicBezTo>
                    <a:pt x="52745" y="132005"/>
                    <a:pt x="52181" y="133697"/>
                    <a:pt x="51335" y="135389"/>
                  </a:cubicBezTo>
                  <a:lnTo>
                    <a:pt x="51335" y="135672"/>
                  </a:lnTo>
                  <a:cubicBezTo>
                    <a:pt x="51335" y="136236"/>
                    <a:pt x="51053" y="136518"/>
                    <a:pt x="50489" y="137082"/>
                  </a:cubicBezTo>
                  <a:cubicBezTo>
                    <a:pt x="50489" y="137082"/>
                    <a:pt x="50207" y="137082"/>
                    <a:pt x="49925" y="137364"/>
                  </a:cubicBezTo>
                  <a:cubicBezTo>
                    <a:pt x="49925" y="137364"/>
                    <a:pt x="49925" y="137646"/>
                    <a:pt x="49643" y="137928"/>
                  </a:cubicBezTo>
                  <a:cubicBezTo>
                    <a:pt x="49643" y="138210"/>
                    <a:pt x="49925" y="138210"/>
                    <a:pt x="50207" y="138210"/>
                  </a:cubicBezTo>
                  <a:cubicBezTo>
                    <a:pt x="50771" y="137928"/>
                    <a:pt x="51335" y="137928"/>
                    <a:pt x="52181" y="137364"/>
                  </a:cubicBezTo>
                  <a:cubicBezTo>
                    <a:pt x="52464" y="137364"/>
                    <a:pt x="52745" y="137364"/>
                    <a:pt x="53028" y="137082"/>
                  </a:cubicBezTo>
                  <a:cubicBezTo>
                    <a:pt x="52745" y="137928"/>
                    <a:pt x="52464" y="138492"/>
                    <a:pt x="51899" y="138774"/>
                  </a:cubicBezTo>
                  <a:lnTo>
                    <a:pt x="50771" y="138774"/>
                  </a:lnTo>
                  <a:cubicBezTo>
                    <a:pt x="50489" y="139056"/>
                    <a:pt x="50207" y="139056"/>
                    <a:pt x="50207" y="139056"/>
                  </a:cubicBezTo>
                  <a:lnTo>
                    <a:pt x="49925" y="139056"/>
                  </a:lnTo>
                  <a:cubicBezTo>
                    <a:pt x="49643" y="139056"/>
                    <a:pt x="49361" y="139338"/>
                    <a:pt x="49361" y="139620"/>
                  </a:cubicBezTo>
                  <a:cubicBezTo>
                    <a:pt x="49361" y="140185"/>
                    <a:pt x="48797" y="140749"/>
                    <a:pt x="48233" y="141595"/>
                  </a:cubicBezTo>
                  <a:cubicBezTo>
                    <a:pt x="47950" y="142159"/>
                    <a:pt x="47950" y="142723"/>
                    <a:pt x="47950" y="143287"/>
                  </a:cubicBezTo>
                  <a:cubicBezTo>
                    <a:pt x="47950" y="143851"/>
                    <a:pt x="47668" y="144415"/>
                    <a:pt x="47386" y="144697"/>
                  </a:cubicBezTo>
                  <a:lnTo>
                    <a:pt x="47386" y="144980"/>
                  </a:lnTo>
                  <a:cubicBezTo>
                    <a:pt x="47386" y="145262"/>
                    <a:pt x="47668" y="145262"/>
                    <a:pt x="47668" y="145262"/>
                  </a:cubicBezTo>
                  <a:lnTo>
                    <a:pt x="47950" y="144980"/>
                  </a:lnTo>
                  <a:cubicBezTo>
                    <a:pt x="48233" y="144697"/>
                    <a:pt x="48514" y="144415"/>
                    <a:pt x="48514" y="143851"/>
                  </a:cubicBezTo>
                  <a:lnTo>
                    <a:pt x="48514" y="143569"/>
                  </a:lnTo>
                  <a:cubicBezTo>
                    <a:pt x="48514" y="143287"/>
                    <a:pt x="48797" y="143005"/>
                    <a:pt x="49078" y="142723"/>
                  </a:cubicBezTo>
                  <a:cubicBezTo>
                    <a:pt x="49078" y="142441"/>
                    <a:pt x="49361" y="142159"/>
                    <a:pt x="49643" y="142159"/>
                  </a:cubicBezTo>
                  <a:cubicBezTo>
                    <a:pt x="49925" y="141877"/>
                    <a:pt x="50207" y="141877"/>
                    <a:pt x="50489" y="141877"/>
                  </a:cubicBezTo>
                  <a:cubicBezTo>
                    <a:pt x="50771" y="141877"/>
                    <a:pt x="51053" y="142159"/>
                    <a:pt x="51053" y="142441"/>
                  </a:cubicBezTo>
                  <a:cubicBezTo>
                    <a:pt x="51053" y="143005"/>
                    <a:pt x="50771" y="143287"/>
                    <a:pt x="50489" y="143569"/>
                  </a:cubicBezTo>
                  <a:cubicBezTo>
                    <a:pt x="50207" y="143851"/>
                    <a:pt x="49643" y="143851"/>
                    <a:pt x="49361" y="144415"/>
                  </a:cubicBezTo>
                  <a:cubicBezTo>
                    <a:pt x="49361" y="144697"/>
                    <a:pt x="49078" y="144697"/>
                    <a:pt x="49361" y="144697"/>
                  </a:cubicBezTo>
                  <a:cubicBezTo>
                    <a:pt x="49361" y="144697"/>
                    <a:pt x="49361" y="144980"/>
                    <a:pt x="49643" y="144697"/>
                  </a:cubicBezTo>
                  <a:cubicBezTo>
                    <a:pt x="49643" y="144697"/>
                    <a:pt x="49925" y="144415"/>
                    <a:pt x="50207" y="144415"/>
                  </a:cubicBezTo>
                  <a:cubicBezTo>
                    <a:pt x="50489" y="144415"/>
                    <a:pt x="50771" y="144697"/>
                    <a:pt x="51053" y="144980"/>
                  </a:cubicBezTo>
                  <a:cubicBezTo>
                    <a:pt x="51335" y="145262"/>
                    <a:pt x="51335" y="145544"/>
                    <a:pt x="51617" y="145544"/>
                  </a:cubicBezTo>
                  <a:lnTo>
                    <a:pt x="51899" y="145262"/>
                  </a:lnTo>
                  <a:cubicBezTo>
                    <a:pt x="52181" y="145262"/>
                    <a:pt x="52464" y="145544"/>
                    <a:pt x="52464" y="145826"/>
                  </a:cubicBezTo>
                  <a:cubicBezTo>
                    <a:pt x="52464" y="146390"/>
                    <a:pt x="52464" y="146954"/>
                    <a:pt x="52181" y="147518"/>
                  </a:cubicBezTo>
                  <a:cubicBezTo>
                    <a:pt x="52181" y="147800"/>
                    <a:pt x="52464" y="148082"/>
                    <a:pt x="52745" y="148082"/>
                  </a:cubicBezTo>
                  <a:lnTo>
                    <a:pt x="53028" y="148082"/>
                  </a:lnTo>
                  <a:cubicBezTo>
                    <a:pt x="53028" y="148082"/>
                    <a:pt x="53309" y="148082"/>
                    <a:pt x="53309" y="148364"/>
                  </a:cubicBezTo>
                  <a:lnTo>
                    <a:pt x="53874" y="150057"/>
                  </a:lnTo>
                  <a:cubicBezTo>
                    <a:pt x="53309" y="150339"/>
                    <a:pt x="53028" y="150903"/>
                    <a:pt x="52745" y="151467"/>
                  </a:cubicBezTo>
                  <a:cubicBezTo>
                    <a:pt x="52464" y="151749"/>
                    <a:pt x="52181" y="152313"/>
                    <a:pt x="52181" y="152595"/>
                  </a:cubicBezTo>
                  <a:lnTo>
                    <a:pt x="52181" y="152877"/>
                  </a:lnTo>
                  <a:lnTo>
                    <a:pt x="51617" y="152877"/>
                  </a:lnTo>
                  <a:cubicBezTo>
                    <a:pt x="51053" y="152877"/>
                    <a:pt x="50489" y="152877"/>
                    <a:pt x="50207" y="152595"/>
                  </a:cubicBezTo>
                  <a:cubicBezTo>
                    <a:pt x="50207" y="152313"/>
                    <a:pt x="49925" y="151749"/>
                    <a:pt x="49925" y="151467"/>
                  </a:cubicBezTo>
                  <a:lnTo>
                    <a:pt x="49361" y="151467"/>
                  </a:lnTo>
                  <a:lnTo>
                    <a:pt x="49361" y="151749"/>
                  </a:lnTo>
                  <a:cubicBezTo>
                    <a:pt x="49078" y="152313"/>
                    <a:pt x="49078" y="152877"/>
                    <a:pt x="49078" y="153441"/>
                  </a:cubicBezTo>
                  <a:cubicBezTo>
                    <a:pt x="49078" y="153723"/>
                    <a:pt x="48797" y="154006"/>
                    <a:pt x="48797" y="154288"/>
                  </a:cubicBezTo>
                  <a:lnTo>
                    <a:pt x="48514" y="154288"/>
                  </a:lnTo>
                  <a:cubicBezTo>
                    <a:pt x="48233" y="154288"/>
                    <a:pt x="47950" y="154006"/>
                    <a:pt x="47668" y="154006"/>
                  </a:cubicBezTo>
                  <a:lnTo>
                    <a:pt x="47386" y="153723"/>
                  </a:lnTo>
                  <a:lnTo>
                    <a:pt x="47104" y="154006"/>
                  </a:lnTo>
                  <a:cubicBezTo>
                    <a:pt x="46822" y="154288"/>
                    <a:pt x="46822" y="154570"/>
                    <a:pt x="46822" y="154570"/>
                  </a:cubicBezTo>
                  <a:cubicBezTo>
                    <a:pt x="46822" y="154852"/>
                    <a:pt x="47104" y="155416"/>
                    <a:pt x="47386" y="155416"/>
                  </a:cubicBezTo>
                  <a:cubicBezTo>
                    <a:pt x="47668" y="155980"/>
                    <a:pt x="48233" y="156262"/>
                    <a:pt x="48233" y="156826"/>
                  </a:cubicBezTo>
                  <a:cubicBezTo>
                    <a:pt x="48233" y="157108"/>
                    <a:pt x="48514" y="157108"/>
                    <a:pt x="48797" y="157108"/>
                  </a:cubicBezTo>
                  <a:lnTo>
                    <a:pt x="49361" y="157108"/>
                  </a:lnTo>
                  <a:cubicBezTo>
                    <a:pt x="50207" y="156826"/>
                    <a:pt x="50771" y="157108"/>
                    <a:pt x="51899" y="156262"/>
                  </a:cubicBezTo>
                  <a:cubicBezTo>
                    <a:pt x="52181" y="155980"/>
                    <a:pt x="52464" y="155980"/>
                    <a:pt x="52745" y="155416"/>
                  </a:cubicBezTo>
                  <a:cubicBezTo>
                    <a:pt x="53309" y="155134"/>
                    <a:pt x="53874" y="155134"/>
                    <a:pt x="54438" y="155134"/>
                  </a:cubicBezTo>
                  <a:cubicBezTo>
                    <a:pt x="54438" y="154852"/>
                    <a:pt x="54720" y="154852"/>
                    <a:pt x="54720" y="154852"/>
                  </a:cubicBezTo>
                  <a:cubicBezTo>
                    <a:pt x="55002" y="154570"/>
                    <a:pt x="55284" y="154288"/>
                    <a:pt x="55566" y="154288"/>
                  </a:cubicBezTo>
                  <a:cubicBezTo>
                    <a:pt x="57259" y="153441"/>
                    <a:pt x="58387" y="152031"/>
                    <a:pt x="59797" y="151467"/>
                  </a:cubicBezTo>
                  <a:cubicBezTo>
                    <a:pt x="60361" y="151185"/>
                    <a:pt x="60643" y="150621"/>
                    <a:pt x="61490" y="150339"/>
                  </a:cubicBezTo>
                  <a:lnTo>
                    <a:pt x="65438" y="146954"/>
                  </a:lnTo>
                  <a:cubicBezTo>
                    <a:pt x="66848" y="146108"/>
                    <a:pt x="67695" y="144697"/>
                    <a:pt x="69387" y="143569"/>
                  </a:cubicBezTo>
                  <a:cubicBezTo>
                    <a:pt x="69669" y="143005"/>
                    <a:pt x="70233" y="142441"/>
                    <a:pt x="70798" y="141877"/>
                  </a:cubicBezTo>
                  <a:lnTo>
                    <a:pt x="73054" y="139902"/>
                  </a:lnTo>
                  <a:cubicBezTo>
                    <a:pt x="74182" y="139056"/>
                    <a:pt x="75029" y="137928"/>
                    <a:pt x="75874" y="136800"/>
                  </a:cubicBezTo>
                  <a:cubicBezTo>
                    <a:pt x="76157" y="136518"/>
                    <a:pt x="76157" y="136518"/>
                    <a:pt x="76439" y="136518"/>
                  </a:cubicBezTo>
                  <a:lnTo>
                    <a:pt x="81234" y="130876"/>
                  </a:lnTo>
                  <a:cubicBezTo>
                    <a:pt x="82926" y="128902"/>
                    <a:pt x="84336" y="126646"/>
                    <a:pt x="86029" y="124389"/>
                  </a:cubicBezTo>
                  <a:cubicBezTo>
                    <a:pt x="87157" y="122697"/>
                    <a:pt x="88285" y="120722"/>
                    <a:pt x="88849" y="119030"/>
                  </a:cubicBezTo>
                  <a:cubicBezTo>
                    <a:pt x="90542" y="115927"/>
                    <a:pt x="92234" y="113107"/>
                    <a:pt x="93080" y="109722"/>
                  </a:cubicBezTo>
                  <a:cubicBezTo>
                    <a:pt x="93080" y="109722"/>
                    <a:pt x="93363" y="109722"/>
                    <a:pt x="93363" y="109440"/>
                  </a:cubicBezTo>
                  <a:lnTo>
                    <a:pt x="96465" y="100414"/>
                  </a:lnTo>
                  <a:cubicBezTo>
                    <a:pt x="97311" y="98439"/>
                    <a:pt x="97311" y="96465"/>
                    <a:pt x="98158" y="94773"/>
                  </a:cubicBezTo>
                  <a:cubicBezTo>
                    <a:pt x="98439" y="94491"/>
                    <a:pt x="98439" y="94208"/>
                    <a:pt x="98439" y="93926"/>
                  </a:cubicBezTo>
                  <a:cubicBezTo>
                    <a:pt x="98439" y="93362"/>
                    <a:pt x="98722" y="92516"/>
                    <a:pt x="98722" y="91952"/>
                  </a:cubicBezTo>
                  <a:close/>
                  <a:moveTo>
                    <a:pt x="47668" y="152877"/>
                  </a:moveTo>
                  <a:cubicBezTo>
                    <a:pt x="47950" y="152877"/>
                    <a:pt x="47950" y="152877"/>
                    <a:pt x="47950" y="152595"/>
                  </a:cubicBezTo>
                  <a:lnTo>
                    <a:pt x="47950" y="152031"/>
                  </a:lnTo>
                  <a:cubicBezTo>
                    <a:pt x="47950" y="151749"/>
                    <a:pt x="47668" y="151749"/>
                    <a:pt x="47668" y="151749"/>
                  </a:cubicBezTo>
                  <a:cubicBezTo>
                    <a:pt x="47386" y="152031"/>
                    <a:pt x="47386" y="152031"/>
                    <a:pt x="47386" y="152313"/>
                  </a:cubicBezTo>
                  <a:lnTo>
                    <a:pt x="47668" y="152877"/>
                  </a:lnTo>
                  <a:close/>
                  <a:moveTo>
                    <a:pt x="48514" y="137646"/>
                  </a:moveTo>
                  <a:cubicBezTo>
                    <a:pt x="48797" y="137646"/>
                    <a:pt x="48797" y="137364"/>
                    <a:pt x="49078" y="137082"/>
                  </a:cubicBezTo>
                  <a:cubicBezTo>
                    <a:pt x="49078" y="136800"/>
                    <a:pt x="48797" y="136518"/>
                    <a:pt x="48514" y="136518"/>
                  </a:cubicBezTo>
                  <a:cubicBezTo>
                    <a:pt x="48514" y="136518"/>
                    <a:pt x="48233" y="136518"/>
                    <a:pt x="47950" y="136800"/>
                  </a:cubicBezTo>
                  <a:cubicBezTo>
                    <a:pt x="47668" y="136800"/>
                    <a:pt x="47950" y="137082"/>
                    <a:pt x="47950" y="137646"/>
                  </a:cubicBezTo>
                  <a:cubicBezTo>
                    <a:pt x="47950" y="137646"/>
                    <a:pt x="47668" y="137928"/>
                    <a:pt x="47668" y="138210"/>
                  </a:cubicBezTo>
                  <a:cubicBezTo>
                    <a:pt x="47668" y="138210"/>
                    <a:pt x="48233" y="138210"/>
                    <a:pt x="48514" y="137646"/>
                  </a:cubicBezTo>
                  <a:close/>
                  <a:moveTo>
                    <a:pt x="49078" y="135672"/>
                  </a:moveTo>
                  <a:lnTo>
                    <a:pt x="49361" y="135672"/>
                  </a:lnTo>
                  <a:cubicBezTo>
                    <a:pt x="50207" y="135107"/>
                    <a:pt x="50489" y="133979"/>
                    <a:pt x="51053" y="133415"/>
                  </a:cubicBezTo>
                  <a:lnTo>
                    <a:pt x="50771" y="133415"/>
                  </a:lnTo>
                  <a:cubicBezTo>
                    <a:pt x="50489" y="133415"/>
                    <a:pt x="50489" y="133415"/>
                    <a:pt x="50207" y="133697"/>
                  </a:cubicBezTo>
                  <a:cubicBezTo>
                    <a:pt x="50207" y="133979"/>
                    <a:pt x="50207" y="134261"/>
                    <a:pt x="49643" y="134543"/>
                  </a:cubicBezTo>
                  <a:cubicBezTo>
                    <a:pt x="49643" y="134825"/>
                    <a:pt x="49361" y="135107"/>
                    <a:pt x="49078" y="135389"/>
                  </a:cubicBezTo>
                  <a:lnTo>
                    <a:pt x="49078" y="135672"/>
                  </a:lnTo>
                  <a:close/>
                  <a:moveTo>
                    <a:pt x="53592" y="134825"/>
                  </a:moveTo>
                  <a:cubicBezTo>
                    <a:pt x="53592" y="134825"/>
                    <a:pt x="53592" y="134543"/>
                    <a:pt x="53874" y="134261"/>
                  </a:cubicBezTo>
                  <a:cubicBezTo>
                    <a:pt x="53874" y="133979"/>
                    <a:pt x="53592" y="133697"/>
                    <a:pt x="53592" y="133415"/>
                  </a:cubicBezTo>
                  <a:cubicBezTo>
                    <a:pt x="53592" y="132569"/>
                    <a:pt x="53874" y="132287"/>
                    <a:pt x="54438" y="132287"/>
                  </a:cubicBezTo>
                  <a:cubicBezTo>
                    <a:pt x="54720" y="132287"/>
                    <a:pt x="55002" y="132005"/>
                    <a:pt x="55284" y="132005"/>
                  </a:cubicBezTo>
                  <a:lnTo>
                    <a:pt x="55566" y="132005"/>
                  </a:lnTo>
                  <a:cubicBezTo>
                    <a:pt x="55848" y="132005"/>
                    <a:pt x="55848" y="132005"/>
                    <a:pt x="55848" y="132287"/>
                  </a:cubicBezTo>
                  <a:lnTo>
                    <a:pt x="55848" y="133133"/>
                  </a:lnTo>
                  <a:cubicBezTo>
                    <a:pt x="55848" y="133415"/>
                    <a:pt x="56130" y="133415"/>
                    <a:pt x="56130" y="133415"/>
                  </a:cubicBezTo>
                  <a:lnTo>
                    <a:pt x="56412" y="133415"/>
                  </a:lnTo>
                  <a:cubicBezTo>
                    <a:pt x="56412" y="133415"/>
                    <a:pt x="56695" y="133415"/>
                    <a:pt x="56976" y="133697"/>
                  </a:cubicBezTo>
                  <a:lnTo>
                    <a:pt x="56976" y="134543"/>
                  </a:lnTo>
                  <a:lnTo>
                    <a:pt x="56412" y="135672"/>
                  </a:lnTo>
                  <a:cubicBezTo>
                    <a:pt x="56412" y="135954"/>
                    <a:pt x="56130" y="135954"/>
                    <a:pt x="55848" y="135954"/>
                  </a:cubicBezTo>
                  <a:lnTo>
                    <a:pt x="55566" y="135954"/>
                  </a:lnTo>
                  <a:cubicBezTo>
                    <a:pt x="55002" y="136236"/>
                    <a:pt x="55284" y="137082"/>
                    <a:pt x="54720" y="137082"/>
                  </a:cubicBezTo>
                  <a:lnTo>
                    <a:pt x="53028" y="137082"/>
                  </a:lnTo>
                  <a:cubicBezTo>
                    <a:pt x="53028" y="136236"/>
                    <a:pt x="53028" y="135672"/>
                    <a:pt x="53592" y="134825"/>
                  </a:cubicBezTo>
                  <a:close/>
                  <a:moveTo>
                    <a:pt x="54720" y="148082"/>
                  </a:moveTo>
                  <a:cubicBezTo>
                    <a:pt x="55002" y="148364"/>
                    <a:pt x="55002" y="148646"/>
                    <a:pt x="55002" y="148646"/>
                  </a:cubicBezTo>
                  <a:lnTo>
                    <a:pt x="54720" y="148928"/>
                  </a:lnTo>
                  <a:lnTo>
                    <a:pt x="54438" y="148928"/>
                  </a:lnTo>
                  <a:lnTo>
                    <a:pt x="54438" y="148364"/>
                  </a:lnTo>
                  <a:cubicBezTo>
                    <a:pt x="54438" y="148364"/>
                    <a:pt x="54720" y="148364"/>
                    <a:pt x="54720" y="148082"/>
                  </a:cubicBezTo>
                  <a:close/>
                  <a:moveTo>
                    <a:pt x="54720" y="126646"/>
                  </a:moveTo>
                  <a:lnTo>
                    <a:pt x="55002" y="126646"/>
                  </a:lnTo>
                  <a:lnTo>
                    <a:pt x="55566" y="126081"/>
                  </a:lnTo>
                  <a:lnTo>
                    <a:pt x="55284" y="126081"/>
                  </a:lnTo>
                  <a:lnTo>
                    <a:pt x="55284" y="125799"/>
                  </a:lnTo>
                  <a:lnTo>
                    <a:pt x="54720" y="126363"/>
                  </a:lnTo>
                  <a:lnTo>
                    <a:pt x="54720" y="126646"/>
                  </a:lnTo>
                  <a:close/>
                  <a:moveTo>
                    <a:pt x="56976" y="131723"/>
                  </a:moveTo>
                  <a:lnTo>
                    <a:pt x="56695" y="131723"/>
                  </a:lnTo>
                  <a:cubicBezTo>
                    <a:pt x="56412" y="131723"/>
                    <a:pt x="56130" y="131723"/>
                    <a:pt x="56130" y="131441"/>
                  </a:cubicBezTo>
                  <a:lnTo>
                    <a:pt x="56976" y="130876"/>
                  </a:lnTo>
                  <a:lnTo>
                    <a:pt x="56976" y="131723"/>
                  </a:lnTo>
                  <a:close/>
                  <a:moveTo>
                    <a:pt x="58951" y="128056"/>
                  </a:moveTo>
                  <a:lnTo>
                    <a:pt x="59233" y="128338"/>
                  </a:lnTo>
                  <a:lnTo>
                    <a:pt x="61771" y="127774"/>
                  </a:lnTo>
                  <a:lnTo>
                    <a:pt x="61771" y="127492"/>
                  </a:lnTo>
                  <a:cubicBezTo>
                    <a:pt x="61490" y="127210"/>
                    <a:pt x="61207" y="126928"/>
                    <a:pt x="60926" y="126928"/>
                  </a:cubicBezTo>
                  <a:cubicBezTo>
                    <a:pt x="60079" y="126928"/>
                    <a:pt x="59797" y="127210"/>
                    <a:pt x="59233" y="127774"/>
                  </a:cubicBezTo>
                  <a:lnTo>
                    <a:pt x="58951" y="128056"/>
                  </a:lnTo>
                  <a:close/>
                  <a:moveTo>
                    <a:pt x="59797" y="120440"/>
                  </a:moveTo>
                  <a:cubicBezTo>
                    <a:pt x="60079" y="120440"/>
                    <a:pt x="60079" y="120440"/>
                    <a:pt x="60079" y="120158"/>
                  </a:cubicBezTo>
                  <a:lnTo>
                    <a:pt x="59797" y="120158"/>
                  </a:lnTo>
                  <a:lnTo>
                    <a:pt x="59797" y="120440"/>
                  </a:lnTo>
                  <a:close/>
                  <a:moveTo>
                    <a:pt x="66848" y="62900"/>
                  </a:moveTo>
                  <a:cubicBezTo>
                    <a:pt x="66567" y="62900"/>
                    <a:pt x="66567" y="63182"/>
                    <a:pt x="66284" y="63182"/>
                  </a:cubicBezTo>
                  <a:cubicBezTo>
                    <a:pt x="66284" y="62900"/>
                    <a:pt x="66284" y="62900"/>
                    <a:pt x="66567" y="62618"/>
                  </a:cubicBezTo>
                  <a:lnTo>
                    <a:pt x="66848" y="62618"/>
                  </a:lnTo>
                  <a:lnTo>
                    <a:pt x="66848" y="62900"/>
                  </a:lnTo>
                  <a:close/>
                  <a:moveTo>
                    <a:pt x="67412" y="116491"/>
                  </a:moveTo>
                  <a:cubicBezTo>
                    <a:pt x="67131" y="116491"/>
                    <a:pt x="67131" y="116773"/>
                    <a:pt x="67131" y="116773"/>
                  </a:cubicBezTo>
                  <a:lnTo>
                    <a:pt x="66848" y="116773"/>
                  </a:lnTo>
                  <a:lnTo>
                    <a:pt x="66848" y="116491"/>
                  </a:lnTo>
                  <a:lnTo>
                    <a:pt x="67412" y="116491"/>
                  </a:lnTo>
                  <a:close/>
                  <a:moveTo>
                    <a:pt x="70515" y="110004"/>
                  </a:moveTo>
                  <a:cubicBezTo>
                    <a:pt x="70515" y="110004"/>
                    <a:pt x="70798" y="110286"/>
                    <a:pt x="71079" y="110286"/>
                  </a:cubicBezTo>
                  <a:cubicBezTo>
                    <a:pt x="71079" y="110004"/>
                    <a:pt x="71362" y="109722"/>
                    <a:pt x="71643" y="109722"/>
                  </a:cubicBezTo>
                  <a:lnTo>
                    <a:pt x="71643" y="109440"/>
                  </a:lnTo>
                  <a:cubicBezTo>
                    <a:pt x="71362" y="109440"/>
                    <a:pt x="71362" y="109158"/>
                    <a:pt x="71079" y="109158"/>
                  </a:cubicBezTo>
                  <a:cubicBezTo>
                    <a:pt x="70798" y="109158"/>
                    <a:pt x="70515" y="109440"/>
                    <a:pt x="70515" y="109440"/>
                  </a:cubicBezTo>
                  <a:lnTo>
                    <a:pt x="70515" y="110004"/>
                  </a:lnTo>
                  <a:close/>
                  <a:moveTo>
                    <a:pt x="75593" y="107183"/>
                  </a:moveTo>
                  <a:lnTo>
                    <a:pt x="76157" y="107183"/>
                  </a:lnTo>
                  <a:cubicBezTo>
                    <a:pt x="76439" y="107183"/>
                    <a:pt x="76439" y="106901"/>
                    <a:pt x="76721" y="106901"/>
                  </a:cubicBezTo>
                  <a:cubicBezTo>
                    <a:pt x="76721" y="106619"/>
                    <a:pt x="76439" y="106619"/>
                    <a:pt x="76439" y="106619"/>
                  </a:cubicBezTo>
                  <a:lnTo>
                    <a:pt x="76157" y="106337"/>
                  </a:lnTo>
                  <a:lnTo>
                    <a:pt x="75874" y="106619"/>
                  </a:lnTo>
                  <a:cubicBezTo>
                    <a:pt x="75593" y="106619"/>
                    <a:pt x="75593" y="106901"/>
                    <a:pt x="75593" y="107183"/>
                  </a:cubicBezTo>
                  <a:close/>
                  <a:moveTo>
                    <a:pt x="77849" y="109722"/>
                  </a:moveTo>
                  <a:cubicBezTo>
                    <a:pt x="77567" y="109722"/>
                    <a:pt x="77285" y="110004"/>
                    <a:pt x="77285" y="110286"/>
                  </a:cubicBezTo>
                  <a:lnTo>
                    <a:pt x="77285" y="110568"/>
                  </a:lnTo>
                  <a:lnTo>
                    <a:pt x="77567" y="110568"/>
                  </a:lnTo>
                  <a:cubicBezTo>
                    <a:pt x="77849" y="110568"/>
                    <a:pt x="78131" y="110004"/>
                    <a:pt x="78131" y="109722"/>
                  </a:cubicBezTo>
                  <a:lnTo>
                    <a:pt x="77849" y="109722"/>
                  </a:lnTo>
                  <a:close/>
                  <a:moveTo>
                    <a:pt x="77567" y="153159"/>
                  </a:moveTo>
                  <a:lnTo>
                    <a:pt x="78131" y="153159"/>
                  </a:lnTo>
                  <a:lnTo>
                    <a:pt x="77849" y="153441"/>
                  </a:lnTo>
                  <a:lnTo>
                    <a:pt x="77567" y="153441"/>
                  </a:lnTo>
                  <a:lnTo>
                    <a:pt x="77567" y="153159"/>
                  </a:lnTo>
                  <a:close/>
                  <a:moveTo>
                    <a:pt x="78977" y="151749"/>
                  </a:moveTo>
                  <a:lnTo>
                    <a:pt x="79824" y="151749"/>
                  </a:lnTo>
                  <a:cubicBezTo>
                    <a:pt x="79824" y="152031"/>
                    <a:pt x="79541" y="152595"/>
                    <a:pt x="79260" y="152877"/>
                  </a:cubicBezTo>
                  <a:cubicBezTo>
                    <a:pt x="78977" y="153159"/>
                    <a:pt x="78413" y="153159"/>
                    <a:pt x="78131" y="153159"/>
                  </a:cubicBezTo>
                  <a:cubicBezTo>
                    <a:pt x="78413" y="152595"/>
                    <a:pt x="78977" y="152313"/>
                    <a:pt x="78977" y="151749"/>
                  </a:cubicBezTo>
                  <a:close/>
                  <a:moveTo>
                    <a:pt x="79880" y="100978"/>
                  </a:moveTo>
                  <a:cubicBezTo>
                    <a:pt x="80162" y="101260"/>
                    <a:pt x="80444" y="101260"/>
                    <a:pt x="80444" y="101542"/>
                  </a:cubicBezTo>
                  <a:cubicBezTo>
                    <a:pt x="81008" y="101542"/>
                    <a:pt x="81290" y="101542"/>
                    <a:pt x="81290" y="100978"/>
                  </a:cubicBezTo>
                  <a:lnTo>
                    <a:pt x="81290" y="100696"/>
                  </a:lnTo>
                  <a:lnTo>
                    <a:pt x="81008" y="100414"/>
                  </a:lnTo>
                  <a:cubicBezTo>
                    <a:pt x="80726" y="100414"/>
                    <a:pt x="80726" y="100696"/>
                    <a:pt x="80444" y="100696"/>
                  </a:cubicBezTo>
                  <a:cubicBezTo>
                    <a:pt x="80444" y="100696"/>
                    <a:pt x="80162" y="100696"/>
                    <a:pt x="80162" y="100978"/>
                  </a:cubicBezTo>
                  <a:lnTo>
                    <a:pt x="79880" y="100978"/>
                  </a:lnTo>
                  <a:close/>
                  <a:moveTo>
                    <a:pt x="93363" y="92234"/>
                  </a:moveTo>
                  <a:cubicBezTo>
                    <a:pt x="93927" y="92234"/>
                    <a:pt x="93927" y="92234"/>
                    <a:pt x="93927" y="91670"/>
                  </a:cubicBezTo>
                  <a:cubicBezTo>
                    <a:pt x="94208" y="91106"/>
                    <a:pt x="93927" y="90260"/>
                    <a:pt x="94491" y="89978"/>
                  </a:cubicBezTo>
                  <a:lnTo>
                    <a:pt x="94491" y="89696"/>
                  </a:lnTo>
                  <a:cubicBezTo>
                    <a:pt x="94491" y="89413"/>
                    <a:pt x="94491" y="89413"/>
                    <a:pt x="94208" y="89413"/>
                  </a:cubicBezTo>
                  <a:cubicBezTo>
                    <a:pt x="93644" y="89413"/>
                    <a:pt x="93644" y="89413"/>
                    <a:pt x="93363" y="89978"/>
                  </a:cubicBezTo>
                  <a:lnTo>
                    <a:pt x="92798" y="90824"/>
                  </a:lnTo>
                  <a:cubicBezTo>
                    <a:pt x="92798" y="91106"/>
                    <a:pt x="92798" y="91388"/>
                    <a:pt x="92516" y="91670"/>
                  </a:cubicBezTo>
                  <a:cubicBezTo>
                    <a:pt x="92573" y="91952"/>
                    <a:pt x="92798" y="92234"/>
                    <a:pt x="93363" y="92234"/>
                  </a:cubicBezTo>
                  <a:close/>
                  <a:moveTo>
                    <a:pt x="96521" y="90542"/>
                  </a:moveTo>
                  <a:cubicBezTo>
                    <a:pt x="96804" y="90542"/>
                    <a:pt x="96804" y="90260"/>
                    <a:pt x="97085" y="90260"/>
                  </a:cubicBezTo>
                  <a:lnTo>
                    <a:pt x="97085" y="89978"/>
                  </a:lnTo>
                  <a:lnTo>
                    <a:pt x="96804" y="89978"/>
                  </a:lnTo>
                  <a:lnTo>
                    <a:pt x="96521" y="90260"/>
                  </a:lnTo>
                  <a:lnTo>
                    <a:pt x="96521" y="90542"/>
                  </a:lnTo>
                  <a:close/>
                  <a:moveTo>
                    <a:pt x="108594" y="108876"/>
                  </a:moveTo>
                  <a:cubicBezTo>
                    <a:pt x="108311" y="108876"/>
                    <a:pt x="108594" y="108594"/>
                    <a:pt x="108594" y="108594"/>
                  </a:cubicBezTo>
                  <a:cubicBezTo>
                    <a:pt x="108311" y="108594"/>
                    <a:pt x="108030" y="108594"/>
                    <a:pt x="107747" y="108876"/>
                  </a:cubicBezTo>
                  <a:cubicBezTo>
                    <a:pt x="107747" y="108876"/>
                    <a:pt x="107747" y="109158"/>
                    <a:pt x="108030" y="109158"/>
                  </a:cubicBezTo>
                  <a:cubicBezTo>
                    <a:pt x="108086" y="109158"/>
                    <a:pt x="108311" y="109158"/>
                    <a:pt x="108594" y="108876"/>
                  </a:cubicBezTo>
                  <a:close/>
                  <a:moveTo>
                    <a:pt x="115645" y="90260"/>
                  </a:moveTo>
                  <a:lnTo>
                    <a:pt x="115363" y="90260"/>
                  </a:lnTo>
                  <a:lnTo>
                    <a:pt x="115928" y="91106"/>
                  </a:lnTo>
                  <a:lnTo>
                    <a:pt x="116209" y="91106"/>
                  </a:lnTo>
                  <a:lnTo>
                    <a:pt x="116209" y="90824"/>
                  </a:lnTo>
                  <a:cubicBezTo>
                    <a:pt x="116266" y="90542"/>
                    <a:pt x="115983" y="90542"/>
                    <a:pt x="115645" y="90260"/>
                  </a:cubicBezTo>
                  <a:close/>
                  <a:moveTo>
                    <a:pt x="130369" y="70233"/>
                  </a:moveTo>
                  <a:lnTo>
                    <a:pt x="130086" y="70233"/>
                  </a:lnTo>
                  <a:cubicBezTo>
                    <a:pt x="130086" y="70233"/>
                    <a:pt x="129805" y="70233"/>
                    <a:pt x="129805" y="70515"/>
                  </a:cubicBezTo>
                  <a:cubicBezTo>
                    <a:pt x="130086" y="70515"/>
                    <a:pt x="130086" y="70233"/>
                    <a:pt x="130369" y="70233"/>
                  </a:cubicBezTo>
                  <a:close/>
                  <a:moveTo>
                    <a:pt x="153216" y="55566"/>
                  </a:moveTo>
                  <a:cubicBezTo>
                    <a:pt x="153498" y="55284"/>
                    <a:pt x="153216" y="55284"/>
                    <a:pt x="153216" y="55284"/>
                  </a:cubicBezTo>
                  <a:lnTo>
                    <a:pt x="153216" y="55566"/>
                  </a:lnTo>
                  <a:close/>
                </a:path>
              </a:pathLst>
            </a:custGeom>
            <a:solidFill>
              <a:srgbClr val="000000"/>
            </a:solidFill>
            <a:ln w="5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3A1C659-FDE7-48BE-B5EF-38BF852BBAF7}"/>
                </a:ext>
              </a:extLst>
            </p:cNvPr>
            <p:cNvSpPr/>
            <p:nvPr/>
          </p:nvSpPr>
          <p:spPr>
            <a:xfrm>
              <a:off x="6263345" y="3351997"/>
              <a:ext cx="112825" cy="129748"/>
            </a:xfrm>
            <a:custGeom>
              <a:avLst/>
              <a:gdLst>
                <a:gd name="connsiteX0" fmla="*/ 108030 w 112824"/>
                <a:gd name="connsiteY0" fmla="*/ 66284 h 129748"/>
                <a:gd name="connsiteX1" fmla="*/ 107183 w 112824"/>
                <a:gd name="connsiteY1" fmla="*/ 68259 h 129748"/>
                <a:gd name="connsiteX2" fmla="*/ 104927 w 112824"/>
                <a:gd name="connsiteY2" fmla="*/ 70233 h 129748"/>
                <a:gd name="connsiteX3" fmla="*/ 104363 w 112824"/>
                <a:gd name="connsiteY3" fmla="*/ 71362 h 129748"/>
                <a:gd name="connsiteX4" fmla="*/ 104080 w 112824"/>
                <a:gd name="connsiteY4" fmla="*/ 71926 h 129748"/>
                <a:gd name="connsiteX5" fmla="*/ 104644 w 112824"/>
                <a:gd name="connsiteY5" fmla="*/ 73054 h 129748"/>
                <a:gd name="connsiteX6" fmla="*/ 105209 w 112824"/>
                <a:gd name="connsiteY6" fmla="*/ 73336 h 129748"/>
                <a:gd name="connsiteX7" fmla="*/ 106337 w 112824"/>
                <a:gd name="connsiteY7" fmla="*/ 73618 h 129748"/>
                <a:gd name="connsiteX8" fmla="*/ 106619 w 112824"/>
                <a:gd name="connsiteY8" fmla="*/ 73336 h 129748"/>
                <a:gd name="connsiteX9" fmla="*/ 107183 w 112824"/>
                <a:gd name="connsiteY9" fmla="*/ 73618 h 129748"/>
                <a:gd name="connsiteX10" fmla="*/ 104927 w 112824"/>
                <a:gd name="connsiteY10" fmla="*/ 77003 h 129748"/>
                <a:gd name="connsiteX11" fmla="*/ 104080 w 112824"/>
                <a:gd name="connsiteY11" fmla="*/ 78695 h 129748"/>
                <a:gd name="connsiteX12" fmla="*/ 103234 w 112824"/>
                <a:gd name="connsiteY12" fmla="*/ 78977 h 129748"/>
                <a:gd name="connsiteX13" fmla="*/ 103516 w 112824"/>
                <a:gd name="connsiteY13" fmla="*/ 78131 h 129748"/>
                <a:gd name="connsiteX14" fmla="*/ 103234 w 112824"/>
                <a:gd name="connsiteY14" fmla="*/ 77003 h 129748"/>
                <a:gd name="connsiteX15" fmla="*/ 104080 w 112824"/>
                <a:gd name="connsiteY15" fmla="*/ 74746 h 129748"/>
                <a:gd name="connsiteX16" fmla="*/ 104363 w 112824"/>
                <a:gd name="connsiteY16" fmla="*/ 74182 h 129748"/>
                <a:gd name="connsiteX17" fmla="*/ 104080 w 112824"/>
                <a:gd name="connsiteY17" fmla="*/ 74182 h 129748"/>
                <a:gd name="connsiteX18" fmla="*/ 103516 w 112824"/>
                <a:gd name="connsiteY18" fmla="*/ 74182 h 129748"/>
                <a:gd name="connsiteX19" fmla="*/ 102388 w 112824"/>
                <a:gd name="connsiteY19" fmla="*/ 75592 h 129748"/>
                <a:gd name="connsiteX20" fmla="*/ 101542 w 112824"/>
                <a:gd name="connsiteY20" fmla="*/ 76439 h 129748"/>
                <a:gd name="connsiteX21" fmla="*/ 101260 w 112824"/>
                <a:gd name="connsiteY21" fmla="*/ 76439 h 129748"/>
                <a:gd name="connsiteX22" fmla="*/ 100696 w 112824"/>
                <a:gd name="connsiteY22" fmla="*/ 76157 h 129748"/>
                <a:gd name="connsiteX23" fmla="*/ 100696 w 112824"/>
                <a:gd name="connsiteY23" fmla="*/ 75592 h 129748"/>
                <a:gd name="connsiteX24" fmla="*/ 100413 w 112824"/>
                <a:gd name="connsiteY24" fmla="*/ 75028 h 129748"/>
                <a:gd name="connsiteX25" fmla="*/ 100132 w 112824"/>
                <a:gd name="connsiteY25" fmla="*/ 75592 h 129748"/>
                <a:gd name="connsiteX26" fmla="*/ 99286 w 112824"/>
                <a:gd name="connsiteY26" fmla="*/ 76157 h 129748"/>
                <a:gd name="connsiteX27" fmla="*/ 99286 w 112824"/>
                <a:gd name="connsiteY27" fmla="*/ 78131 h 129748"/>
                <a:gd name="connsiteX28" fmla="*/ 99003 w 112824"/>
                <a:gd name="connsiteY28" fmla="*/ 78413 h 129748"/>
                <a:gd name="connsiteX29" fmla="*/ 97029 w 112824"/>
                <a:gd name="connsiteY29" fmla="*/ 77567 h 129748"/>
                <a:gd name="connsiteX30" fmla="*/ 96465 w 112824"/>
                <a:gd name="connsiteY30" fmla="*/ 77849 h 129748"/>
                <a:gd name="connsiteX31" fmla="*/ 96747 w 112824"/>
                <a:gd name="connsiteY31" fmla="*/ 78695 h 129748"/>
                <a:gd name="connsiteX32" fmla="*/ 96183 w 112824"/>
                <a:gd name="connsiteY32" fmla="*/ 79541 h 129748"/>
                <a:gd name="connsiteX33" fmla="*/ 93927 w 112824"/>
                <a:gd name="connsiteY33" fmla="*/ 82926 h 129748"/>
                <a:gd name="connsiteX34" fmla="*/ 93644 w 112824"/>
                <a:gd name="connsiteY34" fmla="*/ 83208 h 129748"/>
                <a:gd name="connsiteX35" fmla="*/ 93080 w 112824"/>
                <a:gd name="connsiteY35" fmla="*/ 83208 h 129748"/>
                <a:gd name="connsiteX36" fmla="*/ 92798 w 112824"/>
                <a:gd name="connsiteY36" fmla="*/ 83490 h 129748"/>
                <a:gd name="connsiteX37" fmla="*/ 92798 w 112824"/>
                <a:gd name="connsiteY37" fmla="*/ 84054 h 129748"/>
                <a:gd name="connsiteX38" fmla="*/ 92234 w 112824"/>
                <a:gd name="connsiteY38" fmla="*/ 85465 h 129748"/>
                <a:gd name="connsiteX39" fmla="*/ 90541 w 112824"/>
                <a:gd name="connsiteY39" fmla="*/ 86875 h 129748"/>
                <a:gd name="connsiteX40" fmla="*/ 89131 w 112824"/>
                <a:gd name="connsiteY40" fmla="*/ 87439 h 129748"/>
                <a:gd name="connsiteX41" fmla="*/ 88567 w 112824"/>
                <a:gd name="connsiteY41" fmla="*/ 88003 h 129748"/>
                <a:gd name="connsiteX42" fmla="*/ 88003 w 112824"/>
                <a:gd name="connsiteY42" fmla="*/ 88285 h 129748"/>
                <a:gd name="connsiteX43" fmla="*/ 88567 w 112824"/>
                <a:gd name="connsiteY43" fmla="*/ 88567 h 129748"/>
                <a:gd name="connsiteX44" fmla="*/ 88849 w 112824"/>
                <a:gd name="connsiteY44" fmla="*/ 88849 h 129748"/>
                <a:gd name="connsiteX45" fmla="*/ 89413 w 112824"/>
                <a:gd name="connsiteY45" fmla="*/ 89413 h 129748"/>
                <a:gd name="connsiteX46" fmla="*/ 88285 w 112824"/>
                <a:gd name="connsiteY46" fmla="*/ 90824 h 129748"/>
                <a:gd name="connsiteX47" fmla="*/ 87157 w 112824"/>
                <a:gd name="connsiteY47" fmla="*/ 91388 h 129748"/>
                <a:gd name="connsiteX48" fmla="*/ 85182 w 112824"/>
                <a:gd name="connsiteY48" fmla="*/ 92516 h 129748"/>
                <a:gd name="connsiteX49" fmla="*/ 84336 w 112824"/>
                <a:gd name="connsiteY49" fmla="*/ 94773 h 129748"/>
                <a:gd name="connsiteX50" fmla="*/ 83772 w 112824"/>
                <a:gd name="connsiteY50" fmla="*/ 96747 h 129748"/>
                <a:gd name="connsiteX51" fmla="*/ 84054 w 112824"/>
                <a:gd name="connsiteY51" fmla="*/ 97311 h 129748"/>
                <a:gd name="connsiteX52" fmla="*/ 84336 w 112824"/>
                <a:gd name="connsiteY52" fmla="*/ 97593 h 129748"/>
                <a:gd name="connsiteX53" fmla="*/ 84054 w 112824"/>
                <a:gd name="connsiteY53" fmla="*/ 97875 h 129748"/>
                <a:gd name="connsiteX54" fmla="*/ 83772 w 112824"/>
                <a:gd name="connsiteY54" fmla="*/ 98439 h 129748"/>
                <a:gd name="connsiteX55" fmla="*/ 84054 w 112824"/>
                <a:gd name="connsiteY55" fmla="*/ 99004 h 129748"/>
                <a:gd name="connsiteX56" fmla="*/ 84336 w 112824"/>
                <a:gd name="connsiteY56" fmla="*/ 99286 h 129748"/>
                <a:gd name="connsiteX57" fmla="*/ 84618 w 112824"/>
                <a:gd name="connsiteY57" fmla="*/ 99004 h 129748"/>
                <a:gd name="connsiteX58" fmla="*/ 85746 w 112824"/>
                <a:gd name="connsiteY58" fmla="*/ 97593 h 129748"/>
                <a:gd name="connsiteX59" fmla="*/ 85746 w 112824"/>
                <a:gd name="connsiteY59" fmla="*/ 97311 h 129748"/>
                <a:gd name="connsiteX60" fmla="*/ 86593 w 112824"/>
                <a:gd name="connsiteY60" fmla="*/ 96465 h 129748"/>
                <a:gd name="connsiteX61" fmla="*/ 88285 w 112824"/>
                <a:gd name="connsiteY61" fmla="*/ 95337 h 129748"/>
                <a:gd name="connsiteX62" fmla="*/ 88849 w 112824"/>
                <a:gd name="connsiteY62" fmla="*/ 94208 h 129748"/>
                <a:gd name="connsiteX63" fmla="*/ 89413 w 112824"/>
                <a:gd name="connsiteY63" fmla="*/ 94491 h 129748"/>
                <a:gd name="connsiteX64" fmla="*/ 88285 w 112824"/>
                <a:gd name="connsiteY64" fmla="*/ 96183 h 129748"/>
                <a:gd name="connsiteX65" fmla="*/ 88003 w 112824"/>
                <a:gd name="connsiteY65" fmla="*/ 96465 h 129748"/>
                <a:gd name="connsiteX66" fmla="*/ 88003 w 112824"/>
                <a:gd name="connsiteY66" fmla="*/ 96747 h 129748"/>
                <a:gd name="connsiteX67" fmla="*/ 86310 w 112824"/>
                <a:gd name="connsiteY67" fmla="*/ 99004 h 129748"/>
                <a:gd name="connsiteX68" fmla="*/ 84618 w 112824"/>
                <a:gd name="connsiteY68" fmla="*/ 100978 h 129748"/>
                <a:gd name="connsiteX69" fmla="*/ 82079 w 112824"/>
                <a:gd name="connsiteY69" fmla="*/ 103234 h 129748"/>
                <a:gd name="connsiteX70" fmla="*/ 81234 w 112824"/>
                <a:gd name="connsiteY70" fmla="*/ 103799 h 129748"/>
                <a:gd name="connsiteX71" fmla="*/ 80952 w 112824"/>
                <a:gd name="connsiteY71" fmla="*/ 103799 h 129748"/>
                <a:gd name="connsiteX72" fmla="*/ 79824 w 112824"/>
                <a:gd name="connsiteY72" fmla="*/ 102670 h 129748"/>
                <a:gd name="connsiteX73" fmla="*/ 79541 w 112824"/>
                <a:gd name="connsiteY73" fmla="*/ 102388 h 129748"/>
                <a:gd name="connsiteX74" fmla="*/ 79541 w 112824"/>
                <a:gd name="connsiteY74" fmla="*/ 102106 h 129748"/>
                <a:gd name="connsiteX75" fmla="*/ 79824 w 112824"/>
                <a:gd name="connsiteY75" fmla="*/ 101824 h 129748"/>
                <a:gd name="connsiteX76" fmla="*/ 80388 w 112824"/>
                <a:gd name="connsiteY76" fmla="*/ 101260 h 129748"/>
                <a:gd name="connsiteX77" fmla="*/ 80669 w 112824"/>
                <a:gd name="connsiteY77" fmla="*/ 100978 h 129748"/>
                <a:gd name="connsiteX78" fmla="*/ 80388 w 112824"/>
                <a:gd name="connsiteY78" fmla="*/ 100696 h 129748"/>
                <a:gd name="connsiteX79" fmla="*/ 79824 w 112824"/>
                <a:gd name="connsiteY79" fmla="*/ 100132 h 129748"/>
                <a:gd name="connsiteX80" fmla="*/ 80388 w 112824"/>
                <a:gd name="connsiteY80" fmla="*/ 99850 h 129748"/>
                <a:gd name="connsiteX81" fmla="*/ 80388 w 112824"/>
                <a:gd name="connsiteY81" fmla="*/ 99568 h 129748"/>
                <a:gd name="connsiteX82" fmla="*/ 80669 w 112824"/>
                <a:gd name="connsiteY82" fmla="*/ 99286 h 129748"/>
                <a:gd name="connsiteX83" fmla="*/ 80669 w 112824"/>
                <a:gd name="connsiteY83" fmla="*/ 99004 h 129748"/>
                <a:gd name="connsiteX84" fmla="*/ 80105 w 112824"/>
                <a:gd name="connsiteY84" fmla="*/ 98721 h 129748"/>
                <a:gd name="connsiteX85" fmla="*/ 79824 w 112824"/>
                <a:gd name="connsiteY85" fmla="*/ 98721 h 129748"/>
                <a:gd name="connsiteX86" fmla="*/ 77567 w 112824"/>
                <a:gd name="connsiteY86" fmla="*/ 100978 h 129748"/>
                <a:gd name="connsiteX87" fmla="*/ 77285 w 112824"/>
                <a:gd name="connsiteY87" fmla="*/ 101260 h 129748"/>
                <a:gd name="connsiteX88" fmla="*/ 77567 w 112824"/>
                <a:gd name="connsiteY88" fmla="*/ 101542 h 129748"/>
                <a:gd name="connsiteX89" fmla="*/ 78131 w 112824"/>
                <a:gd name="connsiteY89" fmla="*/ 101542 h 129748"/>
                <a:gd name="connsiteX90" fmla="*/ 78413 w 112824"/>
                <a:gd name="connsiteY90" fmla="*/ 101824 h 129748"/>
                <a:gd name="connsiteX91" fmla="*/ 77849 w 112824"/>
                <a:gd name="connsiteY91" fmla="*/ 102106 h 129748"/>
                <a:gd name="connsiteX92" fmla="*/ 76721 w 112824"/>
                <a:gd name="connsiteY92" fmla="*/ 103799 h 129748"/>
                <a:gd name="connsiteX93" fmla="*/ 76721 w 112824"/>
                <a:gd name="connsiteY93" fmla="*/ 104363 h 129748"/>
                <a:gd name="connsiteX94" fmla="*/ 77003 w 112824"/>
                <a:gd name="connsiteY94" fmla="*/ 105491 h 129748"/>
                <a:gd name="connsiteX95" fmla="*/ 77003 w 112824"/>
                <a:gd name="connsiteY95" fmla="*/ 105773 h 129748"/>
                <a:gd name="connsiteX96" fmla="*/ 76438 w 112824"/>
                <a:gd name="connsiteY96" fmla="*/ 106337 h 129748"/>
                <a:gd name="connsiteX97" fmla="*/ 76157 w 112824"/>
                <a:gd name="connsiteY97" fmla="*/ 106619 h 129748"/>
                <a:gd name="connsiteX98" fmla="*/ 76438 w 112824"/>
                <a:gd name="connsiteY98" fmla="*/ 106619 h 129748"/>
                <a:gd name="connsiteX99" fmla="*/ 76721 w 112824"/>
                <a:gd name="connsiteY99" fmla="*/ 107183 h 129748"/>
                <a:gd name="connsiteX100" fmla="*/ 77003 w 112824"/>
                <a:gd name="connsiteY100" fmla="*/ 107747 h 129748"/>
                <a:gd name="connsiteX101" fmla="*/ 76157 w 112824"/>
                <a:gd name="connsiteY101" fmla="*/ 108594 h 129748"/>
                <a:gd name="connsiteX102" fmla="*/ 74746 w 112824"/>
                <a:gd name="connsiteY102" fmla="*/ 108876 h 129748"/>
                <a:gd name="connsiteX103" fmla="*/ 74182 w 112824"/>
                <a:gd name="connsiteY103" fmla="*/ 109440 h 129748"/>
                <a:gd name="connsiteX104" fmla="*/ 74464 w 112824"/>
                <a:gd name="connsiteY104" fmla="*/ 110004 h 129748"/>
                <a:gd name="connsiteX105" fmla="*/ 74746 w 112824"/>
                <a:gd name="connsiteY105" fmla="*/ 110568 h 129748"/>
                <a:gd name="connsiteX106" fmla="*/ 74746 w 112824"/>
                <a:gd name="connsiteY106" fmla="*/ 110850 h 129748"/>
                <a:gd name="connsiteX107" fmla="*/ 74182 w 112824"/>
                <a:gd name="connsiteY107" fmla="*/ 110850 h 129748"/>
                <a:gd name="connsiteX108" fmla="*/ 72772 w 112824"/>
                <a:gd name="connsiteY108" fmla="*/ 110286 h 129748"/>
                <a:gd name="connsiteX109" fmla="*/ 72207 w 112824"/>
                <a:gd name="connsiteY109" fmla="*/ 110286 h 129748"/>
                <a:gd name="connsiteX110" fmla="*/ 71643 w 112824"/>
                <a:gd name="connsiteY110" fmla="*/ 109722 h 129748"/>
                <a:gd name="connsiteX111" fmla="*/ 72490 w 112824"/>
                <a:gd name="connsiteY111" fmla="*/ 108876 h 129748"/>
                <a:gd name="connsiteX112" fmla="*/ 72207 w 112824"/>
                <a:gd name="connsiteY112" fmla="*/ 108594 h 129748"/>
                <a:gd name="connsiteX113" fmla="*/ 72490 w 112824"/>
                <a:gd name="connsiteY113" fmla="*/ 108312 h 129748"/>
                <a:gd name="connsiteX114" fmla="*/ 71362 w 112824"/>
                <a:gd name="connsiteY114" fmla="*/ 108594 h 129748"/>
                <a:gd name="connsiteX115" fmla="*/ 68541 w 112824"/>
                <a:gd name="connsiteY115" fmla="*/ 108594 h 129748"/>
                <a:gd name="connsiteX116" fmla="*/ 68259 w 112824"/>
                <a:gd name="connsiteY116" fmla="*/ 109440 h 129748"/>
                <a:gd name="connsiteX117" fmla="*/ 70233 w 112824"/>
                <a:gd name="connsiteY117" fmla="*/ 111132 h 129748"/>
                <a:gd name="connsiteX118" fmla="*/ 70515 w 112824"/>
                <a:gd name="connsiteY118" fmla="*/ 111414 h 129748"/>
                <a:gd name="connsiteX119" fmla="*/ 70515 w 112824"/>
                <a:gd name="connsiteY119" fmla="*/ 111696 h 129748"/>
                <a:gd name="connsiteX120" fmla="*/ 70797 w 112824"/>
                <a:gd name="connsiteY120" fmla="*/ 112260 h 129748"/>
                <a:gd name="connsiteX121" fmla="*/ 70797 w 112824"/>
                <a:gd name="connsiteY121" fmla="*/ 113107 h 129748"/>
                <a:gd name="connsiteX122" fmla="*/ 68259 w 112824"/>
                <a:gd name="connsiteY122" fmla="*/ 116209 h 129748"/>
                <a:gd name="connsiteX123" fmla="*/ 67131 w 112824"/>
                <a:gd name="connsiteY123" fmla="*/ 117055 h 129748"/>
                <a:gd name="connsiteX124" fmla="*/ 65438 w 112824"/>
                <a:gd name="connsiteY124" fmla="*/ 119030 h 129748"/>
                <a:gd name="connsiteX125" fmla="*/ 62900 w 112824"/>
                <a:gd name="connsiteY125" fmla="*/ 121004 h 129748"/>
                <a:gd name="connsiteX126" fmla="*/ 60925 w 112824"/>
                <a:gd name="connsiteY126" fmla="*/ 122415 h 129748"/>
                <a:gd name="connsiteX127" fmla="*/ 58104 w 112824"/>
                <a:gd name="connsiteY127" fmla="*/ 124389 h 129748"/>
                <a:gd name="connsiteX128" fmla="*/ 56412 w 112824"/>
                <a:gd name="connsiteY128" fmla="*/ 125517 h 129748"/>
                <a:gd name="connsiteX129" fmla="*/ 54156 w 112824"/>
                <a:gd name="connsiteY129" fmla="*/ 126646 h 129748"/>
                <a:gd name="connsiteX130" fmla="*/ 48232 w 112824"/>
                <a:gd name="connsiteY130" fmla="*/ 129466 h 129748"/>
                <a:gd name="connsiteX131" fmla="*/ 46822 w 112824"/>
                <a:gd name="connsiteY131" fmla="*/ 130876 h 129748"/>
                <a:gd name="connsiteX132" fmla="*/ 44848 w 112824"/>
                <a:gd name="connsiteY132" fmla="*/ 130876 h 129748"/>
                <a:gd name="connsiteX133" fmla="*/ 44001 w 112824"/>
                <a:gd name="connsiteY133" fmla="*/ 131159 h 129748"/>
                <a:gd name="connsiteX134" fmla="*/ 42027 w 112824"/>
                <a:gd name="connsiteY134" fmla="*/ 132005 h 129748"/>
                <a:gd name="connsiteX135" fmla="*/ 40053 w 112824"/>
                <a:gd name="connsiteY135" fmla="*/ 132287 h 129748"/>
                <a:gd name="connsiteX136" fmla="*/ 38642 w 112824"/>
                <a:gd name="connsiteY136" fmla="*/ 132851 h 129748"/>
                <a:gd name="connsiteX137" fmla="*/ 38078 w 112824"/>
                <a:gd name="connsiteY137" fmla="*/ 133133 h 129748"/>
                <a:gd name="connsiteX138" fmla="*/ 37796 w 112824"/>
                <a:gd name="connsiteY138" fmla="*/ 132851 h 129748"/>
                <a:gd name="connsiteX139" fmla="*/ 36386 w 112824"/>
                <a:gd name="connsiteY139" fmla="*/ 132569 h 129748"/>
                <a:gd name="connsiteX140" fmla="*/ 34975 w 112824"/>
                <a:gd name="connsiteY140" fmla="*/ 132851 h 129748"/>
                <a:gd name="connsiteX141" fmla="*/ 33565 w 112824"/>
                <a:gd name="connsiteY141" fmla="*/ 133133 h 129748"/>
                <a:gd name="connsiteX142" fmla="*/ 30180 w 112824"/>
                <a:gd name="connsiteY142" fmla="*/ 133133 h 129748"/>
                <a:gd name="connsiteX143" fmla="*/ 28770 w 112824"/>
                <a:gd name="connsiteY143" fmla="*/ 132851 h 129748"/>
                <a:gd name="connsiteX144" fmla="*/ 24257 w 112824"/>
                <a:gd name="connsiteY144" fmla="*/ 132851 h 129748"/>
                <a:gd name="connsiteX145" fmla="*/ 23129 w 112824"/>
                <a:gd name="connsiteY145" fmla="*/ 132569 h 129748"/>
                <a:gd name="connsiteX146" fmla="*/ 22283 w 112824"/>
                <a:gd name="connsiteY146" fmla="*/ 132287 h 129748"/>
                <a:gd name="connsiteX147" fmla="*/ 18052 w 112824"/>
                <a:gd name="connsiteY147" fmla="*/ 131441 h 129748"/>
                <a:gd name="connsiteX148" fmla="*/ 17488 w 112824"/>
                <a:gd name="connsiteY148" fmla="*/ 131159 h 129748"/>
                <a:gd name="connsiteX149" fmla="*/ 15795 w 112824"/>
                <a:gd name="connsiteY149" fmla="*/ 130312 h 129748"/>
                <a:gd name="connsiteX150" fmla="*/ 14667 w 112824"/>
                <a:gd name="connsiteY150" fmla="*/ 129466 h 129748"/>
                <a:gd name="connsiteX151" fmla="*/ 12974 w 112824"/>
                <a:gd name="connsiteY151" fmla="*/ 128338 h 129748"/>
                <a:gd name="connsiteX152" fmla="*/ 11000 w 112824"/>
                <a:gd name="connsiteY152" fmla="*/ 128338 h 129748"/>
                <a:gd name="connsiteX153" fmla="*/ 10718 w 112824"/>
                <a:gd name="connsiteY153" fmla="*/ 127774 h 129748"/>
                <a:gd name="connsiteX154" fmla="*/ 11282 w 112824"/>
                <a:gd name="connsiteY154" fmla="*/ 127210 h 129748"/>
                <a:gd name="connsiteX155" fmla="*/ 11282 w 112824"/>
                <a:gd name="connsiteY155" fmla="*/ 126928 h 129748"/>
                <a:gd name="connsiteX156" fmla="*/ 11000 w 112824"/>
                <a:gd name="connsiteY156" fmla="*/ 126646 h 129748"/>
                <a:gd name="connsiteX157" fmla="*/ 10436 w 112824"/>
                <a:gd name="connsiteY157" fmla="*/ 126363 h 129748"/>
                <a:gd name="connsiteX158" fmla="*/ 8743 w 112824"/>
                <a:gd name="connsiteY158" fmla="*/ 125799 h 129748"/>
                <a:gd name="connsiteX159" fmla="*/ 8462 w 112824"/>
                <a:gd name="connsiteY159" fmla="*/ 125799 h 129748"/>
                <a:gd name="connsiteX160" fmla="*/ 8180 w 112824"/>
                <a:gd name="connsiteY160" fmla="*/ 125517 h 129748"/>
                <a:gd name="connsiteX161" fmla="*/ 8462 w 112824"/>
                <a:gd name="connsiteY161" fmla="*/ 124953 h 129748"/>
                <a:gd name="connsiteX162" fmla="*/ 8462 w 112824"/>
                <a:gd name="connsiteY162" fmla="*/ 124389 h 129748"/>
                <a:gd name="connsiteX163" fmla="*/ 7333 w 112824"/>
                <a:gd name="connsiteY163" fmla="*/ 124389 h 129748"/>
                <a:gd name="connsiteX164" fmla="*/ 7052 w 112824"/>
                <a:gd name="connsiteY164" fmla="*/ 123543 h 129748"/>
                <a:gd name="connsiteX165" fmla="*/ 7333 w 112824"/>
                <a:gd name="connsiteY165" fmla="*/ 123543 h 129748"/>
                <a:gd name="connsiteX166" fmla="*/ 7898 w 112824"/>
                <a:gd name="connsiteY166" fmla="*/ 122415 h 129748"/>
                <a:gd name="connsiteX167" fmla="*/ 7052 w 112824"/>
                <a:gd name="connsiteY167" fmla="*/ 121004 h 129748"/>
                <a:gd name="connsiteX168" fmla="*/ 2257 w 112824"/>
                <a:gd name="connsiteY168" fmla="*/ 114235 h 129748"/>
                <a:gd name="connsiteX169" fmla="*/ 1692 w 112824"/>
                <a:gd name="connsiteY169" fmla="*/ 112542 h 129748"/>
                <a:gd name="connsiteX170" fmla="*/ 846 w 112824"/>
                <a:gd name="connsiteY170" fmla="*/ 109722 h 129748"/>
                <a:gd name="connsiteX171" fmla="*/ 846 w 112824"/>
                <a:gd name="connsiteY171" fmla="*/ 106619 h 129748"/>
                <a:gd name="connsiteX172" fmla="*/ 564 w 112824"/>
                <a:gd name="connsiteY172" fmla="*/ 105209 h 129748"/>
                <a:gd name="connsiteX173" fmla="*/ 846 w 112824"/>
                <a:gd name="connsiteY173" fmla="*/ 104363 h 129748"/>
                <a:gd name="connsiteX174" fmla="*/ 846 w 112824"/>
                <a:gd name="connsiteY174" fmla="*/ 102670 h 129748"/>
                <a:gd name="connsiteX175" fmla="*/ 1128 w 112824"/>
                <a:gd name="connsiteY175" fmla="*/ 101824 h 129748"/>
                <a:gd name="connsiteX176" fmla="*/ 846 w 112824"/>
                <a:gd name="connsiteY176" fmla="*/ 100978 h 129748"/>
                <a:gd name="connsiteX177" fmla="*/ 564 w 112824"/>
                <a:gd name="connsiteY177" fmla="*/ 99286 h 129748"/>
                <a:gd name="connsiteX178" fmla="*/ 564 w 112824"/>
                <a:gd name="connsiteY178" fmla="*/ 98721 h 129748"/>
                <a:gd name="connsiteX179" fmla="*/ 846 w 112824"/>
                <a:gd name="connsiteY179" fmla="*/ 97593 h 129748"/>
                <a:gd name="connsiteX180" fmla="*/ 282 w 112824"/>
                <a:gd name="connsiteY180" fmla="*/ 96747 h 129748"/>
                <a:gd name="connsiteX181" fmla="*/ 0 w 112824"/>
                <a:gd name="connsiteY181" fmla="*/ 95901 h 129748"/>
                <a:gd name="connsiteX182" fmla="*/ 564 w 112824"/>
                <a:gd name="connsiteY182" fmla="*/ 94491 h 129748"/>
                <a:gd name="connsiteX183" fmla="*/ 282 w 112824"/>
                <a:gd name="connsiteY183" fmla="*/ 93080 h 129748"/>
                <a:gd name="connsiteX184" fmla="*/ 564 w 112824"/>
                <a:gd name="connsiteY184" fmla="*/ 89413 h 129748"/>
                <a:gd name="connsiteX185" fmla="*/ 282 w 112824"/>
                <a:gd name="connsiteY185" fmla="*/ 88567 h 129748"/>
                <a:gd name="connsiteX186" fmla="*/ 846 w 112824"/>
                <a:gd name="connsiteY186" fmla="*/ 87157 h 129748"/>
                <a:gd name="connsiteX187" fmla="*/ 1128 w 112824"/>
                <a:gd name="connsiteY187" fmla="*/ 86593 h 129748"/>
                <a:gd name="connsiteX188" fmla="*/ 1692 w 112824"/>
                <a:gd name="connsiteY188" fmla="*/ 87439 h 129748"/>
                <a:gd name="connsiteX189" fmla="*/ 1692 w 112824"/>
                <a:gd name="connsiteY189" fmla="*/ 88003 h 129748"/>
                <a:gd name="connsiteX190" fmla="*/ 1974 w 112824"/>
                <a:gd name="connsiteY190" fmla="*/ 87721 h 129748"/>
                <a:gd name="connsiteX191" fmla="*/ 1974 w 112824"/>
                <a:gd name="connsiteY191" fmla="*/ 85183 h 129748"/>
                <a:gd name="connsiteX192" fmla="*/ 2257 w 112824"/>
                <a:gd name="connsiteY192" fmla="*/ 84618 h 129748"/>
                <a:gd name="connsiteX193" fmla="*/ 2821 w 112824"/>
                <a:gd name="connsiteY193" fmla="*/ 84054 h 129748"/>
                <a:gd name="connsiteX194" fmla="*/ 2538 w 112824"/>
                <a:gd name="connsiteY194" fmla="*/ 84054 h 129748"/>
                <a:gd name="connsiteX195" fmla="*/ 1974 w 112824"/>
                <a:gd name="connsiteY195" fmla="*/ 81798 h 129748"/>
                <a:gd name="connsiteX196" fmla="*/ 1974 w 112824"/>
                <a:gd name="connsiteY196" fmla="*/ 81234 h 129748"/>
                <a:gd name="connsiteX197" fmla="*/ 1692 w 112824"/>
                <a:gd name="connsiteY197" fmla="*/ 80670 h 129748"/>
                <a:gd name="connsiteX198" fmla="*/ 1974 w 112824"/>
                <a:gd name="connsiteY198" fmla="*/ 78977 h 129748"/>
                <a:gd name="connsiteX199" fmla="*/ 1974 w 112824"/>
                <a:gd name="connsiteY199" fmla="*/ 78131 h 129748"/>
                <a:gd name="connsiteX200" fmla="*/ 2257 w 112824"/>
                <a:gd name="connsiteY200" fmla="*/ 77003 h 129748"/>
                <a:gd name="connsiteX201" fmla="*/ 2821 w 112824"/>
                <a:gd name="connsiteY201" fmla="*/ 76721 h 129748"/>
                <a:gd name="connsiteX202" fmla="*/ 3385 w 112824"/>
                <a:gd name="connsiteY202" fmla="*/ 76157 h 129748"/>
                <a:gd name="connsiteX203" fmla="*/ 3667 w 112824"/>
                <a:gd name="connsiteY203" fmla="*/ 75875 h 129748"/>
                <a:gd name="connsiteX204" fmla="*/ 3667 w 112824"/>
                <a:gd name="connsiteY204" fmla="*/ 75592 h 129748"/>
                <a:gd name="connsiteX205" fmla="*/ 3385 w 112824"/>
                <a:gd name="connsiteY205" fmla="*/ 75310 h 129748"/>
                <a:gd name="connsiteX206" fmla="*/ 2821 w 112824"/>
                <a:gd name="connsiteY206" fmla="*/ 75592 h 129748"/>
                <a:gd name="connsiteX207" fmla="*/ 2538 w 112824"/>
                <a:gd name="connsiteY207" fmla="*/ 75592 h 129748"/>
                <a:gd name="connsiteX208" fmla="*/ 2821 w 112824"/>
                <a:gd name="connsiteY208" fmla="*/ 74746 h 129748"/>
                <a:gd name="connsiteX209" fmla="*/ 3102 w 112824"/>
                <a:gd name="connsiteY209" fmla="*/ 73900 h 129748"/>
                <a:gd name="connsiteX210" fmla="*/ 2538 w 112824"/>
                <a:gd name="connsiteY210" fmla="*/ 72490 h 129748"/>
                <a:gd name="connsiteX211" fmla="*/ 2821 w 112824"/>
                <a:gd name="connsiteY211" fmla="*/ 71926 h 129748"/>
                <a:gd name="connsiteX212" fmla="*/ 2538 w 112824"/>
                <a:gd name="connsiteY212" fmla="*/ 71079 h 129748"/>
                <a:gd name="connsiteX213" fmla="*/ 2538 w 112824"/>
                <a:gd name="connsiteY213" fmla="*/ 70797 h 129748"/>
                <a:gd name="connsiteX214" fmla="*/ 3667 w 112824"/>
                <a:gd name="connsiteY214" fmla="*/ 67977 h 129748"/>
                <a:gd name="connsiteX215" fmla="*/ 3385 w 112824"/>
                <a:gd name="connsiteY215" fmla="*/ 66849 h 129748"/>
                <a:gd name="connsiteX216" fmla="*/ 3949 w 112824"/>
                <a:gd name="connsiteY216" fmla="*/ 64592 h 129748"/>
                <a:gd name="connsiteX217" fmla="*/ 3949 w 112824"/>
                <a:gd name="connsiteY217" fmla="*/ 64028 h 129748"/>
                <a:gd name="connsiteX218" fmla="*/ 4795 w 112824"/>
                <a:gd name="connsiteY218" fmla="*/ 63182 h 129748"/>
                <a:gd name="connsiteX219" fmla="*/ 5077 w 112824"/>
                <a:gd name="connsiteY219" fmla="*/ 62618 h 129748"/>
                <a:gd name="connsiteX220" fmla="*/ 4795 w 112824"/>
                <a:gd name="connsiteY220" fmla="*/ 61771 h 129748"/>
                <a:gd name="connsiteX221" fmla="*/ 5077 w 112824"/>
                <a:gd name="connsiteY221" fmla="*/ 60361 h 129748"/>
                <a:gd name="connsiteX222" fmla="*/ 5359 w 112824"/>
                <a:gd name="connsiteY222" fmla="*/ 59797 h 129748"/>
                <a:gd name="connsiteX223" fmla="*/ 5923 w 112824"/>
                <a:gd name="connsiteY223" fmla="*/ 58669 h 129748"/>
                <a:gd name="connsiteX224" fmla="*/ 5923 w 112824"/>
                <a:gd name="connsiteY224" fmla="*/ 56976 h 129748"/>
                <a:gd name="connsiteX225" fmla="*/ 6205 w 112824"/>
                <a:gd name="connsiteY225" fmla="*/ 54156 h 129748"/>
                <a:gd name="connsiteX226" fmla="*/ 7898 w 112824"/>
                <a:gd name="connsiteY226" fmla="*/ 51335 h 129748"/>
                <a:gd name="connsiteX227" fmla="*/ 8462 w 112824"/>
                <a:gd name="connsiteY227" fmla="*/ 49925 h 129748"/>
                <a:gd name="connsiteX228" fmla="*/ 8180 w 112824"/>
                <a:gd name="connsiteY228" fmla="*/ 48797 h 129748"/>
                <a:gd name="connsiteX229" fmla="*/ 8743 w 112824"/>
                <a:gd name="connsiteY229" fmla="*/ 47386 h 129748"/>
                <a:gd name="connsiteX230" fmla="*/ 11000 w 112824"/>
                <a:gd name="connsiteY230" fmla="*/ 42309 h 129748"/>
                <a:gd name="connsiteX231" fmla="*/ 11564 w 112824"/>
                <a:gd name="connsiteY231" fmla="*/ 40053 h 129748"/>
                <a:gd name="connsiteX232" fmla="*/ 12410 w 112824"/>
                <a:gd name="connsiteY232" fmla="*/ 37796 h 129748"/>
                <a:gd name="connsiteX233" fmla="*/ 13257 w 112824"/>
                <a:gd name="connsiteY233" fmla="*/ 37232 h 129748"/>
                <a:gd name="connsiteX234" fmla="*/ 14385 w 112824"/>
                <a:gd name="connsiteY234" fmla="*/ 34129 h 129748"/>
                <a:gd name="connsiteX235" fmla="*/ 16360 w 112824"/>
                <a:gd name="connsiteY235" fmla="*/ 30181 h 129748"/>
                <a:gd name="connsiteX236" fmla="*/ 16924 w 112824"/>
                <a:gd name="connsiteY236" fmla="*/ 27924 h 129748"/>
                <a:gd name="connsiteX237" fmla="*/ 17488 w 112824"/>
                <a:gd name="connsiteY237" fmla="*/ 27078 h 129748"/>
                <a:gd name="connsiteX238" fmla="*/ 19462 w 112824"/>
                <a:gd name="connsiteY238" fmla="*/ 24539 h 129748"/>
                <a:gd name="connsiteX239" fmla="*/ 21719 w 112824"/>
                <a:gd name="connsiteY239" fmla="*/ 20590 h 129748"/>
                <a:gd name="connsiteX240" fmla="*/ 21719 w 112824"/>
                <a:gd name="connsiteY240" fmla="*/ 20308 h 129748"/>
                <a:gd name="connsiteX241" fmla="*/ 23129 w 112824"/>
                <a:gd name="connsiteY241" fmla="*/ 18052 h 129748"/>
                <a:gd name="connsiteX242" fmla="*/ 23129 w 112824"/>
                <a:gd name="connsiteY242" fmla="*/ 17770 h 129748"/>
                <a:gd name="connsiteX243" fmla="*/ 26232 w 112824"/>
                <a:gd name="connsiteY243" fmla="*/ 12693 h 129748"/>
                <a:gd name="connsiteX244" fmla="*/ 30180 w 112824"/>
                <a:gd name="connsiteY244" fmla="*/ 8462 h 129748"/>
                <a:gd name="connsiteX245" fmla="*/ 31027 w 112824"/>
                <a:gd name="connsiteY245" fmla="*/ 7052 h 129748"/>
                <a:gd name="connsiteX246" fmla="*/ 32719 w 112824"/>
                <a:gd name="connsiteY246" fmla="*/ 5923 h 129748"/>
                <a:gd name="connsiteX247" fmla="*/ 35539 w 112824"/>
                <a:gd name="connsiteY247" fmla="*/ 3949 h 129748"/>
                <a:gd name="connsiteX248" fmla="*/ 36104 w 112824"/>
                <a:gd name="connsiteY248" fmla="*/ 3667 h 129748"/>
                <a:gd name="connsiteX249" fmla="*/ 39770 w 112824"/>
                <a:gd name="connsiteY249" fmla="*/ 1410 h 129748"/>
                <a:gd name="connsiteX250" fmla="*/ 42027 w 112824"/>
                <a:gd name="connsiteY250" fmla="*/ 564 h 129748"/>
                <a:gd name="connsiteX251" fmla="*/ 44566 w 112824"/>
                <a:gd name="connsiteY251" fmla="*/ 0 h 129748"/>
                <a:gd name="connsiteX252" fmla="*/ 49642 w 112824"/>
                <a:gd name="connsiteY252" fmla="*/ 0 h 129748"/>
                <a:gd name="connsiteX253" fmla="*/ 51617 w 112824"/>
                <a:gd name="connsiteY253" fmla="*/ 1410 h 129748"/>
                <a:gd name="connsiteX254" fmla="*/ 52181 w 112824"/>
                <a:gd name="connsiteY254" fmla="*/ 1974 h 129748"/>
                <a:gd name="connsiteX255" fmla="*/ 54720 w 112824"/>
                <a:gd name="connsiteY255" fmla="*/ 3667 h 129748"/>
                <a:gd name="connsiteX256" fmla="*/ 55848 w 112824"/>
                <a:gd name="connsiteY256" fmla="*/ 4513 h 129748"/>
                <a:gd name="connsiteX257" fmla="*/ 56694 w 112824"/>
                <a:gd name="connsiteY257" fmla="*/ 5077 h 129748"/>
                <a:gd name="connsiteX258" fmla="*/ 57259 w 112824"/>
                <a:gd name="connsiteY258" fmla="*/ 5923 h 129748"/>
                <a:gd name="connsiteX259" fmla="*/ 58951 w 112824"/>
                <a:gd name="connsiteY259" fmla="*/ 6487 h 129748"/>
                <a:gd name="connsiteX260" fmla="*/ 59515 w 112824"/>
                <a:gd name="connsiteY260" fmla="*/ 6487 h 129748"/>
                <a:gd name="connsiteX261" fmla="*/ 61207 w 112824"/>
                <a:gd name="connsiteY261" fmla="*/ 7616 h 129748"/>
                <a:gd name="connsiteX262" fmla="*/ 61490 w 112824"/>
                <a:gd name="connsiteY262" fmla="*/ 8462 h 129748"/>
                <a:gd name="connsiteX263" fmla="*/ 61207 w 112824"/>
                <a:gd name="connsiteY263" fmla="*/ 9026 h 129748"/>
                <a:gd name="connsiteX264" fmla="*/ 59233 w 112824"/>
                <a:gd name="connsiteY264" fmla="*/ 9590 h 129748"/>
                <a:gd name="connsiteX265" fmla="*/ 58951 w 112824"/>
                <a:gd name="connsiteY265" fmla="*/ 9872 h 129748"/>
                <a:gd name="connsiteX266" fmla="*/ 58669 w 112824"/>
                <a:gd name="connsiteY266" fmla="*/ 9026 h 129748"/>
                <a:gd name="connsiteX267" fmla="*/ 58669 w 112824"/>
                <a:gd name="connsiteY267" fmla="*/ 8462 h 129748"/>
                <a:gd name="connsiteX268" fmla="*/ 57823 w 112824"/>
                <a:gd name="connsiteY268" fmla="*/ 8462 h 129748"/>
                <a:gd name="connsiteX269" fmla="*/ 56694 w 112824"/>
                <a:gd name="connsiteY269" fmla="*/ 10154 h 129748"/>
                <a:gd name="connsiteX270" fmla="*/ 56976 w 112824"/>
                <a:gd name="connsiteY270" fmla="*/ 10718 h 129748"/>
                <a:gd name="connsiteX271" fmla="*/ 57259 w 112824"/>
                <a:gd name="connsiteY271" fmla="*/ 11000 h 129748"/>
                <a:gd name="connsiteX272" fmla="*/ 57823 w 112824"/>
                <a:gd name="connsiteY272" fmla="*/ 12411 h 129748"/>
                <a:gd name="connsiteX273" fmla="*/ 58387 w 112824"/>
                <a:gd name="connsiteY273" fmla="*/ 12975 h 129748"/>
                <a:gd name="connsiteX274" fmla="*/ 58951 w 112824"/>
                <a:gd name="connsiteY274" fmla="*/ 12693 h 129748"/>
                <a:gd name="connsiteX275" fmla="*/ 59515 w 112824"/>
                <a:gd name="connsiteY275" fmla="*/ 13539 h 129748"/>
                <a:gd name="connsiteX276" fmla="*/ 60079 w 112824"/>
                <a:gd name="connsiteY276" fmla="*/ 14667 h 129748"/>
                <a:gd name="connsiteX277" fmla="*/ 59797 w 112824"/>
                <a:gd name="connsiteY277" fmla="*/ 15231 h 129748"/>
                <a:gd name="connsiteX278" fmla="*/ 60361 w 112824"/>
                <a:gd name="connsiteY278" fmla="*/ 16360 h 129748"/>
                <a:gd name="connsiteX279" fmla="*/ 60925 w 112824"/>
                <a:gd name="connsiteY279" fmla="*/ 16360 h 129748"/>
                <a:gd name="connsiteX280" fmla="*/ 60925 w 112824"/>
                <a:gd name="connsiteY280" fmla="*/ 14949 h 129748"/>
                <a:gd name="connsiteX281" fmla="*/ 60643 w 112824"/>
                <a:gd name="connsiteY281" fmla="*/ 12411 h 129748"/>
                <a:gd name="connsiteX282" fmla="*/ 62054 w 112824"/>
                <a:gd name="connsiteY282" fmla="*/ 11000 h 129748"/>
                <a:gd name="connsiteX283" fmla="*/ 63182 w 112824"/>
                <a:gd name="connsiteY283" fmla="*/ 11282 h 129748"/>
                <a:gd name="connsiteX284" fmla="*/ 62900 w 112824"/>
                <a:gd name="connsiteY284" fmla="*/ 11847 h 129748"/>
                <a:gd name="connsiteX285" fmla="*/ 64310 w 112824"/>
                <a:gd name="connsiteY285" fmla="*/ 12975 h 129748"/>
                <a:gd name="connsiteX286" fmla="*/ 64592 w 112824"/>
                <a:gd name="connsiteY286" fmla="*/ 13821 h 129748"/>
                <a:gd name="connsiteX287" fmla="*/ 64592 w 112824"/>
                <a:gd name="connsiteY287" fmla="*/ 14103 h 129748"/>
                <a:gd name="connsiteX288" fmla="*/ 63745 w 112824"/>
                <a:gd name="connsiteY288" fmla="*/ 14949 h 129748"/>
                <a:gd name="connsiteX289" fmla="*/ 64310 w 112824"/>
                <a:gd name="connsiteY289" fmla="*/ 15795 h 129748"/>
                <a:gd name="connsiteX290" fmla="*/ 64874 w 112824"/>
                <a:gd name="connsiteY290" fmla="*/ 16360 h 129748"/>
                <a:gd name="connsiteX291" fmla="*/ 64592 w 112824"/>
                <a:gd name="connsiteY291" fmla="*/ 17206 h 129748"/>
                <a:gd name="connsiteX292" fmla="*/ 64310 w 112824"/>
                <a:gd name="connsiteY292" fmla="*/ 17770 h 129748"/>
                <a:gd name="connsiteX293" fmla="*/ 63464 w 112824"/>
                <a:gd name="connsiteY293" fmla="*/ 18898 h 129748"/>
                <a:gd name="connsiteX294" fmla="*/ 63745 w 112824"/>
                <a:gd name="connsiteY294" fmla="*/ 19744 h 129748"/>
                <a:gd name="connsiteX295" fmla="*/ 64028 w 112824"/>
                <a:gd name="connsiteY295" fmla="*/ 20026 h 129748"/>
                <a:gd name="connsiteX296" fmla="*/ 64874 w 112824"/>
                <a:gd name="connsiteY296" fmla="*/ 20026 h 129748"/>
                <a:gd name="connsiteX297" fmla="*/ 64874 w 112824"/>
                <a:gd name="connsiteY297" fmla="*/ 20308 h 129748"/>
                <a:gd name="connsiteX298" fmla="*/ 64028 w 112824"/>
                <a:gd name="connsiteY298" fmla="*/ 22283 h 129748"/>
                <a:gd name="connsiteX299" fmla="*/ 63745 w 112824"/>
                <a:gd name="connsiteY299" fmla="*/ 22847 h 129748"/>
                <a:gd name="connsiteX300" fmla="*/ 64028 w 112824"/>
                <a:gd name="connsiteY300" fmla="*/ 23693 h 129748"/>
                <a:gd name="connsiteX301" fmla="*/ 64592 w 112824"/>
                <a:gd name="connsiteY301" fmla="*/ 25103 h 129748"/>
                <a:gd name="connsiteX302" fmla="*/ 64592 w 112824"/>
                <a:gd name="connsiteY302" fmla="*/ 26232 h 129748"/>
                <a:gd name="connsiteX303" fmla="*/ 64028 w 112824"/>
                <a:gd name="connsiteY303" fmla="*/ 27078 h 129748"/>
                <a:gd name="connsiteX304" fmla="*/ 62900 w 112824"/>
                <a:gd name="connsiteY304" fmla="*/ 29616 h 129748"/>
                <a:gd name="connsiteX305" fmla="*/ 63182 w 112824"/>
                <a:gd name="connsiteY305" fmla="*/ 30463 h 129748"/>
                <a:gd name="connsiteX306" fmla="*/ 60925 w 112824"/>
                <a:gd name="connsiteY306" fmla="*/ 34976 h 129748"/>
                <a:gd name="connsiteX307" fmla="*/ 61207 w 112824"/>
                <a:gd name="connsiteY307" fmla="*/ 35822 h 129748"/>
                <a:gd name="connsiteX308" fmla="*/ 60361 w 112824"/>
                <a:gd name="connsiteY308" fmla="*/ 37796 h 129748"/>
                <a:gd name="connsiteX309" fmla="*/ 59233 w 112824"/>
                <a:gd name="connsiteY309" fmla="*/ 40617 h 129748"/>
                <a:gd name="connsiteX310" fmla="*/ 59233 w 112824"/>
                <a:gd name="connsiteY310" fmla="*/ 41181 h 129748"/>
                <a:gd name="connsiteX311" fmla="*/ 56976 w 112824"/>
                <a:gd name="connsiteY311" fmla="*/ 45130 h 129748"/>
                <a:gd name="connsiteX312" fmla="*/ 55848 w 112824"/>
                <a:gd name="connsiteY312" fmla="*/ 46258 h 129748"/>
                <a:gd name="connsiteX313" fmla="*/ 54438 w 112824"/>
                <a:gd name="connsiteY313" fmla="*/ 48515 h 129748"/>
                <a:gd name="connsiteX314" fmla="*/ 54438 w 112824"/>
                <a:gd name="connsiteY314" fmla="*/ 48797 h 129748"/>
                <a:gd name="connsiteX315" fmla="*/ 53873 w 112824"/>
                <a:gd name="connsiteY315" fmla="*/ 49361 h 129748"/>
                <a:gd name="connsiteX316" fmla="*/ 53028 w 112824"/>
                <a:gd name="connsiteY316" fmla="*/ 51053 h 129748"/>
                <a:gd name="connsiteX317" fmla="*/ 53028 w 112824"/>
                <a:gd name="connsiteY317" fmla="*/ 51335 h 129748"/>
                <a:gd name="connsiteX318" fmla="*/ 52463 w 112824"/>
                <a:gd name="connsiteY318" fmla="*/ 52181 h 129748"/>
                <a:gd name="connsiteX319" fmla="*/ 50771 w 112824"/>
                <a:gd name="connsiteY319" fmla="*/ 53592 h 129748"/>
                <a:gd name="connsiteX320" fmla="*/ 47950 w 112824"/>
                <a:gd name="connsiteY320" fmla="*/ 57258 h 129748"/>
                <a:gd name="connsiteX321" fmla="*/ 43720 w 112824"/>
                <a:gd name="connsiteY321" fmla="*/ 62336 h 129748"/>
                <a:gd name="connsiteX322" fmla="*/ 41745 w 112824"/>
                <a:gd name="connsiteY322" fmla="*/ 63746 h 129748"/>
                <a:gd name="connsiteX323" fmla="*/ 40617 w 112824"/>
                <a:gd name="connsiteY323" fmla="*/ 64310 h 129748"/>
                <a:gd name="connsiteX324" fmla="*/ 38642 w 112824"/>
                <a:gd name="connsiteY324" fmla="*/ 66002 h 129748"/>
                <a:gd name="connsiteX325" fmla="*/ 35258 w 112824"/>
                <a:gd name="connsiteY325" fmla="*/ 67131 h 129748"/>
                <a:gd name="connsiteX326" fmla="*/ 34129 w 112824"/>
                <a:gd name="connsiteY326" fmla="*/ 67413 h 129748"/>
                <a:gd name="connsiteX327" fmla="*/ 29334 w 112824"/>
                <a:gd name="connsiteY327" fmla="*/ 68259 h 129748"/>
                <a:gd name="connsiteX328" fmla="*/ 26514 w 112824"/>
                <a:gd name="connsiteY328" fmla="*/ 68823 h 129748"/>
                <a:gd name="connsiteX329" fmla="*/ 25103 w 112824"/>
                <a:gd name="connsiteY329" fmla="*/ 69105 h 129748"/>
                <a:gd name="connsiteX330" fmla="*/ 23129 w 112824"/>
                <a:gd name="connsiteY330" fmla="*/ 68541 h 129748"/>
                <a:gd name="connsiteX331" fmla="*/ 21719 w 112824"/>
                <a:gd name="connsiteY331" fmla="*/ 68259 h 129748"/>
                <a:gd name="connsiteX332" fmla="*/ 21155 w 112824"/>
                <a:gd name="connsiteY332" fmla="*/ 68823 h 129748"/>
                <a:gd name="connsiteX333" fmla="*/ 19744 w 112824"/>
                <a:gd name="connsiteY333" fmla="*/ 72490 h 129748"/>
                <a:gd name="connsiteX334" fmla="*/ 20026 w 112824"/>
                <a:gd name="connsiteY334" fmla="*/ 74182 h 129748"/>
                <a:gd name="connsiteX335" fmla="*/ 20308 w 112824"/>
                <a:gd name="connsiteY335" fmla="*/ 75592 h 129748"/>
                <a:gd name="connsiteX336" fmla="*/ 20026 w 112824"/>
                <a:gd name="connsiteY336" fmla="*/ 76157 h 129748"/>
                <a:gd name="connsiteX337" fmla="*/ 19180 w 112824"/>
                <a:gd name="connsiteY337" fmla="*/ 77567 h 129748"/>
                <a:gd name="connsiteX338" fmla="*/ 19462 w 112824"/>
                <a:gd name="connsiteY338" fmla="*/ 78413 h 129748"/>
                <a:gd name="connsiteX339" fmla="*/ 18616 w 112824"/>
                <a:gd name="connsiteY339" fmla="*/ 80670 h 129748"/>
                <a:gd name="connsiteX340" fmla="*/ 18616 w 112824"/>
                <a:gd name="connsiteY340" fmla="*/ 84054 h 129748"/>
                <a:gd name="connsiteX341" fmla="*/ 18898 w 112824"/>
                <a:gd name="connsiteY341" fmla="*/ 85465 h 129748"/>
                <a:gd name="connsiteX342" fmla="*/ 18616 w 112824"/>
                <a:gd name="connsiteY342" fmla="*/ 86029 h 129748"/>
                <a:gd name="connsiteX343" fmla="*/ 18334 w 112824"/>
                <a:gd name="connsiteY343" fmla="*/ 87721 h 129748"/>
                <a:gd name="connsiteX344" fmla="*/ 18052 w 112824"/>
                <a:gd name="connsiteY344" fmla="*/ 88567 h 129748"/>
                <a:gd name="connsiteX345" fmla="*/ 18334 w 112824"/>
                <a:gd name="connsiteY345" fmla="*/ 89413 h 129748"/>
                <a:gd name="connsiteX346" fmla="*/ 18616 w 112824"/>
                <a:gd name="connsiteY346" fmla="*/ 90260 h 129748"/>
                <a:gd name="connsiteX347" fmla="*/ 18334 w 112824"/>
                <a:gd name="connsiteY347" fmla="*/ 90824 h 129748"/>
                <a:gd name="connsiteX348" fmla="*/ 18334 w 112824"/>
                <a:gd name="connsiteY348" fmla="*/ 91106 h 129748"/>
                <a:gd name="connsiteX349" fmla="*/ 18616 w 112824"/>
                <a:gd name="connsiteY349" fmla="*/ 91952 h 129748"/>
                <a:gd name="connsiteX350" fmla="*/ 18334 w 112824"/>
                <a:gd name="connsiteY350" fmla="*/ 93644 h 129748"/>
                <a:gd name="connsiteX351" fmla="*/ 18334 w 112824"/>
                <a:gd name="connsiteY351" fmla="*/ 95337 h 129748"/>
                <a:gd name="connsiteX352" fmla="*/ 18898 w 112824"/>
                <a:gd name="connsiteY352" fmla="*/ 96747 h 129748"/>
                <a:gd name="connsiteX353" fmla="*/ 18898 w 112824"/>
                <a:gd name="connsiteY353" fmla="*/ 100414 h 129748"/>
                <a:gd name="connsiteX354" fmla="*/ 18334 w 112824"/>
                <a:gd name="connsiteY354" fmla="*/ 102106 h 129748"/>
                <a:gd name="connsiteX355" fmla="*/ 18898 w 112824"/>
                <a:gd name="connsiteY355" fmla="*/ 103234 h 129748"/>
                <a:gd name="connsiteX356" fmla="*/ 18898 w 112824"/>
                <a:gd name="connsiteY356" fmla="*/ 104081 h 129748"/>
                <a:gd name="connsiteX357" fmla="*/ 19180 w 112824"/>
                <a:gd name="connsiteY357" fmla="*/ 104645 h 129748"/>
                <a:gd name="connsiteX358" fmla="*/ 20591 w 112824"/>
                <a:gd name="connsiteY358" fmla="*/ 107183 h 129748"/>
                <a:gd name="connsiteX359" fmla="*/ 20591 w 112824"/>
                <a:gd name="connsiteY359" fmla="*/ 108312 h 129748"/>
                <a:gd name="connsiteX360" fmla="*/ 20308 w 112824"/>
                <a:gd name="connsiteY360" fmla="*/ 109158 h 129748"/>
                <a:gd name="connsiteX361" fmla="*/ 21436 w 112824"/>
                <a:gd name="connsiteY361" fmla="*/ 110568 h 129748"/>
                <a:gd name="connsiteX362" fmla="*/ 22847 w 112824"/>
                <a:gd name="connsiteY362" fmla="*/ 113389 h 129748"/>
                <a:gd name="connsiteX363" fmla="*/ 23129 w 112824"/>
                <a:gd name="connsiteY363" fmla="*/ 113671 h 129748"/>
                <a:gd name="connsiteX364" fmla="*/ 24257 w 112824"/>
                <a:gd name="connsiteY364" fmla="*/ 115927 h 129748"/>
                <a:gd name="connsiteX365" fmla="*/ 24257 w 112824"/>
                <a:gd name="connsiteY365" fmla="*/ 116209 h 129748"/>
                <a:gd name="connsiteX366" fmla="*/ 25667 w 112824"/>
                <a:gd name="connsiteY366" fmla="*/ 117620 h 129748"/>
                <a:gd name="connsiteX367" fmla="*/ 26796 w 112824"/>
                <a:gd name="connsiteY367" fmla="*/ 119030 h 129748"/>
                <a:gd name="connsiteX368" fmla="*/ 30463 w 112824"/>
                <a:gd name="connsiteY368" fmla="*/ 120722 h 129748"/>
                <a:gd name="connsiteX369" fmla="*/ 31873 w 112824"/>
                <a:gd name="connsiteY369" fmla="*/ 120440 h 129748"/>
                <a:gd name="connsiteX370" fmla="*/ 33283 w 112824"/>
                <a:gd name="connsiteY370" fmla="*/ 120158 h 129748"/>
                <a:gd name="connsiteX371" fmla="*/ 40053 w 112824"/>
                <a:gd name="connsiteY371" fmla="*/ 118466 h 129748"/>
                <a:gd name="connsiteX372" fmla="*/ 44848 w 112824"/>
                <a:gd name="connsiteY372" fmla="*/ 115645 h 129748"/>
                <a:gd name="connsiteX373" fmla="*/ 47950 w 112824"/>
                <a:gd name="connsiteY373" fmla="*/ 114235 h 129748"/>
                <a:gd name="connsiteX374" fmla="*/ 53028 w 112824"/>
                <a:gd name="connsiteY374" fmla="*/ 110286 h 129748"/>
                <a:gd name="connsiteX375" fmla="*/ 56976 w 112824"/>
                <a:gd name="connsiteY375" fmla="*/ 107183 h 129748"/>
                <a:gd name="connsiteX376" fmla="*/ 59797 w 112824"/>
                <a:gd name="connsiteY376" fmla="*/ 104081 h 129748"/>
                <a:gd name="connsiteX377" fmla="*/ 63745 w 112824"/>
                <a:gd name="connsiteY377" fmla="*/ 100696 h 129748"/>
                <a:gd name="connsiteX378" fmla="*/ 65720 w 112824"/>
                <a:gd name="connsiteY378" fmla="*/ 98721 h 129748"/>
                <a:gd name="connsiteX379" fmla="*/ 66566 w 112824"/>
                <a:gd name="connsiteY379" fmla="*/ 97875 h 129748"/>
                <a:gd name="connsiteX380" fmla="*/ 66848 w 112824"/>
                <a:gd name="connsiteY380" fmla="*/ 97029 h 129748"/>
                <a:gd name="connsiteX381" fmla="*/ 69951 w 112824"/>
                <a:gd name="connsiteY381" fmla="*/ 94773 h 129748"/>
                <a:gd name="connsiteX382" fmla="*/ 72490 w 112824"/>
                <a:gd name="connsiteY382" fmla="*/ 91952 h 129748"/>
                <a:gd name="connsiteX383" fmla="*/ 76157 w 112824"/>
                <a:gd name="connsiteY383" fmla="*/ 87439 h 129748"/>
                <a:gd name="connsiteX384" fmla="*/ 81516 w 112824"/>
                <a:gd name="connsiteY384" fmla="*/ 81516 h 129748"/>
                <a:gd name="connsiteX385" fmla="*/ 81798 w 112824"/>
                <a:gd name="connsiteY385" fmla="*/ 81234 h 129748"/>
                <a:gd name="connsiteX386" fmla="*/ 84336 w 112824"/>
                <a:gd name="connsiteY386" fmla="*/ 78413 h 129748"/>
                <a:gd name="connsiteX387" fmla="*/ 87721 w 112824"/>
                <a:gd name="connsiteY387" fmla="*/ 74182 h 129748"/>
                <a:gd name="connsiteX388" fmla="*/ 88849 w 112824"/>
                <a:gd name="connsiteY388" fmla="*/ 72208 h 129748"/>
                <a:gd name="connsiteX389" fmla="*/ 92798 w 112824"/>
                <a:gd name="connsiteY389" fmla="*/ 67695 h 129748"/>
                <a:gd name="connsiteX390" fmla="*/ 92516 w 112824"/>
                <a:gd name="connsiteY390" fmla="*/ 67413 h 129748"/>
                <a:gd name="connsiteX391" fmla="*/ 95901 w 112824"/>
                <a:gd name="connsiteY391" fmla="*/ 62336 h 129748"/>
                <a:gd name="connsiteX392" fmla="*/ 96183 w 112824"/>
                <a:gd name="connsiteY392" fmla="*/ 61207 h 129748"/>
                <a:gd name="connsiteX393" fmla="*/ 98158 w 112824"/>
                <a:gd name="connsiteY393" fmla="*/ 59233 h 129748"/>
                <a:gd name="connsiteX394" fmla="*/ 99003 w 112824"/>
                <a:gd name="connsiteY394" fmla="*/ 56694 h 129748"/>
                <a:gd name="connsiteX395" fmla="*/ 99286 w 112824"/>
                <a:gd name="connsiteY395" fmla="*/ 56976 h 129748"/>
                <a:gd name="connsiteX396" fmla="*/ 99286 w 112824"/>
                <a:gd name="connsiteY396" fmla="*/ 57541 h 129748"/>
                <a:gd name="connsiteX397" fmla="*/ 99568 w 112824"/>
                <a:gd name="connsiteY397" fmla="*/ 57541 h 129748"/>
                <a:gd name="connsiteX398" fmla="*/ 100132 w 112824"/>
                <a:gd name="connsiteY398" fmla="*/ 56694 h 129748"/>
                <a:gd name="connsiteX399" fmla="*/ 100132 w 112824"/>
                <a:gd name="connsiteY399" fmla="*/ 56130 h 129748"/>
                <a:gd name="connsiteX400" fmla="*/ 100696 w 112824"/>
                <a:gd name="connsiteY400" fmla="*/ 54438 h 129748"/>
                <a:gd name="connsiteX401" fmla="*/ 100978 w 112824"/>
                <a:gd name="connsiteY401" fmla="*/ 53592 h 129748"/>
                <a:gd name="connsiteX402" fmla="*/ 101824 w 112824"/>
                <a:gd name="connsiteY402" fmla="*/ 52463 h 129748"/>
                <a:gd name="connsiteX403" fmla="*/ 102388 w 112824"/>
                <a:gd name="connsiteY403" fmla="*/ 50207 h 129748"/>
                <a:gd name="connsiteX404" fmla="*/ 103234 w 112824"/>
                <a:gd name="connsiteY404" fmla="*/ 49079 h 129748"/>
                <a:gd name="connsiteX405" fmla="*/ 103799 w 112824"/>
                <a:gd name="connsiteY405" fmla="*/ 48515 h 129748"/>
                <a:gd name="connsiteX406" fmla="*/ 103799 w 112824"/>
                <a:gd name="connsiteY406" fmla="*/ 47668 h 129748"/>
                <a:gd name="connsiteX407" fmla="*/ 105491 w 112824"/>
                <a:gd name="connsiteY407" fmla="*/ 45976 h 129748"/>
                <a:gd name="connsiteX408" fmla="*/ 105491 w 112824"/>
                <a:gd name="connsiteY408" fmla="*/ 45694 h 129748"/>
                <a:gd name="connsiteX409" fmla="*/ 105773 w 112824"/>
                <a:gd name="connsiteY409" fmla="*/ 45130 h 129748"/>
                <a:gd name="connsiteX410" fmla="*/ 105773 w 112824"/>
                <a:gd name="connsiteY410" fmla="*/ 44566 h 129748"/>
                <a:gd name="connsiteX411" fmla="*/ 106619 w 112824"/>
                <a:gd name="connsiteY411" fmla="*/ 43437 h 129748"/>
                <a:gd name="connsiteX412" fmla="*/ 107747 w 112824"/>
                <a:gd name="connsiteY412" fmla="*/ 42027 h 129748"/>
                <a:gd name="connsiteX413" fmla="*/ 108030 w 112824"/>
                <a:gd name="connsiteY413" fmla="*/ 42027 h 129748"/>
                <a:gd name="connsiteX414" fmla="*/ 108311 w 112824"/>
                <a:gd name="connsiteY414" fmla="*/ 42309 h 129748"/>
                <a:gd name="connsiteX415" fmla="*/ 108594 w 112824"/>
                <a:gd name="connsiteY415" fmla="*/ 43155 h 129748"/>
                <a:gd name="connsiteX416" fmla="*/ 109158 w 112824"/>
                <a:gd name="connsiteY416" fmla="*/ 43437 h 129748"/>
                <a:gd name="connsiteX417" fmla="*/ 110004 w 112824"/>
                <a:gd name="connsiteY417" fmla="*/ 43720 h 129748"/>
                <a:gd name="connsiteX418" fmla="*/ 109722 w 112824"/>
                <a:gd name="connsiteY418" fmla="*/ 44002 h 129748"/>
                <a:gd name="connsiteX419" fmla="*/ 109158 w 112824"/>
                <a:gd name="connsiteY419" fmla="*/ 46540 h 129748"/>
                <a:gd name="connsiteX420" fmla="*/ 107747 w 112824"/>
                <a:gd name="connsiteY420" fmla="*/ 47386 h 129748"/>
                <a:gd name="connsiteX421" fmla="*/ 107183 w 112824"/>
                <a:gd name="connsiteY421" fmla="*/ 47386 h 129748"/>
                <a:gd name="connsiteX422" fmla="*/ 106337 w 112824"/>
                <a:gd name="connsiteY422" fmla="*/ 47950 h 129748"/>
                <a:gd name="connsiteX423" fmla="*/ 107183 w 112824"/>
                <a:gd name="connsiteY423" fmla="*/ 49925 h 129748"/>
                <a:gd name="connsiteX424" fmla="*/ 107747 w 112824"/>
                <a:gd name="connsiteY424" fmla="*/ 50771 h 129748"/>
                <a:gd name="connsiteX425" fmla="*/ 107747 w 112824"/>
                <a:gd name="connsiteY425" fmla="*/ 51335 h 129748"/>
                <a:gd name="connsiteX426" fmla="*/ 107747 w 112824"/>
                <a:gd name="connsiteY426" fmla="*/ 51899 h 129748"/>
                <a:gd name="connsiteX427" fmla="*/ 107747 w 112824"/>
                <a:gd name="connsiteY427" fmla="*/ 52463 h 129748"/>
                <a:gd name="connsiteX428" fmla="*/ 107183 w 112824"/>
                <a:gd name="connsiteY428" fmla="*/ 54438 h 129748"/>
                <a:gd name="connsiteX429" fmla="*/ 106901 w 112824"/>
                <a:gd name="connsiteY429" fmla="*/ 55566 h 129748"/>
                <a:gd name="connsiteX430" fmla="*/ 106619 w 112824"/>
                <a:gd name="connsiteY430" fmla="*/ 55566 h 129748"/>
                <a:gd name="connsiteX431" fmla="*/ 106619 w 112824"/>
                <a:gd name="connsiteY431" fmla="*/ 53874 h 129748"/>
                <a:gd name="connsiteX432" fmla="*/ 106337 w 112824"/>
                <a:gd name="connsiteY432" fmla="*/ 53874 h 129748"/>
                <a:gd name="connsiteX433" fmla="*/ 105773 w 112824"/>
                <a:gd name="connsiteY433" fmla="*/ 51899 h 129748"/>
                <a:gd name="connsiteX434" fmla="*/ 106055 w 112824"/>
                <a:gd name="connsiteY434" fmla="*/ 51335 h 129748"/>
                <a:gd name="connsiteX435" fmla="*/ 105491 w 112824"/>
                <a:gd name="connsiteY435" fmla="*/ 51053 h 129748"/>
                <a:gd name="connsiteX436" fmla="*/ 105209 w 112824"/>
                <a:gd name="connsiteY436" fmla="*/ 51335 h 129748"/>
                <a:gd name="connsiteX437" fmla="*/ 103799 w 112824"/>
                <a:gd name="connsiteY437" fmla="*/ 53874 h 129748"/>
                <a:gd name="connsiteX438" fmla="*/ 103234 w 112824"/>
                <a:gd name="connsiteY438" fmla="*/ 55284 h 129748"/>
                <a:gd name="connsiteX439" fmla="*/ 102388 w 112824"/>
                <a:gd name="connsiteY439" fmla="*/ 55848 h 129748"/>
                <a:gd name="connsiteX440" fmla="*/ 101542 w 112824"/>
                <a:gd name="connsiteY440" fmla="*/ 56694 h 129748"/>
                <a:gd name="connsiteX441" fmla="*/ 101542 w 112824"/>
                <a:gd name="connsiteY441" fmla="*/ 56976 h 129748"/>
                <a:gd name="connsiteX442" fmla="*/ 101260 w 112824"/>
                <a:gd name="connsiteY442" fmla="*/ 57823 h 129748"/>
                <a:gd name="connsiteX443" fmla="*/ 100413 w 112824"/>
                <a:gd name="connsiteY443" fmla="*/ 61207 h 129748"/>
                <a:gd name="connsiteX444" fmla="*/ 100413 w 112824"/>
                <a:gd name="connsiteY444" fmla="*/ 61489 h 129748"/>
                <a:gd name="connsiteX445" fmla="*/ 100978 w 112824"/>
                <a:gd name="connsiteY445" fmla="*/ 61489 h 129748"/>
                <a:gd name="connsiteX446" fmla="*/ 101824 w 112824"/>
                <a:gd name="connsiteY446" fmla="*/ 60361 h 129748"/>
                <a:gd name="connsiteX447" fmla="*/ 102952 w 112824"/>
                <a:gd name="connsiteY447" fmla="*/ 59233 h 129748"/>
                <a:gd name="connsiteX448" fmla="*/ 104363 w 112824"/>
                <a:gd name="connsiteY448" fmla="*/ 58669 h 129748"/>
                <a:gd name="connsiteX449" fmla="*/ 104644 w 112824"/>
                <a:gd name="connsiteY449" fmla="*/ 58669 h 129748"/>
                <a:gd name="connsiteX450" fmla="*/ 104080 w 112824"/>
                <a:gd name="connsiteY450" fmla="*/ 60925 h 129748"/>
                <a:gd name="connsiteX451" fmla="*/ 103234 w 112824"/>
                <a:gd name="connsiteY451" fmla="*/ 61771 h 129748"/>
                <a:gd name="connsiteX452" fmla="*/ 104080 w 112824"/>
                <a:gd name="connsiteY452" fmla="*/ 62900 h 129748"/>
                <a:gd name="connsiteX453" fmla="*/ 104927 w 112824"/>
                <a:gd name="connsiteY453" fmla="*/ 63182 h 129748"/>
                <a:gd name="connsiteX454" fmla="*/ 105209 w 112824"/>
                <a:gd name="connsiteY454" fmla="*/ 64310 h 129748"/>
                <a:gd name="connsiteX455" fmla="*/ 105209 w 112824"/>
                <a:gd name="connsiteY455" fmla="*/ 65156 h 129748"/>
                <a:gd name="connsiteX456" fmla="*/ 105491 w 112824"/>
                <a:gd name="connsiteY456" fmla="*/ 65720 h 129748"/>
                <a:gd name="connsiteX457" fmla="*/ 107183 w 112824"/>
                <a:gd name="connsiteY457" fmla="*/ 65720 h 129748"/>
                <a:gd name="connsiteX458" fmla="*/ 108030 w 112824"/>
                <a:gd name="connsiteY458" fmla="*/ 66284 h 129748"/>
                <a:gd name="connsiteX459" fmla="*/ 1410 w 112824"/>
                <a:gd name="connsiteY459" fmla="*/ 105209 h 129748"/>
                <a:gd name="connsiteX460" fmla="*/ 1410 w 112824"/>
                <a:gd name="connsiteY460" fmla="*/ 105491 h 129748"/>
                <a:gd name="connsiteX461" fmla="*/ 1692 w 112824"/>
                <a:gd name="connsiteY461" fmla="*/ 105773 h 129748"/>
                <a:gd name="connsiteX462" fmla="*/ 1974 w 112824"/>
                <a:gd name="connsiteY462" fmla="*/ 105773 h 129748"/>
                <a:gd name="connsiteX463" fmla="*/ 1410 w 112824"/>
                <a:gd name="connsiteY463" fmla="*/ 105209 h 129748"/>
                <a:gd name="connsiteX464" fmla="*/ 18334 w 112824"/>
                <a:gd name="connsiteY464" fmla="*/ 41463 h 129748"/>
                <a:gd name="connsiteX465" fmla="*/ 18898 w 112824"/>
                <a:gd name="connsiteY465" fmla="*/ 39771 h 129748"/>
                <a:gd name="connsiteX466" fmla="*/ 18898 w 112824"/>
                <a:gd name="connsiteY466" fmla="*/ 38924 h 129748"/>
                <a:gd name="connsiteX467" fmla="*/ 20308 w 112824"/>
                <a:gd name="connsiteY467" fmla="*/ 36950 h 129748"/>
                <a:gd name="connsiteX468" fmla="*/ 21155 w 112824"/>
                <a:gd name="connsiteY468" fmla="*/ 34694 h 129748"/>
                <a:gd name="connsiteX469" fmla="*/ 21436 w 112824"/>
                <a:gd name="connsiteY469" fmla="*/ 34411 h 129748"/>
                <a:gd name="connsiteX470" fmla="*/ 22283 w 112824"/>
                <a:gd name="connsiteY470" fmla="*/ 33283 h 129748"/>
                <a:gd name="connsiteX471" fmla="*/ 23975 w 112824"/>
                <a:gd name="connsiteY471" fmla="*/ 28206 h 129748"/>
                <a:gd name="connsiteX472" fmla="*/ 23693 w 112824"/>
                <a:gd name="connsiteY472" fmla="*/ 27924 h 129748"/>
                <a:gd name="connsiteX473" fmla="*/ 23693 w 112824"/>
                <a:gd name="connsiteY473" fmla="*/ 27642 h 129748"/>
                <a:gd name="connsiteX474" fmla="*/ 22847 w 112824"/>
                <a:gd name="connsiteY474" fmla="*/ 28488 h 129748"/>
                <a:gd name="connsiteX475" fmla="*/ 22283 w 112824"/>
                <a:gd name="connsiteY475" fmla="*/ 30181 h 129748"/>
                <a:gd name="connsiteX476" fmla="*/ 21155 w 112824"/>
                <a:gd name="connsiteY476" fmla="*/ 32719 h 129748"/>
                <a:gd name="connsiteX477" fmla="*/ 19462 w 112824"/>
                <a:gd name="connsiteY477" fmla="*/ 34976 h 129748"/>
                <a:gd name="connsiteX478" fmla="*/ 18334 w 112824"/>
                <a:gd name="connsiteY478" fmla="*/ 37514 h 129748"/>
                <a:gd name="connsiteX479" fmla="*/ 18616 w 112824"/>
                <a:gd name="connsiteY479" fmla="*/ 38078 h 129748"/>
                <a:gd name="connsiteX480" fmla="*/ 17488 w 112824"/>
                <a:gd name="connsiteY480" fmla="*/ 39771 h 129748"/>
                <a:gd name="connsiteX481" fmla="*/ 16360 w 112824"/>
                <a:gd name="connsiteY481" fmla="*/ 43437 h 129748"/>
                <a:gd name="connsiteX482" fmla="*/ 15795 w 112824"/>
                <a:gd name="connsiteY482" fmla="*/ 46258 h 129748"/>
                <a:gd name="connsiteX483" fmla="*/ 15513 w 112824"/>
                <a:gd name="connsiteY483" fmla="*/ 46540 h 129748"/>
                <a:gd name="connsiteX484" fmla="*/ 15795 w 112824"/>
                <a:gd name="connsiteY484" fmla="*/ 46822 h 129748"/>
                <a:gd name="connsiteX485" fmla="*/ 16077 w 112824"/>
                <a:gd name="connsiteY485" fmla="*/ 46540 h 129748"/>
                <a:gd name="connsiteX486" fmla="*/ 16360 w 112824"/>
                <a:gd name="connsiteY486" fmla="*/ 45976 h 129748"/>
                <a:gd name="connsiteX487" fmla="*/ 16360 w 112824"/>
                <a:gd name="connsiteY487" fmla="*/ 45412 h 129748"/>
                <a:gd name="connsiteX488" fmla="*/ 16924 w 112824"/>
                <a:gd name="connsiteY488" fmla="*/ 44002 h 129748"/>
                <a:gd name="connsiteX489" fmla="*/ 18334 w 112824"/>
                <a:gd name="connsiteY489" fmla="*/ 41463 h 129748"/>
                <a:gd name="connsiteX490" fmla="*/ 26796 w 112824"/>
                <a:gd name="connsiteY490" fmla="*/ 47950 h 129748"/>
                <a:gd name="connsiteX491" fmla="*/ 26232 w 112824"/>
                <a:gd name="connsiteY491" fmla="*/ 49643 h 129748"/>
                <a:gd name="connsiteX492" fmla="*/ 26232 w 112824"/>
                <a:gd name="connsiteY492" fmla="*/ 50771 h 129748"/>
                <a:gd name="connsiteX493" fmla="*/ 29052 w 112824"/>
                <a:gd name="connsiteY493" fmla="*/ 53310 h 129748"/>
                <a:gd name="connsiteX494" fmla="*/ 29898 w 112824"/>
                <a:gd name="connsiteY494" fmla="*/ 53310 h 129748"/>
                <a:gd name="connsiteX495" fmla="*/ 30463 w 112824"/>
                <a:gd name="connsiteY495" fmla="*/ 52745 h 129748"/>
                <a:gd name="connsiteX496" fmla="*/ 32719 w 112824"/>
                <a:gd name="connsiteY496" fmla="*/ 50207 h 129748"/>
                <a:gd name="connsiteX497" fmla="*/ 35822 w 112824"/>
                <a:gd name="connsiteY497" fmla="*/ 46258 h 129748"/>
                <a:gd name="connsiteX498" fmla="*/ 36668 w 112824"/>
                <a:gd name="connsiteY498" fmla="*/ 45130 h 129748"/>
                <a:gd name="connsiteX499" fmla="*/ 38078 w 112824"/>
                <a:gd name="connsiteY499" fmla="*/ 43155 h 129748"/>
                <a:gd name="connsiteX500" fmla="*/ 39489 w 112824"/>
                <a:gd name="connsiteY500" fmla="*/ 40899 h 129748"/>
                <a:gd name="connsiteX501" fmla="*/ 40053 w 112824"/>
                <a:gd name="connsiteY501" fmla="*/ 39207 h 129748"/>
                <a:gd name="connsiteX502" fmla="*/ 42027 w 112824"/>
                <a:gd name="connsiteY502" fmla="*/ 36668 h 129748"/>
                <a:gd name="connsiteX503" fmla="*/ 43437 w 112824"/>
                <a:gd name="connsiteY503" fmla="*/ 33847 h 129748"/>
                <a:gd name="connsiteX504" fmla="*/ 43720 w 112824"/>
                <a:gd name="connsiteY504" fmla="*/ 31591 h 129748"/>
                <a:gd name="connsiteX505" fmla="*/ 44848 w 112824"/>
                <a:gd name="connsiteY505" fmla="*/ 29052 h 129748"/>
                <a:gd name="connsiteX506" fmla="*/ 45976 w 112824"/>
                <a:gd name="connsiteY506" fmla="*/ 26514 h 129748"/>
                <a:gd name="connsiteX507" fmla="*/ 46822 w 112824"/>
                <a:gd name="connsiteY507" fmla="*/ 24257 h 129748"/>
                <a:gd name="connsiteX508" fmla="*/ 46540 w 112824"/>
                <a:gd name="connsiteY508" fmla="*/ 23411 h 129748"/>
                <a:gd name="connsiteX509" fmla="*/ 46540 w 112824"/>
                <a:gd name="connsiteY509" fmla="*/ 22847 h 129748"/>
                <a:gd name="connsiteX510" fmla="*/ 47104 w 112824"/>
                <a:gd name="connsiteY510" fmla="*/ 22283 h 129748"/>
                <a:gd name="connsiteX511" fmla="*/ 47668 w 112824"/>
                <a:gd name="connsiteY511" fmla="*/ 22283 h 129748"/>
                <a:gd name="connsiteX512" fmla="*/ 47950 w 112824"/>
                <a:gd name="connsiteY512" fmla="*/ 21719 h 129748"/>
                <a:gd name="connsiteX513" fmla="*/ 47668 w 112824"/>
                <a:gd name="connsiteY513" fmla="*/ 21437 h 129748"/>
                <a:gd name="connsiteX514" fmla="*/ 47668 w 112824"/>
                <a:gd name="connsiteY514" fmla="*/ 21155 h 129748"/>
                <a:gd name="connsiteX515" fmla="*/ 47386 w 112824"/>
                <a:gd name="connsiteY515" fmla="*/ 20873 h 129748"/>
                <a:gd name="connsiteX516" fmla="*/ 47104 w 112824"/>
                <a:gd name="connsiteY516" fmla="*/ 20308 h 129748"/>
                <a:gd name="connsiteX517" fmla="*/ 47386 w 112824"/>
                <a:gd name="connsiteY517" fmla="*/ 19744 h 129748"/>
                <a:gd name="connsiteX518" fmla="*/ 47668 w 112824"/>
                <a:gd name="connsiteY518" fmla="*/ 19180 h 129748"/>
                <a:gd name="connsiteX519" fmla="*/ 47104 w 112824"/>
                <a:gd name="connsiteY519" fmla="*/ 18898 h 129748"/>
                <a:gd name="connsiteX520" fmla="*/ 47104 w 112824"/>
                <a:gd name="connsiteY520" fmla="*/ 18334 h 129748"/>
                <a:gd name="connsiteX521" fmla="*/ 47668 w 112824"/>
                <a:gd name="connsiteY521" fmla="*/ 17206 h 129748"/>
                <a:gd name="connsiteX522" fmla="*/ 47386 w 112824"/>
                <a:gd name="connsiteY522" fmla="*/ 16078 h 129748"/>
                <a:gd name="connsiteX523" fmla="*/ 46822 w 112824"/>
                <a:gd name="connsiteY523" fmla="*/ 13821 h 129748"/>
                <a:gd name="connsiteX524" fmla="*/ 46822 w 112824"/>
                <a:gd name="connsiteY524" fmla="*/ 13539 h 129748"/>
                <a:gd name="connsiteX525" fmla="*/ 47104 w 112824"/>
                <a:gd name="connsiteY525" fmla="*/ 13257 h 129748"/>
                <a:gd name="connsiteX526" fmla="*/ 47386 w 112824"/>
                <a:gd name="connsiteY526" fmla="*/ 12975 h 129748"/>
                <a:gd name="connsiteX527" fmla="*/ 47668 w 112824"/>
                <a:gd name="connsiteY527" fmla="*/ 12411 h 129748"/>
                <a:gd name="connsiteX528" fmla="*/ 45976 w 112824"/>
                <a:gd name="connsiteY528" fmla="*/ 12411 h 129748"/>
                <a:gd name="connsiteX529" fmla="*/ 43437 w 112824"/>
                <a:gd name="connsiteY529" fmla="*/ 15795 h 129748"/>
                <a:gd name="connsiteX530" fmla="*/ 43156 w 112824"/>
                <a:gd name="connsiteY530" fmla="*/ 16078 h 129748"/>
                <a:gd name="connsiteX531" fmla="*/ 43156 w 112824"/>
                <a:gd name="connsiteY531" fmla="*/ 16360 h 129748"/>
                <a:gd name="connsiteX532" fmla="*/ 39770 w 112824"/>
                <a:gd name="connsiteY532" fmla="*/ 20590 h 129748"/>
                <a:gd name="connsiteX533" fmla="*/ 39489 w 112824"/>
                <a:gd name="connsiteY533" fmla="*/ 20873 h 129748"/>
                <a:gd name="connsiteX534" fmla="*/ 37232 w 112824"/>
                <a:gd name="connsiteY534" fmla="*/ 23411 h 129748"/>
                <a:gd name="connsiteX535" fmla="*/ 36668 w 112824"/>
                <a:gd name="connsiteY535" fmla="*/ 24539 h 129748"/>
                <a:gd name="connsiteX536" fmla="*/ 36668 w 112824"/>
                <a:gd name="connsiteY536" fmla="*/ 24821 h 129748"/>
                <a:gd name="connsiteX537" fmla="*/ 35539 w 112824"/>
                <a:gd name="connsiteY537" fmla="*/ 26514 h 129748"/>
                <a:gd name="connsiteX538" fmla="*/ 34411 w 112824"/>
                <a:gd name="connsiteY538" fmla="*/ 28206 h 129748"/>
                <a:gd name="connsiteX539" fmla="*/ 33847 w 112824"/>
                <a:gd name="connsiteY539" fmla="*/ 28770 h 129748"/>
                <a:gd name="connsiteX540" fmla="*/ 34129 w 112824"/>
                <a:gd name="connsiteY540" fmla="*/ 30463 h 129748"/>
                <a:gd name="connsiteX541" fmla="*/ 33001 w 112824"/>
                <a:gd name="connsiteY541" fmla="*/ 32155 h 129748"/>
                <a:gd name="connsiteX542" fmla="*/ 33001 w 112824"/>
                <a:gd name="connsiteY542" fmla="*/ 33001 h 129748"/>
                <a:gd name="connsiteX543" fmla="*/ 32155 w 112824"/>
                <a:gd name="connsiteY543" fmla="*/ 33847 h 129748"/>
                <a:gd name="connsiteX544" fmla="*/ 31027 w 112824"/>
                <a:gd name="connsiteY544" fmla="*/ 36104 h 129748"/>
                <a:gd name="connsiteX545" fmla="*/ 31027 w 112824"/>
                <a:gd name="connsiteY545" fmla="*/ 36668 h 129748"/>
                <a:gd name="connsiteX546" fmla="*/ 30180 w 112824"/>
                <a:gd name="connsiteY546" fmla="*/ 37796 h 129748"/>
                <a:gd name="connsiteX547" fmla="*/ 29052 w 112824"/>
                <a:gd name="connsiteY547" fmla="*/ 38924 h 129748"/>
                <a:gd name="connsiteX548" fmla="*/ 29052 w 112824"/>
                <a:gd name="connsiteY548" fmla="*/ 39207 h 129748"/>
                <a:gd name="connsiteX549" fmla="*/ 27077 w 112824"/>
                <a:gd name="connsiteY549" fmla="*/ 45412 h 129748"/>
                <a:gd name="connsiteX550" fmla="*/ 27077 w 112824"/>
                <a:gd name="connsiteY550" fmla="*/ 47104 h 129748"/>
                <a:gd name="connsiteX551" fmla="*/ 26796 w 112824"/>
                <a:gd name="connsiteY551" fmla="*/ 47950 h 129748"/>
                <a:gd name="connsiteX552" fmla="*/ 55002 w 112824"/>
                <a:gd name="connsiteY552" fmla="*/ 26796 h 129748"/>
                <a:gd name="connsiteX553" fmla="*/ 55566 w 112824"/>
                <a:gd name="connsiteY553" fmla="*/ 26514 h 129748"/>
                <a:gd name="connsiteX554" fmla="*/ 55848 w 112824"/>
                <a:gd name="connsiteY554" fmla="*/ 25668 h 129748"/>
                <a:gd name="connsiteX555" fmla="*/ 55848 w 112824"/>
                <a:gd name="connsiteY555" fmla="*/ 25386 h 129748"/>
                <a:gd name="connsiteX556" fmla="*/ 55566 w 112824"/>
                <a:gd name="connsiteY556" fmla="*/ 25103 h 129748"/>
                <a:gd name="connsiteX557" fmla="*/ 55284 w 112824"/>
                <a:gd name="connsiteY557" fmla="*/ 25103 h 129748"/>
                <a:gd name="connsiteX558" fmla="*/ 54720 w 112824"/>
                <a:gd name="connsiteY558" fmla="*/ 25950 h 129748"/>
                <a:gd name="connsiteX559" fmla="*/ 55002 w 112824"/>
                <a:gd name="connsiteY559" fmla="*/ 26796 h 129748"/>
                <a:gd name="connsiteX560" fmla="*/ 55002 w 112824"/>
                <a:gd name="connsiteY560" fmla="*/ 12411 h 129748"/>
                <a:gd name="connsiteX561" fmla="*/ 55284 w 112824"/>
                <a:gd name="connsiteY561" fmla="*/ 12975 h 129748"/>
                <a:gd name="connsiteX562" fmla="*/ 55848 w 112824"/>
                <a:gd name="connsiteY562" fmla="*/ 13539 h 129748"/>
                <a:gd name="connsiteX563" fmla="*/ 56412 w 112824"/>
                <a:gd name="connsiteY563" fmla="*/ 12975 h 129748"/>
                <a:gd name="connsiteX564" fmla="*/ 55566 w 112824"/>
                <a:gd name="connsiteY564" fmla="*/ 11847 h 129748"/>
                <a:gd name="connsiteX565" fmla="*/ 55284 w 112824"/>
                <a:gd name="connsiteY565" fmla="*/ 11847 h 129748"/>
                <a:gd name="connsiteX566" fmla="*/ 55002 w 112824"/>
                <a:gd name="connsiteY566" fmla="*/ 12411 h 129748"/>
                <a:gd name="connsiteX567" fmla="*/ 56694 w 112824"/>
                <a:gd name="connsiteY567" fmla="*/ 14667 h 129748"/>
                <a:gd name="connsiteX568" fmla="*/ 55566 w 112824"/>
                <a:gd name="connsiteY568" fmla="*/ 14949 h 129748"/>
                <a:gd name="connsiteX569" fmla="*/ 55566 w 112824"/>
                <a:gd name="connsiteY569" fmla="*/ 16360 h 129748"/>
                <a:gd name="connsiteX570" fmla="*/ 55848 w 112824"/>
                <a:gd name="connsiteY570" fmla="*/ 17770 h 129748"/>
                <a:gd name="connsiteX571" fmla="*/ 55284 w 112824"/>
                <a:gd name="connsiteY571" fmla="*/ 18898 h 129748"/>
                <a:gd name="connsiteX572" fmla="*/ 55848 w 112824"/>
                <a:gd name="connsiteY572" fmla="*/ 20873 h 129748"/>
                <a:gd name="connsiteX573" fmla="*/ 55284 w 112824"/>
                <a:gd name="connsiteY573" fmla="*/ 21719 h 129748"/>
                <a:gd name="connsiteX574" fmla="*/ 55284 w 112824"/>
                <a:gd name="connsiteY574" fmla="*/ 22283 h 129748"/>
                <a:gd name="connsiteX575" fmla="*/ 55566 w 112824"/>
                <a:gd name="connsiteY575" fmla="*/ 22565 h 129748"/>
                <a:gd name="connsiteX576" fmla="*/ 56130 w 112824"/>
                <a:gd name="connsiteY576" fmla="*/ 22283 h 129748"/>
                <a:gd name="connsiteX577" fmla="*/ 57259 w 112824"/>
                <a:gd name="connsiteY577" fmla="*/ 22001 h 129748"/>
                <a:gd name="connsiteX578" fmla="*/ 59233 w 112824"/>
                <a:gd name="connsiteY578" fmla="*/ 19462 h 129748"/>
                <a:gd name="connsiteX579" fmla="*/ 59233 w 112824"/>
                <a:gd name="connsiteY579" fmla="*/ 18334 h 129748"/>
                <a:gd name="connsiteX580" fmla="*/ 58669 w 112824"/>
                <a:gd name="connsiteY580" fmla="*/ 17488 h 129748"/>
                <a:gd name="connsiteX581" fmla="*/ 57540 w 112824"/>
                <a:gd name="connsiteY581" fmla="*/ 16360 h 129748"/>
                <a:gd name="connsiteX582" fmla="*/ 56976 w 112824"/>
                <a:gd name="connsiteY582" fmla="*/ 14949 h 129748"/>
                <a:gd name="connsiteX583" fmla="*/ 56694 w 112824"/>
                <a:gd name="connsiteY583" fmla="*/ 14667 h 129748"/>
                <a:gd name="connsiteX584" fmla="*/ 57823 w 112824"/>
                <a:gd name="connsiteY584" fmla="*/ 15795 h 129748"/>
                <a:gd name="connsiteX585" fmla="*/ 58387 w 112824"/>
                <a:gd name="connsiteY585" fmla="*/ 16078 h 129748"/>
                <a:gd name="connsiteX586" fmla="*/ 58669 w 112824"/>
                <a:gd name="connsiteY586" fmla="*/ 16078 h 129748"/>
                <a:gd name="connsiteX587" fmla="*/ 58669 w 112824"/>
                <a:gd name="connsiteY587" fmla="*/ 15513 h 129748"/>
                <a:gd name="connsiteX588" fmla="*/ 58387 w 112824"/>
                <a:gd name="connsiteY588" fmla="*/ 14949 h 129748"/>
                <a:gd name="connsiteX589" fmla="*/ 58104 w 112824"/>
                <a:gd name="connsiteY589" fmla="*/ 15231 h 129748"/>
                <a:gd name="connsiteX590" fmla="*/ 57823 w 112824"/>
                <a:gd name="connsiteY590" fmla="*/ 15795 h 129748"/>
                <a:gd name="connsiteX591" fmla="*/ 58951 w 112824"/>
                <a:gd name="connsiteY591" fmla="*/ 23693 h 129748"/>
                <a:gd name="connsiteX592" fmla="*/ 58951 w 112824"/>
                <a:gd name="connsiteY592" fmla="*/ 23975 h 129748"/>
                <a:gd name="connsiteX593" fmla="*/ 59515 w 112824"/>
                <a:gd name="connsiteY593" fmla="*/ 26232 h 129748"/>
                <a:gd name="connsiteX594" fmla="*/ 60079 w 112824"/>
                <a:gd name="connsiteY594" fmla="*/ 26232 h 129748"/>
                <a:gd name="connsiteX595" fmla="*/ 61207 w 112824"/>
                <a:gd name="connsiteY595" fmla="*/ 24821 h 129748"/>
                <a:gd name="connsiteX596" fmla="*/ 60925 w 112824"/>
                <a:gd name="connsiteY596" fmla="*/ 24257 h 129748"/>
                <a:gd name="connsiteX597" fmla="*/ 60643 w 112824"/>
                <a:gd name="connsiteY597" fmla="*/ 23693 h 129748"/>
                <a:gd name="connsiteX598" fmla="*/ 60925 w 112824"/>
                <a:gd name="connsiteY598" fmla="*/ 23129 h 129748"/>
                <a:gd name="connsiteX599" fmla="*/ 60925 w 112824"/>
                <a:gd name="connsiteY599" fmla="*/ 22847 h 129748"/>
                <a:gd name="connsiteX600" fmla="*/ 60079 w 112824"/>
                <a:gd name="connsiteY600" fmla="*/ 22565 h 129748"/>
                <a:gd name="connsiteX601" fmla="*/ 58951 w 112824"/>
                <a:gd name="connsiteY601" fmla="*/ 23693 h 129748"/>
                <a:gd name="connsiteX602" fmla="*/ 60079 w 112824"/>
                <a:gd name="connsiteY602" fmla="*/ 20308 h 129748"/>
                <a:gd name="connsiteX603" fmla="*/ 60079 w 112824"/>
                <a:gd name="connsiteY603" fmla="*/ 21437 h 129748"/>
                <a:gd name="connsiteX604" fmla="*/ 60361 w 112824"/>
                <a:gd name="connsiteY604" fmla="*/ 21719 h 129748"/>
                <a:gd name="connsiteX605" fmla="*/ 61771 w 112824"/>
                <a:gd name="connsiteY605" fmla="*/ 20308 h 129748"/>
                <a:gd name="connsiteX606" fmla="*/ 61771 w 112824"/>
                <a:gd name="connsiteY606" fmla="*/ 20026 h 129748"/>
                <a:gd name="connsiteX607" fmla="*/ 60643 w 112824"/>
                <a:gd name="connsiteY607" fmla="*/ 18898 h 129748"/>
                <a:gd name="connsiteX608" fmla="*/ 60361 w 112824"/>
                <a:gd name="connsiteY608" fmla="*/ 18898 h 129748"/>
                <a:gd name="connsiteX609" fmla="*/ 60079 w 112824"/>
                <a:gd name="connsiteY609" fmla="*/ 20308 h 129748"/>
                <a:gd name="connsiteX610" fmla="*/ 72772 w 112824"/>
                <a:gd name="connsiteY610" fmla="*/ 107183 h 129748"/>
                <a:gd name="connsiteX611" fmla="*/ 72490 w 112824"/>
                <a:gd name="connsiteY611" fmla="*/ 106619 h 129748"/>
                <a:gd name="connsiteX612" fmla="*/ 71926 w 112824"/>
                <a:gd name="connsiteY612" fmla="*/ 106619 h 129748"/>
                <a:gd name="connsiteX613" fmla="*/ 71643 w 112824"/>
                <a:gd name="connsiteY613" fmla="*/ 107183 h 129748"/>
                <a:gd name="connsiteX614" fmla="*/ 72207 w 112824"/>
                <a:gd name="connsiteY614" fmla="*/ 107465 h 129748"/>
                <a:gd name="connsiteX615" fmla="*/ 72490 w 112824"/>
                <a:gd name="connsiteY615" fmla="*/ 107465 h 129748"/>
                <a:gd name="connsiteX616" fmla="*/ 72772 w 112824"/>
                <a:gd name="connsiteY616" fmla="*/ 107183 h 129748"/>
                <a:gd name="connsiteX617" fmla="*/ 78977 w 112824"/>
                <a:gd name="connsiteY617" fmla="*/ 105773 h 129748"/>
                <a:gd name="connsiteX618" fmla="*/ 78695 w 112824"/>
                <a:gd name="connsiteY618" fmla="*/ 106055 h 129748"/>
                <a:gd name="connsiteX619" fmla="*/ 78413 w 112824"/>
                <a:gd name="connsiteY619" fmla="*/ 105773 h 129748"/>
                <a:gd name="connsiteX620" fmla="*/ 78695 w 112824"/>
                <a:gd name="connsiteY620" fmla="*/ 105491 h 129748"/>
                <a:gd name="connsiteX621" fmla="*/ 78977 w 112824"/>
                <a:gd name="connsiteY621" fmla="*/ 105773 h 129748"/>
                <a:gd name="connsiteX622" fmla="*/ 94491 w 112824"/>
                <a:gd name="connsiteY622" fmla="*/ 89413 h 129748"/>
                <a:gd name="connsiteX623" fmla="*/ 93080 w 112824"/>
                <a:gd name="connsiteY623" fmla="*/ 90824 h 129748"/>
                <a:gd name="connsiteX624" fmla="*/ 92516 w 112824"/>
                <a:gd name="connsiteY624" fmla="*/ 91388 h 129748"/>
                <a:gd name="connsiteX625" fmla="*/ 92234 w 112824"/>
                <a:gd name="connsiteY625" fmla="*/ 90824 h 129748"/>
                <a:gd name="connsiteX626" fmla="*/ 91388 w 112824"/>
                <a:gd name="connsiteY626" fmla="*/ 89978 h 129748"/>
                <a:gd name="connsiteX627" fmla="*/ 90824 w 112824"/>
                <a:gd name="connsiteY627" fmla="*/ 89413 h 129748"/>
                <a:gd name="connsiteX628" fmla="*/ 90824 w 112824"/>
                <a:gd name="connsiteY628" fmla="*/ 88849 h 129748"/>
                <a:gd name="connsiteX629" fmla="*/ 92234 w 112824"/>
                <a:gd name="connsiteY629" fmla="*/ 88003 h 129748"/>
                <a:gd name="connsiteX630" fmla="*/ 92516 w 112824"/>
                <a:gd name="connsiteY630" fmla="*/ 88285 h 129748"/>
                <a:gd name="connsiteX631" fmla="*/ 93927 w 112824"/>
                <a:gd name="connsiteY631" fmla="*/ 88849 h 129748"/>
                <a:gd name="connsiteX632" fmla="*/ 94491 w 112824"/>
                <a:gd name="connsiteY632" fmla="*/ 89413 h 129748"/>
                <a:gd name="connsiteX633" fmla="*/ 96183 w 112824"/>
                <a:gd name="connsiteY633" fmla="*/ 83772 h 129748"/>
                <a:gd name="connsiteX634" fmla="*/ 96183 w 112824"/>
                <a:gd name="connsiteY634" fmla="*/ 84054 h 129748"/>
                <a:gd name="connsiteX635" fmla="*/ 94491 w 112824"/>
                <a:gd name="connsiteY635" fmla="*/ 85747 h 129748"/>
                <a:gd name="connsiteX636" fmla="*/ 94208 w 112824"/>
                <a:gd name="connsiteY636" fmla="*/ 85747 h 129748"/>
                <a:gd name="connsiteX637" fmla="*/ 93927 w 112824"/>
                <a:gd name="connsiteY637" fmla="*/ 85465 h 129748"/>
                <a:gd name="connsiteX638" fmla="*/ 94208 w 112824"/>
                <a:gd name="connsiteY638" fmla="*/ 84900 h 129748"/>
                <a:gd name="connsiteX639" fmla="*/ 95055 w 112824"/>
                <a:gd name="connsiteY639" fmla="*/ 84054 h 129748"/>
                <a:gd name="connsiteX640" fmla="*/ 95055 w 112824"/>
                <a:gd name="connsiteY640" fmla="*/ 83490 h 129748"/>
                <a:gd name="connsiteX641" fmla="*/ 95337 w 112824"/>
                <a:gd name="connsiteY641" fmla="*/ 83490 h 129748"/>
                <a:gd name="connsiteX642" fmla="*/ 96183 w 112824"/>
                <a:gd name="connsiteY642" fmla="*/ 83772 h 129748"/>
                <a:gd name="connsiteX643" fmla="*/ 102670 w 112824"/>
                <a:gd name="connsiteY643" fmla="*/ 79259 h 129748"/>
                <a:gd name="connsiteX644" fmla="*/ 103234 w 112824"/>
                <a:gd name="connsiteY644" fmla="*/ 78977 h 129748"/>
                <a:gd name="connsiteX645" fmla="*/ 102388 w 112824"/>
                <a:gd name="connsiteY645" fmla="*/ 80952 h 129748"/>
                <a:gd name="connsiteX646" fmla="*/ 101824 w 112824"/>
                <a:gd name="connsiteY646" fmla="*/ 81234 h 129748"/>
                <a:gd name="connsiteX647" fmla="*/ 101824 w 112824"/>
                <a:gd name="connsiteY647" fmla="*/ 80387 h 129748"/>
                <a:gd name="connsiteX648" fmla="*/ 102670 w 112824"/>
                <a:gd name="connsiteY648" fmla="*/ 79259 h 129748"/>
                <a:gd name="connsiteX649" fmla="*/ 103516 w 112824"/>
                <a:gd name="connsiteY649" fmla="*/ 64874 h 129748"/>
                <a:gd name="connsiteX650" fmla="*/ 103234 w 112824"/>
                <a:gd name="connsiteY650" fmla="*/ 63746 h 129748"/>
                <a:gd name="connsiteX651" fmla="*/ 102952 w 112824"/>
                <a:gd name="connsiteY651" fmla="*/ 63746 h 129748"/>
                <a:gd name="connsiteX652" fmla="*/ 102952 w 112824"/>
                <a:gd name="connsiteY652" fmla="*/ 64310 h 129748"/>
                <a:gd name="connsiteX653" fmla="*/ 103234 w 112824"/>
                <a:gd name="connsiteY653" fmla="*/ 64874 h 129748"/>
                <a:gd name="connsiteX654" fmla="*/ 103234 w 112824"/>
                <a:gd name="connsiteY654" fmla="*/ 65156 h 129748"/>
                <a:gd name="connsiteX655" fmla="*/ 103516 w 112824"/>
                <a:gd name="connsiteY655" fmla="*/ 64874 h 129748"/>
                <a:gd name="connsiteX656" fmla="*/ 104644 w 112824"/>
                <a:gd name="connsiteY656" fmla="*/ 56976 h 129748"/>
                <a:gd name="connsiteX657" fmla="*/ 104644 w 112824"/>
                <a:gd name="connsiteY657" fmla="*/ 57258 h 129748"/>
                <a:gd name="connsiteX658" fmla="*/ 103516 w 112824"/>
                <a:gd name="connsiteY658" fmla="*/ 58105 h 129748"/>
                <a:gd name="connsiteX659" fmla="*/ 103234 w 112824"/>
                <a:gd name="connsiteY659" fmla="*/ 57823 h 129748"/>
                <a:gd name="connsiteX660" fmla="*/ 103234 w 112824"/>
                <a:gd name="connsiteY660" fmla="*/ 57541 h 129748"/>
                <a:gd name="connsiteX661" fmla="*/ 104080 w 112824"/>
                <a:gd name="connsiteY661" fmla="*/ 56694 h 129748"/>
                <a:gd name="connsiteX662" fmla="*/ 104644 w 112824"/>
                <a:gd name="connsiteY662" fmla="*/ 56976 h 129748"/>
                <a:gd name="connsiteX663" fmla="*/ 110004 w 112824"/>
                <a:gd name="connsiteY663" fmla="*/ 60361 h 129748"/>
                <a:gd name="connsiteX664" fmla="*/ 110004 w 112824"/>
                <a:gd name="connsiteY664" fmla="*/ 60643 h 129748"/>
                <a:gd name="connsiteX665" fmla="*/ 109440 w 112824"/>
                <a:gd name="connsiteY665" fmla="*/ 62336 h 129748"/>
                <a:gd name="connsiteX666" fmla="*/ 109158 w 112824"/>
                <a:gd name="connsiteY666" fmla="*/ 63182 h 129748"/>
                <a:gd name="connsiteX667" fmla="*/ 108875 w 112824"/>
                <a:gd name="connsiteY667" fmla="*/ 64028 h 129748"/>
                <a:gd name="connsiteX668" fmla="*/ 108030 w 112824"/>
                <a:gd name="connsiteY668" fmla="*/ 64874 h 129748"/>
                <a:gd name="connsiteX669" fmla="*/ 107183 w 112824"/>
                <a:gd name="connsiteY669" fmla="*/ 64028 h 129748"/>
                <a:gd name="connsiteX670" fmla="*/ 108030 w 112824"/>
                <a:gd name="connsiteY670" fmla="*/ 61771 h 129748"/>
                <a:gd name="connsiteX671" fmla="*/ 108030 w 112824"/>
                <a:gd name="connsiteY671" fmla="*/ 60925 h 129748"/>
                <a:gd name="connsiteX672" fmla="*/ 108311 w 112824"/>
                <a:gd name="connsiteY672" fmla="*/ 59797 h 129748"/>
                <a:gd name="connsiteX673" fmla="*/ 109158 w 112824"/>
                <a:gd name="connsiteY673" fmla="*/ 57541 h 129748"/>
                <a:gd name="connsiteX674" fmla="*/ 109158 w 112824"/>
                <a:gd name="connsiteY674" fmla="*/ 56976 h 129748"/>
                <a:gd name="connsiteX675" fmla="*/ 109440 w 112824"/>
                <a:gd name="connsiteY675" fmla="*/ 56412 h 129748"/>
                <a:gd name="connsiteX676" fmla="*/ 109722 w 112824"/>
                <a:gd name="connsiteY676" fmla="*/ 56412 h 129748"/>
                <a:gd name="connsiteX677" fmla="*/ 110004 w 112824"/>
                <a:gd name="connsiteY677" fmla="*/ 56412 h 129748"/>
                <a:gd name="connsiteX678" fmla="*/ 110286 w 112824"/>
                <a:gd name="connsiteY678" fmla="*/ 56976 h 129748"/>
                <a:gd name="connsiteX679" fmla="*/ 110004 w 112824"/>
                <a:gd name="connsiteY679" fmla="*/ 57258 h 129748"/>
                <a:gd name="connsiteX680" fmla="*/ 109440 w 112824"/>
                <a:gd name="connsiteY680" fmla="*/ 58387 h 129748"/>
                <a:gd name="connsiteX681" fmla="*/ 109158 w 112824"/>
                <a:gd name="connsiteY681" fmla="*/ 58951 h 129748"/>
                <a:gd name="connsiteX682" fmla="*/ 109722 w 112824"/>
                <a:gd name="connsiteY682" fmla="*/ 59515 h 129748"/>
                <a:gd name="connsiteX683" fmla="*/ 110004 w 112824"/>
                <a:gd name="connsiteY683" fmla="*/ 60361 h 129748"/>
                <a:gd name="connsiteX684" fmla="*/ 107183 w 112824"/>
                <a:gd name="connsiteY684" fmla="*/ 40335 h 129748"/>
                <a:gd name="connsiteX685" fmla="*/ 107747 w 112824"/>
                <a:gd name="connsiteY685" fmla="*/ 39489 h 129748"/>
                <a:gd name="connsiteX686" fmla="*/ 109158 w 112824"/>
                <a:gd name="connsiteY686" fmla="*/ 39489 h 129748"/>
                <a:gd name="connsiteX687" fmla="*/ 108875 w 112824"/>
                <a:gd name="connsiteY687" fmla="*/ 40335 h 129748"/>
                <a:gd name="connsiteX688" fmla="*/ 109158 w 112824"/>
                <a:gd name="connsiteY688" fmla="*/ 40617 h 129748"/>
                <a:gd name="connsiteX689" fmla="*/ 108594 w 112824"/>
                <a:gd name="connsiteY689" fmla="*/ 41181 h 129748"/>
                <a:gd name="connsiteX690" fmla="*/ 107183 w 112824"/>
                <a:gd name="connsiteY690" fmla="*/ 40335 h 129748"/>
                <a:gd name="connsiteX691" fmla="*/ 110568 w 112824"/>
                <a:gd name="connsiteY691" fmla="*/ 68823 h 129748"/>
                <a:gd name="connsiteX692" fmla="*/ 109722 w 112824"/>
                <a:gd name="connsiteY692" fmla="*/ 69669 h 129748"/>
                <a:gd name="connsiteX693" fmla="*/ 110286 w 112824"/>
                <a:gd name="connsiteY693" fmla="*/ 68259 h 129748"/>
                <a:gd name="connsiteX694" fmla="*/ 110568 w 112824"/>
                <a:gd name="connsiteY694" fmla="*/ 68541 h 129748"/>
                <a:gd name="connsiteX695" fmla="*/ 110568 w 112824"/>
                <a:gd name="connsiteY695" fmla="*/ 68823 h 129748"/>
                <a:gd name="connsiteX696" fmla="*/ 112261 w 112824"/>
                <a:gd name="connsiteY696" fmla="*/ 65156 h 129748"/>
                <a:gd name="connsiteX697" fmla="*/ 111978 w 112824"/>
                <a:gd name="connsiteY697" fmla="*/ 64310 h 129748"/>
                <a:gd name="connsiteX698" fmla="*/ 112261 w 112824"/>
                <a:gd name="connsiteY698" fmla="*/ 63746 h 129748"/>
                <a:gd name="connsiteX699" fmla="*/ 112542 w 112824"/>
                <a:gd name="connsiteY699" fmla="*/ 63464 h 129748"/>
                <a:gd name="connsiteX700" fmla="*/ 112825 w 112824"/>
                <a:gd name="connsiteY700" fmla="*/ 63746 h 129748"/>
                <a:gd name="connsiteX701" fmla="*/ 112261 w 112824"/>
                <a:gd name="connsiteY701" fmla="*/ 65156 h 129748"/>
                <a:gd name="connsiteX702" fmla="*/ 111978 w 112824"/>
                <a:gd name="connsiteY702" fmla="*/ 65438 h 129748"/>
                <a:gd name="connsiteX703" fmla="*/ 112261 w 112824"/>
                <a:gd name="connsiteY703" fmla="*/ 65156 h 129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</a:cxnLst>
              <a:rect l="l" t="t" r="r" b="b"/>
              <a:pathLst>
                <a:path w="112824" h="129748">
                  <a:moveTo>
                    <a:pt x="108030" y="66284"/>
                  </a:moveTo>
                  <a:cubicBezTo>
                    <a:pt x="107183" y="67131"/>
                    <a:pt x="107183" y="67695"/>
                    <a:pt x="107183" y="68259"/>
                  </a:cubicBezTo>
                  <a:cubicBezTo>
                    <a:pt x="106619" y="69105"/>
                    <a:pt x="106055" y="69669"/>
                    <a:pt x="104927" y="70233"/>
                  </a:cubicBezTo>
                  <a:cubicBezTo>
                    <a:pt x="104644" y="70515"/>
                    <a:pt x="104363" y="71079"/>
                    <a:pt x="104363" y="71362"/>
                  </a:cubicBezTo>
                  <a:cubicBezTo>
                    <a:pt x="104363" y="71644"/>
                    <a:pt x="104080" y="71644"/>
                    <a:pt x="104080" y="71926"/>
                  </a:cubicBezTo>
                  <a:cubicBezTo>
                    <a:pt x="104080" y="72208"/>
                    <a:pt x="104363" y="72772"/>
                    <a:pt x="104644" y="73054"/>
                  </a:cubicBezTo>
                  <a:cubicBezTo>
                    <a:pt x="104927" y="73054"/>
                    <a:pt x="105209" y="73336"/>
                    <a:pt x="105209" y="73336"/>
                  </a:cubicBezTo>
                  <a:cubicBezTo>
                    <a:pt x="105773" y="73618"/>
                    <a:pt x="105773" y="73618"/>
                    <a:pt x="106337" y="73618"/>
                  </a:cubicBezTo>
                  <a:lnTo>
                    <a:pt x="106619" y="73336"/>
                  </a:lnTo>
                  <a:cubicBezTo>
                    <a:pt x="106901" y="73336"/>
                    <a:pt x="107183" y="73336"/>
                    <a:pt x="107183" y="73618"/>
                  </a:cubicBezTo>
                  <a:cubicBezTo>
                    <a:pt x="106619" y="75028"/>
                    <a:pt x="105773" y="76157"/>
                    <a:pt x="104927" y="77003"/>
                  </a:cubicBezTo>
                  <a:cubicBezTo>
                    <a:pt x="104363" y="77567"/>
                    <a:pt x="104080" y="78131"/>
                    <a:pt x="104080" y="78695"/>
                  </a:cubicBezTo>
                  <a:cubicBezTo>
                    <a:pt x="104080" y="78977"/>
                    <a:pt x="103516" y="78977"/>
                    <a:pt x="103234" y="78977"/>
                  </a:cubicBezTo>
                  <a:cubicBezTo>
                    <a:pt x="103234" y="78695"/>
                    <a:pt x="103516" y="78413"/>
                    <a:pt x="103516" y="78131"/>
                  </a:cubicBezTo>
                  <a:cubicBezTo>
                    <a:pt x="103516" y="77849"/>
                    <a:pt x="103234" y="77567"/>
                    <a:pt x="103234" y="77003"/>
                  </a:cubicBezTo>
                  <a:cubicBezTo>
                    <a:pt x="103234" y="76157"/>
                    <a:pt x="103799" y="75592"/>
                    <a:pt x="104080" y="74746"/>
                  </a:cubicBezTo>
                  <a:cubicBezTo>
                    <a:pt x="104363" y="74464"/>
                    <a:pt x="104363" y="74182"/>
                    <a:pt x="104363" y="74182"/>
                  </a:cubicBezTo>
                  <a:lnTo>
                    <a:pt x="104080" y="74182"/>
                  </a:lnTo>
                  <a:cubicBezTo>
                    <a:pt x="104080" y="73900"/>
                    <a:pt x="103799" y="74182"/>
                    <a:pt x="103516" y="74182"/>
                  </a:cubicBezTo>
                  <a:cubicBezTo>
                    <a:pt x="102670" y="74182"/>
                    <a:pt x="102388" y="74746"/>
                    <a:pt x="102388" y="75592"/>
                  </a:cubicBezTo>
                  <a:cubicBezTo>
                    <a:pt x="102106" y="76157"/>
                    <a:pt x="101824" y="76157"/>
                    <a:pt x="101542" y="76439"/>
                  </a:cubicBezTo>
                  <a:lnTo>
                    <a:pt x="101260" y="76439"/>
                  </a:lnTo>
                  <a:cubicBezTo>
                    <a:pt x="100978" y="76439"/>
                    <a:pt x="100978" y="76439"/>
                    <a:pt x="100696" y="76157"/>
                  </a:cubicBezTo>
                  <a:lnTo>
                    <a:pt x="100696" y="75592"/>
                  </a:lnTo>
                  <a:cubicBezTo>
                    <a:pt x="100696" y="75310"/>
                    <a:pt x="100696" y="75028"/>
                    <a:pt x="100413" y="75028"/>
                  </a:cubicBezTo>
                  <a:cubicBezTo>
                    <a:pt x="100132" y="75028"/>
                    <a:pt x="100132" y="75310"/>
                    <a:pt x="100132" y="75592"/>
                  </a:cubicBezTo>
                  <a:cubicBezTo>
                    <a:pt x="99568" y="75592"/>
                    <a:pt x="99286" y="76157"/>
                    <a:pt x="99286" y="76157"/>
                  </a:cubicBezTo>
                  <a:lnTo>
                    <a:pt x="99286" y="78131"/>
                  </a:lnTo>
                  <a:cubicBezTo>
                    <a:pt x="99003" y="78131"/>
                    <a:pt x="99286" y="78413"/>
                    <a:pt x="99003" y="78413"/>
                  </a:cubicBezTo>
                  <a:cubicBezTo>
                    <a:pt x="98158" y="78131"/>
                    <a:pt x="97311" y="78131"/>
                    <a:pt x="97029" y="77567"/>
                  </a:cubicBezTo>
                  <a:cubicBezTo>
                    <a:pt x="97029" y="77567"/>
                    <a:pt x="96465" y="77567"/>
                    <a:pt x="96465" y="77849"/>
                  </a:cubicBezTo>
                  <a:cubicBezTo>
                    <a:pt x="96465" y="78131"/>
                    <a:pt x="96465" y="78131"/>
                    <a:pt x="96747" y="78695"/>
                  </a:cubicBezTo>
                  <a:cubicBezTo>
                    <a:pt x="96747" y="78977"/>
                    <a:pt x="96747" y="79259"/>
                    <a:pt x="96183" y="79541"/>
                  </a:cubicBezTo>
                  <a:cubicBezTo>
                    <a:pt x="95055" y="80670"/>
                    <a:pt x="94772" y="81516"/>
                    <a:pt x="93927" y="82926"/>
                  </a:cubicBezTo>
                  <a:cubicBezTo>
                    <a:pt x="93927" y="82926"/>
                    <a:pt x="93927" y="83208"/>
                    <a:pt x="93644" y="83208"/>
                  </a:cubicBezTo>
                  <a:lnTo>
                    <a:pt x="93080" y="83208"/>
                  </a:lnTo>
                  <a:cubicBezTo>
                    <a:pt x="92798" y="83208"/>
                    <a:pt x="92798" y="83208"/>
                    <a:pt x="92798" y="83490"/>
                  </a:cubicBezTo>
                  <a:lnTo>
                    <a:pt x="92798" y="84054"/>
                  </a:lnTo>
                  <a:cubicBezTo>
                    <a:pt x="92798" y="84618"/>
                    <a:pt x="92234" y="84900"/>
                    <a:pt x="92234" y="85465"/>
                  </a:cubicBezTo>
                  <a:cubicBezTo>
                    <a:pt x="91670" y="86029"/>
                    <a:pt x="90824" y="86029"/>
                    <a:pt x="90541" y="86875"/>
                  </a:cubicBezTo>
                  <a:cubicBezTo>
                    <a:pt x="90541" y="87439"/>
                    <a:pt x="89977" y="87439"/>
                    <a:pt x="89131" y="87439"/>
                  </a:cubicBezTo>
                  <a:cubicBezTo>
                    <a:pt x="89131" y="87439"/>
                    <a:pt x="88567" y="87721"/>
                    <a:pt x="88567" y="88003"/>
                  </a:cubicBezTo>
                  <a:cubicBezTo>
                    <a:pt x="88285" y="88003"/>
                    <a:pt x="88003" y="88285"/>
                    <a:pt x="88003" y="88285"/>
                  </a:cubicBezTo>
                  <a:cubicBezTo>
                    <a:pt x="88003" y="88285"/>
                    <a:pt x="88285" y="88567"/>
                    <a:pt x="88567" y="88567"/>
                  </a:cubicBezTo>
                  <a:cubicBezTo>
                    <a:pt x="88567" y="88849"/>
                    <a:pt x="88567" y="88849"/>
                    <a:pt x="88849" y="88849"/>
                  </a:cubicBezTo>
                  <a:lnTo>
                    <a:pt x="89413" y="89413"/>
                  </a:lnTo>
                  <a:cubicBezTo>
                    <a:pt x="89131" y="89978"/>
                    <a:pt x="88849" y="90824"/>
                    <a:pt x="88285" y="90824"/>
                  </a:cubicBezTo>
                  <a:cubicBezTo>
                    <a:pt x="88003" y="91106"/>
                    <a:pt x="87439" y="91388"/>
                    <a:pt x="87157" y="91388"/>
                  </a:cubicBezTo>
                  <a:cubicBezTo>
                    <a:pt x="86310" y="91670"/>
                    <a:pt x="86029" y="91952"/>
                    <a:pt x="85182" y="92516"/>
                  </a:cubicBezTo>
                  <a:cubicBezTo>
                    <a:pt x="84336" y="93080"/>
                    <a:pt x="84336" y="93926"/>
                    <a:pt x="84336" y="94773"/>
                  </a:cubicBezTo>
                  <a:lnTo>
                    <a:pt x="83772" y="96747"/>
                  </a:lnTo>
                  <a:cubicBezTo>
                    <a:pt x="83490" y="96747"/>
                    <a:pt x="83772" y="97029"/>
                    <a:pt x="84054" y="97311"/>
                  </a:cubicBezTo>
                  <a:cubicBezTo>
                    <a:pt x="84054" y="97593"/>
                    <a:pt x="84336" y="97593"/>
                    <a:pt x="84336" y="97593"/>
                  </a:cubicBezTo>
                  <a:lnTo>
                    <a:pt x="84054" y="97875"/>
                  </a:lnTo>
                  <a:cubicBezTo>
                    <a:pt x="83772" y="98157"/>
                    <a:pt x="83772" y="98157"/>
                    <a:pt x="83772" y="98439"/>
                  </a:cubicBezTo>
                  <a:cubicBezTo>
                    <a:pt x="83772" y="98721"/>
                    <a:pt x="83772" y="99004"/>
                    <a:pt x="84054" y="99004"/>
                  </a:cubicBezTo>
                  <a:cubicBezTo>
                    <a:pt x="84054" y="99286"/>
                    <a:pt x="84054" y="99286"/>
                    <a:pt x="84336" y="99286"/>
                  </a:cubicBezTo>
                  <a:cubicBezTo>
                    <a:pt x="84336" y="99286"/>
                    <a:pt x="84618" y="99286"/>
                    <a:pt x="84618" y="99004"/>
                  </a:cubicBezTo>
                  <a:cubicBezTo>
                    <a:pt x="85182" y="98721"/>
                    <a:pt x="85746" y="98157"/>
                    <a:pt x="85746" y="97593"/>
                  </a:cubicBezTo>
                  <a:lnTo>
                    <a:pt x="85746" y="97311"/>
                  </a:lnTo>
                  <a:cubicBezTo>
                    <a:pt x="85746" y="97029"/>
                    <a:pt x="86029" y="96465"/>
                    <a:pt x="86593" y="96465"/>
                  </a:cubicBezTo>
                  <a:cubicBezTo>
                    <a:pt x="87157" y="96465"/>
                    <a:pt x="87439" y="95901"/>
                    <a:pt x="88285" y="95337"/>
                  </a:cubicBezTo>
                  <a:cubicBezTo>
                    <a:pt x="88285" y="95055"/>
                    <a:pt x="88567" y="94491"/>
                    <a:pt x="88849" y="94208"/>
                  </a:cubicBezTo>
                  <a:cubicBezTo>
                    <a:pt x="89131" y="94208"/>
                    <a:pt x="89131" y="94208"/>
                    <a:pt x="89413" y="94491"/>
                  </a:cubicBezTo>
                  <a:cubicBezTo>
                    <a:pt x="89131" y="95055"/>
                    <a:pt x="88849" y="95619"/>
                    <a:pt x="88285" y="96183"/>
                  </a:cubicBezTo>
                  <a:lnTo>
                    <a:pt x="88003" y="96465"/>
                  </a:lnTo>
                  <a:lnTo>
                    <a:pt x="88003" y="96747"/>
                  </a:lnTo>
                  <a:cubicBezTo>
                    <a:pt x="88003" y="97593"/>
                    <a:pt x="87157" y="98157"/>
                    <a:pt x="86310" y="99004"/>
                  </a:cubicBezTo>
                  <a:cubicBezTo>
                    <a:pt x="86029" y="99850"/>
                    <a:pt x="85182" y="100132"/>
                    <a:pt x="84618" y="100978"/>
                  </a:cubicBezTo>
                  <a:cubicBezTo>
                    <a:pt x="84054" y="101824"/>
                    <a:pt x="82926" y="102388"/>
                    <a:pt x="82079" y="103234"/>
                  </a:cubicBezTo>
                  <a:cubicBezTo>
                    <a:pt x="82079" y="103234"/>
                    <a:pt x="81798" y="103517"/>
                    <a:pt x="81234" y="103799"/>
                  </a:cubicBezTo>
                  <a:lnTo>
                    <a:pt x="80952" y="103799"/>
                  </a:lnTo>
                  <a:cubicBezTo>
                    <a:pt x="80669" y="102952"/>
                    <a:pt x="80669" y="102670"/>
                    <a:pt x="79824" y="102670"/>
                  </a:cubicBezTo>
                  <a:cubicBezTo>
                    <a:pt x="79824" y="102670"/>
                    <a:pt x="79541" y="102670"/>
                    <a:pt x="79541" y="102388"/>
                  </a:cubicBezTo>
                  <a:lnTo>
                    <a:pt x="79541" y="102106"/>
                  </a:lnTo>
                  <a:cubicBezTo>
                    <a:pt x="79541" y="101824"/>
                    <a:pt x="79541" y="101824"/>
                    <a:pt x="79824" y="101824"/>
                  </a:cubicBezTo>
                  <a:cubicBezTo>
                    <a:pt x="80105" y="101824"/>
                    <a:pt x="80388" y="101542"/>
                    <a:pt x="80388" y="101260"/>
                  </a:cubicBezTo>
                  <a:lnTo>
                    <a:pt x="80669" y="100978"/>
                  </a:lnTo>
                  <a:cubicBezTo>
                    <a:pt x="80669" y="100978"/>
                    <a:pt x="80388" y="100978"/>
                    <a:pt x="80388" y="100696"/>
                  </a:cubicBezTo>
                  <a:lnTo>
                    <a:pt x="79824" y="100132"/>
                  </a:lnTo>
                  <a:cubicBezTo>
                    <a:pt x="79824" y="100132"/>
                    <a:pt x="80105" y="100132"/>
                    <a:pt x="80388" y="99850"/>
                  </a:cubicBezTo>
                  <a:lnTo>
                    <a:pt x="80388" y="99568"/>
                  </a:lnTo>
                  <a:cubicBezTo>
                    <a:pt x="80388" y="99286"/>
                    <a:pt x="80388" y="99286"/>
                    <a:pt x="80669" y="99286"/>
                  </a:cubicBezTo>
                  <a:lnTo>
                    <a:pt x="80669" y="99004"/>
                  </a:lnTo>
                  <a:cubicBezTo>
                    <a:pt x="80388" y="98721"/>
                    <a:pt x="80388" y="98721"/>
                    <a:pt x="80105" y="98721"/>
                  </a:cubicBezTo>
                  <a:lnTo>
                    <a:pt x="79824" y="98721"/>
                  </a:lnTo>
                  <a:cubicBezTo>
                    <a:pt x="78695" y="99286"/>
                    <a:pt x="78131" y="99850"/>
                    <a:pt x="77567" y="100978"/>
                  </a:cubicBezTo>
                  <a:lnTo>
                    <a:pt x="77285" y="101260"/>
                  </a:lnTo>
                  <a:cubicBezTo>
                    <a:pt x="77285" y="101260"/>
                    <a:pt x="77285" y="101542"/>
                    <a:pt x="77567" y="101542"/>
                  </a:cubicBezTo>
                  <a:lnTo>
                    <a:pt x="78131" y="101542"/>
                  </a:lnTo>
                  <a:lnTo>
                    <a:pt x="78413" y="101824"/>
                  </a:lnTo>
                  <a:cubicBezTo>
                    <a:pt x="78413" y="101824"/>
                    <a:pt x="78131" y="101824"/>
                    <a:pt x="77849" y="102106"/>
                  </a:cubicBezTo>
                  <a:cubicBezTo>
                    <a:pt x="77003" y="102670"/>
                    <a:pt x="77285" y="103517"/>
                    <a:pt x="76721" y="103799"/>
                  </a:cubicBezTo>
                  <a:lnTo>
                    <a:pt x="76721" y="104363"/>
                  </a:lnTo>
                  <a:cubicBezTo>
                    <a:pt x="77003" y="104645"/>
                    <a:pt x="77003" y="105209"/>
                    <a:pt x="77003" y="105491"/>
                  </a:cubicBezTo>
                  <a:lnTo>
                    <a:pt x="77003" y="105773"/>
                  </a:lnTo>
                  <a:cubicBezTo>
                    <a:pt x="76721" y="105773"/>
                    <a:pt x="76438" y="106055"/>
                    <a:pt x="76438" y="106337"/>
                  </a:cubicBezTo>
                  <a:lnTo>
                    <a:pt x="76157" y="106619"/>
                  </a:lnTo>
                  <a:lnTo>
                    <a:pt x="76438" y="106619"/>
                  </a:lnTo>
                  <a:cubicBezTo>
                    <a:pt x="76438" y="106901"/>
                    <a:pt x="76438" y="106901"/>
                    <a:pt x="76721" y="107183"/>
                  </a:cubicBezTo>
                  <a:cubicBezTo>
                    <a:pt x="77003" y="107183"/>
                    <a:pt x="77003" y="107465"/>
                    <a:pt x="77003" y="107747"/>
                  </a:cubicBezTo>
                  <a:cubicBezTo>
                    <a:pt x="77003" y="108312"/>
                    <a:pt x="76438" y="108594"/>
                    <a:pt x="76157" y="108594"/>
                  </a:cubicBezTo>
                  <a:cubicBezTo>
                    <a:pt x="75593" y="108594"/>
                    <a:pt x="75310" y="108594"/>
                    <a:pt x="74746" y="108876"/>
                  </a:cubicBezTo>
                  <a:cubicBezTo>
                    <a:pt x="74464" y="109158"/>
                    <a:pt x="74182" y="109158"/>
                    <a:pt x="74182" y="109440"/>
                  </a:cubicBezTo>
                  <a:cubicBezTo>
                    <a:pt x="74182" y="109722"/>
                    <a:pt x="74464" y="109722"/>
                    <a:pt x="74464" y="110004"/>
                  </a:cubicBezTo>
                  <a:cubicBezTo>
                    <a:pt x="74746" y="110286"/>
                    <a:pt x="74746" y="110286"/>
                    <a:pt x="74746" y="110568"/>
                  </a:cubicBezTo>
                  <a:lnTo>
                    <a:pt x="74746" y="110850"/>
                  </a:lnTo>
                  <a:lnTo>
                    <a:pt x="74182" y="110850"/>
                  </a:lnTo>
                  <a:cubicBezTo>
                    <a:pt x="73900" y="110568"/>
                    <a:pt x="73336" y="110286"/>
                    <a:pt x="72772" y="110286"/>
                  </a:cubicBezTo>
                  <a:lnTo>
                    <a:pt x="72207" y="110286"/>
                  </a:lnTo>
                  <a:cubicBezTo>
                    <a:pt x="71926" y="110004"/>
                    <a:pt x="71643" y="110004"/>
                    <a:pt x="71643" y="109722"/>
                  </a:cubicBezTo>
                  <a:lnTo>
                    <a:pt x="72490" y="108876"/>
                  </a:lnTo>
                  <a:cubicBezTo>
                    <a:pt x="72490" y="108594"/>
                    <a:pt x="72490" y="108594"/>
                    <a:pt x="72207" y="108594"/>
                  </a:cubicBezTo>
                  <a:lnTo>
                    <a:pt x="72490" y="108312"/>
                  </a:lnTo>
                  <a:cubicBezTo>
                    <a:pt x="72207" y="108312"/>
                    <a:pt x="71643" y="108594"/>
                    <a:pt x="71362" y="108594"/>
                  </a:cubicBezTo>
                  <a:lnTo>
                    <a:pt x="68541" y="108594"/>
                  </a:lnTo>
                  <a:cubicBezTo>
                    <a:pt x="68259" y="108594"/>
                    <a:pt x="68259" y="109158"/>
                    <a:pt x="68259" y="109440"/>
                  </a:cubicBezTo>
                  <a:cubicBezTo>
                    <a:pt x="68541" y="110004"/>
                    <a:pt x="69387" y="110850"/>
                    <a:pt x="70233" y="111132"/>
                  </a:cubicBezTo>
                  <a:cubicBezTo>
                    <a:pt x="70515" y="111132"/>
                    <a:pt x="70515" y="111132"/>
                    <a:pt x="70515" y="111414"/>
                  </a:cubicBezTo>
                  <a:lnTo>
                    <a:pt x="70515" y="111696"/>
                  </a:lnTo>
                  <a:cubicBezTo>
                    <a:pt x="70515" y="111696"/>
                    <a:pt x="70797" y="111978"/>
                    <a:pt x="70797" y="112260"/>
                  </a:cubicBezTo>
                  <a:lnTo>
                    <a:pt x="70797" y="113107"/>
                  </a:lnTo>
                  <a:lnTo>
                    <a:pt x="68259" y="116209"/>
                  </a:lnTo>
                  <a:cubicBezTo>
                    <a:pt x="67695" y="116209"/>
                    <a:pt x="67412" y="116491"/>
                    <a:pt x="67131" y="117055"/>
                  </a:cubicBezTo>
                  <a:cubicBezTo>
                    <a:pt x="66848" y="117620"/>
                    <a:pt x="66284" y="118466"/>
                    <a:pt x="65438" y="119030"/>
                  </a:cubicBezTo>
                  <a:lnTo>
                    <a:pt x="62900" y="121004"/>
                  </a:lnTo>
                  <a:cubicBezTo>
                    <a:pt x="62618" y="121286"/>
                    <a:pt x="61490" y="121568"/>
                    <a:pt x="60925" y="122415"/>
                  </a:cubicBezTo>
                  <a:cubicBezTo>
                    <a:pt x="59515" y="122415"/>
                    <a:pt x="58951" y="123543"/>
                    <a:pt x="58104" y="124389"/>
                  </a:cubicBezTo>
                  <a:lnTo>
                    <a:pt x="56412" y="125517"/>
                  </a:lnTo>
                  <a:cubicBezTo>
                    <a:pt x="55566" y="125799"/>
                    <a:pt x="54720" y="126081"/>
                    <a:pt x="54156" y="126646"/>
                  </a:cubicBezTo>
                  <a:cubicBezTo>
                    <a:pt x="52463" y="127492"/>
                    <a:pt x="50207" y="128902"/>
                    <a:pt x="48232" y="129466"/>
                  </a:cubicBezTo>
                  <a:cubicBezTo>
                    <a:pt x="47668" y="129748"/>
                    <a:pt x="47386" y="130312"/>
                    <a:pt x="46822" y="130876"/>
                  </a:cubicBezTo>
                  <a:lnTo>
                    <a:pt x="44848" y="130876"/>
                  </a:lnTo>
                  <a:cubicBezTo>
                    <a:pt x="44848" y="130876"/>
                    <a:pt x="44284" y="131159"/>
                    <a:pt x="44001" y="131159"/>
                  </a:cubicBezTo>
                  <a:lnTo>
                    <a:pt x="42027" y="132005"/>
                  </a:lnTo>
                  <a:cubicBezTo>
                    <a:pt x="41463" y="132005"/>
                    <a:pt x="40617" y="132005"/>
                    <a:pt x="40053" y="132287"/>
                  </a:cubicBezTo>
                  <a:cubicBezTo>
                    <a:pt x="39489" y="132287"/>
                    <a:pt x="39206" y="132851"/>
                    <a:pt x="38642" y="132851"/>
                  </a:cubicBezTo>
                  <a:cubicBezTo>
                    <a:pt x="38360" y="133133"/>
                    <a:pt x="38078" y="133133"/>
                    <a:pt x="38078" y="133133"/>
                  </a:cubicBezTo>
                  <a:cubicBezTo>
                    <a:pt x="37796" y="133133"/>
                    <a:pt x="37796" y="133133"/>
                    <a:pt x="37796" y="132851"/>
                  </a:cubicBezTo>
                  <a:cubicBezTo>
                    <a:pt x="37232" y="132851"/>
                    <a:pt x="36950" y="132569"/>
                    <a:pt x="36386" y="132569"/>
                  </a:cubicBezTo>
                  <a:cubicBezTo>
                    <a:pt x="35822" y="132569"/>
                    <a:pt x="35258" y="132851"/>
                    <a:pt x="34975" y="132851"/>
                  </a:cubicBezTo>
                  <a:cubicBezTo>
                    <a:pt x="34411" y="133133"/>
                    <a:pt x="34129" y="133133"/>
                    <a:pt x="33565" y="133133"/>
                  </a:cubicBezTo>
                  <a:lnTo>
                    <a:pt x="30180" y="133133"/>
                  </a:lnTo>
                  <a:cubicBezTo>
                    <a:pt x="29616" y="132851"/>
                    <a:pt x="29052" y="132851"/>
                    <a:pt x="28770" y="132851"/>
                  </a:cubicBezTo>
                  <a:lnTo>
                    <a:pt x="24257" y="132851"/>
                  </a:lnTo>
                  <a:cubicBezTo>
                    <a:pt x="23975" y="132851"/>
                    <a:pt x="23693" y="132569"/>
                    <a:pt x="23129" y="132569"/>
                  </a:cubicBezTo>
                  <a:cubicBezTo>
                    <a:pt x="22847" y="132569"/>
                    <a:pt x="22283" y="132287"/>
                    <a:pt x="22283" y="132287"/>
                  </a:cubicBezTo>
                  <a:cubicBezTo>
                    <a:pt x="20872" y="132287"/>
                    <a:pt x="19462" y="132005"/>
                    <a:pt x="18052" y="131441"/>
                  </a:cubicBezTo>
                  <a:cubicBezTo>
                    <a:pt x="18052" y="131441"/>
                    <a:pt x="17770" y="131441"/>
                    <a:pt x="17488" y="131159"/>
                  </a:cubicBezTo>
                  <a:cubicBezTo>
                    <a:pt x="16924" y="130312"/>
                    <a:pt x="16924" y="130312"/>
                    <a:pt x="15795" y="130312"/>
                  </a:cubicBezTo>
                  <a:cubicBezTo>
                    <a:pt x="15231" y="130312"/>
                    <a:pt x="14949" y="130030"/>
                    <a:pt x="14667" y="129466"/>
                  </a:cubicBezTo>
                  <a:cubicBezTo>
                    <a:pt x="14103" y="128338"/>
                    <a:pt x="14103" y="128338"/>
                    <a:pt x="12974" y="128338"/>
                  </a:cubicBezTo>
                  <a:lnTo>
                    <a:pt x="11000" y="128338"/>
                  </a:lnTo>
                  <a:cubicBezTo>
                    <a:pt x="11000" y="128338"/>
                    <a:pt x="10718" y="128056"/>
                    <a:pt x="10718" y="127774"/>
                  </a:cubicBezTo>
                  <a:cubicBezTo>
                    <a:pt x="10718" y="127492"/>
                    <a:pt x="11000" y="127492"/>
                    <a:pt x="11282" y="127210"/>
                  </a:cubicBezTo>
                  <a:lnTo>
                    <a:pt x="11282" y="126928"/>
                  </a:lnTo>
                  <a:lnTo>
                    <a:pt x="11000" y="126646"/>
                  </a:lnTo>
                  <a:cubicBezTo>
                    <a:pt x="11000" y="126363"/>
                    <a:pt x="10718" y="126363"/>
                    <a:pt x="10436" y="126363"/>
                  </a:cubicBezTo>
                  <a:cubicBezTo>
                    <a:pt x="9872" y="126363"/>
                    <a:pt x="9308" y="126363"/>
                    <a:pt x="8743" y="125799"/>
                  </a:cubicBezTo>
                  <a:lnTo>
                    <a:pt x="8462" y="125799"/>
                  </a:lnTo>
                  <a:cubicBezTo>
                    <a:pt x="8462" y="125799"/>
                    <a:pt x="8180" y="125799"/>
                    <a:pt x="8180" y="125517"/>
                  </a:cubicBezTo>
                  <a:cubicBezTo>
                    <a:pt x="8180" y="125517"/>
                    <a:pt x="8462" y="125235"/>
                    <a:pt x="8462" y="124953"/>
                  </a:cubicBezTo>
                  <a:lnTo>
                    <a:pt x="8462" y="124389"/>
                  </a:lnTo>
                  <a:lnTo>
                    <a:pt x="7333" y="124389"/>
                  </a:lnTo>
                  <a:cubicBezTo>
                    <a:pt x="7052" y="124389"/>
                    <a:pt x="7052" y="123825"/>
                    <a:pt x="7052" y="123543"/>
                  </a:cubicBezTo>
                  <a:lnTo>
                    <a:pt x="7333" y="123543"/>
                  </a:lnTo>
                  <a:cubicBezTo>
                    <a:pt x="7333" y="122979"/>
                    <a:pt x="7898" y="122979"/>
                    <a:pt x="7898" y="122415"/>
                  </a:cubicBezTo>
                  <a:cubicBezTo>
                    <a:pt x="7898" y="121851"/>
                    <a:pt x="7898" y="121286"/>
                    <a:pt x="7052" y="121004"/>
                  </a:cubicBezTo>
                  <a:cubicBezTo>
                    <a:pt x="2257" y="118184"/>
                    <a:pt x="5359" y="117338"/>
                    <a:pt x="2257" y="114235"/>
                  </a:cubicBezTo>
                  <a:cubicBezTo>
                    <a:pt x="1974" y="113671"/>
                    <a:pt x="1692" y="113107"/>
                    <a:pt x="1692" y="112542"/>
                  </a:cubicBezTo>
                  <a:cubicBezTo>
                    <a:pt x="1410" y="111696"/>
                    <a:pt x="1410" y="110568"/>
                    <a:pt x="846" y="109722"/>
                  </a:cubicBezTo>
                  <a:lnTo>
                    <a:pt x="846" y="106619"/>
                  </a:lnTo>
                  <a:cubicBezTo>
                    <a:pt x="564" y="106055"/>
                    <a:pt x="564" y="105773"/>
                    <a:pt x="564" y="105209"/>
                  </a:cubicBezTo>
                  <a:cubicBezTo>
                    <a:pt x="564" y="104927"/>
                    <a:pt x="564" y="104645"/>
                    <a:pt x="846" y="104363"/>
                  </a:cubicBezTo>
                  <a:lnTo>
                    <a:pt x="846" y="102670"/>
                  </a:lnTo>
                  <a:cubicBezTo>
                    <a:pt x="846" y="102388"/>
                    <a:pt x="1128" y="102106"/>
                    <a:pt x="1128" y="101824"/>
                  </a:cubicBezTo>
                  <a:cubicBezTo>
                    <a:pt x="1128" y="101542"/>
                    <a:pt x="846" y="101260"/>
                    <a:pt x="846" y="100978"/>
                  </a:cubicBezTo>
                  <a:cubicBezTo>
                    <a:pt x="564" y="100414"/>
                    <a:pt x="564" y="99850"/>
                    <a:pt x="564" y="99286"/>
                  </a:cubicBezTo>
                  <a:lnTo>
                    <a:pt x="564" y="98721"/>
                  </a:lnTo>
                  <a:cubicBezTo>
                    <a:pt x="846" y="98439"/>
                    <a:pt x="846" y="97875"/>
                    <a:pt x="846" y="97593"/>
                  </a:cubicBezTo>
                  <a:cubicBezTo>
                    <a:pt x="846" y="97311"/>
                    <a:pt x="846" y="97029"/>
                    <a:pt x="282" y="96747"/>
                  </a:cubicBezTo>
                  <a:cubicBezTo>
                    <a:pt x="282" y="96465"/>
                    <a:pt x="0" y="96183"/>
                    <a:pt x="0" y="95901"/>
                  </a:cubicBezTo>
                  <a:cubicBezTo>
                    <a:pt x="0" y="95619"/>
                    <a:pt x="282" y="95055"/>
                    <a:pt x="564" y="94491"/>
                  </a:cubicBezTo>
                  <a:cubicBezTo>
                    <a:pt x="282" y="93926"/>
                    <a:pt x="282" y="93644"/>
                    <a:pt x="282" y="93080"/>
                  </a:cubicBezTo>
                  <a:cubicBezTo>
                    <a:pt x="564" y="91952"/>
                    <a:pt x="564" y="90824"/>
                    <a:pt x="564" y="89413"/>
                  </a:cubicBezTo>
                  <a:cubicBezTo>
                    <a:pt x="564" y="89131"/>
                    <a:pt x="282" y="88849"/>
                    <a:pt x="282" y="88567"/>
                  </a:cubicBezTo>
                  <a:cubicBezTo>
                    <a:pt x="282" y="88003"/>
                    <a:pt x="564" y="87721"/>
                    <a:pt x="846" y="87157"/>
                  </a:cubicBezTo>
                  <a:cubicBezTo>
                    <a:pt x="846" y="86875"/>
                    <a:pt x="846" y="86593"/>
                    <a:pt x="1128" y="86593"/>
                  </a:cubicBezTo>
                  <a:cubicBezTo>
                    <a:pt x="1692" y="86593"/>
                    <a:pt x="1692" y="86875"/>
                    <a:pt x="1692" y="87439"/>
                  </a:cubicBezTo>
                  <a:lnTo>
                    <a:pt x="1692" y="88003"/>
                  </a:lnTo>
                  <a:cubicBezTo>
                    <a:pt x="1974" y="88003"/>
                    <a:pt x="1974" y="88003"/>
                    <a:pt x="1974" y="87721"/>
                  </a:cubicBezTo>
                  <a:lnTo>
                    <a:pt x="1974" y="85183"/>
                  </a:lnTo>
                  <a:cubicBezTo>
                    <a:pt x="1974" y="84900"/>
                    <a:pt x="1974" y="84900"/>
                    <a:pt x="2257" y="84618"/>
                  </a:cubicBezTo>
                  <a:lnTo>
                    <a:pt x="2821" y="84054"/>
                  </a:lnTo>
                  <a:lnTo>
                    <a:pt x="2538" y="84054"/>
                  </a:lnTo>
                  <a:cubicBezTo>
                    <a:pt x="1974" y="83490"/>
                    <a:pt x="1974" y="82644"/>
                    <a:pt x="1974" y="81798"/>
                  </a:cubicBezTo>
                  <a:lnTo>
                    <a:pt x="1974" y="81234"/>
                  </a:lnTo>
                  <a:cubicBezTo>
                    <a:pt x="1974" y="80952"/>
                    <a:pt x="1974" y="80952"/>
                    <a:pt x="1692" y="80670"/>
                  </a:cubicBezTo>
                  <a:cubicBezTo>
                    <a:pt x="1974" y="80105"/>
                    <a:pt x="1974" y="79541"/>
                    <a:pt x="1974" y="78977"/>
                  </a:cubicBezTo>
                  <a:lnTo>
                    <a:pt x="1974" y="78131"/>
                  </a:lnTo>
                  <a:cubicBezTo>
                    <a:pt x="1974" y="77567"/>
                    <a:pt x="1974" y="77285"/>
                    <a:pt x="2257" y="77003"/>
                  </a:cubicBezTo>
                  <a:cubicBezTo>
                    <a:pt x="2257" y="76721"/>
                    <a:pt x="2538" y="76721"/>
                    <a:pt x="2821" y="76721"/>
                  </a:cubicBezTo>
                  <a:cubicBezTo>
                    <a:pt x="3102" y="76721"/>
                    <a:pt x="3385" y="76439"/>
                    <a:pt x="3385" y="76157"/>
                  </a:cubicBezTo>
                  <a:cubicBezTo>
                    <a:pt x="3667" y="76157"/>
                    <a:pt x="3667" y="76157"/>
                    <a:pt x="3667" y="75875"/>
                  </a:cubicBezTo>
                  <a:lnTo>
                    <a:pt x="3667" y="75592"/>
                  </a:lnTo>
                  <a:lnTo>
                    <a:pt x="3385" y="75310"/>
                  </a:lnTo>
                  <a:cubicBezTo>
                    <a:pt x="3102" y="75310"/>
                    <a:pt x="3102" y="75592"/>
                    <a:pt x="2821" y="75592"/>
                  </a:cubicBezTo>
                  <a:lnTo>
                    <a:pt x="2538" y="75592"/>
                  </a:lnTo>
                  <a:cubicBezTo>
                    <a:pt x="2538" y="75028"/>
                    <a:pt x="2538" y="75028"/>
                    <a:pt x="2821" y="74746"/>
                  </a:cubicBezTo>
                  <a:cubicBezTo>
                    <a:pt x="3102" y="74464"/>
                    <a:pt x="3102" y="74182"/>
                    <a:pt x="3102" y="73900"/>
                  </a:cubicBezTo>
                  <a:cubicBezTo>
                    <a:pt x="3102" y="73618"/>
                    <a:pt x="2821" y="73054"/>
                    <a:pt x="2538" y="72490"/>
                  </a:cubicBezTo>
                  <a:cubicBezTo>
                    <a:pt x="2538" y="72208"/>
                    <a:pt x="2821" y="72208"/>
                    <a:pt x="2821" y="71926"/>
                  </a:cubicBezTo>
                  <a:cubicBezTo>
                    <a:pt x="2821" y="71644"/>
                    <a:pt x="2538" y="71362"/>
                    <a:pt x="2538" y="71079"/>
                  </a:cubicBezTo>
                  <a:lnTo>
                    <a:pt x="2538" y="70797"/>
                  </a:lnTo>
                  <a:cubicBezTo>
                    <a:pt x="3385" y="69669"/>
                    <a:pt x="2821" y="68823"/>
                    <a:pt x="3667" y="67977"/>
                  </a:cubicBezTo>
                  <a:cubicBezTo>
                    <a:pt x="3667" y="67695"/>
                    <a:pt x="3385" y="67131"/>
                    <a:pt x="3385" y="66849"/>
                  </a:cubicBezTo>
                  <a:cubicBezTo>
                    <a:pt x="3667" y="66002"/>
                    <a:pt x="3949" y="65438"/>
                    <a:pt x="3949" y="64592"/>
                  </a:cubicBezTo>
                  <a:lnTo>
                    <a:pt x="3949" y="64028"/>
                  </a:lnTo>
                  <a:cubicBezTo>
                    <a:pt x="3949" y="63746"/>
                    <a:pt x="4231" y="63464"/>
                    <a:pt x="4795" y="63182"/>
                  </a:cubicBezTo>
                  <a:cubicBezTo>
                    <a:pt x="4795" y="63182"/>
                    <a:pt x="5077" y="62900"/>
                    <a:pt x="5077" y="62618"/>
                  </a:cubicBezTo>
                  <a:cubicBezTo>
                    <a:pt x="4795" y="62336"/>
                    <a:pt x="4795" y="62054"/>
                    <a:pt x="4795" y="61771"/>
                  </a:cubicBezTo>
                  <a:cubicBezTo>
                    <a:pt x="4795" y="61207"/>
                    <a:pt x="5077" y="60925"/>
                    <a:pt x="5077" y="60361"/>
                  </a:cubicBezTo>
                  <a:cubicBezTo>
                    <a:pt x="5077" y="60079"/>
                    <a:pt x="5359" y="59797"/>
                    <a:pt x="5359" y="59797"/>
                  </a:cubicBezTo>
                  <a:cubicBezTo>
                    <a:pt x="5923" y="59515"/>
                    <a:pt x="5923" y="59233"/>
                    <a:pt x="5923" y="58669"/>
                  </a:cubicBezTo>
                  <a:lnTo>
                    <a:pt x="5923" y="56976"/>
                  </a:lnTo>
                  <a:cubicBezTo>
                    <a:pt x="5923" y="56130"/>
                    <a:pt x="6205" y="55002"/>
                    <a:pt x="6205" y="54156"/>
                  </a:cubicBezTo>
                  <a:lnTo>
                    <a:pt x="7898" y="51335"/>
                  </a:lnTo>
                  <a:cubicBezTo>
                    <a:pt x="7898" y="50771"/>
                    <a:pt x="8180" y="50489"/>
                    <a:pt x="8462" y="49925"/>
                  </a:cubicBezTo>
                  <a:cubicBezTo>
                    <a:pt x="8462" y="49643"/>
                    <a:pt x="8180" y="49079"/>
                    <a:pt x="8180" y="48797"/>
                  </a:cubicBezTo>
                  <a:cubicBezTo>
                    <a:pt x="8180" y="48232"/>
                    <a:pt x="8462" y="47668"/>
                    <a:pt x="8743" y="47386"/>
                  </a:cubicBezTo>
                  <a:cubicBezTo>
                    <a:pt x="9308" y="45694"/>
                    <a:pt x="10154" y="44002"/>
                    <a:pt x="11000" y="42309"/>
                  </a:cubicBezTo>
                  <a:cubicBezTo>
                    <a:pt x="11282" y="41463"/>
                    <a:pt x="11564" y="40617"/>
                    <a:pt x="11564" y="40053"/>
                  </a:cubicBezTo>
                  <a:lnTo>
                    <a:pt x="12410" y="37796"/>
                  </a:lnTo>
                  <a:lnTo>
                    <a:pt x="13257" y="37232"/>
                  </a:lnTo>
                  <a:cubicBezTo>
                    <a:pt x="13821" y="36104"/>
                    <a:pt x="14103" y="35258"/>
                    <a:pt x="14385" y="34129"/>
                  </a:cubicBezTo>
                  <a:cubicBezTo>
                    <a:pt x="14949" y="32719"/>
                    <a:pt x="15513" y="31309"/>
                    <a:pt x="16360" y="30181"/>
                  </a:cubicBezTo>
                  <a:cubicBezTo>
                    <a:pt x="16360" y="29334"/>
                    <a:pt x="16924" y="28770"/>
                    <a:pt x="16924" y="27924"/>
                  </a:cubicBezTo>
                  <a:lnTo>
                    <a:pt x="17488" y="27078"/>
                  </a:lnTo>
                  <a:lnTo>
                    <a:pt x="19462" y="24539"/>
                  </a:lnTo>
                  <a:cubicBezTo>
                    <a:pt x="19462" y="23129"/>
                    <a:pt x="20308" y="21719"/>
                    <a:pt x="21719" y="20590"/>
                  </a:cubicBezTo>
                  <a:lnTo>
                    <a:pt x="21719" y="20308"/>
                  </a:lnTo>
                  <a:cubicBezTo>
                    <a:pt x="21719" y="19180"/>
                    <a:pt x="22283" y="18898"/>
                    <a:pt x="23129" y="18052"/>
                  </a:cubicBezTo>
                  <a:lnTo>
                    <a:pt x="23129" y="17770"/>
                  </a:lnTo>
                  <a:cubicBezTo>
                    <a:pt x="23693" y="15795"/>
                    <a:pt x="25386" y="14385"/>
                    <a:pt x="26232" y="12693"/>
                  </a:cubicBezTo>
                  <a:lnTo>
                    <a:pt x="30180" y="8462"/>
                  </a:lnTo>
                  <a:cubicBezTo>
                    <a:pt x="30463" y="8180"/>
                    <a:pt x="30744" y="7898"/>
                    <a:pt x="31027" y="7052"/>
                  </a:cubicBezTo>
                  <a:cubicBezTo>
                    <a:pt x="31308" y="6487"/>
                    <a:pt x="31873" y="5923"/>
                    <a:pt x="32719" y="5923"/>
                  </a:cubicBezTo>
                  <a:cubicBezTo>
                    <a:pt x="33847" y="5077"/>
                    <a:pt x="34975" y="4795"/>
                    <a:pt x="35539" y="3949"/>
                  </a:cubicBezTo>
                  <a:cubicBezTo>
                    <a:pt x="35539" y="3949"/>
                    <a:pt x="35822" y="3949"/>
                    <a:pt x="36104" y="3667"/>
                  </a:cubicBezTo>
                  <a:cubicBezTo>
                    <a:pt x="36950" y="2821"/>
                    <a:pt x="38360" y="2256"/>
                    <a:pt x="39770" y="1410"/>
                  </a:cubicBezTo>
                  <a:lnTo>
                    <a:pt x="42027" y="564"/>
                  </a:lnTo>
                  <a:cubicBezTo>
                    <a:pt x="43156" y="282"/>
                    <a:pt x="43720" y="0"/>
                    <a:pt x="44566" y="0"/>
                  </a:cubicBezTo>
                  <a:lnTo>
                    <a:pt x="49642" y="0"/>
                  </a:lnTo>
                  <a:lnTo>
                    <a:pt x="51617" y="1410"/>
                  </a:lnTo>
                  <a:cubicBezTo>
                    <a:pt x="51899" y="1692"/>
                    <a:pt x="51899" y="1974"/>
                    <a:pt x="52181" y="1974"/>
                  </a:cubicBezTo>
                  <a:lnTo>
                    <a:pt x="54720" y="3667"/>
                  </a:lnTo>
                  <a:cubicBezTo>
                    <a:pt x="55002" y="3949"/>
                    <a:pt x="55284" y="4513"/>
                    <a:pt x="55848" y="4513"/>
                  </a:cubicBezTo>
                  <a:cubicBezTo>
                    <a:pt x="56130" y="4513"/>
                    <a:pt x="56412" y="4795"/>
                    <a:pt x="56694" y="5077"/>
                  </a:cubicBezTo>
                  <a:cubicBezTo>
                    <a:pt x="56976" y="5077"/>
                    <a:pt x="56976" y="5641"/>
                    <a:pt x="57259" y="5923"/>
                  </a:cubicBezTo>
                  <a:cubicBezTo>
                    <a:pt x="57540" y="6205"/>
                    <a:pt x="58387" y="6487"/>
                    <a:pt x="58951" y="6487"/>
                  </a:cubicBezTo>
                  <a:lnTo>
                    <a:pt x="59515" y="6487"/>
                  </a:lnTo>
                  <a:cubicBezTo>
                    <a:pt x="60361" y="6487"/>
                    <a:pt x="60643" y="7052"/>
                    <a:pt x="61207" y="7616"/>
                  </a:cubicBezTo>
                  <a:cubicBezTo>
                    <a:pt x="61490" y="7898"/>
                    <a:pt x="61490" y="8180"/>
                    <a:pt x="61490" y="8462"/>
                  </a:cubicBezTo>
                  <a:cubicBezTo>
                    <a:pt x="61490" y="8744"/>
                    <a:pt x="61490" y="9026"/>
                    <a:pt x="61207" y="9026"/>
                  </a:cubicBezTo>
                  <a:lnTo>
                    <a:pt x="59233" y="9590"/>
                  </a:lnTo>
                  <a:cubicBezTo>
                    <a:pt x="58951" y="9590"/>
                    <a:pt x="58951" y="9872"/>
                    <a:pt x="58951" y="9872"/>
                  </a:cubicBezTo>
                  <a:cubicBezTo>
                    <a:pt x="58669" y="9872"/>
                    <a:pt x="58669" y="9590"/>
                    <a:pt x="58669" y="9026"/>
                  </a:cubicBezTo>
                  <a:lnTo>
                    <a:pt x="58669" y="8462"/>
                  </a:lnTo>
                  <a:lnTo>
                    <a:pt x="57823" y="8462"/>
                  </a:lnTo>
                  <a:cubicBezTo>
                    <a:pt x="57259" y="8744"/>
                    <a:pt x="56976" y="9590"/>
                    <a:pt x="56694" y="10154"/>
                  </a:cubicBezTo>
                  <a:cubicBezTo>
                    <a:pt x="56694" y="10436"/>
                    <a:pt x="56694" y="10436"/>
                    <a:pt x="56976" y="10718"/>
                  </a:cubicBezTo>
                  <a:cubicBezTo>
                    <a:pt x="56976" y="11000"/>
                    <a:pt x="57259" y="11000"/>
                    <a:pt x="57259" y="11000"/>
                  </a:cubicBezTo>
                  <a:cubicBezTo>
                    <a:pt x="57823" y="11282"/>
                    <a:pt x="57823" y="11847"/>
                    <a:pt x="57823" y="12411"/>
                  </a:cubicBezTo>
                  <a:cubicBezTo>
                    <a:pt x="57823" y="12975"/>
                    <a:pt x="58104" y="12975"/>
                    <a:pt x="58387" y="12975"/>
                  </a:cubicBezTo>
                  <a:cubicBezTo>
                    <a:pt x="58669" y="12975"/>
                    <a:pt x="58951" y="12693"/>
                    <a:pt x="58951" y="12693"/>
                  </a:cubicBezTo>
                  <a:cubicBezTo>
                    <a:pt x="59233" y="12693"/>
                    <a:pt x="59233" y="12975"/>
                    <a:pt x="59515" y="13539"/>
                  </a:cubicBezTo>
                  <a:cubicBezTo>
                    <a:pt x="59797" y="13821"/>
                    <a:pt x="60079" y="14385"/>
                    <a:pt x="60079" y="14667"/>
                  </a:cubicBezTo>
                  <a:cubicBezTo>
                    <a:pt x="60079" y="14949"/>
                    <a:pt x="59797" y="14949"/>
                    <a:pt x="59797" y="15231"/>
                  </a:cubicBezTo>
                  <a:cubicBezTo>
                    <a:pt x="59797" y="15795"/>
                    <a:pt x="60079" y="15795"/>
                    <a:pt x="60361" y="16360"/>
                  </a:cubicBezTo>
                  <a:lnTo>
                    <a:pt x="60925" y="16360"/>
                  </a:lnTo>
                  <a:lnTo>
                    <a:pt x="60925" y="14949"/>
                  </a:lnTo>
                  <a:cubicBezTo>
                    <a:pt x="60925" y="14103"/>
                    <a:pt x="60643" y="13257"/>
                    <a:pt x="60643" y="12411"/>
                  </a:cubicBezTo>
                  <a:cubicBezTo>
                    <a:pt x="60925" y="11847"/>
                    <a:pt x="61490" y="11282"/>
                    <a:pt x="62054" y="11000"/>
                  </a:cubicBezTo>
                  <a:cubicBezTo>
                    <a:pt x="62335" y="11000"/>
                    <a:pt x="62900" y="11000"/>
                    <a:pt x="63182" y="11282"/>
                  </a:cubicBezTo>
                  <a:cubicBezTo>
                    <a:pt x="63182" y="11565"/>
                    <a:pt x="62900" y="11847"/>
                    <a:pt x="62900" y="11847"/>
                  </a:cubicBezTo>
                  <a:cubicBezTo>
                    <a:pt x="62900" y="12693"/>
                    <a:pt x="63464" y="12975"/>
                    <a:pt x="64310" y="12975"/>
                  </a:cubicBezTo>
                  <a:cubicBezTo>
                    <a:pt x="64592" y="12975"/>
                    <a:pt x="64592" y="13539"/>
                    <a:pt x="64592" y="13821"/>
                  </a:cubicBezTo>
                  <a:lnTo>
                    <a:pt x="64592" y="14103"/>
                  </a:lnTo>
                  <a:cubicBezTo>
                    <a:pt x="64028" y="14667"/>
                    <a:pt x="63745" y="14667"/>
                    <a:pt x="63745" y="14949"/>
                  </a:cubicBezTo>
                  <a:cubicBezTo>
                    <a:pt x="63745" y="15231"/>
                    <a:pt x="64028" y="15513"/>
                    <a:pt x="64310" y="15795"/>
                  </a:cubicBezTo>
                  <a:cubicBezTo>
                    <a:pt x="64310" y="16078"/>
                    <a:pt x="64592" y="16360"/>
                    <a:pt x="64874" y="16360"/>
                  </a:cubicBezTo>
                  <a:cubicBezTo>
                    <a:pt x="64874" y="16642"/>
                    <a:pt x="64874" y="16924"/>
                    <a:pt x="64592" y="17206"/>
                  </a:cubicBezTo>
                  <a:cubicBezTo>
                    <a:pt x="64592" y="17488"/>
                    <a:pt x="64592" y="17770"/>
                    <a:pt x="64310" y="17770"/>
                  </a:cubicBezTo>
                  <a:cubicBezTo>
                    <a:pt x="63745" y="18052"/>
                    <a:pt x="63464" y="18334"/>
                    <a:pt x="63464" y="18898"/>
                  </a:cubicBezTo>
                  <a:cubicBezTo>
                    <a:pt x="63464" y="19180"/>
                    <a:pt x="63745" y="19462"/>
                    <a:pt x="63745" y="19744"/>
                  </a:cubicBezTo>
                  <a:cubicBezTo>
                    <a:pt x="63745" y="20026"/>
                    <a:pt x="63745" y="20026"/>
                    <a:pt x="64028" y="20026"/>
                  </a:cubicBezTo>
                  <a:lnTo>
                    <a:pt x="64874" y="20026"/>
                  </a:lnTo>
                  <a:lnTo>
                    <a:pt x="64874" y="20308"/>
                  </a:lnTo>
                  <a:cubicBezTo>
                    <a:pt x="64874" y="20873"/>
                    <a:pt x="64310" y="21719"/>
                    <a:pt x="64028" y="22283"/>
                  </a:cubicBezTo>
                  <a:cubicBezTo>
                    <a:pt x="63745" y="22565"/>
                    <a:pt x="63745" y="22565"/>
                    <a:pt x="63745" y="22847"/>
                  </a:cubicBezTo>
                  <a:cubicBezTo>
                    <a:pt x="63745" y="23129"/>
                    <a:pt x="63745" y="23411"/>
                    <a:pt x="64028" y="23693"/>
                  </a:cubicBezTo>
                  <a:cubicBezTo>
                    <a:pt x="64592" y="24257"/>
                    <a:pt x="64592" y="24539"/>
                    <a:pt x="64592" y="25103"/>
                  </a:cubicBezTo>
                  <a:lnTo>
                    <a:pt x="64592" y="26232"/>
                  </a:lnTo>
                  <a:cubicBezTo>
                    <a:pt x="64592" y="26514"/>
                    <a:pt x="64310" y="26796"/>
                    <a:pt x="64028" y="27078"/>
                  </a:cubicBezTo>
                  <a:cubicBezTo>
                    <a:pt x="63182" y="27924"/>
                    <a:pt x="62900" y="28770"/>
                    <a:pt x="62900" y="29616"/>
                  </a:cubicBezTo>
                  <a:cubicBezTo>
                    <a:pt x="63182" y="29899"/>
                    <a:pt x="63182" y="30181"/>
                    <a:pt x="63182" y="30463"/>
                  </a:cubicBezTo>
                  <a:cubicBezTo>
                    <a:pt x="62054" y="31873"/>
                    <a:pt x="62054" y="33565"/>
                    <a:pt x="60925" y="34976"/>
                  </a:cubicBezTo>
                  <a:cubicBezTo>
                    <a:pt x="61207" y="35258"/>
                    <a:pt x="61207" y="35540"/>
                    <a:pt x="61207" y="35822"/>
                  </a:cubicBezTo>
                  <a:cubicBezTo>
                    <a:pt x="61207" y="36386"/>
                    <a:pt x="60643" y="37232"/>
                    <a:pt x="60361" y="37796"/>
                  </a:cubicBezTo>
                  <a:cubicBezTo>
                    <a:pt x="59797" y="38360"/>
                    <a:pt x="59233" y="39489"/>
                    <a:pt x="59233" y="40617"/>
                  </a:cubicBezTo>
                  <a:lnTo>
                    <a:pt x="59233" y="41181"/>
                  </a:lnTo>
                  <a:cubicBezTo>
                    <a:pt x="58951" y="42591"/>
                    <a:pt x="57823" y="44002"/>
                    <a:pt x="56976" y="45130"/>
                  </a:cubicBezTo>
                  <a:cubicBezTo>
                    <a:pt x="56412" y="45412"/>
                    <a:pt x="56412" y="45976"/>
                    <a:pt x="55848" y="46258"/>
                  </a:cubicBezTo>
                  <a:cubicBezTo>
                    <a:pt x="55284" y="46822"/>
                    <a:pt x="54438" y="47668"/>
                    <a:pt x="54438" y="48515"/>
                  </a:cubicBezTo>
                  <a:lnTo>
                    <a:pt x="54438" y="48797"/>
                  </a:lnTo>
                  <a:cubicBezTo>
                    <a:pt x="54438" y="49079"/>
                    <a:pt x="54156" y="49079"/>
                    <a:pt x="53873" y="49361"/>
                  </a:cubicBezTo>
                  <a:cubicBezTo>
                    <a:pt x="53873" y="50207"/>
                    <a:pt x="53028" y="50489"/>
                    <a:pt x="53028" y="51053"/>
                  </a:cubicBezTo>
                  <a:lnTo>
                    <a:pt x="53028" y="51335"/>
                  </a:lnTo>
                  <a:cubicBezTo>
                    <a:pt x="53028" y="51899"/>
                    <a:pt x="52745" y="51899"/>
                    <a:pt x="52463" y="52181"/>
                  </a:cubicBezTo>
                  <a:cubicBezTo>
                    <a:pt x="51899" y="52745"/>
                    <a:pt x="51335" y="53310"/>
                    <a:pt x="50771" y="53592"/>
                  </a:cubicBezTo>
                  <a:cubicBezTo>
                    <a:pt x="49642" y="54720"/>
                    <a:pt x="48514" y="55848"/>
                    <a:pt x="47950" y="57258"/>
                  </a:cubicBezTo>
                  <a:cubicBezTo>
                    <a:pt x="46540" y="59233"/>
                    <a:pt x="45130" y="60925"/>
                    <a:pt x="43720" y="62336"/>
                  </a:cubicBezTo>
                  <a:cubicBezTo>
                    <a:pt x="43437" y="62900"/>
                    <a:pt x="42591" y="63464"/>
                    <a:pt x="41745" y="63746"/>
                  </a:cubicBezTo>
                  <a:cubicBezTo>
                    <a:pt x="41181" y="63746"/>
                    <a:pt x="40899" y="63746"/>
                    <a:pt x="40617" y="64310"/>
                  </a:cubicBezTo>
                  <a:lnTo>
                    <a:pt x="38642" y="66002"/>
                  </a:lnTo>
                  <a:cubicBezTo>
                    <a:pt x="37232" y="66849"/>
                    <a:pt x="36386" y="67131"/>
                    <a:pt x="35258" y="67131"/>
                  </a:cubicBezTo>
                  <a:cubicBezTo>
                    <a:pt x="34975" y="67131"/>
                    <a:pt x="34694" y="67131"/>
                    <a:pt x="34129" y="67413"/>
                  </a:cubicBezTo>
                  <a:cubicBezTo>
                    <a:pt x="33001" y="68259"/>
                    <a:pt x="31027" y="68259"/>
                    <a:pt x="29334" y="68259"/>
                  </a:cubicBezTo>
                  <a:cubicBezTo>
                    <a:pt x="28206" y="68259"/>
                    <a:pt x="27642" y="68541"/>
                    <a:pt x="26514" y="68823"/>
                  </a:cubicBezTo>
                  <a:cubicBezTo>
                    <a:pt x="25950" y="68823"/>
                    <a:pt x="25667" y="69105"/>
                    <a:pt x="25103" y="69105"/>
                  </a:cubicBezTo>
                  <a:cubicBezTo>
                    <a:pt x="24539" y="69105"/>
                    <a:pt x="23693" y="68823"/>
                    <a:pt x="23129" y="68541"/>
                  </a:cubicBezTo>
                  <a:cubicBezTo>
                    <a:pt x="22565" y="68259"/>
                    <a:pt x="22283" y="68259"/>
                    <a:pt x="21719" y="68259"/>
                  </a:cubicBezTo>
                  <a:cubicBezTo>
                    <a:pt x="21436" y="68259"/>
                    <a:pt x="21155" y="68259"/>
                    <a:pt x="21155" y="68823"/>
                  </a:cubicBezTo>
                  <a:cubicBezTo>
                    <a:pt x="20308" y="70233"/>
                    <a:pt x="20026" y="71362"/>
                    <a:pt x="19744" y="72490"/>
                  </a:cubicBezTo>
                  <a:cubicBezTo>
                    <a:pt x="19744" y="73054"/>
                    <a:pt x="19744" y="73618"/>
                    <a:pt x="20026" y="74182"/>
                  </a:cubicBezTo>
                  <a:cubicBezTo>
                    <a:pt x="20308" y="74464"/>
                    <a:pt x="20308" y="75028"/>
                    <a:pt x="20308" y="75592"/>
                  </a:cubicBezTo>
                  <a:cubicBezTo>
                    <a:pt x="20308" y="75592"/>
                    <a:pt x="20308" y="75875"/>
                    <a:pt x="20026" y="76157"/>
                  </a:cubicBezTo>
                  <a:cubicBezTo>
                    <a:pt x="19462" y="76439"/>
                    <a:pt x="19180" y="77003"/>
                    <a:pt x="19180" y="77567"/>
                  </a:cubicBezTo>
                  <a:cubicBezTo>
                    <a:pt x="19180" y="77849"/>
                    <a:pt x="19462" y="78131"/>
                    <a:pt x="19462" y="78413"/>
                  </a:cubicBezTo>
                  <a:cubicBezTo>
                    <a:pt x="19180" y="79259"/>
                    <a:pt x="18616" y="79823"/>
                    <a:pt x="18616" y="80670"/>
                  </a:cubicBezTo>
                  <a:lnTo>
                    <a:pt x="18616" y="84054"/>
                  </a:lnTo>
                  <a:cubicBezTo>
                    <a:pt x="18616" y="84618"/>
                    <a:pt x="18898" y="85183"/>
                    <a:pt x="18898" y="85465"/>
                  </a:cubicBezTo>
                  <a:cubicBezTo>
                    <a:pt x="18898" y="85747"/>
                    <a:pt x="18898" y="85747"/>
                    <a:pt x="18616" y="86029"/>
                  </a:cubicBezTo>
                  <a:cubicBezTo>
                    <a:pt x="18334" y="86311"/>
                    <a:pt x="18334" y="87157"/>
                    <a:pt x="18334" y="87721"/>
                  </a:cubicBezTo>
                  <a:cubicBezTo>
                    <a:pt x="18334" y="88003"/>
                    <a:pt x="18052" y="88285"/>
                    <a:pt x="18052" y="88567"/>
                  </a:cubicBezTo>
                  <a:cubicBezTo>
                    <a:pt x="18052" y="88849"/>
                    <a:pt x="18334" y="89413"/>
                    <a:pt x="18334" y="89413"/>
                  </a:cubicBezTo>
                  <a:cubicBezTo>
                    <a:pt x="18334" y="89696"/>
                    <a:pt x="18616" y="89978"/>
                    <a:pt x="18616" y="90260"/>
                  </a:cubicBezTo>
                  <a:cubicBezTo>
                    <a:pt x="18616" y="90542"/>
                    <a:pt x="18334" y="90542"/>
                    <a:pt x="18334" y="90824"/>
                  </a:cubicBezTo>
                  <a:lnTo>
                    <a:pt x="18334" y="91106"/>
                  </a:lnTo>
                  <a:cubicBezTo>
                    <a:pt x="18616" y="91388"/>
                    <a:pt x="18616" y="91670"/>
                    <a:pt x="18616" y="91952"/>
                  </a:cubicBezTo>
                  <a:cubicBezTo>
                    <a:pt x="18616" y="92516"/>
                    <a:pt x="18334" y="93080"/>
                    <a:pt x="18334" y="93644"/>
                  </a:cubicBezTo>
                  <a:lnTo>
                    <a:pt x="18334" y="95337"/>
                  </a:lnTo>
                  <a:cubicBezTo>
                    <a:pt x="18334" y="95901"/>
                    <a:pt x="18334" y="96465"/>
                    <a:pt x="18898" y="96747"/>
                  </a:cubicBezTo>
                  <a:lnTo>
                    <a:pt x="18898" y="100414"/>
                  </a:lnTo>
                  <a:cubicBezTo>
                    <a:pt x="18616" y="100978"/>
                    <a:pt x="18334" y="101542"/>
                    <a:pt x="18334" y="102106"/>
                  </a:cubicBezTo>
                  <a:cubicBezTo>
                    <a:pt x="18334" y="102388"/>
                    <a:pt x="18616" y="102952"/>
                    <a:pt x="18898" y="103234"/>
                  </a:cubicBezTo>
                  <a:lnTo>
                    <a:pt x="18898" y="104081"/>
                  </a:lnTo>
                  <a:cubicBezTo>
                    <a:pt x="18898" y="104363"/>
                    <a:pt x="18898" y="104645"/>
                    <a:pt x="19180" y="104645"/>
                  </a:cubicBezTo>
                  <a:cubicBezTo>
                    <a:pt x="20591" y="105209"/>
                    <a:pt x="20308" y="106337"/>
                    <a:pt x="20591" y="107183"/>
                  </a:cubicBezTo>
                  <a:lnTo>
                    <a:pt x="20591" y="108312"/>
                  </a:lnTo>
                  <a:cubicBezTo>
                    <a:pt x="20591" y="108594"/>
                    <a:pt x="20308" y="108876"/>
                    <a:pt x="20308" y="109158"/>
                  </a:cubicBezTo>
                  <a:cubicBezTo>
                    <a:pt x="20308" y="109722"/>
                    <a:pt x="20591" y="110004"/>
                    <a:pt x="21436" y="110568"/>
                  </a:cubicBezTo>
                  <a:cubicBezTo>
                    <a:pt x="21719" y="111414"/>
                    <a:pt x="22001" y="112542"/>
                    <a:pt x="22847" y="113389"/>
                  </a:cubicBezTo>
                  <a:cubicBezTo>
                    <a:pt x="23129" y="113389"/>
                    <a:pt x="23129" y="113671"/>
                    <a:pt x="23129" y="113671"/>
                  </a:cubicBezTo>
                  <a:cubicBezTo>
                    <a:pt x="23129" y="114799"/>
                    <a:pt x="23411" y="115363"/>
                    <a:pt x="24257" y="115927"/>
                  </a:cubicBezTo>
                  <a:lnTo>
                    <a:pt x="24257" y="116209"/>
                  </a:lnTo>
                  <a:cubicBezTo>
                    <a:pt x="24822" y="116773"/>
                    <a:pt x="25103" y="117338"/>
                    <a:pt x="25667" y="117620"/>
                  </a:cubicBezTo>
                  <a:lnTo>
                    <a:pt x="26796" y="119030"/>
                  </a:lnTo>
                  <a:cubicBezTo>
                    <a:pt x="27924" y="120158"/>
                    <a:pt x="29052" y="120722"/>
                    <a:pt x="30463" y="120722"/>
                  </a:cubicBezTo>
                  <a:cubicBezTo>
                    <a:pt x="31027" y="120722"/>
                    <a:pt x="31308" y="120722"/>
                    <a:pt x="31873" y="120440"/>
                  </a:cubicBezTo>
                  <a:cubicBezTo>
                    <a:pt x="32437" y="120158"/>
                    <a:pt x="32719" y="120158"/>
                    <a:pt x="33283" y="120158"/>
                  </a:cubicBezTo>
                  <a:cubicBezTo>
                    <a:pt x="35539" y="120158"/>
                    <a:pt x="37796" y="119312"/>
                    <a:pt x="40053" y="118466"/>
                  </a:cubicBezTo>
                  <a:cubicBezTo>
                    <a:pt x="42027" y="117620"/>
                    <a:pt x="43720" y="116773"/>
                    <a:pt x="44848" y="115645"/>
                  </a:cubicBezTo>
                  <a:cubicBezTo>
                    <a:pt x="45694" y="115081"/>
                    <a:pt x="47104" y="114799"/>
                    <a:pt x="47950" y="114235"/>
                  </a:cubicBezTo>
                  <a:cubicBezTo>
                    <a:pt x="49361" y="112825"/>
                    <a:pt x="51335" y="111696"/>
                    <a:pt x="53028" y="110286"/>
                  </a:cubicBezTo>
                  <a:cubicBezTo>
                    <a:pt x="54438" y="109440"/>
                    <a:pt x="55566" y="108312"/>
                    <a:pt x="56976" y="107183"/>
                  </a:cubicBezTo>
                  <a:cubicBezTo>
                    <a:pt x="58104" y="106337"/>
                    <a:pt x="58951" y="105209"/>
                    <a:pt x="59797" y="104081"/>
                  </a:cubicBezTo>
                  <a:cubicBezTo>
                    <a:pt x="61207" y="103234"/>
                    <a:pt x="62618" y="101824"/>
                    <a:pt x="63745" y="100696"/>
                  </a:cubicBezTo>
                  <a:cubicBezTo>
                    <a:pt x="64592" y="100132"/>
                    <a:pt x="64874" y="99286"/>
                    <a:pt x="65720" y="98721"/>
                  </a:cubicBezTo>
                  <a:cubicBezTo>
                    <a:pt x="66284" y="98439"/>
                    <a:pt x="66566" y="97875"/>
                    <a:pt x="66566" y="97875"/>
                  </a:cubicBezTo>
                  <a:cubicBezTo>
                    <a:pt x="66848" y="97593"/>
                    <a:pt x="66848" y="97311"/>
                    <a:pt x="66848" y="97029"/>
                  </a:cubicBezTo>
                  <a:cubicBezTo>
                    <a:pt x="68259" y="96465"/>
                    <a:pt x="69105" y="95337"/>
                    <a:pt x="69951" y="94773"/>
                  </a:cubicBezTo>
                  <a:cubicBezTo>
                    <a:pt x="70515" y="93926"/>
                    <a:pt x="71362" y="92798"/>
                    <a:pt x="72490" y="91952"/>
                  </a:cubicBezTo>
                  <a:cubicBezTo>
                    <a:pt x="73900" y="90542"/>
                    <a:pt x="74746" y="88849"/>
                    <a:pt x="76157" y="87439"/>
                  </a:cubicBezTo>
                  <a:lnTo>
                    <a:pt x="81516" y="81516"/>
                  </a:lnTo>
                  <a:cubicBezTo>
                    <a:pt x="81516" y="81516"/>
                    <a:pt x="81798" y="81516"/>
                    <a:pt x="81798" y="81234"/>
                  </a:cubicBezTo>
                  <a:cubicBezTo>
                    <a:pt x="82644" y="80670"/>
                    <a:pt x="83208" y="79541"/>
                    <a:pt x="84336" y="78413"/>
                  </a:cubicBezTo>
                  <a:cubicBezTo>
                    <a:pt x="85182" y="77003"/>
                    <a:pt x="86593" y="75310"/>
                    <a:pt x="87721" y="74182"/>
                  </a:cubicBezTo>
                  <a:cubicBezTo>
                    <a:pt x="88285" y="73618"/>
                    <a:pt x="88849" y="73054"/>
                    <a:pt x="88849" y="72208"/>
                  </a:cubicBezTo>
                  <a:cubicBezTo>
                    <a:pt x="89977" y="70515"/>
                    <a:pt x="91388" y="69105"/>
                    <a:pt x="92798" y="67695"/>
                  </a:cubicBezTo>
                  <a:lnTo>
                    <a:pt x="92516" y="67413"/>
                  </a:lnTo>
                  <a:cubicBezTo>
                    <a:pt x="93362" y="65720"/>
                    <a:pt x="94491" y="64310"/>
                    <a:pt x="95901" y="62336"/>
                  </a:cubicBezTo>
                  <a:cubicBezTo>
                    <a:pt x="95901" y="62054"/>
                    <a:pt x="96183" y="61771"/>
                    <a:pt x="96183" y="61207"/>
                  </a:cubicBezTo>
                  <a:cubicBezTo>
                    <a:pt x="96465" y="60361"/>
                    <a:pt x="97875" y="60079"/>
                    <a:pt x="98158" y="59233"/>
                  </a:cubicBezTo>
                  <a:cubicBezTo>
                    <a:pt x="98158" y="58105"/>
                    <a:pt x="98722" y="57541"/>
                    <a:pt x="99003" y="56694"/>
                  </a:cubicBezTo>
                  <a:cubicBezTo>
                    <a:pt x="99286" y="56694"/>
                    <a:pt x="99286" y="56694"/>
                    <a:pt x="99286" y="56976"/>
                  </a:cubicBezTo>
                  <a:lnTo>
                    <a:pt x="99286" y="57541"/>
                  </a:lnTo>
                  <a:lnTo>
                    <a:pt x="99568" y="57541"/>
                  </a:lnTo>
                  <a:cubicBezTo>
                    <a:pt x="99850" y="57258"/>
                    <a:pt x="100132" y="56976"/>
                    <a:pt x="100132" y="56694"/>
                  </a:cubicBezTo>
                  <a:lnTo>
                    <a:pt x="100132" y="56130"/>
                  </a:lnTo>
                  <a:cubicBezTo>
                    <a:pt x="100132" y="55566"/>
                    <a:pt x="100413" y="55002"/>
                    <a:pt x="100696" y="54438"/>
                  </a:cubicBezTo>
                  <a:cubicBezTo>
                    <a:pt x="100978" y="54438"/>
                    <a:pt x="100978" y="53874"/>
                    <a:pt x="100978" y="53592"/>
                  </a:cubicBezTo>
                  <a:cubicBezTo>
                    <a:pt x="101260" y="53310"/>
                    <a:pt x="101260" y="52463"/>
                    <a:pt x="101824" y="52463"/>
                  </a:cubicBezTo>
                  <a:cubicBezTo>
                    <a:pt x="102388" y="51899"/>
                    <a:pt x="102106" y="51053"/>
                    <a:pt x="102388" y="50207"/>
                  </a:cubicBezTo>
                  <a:cubicBezTo>
                    <a:pt x="102388" y="49643"/>
                    <a:pt x="102670" y="49079"/>
                    <a:pt x="103234" y="49079"/>
                  </a:cubicBezTo>
                  <a:cubicBezTo>
                    <a:pt x="103799" y="49079"/>
                    <a:pt x="103799" y="48797"/>
                    <a:pt x="103799" y="48515"/>
                  </a:cubicBezTo>
                  <a:lnTo>
                    <a:pt x="103799" y="47668"/>
                  </a:lnTo>
                  <a:cubicBezTo>
                    <a:pt x="104080" y="46258"/>
                    <a:pt x="103799" y="46540"/>
                    <a:pt x="105491" y="45976"/>
                  </a:cubicBezTo>
                  <a:lnTo>
                    <a:pt x="105491" y="45694"/>
                  </a:lnTo>
                  <a:cubicBezTo>
                    <a:pt x="105773" y="45412"/>
                    <a:pt x="105773" y="45412"/>
                    <a:pt x="105773" y="45130"/>
                  </a:cubicBezTo>
                  <a:lnTo>
                    <a:pt x="105773" y="44566"/>
                  </a:lnTo>
                  <a:cubicBezTo>
                    <a:pt x="105773" y="44002"/>
                    <a:pt x="106055" y="43437"/>
                    <a:pt x="106619" y="43437"/>
                  </a:cubicBezTo>
                  <a:lnTo>
                    <a:pt x="107747" y="42027"/>
                  </a:lnTo>
                  <a:lnTo>
                    <a:pt x="108030" y="42027"/>
                  </a:lnTo>
                  <a:cubicBezTo>
                    <a:pt x="108030" y="42027"/>
                    <a:pt x="108311" y="42027"/>
                    <a:pt x="108311" y="42309"/>
                  </a:cubicBezTo>
                  <a:cubicBezTo>
                    <a:pt x="108311" y="42591"/>
                    <a:pt x="108594" y="42873"/>
                    <a:pt x="108594" y="43155"/>
                  </a:cubicBezTo>
                  <a:cubicBezTo>
                    <a:pt x="108594" y="43155"/>
                    <a:pt x="108875" y="43437"/>
                    <a:pt x="109158" y="43437"/>
                  </a:cubicBezTo>
                  <a:cubicBezTo>
                    <a:pt x="109722" y="43437"/>
                    <a:pt x="110004" y="43437"/>
                    <a:pt x="110004" y="43720"/>
                  </a:cubicBezTo>
                  <a:cubicBezTo>
                    <a:pt x="110004" y="43720"/>
                    <a:pt x="109722" y="43720"/>
                    <a:pt x="109722" y="44002"/>
                  </a:cubicBezTo>
                  <a:cubicBezTo>
                    <a:pt x="109722" y="45130"/>
                    <a:pt x="109440" y="45976"/>
                    <a:pt x="109158" y="46540"/>
                  </a:cubicBezTo>
                  <a:cubicBezTo>
                    <a:pt x="108875" y="47104"/>
                    <a:pt x="108311" y="47386"/>
                    <a:pt x="107747" y="47386"/>
                  </a:cubicBezTo>
                  <a:lnTo>
                    <a:pt x="107183" y="47386"/>
                  </a:lnTo>
                  <a:cubicBezTo>
                    <a:pt x="106901" y="47386"/>
                    <a:pt x="106619" y="47668"/>
                    <a:pt x="106337" y="47950"/>
                  </a:cubicBezTo>
                  <a:cubicBezTo>
                    <a:pt x="106337" y="48515"/>
                    <a:pt x="106619" y="49361"/>
                    <a:pt x="107183" y="49925"/>
                  </a:cubicBezTo>
                  <a:cubicBezTo>
                    <a:pt x="107465" y="49925"/>
                    <a:pt x="107465" y="50489"/>
                    <a:pt x="107747" y="50771"/>
                  </a:cubicBezTo>
                  <a:cubicBezTo>
                    <a:pt x="107747" y="51053"/>
                    <a:pt x="108030" y="51335"/>
                    <a:pt x="107747" y="51335"/>
                  </a:cubicBezTo>
                  <a:cubicBezTo>
                    <a:pt x="107747" y="51617"/>
                    <a:pt x="107465" y="51899"/>
                    <a:pt x="107747" y="51899"/>
                  </a:cubicBezTo>
                  <a:lnTo>
                    <a:pt x="107747" y="52463"/>
                  </a:lnTo>
                  <a:cubicBezTo>
                    <a:pt x="107747" y="53028"/>
                    <a:pt x="107465" y="53874"/>
                    <a:pt x="107183" y="54438"/>
                  </a:cubicBezTo>
                  <a:cubicBezTo>
                    <a:pt x="107183" y="54720"/>
                    <a:pt x="107183" y="55284"/>
                    <a:pt x="106901" y="55566"/>
                  </a:cubicBezTo>
                  <a:lnTo>
                    <a:pt x="106619" y="55566"/>
                  </a:lnTo>
                  <a:lnTo>
                    <a:pt x="106619" y="53874"/>
                  </a:lnTo>
                  <a:lnTo>
                    <a:pt x="106337" y="53874"/>
                  </a:lnTo>
                  <a:cubicBezTo>
                    <a:pt x="105773" y="53310"/>
                    <a:pt x="106055" y="52463"/>
                    <a:pt x="105773" y="51899"/>
                  </a:cubicBezTo>
                  <a:cubicBezTo>
                    <a:pt x="105773" y="51617"/>
                    <a:pt x="106055" y="51335"/>
                    <a:pt x="106055" y="51335"/>
                  </a:cubicBezTo>
                  <a:cubicBezTo>
                    <a:pt x="106055" y="51335"/>
                    <a:pt x="105773" y="51335"/>
                    <a:pt x="105491" y="51053"/>
                  </a:cubicBezTo>
                  <a:cubicBezTo>
                    <a:pt x="105209" y="51053"/>
                    <a:pt x="105209" y="51335"/>
                    <a:pt x="105209" y="51335"/>
                  </a:cubicBezTo>
                  <a:cubicBezTo>
                    <a:pt x="104927" y="52181"/>
                    <a:pt x="104363" y="53028"/>
                    <a:pt x="103799" y="53874"/>
                  </a:cubicBezTo>
                  <a:lnTo>
                    <a:pt x="103234" y="55284"/>
                  </a:lnTo>
                  <a:cubicBezTo>
                    <a:pt x="102952" y="55284"/>
                    <a:pt x="102670" y="55566"/>
                    <a:pt x="102388" y="55848"/>
                  </a:cubicBezTo>
                  <a:cubicBezTo>
                    <a:pt x="101824" y="55848"/>
                    <a:pt x="101542" y="56130"/>
                    <a:pt x="101542" y="56694"/>
                  </a:cubicBezTo>
                  <a:lnTo>
                    <a:pt x="101542" y="56976"/>
                  </a:lnTo>
                  <a:cubicBezTo>
                    <a:pt x="101542" y="57258"/>
                    <a:pt x="101260" y="57541"/>
                    <a:pt x="101260" y="57823"/>
                  </a:cubicBezTo>
                  <a:cubicBezTo>
                    <a:pt x="101260" y="59233"/>
                    <a:pt x="100696" y="60079"/>
                    <a:pt x="100413" y="61207"/>
                  </a:cubicBezTo>
                  <a:cubicBezTo>
                    <a:pt x="100132" y="61207"/>
                    <a:pt x="100413" y="61489"/>
                    <a:pt x="100413" y="61489"/>
                  </a:cubicBezTo>
                  <a:lnTo>
                    <a:pt x="100978" y="61489"/>
                  </a:lnTo>
                  <a:cubicBezTo>
                    <a:pt x="101260" y="61207"/>
                    <a:pt x="101824" y="60925"/>
                    <a:pt x="101824" y="60361"/>
                  </a:cubicBezTo>
                  <a:cubicBezTo>
                    <a:pt x="102106" y="59797"/>
                    <a:pt x="102388" y="59233"/>
                    <a:pt x="102952" y="59233"/>
                  </a:cubicBezTo>
                  <a:cubicBezTo>
                    <a:pt x="103516" y="59233"/>
                    <a:pt x="104080" y="59233"/>
                    <a:pt x="104363" y="58669"/>
                  </a:cubicBezTo>
                  <a:cubicBezTo>
                    <a:pt x="104644" y="58387"/>
                    <a:pt x="104644" y="58669"/>
                    <a:pt x="104644" y="58669"/>
                  </a:cubicBezTo>
                  <a:cubicBezTo>
                    <a:pt x="104644" y="59515"/>
                    <a:pt x="104644" y="60361"/>
                    <a:pt x="104080" y="60925"/>
                  </a:cubicBezTo>
                  <a:cubicBezTo>
                    <a:pt x="103799" y="61207"/>
                    <a:pt x="103234" y="61489"/>
                    <a:pt x="103234" y="61771"/>
                  </a:cubicBezTo>
                  <a:lnTo>
                    <a:pt x="104080" y="62900"/>
                  </a:lnTo>
                  <a:cubicBezTo>
                    <a:pt x="104644" y="63182"/>
                    <a:pt x="104644" y="63182"/>
                    <a:pt x="104927" y="63182"/>
                  </a:cubicBezTo>
                  <a:cubicBezTo>
                    <a:pt x="105209" y="63464"/>
                    <a:pt x="105209" y="64028"/>
                    <a:pt x="105209" y="64310"/>
                  </a:cubicBezTo>
                  <a:lnTo>
                    <a:pt x="105209" y="65156"/>
                  </a:lnTo>
                  <a:cubicBezTo>
                    <a:pt x="105209" y="65156"/>
                    <a:pt x="105209" y="65720"/>
                    <a:pt x="105491" y="65720"/>
                  </a:cubicBezTo>
                  <a:lnTo>
                    <a:pt x="107183" y="65720"/>
                  </a:lnTo>
                  <a:cubicBezTo>
                    <a:pt x="108030" y="65720"/>
                    <a:pt x="108030" y="66002"/>
                    <a:pt x="108030" y="66284"/>
                  </a:cubicBezTo>
                  <a:close/>
                  <a:moveTo>
                    <a:pt x="1410" y="105209"/>
                  </a:moveTo>
                  <a:lnTo>
                    <a:pt x="1410" y="105491"/>
                  </a:lnTo>
                  <a:lnTo>
                    <a:pt x="1692" y="105773"/>
                  </a:lnTo>
                  <a:lnTo>
                    <a:pt x="1974" y="105773"/>
                  </a:lnTo>
                  <a:cubicBezTo>
                    <a:pt x="1974" y="105491"/>
                    <a:pt x="1692" y="105209"/>
                    <a:pt x="1410" y="105209"/>
                  </a:cubicBezTo>
                  <a:close/>
                  <a:moveTo>
                    <a:pt x="18334" y="41463"/>
                  </a:moveTo>
                  <a:cubicBezTo>
                    <a:pt x="18898" y="40899"/>
                    <a:pt x="18898" y="40335"/>
                    <a:pt x="18898" y="39771"/>
                  </a:cubicBezTo>
                  <a:lnTo>
                    <a:pt x="18898" y="38924"/>
                  </a:lnTo>
                  <a:cubicBezTo>
                    <a:pt x="19180" y="38078"/>
                    <a:pt x="19744" y="37796"/>
                    <a:pt x="20308" y="36950"/>
                  </a:cubicBezTo>
                  <a:cubicBezTo>
                    <a:pt x="20591" y="36104"/>
                    <a:pt x="21155" y="35540"/>
                    <a:pt x="21155" y="34694"/>
                  </a:cubicBezTo>
                  <a:lnTo>
                    <a:pt x="21436" y="34411"/>
                  </a:lnTo>
                  <a:lnTo>
                    <a:pt x="22283" y="33283"/>
                  </a:lnTo>
                  <a:cubicBezTo>
                    <a:pt x="22565" y="31591"/>
                    <a:pt x="23411" y="29899"/>
                    <a:pt x="23975" y="28206"/>
                  </a:cubicBezTo>
                  <a:cubicBezTo>
                    <a:pt x="23975" y="27924"/>
                    <a:pt x="23693" y="27924"/>
                    <a:pt x="23693" y="27924"/>
                  </a:cubicBezTo>
                  <a:lnTo>
                    <a:pt x="23693" y="27642"/>
                  </a:lnTo>
                  <a:cubicBezTo>
                    <a:pt x="23129" y="27924"/>
                    <a:pt x="22847" y="28206"/>
                    <a:pt x="22847" y="28488"/>
                  </a:cubicBezTo>
                  <a:cubicBezTo>
                    <a:pt x="22565" y="29052"/>
                    <a:pt x="22283" y="29616"/>
                    <a:pt x="22283" y="30181"/>
                  </a:cubicBezTo>
                  <a:cubicBezTo>
                    <a:pt x="21719" y="30745"/>
                    <a:pt x="21155" y="31873"/>
                    <a:pt x="21155" y="32719"/>
                  </a:cubicBezTo>
                  <a:cubicBezTo>
                    <a:pt x="20591" y="33565"/>
                    <a:pt x="20308" y="34129"/>
                    <a:pt x="19462" y="34976"/>
                  </a:cubicBezTo>
                  <a:cubicBezTo>
                    <a:pt x="19462" y="35822"/>
                    <a:pt x="19180" y="36668"/>
                    <a:pt x="18334" y="37514"/>
                  </a:cubicBezTo>
                  <a:cubicBezTo>
                    <a:pt x="18334" y="37796"/>
                    <a:pt x="18616" y="37796"/>
                    <a:pt x="18616" y="38078"/>
                  </a:cubicBezTo>
                  <a:cubicBezTo>
                    <a:pt x="18616" y="38642"/>
                    <a:pt x="17770" y="39207"/>
                    <a:pt x="17488" y="39771"/>
                  </a:cubicBezTo>
                  <a:cubicBezTo>
                    <a:pt x="17488" y="40899"/>
                    <a:pt x="16924" y="42027"/>
                    <a:pt x="16360" y="43437"/>
                  </a:cubicBezTo>
                  <a:cubicBezTo>
                    <a:pt x="16077" y="44566"/>
                    <a:pt x="15795" y="45412"/>
                    <a:pt x="15795" y="46258"/>
                  </a:cubicBezTo>
                  <a:lnTo>
                    <a:pt x="15513" y="46540"/>
                  </a:lnTo>
                  <a:cubicBezTo>
                    <a:pt x="15513" y="46540"/>
                    <a:pt x="15513" y="46822"/>
                    <a:pt x="15795" y="46822"/>
                  </a:cubicBezTo>
                  <a:lnTo>
                    <a:pt x="16077" y="46540"/>
                  </a:lnTo>
                  <a:cubicBezTo>
                    <a:pt x="16360" y="46258"/>
                    <a:pt x="16360" y="46258"/>
                    <a:pt x="16360" y="45976"/>
                  </a:cubicBezTo>
                  <a:lnTo>
                    <a:pt x="16360" y="45412"/>
                  </a:lnTo>
                  <a:cubicBezTo>
                    <a:pt x="16360" y="44848"/>
                    <a:pt x="16641" y="44284"/>
                    <a:pt x="16924" y="44002"/>
                  </a:cubicBezTo>
                  <a:cubicBezTo>
                    <a:pt x="17488" y="43155"/>
                    <a:pt x="18052" y="42309"/>
                    <a:pt x="18334" y="41463"/>
                  </a:cubicBezTo>
                  <a:close/>
                  <a:moveTo>
                    <a:pt x="26796" y="47950"/>
                  </a:moveTo>
                  <a:cubicBezTo>
                    <a:pt x="26514" y="48232"/>
                    <a:pt x="26232" y="48797"/>
                    <a:pt x="26232" y="49643"/>
                  </a:cubicBezTo>
                  <a:lnTo>
                    <a:pt x="26232" y="50771"/>
                  </a:lnTo>
                  <a:cubicBezTo>
                    <a:pt x="27642" y="51335"/>
                    <a:pt x="28488" y="52181"/>
                    <a:pt x="29052" y="53310"/>
                  </a:cubicBezTo>
                  <a:lnTo>
                    <a:pt x="29898" y="53310"/>
                  </a:lnTo>
                  <a:cubicBezTo>
                    <a:pt x="30180" y="53310"/>
                    <a:pt x="30180" y="53028"/>
                    <a:pt x="30463" y="52745"/>
                  </a:cubicBezTo>
                  <a:cubicBezTo>
                    <a:pt x="31027" y="51899"/>
                    <a:pt x="31591" y="51053"/>
                    <a:pt x="32719" y="50207"/>
                  </a:cubicBezTo>
                  <a:cubicBezTo>
                    <a:pt x="33847" y="49079"/>
                    <a:pt x="34694" y="47950"/>
                    <a:pt x="35822" y="46258"/>
                  </a:cubicBezTo>
                  <a:cubicBezTo>
                    <a:pt x="36104" y="45976"/>
                    <a:pt x="36104" y="45412"/>
                    <a:pt x="36668" y="45130"/>
                  </a:cubicBezTo>
                  <a:lnTo>
                    <a:pt x="38078" y="43155"/>
                  </a:lnTo>
                  <a:cubicBezTo>
                    <a:pt x="38642" y="42309"/>
                    <a:pt x="38925" y="41463"/>
                    <a:pt x="39489" y="40899"/>
                  </a:cubicBezTo>
                  <a:cubicBezTo>
                    <a:pt x="39489" y="40335"/>
                    <a:pt x="39770" y="39771"/>
                    <a:pt x="40053" y="39207"/>
                  </a:cubicBezTo>
                  <a:cubicBezTo>
                    <a:pt x="40617" y="38360"/>
                    <a:pt x="41181" y="37514"/>
                    <a:pt x="42027" y="36668"/>
                  </a:cubicBezTo>
                  <a:cubicBezTo>
                    <a:pt x="42873" y="36104"/>
                    <a:pt x="42873" y="34694"/>
                    <a:pt x="43437" y="33847"/>
                  </a:cubicBezTo>
                  <a:cubicBezTo>
                    <a:pt x="43720" y="33001"/>
                    <a:pt x="43720" y="32155"/>
                    <a:pt x="43720" y="31591"/>
                  </a:cubicBezTo>
                  <a:cubicBezTo>
                    <a:pt x="44848" y="30745"/>
                    <a:pt x="44848" y="29899"/>
                    <a:pt x="44848" y="29052"/>
                  </a:cubicBezTo>
                  <a:cubicBezTo>
                    <a:pt x="45130" y="28206"/>
                    <a:pt x="45411" y="27360"/>
                    <a:pt x="45976" y="26514"/>
                  </a:cubicBezTo>
                  <a:cubicBezTo>
                    <a:pt x="46258" y="25950"/>
                    <a:pt x="46822" y="25103"/>
                    <a:pt x="46822" y="24257"/>
                  </a:cubicBezTo>
                  <a:cubicBezTo>
                    <a:pt x="46822" y="23975"/>
                    <a:pt x="46822" y="23693"/>
                    <a:pt x="46540" y="23411"/>
                  </a:cubicBezTo>
                  <a:lnTo>
                    <a:pt x="46540" y="22847"/>
                  </a:lnTo>
                  <a:cubicBezTo>
                    <a:pt x="46540" y="22283"/>
                    <a:pt x="46540" y="22283"/>
                    <a:pt x="47104" y="22283"/>
                  </a:cubicBezTo>
                  <a:lnTo>
                    <a:pt x="47668" y="22283"/>
                  </a:lnTo>
                  <a:cubicBezTo>
                    <a:pt x="47668" y="22001"/>
                    <a:pt x="47950" y="21719"/>
                    <a:pt x="47950" y="21719"/>
                  </a:cubicBezTo>
                  <a:cubicBezTo>
                    <a:pt x="47950" y="21719"/>
                    <a:pt x="47668" y="21719"/>
                    <a:pt x="47668" y="21437"/>
                  </a:cubicBezTo>
                  <a:lnTo>
                    <a:pt x="47668" y="21155"/>
                  </a:lnTo>
                  <a:cubicBezTo>
                    <a:pt x="47668" y="20873"/>
                    <a:pt x="47668" y="20873"/>
                    <a:pt x="47386" y="20873"/>
                  </a:cubicBezTo>
                  <a:cubicBezTo>
                    <a:pt x="47104" y="20873"/>
                    <a:pt x="47104" y="20590"/>
                    <a:pt x="47104" y="20308"/>
                  </a:cubicBezTo>
                  <a:cubicBezTo>
                    <a:pt x="47104" y="20026"/>
                    <a:pt x="47104" y="20026"/>
                    <a:pt x="47386" y="19744"/>
                  </a:cubicBezTo>
                  <a:cubicBezTo>
                    <a:pt x="47668" y="19462"/>
                    <a:pt x="47668" y="19180"/>
                    <a:pt x="47668" y="19180"/>
                  </a:cubicBezTo>
                  <a:lnTo>
                    <a:pt x="47104" y="18898"/>
                  </a:lnTo>
                  <a:cubicBezTo>
                    <a:pt x="47104" y="18616"/>
                    <a:pt x="46822" y="18334"/>
                    <a:pt x="47104" y="18334"/>
                  </a:cubicBezTo>
                  <a:cubicBezTo>
                    <a:pt x="47668" y="17770"/>
                    <a:pt x="47668" y="17488"/>
                    <a:pt x="47668" y="17206"/>
                  </a:cubicBezTo>
                  <a:cubicBezTo>
                    <a:pt x="47668" y="16924"/>
                    <a:pt x="47668" y="16360"/>
                    <a:pt x="47386" y="16078"/>
                  </a:cubicBezTo>
                  <a:cubicBezTo>
                    <a:pt x="47104" y="15231"/>
                    <a:pt x="47386" y="14667"/>
                    <a:pt x="46822" y="13821"/>
                  </a:cubicBezTo>
                  <a:lnTo>
                    <a:pt x="46822" y="13539"/>
                  </a:lnTo>
                  <a:cubicBezTo>
                    <a:pt x="46822" y="13257"/>
                    <a:pt x="46822" y="13257"/>
                    <a:pt x="47104" y="13257"/>
                  </a:cubicBezTo>
                  <a:cubicBezTo>
                    <a:pt x="47104" y="12975"/>
                    <a:pt x="47104" y="12975"/>
                    <a:pt x="47386" y="12975"/>
                  </a:cubicBezTo>
                  <a:cubicBezTo>
                    <a:pt x="47386" y="12975"/>
                    <a:pt x="47386" y="12693"/>
                    <a:pt x="47668" y="12411"/>
                  </a:cubicBezTo>
                  <a:lnTo>
                    <a:pt x="45976" y="12411"/>
                  </a:lnTo>
                  <a:cubicBezTo>
                    <a:pt x="45130" y="13539"/>
                    <a:pt x="44284" y="14385"/>
                    <a:pt x="43437" y="15795"/>
                  </a:cubicBezTo>
                  <a:cubicBezTo>
                    <a:pt x="43156" y="15795"/>
                    <a:pt x="43156" y="16078"/>
                    <a:pt x="43156" y="16078"/>
                  </a:cubicBezTo>
                  <a:lnTo>
                    <a:pt x="43156" y="16360"/>
                  </a:lnTo>
                  <a:cubicBezTo>
                    <a:pt x="41745" y="17770"/>
                    <a:pt x="40335" y="18898"/>
                    <a:pt x="39770" y="20590"/>
                  </a:cubicBezTo>
                  <a:lnTo>
                    <a:pt x="39489" y="20873"/>
                  </a:lnTo>
                  <a:cubicBezTo>
                    <a:pt x="38642" y="21719"/>
                    <a:pt x="37796" y="22283"/>
                    <a:pt x="37232" y="23411"/>
                  </a:cubicBezTo>
                  <a:cubicBezTo>
                    <a:pt x="36950" y="23693"/>
                    <a:pt x="36668" y="23975"/>
                    <a:pt x="36668" y="24539"/>
                  </a:cubicBezTo>
                  <a:lnTo>
                    <a:pt x="36668" y="24821"/>
                  </a:lnTo>
                  <a:cubicBezTo>
                    <a:pt x="36386" y="25668"/>
                    <a:pt x="35822" y="25950"/>
                    <a:pt x="35539" y="26514"/>
                  </a:cubicBezTo>
                  <a:cubicBezTo>
                    <a:pt x="35539" y="27078"/>
                    <a:pt x="34975" y="27642"/>
                    <a:pt x="34411" y="28206"/>
                  </a:cubicBezTo>
                  <a:cubicBezTo>
                    <a:pt x="34129" y="28206"/>
                    <a:pt x="33847" y="28770"/>
                    <a:pt x="33847" y="28770"/>
                  </a:cubicBezTo>
                  <a:cubicBezTo>
                    <a:pt x="33847" y="29616"/>
                    <a:pt x="34129" y="30181"/>
                    <a:pt x="34129" y="30463"/>
                  </a:cubicBezTo>
                  <a:cubicBezTo>
                    <a:pt x="33565" y="31027"/>
                    <a:pt x="33001" y="31591"/>
                    <a:pt x="33001" y="32155"/>
                  </a:cubicBezTo>
                  <a:lnTo>
                    <a:pt x="33001" y="33001"/>
                  </a:lnTo>
                  <a:cubicBezTo>
                    <a:pt x="32437" y="33565"/>
                    <a:pt x="32155" y="33565"/>
                    <a:pt x="32155" y="33847"/>
                  </a:cubicBezTo>
                  <a:cubicBezTo>
                    <a:pt x="31591" y="34411"/>
                    <a:pt x="31027" y="35258"/>
                    <a:pt x="31027" y="36104"/>
                  </a:cubicBezTo>
                  <a:lnTo>
                    <a:pt x="31027" y="36668"/>
                  </a:lnTo>
                  <a:cubicBezTo>
                    <a:pt x="31027" y="37232"/>
                    <a:pt x="30463" y="37514"/>
                    <a:pt x="30180" y="37796"/>
                  </a:cubicBezTo>
                  <a:lnTo>
                    <a:pt x="29052" y="38924"/>
                  </a:lnTo>
                  <a:lnTo>
                    <a:pt x="29052" y="39207"/>
                  </a:lnTo>
                  <a:cubicBezTo>
                    <a:pt x="29052" y="40899"/>
                    <a:pt x="27924" y="43437"/>
                    <a:pt x="27077" y="45412"/>
                  </a:cubicBezTo>
                  <a:lnTo>
                    <a:pt x="27077" y="47104"/>
                  </a:lnTo>
                  <a:cubicBezTo>
                    <a:pt x="27077" y="47386"/>
                    <a:pt x="27077" y="47668"/>
                    <a:pt x="26796" y="47950"/>
                  </a:cubicBezTo>
                  <a:close/>
                  <a:moveTo>
                    <a:pt x="55002" y="26796"/>
                  </a:moveTo>
                  <a:cubicBezTo>
                    <a:pt x="55284" y="26796"/>
                    <a:pt x="55566" y="26796"/>
                    <a:pt x="55566" y="26514"/>
                  </a:cubicBezTo>
                  <a:cubicBezTo>
                    <a:pt x="55848" y="26232"/>
                    <a:pt x="55848" y="25950"/>
                    <a:pt x="55848" y="25668"/>
                  </a:cubicBezTo>
                  <a:lnTo>
                    <a:pt x="55848" y="25386"/>
                  </a:lnTo>
                  <a:lnTo>
                    <a:pt x="55566" y="25103"/>
                  </a:lnTo>
                  <a:lnTo>
                    <a:pt x="55284" y="25103"/>
                  </a:lnTo>
                  <a:cubicBezTo>
                    <a:pt x="55284" y="25386"/>
                    <a:pt x="54720" y="25668"/>
                    <a:pt x="54720" y="25950"/>
                  </a:cubicBezTo>
                  <a:cubicBezTo>
                    <a:pt x="54720" y="26232"/>
                    <a:pt x="54720" y="26514"/>
                    <a:pt x="55002" y="26796"/>
                  </a:cubicBezTo>
                  <a:close/>
                  <a:moveTo>
                    <a:pt x="55002" y="12411"/>
                  </a:moveTo>
                  <a:cubicBezTo>
                    <a:pt x="55002" y="12693"/>
                    <a:pt x="55002" y="12975"/>
                    <a:pt x="55284" y="12975"/>
                  </a:cubicBezTo>
                  <a:cubicBezTo>
                    <a:pt x="55284" y="13257"/>
                    <a:pt x="55566" y="13539"/>
                    <a:pt x="55848" y="13539"/>
                  </a:cubicBezTo>
                  <a:cubicBezTo>
                    <a:pt x="56130" y="13539"/>
                    <a:pt x="56412" y="12975"/>
                    <a:pt x="56412" y="12975"/>
                  </a:cubicBezTo>
                  <a:lnTo>
                    <a:pt x="55566" y="11847"/>
                  </a:lnTo>
                  <a:lnTo>
                    <a:pt x="55284" y="11847"/>
                  </a:lnTo>
                  <a:cubicBezTo>
                    <a:pt x="55002" y="11847"/>
                    <a:pt x="55002" y="12411"/>
                    <a:pt x="55002" y="12411"/>
                  </a:cubicBezTo>
                  <a:close/>
                  <a:moveTo>
                    <a:pt x="56694" y="14667"/>
                  </a:moveTo>
                  <a:cubicBezTo>
                    <a:pt x="56130" y="14667"/>
                    <a:pt x="55848" y="14667"/>
                    <a:pt x="55566" y="14949"/>
                  </a:cubicBezTo>
                  <a:lnTo>
                    <a:pt x="55566" y="16360"/>
                  </a:lnTo>
                  <a:cubicBezTo>
                    <a:pt x="55566" y="16924"/>
                    <a:pt x="55566" y="17488"/>
                    <a:pt x="55848" y="17770"/>
                  </a:cubicBezTo>
                  <a:cubicBezTo>
                    <a:pt x="55848" y="18052"/>
                    <a:pt x="55566" y="18616"/>
                    <a:pt x="55284" y="18898"/>
                  </a:cubicBezTo>
                  <a:cubicBezTo>
                    <a:pt x="55284" y="19462"/>
                    <a:pt x="55284" y="20026"/>
                    <a:pt x="55848" y="20873"/>
                  </a:cubicBezTo>
                  <a:cubicBezTo>
                    <a:pt x="55848" y="20873"/>
                    <a:pt x="55566" y="21437"/>
                    <a:pt x="55284" y="21719"/>
                  </a:cubicBezTo>
                  <a:lnTo>
                    <a:pt x="55284" y="22283"/>
                  </a:lnTo>
                  <a:cubicBezTo>
                    <a:pt x="55284" y="22565"/>
                    <a:pt x="55284" y="22565"/>
                    <a:pt x="55566" y="22565"/>
                  </a:cubicBezTo>
                  <a:cubicBezTo>
                    <a:pt x="55566" y="22565"/>
                    <a:pt x="55848" y="22565"/>
                    <a:pt x="56130" y="22283"/>
                  </a:cubicBezTo>
                  <a:cubicBezTo>
                    <a:pt x="56412" y="22283"/>
                    <a:pt x="56976" y="22283"/>
                    <a:pt x="57259" y="22001"/>
                  </a:cubicBezTo>
                  <a:cubicBezTo>
                    <a:pt x="58669" y="21719"/>
                    <a:pt x="59233" y="20873"/>
                    <a:pt x="59233" y="19462"/>
                  </a:cubicBezTo>
                  <a:lnTo>
                    <a:pt x="59233" y="18334"/>
                  </a:lnTo>
                  <a:cubicBezTo>
                    <a:pt x="59233" y="18052"/>
                    <a:pt x="58951" y="17770"/>
                    <a:pt x="58669" y="17488"/>
                  </a:cubicBezTo>
                  <a:cubicBezTo>
                    <a:pt x="58387" y="16924"/>
                    <a:pt x="57823" y="16924"/>
                    <a:pt x="57540" y="16360"/>
                  </a:cubicBezTo>
                  <a:cubicBezTo>
                    <a:pt x="56976" y="16078"/>
                    <a:pt x="57259" y="15513"/>
                    <a:pt x="56976" y="14949"/>
                  </a:cubicBezTo>
                  <a:cubicBezTo>
                    <a:pt x="57259" y="14667"/>
                    <a:pt x="56694" y="14667"/>
                    <a:pt x="56694" y="14667"/>
                  </a:cubicBezTo>
                  <a:close/>
                  <a:moveTo>
                    <a:pt x="57823" y="15795"/>
                  </a:moveTo>
                  <a:cubicBezTo>
                    <a:pt x="58104" y="15795"/>
                    <a:pt x="58104" y="16078"/>
                    <a:pt x="58387" y="16078"/>
                  </a:cubicBezTo>
                  <a:lnTo>
                    <a:pt x="58669" y="16078"/>
                  </a:lnTo>
                  <a:lnTo>
                    <a:pt x="58669" y="15513"/>
                  </a:lnTo>
                  <a:cubicBezTo>
                    <a:pt x="58669" y="15231"/>
                    <a:pt x="58387" y="14949"/>
                    <a:pt x="58387" y="14949"/>
                  </a:cubicBezTo>
                  <a:lnTo>
                    <a:pt x="58104" y="15231"/>
                  </a:lnTo>
                  <a:cubicBezTo>
                    <a:pt x="57823" y="15513"/>
                    <a:pt x="57823" y="15795"/>
                    <a:pt x="57823" y="15795"/>
                  </a:cubicBezTo>
                  <a:close/>
                  <a:moveTo>
                    <a:pt x="58951" y="23693"/>
                  </a:moveTo>
                  <a:lnTo>
                    <a:pt x="58951" y="23975"/>
                  </a:lnTo>
                  <a:lnTo>
                    <a:pt x="59515" y="26232"/>
                  </a:lnTo>
                  <a:lnTo>
                    <a:pt x="60079" y="26232"/>
                  </a:lnTo>
                  <a:cubicBezTo>
                    <a:pt x="60361" y="25668"/>
                    <a:pt x="60643" y="25103"/>
                    <a:pt x="61207" y="24821"/>
                  </a:cubicBezTo>
                  <a:lnTo>
                    <a:pt x="60925" y="24257"/>
                  </a:lnTo>
                  <a:cubicBezTo>
                    <a:pt x="60643" y="24257"/>
                    <a:pt x="60643" y="23975"/>
                    <a:pt x="60643" y="23693"/>
                  </a:cubicBezTo>
                  <a:cubicBezTo>
                    <a:pt x="60643" y="23411"/>
                    <a:pt x="60643" y="23411"/>
                    <a:pt x="60925" y="23129"/>
                  </a:cubicBezTo>
                  <a:lnTo>
                    <a:pt x="60925" y="22847"/>
                  </a:lnTo>
                  <a:cubicBezTo>
                    <a:pt x="60643" y="22565"/>
                    <a:pt x="60361" y="22565"/>
                    <a:pt x="60079" y="22565"/>
                  </a:cubicBezTo>
                  <a:cubicBezTo>
                    <a:pt x="59515" y="22847"/>
                    <a:pt x="59515" y="23411"/>
                    <a:pt x="58951" y="23693"/>
                  </a:cubicBezTo>
                  <a:close/>
                  <a:moveTo>
                    <a:pt x="60079" y="20308"/>
                  </a:moveTo>
                  <a:lnTo>
                    <a:pt x="60079" y="21437"/>
                  </a:lnTo>
                  <a:cubicBezTo>
                    <a:pt x="60079" y="21719"/>
                    <a:pt x="60361" y="21719"/>
                    <a:pt x="60361" y="21719"/>
                  </a:cubicBezTo>
                  <a:cubicBezTo>
                    <a:pt x="61207" y="21155"/>
                    <a:pt x="61207" y="20873"/>
                    <a:pt x="61771" y="20308"/>
                  </a:cubicBezTo>
                  <a:lnTo>
                    <a:pt x="61771" y="20026"/>
                  </a:lnTo>
                  <a:cubicBezTo>
                    <a:pt x="61490" y="19744"/>
                    <a:pt x="61207" y="19180"/>
                    <a:pt x="60643" y="18898"/>
                  </a:cubicBezTo>
                  <a:lnTo>
                    <a:pt x="60361" y="18898"/>
                  </a:lnTo>
                  <a:cubicBezTo>
                    <a:pt x="60361" y="19462"/>
                    <a:pt x="60079" y="20026"/>
                    <a:pt x="60079" y="20308"/>
                  </a:cubicBezTo>
                  <a:close/>
                  <a:moveTo>
                    <a:pt x="72772" y="107183"/>
                  </a:moveTo>
                  <a:cubicBezTo>
                    <a:pt x="72490" y="106901"/>
                    <a:pt x="72490" y="106901"/>
                    <a:pt x="72490" y="106619"/>
                  </a:cubicBezTo>
                  <a:lnTo>
                    <a:pt x="71926" y="106619"/>
                  </a:lnTo>
                  <a:cubicBezTo>
                    <a:pt x="71926" y="106619"/>
                    <a:pt x="71643" y="106901"/>
                    <a:pt x="71643" y="107183"/>
                  </a:cubicBezTo>
                  <a:cubicBezTo>
                    <a:pt x="71643" y="107183"/>
                    <a:pt x="71643" y="107465"/>
                    <a:pt x="72207" y="107465"/>
                  </a:cubicBezTo>
                  <a:lnTo>
                    <a:pt x="72490" y="107465"/>
                  </a:lnTo>
                  <a:cubicBezTo>
                    <a:pt x="72490" y="107183"/>
                    <a:pt x="72772" y="107183"/>
                    <a:pt x="72772" y="107183"/>
                  </a:cubicBezTo>
                  <a:close/>
                  <a:moveTo>
                    <a:pt x="78977" y="105773"/>
                  </a:moveTo>
                  <a:cubicBezTo>
                    <a:pt x="78977" y="105773"/>
                    <a:pt x="78977" y="106055"/>
                    <a:pt x="78695" y="106055"/>
                  </a:cubicBezTo>
                  <a:cubicBezTo>
                    <a:pt x="78695" y="106055"/>
                    <a:pt x="78413" y="106055"/>
                    <a:pt x="78413" y="105773"/>
                  </a:cubicBezTo>
                  <a:cubicBezTo>
                    <a:pt x="78413" y="105773"/>
                    <a:pt x="78695" y="105773"/>
                    <a:pt x="78695" y="105491"/>
                  </a:cubicBezTo>
                  <a:cubicBezTo>
                    <a:pt x="78977" y="105491"/>
                    <a:pt x="78977" y="105773"/>
                    <a:pt x="78977" y="105773"/>
                  </a:cubicBezTo>
                  <a:close/>
                  <a:moveTo>
                    <a:pt x="94491" y="89413"/>
                  </a:moveTo>
                  <a:lnTo>
                    <a:pt x="93080" y="90824"/>
                  </a:lnTo>
                  <a:cubicBezTo>
                    <a:pt x="92798" y="91106"/>
                    <a:pt x="92798" y="91388"/>
                    <a:pt x="92516" y="91388"/>
                  </a:cubicBezTo>
                  <a:cubicBezTo>
                    <a:pt x="92234" y="91388"/>
                    <a:pt x="92234" y="91106"/>
                    <a:pt x="92234" y="90824"/>
                  </a:cubicBezTo>
                  <a:cubicBezTo>
                    <a:pt x="92234" y="90260"/>
                    <a:pt x="91952" y="89978"/>
                    <a:pt x="91388" y="89978"/>
                  </a:cubicBezTo>
                  <a:cubicBezTo>
                    <a:pt x="91106" y="89978"/>
                    <a:pt x="90824" y="89978"/>
                    <a:pt x="90824" y="89413"/>
                  </a:cubicBezTo>
                  <a:lnTo>
                    <a:pt x="90824" y="88849"/>
                  </a:lnTo>
                  <a:cubicBezTo>
                    <a:pt x="91106" y="88567"/>
                    <a:pt x="91670" y="88567"/>
                    <a:pt x="92234" y="88003"/>
                  </a:cubicBezTo>
                  <a:cubicBezTo>
                    <a:pt x="92234" y="88003"/>
                    <a:pt x="92516" y="88003"/>
                    <a:pt x="92516" y="88285"/>
                  </a:cubicBezTo>
                  <a:cubicBezTo>
                    <a:pt x="93080" y="88849"/>
                    <a:pt x="93362" y="88849"/>
                    <a:pt x="93927" y="88849"/>
                  </a:cubicBezTo>
                  <a:cubicBezTo>
                    <a:pt x="94208" y="89131"/>
                    <a:pt x="94491" y="89131"/>
                    <a:pt x="94491" y="89413"/>
                  </a:cubicBezTo>
                  <a:close/>
                  <a:moveTo>
                    <a:pt x="96183" y="83772"/>
                  </a:moveTo>
                  <a:lnTo>
                    <a:pt x="96183" y="84054"/>
                  </a:lnTo>
                  <a:cubicBezTo>
                    <a:pt x="96183" y="84900"/>
                    <a:pt x="95337" y="85747"/>
                    <a:pt x="94491" y="85747"/>
                  </a:cubicBezTo>
                  <a:lnTo>
                    <a:pt x="94208" y="85747"/>
                  </a:lnTo>
                  <a:lnTo>
                    <a:pt x="93927" y="85465"/>
                  </a:lnTo>
                  <a:cubicBezTo>
                    <a:pt x="93927" y="85465"/>
                    <a:pt x="93927" y="84900"/>
                    <a:pt x="94208" y="84900"/>
                  </a:cubicBezTo>
                  <a:cubicBezTo>
                    <a:pt x="94772" y="84900"/>
                    <a:pt x="95055" y="84618"/>
                    <a:pt x="95055" y="84054"/>
                  </a:cubicBezTo>
                  <a:lnTo>
                    <a:pt x="95055" y="83490"/>
                  </a:lnTo>
                  <a:lnTo>
                    <a:pt x="95337" y="83490"/>
                  </a:lnTo>
                  <a:cubicBezTo>
                    <a:pt x="95619" y="83490"/>
                    <a:pt x="95901" y="83490"/>
                    <a:pt x="96183" y="83772"/>
                  </a:cubicBezTo>
                  <a:close/>
                  <a:moveTo>
                    <a:pt x="102670" y="79259"/>
                  </a:moveTo>
                  <a:cubicBezTo>
                    <a:pt x="102670" y="78977"/>
                    <a:pt x="102952" y="78977"/>
                    <a:pt x="103234" y="78977"/>
                  </a:cubicBezTo>
                  <a:cubicBezTo>
                    <a:pt x="102952" y="79541"/>
                    <a:pt x="102388" y="80105"/>
                    <a:pt x="102388" y="80952"/>
                  </a:cubicBezTo>
                  <a:cubicBezTo>
                    <a:pt x="102106" y="81234"/>
                    <a:pt x="101824" y="81516"/>
                    <a:pt x="101824" y="81234"/>
                  </a:cubicBezTo>
                  <a:lnTo>
                    <a:pt x="101824" y="80387"/>
                  </a:lnTo>
                  <a:cubicBezTo>
                    <a:pt x="101824" y="80105"/>
                    <a:pt x="101824" y="79541"/>
                    <a:pt x="102670" y="79259"/>
                  </a:cubicBezTo>
                  <a:close/>
                  <a:moveTo>
                    <a:pt x="103516" y="64874"/>
                  </a:moveTo>
                  <a:cubicBezTo>
                    <a:pt x="103234" y="64592"/>
                    <a:pt x="103234" y="64310"/>
                    <a:pt x="103234" y="63746"/>
                  </a:cubicBezTo>
                  <a:lnTo>
                    <a:pt x="102952" y="63746"/>
                  </a:lnTo>
                  <a:lnTo>
                    <a:pt x="102952" y="64310"/>
                  </a:lnTo>
                  <a:cubicBezTo>
                    <a:pt x="102952" y="64310"/>
                    <a:pt x="102952" y="64592"/>
                    <a:pt x="103234" y="64874"/>
                  </a:cubicBezTo>
                  <a:lnTo>
                    <a:pt x="103234" y="65156"/>
                  </a:lnTo>
                  <a:cubicBezTo>
                    <a:pt x="103516" y="65156"/>
                    <a:pt x="103516" y="64874"/>
                    <a:pt x="103516" y="64874"/>
                  </a:cubicBezTo>
                  <a:close/>
                  <a:moveTo>
                    <a:pt x="104644" y="56976"/>
                  </a:moveTo>
                  <a:lnTo>
                    <a:pt x="104644" y="57258"/>
                  </a:lnTo>
                  <a:cubicBezTo>
                    <a:pt x="104363" y="57823"/>
                    <a:pt x="104080" y="57823"/>
                    <a:pt x="103516" y="58105"/>
                  </a:cubicBezTo>
                  <a:cubicBezTo>
                    <a:pt x="103516" y="57823"/>
                    <a:pt x="103234" y="57823"/>
                    <a:pt x="103234" y="57823"/>
                  </a:cubicBezTo>
                  <a:lnTo>
                    <a:pt x="103234" y="57541"/>
                  </a:lnTo>
                  <a:lnTo>
                    <a:pt x="104080" y="56694"/>
                  </a:lnTo>
                  <a:cubicBezTo>
                    <a:pt x="103799" y="56412"/>
                    <a:pt x="104363" y="56694"/>
                    <a:pt x="104644" y="56976"/>
                  </a:cubicBezTo>
                  <a:close/>
                  <a:moveTo>
                    <a:pt x="110004" y="60361"/>
                  </a:moveTo>
                  <a:lnTo>
                    <a:pt x="110004" y="60643"/>
                  </a:lnTo>
                  <a:lnTo>
                    <a:pt x="109440" y="62336"/>
                  </a:lnTo>
                  <a:cubicBezTo>
                    <a:pt x="109158" y="62618"/>
                    <a:pt x="109158" y="63182"/>
                    <a:pt x="109158" y="63182"/>
                  </a:cubicBezTo>
                  <a:cubicBezTo>
                    <a:pt x="108875" y="63746"/>
                    <a:pt x="108875" y="63746"/>
                    <a:pt x="108875" y="64028"/>
                  </a:cubicBezTo>
                  <a:cubicBezTo>
                    <a:pt x="108875" y="64592"/>
                    <a:pt x="108875" y="64874"/>
                    <a:pt x="108030" y="64874"/>
                  </a:cubicBezTo>
                  <a:cubicBezTo>
                    <a:pt x="107747" y="64874"/>
                    <a:pt x="106901" y="64310"/>
                    <a:pt x="107183" y="64028"/>
                  </a:cubicBezTo>
                  <a:cubicBezTo>
                    <a:pt x="108030" y="63182"/>
                    <a:pt x="108030" y="62336"/>
                    <a:pt x="108030" y="61771"/>
                  </a:cubicBezTo>
                  <a:lnTo>
                    <a:pt x="108030" y="60925"/>
                  </a:lnTo>
                  <a:cubicBezTo>
                    <a:pt x="108030" y="60643"/>
                    <a:pt x="108030" y="60079"/>
                    <a:pt x="108311" y="59797"/>
                  </a:cubicBezTo>
                  <a:cubicBezTo>
                    <a:pt x="108311" y="58951"/>
                    <a:pt x="108594" y="58105"/>
                    <a:pt x="109158" y="57541"/>
                  </a:cubicBezTo>
                  <a:lnTo>
                    <a:pt x="109158" y="56976"/>
                  </a:lnTo>
                  <a:cubicBezTo>
                    <a:pt x="109158" y="56694"/>
                    <a:pt x="109158" y="56412"/>
                    <a:pt x="109440" y="56412"/>
                  </a:cubicBezTo>
                  <a:cubicBezTo>
                    <a:pt x="109440" y="56130"/>
                    <a:pt x="109722" y="56412"/>
                    <a:pt x="109722" y="56412"/>
                  </a:cubicBezTo>
                  <a:lnTo>
                    <a:pt x="110004" y="56412"/>
                  </a:lnTo>
                  <a:cubicBezTo>
                    <a:pt x="110004" y="56694"/>
                    <a:pt x="110286" y="56976"/>
                    <a:pt x="110286" y="56976"/>
                  </a:cubicBezTo>
                  <a:cubicBezTo>
                    <a:pt x="110286" y="57258"/>
                    <a:pt x="110004" y="57258"/>
                    <a:pt x="110004" y="57258"/>
                  </a:cubicBezTo>
                  <a:cubicBezTo>
                    <a:pt x="110004" y="57541"/>
                    <a:pt x="109722" y="57823"/>
                    <a:pt x="109440" y="58387"/>
                  </a:cubicBezTo>
                  <a:cubicBezTo>
                    <a:pt x="109440" y="58669"/>
                    <a:pt x="109158" y="58669"/>
                    <a:pt x="109158" y="58951"/>
                  </a:cubicBezTo>
                  <a:cubicBezTo>
                    <a:pt x="109158" y="59233"/>
                    <a:pt x="109440" y="59233"/>
                    <a:pt x="109722" y="59515"/>
                  </a:cubicBezTo>
                  <a:cubicBezTo>
                    <a:pt x="110004" y="59797"/>
                    <a:pt x="110004" y="60079"/>
                    <a:pt x="110004" y="60361"/>
                  </a:cubicBezTo>
                  <a:close/>
                  <a:moveTo>
                    <a:pt x="107183" y="40335"/>
                  </a:moveTo>
                  <a:cubicBezTo>
                    <a:pt x="107183" y="40053"/>
                    <a:pt x="107465" y="39489"/>
                    <a:pt x="107747" y="39489"/>
                  </a:cubicBezTo>
                  <a:lnTo>
                    <a:pt x="109158" y="39489"/>
                  </a:lnTo>
                  <a:cubicBezTo>
                    <a:pt x="108875" y="39771"/>
                    <a:pt x="108875" y="40053"/>
                    <a:pt x="108875" y="40335"/>
                  </a:cubicBezTo>
                  <a:cubicBezTo>
                    <a:pt x="109158" y="40335"/>
                    <a:pt x="109158" y="40335"/>
                    <a:pt x="109158" y="40617"/>
                  </a:cubicBezTo>
                  <a:cubicBezTo>
                    <a:pt x="109158" y="40899"/>
                    <a:pt x="108875" y="41181"/>
                    <a:pt x="108594" y="41181"/>
                  </a:cubicBezTo>
                  <a:cubicBezTo>
                    <a:pt x="108030" y="41181"/>
                    <a:pt x="107747" y="40899"/>
                    <a:pt x="107183" y="40335"/>
                  </a:cubicBezTo>
                  <a:close/>
                  <a:moveTo>
                    <a:pt x="110568" y="68823"/>
                  </a:moveTo>
                  <a:cubicBezTo>
                    <a:pt x="110568" y="69105"/>
                    <a:pt x="110004" y="69669"/>
                    <a:pt x="109722" y="69669"/>
                  </a:cubicBezTo>
                  <a:cubicBezTo>
                    <a:pt x="109722" y="69105"/>
                    <a:pt x="110004" y="68823"/>
                    <a:pt x="110286" y="68259"/>
                  </a:cubicBezTo>
                  <a:lnTo>
                    <a:pt x="110568" y="68541"/>
                  </a:lnTo>
                  <a:lnTo>
                    <a:pt x="110568" y="68823"/>
                  </a:lnTo>
                  <a:close/>
                  <a:moveTo>
                    <a:pt x="112261" y="65156"/>
                  </a:moveTo>
                  <a:cubicBezTo>
                    <a:pt x="111978" y="64874"/>
                    <a:pt x="111978" y="64592"/>
                    <a:pt x="111978" y="64310"/>
                  </a:cubicBezTo>
                  <a:cubicBezTo>
                    <a:pt x="111978" y="64028"/>
                    <a:pt x="111978" y="63746"/>
                    <a:pt x="112261" y="63746"/>
                  </a:cubicBezTo>
                  <a:cubicBezTo>
                    <a:pt x="112261" y="63464"/>
                    <a:pt x="112542" y="63464"/>
                    <a:pt x="112542" y="63464"/>
                  </a:cubicBezTo>
                  <a:cubicBezTo>
                    <a:pt x="112825" y="63464"/>
                    <a:pt x="112825" y="63746"/>
                    <a:pt x="112825" y="63746"/>
                  </a:cubicBezTo>
                  <a:cubicBezTo>
                    <a:pt x="112825" y="64310"/>
                    <a:pt x="112825" y="64874"/>
                    <a:pt x="112261" y="65156"/>
                  </a:cubicBezTo>
                  <a:cubicBezTo>
                    <a:pt x="112261" y="65438"/>
                    <a:pt x="112261" y="65438"/>
                    <a:pt x="111978" y="65438"/>
                  </a:cubicBezTo>
                  <a:cubicBezTo>
                    <a:pt x="111978" y="65156"/>
                    <a:pt x="111978" y="65156"/>
                    <a:pt x="112261" y="65156"/>
                  </a:cubicBezTo>
                  <a:close/>
                </a:path>
              </a:pathLst>
            </a:custGeom>
            <a:solidFill>
              <a:srgbClr val="000000"/>
            </a:solidFill>
            <a:ln w="5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  <p:sp>
        <p:nvSpPr>
          <p:cNvPr id="39" name="Title 2">
            <a:extLst>
              <a:ext uri="{FF2B5EF4-FFF2-40B4-BE49-F238E27FC236}">
                <a16:creationId xmlns:a16="http://schemas.microsoft.com/office/drawing/2014/main" id="{C7D16608-F25D-4E6C-A0D7-F099FC7E4CF0}"/>
              </a:ext>
            </a:extLst>
          </p:cNvPr>
          <p:cNvSpPr txBox="1">
            <a:spLocks/>
          </p:cNvSpPr>
          <p:nvPr/>
        </p:nvSpPr>
        <p:spPr>
          <a:xfrm>
            <a:off x="888683" y="1850627"/>
            <a:ext cx="5842800" cy="22248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74295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6500" kern="1200" cap="all" baseline="0">
                <a:solidFill>
                  <a:srgbClr val="F8F5E7"/>
                </a:solidFill>
                <a:latin typeface="Impact" panose="020B0806030902050204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0"/>
              </a:spcAft>
              <a:buFontTx/>
            </a:pPr>
            <a:r>
              <a:rPr lang="da-DK" sz="2000" cap="none" dirty="0">
                <a:solidFill>
                  <a:srgbClr val="9A6E3A"/>
                </a:solidFill>
              </a:rPr>
              <a:t>Customer </a:t>
            </a:r>
            <a:r>
              <a:rPr lang="da-DK" sz="2000" cap="none" dirty="0" err="1">
                <a:solidFill>
                  <a:srgbClr val="9A6E3A"/>
                </a:solidFill>
              </a:rPr>
              <a:t>involvement</a:t>
            </a: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r>
              <a:rPr lang="da-DK" sz="2000" cap="none" dirty="0" err="1">
                <a:solidFill>
                  <a:srgbClr val="9A6E3A"/>
                </a:solidFill>
              </a:rPr>
              <a:t>Incremental</a:t>
            </a:r>
            <a:r>
              <a:rPr lang="da-DK" sz="2000" cap="none" dirty="0">
                <a:solidFill>
                  <a:srgbClr val="9A6E3A"/>
                </a:solidFill>
              </a:rPr>
              <a:t> </a:t>
            </a:r>
            <a:r>
              <a:rPr lang="da-DK" sz="2000" cap="none" dirty="0" err="1">
                <a:solidFill>
                  <a:srgbClr val="9A6E3A"/>
                </a:solidFill>
              </a:rPr>
              <a:t>delivery</a:t>
            </a: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r>
              <a:rPr lang="da-DK" sz="2000" cap="none" dirty="0">
                <a:solidFill>
                  <a:srgbClr val="9A6E3A"/>
                </a:solidFill>
              </a:rPr>
              <a:t>People not </a:t>
            </a:r>
            <a:r>
              <a:rPr lang="da-DK" sz="2000" cap="none" dirty="0" err="1">
                <a:solidFill>
                  <a:srgbClr val="9A6E3A"/>
                </a:solidFill>
              </a:rPr>
              <a:t>process</a:t>
            </a: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r>
              <a:rPr lang="da-DK" sz="2000" cap="none" dirty="0" err="1">
                <a:solidFill>
                  <a:srgbClr val="9A6E3A"/>
                </a:solidFill>
              </a:rPr>
              <a:t>Embrace</a:t>
            </a:r>
            <a:r>
              <a:rPr lang="da-DK" sz="2000" cap="none" dirty="0">
                <a:solidFill>
                  <a:srgbClr val="9A6E3A"/>
                </a:solidFill>
              </a:rPr>
              <a:t> </a:t>
            </a:r>
            <a:r>
              <a:rPr lang="da-DK" sz="2000" cap="none" dirty="0" err="1">
                <a:solidFill>
                  <a:srgbClr val="9A6E3A"/>
                </a:solidFill>
              </a:rPr>
              <a:t>change</a:t>
            </a: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r>
              <a:rPr lang="da-DK" sz="2000" cap="none" dirty="0" err="1">
                <a:solidFill>
                  <a:srgbClr val="9A6E3A"/>
                </a:solidFill>
              </a:rPr>
              <a:t>Maintain</a:t>
            </a:r>
            <a:r>
              <a:rPr lang="da-DK" sz="2000" cap="none" dirty="0">
                <a:solidFill>
                  <a:srgbClr val="9A6E3A"/>
                </a:solidFill>
              </a:rPr>
              <a:t> </a:t>
            </a:r>
            <a:r>
              <a:rPr lang="da-DK" sz="2000" cap="none" dirty="0" err="1">
                <a:solidFill>
                  <a:srgbClr val="9A6E3A"/>
                </a:solidFill>
              </a:rPr>
              <a:t>simplicity</a:t>
            </a: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endParaRPr lang="da-DK" sz="2400" cap="none" dirty="0">
              <a:solidFill>
                <a:srgbClr val="9A6E3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923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C337DD06-69EB-4E9C-B126-5C1AB7882501}"/>
              </a:ext>
            </a:extLst>
          </p:cNvPr>
          <p:cNvSpPr/>
          <p:nvPr/>
        </p:nvSpPr>
        <p:spPr>
          <a:xfrm>
            <a:off x="-85280" y="1352550"/>
            <a:ext cx="8400410" cy="55054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C564D6-62DB-409C-8E92-A467AFBB22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" y="72038"/>
            <a:ext cx="5842800" cy="2224886"/>
          </a:xfrm>
        </p:spPr>
        <p:txBody>
          <a:bodyPr/>
          <a:lstStyle/>
          <a:p>
            <a:r>
              <a:rPr lang="da-DK" sz="4800" dirty="0">
                <a:solidFill>
                  <a:srgbClr val="9A6E3A"/>
                </a:solidFill>
              </a:rPr>
              <a:t>The </a:t>
            </a:r>
            <a:r>
              <a:rPr lang="da-DK" sz="4800" dirty="0" err="1">
                <a:solidFill>
                  <a:srgbClr val="9A6E3A"/>
                </a:solidFill>
              </a:rPr>
              <a:t>development</a:t>
            </a:r>
            <a:r>
              <a:rPr lang="da-DK" sz="4800" dirty="0">
                <a:solidFill>
                  <a:srgbClr val="9A6E3A"/>
                </a:solidFill>
              </a:rPr>
              <a:t> </a:t>
            </a:r>
            <a:r>
              <a:rPr lang="da-DK" sz="4800" dirty="0" err="1">
                <a:solidFill>
                  <a:srgbClr val="9A6E3A"/>
                </a:solidFill>
              </a:rPr>
              <a:t>process</a:t>
            </a:r>
            <a:endParaRPr lang="da-DK" sz="4800" dirty="0">
              <a:solidFill>
                <a:srgbClr val="9A6E3A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52E7D7-6DCB-46F8-9F96-C8508968E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26890-A6E3-4403-8B5F-B63FA3CC0E22}" type="datetime1">
              <a:rPr lang="en-US" smtClean="0"/>
              <a:t>6/21/2021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EA2144-CF66-4274-96D6-E42289895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483F87-BC62-418C-8119-58509ABC71DD}"/>
              </a:ext>
            </a:extLst>
          </p:cNvPr>
          <p:cNvSpPr/>
          <p:nvPr/>
        </p:nvSpPr>
        <p:spPr>
          <a:xfrm>
            <a:off x="8775319" y="181859"/>
            <a:ext cx="1560352" cy="1417739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534B551-647C-4E41-B6A0-0C0F6EA0881B}"/>
              </a:ext>
            </a:extLst>
          </p:cNvPr>
          <p:cNvSpPr/>
          <p:nvPr/>
        </p:nvSpPr>
        <p:spPr>
          <a:xfrm>
            <a:off x="8641969" y="5617794"/>
            <a:ext cx="1560352" cy="1417739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5C67EDB-2786-4AB8-B303-966035B2C1B0}"/>
              </a:ext>
            </a:extLst>
          </p:cNvPr>
          <p:cNvGrpSpPr/>
          <p:nvPr/>
        </p:nvGrpSpPr>
        <p:grpSpPr>
          <a:xfrm>
            <a:off x="4533900" y="1983389"/>
            <a:ext cx="2711258" cy="2293336"/>
            <a:chOff x="7146852" y="4943996"/>
            <a:chExt cx="412366" cy="414722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8EDCAF3-CBB8-45DB-8A08-C9FF33B8F6B6}"/>
                </a:ext>
              </a:extLst>
            </p:cNvPr>
            <p:cNvSpPr/>
            <p:nvPr/>
          </p:nvSpPr>
          <p:spPr>
            <a:xfrm>
              <a:off x="7338838" y="4960129"/>
              <a:ext cx="203510" cy="258513"/>
            </a:xfrm>
            <a:custGeom>
              <a:avLst/>
              <a:gdLst>
                <a:gd name="connsiteX0" fmla="*/ 151990 w 203510"/>
                <a:gd name="connsiteY0" fmla="*/ 260895 h 258513"/>
                <a:gd name="connsiteX1" fmla="*/ 125039 w 203510"/>
                <a:gd name="connsiteY1" fmla="*/ 213043 h 258513"/>
                <a:gd name="connsiteX2" fmla="*/ 125039 w 203510"/>
                <a:gd name="connsiteY2" fmla="*/ 193792 h 258513"/>
                <a:gd name="connsiteX3" fmla="*/ 2382 w 203510"/>
                <a:gd name="connsiteY3" fmla="*/ 80486 h 258513"/>
                <a:gd name="connsiteX4" fmla="*/ 2933 w 203510"/>
                <a:gd name="connsiteY4" fmla="*/ 2382 h 258513"/>
                <a:gd name="connsiteX5" fmla="*/ 203142 w 203510"/>
                <a:gd name="connsiteY5" fmla="*/ 187192 h 258513"/>
                <a:gd name="connsiteX6" fmla="*/ 201493 w 203510"/>
                <a:gd name="connsiteY6" fmla="*/ 235044 h 258513"/>
                <a:gd name="connsiteX7" fmla="*/ 151990 w 203510"/>
                <a:gd name="connsiteY7" fmla="*/ 260895 h 258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510" h="258513">
                  <a:moveTo>
                    <a:pt x="151990" y="260895"/>
                  </a:moveTo>
                  <a:lnTo>
                    <a:pt x="125039" y="213043"/>
                  </a:lnTo>
                  <a:cubicBezTo>
                    <a:pt x="125039" y="213043"/>
                    <a:pt x="125588" y="200392"/>
                    <a:pt x="125039" y="193792"/>
                  </a:cubicBezTo>
                  <a:cubicBezTo>
                    <a:pt x="119538" y="129439"/>
                    <a:pt x="66736" y="80486"/>
                    <a:pt x="2382" y="80486"/>
                  </a:cubicBezTo>
                  <a:lnTo>
                    <a:pt x="2933" y="2382"/>
                  </a:lnTo>
                  <a:cubicBezTo>
                    <a:pt x="107988" y="2932"/>
                    <a:pt x="194342" y="82686"/>
                    <a:pt x="203142" y="187192"/>
                  </a:cubicBezTo>
                  <a:cubicBezTo>
                    <a:pt x="204793" y="203142"/>
                    <a:pt x="201493" y="235044"/>
                    <a:pt x="201493" y="235044"/>
                  </a:cubicBezTo>
                  <a:lnTo>
                    <a:pt x="151990" y="260895"/>
                  </a:lnTo>
                  <a:close/>
                </a:path>
              </a:pathLst>
            </a:custGeom>
            <a:solidFill>
              <a:schemeClr val="accent2"/>
            </a:solidFill>
            <a:ln w="5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5585480-C390-449E-A105-D5385C96B8E2}"/>
                </a:ext>
              </a:extLst>
            </p:cNvPr>
            <p:cNvGrpSpPr/>
            <p:nvPr/>
          </p:nvGrpSpPr>
          <p:grpSpPr>
            <a:xfrm>
              <a:off x="7146852" y="4943996"/>
              <a:ext cx="412366" cy="414722"/>
              <a:chOff x="7146852" y="4943996"/>
              <a:chExt cx="412366" cy="414722"/>
            </a:xfrm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36050A46-08C2-4E17-A2DF-13280225AFAA}"/>
                  </a:ext>
                </a:extLst>
              </p:cNvPr>
              <p:cNvSpPr/>
              <p:nvPr/>
            </p:nvSpPr>
            <p:spPr>
              <a:xfrm>
                <a:off x="7350207" y="4943996"/>
                <a:ext cx="209011" cy="264013"/>
              </a:xfrm>
              <a:custGeom>
                <a:avLst/>
                <a:gdLst>
                  <a:gd name="connsiteX0" fmla="*/ 154372 w 209010"/>
                  <a:gd name="connsiteY0" fmla="*/ 263277 h 264013"/>
                  <a:gd name="connsiteX1" fmla="*/ 127421 w 209010"/>
                  <a:gd name="connsiteY1" fmla="*/ 215425 h 264013"/>
                  <a:gd name="connsiteX2" fmla="*/ 127421 w 209010"/>
                  <a:gd name="connsiteY2" fmla="*/ 196174 h 264013"/>
                  <a:gd name="connsiteX3" fmla="*/ 4764 w 209010"/>
                  <a:gd name="connsiteY3" fmla="*/ 82868 h 264013"/>
                  <a:gd name="connsiteX4" fmla="*/ 5315 w 209010"/>
                  <a:gd name="connsiteY4" fmla="*/ 4764 h 264013"/>
                  <a:gd name="connsiteX5" fmla="*/ 205524 w 209010"/>
                  <a:gd name="connsiteY5" fmla="*/ 189574 h 264013"/>
                  <a:gd name="connsiteX6" fmla="*/ 203875 w 209010"/>
                  <a:gd name="connsiteY6" fmla="*/ 237426 h 264013"/>
                  <a:gd name="connsiteX7" fmla="*/ 154372 w 209010"/>
                  <a:gd name="connsiteY7" fmla="*/ 263277 h 264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9010" h="264013">
                    <a:moveTo>
                      <a:pt x="154372" y="263277"/>
                    </a:moveTo>
                    <a:lnTo>
                      <a:pt x="127421" y="215425"/>
                    </a:lnTo>
                    <a:cubicBezTo>
                      <a:pt x="127421" y="215425"/>
                      <a:pt x="127971" y="202774"/>
                      <a:pt x="127421" y="196174"/>
                    </a:cubicBezTo>
                    <a:cubicBezTo>
                      <a:pt x="121920" y="131821"/>
                      <a:pt x="69118" y="82868"/>
                      <a:pt x="4764" y="82868"/>
                    </a:cubicBezTo>
                    <a:lnTo>
                      <a:pt x="5315" y="4764"/>
                    </a:lnTo>
                    <a:cubicBezTo>
                      <a:pt x="110370" y="5314"/>
                      <a:pt x="196724" y="85068"/>
                      <a:pt x="205524" y="189574"/>
                    </a:cubicBezTo>
                    <a:cubicBezTo>
                      <a:pt x="207175" y="205524"/>
                      <a:pt x="203875" y="237426"/>
                      <a:pt x="203875" y="237426"/>
                    </a:cubicBezTo>
                    <a:lnTo>
                      <a:pt x="154372" y="263277"/>
                    </a:lnTo>
                    <a:close/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21BD530B-1412-4C32-92A4-4B04E1565766}"/>
                  </a:ext>
                </a:extLst>
              </p:cNvPr>
              <p:cNvSpPr/>
              <p:nvPr/>
            </p:nvSpPr>
            <p:spPr>
              <a:xfrm>
                <a:off x="7225351" y="5210210"/>
                <a:ext cx="308016" cy="148508"/>
              </a:xfrm>
              <a:custGeom>
                <a:avLst/>
                <a:gdLst>
                  <a:gd name="connsiteX0" fmla="*/ 9715 w 308015"/>
                  <a:gd name="connsiteY0" fmla="*/ 44366 h 148507"/>
                  <a:gd name="connsiteX1" fmla="*/ 60867 w 308015"/>
                  <a:gd name="connsiteY1" fmla="*/ 47116 h 148507"/>
                  <a:gd name="connsiteX2" fmla="*/ 77918 w 308015"/>
                  <a:gd name="connsiteY2" fmla="*/ 56467 h 148507"/>
                  <a:gd name="connsiteX3" fmla="*/ 236876 w 308015"/>
                  <a:gd name="connsiteY3" fmla="*/ 4764 h 148507"/>
                  <a:gd name="connsiteX4" fmla="*/ 305079 w 308015"/>
                  <a:gd name="connsiteY4" fmla="*/ 43266 h 148507"/>
                  <a:gd name="connsiteX5" fmla="*/ 46016 w 308015"/>
                  <a:gd name="connsiteY5" fmla="*/ 127971 h 148507"/>
                  <a:gd name="connsiteX6" fmla="*/ 4764 w 308015"/>
                  <a:gd name="connsiteY6" fmla="*/ 103219 h 148507"/>
                  <a:gd name="connsiteX7" fmla="*/ 9715 w 308015"/>
                  <a:gd name="connsiteY7" fmla="*/ 44366 h 148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015" h="148507">
                    <a:moveTo>
                      <a:pt x="9715" y="44366"/>
                    </a:moveTo>
                    <a:lnTo>
                      <a:pt x="60867" y="47116"/>
                    </a:lnTo>
                    <a:cubicBezTo>
                      <a:pt x="60867" y="47116"/>
                      <a:pt x="71867" y="53717"/>
                      <a:pt x="77918" y="56467"/>
                    </a:cubicBezTo>
                    <a:cubicBezTo>
                      <a:pt x="136771" y="82868"/>
                      <a:pt x="204975" y="60867"/>
                      <a:pt x="236876" y="4764"/>
                    </a:cubicBezTo>
                    <a:lnTo>
                      <a:pt x="305079" y="43266"/>
                    </a:lnTo>
                    <a:cubicBezTo>
                      <a:pt x="253377" y="134571"/>
                      <a:pt x="141721" y="171423"/>
                      <a:pt x="46016" y="127971"/>
                    </a:cubicBezTo>
                    <a:cubicBezTo>
                      <a:pt x="31166" y="121370"/>
                      <a:pt x="4764" y="103219"/>
                      <a:pt x="4764" y="103219"/>
                    </a:cubicBezTo>
                    <a:lnTo>
                      <a:pt x="9715" y="44366"/>
                    </a:lnTo>
                    <a:close/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20A4A30E-AA67-4C6A-ACE4-4A9508A34AA2}"/>
                  </a:ext>
                </a:extLst>
              </p:cNvPr>
              <p:cNvSpPr/>
              <p:nvPr/>
            </p:nvSpPr>
            <p:spPr>
              <a:xfrm>
                <a:off x="7146852" y="4958847"/>
                <a:ext cx="176009" cy="297015"/>
              </a:xfrm>
              <a:custGeom>
                <a:avLst/>
                <a:gdLst>
                  <a:gd name="connsiteX0" fmla="*/ 171268 w 176008"/>
                  <a:gd name="connsiteY0" fmla="*/ 36666 h 297015"/>
                  <a:gd name="connsiteX1" fmla="*/ 150367 w 176008"/>
                  <a:gd name="connsiteY1" fmla="*/ 81218 h 297015"/>
                  <a:gd name="connsiteX2" fmla="*/ 133866 w 176008"/>
                  <a:gd name="connsiteY2" fmla="*/ 91669 h 297015"/>
                  <a:gd name="connsiteX3" fmla="*/ 100864 w 176008"/>
                  <a:gd name="connsiteY3" fmla="*/ 255577 h 297015"/>
                  <a:gd name="connsiteX4" fmla="*/ 33761 w 176008"/>
                  <a:gd name="connsiteY4" fmla="*/ 295729 h 297015"/>
                  <a:gd name="connsiteX5" fmla="*/ 87664 w 176008"/>
                  <a:gd name="connsiteY5" fmla="*/ 28415 h 297015"/>
                  <a:gd name="connsiteX6" fmla="*/ 129466 w 176008"/>
                  <a:gd name="connsiteY6" fmla="*/ 4764 h 297015"/>
                  <a:gd name="connsiteX7" fmla="*/ 171268 w 176008"/>
                  <a:gd name="connsiteY7" fmla="*/ 36666 h 297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6008" h="297015">
                    <a:moveTo>
                      <a:pt x="171268" y="36666"/>
                    </a:moveTo>
                    <a:lnTo>
                      <a:pt x="150367" y="81218"/>
                    </a:lnTo>
                    <a:cubicBezTo>
                      <a:pt x="150367" y="81218"/>
                      <a:pt x="139366" y="87818"/>
                      <a:pt x="133866" y="91669"/>
                    </a:cubicBezTo>
                    <a:cubicBezTo>
                      <a:pt x="81613" y="129621"/>
                      <a:pt x="67312" y="200024"/>
                      <a:pt x="100864" y="255577"/>
                    </a:cubicBezTo>
                    <a:lnTo>
                      <a:pt x="33761" y="295729"/>
                    </a:lnTo>
                    <a:cubicBezTo>
                      <a:pt x="-20142" y="205524"/>
                      <a:pt x="2959" y="90569"/>
                      <a:pt x="87664" y="28415"/>
                    </a:cubicBezTo>
                    <a:cubicBezTo>
                      <a:pt x="100864" y="19065"/>
                      <a:pt x="129466" y="4764"/>
                      <a:pt x="129466" y="4764"/>
                    </a:cubicBezTo>
                    <a:lnTo>
                      <a:pt x="171268" y="36666"/>
                    </a:lnTo>
                    <a:close/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A47986E-E8DA-4DD8-8DFA-90A94ECD6A81}"/>
              </a:ext>
            </a:extLst>
          </p:cNvPr>
          <p:cNvSpPr txBox="1"/>
          <p:nvPr/>
        </p:nvSpPr>
        <p:spPr>
          <a:xfrm>
            <a:off x="4533900" y="4793889"/>
            <a:ext cx="3419475" cy="1218795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8800" dirty="0">
                <a:solidFill>
                  <a:srgbClr val="9A6E3A"/>
                </a:solidFill>
                <a:latin typeface="Impact" panose="020B0806030902050204" pitchFamily="34" charset="0"/>
              </a:rPr>
              <a:t>Done ;) </a:t>
            </a:r>
            <a:endParaRPr lang="da-DK" sz="1100" dirty="0">
              <a:solidFill>
                <a:srgbClr val="9A6E3A"/>
              </a:solidFill>
              <a:latin typeface="Impact" panose="020B080603090205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F214472-B193-426E-AF7F-7DA309CF671D}"/>
              </a:ext>
            </a:extLst>
          </p:cNvPr>
          <p:cNvGrpSpPr/>
          <p:nvPr/>
        </p:nvGrpSpPr>
        <p:grpSpPr>
          <a:xfrm>
            <a:off x="5281662" y="2610187"/>
            <a:ext cx="1157238" cy="978495"/>
            <a:chOff x="4348162" y="2933700"/>
            <a:chExt cx="1201579" cy="980503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F9B7A38-C67B-45AD-80CE-92CF44134269}"/>
                </a:ext>
              </a:extLst>
            </p:cNvPr>
            <p:cNvSpPr/>
            <p:nvPr/>
          </p:nvSpPr>
          <p:spPr>
            <a:xfrm>
              <a:off x="4348162" y="3227642"/>
              <a:ext cx="238125" cy="371475"/>
            </a:xfrm>
            <a:custGeom>
              <a:avLst/>
              <a:gdLst>
                <a:gd name="connsiteX0" fmla="*/ 140589 w 238125"/>
                <a:gd name="connsiteY0" fmla="*/ 333661 h 371475"/>
                <a:gd name="connsiteX1" fmla="*/ 139922 w 238125"/>
                <a:gd name="connsiteY1" fmla="*/ 330898 h 371475"/>
                <a:gd name="connsiteX2" fmla="*/ 139922 w 238125"/>
                <a:gd name="connsiteY2" fmla="*/ 327469 h 371475"/>
                <a:gd name="connsiteX3" fmla="*/ 139256 w 238125"/>
                <a:gd name="connsiteY3" fmla="*/ 321278 h 371475"/>
                <a:gd name="connsiteX4" fmla="*/ 137922 w 238125"/>
                <a:gd name="connsiteY4" fmla="*/ 317849 h 371475"/>
                <a:gd name="connsiteX5" fmla="*/ 140018 w 238125"/>
                <a:gd name="connsiteY5" fmla="*/ 310324 h 371475"/>
                <a:gd name="connsiteX6" fmla="*/ 140018 w 238125"/>
                <a:gd name="connsiteY6" fmla="*/ 307562 h 371475"/>
                <a:gd name="connsiteX7" fmla="*/ 139351 w 238125"/>
                <a:gd name="connsiteY7" fmla="*/ 304133 h 371475"/>
                <a:gd name="connsiteX8" fmla="*/ 139351 w 238125"/>
                <a:gd name="connsiteY8" fmla="*/ 300704 h 371475"/>
                <a:gd name="connsiteX9" fmla="*/ 138017 w 238125"/>
                <a:gd name="connsiteY9" fmla="*/ 295180 h 371475"/>
                <a:gd name="connsiteX10" fmla="*/ 140780 w 238125"/>
                <a:gd name="connsiteY10" fmla="*/ 240983 h 371475"/>
                <a:gd name="connsiteX11" fmla="*/ 140780 w 238125"/>
                <a:gd name="connsiteY11" fmla="*/ 239649 h 371475"/>
                <a:gd name="connsiteX12" fmla="*/ 144209 w 238125"/>
                <a:gd name="connsiteY12" fmla="*/ 238982 h 371475"/>
                <a:gd name="connsiteX13" fmla="*/ 144209 w 238125"/>
                <a:gd name="connsiteY13" fmla="*/ 236220 h 371475"/>
                <a:gd name="connsiteX14" fmla="*/ 142113 w 238125"/>
                <a:gd name="connsiteY14" fmla="*/ 234124 h 371475"/>
                <a:gd name="connsiteX15" fmla="*/ 141446 w 238125"/>
                <a:gd name="connsiteY15" fmla="*/ 231362 h 371475"/>
                <a:gd name="connsiteX16" fmla="*/ 141446 w 238125"/>
                <a:gd name="connsiteY16" fmla="*/ 230029 h 371475"/>
                <a:gd name="connsiteX17" fmla="*/ 142113 w 238125"/>
                <a:gd name="connsiteY17" fmla="*/ 227933 h 371475"/>
                <a:gd name="connsiteX18" fmla="*/ 144209 w 238125"/>
                <a:gd name="connsiteY18" fmla="*/ 224504 h 371475"/>
                <a:gd name="connsiteX19" fmla="*/ 144209 w 238125"/>
                <a:gd name="connsiteY19" fmla="*/ 223838 h 371475"/>
                <a:gd name="connsiteX20" fmla="*/ 142113 w 238125"/>
                <a:gd name="connsiteY20" fmla="*/ 223171 h 371475"/>
                <a:gd name="connsiteX21" fmla="*/ 142780 w 238125"/>
                <a:gd name="connsiteY21" fmla="*/ 223838 h 371475"/>
                <a:gd name="connsiteX22" fmla="*/ 141446 w 238125"/>
                <a:gd name="connsiteY22" fmla="*/ 224504 h 371475"/>
                <a:gd name="connsiteX23" fmla="*/ 139351 w 238125"/>
                <a:gd name="connsiteY23" fmla="*/ 225838 h 371475"/>
                <a:gd name="connsiteX24" fmla="*/ 138684 w 238125"/>
                <a:gd name="connsiteY24" fmla="*/ 225171 h 371475"/>
                <a:gd name="connsiteX25" fmla="*/ 137160 w 238125"/>
                <a:gd name="connsiteY25" fmla="*/ 225171 h 371475"/>
                <a:gd name="connsiteX26" fmla="*/ 131636 w 238125"/>
                <a:gd name="connsiteY26" fmla="*/ 228600 h 371475"/>
                <a:gd name="connsiteX27" fmla="*/ 127540 w 238125"/>
                <a:gd name="connsiteY27" fmla="*/ 233363 h 371475"/>
                <a:gd name="connsiteX28" fmla="*/ 124778 w 238125"/>
                <a:gd name="connsiteY28" fmla="*/ 236792 h 371475"/>
                <a:gd name="connsiteX29" fmla="*/ 122682 w 238125"/>
                <a:gd name="connsiteY29" fmla="*/ 238887 h 371475"/>
                <a:gd name="connsiteX30" fmla="*/ 122682 w 238125"/>
                <a:gd name="connsiteY30" fmla="*/ 239554 h 371475"/>
                <a:gd name="connsiteX31" fmla="*/ 118586 w 238125"/>
                <a:gd name="connsiteY31" fmla="*/ 245745 h 371475"/>
                <a:gd name="connsiteX32" fmla="*/ 118586 w 238125"/>
                <a:gd name="connsiteY32" fmla="*/ 246412 h 371475"/>
                <a:gd name="connsiteX33" fmla="*/ 114491 w 238125"/>
                <a:gd name="connsiteY33" fmla="*/ 253937 h 371475"/>
                <a:gd name="connsiteX34" fmla="*/ 113157 w 238125"/>
                <a:gd name="connsiteY34" fmla="*/ 255270 h 371475"/>
                <a:gd name="connsiteX35" fmla="*/ 108395 w 238125"/>
                <a:gd name="connsiteY35" fmla="*/ 258032 h 371475"/>
                <a:gd name="connsiteX36" fmla="*/ 106299 w 238125"/>
                <a:gd name="connsiteY36" fmla="*/ 261461 h 371475"/>
                <a:gd name="connsiteX37" fmla="*/ 92583 w 238125"/>
                <a:gd name="connsiteY37" fmla="*/ 272415 h 371475"/>
                <a:gd name="connsiteX38" fmla="*/ 85725 w 238125"/>
                <a:gd name="connsiteY38" fmla="*/ 274606 h 371475"/>
                <a:gd name="connsiteX39" fmla="*/ 83630 w 238125"/>
                <a:gd name="connsiteY39" fmla="*/ 275939 h 371475"/>
                <a:gd name="connsiteX40" fmla="*/ 72009 w 238125"/>
                <a:gd name="connsiteY40" fmla="*/ 278035 h 371475"/>
                <a:gd name="connsiteX41" fmla="*/ 67247 w 238125"/>
                <a:gd name="connsiteY41" fmla="*/ 278035 h 371475"/>
                <a:gd name="connsiteX42" fmla="*/ 55626 w 238125"/>
                <a:gd name="connsiteY42" fmla="*/ 279368 h 371475"/>
                <a:gd name="connsiteX43" fmla="*/ 51435 w 238125"/>
                <a:gd name="connsiteY43" fmla="*/ 279368 h 371475"/>
                <a:gd name="connsiteX44" fmla="*/ 48006 w 238125"/>
                <a:gd name="connsiteY44" fmla="*/ 278035 h 371475"/>
                <a:gd name="connsiteX45" fmla="*/ 45244 w 238125"/>
                <a:gd name="connsiteY45" fmla="*/ 276701 h 371475"/>
                <a:gd name="connsiteX46" fmla="*/ 42482 w 238125"/>
                <a:gd name="connsiteY46" fmla="*/ 276701 h 371475"/>
                <a:gd name="connsiteX47" fmla="*/ 38386 w 238125"/>
                <a:gd name="connsiteY47" fmla="*/ 276035 h 371475"/>
                <a:gd name="connsiteX48" fmla="*/ 34290 w 238125"/>
                <a:gd name="connsiteY48" fmla="*/ 275368 h 371475"/>
                <a:gd name="connsiteX49" fmla="*/ 27432 w 238125"/>
                <a:gd name="connsiteY49" fmla="*/ 275368 h 371475"/>
                <a:gd name="connsiteX50" fmla="*/ 25337 w 238125"/>
                <a:gd name="connsiteY50" fmla="*/ 273272 h 371475"/>
                <a:gd name="connsiteX51" fmla="*/ 17145 w 238125"/>
                <a:gd name="connsiteY51" fmla="*/ 265081 h 371475"/>
                <a:gd name="connsiteX52" fmla="*/ 15050 w 238125"/>
                <a:gd name="connsiteY52" fmla="*/ 262985 h 371475"/>
                <a:gd name="connsiteX53" fmla="*/ 11621 w 238125"/>
                <a:gd name="connsiteY53" fmla="*/ 256127 h 371475"/>
                <a:gd name="connsiteX54" fmla="*/ 6858 w 238125"/>
                <a:gd name="connsiteY54" fmla="*/ 249936 h 371475"/>
                <a:gd name="connsiteX55" fmla="*/ 4763 w 238125"/>
                <a:gd name="connsiteY55" fmla="*/ 246507 h 371475"/>
                <a:gd name="connsiteX56" fmla="*/ 5429 w 238125"/>
                <a:gd name="connsiteY56" fmla="*/ 245173 h 371475"/>
                <a:gd name="connsiteX57" fmla="*/ 7525 w 238125"/>
                <a:gd name="connsiteY57" fmla="*/ 244507 h 371475"/>
                <a:gd name="connsiteX58" fmla="*/ 6191 w 238125"/>
                <a:gd name="connsiteY58" fmla="*/ 242411 h 371475"/>
                <a:gd name="connsiteX59" fmla="*/ 5525 w 238125"/>
                <a:gd name="connsiteY59" fmla="*/ 241745 h 371475"/>
                <a:gd name="connsiteX60" fmla="*/ 4763 w 238125"/>
                <a:gd name="connsiteY60" fmla="*/ 241745 h 371475"/>
                <a:gd name="connsiteX61" fmla="*/ 4763 w 238125"/>
                <a:gd name="connsiteY61" fmla="*/ 242411 h 371475"/>
                <a:gd name="connsiteX62" fmla="*/ 2762 w 238125"/>
                <a:gd name="connsiteY62" fmla="*/ 242411 h 371475"/>
                <a:gd name="connsiteX63" fmla="*/ 1429 w 238125"/>
                <a:gd name="connsiteY63" fmla="*/ 235553 h 371475"/>
                <a:gd name="connsiteX64" fmla="*/ 0 w 238125"/>
                <a:gd name="connsiteY64" fmla="*/ 232791 h 371475"/>
                <a:gd name="connsiteX65" fmla="*/ 667 w 238125"/>
                <a:gd name="connsiteY65" fmla="*/ 230696 h 371475"/>
                <a:gd name="connsiteX66" fmla="*/ 1334 w 238125"/>
                <a:gd name="connsiteY66" fmla="*/ 230696 h 371475"/>
                <a:gd name="connsiteX67" fmla="*/ 2000 w 238125"/>
                <a:gd name="connsiteY67" fmla="*/ 231362 h 371475"/>
                <a:gd name="connsiteX68" fmla="*/ 2000 w 238125"/>
                <a:gd name="connsiteY68" fmla="*/ 232029 h 371475"/>
                <a:gd name="connsiteX69" fmla="*/ 3334 w 238125"/>
                <a:gd name="connsiteY69" fmla="*/ 236125 h 371475"/>
                <a:gd name="connsiteX70" fmla="*/ 4000 w 238125"/>
                <a:gd name="connsiteY70" fmla="*/ 238220 h 371475"/>
                <a:gd name="connsiteX71" fmla="*/ 5334 w 238125"/>
                <a:gd name="connsiteY71" fmla="*/ 239554 h 371475"/>
                <a:gd name="connsiteX72" fmla="*/ 6001 w 238125"/>
                <a:gd name="connsiteY72" fmla="*/ 238887 h 371475"/>
                <a:gd name="connsiteX73" fmla="*/ 6001 w 238125"/>
                <a:gd name="connsiteY73" fmla="*/ 234124 h 371475"/>
                <a:gd name="connsiteX74" fmla="*/ 7334 w 238125"/>
                <a:gd name="connsiteY74" fmla="*/ 231362 h 371475"/>
                <a:gd name="connsiteX75" fmla="*/ 6668 w 238125"/>
                <a:gd name="connsiteY75" fmla="*/ 229267 h 371475"/>
                <a:gd name="connsiteX76" fmla="*/ 5334 w 238125"/>
                <a:gd name="connsiteY76" fmla="*/ 221075 h 371475"/>
                <a:gd name="connsiteX77" fmla="*/ 5334 w 238125"/>
                <a:gd name="connsiteY77" fmla="*/ 210884 h 371475"/>
                <a:gd name="connsiteX78" fmla="*/ 6001 w 238125"/>
                <a:gd name="connsiteY78" fmla="*/ 208788 h 371475"/>
                <a:gd name="connsiteX79" fmla="*/ 6001 w 238125"/>
                <a:gd name="connsiteY79" fmla="*/ 204025 h 371475"/>
                <a:gd name="connsiteX80" fmla="*/ 11525 w 238125"/>
                <a:gd name="connsiteY80" fmla="*/ 200596 h 371475"/>
                <a:gd name="connsiteX81" fmla="*/ 8763 w 238125"/>
                <a:gd name="connsiteY81" fmla="*/ 197168 h 371475"/>
                <a:gd name="connsiteX82" fmla="*/ 7429 w 238125"/>
                <a:gd name="connsiteY82" fmla="*/ 196501 h 371475"/>
                <a:gd name="connsiteX83" fmla="*/ 6858 w 238125"/>
                <a:gd name="connsiteY83" fmla="*/ 196501 h 371475"/>
                <a:gd name="connsiteX84" fmla="*/ 8192 w 238125"/>
                <a:gd name="connsiteY84" fmla="*/ 195167 h 371475"/>
                <a:gd name="connsiteX85" fmla="*/ 12287 w 238125"/>
                <a:gd name="connsiteY85" fmla="*/ 192405 h 371475"/>
                <a:gd name="connsiteX86" fmla="*/ 12287 w 238125"/>
                <a:gd name="connsiteY86" fmla="*/ 188309 h 371475"/>
                <a:gd name="connsiteX87" fmla="*/ 11621 w 238125"/>
                <a:gd name="connsiteY87" fmla="*/ 187643 h 371475"/>
                <a:gd name="connsiteX88" fmla="*/ 12954 w 238125"/>
                <a:gd name="connsiteY88" fmla="*/ 181451 h 371475"/>
                <a:gd name="connsiteX89" fmla="*/ 13621 w 238125"/>
                <a:gd name="connsiteY89" fmla="*/ 175927 h 371475"/>
                <a:gd name="connsiteX90" fmla="*/ 14288 w 238125"/>
                <a:gd name="connsiteY90" fmla="*/ 171831 h 371475"/>
                <a:gd name="connsiteX91" fmla="*/ 16383 w 238125"/>
                <a:gd name="connsiteY91" fmla="*/ 167069 h 371475"/>
                <a:gd name="connsiteX92" fmla="*/ 19145 w 238125"/>
                <a:gd name="connsiteY92" fmla="*/ 164306 h 371475"/>
                <a:gd name="connsiteX93" fmla="*/ 19145 w 238125"/>
                <a:gd name="connsiteY93" fmla="*/ 163640 h 371475"/>
                <a:gd name="connsiteX94" fmla="*/ 19812 w 238125"/>
                <a:gd name="connsiteY94" fmla="*/ 162306 h 371475"/>
                <a:gd name="connsiteX95" fmla="*/ 19812 w 238125"/>
                <a:gd name="connsiteY95" fmla="*/ 161639 h 371475"/>
                <a:gd name="connsiteX96" fmla="*/ 22574 w 238125"/>
                <a:gd name="connsiteY96" fmla="*/ 157544 h 371475"/>
                <a:gd name="connsiteX97" fmla="*/ 23241 w 238125"/>
                <a:gd name="connsiteY97" fmla="*/ 153448 h 371475"/>
                <a:gd name="connsiteX98" fmla="*/ 26003 w 238125"/>
                <a:gd name="connsiteY98" fmla="*/ 147923 h 371475"/>
                <a:gd name="connsiteX99" fmla="*/ 27337 w 238125"/>
                <a:gd name="connsiteY99" fmla="*/ 143161 h 371475"/>
                <a:gd name="connsiteX100" fmla="*/ 28670 w 238125"/>
                <a:gd name="connsiteY100" fmla="*/ 141065 h 371475"/>
                <a:gd name="connsiteX101" fmla="*/ 30766 w 238125"/>
                <a:gd name="connsiteY101" fmla="*/ 136970 h 371475"/>
                <a:gd name="connsiteX102" fmla="*/ 33623 w 238125"/>
                <a:gd name="connsiteY102" fmla="*/ 134684 h 371475"/>
                <a:gd name="connsiteX103" fmla="*/ 33623 w 238125"/>
                <a:gd name="connsiteY103" fmla="*/ 131921 h 371475"/>
                <a:gd name="connsiteX104" fmla="*/ 39148 w 238125"/>
                <a:gd name="connsiteY104" fmla="*/ 122968 h 371475"/>
                <a:gd name="connsiteX105" fmla="*/ 41243 w 238125"/>
                <a:gd name="connsiteY105" fmla="*/ 120205 h 371475"/>
                <a:gd name="connsiteX106" fmla="*/ 44672 w 238125"/>
                <a:gd name="connsiteY106" fmla="*/ 116110 h 371475"/>
                <a:gd name="connsiteX107" fmla="*/ 45339 w 238125"/>
                <a:gd name="connsiteY107" fmla="*/ 114014 h 371475"/>
                <a:gd name="connsiteX108" fmla="*/ 49435 w 238125"/>
                <a:gd name="connsiteY108" fmla="*/ 107823 h 371475"/>
                <a:gd name="connsiteX109" fmla="*/ 52197 w 238125"/>
                <a:gd name="connsiteY109" fmla="*/ 104394 h 371475"/>
                <a:gd name="connsiteX110" fmla="*/ 54293 w 238125"/>
                <a:gd name="connsiteY110" fmla="*/ 103061 h 371475"/>
                <a:gd name="connsiteX111" fmla="*/ 57722 w 238125"/>
                <a:gd name="connsiteY111" fmla="*/ 96869 h 371475"/>
                <a:gd name="connsiteX112" fmla="*/ 58388 w 238125"/>
                <a:gd name="connsiteY112" fmla="*/ 96202 h 371475"/>
                <a:gd name="connsiteX113" fmla="*/ 59055 w 238125"/>
                <a:gd name="connsiteY113" fmla="*/ 96202 h 371475"/>
                <a:gd name="connsiteX114" fmla="*/ 63151 w 238125"/>
                <a:gd name="connsiteY114" fmla="*/ 88678 h 371475"/>
                <a:gd name="connsiteX115" fmla="*/ 67247 w 238125"/>
                <a:gd name="connsiteY115" fmla="*/ 83153 h 371475"/>
                <a:gd name="connsiteX116" fmla="*/ 72009 w 238125"/>
                <a:gd name="connsiteY116" fmla="*/ 76295 h 371475"/>
                <a:gd name="connsiteX117" fmla="*/ 80963 w 238125"/>
                <a:gd name="connsiteY117" fmla="*/ 69437 h 371475"/>
                <a:gd name="connsiteX118" fmla="*/ 85058 w 238125"/>
                <a:gd name="connsiteY118" fmla="*/ 64675 h 371475"/>
                <a:gd name="connsiteX119" fmla="*/ 89154 w 238125"/>
                <a:gd name="connsiteY119" fmla="*/ 61913 h 371475"/>
                <a:gd name="connsiteX120" fmla="*/ 92583 w 238125"/>
                <a:gd name="connsiteY120" fmla="*/ 59817 h 371475"/>
                <a:gd name="connsiteX121" fmla="*/ 96679 w 238125"/>
                <a:gd name="connsiteY121" fmla="*/ 55054 h 371475"/>
                <a:gd name="connsiteX122" fmla="*/ 97346 w 238125"/>
                <a:gd name="connsiteY122" fmla="*/ 56388 h 371475"/>
                <a:gd name="connsiteX123" fmla="*/ 99441 w 238125"/>
                <a:gd name="connsiteY123" fmla="*/ 59817 h 371475"/>
                <a:gd name="connsiteX124" fmla="*/ 101537 w 238125"/>
                <a:gd name="connsiteY124" fmla="*/ 57055 h 371475"/>
                <a:gd name="connsiteX125" fmla="*/ 100203 w 238125"/>
                <a:gd name="connsiteY125" fmla="*/ 54293 h 371475"/>
                <a:gd name="connsiteX126" fmla="*/ 100203 w 238125"/>
                <a:gd name="connsiteY126" fmla="*/ 53626 h 371475"/>
                <a:gd name="connsiteX127" fmla="*/ 107728 w 238125"/>
                <a:gd name="connsiteY127" fmla="*/ 50197 h 371475"/>
                <a:gd name="connsiteX128" fmla="*/ 124873 w 238125"/>
                <a:gd name="connsiteY128" fmla="*/ 46768 h 371475"/>
                <a:gd name="connsiteX129" fmla="*/ 128969 w 238125"/>
                <a:gd name="connsiteY129" fmla="*/ 46101 h 371475"/>
                <a:gd name="connsiteX130" fmla="*/ 134493 w 238125"/>
                <a:gd name="connsiteY130" fmla="*/ 46768 h 371475"/>
                <a:gd name="connsiteX131" fmla="*/ 136589 w 238125"/>
                <a:gd name="connsiteY131" fmla="*/ 47434 h 371475"/>
                <a:gd name="connsiteX132" fmla="*/ 138684 w 238125"/>
                <a:gd name="connsiteY132" fmla="*/ 48101 h 371475"/>
                <a:gd name="connsiteX133" fmla="*/ 143447 w 238125"/>
                <a:gd name="connsiteY133" fmla="*/ 48768 h 371475"/>
                <a:gd name="connsiteX134" fmla="*/ 150305 w 238125"/>
                <a:gd name="connsiteY134" fmla="*/ 53530 h 371475"/>
                <a:gd name="connsiteX135" fmla="*/ 161925 w 238125"/>
                <a:gd name="connsiteY135" fmla="*/ 61722 h 371475"/>
                <a:gd name="connsiteX136" fmla="*/ 168116 w 238125"/>
                <a:gd name="connsiteY136" fmla="*/ 63818 h 371475"/>
                <a:gd name="connsiteX137" fmla="*/ 169450 w 238125"/>
                <a:gd name="connsiteY137" fmla="*/ 64484 h 371475"/>
                <a:gd name="connsiteX138" fmla="*/ 172212 w 238125"/>
                <a:gd name="connsiteY138" fmla="*/ 62389 h 371475"/>
                <a:gd name="connsiteX139" fmla="*/ 173546 w 238125"/>
                <a:gd name="connsiteY139" fmla="*/ 60293 h 371475"/>
                <a:gd name="connsiteX140" fmla="*/ 172879 w 238125"/>
                <a:gd name="connsiteY140" fmla="*/ 58960 h 371475"/>
                <a:gd name="connsiteX141" fmla="*/ 174974 w 238125"/>
                <a:gd name="connsiteY141" fmla="*/ 57626 h 371475"/>
                <a:gd name="connsiteX142" fmla="*/ 177070 w 238125"/>
                <a:gd name="connsiteY142" fmla="*/ 58960 h 371475"/>
                <a:gd name="connsiteX143" fmla="*/ 179165 w 238125"/>
                <a:gd name="connsiteY143" fmla="*/ 59626 h 371475"/>
                <a:gd name="connsiteX144" fmla="*/ 179832 w 238125"/>
                <a:gd name="connsiteY144" fmla="*/ 58960 h 371475"/>
                <a:gd name="connsiteX145" fmla="*/ 179832 w 238125"/>
                <a:gd name="connsiteY145" fmla="*/ 58293 h 371475"/>
                <a:gd name="connsiteX146" fmla="*/ 175069 w 238125"/>
                <a:gd name="connsiteY146" fmla="*/ 53530 h 371475"/>
                <a:gd name="connsiteX147" fmla="*/ 177165 w 238125"/>
                <a:gd name="connsiteY147" fmla="*/ 50768 h 371475"/>
                <a:gd name="connsiteX148" fmla="*/ 188786 w 238125"/>
                <a:gd name="connsiteY148" fmla="*/ 22003 h 371475"/>
                <a:gd name="connsiteX149" fmla="*/ 188786 w 238125"/>
                <a:gd name="connsiteY149" fmla="*/ 20669 h 371475"/>
                <a:gd name="connsiteX150" fmla="*/ 192881 w 238125"/>
                <a:gd name="connsiteY150" fmla="*/ 10382 h 371475"/>
                <a:gd name="connsiteX151" fmla="*/ 194215 w 238125"/>
                <a:gd name="connsiteY151" fmla="*/ 6953 h 371475"/>
                <a:gd name="connsiteX152" fmla="*/ 196310 w 238125"/>
                <a:gd name="connsiteY152" fmla="*/ 4858 h 371475"/>
                <a:gd name="connsiteX153" fmla="*/ 198406 w 238125"/>
                <a:gd name="connsiteY153" fmla="*/ 2762 h 371475"/>
                <a:gd name="connsiteX154" fmla="*/ 202502 w 238125"/>
                <a:gd name="connsiteY154" fmla="*/ 667 h 371475"/>
                <a:gd name="connsiteX155" fmla="*/ 204597 w 238125"/>
                <a:gd name="connsiteY155" fmla="*/ 667 h 371475"/>
                <a:gd name="connsiteX156" fmla="*/ 211455 w 238125"/>
                <a:gd name="connsiteY156" fmla="*/ 0 h 371475"/>
                <a:gd name="connsiteX157" fmla="*/ 215551 w 238125"/>
                <a:gd name="connsiteY157" fmla="*/ 2095 h 371475"/>
                <a:gd name="connsiteX158" fmla="*/ 216884 w 238125"/>
                <a:gd name="connsiteY158" fmla="*/ 2762 h 371475"/>
                <a:gd name="connsiteX159" fmla="*/ 225076 w 238125"/>
                <a:gd name="connsiteY159" fmla="*/ 8287 h 371475"/>
                <a:gd name="connsiteX160" fmla="*/ 231934 w 238125"/>
                <a:gd name="connsiteY160" fmla="*/ 11049 h 371475"/>
                <a:gd name="connsiteX161" fmla="*/ 237458 w 238125"/>
                <a:gd name="connsiteY161" fmla="*/ 16573 h 371475"/>
                <a:gd name="connsiteX162" fmla="*/ 240887 w 238125"/>
                <a:gd name="connsiteY162" fmla="*/ 17240 h 371475"/>
                <a:gd name="connsiteX163" fmla="*/ 242221 w 238125"/>
                <a:gd name="connsiteY163" fmla="*/ 21336 h 371475"/>
                <a:gd name="connsiteX164" fmla="*/ 242221 w 238125"/>
                <a:gd name="connsiteY164" fmla="*/ 23431 h 371475"/>
                <a:gd name="connsiteX165" fmla="*/ 225743 w 238125"/>
                <a:gd name="connsiteY165" fmla="*/ 50197 h 371475"/>
                <a:gd name="connsiteX166" fmla="*/ 225743 w 238125"/>
                <a:gd name="connsiteY166" fmla="*/ 52292 h 371475"/>
                <a:gd name="connsiteX167" fmla="*/ 225076 w 238125"/>
                <a:gd name="connsiteY167" fmla="*/ 52292 h 371475"/>
                <a:gd name="connsiteX168" fmla="*/ 223742 w 238125"/>
                <a:gd name="connsiteY168" fmla="*/ 53626 h 371475"/>
                <a:gd name="connsiteX169" fmla="*/ 223742 w 238125"/>
                <a:gd name="connsiteY169" fmla="*/ 52292 h 371475"/>
                <a:gd name="connsiteX170" fmla="*/ 222409 w 238125"/>
                <a:gd name="connsiteY170" fmla="*/ 51625 h 371475"/>
                <a:gd name="connsiteX171" fmla="*/ 219647 w 238125"/>
                <a:gd name="connsiteY171" fmla="*/ 52292 h 371475"/>
                <a:gd name="connsiteX172" fmla="*/ 219647 w 238125"/>
                <a:gd name="connsiteY172" fmla="*/ 53626 h 371475"/>
                <a:gd name="connsiteX173" fmla="*/ 224409 w 238125"/>
                <a:gd name="connsiteY173" fmla="*/ 53626 h 371475"/>
                <a:gd name="connsiteX174" fmla="*/ 224409 w 238125"/>
                <a:gd name="connsiteY174" fmla="*/ 55721 h 371475"/>
                <a:gd name="connsiteX175" fmla="*/ 222314 w 238125"/>
                <a:gd name="connsiteY175" fmla="*/ 57817 h 371475"/>
                <a:gd name="connsiteX176" fmla="*/ 222980 w 238125"/>
                <a:gd name="connsiteY176" fmla="*/ 59912 h 371475"/>
                <a:gd name="connsiteX177" fmla="*/ 224314 w 238125"/>
                <a:gd name="connsiteY177" fmla="*/ 61246 h 371475"/>
                <a:gd name="connsiteX178" fmla="*/ 223647 w 238125"/>
                <a:gd name="connsiteY178" fmla="*/ 61913 h 371475"/>
                <a:gd name="connsiteX179" fmla="*/ 224314 w 238125"/>
                <a:gd name="connsiteY179" fmla="*/ 64675 h 371475"/>
                <a:gd name="connsiteX180" fmla="*/ 223647 w 238125"/>
                <a:gd name="connsiteY180" fmla="*/ 66008 h 371475"/>
                <a:gd name="connsiteX181" fmla="*/ 222980 w 238125"/>
                <a:gd name="connsiteY181" fmla="*/ 67342 h 371475"/>
                <a:gd name="connsiteX182" fmla="*/ 219551 w 238125"/>
                <a:gd name="connsiteY182" fmla="*/ 73533 h 371475"/>
                <a:gd name="connsiteX183" fmla="*/ 218218 w 238125"/>
                <a:gd name="connsiteY183" fmla="*/ 79057 h 371475"/>
                <a:gd name="connsiteX184" fmla="*/ 218218 w 238125"/>
                <a:gd name="connsiteY184" fmla="*/ 81820 h 371475"/>
                <a:gd name="connsiteX185" fmla="*/ 214789 w 238125"/>
                <a:gd name="connsiteY185" fmla="*/ 90773 h 371475"/>
                <a:gd name="connsiteX186" fmla="*/ 214789 w 238125"/>
                <a:gd name="connsiteY186" fmla="*/ 98965 h 371475"/>
                <a:gd name="connsiteX187" fmla="*/ 212693 w 238125"/>
                <a:gd name="connsiteY187" fmla="*/ 105156 h 371475"/>
                <a:gd name="connsiteX188" fmla="*/ 211360 w 238125"/>
                <a:gd name="connsiteY188" fmla="*/ 106490 h 371475"/>
                <a:gd name="connsiteX189" fmla="*/ 212693 w 238125"/>
                <a:gd name="connsiteY189" fmla="*/ 109252 h 371475"/>
                <a:gd name="connsiteX190" fmla="*/ 212693 w 238125"/>
                <a:gd name="connsiteY190" fmla="*/ 109919 h 371475"/>
                <a:gd name="connsiteX191" fmla="*/ 210598 w 238125"/>
                <a:gd name="connsiteY191" fmla="*/ 116776 h 371475"/>
                <a:gd name="connsiteX192" fmla="*/ 207169 w 238125"/>
                <a:gd name="connsiteY192" fmla="*/ 124301 h 371475"/>
                <a:gd name="connsiteX193" fmla="*/ 207169 w 238125"/>
                <a:gd name="connsiteY193" fmla="*/ 127064 h 371475"/>
                <a:gd name="connsiteX194" fmla="*/ 205073 w 238125"/>
                <a:gd name="connsiteY194" fmla="*/ 127064 h 371475"/>
                <a:gd name="connsiteX195" fmla="*/ 205073 w 238125"/>
                <a:gd name="connsiteY195" fmla="*/ 127730 h 371475"/>
                <a:gd name="connsiteX196" fmla="*/ 205740 w 238125"/>
                <a:gd name="connsiteY196" fmla="*/ 130493 h 371475"/>
                <a:gd name="connsiteX197" fmla="*/ 205740 w 238125"/>
                <a:gd name="connsiteY197" fmla="*/ 131159 h 371475"/>
                <a:gd name="connsiteX198" fmla="*/ 201644 w 238125"/>
                <a:gd name="connsiteY198" fmla="*/ 133921 h 371475"/>
                <a:gd name="connsiteX199" fmla="*/ 200978 w 238125"/>
                <a:gd name="connsiteY199" fmla="*/ 134684 h 371475"/>
                <a:gd name="connsiteX200" fmla="*/ 200311 w 238125"/>
                <a:gd name="connsiteY200" fmla="*/ 135350 h 371475"/>
                <a:gd name="connsiteX201" fmla="*/ 201644 w 238125"/>
                <a:gd name="connsiteY201" fmla="*/ 137446 h 371475"/>
                <a:gd name="connsiteX202" fmla="*/ 202311 w 238125"/>
                <a:gd name="connsiteY202" fmla="*/ 137446 h 371475"/>
                <a:gd name="connsiteX203" fmla="*/ 203644 w 238125"/>
                <a:gd name="connsiteY203" fmla="*/ 138113 h 371475"/>
                <a:gd name="connsiteX204" fmla="*/ 203644 w 238125"/>
                <a:gd name="connsiteY204" fmla="*/ 140208 h 371475"/>
                <a:gd name="connsiteX205" fmla="*/ 202978 w 238125"/>
                <a:gd name="connsiteY205" fmla="*/ 142970 h 371475"/>
                <a:gd name="connsiteX206" fmla="*/ 200882 w 238125"/>
                <a:gd name="connsiteY206" fmla="*/ 151924 h 371475"/>
                <a:gd name="connsiteX207" fmla="*/ 200216 w 238125"/>
                <a:gd name="connsiteY207" fmla="*/ 154019 h 371475"/>
                <a:gd name="connsiteX208" fmla="*/ 196787 w 238125"/>
                <a:gd name="connsiteY208" fmla="*/ 154019 h 371475"/>
                <a:gd name="connsiteX209" fmla="*/ 194691 w 238125"/>
                <a:gd name="connsiteY209" fmla="*/ 154686 h 371475"/>
                <a:gd name="connsiteX210" fmla="*/ 193358 w 238125"/>
                <a:gd name="connsiteY210" fmla="*/ 154686 h 371475"/>
                <a:gd name="connsiteX211" fmla="*/ 192691 w 238125"/>
                <a:gd name="connsiteY211" fmla="*/ 155353 h 371475"/>
                <a:gd name="connsiteX212" fmla="*/ 190595 w 238125"/>
                <a:gd name="connsiteY212" fmla="*/ 157448 h 371475"/>
                <a:gd name="connsiteX213" fmla="*/ 187833 w 238125"/>
                <a:gd name="connsiteY213" fmla="*/ 158782 h 371475"/>
                <a:gd name="connsiteX214" fmla="*/ 186500 w 238125"/>
                <a:gd name="connsiteY214" fmla="*/ 159448 h 371475"/>
                <a:gd name="connsiteX215" fmla="*/ 184404 w 238125"/>
                <a:gd name="connsiteY215" fmla="*/ 159448 h 371475"/>
                <a:gd name="connsiteX216" fmla="*/ 183737 w 238125"/>
                <a:gd name="connsiteY216" fmla="*/ 160782 h 371475"/>
                <a:gd name="connsiteX217" fmla="*/ 184404 w 238125"/>
                <a:gd name="connsiteY217" fmla="*/ 161449 h 371475"/>
                <a:gd name="connsiteX218" fmla="*/ 187833 w 238125"/>
                <a:gd name="connsiteY218" fmla="*/ 164211 h 371475"/>
                <a:gd name="connsiteX219" fmla="*/ 189929 w 238125"/>
                <a:gd name="connsiteY219" fmla="*/ 162116 h 371475"/>
                <a:gd name="connsiteX220" fmla="*/ 190595 w 238125"/>
                <a:gd name="connsiteY220" fmla="*/ 160782 h 371475"/>
                <a:gd name="connsiteX221" fmla="*/ 191929 w 238125"/>
                <a:gd name="connsiteY221" fmla="*/ 160115 h 371475"/>
                <a:gd name="connsiteX222" fmla="*/ 194024 w 238125"/>
                <a:gd name="connsiteY222" fmla="*/ 161449 h 371475"/>
                <a:gd name="connsiteX223" fmla="*/ 196120 w 238125"/>
                <a:gd name="connsiteY223" fmla="*/ 168307 h 371475"/>
                <a:gd name="connsiteX224" fmla="*/ 196120 w 238125"/>
                <a:gd name="connsiteY224" fmla="*/ 168973 h 371475"/>
                <a:gd name="connsiteX225" fmla="*/ 195453 w 238125"/>
                <a:gd name="connsiteY225" fmla="*/ 170307 h 371475"/>
                <a:gd name="connsiteX226" fmla="*/ 194119 w 238125"/>
                <a:gd name="connsiteY226" fmla="*/ 172402 h 371475"/>
                <a:gd name="connsiteX227" fmla="*/ 194786 w 238125"/>
                <a:gd name="connsiteY227" fmla="*/ 173736 h 371475"/>
                <a:gd name="connsiteX228" fmla="*/ 194119 w 238125"/>
                <a:gd name="connsiteY228" fmla="*/ 174403 h 371475"/>
                <a:gd name="connsiteX229" fmla="*/ 194119 w 238125"/>
                <a:gd name="connsiteY229" fmla="*/ 175070 h 371475"/>
                <a:gd name="connsiteX230" fmla="*/ 194786 w 238125"/>
                <a:gd name="connsiteY230" fmla="*/ 177165 h 371475"/>
                <a:gd name="connsiteX231" fmla="*/ 194786 w 238125"/>
                <a:gd name="connsiteY231" fmla="*/ 179261 h 371475"/>
                <a:gd name="connsiteX232" fmla="*/ 193453 w 238125"/>
                <a:gd name="connsiteY232" fmla="*/ 184023 h 371475"/>
                <a:gd name="connsiteX233" fmla="*/ 192119 w 238125"/>
                <a:gd name="connsiteY233" fmla="*/ 185356 h 371475"/>
                <a:gd name="connsiteX234" fmla="*/ 190024 w 238125"/>
                <a:gd name="connsiteY234" fmla="*/ 184690 h 371475"/>
                <a:gd name="connsiteX235" fmla="*/ 187928 w 238125"/>
                <a:gd name="connsiteY235" fmla="*/ 183356 h 371475"/>
                <a:gd name="connsiteX236" fmla="*/ 185833 w 238125"/>
                <a:gd name="connsiteY236" fmla="*/ 181261 h 371475"/>
                <a:gd name="connsiteX237" fmla="*/ 183071 w 238125"/>
                <a:gd name="connsiteY237" fmla="*/ 178498 h 371475"/>
                <a:gd name="connsiteX238" fmla="*/ 182404 w 238125"/>
                <a:gd name="connsiteY238" fmla="*/ 178498 h 371475"/>
                <a:gd name="connsiteX239" fmla="*/ 181070 w 238125"/>
                <a:gd name="connsiteY239" fmla="*/ 179165 h 371475"/>
                <a:gd name="connsiteX240" fmla="*/ 181737 w 238125"/>
                <a:gd name="connsiteY240" fmla="*/ 179832 h 371475"/>
                <a:gd name="connsiteX241" fmla="*/ 183071 w 238125"/>
                <a:gd name="connsiteY241" fmla="*/ 180499 h 371475"/>
                <a:gd name="connsiteX242" fmla="*/ 183071 w 238125"/>
                <a:gd name="connsiteY242" fmla="*/ 182594 h 371475"/>
                <a:gd name="connsiteX243" fmla="*/ 184404 w 238125"/>
                <a:gd name="connsiteY243" fmla="*/ 185356 h 371475"/>
                <a:gd name="connsiteX244" fmla="*/ 185071 w 238125"/>
                <a:gd name="connsiteY244" fmla="*/ 186690 h 371475"/>
                <a:gd name="connsiteX245" fmla="*/ 182309 w 238125"/>
                <a:gd name="connsiteY245" fmla="*/ 187357 h 371475"/>
                <a:gd name="connsiteX246" fmla="*/ 181642 w 238125"/>
                <a:gd name="connsiteY246" fmla="*/ 186690 h 371475"/>
                <a:gd name="connsiteX247" fmla="*/ 181642 w 238125"/>
                <a:gd name="connsiteY247" fmla="*/ 185356 h 371475"/>
                <a:gd name="connsiteX248" fmla="*/ 180975 w 238125"/>
                <a:gd name="connsiteY248" fmla="*/ 184023 h 371475"/>
                <a:gd name="connsiteX249" fmla="*/ 180308 w 238125"/>
                <a:gd name="connsiteY249" fmla="*/ 184023 h 371475"/>
                <a:gd name="connsiteX250" fmla="*/ 179642 w 238125"/>
                <a:gd name="connsiteY250" fmla="*/ 184690 h 371475"/>
                <a:gd name="connsiteX251" fmla="*/ 178975 w 238125"/>
                <a:gd name="connsiteY251" fmla="*/ 185356 h 371475"/>
                <a:gd name="connsiteX252" fmla="*/ 177641 w 238125"/>
                <a:gd name="connsiteY252" fmla="*/ 186023 h 371475"/>
                <a:gd name="connsiteX253" fmla="*/ 176308 w 238125"/>
                <a:gd name="connsiteY253" fmla="*/ 183928 h 371475"/>
                <a:gd name="connsiteX254" fmla="*/ 174212 w 238125"/>
                <a:gd name="connsiteY254" fmla="*/ 185261 h 371475"/>
                <a:gd name="connsiteX255" fmla="*/ 174879 w 238125"/>
                <a:gd name="connsiteY255" fmla="*/ 186595 h 371475"/>
                <a:gd name="connsiteX256" fmla="*/ 179642 w 238125"/>
                <a:gd name="connsiteY256" fmla="*/ 190024 h 371475"/>
                <a:gd name="connsiteX257" fmla="*/ 180308 w 238125"/>
                <a:gd name="connsiteY257" fmla="*/ 190691 h 371475"/>
                <a:gd name="connsiteX258" fmla="*/ 182404 w 238125"/>
                <a:gd name="connsiteY258" fmla="*/ 190024 h 371475"/>
                <a:gd name="connsiteX259" fmla="*/ 183737 w 238125"/>
                <a:gd name="connsiteY259" fmla="*/ 189357 h 371475"/>
                <a:gd name="connsiteX260" fmla="*/ 187833 w 238125"/>
                <a:gd name="connsiteY260" fmla="*/ 193453 h 371475"/>
                <a:gd name="connsiteX261" fmla="*/ 186500 w 238125"/>
                <a:gd name="connsiteY261" fmla="*/ 193453 h 371475"/>
                <a:gd name="connsiteX262" fmla="*/ 184404 w 238125"/>
                <a:gd name="connsiteY262" fmla="*/ 194786 h 371475"/>
                <a:gd name="connsiteX263" fmla="*/ 182309 w 238125"/>
                <a:gd name="connsiteY263" fmla="*/ 194786 h 371475"/>
                <a:gd name="connsiteX264" fmla="*/ 180213 w 238125"/>
                <a:gd name="connsiteY264" fmla="*/ 196120 h 371475"/>
                <a:gd name="connsiteX265" fmla="*/ 176784 w 238125"/>
                <a:gd name="connsiteY265" fmla="*/ 198215 h 371475"/>
                <a:gd name="connsiteX266" fmla="*/ 176117 w 238125"/>
                <a:gd name="connsiteY266" fmla="*/ 198882 h 371475"/>
                <a:gd name="connsiteX267" fmla="*/ 178213 w 238125"/>
                <a:gd name="connsiteY267" fmla="*/ 201644 h 371475"/>
                <a:gd name="connsiteX268" fmla="*/ 180975 w 238125"/>
                <a:gd name="connsiteY268" fmla="*/ 203740 h 371475"/>
                <a:gd name="connsiteX269" fmla="*/ 187833 w 238125"/>
                <a:gd name="connsiteY269" fmla="*/ 205073 h 371475"/>
                <a:gd name="connsiteX270" fmla="*/ 189929 w 238125"/>
                <a:gd name="connsiteY270" fmla="*/ 209169 h 371475"/>
                <a:gd name="connsiteX271" fmla="*/ 190595 w 238125"/>
                <a:gd name="connsiteY271" fmla="*/ 209836 h 371475"/>
                <a:gd name="connsiteX272" fmla="*/ 190595 w 238125"/>
                <a:gd name="connsiteY272" fmla="*/ 211169 h 371475"/>
                <a:gd name="connsiteX273" fmla="*/ 189929 w 238125"/>
                <a:gd name="connsiteY273" fmla="*/ 214598 h 371475"/>
                <a:gd name="connsiteX274" fmla="*/ 188595 w 238125"/>
                <a:gd name="connsiteY274" fmla="*/ 217361 h 371475"/>
                <a:gd name="connsiteX275" fmla="*/ 188595 w 238125"/>
                <a:gd name="connsiteY275" fmla="*/ 224885 h 371475"/>
                <a:gd name="connsiteX276" fmla="*/ 187928 w 238125"/>
                <a:gd name="connsiteY276" fmla="*/ 231076 h 371475"/>
                <a:gd name="connsiteX277" fmla="*/ 188595 w 238125"/>
                <a:gd name="connsiteY277" fmla="*/ 233839 h 371475"/>
                <a:gd name="connsiteX278" fmla="*/ 187928 w 238125"/>
                <a:gd name="connsiteY278" fmla="*/ 236601 h 371475"/>
                <a:gd name="connsiteX279" fmla="*/ 186595 w 238125"/>
                <a:gd name="connsiteY279" fmla="*/ 240030 h 371475"/>
                <a:gd name="connsiteX280" fmla="*/ 187928 w 238125"/>
                <a:gd name="connsiteY280" fmla="*/ 242792 h 371475"/>
                <a:gd name="connsiteX281" fmla="*/ 187262 w 238125"/>
                <a:gd name="connsiteY281" fmla="*/ 251746 h 371475"/>
                <a:gd name="connsiteX282" fmla="*/ 186595 w 238125"/>
                <a:gd name="connsiteY282" fmla="*/ 242792 h 371475"/>
                <a:gd name="connsiteX283" fmla="*/ 185928 w 238125"/>
                <a:gd name="connsiteY283" fmla="*/ 242125 h 371475"/>
                <a:gd name="connsiteX284" fmla="*/ 185261 w 238125"/>
                <a:gd name="connsiteY284" fmla="*/ 241459 h 371475"/>
                <a:gd name="connsiteX285" fmla="*/ 183166 w 238125"/>
                <a:gd name="connsiteY285" fmla="*/ 240125 h 371475"/>
                <a:gd name="connsiteX286" fmla="*/ 181832 w 238125"/>
                <a:gd name="connsiteY286" fmla="*/ 241459 h 371475"/>
                <a:gd name="connsiteX287" fmla="*/ 180499 w 238125"/>
                <a:gd name="connsiteY287" fmla="*/ 254508 h 371475"/>
                <a:gd name="connsiteX288" fmla="*/ 179832 w 238125"/>
                <a:gd name="connsiteY288" fmla="*/ 242888 h 371475"/>
                <a:gd name="connsiteX289" fmla="*/ 178499 w 238125"/>
                <a:gd name="connsiteY289" fmla="*/ 242221 h 371475"/>
                <a:gd name="connsiteX290" fmla="*/ 179165 w 238125"/>
                <a:gd name="connsiteY290" fmla="*/ 249746 h 371475"/>
                <a:gd name="connsiteX291" fmla="*/ 172974 w 238125"/>
                <a:gd name="connsiteY291" fmla="*/ 305943 h 371475"/>
                <a:gd name="connsiteX292" fmla="*/ 172307 w 238125"/>
                <a:gd name="connsiteY292" fmla="*/ 309372 h 371475"/>
                <a:gd name="connsiteX293" fmla="*/ 174403 w 238125"/>
                <a:gd name="connsiteY293" fmla="*/ 310706 h 371475"/>
                <a:gd name="connsiteX294" fmla="*/ 175069 w 238125"/>
                <a:gd name="connsiteY294" fmla="*/ 310039 h 371475"/>
                <a:gd name="connsiteX295" fmla="*/ 176403 w 238125"/>
                <a:gd name="connsiteY295" fmla="*/ 307276 h 371475"/>
                <a:gd name="connsiteX296" fmla="*/ 177737 w 238125"/>
                <a:gd name="connsiteY296" fmla="*/ 305181 h 371475"/>
                <a:gd name="connsiteX297" fmla="*/ 180499 w 238125"/>
                <a:gd name="connsiteY297" fmla="*/ 305848 h 371475"/>
                <a:gd name="connsiteX298" fmla="*/ 182594 w 238125"/>
                <a:gd name="connsiteY298" fmla="*/ 307943 h 371475"/>
                <a:gd name="connsiteX299" fmla="*/ 183261 w 238125"/>
                <a:gd name="connsiteY299" fmla="*/ 311372 h 371475"/>
                <a:gd name="connsiteX300" fmla="*/ 183928 w 238125"/>
                <a:gd name="connsiteY300" fmla="*/ 328517 h 371475"/>
                <a:gd name="connsiteX301" fmla="*/ 183928 w 238125"/>
                <a:gd name="connsiteY301" fmla="*/ 330613 h 371475"/>
                <a:gd name="connsiteX302" fmla="*/ 181832 w 238125"/>
                <a:gd name="connsiteY302" fmla="*/ 332708 h 371475"/>
                <a:gd name="connsiteX303" fmla="*/ 181166 w 238125"/>
                <a:gd name="connsiteY303" fmla="*/ 330613 h 371475"/>
                <a:gd name="connsiteX304" fmla="*/ 181166 w 238125"/>
                <a:gd name="connsiteY304" fmla="*/ 326517 h 371475"/>
                <a:gd name="connsiteX305" fmla="*/ 179832 w 238125"/>
                <a:gd name="connsiteY305" fmla="*/ 325850 h 371475"/>
                <a:gd name="connsiteX306" fmla="*/ 179165 w 238125"/>
                <a:gd name="connsiteY306" fmla="*/ 326517 h 371475"/>
                <a:gd name="connsiteX307" fmla="*/ 177070 w 238125"/>
                <a:gd name="connsiteY307" fmla="*/ 335471 h 371475"/>
                <a:gd name="connsiteX308" fmla="*/ 177737 w 238125"/>
                <a:gd name="connsiteY308" fmla="*/ 336137 h 371475"/>
                <a:gd name="connsiteX309" fmla="*/ 179070 w 238125"/>
                <a:gd name="connsiteY309" fmla="*/ 336137 h 371475"/>
                <a:gd name="connsiteX310" fmla="*/ 181166 w 238125"/>
                <a:gd name="connsiteY310" fmla="*/ 335471 h 371475"/>
                <a:gd name="connsiteX311" fmla="*/ 182499 w 238125"/>
                <a:gd name="connsiteY311" fmla="*/ 334137 h 371475"/>
                <a:gd name="connsiteX312" fmla="*/ 183833 w 238125"/>
                <a:gd name="connsiteY312" fmla="*/ 334137 h 371475"/>
                <a:gd name="connsiteX313" fmla="*/ 177641 w 238125"/>
                <a:gd name="connsiteY313" fmla="*/ 357473 h 371475"/>
                <a:gd name="connsiteX314" fmla="*/ 178308 w 238125"/>
                <a:gd name="connsiteY314" fmla="*/ 361569 h 371475"/>
                <a:gd name="connsiteX315" fmla="*/ 178308 w 238125"/>
                <a:gd name="connsiteY315" fmla="*/ 362236 h 371475"/>
                <a:gd name="connsiteX316" fmla="*/ 176213 w 238125"/>
                <a:gd name="connsiteY316" fmla="*/ 364331 h 371475"/>
                <a:gd name="connsiteX317" fmla="*/ 165926 w 238125"/>
                <a:gd name="connsiteY317" fmla="*/ 379381 h 371475"/>
                <a:gd name="connsiteX318" fmla="*/ 164592 w 238125"/>
                <a:gd name="connsiteY318" fmla="*/ 379381 h 371475"/>
                <a:gd name="connsiteX319" fmla="*/ 163925 w 238125"/>
                <a:gd name="connsiteY319" fmla="*/ 375285 h 371475"/>
                <a:gd name="connsiteX320" fmla="*/ 163259 w 238125"/>
                <a:gd name="connsiteY320" fmla="*/ 364998 h 371475"/>
                <a:gd name="connsiteX321" fmla="*/ 163259 w 238125"/>
                <a:gd name="connsiteY321" fmla="*/ 350615 h 371475"/>
                <a:gd name="connsiteX322" fmla="*/ 162592 w 238125"/>
                <a:gd name="connsiteY322" fmla="*/ 349282 h 371475"/>
                <a:gd name="connsiteX323" fmla="*/ 158496 w 238125"/>
                <a:gd name="connsiteY323" fmla="*/ 361664 h 371475"/>
                <a:gd name="connsiteX324" fmla="*/ 157829 w 238125"/>
                <a:gd name="connsiteY324" fmla="*/ 360998 h 371475"/>
                <a:gd name="connsiteX325" fmla="*/ 156496 w 238125"/>
                <a:gd name="connsiteY325" fmla="*/ 360331 h 371475"/>
                <a:gd name="connsiteX326" fmla="*/ 151733 w 238125"/>
                <a:gd name="connsiteY326" fmla="*/ 360331 h 371475"/>
                <a:gd name="connsiteX327" fmla="*/ 145542 w 238125"/>
                <a:gd name="connsiteY327" fmla="*/ 364427 h 371475"/>
                <a:gd name="connsiteX328" fmla="*/ 140780 w 238125"/>
                <a:gd name="connsiteY328" fmla="*/ 341757 h 371475"/>
                <a:gd name="connsiteX329" fmla="*/ 140113 w 238125"/>
                <a:gd name="connsiteY329" fmla="*/ 337661 h 371475"/>
                <a:gd name="connsiteX330" fmla="*/ 140780 w 238125"/>
                <a:gd name="connsiteY330" fmla="*/ 335566 h 371475"/>
                <a:gd name="connsiteX331" fmla="*/ 140780 w 238125"/>
                <a:gd name="connsiteY331" fmla="*/ 333661 h 371475"/>
                <a:gd name="connsiteX332" fmla="*/ 0 w 238125"/>
                <a:gd name="connsiteY332" fmla="*/ 223838 h 371475"/>
                <a:gd name="connsiteX333" fmla="*/ 667 w 238125"/>
                <a:gd name="connsiteY333" fmla="*/ 223171 h 371475"/>
                <a:gd name="connsiteX334" fmla="*/ 1334 w 238125"/>
                <a:gd name="connsiteY334" fmla="*/ 223838 h 371475"/>
                <a:gd name="connsiteX335" fmla="*/ 1334 w 238125"/>
                <a:gd name="connsiteY335" fmla="*/ 228600 h 371475"/>
                <a:gd name="connsiteX336" fmla="*/ 0 w 238125"/>
                <a:gd name="connsiteY336" fmla="*/ 225171 h 371475"/>
                <a:gd name="connsiteX337" fmla="*/ 0 w 238125"/>
                <a:gd name="connsiteY337" fmla="*/ 223838 h 371475"/>
                <a:gd name="connsiteX338" fmla="*/ 107633 w 238125"/>
                <a:gd name="connsiteY338" fmla="*/ 93536 h 371475"/>
                <a:gd name="connsiteX339" fmla="*/ 106299 w 238125"/>
                <a:gd name="connsiteY339" fmla="*/ 96298 h 371475"/>
                <a:gd name="connsiteX340" fmla="*/ 106966 w 238125"/>
                <a:gd name="connsiteY340" fmla="*/ 96965 h 371475"/>
                <a:gd name="connsiteX341" fmla="*/ 106966 w 238125"/>
                <a:gd name="connsiteY341" fmla="*/ 98298 h 371475"/>
                <a:gd name="connsiteX342" fmla="*/ 103537 w 238125"/>
                <a:gd name="connsiteY342" fmla="*/ 102394 h 371475"/>
                <a:gd name="connsiteX343" fmla="*/ 96679 w 238125"/>
                <a:gd name="connsiteY343" fmla="*/ 108585 h 371475"/>
                <a:gd name="connsiteX344" fmla="*/ 96679 w 238125"/>
                <a:gd name="connsiteY344" fmla="*/ 109919 h 371475"/>
                <a:gd name="connsiteX345" fmla="*/ 92583 w 238125"/>
                <a:gd name="connsiteY345" fmla="*/ 113347 h 371475"/>
                <a:gd name="connsiteX346" fmla="*/ 89821 w 238125"/>
                <a:gd name="connsiteY346" fmla="*/ 118110 h 371475"/>
                <a:gd name="connsiteX347" fmla="*/ 85725 w 238125"/>
                <a:gd name="connsiteY347" fmla="*/ 123730 h 371475"/>
                <a:gd name="connsiteX348" fmla="*/ 85058 w 238125"/>
                <a:gd name="connsiteY348" fmla="*/ 123730 h 371475"/>
                <a:gd name="connsiteX349" fmla="*/ 85058 w 238125"/>
                <a:gd name="connsiteY349" fmla="*/ 124396 h 371475"/>
                <a:gd name="connsiteX350" fmla="*/ 80963 w 238125"/>
                <a:gd name="connsiteY350" fmla="*/ 131921 h 371475"/>
                <a:gd name="connsiteX351" fmla="*/ 79629 w 238125"/>
                <a:gd name="connsiteY351" fmla="*/ 134017 h 371475"/>
                <a:gd name="connsiteX352" fmla="*/ 79629 w 238125"/>
                <a:gd name="connsiteY352" fmla="*/ 134684 h 371475"/>
                <a:gd name="connsiteX353" fmla="*/ 77534 w 238125"/>
                <a:gd name="connsiteY353" fmla="*/ 136017 h 371475"/>
                <a:gd name="connsiteX354" fmla="*/ 73438 w 238125"/>
                <a:gd name="connsiteY354" fmla="*/ 142208 h 371475"/>
                <a:gd name="connsiteX355" fmla="*/ 72771 w 238125"/>
                <a:gd name="connsiteY355" fmla="*/ 142875 h 371475"/>
                <a:gd name="connsiteX356" fmla="*/ 72771 w 238125"/>
                <a:gd name="connsiteY356" fmla="*/ 142303 h 371475"/>
                <a:gd name="connsiteX357" fmla="*/ 70009 w 238125"/>
                <a:gd name="connsiteY357" fmla="*/ 140208 h 371475"/>
                <a:gd name="connsiteX358" fmla="*/ 68675 w 238125"/>
                <a:gd name="connsiteY358" fmla="*/ 140208 h 371475"/>
                <a:gd name="connsiteX359" fmla="*/ 66580 w 238125"/>
                <a:gd name="connsiteY359" fmla="*/ 142970 h 371475"/>
                <a:gd name="connsiteX360" fmla="*/ 67247 w 238125"/>
                <a:gd name="connsiteY360" fmla="*/ 145066 h 371475"/>
                <a:gd name="connsiteX361" fmla="*/ 69342 w 238125"/>
                <a:gd name="connsiteY361" fmla="*/ 145066 h 371475"/>
                <a:gd name="connsiteX362" fmla="*/ 70676 w 238125"/>
                <a:gd name="connsiteY362" fmla="*/ 144399 h 371475"/>
                <a:gd name="connsiteX363" fmla="*/ 70676 w 238125"/>
                <a:gd name="connsiteY363" fmla="*/ 145066 h 371475"/>
                <a:gd name="connsiteX364" fmla="*/ 71342 w 238125"/>
                <a:gd name="connsiteY364" fmla="*/ 151257 h 371475"/>
                <a:gd name="connsiteX365" fmla="*/ 70676 w 238125"/>
                <a:gd name="connsiteY365" fmla="*/ 151828 h 371475"/>
                <a:gd name="connsiteX366" fmla="*/ 68580 w 238125"/>
                <a:gd name="connsiteY366" fmla="*/ 151162 h 371475"/>
                <a:gd name="connsiteX367" fmla="*/ 67913 w 238125"/>
                <a:gd name="connsiteY367" fmla="*/ 152495 h 371475"/>
                <a:gd name="connsiteX368" fmla="*/ 66580 w 238125"/>
                <a:gd name="connsiteY368" fmla="*/ 155258 h 371475"/>
                <a:gd name="connsiteX369" fmla="*/ 63818 w 238125"/>
                <a:gd name="connsiteY369" fmla="*/ 157353 h 371475"/>
                <a:gd name="connsiteX370" fmla="*/ 62389 w 238125"/>
                <a:gd name="connsiteY370" fmla="*/ 157353 h 371475"/>
                <a:gd name="connsiteX371" fmla="*/ 61055 w 238125"/>
                <a:gd name="connsiteY371" fmla="*/ 158020 h 371475"/>
                <a:gd name="connsiteX372" fmla="*/ 61722 w 238125"/>
                <a:gd name="connsiteY372" fmla="*/ 158687 h 371475"/>
                <a:gd name="connsiteX373" fmla="*/ 63818 w 238125"/>
                <a:gd name="connsiteY373" fmla="*/ 162116 h 371475"/>
                <a:gd name="connsiteX374" fmla="*/ 65913 w 238125"/>
                <a:gd name="connsiteY374" fmla="*/ 162116 h 371475"/>
                <a:gd name="connsiteX375" fmla="*/ 63151 w 238125"/>
                <a:gd name="connsiteY375" fmla="*/ 165545 h 371475"/>
                <a:gd name="connsiteX376" fmla="*/ 61055 w 238125"/>
                <a:gd name="connsiteY376" fmla="*/ 166878 h 371475"/>
                <a:gd name="connsiteX377" fmla="*/ 60389 w 238125"/>
                <a:gd name="connsiteY377" fmla="*/ 171641 h 371475"/>
                <a:gd name="connsiteX378" fmla="*/ 58293 w 238125"/>
                <a:gd name="connsiteY378" fmla="*/ 175736 h 371475"/>
                <a:gd name="connsiteX379" fmla="*/ 56960 w 238125"/>
                <a:gd name="connsiteY379" fmla="*/ 181261 h 371475"/>
                <a:gd name="connsiteX380" fmla="*/ 57626 w 238125"/>
                <a:gd name="connsiteY380" fmla="*/ 182594 h 371475"/>
                <a:gd name="connsiteX381" fmla="*/ 58293 w 238125"/>
                <a:gd name="connsiteY381" fmla="*/ 184690 h 371475"/>
                <a:gd name="connsiteX382" fmla="*/ 56960 w 238125"/>
                <a:gd name="connsiteY382" fmla="*/ 187452 h 371475"/>
                <a:gd name="connsiteX383" fmla="*/ 52864 w 238125"/>
                <a:gd name="connsiteY383" fmla="*/ 192976 h 371475"/>
                <a:gd name="connsiteX384" fmla="*/ 48673 w 238125"/>
                <a:gd name="connsiteY384" fmla="*/ 198501 h 371475"/>
                <a:gd name="connsiteX385" fmla="*/ 48673 w 238125"/>
                <a:gd name="connsiteY385" fmla="*/ 199835 h 371475"/>
                <a:gd name="connsiteX386" fmla="*/ 47339 w 238125"/>
                <a:gd name="connsiteY386" fmla="*/ 212884 h 371475"/>
                <a:gd name="connsiteX387" fmla="*/ 48006 w 238125"/>
                <a:gd name="connsiteY387" fmla="*/ 215646 h 371475"/>
                <a:gd name="connsiteX388" fmla="*/ 48006 w 238125"/>
                <a:gd name="connsiteY388" fmla="*/ 217742 h 371475"/>
                <a:gd name="connsiteX389" fmla="*/ 47339 w 238125"/>
                <a:gd name="connsiteY389" fmla="*/ 220409 h 371475"/>
                <a:gd name="connsiteX390" fmla="*/ 48006 w 238125"/>
                <a:gd name="connsiteY390" fmla="*/ 223838 h 371475"/>
                <a:gd name="connsiteX391" fmla="*/ 48673 w 238125"/>
                <a:gd name="connsiteY391" fmla="*/ 225933 h 371475"/>
                <a:gd name="connsiteX392" fmla="*/ 48006 w 238125"/>
                <a:gd name="connsiteY392" fmla="*/ 228028 h 371475"/>
                <a:gd name="connsiteX393" fmla="*/ 48006 w 238125"/>
                <a:gd name="connsiteY393" fmla="*/ 231458 h 371475"/>
                <a:gd name="connsiteX394" fmla="*/ 49340 w 238125"/>
                <a:gd name="connsiteY394" fmla="*/ 243840 h 371475"/>
                <a:gd name="connsiteX395" fmla="*/ 50673 w 238125"/>
                <a:gd name="connsiteY395" fmla="*/ 246602 h 371475"/>
                <a:gd name="connsiteX396" fmla="*/ 54102 w 238125"/>
                <a:gd name="connsiteY396" fmla="*/ 250031 h 371475"/>
                <a:gd name="connsiteX397" fmla="*/ 57531 w 238125"/>
                <a:gd name="connsiteY397" fmla="*/ 248698 h 371475"/>
                <a:gd name="connsiteX398" fmla="*/ 60960 w 238125"/>
                <a:gd name="connsiteY398" fmla="*/ 246602 h 371475"/>
                <a:gd name="connsiteX399" fmla="*/ 66485 w 238125"/>
                <a:gd name="connsiteY399" fmla="*/ 241840 h 371475"/>
                <a:gd name="connsiteX400" fmla="*/ 73343 w 238125"/>
                <a:gd name="connsiteY400" fmla="*/ 232886 h 371475"/>
                <a:gd name="connsiteX401" fmla="*/ 75438 w 238125"/>
                <a:gd name="connsiteY401" fmla="*/ 231553 h 371475"/>
                <a:gd name="connsiteX402" fmla="*/ 83630 w 238125"/>
                <a:gd name="connsiteY402" fmla="*/ 223361 h 371475"/>
                <a:gd name="connsiteX403" fmla="*/ 87725 w 238125"/>
                <a:gd name="connsiteY403" fmla="*/ 219266 h 371475"/>
                <a:gd name="connsiteX404" fmla="*/ 96679 w 238125"/>
                <a:gd name="connsiteY404" fmla="*/ 208978 h 371475"/>
                <a:gd name="connsiteX405" fmla="*/ 104203 w 238125"/>
                <a:gd name="connsiteY405" fmla="*/ 199358 h 371475"/>
                <a:gd name="connsiteX406" fmla="*/ 109728 w 238125"/>
                <a:gd name="connsiteY406" fmla="*/ 191834 h 371475"/>
                <a:gd name="connsiteX407" fmla="*/ 111062 w 238125"/>
                <a:gd name="connsiteY407" fmla="*/ 189071 h 371475"/>
                <a:gd name="connsiteX408" fmla="*/ 115824 w 238125"/>
                <a:gd name="connsiteY408" fmla="*/ 183547 h 371475"/>
                <a:gd name="connsiteX409" fmla="*/ 117920 w 238125"/>
                <a:gd name="connsiteY409" fmla="*/ 180785 h 371475"/>
                <a:gd name="connsiteX410" fmla="*/ 125444 w 238125"/>
                <a:gd name="connsiteY410" fmla="*/ 172593 h 371475"/>
                <a:gd name="connsiteX411" fmla="*/ 126111 w 238125"/>
                <a:gd name="connsiteY411" fmla="*/ 169831 h 371475"/>
                <a:gd name="connsiteX412" fmla="*/ 128207 w 238125"/>
                <a:gd name="connsiteY412" fmla="*/ 166402 h 371475"/>
                <a:gd name="connsiteX413" fmla="*/ 133731 w 238125"/>
                <a:gd name="connsiteY413" fmla="*/ 158210 h 371475"/>
                <a:gd name="connsiteX414" fmla="*/ 137160 w 238125"/>
                <a:gd name="connsiteY414" fmla="*/ 154781 h 371475"/>
                <a:gd name="connsiteX415" fmla="*/ 137827 w 238125"/>
                <a:gd name="connsiteY415" fmla="*/ 154781 h 371475"/>
                <a:gd name="connsiteX416" fmla="*/ 138494 w 238125"/>
                <a:gd name="connsiteY416" fmla="*/ 153448 h 371475"/>
                <a:gd name="connsiteX417" fmla="*/ 138494 w 238125"/>
                <a:gd name="connsiteY417" fmla="*/ 152781 h 371475"/>
                <a:gd name="connsiteX418" fmla="*/ 139160 w 238125"/>
                <a:gd name="connsiteY418" fmla="*/ 150686 h 371475"/>
                <a:gd name="connsiteX419" fmla="*/ 140494 w 238125"/>
                <a:gd name="connsiteY419" fmla="*/ 147923 h 371475"/>
                <a:gd name="connsiteX420" fmla="*/ 144590 w 238125"/>
                <a:gd name="connsiteY420" fmla="*/ 144494 h 371475"/>
                <a:gd name="connsiteX421" fmla="*/ 148685 w 238125"/>
                <a:gd name="connsiteY421" fmla="*/ 141065 h 371475"/>
                <a:gd name="connsiteX422" fmla="*/ 149352 w 238125"/>
                <a:gd name="connsiteY422" fmla="*/ 139732 h 371475"/>
                <a:gd name="connsiteX423" fmla="*/ 148685 w 238125"/>
                <a:gd name="connsiteY423" fmla="*/ 136970 h 371475"/>
                <a:gd name="connsiteX424" fmla="*/ 146590 w 238125"/>
                <a:gd name="connsiteY424" fmla="*/ 132874 h 371475"/>
                <a:gd name="connsiteX425" fmla="*/ 148685 w 238125"/>
                <a:gd name="connsiteY425" fmla="*/ 128778 h 371475"/>
                <a:gd name="connsiteX426" fmla="*/ 151543 w 238125"/>
                <a:gd name="connsiteY426" fmla="*/ 125158 h 371475"/>
                <a:gd name="connsiteX427" fmla="*/ 152876 w 238125"/>
                <a:gd name="connsiteY427" fmla="*/ 123825 h 371475"/>
                <a:gd name="connsiteX428" fmla="*/ 154210 w 238125"/>
                <a:gd name="connsiteY428" fmla="*/ 123825 h 371475"/>
                <a:gd name="connsiteX429" fmla="*/ 156972 w 238125"/>
                <a:gd name="connsiteY429" fmla="*/ 121063 h 371475"/>
                <a:gd name="connsiteX430" fmla="*/ 157639 w 238125"/>
                <a:gd name="connsiteY430" fmla="*/ 121063 h 371475"/>
                <a:gd name="connsiteX431" fmla="*/ 158972 w 238125"/>
                <a:gd name="connsiteY431" fmla="*/ 119729 h 371475"/>
                <a:gd name="connsiteX432" fmla="*/ 161735 w 238125"/>
                <a:gd name="connsiteY432" fmla="*/ 112204 h 371475"/>
                <a:gd name="connsiteX433" fmla="*/ 163068 w 238125"/>
                <a:gd name="connsiteY433" fmla="*/ 106680 h 371475"/>
                <a:gd name="connsiteX434" fmla="*/ 163068 w 238125"/>
                <a:gd name="connsiteY434" fmla="*/ 106013 h 371475"/>
                <a:gd name="connsiteX435" fmla="*/ 162401 w 238125"/>
                <a:gd name="connsiteY435" fmla="*/ 105346 h 371475"/>
                <a:gd name="connsiteX436" fmla="*/ 163068 w 238125"/>
                <a:gd name="connsiteY436" fmla="*/ 104013 h 371475"/>
                <a:gd name="connsiteX437" fmla="*/ 163735 w 238125"/>
                <a:gd name="connsiteY437" fmla="*/ 102679 h 371475"/>
                <a:gd name="connsiteX438" fmla="*/ 163068 w 238125"/>
                <a:gd name="connsiteY438" fmla="*/ 101346 h 371475"/>
                <a:gd name="connsiteX439" fmla="*/ 162401 w 238125"/>
                <a:gd name="connsiteY439" fmla="*/ 100679 h 371475"/>
                <a:gd name="connsiteX440" fmla="*/ 163068 w 238125"/>
                <a:gd name="connsiteY440" fmla="*/ 99346 h 371475"/>
                <a:gd name="connsiteX441" fmla="*/ 162401 w 238125"/>
                <a:gd name="connsiteY441" fmla="*/ 97250 h 371475"/>
                <a:gd name="connsiteX442" fmla="*/ 155543 w 238125"/>
                <a:gd name="connsiteY442" fmla="*/ 89725 h 371475"/>
                <a:gd name="connsiteX443" fmla="*/ 152114 w 238125"/>
                <a:gd name="connsiteY443" fmla="*/ 85630 h 371475"/>
                <a:gd name="connsiteX444" fmla="*/ 150781 w 238125"/>
                <a:gd name="connsiteY444" fmla="*/ 81534 h 371475"/>
                <a:gd name="connsiteX445" fmla="*/ 146685 w 238125"/>
                <a:gd name="connsiteY445" fmla="*/ 76771 h 371475"/>
                <a:gd name="connsiteX446" fmla="*/ 143923 w 238125"/>
                <a:gd name="connsiteY446" fmla="*/ 74009 h 371475"/>
                <a:gd name="connsiteX447" fmla="*/ 134969 w 238125"/>
                <a:gd name="connsiteY447" fmla="*/ 68485 h 371475"/>
                <a:gd name="connsiteX448" fmla="*/ 132874 w 238125"/>
                <a:gd name="connsiteY448" fmla="*/ 68485 h 371475"/>
                <a:gd name="connsiteX449" fmla="*/ 130778 w 238125"/>
                <a:gd name="connsiteY449" fmla="*/ 67818 h 371475"/>
                <a:gd name="connsiteX450" fmla="*/ 127349 w 238125"/>
                <a:gd name="connsiteY450" fmla="*/ 69151 h 371475"/>
                <a:gd name="connsiteX451" fmla="*/ 121158 w 238125"/>
                <a:gd name="connsiteY451" fmla="*/ 73247 h 371475"/>
                <a:gd name="connsiteX452" fmla="*/ 119825 w 238125"/>
                <a:gd name="connsiteY452" fmla="*/ 74581 h 371475"/>
                <a:gd name="connsiteX453" fmla="*/ 118491 w 238125"/>
                <a:gd name="connsiteY453" fmla="*/ 76676 h 371475"/>
                <a:gd name="connsiteX454" fmla="*/ 115062 w 238125"/>
                <a:gd name="connsiteY454" fmla="*/ 82201 h 371475"/>
                <a:gd name="connsiteX455" fmla="*/ 115062 w 238125"/>
                <a:gd name="connsiteY455" fmla="*/ 83534 h 371475"/>
                <a:gd name="connsiteX456" fmla="*/ 110966 w 238125"/>
                <a:gd name="connsiteY456" fmla="*/ 89725 h 371475"/>
                <a:gd name="connsiteX457" fmla="*/ 110966 w 238125"/>
                <a:gd name="connsiteY457" fmla="*/ 89059 h 371475"/>
                <a:gd name="connsiteX458" fmla="*/ 108871 w 238125"/>
                <a:gd name="connsiteY458" fmla="*/ 86296 h 371475"/>
                <a:gd name="connsiteX459" fmla="*/ 108204 w 238125"/>
                <a:gd name="connsiteY459" fmla="*/ 87630 h 371475"/>
                <a:gd name="connsiteX460" fmla="*/ 111633 w 238125"/>
                <a:gd name="connsiteY460" fmla="*/ 89725 h 371475"/>
                <a:gd name="connsiteX461" fmla="*/ 107633 w 238125"/>
                <a:gd name="connsiteY461" fmla="*/ 93536 h 371475"/>
                <a:gd name="connsiteX462" fmla="*/ 71342 w 238125"/>
                <a:gd name="connsiteY462" fmla="*/ 139541 h 371475"/>
                <a:gd name="connsiteX463" fmla="*/ 72676 w 238125"/>
                <a:gd name="connsiteY463" fmla="*/ 138208 h 371475"/>
                <a:gd name="connsiteX464" fmla="*/ 72009 w 238125"/>
                <a:gd name="connsiteY464" fmla="*/ 136112 h 371475"/>
                <a:gd name="connsiteX465" fmla="*/ 70676 w 238125"/>
                <a:gd name="connsiteY465" fmla="*/ 137446 h 371475"/>
                <a:gd name="connsiteX466" fmla="*/ 71342 w 238125"/>
                <a:gd name="connsiteY466" fmla="*/ 139541 h 371475"/>
                <a:gd name="connsiteX467" fmla="*/ 137827 w 238125"/>
                <a:gd name="connsiteY467" fmla="*/ 234124 h 371475"/>
                <a:gd name="connsiteX468" fmla="*/ 137160 w 238125"/>
                <a:gd name="connsiteY468" fmla="*/ 234124 h 371475"/>
                <a:gd name="connsiteX469" fmla="*/ 135065 w 238125"/>
                <a:gd name="connsiteY469" fmla="*/ 231362 h 371475"/>
                <a:gd name="connsiteX470" fmla="*/ 135065 w 238125"/>
                <a:gd name="connsiteY470" fmla="*/ 230696 h 371475"/>
                <a:gd name="connsiteX471" fmla="*/ 135731 w 238125"/>
                <a:gd name="connsiteY471" fmla="*/ 230029 h 371475"/>
                <a:gd name="connsiteX472" fmla="*/ 136398 w 238125"/>
                <a:gd name="connsiteY472" fmla="*/ 230696 h 371475"/>
                <a:gd name="connsiteX473" fmla="*/ 137732 w 238125"/>
                <a:gd name="connsiteY473" fmla="*/ 232791 h 371475"/>
                <a:gd name="connsiteX474" fmla="*/ 137732 w 238125"/>
                <a:gd name="connsiteY474" fmla="*/ 234124 h 371475"/>
                <a:gd name="connsiteX475" fmla="*/ 168021 w 238125"/>
                <a:gd name="connsiteY475" fmla="*/ 219742 h 371475"/>
                <a:gd name="connsiteX476" fmla="*/ 167354 w 238125"/>
                <a:gd name="connsiteY476" fmla="*/ 217646 h 371475"/>
                <a:gd name="connsiteX477" fmla="*/ 168021 w 238125"/>
                <a:gd name="connsiteY477" fmla="*/ 216313 h 371475"/>
                <a:gd name="connsiteX478" fmla="*/ 168021 w 238125"/>
                <a:gd name="connsiteY478" fmla="*/ 213550 h 371475"/>
                <a:gd name="connsiteX479" fmla="*/ 167354 w 238125"/>
                <a:gd name="connsiteY479" fmla="*/ 210788 h 371475"/>
                <a:gd name="connsiteX480" fmla="*/ 167354 w 238125"/>
                <a:gd name="connsiteY480" fmla="*/ 208693 h 371475"/>
                <a:gd name="connsiteX481" fmla="*/ 166021 w 238125"/>
                <a:gd name="connsiteY481" fmla="*/ 209360 h 371475"/>
                <a:gd name="connsiteX482" fmla="*/ 164687 w 238125"/>
                <a:gd name="connsiteY482" fmla="*/ 213455 h 371475"/>
                <a:gd name="connsiteX483" fmla="*/ 164687 w 238125"/>
                <a:gd name="connsiteY483" fmla="*/ 215551 h 371475"/>
                <a:gd name="connsiteX484" fmla="*/ 166783 w 238125"/>
                <a:gd name="connsiteY484" fmla="*/ 219646 h 371475"/>
                <a:gd name="connsiteX485" fmla="*/ 168021 w 238125"/>
                <a:gd name="connsiteY485" fmla="*/ 220409 h 371475"/>
                <a:gd name="connsiteX486" fmla="*/ 168021 w 238125"/>
                <a:gd name="connsiteY486" fmla="*/ 219742 h 371475"/>
                <a:gd name="connsiteX487" fmla="*/ 170117 w 238125"/>
                <a:gd name="connsiteY487" fmla="*/ 197168 h 371475"/>
                <a:gd name="connsiteX488" fmla="*/ 168783 w 238125"/>
                <a:gd name="connsiteY488" fmla="*/ 201263 h 371475"/>
                <a:gd name="connsiteX489" fmla="*/ 169450 w 238125"/>
                <a:gd name="connsiteY489" fmla="*/ 204025 h 371475"/>
                <a:gd name="connsiteX490" fmla="*/ 170117 w 238125"/>
                <a:gd name="connsiteY490" fmla="*/ 205359 h 371475"/>
                <a:gd name="connsiteX491" fmla="*/ 169450 w 238125"/>
                <a:gd name="connsiteY491" fmla="*/ 207454 h 371475"/>
                <a:gd name="connsiteX492" fmla="*/ 169450 w 238125"/>
                <a:gd name="connsiteY492" fmla="*/ 208788 h 371475"/>
                <a:gd name="connsiteX493" fmla="*/ 170783 w 238125"/>
                <a:gd name="connsiteY493" fmla="*/ 210121 h 371475"/>
                <a:gd name="connsiteX494" fmla="*/ 172117 w 238125"/>
                <a:gd name="connsiteY494" fmla="*/ 210884 h 371475"/>
                <a:gd name="connsiteX495" fmla="*/ 172784 w 238125"/>
                <a:gd name="connsiteY495" fmla="*/ 210217 h 371475"/>
                <a:gd name="connsiteX496" fmla="*/ 172117 w 238125"/>
                <a:gd name="connsiteY496" fmla="*/ 208883 h 371475"/>
                <a:gd name="connsiteX497" fmla="*/ 171450 w 238125"/>
                <a:gd name="connsiteY497" fmla="*/ 208121 h 371475"/>
                <a:gd name="connsiteX498" fmla="*/ 172117 w 238125"/>
                <a:gd name="connsiteY498" fmla="*/ 201930 h 371475"/>
                <a:gd name="connsiteX499" fmla="*/ 172784 w 238125"/>
                <a:gd name="connsiteY499" fmla="*/ 199835 h 371475"/>
                <a:gd name="connsiteX500" fmla="*/ 172784 w 238125"/>
                <a:gd name="connsiteY500" fmla="*/ 197072 h 371475"/>
                <a:gd name="connsiteX501" fmla="*/ 170021 w 238125"/>
                <a:gd name="connsiteY501" fmla="*/ 195739 h 371475"/>
                <a:gd name="connsiteX502" fmla="*/ 171355 w 238125"/>
                <a:gd name="connsiteY502" fmla="*/ 193643 h 371475"/>
                <a:gd name="connsiteX503" fmla="*/ 171355 w 238125"/>
                <a:gd name="connsiteY503" fmla="*/ 192976 h 371475"/>
                <a:gd name="connsiteX504" fmla="*/ 168593 w 238125"/>
                <a:gd name="connsiteY504" fmla="*/ 194310 h 371475"/>
                <a:gd name="connsiteX505" fmla="*/ 169926 w 238125"/>
                <a:gd name="connsiteY505" fmla="*/ 196405 h 371475"/>
                <a:gd name="connsiteX506" fmla="*/ 169926 w 238125"/>
                <a:gd name="connsiteY506" fmla="*/ 197168 h 371475"/>
                <a:gd name="connsiteX507" fmla="*/ 170783 w 238125"/>
                <a:gd name="connsiteY507" fmla="*/ 182690 h 371475"/>
                <a:gd name="connsiteX508" fmla="*/ 170783 w 238125"/>
                <a:gd name="connsiteY508" fmla="*/ 183356 h 371475"/>
                <a:gd name="connsiteX509" fmla="*/ 171450 w 238125"/>
                <a:gd name="connsiteY509" fmla="*/ 182690 h 371475"/>
                <a:gd name="connsiteX510" fmla="*/ 170783 w 238125"/>
                <a:gd name="connsiteY510" fmla="*/ 182690 h 371475"/>
                <a:gd name="connsiteX511" fmla="*/ 176308 w 238125"/>
                <a:gd name="connsiteY511" fmla="*/ 219742 h 371475"/>
                <a:gd name="connsiteX512" fmla="*/ 181070 w 238125"/>
                <a:gd name="connsiteY512" fmla="*/ 220409 h 371475"/>
                <a:gd name="connsiteX513" fmla="*/ 181737 w 238125"/>
                <a:gd name="connsiteY513" fmla="*/ 220409 h 371475"/>
                <a:gd name="connsiteX514" fmla="*/ 183071 w 238125"/>
                <a:gd name="connsiteY514" fmla="*/ 217646 h 371475"/>
                <a:gd name="connsiteX515" fmla="*/ 182404 w 238125"/>
                <a:gd name="connsiteY515" fmla="*/ 216979 h 371475"/>
                <a:gd name="connsiteX516" fmla="*/ 178975 w 238125"/>
                <a:gd name="connsiteY516" fmla="*/ 218313 h 371475"/>
                <a:gd name="connsiteX517" fmla="*/ 176879 w 238125"/>
                <a:gd name="connsiteY517" fmla="*/ 216979 h 371475"/>
                <a:gd name="connsiteX518" fmla="*/ 176879 w 238125"/>
                <a:gd name="connsiteY518" fmla="*/ 215646 h 371475"/>
                <a:gd name="connsiteX519" fmla="*/ 176213 w 238125"/>
                <a:gd name="connsiteY519" fmla="*/ 214313 h 371475"/>
                <a:gd name="connsiteX520" fmla="*/ 172117 w 238125"/>
                <a:gd name="connsiteY520" fmla="*/ 212979 h 371475"/>
                <a:gd name="connsiteX521" fmla="*/ 170783 w 238125"/>
                <a:gd name="connsiteY521" fmla="*/ 212979 h 371475"/>
                <a:gd name="connsiteX522" fmla="*/ 174212 w 238125"/>
                <a:gd name="connsiteY522" fmla="*/ 219837 h 371475"/>
                <a:gd name="connsiteX523" fmla="*/ 176308 w 238125"/>
                <a:gd name="connsiteY523" fmla="*/ 219837 h 371475"/>
                <a:gd name="connsiteX524" fmla="*/ 174212 w 238125"/>
                <a:gd name="connsiteY524" fmla="*/ 320611 h 371475"/>
                <a:gd name="connsiteX525" fmla="*/ 176308 w 238125"/>
                <a:gd name="connsiteY525" fmla="*/ 320611 h 371475"/>
                <a:gd name="connsiteX526" fmla="*/ 176308 w 238125"/>
                <a:gd name="connsiteY526" fmla="*/ 319945 h 371475"/>
                <a:gd name="connsiteX527" fmla="*/ 174212 w 238125"/>
                <a:gd name="connsiteY527" fmla="*/ 319278 h 371475"/>
                <a:gd name="connsiteX528" fmla="*/ 174212 w 238125"/>
                <a:gd name="connsiteY528" fmla="*/ 320611 h 371475"/>
                <a:gd name="connsiteX529" fmla="*/ 176308 w 238125"/>
                <a:gd name="connsiteY529" fmla="*/ 164211 h 371475"/>
                <a:gd name="connsiteX530" fmla="*/ 174974 w 238125"/>
                <a:gd name="connsiteY530" fmla="*/ 164211 h 371475"/>
                <a:gd name="connsiteX531" fmla="*/ 176308 w 238125"/>
                <a:gd name="connsiteY531" fmla="*/ 164878 h 371475"/>
                <a:gd name="connsiteX532" fmla="*/ 174974 w 238125"/>
                <a:gd name="connsiteY532" fmla="*/ 164878 h 371475"/>
                <a:gd name="connsiteX533" fmla="*/ 183928 w 238125"/>
                <a:gd name="connsiteY533" fmla="*/ 171069 h 371475"/>
                <a:gd name="connsiteX534" fmla="*/ 184594 w 238125"/>
                <a:gd name="connsiteY534" fmla="*/ 171069 h 371475"/>
                <a:gd name="connsiteX535" fmla="*/ 176308 w 238125"/>
                <a:gd name="connsiteY535" fmla="*/ 164211 h 371475"/>
                <a:gd name="connsiteX536" fmla="*/ 176975 w 238125"/>
                <a:gd name="connsiteY536" fmla="*/ 225266 h 371475"/>
                <a:gd name="connsiteX537" fmla="*/ 178308 w 238125"/>
                <a:gd name="connsiteY537" fmla="*/ 226600 h 371475"/>
                <a:gd name="connsiteX538" fmla="*/ 177641 w 238125"/>
                <a:gd name="connsiteY538" fmla="*/ 225266 h 371475"/>
                <a:gd name="connsiteX539" fmla="*/ 176975 w 238125"/>
                <a:gd name="connsiteY539" fmla="*/ 225266 h 371475"/>
                <a:gd name="connsiteX540" fmla="*/ 177641 w 238125"/>
                <a:gd name="connsiteY540" fmla="*/ 238982 h 371475"/>
                <a:gd name="connsiteX541" fmla="*/ 177641 w 238125"/>
                <a:gd name="connsiteY541" fmla="*/ 239649 h 371475"/>
                <a:gd name="connsiteX542" fmla="*/ 178308 w 238125"/>
                <a:gd name="connsiteY542" fmla="*/ 240316 h 371475"/>
                <a:gd name="connsiteX543" fmla="*/ 178975 w 238125"/>
                <a:gd name="connsiteY543" fmla="*/ 238982 h 371475"/>
                <a:gd name="connsiteX544" fmla="*/ 177641 w 238125"/>
                <a:gd name="connsiteY544" fmla="*/ 238982 h 371475"/>
                <a:gd name="connsiteX545" fmla="*/ 180404 w 238125"/>
                <a:gd name="connsiteY545" fmla="*/ 318516 h 371475"/>
                <a:gd name="connsiteX546" fmla="*/ 179070 w 238125"/>
                <a:gd name="connsiteY546" fmla="*/ 317849 h 371475"/>
                <a:gd name="connsiteX547" fmla="*/ 178403 w 238125"/>
                <a:gd name="connsiteY547" fmla="*/ 317183 h 371475"/>
                <a:gd name="connsiteX548" fmla="*/ 177737 w 238125"/>
                <a:gd name="connsiteY548" fmla="*/ 317849 h 371475"/>
                <a:gd name="connsiteX549" fmla="*/ 179832 w 238125"/>
                <a:gd name="connsiteY549" fmla="*/ 319183 h 371475"/>
                <a:gd name="connsiteX550" fmla="*/ 180404 w 238125"/>
                <a:gd name="connsiteY550" fmla="*/ 318516 h 371475"/>
                <a:gd name="connsiteX551" fmla="*/ 182404 w 238125"/>
                <a:gd name="connsiteY551" fmla="*/ 153257 h 371475"/>
                <a:gd name="connsiteX552" fmla="*/ 182404 w 238125"/>
                <a:gd name="connsiteY552" fmla="*/ 152591 h 371475"/>
                <a:gd name="connsiteX553" fmla="*/ 181070 w 238125"/>
                <a:gd name="connsiteY553" fmla="*/ 150495 h 371475"/>
                <a:gd name="connsiteX554" fmla="*/ 180404 w 238125"/>
                <a:gd name="connsiteY554" fmla="*/ 150495 h 371475"/>
                <a:gd name="connsiteX555" fmla="*/ 179070 w 238125"/>
                <a:gd name="connsiteY555" fmla="*/ 152591 h 371475"/>
                <a:gd name="connsiteX556" fmla="*/ 179737 w 238125"/>
                <a:gd name="connsiteY556" fmla="*/ 153924 h 371475"/>
                <a:gd name="connsiteX557" fmla="*/ 181070 w 238125"/>
                <a:gd name="connsiteY557" fmla="*/ 154591 h 371475"/>
                <a:gd name="connsiteX558" fmla="*/ 182404 w 238125"/>
                <a:gd name="connsiteY558" fmla="*/ 153257 h 371475"/>
                <a:gd name="connsiteX559" fmla="*/ 179737 w 238125"/>
                <a:gd name="connsiteY559" fmla="*/ 207454 h 371475"/>
                <a:gd name="connsiteX560" fmla="*/ 180404 w 238125"/>
                <a:gd name="connsiteY560" fmla="*/ 206788 h 371475"/>
                <a:gd name="connsiteX561" fmla="*/ 179737 w 238125"/>
                <a:gd name="connsiteY561" fmla="*/ 206121 h 371475"/>
                <a:gd name="connsiteX562" fmla="*/ 179737 w 238125"/>
                <a:gd name="connsiteY562" fmla="*/ 207454 h 371475"/>
                <a:gd name="connsiteX563" fmla="*/ 183833 w 238125"/>
                <a:gd name="connsiteY563" fmla="*/ 212217 h 371475"/>
                <a:gd name="connsiteX564" fmla="*/ 185166 w 238125"/>
                <a:gd name="connsiteY564" fmla="*/ 213550 h 371475"/>
                <a:gd name="connsiteX565" fmla="*/ 185166 w 238125"/>
                <a:gd name="connsiteY565" fmla="*/ 212217 h 371475"/>
                <a:gd name="connsiteX566" fmla="*/ 186500 w 238125"/>
                <a:gd name="connsiteY566" fmla="*/ 209455 h 371475"/>
                <a:gd name="connsiteX567" fmla="*/ 184404 w 238125"/>
                <a:gd name="connsiteY567" fmla="*/ 208121 h 371475"/>
                <a:gd name="connsiteX568" fmla="*/ 183737 w 238125"/>
                <a:gd name="connsiteY568" fmla="*/ 209455 h 371475"/>
                <a:gd name="connsiteX569" fmla="*/ 183071 w 238125"/>
                <a:gd name="connsiteY569" fmla="*/ 210788 h 371475"/>
                <a:gd name="connsiteX570" fmla="*/ 183833 w 238125"/>
                <a:gd name="connsiteY570" fmla="*/ 212217 h 371475"/>
                <a:gd name="connsiteX571" fmla="*/ 185166 w 238125"/>
                <a:gd name="connsiteY571" fmla="*/ 237553 h 371475"/>
                <a:gd name="connsiteX572" fmla="*/ 185166 w 238125"/>
                <a:gd name="connsiteY572" fmla="*/ 236887 h 371475"/>
                <a:gd name="connsiteX573" fmla="*/ 183833 w 238125"/>
                <a:gd name="connsiteY573" fmla="*/ 236220 h 371475"/>
                <a:gd name="connsiteX574" fmla="*/ 183833 w 238125"/>
                <a:gd name="connsiteY574" fmla="*/ 237553 h 371475"/>
                <a:gd name="connsiteX575" fmla="*/ 185166 w 238125"/>
                <a:gd name="connsiteY575" fmla="*/ 237553 h 371475"/>
                <a:gd name="connsiteX576" fmla="*/ 186595 w 238125"/>
                <a:gd name="connsiteY576" fmla="*/ 199835 h 371475"/>
                <a:gd name="connsiteX577" fmla="*/ 185928 w 238125"/>
                <a:gd name="connsiteY577" fmla="*/ 199835 h 371475"/>
                <a:gd name="connsiteX578" fmla="*/ 184594 w 238125"/>
                <a:gd name="connsiteY578" fmla="*/ 199168 h 371475"/>
                <a:gd name="connsiteX579" fmla="*/ 185261 w 238125"/>
                <a:gd name="connsiteY579" fmla="*/ 197834 h 371475"/>
                <a:gd name="connsiteX580" fmla="*/ 185928 w 238125"/>
                <a:gd name="connsiteY580" fmla="*/ 197834 h 371475"/>
                <a:gd name="connsiteX581" fmla="*/ 188024 w 238125"/>
                <a:gd name="connsiteY581" fmla="*/ 199168 h 371475"/>
                <a:gd name="connsiteX582" fmla="*/ 186595 w 238125"/>
                <a:gd name="connsiteY582" fmla="*/ 199835 h 371475"/>
                <a:gd name="connsiteX583" fmla="*/ 187928 w 238125"/>
                <a:gd name="connsiteY583" fmla="*/ 149162 h 371475"/>
                <a:gd name="connsiteX584" fmla="*/ 187928 w 238125"/>
                <a:gd name="connsiteY584" fmla="*/ 149828 h 371475"/>
                <a:gd name="connsiteX585" fmla="*/ 188595 w 238125"/>
                <a:gd name="connsiteY585" fmla="*/ 150495 h 371475"/>
                <a:gd name="connsiteX586" fmla="*/ 190691 w 238125"/>
                <a:gd name="connsiteY586" fmla="*/ 150495 h 371475"/>
                <a:gd name="connsiteX587" fmla="*/ 190024 w 238125"/>
                <a:gd name="connsiteY587" fmla="*/ 149162 h 371475"/>
                <a:gd name="connsiteX588" fmla="*/ 188690 w 238125"/>
                <a:gd name="connsiteY588" fmla="*/ 148495 h 371475"/>
                <a:gd name="connsiteX589" fmla="*/ 187928 w 238125"/>
                <a:gd name="connsiteY589" fmla="*/ 149162 h 371475"/>
                <a:gd name="connsiteX590" fmla="*/ 189262 w 238125"/>
                <a:gd name="connsiteY590" fmla="*/ 174498 h 371475"/>
                <a:gd name="connsiteX591" fmla="*/ 187928 w 238125"/>
                <a:gd name="connsiteY591" fmla="*/ 174498 h 371475"/>
                <a:gd name="connsiteX592" fmla="*/ 187928 w 238125"/>
                <a:gd name="connsiteY592" fmla="*/ 175165 h 371475"/>
                <a:gd name="connsiteX593" fmla="*/ 188595 w 238125"/>
                <a:gd name="connsiteY593" fmla="*/ 176498 h 371475"/>
                <a:gd name="connsiteX594" fmla="*/ 189262 w 238125"/>
                <a:gd name="connsiteY594" fmla="*/ 176498 h 371475"/>
                <a:gd name="connsiteX595" fmla="*/ 190595 w 238125"/>
                <a:gd name="connsiteY595" fmla="*/ 175165 h 371475"/>
                <a:gd name="connsiteX596" fmla="*/ 189262 w 238125"/>
                <a:gd name="connsiteY596" fmla="*/ 174498 h 371475"/>
                <a:gd name="connsiteX597" fmla="*/ 189262 w 238125"/>
                <a:gd name="connsiteY597" fmla="*/ 171736 h 371475"/>
                <a:gd name="connsiteX598" fmla="*/ 189262 w 238125"/>
                <a:gd name="connsiteY598" fmla="*/ 171069 h 371475"/>
                <a:gd name="connsiteX599" fmla="*/ 188595 w 238125"/>
                <a:gd name="connsiteY599" fmla="*/ 171736 h 371475"/>
                <a:gd name="connsiteX600" fmla="*/ 189262 w 238125"/>
                <a:gd name="connsiteY600" fmla="*/ 171736 h 371475"/>
                <a:gd name="connsiteX601" fmla="*/ 190691 w 238125"/>
                <a:gd name="connsiteY601" fmla="*/ 180689 h 371475"/>
                <a:gd name="connsiteX602" fmla="*/ 191357 w 238125"/>
                <a:gd name="connsiteY602" fmla="*/ 180022 h 371475"/>
                <a:gd name="connsiteX603" fmla="*/ 190691 w 238125"/>
                <a:gd name="connsiteY603" fmla="*/ 178689 h 371475"/>
                <a:gd name="connsiteX604" fmla="*/ 189357 w 238125"/>
                <a:gd name="connsiteY604" fmla="*/ 178689 h 371475"/>
                <a:gd name="connsiteX605" fmla="*/ 190024 w 238125"/>
                <a:gd name="connsiteY605" fmla="*/ 180785 h 371475"/>
                <a:gd name="connsiteX606" fmla="*/ 190691 w 238125"/>
                <a:gd name="connsiteY606" fmla="*/ 180785 h 371475"/>
                <a:gd name="connsiteX607" fmla="*/ 191357 w 238125"/>
                <a:gd name="connsiteY607" fmla="*/ 142970 h 371475"/>
                <a:gd name="connsiteX608" fmla="*/ 192691 w 238125"/>
                <a:gd name="connsiteY608" fmla="*/ 142970 h 371475"/>
                <a:gd name="connsiteX609" fmla="*/ 194786 w 238125"/>
                <a:gd name="connsiteY609" fmla="*/ 143637 h 371475"/>
                <a:gd name="connsiteX610" fmla="*/ 196882 w 238125"/>
                <a:gd name="connsiteY610" fmla="*/ 146399 h 371475"/>
                <a:gd name="connsiteX611" fmla="*/ 198977 w 238125"/>
                <a:gd name="connsiteY611" fmla="*/ 146399 h 371475"/>
                <a:gd name="connsiteX612" fmla="*/ 198977 w 238125"/>
                <a:gd name="connsiteY612" fmla="*/ 145733 h 371475"/>
                <a:gd name="connsiteX613" fmla="*/ 192119 w 238125"/>
                <a:gd name="connsiteY613" fmla="*/ 138874 h 371475"/>
                <a:gd name="connsiteX614" fmla="*/ 191453 w 238125"/>
                <a:gd name="connsiteY614" fmla="*/ 140970 h 371475"/>
                <a:gd name="connsiteX615" fmla="*/ 191453 w 238125"/>
                <a:gd name="connsiteY615" fmla="*/ 142970 h 371475"/>
                <a:gd name="connsiteX616" fmla="*/ 191357 w 238125"/>
                <a:gd name="connsiteY616" fmla="*/ 146399 h 371475"/>
                <a:gd name="connsiteX617" fmla="*/ 192024 w 238125"/>
                <a:gd name="connsiteY617" fmla="*/ 145733 h 371475"/>
                <a:gd name="connsiteX618" fmla="*/ 191357 w 238125"/>
                <a:gd name="connsiteY618" fmla="*/ 145733 h 371475"/>
                <a:gd name="connsiteX619" fmla="*/ 191357 w 238125"/>
                <a:gd name="connsiteY619" fmla="*/ 146399 h 371475"/>
                <a:gd name="connsiteX620" fmla="*/ 198215 w 238125"/>
                <a:gd name="connsiteY620" fmla="*/ 133350 h 371475"/>
                <a:gd name="connsiteX621" fmla="*/ 198882 w 238125"/>
                <a:gd name="connsiteY621" fmla="*/ 132683 h 371475"/>
                <a:gd name="connsiteX622" fmla="*/ 199549 w 238125"/>
                <a:gd name="connsiteY622" fmla="*/ 131350 h 371475"/>
                <a:gd name="connsiteX623" fmla="*/ 198882 w 238125"/>
                <a:gd name="connsiteY623" fmla="*/ 130016 h 371475"/>
                <a:gd name="connsiteX624" fmla="*/ 194786 w 238125"/>
                <a:gd name="connsiteY624" fmla="*/ 126587 h 371475"/>
                <a:gd name="connsiteX625" fmla="*/ 192691 w 238125"/>
                <a:gd name="connsiteY625" fmla="*/ 126587 h 371475"/>
                <a:gd name="connsiteX626" fmla="*/ 192024 w 238125"/>
                <a:gd name="connsiteY626" fmla="*/ 127921 h 371475"/>
                <a:gd name="connsiteX627" fmla="*/ 192691 w 238125"/>
                <a:gd name="connsiteY627" fmla="*/ 128588 h 371475"/>
                <a:gd name="connsiteX628" fmla="*/ 196787 w 238125"/>
                <a:gd name="connsiteY628" fmla="*/ 133350 h 371475"/>
                <a:gd name="connsiteX629" fmla="*/ 198215 w 238125"/>
                <a:gd name="connsiteY629" fmla="*/ 133350 h 371475"/>
                <a:gd name="connsiteX630" fmla="*/ 196120 w 238125"/>
                <a:gd name="connsiteY630" fmla="*/ 149162 h 371475"/>
                <a:gd name="connsiteX631" fmla="*/ 198215 w 238125"/>
                <a:gd name="connsiteY631" fmla="*/ 150495 h 371475"/>
                <a:gd name="connsiteX632" fmla="*/ 198882 w 238125"/>
                <a:gd name="connsiteY632" fmla="*/ 150495 h 371475"/>
                <a:gd name="connsiteX633" fmla="*/ 198215 w 238125"/>
                <a:gd name="connsiteY633" fmla="*/ 149162 h 371475"/>
                <a:gd name="connsiteX634" fmla="*/ 196120 w 238125"/>
                <a:gd name="connsiteY634" fmla="*/ 149162 h 371475"/>
                <a:gd name="connsiteX635" fmla="*/ 198882 w 238125"/>
                <a:gd name="connsiteY635" fmla="*/ 160115 h 371475"/>
                <a:gd name="connsiteX636" fmla="*/ 198882 w 238125"/>
                <a:gd name="connsiteY636" fmla="*/ 160782 h 371475"/>
                <a:gd name="connsiteX637" fmla="*/ 198215 w 238125"/>
                <a:gd name="connsiteY637" fmla="*/ 161449 h 371475"/>
                <a:gd name="connsiteX638" fmla="*/ 196882 w 238125"/>
                <a:gd name="connsiteY638" fmla="*/ 160115 h 371475"/>
                <a:gd name="connsiteX639" fmla="*/ 198882 w 238125"/>
                <a:gd name="connsiteY639" fmla="*/ 160115 h 371475"/>
                <a:gd name="connsiteX640" fmla="*/ 205073 w 238125"/>
                <a:gd name="connsiteY640" fmla="*/ 92202 h 371475"/>
                <a:gd name="connsiteX641" fmla="*/ 202978 w 238125"/>
                <a:gd name="connsiteY641" fmla="*/ 90869 h 371475"/>
                <a:gd name="connsiteX642" fmla="*/ 200882 w 238125"/>
                <a:gd name="connsiteY642" fmla="*/ 90202 h 371475"/>
                <a:gd name="connsiteX643" fmla="*/ 199549 w 238125"/>
                <a:gd name="connsiteY643" fmla="*/ 90869 h 371475"/>
                <a:gd name="connsiteX644" fmla="*/ 200216 w 238125"/>
                <a:gd name="connsiteY644" fmla="*/ 91535 h 371475"/>
                <a:gd name="connsiteX645" fmla="*/ 200882 w 238125"/>
                <a:gd name="connsiteY645" fmla="*/ 92869 h 371475"/>
                <a:gd name="connsiteX646" fmla="*/ 201549 w 238125"/>
                <a:gd name="connsiteY646" fmla="*/ 95631 h 371475"/>
                <a:gd name="connsiteX647" fmla="*/ 202216 w 238125"/>
                <a:gd name="connsiteY647" fmla="*/ 96965 h 371475"/>
                <a:gd name="connsiteX648" fmla="*/ 202883 w 238125"/>
                <a:gd name="connsiteY648" fmla="*/ 97631 h 371475"/>
                <a:gd name="connsiteX649" fmla="*/ 206978 w 238125"/>
                <a:gd name="connsiteY649" fmla="*/ 98298 h 371475"/>
                <a:gd name="connsiteX650" fmla="*/ 207645 w 238125"/>
                <a:gd name="connsiteY650" fmla="*/ 97631 h 371475"/>
                <a:gd name="connsiteX651" fmla="*/ 207645 w 238125"/>
                <a:gd name="connsiteY651" fmla="*/ 96965 h 371475"/>
                <a:gd name="connsiteX652" fmla="*/ 205550 w 238125"/>
                <a:gd name="connsiteY652" fmla="*/ 95631 h 371475"/>
                <a:gd name="connsiteX653" fmla="*/ 205073 w 238125"/>
                <a:gd name="connsiteY653" fmla="*/ 92202 h 371475"/>
                <a:gd name="connsiteX654" fmla="*/ 203740 w 238125"/>
                <a:gd name="connsiteY654" fmla="*/ 114109 h 371475"/>
                <a:gd name="connsiteX655" fmla="*/ 203073 w 238125"/>
                <a:gd name="connsiteY655" fmla="*/ 112776 h 371475"/>
                <a:gd name="connsiteX656" fmla="*/ 200978 w 238125"/>
                <a:gd name="connsiteY656" fmla="*/ 113443 h 371475"/>
                <a:gd name="connsiteX657" fmla="*/ 200978 w 238125"/>
                <a:gd name="connsiteY657" fmla="*/ 114109 h 371475"/>
                <a:gd name="connsiteX658" fmla="*/ 203073 w 238125"/>
                <a:gd name="connsiteY658" fmla="*/ 115443 h 371475"/>
                <a:gd name="connsiteX659" fmla="*/ 203740 w 238125"/>
                <a:gd name="connsiteY659" fmla="*/ 114109 h 371475"/>
                <a:gd name="connsiteX660" fmla="*/ 206407 w 238125"/>
                <a:gd name="connsiteY660" fmla="*/ 69532 h 371475"/>
                <a:gd name="connsiteX661" fmla="*/ 202978 w 238125"/>
                <a:gd name="connsiteY661" fmla="*/ 70866 h 371475"/>
                <a:gd name="connsiteX662" fmla="*/ 202978 w 238125"/>
                <a:gd name="connsiteY662" fmla="*/ 72199 h 371475"/>
                <a:gd name="connsiteX663" fmla="*/ 206407 w 238125"/>
                <a:gd name="connsiteY663" fmla="*/ 76962 h 371475"/>
                <a:gd name="connsiteX664" fmla="*/ 206407 w 238125"/>
                <a:gd name="connsiteY664" fmla="*/ 78296 h 371475"/>
                <a:gd name="connsiteX665" fmla="*/ 207740 w 238125"/>
                <a:gd name="connsiteY665" fmla="*/ 79629 h 371475"/>
                <a:gd name="connsiteX666" fmla="*/ 208407 w 238125"/>
                <a:gd name="connsiteY666" fmla="*/ 79629 h 371475"/>
                <a:gd name="connsiteX667" fmla="*/ 211169 w 238125"/>
                <a:gd name="connsiteY667" fmla="*/ 78962 h 371475"/>
                <a:gd name="connsiteX668" fmla="*/ 212503 w 238125"/>
                <a:gd name="connsiteY668" fmla="*/ 78962 h 371475"/>
                <a:gd name="connsiteX669" fmla="*/ 213169 w 238125"/>
                <a:gd name="connsiteY669" fmla="*/ 77629 h 371475"/>
                <a:gd name="connsiteX670" fmla="*/ 210407 w 238125"/>
                <a:gd name="connsiteY670" fmla="*/ 75533 h 371475"/>
                <a:gd name="connsiteX671" fmla="*/ 209741 w 238125"/>
                <a:gd name="connsiteY671" fmla="*/ 74200 h 371475"/>
                <a:gd name="connsiteX672" fmla="*/ 211074 w 238125"/>
                <a:gd name="connsiteY672" fmla="*/ 70771 h 371475"/>
                <a:gd name="connsiteX673" fmla="*/ 206978 w 238125"/>
                <a:gd name="connsiteY673" fmla="*/ 69437 h 371475"/>
                <a:gd name="connsiteX674" fmla="*/ 206407 w 238125"/>
                <a:gd name="connsiteY674" fmla="*/ 69437 h 371475"/>
                <a:gd name="connsiteX675" fmla="*/ 206407 w 238125"/>
                <a:gd name="connsiteY675" fmla="*/ 118300 h 371475"/>
                <a:gd name="connsiteX676" fmla="*/ 207074 w 238125"/>
                <a:gd name="connsiteY676" fmla="*/ 117634 h 371475"/>
                <a:gd name="connsiteX677" fmla="*/ 206407 w 238125"/>
                <a:gd name="connsiteY677" fmla="*/ 116300 h 371475"/>
                <a:gd name="connsiteX678" fmla="*/ 205740 w 238125"/>
                <a:gd name="connsiteY678" fmla="*/ 117634 h 371475"/>
                <a:gd name="connsiteX679" fmla="*/ 206407 w 238125"/>
                <a:gd name="connsiteY679" fmla="*/ 118300 h 371475"/>
                <a:gd name="connsiteX680" fmla="*/ 209836 w 238125"/>
                <a:gd name="connsiteY680" fmla="*/ 88773 h 371475"/>
                <a:gd name="connsiteX681" fmla="*/ 208502 w 238125"/>
                <a:gd name="connsiteY681" fmla="*/ 88106 h 371475"/>
                <a:gd name="connsiteX682" fmla="*/ 207169 w 238125"/>
                <a:gd name="connsiteY682" fmla="*/ 88773 h 371475"/>
                <a:gd name="connsiteX683" fmla="*/ 207836 w 238125"/>
                <a:gd name="connsiteY683" fmla="*/ 89440 h 371475"/>
                <a:gd name="connsiteX684" fmla="*/ 209836 w 238125"/>
                <a:gd name="connsiteY684" fmla="*/ 88773 h 371475"/>
                <a:gd name="connsiteX685" fmla="*/ 214694 w 238125"/>
                <a:gd name="connsiteY685" fmla="*/ 64103 h 371475"/>
                <a:gd name="connsiteX686" fmla="*/ 214694 w 238125"/>
                <a:gd name="connsiteY686" fmla="*/ 63437 h 371475"/>
                <a:gd name="connsiteX687" fmla="*/ 213360 w 238125"/>
                <a:gd name="connsiteY687" fmla="*/ 63437 h 371475"/>
                <a:gd name="connsiteX688" fmla="*/ 212027 w 238125"/>
                <a:gd name="connsiteY688" fmla="*/ 62770 h 371475"/>
                <a:gd name="connsiteX689" fmla="*/ 211360 w 238125"/>
                <a:gd name="connsiteY689" fmla="*/ 62770 h 371475"/>
                <a:gd name="connsiteX690" fmla="*/ 210693 w 238125"/>
                <a:gd name="connsiteY690" fmla="*/ 64865 h 371475"/>
                <a:gd name="connsiteX691" fmla="*/ 211360 w 238125"/>
                <a:gd name="connsiteY691" fmla="*/ 66199 h 371475"/>
                <a:gd name="connsiteX692" fmla="*/ 214694 w 238125"/>
                <a:gd name="connsiteY692" fmla="*/ 64103 h 371475"/>
                <a:gd name="connsiteX693" fmla="*/ 218123 w 238125"/>
                <a:gd name="connsiteY693" fmla="*/ 67532 h 371475"/>
                <a:gd name="connsiteX694" fmla="*/ 217456 w 238125"/>
                <a:gd name="connsiteY694" fmla="*/ 66199 h 371475"/>
                <a:gd name="connsiteX695" fmla="*/ 215360 w 238125"/>
                <a:gd name="connsiteY695" fmla="*/ 66199 h 371475"/>
                <a:gd name="connsiteX696" fmla="*/ 216027 w 238125"/>
                <a:gd name="connsiteY696" fmla="*/ 67532 h 371475"/>
                <a:gd name="connsiteX697" fmla="*/ 218123 w 238125"/>
                <a:gd name="connsiteY697" fmla="*/ 67532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</a:cxnLst>
              <a:rect l="l" t="t" r="r" b="b"/>
              <a:pathLst>
                <a:path w="238125" h="371475">
                  <a:moveTo>
                    <a:pt x="140589" y="333661"/>
                  </a:moveTo>
                  <a:cubicBezTo>
                    <a:pt x="140589" y="332994"/>
                    <a:pt x="139922" y="331565"/>
                    <a:pt x="139922" y="330898"/>
                  </a:cubicBezTo>
                  <a:lnTo>
                    <a:pt x="139922" y="327469"/>
                  </a:lnTo>
                  <a:cubicBezTo>
                    <a:pt x="139922" y="326136"/>
                    <a:pt x="139922" y="324040"/>
                    <a:pt x="139256" y="321278"/>
                  </a:cubicBezTo>
                  <a:cubicBezTo>
                    <a:pt x="139256" y="320611"/>
                    <a:pt x="139256" y="319183"/>
                    <a:pt x="137922" y="317849"/>
                  </a:cubicBezTo>
                  <a:cubicBezTo>
                    <a:pt x="139256" y="314420"/>
                    <a:pt x="139256" y="312325"/>
                    <a:pt x="140018" y="310324"/>
                  </a:cubicBezTo>
                  <a:lnTo>
                    <a:pt x="140018" y="307562"/>
                  </a:lnTo>
                  <a:cubicBezTo>
                    <a:pt x="139351" y="304800"/>
                    <a:pt x="139351" y="304800"/>
                    <a:pt x="139351" y="304133"/>
                  </a:cubicBezTo>
                  <a:lnTo>
                    <a:pt x="139351" y="300704"/>
                  </a:lnTo>
                  <a:cubicBezTo>
                    <a:pt x="139351" y="297942"/>
                    <a:pt x="139351" y="296609"/>
                    <a:pt x="138017" y="295180"/>
                  </a:cubicBezTo>
                  <a:cubicBezTo>
                    <a:pt x="138017" y="294513"/>
                    <a:pt x="140780" y="249936"/>
                    <a:pt x="140780" y="240983"/>
                  </a:cubicBezTo>
                  <a:lnTo>
                    <a:pt x="140780" y="239649"/>
                  </a:lnTo>
                  <a:cubicBezTo>
                    <a:pt x="141446" y="238982"/>
                    <a:pt x="143542" y="238982"/>
                    <a:pt x="144209" y="238982"/>
                  </a:cubicBezTo>
                  <a:lnTo>
                    <a:pt x="144209" y="236220"/>
                  </a:lnTo>
                  <a:cubicBezTo>
                    <a:pt x="144209" y="235553"/>
                    <a:pt x="143542" y="234887"/>
                    <a:pt x="142113" y="234124"/>
                  </a:cubicBezTo>
                  <a:cubicBezTo>
                    <a:pt x="141446" y="233458"/>
                    <a:pt x="141446" y="232791"/>
                    <a:pt x="141446" y="231362"/>
                  </a:cubicBezTo>
                  <a:lnTo>
                    <a:pt x="141446" y="230029"/>
                  </a:lnTo>
                  <a:cubicBezTo>
                    <a:pt x="141446" y="229362"/>
                    <a:pt x="141446" y="228695"/>
                    <a:pt x="142113" y="227933"/>
                  </a:cubicBezTo>
                  <a:cubicBezTo>
                    <a:pt x="143447" y="227267"/>
                    <a:pt x="144209" y="226600"/>
                    <a:pt x="144209" y="224504"/>
                  </a:cubicBezTo>
                  <a:cubicBezTo>
                    <a:pt x="144875" y="224504"/>
                    <a:pt x="144209" y="223838"/>
                    <a:pt x="144209" y="223838"/>
                  </a:cubicBezTo>
                  <a:cubicBezTo>
                    <a:pt x="143542" y="223171"/>
                    <a:pt x="143542" y="223171"/>
                    <a:pt x="142113" y="223171"/>
                  </a:cubicBezTo>
                  <a:cubicBezTo>
                    <a:pt x="142780" y="223171"/>
                    <a:pt x="142780" y="223838"/>
                    <a:pt x="142780" y="223838"/>
                  </a:cubicBezTo>
                  <a:cubicBezTo>
                    <a:pt x="142780" y="224504"/>
                    <a:pt x="142113" y="224504"/>
                    <a:pt x="141446" y="224504"/>
                  </a:cubicBezTo>
                  <a:cubicBezTo>
                    <a:pt x="140780" y="225171"/>
                    <a:pt x="140113" y="225838"/>
                    <a:pt x="139351" y="225838"/>
                  </a:cubicBezTo>
                  <a:lnTo>
                    <a:pt x="138684" y="225171"/>
                  </a:lnTo>
                  <a:lnTo>
                    <a:pt x="137160" y="225171"/>
                  </a:lnTo>
                  <a:cubicBezTo>
                    <a:pt x="133731" y="225171"/>
                    <a:pt x="131636" y="226504"/>
                    <a:pt x="131636" y="228600"/>
                  </a:cubicBezTo>
                  <a:cubicBezTo>
                    <a:pt x="131636" y="230696"/>
                    <a:pt x="128873" y="232029"/>
                    <a:pt x="127540" y="233363"/>
                  </a:cubicBezTo>
                  <a:cubicBezTo>
                    <a:pt x="126206" y="234029"/>
                    <a:pt x="124778" y="234696"/>
                    <a:pt x="124778" y="236792"/>
                  </a:cubicBezTo>
                  <a:cubicBezTo>
                    <a:pt x="124778" y="238125"/>
                    <a:pt x="122682" y="237458"/>
                    <a:pt x="122682" y="238887"/>
                  </a:cubicBezTo>
                  <a:lnTo>
                    <a:pt x="122682" y="239554"/>
                  </a:lnTo>
                  <a:lnTo>
                    <a:pt x="118586" y="245745"/>
                  </a:lnTo>
                  <a:lnTo>
                    <a:pt x="118586" y="246412"/>
                  </a:lnTo>
                  <a:cubicBezTo>
                    <a:pt x="115824" y="249174"/>
                    <a:pt x="115157" y="251936"/>
                    <a:pt x="114491" y="253937"/>
                  </a:cubicBezTo>
                  <a:cubicBezTo>
                    <a:pt x="114491" y="253937"/>
                    <a:pt x="113824" y="255270"/>
                    <a:pt x="113157" y="255270"/>
                  </a:cubicBezTo>
                  <a:cubicBezTo>
                    <a:pt x="111062" y="255270"/>
                    <a:pt x="109728" y="256603"/>
                    <a:pt x="108395" y="258032"/>
                  </a:cubicBezTo>
                  <a:lnTo>
                    <a:pt x="106299" y="261461"/>
                  </a:lnTo>
                  <a:lnTo>
                    <a:pt x="92583" y="272415"/>
                  </a:lnTo>
                  <a:cubicBezTo>
                    <a:pt x="90488" y="273272"/>
                    <a:pt x="87821" y="273272"/>
                    <a:pt x="85725" y="274606"/>
                  </a:cubicBezTo>
                  <a:cubicBezTo>
                    <a:pt x="85058" y="275272"/>
                    <a:pt x="84392" y="275939"/>
                    <a:pt x="83630" y="275939"/>
                  </a:cubicBezTo>
                  <a:cubicBezTo>
                    <a:pt x="79534" y="276606"/>
                    <a:pt x="74676" y="276606"/>
                    <a:pt x="72009" y="278035"/>
                  </a:cubicBezTo>
                  <a:lnTo>
                    <a:pt x="67247" y="278035"/>
                  </a:lnTo>
                  <a:cubicBezTo>
                    <a:pt x="63151" y="278035"/>
                    <a:pt x="59055" y="278701"/>
                    <a:pt x="55626" y="279368"/>
                  </a:cubicBezTo>
                  <a:lnTo>
                    <a:pt x="51435" y="279368"/>
                  </a:lnTo>
                  <a:cubicBezTo>
                    <a:pt x="50102" y="279368"/>
                    <a:pt x="48673" y="278701"/>
                    <a:pt x="48006" y="278035"/>
                  </a:cubicBezTo>
                  <a:cubicBezTo>
                    <a:pt x="47339" y="276701"/>
                    <a:pt x="45911" y="276701"/>
                    <a:pt x="45244" y="276701"/>
                  </a:cubicBezTo>
                  <a:lnTo>
                    <a:pt x="42482" y="276701"/>
                  </a:lnTo>
                  <a:cubicBezTo>
                    <a:pt x="41148" y="276701"/>
                    <a:pt x="39719" y="276035"/>
                    <a:pt x="38386" y="276035"/>
                  </a:cubicBezTo>
                  <a:cubicBezTo>
                    <a:pt x="37052" y="275368"/>
                    <a:pt x="35624" y="275368"/>
                    <a:pt x="34290" y="275368"/>
                  </a:cubicBezTo>
                  <a:lnTo>
                    <a:pt x="27432" y="275368"/>
                  </a:lnTo>
                  <a:cubicBezTo>
                    <a:pt x="26099" y="274701"/>
                    <a:pt x="26099" y="273272"/>
                    <a:pt x="25337" y="273272"/>
                  </a:cubicBezTo>
                  <a:cubicBezTo>
                    <a:pt x="23241" y="270510"/>
                    <a:pt x="19812" y="267081"/>
                    <a:pt x="17145" y="265081"/>
                  </a:cubicBezTo>
                  <a:lnTo>
                    <a:pt x="15050" y="262985"/>
                  </a:lnTo>
                  <a:lnTo>
                    <a:pt x="11621" y="256127"/>
                  </a:lnTo>
                  <a:cubicBezTo>
                    <a:pt x="8858" y="254032"/>
                    <a:pt x="6858" y="252698"/>
                    <a:pt x="6858" y="249936"/>
                  </a:cubicBezTo>
                  <a:cubicBezTo>
                    <a:pt x="6858" y="248602"/>
                    <a:pt x="5525" y="247841"/>
                    <a:pt x="4763" y="246507"/>
                  </a:cubicBezTo>
                  <a:cubicBezTo>
                    <a:pt x="4763" y="245840"/>
                    <a:pt x="4763" y="245173"/>
                    <a:pt x="5429" y="245173"/>
                  </a:cubicBezTo>
                  <a:cubicBezTo>
                    <a:pt x="6763" y="245173"/>
                    <a:pt x="7525" y="245173"/>
                    <a:pt x="7525" y="244507"/>
                  </a:cubicBezTo>
                  <a:cubicBezTo>
                    <a:pt x="7525" y="243173"/>
                    <a:pt x="6858" y="242411"/>
                    <a:pt x="6191" y="242411"/>
                  </a:cubicBezTo>
                  <a:cubicBezTo>
                    <a:pt x="6191" y="241745"/>
                    <a:pt x="6191" y="241745"/>
                    <a:pt x="5525" y="241745"/>
                  </a:cubicBezTo>
                  <a:lnTo>
                    <a:pt x="4763" y="241745"/>
                  </a:lnTo>
                  <a:lnTo>
                    <a:pt x="4763" y="242411"/>
                  </a:lnTo>
                  <a:lnTo>
                    <a:pt x="2762" y="242411"/>
                  </a:lnTo>
                  <a:lnTo>
                    <a:pt x="1429" y="235553"/>
                  </a:lnTo>
                  <a:cubicBezTo>
                    <a:pt x="667" y="234124"/>
                    <a:pt x="0" y="234124"/>
                    <a:pt x="0" y="232791"/>
                  </a:cubicBezTo>
                  <a:cubicBezTo>
                    <a:pt x="0" y="232124"/>
                    <a:pt x="667" y="231458"/>
                    <a:pt x="667" y="230696"/>
                  </a:cubicBezTo>
                  <a:lnTo>
                    <a:pt x="1334" y="230696"/>
                  </a:lnTo>
                  <a:cubicBezTo>
                    <a:pt x="1334" y="231362"/>
                    <a:pt x="1334" y="231362"/>
                    <a:pt x="2000" y="231362"/>
                  </a:cubicBezTo>
                  <a:lnTo>
                    <a:pt x="2000" y="232029"/>
                  </a:lnTo>
                  <a:cubicBezTo>
                    <a:pt x="2000" y="234124"/>
                    <a:pt x="2667" y="234791"/>
                    <a:pt x="3334" y="236125"/>
                  </a:cubicBezTo>
                  <a:cubicBezTo>
                    <a:pt x="3334" y="236792"/>
                    <a:pt x="4000" y="237458"/>
                    <a:pt x="4000" y="238220"/>
                  </a:cubicBezTo>
                  <a:cubicBezTo>
                    <a:pt x="4667" y="239554"/>
                    <a:pt x="4667" y="239554"/>
                    <a:pt x="5334" y="239554"/>
                  </a:cubicBezTo>
                  <a:lnTo>
                    <a:pt x="6001" y="238887"/>
                  </a:lnTo>
                  <a:lnTo>
                    <a:pt x="6001" y="234124"/>
                  </a:lnTo>
                  <a:cubicBezTo>
                    <a:pt x="6001" y="233458"/>
                    <a:pt x="6001" y="232029"/>
                    <a:pt x="7334" y="231362"/>
                  </a:cubicBezTo>
                  <a:cubicBezTo>
                    <a:pt x="7334" y="231362"/>
                    <a:pt x="6668" y="230029"/>
                    <a:pt x="6668" y="229267"/>
                  </a:cubicBezTo>
                  <a:cubicBezTo>
                    <a:pt x="6001" y="227171"/>
                    <a:pt x="5334" y="223742"/>
                    <a:pt x="5334" y="221075"/>
                  </a:cubicBezTo>
                  <a:lnTo>
                    <a:pt x="5334" y="210884"/>
                  </a:lnTo>
                  <a:cubicBezTo>
                    <a:pt x="5334" y="210217"/>
                    <a:pt x="5334" y="209550"/>
                    <a:pt x="6001" y="208788"/>
                  </a:cubicBezTo>
                  <a:lnTo>
                    <a:pt x="6001" y="204025"/>
                  </a:lnTo>
                  <a:cubicBezTo>
                    <a:pt x="6668" y="202692"/>
                    <a:pt x="8763" y="201263"/>
                    <a:pt x="11525" y="200596"/>
                  </a:cubicBezTo>
                  <a:cubicBezTo>
                    <a:pt x="11525" y="199263"/>
                    <a:pt x="8763" y="198501"/>
                    <a:pt x="8763" y="197168"/>
                  </a:cubicBezTo>
                  <a:cubicBezTo>
                    <a:pt x="7429" y="197168"/>
                    <a:pt x="7429" y="197168"/>
                    <a:pt x="7429" y="196501"/>
                  </a:cubicBezTo>
                  <a:lnTo>
                    <a:pt x="6858" y="196501"/>
                  </a:lnTo>
                  <a:lnTo>
                    <a:pt x="8192" y="195167"/>
                  </a:lnTo>
                  <a:cubicBezTo>
                    <a:pt x="8858" y="194500"/>
                    <a:pt x="12287" y="194500"/>
                    <a:pt x="12287" y="192405"/>
                  </a:cubicBezTo>
                  <a:lnTo>
                    <a:pt x="12287" y="188309"/>
                  </a:lnTo>
                  <a:lnTo>
                    <a:pt x="11621" y="187643"/>
                  </a:lnTo>
                  <a:cubicBezTo>
                    <a:pt x="12287" y="185547"/>
                    <a:pt x="12287" y="182880"/>
                    <a:pt x="12954" y="181451"/>
                  </a:cubicBezTo>
                  <a:cubicBezTo>
                    <a:pt x="12954" y="179356"/>
                    <a:pt x="13621" y="178022"/>
                    <a:pt x="13621" y="175927"/>
                  </a:cubicBezTo>
                  <a:cubicBezTo>
                    <a:pt x="13621" y="173831"/>
                    <a:pt x="14288" y="173165"/>
                    <a:pt x="14288" y="171831"/>
                  </a:cubicBezTo>
                  <a:cubicBezTo>
                    <a:pt x="14954" y="170497"/>
                    <a:pt x="14954" y="169069"/>
                    <a:pt x="16383" y="167069"/>
                  </a:cubicBezTo>
                  <a:cubicBezTo>
                    <a:pt x="17050" y="165735"/>
                    <a:pt x="18479" y="164973"/>
                    <a:pt x="19145" y="164306"/>
                  </a:cubicBezTo>
                  <a:lnTo>
                    <a:pt x="19145" y="163640"/>
                  </a:lnTo>
                  <a:cubicBezTo>
                    <a:pt x="19145" y="162973"/>
                    <a:pt x="19812" y="163640"/>
                    <a:pt x="19812" y="162306"/>
                  </a:cubicBezTo>
                  <a:lnTo>
                    <a:pt x="19812" y="161639"/>
                  </a:lnTo>
                  <a:lnTo>
                    <a:pt x="22574" y="157544"/>
                  </a:lnTo>
                  <a:cubicBezTo>
                    <a:pt x="23241" y="156877"/>
                    <a:pt x="23241" y="154781"/>
                    <a:pt x="23241" y="153448"/>
                  </a:cubicBezTo>
                  <a:lnTo>
                    <a:pt x="26003" y="147923"/>
                  </a:lnTo>
                  <a:cubicBezTo>
                    <a:pt x="26003" y="145828"/>
                    <a:pt x="26670" y="143827"/>
                    <a:pt x="27337" y="143161"/>
                  </a:cubicBezTo>
                  <a:lnTo>
                    <a:pt x="28670" y="141065"/>
                  </a:lnTo>
                  <a:cubicBezTo>
                    <a:pt x="28670" y="138970"/>
                    <a:pt x="29337" y="137636"/>
                    <a:pt x="30766" y="136970"/>
                  </a:cubicBezTo>
                  <a:lnTo>
                    <a:pt x="33623" y="134684"/>
                  </a:lnTo>
                  <a:lnTo>
                    <a:pt x="33623" y="131921"/>
                  </a:lnTo>
                  <a:cubicBezTo>
                    <a:pt x="36386" y="129159"/>
                    <a:pt x="37719" y="126397"/>
                    <a:pt x="39148" y="122968"/>
                  </a:cubicBezTo>
                  <a:cubicBezTo>
                    <a:pt x="39148" y="120872"/>
                    <a:pt x="39815" y="120872"/>
                    <a:pt x="41243" y="120205"/>
                  </a:cubicBezTo>
                  <a:cubicBezTo>
                    <a:pt x="42577" y="119539"/>
                    <a:pt x="44672" y="118110"/>
                    <a:pt x="44672" y="116110"/>
                  </a:cubicBezTo>
                  <a:cubicBezTo>
                    <a:pt x="44672" y="115443"/>
                    <a:pt x="45339" y="114776"/>
                    <a:pt x="45339" y="114014"/>
                  </a:cubicBezTo>
                  <a:cubicBezTo>
                    <a:pt x="46673" y="111919"/>
                    <a:pt x="48101" y="110585"/>
                    <a:pt x="49435" y="107823"/>
                  </a:cubicBezTo>
                  <a:cubicBezTo>
                    <a:pt x="50102" y="106490"/>
                    <a:pt x="52197" y="105727"/>
                    <a:pt x="52197" y="104394"/>
                  </a:cubicBezTo>
                  <a:cubicBezTo>
                    <a:pt x="52197" y="103727"/>
                    <a:pt x="52864" y="103061"/>
                    <a:pt x="54293" y="103061"/>
                  </a:cubicBezTo>
                  <a:lnTo>
                    <a:pt x="57722" y="96869"/>
                  </a:lnTo>
                  <a:cubicBezTo>
                    <a:pt x="57722" y="96202"/>
                    <a:pt x="57722" y="96202"/>
                    <a:pt x="58388" y="96202"/>
                  </a:cubicBezTo>
                  <a:lnTo>
                    <a:pt x="59055" y="96202"/>
                  </a:lnTo>
                  <a:cubicBezTo>
                    <a:pt x="61817" y="93440"/>
                    <a:pt x="61817" y="90678"/>
                    <a:pt x="63151" y="88678"/>
                  </a:cubicBezTo>
                  <a:cubicBezTo>
                    <a:pt x="63818" y="86582"/>
                    <a:pt x="64484" y="85249"/>
                    <a:pt x="67247" y="83153"/>
                  </a:cubicBezTo>
                  <a:cubicBezTo>
                    <a:pt x="69342" y="81820"/>
                    <a:pt x="69342" y="79057"/>
                    <a:pt x="72009" y="76295"/>
                  </a:cubicBezTo>
                  <a:cubicBezTo>
                    <a:pt x="74105" y="74200"/>
                    <a:pt x="76772" y="70771"/>
                    <a:pt x="80963" y="69437"/>
                  </a:cubicBezTo>
                  <a:cubicBezTo>
                    <a:pt x="83058" y="68104"/>
                    <a:pt x="83725" y="66008"/>
                    <a:pt x="85058" y="64675"/>
                  </a:cubicBezTo>
                  <a:cubicBezTo>
                    <a:pt x="85725" y="63341"/>
                    <a:pt x="86392" y="61913"/>
                    <a:pt x="89154" y="61913"/>
                  </a:cubicBezTo>
                  <a:lnTo>
                    <a:pt x="92583" y="59817"/>
                  </a:lnTo>
                  <a:cubicBezTo>
                    <a:pt x="93917" y="58483"/>
                    <a:pt x="96012" y="57055"/>
                    <a:pt x="96679" y="55054"/>
                  </a:cubicBezTo>
                  <a:lnTo>
                    <a:pt x="97346" y="56388"/>
                  </a:lnTo>
                  <a:cubicBezTo>
                    <a:pt x="98679" y="57721"/>
                    <a:pt x="98679" y="58483"/>
                    <a:pt x="99441" y="59817"/>
                  </a:cubicBezTo>
                  <a:cubicBezTo>
                    <a:pt x="100108" y="58483"/>
                    <a:pt x="101537" y="58483"/>
                    <a:pt x="101537" y="57055"/>
                  </a:cubicBezTo>
                  <a:cubicBezTo>
                    <a:pt x="101537" y="56388"/>
                    <a:pt x="100870" y="54959"/>
                    <a:pt x="100203" y="54293"/>
                  </a:cubicBezTo>
                  <a:lnTo>
                    <a:pt x="100203" y="53626"/>
                  </a:lnTo>
                  <a:cubicBezTo>
                    <a:pt x="102965" y="52959"/>
                    <a:pt x="104966" y="51530"/>
                    <a:pt x="107728" y="50197"/>
                  </a:cubicBezTo>
                  <a:cubicBezTo>
                    <a:pt x="113919" y="47434"/>
                    <a:pt x="119348" y="47434"/>
                    <a:pt x="124873" y="46768"/>
                  </a:cubicBezTo>
                  <a:cubicBezTo>
                    <a:pt x="126206" y="46101"/>
                    <a:pt x="127635" y="46101"/>
                    <a:pt x="128969" y="46101"/>
                  </a:cubicBezTo>
                  <a:cubicBezTo>
                    <a:pt x="130302" y="46768"/>
                    <a:pt x="133064" y="46768"/>
                    <a:pt x="134493" y="46768"/>
                  </a:cubicBezTo>
                  <a:cubicBezTo>
                    <a:pt x="135160" y="46768"/>
                    <a:pt x="135827" y="47434"/>
                    <a:pt x="136589" y="47434"/>
                  </a:cubicBezTo>
                  <a:cubicBezTo>
                    <a:pt x="137351" y="47434"/>
                    <a:pt x="137922" y="48101"/>
                    <a:pt x="138684" y="48101"/>
                  </a:cubicBezTo>
                  <a:cubicBezTo>
                    <a:pt x="140018" y="48101"/>
                    <a:pt x="141446" y="48101"/>
                    <a:pt x="143447" y="48768"/>
                  </a:cubicBezTo>
                  <a:cubicBezTo>
                    <a:pt x="145542" y="50101"/>
                    <a:pt x="148209" y="51530"/>
                    <a:pt x="150305" y="53530"/>
                  </a:cubicBezTo>
                  <a:cubicBezTo>
                    <a:pt x="155067" y="56293"/>
                    <a:pt x="158496" y="59055"/>
                    <a:pt x="161925" y="61722"/>
                  </a:cubicBezTo>
                  <a:cubicBezTo>
                    <a:pt x="163259" y="63055"/>
                    <a:pt x="166688" y="63818"/>
                    <a:pt x="168116" y="63818"/>
                  </a:cubicBezTo>
                  <a:cubicBezTo>
                    <a:pt x="168783" y="64484"/>
                    <a:pt x="168783" y="64484"/>
                    <a:pt x="169450" y="64484"/>
                  </a:cubicBezTo>
                  <a:cubicBezTo>
                    <a:pt x="170117" y="64484"/>
                    <a:pt x="171545" y="63151"/>
                    <a:pt x="172212" y="62389"/>
                  </a:cubicBezTo>
                  <a:cubicBezTo>
                    <a:pt x="172879" y="61722"/>
                    <a:pt x="173546" y="61055"/>
                    <a:pt x="173546" y="60293"/>
                  </a:cubicBezTo>
                  <a:cubicBezTo>
                    <a:pt x="173546" y="59626"/>
                    <a:pt x="172879" y="59626"/>
                    <a:pt x="172879" y="58960"/>
                  </a:cubicBezTo>
                  <a:cubicBezTo>
                    <a:pt x="172879" y="58293"/>
                    <a:pt x="173546" y="57626"/>
                    <a:pt x="174974" y="57626"/>
                  </a:cubicBezTo>
                  <a:lnTo>
                    <a:pt x="177070" y="58960"/>
                  </a:lnTo>
                  <a:cubicBezTo>
                    <a:pt x="177737" y="59626"/>
                    <a:pt x="178403" y="59626"/>
                    <a:pt x="179165" y="59626"/>
                  </a:cubicBezTo>
                  <a:lnTo>
                    <a:pt x="179832" y="58960"/>
                  </a:lnTo>
                  <a:lnTo>
                    <a:pt x="179832" y="58293"/>
                  </a:lnTo>
                  <a:cubicBezTo>
                    <a:pt x="177737" y="56959"/>
                    <a:pt x="175069" y="54197"/>
                    <a:pt x="175069" y="53530"/>
                  </a:cubicBezTo>
                  <a:cubicBezTo>
                    <a:pt x="175069" y="51435"/>
                    <a:pt x="175736" y="52197"/>
                    <a:pt x="177165" y="50768"/>
                  </a:cubicBezTo>
                  <a:cubicBezTo>
                    <a:pt x="181928" y="52102"/>
                    <a:pt x="188119" y="22003"/>
                    <a:pt x="188786" y="22003"/>
                  </a:cubicBezTo>
                  <a:lnTo>
                    <a:pt x="188786" y="20669"/>
                  </a:lnTo>
                  <a:cubicBezTo>
                    <a:pt x="191548" y="17240"/>
                    <a:pt x="192215" y="13811"/>
                    <a:pt x="192881" y="10382"/>
                  </a:cubicBezTo>
                  <a:cubicBezTo>
                    <a:pt x="192881" y="9049"/>
                    <a:pt x="193548" y="8287"/>
                    <a:pt x="194215" y="6953"/>
                  </a:cubicBezTo>
                  <a:cubicBezTo>
                    <a:pt x="194881" y="6286"/>
                    <a:pt x="195548" y="6286"/>
                    <a:pt x="196310" y="4858"/>
                  </a:cubicBezTo>
                  <a:cubicBezTo>
                    <a:pt x="197072" y="3429"/>
                    <a:pt x="196977" y="2762"/>
                    <a:pt x="198406" y="2762"/>
                  </a:cubicBezTo>
                  <a:cubicBezTo>
                    <a:pt x="199739" y="1429"/>
                    <a:pt x="200501" y="667"/>
                    <a:pt x="202502" y="667"/>
                  </a:cubicBezTo>
                  <a:lnTo>
                    <a:pt x="204597" y="667"/>
                  </a:lnTo>
                  <a:cubicBezTo>
                    <a:pt x="206693" y="667"/>
                    <a:pt x="209360" y="0"/>
                    <a:pt x="211455" y="0"/>
                  </a:cubicBezTo>
                  <a:cubicBezTo>
                    <a:pt x="212789" y="0"/>
                    <a:pt x="214217" y="667"/>
                    <a:pt x="215551" y="2095"/>
                  </a:cubicBezTo>
                  <a:cubicBezTo>
                    <a:pt x="215551" y="2095"/>
                    <a:pt x="216218" y="2762"/>
                    <a:pt x="216884" y="2762"/>
                  </a:cubicBezTo>
                  <a:cubicBezTo>
                    <a:pt x="219647" y="6191"/>
                    <a:pt x="222409" y="7525"/>
                    <a:pt x="225076" y="8287"/>
                  </a:cubicBezTo>
                  <a:cubicBezTo>
                    <a:pt x="227171" y="9620"/>
                    <a:pt x="229838" y="11049"/>
                    <a:pt x="231934" y="11049"/>
                  </a:cubicBezTo>
                  <a:cubicBezTo>
                    <a:pt x="234696" y="13145"/>
                    <a:pt x="237458" y="13811"/>
                    <a:pt x="237458" y="16573"/>
                  </a:cubicBezTo>
                  <a:cubicBezTo>
                    <a:pt x="238125" y="16573"/>
                    <a:pt x="238792" y="17240"/>
                    <a:pt x="240887" y="17240"/>
                  </a:cubicBezTo>
                  <a:cubicBezTo>
                    <a:pt x="241554" y="18574"/>
                    <a:pt x="242221" y="20002"/>
                    <a:pt x="242221" y="21336"/>
                  </a:cubicBezTo>
                  <a:lnTo>
                    <a:pt x="242221" y="23431"/>
                  </a:lnTo>
                  <a:cubicBezTo>
                    <a:pt x="240887" y="24765"/>
                    <a:pt x="227171" y="51530"/>
                    <a:pt x="225743" y="50197"/>
                  </a:cubicBezTo>
                  <a:lnTo>
                    <a:pt x="225743" y="52292"/>
                  </a:lnTo>
                  <a:lnTo>
                    <a:pt x="225076" y="52292"/>
                  </a:lnTo>
                  <a:cubicBezTo>
                    <a:pt x="225076" y="52959"/>
                    <a:pt x="224409" y="53626"/>
                    <a:pt x="223742" y="53626"/>
                  </a:cubicBezTo>
                  <a:lnTo>
                    <a:pt x="223742" y="52292"/>
                  </a:lnTo>
                  <a:cubicBezTo>
                    <a:pt x="223742" y="52292"/>
                    <a:pt x="223076" y="52292"/>
                    <a:pt x="222409" y="51625"/>
                  </a:cubicBezTo>
                  <a:cubicBezTo>
                    <a:pt x="221075" y="51625"/>
                    <a:pt x="220313" y="52292"/>
                    <a:pt x="219647" y="52292"/>
                  </a:cubicBezTo>
                  <a:lnTo>
                    <a:pt x="219647" y="53626"/>
                  </a:lnTo>
                  <a:lnTo>
                    <a:pt x="224409" y="53626"/>
                  </a:lnTo>
                  <a:lnTo>
                    <a:pt x="224409" y="55721"/>
                  </a:lnTo>
                  <a:cubicBezTo>
                    <a:pt x="223076" y="56388"/>
                    <a:pt x="222314" y="57055"/>
                    <a:pt x="222314" y="57817"/>
                  </a:cubicBezTo>
                  <a:cubicBezTo>
                    <a:pt x="222314" y="58579"/>
                    <a:pt x="222980" y="59912"/>
                    <a:pt x="222980" y="59912"/>
                  </a:cubicBezTo>
                  <a:lnTo>
                    <a:pt x="224314" y="61246"/>
                  </a:lnTo>
                  <a:cubicBezTo>
                    <a:pt x="224314" y="61913"/>
                    <a:pt x="223647" y="61913"/>
                    <a:pt x="223647" y="61913"/>
                  </a:cubicBezTo>
                  <a:cubicBezTo>
                    <a:pt x="223647" y="62579"/>
                    <a:pt x="224314" y="64008"/>
                    <a:pt x="224314" y="64675"/>
                  </a:cubicBezTo>
                  <a:cubicBezTo>
                    <a:pt x="224314" y="65342"/>
                    <a:pt x="224314" y="65342"/>
                    <a:pt x="223647" y="66008"/>
                  </a:cubicBezTo>
                  <a:cubicBezTo>
                    <a:pt x="222980" y="66008"/>
                    <a:pt x="222980" y="66675"/>
                    <a:pt x="222980" y="67342"/>
                  </a:cubicBezTo>
                  <a:cubicBezTo>
                    <a:pt x="222314" y="70104"/>
                    <a:pt x="221647" y="72104"/>
                    <a:pt x="219551" y="73533"/>
                  </a:cubicBezTo>
                  <a:cubicBezTo>
                    <a:pt x="218218" y="74867"/>
                    <a:pt x="218885" y="76295"/>
                    <a:pt x="218218" y="79057"/>
                  </a:cubicBezTo>
                  <a:lnTo>
                    <a:pt x="218218" y="81820"/>
                  </a:lnTo>
                  <a:cubicBezTo>
                    <a:pt x="216122" y="85249"/>
                    <a:pt x="215456" y="88011"/>
                    <a:pt x="214789" y="90773"/>
                  </a:cubicBezTo>
                  <a:lnTo>
                    <a:pt x="214789" y="98965"/>
                  </a:lnTo>
                  <a:cubicBezTo>
                    <a:pt x="214789" y="101060"/>
                    <a:pt x="213455" y="103061"/>
                    <a:pt x="212693" y="105156"/>
                  </a:cubicBezTo>
                  <a:lnTo>
                    <a:pt x="211360" y="106490"/>
                  </a:lnTo>
                  <a:lnTo>
                    <a:pt x="212693" y="109252"/>
                  </a:lnTo>
                  <a:lnTo>
                    <a:pt x="212693" y="109919"/>
                  </a:lnTo>
                  <a:cubicBezTo>
                    <a:pt x="211360" y="112014"/>
                    <a:pt x="212027" y="114014"/>
                    <a:pt x="210598" y="116776"/>
                  </a:cubicBezTo>
                  <a:cubicBezTo>
                    <a:pt x="208502" y="119539"/>
                    <a:pt x="207169" y="120872"/>
                    <a:pt x="207169" y="124301"/>
                  </a:cubicBezTo>
                  <a:lnTo>
                    <a:pt x="207169" y="127064"/>
                  </a:lnTo>
                  <a:lnTo>
                    <a:pt x="205073" y="127064"/>
                  </a:lnTo>
                  <a:lnTo>
                    <a:pt x="205073" y="127730"/>
                  </a:lnTo>
                  <a:cubicBezTo>
                    <a:pt x="205073" y="129064"/>
                    <a:pt x="205740" y="129826"/>
                    <a:pt x="205740" y="130493"/>
                  </a:cubicBezTo>
                  <a:lnTo>
                    <a:pt x="205740" y="131159"/>
                  </a:lnTo>
                  <a:cubicBezTo>
                    <a:pt x="204406" y="133255"/>
                    <a:pt x="203644" y="133255"/>
                    <a:pt x="201644" y="133921"/>
                  </a:cubicBezTo>
                  <a:lnTo>
                    <a:pt x="200978" y="134684"/>
                  </a:lnTo>
                  <a:cubicBezTo>
                    <a:pt x="200311" y="134684"/>
                    <a:pt x="200311" y="134684"/>
                    <a:pt x="200311" y="135350"/>
                  </a:cubicBezTo>
                  <a:cubicBezTo>
                    <a:pt x="200311" y="136017"/>
                    <a:pt x="200978" y="137446"/>
                    <a:pt x="201644" y="137446"/>
                  </a:cubicBezTo>
                  <a:lnTo>
                    <a:pt x="202311" y="137446"/>
                  </a:lnTo>
                  <a:cubicBezTo>
                    <a:pt x="202978" y="137446"/>
                    <a:pt x="203644" y="137446"/>
                    <a:pt x="203644" y="138113"/>
                  </a:cubicBezTo>
                  <a:lnTo>
                    <a:pt x="203644" y="140208"/>
                  </a:lnTo>
                  <a:cubicBezTo>
                    <a:pt x="203644" y="141542"/>
                    <a:pt x="202978" y="142970"/>
                    <a:pt x="202978" y="142970"/>
                  </a:cubicBezTo>
                  <a:cubicBezTo>
                    <a:pt x="202311" y="145733"/>
                    <a:pt x="200882" y="149162"/>
                    <a:pt x="200882" y="151924"/>
                  </a:cubicBezTo>
                  <a:cubicBezTo>
                    <a:pt x="200882" y="152591"/>
                    <a:pt x="200216" y="153257"/>
                    <a:pt x="200216" y="154019"/>
                  </a:cubicBezTo>
                  <a:lnTo>
                    <a:pt x="196787" y="154019"/>
                  </a:lnTo>
                  <a:cubicBezTo>
                    <a:pt x="196120" y="154686"/>
                    <a:pt x="195453" y="154686"/>
                    <a:pt x="194691" y="154686"/>
                  </a:cubicBezTo>
                  <a:lnTo>
                    <a:pt x="193358" y="154686"/>
                  </a:lnTo>
                  <a:cubicBezTo>
                    <a:pt x="192691" y="154686"/>
                    <a:pt x="192691" y="155353"/>
                    <a:pt x="192691" y="155353"/>
                  </a:cubicBezTo>
                  <a:cubicBezTo>
                    <a:pt x="192691" y="156686"/>
                    <a:pt x="192024" y="157448"/>
                    <a:pt x="190595" y="157448"/>
                  </a:cubicBezTo>
                  <a:cubicBezTo>
                    <a:pt x="189262" y="157448"/>
                    <a:pt x="187833" y="158115"/>
                    <a:pt x="187833" y="158782"/>
                  </a:cubicBezTo>
                  <a:cubicBezTo>
                    <a:pt x="187833" y="159448"/>
                    <a:pt x="187166" y="159448"/>
                    <a:pt x="186500" y="159448"/>
                  </a:cubicBezTo>
                  <a:lnTo>
                    <a:pt x="184404" y="159448"/>
                  </a:lnTo>
                  <a:cubicBezTo>
                    <a:pt x="183737" y="160115"/>
                    <a:pt x="183737" y="160782"/>
                    <a:pt x="183737" y="160782"/>
                  </a:cubicBezTo>
                  <a:cubicBezTo>
                    <a:pt x="183737" y="161449"/>
                    <a:pt x="183737" y="161449"/>
                    <a:pt x="184404" y="161449"/>
                  </a:cubicBezTo>
                  <a:lnTo>
                    <a:pt x="187833" y="164211"/>
                  </a:lnTo>
                  <a:cubicBezTo>
                    <a:pt x="188500" y="164211"/>
                    <a:pt x="189929" y="164211"/>
                    <a:pt x="189929" y="162116"/>
                  </a:cubicBezTo>
                  <a:cubicBezTo>
                    <a:pt x="189929" y="161449"/>
                    <a:pt x="189929" y="160782"/>
                    <a:pt x="190595" y="160782"/>
                  </a:cubicBezTo>
                  <a:cubicBezTo>
                    <a:pt x="190595" y="160115"/>
                    <a:pt x="191262" y="160115"/>
                    <a:pt x="191929" y="160115"/>
                  </a:cubicBezTo>
                  <a:cubicBezTo>
                    <a:pt x="191929" y="160115"/>
                    <a:pt x="193262" y="160782"/>
                    <a:pt x="194024" y="161449"/>
                  </a:cubicBezTo>
                  <a:cubicBezTo>
                    <a:pt x="194691" y="164211"/>
                    <a:pt x="196120" y="165545"/>
                    <a:pt x="196120" y="168307"/>
                  </a:cubicBezTo>
                  <a:lnTo>
                    <a:pt x="196120" y="168973"/>
                  </a:lnTo>
                  <a:cubicBezTo>
                    <a:pt x="196120" y="169640"/>
                    <a:pt x="196120" y="169640"/>
                    <a:pt x="195453" y="170307"/>
                  </a:cubicBezTo>
                  <a:cubicBezTo>
                    <a:pt x="194786" y="170974"/>
                    <a:pt x="194119" y="171641"/>
                    <a:pt x="194119" y="172402"/>
                  </a:cubicBezTo>
                  <a:cubicBezTo>
                    <a:pt x="194119" y="173069"/>
                    <a:pt x="194786" y="173069"/>
                    <a:pt x="194786" y="173736"/>
                  </a:cubicBezTo>
                  <a:lnTo>
                    <a:pt x="194119" y="174403"/>
                  </a:lnTo>
                  <a:lnTo>
                    <a:pt x="194119" y="175070"/>
                  </a:lnTo>
                  <a:cubicBezTo>
                    <a:pt x="194119" y="175736"/>
                    <a:pt x="194786" y="176403"/>
                    <a:pt x="194786" y="177165"/>
                  </a:cubicBezTo>
                  <a:lnTo>
                    <a:pt x="194786" y="179261"/>
                  </a:lnTo>
                  <a:cubicBezTo>
                    <a:pt x="194786" y="181356"/>
                    <a:pt x="194119" y="182023"/>
                    <a:pt x="193453" y="184023"/>
                  </a:cubicBezTo>
                  <a:lnTo>
                    <a:pt x="192119" y="185356"/>
                  </a:lnTo>
                  <a:cubicBezTo>
                    <a:pt x="191453" y="185356"/>
                    <a:pt x="190786" y="185356"/>
                    <a:pt x="190024" y="184690"/>
                  </a:cubicBezTo>
                  <a:lnTo>
                    <a:pt x="187928" y="183356"/>
                  </a:lnTo>
                  <a:cubicBezTo>
                    <a:pt x="185833" y="183356"/>
                    <a:pt x="185833" y="183356"/>
                    <a:pt x="185833" y="181261"/>
                  </a:cubicBezTo>
                  <a:cubicBezTo>
                    <a:pt x="185833" y="179165"/>
                    <a:pt x="185833" y="178498"/>
                    <a:pt x="183071" y="178498"/>
                  </a:cubicBezTo>
                  <a:lnTo>
                    <a:pt x="182404" y="178498"/>
                  </a:lnTo>
                  <a:cubicBezTo>
                    <a:pt x="181737" y="178498"/>
                    <a:pt x="181737" y="179165"/>
                    <a:pt x="181070" y="179165"/>
                  </a:cubicBezTo>
                  <a:lnTo>
                    <a:pt x="181737" y="179832"/>
                  </a:lnTo>
                  <a:cubicBezTo>
                    <a:pt x="182404" y="179832"/>
                    <a:pt x="183071" y="179832"/>
                    <a:pt x="183071" y="180499"/>
                  </a:cubicBezTo>
                  <a:lnTo>
                    <a:pt x="183071" y="182594"/>
                  </a:lnTo>
                  <a:cubicBezTo>
                    <a:pt x="183071" y="183928"/>
                    <a:pt x="183737" y="184690"/>
                    <a:pt x="184404" y="185356"/>
                  </a:cubicBezTo>
                  <a:cubicBezTo>
                    <a:pt x="184404" y="186023"/>
                    <a:pt x="185738" y="186023"/>
                    <a:pt x="185071" y="186690"/>
                  </a:cubicBezTo>
                  <a:cubicBezTo>
                    <a:pt x="183737" y="187357"/>
                    <a:pt x="182975" y="187357"/>
                    <a:pt x="182309" y="187357"/>
                  </a:cubicBezTo>
                  <a:lnTo>
                    <a:pt x="181642" y="186690"/>
                  </a:lnTo>
                  <a:lnTo>
                    <a:pt x="181642" y="185356"/>
                  </a:lnTo>
                  <a:cubicBezTo>
                    <a:pt x="181642" y="184690"/>
                    <a:pt x="181642" y="184023"/>
                    <a:pt x="180975" y="184023"/>
                  </a:cubicBezTo>
                  <a:lnTo>
                    <a:pt x="180308" y="184023"/>
                  </a:lnTo>
                  <a:cubicBezTo>
                    <a:pt x="179642" y="184023"/>
                    <a:pt x="179642" y="184023"/>
                    <a:pt x="179642" y="184690"/>
                  </a:cubicBezTo>
                  <a:cubicBezTo>
                    <a:pt x="179642" y="185356"/>
                    <a:pt x="179642" y="185356"/>
                    <a:pt x="178975" y="185356"/>
                  </a:cubicBezTo>
                  <a:cubicBezTo>
                    <a:pt x="178308" y="186023"/>
                    <a:pt x="178308" y="186023"/>
                    <a:pt x="177641" y="186023"/>
                  </a:cubicBezTo>
                  <a:cubicBezTo>
                    <a:pt x="176975" y="184690"/>
                    <a:pt x="176308" y="183928"/>
                    <a:pt x="176308" y="183928"/>
                  </a:cubicBezTo>
                  <a:cubicBezTo>
                    <a:pt x="174974" y="183928"/>
                    <a:pt x="174974" y="184595"/>
                    <a:pt x="174212" y="185261"/>
                  </a:cubicBezTo>
                  <a:cubicBezTo>
                    <a:pt x="174212" y="185928"/>
                    <a:pt x="174212" y="186595"/>
                    <a:pt x="174879" y="186595"/>
                  </a:cubicBezTo>
                  <a:cubicBezTo>
                    <a:pt x="177641" y="187262"/>
                    <a:pt x="178308" y="187928"/>
                    <a:pt x="179642" y="190024"/>
                  </a:cubicBezTo>
                  <a:cubicBezTo>
                    <a:pt x="179642" y="190691"/>
                    <a:pt x="179642" y="190691"/>
                    <a:pt x="180308" y="190691"/>
                  </a:cubicBezTo>
                  <a:cubicBezTo>
                    <a:pt x="180975" y="190691"/>
                    <a:pt x="180975" y="190691"/>
                    <a:pt x="182404" y="190024"/>
                  </a:cubicBezTo>
                  <a:cubicBezTo>
                    <a:pt x="183071" y="190024"/>
                    <a:pt x="183071" y="189357"/>
                    <a:pt x="183737" y="189357"/>
                  </a:cubicBezTo>
                  <a:cubicBezTo>
                    <a:pt x="184404" y="190691"/>
                    <a:pt x="186500" y="191452"/>
                    <a:pt x="187833" y="193453"/>
                  </a:cubicBezTo>
                  <a:lnTo>
                    <a:pt x="186500" y="193453"/>
                  </a:lnTo>
                  <a:cubicBezTo>
                    <a:pt x="185833" y="194120"/>
                    <a:pt x="185166" y="194786"/>
                    <a:pt x="184404" y="194786"/>
                  </a:cubicBezTo>
                  <a:lnTo>
                    <a:pt x="182309" y="194786"/>
                  </a:lnTo>
                  <a:cubicBezTo>
                    <a:pt x="180975" y="194786"/>
                    <a:pt x="180213" y="195453"/>
                    <a:pt x="180213" y="196120"/>
                  </a:cubicBezTo>
                  <a:cubicBezTo>
                    <a:pt x="180213" y="196787"/>
                    <a:pt x="178118" y="198215"/>
                    <a:pt x="176784" y="198215"/>
                  </a:cubicBezTo>
                  <a:cubicBezTo>
                    <a:pt x="176784" y="198215"/>
                    <a:pt x="176117" y="198215"/>
                    <a:pt x="176117" y="198882"/>
                  </a:cubicBezTo>
                  <a:lnTo>
                    <a:pt x="178213" y="201644"/>
                  </a:lnTo>
                  <a:cubicBezTo>
                    <a:pt x="178213" y="202978"/>
                    <a:pt x="179546" y="203740"/>
                    <a:pt x="180975" y="203740"/>
                  </a:cubicBezTo>
                  <a:cubicBezTo>
                    <a:pt x="183071" y="203740"/>
                    <a:pt x="185071" y="204406"/>
                    <a:pt x="187833" y="205073"/>
                  </a:cubicBezTo>
                  <a:cubicBezTo>
                    <a:pt x="189167" y="207169"/>
                    <a:pt x="189929" y="207836"/>
                    <a:pt x="189929" y="209169"/>
                  </a:cubicBezTo>
                  <a:cubicBezTo>
                    <a:pt x="190595" y="209169"/>
                    <a:pt x="190595" y="209169"/>
                    <a:pt x="190595" y="209836"/>
                  </a:cubicBezTo>
                  <a:lnTo>
                    <a:pt x="190595" y="211169"/>
                  </a:lnTo>
                  <a:cubicBezTo>
                    <a:pt x="190595" y="212503"/>
                    <a:pt x="190595" y="213265"/>
                    <a:pt x="189929" y="214598"/>
                  </a:cubicBezTo>
                  <a:cubicBezTo>
                    <a:pt x="189262" y="215265"/>
                    <a:pt x="188595" y="216694"/>
                    <a:pt x="188595" y="217361"/>
                  </a:cubicBezTo>
                  <a:lnTo>
                    <a:pt x="188595" y="224885"/>
                  </a:lnTo>
                  <a:cubicBezTo>
                    <a:pt x="187928" y="226981"/>
                    <a:pt x="187928" y="228314"/>
                    <a:pt x="187928" y="231076"/>
                  </a:cubicBezTo>
                  <a:cubicBezTo>
                    <a:pt x="187928" y="231743"/>
                    <a:pt x="188595" y="233172"/>
                    <a:pt x="188595" y="233839"/>
                  </a:cubicBezTo>
                  <a:cubicBezTo>
                    <a:pt x="188595" y="234505"/>
                    <a:pt x="187928" y="235934"/>
                    <a:pt x="187928" y="236601"/>
                  </a:cubicBezTo>
                  <a:cubicBezTo>
                    <a:pt x="187262" y="237935"/>
                    <a:pt x="186595" y="238696"/>
                    <a:pt x="186595" y="240030"/>
                  </a:cubicBezTo>
                  <a:cubicBezTo>
                    <a:pt x="186595" y="241364"/>
                    <a:pt x="187262" y="242125"/>
                    <a:pt x="187928" y="242792"/>
                  </a:cubicBezTo>
                  <a:cubicBezTo>
                    <a:pt x="187928" y="248984"/>
                    <a:pt x="187262" y="251746"/>
                    <a:pt x="187262" y="251746"/>
                  </a:cubicBezTo>
                  <a:cubicBezTo>
                    <a:pt x="187262" y="251746"/>
                    <a:pt x="186595" y="247650"/>
                    <a:pt x="186595" y="242792"/>
                  </a:cubicBezTo>
                  <a:cubicBezTo>
                    <a:pt x="186595" y="242792"/>
                    <a:pt x="186595" y="242125"/>
                    <a:pt x="185928" y="242125"/>
                  </a:cubicBezTo>
                  <a:cubicBezTo>
                    <a:pt x="185261" y="242125"/>
                    <a:pt x="185261" y="241459"/>
                    <a:pt x="185261" y="241459"/>
                  </a:cubicBezTo>
                  <a:cubicBezTo>
                    <a:pt x="184594" y="240792"/>
                    <a:pt x="183928" y="240125"/>
                    <a:pt x="183166" y="240125"/>
                  </a:cubicBezTo>
                  <a:cubicBezTo>
                    <a:pt x="182404" y="240125"/>
                    <a:pt x="181832" y="240792"/>
                    <a:pt x="181832" y="241459"/>
                  </a:cubicBezTo>
                  <a:cubicBezTo>
                    <a:pt x="181166" y="249650"/>
                    <a:pt x="180499" y="254508"/>
                    <a:pt x="180499" y="254508"/>
                  </a:cubicBezTo>
                  <a:cubicBezTo>
                    <a:pt x="180499" y="254508"/>
                    <a:pt x="179832" y="251079"/>
                    <a:pt x="179832" y="242888"/>
                  </a:cubicBezTo>
                  <a:cubicBezTo>
                    <a:pt x="179832" y="242221"/>
                    <a:pt x="179165" y="242221"/>
                    <a:pt x="178499" y="242221"/>
                  </a:cubicBezTo>
                  <a:cubicBezTo>
                    <a:pt x="179165" y="242888"/>
                    <a:pt x="179165" y="245650"/>
                    <a:pt x="179165" y="249746"/>
                  </a:cubicBezTo>
                  <a:cubicBezTo>
                    <a:pt x="179165" y="266224"/>
                    <a:pt x="176403" y="303943"/>
                    <a:pt x="172974" y="305943"/>
                  </a:cubicBezTo>
                  <a:cubicBezTo>
                    <a:pt x="172307" y="307276"/>
                    <a:pt x="172307" y="307276"/>
                    <a:pt x="172307" y="309372"/>
                  </a:cubicBezTo>
                  <a:lnTo>
                    <a:pt x="174403" y="310706"/>
                  </a:lnTo>
                  <a:cubicBezTo>
                    <a:pt x="174403" y="310706"/>
                    <a:pt x="175069" y="310706"/>
                    <a:pt x="175069" y="310039"/>
                  </a:cubicBezTo>
                  <a:cubicBezTo>
                    <a:pt x="176403" y="310039"/>
                    <a:pt x="176403" y="307943"/>
                    <a:pt x="176403" y="307276"/>
                  </a:cubicBezTo>
                  <a:cubicBezTo>
                    <a:pt x="176403" y="305181"/>
                    <a:pt x="177070" y="305181"/>
                    <a:pt x="177737" y="305181"/>
                  </a:cubicBezTo>
                  <a:cubicBezTo>
                    <a:pt x="179070" y="305848"/>
                    <a:pt x="179832" y="305848"/>
                    <a:pt x="180499" y="305848"/>
                  </a:cubicBezTo>
                  <a:cubicBezTo>
                    <a:pt x="181832" y="305848"/>
                    <a:pt x="182594" y="305848"/>
                    <a:pt x="182594" y="307943"/>
                  </a:cubicBezTo>
                  <a:cubicBezTo>
                    <a:pt x="183261" y="308610"/>
                    <a:pt x="183261" y="310706"/>
                    <a:pt x="183261" y="311372"/>
                  </a:cubicBezTo>
                  <a:cubicBezTo>
                    <a:pt x="183261" y="318230"/>
                    <a:pt x="183261" y="322326"/>
                    <a:pt x="183928" y="328517"/>
                  </a:cubicBezTo>
                  <a:lnTo>
                    <a:pt x="183928" y="330613"/>
                  </a:lnTo>
                  <a:cubicBezTo>
                    <a:pt x="183261" y="332708"/>
                    <a:pt x="182594" y="332708"/>
                    <a:pt x="181832" y="332708"/>
                  </a:cubicBezTo>
                  <a:cubicBezTo>
                    <a:pt x="181166" y="332708"/>
                    <a:pt x="181166" y="332708"/>
                    <a:pt x="181166" y="330613"/>
                  </a:cubicBezTo>
                  <a:lnTo>
                    <a:pt x="181166" y="326517"/>
                  </a:lnTo>
                  <a:cubicBezTo>
                    <a:pt x="180499" y="326517"/>
                    <a:pt x="180499" y="325850"/>
                    <a:pt x="179832" y="325850"/>
                  </a:cubicBezTo>
                  <a:lnTo>
                    <a:pt x="179165" y="326517"/>
                  </a:lnTo>
                  <a:cubicBezTo>
                    <a:pt x="178499" y="332042"/>
                    <a:pt x="177070" y="334709"/>
                    <a:pt x="177070" y="335471"/>
                  </a:cubicBezTo>
                  <a:lnTo>
                    <a:pt x="177737" y="336137"/>
                  </a:lnTo>
                  <a:lnTo>
                    <a:pt x="179070" y="336137"/>
                  </a:lnTo>
                  <a:cubicBezTo>
                    <a:pt x="179737" y="336137"/>
                    <a:pt x="179737" y="336137"/>
                    <a:pt x="181166" y="335471"/>
                  </a:cubicBezTo>
                  <a:cubicBezTo>
                    <a:pt x="181166" y="334137"/>
                    <a:pt x="181832" y="334137"/>
                    <a:pt x="182499" y="334137"/>
                  </a:cubicBezTo>
                  <a:lnTo>
                    <a:pt x="183833" y="334137"/>
                  </a:lnTo>
                  <a:cubicBezTo>
                    <a:pt x="183833" y="334137"/>
                    <a:pt x="179737" y="356807"/>
                    <a:pt x="177641" y="357473"/>
                  </a:cubicBezTo>
                  <a:cubicBezTo>
                    <a:pt x="178308" y="358807"/>
                    <a:pt x="178308" y="360902"/>
                    <a:pt x="178308" y="361569"/>
                  </a:cubicBezTo>
                  <a:lnTo>
                    <a:pt x="178308" y="362236"/>
                  </a:lnTo>
                  <a:cubicBezTo>
                    <a:pt x="176975" y="362236"/>
                    <a:pt x="176213" y="363569"/>
                    <a:pt x="176213" y="364331"/>
                  </a:cubicBezTo>
                  <a:cubicBezTo>
                    <a:pt x="176213" y="367094"/>
                    <a:pt x="168021" y="378047"/>
                    <a:pt x="165926" y="379381"/>
                  </a:cubicBezTo>
                  <a:lnTo>
                    <a:pt x="164592" y="379381"/>
                  </a:lnTo>
                  <a:cubicBezTo>
                    <a:pt x="163925" y="379381"/>
                    <a:pt x="163925" y="378047"/>
                    <a:pt x="163925" y="375285"/>
                  </a:cubicBezTo>
                  <a:cubicBezTo>
                    <a:pt x="163259" y="373190"/>
                    <a:pt x="163259" y="369094"/>
                    <a:pt x="163259" y="364998"/>
                  </a:cubicBezTo>
                  <a:lnTo>
                    <a:pt x="163259" y="350615"/>
                  </a:lnTo>
                  <a:cubicBezTo>
                    <a:pt x="163259" y="349948"/>
                    <a:pt x="162592" y="349282"/>
                    <a:pt x="162592" y="349282"/>
                  </a:cubicBezTo>
                  <a:cubicBezTo>
                    <a:pt x="161925" y="349282"/>
                    <a:pt x="160496" y="361664"/>
                    <a:pt x="158496" y="361664"/>
                  </a:cubicBezTo>
                  <a:lnTo>
                    <a:pt x="157829" y="360998"/>
                  </a:lnTo>
                  <a:lnTo>
                    <a:pt x="156496" y="360331"/>
                  </a:lnTo>
                  <a:lnTo>
                    <a:pt x="151733" y="360331"/>
                  </a:lnTo>
                  <a:cubicBezTo>
                    <a:pt x="149638" y="360331"/>
                    <a:pt x="147638" y="360998"/>
                    <a:pt x="145542" y="364427"/>
                  </a:cubicBezTo>
                  <a:cubicBezTo>
                    <a:pt x="144209" y="364427"/>
                    <a:pt x="140780" y="349377"/>
                    <a:pt x="140780" y="341757"/>
                  </a:cubicBezTo>
                  <a:cubicBezTo>
                    <a:pt x="140113" y="339661"/>
                    <a:pt x="140113" y="338328"/>
                    <a:pt x="140113" y="337661"/>
                  </a:cubicBezTo>
                  <a:cubicBezTo>
                    <a:pt x="140113" y="336994"/>
                    <a:pt x="140113" y="336328"/>
                    <a:pt x="140780" y="335566"/>
                  </a:cubicBezTo>
                  <a:lnTo>
                    <a:pt x="140780" y="333661"/>
                  </a:lnTo>
                  <a:close/>
                  <a:moveTo>
                    <a:pt x="0" y="223838"/>
                  </a:moveTo>
                  <a:lnTo>
                    <a:pt x="667" y="223171"/>
                  </a:lnTo>
                  <a:lnTo>
                    <a:pt x="1334" y="223838"/>
                  </a:lnTo>
                  <a:lnTo>
                    <a:pt x="1334" y="228600"/>
                  </a:lnTo>
                  <a:cubicBezTo>
                    <a:pt x="1334" y="228600"/>
                    <a:pt x="0" y="227267"/>
                    <a:pt x="0" y="225171"/>
                  </a:cubicBezTo>
                  <a:lnTo>
                    <a:pt x="0" y="223838"/>
                  </a:lnTo>
                  <a:close/>
                  <a:moveTo>
                    <a:pt x="107633" y="93536"/>
                  </a:moveTo>
                  <a:cubicBezTo>
                    <a:pt x="106966" y="94202"/>
                    <a:pt x="106299" y="94869"/>
                    <a:pt x="106299" y="96298"/>
                  </a:cubicBezTo>
                  <a:cubicBezTo>
                    <a:pt x="106299" y="96965"/>
                    <a:pt x="106966" y="96965"/>
                    <a:pt x="106966" y="96965"/>
                  </a:cubicBezTo>
                  <a:lnTo>
                    <a:pt x="106966" y="98298"/>
                  </a:lnTo>
                  <a:cubicBezTo>
                    <a:pt x="104870" y="98965"/>
                    <a:pt x="104870" y="101060"/>
                    <a:pt x="103537" y="102394"/>
                  </a:cubicBezTo>
                  <a:cubicBezTo>
                    <a:pt x="101441" y="103727"/>
                    <a:pt x="100108" y="106490"/>
                    <a:pt x="96679" y="108585"/>
                  </a:cubicBezTo>
                  <a:lnTo>
                    <a:pt x="96679" y="109919"/>
                  </a:lnTo>
                  <a:cubicBezTo>
                    <a:pt x="96012" y="112014"/>
                    <a:pt x="93917" y="112681"/>
                    <a:pt x="92583" y="113347"/>
                  </a:cubicBezTo>
                  <a:cubicBezTo>
                    <a:pt x="90488" y="114681"/>
                    <a:pt x="89821" y="116110"/>
                    <a:pt x="89821" y="118110"/>
                  </a:cubicBezTo>
                  <a:cubicBezTo>
                    <a:pt x="89154" y="120301"/>
                    <a:pt x="89154" y="122396"/>
                    <a:pt x="85725" y="123730"/>
                  </a:cubicBezTo>
                  <a:lnTo>
                    <a:pt x="85058" y="123730"/>
                  </a:lnTo>
                  <a:lnTo>
                    <a:pt x="85058" y="124396"/>
                  </a:lnTo>
                  <a:cubicBezTo>
                    <a:pt x="85058" y="127159"/>
                    <a:pt x="82296" y="129159"/>
                    <a:pt x="80963" y="131921"/>
                  </a:cubicBezTo>
                  <a:cubicBezTo>
                    <a:pt x="80296" y="132588"/>
                    <a:pt x="79629" y="133255"/>
                    <a:pt x="79629" y="134017"/>
                  </a:cubicBezTo>
                  <a:lnTo>
                    <a:pt x="79629" y="134684"/>
                  </a:lnTo>
                  <a:cubicBezTo>
                    <a:pt x="79629" y="135350"/>
                    <a:pt x="78962" y="136017"/>
                    <a:pt x="77534" y="136017"/>
                  </a:cubicBezTo>
                  <a:cubicBezTo>
                    <a:pt x="76867" y="138113"/>
                    <a:pt x="74105" y="139446"/>
                    <a:pt x="73438" y="142208"/>
                  </a:cubicBezTo>
                  <a:cubicBezTo>
                    <a:pt x="73438" y="142875"/>
                    <a:pt x="72771" y="142875"/>
                    <a:pt x="72771" y="142875"/>
                  </a:cubicBezTo>
                  <a:lnTo>
                    <a:pt x="72771" y="142303"/>
                  </a:lnTo>
                  <a:cubicBezTo>
                    <a:pt x="71438" y="142303"/>
                    <a:pt x="70676" y="141637"/>
                    <a:pt x="70009" y="140208"/>
                  </a:cubicBezTo>
                  <a:cubicBezTo>
                    <a:pt x="69342" y="140208"/>
                    <a:pt x="68675" y="139541"/>
                    <a:pt x="68675" y="140208"/>
                  </a:cubicBezTo>
                  <a:cubicBezTo>
                    <a:pt x="68009" y="141542"/>
                    <a:pt x="68009" y="142970"/>
                    <a:pt x="66580" y="142970"/>
                  </a:cubicBezTo>
                  <a:cubicBezTo>
                    <a:pt x="66580" y="142970"/>
                    <a:pt x="67247" y="144304"/>
                    <a:pt x="67247" y="145066"/>
                  </a:cubicBezTo>
                  <a:lnTo>
                    <a:pt x="69342" y="145066"/>
                  </a:lnTo>
                  <a:cubicBezTo>
                    <a:pt x="70009" y="145066"/>
                    <a:pt x="70009" y="145066"/>
                    <a:pt x="70676" y="144399"/>
                  </a:cubicBezTo>
                  <a:lnTo>
                    <a:pt x="70676" y="145066"/>
                  </a:lnTo>
                  <a:cubicBezTo>
                    <a:pt x="70676" y="147161"/>
                    <a:pt x="70676" y="149828"/>
                    <a:pt x="71342" y="151257"/>
                  </a:cubicBezTo>
                  <a:lnTo>
                    <a:pt x="70676" y="151828"/>
                  </a:lnTo>
                  <a:cubicBezTo>
                    <a:pt x="70009" y="151828"/>
                    <a:pt x="69342" y="151828"/>
                    <a:pt x="68580" y="151162"/>
                  </a:cubicBezTo>
                  <a:cubicBezTo>
                    <a:pt x="67913" y="151162"/>
                    <a:pt x="67913" y="151162"/>
                    <a:pt x="67913" y="152495"/>
                  </a:cubicBezTo>
                  <a:cubicBezTo>
                    <a:pt x="67247" y="153829"/>
                    <a:pt x="66580" y="154591"/>
                    <a:pt x="66580" y="155258"/>
                  </a:cubicBezTo>
                  <a:cubicBezTo>
                    <a:pt x="64484" y="156591"/>
                    <a:pt x="65913" y="157353"/>
                    <a:pt x="63818" y="157353"/>
                  </a:cubicBezTo>
                  <a:lnTo>
                    <a:pt x="62389" y="157353"/>
                  </a:lnTo>
                  <a:cubicBezTo>
                    <a:pt x="61722" y="157353"/>
                    <a:pt x="61055" y="157353"/>
                    <a:pt x="61055" y="158020"/>
                  </a:cubicBezTo>
                  <a:lnTo>
                    <a:pt x="61722" y="158687"/>
                  </a:lnTo>
                  <a:lnTo>
                    <a:pt x="63818" y="162116"/>
                  </a:lnTo>
                  <a:lnTo>
                    <a:pt x="65913" y="162116"/>
                  </a:lnTo>
                  <a:cubicBezTo>
                    <a:pt x="65913" y="164211"/>
                    <a:pt x="65913" y="164878"/>
                    <a:pt x="63151" y="165545"/>
                  </a:cubicBezTo>
                  <a:cubicBezTo>
                    <a:pt x="62484" y="165545"/>
                    <a:pt x="61055" y="165545"/>
                    <a:pt x="61055" y="166878"/>
                  </a:cubicBezTo>
                  <a:cubicBezTo>
                    <a:pt x="60389" y="168973"/>
                    <a:pt x="60389" y="169640"/>
                    <a:pt x="60389" y="171641"/>
                  </a:cubicBezTo>
                  <a:cubicBezTo>
                    <a:pt x="60389" y="172974"/>
                    <a:pt x="59722" y="174403"/>
                    <a:pt x="58293" y="175736"/>
                  </a:cubicBezTo>
                  <a:cubicBezTo>
                    <a:pt x="57626" y="178498"/>
                    <a:pt x="56960" y="179832"/>
                    <a:pt x="56960" y="181261"/>
                  </a:cubicBezTo>
                  <a:cubicBezTo>
                    <a:pt x="56960" y="181261"/>
                    <a:pt x="56960" y="181927"/>
                    <a:pt x="57626" y="182594"/>
                  </a:cubicBezTo>
                  <a:cubicBezTo>
                    <a:pt x="57626" y="183261"/>
                    <a:pt x="58293" y="183928"/>
                    <a:pt x="58293" y="184690"/>
                  </a:cubicBezTo>
                  <a:cubicBezTo>
                    <a:pt x="58293" y="185356"/>
                    <a:pt x="57626" y="186785"/>
                    <a:pt x="56960" y="187452"/>
                  </a:cubicBezTo>
                  <a:cubicBezTo>
                    <a:pt x="55626" y="188786"/>
                    <a:pt x="54864" y="190881"/>
                    <a:pt x="52864" y="192976"/>
                  </a:cubicBezTo>
                  <a:cubicBezTo>
                    <a:pt x="51435" y="195072"/>
                    <a:pt x="51435" y="197168"/>
                    <a:pt x="48673" y="198501"/>
                  </a:cubicBezTo>
                  <a:lnTo>
                    <a:pt x="48673" y="199835"/>
                  </a:lnTo>
                  <a:cubicBezTo>
                    <a:pt x="48673" y="204597"/>
                    <a:pt x="47339" y="209455"/>
                    <a:pt x="47339" y="212884"/>
                  </a:cubicBezTo>
                  <a:cubicBezTo>
                    <a:pt x="47339" y="214217"/>
                    <a:pt x="48006" y="214979"/>
                    <a:pt x="48006" y="215646"/>
                  </a:cubicBezTo>
                  <a:lnTo>
                    <a:pt x="48006" y="217742"/>
                  </a:lnTo>
                  <a:cubicBezTo>
                    <a:pt x="47339" y="218408"/>
                    <a:pt x="47339" y="219742"/>
                    <a:pt x="47339" y="220409"/>
                  </a:cubicBezTo>
                  <a:cubicBezTo>
                    <a:pt x="47339" y="221742"/>
                    <a:pt x="47339" y="222504"/>
                    <a:pt x="48006" y="223838"/>
                  </a:cubicBezTo>
                  <a:cubicBezTo>
                    <a:pt x="48006" y="224504"/>
                    <a:pt x="48673" y="225171"/>
                    <a:pt x="48673" y="225933"/>
                  </a:cubicBezTo>
                  <a:cubicBezTo>
                    <a:pt x="48673" y="226600"/>
                    <a:pt x="48006" y="227267"/>
                    <a:pt x="48006" y="228028"/>
                  </a:cubicBezTo>
                  <a:lnTo>
                    <a:pt x="48006" y="231458"/>
                  </a:lnTo>
                  <a:cubicBezTo>
                    <a:pt x="48673" y="235553"/>
                    <a:pt x="49340" y="239649"/>
                    <a:pt x="49340" y="243840"/>
                  </a:cubicBezTo>
                  <a:cubicBezTo>
                    <a:pt x="49340" y="244507"/>
                    <a:pt x="50006" y="245173"/>
                    <a:pt x="50673" y="246602"/>
                  </a:cubicBezTo>
                  <a:cubicBezTo>
                    <a:pt x="52007" y="248698"/>
                    <a:pt x="52769" y="249365"/>
                    <a:pt x="54102" y="250031"/>
                  </a:cubicBezTo>
                  <a:cubicBezTo>
                    <a:pt x="54769" y="250031"/>
                    <a:pt x="56198" y="249365"/>
                    <a:pt x="57531" y="248698"/>
                  </a:cubicBezTo>
                  <a:lnTo>
                    <a:pt x="60960" y="246602"/>
                  </a:lnTo>
                  <a:cubicBezTo>
                    <a:pt x="62294" y="244507"/>
                    <a:pt x="64389" y="243173"/>
                    <a:pt x="66485" y="241840"/>
                  </a:cubicBezTo>
                  <a:cubicBezTo>
                    <a:pt x="70580" y="239077"/>
                    <a:pt x="72676" y="235648"/>
                    <a:pt x="73343" y="232886"/>
                  </a:cubicBezTo>
                  <a:cubicBezTo>
                    <a:pt x="74009" y="232220"/>
                    <a:pt x="74676" y="231553"/>
                    <a:pt x="75438" y="231553"/>
                  </a:cubicBezTo>
                  <a:cubicBezTo>
                    <a:pt x="79534" y="229457"/>
                    <a:pt x="82296" y="226790"/>
                    <a:pt x="83630" y="223361"/>
                  </a:cubicBezTo>
                  <a:cubicBezTo>
                    <a:pt x="84963" y="221266"/>
                    <a:pt x="86392" y="219266"/>
                    <a:pt x="87725" y="219266"/>
                  </a:cubicBezTo>
                  <a:cubicBezTo>
                    <a:pt x="90488" y="215170"/>
                    <a:pt x="93917" y="211741"/>
                    <a:pt x="96679" y="208978"/>
                  </a:cubicBezTo>
                  <a:lnTo>
                    <a:pt x="104203" y="199358"/>
                  </a:lnTo>
                  <a:cubicBezTo>
                    <a:pt x="106299" y="196596"/>
                    <a:pt x="108299" y="195263"/>
                    <a:pt x="109728" y="191834"/>
                  </a:cubicBezTo>
                  <a:lnTo>
                    <a:pt x="111062" y="189071"/>
                  </a:lnTo>
                  <a:cubicBezTo>
                    <a:pt x="113824" y="188404"/>
                    <a:pt x="115157" y="186309"/>
                    <a:pt x="115824" y="183547"/>
                  </a:cubicBezTo>
                  <a:lnTo>
                    <a:pt x="117920" y="180785"/>
                  </a:lnTo>
                  <a:cubicBezTo>
                    <a:pt x="120682" y="179451"/>
                    <a:pt x="122015" y="175260"/>
                    <a:pt x="125444" y="172593"/>
                  </a:cubicBezTo>
                  <a:cubicBezTo>
                    <a:pt x="126111" y="171260"/>
                    <a:pt x="126111" y="170497"/>
                    <a:pt x="126111" y="169831"/>
                  </a:cubicBezTo>
                  <a:cubicBezTo>
                    <a:pt x="126778" y="169164"/>
                    <a:pt x="126778" y="167735"/>
                    <a:pt x="128207" y="166402"/>
                  </a:cubicBezTo>
                  <a:cubicBezTo>
                    <a:pt x="130969" y="165068"/>
                    <a:pt x="132969" y="161639"/>
                    <a:pt x="133731" y="158210"/>
                  </a:cubicBezTo>
                  <a:cubicBezTo>
                    <a:pt x="135065" y="156115"/>
                    <a:pt x="135065" y="154781"/>
                    <a:pt x="137160" y="154781"/>
                  </a:cubicBezTo>
                  <a:lnTo>
                    <a:pt x="137827" y="154781"/>
                  </a:lnTo>
                  <a:cubicBezTo>
                    <a:pt x="138494" y="154781"/>
                    <a:pt x="138494" y="154115"/>
                    <a:pt x="138494" y="153448"/>
                  </a:cubicBezTo>
                  <a:lnTo>
                    <a:pt x="138494" y="152781"/>
                  </a:lnTo>
                  <a:cubicBezTo>
                    <a:pt x="138494" y="152114"/>
                    <a:pt x="138494" y="150686"/>
                    <a:pt x="139160" y="150686"/>
                  </a:cubicBezTo>
                  <a:cubicBezTo>
                    <a:pt x="139827" y="150019"/>
                    <a:pt x="140494" y="149352"/>
                    <a:pt x="140494" y="147923"/>
                  </a:cubicBezTo>
                  <a:cubicBezTo>
                    <a:pt x="141161" y="145828"/>
                    <a:pt x="143256" y="144494"/>
                    <a:pt x="144590" y="144494"/>
                  </a:cubicBezTo>
                  <a:cubicBezTo>
                    <a:pt x="146685" y="144494"/>
                    <a:pt x="148019" y="143161"/>
                    <a:pt x="148685" y="141065"/>
                  </a:cubicBezTo>
                  <a:cubicBezTo>
                    <a:pt x="149352" y="140398"/>
                    <a:pt x="149352" y="139732"/>
                    <a:pt x="149352" y="139732"/>
                  </a:cubicBezTo>
                  <a:cubicBezTo>
                    <a:pt x="148685" y="138398"/>
                    <a:pt x="148685" y="137636"/>
                    <a:pt x="148685" y="136970"/>
                  </a:cubicBezTo>
                  <a:cubicBezTo>
                    <a:pt x="147352" y="135636"/>
                    <a:pt x="146590" y="134207"/>
                    <a:pt x="146590" y="132874"/>
                  </a:cubicBezTo>
                  <a:cubicBezTo>
                    <a:pt x="146590" y="131540"/>
                    <a:pt x="147257" y="130112"/>
                    <a:pt x="148685" y="128778"/>
                  </a:cubicBezTo>
                  <a:lnTo>
                    <a:pt x="151543" y="125158"/>
                  </a:lnTo>
                  <a:cubicBezTo>
                    <a:pt x="152210" y="124492"/>
                    <a:pt x="152210" y="123825"/>
                    <a:pt x="152876" y="123825"/>
                  </a:cubicBezTo>
                  <a:lnTo>
                    <a:pt x="154210" y="123825"/>
                  </a:lnTo>
                  <a:cubicBezTo>
                    <a:pt x="155543" y="123158"/>
                    <a:pt x="155543" y="121729"/>
                    <a:pt x="156972" y="121063"/>
                  </a:cubicBezTo>
                  <a:lnTo>
                    <a:pt x="157639" y="121063"/>
                  </a:lnTo>
                  <a:cubicBezTo>
                    <a:pt x="158306" y="121063"/>
                    <a:pt x="158972" y="120396"/>
                    <a:pt x="158972" y="119729"/>
                  </a:cubicBezTo>
                  <a:cubicBezTo>
                    <a:pt x="158972" y="116967"/>
                    <a:pt x="160306" y="114205"/>
                    <a:pt x="161735" y="112204"/>
                  </a:cubicBezTo>
                  <a:cubicBezTo>
                    <a:pt x="162401" y="110871"/>
                    <a:pt x="163068" y="108775"/>
                    <a:pt x="163068" y="106680"/>
                  </a:cubicBezTo>
                  <a:lnTo>
                    <a:pt x="163068" y="106013"/>
                  </a:lnTo>
                  <a:cubicBezTo>
                    <a:pt x="162401" y="106013"/>
                    <a:pt x="162401" y="106013"/>
                    <a:pt x="162401" y="105346"/>
                  </a:cubicBezTo>
                  <a:cubicBezTo>
                    <a:pt x="162401" y="105346"/>
                    <a:pt x="162401" y="104680"/>
                    <a:pt x="163068" y="104013"/>
                  </a:cubicBezTo>
                  <a:cubicBezTo>
                    <a:pt x="163068" y="104013"/>
                    <a:pt x="163735" y="103346"/>
                    <a:pt x="163735" y="102679"/>
                  </a:cubicBezTo>
                  <a:cubicBezTo>
                    <a:pt x="163735" y="102013"/>
                    <a:pt x="163068" y="102013"/>
                    <a:pt x="163068" y="101346"/>
                  </a:cubicBezTo>
                  <a:cubicBezTo>
                    <a:pt x="162401" y="101346"/>
                    <a:pt x="162401" y="101346"/>
                    <a:pt x="162401" y="100679"/>
                  </a:cubicBezTo>
                  <a:cubicBezTo>
                    <a:pt x="162401" y="100679"/>
                    <a:pt x="162401" y="100013"/>
                    <a:pt x="163068" y="99346"/>
                  </a:cubicBezTo>
                  <a:cubicBezTo>
                    <a:pt x="163068" y="98679"/>
                    <a:pt x="163068" y="98012"/>
                    <a:pt x="162401" y="97250"/>
                  </a:cubicBezTo>
                  <a:cubicBezTo>
                    <a:pt x="159639" y="95155"/>
                    <a:pt x="157639" y="92488"/>
                    <a:pt x="155543" y="89725"/>
                  </a:cubicBezTo>
                  <a:cubicBezTo>
                    <a:pt x="154210" y="88392"/>
                    <a:pt x="152781" y="87630"/>
                    <a:pt x="152114" y="85630"/>
                  </a:cubicBezTo>
                  <a:cubicBezTo>
                    <a:pt x="152114" y="84296"/>
                    <a:pt x="151448" y="82201"/>
                    <a:pt x="150781" y="81534"/>
                  </a:cubicBezTo>
                  <a:cubicBezTo>
                    <a:pt x="148685" y="80200"/>
                    <a:pt x="148019" y="78772"/>
                    <a:pt x="146685" y="76771"/>
                  </a:cubicBezTo>
                  <a:cubicBezTo>
                    <a:pt x="145352" y="76105"/>
                    <a:pt x="145352" y="74676"/>
                    <a:pt x="143923" y="74009"/>
                  </a:cubicBezTo>
                  <a:cubicBezTo>
                    <a:pt x="139827" y="69914"/>
                    <a:pt x="139827" y="69914"/>
                    <a:pt x="134969" y="68485"/>
                  </a:cubicBezTo>
                  <a:lnTo>
                    <a:pt x="132874" y="68485"/>
                  </a:lnTo>
                  <a:cubicBezTo>
                    <a:pt x="132207" y="67818"/>
                    <a:pt x="132207" y="67818"/>
                    <a:pt x="130778" y="67818"/>
                  </a:cubicBezTo>
                  <a:cubicBezTo>
                    <a:pt x="130112" y="67818"/>
                    <a:pt x="128683" y="68485"/>
                    <a:pt x="127349" y="69151"/>
                  </a:cubicBezTo>
                  <a:cubicBezTo>
                    <a:pt x="125254" y="70485"/>
                    <a:pt x="123253" y="72580"/>
                    <a:pt x="121158" y="73247"/>
                  </a:cubicBezTo>
                  <a:lnTo>
                    <a:pt x="119825" y="74581"/>
                  </a:lnTo>
                  <a:cubicBezTo>
                    <a:pt x="119158" y="74581"/>
                    <a:pt x="118491" y="75914"/>
                    <a:pt x="118491" y="76676"/>
                  </a:cubicBezTo>
                  <a:cubicBezTo>
                    <a:pt x="115729" y="77343"/>
                    <a:pt x="115062" y="79439"/>
                    <a:pt x="115062" y="82201"/>
                  </a:cubicBezTo>
                  <a:lnTo>
                    <a:pt x="115062" y="83534"/>
                  </a:lnTo>
                  <a:cubicBezTo>
                    <a:pt x="115062" y="86296"/>
                    <a:pt x="113728" y="88297"/>
                    <a:pt x="110966" y="89725"/>
                  </a:cubicBezTo>
                  <a:lnTo>
                    <a:pt x="110966" y="89059"/>
                  </a:lnTo>
                  <a:cubicBezTo>
                    <a:pt x="110300" y="86963"/>
                    <a:pt x="109633" y="86296"/>
                    <a:pt x="108871" y="86296"/>
                  </a:cubicBezTo>
                  <a:cubicBezTo>
                    <a:pt x="108204" y="86296"/>
                    <a:pt x="108204" y="86963"/>
                    <a:pt x="108204" y="87630"/>
                  </a:cubicBezTo>
                  <a:cubicBezTo>
                    <a:pt x="108204" y="88297"/>
                    <a:pt x="108871" y="89725"/>
                    <a:pt x="111633" y="89725"/>
                  </a:cubicBezTo>
                  <a:cubicBezTo>
                    <a:pt x="110395" y="90869"/>
                    <a:pt x="111157" y="92869"/>
                    <a:pt x="107633" y="93536"/>
                  </a:cubicBezTo>
                  <a:close/>
                  <a:moveTo>
                    <a:pt x="71342" y="139541"/>
                  </a:moveTo>
                  <a:cubicBezTo>
                    <a:pt x="72009" y="139541"/>
                    <a:pt x="72676" y="138874"/>
                    <a:pt x="72676" y="138208"/>
                  </a:cubicBezTo>
                  <a:cubicBezTo>
                    <a:pt x="72676" y="137541"/>
                    <a:pt x="72676" y="136874"/>
                    <a:pt x="72009" y="136112"/>
                  </a:cubicBezTo>
                  <a:cubicBezTo>
                    <a:pt x="71342" y="136112"/>
                    <a:pt x="70676" y="136779"/>
                    <a:pt x="70676" y="137446"/>
                  </a:cubicBezTo>
                  <a:cubicBezTo>
                    <a:pt x="70676" y="138113"/>
                    <a:pt x="70676" y="139541"/>
                    <a:pt x="71342" y="139541"/>
                  </a:cubicBezTo>
                  <a:close/>
                  <a:moveTo>
                    <a:pt x="137827" y="234124"/>
                  </a:moveTo>
                  <a:lnTo>
                    <a:pt x="137160" y="234124"/>
                  </a:lnTo>
                  <a:cubicBezTo>
                    <a:pt x="135827" y="232791"/>
                    <a:pt x="135065" y="232029"/>
                    <a:pt x="135065" y="231362"/>
                  </a:cubicBezTo>
                  <a:lnTo>
                    <a:pt x="135065" y="230696"/>
                  </a:lnTo>
                  <a:lnTo>
                    <a:pt x="135731" y="230029"/>
                  </a:lnTo>
                  <a:cubicBezTo>
                    <a:pt x="135731" y="230029"/>
                    <a:pt x="136398" y="230029"/>
                    <a:pt x="136398" y="230696"/>
                  </a:cubicBezTo>
                  <a:cubicBezTo>
                    <a:pt x="137065" y="231362"/>
                    <a:pt x="137732" y="232029"/>
                    <a:pt x="137732" y="232791"/>
                  </a:cubicBezTo>
                  <a:lnTo>
                    <a:pt x="137732" y="234124"/>
                  </a:lnTo>
                  <a:close/>
                  <a:moveTo>
                    <a:pt x="168021" y="219742"/>
                  </a:moveTo>
                  <a:cubicBezTo>
                    <a:pt x="168021" y="219075"/>
                    <a:pt x="167354" y="218408"/>
                    <a:pt x="167354" y="217646"/>
                  </a:cubicBezTo>
                  <a:cubicBezTo>
                    <a:pt x="167354" y="216979"/>
                    <a:pt x="167354" y="216979"/>
                    <a:pt x="168021" y="216313"/>
                  </a:cubicBezTo>
                  <a:lnTo>
                    <a:pt x="168021" y="213550"/>
                  </a:lnTo>
                  <a:cubicBezTo>
                    <a:pt x="167354" y="212884"/>
                    <a:pt x="167354" y="211455"/>
                    <a:pt x="167354" y="210788"/>
                  </a:cubicBezTo>
                  <a:lnTo>
                    <a:pt x="167354" y="208693"/>
                  </a:lnTo>
                  <a:cubicBezTo>
                    <a:pt x="166688" y="208693"/>
                    <a:pt x="166021" y="209360"/>
                    <a:pt x="166021" y="209360"/>
                  </a:cubicBezTo>
                  <a:cubicBezTo>
                    <a:pt x="164687" y="211455"/>
                    <a:pt x="164687" y="212122"/>
                    <a:pt x="164687" y="213455"/>
                  </a:cubicBezTo>
                  <a:lnTo>
                    <a:pt x="164687" y="215551"/>
                  </a:lnTo>
                  <a:cubicBezTo>
                    <a:pt x="164687" y="217646"/>
                    <a:pt x="166021" y="218980"/>
                    <a:pt x="166783" y="219646"/>
                  </a:cubicBezTo>
                  <a:cubicBezTo>
                    <a:pt x="167354" y="220409"/>
                    <a:pt x="167354" y="220409"/>
                    <a:pt x="168021" y="220409"/>
                  </a:cubicBezTo>
                  <a:lnTo>
                    <a:pt x="168021" y="219742"/>
                  </a:lnTo>
                  <a:close/>
                  <a:moveTo>
                    <a:pt x="170117" y="197168"/>
                  </a:moveTo>
                  <a:cubicBezTo>
                    <a:pt x="169450" y="198501"/>
                    <a:pt x="168783" y="199930"/>
                    <a:pt x="168783" y="201263"/>
                  </a:cubicBezTo>
                  <a:cubicBezTo>
                    <a:pt x="168783" y="201930"/>
                    <a:pt x="168783" y="202597"/>
                    <a:pt x="169450" y="204025"/>
                  </a:cubicBezTo>
                  <a:cubicBezTo>
                    <a:pt x="169450" y="204025"/>
                    <a:pt x="170117" y="204692"/>
                    <a:pt x="170117" y="205359"/>
                  </a:cubicBezTo>
                  <a:cubicBezTo>
                    <a:pt x="170117" y="206026"/>
                    <a:pt x="169450" y="206693"/>
                    <a:pt x="169450" y="207454"/>
                  </a:cubicBezTo>
                  <a:lnTo>
                    <a:pt x="169450" y="208788"/>
                  </a:lnTo>
                  <a:cubicBezTo>
                    <a:pt x="169450" y="209455"/>
                    <a:pt x="170117" y="209455"/>
                    <a:pt x="170783" y="210121"/>
                  </a:cubicBezTo>
                  <a:cubicBezTo>
                    <a:pt x="171450" y="210884"/>
                    <a:pt x="172117" y="210884"/>
                    <a:pt x="172117" y="210884"/>
                  </a:cubicBezTo>
                  <a:lnTo>
                    <a:pt x="172784" y="210217"/>
                  </a:lnTo>
                  <a:cubicBezTo>
                    <a:pt x="172117" y="209550"/>
                    <a:pt x="172117" y="209550"/>
                    <a:pt x="172117" y="208883"/>
                  </a:cubicBezTo>
                  <a:lnTo>
                    <a:pt x="171450" y="208121"/>
                  </a:lnTo>
                  <a:cubicBezTo>
                    <a:pt x="171450" y="206026"/>
                    <a:pt x="171450" y="204025"/>
                    <a:pt x="172117" y="201930"/>
                  </a:cubicBezTo>
                  <a:cubicBezTo>
                    <a:pt x="172784" y="201263"/>
                    <a:pt x="172784" y="200596"/>
                    <a:pt x="172784" y="199835"/>
                  </a:cubicBezTo>
                  <a:lnTo>
                    <a:pt x="172784" y="197072"/>
                  </a:lnTo>
                  <a:cubicBezTo>
                    <a:pt x="172784" y="196405"/>
                    <a:pt x="171450" y="196405"/>
                    <a:pt x="170021" y="195739"/>
                  </a:cubicBezTo>
                  <a:cubicBezTo>
                    <a:pt x="170688" y="195739"/>
                    <a:pt x="170688" y="194405"/>
                    <a:pt x="171355" y="193643"/>
                  </a:cubicBezTo>
                  <a:lnTo>
                    <a:pt x="171355" y="192976"/>
                  </a:lnTo>
                  <a:cubicBezTo>
                    <a:pt x="169259" y="193643"/>
                    <a:pt x="168593" y="193643"/>
                    <a:pt x="168593" y="194310"/>
                  </a:cubicBezTo>
                  <a:cubicBezTo>
                    <a:pt x="168593" y="194977"/>
                    <a:pt x="169259" y="195644"/>
                    <a:pt x="169926" y="196405"/>
                  </a:cubicBezTo>
                  <a:lnTo>
                    <a:pt x="169926" y="197168"/>
                  </a:lnTo>
                  <a:close/>
                  <a:moveTo>
                    <a:pt x="170783" y="182690"/>
                  </a:moveTo>
                  <a:lnTo>
                    <a:pt x="170783" y="183356"/>
                  </a:lnTo>
                  <a:cubicBezTo>
                    <a:pt x="171450" y="183356"/>
                    <a:pt x="171450" y="182690"/>
                    <a:pt x="171450" y="182690"/>
                  </a:cubicBezTo>
                  <a:lnTo>
                    <a:pt x="170783" y="182690"/>
                  </a:lnTo>
                  <a:close/>
                  <a:moveTo>
                    <a:pt x="176308" y="219742"/>
                  </a:moveTo>
                  <a:cubicBezTo>
                    <a:pt x="177641" y="219742"/>
                    <a:pt x="179070" y="220409"/>
                    <a:pt x="181070" y="220409"/>
                  </a:cubicBezTo>
                  <a:lnTo>
                    <a:pt x="181737" y="220409"/>
                  </a:lnTo>
                  <a:cubicBezTo>
                    <a:pt x="182404" y="219075"/>
                    <a:pt x="183071" y="218313"/>
                    <a:pt x="183071" y="217646"/>
                  </a:cubicBezTo>
                  <a:lnTo>
                    <a:pt x="182404" y="216979"/>
                  </a:lnTo>
                  <a:cubicBezTo>
                    <a:pt x="181737" y="217646"/>
                    <a:pt x="180308" y="218313"/>
                    <a:pt x="178975" y="218313"/>
                  </a:cubicBezTo>
                  <a:cubicBezTo>
                    <a:pt x="178975" y="218313"/>
                    <a:pt x="177641" y="216979"/>
                    <a:pt x="176879" y="216979"/>
                  </a:cubicBezTo>
                  <a:lnTo>
                    <a:pt x="176879" y="215646"/>
                  </a:lnTo>
                  <a:cubicBezTo>
                    <a:pt x="176879" y="214979"/>
                    <a:pt x="176879" y="214313"/>
                    <a:pt x="176213" y="214313"/>
                  </a:cubicBezTo>
                  <a:cubicBezTo>
                    <a:pt x="174117" y="214313"/>
                    <a:pt x="172784" y="214313"/>
                    <a:pt x="172117" y="212979"/>
                  </a:cubicBezTo>
                  <a:cubicBezTo>
                    <a:pt x="171450" y="212979"/>
                    <a:pt x="170783" y="212312"/>
                    <a:pt x="170783" y="212979"/>
                  </a:cubicBezTo>
                  <a:cubicBezTo>
                    <a:pt x="171450" y="216408"/>
                    <a:pt x="172117" y="218503"/>
                    <a:pt x="174212" y="219837"/>
                  </a:cubicBezTo>
                  <a:lnTo>
                    <a:pt x="176308" y="219837"/>
                  </a:lnTo>
                  <a:close/>
                  <a:moveTo>
                    <a:pt x="174212" y="320611"/>
                  </a:moveTo>
                  <a:lnTo>
                    <a:pt x="176308" y="320611"/>
                  </a:lnTo>
                  <a:lnTo>
                    <a:pt x="176308" y="319945"/>
                  </a:lnTo>
                  <a:cubicBezTo>
                    <a:pt x="176308" y="319945"/>
                    <a:pt x="174974" y="319278"/>
                    <a:pt x="174212" y="319278"/>
                  </a:cubicBezTo>
                  <a:lnTo>
                    <a:pt x="174212" y="320611"/>
                  </a:lnTo>
                  <a:close/>
                  <a:moveTo>
                    <a:pt x="176308" y="164211"/>
                  </a:moveTo>
                  <a:lnTo>
                    <a:pt x="174974" y="164211"/>
                  </a:lnTo>
                  <a:cubicBezTo>
                    <a:pt x="174974" y="164211"/>
                    <a:pt x="175641" y="164878"/>
                    <a:pt x="176308" y="164878"/>
                  </a:cubicBezTo>
                  <a:lnTo>
                    <a:pt x="174974" y="164878"/>
                  </a:lnTo>
                  <a:cubicBezTo>
                    <a:pt x="178403" y="167640"/>
                    <a:pt x="181166" y="169640"/>
                    <a:pt x="183928" y="171069"/>
                  </a:cubicBezTo>
                  <a:cubicBezTo>
                    <a:pt x="183928" y="171736"/>
                    <a:pt x="183928" y="171069"/>
                    <a:pt x="184594" y="171069"/>
                  </a:cubicBezTo>
                  <a:cubicBezTo>
                    <a:pt x="182404" y="167640"/>
                    <a:pt x="179737" y="166306"/>
                    <a:pt x="176308" y="164211"/>
                  </a:cubicBezTo>
                  <a:close/>
                  <a:moveTo>
                    <a:pt x="176975" y="225266"/>
                  </a:moveTo>
                  <a:lnTo>
                    <a:pt x="178308" y="226600"/>
                  </a:lnTo>
                  <a:cubicBezTo>
                    <a:pt x="178308" y="226600"/>
                    <a:pt x="178308" y="225933"/>
                    <a:pt x="177641" y="225266"/>
                  </a:cubicBezTo>
                  <a:lnTo>
                    <a:pt x="176975" y="225266"/>
                  </a:lnTo>
                  <a:close/>
                  <a:moveTo>
                    <a:pt x="177641" y="238982"/>
                  </a:moveTo>
                  <a:lnTo>
                    <a:pt x="177641" y="239649"/>
                  </a:lnTo>
                  <a:cubicBezTo>
                    <a:pt x="177641" y="239649"/>
                    <a:pt x="178308" y="240983"/>
                    <a:pt x="178308" y="240316"/>
                  </a:cubicBezTo>
                  <a:cubicBezTo>
                    <a:pt x="178975" y="240316"/>
                    <a:pt x="178975" y="239649"/>
                    <a:pt x="178975" y="238982"/>
                  </a:cubicBezTo>
                  <a:lnTo>
                    <a:pt x="177641" y="238982"/>
                  </a:lnTo>
                  <a:close/>
                  <a:moveTo>
                    <a:pt x="180404" y="318516"/>
                  </a:moveTo>
                  <a:cubicBezTo>
                    <a:pt x="180404" y="318516"/>
                    <a:pt x="179737" y="317849"/>
                    <a:pt x="179070" y="317849"/>
                  </a:cubicBezTo>
                  <a:cubicBezTo>
                    <a:pt x="178403" y="317849"/>
                    <a:pt x="178403" y="317183"/>
                    <a:pt x="178403" y="317183"/>
                  </a:cubicBezTo>
                  <a:lnTo>
                    <a:pt x="177737" y="317849"/>
                  </a:lnTo>
                  <a:cubicBezTo>
                    <a:pt x="177737" y="317849"/>
                    <a:pt x="178403" y="319183"/>
                    <a:pt x="179832" y="319183"/>
                  </a:cubicBezTo>
                  <a:cubicBezTo>
                    <a:pt x="179737" y="319183"/>
                    <a:pt x="180404" y="319183"/>
                    <a:pt x="180404" y="318516"/>
                  </a:cubicBezTo>
                  <a:close/>
                  <a:moveTo>
                    <a:pt x="182404" y="153257"/>
                  </a:moveTo>
                  <a:lnTo>
                    <a:pt x="182404" y="152591"/>
                  </a:lnTo>
                  <a:cubicBezTo>
                    <a:pt x="182404" y="151257"/>
                    <a:pt x="181737" y="150495"/>
                    <a:pt x="181070" y="150495"/>
                  </a:cubicBezTo>
                  <a:lnTo>
                    <a:pt x="180404" y="150495"/>
                  </a:lnTo>
                  <a:cubicBezTo>
                    <a:pt x="179737" y="151162"/>
                    <a:pt x="179070" y="151828"/>
                    <a:pt x="179070" y="152591"/>
                  </a:cubicBezTo>
                  <a:cubicBezTo>
                    <a:pt x="179070" y="153257"/>
                    <a:pt x="179737" y="153257"/>
                    <a:pt x="179737" y="153924"/>
                  </a:cubicBezTo>
                  <a:cubicBezTo>
                    <a:pt x="180404" y="153924"/>
                    <a:pt x="181070" y="153924"/>
                    <a:pt x="181070" y="154591"/>
                  </a:cubicBezTo>
                  <a:cubicBezTo>
                    <a:pt x="181737" y="153924"/>
                    <a:pt x="182404" y="153924"/>
                    <a:pt x="182404" y="153257"/>
                  </a:cubicBezTo>
                  <a:close/>
                  <a:moveTo>
                    <a:pt x="179737" y="207454"/>
                  </a:moveTo>
                  <a:cubicBezTo>
                    <a:pt x="180404" y="207454"/>
                    <a:pt x="180404" y="206788"/>
                    <a:pt x="180404" y="206788"/>
                  </a:cubicBezTo>
                  <a:cubicBezTo>
                    <a:pt x="180404" y="206788"/>
                    <a:pt x="179737" y="206788"/>
                    <a:pt x="179737" y="206121"/>
                  </a:cubicBezTo>
                  <a:lnTo>
                    <a:pt x="179737" y="207454"/>
                  </a:lnTo>
                  <a:close/>
                  <a:moveTo>
                    <a:pt x="183833" y="212217"/>
                  </a:moveTo>
                  <a:lnTo>
                    <a:pt x="185166" y="213550"/>
                  </a:lnTo>
                  <a:lnTo>
                    <a:pt x="185166" y="212217"/>
                  </a:lnTo>
                  <a:lnTo>
                    <a:pt x="186500" y="209455"/>
                  </a:lnTo>
                  <a:cubicBezTo>
                    <a:pt x="186500" y="209455"/>
                    <a:pt x="185166" y="208121"/>
                    <a:pt x="184404" y="208121"/>
                  </a:cubicBezTo>
                  <a:cubicBezTo>
                    <a:pt x="183737" y="208121"/>
                    <a:pt x="183737" y="209455"/>
                    <a:pt x="183737" y="209455"/>
                  </a:cubicBezTo>
                  <a:cubicBezTo>
                    <a:pt x="183737" y="209455"/>
                    <a:pt x="183737" y="210121"/>
                    <a:pt x="183071" y="210788"/>
                  </a:cubicBezTo>
                  <a:cubicBezTo>
                    <a:pt x="183833" y="211550"/>
                    <a:pt x="183833" y="212217"/>
                    <a:pt x="183833" y="212217"/>
                  </a:cubicBezTo>
                  <a:close/>
                  <a:moveTo>
                    <a:pt x="185166" y="237553"/>
                  </a:moveTo>
                  <a:lnTo>
                    <a:pt x="185166" y="236887"/>
                  </a:lnTo>
                  <a:cubicBezTo>
                    <a:pt x="184499" y="236887"/>
                    <a:pt x="183833" y="236220"/>
                    <a:pt x="183833" y="236220"/>
                  </a:cubicBezTo>
                  <a:lnTo>
                    <a:pt x="183833" y="237553"/>
                  </a:lnTo>
                  <a:lnTo>
                    <a:pt x="185166" y="237553"/>
                  </a:lnTo>
                  <a:close/>
                  <a:moveTo>
                    <a:pt x="186595" y="199835"/>
                  </a:moveTo>
                  <a:lnTo>
                    <a:pt x="185928" y="199835"/>
                  </a:lnTo>
                  <a:cubicBezTo>
                    <a:pt x="185261" y="199835"/>
                    <a:pt x="184594" y="199835"/>
                    <a:pt x="184594" y="199168"/>
                  </a:cubicBezTo>
                  <a:cubicBezTo>
                    <a:pt x="184594" y="198501"/>
                    <a:pt x="184594" y="198501"/>
                    <a:pt x="185261" y="197834"/>
                  </a:cubicBezTo>
                  <a:lnTo>
                    <a:pt x="185928" y="197834"/>
                  </a:lnTo>
                  <a:cubicBezTo>
                    <a:pt x="186595" y="198501"/>
                    <a:pt x="186595" y="199168"/>
                    <a:pt x="188024" y="199168"/>
                  </a:cubicBezTo>
                  <a:lnTo>
                    <a:pt x="186595" y="199835"/>
                  </a:lnTo>
                  <a:close/>
                  <a:moveTo>
                    <a:pt x="187928" y="149162"/>
                  </a:moveTo>
                  <a:lnTo>
                    <a:pt x="187928" y="149828"/>
                  </a:lnTo>
                  <a:cubicBezTo>
                    <a:pt x="187928" y="150495"/>
                    <a:pt x="187928" y="150495"/>
                    <a:pt x="188595" y="150495"/>
                  </a:cubicBezTo>
                  <a:lnTo>
                    <a:pt x="190691" y="150495"/>
                  </a:lnTo>
                  <a:cubicBezTo>
                    <a:pt x="190691" y="150495"/>
                    <a:pt x="190691" y="149828"/>
                    <a:pt x="190024" y="149162"/>
                  </a:cubicBezTo>
                  <a:cubicBezTo>
                    <a:pt x="190024" y="148495"/>
                    <a:pt x="189357" y="148495"/>
                    <a:pt x="188690" y="148495"/>
                  </a:cubicBezTo>
                  <a:lnTo>
                    <a:pt x="187928" y="149162"/>
                  </a:lnTo>
                  <a:close/>
                  <a:moveTo>
                    <a:pt x="189262" y="174498"/>
                  </a:moveTo>
                  <a:lnTo>
                    <a:pt x="187928" y="174498"/>
                  </a:lnTo>
                  <a:lnTo>
                    <a:pt x="187928" y="175165"/>
                  </a:lnTo>
                  <a:cubicBezTo>
                    <a:pt x="187928" y="175831"/>
                    <a:pt x="188595" y="176498"/>
                    <a:pt x="188595" y="176498"/>
                  </a:cubicBezTo>
                  <a:lnTo>
                    <a:pt x="189262" y="176498"/>
                  </a:lnTo>
                  <a:cubicBezTo>
                    <a:pt x="189929" y="176498"/>
                    <a:pt x="190595" y="175831"/>
                    <a:pt x="190595" y="175165"/>
                  </a:cubicBezTo>
                  <a:cubicBezTo>
                    <a:pt x="190024" y="174498"/>
                    <a:pt x="189262" y="174498"/>
                    <a:pt x="189262" y="174498"/>
                  </a:cubicBezTo>
                  <a:close/>
                  <a:moveTo>
                    <a:pt x="189262" y="171736"/>
                  </a:moveTo>
                  <a:lnTo>
                    <a:pt x="189262" y="171069"/>
                  </a:lnTo>
                  <a:cubicBezTo>
                    <a:pt x="189262" y="171736"/>
                    <a:pt x="188595" y="171736"/>
                    <a:pt x="188595" y="171736"/>
                  </a:cubicBezTo>
                  <a:lnTo>
                    <a:pt x="189262" y="171736"/>
                  </a:lnTo>
                  <a:close/>
                  <a:moveTo>
                    <a:pt x="190691" y="180689"/>
                  </a:moveTo>
                  <a:cubicBezTo>
                    <a:pt x="190691" y="180022"/>
                    <a:pt x="191357" y="180022"/>
                    <a:pt x="191357" y="180022"/>
                  </a:cubicBezTo>
                  <a:cubicBezTo>
                    <a:pt x="191357" y="179356"/>
                    <a:pt x="190691" y="178689"/>
                    <a:pt x="190691" y="178689"/>
                  </a:cubicBezTo>
                  <a:lnTo>
                    <a:pt x="189357" y="178689"/>
                  </a:lnTo>
                  <a:cubicBezTo>
                    <a:pt x="189357" y="179356"/>
                    <a:pt x="189357" y="180022"/>
                    <a:pt x="190024" y="180785"/>
                  </a:cubicBezTo>
                  <a:lnTo>
                    <a:pt x="190691" y="180785"/>
                  </a:lnTo>
                  <a:close/>
                  <a:moveTo>
                    <a:pt x="191357" y="142970"/>
                  </a:moveTo>
                  <a:lnTo>
                    <a:pt x="192691" y="142970"/>
                  </a:lnTo>
                  <a:cubicBezTo>
                    <a:pt x="194024" y="142970"/>
                    <a:pt x="194786" y="142970"/>
                    <a:pt x="194786" y="143637"/>
                  </a:cubicBezTo>
                  <a:lnTo>
                    <a:pt x="196882" y="146399"/>
                  </a:lnTo>
                  <a:lnTo>
                    <a:pt x="198977" y="146399"/>
                  </a:lnTo>
                  <a:lnTo>
                    <a:pt x="198977" y="145733"/>
                  </a:lnTo>
                  <a:cubicBezTo>
                    <a:pt x="198311" y="142970"/>
                    <a:pt x="194881" y="140970"/>
                    <a:pt x="192119" y="138874"/>
                  </a:cubicBezTo>
                  <a:cubicBezTo>
                    <a:pt x="192119" y="140208"/>
                    <a:pt x="191453" y="140970"/>
                    <a:pt x="191453" y="140970"/>
                  </a:cubicBezTo>
                  <a:lnTo>
                    <a:pt x="191453" y="142970"/>
                  </a:lnTo>
                  <a:close/>
                  <a:moveTo>
                    <a:pt x="191357" y="146399"/>
                  </a:moveTo>
                  <a:cubicBezTo>
                    <a:pt x="191357" y="146399"/>
                    <a:pt x="192024" y="146399"/>
                    <a:pt x="192024" y="145733"/>
                  </a:cubicBezTo>
                  <a:lnTo>
                    <a:pt x="191357" y="145733"/>
                  </a:lnTo>
                  <a:lnTo>
                    <a:pt x="191357" y="146399"/>
                  </a:lnTo>
                  <a:close/>
                  <a:moveTo>
                    <a:pt x="198215" y="133350"/>
                  </a:moveTo>
                  <a:lnTo>
                    <a:pt x="198882" y="132683"/>
                  </a:lnTo>
                  <a:cubicBezTo>
                    <a:pt x="198882" y="132683"/>
                    <a:pt x="199549" y="132017"/>
                    <a:pt x="199549" y="131350"/>
                  </a:cubicBezTo>
                  <a:cubicBezTo>
                    <a:pt x="199549" y="130683"/>
                    <a:pt x="198882" y="130683"/>
                    <a:pt x="198882" y="130016"/>
                  </a:cubicBezTo>
                  <a:cubicBezTo>
                    <a:pt x="196787" y="129349"/>
                    <a:pt x="195453" y="127254"/>
                    <a:pt x="194786" y="126587"/>
                  </a:cubicBezTo>
                  <a:lnTo>
                    <a:pt x="192691" y="126587"/>
                  </a:lnTo>
                  <a:cubicBezTo>
                    <a:pt x="192024" y="127254"/>
                    <a:pt x="192024" y="127254"/>
                    <a:pt x="192024" y="127921"/>
                  </a:cubicBezTo>
                  <a:cubicBezTo>
                    <a:pt x="192024" y="128588"/>
                    <a:pt x="192024" y="128588"/>
                    <a:pt x="192691" y="128588"/>
                  </a:cubicBezTo>
                  <a:lnTo>
                    <a:pt x="196787" y="133350"/>
                  </a:lnTo>
                  <a:lnTo>
                    <a:pt x="198215" y="133350"/>
                  </a:lnTo>
                  <a:close/>
                  <a:moveTo>
                    <a:pt x="196120" y="149162"/>
                  </a:moveTo>
                  <a:cubicBezTo>
                    <a:pt x="196120" y="149828"/>
                    <a:pt x="196787" y="150495"/>
                    <a:pt x="198215" y="150495"/>
                  </a:cubicBezTo>
                  <a:lnTo>
                    <a:pt x="198882" y="150495"/>
                  </a:lnTo>
                  <a:cubicBezTo>
                    <a:pt x="198882" y="149828"/>
                    <a:pt x="198882" y="149828"/>
                    <a:pt x="198215" y="149162"/>
                  </a:cubicBezTo>
                  <a:lnTo>
                    <a:pt x="196120" y="149162"/>
                  </a:lnTo>
                  <a:close/>
                  <a:moveTo>
                    <a:pt x="198882" y="160115"/>
                  </a:moveTo>
                  <a:lnTo>
                    <a:pt x="198882" y="160782"/>
                  </a:lnTo>
                  <a:lnTo>
                    <a:pt x="198215" y="161449"/>
                  </a:lnTo>
                  <a:cubicBezTo>
                    <a:pt x="198215" y="160782"/>
                    <a:pt x="196882" y="160782"/>
                    <a:pt x="196882" y="160115"/>
                  </a:cubicBezTo>
                  <a:lnTo>
                    <a:pt x="198882" y="160115"/>
                  </a:lnTo>
                  <a:close/>
                  <a:moveTo>
                    <a:pt x="205073" y="92202"/>
                  </a:moveTo>
                  <a:cubicBezTo>
                    <a:pt x="204406" y="90869"/>
                    <a:pt x="203740" y="90869"/>
                    <a:pt x="202978" y="90869"/>
                  </a:cubicBezTo>
                  <a:cubicBezTo>
                    <a:pt x="202311" y="90202"/>
                    <a:pt x="200882" y="90202"/>
                    <a:pt x="200882" y="90202"/>
                  </a:cubicBezTo>
                  <a:cubicBezTo>
                    <a:pt x="200216" y="90202"/>
                    <a:pt x="199549" y="90202"/>
                    <a:pt x="199549" y="90869"/>
                  </a:cubicBezTo>
                  <a:lnTo>
                    <a:pt x="200216" y="91535"/>
                  </a:lnTo>
                  <a:cubicBezTo>
                    <a:pt x="200216" y="92202"/>
                    <a:pt x="200216" y="92869"/>
                    <a:pt x="200882" y="92869"/>
                  </a:cubicBezTo>
                  <a:cubicBezTo>
                    <a:pt x="201549" y="93536"/>
                    <a:pt x="201549" y="94964"/>
                    <a:pt x="201549" y="95631"/>
                  </a:cubicBezTo>
                  <a:cubicBezTo>
                    <a:pt x="202216" y="96298"/>
                    <a:pt x="202216" y="96298"/>
                    <a:pt x="202216" y="96965"/>
                  </a:cubicBezTo>
                  <a:cubicBezTo>
                    <a:pt x="202216" y="96965"/>
                    <a:pt x="202216" y="97631"/>
                    <a:pt x="202883" y="97631"/>
                  </a:cubicBezTo>
                  <a:cubicBezTo>
                    <a:pt x="204978" y="98298"/>
                    <a:pt x="205645" y="98298"/>
                    <a:pt x="206978" y="98298"/>
                  </a:cubicBezTo>
                  <a:cubicBezTo>
                    <a:pt x="207645" y="98298"/>
                    <a:pt x="207645" y="98298"/>
                    <a:pt x="207645" y="97631"/>
                  </a:cubicBezTo>
                  <a:lnTo>
                    <a:pt x="207645" y="96965"/>
                  </a:lnTo>
                  <a:cubicBezTo>
                    <a:pt x="207645" y="96965"/>
                    <a:pt x="206978" y="96298"/>
                    <a:pt x="205550" y="95631"/>
                  </a:cubicBezTo>
                  <a:cubicBezTo>
                    <a:pt x="205740" y="94964"/>
                    <a:pt x="205740" y="93536"/>
                    <a:pt x="205073" y="92202"/>
                  </a:cubicBezTo>
                  <a:close/>
                  <a:moveTo>
                    <a:pt x="203740" y="114109"/>
                  </a:moveTo>
                  <a:cubicBezTo>
                    <a:pt x="203740" y="113443"/>
                    <a:pt x="203740" y="112776"/>
                    <a:pt x="203073" y="112776"/>
                  </a:cubicBezTo>
                  <a:cubicBezTo>
                    <a:pt x="201740" y="113443"/>
                    <a:pt x="200978" y="113443"/>
                    <a:pt x="200978" y="113443"/>
                  </a:cubicBezTo>
                  <a:lnTo>
                    <a:pt x="200978" y="114109"/>
                  </a:lnTo>
                  <a:cubicBezTo>
                    <a:pt x="200978" y="114776"/>
                    <a:pt x="201644" y="115443"/>
                    <a:pt x="203073" y="115443"/>
                  </a:cubicBezTo>
                  <a:cubicBezTo>
                    <a:pt x="202978" y="114871"/>
                    <a:pt x="203740" y="114871"/>
                    <a:pt x="203740" y="114109"/>
                  </a:cubicBezTo>
                  <a:close/>
                  <a:moveTo>
                    <a:pt x="206407" y="69532"/>
                  </a:moveTo>
                  <a:cubicBezTo>
                    <a:pt x="203644" y="69532"/>
                    <a:pt x="202978" y="70199"/>
                    <a:pt x="202978" y="70866"/>
                  </a:cubicBezTo>
                  <a:lnTo>
                    <a:pt x="202978" y="72199"/>
                  </a:lnTo>
                  <a:cubicBezTo>
                    <a:pt x="205073" y="74295"/>
                    <a:pt x="205740" y="74962"/>
                    <a:pt x="206407" y="76962"/>
                  </a:cubicBezTo>
                  <a:cubicBezTo>
                    <a:pt x="205740" y="76962"/>
                    <a:pt x="206407" y="77629"/>
                    <a:pt x="206407" y="78296"/>
                  </a:cubicBezTo>
                  <a:cubicBezTo>
                    <a:pt x="206407" y="78962"/>
                    <a:pt x="207074" y="79629"/>
                    <a:pt x="207740" y="79629"/>
                  </a:cubicBezTo>
                  <a:lnTo>
                    <a:pt x="208407" y="79629"/>
                  </a:lnTo>
                  <a:cubicBezTo>
                    <a:pt x="209741" y="78962"/>
                    <a:pt x="210503" y="78962"/>
                    <a:pt x="211169" y="78962"/>
                  </a:cubicBezTo>
                  <a:lnTo>
                    <a:pt x="212503" y="78962"/>
                  </a:lnTo>
                  <a:cubicBezTo>
                    <a:pt x="213169" y="78962"/>
                    <a:pt x="213169" y="78296"/>
                    <a:pt x="213169" y="77629"/>
                  </a:cubicBezTo>
                  <a:lnTo>
                    <a:pt x="210407" y="75533"/>
                  </a:lnTo>
                  <a:cubicBezTo>
                    <a:pt x="209741" y="74867"/>
                    <a:pt x="209741" y="74200"/>
                    <a:pt x="209741" y="74200"/>
                  </a:cubicBezTo>
                  <a:cubicBezTo>
                    <a:pt x="210407" y="72866"/>
                    <a:pt x="211074" y="71438"/>
                    <a:pt x="211074" y="70771"/>
                  </a:cubicBezTo>
                  <a:cubicBezTo>
                    <a:pt x="211074" y="70104"/>
                    <a:pt x="210407" y="70104"/>
                    <a:pt x="206978" y="69437"/>
                  </a:cubicBezTo>
                  <a:lnTo>
                    <a:pt x="206407" y="69437"/>
                  </a:lnTo>
                  <a:close/>
                  <a:moveTo>
                    <a:pt x="206407" y="118300"/>
                  </a:moveTo>
                  <a:lnTo>
                    <a:pt x="207074" y="117634"/>
                  </a:lnTo>
                  <a:cubicBezTo>
                    <a:pt x="207074" y="116967"/>
                    <a:pt x="206407" y="116300"/>
                    <a:pt x="206407" y="116300"/>
                  </a:cubicBezTo>
                  <a:cubicBezTo>
                    <a:pt x="206407" y="115633"/>
                    <a:pt x="205740" y="116300"/>
                    <a:pt x="205740" y="117634"/>
                  </a:cubicBezTo>
                  <a:lnTo>
                    <a:pt x="206407" y="118300"/>
                  </a:lnTo>
                  <a:close/>
                  <a:moveTo>
                    <a:pt x="209836" y="88773"/>
                  </a:moveTo>
                  <a:cubicBezTo>
                    <a:pt x="209836" y="88773"/>
                    <a:pt x="209836" y="88106"/>
                    <a:pt x="208502" y="88106"/>
                  </a:cubicBezTo>
                  <a:cubicBezTo>
                    <a:pt x="207836" y="88106"/>
                    <a:pt x="207169" y="88106"/>
                    <a:pt x="207169" y="88773"/>
                  </a:cubicBezTo>
                  <a:cubicBezTo>
                    <a:pt x="207169" y="89440"/>
                    <a:pt x="207836" y="89440"/>
                    <a:pt x="207836" y="89440"/>
                  </a:cubicBezTo>
                  <a:cubicBezTo>
                    <a:pt x="208502" y="89440"/>
                    <a:pt x="209836" y="89440"/>
                    <a:pt x="209836" y="88773"/>
                  </a:cubicBezTo>
                  <a:close/>
                  <a:moveTo>
                    <a:pt x="214694" y="64103"/>
                  </a:moveTo>
                  <a:lnTo>
                    <a:pt x="214694" y="63437"/>
                  </a:lnTo>
                  <a:lnTo>
                    <a:pt x="213360" y="63437"/>
                  </a:lnTo>
                  <a:cubicBezTo>
                    <a:pt x="212693" y="63437"/>
                    <a:pt x="212027" y="63437"/>
                    <a:pt x="212027" y="62770"/>
                  </a:cubicBezTo>
                  <a:lnTo>
                    <a:pt x="211360" y="62770"/>
                  </a:lnTo>
                  <a:cubicBezTo>
                    <a:pt x="211360" y="63437"/>
                    <a:pt x="211360" y="64103"/>
                    <a:pt x="210693" y="64865"/>
                  </a:cubicBezTo>
                  <a:cubicBezTo>
                    <a:pt x="210693" y="64865"/>
                    <a:pt x="211360" y="65532"/>
                    <a:pt x="211360" y="66199"/>
                  </a:cubicBezTo>
                  <a:cubicBezTo>
                    <a:pt x="212598" y="66103"/>
                    <a:pt x="214027" y="65437"/>
                    <a:pt x="214694" y="64103"/>
                  </a:cubicBezTo>
                  <a:close/>
                  <a:moveTo>
                    <a:pt x="218123" y="67532"/>
                  </a:moveTo>
                  <a:cubicBezTo>
                    <a:pt x="218123" y="66866"/>
                    <a:pt x="218123" y="66199"/>
                    <a:pt x="217456" y="66199"/>
                  </a:cubicBezTo>
                  <a:lnTo>
                    <a:pt x="215360" y="66199"/>
                  </a:lnTo>
                  <a:cubicBezTo>
                    <a:pt x="215360" y="66866"/>
                    <a:pt x="216027" y="67532"/>
                    <a:pt x="216027" y="67532"/>
                  </a:cubicBezTo>
                  <a:lnTo>
                    <a:pt x="218123" y="6753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71A8BB0-74F1-445E-B184-660B60AC5486}"/>
                </a:ext>
              </a:extLst>
            </p:cNvPr>
            <p:cNvSpPr/>
            <p:nvPr/>
          </p:nvSpPr>
          <p:spPr>
            <a:xfrm>
              <a:off x="4497609" y="3276028"/>
              <a:ext cx="400050" cy="638175"/>
            </a:xfrm>
            <a:custGeom>
              <a:avLst/>
              <a:gdLst>
                <a:gd name="connsiteX0" fmla="*/ 266891 w 400050"/>
                <a:gd name="connsiteY0" fmla="*/ 114491 h 638175"/>
                <a:gd name="connsiteX1" fmla="*/ 264795 w 400050"/>
                <a:gd name="connsiteY1" fmla="*/ 114491 h 638175"/>
                <a:gd name="connsiteX2" fmla="*/ 263462 w 400050"/>
                <a:gd name="connsiteY2" fmla="*/ 115157 h 638175"/>
                <a:gd name="connsiteX3" fmla="*/ 248412 w 400050"/>
                <a:gd name="connsiteY3" fmla="*/ 132969 h 638175"/>
                <a:gd name="connsiteX4" fmla="*/ 234029 w 400050"/>
                <a:gd name="connsiteY4" fmla="*/ 150114 h 638175"/>
                <a:gd name="connsiteX5" fmla="*/ 227171 w 400050"/>
                <a:gd name="connsiteY5" fmla="*/ 156972 h 638175"/>
                <a:gd name="connsiteX6" fmla="*/ 220313 w 400050"/>
                <a:gd name="connsiteY6" fmla="*/ 163830 h 638175"/>
                <a:gd name="connsiteX7" fmla="*/ 210693 w 400050"/>
                <a:gd name="connsiteY7" fmla="*/ 175451 h 638175"/>
                <a:gd name="connsiteX8" fmla="*/ 210026 w 400050"/>
                <a:gd name="connsiteY8" fmla="*/ 174784 h 638175"/>
                <a:gd name="connsiteX9" fmla="*/ 194977 w 400050"/>
                <a:gd name="connsiteY9" fmla="*/ 190595 h 638175"/>
                <a:gd name="connsiteX10" fmla="*/ 193453 w 400050"/>
                <a:gd name="connsiteY10" fmla="*/ 190595 h 638175"/>
                <a:gd name="connsiteX11" fmla="*/ 192786 w 400050"/>
                <a:gd name="connsiteY11" fmla="*/ 192691 h 638175"/>
                <a:gd name="connsiteX12" fmla="*/ 193453 w 400050"/>
                <a:gd name="connsiteY12" fmla="*/ 194024 h 638175"/>
                <a:gd name="connsiteX13" fmla="*/ 189357 w 400050"/>
                <a:gd name="connsiteY13" fmla="*/ 196120 h 638175"/>
                <a:gd name="connsiteX14" fmla="*/ 187261 w 400050"/>
                <a:gd name="connsiteY14" fmla="*/ 195453 h 638175"/>
                <a:gd name="connsiteX15" fmla="*/ 174212 w 400050"/>
                <a:gd name="connsiteY15" fmla="*/ 212598 h 638175"/>
                <a:gd name="connsiteX16" fmla="*/ 170783 w 400050"/>
                <a:gd name="connsiteY16" fmla="*/ 212598 h 638175"/>
                <a:gd name="connsiteX17" fmla="*/ 145447 w 400050"/>
                <a:gd name="connsiteY17" fmla="*/ 231077 h 638175"/>
                <a:gd name="connsiteX18" fmla="*/ 144780 w 400050"/>
                <a:gd name="connsiteY18" fmla="*/ 231077 h 638175"/>
                <a:gd name="connsiteX19" fmla="*/ 106394 w 400050"/>
                <a:gd name="connsiteY19" fmla="*/ 244793 h 638175"/>
                <a:gd name="connsiteX20" fmla="*/ 85153 w 400050"/>
                <a:gd name="connsiteY20" fmla="*/ 231077 h 638175"/>
                <a:gd name="connsiteX21" fmla="*/ 78962 w 400050"/>
                <a:gd name="connsiteY21" fmla="*/ 224885 h 638175"/>
                <a:gd name="connsiteX22" fmla="*/ 72104 w 400050"/>
                <a:gd name="connsiteY22" fmla="*/ 213265 h 638175"/>
                <a:gd name="connsiteX23" fmla="*/ 70009 w 400050"/>
                <a:gd name="connsiteY23" fmla="*/ 205740 h 638175"/>
                <a:gd name="connsiteX24" fmla="*/ 70009 w 400050"/>
                <a:gd name="connsiteY24" fmla="*/ 198882 h 638175"/>
                <a:gd name="connsiteX25" fmla="*/ 70676 w 400050"/>
                <a:gd name="connsiteY25" fmla="*/ 196120 h 638175"/>
                <a:gd name="connsiteX26" fmla="*/ 69342 w 400050"/>
                <a:gd name="connsiteY26" fmla="*/ 191357 h 638175"/>
                <a:gd name="connsiteX27" fmla="*/ 68675 w 400050"/>
                <a:gd name="connsiteY27" fmla="*/ 190024 h 638175"/>
                <a:gd name="connsiteX28" fmla="*/ 68675 w 400050"/>
                <a:gd name="connsiteY28" fmla="*/ 189167 h 638175"/>
                <a:gd name="connsiteX29" fmla="*/ 71438 w 400050"/>
                <a:gd name="connsiteY29" fmla="*/ 186404 h 638175"/>
                <a:gd name="connsiteX30" fmla="*/ 70771 w 400050"/>
                <a:gd name="connsiteY30" fmla="*/ 185738 h 638175"/>
                <a:gd name="connsiteX31" fmla="*/ 72866 w 400050"/>
                <a:gd name="connsiteY31" fmla="*/ 173355 h 638175"/>
                <a:gd name="connsiteX32" fmla="*/ 72866 w 400050"/>
                <a:gd name="connsiteY32" fmla="*/ 172688 h 638175"/>
                <a:gd name="connsiteX33" fmla="*/ 74962 w 400050"/>
                <a:gd name="connsiteY33" fmla="*/ 164497 h 638175"/>
                <a:gd name="connsiteX34" fmla="*/ 74962 w 400050"/>
                <a:gd name="connsiteY34" fmla="*/ 160401 h 638175"/>
                <a:gd name="connsiteX35" fmla="*/ 77724 w 400050"/>
                <a:gd name="connsiteY35" fmla="*/ 154210 h 638175"/>
                <a:gd name="connsiteX36" fmla="*/ 77724 w 400050"/>
                <a:gd name="connsiteY36" fmla="*/ 152114 h 638175"/>
                <a:gd name="connsiteX37" fmla="*/ 86678 w 400050"/>
                <a:gd name="connsiteY37" fmla="*/ 138398 h 638175"/>
                <a:gd name="connsiteX38" fmla="*/ 85344 w 400050"/>
                <a:gd name="connsiteY38" fmla="*/ 137065 h 638175"/>
                <a:gd name="connsiteX39" fmla="*/ 95631 w 400050"/>
                <a:gd name="connsiteY39" fmla="*/ 113062 h 638175"/>
                <a:gd name="connsiteX40" fmla="*/ 100394 w 400050"/>
                <a:gd name="connsiteY40" fmla="*/ 107537 h 638175"/>
                <a:gd name="connsiteX41" fmla="*/ 103823 w 400050"/>
                <a:gd name="connsiteY41" fmla="*/ 108204 h 638175"/>
                <a:gd name="connsiteX42" fmla="*/ 105918 w 400050"/>
                <a:gd name="connsiteY42" fmla="*/ 108204 h 638175"/>
                <a:gd name="connsiteX43" fmla="*/ 106585 w 400050"/>
                <a:gd name="connsiteY43" fmla="*/ 107537 h 638175"/>
                <a:gd name="connsiteX44" fmla="*/ 105918 w 400050"/>
                <a:gd name="connsiteY44" fmla="*/ 105442 h 638175"/>
                <a:gd name="connsiteX45" fmla="*/ 103156 w 400050"/>
                <a:gd name="connsiteY45" fmla="*/ 106109 h 638175"/>
                <a:gd name="connsiteX46" fmla="*/ 102489 w 400050"/>
                <a:gd name="connsiteY46" fmla="*/ 105442 h 638175"/>
                <a:gd name="connsiteX47" fmla="*/ 102489 w 400050"/>
                <a:gd name="connsiteY47" fmla="*/ 103442 h 638175"/>
                <a:gd name="connsiteX48" fmla="*/ 107252 w 400050"/>
                <a:gd name="connsiteY48" fmla="*/ 98679 h 638175"/>
                <a:gd name="connsiteX49" fmla="*/ 107252 w 400050"/>
                <a:gd name="connsiteY49" fmla="*/ 99346 h 638175"/>
                <a:gd name="connsiteX50" fmla="*/ 107918 w 400050"/>
                <a:gd name="connsiteY50" fmla="*/ 101441 h 638175"/>
                <a:gd name="connsiteX51" fmla="*/ 110681 w 400050"/>
                <a:gd name="connsiteY51" fmla="*/ 98679 h 638175"/>
                <a:gd name="connsiteX52" fmla="*/ 110014 w 400050"/>
                <a:gd name="connsiteY52" fmla="*/ 95917 h 638175"/>
                <a:gd name="connsiteX53" fmla="*/ 109347 w 400050"/>
                <a:gd name="connsiteY53" fmla="*/ 94583 h 638175"/>
                <a:gd name="connsiteX54" fmla="*/ 125825 w 400050"/>
                <a:gd name="connsiteY54" fmla="*/ 72676 h 638175"/>
                <a:gd name="connsiteX55" fmla="*/ 127921 w 400050"/>
                <a:gd name="connsiteY55" fmla="*/ 73343 h 638175"/>
                <a:gd name="connsiteX56" fmla="*/ 138875 w 400050"/>
                <a:gd name="connsiteY56" fmla="*/ 63722 h 638175"/>
                <a:gd name="connsiteX57" fmla="*/ 138875 w 400050"/>
                <a:gd name="connsiteY57" fmla="*/ 62389 h 638175"/>
                <a:gd name="connsiteX58" fmla="*/ 137255 w 400050"/>
                <a:gd name="connsiteY58" fmla="*/ 62389 h 638175"/>
                <a:gd name="connsiteX59" fmla="*/ 137255 w 400050"/>
                <a:gd name="connsiteY59" fmla="*/ 63722 h 638175"/>
                <a:gd name="connsiteX60" fmla="*/ 135922 w 400050"/>
                <a:gd name="connsiteY60" fmla="*/ 63056 h 638175"/>
                <a:gd name="connsiteX61" fmla="*/ 138684 w 400050"/>
                <a:gd name="connsiteY61" fmla="*/ 58960 h 638175"/>
                <a:gd name="connsiteX62" fmla="*/ 140780 w 400050"/>
                <a:gd name="connsiteY62" fmla="*/ 58960 h 638175"/>
                <a:gd name="connsiteX63" fmla="*/ 142113 w 400050"/>
                <a:gd name="connsiteY63" fmla="*/ 58293 h 638175"/>
                <a:gd name="connsiteX64" fmla="*/ 141446 w 400050"/>
                <a:gd name="connsiteY64" fmla="*/ 56198 h 638175"/>
                <a:gd name="connsiteX65" fmla="*/ 142113 w 400050"/>
                <a:gd name="connsiteY65" fmla="*/ 55531 h 638175"/>
                <a:gd name="connsiteX66" fmla="*/ 140780 w 400050"/>
                <a:gd name="connsiteY66" fmla="*/ 55531 h 638175"/>
                <a:gd name="connsiteX67" fmla="*/ 140780 w 400050"/>
                <a:gd name="connsiteY67" fmla="*/ 54864 h 638175"/>
                <a:gd name="connsiteX68" fmla="*/ 144875 w 400050"/>
                <a:gd name="connsiteY68" fmla="*/ 50102 h 638175"/>
                <a:gd name="connsiteX69" fmla="*/ 145542 w 400050"/>
                <a:gd name="connsiteY69" fmla="*/ 50102 h 638175"/>
                <a:gd name="connsiteX70" fmla="*/ 147638 w 400050"/>
                <a:gd name="connsiteY70" fmla="*/ 52197 h 638175"/>
                <a:gd name="connsiteX71" fmla="*/ 162020 w 400050"/>
                <a:gd name="connsiteY71" fmla="*/ 34385 h 638175"/>
                <a:gd name="connsiteX72" fmla="*/ 165449 w 400050"/>
                <a:gd name="connsiteY72" fmla="*/ 28861 h 638175"/>
                <a:gd name="connsiteX73" fmla="*/ 172974 w 400050"/>
                <a:gd name="connsiteY73" fmla="*/ 23336 h 638175"/>
                <a:gd name="connsiteX74" fmla="*/ 176403 w 400050"/>
                <a:gd name="connsiteY74" fmla="*/ 17145 h 638175"/>
                <a:gd name="connsiteX75" fmla="*/ 181166 w 400050"/>
                <a:gd name="connsiteY75" fmla="*/ 13716 h 638175"/>
                <a:gd name="connsiteX76" fmla="*/ 200406 w 400050"/>
                <a:gd name="connsiteY76" fmla="*/ 1334 h 638175"/>
                <a:gd name="connsiteX77" fmla="*/ 203835 w 400050"/>
                <a:gd name="connsiteY77" fmla="*/ 1334 h 638175"/>
                <a:gd name="connsiteX78" fmla="*/ 205931 w 400050"/>
                <a:gd name="connsiteY78" fmla="*/ 0 h 638175"/>
                <a:gd name="connsiteX79" fmla="*/ 207169 w 400050"/>
                <a:gd name="connsiteY79" fmla="*/ 572 h 638175"/>
                <a:gd name="connsiteX80" fmla="*/ 213360 w 400050"/>
                <a:gd name="connsiteY80" fmla="*/ 4001 h 638175"/>
                <a:gd name="connsiteX81" fmla="*/ 212693 w 400050"/>
                <a:gd name="connsiteY81" fmla="*/ 4001 h 638175"/>
                <a:gd name="connsiteX82" fmla="*/ 222980 w 400050"/>
                <a:gd name="connsiteY82" fmla="*/ 12192 h 638175"/>
                <a:gd name="connsiteX83" fmla="*/ 223647 w 400050"/>
                <a:gd name="connsiteY83" fmla="*/ 12192 h 638175"/>
                <a:gd name="connsiteX84" fmla="*/ 227076 w 400050"/>
                <a:gd name="connsiteY84" fmla="*/ 9430 h 638175"/>
                <a:gd name="connsiteX85" fmla="*/ 240125 w 400050"/>
                <a:gd name="connsiteY85" fmla="*/ 20384 h 638175"/>
                <a:gd name="connsiteX86" fmla="*/ 240792 w 400050"/>
                <a:gd name="connsiteY86" fmla="*/ 19717 h 638175"/>
                <a:gd name="connsiteX87" fmla="*/ 244221 w 400050"/>
                <a:gd name="connsiteY87" fmla="*/ 24479 h 638175"/>
                <a:gd name="connsiteX88" fmla="*/ 244888 w 400050"/>
                <a:gd name="connsiteY88" fmla="*/ 23146 h 638175"/>
                <a:gd name="connsiteX89" fmla="*/ 246221 w 400050"/>
                <a:gd name="connsiteY89" fmla="*/ 23146 h 638175"/>
                <a:gd name="connsiteX90" fmla="*/ 250317 w 400050"/>
                <a:gd name="connsiteY90" fmla="*/ 29337 h 638175"/>
                <a:gd name="connsiteX91" fmla="*/ 248984 w 400050"/>
                <a:gd name="connsiteY91" fmla="*/ 30671 h 638175"/>
                <a:gd name="connsiteX92" fmla="*/ 248317 w 400050"/>
                <a:gd name="connsiteY92" fmla="*/ 32004 h 638175"/>
                <a:gd name="connsiteX93" fmla="*/ 251746 w 400050"/>
                <a:gd name="connsiteY93" fmla="*/ 36767 h 638175"/>
                <a:gd name="connsiteX94" fmla="*/ 253079 w 400050"/>
                <a:gd name="connsiteY94" fmla="*/ 37433 h 638175"/>
                <a:gd name="connsiteX95" fmla="*/ 254413 w 400050"/>
                <a:gd name="connsiteY95" fmla="*/ 36767 h 638175"/>
                <a:gd name="connsiteX96" fmla="*/ 261271 w 400050"/>
                <a:gd name="connsiteY96" fmla="*/ 45720 h 638175"/>
                <a:gd name="connsiteX97" fmla="*/ 261937 w 400050"/>
                <a:gd name="connsiteY97" fmla="*/ 49816 h 638175"/>
                <a:gd name="connsiteX98" fmla="*/ 264033 w 400050"/>
                <a:gd name="connsiteY98" fmla="*/ 57341 h 638175"/>
                <a:gd name="connsiteX99" fmla="*/ 264700 w 400050"/>
                <a:gd name="connsiteY99" fmla="*/ 58007 h 638175"/>
                <a:gd name="connsiteX100" fmla="*/ 267462 w 400050"/>
                <a:gd name="connsiteY100" fmla="*/ 55245 h 638175"/>
                <a:gd name="connsiteX101" fmla="*/ 266795 w 400050"/>
                <a:gd name="connsiteY101" fmla="*/ 55245 h 638175"/>
                <a:gd name="connsiteX102" fmla="*/ 278416 w 400050"/>
                <a:gd name="connsiteY102" fmla="*/ 41529 h 638175"/>
                <a:gd name="connsiteX103" fmla="*/ 282512 w 400050"/>
                <a:gd name="connsiteY103" fmla="*/ 39434 h 638175"/>
                <a:gd name="connsiteX104" fmla="*/ 282512 w 400050"/>
                <a:gd name="connsiteY104" fmla="*/ 35338 h 638175"/>
                <a:gd name="connsiteX105" fmla="*/ 285941 w 400050"/>
                <a:gd name="connsiteY105" fmla="*/ 34004 h 638175"/>
                <a:gd name="connsiteX106" fmla="*/ 285274 w 400050"/>
                <a:gd name="connsiteY106" fmla="*/ 32671 h 638175"/>
                <a:gd name="connsiteX107" fmla="*/ 289370 w 400050"/>
                <a:gd name="connsiteY107" fmla="*/ 28575 h 638175"/>
                <a:gd name="connsiteX108" fmla="*/ 303752 w 400050"/>
                <a:gd name="connsiteY108" fmla="*/ 11430 h 638175"/>
                <a:gd name="connsiteX109" fmla="*/ 309277 w 400050"/>
                <a:gd name="connsiteY109" fmla="*/ 16955 h 638175"/>
                <a:gd name="connsiteX110" fmla="*/ 311372 w 400050"/>
                <a:gd name="connsiteY110" fmla="*/ 13526 h 638175"/>
                <a:gd name="connsiteX111" fmla="*/ 320993 w 400050"/>
                <a:gd name="connsiteY111" fmla="*/ 21717 h 638175"/>
                <a:gd name="connsiteX112" fmla="*/ 323088 w 400050"/>
                <a:gd name="connsiteY112" fmla="*/ 21050 h 638175"/>
                <a:gd name="connsiteX113" fmla="*/ 324422 w 400050"/>
                <a:gd name="connsiteY113" fmla="*/ 20384 h 638175"/>
                <a:gd name="connsiteX114" fmla="*/ 327184 w 400050"/>
                <a:gd name="connsiteY114" fmla="*/ 22479 h 638175"/>
                <a:gd name="connsiteX115" fmla="*/ 328517 w 400050"/>
                <a:gd name="connsiteY115" fmla="*/ 23813 h 638175"/>
                <a:gd name="connsiteX116" fmla="*/ 327851 w 400050"/>
                <a:gd name="connsiteY116" fmla="*/ 25146 h 638175"/>
                <a:gd name="connsiteX117" fmla="*/ 329946 w 400050"/>
                <a:gd name="connsiteY117" fmla="*/ 29242 h 638175"/>
                <a:gd name="connsiteX118" fmla="*/ 331280 w 400050"/>
                <a:gd name="connsiteY118" fmla="*/ 27146 h 638175"/>
                <a:gd name="connsiteX119" fmla="*/ 331946 w 400050"/>
                <a:gd name="connsiteY119" fmla="*/ 27146 h 638175"/>
                <a:gd name="connsiteX120" fmla="*/ 339471 w 400050"/>
                <a:gd name="connsiteY120" fmla="*/ 38100 h 638175"/>
                <a:gd name="connsiteX121" fmla="*/ 336709 w 400050"/>
                <a:gd name="connsiteY121" fmla="*/ 42196 h 638175"/>
                <a:gd name="connsiteX122" fmla="*/ 338042 w 400050"/>
                <a:gd name="connsiteY122" fmla="*/ 43529 h 638175"/>
                <a:gd name="connsiteX123" fmla="*/ 338042 w 400050"/>
                <a:gd name="connsiteY123" fmla="*/ 44196 h 638175"/>
                <a:gd name="connsiteX124" fmla="*/ 336709 w 400050"/>
                <a:gd name="connsiteY124" fmla="*/ 46958 h 638175"/>
                <a:gd name="connsiteX125" fmla="*/ 337376 w 400050"/>
                <a:gd name="connsiteY125" fmla="*/ 51054 h 638175"/>
                <a:gd name="connsiteX126" fmla="*/ 334613 w 400050"/>
                <a:gd name="connsiteY126" fmla="*/ 64770 h 638175"/>
                <a:gd name="connsiteX127" fmla="*/ 335947 w 400050"/>
                <a:gd name="connsiteY127" fmla="*/ 69533 h 638175"/>
                <a:gd name="connsiteX128" fmla="*/ 333185 w 400050"/>
                <a:gd name="connsiteY128" fmla="*/ 79820 h 638175"/>
                <a:gd name="connsiteX129" fmla="*/ 333185 w 400050"/>
                <a:gd name="connsiteY129" fmla="*/ 83915 h 638175"/>
                <a:gd name="connsiteX130" fmla="*/ 333851 w 400050"/>
                <a:gd name="connsiteY130" fmla="*/ 86678 h 638175"/>
                <a:gd name="connsiteX131" fmla="*/ 331756 w 400050"/>
                <a:gd name="connsiteY131" fmla="*/ 93536 h 638175"/>
                <a:gd name="connsiteX132" fmla="*/ 334518 w 400050"/>
                <a:gd name="connsiteY132" fmla="*/ 94869 h 638175"/>
                <a:gd name="connsiteX133" fmla="*/ 335185 w 400050"/>
                <a:gd name="connsiteY133" fmla="*/ 96203 h 638175"/>
                <a:gd name="connsiteX134" fmla="*/ 335852 w 400050"/>
                <a:gd name="connsiteY134" fmla="*/ 97536 h 638175"/>
                <a:gd name="connsiteX135" fmla="*/ 335185 w 400050"/>
                <a:gd name="connsiteY135" fmla="*/ 97536 h 638175"/>
                <a:gd name="connsiteX136" fmla="*/ 332423 w 400050"/>
                <a:gd name="connsiteY136" fmla="*/ 98203 h 638175"/>
                <a:gd name="connsiteX137" fmla="*/ 333756 w 400050"/>
                <a:gd name="connsiteY137" fmla="*/ 100965 h 638175"/>
                <a:gd name="connsiteX138" fmla="*/ 333089 w 400050"/>
                <a:gd name="connsiteY138" fmla="*/ 104394 h 638175"/>
                <a:gd name="connsiteX139" fmla="*/ 333756 w 400050"/>
                <a:gd name="connsiteY139" fmla="*/ 109919 h 638175"/>
                <a:gd name="connsiteX140" fmla="*/ 333756 w 400050"/>
                <a:gd name="connsiteY140" fmla="*/ 111252 h 638175"/>
                <a:gd name="connsiteX141" fmla="*/ 334423 w 400050"/>
                <a:gd name="connsiteY141" fmla="*/ 118110 h 638175"/>
                <a:gd name="connsiteX142" fmla="*/ 331661 w 400050"/>
                <a:gd name="connsiteY142" fmla="*/ 126302 h 638175"/>
                <a:gd name="connsiteX143" fmla="*/ 332994 w 400050"/>
                <a:gd name="connsiteY143" fmla="*/ 123539 h 638175"/>
                <a:gd name="connsiteX144" fmla="*/ 334328 w 400050"/>
                <a:gd name="connsiteY144" fmla="*/ 123539 h 638175"/>
                <a:gd name="connsiteX145" fmla="*/ 333661 w 400050"/>
                <a:gd name="connsiteY145" fmla="*/ 126302 h 638175"/>
                <a:gd name="connsiteX146" fmla="*/ 334994 w 400050"/>
                <a:gd name="connsiteY146" fmla="*/ 132493 h 638175"/>
                <a:gd name="connsiteX147" fmla="*/ 334328 w 400050"/>
                <a:gd name="connsiteY147" fmla="*/ 135255 h 638175"/>
                <a:gd name="connsiteX148" fmla="*/ 337090 w 400050"/>
                <a:gd name="connsiteY148" fmla="*/ 141446 h 638175"/>
                <a:gd name="connsiteX149" fmla="*/ 336423 w 400050"/>
                <a:gd name="connsiteY149" fmla="*/ 144209 h 638175"/>
                <a:gd name="connsiteX150" fmla="*/ 336423 w 400050"/>
                <a:gd name="connsiteY150" fmla="*/ 145542 h 638175"/>
                <a:gd name="connsiteX151" fmla="*/ 334328 w 400050"/>
                <a:gd name="connsiteY151" fmla="*/ 148304 h 638175"/>
                <a:gd name="connsiteX152" fmla="*/ 336423 w 400050"/>
                <a:gd name="connsiteY152" fmla="*/ 154496 h 638175"/>
                <a:gd name="connsiteX153" fmla="*/ 333661 w 400050"/>
                <a:gd name="connsiteY153" fmla="*/ 158591 h 638175"/>
                <a:gd name="connsiteX154" fmla="*/ 334328 w 400050"/>
                <a:gd name="connsiteY154" fmla="*/ 161354 h 638175"/>
                <a:gd name="connsiteX155" fmla="*/ 333661 w 400050"/>
                <a:gd name="connsiteY155" fmla="*/ 166878 h 638175"/>
                <a:gd name="connsiteX156" fmla="*/ 335756 w 400050"/>
                <a:gd name="connsiteY156" fmla="*/ 170307 h 638175"/>
                <a:gd name="connsiteX157" fmla="*/ 333661 w 400050"/>
                <a:gd name="connsiteY157" fmla="*/ 171641 h 638175"/>
                <a:gd name="connsiteX158" fmla="*/ 334994 w 400050"/>
                <a:gd name="connsiteY158" fmla="*/ 175736 h 638175"/>
                <a:gd name="connsiteX159" fmla="*/ 331565 w 400050"/>
                <a:gd name="connsiteY159" fmla="*/ 186690 h 638175"/>
                <a:gd name="connsiteX160" fmla="*/ 331565 w 400050"/>
                <a:gd name="connsiteY160" fmla="*/ 189452 h 638175"/>
                <a:gd name="connsiteX161" fmla="*/ 332899 w 400050"/>
                <a:gd name="connsiteY161" fmla="*/ 192215 h 638175"/>
                <a:gd name="connsiteX162" fmla="*/ 330803 w 400050"/>
                <a:gd name="connsiteY162" fmla="*/ 196310 h 638175"/>
                <a:gd name="connsiteX163" fmla="*/ 332899 w 400050"/>
                <a:gd name="connsiteY163" fmla="*/ 199739 h 638175"/>
                <a:gd name="connsiteX164" fmla="*/ 330803 w 400050"/>
                <a:gd name="connsiteY164" fmla="*/ 205931 h 638175"/>
                <a:gd name="connsiteX165" fmla="*/ 332137 w 400050"/>
                <a:gd name="connsiteY165" fmla="*/ 207264 h 638175"/>
                <a:gd name="connsiteX166" fmla="*/ 335566 w 400050"/>
                <a:gd name="connsiteY166" fmla="*/ 205931 h 638175"/>
                <a:gd name="connsiteX167" fmla="*/ 337661 w 400050"/>
                <a:gd name="connsiteY167" fmla="*/ 205931 h 638175"/>
                <a:gd name="connsiteX168" fmla="*/ 339757 w 400050"/>
                <a:gd name="connsiteY168" fmla="*/ 205264 h 638175"/>
                <a:gd name="connsiteX169" fmla="*/ 340424 w 400050"/>
                <a:gd name="connsiteY169" fmla="*/ 205931 h 638175"/>
                <a:gd name="connsiteX170" fmla="*/ 333566 w 400050"/>
                <a:gd name="connsiteY170" fmla="*/ 208693 h 638175"/>
                <a:gd name="connsiteX171" fmla="*/ 332899 w 400050"/>
                <a:gd name="connsiteY171" fmla="*/ 208693 h 638175"/>
                <a:gd name="connsiteX172" fmla="*/ 331565 w 400050"/>
                <a:gd name="connsiteY172" fmla="*/ 209360 h 638175"/>
                <a:gd name="connsiteX173" fmla="*/ 332899 w 400050"/>
                <a:gd name="connsiteY173" fmla="*/ 211455 h 638175"/>
                <a:gd name="connsiteX174" fmla="*/ 333566 w 400050"/>
                <a:gd name="connsiteY174" fmla="*/ 210788 h 638175"/>
                <a:gd name="connsiteX175" fmla="*/ 336328 w 400050"/>
                <a:gd name="connsiteY175" fmla="*/ 210788 h 638175"/>
                <a:gd name="connsiteX176" fmla="*/ 339757 w 400050"/>
                <a:gd name="connsiteY176" fmla="*/ 210122 h 638175"/>
                <a:gd name="connsiteX177" fmla="*/ 341852 w 400050"/>
                <a:gd name="connsiteY177" fmla="*/ 210788 h 638175"/>
                <a:gd name="connsiteX178" fmla="*/ 352806 w 400050"/>
                <a:gd name="connsiteY178" fmla="*/ 206026 h 638175"/>
                <a:gd name="connsiteX179" fmla="*/ 354140 w 400050"/>
                <a:gd name="connsiteY179" fmla="*/ 206693 h 638175"/>
                <a:gd name="connsiteX180" fmla="*/ 354140 w 400050"/>
                <a:gd name="connsiteY180" fmla="*/ 208026 h 638175"/>
                <a:gd name="connsiteX181" fmla="*/ 351377 w 400050"/>
                <a:gd name="connsiteY181" fmla="*/ 210122 h 638175"/>
                <a:gd name="connsiteX182" fmla="*/ 355473 w 400050"/>
                <a:gd name="connsiteY182" fmla="*/ 210788 h 638175"/>
                <a:gd name="connsiteX183" fmla="*/ 356140 w 400050"/>
                <a:gd name="connsiteY183" fmla="*/ 207359 h 638175"/>
                <a:gd name="connsiteX184" fmla="*/ 355473 w 400050"/>
                <a:gd name="connsiteY184" fmla="*/ 206693 h 638175"/>
                <a:gd name="connsiteX185" fmla="*/ 356140 w 400050"/>
                <a:gd name="connsiteY185" fmla="*/ 206026 h 638175"/>
                <a:gd name="connsiteX186" fmla="*/ 365760 w 400050"/>
                <a:gd name="connsiteY186" fmla="*/ 202597 h 638175"/>
                <a:gd name="connsiteX187" fmla="*/ 365760 w 400050"/>
                <a:gd name="connsiteY187" fmla="*/ 203930 h 638175"/>
                <a:gd name="connsiteX188" fmla="*/ 366427 w 400050"/>
                <a:gd name="connsiteY188" fmla="*/ 206693 h 638175"/>
                <a:gd name="connsiteX189" fmla="*/ 362331 w 400050"/>
                <a:gd name="connsiteY189" fmla="*/ 210788 h 638175"/>
                <a:gd name="connsiteX190" fmla="*/ 362331 w 400050"/>
                <a:gd name="connsiteY190" fmla="*/ 211455 h 638175"/>
                <a:gd name="connsiteX191" fmla="*/ 362998 w 400050"/>
                <a:gd name="connsiteY191" fmla="*/ 212122 h 638175"/>
                <a:gd name="connsiteX192" fmla="*/ 364903 w 400050"/>
                <a:gd name="connsiteY192" fmla="*/ 212122 h 638175"/>
                <a:gd name="connsiteX193" fmla="*/ 365570 w 400050"/>
                <a:gd name="connsiteY193" fmla="*/ 212789 h 638175"/>
                <a:gd name="connsiteX194" fmla="*/ 364903 w 400050"/>
                <a:gd name="connsiteY194" fmla="*/ 214122 h 638175"/>
                <a:gd name="connsiteX195" fmla="*/ 365570 w 400050"/>
                <a:gd name="connsiteY195" fmla="*/ 215456 h 638175"/>
                <a:gd name="connsiteX196" fmla="*/ 367665 w 400050"/>
                <a:gd name="connsiteY196" fmla="*/ 215456 h 638175"/>
                <a:gd name="connsiteX197" fmla="*/ 370427 w 400050"/>
                <a:gd name="connsiteY197" fmla="*/ 214122 h 638175"/>
                <a:gd name="connsiteX198" fmla="*/ 371761 w 400050"/>
                <a:gd name="connsiteY198" fmla="*/ 214789 h 638175"/>
                <a:gd name="connsiteX199" fmla="*/ 375857 w 400050"/>
                <a:gd name="connsiteY199" fmla="*/ 210026 h 638175"/>
                <a:gd name="connsiteX200" fmla="*/ 377190 w 400050"/>
                <a:gd name="connsiteY200" fmla="*/ 210693 h 638175"/>
                <a:gd name="connsiteX201" fmla="*/ 379286 w 400050"/>
                <a:gd name="connsiteY201" fmla="*/ 209360 h 638175"/>
                <a:gd name="connsiteX202" fmla="*/ 386810 w 400050"/>
                <a:gd name="connsiteY202" fmla="*/ 210693 h 638175"/>
                <a:gd name="connsiteX203" fmla="*/ 390239 w 400050"/>
                <a:gd name="connsiteY203" fmla="*/ 211360 h 638175"/>
                <a:gd name="connsiteX204" fmla="*/ 388144 w 400050"/>
                <a:gd name="connsiteY204" fmla="*/ 213455 h 638175"/>
                <a:gd name="connsiteX205" fmla="*/ 387477 w 400050"/>
                <a:gd name="connsiteY205" fmla="*/ 214122 h 638175"/>
                <a:gd name="connsiteX206" fmla="*/ 384715 w 400050"/>
                <a:gd name="connsiteY206" fmla="*/ 213455 h 638175"/>
                <a:gd name="connsiteX207" fmla="*/ 381286 w 400050"/>
                <a:gd name="connsiteY207" fmla="*/ 215551 h 638175"/>
                <a:gd name="connsiteX208" fmla="*/ 378524 w 400050"/>
                <a:gd name="connsiteY208" fmla="*/ 215551 h 638175"/>
                <a:gd name="connsiteX209" fmla="*/ 375761 w 400050"/>
                <a:gd name="connsiteY209" fmla="*/ 216884 h 638175"/>
                <a:gd name="connsiteX210" fmla="*/ 375095 w 400050"/>
                <a:gd name="connsiteY210" fmla="*/ 217551 h 638175"/>
                <a:gd name="connsiteX211" fmla="*/ 376428 w 400050"/>
                <a:gd name="connsiteY211" fmla="*/ 219647 h 638175"/>
                <a:gd name="connsiteX212" fmla="*/ 375761 w 400050"/>
                <a:gd name="connsiteY212" fmla="*/ 220313 h 638175"/>
                <a:gd name="connsiteX213" fmla="*/ 375761 w 400050"/>
                <a:gd name="connsiteY213" fmla="*/ 219647 h 638175"/>
                <a:gd name="connsiteX214" fmla="*/ 367570 w 400050"/>
                <a:gd name="connsiteY214" fmla="*/ 221742 h 638175"/>
                <a:gd name="connsiteX215" fmla="*/ 364808 w 400050"/>
                <a:gd name="connsiteY215" fmla="*/ 219647 h 638175"/>
                <a:gd name="connsiteX216" fmla="*/ 355187 w 400050"/>
                <a:gd name="connsiteY216" fmla="*/ 227171 h 638175"/>
                <a:gd name="connsiteX217" fmla="*/ 353092 w 400050"/>
                <a:gd name="connsiteY217" fmla="*/ 225838 h 638175"/>
                <a:gd name="connsiteX218" fmla="*/ 342805 w 400050"/>
                <a:gd name="connsiteY218" fmla="*/ 229934 h 638175"/>
                <a:gd name="connsiteX219" fmla="*/ 339376 w 400050"/>
                <a:gd name="connsiteY219" fmla="*/ 227838 h 638175"/>
                <a:gd name="connsiteX220" fmla="*/ 337280 w 400050"/>
                <a:gd name="connsiteY220" fmla="*/ 228505 h 638175"/>
                <a:gd name="connsiteX221" fmla="*/ 337280 w 400050"/>
                <a:gd name="connsiteY221" fmla="*/ 230600 h 638175"/>
                <a:gd name="connsiteX222" fmla="*/ 336614 w 400050"/>
                <a:gd name="connsiteY222" fmla="*/ 232696 h 638175"/>
                <a:gd name="connsiteX223" fmla="*/ 335280 w 400050"/>
                <a:gd name="connsiteY223" fmla="*/ 232029 h 638175"/>
                <a:gd name="connsiteX224" fmla="*/ 329089 w 400050"/>
                <a:gd name="connsiteY224" fmla="*/ 247079 h 638175"/>
                <a:gd name="connsiteX225" fmla="*/ 329089 w 400050"/>
                <a:gd name="connsiteY225" fmla="*/ 248222 h 638175"/>
                <a:gd name="connsiteX226" fmla="*/ 330422 w 400050"/>
                <a:gd name="connsiteY226" fmla="*/ 252984 h 638175"/>
                <a:gd name="connsiteX227" fmla="*/ 328327 w 400050"/>
                <a:gd name="connsiteY227" fmla="*/ 254318 h 638175"/>
                <a:gd name="connsiteX228" fmla="*/ 330422 w 400050"/>
                <a:gd name="connsiteY228" fmla="*/ 260509 h 638175"/>
                <a:gd name="connsiteX229" fmla="*/ 329089 w 400050"/>
                <a:gd name="connsiteY229" fmla="*/ 262604 h 638175"/>
                <a:gd name="connsiteX230" fmla="*/ 329089 w 400050"/>
                <a:gd name="connsiteY230" fmla="*/ 265367 h 638175"/>
                <a:gd name="connsiteX231" fmla="*/ 328422 w 400050"/>
                <a:gd name="connsiteY231" fmla="*/ 265367 h 638175"/>
                <a:gd name="connsiteX232" fmla="*/ 327755 w 400050"/>
                <a:gd name="connsiteY232" fmla="*/ 264700 h 638175"/>
                <a:gd name="connsiteX233" fmla="*/ 327089 w 400050"/>
                <a:gd name="connsiteY233" fmla="*/ 265367 h 638175"/>
                <a:gd name="connsiteX234" fmla="*/ 328422 w 400050"/>
                <a:gd name="connsiteY234" fmla="*/ 269462 h 638175"/>
                <a:gd name="connsiteX235" fmla="*/ 327755 w 400050"/>
                <a:gd name="connsiteY235" fmla="*/ 270129 h 638175"/>
                <a:gd name="connsiteX236" fmla="*/ 327755 w 400050"/>
                <a:gd name="connsiteY236" fmla="*/ 269462 h 638175"/>
                <a:gd name="connsiteX237" fmla="*/ 327089 w 400050"/>
                <a:gd name="connsiteY237" fmla="*/ 268796 h 638175"/>
                <a:gd name="connsiteX238" fmla="*/ 323660 w 400050"/>
                <a:gd name="connsiteY238" fmla="*/ 274320 h 638175"/>
                <a:gd name="connsiteX239" fmla="*/ 324326 w 400050"/>
                <a:gd name="connsiteY239" fmla="*/ 277749 h 638175"/>
                <a:gd name="connsiteX240" fmla="*/ 323660 w 400050"/>
                <a:gd name="connsiteY240" fmla="*/ 279845 h 638175"/>
                <a:gd name="connsiteX241" fmla="*/ 324326 w 400050"/>
                <a:gd name="connsiteY241" fmla="*/ 281178 h 638175"/>
                <a:gd name="connsiteX242" fmla="*/ 326422 w 400050"/>
                <a:gd name="connsiteY242" fmla="*/ 281178 h 638175"/>
                <a:gd name="connsiteX243" fmla="*/ 327089 w 400050"/>
                <a:gd name="connsiteY243" fmla="*/ 282512 h 638175"/>
                <a:gd name="connsiteX244" fmla="*/ 324993 w 400050"/>
                <a:gd name="connsiteY244" fmla="*/ 283178 h 638175"/>
                <a:gd name="connsiteX245" fmla="*/ 322898 w 400050"/>
                <a:gd name="connsiteY245" fmla="*/ 281083 h 638175"/>
                <a:gd name="connsiteX246" fmla="*/ 321564 w 400050"/>
                <a:gd name="connsiteY246" fmla="*/ 281083 h 638175"/>
                <a:gd name="connsiteX247" fmla="*/ 322898 w 400050"/>
                <a:gd name="connsiteY247" fmla="*/ 289274 h 638175"/>
                <a:gd name="connsiteX248" fmla="*/ 322231 w 400050"/>
                <a:gd name="connsiteY248" fmla="*/ 291370 h 638175"/>
                <a:gd name="connsiteX249" fmla="*/ 323564 w 400050"/>
                <a:gd name="connsiteY249" fmla="*/ 292703 h 638175"/>
                <a:gd name="connsiteX250" fmla="*/ 322231 w 400050"/>
                <a:gd name="connsiteY250" fmla="*/ 294037 h 638175"/>
                <a:gd name="connsiteX251" fmla="*/ 322231 w 400050"/>
                <a:gd name="connsiteY251" fmla="*/ 291274 h 638175"/>
                <a:gd name="connsiteX252" fmla="*/ 320897 w 400050"/>
                <a:gd name="connsiteY252" fmla="*/ 294704 h 638175"/>
                <a:gd name="connsiteX253" fmla="*/ 321564 w 400050"/>
                <a:gd name="connsiteY253" fmla="*/ 296799 h 638175"/>
                <a:gd name="connsiteX254" fmla="*/ 319469 w 400050"/>
                <a:gd name="connsiteY254" fmla="*/ 300895 h 638175"/>
                <a:gd name="connsiteX255" fmla="*/ 320135 w 400050"/>
                <a:gd name="connsiteY255" fmla="*/ 303657 h 638175"/>
                <a:gd name="connsiteX256" fmla="*/ 319469 w 400050"/>
                <a:gd name="connsiteY256" fmla="*/ 305753 h 638175"/>
                <a:gd name="connsiteX257" fmla="*/ 318802 w 400050"/>
                <a:gd name="connsiteY257" fmla="*/ 305753 h 638175"/>
                <a:gd name="connsiteX258" fmla="*/ 318802 w 400050"/>
                <a:gd name="connsiteY258" fmla="*/ 306419 h 638175"/>
                <a:gd name="connsiteX259" fmla="*/ 320135 w 400050"/>
                <a:gd name="connsiteY259" fmla="*/ 308515 h 638175"/>
                <a:gd name="connsiteX260" fmla="*/ 320135 w 400050"/>
                <a:gd name="connsiteY260" fmla="*/ 309848 h 638175"/>
                <a:gd name="connsiteX261" fmla="*/ 318802 w 400050"/>
                <a:gd name="connsiteY261" fmla="*/ 309848 h 638175"/>
                <a:gd name="connsiteX262" fmla="*/ 317468 w 400050"/>
                <a:gd name="connsiteY262" fmla="*/ 311944 h 638175"/>
                <a:gd name="connsiteX263" fmla="*/ 317468 w 400050"/>
                <a:gd name="connsiteY263" fmla="*/ 314039 h 638175"/>
                <a:gd name="connsiteX264" fmla="*/ 318135 w 400050"/>
                <a:gd name="connsiteY264" fmla="*/ 316135 h 638175"/>
                <a:gd name="connsiteX265" fmla="*/ 318135 w 400050"/>
                <a:gd name="connsiteY265" fmla="*/ 317468 h 638175"/>
                <a:gd name="connsiteX266" fmla="*/ 315373 w 400050"/>
                <a:gd name="connsiteY266" fmla="*/ 325660 h 638175"/>
                <a:gd name="connsiteX267" fmla="*/ 316706 w 400050"/>
                <a:gd name="connsiteY267" fmla="*/ 329756 h 638175"/>
                <a:gd name="connsiteX268" fmla="*/ 314611 w 400050"/>
                <a:gd name="connsiteY268" fmla="*/ 331089 h 638175"/>
                <a:gd name="connsiteX269" fmla="*/ 313944 w 400050"/>
                <a:gd name="connsiteY269" fmla="*/ 333185 h 638175"/>
                <a:gd name="connsiteX270" fmla="*/ 315278 w 400050"/>
                <a:gd name="connsiteY270" fmla="*/ 337280 h 638175"/>
                <a:gd name="connsiteX271" fmla="*/ 314611 w 400050"/>
                <a:gd name="connsiteY271" fmla="*/ 339376 h 638175"/>
                <a:gd name="connsiteX272" fmla="*/ 312515 w 400050"/>
                <a:gd name="connsiteY272" fmla="*/ 338709 h 638175"/>
                <a:gd name="connsiteX273" fmla="*/ 311182 w 400050"/>
                <a:gd name="connsiteY273" fmla="*/ 349663 h 638175"/>
                <a:gd name="connsiteX274" fmla="*/ 311182 w 400050"/>
                <a:gd name="connsiteY274" fmla="*/ 351758 h 638175"/>
                <a:gd name="connsiteX275" fmla="*/ 311849 w 400050"/>
                <a:gd name="connsiteY275" fmla="*/ 353854 h 638175"/>
                <a:gd name="connsiteX276" fmla="*/ 305657 w 400050"/>
                <a:gd name="connsiteY276" fmla="*/ 365474 h 638175"/>
                <a:gd name="connsiteX277" fmla="*/ 305657 w 400050"/>
                <a:gd name="connsiteY277" fmla="*/ 366808 h 638175"/>
                <a:gd name="connsiteX278" fmla="*/ 306991 w 400050"/>
                <a:gd name="connsiteY278" fmla="*/ 367474 h 638175"/>
                <a:gd name="connsiteX279" fmla="*/ 304895 w 400050"/>
                <a:gd name="connsiteY279" fmla="*/ 372237 h 638175"/>
                <a:gd name="connsiteX280" fmla="*/ 305562 w 400050"/>
                <a:gd name="connsiteY280" fmla="*/ 374333 h 638175"/>
                <a:gd name="connsiteX281" fmla="*/ 304229 w 400050"/>
                <a:gd name="connsiteY281" fmla="*/ 376428 h 638175"/>
                <a:gd name="connsiteX282" fmla="*/ 304229 w 400050"/>
                <a:gd name="connsiteY282" fmla="*/ 379190 h 638175"/>
                <a:gd name="connsiteX283" fmla="*/ 298704 w 400050"/>
                <a:gd name="connsiteY283" fmla="*/ 393573 h 638175"/>
                <a:gd name="connsiteX284" fmla="*/ 299371 w 400050"/>
                <a:gd name="connsiteY284" fmla="*/ 396335 h 638175"/>
                <a:gd name="connsiteX285" fmla="*/ 291846 w 400050"/>
                <a:gd name="connsiteY285" fmla="*/ 418243 h 638175"/>
                <a:gd name="connsiteX286" fmla="*/ 291560 w 400050"/>
                <a:gd name="connsiteY286" fmla="*/ 418243 h 638175"/>
                <a:gd name="connsiteX287" fmla="*/ 290894 w 400050"/>
                <a:gd name="connsiteY287" fmla="*/ 419576 h 638175"/>
                <a:gd name="connsiteX288" fmla="*/ 290227 w 400050"/>
                <a:gd name="connsiteY288" fmla="*/ 423005 h 638175"/>
                <a:gd name="connsiteX289" fmla="*/ 286131 w 400050"/>
                <a:gd name="connsiteY289" fmla="*/ 430530 h 638175"/>
                <a:gd name="connsiteX290" fmla="*/ 286798 w 400050"/>
                <a:gd name="connsiteY290" fmla="*/ 431864 h 638175"/>
                <a:gd name="connsiteX291" fmla="*/ 283369 w 400050"/>
                <a:gd name="connsiteY291" fmla="*/ 439388 h 638175"/>
                <a:gd name="connsiteX292" fmla="*/ 283369 w 400050"/>
                <a:gd name="connsiteY292" fmla="*/ 440055 h 638175"/>
                <a:gd name="connsiteX293" fmla="*/ 284036 w 400050"/>
                <a:gd name="connsiteY293" fmla="*/ 441389 h 638175"/>
                <a:gd name="connsiteX294" fmla="*/ 283369 w 400050"/>
                <a:gd name="connsiteY294" fmla="*/ 442722 h 638175"/>
                <a:gd name="connsiteX295" fmla="*/ 280607 w 400050"/>
                <a:gd name="connsiteY295" fmla="*/ 441389 h 638175"/>
                <a:gd name="connsiteX296" fmla="*/ 277844 w 400050"/>
                <a:gd name="connsiteY296" fmla="*/ 454438 h 638175"/>
                <a:gd name="connsiteX297" fmla="*/ 272320 w 400050"/>
                <a:gd name="connsiteY297" fmla="*/ 466820 h 638175"/>
                <a:gd name="connsiteX298" fmla="*/ 273653 w 400050"/>
                <a:gd name="connsiteY298" fmla="*/ 466820 h 638175"/>
                <a:gd name="connsiteX299" fmla="*/ 274987 w 400050"/>
                <a:gd name="connsiteY299" fmla="*/ 467487 h 638175"/>
                <a:gd name="connsiteX300" fmla="*/ 274320 w 400050"/>
                <a:gd name="connsiteY300" fmla="*/ 468154 h 638175"/>
                <a:gd name="connsiteX301" fmla="*/ 272987 w 400050"/>
                <a:gd name="connsiteY301" fmla="*/ 468154 h 638175"/>
                <a:gd name="connsiteX302" fmla="*/ 262033 w 400050"/>
                <a:gd name="connsiteY302" fmla="*/ 486632 h 638175"/>
                <a:gd name="connsiteX303" fmla="*/ 262700 w 400050"/>
                <a:gd name="connsiteY303" fmla="*/ 487966 h 638175"/>
                <a:gd name="connsiteX304" fmla="*/ 262033 w 400050"/>
                <a:gd name="connsiteY304" fmla="*/ 487299 h 638175"/>
                <a:gd name="connsiteX305" fmla="*/ 256508 w 400050"/>
                <a:gd name="connsiteY305" fmla="*/ 491395 h 638175"/>
                <a:gd name="connsiteX306" fmla="*/ 257842 w 400050"/>
                <a:gd name="connsiteY306" fmla="*/ 494824 h 638175"/>
                <a:gd name="connsiteX307" fmla="*/ 254413 w 400050"/>
                <a:gd name="connsiteY307" fmla="*/ 501682 h 638175"/>
                <a:gd name="connsiteX308" fmla="*/ 251651 w 400050"/>
                <a:gd name="connsiteY308" fmla="*/ 503015 h 638175"/>
                <a:gd name="connsiteX309" fmla="*/ 252317 w 400050"/>
                <a:gd name="connsiteY309" fmla="*/ 503015 h 638175"/>
                <a:gd name="connsiteX310" fmla="*/ 252984 w 400050"/>
                <a:gd name="connsiteY310" fmla="*/ 504349 h 638175"/>
                <a:gd name="connsiteX311" fmla="*/ 250889 w 400050"/>
                <a:gd name="connsiteY311" fmla="*/ 509873 h 638175"/>
                <a:gd name="connsiteX312" fmla="*/ 248793 w 400050"/>
                <a:gd name="connsiteY312" fmla="*/ 511207 h 638175"/>
                <a:gd name="connsiteX313" fmla="*/ 249460 w 400050"/>
                <a:gd name="connsiteY313" fmla="*/ 515303 h 638175"/>
                <a:gd name="connsiteX314" fmla="*/ 248793 w 400050"/>
                <a:gd name="connsiteY314" fmla="*/ 515969 h 638175"/>
                <a:gd name="connsiteX315" fmla="*/ 247459 w 400050"/>
                <a:gd name="connsiteY315" fmla="*/ 515969 h 638175"/>
                <a:gd name="connsiteX316" fmla="*/ 247459 w 400050"/>
                <a:gd name="connsiteY316" fmla="*/ 516636 h 638175"/>
                <a:gd name="connsiteX317" fmla="*/ 235839 w 400050"/>
                <a:gd name="connsiteY317" fmla="*/ 541973 h 638175"/>
                <a:gd name="connsiteX318" fmla="*/ 230315 w 400050"/>
                <a:gd name="connsiteY318" fmla="*/ 548164 h 638175"/>
                <a:gd name="connsiteX319" fmla="*/ 220028 w 400050"/>
                <a:gd name="connsiteY319" fmla="*/ 561213 h 638175"/>
                <a:gd name="connsiteX320" fmla="*/ 220694 w 400050"/>
                <a:gd name="connsiteY320" fmla="*/ 562547 h 638175"/>
                <a:gd name="connsiteX321" fmla="*/ 218599 w 400050"/>
                <a:gd name="connsiteY321" fmla="*/ 565976 h 638175"/>
                <a:gd name="connsiteX322" fmla="*/ 217932 w 400050"/>
                <a:gd name="connsiteY322" fmla="*/ 568738 h 638175"/>
                <a:gd name="connsiteX323" fmla="*/ 217265 w 400050"/>
                <a:gd name="connsiteY323" fmla="*/ 567404 h 638175"/>
                <a:gd name="connsiteX324" fmla="*/ 207645 w 400050"/>
                <a:gd name="connsiteY324" fmla="*/ 579787 h 638175"/>
                <a:gd name="connsiteX325" fmla="*/ 201454 w 400050"/>
                <a:gd name="connsiteY325" fmla="*/ 587312 h 638175"/>
                <a:gd name="connsiteX326" fmla="*/ 191167 w 400050"/>
                <a:gd name="connsiteY326" fmla="*/ 598265 h 638175"/>
                <a:gd name="connsiteX327" fmla="*/ 174689 w 400050"/>
                <a:gd name="connsiteY327" fmla="*/ 611315 h 638175"/>
                <a:gd name="connsiteX328" fmla="*/ 173355 w 400050"/>
                <a:gd name="connsiteY328" fmla="*/ 614077 h 638175"/>
                <a:gd name="connsiteX329" fmla="*/ 172022 w 400050"/>
                <a:gd name="connsiteY329" fmla="*/ 615410 h 638175"/>
                <a:gd name="connsiteX330" fmla="*/ 171355 w 400050"/>
                <a:gd name="connsiteY330" fmla="*/ 614077 h 638175"/>
                <a:gd name="connsiteX331" fmla="*/ 165164 w 400050"/>
                <a:gd name="connsiteY331" fmla="*/ 614744 h 638175"/>
                <a:gd name="connsiteX332" fmla="*/ 165830 w 400050"/>
                <a:gd name="connsiteY332" fmla="*/ 616839 h 638175"/>
                <a:gd name="connsiteX333" fmla="*/ 165164 w 400050"/>
                <a:gd name="connsiteY333" fmla="*/ 619601 h 638175"/>
                <a:gd name="connsiteX334" fmla="*/ 162401 w 400050"/>
                <a:gd name="connsiteY334" fmla="*/ 618268 h 638175"/>
                <a:gd name="connsiteX335" fmla="*/ 159163 w 400050"/>
                <a:gd name="connsiteY335" fmla="*/ 618268 h 638175"/>
                <a:gd name="connsiteX336" fmla="*/ 159163 w 400050"/>
                <a:gd name="connsiteY336" fmla="*/ 619601 h 638175"/>
                <a:gd name="connsiteX337" fmla="*/ 148209 w 400050"/>
                <a:gd name="connsiteY337" fmla="*/ 629888 h 638175"/>
                <a:gd name="connsiteX338" fmla="*/ 146114 w 400050"/>
                <a:gd name="connsiteY338" fmla="*/ 629222 h 638175"/>
                <a:gd name="connsiteX339" fmla="*/ 140589 w 400050"/>
                <a:gd name="connsiteY339" fmla="*/ 632651 h 638175"/>
                <a:gd name="connsiteX340" fmla="*/ 133731 w 400050"/>
                <a:gd name="connsiteY340" fmla="*/ 631317 h 638175"/>
                <a:gd name="connsiteX341" fmla="*/ 127540 w 400050"/>
                <a:gd name="connsiteY341" fmla="*/ 635413 h 638175"/>
                <a:gd name="connsiteX342" fmla="*/ 124778 w 400050"/>
                <a:gd name="connsiteY342" fmla="*/ 634746 h 638175"/>
                <a:gd name="connsiteX343" fmla="*/ 120015 w 400050"/>
                <a:gd name="connsiteY343" fmla="*/ 638175 h 638175"/>
                <a:gd name="connsiteX344" fmla="*/ 117253 w 400050"/>
                <a:gd name="connsiteY344" fmla="*/ 635413 h 638175"/>
                <a:gd name="connsiteX345" fmla="*/ 117920 w 400050"/>
                <a:gd name="connsiteY345" fmla="*/ 636080 h 638175"/>
                <a:gd name="connsiteX346" fmla="*/ 113157 w 400050"/>
                <a:gd name="connsiteY346" fmla="*/ 639509 h 638175"/>
                <a:gd name="connsiteX347" fmla="*/ 110395 w 400050"/>
                <a:gd name="connsiteY347" fmla="*/ 641604 h 638175"/>
                <a:gd name="connsiteX348" fmla="*/ 106299 w 400050"/>
                <a:gd name="connsiteY348" fmla="*/ 642271 h 638175"/>
                <a:gd name="connsiteX349" fmla="*/ 102203 w 400050"/>
                <a:gd name="connsiteY349" fmla="*/ 640175 h 638175"/>
                <a:gd name="connsiteX350" fmla="*/ 98774 w 400050"/>
                <a:gd name="connsiteY350" fmla="*/ 644938 h 638175"/>
                <a:gd name="connsiteX351" fmla="*/ 95345 w 400050"/>
                <a:gd name="connsiteY351" fmla="*/ 641509 h 638175"/>
                <a:gd name="connsiteX352" fmla="*/ 96679 w 400050"/>
                <a:gd name="connsiteY352" fmla="*/ 642176 h 638175"/>
                <a:gd name="connsiteX353" fmla="*/ 96679 w 400050"/>
                <a:gd name="connsiteY353" fmla="*/ 640842 h 638175"/>
                <a:gd name="connsiteX354" fmla="*/ 89821 w 400050"/>
                <a:gd name="connsiteY354" fmla="*/ 641509 h 638175"/>
                <a:gd name="connsiteX355" fmla="*/ 87725 w 400050"/>
                <a:gd name="connsiteY355" fmla="*/ 641509 h 638175"/>
                <a:gd name="connsiteX356" fmla="*/ 84963 w 400050"/>
                <a:gd name="connsiteY356" fmla="*/ 640842 h 638175"/>
                <a:gd name="connsiteX357" fmla="*/ 84296 w 400050"/>
                <a:gd name="connsiteY357" fmla="*/ 641509 h 638175"/>
                <a:gd name="connsiteX358" fmla="*/ 82201 w 400050"/>
                <a:gd name="connsiteY358" fmla="*/ 640842 h 638175"/>
                <a:gd name="connsiteX359" fmla="*/ 80105 w 400050"/>
                <a:gd name="connsiteY359" fmla="*/ 639509 h 638175"/>
                <a:gd name="connsiteX360" fmla="*/ 78200 w 400050"/>
                <a:gd name="connsiteY360" fmla="*/ 639509 h 638175"/>
                <a:gd name="connsiteX361" fmla="*/ 74105 w 400050"/>
                <a:gd name="connsiteY361" fmla="*/ 640842 h 638175"/>
                <a:gd name="connsiteX362" fmla="*/ 73438 w 400050"/>
                <a:gd name="connsiteY362" fmla="*/ 640842 h 638175"/>
                <a:gd name="connsiteX363" fmla="*/ 70009 w 400050"/>
                <a:gd name="connsiteY363" fmla="*/ 641509 h 638175"/>
                <a:gd name="connsiteX364" fmla="*/ 67247 w 400050"/>
                <a:gd name="connsiteY364" fmla="*/ 639413 h 638175"/>
                <a:gd name="connsiteX365" fmla="*/ 65913 w 400050"/>
                <a:gd name="connsiteY365" fmla="*/ 640080 h 638175"/>
                <a:gd name="connsiteX366" fmla="*/ 62484 w 400050"/>
                <a:gd name="connsiteY366" fmla="*/ 637985 h 638175"/>
                <a:gd name="connsiteX367" fmla="*/ 62484 w 400050"/>
                <a:gd name="connsiteY367" fmla="*/ 640080 h 638175"/>
                <a:gd name="connsiteX368" fmla="*/ 63151 w 400050"/>
                <a:gd name="connsiteY368" fmla="*/ 640747 h 638175"/>
                <a:gd name="connsiteX369" fmla="*/ 62484 w 400050"/>
                <a:gd name="connsiteY369" fmla="*/ 640747 h 638175"/>
                <a:gd name="connsiteX370" fmla="*/ 36386 w 400050"/>
                <a:gd name="connsiteY370" fmla="*/ 629126 h 638175"/>
                <a:gd name="connsiteX371" fmla="*/ 34290 w 400050"/>
                <a:gd name="connsiteY371" fmla="*/ 626364 h 638175"/>
                <a:gd name="connsiteX372" fmla="*/ 18478 w 400050"/>
                <a:gd name="connsiteY372" fmla="*/ 609219 h 638175"/>
                <a:gd name="connsiteX373" fmla="*/ 17240 w 400050"/>
                <a:gd name="connsiteY373" fmla="*/ 608267 h 638175"/>
                <a:gd name="connsiteX374" fmla="*/ 13811 w 400050"/>
                <a:gd name="connsiteY374" fmla="*/ 606171 h 638175"/>
                <a:gd name="connsiteX375" fmla="*/ 14478 w 400050"/>
                <a:gd name="connsiteY375" fmla="*/ 605504 h 638175"/>
                <a:gd name="connsiteX376" fmla="*/ 7620 w 400050"/>
                <a:gd name="connsiteY376" fmla="*/ 591122 h 638175"/>
                <a:gd name="connsiteX377" fmla="*/ 7620 w 400050"/>
                <a:gd name="connsiteY377" fmla="*/ 589788 h 638175"/>
                <a:gd name="connsiteX378" fmla="*/ 8287 w 400050"/>
                <a:gd name="connsiteY378" fmla="*/ 587026 h 638175"/>
                <a:gd name="connsiteX379" fmla="*/ 7620 w 400050"/>
                <a:gd name="connsiteY379" fmla="*/ 584930 h 638175"/>
                <a:gd name="connsiteX380" fmla="*/ 9715 w 400050"/>
                <a:gd name="connsiteY380" fmla="*/ 582835 h 638175"/>
                <a:gd name="connsiteX381" fmla="*/ 9715 w 400050"/>
                <a:gd name="connsiteY381" fmla="*/ 581501 h 638175"/>
                <a:gd name="connsiteX382" fmla="*/ 7620 w 400050"/>
                <a:gd name="connsiteY382" fmla="*/ 577406 h 638175"/>
                <a:gd name="connsiteX383" fmla="*/ 6953 w 400050"/>
                <a:gd name="connsiteY383" fmla="*/ 576072 h 638175"/>
                <a:gd name="connsiteX384" fmla="*/ 6953 w 400050"/>
                <a:gd name="connsiteY384" fmla="*/ 578834 h 638175"/>
                <a:gd name="connsiteX385" fmla="*/ 3524 w 400050"/>
                <a:gd name="connsiteY385" fmla="*/ 576072 h 638175"/>
                <a:gd name="connsiteX386" fmla="*/ 4191 w 400050"/>
                <a:gd name="connsiteY386" fmla="*/ 573310 h 638175"/>
                <a:gd name="connsiteX387" fmla="*/ 2096 w 400050"/>
                <a:gd name="connsiteY387" fmla="*/ 569214 h 638175"/>
                <a:gd name="connsiteX388" fmla="*/ 2096 w 400050"/>
                <a:gd name="connsiteY388" fmla="*/ 567119 h 638175"/>
                <a:gd name="connsiteX389" fmla="*/ 0 w 400050"/>
                <a:gd name="connsiteY389" fmla="*/ 563023 h 638175"/>
                <a:gd name="connsiteX390" fmla="*/ 667 w 400050"/>
                <a:gd name="connsiteY390" fmla="*/ 563023 h 638175"/>
                <a:gd name="connsiteX391" fmla="*/ 0 w 400050"/>
                <a:gd name="connsiteY391" fmla="*/ 561689 h 638175"/>
                <a:gd name="connsiteX392" fmla="*/ 2762 w 400050"/>
                <a:gd name="connsiteY392" fmla="*/ 556927 h 638175"/>
                <a:gd name="connsiteX393" fmla="*/ 667 w 400050"/>
                <a:gd name="connsiteY393" fmla="*/ 549402 h 638175"/>
                <a:gd name="connsiteX394" fmla="*/ 667 w 400050"/>
                <a:gd name="connsiteY394" fmla="*/ 544640 h 638175"/>
                <a:gd name="connsiteX395" fmla="*/ 2000 w 400050"/>
                <a:gd name="connsiteY395" fmla="*/ 541877 h 638175"/>
                <a:gd name="connsiteX396" fmla="*/ 1334 w 400050"/>
                <a:gd name="connsiteY396" fmla="*/ 538448 h 638175"/>
                <a:gd name="connsiteX397" fmla="*/ 2667 w 400050"/>
                <a:gd name="connsiteY397" fmla="*/ 529495 h 638175"/>
                <a:gd name="connsiteX398" fmla="*/ 4763 w 400050"/>
                <a:gd name="connsiteY398" fmla="*/ 528828 h 638175"/>
                <a:gd name="connsiteX399" fmla="*/ 4763 w 400050"/>
                <a:gd name="connsiteY399" fmla="*/ 530162 h 638175"/>
                <a:gd name="connsiteX400" fmla="*/ 8191 w 400050"/>
                <a:gd name="connsiteY400" fmla="*/ 534257 h 638175"/>
                <a:gd name="connsiteX401" fmla="*/ 10287 w 400050"/>
                <a:gd name="connsiteY401" fmla="*/ 534257 h 638175"/>
                <a:gd name="connsiteX402" fmla="*/ 8191 w 400050"/>
                <a:gd name="connsiteY402" fmla="*/ 529495 h 638175"/>
                <a:gd name="connsiteX403" fmla="*/ 6858 w 400050"/>
                <a:gd name="connsiteY403" fmla="*/ 529495 h 638175"/>
                <a:gd name="connsiteX404" fmla="*/ 10287 w 400050"/>
                <a:gd name="connsiteY404" fmla="*/ 528161 h 638175"/>
                <a:gd name="connsiteX405" fmla="*/ 13049 w 400050"/>
                <a:gd name="connsiteY405" fmla="*/ 531590 h 638175"/>
                <a:gd name="connsiteX406" fmla="*/ 13716 w 400050"/>
                <a:gd name="connsiteY406" fmla="*/ 531590 h 638175"/>
                <a:gd name="connsiteX407" fmla="*/ 12383 w 400050"/>
                <a:gd name="connsiteY407" fmla="*/ 536353 h 638175"/>
                <a:gd name="connsiteX408" fmla="*/ 14478 w 400050"/>
                <a:gd name="connsiteY408" fmla="*/ 540449 h 638175"/>
                <a:gd name="connsiteX409" fmla="*/ 15812 w 400050"/>
                <a:gd name="connsiteY409" fmla="*/ 552831 h 638175"/>
                <a:gd name="connsiteX410" fmla="*/ 19240 w 400050"/>
                <a:gd name="connsiteY410" fmla="*/ 561023 h 638175"/>
                <a:gd name="connsiteX411" fmla="*/ 24003 w 400050"/>
                <a:gd name="connsiteY411" fmla="*/ 554165 h 638175"/>
                <a:gd name="connsiteX412" fmla="*/ 22670 w 400050"/>
                <a:gd name="connsiteY412" fmla="*/ 551402 h 638175"/>
                <a:gd name="connsiteX413" fmla="*/ 19907 w 400050"/>
                <a:gd name="connsiteY413" fmla="*/ 548640 h 638175"/>
                <a:gd name="connsiteX414" fmla="*/ 22670 w 400050"/>
                <a:gd name="connsiteY414" fmla="*/ 540449 h 638175"/>
                <a:gd name="connsiteX415" fmla="*/ 21336 w 400050"/>
                <a:gd name="connsiteY415" fmla="*/ 534257 h 638175"/>
                <a:gd name="connsiteX416" fmla="*/ 26099 w 400050"/>
                <a:gd name="connsiteY416" fmla="*/ 522637 h 638175"/>
                <a:gd name="connsiteX417" fmla="*/ 24765 w 400050"/>
                <a:gd name="connsiteY417" fmla="*/ 519874 h 638175"/>
                <a:gd name="connsiteX418" fmla="*/ 25432 w 400050"/>
                <a:gd name="connsiteY418" fmla="*/ 512350 h 638175"/>
                <a:gd name="connsiteX419" fmla="*/ 24765 w 400050"/>
                <a:gd name="connsiteY419" fmla="*/ 507587 h 638175"/>
                <a:gd name="connsiteX420" fmla="*/ 26861 w 400050"/>
                <a:gd name="connsiteY420" fmla="*/ 508254 h 638175"/>
                <a:gd name="connsiteX421" fmla="*/ 28194 w 400050"/>
                <a:gd name="connsiteY421" fmla="*/ 505492 h 638175"/>
                <a:gd name="connsiteX422" fmla="*/ 28194 w 400050"/>
                <a:gd name="connsiteY422" fmla="*/ 504158 h 638175"/>
                <a:gd name="connsiteX423" fmla="*/ 25432 w 400050"/>
                <a:gd name="connsiteY423" fmla="*/ 503492 h 638175"/>
                <a:gd name="connsiteX424" fmla="*/ 24765 w 400050"/>
                <a:gd name="connsiteY424" fmla="*/ 502158 h 638175"/>
                <a:gd name="connsiteX425" fmla="*/ 26861 w 400050"/>
                <a:gd name="connsiteY425" fmla="*/ 496634 h 638175"/>
                <a:gd name="connsiteX426" fmla="*/ 26861 w 400050"/>
                <a:gd name="connsiteY426" fmla="*/ 495300 h 638175"/>
                <a:gd name="connsiteX427" fmla="*/ 28194 w 400050"/>
                <a:gd name="connsiteY427" fmla="*/ 491871 h 638175"/>
                <a:gd name="connsiteX428" fmla="*/ 27527 w 400050"/>
                <a:gd name="connsiteY428" fmla="*/ 487775 h 638175"/>
                <a:gd name="connsiteX429" fmla="*/ 28861 w 400050"/>
                <a:gd name="connsiteY429" fmla="*/ 487109 h 638175"/>
                <a:gd name="connsiteX430" fmla="*/ 29528 w 400050"/>
                <a:gd name="connsiteY430" fmla="*/ 487109 h 638175"/>
                <a:gd name="connsiteX431" fmla="*/ 30861 w 400050"/>
                <a:gd name="connsiteY431" fmla="*/ 485013 h 638175"/>
                <a:gd name="connsiteX432" fmla="*/ 30194 w 400050"/>
                <a:gd name="connsiteY432" fmla="*/ 484346 h 638175"/>
                <a:gd name="connsiteX433" fmla="*/ 31528 w 400050"/>
                <a:gd name="connsiteY433" fmla="*/ 480917 h 638175"/>
                <a:gd name="connsiteX434" fmla="*/ 29432 w 400050"/>
                <a:gd name="connsiteY434" fmla="*/ 478822 h 638175"/>
                <a:gd name="connsiteX435" fmla="*/ 38386 w 400050"/>
                <a:gd name="connsiteY435" fmla="*/ 470630 h 638175"/>
                <a:gd name="connsiteX436" fmla="*/ 37719 w 400050"/>
                <a:gd name="connsiteY436" fmla="*/ 470630 h 638175"/>
                <a:gd name="connsiteX437" fmla="*/ 34290 w 400050"/>
                <a:gd name="connsiteY437" fmla="*/ 466535 h 638175"/>
                <a:gd name="connsiteX438" fmla="*/ 34957 w 400050"/>
                <a:gd name="connsiteY438" fmla="*/ 466535 h 638175"/>
                <a:gd name="connsiteX439" fmla="*/ 36290 w 400050"/>
                <a:gd name="connsiteY439" fmla="*/ 467201 h 638175"/>
                <a:gd name="connsiteX440" fmla="*/ 38386 w 400050"/>
                <a:gd name="connsiteY440" fmla="*/ 465106 h 638175"/>
                <a:gd name="connsiteX441" fmla="*/ 37719 w 400050"/>
                <a:gd name="connsiteY441" fmla="*/ 463772 h 638175"/>
                <a:gd name="connsiteX442" fmla="*/ 37719 w 400050"/>
                <a:gd name="connsiteY442" fmla="*/ 463106 h 638175"/>
                <a:gd name="connsiteX443" fmla="*/ 35624 w 400050"/>
                <a:gd name="connsiteY443" fmla="*/ 463772 h 638175"/>
                <a:gd name="connsiteX444" fmla="*/ 33528 w 400050"/>
                <a:gd name="connsiteY444" fmla="*/ 461677 h 638175"/>
                <a:gd name="connsiteX445" fmla="*/ 32195 w 400050"/>
                <a:gd name="connsiteY445" fmla="*/ 463010 h 638175"/>
                <a:gd name="connsiteX446" fmla="*/ 31528 w 400050"/>
                <a:gd name="connsiteY446" fmla="*/ 461677 h 638175"/>
                <a:gd name="connsiteX447" fmla="*/ 32861 w 400050"/>
                <a:gd name="connsiteY447" fmla="*/ 458248 h 638175"/>
                <a:gd name="connsiteX448" fmla="*/ 36957 w 400050"/>
                <a:gd name="connsiteY448" fmla="*/ 461010 h 638175"/>
                <a:gd name="connsiteX449" fmla="*/ 39719 w 400050"/>
                <a:gd name="connsiteY449" fmla="*/ 458915 h 638175"/>
                <a:gd name="connsiteX450" fmla="*/ 39053 w 400050"/>
                <a:gd name="connsiteY450" fmla="*/ 458248 h 638175"/>
                <a:gd name="connsiteX451" fmla="*/ 41148 w 400050"/>
                <a:gd name="connsiteY451" fmla="*/ 448628 h 638175"/>
                <a:gd name="connsiteX452" fmla="*/ 41148 w 400050"/>
                <a:gd name="connsiteY452" fmla="*/ 447961 h 638175"/>
                <a:gd name="connsiteX453" fmla="*/ 43910 w 400050"/>
                <a:gd name="connsiteY453" fmla="*/ 446627 h 638175"/>
                <a:gd name="connsiteX454" fmla="*/ 43910 w 400050"/>
                <a:gd name="connsiteY454" fmla="*/ 445961 h 638175"/>
                <a:gd name="connsiteX455" fmla="*/ 40481 w 400050"/>
                <a:gd name="connsiteY455" fmla="*/ 446627 h 638175"/>
                <a:gd name="connsiteX456" fmla="*/ 39815 w 400050"/>
                <a:gd name="connsiteY456" fmla="*/ 445961 h 638175"/>
                <a:gd name="connsiteX457" fmla="*/ 37719 w 400050"/>
                <a:gd name="connsiteY457" fmla="*/ 452819 h 638175"/>
                <a:gd name="connsiteX458" fmla="*/ 34957 w 400050"/>
                <a:gd name="connsiteY458" fmla="*/ 452819 h 638175"/>
                <a:gd name="connsiteX459" fmla="*/ 34290 w 400050"/>
                <a:gd name="connsiteY459" fmla="*/ 450056 h 638175"/>
                <a:gd name="connsiteX460" fmla="*/ 37719 w 400050"/>
                <a:gd name="connsiteY460" fmla="*/ 443865 h 638175"/>
                <a:gd name="connsiteX461" fmla="*/ 37719 w 400050"/>
                <a:gd name="connsiteY461" fmla="*/ 441579 h 638175"/>
                <a:gd name="connsiteX462" fmla="*/ 39053 w 400050"/>
                <a:gd name="connsiteY462" fmla="*/ 440912 h 638175"/>
                <a:gd name="connsiteX463" fmla="*/ 40386 w 400050"/>
                <a:gd name="connsiteY463" fmla="*/ 441579 h 638175"/>
                <a:gd name="connsiteX464" fmla="*/ 40386 w 400050"/>
                <a:gd name="connsiteY464" fmla="*/ 439484 h 638175"/>
                <a:gd name="connsiteX465" fmla="*/ 46577 w 400050"/>
                <a:gd name="connsiteY465" fmla="*/ 429863 h 638175"/>
                <a:gd name="connsiteX466" fmla="*/ 45244 w 400050"/>
                <a:gd name="connsiteY466" fmla="*/ 425101 h 638175"/>
                <a:gd name="connsiteX467" fmla="*/ 41148 w 400050"/>
                <a:gd name="connsiteY467" fmla="*/ 431292 h 638175"/>
                <a:gd name="connsiteX468" fmla="*/ 40481 w 400050"/>
                <a:gd name="connsiteY468" fmla="*/ 430625 h 638175"/>
                <a:gd name="connsiteX469" fmla="*/ 36386 w 400050"/>
                <a:gd name="connsiteY469" fmla="*/ 436150 h 638175"/>
                <a:gd name="connsiteX470" fmla="*/ 35052 w 400050"/>
                <a:gd name="connsiteY470" fmla="*/ 437483 h 638175"/>
                <a:gd name="connsiteX471" fmla="*/ 36386 w 400050"/>
                <a:gd name="connsiteY471" fmla="*/ 439579 h 638175"/>
                <a:gd name="connsiteX472" fmla="*/ 35719 w 400050"/>
                <a:gd name="connsiteY472" fmla="*/ 440246 h 638175"/>
                <a:gd name="connsiteX473" fmla="*/ 35052 w 400050"/>
                <a:gd name="connsiteY473" fmla="*/ 440912 h 638175"/>
                <a:gd name="connsiteX474" fmla="*/ 32290 w 400050"/>
                <a:gd name="connsiteY474" fmla="*/ 437483 h 638175"/>
                <a:gd name="connsiteX475" fmla="*/ 30956 w 400050"/>
                <a:gd name="connsiteY475" fmla="*/ 439579 h 638175"/>
                <a:gd name="connsiteX476" fmla="*/ 28861 w 400050"/>
                <a:gd name="connsiteY476" fmla="*/ 436150 h 638175"/>
                <a:gd name="connsiteX477" fmla="*/ 31623 w 400050"/>
                <a:gd name="connsiteY477" fmla="*/ 433388 h 638175"/>
                <a:gd name="connsiteX478" fmla="*/ 32290 w 400050"/>
                <a:gd name="connsiteY478" fmla="*/ 434054 h 638175"/>
                <a:gd name="connsiteX479" fmla="*/ 34385 w 400050"/>
                <a:gd name="connsiteY479" fmla="*/ 433388 h 638175"/>
                <a:gd name="connsiteX480" fmla="*/ 33719 w 400050"/>
                <a:gd name="connsiteY480" fmla="*/ 432054 h 638175"/>
                <a:gd name="connsiteX481" fmla="*/ 43339 w 400050"/>
                <a:gd name="connsiteY481" fmla="*/ 419005 h 638175"/>
                <a:gd name="connsiteX482" fmla="*/ 45434 w 400050"/>
                <a:gd name="connsiteY482" fmla="*/ 416243 h 638175"/>
                <a:gd name="connsiteX483" fmla="*/ 48197 w 400050"/>
                <a:gd name="connsiteY483" fmla="*/ 413480 h 638175"/>
                <a:gd name="connsiteX484" fmla="*/ 55054 w 400050"/>
                <a:gd name="connsiteY484" fmla="*/ 404527 h 638175"/>
                <a:gd name="connsiteX485" fmla="*/ 56388 w 400050"/>
                <a:gd name="connsiteY485" fmla="*/ 405194 h 638175"/>
                <a:gd name="connsiteX486" fmla="*/ 50864 w 400050"/>
                <a:gd name="connsiteY486" fmla="*/ 412718 h 638175"/>
                <a:gd name="connsiteX487" fmla="*/ 51530 w 400050"/>
                <a:gd name="connsiteY487" fmla="*/ 414052 h 638175"/>
                <a:gd name="connsiteX488" fmla="*/ 51530 w 400050"/>
                <a:gd name="connsiteY488" fmla="*/ 415385 h 638175"/>
                <a:gd name="connsiteX489" fmla="*/ 50197 w 400050"/>
                <a:gd name="connsiteY489" fmla="*/ 419481 h 638175"/>
                <a:gd name="connsiteX490" fmla="*/ 48863 w 400050"/>
                <a:gd name="connsiteY490" fmla="*/ 421576 h 638175"/>
                <a:gd name="connsiteX491" fmla="*/ 47530 w 400050"/>
                <a:gd name="connsiteY491" fmla="*/ 422910 h 638175"/>
                <a:gd name="connsiteX492" fmla="*/ 48863 w 400050"/>
                <a:gd name="connsiteY492" fmla="*/ 424244 h 638175"/>
                <a:gd name="connsiteX493" fmla="*/ 50197 w 400050"/>
                <a:gd name="connsiteY493" fmla="*/ 424244 h 638175"/>
                <a:gd name="connsiteX494" fmla="*/ 54293 w 400050"/>
                <a:gd name="connsiteY494" fmla="*/ 418719 h 638175"/>
                <a:gd name="connsiteX495" fmla="*/ 54959 w 400050"/>
                <a:gd name="connsiteY495" fmla="*/ 415957 h 638175"/>
                <a:gd name="connsiteX496" fmla="*/ 59055 w 400050"/>
                <a:gd name="connsiteY496" fmla="*/ 412528 h 638175"/>
                <a:gd name="connsiteX497" fmla="*/ 61817 w 400050"/>
                <a:gd name="connsiteY497" fmla="*/ 409766 h 638175"/>
                <a:gd name="connsiteX498" fmla="*/ 64579 w 400050"/>
                <a:gd name="connsiteY498" fmla="*/ 406337 h 638175"/>
                <a:gd name="connsiteX499" fmla="*/ 65913 w 400050"/>
                <a:gd name="connsiteY499" fmla="*/ 406337 h 638175"/>
                <a:gd name="connsiteX500" fmla="*/ 65246 w 400050"/>
                <a:gd name="connsiteY500" fmla="*/ 407003 h 638175"/>
                <a:gd name="connsiteX501" fmla="*/ 65913 w 400050"/>
                <a:gd name="connsiteY501" fmla="*/ 407670 h 638175"/>
                <a:gd name="connsiteX502" fmla="*/ 66580 w 400050"/>
                <a:gd name="connsiteY502" fmla="*/ 407003 h 638175"/>
                <a:gd name="connsiteX503" fmla="*/ 67247 w 400050"/>
                <a:gd name="connsiteY503" fmla="*/ 407003 h 638175"/>
                <a:gd name="connsiteX504" fmla="*/ 67913 w 400050"/>
                <a:gd name="connsiteY504" fmla="*/ 406337 h 638175"/>
                <a:gd name="connsiteX505" fmla="*/ 66580 w 400050"/>
                <a:gd name="connsiteY505" fmla="*/ 402908 h 638175"/>
                <a:gd name="connsiteX506" fmla="*/ 70009 w 400050"/>
                <a:gd name="connsiteY506" fmla="*/ 400145 h 638175"/>
                <a:gd name="connsiteX507" fmla="*/ 70676 w 400050"/>
                <a:gd name="connsiteY507" fmla="*/ 397383 h 638175"/>
                <a:gd name="connsiteX508" fmla="*/ 70676 w 400050"/>
                <a:gd name="connsiteY508" fmla="*/ 396049 h 638175"/>
                <a:gd name="connsiteX509" fmla="*/ 79629 w 400050"/>
                <a:gd name="connsiteY509" fmla="*/ 385096 h 638175"/>
                <a:gd name="connsiteX510" fmla="*/ 98870 w 400050"/>
                <a:gd name="connsiteY510" fmla="*/ 362426 h 638175"/>
                <a:gd name="connsiteX511" fmla="*/ 98870 w 400050"/>
                <a:gd name="connsiteY511" fmla="*/ 358331 h 638175"/>
                <a:gd name="connsiteX512" fmla="*/ 96107 w 400050"/>
                <a:gd name="connsiteY512" fmla="*/ 360426 h 638175"/>
                <a:gd name="connsiteX513" fmla="*/ 96107 w 400050"/>
                <a:gd name="connsiteY513" fmla="*/ 359759 h 638175"/>
                <a:gd name="connsiteX514" fmla="*/ 93345 w 400050"/>
                <a:gd name="connsiteY514" fmla="*/ 360426 h 638175"/>
                <a:gd name="connsiteX515" fmla="*/ 92678 w 400050"/>
                <a:gd name="connsiteY515" fmla="*/ 361093 h 638175"/>
                <a:gd name="connsiteX516" fmla="*/ 89916 w 400050"/>
                <a:gd name="connsiteY516" fmla="*/ 363855 h 638175"/>
                <a:gd name="connsiteX517" fmla="*/ 89249 w 400050"/>
                <a:gd name="connsiteY517" fmla="*/ 363188 h 638175"/>
                <a:gd name="connsiteX518" fmla="*/ 87916 w 400050"/>
                <a:gd name="connsiteY518" fmla="*/ 364522 h 638175"/>
                <a:gd name="connsiteX519" fmla="*/ 87249 w 400050"/>
                <a:gd name="connsiteY519" fmla="*/ 363855 h 638175"/>
                <a:gd name="connsiteX520" fmla="*/ 98203 w 400050"/>
                <a:gd name="connsiteY520" fmla="*/ 352901 h 638175"/>
                <a:gd name="connsiteX521" fmla="*/ 99536 w 400050"/>
                <a:gd name="connsiteY521" fmla="*/ 350806 h 638175"/>
                <a:gd name="connsiteX522" fmla="*/ 98203 w 400050"/>
                <a:gd name="connsiteY522" fmla="*/ 350806 h 638175"/>
                <a:gd name="connsiteX523" fmla="*/ 96869 w 400050"/>
                <a:gd name="connsiteY523" fmla="*/ 350139 h 638175"/>
                <a:gd name="connsiteX524" fmla="*/ 127730 w 400050"/>
                <a:gd name="connsiteY524" fmla="*/ 325469 h 638175"/>
                <a:gd name="connsiteX525" fmla="*/ 132493 w 400050"/>
                <a:gd name="connsiteY525" fmla="*/ 321374 h 638175"/>
                <a:gd name="connsiteX526" fmla="*/ 140684 w 400050"/>
                <a:gd name="connsiteY526" fmla="*/ 314516 h 638175"/>
                <a:gd name="connsiteX527" fmla="*/ 141351 w 400050"/>
                <a:gd name="connsiteY527" fmla="*/ 315849 h 638175"/>
                <a:gd name="connsiteX528" fmla="*/ 144113 w 400050"/>
                <a:gd name="connsiteY528" fmla="*/ 311087 h 638175"/>
                <a:gd name="connsiteX529" fmla="*/ 144780 w 400050"/>
                <a:gd name="connsiteY529" fmla="*/ 311753 h 638175"/>
                <a:gd name="connsiteX530" fmla="*/ 145447 w 400050"/>
                <a:gd name="connsiteY530" fmla="*/ 310420 h 638175"/>
                <a:gd name="connsiteX531" fmla="*/ 145447 w 400050"/>
                <a:gd name="connsiteY531" fmla="*/ 309753 h 638175"/>
                <a:gd name="connsiteX532" fmla="*/ 146780 w 400050"/>
                <a:gd name="connsiteY532" fmla="*/ 310420 h 638175"/>
                <a:gd name="connsiteX533" fmla="*/ 152305 w 400050"/>
                <a:gd name="connsiteY533" fmla="*/ 304229 h 638175"/>
                <a:gd name="connsiteX534" fmla="*/ 149543 w 400050"/>
                <a:gd name="connsiteY534" fmla="*/ 303562 h 638175"/>
                <a:gd name="connsiteX535" fmla="*/ 143351 w 400050"/>
                <a:gd name="connsiteY535" fmla="*/ 306324 h 638175"/>
                <a:gd name="connsiteX536" fmla="*/ 141256 w 400050"/>
                <a:gd name="connsiteY536" fmla="*/ 305657 h 638175"/>
                <a:gd name="connsiteX537" fmla="*/ 151543 w 400050"/>
                <a:gd name="connsiteY537" fmla="*/ 298799 h 638175"/>
                <a:gd name="connsiteX538" fmla="*/ 150876 w 400050"/>
                <a:gd name="connsiteY538" fmla="*/ 297466 h 638175"/>
                <a:gd name="connsiteX539" fmla="*/ 152210 w 400050"/>
                <a:gd name="connsiteY539" fmla="*/ 296799 h 638175"/>
                <a:gd name="connsiteX540" fmla="*/ 152876 w 400050"/>
                <a:gd name="connsiteY540" fmla="*/ 298133 h 638175"/>
                <a:gd name="connsiteX541" fmla="*/ 154210 w 400050"/>
                <a:gd name="connsiteY541" fmla="*/ 298799 h 638175"/>
                <a:gd name="connsiteX542" fmla="*/ 151448 w 400050"/>
                <a:gd name="connsiteY542" fmla="*/ 298799 h 638175"/>
                <a:gd name="connsiteX543" fmla="*/ 152114 w 400050"/>
                <a:gd name="connsiteY543" fmla="*/ 304324 h 638175"/>
                <a:gd name="connsiteX544" fmla="*/ 157639 w 400050"/>
                <a:gd name="connsiteY544" fmla="*/ 300895 h 638175"/>
                <a:gd name="connsiteX545" fmla="*/ 158306 w 400050"/>
                <a:gd name="connsiteY545" fmla="*/ 301562 h 638175"/>
                <a:gd name="connsiteX546" fmla="*/ 163068 w 400050"/>
                <a:gd name="connsiteY546" fmla="*/ 296037 h 638175"/>
                <a:gd name="connsiteX547" fmla="*/ 163068 w 400050"/>
                <a:gd name="connsiteY547" fmla="*/ 295370 h 638175"/>
                <a:gd name="connsiteX548" fmla="*/ 163735 w 400050"/>
                <a:gd name="connsiteY548" fmla="*/ 295370 h 638175"/>
                <a:gd name="connsiteX549" fmla="*/ 165830 w 400050"/>
                <a:gd name="connsiteY549" fmla="*/ 294704 h 638175"/>
                <a:gd name="connsiteX550" fmla="*/ 166497 w 400050"/>
                <a:gd name="connsiteY550" fmla="*/ 294704 h 638175"/>
                <a:gd name="connsiteX551" fmla="*/ 170593 w 400050"/>
                <a:gd name="connsiteY551" fmla="*/ 291941 h 638175"/>
                <a:gd name="connsiteX552" fmla="*/ 171926 w 400050"/>
                <a:gd name="connsiteY552" fmla="*/ 291274 h 638175"/>
                <a:gd name="connsiteX553" fmla="*/ 180118 w 400050"/>
                <a:gd name="connsiteY553" fmla="*/ 286512 h 638175"/>
                <a:gd name="connsiteX554" fmla="*/ 197930 w 400050"/>
                <a:gd name="connsiteY554" fmla="*/ 275558 h 638175"/>
                <a:gd name="connsiteX555" fmla="*/ 198596 w 400050"/>
                <a:gd name="connsiteY555" fmla="*/ 275558 h 638175"/>
                <a:gd name="connsiteX556" fmla="*/ 201359 w 400050"/>
                <a:gd name="connsiteY556" fmla="*/ 272129 h 638175"/>
                <a:gd name="connsiteX557" fmla="*/ 205454 w 400050"/>
                <a:gd name="connsiteY557" fmla="*/ 277654 h 638175"/>
                <a:gd name="connsiteX558" fmla="*/ 206121 w 400050"/>
                <a:gd name="connsiteY558" fmla="*/ 276987 h 638175"/>
                <a:gd name="connsiteX559" fmla="*/ 208217 w 400050"/>
                <a:gd name="connsiteY559" fmla="*/ 274892 h 638175"/>
                <a:gd name="connsiteX560" fmla="*/ 205835 w 400050"/>
                <a:gd name="connsiteY560" fmla="*/ 274892 h 638175"/>
                <a:gd name="connsiteX561" fmla="*/ 204502 w 400050"/>
                <a:gd name="connsiteY561" fmla="*/ 273558 h 638175"/>
                <a:gd name="connsiteX562" fmla="*/ 214122 w 400050"/>
                <a:gd name="connsiteY562" fmla="*/ 266033 h 638175"/>
                <a:gd name="connsiteX563" fmla="*/ 217551 w 400050"/>
                <a:gd name="connsiteY563" fmla="*/ 270129 h 638175"/>
                <a:gd name="connsiteX564" fmla="*/ 214122 w 400050"/>
                <a:gd name="connsiteY564" fmla="*/ 272224 h 638175"/>
                <a:gd name="connsiteX565" fmla="*/ 214122 w 400050"/>
                <a:gd name="connsiteY565" fmla="*/ 272891 h 638175"/>
                <a:gd name="connsiteX566" fmla="*/ 217551 w 400050"/>
                <a:gd name="connsiteY566" fmla="*/ 270129 h 638175"/>
                <a:gd name="connsiteX567" fmla="*/ 218218 w 400050"/>
                <a:gd name="connsiteY567" fmla="*/ 270129 h 638175"/>
                <a:gd name="connsiteX568" fmla="*/ 222314 w 400050"/>
                <a:gd name="connsiteY568" fmla="*/ 268034 h 638175"/>
                <a:gd name="connsiteX569" fmla="*/ 221647 w 400050"/>
                <a:gd name="connsiteY569" fmla="*/ 266700 h 638175"/>
                <a:gd name="connsiteX570" fmla="*/ 218884 w 400050"/>
                <a:gd name="connsiteY570" fmla="*/ 266700 h 638175"/>
                <a:gd name="connsiteX571" fmla="*/ 218218 w 400050"/>
                <a:gd name="connsiteY571" fmla="*/ 265367 h 638175"/>
                <a:gd name="connsiteX572" fmla="*/ 222314 w 400050"/>
                <a:gd name="connsiteY572" fmla="*/ 263271 h 638175"/>
                <a:gd name="connsiteX573" fmla="*/ 223647 w 400050"/>
                <a:gd name="connsiteY573" fmla="*/ 263938 h 638175"/>
                <a:gd name="connsiteX574" fmla="*/ 224314 w 400050"/>
                <a:gd name="connsiteY574" fmla="*/ 262604 h 638175"/>
                <a:gd name="connsiteX575" fmla="*/ 224314 w 400050"/>
                <a:gd name="connsiteY575" fmla="*/ 261271 h 638175"/>
                <a:gd name="connsiteX576" fmla="*/ 244888 w 400050"/>
                <a:gd name="connsiteY576" fmla="*/ 250317 h 638175"/>
                <a:gd name="connsiteX577" fmla="*/ 244888 w 400050"/>
                <a:gd name="connsiteY577" fmla="*/ 248984 h 638175"/>
                <a:gd name="connsiteX578" fmla="*/ 247650 w 400050"/>
                <a:gd name="connsiteY578" fmla="*/ 246888 h 638175"/>
                <a:gd name="connsiteX579" fmla="*/ 250412 w 400050"/>
                <a:gd name="connsiteY579" fmla="*/ 248222 h 638175"/>
                <a:gd name="connsiteX580" fmla="*/ 250412 w 400050"/>
                <a:gd name="connsiteY580" fmla="*/ 247555 h 638175"/>
                <a:gd name="connsiteX581" fmla="*/ 250412 w 400050"/>
                <a:gd name="connsiteY581" fmla="*/ 246221 h 638175"/>
                <a:gd name="connsiteX582" fmla="*/ 254508 w 400050"/>
                <a:gd name="connsiteY582" fmla="*/ 244126 h 638175"/>
                <a:gd name="connsiteX583" fmla="*/ 257937 w 400050"/>
                <a:gd name="connsiteY583" fmla="*/ 246221 h 638175"/>
                <a:gd name="connsiteX584" fmla="*/ 256604 w 400050"/>
                <a:gd name="connsiteY584" fmla="*/ 248317 h 638175"/>
                <a:gd name="connsiteX585" fmla="*/ 257270 w 400050"/>
                <a:gd name="connsiteY585" fmla="*/ 248984 h 638175"/>
                <a:gd name="connsiteX586" fmla="*/ 259366 w 400050"/>
                <a:gd name="connsiteY586" fmla="*/ 246888 h 638175"/>
                <a:gd name="connsiteX587" fmla="*/ 258699 w 400050"/>
                <a:gd name="connsiteY587" fmla="*/ 243459 h 638175"/>
                <a:gd name="connsiteX588" fmla="*/ 279273 w 400050"/>
                <a:gd name="connsiteY588" fmla="*/ 234506 h 638175"/>
                <a:gd name="connsiteX589" fmla="*/ 279273 w 400050"/>
                <a:gd name="connsiteY589" fmla="*/ 233839 h 638175"/>
                <a:gd name="connsiteX590" fmla="*/ 277178 w 400050"/>
                <a:gd name="connsiteY590" fmla="*/ 229743 h 638175"/>
                <a:gd name="connsiteX591" fmla="*/ 277178 w 400050"/>
                <a:gd name="connsiteY591" fmla="*/ 229076 h 638175"/>
                <a:gd name="connsiteX592" fmla="*/ 278511 w 400050"/>
                <a:gd name="connsiteY592" fmla="*/ 229743 h 638175"/>
                <a:gd name="connsiteX593" fmla="*/ 281273 w 400050"/>
                <a:gd name="connsiteY593" fmla="*/ 231077 h 638175"/>
                <a:gd name="connsiteX594" fmla="*/ 285369 w 400050"/>
                <a:gd name="connsiteY594" fmla="*/ 228314 h 638175"/>
                <a:gd name="connsiteX595" fmla="*/ 285369 w 400050"/>
                <a:gd name="connsiteY595" fmla="*/ 227648 h 638175"/>
                <a:gd name="connsiteX596" fmla="*/ 279845 w 400050"/>
                <a:gd name="connsiteY596" fmla="*/ 229743 h 638175"/>
                <a:gd name="connsiteX597" fmla="*/ 278511 w 400050"/>
                <a:gd name="connsiteY597" fmla="*/ 227648 h 638175"/>
                <a:gd name="connsiteX598" fmla="*/ 278511 w 400050"/>
                <a:gd name="connsiteY598" fmla="*/ 226981 h 638175"/>
                <a:gd name="connsiteX599" fmla="*/ 281273 w 400050"/>
                <a:gd name="connsiteY599" fmla="*/ 225647 h 638175"/>
                <a:gd name="connsiteX600" fmla="*/ 283369 w 400050"/>
                <a:gd name="connsiteY600" fmla="*/ 226314 h 638175"/>
                <a:gd name="connsiteX601" fmla="*/ 288131 w 400050"/>
                <a:gd name="connsiteY601" fmla="*/ 201644 h 638175"/>
                <a:gd name="connsiteX602" fmla="*/ 288131 w 400050"/>
                <a:gd name="connsiteY602" fmla="*/ 196120 h 638175"/>
                <a:gd name="connsiteX603" fmla="*/ 288798 w 400050"/>
                <a:gd name="connsiteY603" fmla="*/ 193358 h 638175"/>
                <a:gd name="connsiteX604" fmla="*/ 288798 w 400050"/>
                <a:gd name="connsiteY604" fmla="*/ 190595 h 638175"/>
                <a:gd name="connsiteX605" fmla="*/ 289465 w 400050"/>
                <a:gd name="connsiteY605" fmla="*/ 187166 h 638175"/>
                <a:gd name="connsiteX606" fmla="*/ 288798 w 400050"/>
                <a:gd name="connsiteY606" fmla="*/ 182404 h 638175"/>
                <a:gd name="connsiteX607" fmla="*/ 291560 w 400050"/>
                <a:gd name="connsiteY607" fmla="*/ 141923 h 638175"/>
                <a:gd name="connsiteX608" fmla="*/ 291560 w 400050"/>
                <a:gd name="connsiteY608" fmla="*/ 137160 h 638175"/>
                <a:gd name="connsiteX609" fmla="*/ 292227 w 400050"/>
                <a:gd name="connsiteY609" fmla="*/ 130969 h 638175"/>
                <a:gd name="connsiteX610" fmla="*/ 291560 w 400050"/>
                <a:gd name="connsiteY610" fmla="*/ 124778 h 638175"/>
                <a:gd name="connsiteX611" fmla="*/ 293656 w 400050"/>
                <a:gd name="connsiteY611" fmla="*/ 111062 h 638175"/>
                <a:gd name="connsiteX612" fmla="*/ 292989 w 400050"/>
                <a:gd name="connsiteY612" fmla="*/ 105537 h 638175"/>
                <a:gd name="connsiteX613" fmla="*/ 292989 w 400050"/>
                <a:gd name="connsiteY613" fmla="*/ 103442 h 638175"/>
                <a:gd name="connsiteX614" fmla="*/ 294323 w 400050"/>
                <a:gd name="connsiteY614" fmla="*/ 98679 h 638175"/>
                <a:gd name="connsiteX615" fmla="*/ 293656 w 400050"/>
                <a:gd name="connsiteY615" fmla="*/ 93917 h 638175"/>
                <a:gd name="connsiteX616" fmla="*/ 294989 w 400050"/>
                <a:gd name="connsiteY616" fmla="*/ 85725 h 638175"/>
                <a:gd name="connsiteX617" fmla="*/ 294989 w 400050"/>
                <a:gd name="connsiteY617" fmla="*/ 82296 h 638175"/>
                <a:gd name="connsiteX618" fmla="*/ 294323 w 400050"/>
                <a:gd name="connsiteY618" fmla="*/ 80963 h 638175"/>
                <a:gd name="connsiteX619" fmla="*/ 292227 w 400050"/>
                <a:gd name="connsiteY619" fmla="*/ 80963 h 638175"/>
                <a:gd name="connsiteX620" fmla="*/ 284702 w 400050"/>
                <a:gd name="connsiteY620" fmla="*/ 87821 h 638175"/>
                <a:gd name="connsiteX621" fmla="*/ 284036 w 400050"/>
                <a:gd name="connsiteY621" fmla="*/ 88487 h 638175"/>
                <a:gd name="connsiteX622" fmla="*/ 279273 w 400050"/>
                <a:gd name="connsiteY622" fmla="*/ 99441 h 638175"/>
                <a:gd name="connsiteX623" fmla="*/ 276511 w 400050"/>
                <a:gd name="connsiteY623" fmla="*/ 102870 h 638175"/>
                <a:gd name="connsiteX624" fmla="*/ 276511 w 400050"/>
                <a:gd name="connsiteY624" fmla="*/ 103537 h 638175"/>
                <a:gd name="connsiteX625" fmla="*/ 275844 w 400050"/>
                <a:gd name="connsiteY625" fmla="*/ 102870 h 638175"/>
                <a:gd name="connsiteX626" fmla="*/ 273082 w 400050"/>
                <a:gd name="connsiteY626" fmla="*/ 104204 h 638175"/>
                <a:gd name="connsiteX627" fmla="*/ 273082 w 400050"/>
                <a:gd name="connsiteY627" fmla="*/ 104870 h 638175"/>
                <a:gd name="connsiteX628" fmla="*/ 266891 w 400050"/>
                <a:gd name="connsiteY628" fmla="*/ 114491 h 638175"/>
                <a:gd name="connsiteX629" fmla="*/ 2096 w 400050"/>
                <a:gd name="connsiteY629" fmla="*/ 524637 h 638175"/>
                <a:gd name="connsiteX630" fmla="*/ 3429 w 400050"/>
                <a:gd name="connsiteY630" fmla="*/ 521208 h 638175"/>
                <a:gd name="connsiteX631" fmla="*/ 2096 w 400050"/>
                <a:gd name="connsiteY631" fmla="*/ 518446 h 638175"/>
                <a:gd name="connsiteX632" fmla="*/ 2762 w 400050"/>
                <a:gd name="connsiteY632" fmla="*/ 517779 h 638175"/>
                <a:gd name="connsiteX633" fmla="*/ 2762 w 400050"/>
                <a:gd name="connsiteY633" fmla="*/ 516446 h 638175"/>
                <a:gd name="connsiteX634" fmla="*/ 3429 w 400050"/>
                <a:gd name="connsiteY634" fmla="*/ 513683 h 638175"/>
                <a:gd name="connsiteX635" fmla="*/ 3429 w 400050"/>
                <a:gd name="connsiteY635" fmla="*/ 508921 h 638175"/>
                <a:gd name="connsiteX636" fmla="*/ 4096 w 400050"/>
                <a:gd name="connsiteY636" fmla="*/ 508254 h 638175"/>
                <a:gd name="connsiteX637" fmla="*/ 3429 w 400050"/>
                <a:gd name="connsiteY637" fmla="*/ 506921 h 638175"/>
                <a:gd name="connsiteX638" fmla="*/ 5525 w 400050"/>
                <a:gd name="connsiteY638" fmla="*/ 502825 h 638175"/>
                <a:gd name="connsiteX639" fmla="*/ 5525 w 400050"/>
                <a:gd name="connsiteY639" fmla="*/ 501491 h 638175"/>
                <a:gd name="connsiteX640" fmla="*/ 8953 w 400050"/>
                <a:gd name="connsiteY640" fmla="*/ 487775 h 638175"/>
                <a:gd name="connsiteX641" fmla="*/ 8953 w 400050"/>
                <a:gd name="connsiteY641" fmla="*/ 487109 h 638175"/>
                <a:gd name="connsiteX642" fmla="*/ 12383 w 400050"/>
                <a:gd name="connsiteY642" fmla="*/ 478917 h 638175"/>
                <a:gd name="connsiteX643" fmla="*/ 12383 w 400050"/>
                <a:gd name="connsiteY643" fmla="*/ 478250 h 638175"/>
                <a:gd name="connsiteX644" fmla="*/ 15145 w 400050"/>
                <a:gd name="connsiteY644" fmla="*/ 468630 h 638175"/>
                <a:gd name="connsiteX645" fmla="*/ 16478 w 400050"/>
                <a:gd name="connsiteY645" fmla="*/ 467963 h 638175"/>
                <a:gd name="connsiteX646" fmla="*/ 17812 w 400050"/>
                <a:gd name="connsiteY646" fmla="*/ 468630 h 638175"/>
                <a:gd name="connsiteX647" fmla="*/ 17812 w 400050"/>
                <a:gd name="connsiteY647" fmla="*/ 469297 h 638175"/>
                <a:gd name="connsiteX648" fmla="*/ 17145 w 400050"/>
                <a:gd name="connsiteY648" fmla="*/ 472726 h 638175"/>
                <a:gd name="connsiteX649" fmla="*/ 17812 w 400050"/>
                <a:gd name="connsiteY649" fmla="*/ 472726 h 638175"/>
                <a:gd name="connsiteX650" fmla="*/ 18478 w 400050"/>
                <a:gd name="connsiteY650" fmla="*/ 475488 h 638175"/>
                <a:gd name="connsiteX651" fmla="*/ 15050 w 400050"/>
                <a:gd name="connsiteY651" fmla="*/ 478917 h 638175"/>
                <a:gd name="connsiteX652" fmla="*/ 14383 w 400050"/>
                <a:gd name="connsiteY652" fmla="*/ 478250 h 638175"/>
                <a:gd name="connsiteX653" fmla="*/ 13716 w 400050"/>
                <a:gd name="connsiteY653" fmla="*/ 480346 h 638175"/>
                <a:gd name="connsiteX654" fmla="*/ 13716 w 400050"/>
                <a:gd name="connsiteY654" fmla="*/ 481013 h 638175"/>
                <a:gd name="connsiteX655" fmla="*/ 11621 w 400050"/>
                <a:gd name="connsiteY655" fmla="*/ 487871 h 638175"/>
                <a:gd name="connsiteX656" fmla="*/ 11621 w 400050"/>
                <a:gd name="connsiteY656" fmla="*/ 489204 h 638175"/>
                <a:gd name="connsiteX657" fmla="*/ 9525 w 400050"/>
                <a:gd name="connsiteY657" fmla="*/ 496729 h 638175"/>
                <a:gd name="connsiteX658" fmla="*/ 10192 w 400050"/>
                <a:gd name="connsiteY658" fmla="*/ 498062 h 638175"/>
                <a:gd name="connsiteX659" fmla="*/ 9525 w 400050"/>
                <a:gd name="connsiteY659" fmla="*/ 501491 h 638175"/>
                <a:gd name="connsiteX660" fmla="*/ 12287 w 400050"/>
                <a:gd name="connsiteY660" fmla="*/ 507016 h 638175"/>
                <a:gd name="connsiteX661" fmla="*/ 10192 w 400050"/>
                <a:gd name="connsiteY661" fmla="*/ 509111 h 638175"/>
                <a:gd name="connsiteX662" fmla="*/ 12954 w 400050"/>
                <a:gd name="connsiteY662" fmla="*/ 512540 h 638175"/>
                <a:gd name="connsiteX663" fmla="*/ 12954 w 400050"/>
                <a:gd name="connsiteY663" fmla="*/ 513207 h 638175"/>
                <a:gd name="connsiteX664" fmla="*/ 9525 w 400050"/>
                <a:gd name="connsiteY664" fmla="*/ 512540 h 638175"/>
                <a:gd name="connsiteX665" fmla="*/ 5429 w 400050"/>
                <a:gd name="connsiteY665" fmla="*/ 516636 h 638175"/>
                <a:gd name="connsiteX666" fmla="*/ 6096 w 400050"/>
                <a:gd name="connsiteY666" fmla="*/ 518732 h 638175"/>
                <a:gd name="connsiteX667" fmla="*/ 4001 w 400050"/>
                <a:gd name="connsiteY667" fmla="*/ 524256 h 638175"/>
                <a:gd name="connsiteX668" fmla="*/ 4001 w 400050"/>
                <a:gd name="connsiteY668" fmla="*/ 524923 h 638175"/>
                <a:gd name="connsiteX669" fmla="*/ 5334 w 400050"/>
                <a:gd name="connsiteY669" fmla="*/ 525590 h 638175"/>
                <a:gd name="connsiteX670" fmla="*/ 4001 w 400050"/>
                <a:gd name="connsiteY670" fmla="*/ 526923 h 638175"/>
                <a:gd name="connsiteX671" fmla="*/ 3334 w 400050"/>
                <a:gd name="connsiteY671" fmla="*/ 525590 h 638175"/>
                <a:gd name="connsiteX672" fmla="*/ 1238 w 400050"/>
                <a:gd name="connsiteY672" fmla="*/ 525590 h 638175"/>
                <a:gd name="connsiteX673" fmla="*/ 2096 w 400050"/>
                <a:gd name="connsiteY673" fmla="*/ 524637 h 638175"/>
                <a:gd name="connsiteX674" fmla="*/ 8953 w 400050"/>
                <a:gd name="connsiteY674" fmla="*/ 542449 h 638175"/>
                <a:gd name="connsiteX675" fmla="*/ 5525 w 400050"/>
                <a:gd name="connsiteY675" fmla="*/ 538353 h 638175"/>
                <a:gd name="connsiteX676" fmla="*/ 4858 w 400050"/>
                <a:gd name="connsiteY676" fmla="*/ 539020 h 638175"/>
                <a:gd name="connsiteX677" fmla="*/ 5525 w 400050"/>
                <a:gd name="connsiteY677" fmla="*/ 539687 h 638175"/>
                <a:gd name="connsiteX678" fmla="*/ 7620 w 400050"/>
                <a:gd name="connsiteY678" fmla="*/ 546545 h 638175"/>
                <a:gd name="connsiteX679" fmla="*/ 8287 w 400050"/>
                <a:gd name="connsiteY679" fmla="*/ 545878 h 638175"/>
                <a:gd name="connsiteX680" fmla="*/ 7620 w 400050"/>
                <a:gd name="connsiteY680" fmla="*/ 545211 h 638175"/>
                <a:gd name="connsiteX681" fmla="*/ 8953 w 400050"/>
                <a:gd name="connsiteY681" fmla="*/ 542449 h 638175"/>
                <a:gd name="connsiteX682" fmla="*/ 6191 w 400050"/>
                <a:gd name="connsiteY682" fmla="*/ 509492 h 638175"/>
                <a:gd name="connsiteX683" fmla="*/ 6858 w 400050"/>
                <a:gd name="connsiteY683" fmla="*/ 510159 h 638175"/>
                <a:gd name="connsiteX684" fmla="*/ 8191 w 400050"/>
                <a:gd name="connsiteY684" fmla="*/ 508826 h 638175"/>
                <a:gd name="connsiteX685" fmla="*/ 6858 w 400050"/>
                <a:gd name="connsiteY685" fmla="*/ 509492 h 638175"/>
                <a:gd name="connsiteX686" fmla="*/ 6191 w 400050"/>
                <a:gd name="connsiteY686" fmla="*/ 509492 h 638175"/>
                <a:gd name="connsiteX687" fmla="*/ 7620 w 400050"/>
                <a:gd name="connsiteY687" fmla="*/ 583597 h 638175"/>
                <a:gd name="connsiteX688" fmla="*/ 6287 w 400050"/>
                <a:gd name="connsiteY688" fmla="*/ 581501 h 638175"/>
                <a:gd name="connsiteX689" fmla="*/ 6287 w 400050"/>
                <a:gd name="connsiteY689" fmla="*/ 580835 h 638175"/>
                <a:gd name="connsiteX690" fmla="*/ 7620 w 400050"/>
                <a:gd name="connsiteY690" fmla="*/ 582168 h 638175"/>
                <a:gd name="connsiteX691" fmla="*/ 7620 w 400050"/>
                <a:gd name="connsiteY691" fmla="*/ 583597 h 638175"/>
                <a:gd name="connsiteX692" fmla="*/ 13049 w 400050"/>
                <a:gd name="connsiteY692" fmla="*/ 519779 h 638175"/>
                <a:gd name="connsiteX693" fmla="*/ 10954 w 400050"/>
                <a:gd name="connsiteY693" fmla="*/ 523208 h 638175"/>
                <a:gd name="connsiteX694" fmla="*/ 8858 w 400050"/>
                <a:gd name="connsiteY694" fmla="*/ 521875 h 638175"/>
                <a:gd name="connsiteX695" fmla="*/ 12287 w 400050"/>
                <a:gd name="connsiteY695" fmla="*/ 517779 h 638175"/>
                <a:gd name="connsiteX696" fmla="*/ 12954 w 400050"/>
                <a:gd name="connsiteY696" fmla="*/ 519113 h 638175"/>
                <a:gd name="connsiteX697" fmla="*/ 12954 w 400050"/>
                <a:gd name="connsiteY697" fmla="*/ 519779 h 638175"/>
                <a:gd name="connsiteX698" fmla="*/ 11716 w 400050"/>
                <a:gd name="connsiteY698" fmla="*/ 545211 h 638175"/>
                <a:gd name="connsiteX699" fmla="*/ 11049 w 400050"/>
                <a:gd name="connsiteY699" fmla="*/ 546545 h 638175"/>
                <a:gd name="connsiteX700" fmla="*/ 11716 w 400050"/>
                <a:gd name="connsiteY700" fmla="*/ 547878 h 638175"/>
                <a:gd name="connsiteX701" fmla="*/ 11716 w 400050"/>
                <a:gd name="connsiteY701" fmla="*/ 548545 h 638175"/>
                <a:gd name="connsiteX702" fmla="*/ 12383 w 400050"/>
                <a:gd name="connsiteY702" fmla="*/ 549212 h 638175"/>
                <a:gd name="connsiteX703" fmla="*/ 11716 w 400050"/>
                <a:gd name="connsiteY703" fmla="*/ 545211 h 638175"/>
                <a:gd name="connsiteX704" fmla="*/ 15812 w 400050"/>
                <a:gd name="connsiteY704" fmla="*/ 539687 h 638175"/>
                <a:gd name="connsiteX705" fmla="*/ 16478 w 400050"/>
                <a:gd name="connsiteY705" fmla="*/ 539687 h 638175"/>
                <a:gd name="connsiteX706" fmla="*/ 16478 w 400050"/>
                <a:gd name="connsiteY706" fmla="*/ 534924 h 638175"/>
                <a:gd name="connsiteX707" fmla="*/ 19240 w 400050"/>
                <a:gd name="connsiteY707" fmla="*/ 535591 h 638175"/>
                <a:gd name="connsiteX708" fmla="*/ 19907 w 400050"/>
                <a:gd name="connsiteY708" fmla="*/ 536258 h 638175"/>
                <a:gd name="connsiteX709" fmla="*/ 18574 w 400050"/>
                <a:gd name="connsiteY709" fmla="*/ 540353 h 638175"/>
                <a:gd name="connsiteX710" fmla="*/ 16478 w 400050"/>
                <a:gd name="connsiteY710" fmla="*/ 540353 h 638175"/>
                <a:gd name="connsiteX711" fmla="*/ 15812 w 400050"/>
                <a:gd name="connsiteY711" fmla="*/ 539687 h 638175"/>
                <a:gd name="connsiteX712" fmla="*/ 18574 w 400050"/>
                <a:gd name="connsiteY712" fmla="*/ 464249 h 638175"/>
                <a:gd name="connsiteX713" fmla="*/ 19907 w 400050"/>
                <a:gd name="connsiteY713" fmla="*/ 460153 h 638175"/>
                <a:gd name="connsiteX714" fmla="*/ 21241 w 400050"/>
                <a:gd name="connsiteY714" fmla="*/ 460153 h 638175"/>
                <a:gd name="connsiteX715" fmla="*/ 21241 w 400050"/>
                <a:gd name="connsiteY715" fmla="*/ 461486 h 638175"/>
                <a:gd name="connsiteX716" fmla="*/ 18574 w 400050"/>
                <a:gd name="connsiteY716" fmla="*/ 464249 h 638175"/>
                <a:gd name="connsiteX717" fmla="*/ 20669 w 400050"/>
                <a:gd name="connsiteY717" fmla="*/ 554069 h 638175"/>
                <a:gd name="connsiteX718" fmla="*/ 20003 w 400050"/>
                <a:gd name="connsiteY718" fmla="*/ 553403 h 638175"/>
                <a:gd name="connsiteX719" fmla="*/ 20669 w 400050"/>
                <a:gd name="connsiteY719" fmla="*/ 552736 h 638175"/>
                <a:gd name="connsiteX720" fmla="*/ 22003 w 400050"/>
                <a:gd name="connsiteY720" fmla="*/ 553403 h 638175"/>
                <a:gd name="connsiteX721" fmla="*/ 20669 w 400050"/>
                <a:gd name="connsiteY721" fmla="*/ 554069 h 638175"/>
                <a:gd name="connsiteX722" fmla="*/ 36386 w 400050"/>
                <a:gd name="connsiteY722" fmla="*/ 595217 h 638175"/>
                <a:gd name="connsiteX723" fmla="*/ 32290 w 400050"/>
                <a:gd name="connsiteY723" fmla="*/ 589693 h 638175"/>
                <a:gd name="connsiteX724" fmla="*/ 32290 w 400050"/>
                <a:gd name="connsiteY724" fmla="*/ 589026 h 638175"/>
                <a:gd name="connsiteX725" fmla="*/ 34385 w 400050"/>
                <a:gd name="connsiteY725" fmla="*/ 586931 h 638175"/>
                <a:gd name="connsiteX726" fmla="*/ 28861 w 400050"/>
                <a:gd name="connsiteY726" fmla="*/ 573215 h 638175"/>
                <a:gd name="connsiteX727" fmla="*/ 28194 w 400050"/>
                <a:gd name="connsiteY727" fmla="*/ 572548 h 638175"/>
                <a:gd name="connsiteX728" fmla="*/ 27527 w 400050"/>
                <a:gd name="connsiteY728" fmla="*/ 573215 h 638175"/>
                <a:gd name="connsiteX729" fmla="*/ 27527 w 400050"/>
                <a:gd name="connsiteY729" fmla="*/ 574548 h 638175"/>
                <a:gd name="connsiteX730" fmla="*/ 28194 w 400050"/>
                <a:gd name="connsiteY730" fmla="*/ 575882 h 638175"/>
                <a:gd name="connsiteX731" fmla="*/ 26099 w 400050"/>
                <a:gd name="connsiteY731" fmla="*/ 577977 h 638175"/>
                <a:gd name="connsiteX732" fmla="*/ 24765 w 400050"/>
                <a:gd name="connsiteY732" fmla="*/ 575215 h 638175"/>
                <a:gd name="connsiteX733" fmla="*/ 25432 w 400050"/>
                <a:gd name="connsiteY733" fmla="*/ 573881 h 638175"/>
                <a:gd name="connsiteX734" fmla="*/ 23336 w 400050"/>
                <a:gd name="connsiteY734" fmla="*/ 573215 h 638175"/>
                <a:gd name="connsiteX735" fmla="*/ 22670 w 400050"/>
                <a:gd name="connsiteY735" fmla="*/ 574548 h 638175"/>
                <a:gd name="connsiteX736" fmla="*/ 21336 w 400050"/>
                <a:gd name="connsiteY736" fmla="*/ 577977 h 638175"/>
                <a:gd name="connsiteX737" fmla="*/ 25432 w 400050"/>
                <a:gd name="connsiteY737" fmla="*/ 582740 h 638175"/>
                <a:gd name="connsiteX738" fmla="*/ 26099 w 400050"/>
                <a:gd name="connsiteY738" fmla="*/ 581406 h 638175"/>
                <a:gd name="connsiteX739" fmla="*/ 26765 w 400050"/>
                <a:gd name="connsiteY739" fmla="*/ 580073 h 638175"/>
                <a:gd name="connsiteX740" fmla="*/ 28099 w 400050"/>
                <a:gd name="connsiteY740" fmla="*/ 578739 h 638175"/>
                <a:gd name="connsiteX741" fmla="*/ 31528 w 400050"/>
                <a:gd name="connsiteY741" fmla="*/ 589026 h 638175"/>
                <a:gd name="connsiteX742" fmla="*/ 34290 w 400050"/>
                <a:gd name="connsiteY742" fmla="*/ 595217 h 638175"/>
                <a:gd name="connsiteX743" fmla="*/ 35624 w 400050"/>
                <a:gd name="connsiteY743" fmla="*/ 595884 h 638175"/>
                <a:gd name="connsiteX744" fmla="*/ 36386 w 400050"/>
                <a:gd name="connsiteY744" fmla="*/ 595217 h 638175"/>
                <a:gd name="connsiteX745" fmla="*/ 22670 w 400050"/>
                <a:gd name="connsiteY745" fmla="*/ 455295 h 638175"/>
                <a:gd name="connsiteX746" fmla="*/ 26765 w 400050"/>
                <a:gd name="connsiteY746" fmla="*/ 445008 h 638175"/>
                <a:gd name="connsiteX747" fmla="*/ 30861 w 400050"/>
                <a:gd name="connsiteY747" fmla="*/ 448437 h 638175"/>
                <a:gd name="connsiteX748" fmla="*/ 27432 w 400050"/>
                <a:gd name="connsiteY748" fmla="*/ 449104 h 638175"/>
                <a:gd name="connsiteX749" fmla="*/ 24003 w 400050"/>
                <a:gd name="connsiteY749" fmla="*/ 456629 h 638175"/>
                <a:gd name="connsiteX750" fmla="*/ 22670 w 400050"/>
                <a:gd name="connsiteY750" fmla="*/ 455295 h 638175"/>
                <a:gd name="connsiteX751" fmla="*/ 27527 w 400050"/>
                <a:gd name="connsiteY751" fmla="*/ 443008 h 638175"/>
                <a:gd name="connsiteX752" fmla="*/ 27527 w 400050"/>
                <a:gd name="connsiteY752" fmla="*/ 442341 h 638175"/>
                <a:gd name="connsiteX753" fmla="*/ 28194 w 400050"/>
                <a:gd name="connsiteY753" fmla="*/ 443008 h 638175"/>
                <a:gd name="connsiteX754" fmla="*/ 27527 w 400050"/>
                <a:gd name="connsiteY754" fmla="*/ 443008 h 638175"/>
                <a:gd name="connsiteX755" fmla="*/ 28861 w 400050"/>
                <a:gd name="connsiteY755" fmla="*/ 525971 h 638175"/>
                <a:gd name="connsiteX756" fmla="*/ 28194 w 400050"/>
                <a:gd name="connsiteY756" fmla="*/ 528733 h 638175"/>
                <a:gd name="connsiteX757" fmla="*/ 30290 w 400050"/>
                <a:gd name="connsiteY757" fmla="*/ 525304 h 638175"/>
                <a:gd name="connsiteX758" fmla="*/ 31623 w 400050"/>
                <a:gd name="connsiteY758" fmla="*/ 525304 h 638175"/>
                <a:gd name="connsiteX759" fmla="*/ 30956 w 400050"/>
                <a:gd name="connsiteY759" fmla="*/ 521875 h 638175"/>
                <a:gd name="connsiteX760" fmla="*/ 32290 w 400050"/>
                <a:gd name="connsiteY760" fmla="*/ 511588 h 638175"/>
                <a:gd name="connsiteX761" fmla="*/ 31623 w 400050"/>
                <a:gd name="connsiteY761" fmla="*/ 509492 h 638175"/>
                <a:gd name="connsiteX762" fmla="*/ 30956 w 400050"/>
                <a:gd name="connsiteY762" fmla="*/ 508826 h 638175"/>
                <a:gd name="connsiteX763" fmla="*/ 28194 w 400050"/>
                <a:gd name="connsiteY763" fmla="*/ 521208 h 638175"/>
                <a:gd name="connsiteX764" fmla="*/ 28861 w 400050"/>
                <a:gd name="connsiteY764" fmla="*/ 524637 h 638175"/>
                <a:gd name="connsiteX765" fmla="*/ 28861 w 400050"/>
                <a:gd name="connsiteY765" fmla="*/ 525971 h 638175"/>
                <a:gd name="connsiteX766" fmla="*/ 31623 w 400050"/>
                <a:gd name="connsiteY766" fmla="*/ 505397 h 638175"/>
                <a:gd name="connsiteX767" fmla="*/ 32290 w 400050"/>
                <a:gd name="connsiteY767" fmla="*/ 505397 h 638175"/>
                <a:gd name="connsiteX768" fmla="*/ 31623 w 400050"/>
                <a:gd name="connsiteY768" fmla="*/ 504730 h 638175"/>
                <a:gd name="connsiteX769" fmla="*/ 31623 w 400050"/>
                <a:gd name="connsiteY769" fmla="*/ 505397 h 638175"/>
                <a:gd name="connsiteX770" fmla="*/ 33623 w 400050"/>
                <a:gd name="connsiteY770" fmla="*/ 423767 h 638175"/>
                <a:gd name="connsiteX771" fmla="*/ 35719 w 400050"/>
                <a:gd name="connsiteY771" fmla="*/ 424434 h 638175"/>
                <a:gd name="connsiteX772" fmla="*/ 35052 w 400050"/>
                <a:gd name="connsiteY772" fmla="*/ 426530 h 638175"/>
                <a:gd name="connsiteX773" fmla="*/ 34385 w 400050"/>
                <a:gd name="connsiteY773" fmla="*/ 425863 h 638175"/>
                <a:gd name="connsiteX774" fmla="*/ 33623 w 400050"/>
                <a:gd name="connsiteY774" fmla="*/ 423767 h 638175"/>
                <a:gd name="connsiteX775" fmla="*/ 35719 w 400050"/>
                <a:gd name="connsiteY775" fmla="*/ 422434 h 638175"/>
                <a:gd name="connsiteX776" fmla="*/ 37814 w 400050"/>
                <a:gd name="connsiteY776" fmla="*/ 420338 h 638175"/>
                <a:gd name="connsiteX777" fmla="*/ 37814 w 400050"/>
                <a:gd name="connsiteY777" fmla="*/ 422434 h 638175"/>
                <a:gd name="connsiteX778" fmla="*/ 37148 w 400050"/>
                <a:gd name="connsiteY778" fmla="*/ 423101 h 638175"/>
                <a:gd name="connsiteX779" fmla="*/ 35719 w 400050"/>
                <a:gd name="connsiteY779" fmla="*/ 422434 h 638175"/>
                <a:gd name="connsiteX780" fmla="*/ 38481 w 400050"/>
                <a:gd name="connsiteY780" fmla="*/ 600075 h 638175"/>
                <a:gd name="connsiteX781" fmla="*/ 36386 w 400050"/>
                <a:gd name="connsiteY781" fmla="*/ 597313 h 638175"/>
                <a:gd name="connsiteX782" fmla="*/ 36386 w 400050"/>
                <a:gd name="connsiteY782" fmla="*/ 599408 h 638175"/>
                <a:gd name="connsiteX783" fmla="*/ 37719 w 400050"/>
                <a:gd name="connsiteY783" fmla="*/ 600075 h 638175"/>
                <a:gd name="connsiteX784" fmla="*/ 38481 w 400050"/>
                <a:gd name="connsiteY784" fmla="*/ 600075 h 638175"/>
                <a:gd name="connsiteX785" fmla="*/ 41243 w 400050"/>
                <a:gd name="connsiteY785" fmla="*/ 604838 h 638175"/>
                <a:gd name="connsiteX786" fmla="*/ 39148 w 400050"/>
                <a:gd name="connsiteY786" fmla="*/ 601409 h 638175"/>
                <a:gd name="connsiteX787" fmla="*/ 38481 w 400050"/>
                <a:gd name="connsiteY787" fmla="*/ 602075 h 638175"/>
                <a:gd name="connsiteX788" fmla="*/ 41243 w 400050"/>
                <a:gd name="connsiteY788" fmla="*/ 604838 h 638175"/>
                <a:gd name="connsiteX789" fmla="*/ 39148 w 400050"/>
                <a:gd name="connsiteY789" fmla="*/ 419005 h 638175"/>
                <a:gd name="connsiteX790" fmla="*/ 39815 w 400050"/>
                <a:gd name="connsiteY790" fmla="*/ 414909 h 638175"/>
                <a:gd name="connsiteX791" fmla="*/ 40481 w 400050"/>
                <a:gd name="connsiteY791" fmla="*/ 414909 h 638175"/>
                <a:gd name="connsiteX792" fmla="*/ 40481 w 400050"/>
                <a:gd name="connsiteY792" fmla="*/ 418338 h 638175"/>
                <a:gd name="connsiteX793" fmla="*/ 39815 w 400050"/>
                <a:gd name="connsiteY793" fmla="*/ 419672 h 638175"/>
                <a:gd name="connsiteX794" fmla="*/ 39148 w 400050"/>
                <a:gd name="connsiteY794" fmla="*/ 419005 h 638175"/>
                <a:gd name="connsiteX795" fmla="*/ 281273 w 400050"/>
                <a:gd name="connsiteY795" fmla="*/ 259175 h 638175"/>
                <a:gd name="connsiteX796" fmla="*/ 279940 w 400050"/>
                <a:gd name="connsiteY796" fmla="*/ 259842 h 638175"/>
                <a:gd name="connsiteX797" fmla="*/ 278511 w 400050"/>
                <a:gd name="connsiteY797" fmla="*/ 257080 h 638175"/>
                <a:gd name="connsiteX798" fmla="*/ 275749 w 400050"/>
                <a:gd name="connsiteY798" fmla="*/ 259175 h 638175"/>
                <a:gd name="connsiteX799" fmla="*/ 274415 w 400050"/>
                <a:gd name="connsiteY799" fmla="*/ 259175 h 638175"/>
                <a:gd name="connsiteX800" fmla="*/ 256604 w 400050"/>
                <a:gd name="connsiteY800" fmla="*/ 268796 h 638175"/>
                <a:gd name="connsiteX801" fmla="*/ 255270 w 400050"/>
                <a:gd name="connsiteY801" fmla="*/ 268796 h 638175"/>
                <a:gd name="connsiteX802" fmla="*/ 250508 w 400050"/>
                <a:gd name="connsiteY802" fmla="*/ 272891 h 638175"/>
                <a:gd name="connsiteX803" fmla="*/ 251174 w 400050"/>
                <a:gd name="connsiteY803" fmla="*/ 273558 h 638175"/>
                <a:gd name="connsiteX804" fmla="*/ 250508 w 400050"/>
                <a:gd name="connsiteY804" fmla="*/ 274225 h 638175"/>
                <a:gd name="connsiteX805" fmla="*/ 249841 w 400050"/>
                <a:gd name="connsiteY805" fmla="*/ 273558 h 638175"/>
                <a:gd name="connsiteX806" fmla="*/ 249174 w 400050"/>
                <a:gd name="connsiteY806" fmla="*/ 274225 h 638175"/>
                <a:gd name="connsiteX807" fmla="*/ 246412 w 400050"/>
                <a:gd name="connsiteY807" fmla="*/ 272129 h 638175"/>
                <a:gd name="connsiteX808" fmla="*/ 240221 w 400050"/>
                <a:gd name="connsiteY808" fmla="*/ 279654 h 638175"/>
                <a:gd name="connsiteX809" fmla="*/ 238125 w 400050"/>
                <a:gd name="connsiteY809" fmla="*/ 279654 h 638175"/>
                <a:gd name="connsiteX810" fmla="*/ 235363 w 400050"/>
                <a:gd name="connsiteY810" fmla="*/ 280988 h 638175"/>
                <a:gd name="connsiteX811" fmla="*/ 233267 w 400050"/>
                <a:gd name="connsiteY811" fmla="*/ 282321 h 638175"/>
                <a:gd name="connsiteX812" fmla="*/ 233267 w 400050"/>
                <a:gd name="connsiteY812" fmla="*/ 281654 h 638175"/>
                <a:gd name="connsiteX813" fmla="*/ 230505 w 400050"/>
                <a:gd name="connsiteY813" fmla="*/ 284417 h 638175"/>
                <a:gd name="connsiteX814" fmla="*/ 229172 w 400050"/>
                <a:gd name="connsiteY814" fmla="*/ 284417 h 638175"/>
                <a:gd name="connsiteX815" fmla="*/ 218884 w 400050"/>
                <a:gd name="connsiteY815" fmla="*/ 290608 h 638175"/>
                <a:gd name="connsiteX816" fmla="*/ 218218 w 400050"/>
                <a:gd name="connsiteY816" fmla="*/ 291274 h 638175"/>
                <a:gd name="connsiteX817" fmla="*/ 210693 w 400050"/>
                <a:gd name="connsiteY817" fmla="*/ 296799 h 638175"/>
                <a:gd name="connsiteX818" fmla="*/ 209359 w 400050"/>
                <a:gd name="connsiteY818" fmla="*/ 296132 h 638175"/>
                <a:gd name="connsiteX819" fmla="*/ 205264 w 400050"/>
                <a:gd name="connsiteY819" fmla="*/ 299561 h 638175"/>
                <a:gd name="connsiteX820" fmla="*/ 200501 w 400050"/>
                <a:gd name="connsiteY820" fmla="*/ 300895 h 638175"/>
                <a:gd name="connsiteX821" fmla="*/ 194310 w 400050"/>
                <a:gd name="connsiteY821" fmla="*/ 307086 h 638175"/>
                <a:gd name="connsiteX822" fmla="*/ 193453 w 400050"/>
                <a:gd name="connsiteY822" fmla="*/ 307086 h 638175"/>
                <a:gd name="connsiteX823" fmla="*/ 178403 w 400050"/>
                <a:gd name="connsiteY823" fmla="*/ 316706 h 638175"/>
                <a:gd name="connsiteX824" fmla="*/ 174974 w 400050"/>
                <a:gd name="connsiteY824" fmla="*/ 320802 h 638175"/>
                <a:gd name="connsiteX825" fmla="*/ 173641 w 400050"/>
                <a:gd name="connsiteY825" fmla="*/ 320135 h 638175"/>
                <a:gd name="connsiteX826" fmla="*/ 171545 w 400050"/>
                <a:gd name="connsiteY826" fmla="*/ 321469 h 638175"/>
                <a:gd name="connsiteX827" fmla="*/ 155067 w 400050"/>
                <a:gd name="connsiteY827" fmla="*/ 337280 h 638175"/>
                <a:gd name="connsiteX828" fmla="*/ 135160 w 400050"/>
                <a:gd name="connsiteY828" fmla="*/ 356521 h 638175"/>
                <a:gd name="connsiteX829" fmla="*/ 128969 w 400050"/>
                <a:gd name="connsiteY829" fmla="*/ 359950 h 638175"/>
                <a:gd name="connsiteX830" fmla="*/ 110490 w 400050"/>
                <a:gd name="connsiteY830" fmla="*/ 380524 h 638175"/>
                <a:gd name="connsiteX831" fmla="*/ 103632 w 400050"/>
                <a:gd name="connsiteY831" fmla="*/ 389477 h 638175"/>
                <a:gd name="connsiteX832" fmla="*/ 98870 w 400050"/>
                <a:gd name="connsiteY832" fmla="*/ 396335 h 638175"/>
                <a:gd name="connsiteX833" fmla="*/ 85820 w 400050"/>
                <a:gd name="connsiteY833" fmla="*/ 415576 h 638175"/>
                <a:gd name="connsiteX834" fmla="*/ 81725 w 400050"/>
                <a:gd name="connsiteY834" fmla="*/ 421100 h 638175"/>
                <a:gd name="connsiteX835" fmla="*/ 76962 w 400050"/>
                <a:gd name="connsiteY835" fmla="*/ 428625 h 638175"/>
                <a:gd name="connsiteX836" fmla="*/ 75628 w 400050"/>
                <a:gd name="connsiteY836" fmla="*/ 427958 h 638175"/>
                <a:gd name="connsiteX837" fmla="*/ 73533 w 400050"/>
                <a:gd name="connsiteY837" fmla="*/ 431387 h 638175"/>
                <a:gd name="connsiteX838" fmla="*/ 74200 w 400050"/>
                <a:gd name="connsiteY838" fmla="*/ 433483 h 638175"/>
                <a:gd name="connsiteX839" fmla="*/ 72104 w 400050"/>
                <a:gd name="connsiteY839" fmla="*/ 438245 h 638175"/>
                <a:gd name="connsiteX840" fmla="*/ 56293 w 400050"/>
                <a:gd name="connsiteY840" fmla="*/ 469773 h 638175"/>
                <a:gd name="connsiteX841" fmla="*/ 56293 w 400050"/>
                <a:gd name="connsiteY841" fmla="*/ 470440 h 638175"/>
                <a:gd name="connsiteX842" fmla="*/ 54959 w 400050"/>
                <a:gd name="connsiteY842" fmla="*/ 473869 h 638175"/>
                <a:gd name="connsiteX843" fmla="*/ 53626 w 400050"/>
                <a:gd name="connsiteY843" fmla="*/ 475964 h 638175"/>
                <a:gd name="connsiteX844" fmla="*/ 51530 w 400050"/>
                <a:gd name="connsiteY844" fmla="*/ 480060 h 638175"/>
                <a:gd name="connsiteX845" fmla="*/ 52197 w 400050"/>
                <a:gd name="connsiteY845" fmla="*/ 482156 h 638175"/>
                <a:gd name="connsiteX846" fmla="*/ 50102 w 400050"/>
                <a:gd name="connsiteY846" fmla="*/ 483489 h 638175"/>
                <a:gd name="connsiteX847" fmla="*/ 50102 w 400050"/>
                <a:gd name="connsiteY847" fmla="*/ 485585 h 638175"/>
                <a:gd name="connsiteX848" fmla="*/ 48768 w 400050"/>
                <a:gd name="connsiteY848" fmla="*/ 488347 h 638175"/>
                <a:gd name="connsiteX849" fmla="*/ 48768 w 400050"/>
                <a:gd name="connsiteY849" fmla="*/ 490442 h 638175"/>
                <a:gd name="connsiteX850" fmla="*/ 48101 w 400050"/>
                <a:gd name="connsiteY850" fmla="*/ 494538 h 638175"/>
                <a:gd name="connsiteX851" fmla="*/ 46768 w 400050"/>
                <a:gd name="connsiteY851" fmla="*/ 499301 h 638175"/>
                <a:gd name="connsiteX852" fmla="*/ 45434 w 400050"/>
                <a:gd name="connsiteY852" fmla="*/ 501396 h 638175"/>
                <a:gd name="connsiteX853" fmla="*/ 46101 w 400050"/>
                <a:gd name="connsiteY853" fmla="*/ 504158 h 638175"/>
                <a:gd name="connsiteX854" fmla="*/ 46768 w 400050"/>
                <a:gd name="connsiteY854" fmla="*/ 504825 h 638175"/>
                <a:gd name="connsiteX855" fmla="*/ 47435 w 400050"/>
                <a:gd name="connsiteY855" fmla="*/ 506159 h 638175"/>
                <a:gd name="connsiteX856" fmla="*/ 44672 w 400050"/>
                <a:gd name="connsiteY856" fmla="*/ 517112 h 638175"/>
                <a:gd name="connsiteX857" fmla="*/ 45339 w 400050"/>
                <a:gd name="connsiteY857" fmla="*/ 521208 h 638175"/>
                <a:gd name="connsiteX858" fmla="*/ 46673 w 400050"/>
                <a:gd name="connsiteY858" fmla="*/ 530828 h 638175"/>
                <a:gd name="connsiteX859" fmla="*/ 44577 w 400050"/>
                <a:gd name="connsiteY859" fmla="*/ 535591 h 638175"/>
                <a:gd name="connsiteX860" fmla="*/ 44577 w 400050"/>
                <a:gd name="connsiteY860" fmla="*/ 539687 h 638175"/>
                <a:gd name="connsiteX861" fmla="*/ 45244 w 400050"/>
                <a:gd name="connsiteY861" fmla="*/ 543116 h 638175"/>
                <a:gd name="connsiteX862" fmla="*/ 44577 w 400050"/>
                <a:gd name="connsiteY862" fmla="*/ 545211 h 638175"/>
                <a:gd name="connsiteX863" fmla="*/ 43910 w 400050"/>
                <a:gd name="connsiteY863" fmla="*/ 545211 h 638175"/>
                <a:gd name="connsiteX864" fmla="*/ 42577 w 400050"/>
                <a:gd name="connsiteY864" fmla="*/ 546545 h 638175"/>
                <a:gd name="connsiteX865" fmla="*/ 46006 w 400050"/>
                <a:gd name="connsiteY865" fmla="*/ 552069 h 638175"/>
                <a:gd name="connsiteX866" fmla="*/ 45339 w 400050"/>
                <a:gd name="connsiteY866" fmla="*/ 553403 h 638175"/>
                <a:gd name="connsiteX867" fmla="*/ 45339 w 400050"/>
                <a:gd name="connsiteY867" fmla="*/ 556832 h 638175"/>
                <a:gd name="connsiteX868" fmla="*/ 44672 w 400050"/>
                <a:gd name="connsiteY868" fmla="*/ 558165 h 638175"/>
                <a:gd name="connsiteX869" fmla="*/ 46768 w 400050"/>
                <a:gd name="connsiteY869" fmla="*/ 565690 h 638175"/>
                <a:gd name="connsiteX870" fmla="*/ 45434 w 400050"/>
                <a:gd name="connsiteY870" fmla="*/ 566357 h 638175"/>
                <a:gd name="connsiteX871" fmla="*/ 50197 w 400050"/>
                <a:gd name="connsiteY871" fmla="*/ 569786 h 638175"/>
                <a:gd name="connsiteX872" fmla="*/ 52292 w 400050"/>
                <a:gd name="connsiteY872" fmla="*/ 572548 h 638175"/>
                <a:gd name="connsiteX873" fmla="*/ 52292 w 400050"/>
                <a:gd name="connsiteY873" fmla="*/ 575310 h 638175"/>
                <a:gd name="connsiteX874" fmla="*/ 50959 w 400050"/>
                <a:gd name="connsiteY874" fmla="*/ 581501 h 638175"/>
                <a:gd name="connsiteX875" fmla="*/ 54388 w 400050"/>
                <a:gd name="connsiteY875" fmla="*/ 588359 h 638175"/>
                <a:gd name="connsiteX876" fmla="*/ 53721 w 400050"/>
                <a:gd name="connsiteY876" fmla="*/ 589693 h 638175"/>
                <a:gd name="connsiteX877" fmla="*/ 64008 w 400050"/>
                <a:gd name="connsiteY877" fmla="*/ 599980 h 638175"/>
                <a:gd name="connsiteX878" fmla="*/ 61246 w 400050"/>
                <a:gd name="connsiteY878" fmla="*/ 599313 h 638175"/>
                <a:gd name="connsiteX879" fmla="*/ 59912 w 400050"/>
                <a:gd name="connsiteY879" fmla="*/ 599980 h 638175"/>
                <a:gd name="connsiteX880" fmla="*/ 64675 w 400050"/>
                <a:gd name="connsiteY880" fmla="*/ 606838 h 638175"/>
                <a:gd name="connsiteX881" fmla="*/ 66770 w 400050"/>
                <a:gd name="connsiteY881" fmla="*/ 606838 h 638175"/>
                <a:gd name="connsiteX882" fmla="*/ 70199 w 400050"/>
                <a:gd name="connsiteY882" fmla="*/ 609600 h 638175"/>
                <a:gd name="connsiteX883" fmla="*/ 72962 w 400050"/>
                <a:gd name="connsiteY883" fmla="*/ 610934 h 638175"/>
                <a:gd name="connsiteX884" fmla="*/ 74295 w 400050"/>
                <a:gd name="connsiteY884" fmla="*/ 611600 h 638175"/>
                <a:gd name="connsiteX885" fmla="*/ 80486 w 400050"/>
                <a:gd name="connsiteY885" fmla="*/ 614363 h 638175"/>
                <a:gd name="connsiteX886" fmla="*/ 90107 w 400050"/>
                <a:gd name="connsiteY886" fmla="*/ 613696 h 638175"/>
                <a:gd name="connsiteX887" fmla="*/ 117539 w 400050"/>
                <a:gd name="connsiteY887" fmla="*/ 602742 h 638175"/>
                <a:gd name="connsiteX888" fmla="*/ 124397 w 400050"/>
                <a:gd name="connsiteY888" fmla="*/ 599313 h 638175"/>
                <a:gd name="connsiteX889" fmla="*/ 125730 w 400050"/>
                <a:gd name="connsiteY889" fmla="*/ 599980 h 638175"/>
                <a:gd name="connsiteX890" fmla="*/ 147638 w 400050"/>
                <a:gd name="connsiteY890" fmla="*/ 583502 h 638175"/>
                <a:gd name="connsiteX891" fmla="*/ 148971 w 400050"/>
                <a:gd name="connsiteY891" fmla="*/ 584168 h 638175"/>
                <a:gd name="connsiteX892" fmla="*/ 160592 w 400050"/>
                <a:gd name="connsiteY892" fmla="*/ 569119 h 638175"/>
                <a:gd name="connsiteX893" fmla="*/ 161258 w 400050"/>
                <a:gd name="connsiteY893" fmla="*/ 567023 h 638175"/>
                <a:gd name="connsiteX894" fmla="*/ 162592 w 400050"/>
                <a:gd name="connsiteY894" fmla="*/ 567023 h 638175"/>
                <a:gd name="connsiteX895" fmla="*/ 175641 w 400050"/>
                <a:gd name="connsiteY895" fmla="*/ 553307 h 638175"/>
                <a:gd name="connsiteX896" fmla="*/ 197549 w 400050"/>
                <a:gd name="connsiteY896" fmla="*/ 514255 h 638175"/>
                <a:gd name="connsiteX897" fmla="*/ 198882 w 400050"/>
                <a:gd name="connsiteY897" fmla="*/ 513588 h 638175"/>
                <a:gd name="connsiteX898" fmla="*/ 206407 w 400050"/>
                <a:gd name="connsiteY898" fmla="*/ 503301 h 638175"/>
                <a:gd name="connsiteX899" fmla="*/ 207074 w 400050"/>
                <a:gd name="connsiteY899" fmla="*/ 502634 h 638175"/>
                <a:gd name="connsiteX900" fmla="*/ 217360 w 400050"/>
                <a:gd name="connsiteY900" fmla="*/ 478631 h 638175"/>
                <a:gd name="connsiteX901" fmla="*/ 235172 w 400050"/>
                <a:gd name="connsiteY901" fmla="*/ 443008 h 638175"/>
                <a:gd name="connsiteX902" fmla="*/ 248888 w 400050"/>
                <a:gd name="connsiteY902" fmla="*/ 404622 h 638175"/>
                <a:gd name="connsiteX903" fmla="*/ 251651 w 400050"/>
                <a:gd name="connsiteY903" fmla="*/ 392240 h 638175"/>
                <a:gd name="connsiteX904" fmla="*/ 260604 w 400050"/>
                <a:gd name="connsiteY904" fmla="*/ 366141 h 638175"/>
                <a:gd name="connsiteX905" fmla="*/ 260604 w 400050"/>
                <a:gd name="connsiteY905" fmla="*/ 361379 h 638175"/>
                <a:gd name="connsiteX906" fmla="*/ 266129 w 400050"/>
                <a:gd name="connsiteY906" fmla="*/ 345567 h 638175"/>
                <a:gd name="connsiteX907" fmla="*/ 265462 w 400050"/>
                <a:gd name="connsiteY907" fmla="*/ 338709 h 638175"/>
                <a:gd name="connsiteX908" fmla="*/ 269558 w 400050"/>
                <a:gd name="connsiteY908" fmla="*/ 329756 h 638175"/>
                <a:gd name="connsiteX909" fmla="*/ 270891 w 400050"/>
                <a:gd name="connsiteY909" fmla="*/ 324231 h 638175"/>
                <a:gd name="connsiteX910" fmla="*/ 270891 w 400050"/>
                <a:gd name="connsiteY910" fmla="*/ 322136 h 638175"/>
                <a:gd name="connsiteX911" fmla="*/ 275654 w 400050"/>
                <a:gd name="connsiteY911" fmla="*/ 299466 h 638175"/>
                <a:gd name="connsiteX912" fmla="*/ 275654 w 400050"/>
                <a:gd name="connsiteY912" fmla="*/ 295370 h 638175"/>
                <a:gd name="connsiteX913" fmla="*/ 279083 w 400050"/>
                <a:gd name="connsiteY913" fmla="*/ 280988 h 638175"/>
                <a:gd name="connsiteX914" fmla="*/ 279083 w 400050"/>
                <a:gd name="connsiteY914" fmla="*/ 279654 h 638175"/>
                <a:gd name="connsiteX915" fmla="*/ 278416 w 400050"/>
                <a:gd name="connsiteY915" fmla="*/ 275558 h 638175"/>
                <a:gd name="connsiteX916" fmla="*/ 281845 w 400050"/>
                <a:gd name="connsiteY916" fmla="*/ 263938 h 638175"/>
                <a:gd name="connsiteX917" fmla="*/ 281845 w 400050"/>
                <a:gd name="connsiteY917" fmla="*/ 261176 h 638175"/>
                <a:gd name="connsiteX918" fmla="*/ 281273 w 400050"/>
                <a:gd name="connsiteY918" fmla="*/ 259175 h 638175"/>
                <a:gd name="connsiteX919" fmla="*/ 47339 w 400050"/>
                <a:gd name="connsiteY919" fmla="*/ 419672 h 638175"/>
                <a:gd name="connsiteX920" fmla="*/ 48006 w 400050"/>
                <a:gd name="connsiteY920" fmla="*/ 421005 h 638175"/>
                <a:gd name="connsiteX921" fmla="*/ 48006 w 400050"/>
                <a:gd name="connsiteY921" fmla="*/ 418910 h 638175"/>
                <a:gd name="connsiteX922" fmla="*/ 47339 w 400050"/>
                <a:gd name="connsiteY922" fmla="*/ 419672 h 638175"/>
                <a:gd name="connsiteX923" fmla="*/ 50768 w 400050"/>
                <a:gd name="connsiteY923" fmla="*/ 598646 h 638175"/>
                <a:gd name="connsiteX924" fmla="*/ 48673 w 400050"/>
                <a:gd name="connsiteY924" fmla="*/ 595884 h 638175"/>
                <a:gd name="connsiteX925" fmla="*/ 47339 w 400050"/>
                <a:gd name="connsiteY925" fmla="*/ 597218 h 638175"/>
                <a:gd name="connsiteX926" fmla="*/ 49435 w 400050"/>
                <a:gd name="connsiteY926" fmla="*/ 601313 h 638175"/>
                <a:gd name="connsiteX927" fmla="*/ 50768 w 400050"/>
                <a:gd name="connsiteY927" fmla="*/ 601980 h 638175"/>
                <a:gd name="connsiteX928" fmla="*/ 50768 w 400050"/>
                <a:gd name="connsiteY928" fmla="*/ 598646 h 638175"/>
                <a:gd name="connsiteX929" fmla="*/ 48101 w 400050"/>
                <a:gd name="connsiteY929" fmla="*/ 404622 h 638175"/>
                <a:gd name="connsiteX930" fmla="*/ 48768 w 400050"/>
                <a:gd name="connsiteY930" fmla="*/ 403289 h 638175"/>
                <a:gd name="connsiteX931" fmla="*/ 50102 w 400050"/>
                <a:gd name="connsiteY931" fmla="*/ 403955 h 638175"/>
                <a:gd name="connsiteX932" fmla="*/ 48006 w 400050"/>
                <a:gd name="connsiteY932" fmla="*/ 405289 h 638175"/>
                <a:gd name="connsiteX933" fmla="*/ 48006 w 400050"/>
                <a:gd name="connsiteY933" fmla="*/ 404622 h 638175"/>
                <a:gd name="connsiteX934" fmla="*/ 54959 w 400050"/>
                <a:gd name="connsiteY934" fmla="*/ 424434 h 638175"/>
                <a:gd name="connsiteX935" fmla="*/ 56293 w 400050"/>
                <a:gd name="connsiteY935" fmla="*/ 423767 h 638175"/>
                <a:gd name="connsiteX936" fmla="*/ 54959 w 400050"/>
                <a:gd name="connsiteY936" fmla="*/ 423101 h 638175"/>
                <a:gd name="connsiteX937" fmla="*/ 54293 w 400050"/>
                <a:gd name="connsiteY937" fmla="*/ 423101 h 638175"/>
                <a:gd name="connsiteX938" fmla="*/ 54959 w 400050"/>
                <a:gd name="connsiteY938" fmla="*/ 424434 h 638175"/>
                <a:gd name="connsiteX939" fmla="*/ 54959 w 400050"/>
                <a:gd name="connsiteY939" fmla="*/ 395002 h 638175"/>
                <a:gd name="connsiteX940" fmla="*/ 54959 w 400050"/>
                <a:gd name="connsiteY940" fmla="*/ 394335 h 638175"/>
                <a:gd name="connsiteX941" fmla="*/ 56293 w 400050"/>
                <a:gd name="connsiteY941" fmla="*/ 392240 h 638175"/>
                <a:gd name="connsiteX942" fmla="*/ 56960 w 400050"/>
                <a:gd name="connsiteY942" fmla="*/ 392906 h 638175"/>
                <a:gd name="connsiteX943" fmla="*/ 56960 w 400050"/>
                <a:gd name="connsiteY943" fmla="*/ 395002 h 638175"/>
                <a:gd name="connsiteX944" fmla="*/ 54959 w 400050"/>
                <a:gd name="connsiteY944" fmla="*/ 395002 h 638175"/>
                <a:gd name="connsiteX945" fmla="*/ 58388 w 400050"/>
                <a:gd name="connsiteY945" fmla="*/ 608267 h 638175"/>
                <a:gd name="connsiteX946" fmla="*/ 57722 w 400050"/>
                <a:gd name="connsiteY946" fmla="*/ 607600 h 638175"/>
                <a:gd name="connsiteX947" fmla="*/ 55626 w 400050"/>
                <a:gd name="connsiteY947" fmla="*/ 607600 h 638175"/>
                <a:gd name="connsiteX948" fmla="*/ 54959 w 400050"/>
                <a:gd name="connsiteY948" fmla="*/ 608267 h 638175"/>
                <a:gd name="connsiteX949" fmla="*/ 58388 w 400050"/>
                <a:gd name="connsiteY949" fmla="*/ 609600 h 638175"/>
                <a:gd name="connsiteX950" fmla="*/ 58388 w 400050"/>
                <a:gd name="connsiteY950" fmla="*/ 608267 h 638175"/>
                <a:gd name="connsiteX951" fmla="*/ 55626 w 400050"/>
                <a:gd name="connsiteY951" fmla="*/ 600742 h 638175"/>
                <a:gd name="connsiteX952" fmla="*/ 56293 w 400050"/>
                <a:gd name="connsiteY952" fmla="*/ 600742 h 638175"/>
                <a:gd name="connsiteX953" fmla="*/ 55626 w 400050"/>
                <a:gd name="connsiteY953" fmla="*/ 600075 h 638175"/>
                <a:gd name="connsiteX954" fmla="*/ 55626 w 400050"/>
                <a:gd name="connsiteY954" fmla="*/ 600742 h 638175"/>
                <a:gd name="connsiteX955" fmla="*/ 58388 w 400050"/>
                <a:gd name="connsiteY955" fmla="*/ 410051 h 638175"/>
                <a:gd name="connsiteX956" fmla="*/ 59722 w 400050"/>
                <a:gd name="connsiteY956" fmla="*/ 407956 h 638175"/>
                <a:gd name="connsiteX957" fmla="*/ 59055 w 400050"/>
                <a:gd name="connsiteY957" fmla="*/ 410718 h 638175"/>
                <a:gd name="connsiteX958" fmla="*/ 56960 w 400050"/>
                <a:gd name="connsiteY958" fmla="*/ 410051 h 638175"/>
                <a:gd name="connsiteX959" fmla="*/ 58388 w 400050"/>
                <a:gd name="connsiteY959" fmla="*/ 410051 h 638175"/>
                <a:gd name="connsiteX960" fmla="*/ 59055 w 400050"/>
                <a:gd name="connsiteY960" fmla="*/ 399097 h 638175"/>
                <a:gd name="connsiteX961" fmla="*/ 59722 w 400050"/>
                <a:gd name="connsiteY961" fmla="*/ 398431 h 638175"/>
                <a:gd name="connsiteX962" fmla="*/ 60389 w 400050"/>
                <a:gd name="connsiteY962" fmla="*/ 399097 h 638175"/>
                <a:gd name="connsiteX963" fmla="*/ 59722 w 400050"/>
                <a:gd name="connsiteY963" fmla="*/ 400431 h 638175"/>
                <a:gd name="connsiteX964" fmla="*/ 61055 w 400050"/>
                <a:gd name="connsiteY964" fmla="*/ 403193 h 638175"/>
                <a:gd name="connsiteX965" fmla="*/ 58960 w 400050"/>
                <a:gd name="connsiteY965" fmla="*/ 405956 h 638175"/>
                <a:gd name="connsiteX966" fmla="*/ 57626 w 400050"/>
                <a:gd name="connsiteY966" fmla="*/ 405289 h 638175"/>
                <a:gd name="connsiteX967" fmla="*/ 58960 w 400050"/>
                <a:gd name="connsiteY967" fmla="*/ 403955 h 638175"/>
                <a:gd name="connsiteX968" fmla="*/ 57626 w 400050"/>
                <a:gd name="connsiteY968" fmla="*/ 402622 h 638175"/>
                <a:gd name="connsiteX969" fmla="*/ 59055 w 400050"/>
                <a:gd name="connsiteY969" fmla="*/ 399097 h 638175"/>
                <a:gd name="connsiteX970" fmla="*/ 60389 w 400050"/>
                <a:gd name="connsiteY970" fmla="*/ 604838 h 638175"/>
                <a:gd name="connsiteX971" fmla="*/ 58293 w 400050"/>
                <a:gd name="connsiteY971" fmla="*/ 605504 h 638175"/>
                <a:gd name="connsiteX972" fmla="*/ 60389 w 400050"/>
                <a:gd name="connsiteY972" fmla="*/ 607600 h 638175"/>
                <a:gd name="connsiteX973" fmla="*/ 61055 w 400050"/>
                <a:gd name="connsiteY973" fmla="*/ 607600 h 638175"/>
                <a:gd name="connsiteX974" fmla="*/ 60389 w 400050"/>
                <a:gd name="connsiteY974" fmla="*/ 604838 h 638175"/>
                <a:gd name="connsiteX975" fmla="*/ 61055 w 400050"/>
                <a:gd name="connsiteY975" fmla="*/ 395669 h 638175"/>
                <a:gd name="connsiteX976" fmla="*/ 62389 w 400050"/>
                <a:gd name="connsiteY976" fmla="*/ 395669 h 638175"/>
                <a:gd name="connsiteX977" fmla="*/ 62389 w 400050"/>
                <a:gd name="connsiteY977" fmla="*/ 397002 h 638175"/>
                <a:gd name="connsiteX978" fmla="*/ 61055 w 400050"/>
                <a:gd name="connsiteY978" fmla="*/ 395669 h 638175"/>
                <a:gd name="connsiteX979" fmla="*/ 62484 w 400050"/>
                <a:gd name="connsiteY979" fmla="*/ 399097 h 638175"/>
                <a:gd name="connsiteX980" fmla="*/ 63818 w 400050"/>
                <a:gd name="connsiteY980" fmla="*/ 399764 h 638175"/>
                <a:gd name="connsiteX981" fmla="*/ 63151 w 400050"/>
                <a:gd name="connsiteY981" fmla="*/ 399764 h 638175"/>
                <a:gd name="connsiteX982" fmla="*/ 63151 w 400050"/>
                <a:gd name="connsiteY982" fmla="*/ 400431 h 638175"/>
                <a:gd name="connsiteX983" fmla="*/ 62484 w 400050"/>
                <a:gd name="connsiteY983" fmla="*/ 399097 h 638175"/>
                <a:gd name="connsiteX984" fmla="*/ 66580 w 400050"/>
                <a:gd name="connsiteY984" fmla="*/ 391573 h 638175"/>
                <a:gd name="connsiteX985" fmla="*/ 67247 w 400050"/>
                <a:gd name="connsiteY985" fmla="*/ 391573 h 638175"/>
                <a:gd name="connsiteX986" fmla="*/ 65913 w 400050"/>
                <a:gd name="connsiteY986" fmla="*/ 393668 h 638175"/>
                <a:gd name="connsiteX987" fmla="*/ 65246 w 400050"/>
                <a:gd name="connsiteY987" fmla="*/ 392335 h 638175"/>
                <a:gd name="connsiteX988" fmla="*/ 63913 w 400050"/>
                <a:gd name="connsiteY988" fmla="*/ 392335 h 638175"/>
                <a:gd name="connsiteX989" fmla="*/ 66580 w 400050"/>
                <a:gd name="connsiteY989" fmla="*/ 391573 h 638175"/>
                <a:gd name="connsiteX990" fmla="*/ 66580 w 400050"/>
                <a:gd name="connsiteY990" fmla="*/ 394240 h 638175"/>
                <a:gd name="connsiteX991" fmla="*/ 66580 w 400050"/>
                <a:gd name="connsiteY991" fmla="*/ 395573 h 638175"/>
                <a:gd name="connsiteX992" fmla="*/ 64484 w 400050"/>
                <a:gd name="connsiteY992" fmla="*/ 397669 h 638175"/>
                <a:gd name="connsiteX993" fmla="*/ 63818 w 400050"/>
                <a:gd name="connsiteY993" fmla="*/ 396335 h 638175"/>
                <a:gd name="connsiteX994" fmla="*/ 66580 w 400050"/>
                <a:gd name="connsiteY994" fmla="*/ 394240 h 638175"/>
                <a:gd name="connsiteX995" fmla="*/ 65913 w 400050"/>
                <a:gd name="connsiteY995" fmla="*/ 386048 h 638175"/>
                <a:gd name="connsiteX996" fmla="*/ 66580 w 400050"/>
                <a:gd name="connsiteY996" fmla="*/ 385382 h 638175"/>
                <a:gd name="connsiteX997" fmla="*/ 68675 w 400050"/>
                <a:gd name="connsiteY997" fmla="*/ 386715 h 638175"/>
                <a:gd name="connsiteX998" fmla="*/ 70009 w 400050"/>
                <a:gd name="connsiteY998" fmla="*/ 386048 h 638175"/>
                <a:gd name="connsiteX999" fmla="*/ 70009 w 400050"/>
                <a:gd name="connsiteY999" fmla="*/ 384715 h 638175"/>
                <a:gd name="connsiteX1000" fmla="*/ 72104 w 400050"/>
                <a:gd name="connsiteY1000" fmla="*/ 386048 h 638175"/>
                <a:gd name="connsiteX1001" fmla="*/ 70009 w 400050"/>
                <a:gd name="connsiteY1001" fmla="*/ 388144 h 638175"/>
                <a:gd name="connsiteX1002" fmla="*/ 70009 w 400050"/>
                <a:gd name="connsiteY1002" fmla="*/ 388811 h 638175"/>
                <a:gd name="connsiteX1003" fmla="*/ 72104 w 400050"/>
                <a:gd name="connsiteY1003" fmla="*/ 388811 h 638175"/>
                <a:gd name="connsiteX1004" fmla="*/ 70771 w 400050"/>
                <a:gd name="connsiteY1004" fmla="*/ 390144 h 638175"/>
                <a:gd name="connsiteX1005" fmla="*/ 67342 w 400050"/>
                <a:gd name="connsiteY1005" fmla="*/ 387382 h 638175"/>
                <a:gd name="connsiteX1006" fmla="*/ 66008 w 400050"/>
                <a:gd name="connsiteY1006" fmla="*/ 388049 h 638175"/>
                <a:gd name="connsiteX1007" fmla="*/ 65341 w 400050"/>
                <a:gd name="connsiteY1007" fmla="*/ 387382 h 638175"/>
                <a:gd name="connsiteX1008" fmla="*/ 65913 w 400050"/>
                <a:gd name="connsiteY1008" fmla="*/ 386048 h 638175"/>
                <a:gd name="connsiteX1009" fmla="*/ 65913 w 400050"/>
                <a:gd name="connsiteY1009" fmla="*/ 381286 h 638175"/>
                <a:gd name="connsiteX1010" fmla="*/ 66580 w 400050"/>
                <a:gd name="connsiteY1010" fmla="*/ 379190 h 638175"/>
                <a:gd name="connsiteX1011" fmla="*/ 67247 w 400050"/>
                <a:gd name="connsiteY1011" fmla="*/ 380524 h 638175"/>
                <a:gd name="connsiteX1012" fmla="*/ 66580 w 400050"/>
                <a:gd name="connsiteY1012" fmla="*/ 381857 h 638175"/>
                <a:gd name="connsiteX1013" fmla="*/ 65913 w 400050"/>
                <a:gd name="connsiteY1013" fmla="*/ 381286 h 638175"/>
                <a:gd name="connsiteX1014" fmla="*/ 74105 w 400050"/>
                <a:gd name="connsiteY1014" fmla="*/ 395669 h 638175"/>
                <a:gd name="connsiteX1015" fmla="*/ 75438 w 400050"/>
                <a:gd name="connsiteY1015" fmla="*/ 397002 h 638175"/>
                <a:gd name="connsiteX1016" fmla="*/ 76772 w 400050"/>
                <a:gd name="connsiteY1016" fmla="*/ 395669 h 638175"/>
                <a:gd name="connsiteX1017" fmla="*/ 76105 w 400050"/>
                <a:gd name="connsiteY1017" fmla="*/ 394335 h 638175"/>
                <a:gd name="connsiteX1018" fmla="*/ 75438 w 400050"/>
                <a:gd name="connsiteY1018" fmla="*/ 394335 h 638175"/>
                <a:gd name="connsiteX1019" fmla="*/ 74105 w 400050"/>
                <a:gd name="connsiteY1019" fmla="*/ 395669 h 638175"/>
                <a:gd name="connsiteX1020" fmla="*/ 76200 w 400050"/>
                <a:gd name="connsiteY1020" fmla="*/ 380524 h 638175"/>
                <a:gd name="connsiteX1021" fmla="*/ 77534 w 400050"/>
                <a:gd name="connsiteY1021" fmla="*/ 381857 h 638175"/>
                <a:gd name="connsiteX1022" fmla="*/ 76867 w 400050"/>
                <a:gd name="connsiteY1022" fmla="*/ 383191 h 638175"/>
                <a:gd name="connsiteX1023" fmla="*/ 75533 w 400050"/>
                <a:gd name="connsiteY1023" fmla="*/ 384524 h 638175"/>
                <a:gd name="connsiteX1024" fmla="*/ 74867 w 400050"/>
                <a:gd name="connsiteY1024" fmla="*/ 383858 h 638175"/>
                <a:gd name="connsiteX1025" fmla="*/ 76200 w 400050"/>
                <a:gd name="connsiteY1025" fmla="*/ 380524 h 638175"/>
                <a:gd name="connsiteX1026" fmla="*/ 76200 w 400050"/>
                <a:gd name="connsiteY1026" fmla="*/ 369570 h 638175"/>
                <a:gd name="connsiteX1027" fmla="*/ 75533 w 400050"/>
                <a:gd name="connsiteY1027" fmla="*/ 368237 h 638175"/>
                <a:gd name="connsiteX1028" fmla="*/ 76867 w 400050"/>
                <a:gd name="connsiteY1028" fmla="*/ 368237 h 638175"/>
                <a:gd name="connsiteX1029" fmla="*/ 76200 w 400050"/>
                <a:gd name="connsiteY1029" fmla="*/ 369570 h 638175"/>
                <a:gd name="connsiteX1030" fmla="*/ 82391 w 400050"/>
                <a:gd name="connsiteY1030" fmla="*/ 371666 h 638175"/>
                <a:gd name="connsiteX1031" fmla="*/ 82391 w 400050"/>
                <a:gd name="connsiteY1031" fmla="*/ 372999 h 638175"/>
                <a:gd name="connsiteX1032" fmla="*/ 83058 w 400050"/>
                <a:gd name="connsiteY1032" fmla="*/ 374333 h 638175"/>
                <a:gd name="connsiteX1033" fmla="*/ 80963 w 400050"/>
                <a:gd name="connsiteY1033" fmla="*/ 377762 h 638175"/>
                <a:gd name="connsiteX1034" fmla="*/ 79629 w 400050"/>
                <a:gd name="connsiteY1034" fmla="*/ 377095 h 638175"/>
                <a:gd name="connsiteX1035" fmla="*/ 79629 w 400050"/>
                <a:gd name="connsiteY1035" fmla="*/ 379190 h 638175"/>
                <a:gd name="connsiteX1036" fmla="*/ 78962 w 400050"/>
                <a:gd name="connsiteY1036" fmla="*/ 379857 h 638175"/>
                <a:gd name="connsiteX1037" fmla="*/ 76200 w 400050"/>
                <a:gd name="connsiteY1037" fmla="*/ 378524 h 638175"/>
                <a:gd name="connsiteX1038" fmla="*/ 82391 w 400050"/>
                <a:gd name="connsiteY1038" fmla="*/ 371666 h 638175"/>
                <a:gd name="connsiteX1039" fmla="*/ 80963 w 400050"/>
                <a:gd name="connsiteY1039" fmla="*/ 363379 h 638175"/>
                <a:gd name="connsiteX1040" fmla="*/ 80963 w 400050"/>
                <a:gd name="connsiteY1040" fmla="*/ 366141 h 638175"/>
                <a:gd name="connsiteX1041" fmla="*/ 79629 w 400050"/>
                <a:gd name="connsiteY1041" fmla="*/ 364046 h 638175"/>
                <a:gd name="connsiteX1042" fmla="*/ 80296 w 400050"/>
                <a:gd name="connsiteY1042" fmla="*/ 363379 h 638175"/>
                <a:gd name="connsiteX1043" fmla="*/ 80963 w 400050"/>
                <a:gd name="connsiteY1043" fmla="*/ 363379 h 638175"/>
                <a:gd name="connsiteX1044" fmla="*/ 80963 w 400050"/>
                <a:gd name="connsiteY1044" fmla="*/ 363379 h 638175"/>
                <a:gd name="connsiteX1045" fmla="*/ 81629 w 400050"/>
                <a:gd name="connsiteY1045" fmla="*/ 360617 h 638175"/>
                <a:gd name="connsiteX1046" fmla="*/ 82296 w 400050"/>
                <a:gd name="connsiteY1046" fmla="*/ 361283 h 638175"/>
                <a:gd name="connsiteX1047" fmla="*/ 80963 w 400050"/>
                <a:gd name="connsiteY1047" fmla="*/ 363379 h 638175"/>
                <a:gd name="connsiteX1048" fmla="*/ 86487 w 400050"/>
                <a:gd name="connsiteY1048" fmla="*/ 357949 h 638175"/>
                <a:gd name="connsiteX1049" fmla="*/ 85820 w 400050"/>
                <a:gd name="connsiteY1049" fmla="*/ 357283 h 638175"/>
                <a:gd name="connsiteX1050" fmla="*/ 86487 w 400050"/>
                <a:gd name="connsiteY1050" fmla="*/ 357283 h 638175"/>
                <a:gd name="connsiteX1051" fmla="*/ 87154 w 400050"/>
                <a:gd name="connsiteY1051" fmla="*/ 354521 h 638175"/>
                <a:gd name="connsiteX1052" fmla="*/ 86487 w 400050"/>
                <a:gd name="connsiteY1052" fmla="*/ 353187 h 638175"/>
                <a:gd name="connsiteX1053" fmla="*/ 87154 w 400050"/>
                <a:gd name="connsiteY1053" fmla="*/ 352520 h 638175"/>
                <a:gd name="connsiteX1054" fmla="*/ 89249 w 400050"/>
                <a:gd name="connsiteY1054" fmla="*/ 353187 h 638175"/>
                <a:gd name="connsiteX1055" fmla="*/ 89916 w 400050"/>
                <a:gd name="connsiteY1055" fmla="*/ 351092 h 638175"/>
                <a:gd name="connsiteX1056" fmla="*/ 94012 w 400050"/>
                <a:gd name="connsiteY1056" fmla="*/ 347663 h 638175"/>
                <a:gd name="connsiteX1057" fmla="*/ 95345 w 400050"/>
                <a:gd name="connsiteY1057" fmla="*/ 348329 h 638175"/>
                <a:gd name="connsiteX1058" fmla="*/ 96679 w 400050"/>
                <a:gd name="connsiteY1058" fmla="*/ 346234 h 638175"/>
                <a:gd name="connsiteX1059" fmla="*/ 96679 w 400050"/>
                <a:gd name="connsiteY1059" fmla="*/ 348996 h 638175"/>
                <a:gd name="connsiteX1060" fmla="*/ 95345 w 400050"/>
                <a:gd name="connsiteY1060" fmla="*/ 351092 h 638175"/>
                <a:gd name="connsiteX1061" fmla="*/ 92583 w 400050"/>
                <a:gd name="connsiteY1061" fmla="*/ 352425 h 638175"/>
                <a:gd name="connsiteX1062" fmla="*/ 89154 w 400050"/>
                <a:gd name="connsiteY1062" fmla="*/ 357188 h 638175"/>
                <a:gd name="connsiteX1063" fmla="*/ 86487 w 400050"/>
                <a:gd name="connsiteY1063" fmla="*/ 357949 h 638175"/>
                <a:gd name="connsiteX1064" fmla="*/ 87154 w 400050"/>
                <a:gd name="connsiteY1064" fmla="*/ 416909 h 638175"/>
                <a:gd name="connsiteX1065" fmla="*/ 86487 w 400050"/>
                <a:gd name="connsiteY1065" fmla="*/ 421005 h 638175"/>
                <a:gd name="connsiteX1066" fmla="*/ 85820 w 400050"/>
                <a:gd name="connsiteY1066" fmla="*/ 420338 h 638175"/>
                <a:gd name="connsiteX1067" fmla="*/ 87154 w 400050"/>
                <a:gd name="connsiteY1067" fmla="*/ 416909 h 638175"/>
                <a:gd name="connsiteX1068" fmla="*/ 89916 w 400050"/>
                <a:gd name="connsiteY1068" fmla="*/ 412814 h 638175"/>
                <a:gd name="connsiteX1069" fmla="*/ 90583 w 400050"/>
                <a:gd name="connsiteY1069" fmla="*/ 413480 h 638175"/>
                <a:gd name="connsiteX1070" fmla="*/ 90583 w 400050"/>
                <a:gd name="connsiteY1070" fmla="*/ 414147 h 638175"/>
                <a:gd name="connsiteX1071" fmla="*/ 87154 w 400050"/>
                <a:gd name="connsiteY1071" fmla="*/ 416909 h 638175"/>
                <a:gd name="connsiteX1072" fmla="*/ 87821 w 400050"/>
                <a:gd name="connsiteY1072" fmla="*/ 413480 h 638175"/>
                <a:gd name="connsiteX1073" fmla="*/ 89916 w 400050"/>
                <a:gd name="connsiteY1073" fmla="*/ 412814 h 638175"/>
                <a:gd name="connsiteX1074" fmla="*/ 100870 w 400050"/>
                <a:gd name="connsiteY1074" fmla="*/ 357949 h 638175"/>
                <a:gd name="connsiteX1075" fmla="*/ 98774 w 400050"/>
                <a:gd name="connsiteY1075" fmla="*/ 358616 h 638175"/>
                <a:gd name="connsiteX1076" fmla="*/ 102203 w 400050"/>
                <a:gd name="connsiteY1076" fmla="*/ 359950 h 638175"/>
                <a:gd name="connsiteX1077" fmla="*/ 102870 w 400050"/>
                <a:gd name="connsiteY1077" fmla="*/ 359283 h 638175"/>
                <a:gd name="connsiteX1078" fmla="*/ 102870 w 400050"/>
                <a:gd name="connsiteY1078" fmla="*/ 358616 h 638175"/>
                <a:gd name="connsiteX1079" fmla="*/ 100870 w 400050"/>
                <a:gd name="connsiteY1079" fmla="*/ 357949 h 638175"/>
                <a:gd name="connsiteX1080" fmla="*/ 102203 w 400050"/>
                <a:gd name="connsiteY1080" fmla="*/ 356521 h 638175"/>
                <a:gd name="connsiteX1081" fmla="*/ 102870 w 400050"/>
                <a:gd name="connsiteY1081" fmla="*/ 356521 h 638175"/>
                <a:gd name="connsiteX1082" fmla="*/ 106966 w 400050"/>
                <a:gd name="connsiteY1082" fmla="*/ 352425 h 638175"/>
                <a:gd name="connsiteX1083" fmla="*/ 108299 w 400050"/>
                <a:gd name="connsiteY1083" fmla="*/ 350330 h 638175"/>
                <a:gd name="connsiteX1084" fmla="*/ 108966 w 400050"/>
                <a:gd name="connsiteY1084" fmla="*/ 348996 h 638175"/>
                <a:gd name="connsiteX1085" fmla="*/ 108299 w 400050"/>
                <a:gd name="connsiteY1085" fmla="*/ 348996 h 638175"/>
                <a:gd name="connsiteX1086" fmla="*/ 102108 w 400050"/>
                <a:gd name="connsiteY1086" fmla="*/ 354521 h 638175"/>
                <a:gd name="connsiteX1087" fmla="*/ 102108 w 400050"/>
                <a:gd name="connsiteY1087" fmla="*/ 356521 h 638175"/>
                <a:gd name="connsiteX1088" fmla="*/ 102965 w 400050"/>
                <a:gd name="connsiteY1088" fmla="*/ 341471 h 638175"/>
                <a:gd name="connsiteX1089" fmla="*/ 104299 w 400050"/>
                <a:gd name="connsiteY1089" fmla="*/ 338709 h 638175"/>
                <a:gd name="connsiteX1090" fmla="*/ 104299 w 400050"/>
                <a:gd name="connsiteY1090" fmla="*/ 340805 h 638175"/>
                <a:gd name="connsiteX1091" fmla="*/ 102965 w 400050"/>
                <a:gd name="connsiteY1091" fmla="*/ 342138 h 638175"/>
                <a:gd name="connsiteX1092" fmla="*/ 102965 w 400050"/>
                <a:gd name="connsiteY1092" fmla="*/ 341471 h 638175"/>
                <a:gd name="connsiteX1093" fmla="*/ 110490 w 400050"/>
                <a:gd name="connsiteY1093" fmla="*/ 335280 h 638175"/>
                <a:gd name="connsiteX1094" fmla="*/ 108395 w 400050"/>
                <a:gd name="connsiteY1094" fmla="*/ 334613 h 638175"/>
                <a:gd name="connsiteX1095" fmla="*/ 114586 w 400050"/>
                <a:gd name="connsiteY1095" fmla="*/ 327755 h 638175"/>
                <a:gd name="connsiteX1096" fmla="*/ 115253 w 400050"/>
                <a:gd name="connsiteY1096" fmla="*/ 327755 h 638175"/>
                <a:gd name="connsiteX1097" fmla="*/ 112490 w 400050"/>
                <a:gd name="connsiteY1097" fmla="*/ 332518 h 638175"/>
                <a:gd name="connsiteX1098" fmla="*/ 110490 w 400050"/>
                <a:gd name="connsiteY1098" fmla="*/ 335280 h 638175"/>
                <a:gd name="connsiteX1099" fmla="*/ 112490 w 400050"/>
                <a:gd name="connsiteY1099" fmla="*/ 93917 h 638175"/>
                <a:gd name="connsiteX1100" fmla="*/ 115919 w 400050"/>
                <a:gd name="connsiteY1100" fmla="*/ 91154 h 638175"/>
                <a:gd name="connsiteX1101" fmla="*/ 114586 w 400050"/>
                <a:gd name="connsiteY1101" fmla="*/ 91154 h 638175"/>
                <a:gd name="connsiteX1102" fmla="*/ 112490 w 400050"/>
                <a:gd name="connsiteY1102" fmla="*/ 93917 h 638175"/>
                <a:gd name="connsiteX1103" fmla="*/ 115919 w 400050"/>
                <a:gd name="connsiteY1103" fmla="*/ 90488 h 638175"/>
                <a:gd name="connsiteX1104" fmla="*/ 117253 w 400050"/>
                <a:gd name="connsiteY1104" fmla="*/ 89821 h 638175"/>
                <a:gd name="connsiteX1105" fmla="*/ 115919 w 400050"/>
                <a:gd name="connsiteY1105" fmla="*/ 87725 h 638175"/>
                <a:gd name="connsiteX1106" fmla="*/ 115919 w 400050"/>
                <a:gd name="connsiteY1106" fmla="*/ 90488 h 638175"/>
                <a:gd name="connsiteX1107" fmla="*/ 115919 w 400050"/>
                <a:gd name="connsiteY1107" fmla="*/ 342805 h 638175"/>
                <a:gd name="connsiteX1108" fmla="*/ 115919 w 400050"/>
                <a:gd name="connsiteY1108" fmla="*/ 344138 h 638175"/>
                <a:gd name="connsiteX1109" fmla="*/ 116586 w 400050"/>
                <a:gd name="connsiteY1109" fmla="*/ 344805 h 638175"/>
                <a:gd name="connsiteX1110" fmla="*/ 117253 w 400050"/>
                <a:gd name="connsiteY1110" fmla="*/ 344138 h 638175"/>
                <a:gd name="connsiteX1111" fmla="*/ 117253 w 400050"/>
                <a:gd name="connsiteY1111" fmla="*/ 343472 h 638175"/>
                <a:gd name="connsiteX1112" fmla="*/ 124778 w 400050"/>
                <a:gd name="connsiteY1112" fmla="*/ 338709 h 638175"/>
                <a:gd name="connsiteX1113" fmla="*/ 124111 w 400050"/>
                <a:gd name="connsiteY1113" fmla="*/ 337376 h 638175"/>
                <a:gd name="connsiteX1114" fmla="*/ 121349 w 400050"/>
                <a:gd name="connsiteY1114" fmla="*/ 336042 h 638175"/>
                <a:gd name="connsiteX1115" fmla="*/ 116586 w 400050"/>
                <a:gd name="connsiteY1115" fmla="*/ 340805 h 638175"/>
                <a:gd name="connsiteX1116" fmla="*/ 115919 w 400050"/>
                <a:gd name="connsiteY1116" fmla="*/ 342805 h 638175"/>
                <a:gd name="connsiteX1117" fmla="*/ 119348 w 400050"/>
                <a:gd name="connsiteY1117" fmla="*/ 326422 h 638175"/>
                <a:gd name="connsiteX1118" fmla="*/ 118682 w 400050"/>
                <a:gd name="connsiteY1118" fmla="*/ 325755 h 638175"/>
                <a:gd name="connsiteX1119" fmla="*/ 119348 w 400050"/>
                <a:gd name="connsiteY1119" fmla="*/ 325755 h 638175"/>
                <a:gd name="connsiteX1120" fmla="*/ 119348 w 400050"/>
                <a:gd name="connsiteY1120" fmla="*/ 326422 h 638175"/>
                <a:gd name="connsiteX1121" fmla="*/ 122111 w 400050"/>
                <a:gd name="connsiteY1121" fmla="*/ 323660 h 638175"/>
                <a:gd name="connsiteX1122" fmla="*/ 121444 w 400050"/>
                <a:gd name="connsiteY1122" fmla="*/ 322993 h 638175"/>
                <a:gd name="connsiteX1123" fmla="*/ 126206 w 400050"/>
                <a:gd name="connsiteY1123" fmla="*/ 318897 h 638175"/>
                <a:gd name="connsiteX1124" fmla="*/ 124873 w 400050"/>
                <a:gd name="connsiteY1124" fmla="*/ 324422 h 638175"/>
                <a:gd name="connsiteX1125" fmla="*/ 122111 w 400050"/>
                <a:gd name="connsiteY1125" fmla="*/ 323660 h 638175"/>
                <a:gd name="connsiteX1126" fmla="*/ 242126 w 400050"/>
                <a:gd name="connsiteY1126" fmla="*/ 82868 h 638175"/>
                <a:gd name="connsiteX1127" fmla="*/ 238030 w 400050"/>
                <a:gd name="connsiteY1127" fmla="*/ 82868 h 638175"/>
                <a:gd name="connsiteX1128" fmla="*/ 235268 w 400050"/>
                <a:gd name="connsiteY1128" fmla="*/ 78772 h 638175"/>
                <a:gd name="connsiteX1129" fmla="*/ 224981 w 400050"/>
                <a:gd name="connsiteY1129" fmla="*/ 65723 h 638175"/>
                <a:gd name="connsiteX1130" fmla="*/ 226314 w 400050"/>
                <a:gd name="connsiteY1130" fmla="*/ 61627 h 638175"/>
                <a:gd name="connsiteX1131" fmla="*/ 224981 w 400050"/>
                <a:gd name="connsiteY1131" fmla="*/ 58198 h 638175"/>
                <a:gd name="connsiteX1132" fmla="*/ 225647 w 400050"/>
                <a:gd name="connsiteY1132" fmla="*/ 56102 h 638175"/>
                <a:gd name="connsiteX1133" fmla="*/ 224981 w 400050"/>
                <a:gd name="connsiteY1133" fmla="*/ 54769 h 638175"/>
                <a:gd name="connsiteX1134" fmla="*/ 226314 w 400050"/>
                <a:gd name="connsiteY1134" fmla="*/ 53435 h 638175"/>
                <a:gd name="connsiteX1135" fmla="*/ 222885 w 400050"/>
                <a:gd name="connsiteY1135" fmla="*/ 45244 h 638175"/>
                <a:gd name="connsiteX1136" fmla="*/ 223552 w 400050"/>
                <a:gd name="connsiteY1136" fmla="*/ 43148 h 638175"/>
                <a:gd name="connsiteX1137" fmla="*/ 221456 w 400050"/>
                <a:gd name="connsiteY1137" fmla="*/ 36957 h 638175"/>
                <a:gd name="connsiteX1138" fmla="*/ 220123 w 400050"/>
                <a:gd name="connsiteY1138" fmla="*/ 32861 h 638175"/>
                <a:gd name="connsiteX1139" fmla="*/ 218027 w 400050"/>
                <a:gd name="connsiteY1139" fmla="*/ 32195 h 638175"/>
                <a:gd name="connsiteX1140" fmla="*/ 207074 w 400050"/>
                <a:gd name="connsiteY1140" fmla="*/ 39719 h 638175"/>
                <a:gd name="connsiteX1141" fmla="*/ 207074 w 400050"/>
                <a:gd name="connsiteY1141" fmla="*/ 38386 h 638175"/>
                <a:gd name="connsiteX1142" fmla="*/ 208407 w 400050"/>
                <a:gd name="connsiteY1142" fmla="*/ 37719 h 638175"/>
                <a:gd name="connsiteX1143" fmla="*/ 196786 w 400050"/>
                <a:gd name="connsiteY1143" fmla="*/ 49340 h 638175"/>
                <a:gd name="connsiteX1144" fmla="*/ 197453 w 400050"/>
                <a:gd name="connsiteY1144" fmla="*/ 49340 h 638175"/>
                <a:gd name="connsiteX1145" fmla="*/ 198787 w 400050"/>
                <a:gd name="connsiteY1145" fmla="*/ 51435 h 638175"/>
                <a:gd name="connsiteX1146" fmla="*/ 195358 w 400050"/>
                <a:gd name="connsiteY1146" fmla="*/ 50768 h 638175"/>
                <a:gd name="connsiteX1147" fmla="*/ 191929 w 400050"/>
                <a:gd name="connsiteY1147" fmla="*/ 54197 h 638175"/>
                <a:gd name="connsiteX1148" fmla="*/ 189833 w 400050"/>
                <a:gd name="connsiteY1148" fmla="*/ 53531 h 638175"/>
                <a:gd name="connsiteX1149" fmla="*/ 183642 w 400050"/>
                <a:gd name="connsiteY1149" fmla="*/ 65151 h 638175"/>
                <a:gd name="connsiteX1150" fmla="*/ 184309 w 400050"/>
                <a:gd name="connsiteY1150" fmla="*/ 68580 h 638175"/>
                <a:gd name="connsiteX1151" fmla="*/ 182213 w 400050"/>
                <a:gd name="connsiteY1151" fmla="*/ 67247 h 638175"/>
                <a:gd name="connsiteX1152" fmla="*/ 181547 w 400050"/>
                <a:gd name="connsiteY1152" fmla="*/ 65151 h 638175"/>
                <a:gd name="connsiteX1153" fmla="*/ 180213 w 400050"/>
                <a:gd name="connsiteY1153" fmla="*/ 74105 h 638175"/>
                <a:gd name="connsiteX1154" fmla="*/ 179546 w 400050"/>
                <a:gd name="connsiteY1154" fmla="*/ 73438 h 638175"/>
                <a:gd name="connsiteX1155" fmla="*/ 178880 w 400050"/>
                <a:gd name="connsiteY1155" fmla="*/ 73438 h 638175"/>
                <a:gd name="connsiteX1156" fmla="*/ 178880 w 400050"/>
                <a:gd name="connsiteY1156" fmla="*/ 74105 h 638175"/>
                <a:gd name="connsiteX1157" fmla="*/ 175451 w 400050"/>
                <a:gd name="connsiteY1157" fmla="*/ 78867 h 638175"/>
                <a:gd name="connsiteX1158" fmla="*/ 174784 w 400050"/>
                <a:gd name="connsiteY1158" fmla="*/ 78200 h 638175"/>
                <a:gd name="connsiteX1159" fmla="*/ 174117 w 400050"/>
                <a:gd name="connsiteY1159" fmla="*/ 78200 h 638175"/>
                <a:gd name="connsiteX1160" fmla="*/ 174117 w 400050"/>
                <a:gd name="connsiteY1160" fmla="*/ 79534 h 638175"/>
                <a:gd name="connsiteX1161" fmla="*/ 172022 w 400050"/>
                <a:gd name="connsiteY1161" fmla="*/ 80867 h 638175"/>
                <a:gd name="connsiteX1162" fmla="*/ 173355 w 400050"/>
                <a:gd name="connsiteY1162" fmla="*/ 83630 h 638175"/>
                <a:gd name="connsiteX1163" fmla="*/ 172022 w 400050"/>
                <a:gd name="connsiteY1163" fmla="*/ 83630 h 638175"/>
                <a:gd name="connsiteX1164" fmla="*/ 172022 w 400050"/>
                <a:gd name="connsiteY1164" fmla="*/ 82296 h 638175"/>
                <a:gd name="connsiteX1165" fmla="*/ 171545 w 400050"/>
                <a:gd name="connsiteY1165" fmla="*/ 81534 h 638175"/>
                <a:gd name="connsiteX1166" fmla="*/ 161258 w 400050"/>
                <a:gd name="connsiteY1166" fmla="*/ 93917 h 638175"/>
                <a:gd name="connsiteX1167" fmla="*/ 164021 w 400050"/>
                <a:gd name="connsiteY1167" fmla="*/ 97346 h 638175"/>
                <a:gd name="connsiteX1168" fmla="*/ 163354 w 400050"/>
                <a:gd name="connsiteY1168" fmla="*/ 97346 h 638175"/>
                <a:gd name="connsiteX1169" fmla="*/ 162687 w 400050"/>
                <a:gd name="connsiteY1169" fmla="*/ 98679 h 638175"/>
                <a:gd name="connsiteX1170" fmla="*/ 158591 w 400050"/>
                <a:gd name="connsiteY1170" fmla="*/ 104204 h 638175"/>
                <a:gd name="connsiteX1171" fmla="*/ 154496 w 400050"/>
                <a:gd name="connsiteY1171" fmla="*/ 110395 h 638175"/>
                <a:gd name="connsiteX1172" fmla="*/ 153829 w 400050"/>
                <a:gd name="connsiteY1172" fmla="*/ 109728 h 638175"/>
                <a:gd name="connsiteX1173" fmla="*/ 153162 w 400050"/>
                <a:gd name="connsiteY1173" fmla="*/ 110395 h 638175"/>
                <a:gd name="connsiteX1174" fmla="*/ 152495 w 400050"/>
                <a:gd name="connsiteY1174" fmla="*/ 109728 h 638175"/>
                <a:gd name="connsiteX1175" fmla="*/ 152495 w 400050"/>
                <a:gd name="connsiteY1175" fmla="*/ 114491 h 638175"/>
                <a:gd name="connsiteX1176" fmla="*/ 149733 w 400050"/>
                <a:gd name="connsiteY1176" fmla="*/ 115157 h 638175"/>
                <a:gd name="connsiteX1177" fmla="*/ 145637 w 400050"/>
                <a:gd name="connsiteY1177" fmla="*/ 119253 h 638175"/>
                <a:gd name="connsiteX1178" fmla="*/ 145637 w 400050"/>
                <a:gd name="connsiteY1178" fmla="*/ 120587 h 638175"/>
                <a:gd name="connsiteX1179" fmla="*/ 146304 w 400050"/>
                <a:gd name="connsiteY1179" fmla="*/ 121920 h 638175"/>
                <a:gd name="connsiteX1180" fmla="*/ 147638 w 400050"/>
                <a:gd name="connsiteY1180" fmla="*/ 122587 h 638175"/>
                <a:gd name="connsiteX1181" fmla="*/ 145542 w 400050"/>
                <a:gd name="connsiteY1181" fmla="*/ 126683 h 638175"/>
                <a:gd name="connsiteX1182" fmla="*/ 142780 w 400050"/>
                <a:gd name="connsiteY1182" fmla="*/ 126683 h 638175"/>
                <a:gd name="connsiteX1183" fmla="*/ 143447 w 400050"/>
                <a:gd name="connsiteY1183" fmla="*/ 130112 h 638175"/>
                <a:gd name="connsiteX1184" fmla="*/ 135255 w 400050"/>
                <a:gd name="connsiteY1184" fmla="*/ 147923 h 638175"/>
                <a:gd name="connsiteX1185" fmla="*/ 135255 w 400050"/>
                <a:gd name="connsiteY1185" fmla="*/ 152686 h 638175"/>
                <a:gd name="connsiteX1186" fmla="*/ 124301 w 400050"/>
                <a:gd name="connsiteY1186" fmla="*/ 197263 h 638175"/>
                <a:gd name="connsiteX1187" fmla="*/ 124301 w 400050"/>
                <a:gd name="connsiteY1187" fmla="*/ 201359 h 638175"/>
                <a:gd name="connsiteX1188" fmla="*/ 125635 w 400050"/>
                <a:gd name="connsiteY1188" fmla="*/ 206883 h 638175"/>
                <a:gd name="connsiteX1189" fmla="*/ 127730 w 400050"/>
                <a:gd name="connsiteY1189" fmla="*/ 207550 h 638175"/>
                <a:gd name="connsiteX1190" fmla="*/ 134588 w 400050"/>
                <a:gd name="connsiteY1190" fmla="*/ 204121 h 638175"/>
                <a:gd name="connsiteX1191" fmla="*/ 135255 w 400050"/>
                <a:gd name="connsiteY1191" fmla="*/ 200025 h 638175"/>
                <a:gd name="connsiteX1192" fmla="*/ 140780 w 400050"/>
                <a:gd name="connsiteY1192" fmla="*/ 201359 h 638175"/>
                <a:gd name="connsiteX1193" fmla="*/ 138684 w 400050"/>
                <a:gd name="connsiteY1193" fmla="*/ 200025 h 638175"/>
                <a:gd name="connsiteX1194" fmla="*/ 145542 w 400050"/>
                <a:gd name="connsiteY1194" fmla="*/ 192500 h 638175"/>
                <a:gd name="connsiteX1195" fmla="*/ 148304 w 400050"/>
                <a:gd name="connsiteY1195" fmla="*/ 194596 h 638175"/>
                <a:gd name="connsiteX1196" fmla="*/ 148971 w 400050"/>
                <a:gd name="connsiteY1196" fmla="*/ 194596 h 638175"/>
                <a:gd name="connsiteX1197" fmla="*/ 150305 w 400050"/>
                <a:gd name="connsiteY1197" fmla="*/ 189833 h 638175"/>
                <a:gd name="connsiteX1198" fmla="*/ 149638 w 400050"/>
                <a:gd name="connsiteY1198" fmla="*/ 187071 h 638175"/>
                <a:gd name="connsiteX1199" fmla="*/ 150971 w 400050"/>
                <a:gd name="connsiteY1199" fmla="*/ 187071 h 638175"/>
                <a:gd name="connsiteX1200" fmla="*/ 172879 w 400050"/>
                <a:gd name="connsiteY1200" fmla="*/ 168593 h 638175"/>
                <a:gd name="connsiteX1201" fmla="*/ 172879 w 400050"/>
                <a:gd name="connsiteY1201" fmla="*/ 165830 h 638175"/>
                <a:gd name="connsiteX1202" fmla="*/ 176308 w 400050"/>
                <a:gd name="connsiteY1202" fmla="*/ 161735 h 638175"/>
                <a:gd name="connsiteX1203" fmla="*/ 176975 w 400050"/>
                <a:gd name="connsiteY1203" fmla="*/ 161068 h 638175"/>
                <a:gd name="connsiteX1204" fmla="*/ 185166 w 400050"/>
                <a:gd name="connsiteY1204" fmla="*/ 154210 h 638175"/>
                <a:gd name="connsiteX1205" fmla="*/ 186500 w 400050"/>
                <a:gd name="connsiteY1205" fmla="*/ 152876 h 638175"/>
                <a:gd name="connsiteX1206" fmla="*/ 187833 w 400050"/>
                <a:gd name="connsiteY1206" fmla="*/ 150781 h 638175"/>
                <a:gd name="connsiteX1207" fmla="*/ 187166 w 400050"/>
                <a:gd name="connsiteY1207" fmla="*/ 148685 h 638175"/>
                <a:gd name="connsiteX1208" fmla="*/ 194024 w 400050"/>
                <a:gd name="connsiteY1208" fmla="*/ 145256 h 638175"/>
                <a:gd name="connsiteX1209" fmla="*/ 194024 w 400050"/>
                <a:gd name="connsiteY1209" fmla="*/ 142494 h 638175"/>
                <a:gd name="connsiteX1210" fmla="*/ 196120 w 400050"/>
                <a:gd name="connsiteY1210" fmla="*/ 139732 h 638175"/>
                <a:gd name="connsiteX1211" fmla="*/ 196786 w 400050"/>
                <a:gd name="connsiteY1211" fmla="*/ 139065 h 638175"/>
                <a:gd name="connsiteX1212" fmla="*/ 202978 w 400050"/>
                <a:gd name="connsiteY1212" fmla="*/ 132207 h 638175"/>
                <a:gd name="connsiteX1213" fmla="*/ 202978 w 400050"/>
                <a:gd name="connsiteY1213" fmla="*/ 130112 h 638175"/>
                <a:gd name="connsiteX1214" fmla="*/ 208502 w 400050"/>
                <a:gd name="connsiteY1214" fmla="*/ 123254 h 638175"/>
                <a:gd name="connsiteX1215" fmla="*/ 230410 w 400050"/>
                <a:gd name="connsiteY1215" fmla="*/ 103346 h 638175"/>
                <a:gd name="connsiteX1216" fmla="*/ 229743 w 400050"/>
                <a:gd name="connsiteY1216" fmla="*/ 102680 h 638175"/>
                <a:gd name="connsiteX1217" fmla="*/ 235934 w 400050"/>
                <a:gd name="connsiteY1217" fmla="*/ 95822 h 638175"/>
                <a:gd name="connsiteX1218" fmla="*/ 235268 w 400050"/>
                <a:gd name="connsiteY1218" fmla="*/ 91726 h 638175"/>
                <a:gd name="connsiteX1219" fmla="*/ 238030 w 400050"/>
                <a:gd name="connsiteY1219" fmla="*/ 94488 h 638175"/>
                <a:gd name="connsiteX1220" fmla="*/ 238697 w 400050"/>
                <a:gd name="connsiteY1220" fmla="*/ 95155 h 638175"/>
                <a:gd name="connsiteX1221" fmla="*/ 237363 w 400050"/>
                <a:gd name="connsiteY1221" fmla="*/ 96488 h 638175"/>
                <a:gd name="connsiteX1222" fmla="*/ 237363 w 400050"/>
                <a:gd name="connsiteY1222" fmla="*/ 97822 h 638175"/>
                <a:gd name="connsiteX1223" fmla="*/ 240792 w 400050"/>
                <a:gd name="connsiteY1223" fmla="*/ 94393 h 638175"/>
                <a:gd name="connsiteX1224" fmla="*/ 238697 w 400050"/>
                <a:gd name="connsiteY1224" fmla="*/ 91631 h 638175"/>
                <a:gd name="connsiteX1225" fmla="*/ 238030 w 400050"/>
                <a:gd name="connsiteY1225" fmla="*/ 91631 h 638175"/>
                <a:gd name="connsiteX1226" fmla="*/ 237363 w 400050"/>
                <a:gd name="connsiteY1226" fmla="*/ 90964 h 638175"/>
                <a:gd name="connsiteX1227" fmla="*/ 236696 w 400050"/>
                <a:gd name="connsiteY1227" fmla="*/ 90297 h 638175"/>
                <a:gd name="connsiteX1228" fmla="*/ 242221 w 400050"/>
                <a:gd name="connsiteY1228" fmla="*/ 83439 h 638175"/>
                <a:gd name="connsiteX1229" fmla="*/ 242221 w 400050"/>
                <a:gd name="connsiteY1229" fmla="*/ 82868 h 638175"/>
                <a:gd name="connsiteX1230" fmla="*/ 129635 w 400050"/>
                <a:gd name="connsiteY1230" fmla="*/ 318802 h 638175"/>
                <a:gd name="connsiteX1231" fmla="*/ 127540 w 400050"/>
                <a:gd name="connsiteY1231" fmla="*/ 318802 h 638175"/>
                <a:gd name="connsiteX1232" fmla="*/ 128873 w 400050"/>
                <a:gd name="connsiteY1232" fmla="*/ 316040 h 638175"/>
                <a:gd name="connsiteX1233" fmla="*/ 129540 w 400050"/>
                <a:gd name="connsiteY1233" fmla="*/ 316040 h 638175"/>
                <a:gd name="connsiteX1234" fmla="*/ 140494 w 400050"/>
                <a:gd name="connsiteY1234" fmla="*/ 307848 h 638175"/>
                <a:gd name="connsiteX1235" fmla="*/ 141161 w 400050"/>
                <a:gd name="connsiteY1235" fmla="*/ 308515 h 638175"/>
                <a:gd name="connsiteX1236" fmla="*/ 130874 w 400050"/>
                <a:gd name="connsiteY1236" fmla="*/ 317468 h 638175"/>
                <a:gd name="connsiteX1237" fmla="*/ 129635 w 400050"/>
                <a:gd name="connsiteY1237" fmla="*/ 318802 h 638175"/>
                <a:gd name="connsiteX1238" fmla="*/ 128969 w 400050"/>
                <a:gd name="connsiteY1238" fmla="*/ 331851 h 638175"/>
                <a:gd name="connsiteX1239" fmla="*/ 130302 w 400050"/>
                <a:gd name="connsiteY1239" fmla="*/ 332518 h 638175"/>
                <a:gd name="connsiteX1240" fmla="*/ 137160 w 400050"/>
                <a:gd name="connsiteY1240" fmla="*/ 326326 h 638175"/>
                <a:gd name="connsiteX1241" fmla="*/ 137160 w 400050"/>
                <a:gd name="connsiteY1241" fmla="*/ 325660 h 638175"/>
                <a:gd name="connsiteX1242" fmla="*/ 132398 w 400050"/>
                <a:gd name="connsiteY1242" fmla="*/ 326326 h 638175"/>
                <a:gd name="connsiteX1243" fmla="*/ 128969 w 400050"/>
                <a:gd name="connsiteY1243" fmla="*/ 331851 h 638175"/>
                <a:gd name="connsiteX1244" fmla="*/ 144113 w 400050"/>
                <a:gd name="connsiteY1244" fmla="*/ 318802 h 638175"/>
                <a:gd name="connsiteX1245" fmla="*/ 143447 w 400050"/>
                <a:gd name="connsiteY1245" fmla="*/ 319469 h 638175"/>
                <a:gd name="connsiteX1246" fmla="*/ 144113 w 400050"/>
                <a:gd name="connsiteY1246" fmla="*/ 318802 h 638175"/>
                <a:gd name="connsiteX1247" fmla="*/ 144113 w 400050"/>
                <a:gd name="connsiteY1247" fmla="*/ 318135 h 638175"/>
                <a:gd name="connsiteX1248" fmla="*/ 146209 w 400050"/>
                <a:gd name="connsiteY1248" fmla="*/ 319469 h 638175"/>
                <a:gd name="connsiteX1249" fmla="*/ 154400 w 400050"/>
                <a:gd name="connsiteY1249" fmla="*/ 313277 h 638175"/>
                <a:gd name="connsiteX1250" fmla="*/ 154400 w 400050"/>
                <a:gd name="connsiteY1250" fmla="*/ 311944 h 638175"/>
                <a:gd name="connsiteX1251" fmla="*/ 147542 w 400050"/>
                <a:gd name="connsiteY1251" fmla="*/ 315373 h 638175"/>
                <a:gd name="connsiteX1252" fmla="*/ 144113 w 400050"/>
                <a:gd name="connsiteY1252" fmla="*/ 318135 h 638175"/>
                <a:gd name="connsiteX1253" fmla="*/ 164687 w 400050"/>
                <a:gd name="connsiteY1253" fmla="*/ 292799 h 638175"/>
                <a:gd name="connsiteX1254" fmla="*/ 164021 w 400050"/>
                <a:gd name="connsiteY1254" fmla="*/ 292132 h 638175"/>
                <a:gd name="connsiteX1255" fmla="*/ 156496 w 400050"/>
                <a:gd name="connsiteY1255" fmla="*/ 298323 h 638175"/>
                <a:gd name="connsiteX1256" fmla="*/ 155162 w 400050"/>
                <a:gd name="connsiteY1256" fmla="*/ 298323 h 638175"/>
                <a:gd name="connsiteX1257" fmla="*/ 155162 w 400050"/>
                <a:gd name="connsiteY1257" fmla="*/ 294894 h 638175"/>
                <a:gd name="connsiteX1258" fmla="*/ 159258 w 400050"/>
                <a:gd name="connsiteY1258" fmla="*/ 292132 h 638175"/>
                <a:gd name="connsiteX1259" fmla="*/ 159258 w 400050"/>
                <a:gd name="connsiteY1259" fmla="*/ 291465 h 638175"/>
                <a:gd name="connsiteX1260" fmla="*/ 166116 w 400050"/>
                <a:gd name="connsiteY1260" fmla="*/ 287369 h 638175"/>
                <a:gd name="connsiteX1261" fmla="*/ 168211 w 400050"/>
                <a:gd name="connsiteY1261" fmla="*/ 287369 h 638175"/>
                <a:gd name="connsiteX1262" fmla="*/ 164687 w 400050"/>
                <a:gd name="connsiteY1262" fmla="*/ 292799 h 638175"/>
                <a:gd name="connsiteX1263" fmla="*/ 158496 w 400050"/>
                <a:gd name="connsiteY1263" fmla="*/ 307181 h 638175"/>
                <a:gd name="connsiteX1264" fmla="*/ 157829 w 400050"/>
                <a:gd name="connsiteY1264" fmla="*/ 307848 h 638175"/>
                <a:gd name="connsiteX1265" fmla="*/ 159925 w 400050"/>
                <a:gd name="connsiteY1265" fmla="*/ 309182 h 638175"/>
                <a:gd name="connsiteX1266" fmla="*/ 159925 w 400050"/>
                <a:gd name="connsiteY1266" fmla="*/ 308515 h 638175"/>
                <a:gd name="connsiteX1267" fmla="*/ 158496 w 400050"/>
                <a:gd name="connsiteY1267" fmla="*/ 307181 h 638175"/>
                <a:gd name="connsiteX1268" fmla="*/ 169450 w 400050"/>
                <a:gd name="connsiteY1268" fmla="*/ 287941 h 638175"/>
                <a:gd name="connsiteX1269" fmla="*/ 169450 w 400050"/>
                <a:gd name="connsiteY1269" fmla="*/ 287274 h 638175"/>
                <a:gd name="connsiteX1270" fmla="*/ 170117 w 400050"/>
                <a:gd name="connsiteY1270" fmla="*/ 287941 h 638175"/>
                <a:gd name="connsiteX1271" fmla="*/ 169450 w 400050"/>
                <a:gd name="connsiteY1271" fmla="*/ 287941 h 638175"/>
                <a:gd name="connsiteX1272" fmla="*/ 172212 w 400050"/>
                <a:gd name="connsiteY1272" fmla="*/ 299657 h 638175"/>
                <a:gd name="connsiteX1273" fmla="*/ 173546 w 400050"/>
                <a:gd name="connsiteY1273" fmla="*/ 298323 h 638175"/>
                <a:gd name="connsiteX1274" fmla="*/ 172879 w 400050"/>
                <a:gd name="connsiteY1274" fmla="*/ 297656 h 638175"/>
                <a:gd name="connsiteX1275" fmla="*/ 170783 w 400050"/>
                <a:gd name="connsiteY1275" fmla="*/ 298323 h 638175"/>
                <a:gd name="connsiteX1276" fmla="*/ 172212 w 400050"/>
                <a:gd name="connsiteY1276" fmla="*/ 299657 h 638175"/>
                <a:gd name="connsiteX1277" fmla="*/ 174212 w 400050"/>
                <a:gd name="connsiteY1277" fmla="*/ 283178 h 638175"/>
                <a:gd name="connsiteX1278" fmla="*/ 176308 w 400050"/>
                <a:gd name="connsiteY1278" fmla="*/ 283845 h 638175"/>
                <a:gd name="connsiteX1279" fmla="*/ 176308 w 400050"/>
                <a:gd name="connsiteY1279" fmla="*/ 284512 h 638175"/>
                <a:gd name="connsiteX1280" fmla="*/ 172879 w 400050"/>
                <a:gd name="connsiteY1280" fmla="*/ 285845 h 638175"/>
                <a:gd name="connsiteX1281" fmla="*/ 172212 w 400050"/>
                <a:gd name="connsiteY1281" fmla="*/ 285845 h 638175"/>
                <a:gd name="connsiteX1282" fmla="*/ 174212 w 400050"/>
                <a:gd name="connsiteY1282" fmla="*/ 283178 h 638175"/>
                <a:gd name="connsiteX1283" fmla="*/ 176308 w 400050"/>
                <a:gd name="connsiteY1283" fmla="*/ 295561 h 638175"/>
                <a:gd name="connsiteX1284" fmla="*/ 175641 w 400050"/>
                <a:gd name="connsiteY1284" fmla="*/ 296894 h 638175"/>
                <a:gd name="connsiteX1285" fmla="*/ 176308 w 400050"/>
                <a:gd name="connsiteY1285" fmla="*/ 296894 h 638175"/>
                <a:gd name="connsiteX1286" fmla="*/ 176308 w 400050"/>
                <a:gd name="connsiteY1286" fmla="*/ 295561 h 638175"/>
                <a:gd name="connsiteX1287" fmla="*/ 184499 w 400050"/>
                <a:gd name="connsiteY1287" fmla="*/ 279749 h 638175"/>
                <a:gd name="connsiteX1288" fmla="*/ 183166 w 400050"/>
                <a:gd name="connsiteY1288" fmla="*/ 279083 h 638175"/>
                <a:gd name="connsiteX1289" fmla="*/ 185928 w 400050"/>
                <a:gd name="connsiteY1289" fmla="*/ 274320 h 638175"/>
                <a:gd name="connsiteX1290" fmla="*/ 186595 w 400050"/>
                <a:gd name="connsiteY1290" fmla="*/ 274987 h 638175"/>
                <a:gd name="connsiteX1291" fmla="*/ 187928 w 400050"/>
                <a:gd name="connsiteY1291" fmla="*/ 275654 h 638175"/>
                <a:gd name="connsiteX1292" fmla="*/ 187928 w 400050"/>
                <a:gd name="connsiteY1292" fmla="*/ 276987 h 638175"/>
                <a:gd name="connsiteX1293" fmla="*/ 185833 w 400050"/>
                <a:gd name="connsiteY1293" fmla="*/ 279083 h 638175"/>
                <a:gd name="connsiteX1294" fmla="*/ 184499 w 400050"/>
                <a:gd name="connsiteY1294" fmla="*/ 279749 h 638175"/>
                <a:gd name="connsiteX1295" fmla="*/ 184499 w 400050"/>
                <a:gd name="connsiteY1295" fmla="*/ 288703 h 638175"/>
                <a:gd name="connsiteX1296" fmla="*/ 184499 w 400050"/>
                <a:gd name="connsiteY1296" fmla="*/ 289370 h 638175"/>
                <a:gd name="connsiteX1297" fmla="*/ 186595 w 400050"/>
                <a:gd name="connsiteY1297" fmla="*/ 290036 h 638175"/>
                <a:gd name="connsiteX1298" fmla="*/ 192119 w 400050"/>
                <a:gd name="connsiteY1298" fmla="*/ 286607 h 638175"/>
                <a:gd name="connsiteX1299" fmla="*/ 192119 w 400050"/>
                <a:gd name="connsiteY1299" fmla="*/ 285941 h 638175"/>
                <a:gd name="connsiteX1300" fmla="*/ 186595 w 400050"/>
                <a:gd name="connsiteY1300" fmla="*/ 288036 h 638175"/>
                <a:gd name="connsiteX1301" fmla="*/ 184499 w 400050"/>
                <a:gd name="connsiteY1301" fmla="*/ 288703 h 638175"/>
                <a:gd name="connsiteX1302" fmla="*/ 192119 w 400050"/>
                <a:gd name="connsiteY1302" fmla="*/ 290036 h 638175"/>
                <a:gd name="connsiteX1303" fmla="*/ 192786 w 400050"/>
                <a:gd name="connsiteY1303" fmla="*/ 290036 h 638175"/>
                <a:gd name="connsiteX1304" fmla="*/ 193453 w 400050"/>
                <a:gd name="connsiteY1304" fmla="*/ 290703 h 638175"/>
                <a:gd name="connsiteX1305" fmla="*/ 192786 w 400050"/>
                <a:gd name="connsiteY1305" fmla="*/ 289370 h 638175"/>
                <a:gd name="connsiteX1306" fmla="*/ 192119 w 400050"/>
                <a:gd name="connsiteY1306" fmla="*/ 290036 h 638175"/>
                <a:gd name="connsiteX1307" fmla="*/ 195548 w 400050"/>
                <a:gd name="connsiteY1307" fmla="*/ 270796 h 638175"/>
                <a:gd name="connsiteX1308" fmla="*/ 196215 w 400050"/>
                <a:gd name="connsiteY1308" fmla="*/ 269462 h 638175"/>
                <a:gd name="connsiteX1309" fmla="*/ 196882 w 400050"/>
                <a:gd name="connsiteY1309" fmla="*/ 268796 h 638175"/>
                <a:gd name="connsiteX1310" fmla="*/ 196882 w 400050"/>
                <a:gd name="connsiteY1310" fmla="*/ 269462 h 638175"/>
                <a:gd name="connsiteX1311" fmla="*/ 196215 w 400050"/>
                <a:gd name="connsiteY1311" fmla="*/ 270796 h 638175"/>
                <a:gd name="connsiteX1312" fmla="*/ 195548 w 400050"/>
                <a:gd name="connsiteY1312" fmla="*/ 270796 h 638175"/>
                <a:gd name="connsiteX1313" fmla="*/ 207835 w 400050"/>
                <a:gd name="connsiteY1313" fmla="*/ 263938 h 638175"/>
                <a:gd name="connsiteX1314" fmla="*/ 204407 w 400050"/>
                <a:gd name="connsiteY1314" fmla="*/ 266033 h 638175"/>
                <a:gd name="connsiteX1315" fmla="*/ 204407 w 400050"/>
                <a:gd name="connsiteY1315" fmla="*/ 268129 h 638175"/>
                <a:gd name="connsiteX1316" fmla="*/ 201644 w 400050"/>
                <a:gd name="connsiteY1316" fmla="*/ 265367 h 638175"/>
                <a:gd name="connsiteX1317" fmla="*/ 201644 w 400050"/>
                <a:gd name="connsiteY1317" fmla="*/ 264033 h 638175"/>
                <a:gd name="connsiteX1318" fmla="*/ 207169 w 400050"/>
                <a:gd name="connsiteY1318" fmla="*/ 262700 h 638175"/>
                <a:gd name="connsiteX1319" fmla="*/ 209264 w 400050"/>
                <a:gd name="connsiteY1319" fmla="*/ 263366 h 638175"/>
                <a:gd name="connsiteX1320" fmla="*/ 208598 w 400050"/>
                <a:gd name="connsiteY1320" fmla="*/ 264033 h 638175"/>
                <a:gd name="connsiteX1321" fmla="*/ 207835 w 400050"/>
                <a:gd name="connsiteY1321" fmla="*/ 264033 h 638175"/>
                <a:gd name="connsiteX1322" fmla="*/ 206502 w 400050"/>
                <a:gd name="connsiteY1322" fmla="*/ 264700 h 638175"/>
                <a:gd name="connsiteX1323" fmla="*/ 206502 w 400050"/>
                <a:gd name="connsiteY1323" fmla="*/ 266795 h 638175"/>
                <a:gd name="connsiteX1324" fmla="*/ 205835 w 400050"/>
                <a:gd name="connsiteY1324" fmla="*/ 266129 h 638175"/>
                <a:gd name="connsiteX1325" fmla="*/ 206502 w 400050"/>
                <a:gd name="connsiteY1325" fmla="*/ 264700 h 638175"/>
                <a:gd name="connsiteX1326" fmla="*/ 207835 w 400050"/>
                <a:gd name="connsiteY1326" fmla="*/ 34195 h 638175"/>
                <a:gd name="connsiteX1327" fmla="*/ 208502 w 400050"/>
                <a:gd name="connsiteY1327" fmla="*/ 32861 h 638175"/>
                <a:gd name="connsiteX1328" fmla="*/ 207835 w 400050"/>
                <a:gd name="connsiteY1328" fmla="*/ 34195 h 638175"/>
                <a:gd name="connsiteX1329" fmla="*/ 209931 w 400050"/>
                <a:gd name="connsiteY1329" fmla="*/ 272224 h 638175"/>
                <a:gd name="connsiteX1330" fmla="*/ 209931 w 400050"/>
                <a:gd name="connsiteY1330" fmla="*/ 273558 h 638175"/>
                <a:gd name="connsiteX1331" fmla="*/ 210598 w 400050"/>
                <a:gd name="connsiteY1331" fmla="*/ 272891 h 638175"/>
                <a:gd name="connsiteX1332" fmla="*/ 209931 w 400050"/>
                <a:gd name="connsiteY1332" fmla="*/ 272224 h 638175"/>
                <a:gd name="connsiteX1333" fmla="*/ 221552 w 400050"/>
                <a:gd name="connsiteY1333" fmla="*/ 274225 h 638175"/>
                <a:gd name="connsiteX1334" fmla="*/ 222218 w 400050"/>
                <a:gd name="connsiteY1334" fmla="*/ 272129 h 638175"/>
                <a:gd name="connsiteX1335" fmla="*/ 220885 w 400050"/>
                <a:gd name="connsiteY1335" fmla="*/ 271463 h 638175"/>
                <a:gd name="connsiteX1336" fmla="*/ 220885 w 400050"/>
                <a:gd name="connsiteY1336" fmla="*/ 273558 h 638175"/>
                <a:gd name="connsiteX1337" fmla="*/ 221552 w 400050"/>
                <a:gd name="connsiteY1337" fmla="*/ 274225 h 638175"/>
                <a:gd name="connsiteX1338" fmla="*/ 237363 w 400050"/>
                <a:gd name="connsiteY1338" fmla="*/ 245459 h 638175"/>
                <a:gd name="connsiteX1339" fmla="*/ 237363 w 400050"/>
                <a:gd name="connsiteY1339" fmla="*/ 244793 h 638175"/>
                <a:gd name="connsiteX1340" fmla="*/ 242126 w 400050"/>
                <a:gd name="connsiteY1340" fmla="*/ 244126 h 638175"/>
                <a:gd name="connsiteX1341" fmla="*/ 242126 w 400050"/>
                <a:gd name="connsiteY1341" fmla="*/ 244793 h 638175"/>
                <a:gd name="connsiteX1342" fmla="*/ 239363 w 400050"/>
                <a:gd name="connsiteY1342" fmla="*/ 248888 h 638175"/>
                <a:gd name="connsiteX1343" fmla="*/ 237363 w 400050"/>
                <a:gd name="connsiteY1343" fmla="*/ 245459 h 638175"/>
                <a:gd name="connsiteX1344" fmla="*/ 240125 w 400050"/>
                <a:gd name="connsiteY1344" fmla="*/ 19145 h 638175"/>
                <a:gd name="connsiteX1345" fmla="*/ 240792 w 400050"/>
                <a:gd name="connsiteY1345" fmla="*/ 19812 h 638175"/>
                <a:gd name="connsiteX1346" fmla="*/ 240792 w 400050"/>
                <a:gd name="connsiteY1346" fmla="*/ 18479 h 638175"/>
                <a:gd name="connsiteX1347" fmla="*/ 240125 w 400050"/>
                <a:gd name="connsiteY1347" fmla="*/ 19145 h 638175"/>
                <a:gd name="connsiteX1348" fmla="*/ 254508 w 400050"/>
                <a:gd name="connsiteY1348" fmla="*/ 237268 h 638175"/>
                <a:gd name="connsiteX1349" fmla="*/ 256604 w 400050"/>
                <a:gd name="connsiteY1349" fmla="*/ 237935 h 638175"/>
                <a:gd name="connsiteX1350" fmla="*/ 255937 w 400050"/>
                <a:gd name="connsiteY1350" fmla="*/ 239268 h 638175"/>
                <a:gd name="connsiteX1351" fmla="*/ 254603 w 400050"/>
                <a:gd name="connsiteY1351" fmla="*/ 238601 h 638175"/>
                <a:gd name="connsiteX1352" fmla="*/ 253270 w 400050"/>
                <a:gd name="connsiteY1352" fmla="*/ 242030 h 638175"/>
                <a:gd name="connsiteX1353" fmla="*/ 253270 w 400050"/>
                <a:gd name="connsiteY1353" fmla="*/ 243364 h 638175"/>
                <a:gd name="connsiteX1354" fmla="*/ 251174 w 400050"/>
                <a:gd name="connsiteY1354" fmla="*/ 243364 h 638175"/>
                <a:gd name="connsiteX1355" fmla="*/ 252508 w 400050"/>
                <a:gd name="connsiteY1355" fmla="*/ 242030 h 638175"/>
                <a:gd name="connsiteX1356" fmla="*/ 251841 w 400050"/>
                <a:gd name="connsiteY1356" fmla="*/ 239268 h 638175"/>
                <a:gd name="connsiteX1357" fmla="*/ 253175 w 400050"/>
                <a:gd name="connsiteY1357" fmla="*/ 237935 h 638175"/>
                <a:gd name="connsiteX1358" fmla="*/ 254508 w 400050"/>
                <a:gd name="connsiteY1358" fmla="*/ 237268 h 638175"/>
                <a:gd name="connsiteX1359" fmla="*/ 264128 w 400050"/>
                <a:gd name="connsiteY1359" fmla="*/ 234506 h 638175"/>
                <a:gd name="connsiteX1360" fmla="*/ 261366 w 400050"/>
                <a:gd name="connsiteY1360" fmla="*/ 234506 h 638175"/>
                <a:gd name="connsiteX1361" fmla="*/ 263462 w 400050"/>
                <a:gd name="connsiteY1361" fmla="*/ 232410 h 638175"/>
                <a:gd name="connsiteX1362" fmla="*/ 264128 w 400050"/>
                <a:gd name="connsiteY1362" fmla="*/ 233077 h 638175"/>
                <a:gd name="connsiteX1363" fmla="*/ 264128 w 400050"/>
                <a:gd name="connsiteY1363" fmla="*/ 234506 h 638175"/>
                <a:gd name="connsiteX1364" fmla="*/ 266129 w 400050"/>
                <a:gd name="connsiteY1364" fmla="*/ 232410 h 638175"/>
                <a:gd name="connsiteX1365" fmla="*/ 266795 w 400050"/>
                <a:gd name="connsiteY1365" fmla="*/ 231077 h 638175"/>
                <a:gd name="connsiteX1366" fmla="*/ 266795 w 400050"/>
                <a:gd name="connsiteY1366" fmla="*/ 232410 h 638175"/>
                <a:gd name="connsiteX1367" fmla="*/ 266129 w 400050"/>
                <a:gd name="connsiteY1367" fmla="*/ 233077 h 638175"/>
                <a:gd name="connsiteX1368" fmla="*/ 266129 w 400050"/>
                <a:gd name="connsiteY1368" fmla="*/ 232410 h 638175"/>
                <a:gd name="connsiteX1369" fmla="*/ 269558 w 400050"/>
                <a:gd name="connsiteY1369" fmla="*/ 233077 h 638175"/>
                <a:gd name="connsiteX1370" fmla="*/ 271653 w 400050"/>
                <a:gd name="connsiteY1370" fmla="*/ 232410 h 638175"/>
                <a:gd name="connsiteX1371" fmla="*/ 269558 w 400050"/>
                <a:gd name="connsiteY1371" fmla="*/ 233744 h 638175"/>
                <a:gd name="connsiteX1372" fmla="*/ 269558 w 400050"/>
                <a:gd name="connsiteY1372" fmla="*/ 233077 h 638175"/>
                <a:gd name="connsiteX1373" fmla="*/ 340233 w 400050"/>
                <a:gd name="connsiteY1373" fmla="*/ 220028 h 638175"/>
                <a:gd name="connsiteX1374" fmla="*/ 340900 w 400050"/>
                <a:gd name="connsiteY1374" fmla="*/ 219361 h 638175"/>
                <a:gd name="connsiteX1375" fmla="*/ 340233 w 400050"/>
                <a:gd name="connsiteY1375" fmla="*/ 218694 h 638175"/>
                <a:gd name="connsiteX1376" fmla="*/ 338900 w 400050"/>
                <a:gd name="connsiteY1376" fmla="*/ 219361 h 638175"/>
                <a:gd name="connsiteX1377" fmla="*/ 340995 w 400050"/>
                <a:gd name="connsiteY1377" fmla="*/ 222123 h 638175"/>
                <a:gd name="connsiteX1378" fmla="*/ 340995 w 400050"/>
                <a:gd name="connsiteY1378" fmla="*/ 223457 h 638175"/>
                <a:gd name="connsiteX1379" fmla="*/ 341662 w 400050"/>
                <a:gd name="connsiteY1379" fmla="*/ 222123 h 638175"/>
                <a:gd name="connsiteX1380" fmla="*/ 340233 w 400050"/>
                <a:gd name="connsiteY1380" fmla="*/ 220028 h 638175"/>
                <a:gd name="connsiteX1381" fmla="*/ 343662 w 400050"/>
                <a:gd name="connsiteY1381" fmla="*/ 228314 h 638175"/>
                <a:gd name="connsiteX1382" fmla="*/ 341567 w 400050"/>
                <a:gd name="connsiteY1382" fmla="*/ 227648 h 638175"/>
                <a:gd name="connsiteX1383" fmla="*/ 343662 w 400050"/>
                <a:gd name="connsiteY1383" fmla="*/ 228981 h 638175"/>
                <a:gd name="connsiteX1384" fmla="*/ 343662 w 400050"/>
                <a:gd name="connsiteY1384" fmla="*/ 228314 h 638175"/>
                <a:gd name="connsiteX1385" fmla="*/ 346424 w 400050"/>
                <a:gd name="connsiteY1385" fmla="*/ 213170 h 638175"/>
                <a:gd name="connsiteX1386" fmla="*/ 344329 w 400050"/>
                <a:gd name="connsiteY1386" fmla="*/ 212503 h 638175"/>
                <a:gd name="connsiteX1387" fmla="*/ 344996 w 400050"/>
                <a:gd name="connsiteY1387" fmla="*/ 215265 h 638175"/>
                <a:gd name="connsiteX1388" fmla="*/ 346424 w 400050"/>
                <a:gd name="connsiteY1388" fmla="*/ 213170 h 638175"/>
                <a:gd name="connsiteX1389" fmla="*/ 346424 w 400050"/>
                <a:gd name="connsiteY1389" fmla="*/ 225552 h 638175"/>
                <a:gd name="connsiteX1390" fmla="*/ 344329 w 400050"/>
                <a:gd name="connsiteY1390" fmla="*/ 226219 h 638175"/>
                <a:gd name="connsiteX1391" fmla="*/ 346424 w 400050"/>
                <a:gd name="connsiteY1391" fmla="*/ 226219 h 638175"/>
                <a:gd name="connsiteX1392" fmla="*/ 346424 w 400050"/>
                <a:gd name="connsiteY1392" fmla="*/ 225552 h 638175"/>
                <a:gd name="connsiteX1393" fmla="*/ 344996 w 400050"/>
                <a:gd name="connsiteY1393" fmla="*/ 220028 h 638175"/>
                <a:gd name="connsiteX1394" fmla="*/ 346329 w 400050"/>
                <a:gd name="connsiteY1394" fmla="*/ 220694 h 638175"/>
                <a:gd name="connsiteX1395" fmla="*/ 344996 w 400050"/>
                <a:gd name="connsiteY1395" fmla="*/ 220028 h 638175"/>
                <a:gd name="connsiteX1396" fmla="*/ 350520 w 400050"/>
                <a:gd name="connsiteY1396" fmla="*/ 216694 h 638175"/>
                <a:gd name="connsiteX1397" fmla="*/ 348425 w 400050"/>
                <a:gd name="connsiteY1397" fmla="*/ 218027 h 638175"/>
                <a:gd name="connsiteX1398" fmla="*/ 349758 w 400050"/>
                <a:gd name="connsiteY1398" fmla="*/ 220123 h 638175"/>
                <a:gd name="connsiteX1399" fmla="*/ 350520 w 400050"/>
                <a:gd name="connsiteY1399" fmla="*/ 216694 h 638175"/>
                <a:gd name="connsiteX1400" fmla="*/ 356711 w 400050"/>
                <a:gd name="connsiteY1400" fmla="*/ 213932 h 638175"/>
                <a:gd name="connsiteX1401" fmla="*/ 355378 w 400050"/>
                <a:gd name="connsiteY1401" fmla="*/ 214598 h 638175"/>
                <a:gd name="connsiteX1402" fmla="*/ 358807 w 400050"/>
                <a:gd name="connsiteY1402" fmla="*/ 214598 h 638175"/>
                <a:gd name="connsiteX1403" fmla="*/ 356711 w 400050"/>
                <a:gd name="connsiteY1403" fmla="*/ 213932 h 638175"/>
                <a:gd name="connsiteX1404" fmla="*/ 358045 w 400050"/>
                <a:gd name="connsiteY1404" fmla="*/ 209741 h 638175"/>
                <a:gd name="connsiteX1405" fmla="*/ 360140 w 400050"/>
                <a:gd name="connsiteY1405" fmla="*/ 209741 h 638175"/>
                <a:gd name="connsiteX1406" fmla="*/ 360140 w 400050"/>
                <a:gd name="connsiteY1406" fmla="*/ 208407 h 638175"/>
                <a:gd name="connsiteX1407" fmla="*/ 358045 w 400050"/>
                <a:gd name="connsiteY1407" fmla="*/ 209741 h 638175"/>
                <a:gd name="connsiteX1408" fmla="*/ 360140 w 400050"/>
                <a:gd name="connsiteY1408" fmla="*/ 220790 h 638175"/>
                <a:gd name="connsiteX1409" fmla="*/ 359474 w 400050"/>
                <a:gd name="connsiteY1409" fmla="*/ 220123 h 638175"/>
                <a:gd name="connsiteX1410" fmla="*/ 358807 w 400050"/>
                <a:gd name="connsiteY1410" fmla="*/ 220790 h 638175"/>
                <a:gd name="connsiteX1411" fmla="*/ 358807 w 400050"/>
                <a:gd name="connsiteY1411" fmla="*/ 222123 h 638175"/>
                <a:gd name="connsiteX1412" fmla="*/ 360140 w 400050"/>
                <a:gd name="connsiteY1412" fmla="*/ 222123 h 638175"/>
                <a:gd name="connsiteX1413" fmla="*/ 360140 w 400050"/>
                <a:gd name="connsiteY1413" fmla="*/ 220790 h 638175"/>
                <a:gd name="connsiteX1414" fmla="*/ 379286 w 400050"/>
                <a:gd name="connsiteY1414" fmla="*/ 201549 h 638175"/>
                <a:gd name="connsiteX1415" fmla="*/ 381381 w 400050"/>
                <a:gd name="connsiteY1415" fmla="*/ 202216 h 638175"/>
                <a:gd name="connsiteX1416" fmla="*/ 381381 w 400050"/>
                <a:gd name="connsiteY1416" fmla="*/ 202883 h 638175"/>
                <a:gd name="connsiteX1417" fmla="*/ 380714 w 400050"/>
                <a:gd name="connsiteY1417" fmla="*/ 202883 h 638175"/>
                <a:gd name="connsiteX1418" fmla="*/ 380048 w 400050"/>
                <a:gd name="connsiteY1418" fmla="*/ 204216 h 638175"/>
                <a:gd name="connsiteX1419" fmla="*/ 381381 w 400050"/>
                <a:gd name="connsiteY1419" fmla="*/ 206312 h 638175"/>
                <a:gd name="connsiteX1420" fmla="*/ 367665 w 400050"/>
                <a:gd name="connsiteY1420" fmla="*/ 211074 h 638175"/>
                <a:gd name="connsiteX1421" fmla="*/ 366998 w 400050"/>
                <a:gd name="connsiteY1421" fmla="*/ 208979 h 638175"/>
                <a:gd name="connsiteX1422" fmla="*/ 372523 w 400050"/>
                <a:gd name="connsiteY1422" fmla="*/ 208312 h 638175"/>
                <a:gd name="connsiteX1423" fmla="*/ 373190 w 400050"/>
                <a:gd name="connsiteY1423" fmla="*/ 207645 h 638175"/>
                <a:gd name="connsiteX1424" fmla="*/ 372523 w 400050"/>
                <a:gd name="connsiteY1424" fmla="*/ 206312 h 638175"/>
                <a:gd name="connsiteX1425" fmla="*/ 373190 w 400050"/>
                <a:gd name="connsiteY1425" fmla="*/ 204216 h 638175"/>
                <a:gd name="connsiteX1426" fmla="*/ 371856 w 400050"/>
                <a:gd name="connsiteY1426" fmla="*/ 202883 h 638175"/>
                <a:gd name="connsiteX1427" fmla="*/ 371856 w 400050"/>
                <a:gd name="connsiteY1427" fmla="*/ 201549 h 638175"/>
                <a:gd name="connsiteX1428" fmla="*/ 375285 w 400050"/>
                <a:gd name="connsiteY1428" fmla="*/ 200216 h 638175"/>
                <a:gd name="connsiteX1429" fmla="*/ 375952 w 400050"/>
                <a:gd name="connsiteY1429" fmla="*/ 201549 h 638175"/>
                <a:gd name="connsiteX1430" fmla="*/ 376619 w 400050"/>
                <a:gd name="connsiteY1430" fmla="*/ 203645 h 638175"/>
                <a:gd name="connsiteX1431" fmla="*/ 379286 w 400050"/>
                <a:gd name="connsiteY1431" fmla="*/ 201549 h 638175"/>
                <a:gd name="connsiteX1432" fmla="*/ 368999 w 400050"/>
                <a:gd name="connsiteY1432" fmla="*/ 202883 h 638175"/>
                <a:gd name="connsiteX1433" fmla="*/ 368332 w 400050"/>
                <a:gd name="connsiteY1433" fmla="*/ 203549 h 638175"/>
                <a:gd name="connsiteX1434" fmla="*/ 367665 w 400050"/>
                <a:gd name="connsiteY1434" fmla="*/ 202883 h 638175"/>
                <a:gd name="connsiteX1435" fmla="*/ 368999 w 400050"/>
                <a:gd name="connsiteY1435" fmla="*/ 202883 h 638175"/>
                <a:gd name="connsiteX1436" fmla="*/ 368999 w 400050"/>
                <a:gd name="connsiteY1436" fmla="*/ 204978 h 638175"/>
                <a:gd name="connsiteX1437" fmla="*/ 371094 w 400050"/>
                <a:gd name="connsiteY1437" fmla="*/ 206312 h 638175"/>
                <a:gd name="connsiteX1438" fmla="*/ 371761 w 400050"/>
                <a:gd name="connsiteY1438" fmla="*/ 207645 h 638175"/>
                <a:gd name="connsiteX1439" fmla="*/ 370427 w 400050"/>
                <a:gd name="connsiteY1439" fmla="*/ 206978 h 638175"/>
                <a:gd name="connsiteX1440" fmla="*/ 368332 w 400050"/>
                <a:gd name="connsiteY1440" fmla="*/ 205645 h 638175"/>
                <a:gd name="connsiteX1441" fmla="*/ 368999 w 400050"/>
                <a:gd name="connsiteY1441" fmla="*/ 204978 h 638175"/>
                <a:gd name="connsiteX1442" fmla="*/ 369761 w 400050"/>
                <a:gd name="connsiteY1442" fmla="*/ 217361 h 638175"/>
                <a:gd name="connsiteX1443" fmla="*/ 368427 w 400050"/>
                <a:gd name="connsiteY1443" fmla="*/ 220123 h 638175"/>
                <a:gd name="connsiteX1444" fmla="*/ 369094 w 400050"/>
                <a:gd name="connsiteY1444" fmla="*/ 220123 h 638175"/>
                <a:gd name="connsiteX1445" fmla="*/ 372523 w 400050"/>
                <a:gd name="connsiteY1445" fmla="*/ 218789 h 638175"/>
                <a:gd name="connsiteX1446" fmla="*/ 369761 w 400050"/>
                <a:gd name="connsiteY1446" fmla="*/ 217361 h 638175"/>
                <a:gd name="connsiteX1447" fmla="*/ 378619 w 400050"/>
                <a:gd name="connsiteY1447" fmla="*/ 200216 h 638175"/>
                <a:gd name="connsiteX1448" fmla="*/ 380714 w 400050"/>
                <a:gd name="connsiteY1448" fmla="*/ 199549 h 638175"/>
                <a:gd name="connsiteX1449" fmla="*/ 381381 w 400050"/>
                <a:gd name="connsiteY1449" fmla="*/ 200216 h 638175"/>
                <a:gd name="connsiteX1450" fmla="*/ 381381 w 400050"/>
                <a:gd name="connsiteY1450" fmla="*/ 200882 h 638175"/>
                <a:gd name="connsiteX1451" fmla="*/ 380714 w 400050"/>
                <a:gd name="connsiteY1451" fmla="*/ 200216 h 638175"/>
                <a:gd name="connsiteX1452" fmla="*/ 379381 w 400050"/>
                <a:gd name="connsiteY1452" fmla="*/ 200882 h 638175"/>
                <a:gd name="connsiteX1453" fmla="*/ 378619 w 400050"/>
                <a:gd name="connsiteY1453" fmla="*/ 200216 h 638175"/>
                <a:gd name="connsiteX1454" fmla="*/ 400622 w 400050"/>
                <a:gd name="connsiteY1454" fmla="*/ 197453 h 638175"/>
                <a:gd name="connsiteX1455" fmla="*/ 399288 w 400050"/>
                <a:gd name="connsiteY1455" fmla="*/ 196787 h 638175"/>
                <a:gd name="connsiteX1456" fmla="*/ 393097 w 400050"/>
                <a:gd name="connsiteY1456" fmla="*/ 198120 h 638175"/>
                <a:gd name="connsiteX1457" fmla="*/ 390335 w 400050"/>
                <a:gd name="connsiteY1457" fmla="*/ 201549 h 638175"/>
                <a:gd name="connsiteX1458" fmla="*/ 389668 w 400050"/>
                <a:gd name="connsiteY1458" fmla="*/ 202216 h 638175"/>
                <a:gd name="connsiteX1459" fmla="*/ 390335 w 400050"/>
                <a:gd name="connsiteY1459" fmla="*/ 202216 h 638175"/>
                <a:gd name="connsiteX1460" fmla="*/ 389001 w 400050"/>
                <a:gd name="connsiteY1460" fmla="*/ 204978 h 638175"/>
                <a:gd name="connsiteX1461" fmla="*/ 389001 w 400050"/>
                <a:gd name="connsiteY1461" fmla="*/ 204311 h 638175"/>
                <a:gd name="connsiteX1462" fmla="*/ 387668 w 400050"/>
                <a:gd name="connsiteY1462" fmla="*/ 202978 h 638175"/>
                <a:gd name="connsiteX1463" fmla="*/ 381476 w 400050"/>
                <a:gd name="connsiteY1463" fmla="*/ 201644 h 638175"/>
                <a:gd name="connsiteX1464" fmla="*/ 385572 w 400050"/>
                <a:gd name="connsiteY1464" fmla="*/ 201644 h 638175"/>
                <a:gd name="connsiteX1465" fmla="*/ 386906 w 400050"/>
                <a:gd name="connsiteY1465" fmla="*/ 200978 h 638175"/>
                <a:gd name="connsiteX1466" fmla="*/ 386239 w 400050"/>
                <a:gd name="connsiteY1466" fmla="*/ 199644 h 638175"/>
                <a:gd name="connsiteX1467" fmla="*/ 400622 w 400050"/>
                <a:gd name="connsiteY1467" fmla="*/ 196215 h 638175"/>
                <a:gd name="connsiteX1468" fmla="*/ 400622 w 400050"/>
                <a:gd name="connsiteY1468" fmla="*/ 197453 h 638175"/>
                <a:gd name="connsiteX1469" fmla="*/ 388239 w 400050"/>
                <a:gd name="connsiteY1469" fmla="*/ 194024 h 638175"/>
                <a:gd name="connsiteX1470" fmla="*/ 387572 w 400050"/>
                <a:gd name="connsiteY1470" fmla="*/ 194024 h 638175"/>
                <a:gd name="connsiteX1471" fmla="*/ 388239 w 400050"/>
                <a:gd name="connsiteY1471" fmla="*/ 193358 h 638175"/>
                <a:gd name="connsiteX1472" fmla="*/ 388239 w 400050"/>
                <a:gd name="connsiteY1472" fmla="*/ 194024 h 638175"/>
                <a:gd name="connsiteX1473" fmla="*/ 400622 w 400050"/>
                <a:gd name="connsiteY1473" fmla="*/ 202216 h 638175"/>
                <a:gd name="connsiteX1474" fmla="*/ 395859 w 400050"/>
                <a:gd name="connsiteY1474" fmla="*/ 203549 h 638175"/>
                <a:gd name="connsiteX1475" fmla="*/ 399288 w 400050"/>
                <a:gd name="connsiteY1475" fmla="*/ 200787 h 638175"/>
                <a:gd name="connsiteX1476" fmla="*/ 400622 w 400050"/>
                <a:gd name="connsiteY1476" fmla="*/ 202216 h 638175"/>
                <a:gd name="connsiteX1477" fmla="*/ 404717 w 400050"/>
                <a:gd name="connsiteY1477" fmla="*/ 195358 h 638175"/>
                <a:gd name="connsiteX1478" fmla="*/ 401955 w 400050"/>
                <a:gd name="connsiteY1478" fmla="*/ 195358 h 638175"/>
                <a:gd name="connsiteX1479" fmla="*/ 404051 w 400050"/>
                <a:gd name="connsiteY1479" fmla="*/ 194024 h 638175"/>
                <a:gd name="connsiteX1480" fmla="*/ 404717 w 400050"/>
                <a:gd name="connsiteY1480" fmla="*/ 194024 h 638175"/>
                <a:gd name="connsiteX1481" fmla="*/ 405384 w 400050"/>
                <a:gd name="connsiteY1481" fmla="*/ 194691 h 638175"/>
                <a:gd name="connsiteX1482" fmla="*/ 404717 w 400050"/>
                <a:gd name="connsiteY1482" fmla="*/ 195358 h 63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</a:cxnLst>
              <a:rect l="l" t="t" r="r" b="b"/>
              <a:pathLst>
                <a:path w="400050" h="638175">
                  <a:moveTo>
                    <a:pt x="266891" y="114491"/>
                  </a:moveTo>
                  <a:lnTo>
                    <a:pt x="264795" y="114491"/>
                  </a:lnTo>
                  <a:cubicBezTo>
                    <a:pt x="264128" y="114491"/>
                    <a:pt x="263462" y="114491"/>
                    <a:pt x="263462" y="115157"/>
                  </a:cubicBezTo>
                  <a:cubicBezTo>
                    <a:pt x="264795" y="113824"/>
                    <a:pt x="250412" y="127540"/>
                    <a:pt x="248412" y="132969"/>
                  </a:cubicBezTo>
                  <a:cubicBezTo>
                    <a:pt x="249079" y="131636"/>
                    <a:pt x="242887" y="145352"/>
                    <a:pt x="234029" y="150114"/>
                  </a:cubicBezTo>
                  <a:cubicBezTo>
                    <a:pt x="226505" y="153543"/>
                    <a:pt x="228505" y="156972"/>
                    <a:pt x="227171" y="156972"/>
                  </a:cubicBezTo>
                  <a:lnTo>
                    <a:pt x="220313" y="163830"/>
                  </a:lnTo>
                  <a:cubicBezTo>
                    <a:pt x="218218" y="169355"/>
                    <a:pt x="218218" y="170021"/>
                    <a:pt x="210693" y="175451"/>
                  </a:cubicBezTo>
                  <a:lnTo>
                    <a:pt x="210026" y="174784"/>
                  </a:lnTo>
                  <a:cubicBezTo>
                    <a:pt x="207264" y="177546"/>
                    <a:pt x="200406" y="182309"/>
                    <a:pt x="194977" y="190595"/>
                  </a:cubicBezTo>
                  <a:lnTo>
                    <a:pt x="193453" y="190595"/>
                  </a:lnTo>
                  <a:cubicBezTo>
                    <a:pt x="192786" y="191262"/>
                    <a:pt x="192786" y="191929"/>
                    <a:pt x="192786" y="192691"/>
                  </a:cubicBezTo>
                  <a:cubicBezTo>
                    <a:pt x="192786" y="193358"/>
                    <a:pt x="192786" y="193358"/>
                    <a:pt x="193453" y="194024"/>
                  </a:cubicBezTo>
                  <a:lnTo>
                    <a:pt x="189357" y="196120"/>
                  </a:lnTo>
                  <a:cubicBezTo>
                    <a:pt x="188690" y="196120"/>
                    <a:pt x="188690" y="196120"/>
                    <a:pt x="187261" y="195453"/>
                  </a:cubicBezTo>
                  <a:cubicBezTo>
                    <a:pt x="185166" y="200216"/>
                    <a:pt x="174212" y="206407"/>
                    <a:pt x="174212" y="212598"/>
                  </a:cubicBezTo>
                  <a:lnTo>
                    <a:pt x="170783" y="212598"/>
                  </a:lnTo>
                  <a:cubicBezTo>
                    <a:pt x="170783" y="212598"/>
                    <a:pt x="162592" y="213932"/>
                    <a:pt x="145447" y="231077"/>
                  </a:cubicBezTo>
                  <a:lnTo>
                    <a:pt x="144780" y="231077"/>
                  </a:lnTo>
                  <a:cubicBezTo>
                    <a:pt x="142685" y="231077"/>
                    <a:pt x="133826" y="244793"/>
                    <a:pt x="106394" y="244793"/>
                  </a:cubicBezTo>
                  <a:cubicBezTo>
                    <a:pt x="106394" y="244126"/>
                    <a:pt x="85820" y="237935"/>
                    <a:pt x="85153" y="231077"/>
                  </a:cubicBezTo>
                  <a:lnTo>
                    <a:pt x="78962" y="224885"/>
                  </a:lnTo>
                  <a:cubicBezTo>
                    <a:pt x="78962" y="224885"/>
                    <a:pt x="74200" y="220790"/>
                    <a:pt x="72104" y="213265"/>
                  </a:cubicBezTo>
                  <a:lnTo>
                    <a:pt x="70009" y="205740"/>
                  </a:lnTo>
                  <a:lnTo>
                    <a:pt x="70009" y="198882"/>
                  </a:lnTo>
                  <a:cubicBezTo>
                    <a:pt x="70009" y="198215"/>
                    <a:pt x="70676" y="198215"/>
                    <a:pt x="70676" y="196120"/>
                  </a:cubicBezTo>
                  <a:lnTo>
                    <a:pt x="69342" y="191357"/>
                  </a:lnTo>
                  <a:cubicBezTo>
                    <a:pt x="68675" y="190691"/>
                    <a:pt x="68675" y="190691"/>
                    <a:pt x="68675" y="190024"/>
                  </a:cubicBezTo>
                  <a:lnTo>
                    <a:pt x="68675" y="189167"/>
                  </a:lnTo>
                  <a:cubicBezTo>
                    <a:pt x="68675" y="187071"/>
                    <a:pt x="71438" y="187833"/>
                    <a:pt x="71438" y="186404"/>
                  </a:cubicBezTo>
                  <a:lnTo>
                    <a:pt x="70771" y="185738"/>
                  </a:lnTo>
                  <a:cubicBezTo>
                    <a:pt x="70771" y="184404"/>
                    <a:pt x="70771" y="173355"/>
                    <a:pt x="72866" y="173355"/>
                  </a:cubicBezTo>
                  <a:lnTo>
                    <a:pt x="72866" y="172688"/>
                  </a:lnTo>
                  <a:cubicBezTo>
                    <a:pt x="74200" y="165830"/>
                    <a:pt x="74962" y="166497"/>
                    <a:pt x="74962" y="164497"/>
                  </a:cubicBezTo>
                  <a:lnTo>
                    <a:pt x="74962" y="160401"/>
                  </a:lnTo>
                  <a:cubicBezTo>
                    <a:pt x="75628" y="159068"/>
                    <a:pt x="77057" y="156972"/>
                    <a:pt x="77724" y="154210"/>
                  </a:cubicBezTo>
                  <a:lnTo>
                    <a:pt x="77724" y="152114"/>
                  </a:lnTo>
                  <a:cubicBezTo>
                    <a:pt x="78391" y="148685"/>
                    <a:pt x="81153" y="141827"/>
                    <a:pt x="86678" y="138398"/>
                  </a:cubicBezTo>
                  <a:cubicBezTo>
                    <a:pt x="86678" y="137732"/>
                    <a:pt x="86011" y="137732"/>
                    <a:pt x="85344" y="137065"/>
                  </a:cubicBezTo>
                  <a:cubicBezTo>
                    <a:pt x="90107" y="132969"/>
                    <a:pt x="84011" y="129540"/>
                    <a:pt x="95631" y="113062"/>
                  </a:cubicBezTo>
                  <a:cubicBezTo>
                    <a:pt x="95631" y="109633"/>
                    <a:pt x="100394" y="108966"/>
                    <a:pt x="100394" y="107537"/>
                  </a:cubicBezTo>
                  <a:cubicBezTo>
                    <a:pt x="101060" y="107537"/>
                    <a:pt x="103156" y="107537"/>
                    <a:pt x="103823" y="108204"/>
                  </a:cubicBezTo>
                  <a:lnTo>
                    <a:pt x="105918" y="108204"/>
                  </a:lnTo>
                  <a:cubicBezTo>
                    <a:pt x="105918" y="107537"/>
                    <a:pt x="106585" y="107537"/>
                    <a:pt x="106585" y="107537"/>
                  </a:cubicBezTo>
                  <a:lnTo>
                    <a:pt x="105918" y="105442"/>
                  </a:lnTo>
                  <a:lnTo>
                    <a:pt x="103156" y="106109"/>
                  </a:lnTo>
                  <a:cubicBezTo>
                    <a:pt x="102489" y="106109"/>
                    <a:pt x="102489" y="106109"/>
                    <a:pt x="102489" y="105442"/>
                  </a:cubicBezTo>
                  <a:lnTo>
                    <a:pt x="102489" y="103442"/>
                  </a:lnTo>
                  <a:lnTo>
                    <a:pt x="107252" y="98679"/>
                  </a:lnTo>
                  <a:lnTo>
                    <a:pt x="107252" y="99346"/>
                  </a:lnTo>
                  <a:cubicBezTo>
                    <a:pt x="107252" y="100679"/>
                    <a:pt x="107252" y="101441"/>
                    <a:pt x="107918" y="101441"/>
                  </a:cubicBezTo>
                  <a:cubicBezTo>
                    <a:pt x="109252" y="98679"/>
                    <a:pt x="110681" y="100108"/>
                    <a:pt x="110681" y="98679"/>
                  </a:cubicBezTo>
                  <a:cubicBezTo>
                    <a:pt x="110681" y="98012"/>
                    <a:pt x="110681" y="97346"/>
                    <a:pt x="110014" y="95917"/>
                  </a:cubicBezTo>
                  <a:cubicBezTo>
                    <a:pt x="109347" y="95250"/>
                    <a:pt x="109347" y="95250"/>
                    <a:pt x="109347" y="94583"/>
                  </a:cubicBezTo>
                  <a:cubicBezTo>
                    <a:pt x="109347" y="88392"/>
                    <a:pt x="123063" y="76772"/>
                    <a:pt x="125825" y="72676"/>
                  </a:cubicBezTo>
                  <a:cubicBezTo>
                    <a:pt x="126492" y="72676"/>
                    <a:pt x="127159" y="73343"/>
                    <a:pt x="127921" y="73343"/>
                  </a:cubicBezTo>
                  <a:cubicBezTo>
                    <a:pt x="130016" y="69247"/>
                    <a:pt x="135446" y="67151"/>
                    <a:pt x="138875" y="63722"/>
                  </a:cubicBezTo>
                  <a:lnTo>
                    <a:pt x="138875" y="62389"/>
                  </a:lnTo>
                  <a:lnTo>
                    <a:pt x="137255" y="62389"/>
                  </a:lnTo>
                  <a:lnTo>
                    <a:pt x="137255" y="63722"/>
                  </a:lnTo>
                  <a:cubicBezTo>
                    <a:pt x="136589" y="63722"/>
                    <a:pt x="135922" y="63722"/>
                    <a:pt x="135922" y="63056"/>
                  </a:cubicBezTo>
                  <a:cubicBezTo>
                    <a:pt x="135922" y="60960"/>
                    <a:pt x="135922" y="58960"/>
                    <a:pt x="138684" y="58960"/>
                  </a:cubicBezTo>
                  <a:lnTo>
                    <a:pt x="140780" y="58960"/>
                  </a:lnTo>
                  <a:cubicBezTo>
                    <a:pt x="141446" y="58960"/>
                    <a:pt x="142113" y="58960"/>
                    <a:pt x="142113" y="58293"/>
                  </a:cubicBezTo>
                  <a:cubicBezTo>
                    <a:pt x="142113" y="57626"/>
                    <a:pt x="141446" y="56959"/>
                    <a:pt x="141446" y="56198"/>
                  </a:cubicBezTo>
                  <a:lnTo>
                    <a:pt x="142113" y="55531"/>
                  </a:lnTo>
                  <a:lnTo>
                    <a:pt x="140780" y="55531"/>
                  </a:lnTo>
                  <a:lnTo>
                    <a:pt x="140780" y="54864"/>
                  </a:lnTo>
                  <a:cubicBezTo>
                    <a:pt x="140780" y="53531"/>
                    <a:pt x="142875" y="51435"/>
                    <a:pt x="144875" y="50102"/>
                  </a:cubicBezTo>
                  <a:lnTo>
                    <a:pt x="145542" y="50102"/>
                  </a:lnTo>
                  <a:cubicBezTo>
                    <a:pt x="145542" y="50768"/>
                    <a:pt x="145542" y="50768"/>
                    <a:pt x="147638" y="52197"/>
                  </a:cubicBezTo>
                  <a:cubicBezTo>
                    <a:pt x="150400" y="48101"/>
                    <a:pt x="154496" y="38481"/>
                    <a:pt x="162020" y="34385"/>
                  </a:cubicBezTo>
                  <a:lnTo>
                    <a:pt x="165449" y="28861"/>
                  </a:lnTo>
                  <a:cubicBezTo>
                    <a:pt x="170974" y="28861"/>
                    <a:pt x="170212" y="23336"/>
                    <a:pt x="172974" y="23336"/>
                  </a:cubicBezTo>
                  <a:cubicBezTo>
                    <a:pt x="176403" y="23336"/>
                    <a:pt x="174308" y="16478"/>
                    <a:pt x="176403" y="17145"/>
                  </a:cubicBezTo>
                  <a:lnTo>
                    <a:pt x="181166" y="13716"/>
                  </a:lnTo>
                  <a:cubicBezTo>
                    <a:pt x="180499" y="15811"/>
                    <a:pt x="191453" y="1334"/>
                    <a:pt x="200406" y="1334"/>
                  </a:cubicBezTo>
                  <a:lnTo>
                    <a:pt x="203835" y="1334"/>
                  </a:lnTo>
                  <a:cubicBezTo>
                    <a:pt x="204502" y="667"/>
                    <a:pt x="205169" y="0"/>
                    <a:pt x="205931" y="0"/>
                  </a:cubicBezTo>
                  <a:cubicBezTo>
                    <a:pt x="206693" y="0"/>
                    <a:pt x="206502" y="572"/>
                    <a:pt x="207169" y="572"/>
                  </a:cubicBezTo>
                  <a:lnTo>
                    <a:pt x="213360" y="4001"/>
                  </a:lnTo>
                  <a:lnTo>
                    <a:pt x="212693" y="4001"/>
                  </a:lnTo>
                  <a:cubicBezTo>
                    <a:pt x="212693" y="4667"/>
                    <a:pt x="219551" y="7430"/>
                    <a:pt x="222980" y="12192"/>
                  </a:cubicBezTo>
                  <a:lnTo>
                    <a:pt x="223647" y="12192"/>
                  </a:lnTo>
                  <a:cubicBezTo>
                    <a:pt x="226409" y="12192"/>
                    <a:pt x="225743" y="9430"/>
                    <a:pt x="227076" y="9430"/>
                  </a:cubicBezTo>
                  <a:cubicBezTo>
                    <a:pt x="229838" y="11525"/>
                    <a:pt x="234601" y="20384"/>
                    <a:pt x="240125" y="20384"/>
                  </a:cubicBezTo>
                  <a:cubicBezTo>
                    <a:pt x="240125" y="20384"/>
                    <a:pt x="240792" y="20384"/>
                    <a:pt x="240792" y="19717"/>
                  </a:cubicBezTo>
                  <a:cubicBezTo>
                    <a:pt x="242126" y="21812"/>
                    <a:pt x="244221" y="24479"/>
                    <a:pt x="244221" y="24479"/>
                  </a:cubicBezTo>
                  <a:cubicBezTo>
                    <a:pt x="244221" y="24479"/>
                    <a:pt x="244888" y="23813"/>
                    <a:pt x="244888" y="23146"/>
                  </a:cubicBezTo>
                  <a:lnTo>
                    <a:pt x="246221" y="23146"/>
                  </a:lnTo>
                  <a:cubicBezTo>
                    <a:pt x="246221" y="25908"/>
                    <a:pt x="248317" y="27908"/>
                    <a:pt x="250317" y="29337"/>
                  </a:cubicBezTo>
                  <a:cubicBezTo>
                    <a:pt x="250317" y="30671"/>
                    <a:pt x="249650" y="30671"/>
                    <a:pt x="248984" y="30671"/>
                  </a:cubicBezTo>
                  <a:cubicBezTo>
                    <a:pt x="248317" y="30671"/>
                    <a:pt x="248317" y="30671"/>
                    <a:pt x="248317" y="32004"/>
                  </a:cubicBezTo>
                  <a:lnTo>
                    <a:pt x="251746" y="36767"/>
                  </a:lnTo>
                  <a:cubicBezTo>
                    <a:pt x="251746" y="37433"/>
                    <a:pt x="252412" y="37433"/>
                    <a:pt x="253079" y="37433"/>
                  </a:cubicBezTo>
                  <a:cubicBezTo>
                    <a:pt x="253746" y="37433"/>
                    <a:pt x="253746" y="37433"/>
                    <a:pt x="254413" y="36767"/>
                  </a:cubicBezTo>
                  <a:cubicBezTo>
                    <a:pt x="258509" y="39529"/>
                    <a:pt x="255746" y="45720"/>
                    <a:pt x="261271" y="45720"/>
                  </a:cubicBezTo>
                  <a:lnTo>
                    <a:pt x="261937" y="49816"/>
                  </a:lnTo>
                  <a:cubicBezTo>
                    <a:pt x="262604" y="51149"/>
                    <a:pt x="264033" y="54578"/>
                    <a:pt x="264033" y="57341"/>
                  </a:cubicBezTo>
                  <a:lnTo>
                    <a:pt x="264700" y="58007"/>
                  </a:lnTo>
                  <a:cubicBezTo>
                    <a:pt x="266033" y="57341"/>
                    <a:pt x="266795" y="56674"/>
                    <a:pt x="267462" y="55245"/>
                  </a:cubicBezTo>
                  <a:lnTo>
                    <a:pt x="266795" y="55245"/>
                  </a:lnTo>
                  <a:cubicBezTo>
                    <a:pt x="266795" y="54578"/>
                    <a:pt x="277082" y="49054"/>
                    <a:pt x="278416" y="41529"/>
                  </a:cubicBezTo>
                  <a:lnTo>
                    <a:pt x="282512" y="39434"/>
                  </a:lnTo>
                  <a:lnTo>
                    <a:pt x="282512" y="35338"/>
                  </a:lnTo>
                  <a:cubicBezTo>
                    <a:pt x="283178" y="34671"/>
                    <a:pt x="283845" y="34004"/>
                    <a:pt x="285941" y="34004"/>
                  </a:cubicBezTo>
                  <a:cubicBezTo>
                    <a:pt x="285941" y="33338"/>
                    <a:pt x="285274" y="32671"/>
                    <a:pt x="285274" y="32671"/>
                  </a:cubicBezTo>
                  <a:cubicBezTo>
                    <a:pt x="285274" y="29909"/>
                    <a:pt x="287369" y="29242"/>
                    <a:pt x="289370" y="28575"/>
                  </a:cubicBezTo>
                  <a:cubicBezTo>
                    <a:pt x="288036" y="30671"/>
                    <a:pt x="300990" y="11430"/>
                    <a:pt x="303752" y="11430"/>
                  </a:cubicBezTo>
                  <a:cubicBezTo>
                    <a:pt x="304419" y="11430"/>
                    <a:pt x="308515" y="16193"/>
                    <a:pt x="309277" y="16955"/>
                  </a:cubicBezTo>
                  <a:cubicBezTo>
                    <a:pt x="309277" y="16288"/>
                    <a:pt x="309944" y="13526"/>
                    <a:pt x="311372" y="13526"/>
                  </a:cubicBezTo>
                  <a:cubicBezTo>
                    <a:pt x="313468" y="13526"/>
                    <a:pt x="320326" y="21717"/>
                    <a:pt x="320993" y="21717"/>
                  </a:cubicBezTo>
                  <a:cubicBezTo>
                    <a:pt x="321659" y="21717"/>
                    <a:pt x="323088" y="21717"/>
                    <a:pt x="323088" y="21050"/>
                  </a:cubicBezTo>
                  <a:cubicBezTo>
                    <a:pt x="323088" y="21050"/>
                    <a:pt x="323755" y="20384"/>
                    <a:pt x="324422" y="20384"/>
                  </a:cubicBezTo>
                  <a:cubicBezTo>
                    <a:pt x="325088" y="20384"/>
                    <a:pt x="326517" y="21050"/>
                    <a:pt x="327184" y="22479"/>
                  </a:cubicBezTo>
                  <a:lnTo>
                    <a:pt x="328517" y="23813"/>
                  </a:lnTo>
                  <a:cubicBezTo>
                    <a:pt x="327851" y="24479"/>
                    <a:pt x="327851" y="24479"/>
                    <a:pt x="327851" y="25146"/>
                  </a:cubicBezTo>
                  <a:cubicBezTo>
                    <a:pt x="327851" y="25813"/>
                    <a:pt x="328517" y="27908"/>
                    <a:pt x="329946" y="29242"/>
                  </a:cubicBezTo>
                  <a:cubicBezTo>
                    <a:pt x="329946" y="29242"/>
                    <a:pt x="330613" y="28575"/>
                    <a:pt x="331280" y="27146"/>
                  </a:cubicBezTo>
                  <a:lnTo>
                    <a:pt x="331946" y="27146"/>
                  </a:lnTo>
                  <a:cubicBezTo>
                    <a:pt x="335375" y="31242"/>
                    <a:pt x="339471" y="32671"/>
                    <a:pt x="339471" y="38100"/>
                  </a:cubicBezTo>
                  <a:cubicBezTo>
                    <a:pt x="340138" y="38100"/>
                    <a:pt x="336709" y="39434"/>
                    <a:pt x="336709" y="42196"/>
                  </a:cubicBezTo>
                  <a:cubicBezTo>
                    <a:pt x="336709" y="42863"/>
                    <a:pt x="337376" y="42863"/>
                    <a:pt x="338042" y="43529"/>
                  </a:cubicBezTo>
                  <a:lnTo>
                    <a:pt x="338042" y="44196"/>
                  </a:lnTo>
                  <a:cubicBezTo>
                    <a:pt x="336709" y="45530"/>
                    <a:pt x="336709" y="46292"/>
                    <a:pt x="336709" y="46958"/>
                  </a:cubicBezTo>
                  <a:cubicBezTo>
                    <a:pt x="336709" y="49054"/>
                    <a:pt x="337376" y="50387"/>
                    <a:pt x="337376" y="51054"/>
                  </a:cubicBezTo>
                  <a:cubicBezTo>
                    <a:pt x="337376" y="55150"/>
                    <a:pt x="334613" y="60674"/>
                    <a:pt x="334613" y="64770"/>
                  </a:cubicBezTo>
                  <a:cubicBezTo>
                    <a:pt x="335280" y="66104"/>
                    <a:pt x="335947" y="68199"/>
                    <a:pt x="335947" y="69533"/>
                  </a:cubicBezTo>
                  <a:cubicBezTo>
                    <a:pt x="335947" y="73628"/>
                    <a:pt x="334613" y="76391"/>
                    <a:pt x="333185" y="79820"/>
                  </a:cubicBezTo>
                  <a:lnTo>
                    <a:pt x="333185" y="83915"/>
                  </a:lnTo>
                  <a:cubicBezTo>
                    <a:pt x="333851" y="85249"/>
                    <a:pt x="333851" y="86011"/>
                    <a:pt x="333851" y="86678"/>
                  </a:cubicBezTo>
                  <a:cubicBezTo>
                    <a:pt x="333851" y="88011"/>
                    <a:pt x="333185" y="92869"/>
                    <a:pt x="331756" y="93536"/>
                  </a:cubicBezTo>
                  <a:cubicBezTo>
                    <a:pt x="332423" y="93536"/>
                    <a:pt x="334518" y="93536"/>
                    <a:pt x="334518" y="94869"/>
                  </a:cubicBezTo>
                  <a:lnTo>
                    <a:pt x="335185" y="96203"/>
                  </a:lnTo>
                  <a:cubicBezTo>
                    <a:pt x="335852" y="96869"/>
                    <a:pt x="335852" y="97536"/>
                    <a:pt x="335852" y="97536"/>
                  </a:cubicBezTo>
                  <a:lnTo>
                    <a:pt x="335185" y="97536"/>
                  </a:lnTo>
                  <a:lnTo>
                    <a:pt x="332423" y="98203"/>
                  </a:lnTo>
                  <a:cubicBezTo>
                    <a:pt x="332423" y="100965"/>
                    <a:pt x="333756" y="98870"/>
                    <a:pt x="333756" y="100965"/>
                  </a:cubicBezTo>
                  <a:cubicBezTo>
                    <a:pt x="333089" y="102299"/>
                    <a:pt x="333089" y="103061"/>
                    <a:pt x="333089" y="104394"/>
                  </a:cubicBezTo>
                  <a:cubicBezTo>
                    <a:pt x="333089" y="105728"/>
                    <a:pt x="333089" y="107823"/>
                    <a:pt x="333756" y="109919"/>
                  </a:cubicBezTo>
                  <a:lnTo>
                    <a:pt x="333756" y="111252"/>
                  </a:lnTo>
                  <a:cubicBezTo>
                    <a:pt x="333756" y="116015"/>
                    <a:pt x="334423" y="116777"/>
                    <a:pt x="334423" y="118110"/>
                  </a:cubicBezTo>
                  <a:cubicBezTo>
                    <a:pt x="334423" y="119444"/>
                    <a:pt x="331661" y="123634"/>
                    <a:pt x="331661" y="126302"/>
                  </a:cubicBezTo>
                  <a:cubicBezTo>
                    <a:pt x="331661" y="124968"/>
                    <a:pt x="332994" y="123539"/>
                    <a:pt x="332994" y="123539"/>
                  </a:cubicBezTo>
                  <a:lnTo>
                    <a:pt x="334328" y="123539"/>
                  </a:lnTo>
                  <a:cubicBezTo>
                    <a:pt x="333661" y="124206"/>
                    <a:pt x="333661" y="125635"/>
                    <a:pt x="333661" y="126302"/>
                  </a:cubicBezTo>
                  <a:cubicBezTo>
                    <a:pt x="333661" y="129064"/>
                    <a:pt x="334994" y="131064"/>
                    <a:pt x="334994" y="132493"/>
                  </a:cubicBezTo>
                  <a:cubicBezTo>
                    <a:pt x="334328" y="133826"/>
                    <a:pt x="334328" y="134588"/>
                    <a:pt x="334328" y="135255"/>
                  </a:cubicBezTo>
                  <a:cubicBezTo>
                    <a:pt x="334328" y="136589"/>
                    <a:pt x="336423" y="139351"/>
                    <a:pt x="337090" y="141446"/>
                  </a:cubicBezTo>
                  <a:cubicBezTo>
                    <a:pt x="337090" y="142113"/>
                    <a:pt x="336423" y="142113"/>
                    <a:pt x="336423" y="144209"/>
                  </a:cubicBezTo>
                  <a:lnTo>
                    <a:pt x="336423" y="145542"/>
                  </a:lnTo>
                  <a:cubicBezTo>
                    <a:pt x="336423" y="147638"/>
                    <a:pt x="335756" y="148304"/>
                    <a:pt x="334328" y="148304"/>
                  </a:cubicBezTo>
                  <a:cubicBezTo>
                    <a:pt x="334328" y="148971"/>
                    <a:pt x="336423" y="153067"/>
                    <a:pt x="336423" y="154496"/>
                  </a:cubicBezTo>
                  <a:cubicBezTo>
                    <a:pt x="336423" y="155924"/>
                    <a:pt x="333661" y="157258"/>
                    <a:pt x="333661" y="158591"/>
                  </a:cubicBezTo>
                  <a:cubicBezTo>
                    <a:pt x="333661" y="159258"/>
                    <a:pt x="334328" y="160687"/>
                    <a:pt x="334328" y="161354"/>
                  </a:cubicBezTo>
                  <a:cubicBezTo>
                    <a:pt x="333661" y="163449"/>
                    <a:pt x="333661" y="165449"/>
                    <a:pt x="333661" y="166878"/>
                  </a:cubicBezTo>
                  <a:cubicBezTo>
                    <a:pt x="333661" y="167545"/>
                    <a:pt x="333661" y="168974"/>
                    <a:pt x="335756" y="170307"/>
                  </a:cubicBezTo>
                  <a:cubicBezTo>
                    <a:pt x="333661" y="170307"/>
                    <a:pt x="333661" y="170974"/>
                    <a:pt x="333661" y="171641"/>
                  </a:cubicBezTo>
                  <a:cubicBezTo>
                    <a:pt x="333661" y="173736"/>
                    <a:pt x="333661" y="174403"/>
                    <a:pt x="334994" y="175736"/>
                  </a:cubicBezTo>
                  <a:cubicBezTo>
                    <a:pt x="334994" y="176403"/>
                    <a:pt x="331565" y="180499"/>
                    <a:pt x="331565" y="186690"/>
                  </a:cubicBezTo>
                  <a:lnTo>
                    <a:pt x="331565" y="189452"/>
                  </a:lnTo>
                  <a:cubicBezTo>
                    <a:pt x="332232" y="190119"/>
                    <a:pt x="332899" y="191548"/>
                    <a:pt x="332899" y="192215"/>
                  </a:cubicBezTo>
                  <a:cubicBezTo>
                    <a:pt x="332899" y="193548"/>
                    <a:pt x="330803" y="194977"/>
                    <a:pt x="330803" y="196310"/>
                  </a:cubicBezTo>
                  <a:cubicBezTo>
                    <a:pt x="330803" y="197644"/>
                    <a:pt x="332899" y="199073"/>
                    <a:pt x="332899" y="199739"/>
                  </a:cubicBezTo>
                  <a:cubicBezTo>
                    <a:pt x="332899" y="200406"/>
                    <a:pt x="330803" y="204502"/>
                    <a:pt x="330803" y="205931"/>
                  </a:cubicBezTo>
                  <a:cubicBezTo>
                    <a:pt x="330803" y="206597"/>
                    <a:pt x="332137" y="207264"/>
                    <a:pt x="332137" y="207264"/>
                  </a:cubicBezTo>
                  <a:cubicBezTo>
                    <a:pt x="333470" y="205931"/>
                    <a:pt x="334232" y="205931"/>
                    <a:pt x="335566" y="205931"/>
                  </a:cubicBezTo>
                  <a:lnTo>
                    <a:pt x="337661" y="205931"/>
                  </a:lnTo>
                  <a:cubicBezTo>
                    <a:pt x="338328" y="205931"/>
                    <a:pt x="338995" y="205931"/>
                    <a:pt x="339757" y="205264"/>
                  </a:cubicBezTo>
                  <a:lnTo>
                    <a:pt x="340424" y="205931"/>
                  </a:lnTo>
                  <a:cubicBezTo>
                    <a:pt x="339090" y="206597"/>
                    <a:pt x="336328" y="208693"/>
                    <a:pt x="333566" y="208693"/>
                  </a:cubicBezTo>
                  <a:lnTo>
                    <a:pt x="332899" y="208693"/>
                  </a:lnTo>
                  <a:lnTo>
                    <a:pt x="331565" y="209360"/>
                  </a:lnTo>
                  <a:cubicBezTo>
                    <a:pt x="331565" y="210693"/>
                    <a:pt x="331565" y="209360"/>
                    <a:pt x="332899" y="211455"/>
                  </a:cubicBezTo>
                  <a:cubicBezTo>
                    <a:pt x="332899" y="211455"/>
                    <a:pt x="333566" y="211455"/>
                    <a:pt x="333566" y="210788"/>
                  </a:cubicBezTo>
                  <a:lnTo>
                    <a:pt x="336328" y="210788"/>
                  </a:lnTo>
                  <a:cubicBezTo>
                    <a:pt x="337661" y="210122"/>
                    <a:pt x="339090" y="210122"/>
                    <a:pt x="339757" y="210122"/>
                  </a:cubicBezTo>
                  <a:cubicBezTo>
                    <a:pt x="340424" y="210122"/>
                    <a:pt x="341090" y="210122"/>
                    <a:pt x="341852" y="210788"/>
                  </a:cubicBezTo>
                  <a:cubicBezTo>
                    <a:pt x="340519" y="210788"/>
                    <a:pt x="348710" y="208026"/>
                    <a:pt x="352806" y="206026"/>
                  </a:cubicBezTo>
                  <a:cubicBezTo>
                    <a:pt x="352806" y="206026"/>
                    <a:pt x="353473" y="206693"/>
                    <a:pt x="354140" y="206693"/>
                  </a:cubicBezTo>
                  <a:lnTo>
                    <a:pt x="354140" y="208026"/>
                  </a:lnTo>
                  <a:cubicBezTo>
                    <a:pt x="353473" y="208693"/>
                    <a:pt x="352044" y="208693"/>
                    <a:pt x="351377" y="210122"/>
                  </a:cubicBezTo>
                  <a:cubicBezTo>
                    <a:pt x="352044" y="210122"/>
                    <a:pt x="351377" y="210788"/>
                    <a:pt x="355473" y="210788"/>
                  </a:cubicBezTo>
                  <a:lnTo>
                    <a:pt x="356140" y="207359"/>
                  </a:lnTo>
                  <a:cubicBezTo>
                    <a:pt x="355473" y="207359"/>
                    <a:pt x="355473" y="206693"/>
                    <a:pt x="355473" y="206693"/>
                  </a:cubicBezTo>
                  <a:cubicBezTo>
                    <a:pt x="355473" y="206693"/>
                    <a:pt x="355473" y="206026"/>
                    <a:pt x="356140" y="206026"/>
                  </a:cubicBezTo>
                  <a:cubicBezTo>
                    <a:pt x="358902" y="205359"/>
                    <a:pt x="360902" y="202597"/>
                    <a:pt x="365760" y="202597"/>
                  </a:cubicBezTo>
                  <a:lnTo>
                    <a:pt x="365760" y="203930"/>
                  </a:lnTo>
                  <a:cubicBezTo>
                    <a:pt x="365760" y="205264"/>
                    <a:pt x="366427" y="206026"/>
                    <a:pt x="366427" y="206693"/>
                  </a:cubicBezTo>
                  <a:cubicBezTo>
                    <a:pt x="365760" y="208788"/>
                    <a:pt x="364331" y="210122"/>
                    <a:pt x="362331" y="210788"/>
                  </a:cubicBezTo>
                  <a:lnTo>
                    <a:pt x="362331" y="211455"/>
                  </a:lnTo>
                  <a:cubicBezTo>
                    <a:pt x="362998" y="211455"/>
                    <a:pt x="362998" y="212122"/>
                    <a:pt x="362998" y="212122"/>
                  </a:cubicBezTo>
                  <a:lnTo>
                    <a:pt x="364903" y="212122"/>
                  </a:lnTo>
                  <a:cubicBezTo>
                    <a:pt x="364903" y="212122"/>
                    <a:pt x="365570" y="212122"/>
                    <a:pt x="365570" y="212789"/>
                  </a:cubicBezTo>
                  <a:cubicBezTo>
                    <a:pt x="365570" y="212789"/>
                    <a:pt x="365570" y="214122"/>
                    <a:pt x="364903" y="214122"/>
                  </a:cubicBezTo>
                  <a:cubicBezTo>
                    <a:pt x="364903" y="214789"/>
                    <a:pt x="364903" y="214789"/>
                    <a:pt x="365570" y="215456"/>
                  </a:cubicBezTo>
                  <a:lnTo>
                    <a:pt x="367665" y="215456"/>
                  </a:lnTo>
                  <a:cubicBezTo>
                    <a:pt x="368999" y="215456"/>
                    <a:pt x="368999" y="214122"/>
                    <a:pt x="370427" y="214122"/>
                  </a:cubicBezTo>
                  <a:cubicBezTo>
                    <a:pt x="371094" y="214122"/>
                    <a:pt x="371094" y="214122"/>
                    <a:pt x="371761" y="214789"/>
                  </a:cubicBezTo>
                  <a:cubicBezTo>
                    <a:pt x="371761" y="214122"/>
                    <a:pt x="373856" y="210026"/>
                    <a:pt x="375857" y="210026"/>
                  </a:cubicBezTo>
                  <a:cubicBezTo>
                    <a:pt x="375857" y="210026"/>
                    <a:pt x="375857" y="210693"/>
                    <a:pt x="377190" y="210693"/>
                  </a:cubicBezTo>
                  <a:cubicBezTo>
                    <a:pt x="377190" y="210693"/>
                    <a:pt x="379286" y="210026"/>
                    <a:pt x="379286" y="209360"/>
                  </a:cubicBezTo>
                  <a:cubicBezTo>
                    <a:pt x="382048" y="210693"/>
                    <a:pt x="384810" y="210693"/>
                    <a:pt x="386810" y="210693"/>
                  </a:cubicBezTo>
                  <a:cubicBezTo>
                    <a:pt x="388811" y="210693"/>
                    <a:pt x="390239" y="210693"/>
                    <a:pt x="390239" y="211360"/>
                  </a:cubicBezTo>
                  <a:cubicBezTo>
                    <a:pt x="388144" y="212027"/>
                    <a:pt x="388144" y="212693"/>
                    <a:pt x="388144" y="213455"/>
                  </a:cubicBezTo>
                  <a:cubicBezTo>
                    <a:pt x="388144" y="213455"/>
                    <a:pt x="388144" y="214122"/>
                    <a:pt x="387477" y="214122"/>
                  </a:cubicBezTo>
                  <a:cubicBezTo>
                    <a:pt x="386144" y="214122"/>
                    <a:pt x="385382" y="214122"/>
                    <a:pt x="384715" y="213455"/>
                  </a:cubicBezTo>
                  <a:cubicBezTo>
                    <a:pt x="384715" y="213455"/>
                    <a:pt x="384715" y="215551"/>
                    <a:pt x="381286" y="215551"/>
                  </a:cubicBezTo>
                  <a:lnTo>
                    <a:pt x="378524" y="215551"/>
                  </a:lnTo>
                  <a:cubicBezTo>
                    <a:pt x="377857" y="216884"/>
                    <a:pt x="376428" y="216884"/>
                    <a:pt x="375761" y="216884"/>
                  </a:cubicBezTo>
                  <a:lnTo>
                    <a:pt x="375095" y="217551"/>
                  </a:lnTo>
                  <a:lnTo>
                    <a:pt x="376428" y="219647"/>
                  </a:lnTo>
                  <a:cubicBezTo>
                    <a:pt x="376428" y="220313"/>
                    <a:pt x="376428" y="220313"/>
                    <a:pt x="375761" y="220313"/>
                  </a:cubicBezTo>
                  <a:lnTo>
                    <a:pt x="375761" y="219647"/>
                  </a:lnTo>
                  <a:cubicBezTo>
                    <a:pt x="372999" y="220980"/>
                    <a:pt x="370999" y="221742"/>
                    <a:pt x="367570" y="221742"/>
                  </a:cubicBezTo>
                  <a:cubicBezTo>
                    <a:pt x="365474" y="219647"/>
                    <a:pt x="366236" y="219647"/>
                    <a:pt x="364808" y="219647"/>
                  </a:cubicBezTo>
                  <a:cubicBezTo>
                    <a:pt x="365474" y="219647"/>
                    <a:pt x="359283" y="225171"/>
                    <a:pt x="355187" y="227171"/>
                  </a:cubicBezTo>
                  <a:cubicBezTo>
                    <a:pt x="354521" y="226505"/>
                    <a:pt x="354521" y="227171"/>
                    <a:pt x="353092" y="225838"/>
                  </a:cubicBezTo>
                  <a:cubicBezTo>
                    <a:pt x="350996" y="225838"/>
                    <a:pt x="350330" y="226505"/>
                    <a:pt x="342805" y="229934"/>
                  </a:cubicBezTo>
                  <a:lnTo>
                    <a:pt x="339376" y="227838"/>
                  </a:lnTo>
                  <a:cubicBezTo>
                    <a:pt x="339376" y="227838"/>
                    <a:pt x="338042" y="228505"/>
                    <a:pt x="337280" y="228505"/>
                  </a:cubicBezTo>
                  <a:lnTo>
                    <a:pt x="337280" y="230600"/>
                  </a:lnTo>
                  <a:cubicBezTo>
                    <a:pt x="337280" y="231934"/>
                    <a:pt x="337280" y="231934"/>
                    <a:pt x="336614" y="232696"/>
                  </a:cubicBezTo>
                  <a:cubicBezTo>
                    <a:pt x="335947" y="232696"/>
                    <a:pt x="335947" y="232029"/>
                    <a:pt x="335280" y="232029"/>
                  </a:cubicBezTo>
                  <a:cubicBezTo>
                    <a:pt x="331184" y="232029"/>
                    <a:pt x="329089" y="242983"/>
                    <a:pt x="329089" y="247079"/>
                  </a:cubicBezTo>
                  <a:lnTo>
                    <a:pt x="329089" y="248222"/>
                  </a:lnTo>
                  <a:cubicBezTo>
                    <a:pt x="329089" y="250317"/>
                    <a:pt x="329756" y="252317"/>
                    <a:pt x="330422" y="252984"/>
                  </a:cubicBezTo>
                  <a:cubicBezTo>
                    <a:pt x="329089" y="252984"/>
                    <a:pt x="328327" y="253651"/>
                    <a:pt x="328327" y="254318"/>
                  </a:cubicBezTo>
                  <a:cubicBezTo>
                    <a:pt x="328327" y="256413"/>
                    <a:pt x="330422" y="257747"/>
                    <a:pt x="330422" y="260509"/>
                  </a:cubicBezTo>
                  <a:cubicBezTo>
                    <a:pt x="330422" y="261176"/>
                    <a:pt x="329756" y="262604"/>
                    <a:pt x="329089" y="262604"/>
                  </a:cubicBezTo>
                  <a:lnTo>
                    <a:pt x="329089" y="265367"/>
                  </a:lnTo>
                  <a:lnTo>
                    <a:pt x="328422" y="265367"/>
                  </a:lnTo>
                  <a:cubicBezTo>
                    <a:pt x="327755" y="265367"/>
                    <a:pt x="327755" y="264700"/>
                    <a:pt x="327755" y="264700"/>
                  </a:cubicBezTo>
                  <a:lnTo>
                    <a:pt x="327089" y="265367"/>
                  </a:lnTo>
                  <a:cubicBezTo>
                    <a:pt x="327089" y="265367"/>
                    <a:pt x="328422" y="268796"/>
                    <a:pt x="328422" y="269462"/>
                  </a:cubicBezTo>
                  <a:lnTo>
                    <a:pt x="327755" y="270129"/>
                  </a:lnTo>
                  <a:lnTo>
                    <a:pt x="327755" y="269462"/>
                  </a:lnTo>
                  <a:lnTo>
                    <a:pt x="327089" y="268796"/>
                  </a:lnTo>
                  <a:cubicBezTo>
                    <a:pt x="324326" y="270129"/>
                    <a:pt x="323660" y="271558"/>
                    <a:pt x="323660" y="274320"/>
                  </a:cubicBezTo>
                  <a:cubicBezTo>
                    <a:pt x="323660" y="275654"/>
                    <a:pt x="324326" y="277082"/>
                    <a:pt x="324326" y="277749"/>
                  </a:cubicBezTo>
                  <a:cubicBezTo>
                    <a:pt x="324326" y="278416"/>
                    <a:pt x="323660" y="279083"/>
                    <a:pt x="323660" y="279845"/>
                  </a:cubicBezTo>
                  <a:cubicBezTo>
                    <a:pt x="323660" y="280511"/>
                    <a:pt x="323660" y="280511"/>
                    <a:pt x="324326" y="281178"/>
                  </a:cubicBezTo>
                  <a:lnTo>
                    <a:pt x="326422" y="281178"/>
                  </a:lnTo>
                  <a:cubicBezTo>
                    <a:pt x="326422" y="281178"/>
                    <a:pt x="327089" y="281845"/>
                    <a:pt x="327089" y="282512"/>
                  </a:cubicBezTo>
                  <a:cubicBezTo>
                    <a:pt x="326422" y="282512"/>
                    <a:pt x="325755" y="283178"/>
                    <a:pt x="324993" y="283178"/>
                  </a:cubicBezTo>
                  <a:lnTo>
                    <a:pt x="322898" y="281083"/>
                  </a:lnTo>
                  <a:lnTo>
                    <a:pt x="321564" y="281083"/>
                  </a:lnTo>
                  <a:cubicBezTo>
                    <a:pt x="321564" y="285845"/>
                    <a:pt x="322898" y="288608"/>
                    <a:pt x="322898" y="289274"/>
                  </a:cubicBezTo>
                  <a:cubicBezTo>
                    <a:pt x="322898" y="289941"/>
                    <a:pt x="322231" y="290608"/>
                    <a:pt x="322231" y="291370"/>
                  </a:cubicBezTo>
                  <a:cubicBezTo>
                    <a:pt x="323564" y="291370"/>
                    <a:pt x="323564" y="292037"/>
                    <a:pt x="323564" y="292703"/>
                  </a:cubicBezTo>
                  <a:lnTo>
                    <a:pt x="322231" y="294037"/>
                  </a:lnTo>
                  <a:lnTo>
                    <a:pt x="322231" y="291274"/>
                  </a:lnTo>
                  <a:cubicBezTo>
                    <a:pt x="320897" y="291941"/>
                    <a:pt x="320897" y="292608"/>
                    <a:pt x="320897" y="294704"/>
                  </a:cubicBezTo>
                  <a:cubicBezTo>
                    <a:pt x="320897" y="296037"/>
                    <a:pt x="320897" y="296037"/>
                    <a:pt x="321564" y="296799"/>
                  </a:cubicBezTo>
                  <a:cubicBezTo>
                    <a:pt x="320897" y="296799"/>
                    <a:pt x="319469" y="300895"/>
                    <a:pt x="319469" y="300895"/>
                  </a:cubicBezTo>
                  <a:cubicBezTo>
                    <a:pt x="319469" y="301562"/>
                    <a:pt x="319469" y="301562"/>
                    <a:pt x="320135" y="303657"/>
                  </a:cubicBezTo>
                  <a:cubicBezTo>
                    <a:pt x="320135" y="304324"/>
                    <a:pt x="320135" y="304991"/>
                    <a:pt x="319469" y="305753"/>
                  </a:cubicBezTo>
                  <a:lnTo>
                    <a:pt x="318802" y="305753"/>
                  </a:lnTo>
                  <a:lnTo>
                    <a:pt x="318802" y="306419"/>
                  </a:lnTo>
                  <a:cubicBezTo>
                    <a:pt x="318802" y="307753"/>
                    <a:pt x="319469" y="308515"/>
                    <a:pt x="320135" y="308515"/>
                  </a:cubicBezTo>
                  <a:lnTo>
                    <a:pt x="320135" y="309848"/>
                  </a:lnTo>
                  <a:cubicBezTo>
                    <a:pt x="320802" y="310515"/>
                    <a:pt x="319469" y="309848"/>
                    <a:pt x="318802" y="309848"/>
                  </a:cubicBezTo>
                  <a:cubicBezTo>
                    <a:pt x="318135" y="309848"/>
                    <a:pt x="317468" y="309848"/>
                    <a:pt x="317468" y="311944"/>
                  </a:cubicBezTo>
                  <a:lnTo>
                    <a:pt x="317468" y="314039"/>
                  </a:lnTo>
                  <a:cubicBezTo>
                    <a:pt x="317468" y="314706"/>
                    <a:pt x="317468" y="315373"/>
                    <a:pt x="318135" y="316135"/>
                  </a:cubicBezTo>
                  <a:lnTo>
                    <a:pt x="318135" y="317468"/>
                  </a:lnTo>
                  <a:cubicBezTo>
                    <a:pt x="316040" y="320897"/>
                    <a:pt x="316040" y="322993"/>
                    <a:pt x="315373" y="325660"/>
                  </a:cubicBezTo>
                  <a:cubicBezTo>
                    <a:pt x="315373" y="326993"/>
                    <a:pt x="316040" y="328422"/>
                    <a:pt x="316706" y="329756"/>
                  </a:cubicBezTo>
                  <a:lnTo>
                    <a:pt x="314611" y="331089"/>
                  </a:lnTo>
                  <a:cubicBezTo>
                    <a:pt x="313944" y="332422"/>
                    <a:pt x="313944" y="332422"/>
                    <a:pt x="313944" y="333185"/>
                  </a:cubicBezTo>
                  <a:cubicBezTo>
                    <a:pt x="313944" y="334518"/>
                    <a:pt x="315278" y="335947"/>
                    <a:pt x="315278" y="337280"/>
                  </a:cubicBezTo>
                  <a:cubicBezTo>
                    <a:pt x="315278" y="337947"/>
                    <a:pt x="314611" y="339376"/>
                    <a:pt x="314611" y="339376"/>
                  </a:cubicBezTo>
                  <a:cubicBezTo>
                    <a:pt x="314611" y="339376"/>
                    <a:pt x="313944" y="339376"/>
                    <a:pt x="312515" y="338709"/>
                  </a:cubicBezTo>
                  <a:cubicBezTo>
                    <a:pt x="312515" y="340805"/>
                    <a:pt x="311182" y="346901"/>
                    <a:pt x="311182" y="349663"/>
                  </a:cubicBezTo>
                  <a:lnTo>
                    <a:pt x="311182" y="351758"/>
                  </a:lnTo>
                  <a:cubicBezTo>
                    <a:pt x="311849" y="352425"/>
                    <a:pt x="311849" y="353092"/>
                    <a:pt x="311849" y="353854"/>
                  </a:cubicBezTo>
                  <a:cubicBezTo>
                    <a:pt x="311849" y="356616"/>
                    <a:pt x="311182" y="351758"/>
                    <a:pt x="305657" y="365474"/>
                  </a:cubicBezTo>
                  <a:lnTo>
                    <a:pt x="305657" y="366808"/>
                  </a:lnTo>
                  <a:cubicBezTo>
                    <a:pt x="305657" y="366808"/>
                    <a:pt x="305657" y="367474"/>
                    <a:pt x="306991" y="367474"/>
                  </a:cubicBezTo>
                  <a:cubicBezTo>
                    <a:pt x="306991" y="370904"/>
                    <a:pt x="306991" y="370904"/>
                    <a:pt x="304895" y="372237"/>
                  </a:cubicBezTo>
                  <a:cubicBezTo>
                    <a:pt x="304895" y="372904"/>
                    <a:pt x="304895" y="373571"/>
                    <a:pt x="305562" y="374333"/>
                  </a:cubicBezTo>
                  <a:cubicBezTo>
                    <a:pt x="305562" y="374999"/>
                    <a:pt x="304895" y="375666"/>
                    <a:pt x="304229" y="376428"/>
                  </a:cubicBezTo>
                  <a:lnTo>
                    <a:pt x="304229" y="379190"/>
                  </a:lnTo>
                  <a:cubicBezTo>
                    <a:pt x="304229" y="379190"/>
                    <a:pt x="302895" y="390811"/>
                    <a:pt x="298704" y="393573"/>
                  </a:cubicBezTo>
                  <a:cubicBezTo>
                    <a:pt x="299371" y="394907"/>
                    <a:pt x="299371" y="395669"/>
                    <a:pt x="299371" y="396335"/>
                  </a:cubicBezTo>
                  <a:cubicBezTo>
                    <a:pt x="299371" y="403860"/>
                    <a:pt x="293180" y="412147"/>
                    <a:pt x="291846" y="418243"/>
                  </a:cubicBezTo>
                  <a:lnTo>
                    <a:pt x="291560" y="418243"/>
                  </a:lnTo>
                  <a:cubicBezTo>
                    <a:pt x="291560" y="418243"/>
                    <a:pt x="290894" y="418910"/>
                    <a:pt x="290894" y="419576"/>
                  </a:cubicBezTo>
                  <a:lnTo>
                    <a:pt x="290227" y="423005"/>
                  </a:lnTo>
                  <a:cubicBezTo>
                    <a:pt x="287465" y="425101"/>
                    <a:pt x="286131" y="429863"/>
                    <a:pt x="286131" y="430530"/>
                  </a:cubicBezTo>
                  <a:cubicBezTo>
                    <a:pt x="286131" y="431197"/>
                    <a:pt x="286131" y="431864"/>
                    <a:pt x="286798" y="431864"/>
                  </a:cubicBezTo>
                  <a:cubicBezTo>
                    <a:pt x="286798" y="433959"/>
                    <a:pt x="284702" y="435293"/>
                    <a:pt x="283369" y="439388"/>
                  </a:cubicBezTo>
                  <a:lnTo>
                    <a:pt x="283369" y="440055"/>
                  </a:lnTo>
                  <a:lnTo>
                    <a:pt x="284036" y="441389"/>
                  </a:lnTo>
                  <a:cubicBezTo>
                    <a:pt x="284036" y="442722"/>
                    <a:pt x="283369" y="442722"/>
                    <a:pt x="283369" y="442722"/>
                  </a:cubicBezTo>
                  <a:cubicBezTo>
                    <a:pt x="282702" y="442722"/>
                    <a:pt x="283369" y="441389"/>
                    <a:pt x="280607" y="441389"/>
                  </a:cubicBezTo>
                  <a:cubicBezTo>
                    <a:pt x="280607" y="451676"/>
                    <a:pt x="279273" y="448247"/>
                    <a:pt x="277844" y="454438"/>
                  </a:cubicBezTo>
                  <a:cubicBezTo>
                    <a:pt x="277178" y="454438"/>
                    <a:pt x="275082" y="464058"/>
                    <a:pt x="272320" y="466820"/>
                  </a:cubicBezTo>
                  <a:lnTo>
                    <a:pt x="273653" y="466820"/>
                  </a:lnTo>
                  <a:cubicBezTo>
                    <a:pt x="274320" y="467487"/>
                    <a:pt x="274987" y="467487"/>
                    <a:pt x="274987" y="467487"/>
                  </a:cubicBezTo>
                  <a:lnTo>
                    <a:pt x="274320" y="468154"/>
                  </a:lnTo>
                  <a:lnTo>
                    <a:pt x="272987" y="468154"/>
                  </a:lnTo>
                  <a:cubicBezTo>
                    <a:pt x="274320" y="468154"/>
                    <a:pt x="262033" y="479774"/>
                    <a:pt x="262033" y="486632"/>
                  </a:cubicBezTo>
                  <a:cubicBezTo>
                    <a:pt x="262700" y="487299"/>
                    <a:pt x="262700" y="487966"/>
                    <a:pt x="262700" y="487966"/>
                  </a:cubicBezTo>
                  <a:lnTo>
                    <a:pt x="262033" y="487299"/>
                  </a:lnTo>
                  <a:cubicBezTo>
                    <a:pt x="259937" y="489395"/>
                    <a:pt x="259271" y="491395"/>
                    <a:pt x="256508" y="491395"/>
                  </a:cubicBezTo>
                  <a:cubicBezTo>
                    <a:pt x="255842" y="491395"/>
                    <a:pt x="257842" y="494157"/>
                    <a:pt x="257842" y="494824"/>
                  </a:cubicBezTo>
                  <a:cubicBezTo>
                    <a:pt x="257842" y="496157"/>
                    <a:pt x="254413" y="498920"/>
                    <a:pt x="254413" y="501682"/>
                  </a:cubicBezTo>
                  <a:cubicBezTo>
                    <a:pt x="254413" y="502349"/>
                    <a:pt x="251651" y="502349"/>
                    <a:pt x="251651" y="503015"/>
                  </a:cubicBezTo>
                  <a:lnTo>
                    <a:pt x="252317" y="503015"/>
                  </a:lnTo>
                  <a:cubicBezTo>
                    <a:pt x="252984" y="503682"/>
                    <a:pt x="252984" y="503682"/>
                    <a:pt x="252984" y="504349"/>
                  </a:cubicBezTo>
                  <a:lnTo>
                    <a:pt x="250889" y="509873"/>
                  </a:lnTo>
                  <a:cubicBezTo>
                    <a:pt x="249555" y="510540"/>
                    <a:pt x="249555" y="511207"/>
                    <a:pt x="248793" y="511207"/>
                  </a:cubicBezTo>
                  <a:cubicBezTo>
                    <a:pt x="248793" y="512540"/>
                    <a:pt x="248793" y="515303"/>
                    <a:pt x="249460" y="515303"/>
                  </a:cubicBezTo>
                  <a:cubicBezTo>
                    <a:pt x="249460" y="515969"/>
                    <a:pt x="249460" y="515969"/>
                    <a:pt x="248793" y="515969"/>
                  </a:cubicBezTo>
                  <a:lnTo>
                    <a:pt x="247459" y="515969"/>
                  </a:lnTo>
                  <a:lnTo>
                    <a:pt x="247459" y="516636"/>
                  </a:lnTo>
                  <a:cubicBezTo>
                    <a:pt x="247459" y="520732"/>
                    <a:pt x="235839" y="520065"/>
                    <a:pt x="235839" y="541973"/>
                  </a:cubicBezTo>
                  <a:cubicBezTo>
                    <a:pt x="230315" y="543306"/>
                    <a:pt x="232410" y="548164"/>
                    <a:pt x="230315" y="548164"/>
                  </a:cubicBezTo>
                  <a:cubicBezTo>
                    <a:pt x="229648" y="552260"/>
                    <a:pt x="226885" y="561213"/>
                    <a:pt x="220028" y="561213"/>
                  </a:cubicBezTo>
                  <a:cubicBezTo>
                    <a:pt x="220694" y="561880"/>
                    <a:pt x="220694" y="561880"/>
                    <a:pt x="220694" y="562547"/>
                  </a:cubicBezTo>
                  <a:cubicBezTo>
                    <a:pt x="220694" y="563880"/>
                    <a:pt x="218599" y="564642"/>
                    <a:pt x="218599" y="565976"/>
                  </a:cubicBezTo>
                  <a:cubicBezTo>
                    <a:pt x="217932" y="568071"/>
                    <a:pt x="217932" y="568738"/>
                    <a:pt x="217932" y="568738"/>
                  </a:cubicBezTo>
                  <a:cubicBezTo>
                    <a:pt x="217932" y="568738"/>
                    <a:pt x="217265" y="568071"/>
                    <a:pt x="217265" y="567404"/>
                  </a:cubicBezTo>
                  <a:cubicBezTo>
                    <a:pt x="213170" y="569500"/>
                    <a:pt x="209741" y="576358"/>
                    <a:pt x="207645" y="579787"/>
                  </a:cubicBezTo>
                  <a:lnTo>
                    <a:pt x="201454" y="587312"/>
                  </a:lnTo>
                  <a:cubicBezTo>
                    <a:pt x="198025" y="590741"/>
                    <a:pt x="191167" y="593503"/>
                    <a:pt x="191167" y="598265"/>
                  </a:cubicBezTo>
                  <a:cubicBezTo>
                    <a:pt x="191167" y="598265"/>
                    <a:pt x="174689" y="609886"/>
                    <a:pt x="174689" y="611315"/>
                  </a:cubicBezTo>
                  <a:lnTo>
                    <a:pt x="173355" y="614077"/>
                  </a:lnTo>
                  <a:cubicBezTo>
                    <a:pt x="172688" y="615410"/>
                    <a:pt x="172022" y="615410"/>
                    <a:pt x="172022" y="615410"/>
                  </a:cubicBezTo>
                  <a:cubicBezTo>
                    <a:pt x="172022" y="615410"/>
                    <a:pt x="171355" y="615410"/>
                    <a:pt x="171355" y="614077"/>
                  </a:cubicBezTo>
                  <a:cubicBezTo>
                    <a:pt x="169259" y="614077"/>
                    <a:pt x="167259" y="614077"/>
                    <a:pt x="165164" y="614744"/>
                  </a:cubicBezTo>
                  <a:cubicBezTo>
                    <a:pt x="165830" y="615410"/>
                    <a:pt x="165830" y="616077"/>
                    <a:pt x="165830" y="616839"/>
                  </a:cubicBezTo>
                  <a:cubicBezTo>
                    <a:pt x="165830" y="618935"/>
                    <a:pt x="165830" y="618935"/>
                    <a:pt x="165164" y="619601"/>
                  </a:cubicBezTo>
                  <a:cubicBezTo>
                    <a:pt x="164497" y="619601"/>
                    <a:pt x="163068" y="618935"/>
                    <a:pt x="162401" y="618268"/>
                  </a:cubicBezTo>
                  <a:lnTo>
                    <a:pt x="159163" y="618268"/>
                  </a:lnTo>
                  <a:lnTo>
                    <a:pt x="159163" y="619601"/>
                  </a:lnTo>
                  <a:cubicBezTo>
                    <a:pt x="159163" y="618935"/>
                    <a:pt x="152972" y="629888"/>
                    <a:pt x="148209" y="629888"/>
                  </a:cubicBezTo>
                  <a:cubicBezTo>
                    <a:pt x="147542" y="629888"/>
                    <a:pt x="146876" y="629888"/>
                    <a:pt x="146114" y="629222"/>
                  </a:cubicBezTo>
                  <a:cubicBezTo>
                    <a:pt x="144018" y="629222"/>
                    <a:pt x="143351" y="632651"/>
                    <a:pt x="140589" y="632651"/>
                  </a:cubicBezTo>
                  <a:cubicBezTo>
                    <a:pt x="139256" y="632651"/>
                    <a:pt x="137160" y="631984"/>
                    <a:pt x="133731" y="631317"/>
                  </a:cubicBezTo>
                  <a:cubicBezTo>
                    <a:pt x="133064" y="634746"/>
                    <a:pt x="130302" y="634746"/>
                    <a:pt x="127540" y="635413"/>
                  </a:cubicBezTo>
                  <a:cubicBezTo>
                    <a:pt x="126206" y="635413"/>
                    <a:pt x="125444" y="635413"/>
                    <a:pt x="124778" y="634746"/>
                  </a:cubicBezTo>
                  <a:cubicBezTo>
                    <a:pt x="124111" y="634746"/>
                    <a:pt x="122682" y="634746"/>
                    <a:pt x="120015" y="638175"/>
                  </a:cubicBezTo>
                  <a:cubicBezTo>
                    <a:pt x="119348" y="638175"/>
                    <a:pt x="117920" y="635413"/>
                    <a:pt x="117253" y="635413"/>
                  </a:cubicBezTo>
                  <a:lnTo>
                    <a:pt x="117920" y="636080"/>
                  </a:lnTo>
                  <a:cubicBezTo>
                    <a:pt x="117920" y="636746"/>
                    <a:pt x="113157" y="635413"/>
                    <a:pt x="113157" y="639509"/>
                  </a:cubicBezTo>
                  <a:lnTo>
                    <a:pt x="110395" y="641604"/>
                  </a:lnTo>
                  <a:cubicBezTo>
                    <a:pt x="109061" y="641604"/>
                    <a:pt x="106966" y="641604"/>
                    <a:pt x="106299" y="642271"/>
                  </a:cubicBezTo>
                  <a:cubicBezTo>
                    <a:pt x="105632" y="642271"/>
                    <a:pt x="106299" y="640175"/>
                    <a:pt x="102203" y="640175"/>
                  </a:cubicBezTo>
                  <a:cubicBezTo>
                    <a:pt x="100870" y="642938"/>
                    <a:pt x="101537" y="644938"/>
                    <a:pt x="98774" y="644938"/>
                  </a:cubicBezTo>
                  <a:cubicBezTo>
                    <a:pt x="96679" y="644938"/>
                    <a:pt x="95345" y="641509"/>
                    <a:pt x="95345" y="641509"/>
                  </a:cubicBezTo>
                  <a:lnTo>
                    <a:pt x="96679" y="642176"/>
                  </a:lnTo>
                  <a:lnTo>
                    <a:pt x="96679" y="640842"/>
                  </a:lnTo>
                  <a:cubicBezTo>
                    <a:pt x="94583" y="640842"/>
                    <a:pt x="92583" y="641509"/>
                    <a:pt x="89821" y="641509"/>
                  </a:cubicBezTo>
                  <a:lnTo>
                    <a:pt x="87725" y="641509"/>
                  </a:lnTo>
                  <a:cubicBezTo>
                    <a:pt x="87059" y="641509"/>
                    <a:pt x="85630" y="641509"/>
                    <a:pt x="84963" y="640842"/>
                  </a:cubicBezTo>
                  <a:cubicBezTo>
                    <a:pt x="84963" y="640842"/>
                    <a:pt x="84963" y="641509"/>
                    <a:pt x="84296" y="641509"/>
                  </a:cubicBezTo>
                  <a:cubicBezTo>
                    <a:pt x="84963" y="640842"/>
                    <a:pt x="83630" y="640842"/>
                    <a:pt x="82201" y="640842"/>
                  </a:cubicBezTo>
                  <a:cubicBezTo>
                    <a:pt x="80867" y="640842"/>
                    <a:pt x="80105" y="640842"/>
                    <a:pt x="80105" y="639509"/>
                  </a:cubicBezTo>
                  <a:lnTo>
                    <a:pt x="78200" y="639509"/>
                  </a:lnTo>
                  <a:cubicBezTo>
                    <a:pt x="76105" y="639509"/>
                    <a:pt x="75438" y="640842"/>
                    <a:pt x="74105" y="640842"/>
                  </a:cubicBezTo>
                  <a:lnTo>
                    <a:pt x="73438" y="640842"/>
                  </a:lnTo>
                  <a:lnTo>
                    <a:pt x="70009" y="641509"/>
                  </a:lnTo>
                  <a:cubicBezTo>
                    <a:pt x="70009" y="641509"/>
                    <a:pt x="68675" y="639413"/>
                    <a:pt x="67247" y="639413"/>
                  </a:cubicBezTo>
                  <a:cubicBezTo>
                    <a:pt x="66580" y="640080"/>
                    <a:pt x="66580" y="640080"/>
                    <a:pt x="65913" y="640080"/>
                  </a:cubicBezTo>
                  <a:cubicBezTo>
                    <a:pt x="63818" y="640080"/>
                    <a:pt x="63818" y="637985"/>
                    <a:pt x="62484" y="637985"/>
                  </a:cubicBezTo>
                  <a:lnTo>
                    <a:pt x="62484" y="640080"/>
                  </a:lnTo>
                  <a:lnTo>
                    <a:pt x="63151" y="640747"/>
                  </a:lnTo>
                  <a:lnTo>
                    <a:pt x="62484" y="640747"/>
                  </a:lnTo>
                  <a:cubicBezTo>
                    <a:pt x="62484" y="640747"/>
                    <a:pt x="62484" y="640080"/>
                    <a:pt x="36386" y="629126"/>
                  </a:cubicBezTo>
                  <a:lnTo>
                    <a:pt x="34290" y="626364"/>
                  </a:lnTo>
                  <a:cubicBezTo>
                    <a:pt x="31528" y="626364"/>
                    <a:pt x="22670" y="618173"/>
                    <a:pt x="18478" y="609219"/>
                  </a:cubicBezTo>
                  <a:lnTo>
                    <a:pt x="17240" y="608267"/>
                  </a:lnTo>
                  <a:cubicBezTo>
                    <a:pt x="15907" y="606171"/>
                    <a:pt x="14478" y="606933"/>
                    <a:pt x="13811" y="606171"/>
                  </a:cubicBezTo>
                  <a:lnTo>
                    <a:pt x="14478" y="605504"/>
                  </a:lnTo>
                  <a:cubicBezTo>
                    <a:pt x="14478" y="606171"/>
                    <a:pt x="8953" y="591788"/>
                    <a:pt x="7620" y="591122"/>
                  </a:cubicBezTo>
                  <a:lnTo>
                    <a:pt x="7620" y="589788"/>
                  </a:lnTo>
                  <a:cubicBezTo>
                    <a:pt x="7620" y="589121"/>
                    <a:pt x="8287" y="587693"/>
                    <a:pt x="8287" y="587026"/>
                  </a:cubicBezTo>
                  <a:cubicBezTo>
                    <a:pt x="8287" y="586359"/>
                    <a:pt x="7620" y="585692"/>
                    <a:pt x="7620" y="584930"/>
                  </a:cubicBezTo>
                  <a:cubicBezTo>
                    <a:pt x="8953" y="584930"/>
                    <a:pt x="9715" y="583597"/>
                    <a:pt x="9715" y="582835"/>
                  </a:cubicBezTo>
                  <a:lnTo>
                    <a:pt x="9715" y="581501"/>
                  </a:lnTo>
                  <a:cubicBezTo>
                    <a:pt x="9049" y="579406"/>
                    <a:pt x="7620" y="578072"/>
                    <a:pt x="7620" y="577406"/>
                  </a:cubicBezTo>
                  <a:cubicBezTo>
                    <a:pt x="7620" y="576072"/>
                    <a:pt x="6953" y="576072"/>
                    <a:pt x="6953" y="576072"/>
                  </a:cubicBezTo>
                  <a:lnTo>
                    <a:pt x="6953" y="578834"/>
                  </a:lnTo>
                  <a:cubicBezTo>
                    <a:pt x="5620" y="578168"/>
                    <a:pt x="3524" y="578168"/>
                    <a:pt x="3524" y="576072"/>
                  </a:cubicBezTo>
                  <a:cubicBezTo>
                    <a:pt x="3524" y="575405"/>
                    <a:pt x="4191" y="573977"/>
                    <a:pt x="4191" y="573310"/>
                  </a:cubicBezTo>
                  <a:cubicBezTo>
                    <a:pt x="2858" y="572643"/>
                    <a:pt x="2096" y="570548"/>
                    <a:pt x="2096" y="569214"/>
                  </a:cubicBezTo>
                  <a:lnTo>
                    <a:pt x="2096" y="567119"/>
                  </a:lnTo>
                  <a:cubicBezTo>
                    <a:pt x="0" y="565023"/>
                    <a:pt x="0" y="563690"/>
                    <a:pt x="0" y="563023"/>
                  </a:cubicBezTo>
                  <a:lnTo>
                    <a:pt x="667" y="563023"/>
                  </a:lnTo>
                  <a:cubicBezTo>
                    <a:pt x="667" y="563023"/>
                    <a:pt x="0" y="562356"/>
                    <a:pt x="0" y="561689"/>
                  </a:cubicBezTo>
                  <a:cubicBezTo>
                    <a:pt x="2096" y="561023"/>
                    <a:pt x="2096" y="558260"/>
                    <a:pt x="2762" y="556927"/>
                  </a:cubicBezTo>
                  <a:cubicBezTo>
                    <a:pt x="1429" y="554831"/>
                    <a:pt x="667" y="551402"/>
                    <a:pt x="667" y="549402"/>
                  </a:cubicBezTo>
                  <a:lnTo>
                    <a:pt x="667" y="544640"/>
                  </a:lnTo>
                  <a:cubicBezTo>
                    <a:pt x="1334" y="543973"/>
                    <a:pt x="2000" y="543306"/>
                    <a:pt x="2000" y="541877"/>
                  </a:cubicBezTo>
                  <a:cubicBezTo>
                    <a:pt x="2000" y="540544"/>
                    <a:pt x="1334" y="539115"/>
                    <a:pt x="1334" y="538448"/>
                  </a:cubicBezTo>
                  <a:lnTo>
                    <a:pt x="2667" y="529495"/>
                  </a:lnTo>
                  <a:lnTo>
                    <a:pt x="4763" y="528828"/>
                  </a:lnTo>
                  <a:lnTo>
                    <a:pt x="4763" y="530162"/>
                  </a:lnTo>
                  <a:cubicBezTo>
                    <a:pt x="4763" y="533591"/>
                    <a:pt x="5429" y="533591"/>
                    <a:pt x="8191" y="534257"/>
                  </a:cubicBezTo>
                  <a:lnTo>
                    <a:pt x="10287" y="534257"/>
                  </a:lnTo>
                  <a:lnTo>
                    <a:pt x="8191" y="529495"/>
                  </a:lnTo>
                  <a:lnTo>
                    <a:pt x="6858" y="529495"/>
                  </a:lnTo>
                  <a:cubicBezTo>
                    <a:pt x="7525" y="528828"/>
                    <a:pt x="9620" y="528161"/>
                    <a:pt x="10287" y="528161"/>
                  </a:cubicBezTo>
                  <a:cubicBezTo>
                    <a:pt x="13049" y="528161"/>
                    <a:pt x="10954" y="531590"/>
                    <a:pt x="13049" y="531590"/>
                  </a:cubicBezTo>
                  <a:lnTo>
                    <a:pt x="13716" y="531590"/>
                  </a:lnTo>
                  <a:cubicBezTo>
                    <a:pt x="12383" y="533686"/>
                    <a:pt x="12383" y="535686"/>
                    <a:pt x="12383" y="536353"/>
                  </a:cubicBezTo>
                  <a:cubicBezTo>
                    <a:pt x="12383" y="538448"/>
                    <a:pt x="13049" y="539782"/>
                    <a:pt x="14478" y="540449"/>
                  </a:cubicBezTo>
                  <a:lnTo>
                    <a:pt x="15812" y="552831"/>
                  </a:lnTo>
                  <a:cubicBezTo>
                    <a:pt x="15812" y="554927"/>
                    <a:pt x="15812" y="555593"/>
                    <a:pt x="19240" y="561023"/>
                  </a:cubicBezTo>
                  <a:cubicBezTo>
                    <a:pt x="23336" y="553498"/>
                    <a:pt x="24003" y="556927"/>
                    <a:pt x="24003" y="554165"/>
                  </a:cubicBezTo>
                  <a:cubicBezTo>
                    <a:pt x="22670" y="552831"/>
                    <a:pt x="22670" y="552831"/>
                    <a:pt x="22670" y="551402"/>
                  </a:cubicBezTo>
                  <a:cubicBezTo>
                    <a:pt x="22670" y="547973"/>
                    <a:pt x="19907" y="550069"/>
                    <a:pt x="19907" y="548640"/>
                  </a:cubicBezTo>
                  <a:cubicBezTo>
                    <a:pt x="21241" y="544544"/>
                    <a:pt x="22670" y="543878"/>
                    <a:pt x="22670" y="540449"/>
                  </a:cubicBezTo>
                  <a:cubicBezTo>
                    <a:pt x="22670" y="536353"/>
                    <a:pt x="21336" y="535686"/>
                    <a:pt x="21336" y="534257"/>
                  </a:cubicBezTo>
                  <a:cubicBezTo>
                    <a:pt x="21336" y="533591"/>
                    <a:pt x="26099" y="529495"/>
                    <a:pt x="26099" y="522637"/>
                  </a:cubicBezTo>
                  <a:cubicBezTo>
                    <a:pt x="26099" y="521303"/>
                    <a:pt x="26099" y="520541"/>
                    <a:pt x="24765" y="519874"/>
                  </a:cubicBezTo>
                  <a:cubicBezTo>
                    <a:pt x="24765" y="517112"/>
                    <a:pt x="24765" y="514350"/>
                    <a:pt x="25432" y="512350"/>
                  </a:cubicBezTo>
                  <a:cubicBezTo>
                    <a:pt x="24765" y="511016"/>
                    <a:pt x="24765" y="510254"/>
                    <a:pt x="24765" y="507587"/>
                  </a:cubicBezTo>
                  <a:cubicBezTo>
                    <a:pt x="24765" y="507587"/>
                    <a:pt x="25432" y="508254"/>
                    <a:pt x="26861" y="508254"/>
                  </a:cubicBezTo>
                  <a:cubicBezTo>
                    <a:pt x="28194" y="508254"/>
                    <a:pt x="28194" y="506921"/>
                    <a:pt x="28194" y="505492"/>
                  </a:cubicBezTo>
                  <a:lnTo>
                    <a:pt x="28194" y="504158"/>
                  </a:lnTo>
                  <a:lnTo>
                    <a:pt x="25432" y="503492"/>
                  </a:lnTo>
                  <a:cubicBezTo>
                    <a:pt x="24765" y="502825"/>
                    <a:pt x="24765" y="502158"/>
                    <a:pt x="24765" y="502158"/>
                  </a:cubicBezTo>
                  <a:cubicBezTo>
                    <a:pt x="26861" y="500824"/>
                    <a:pt x="25432" y="499396"/>
                    <a:pt x="26861" y="496634"/>
                  </a:cubicBezTo>
                  <a:lnTo>
                    <a:pt x="26861" y="495300"/>
                  </a:lnTo>
                  <a:cubicBezTo>
                    <a:pt x="28194" y="494633"/>
                    <a:pt x="28194" y="493205"/>
                    <a:pt x="28194" y="491871"/>
                  </a:cubicBezTo>
                  <a:cubicBezTo>
                    <a:pt x="28194" y="490538"/>
                    <a:pt x="28194" y="489109"/>
                    <a:pt x="27527" y="487775"/>
                  </a:cubicBezTo>
                  <a:cubicBezTo>
                    <a:pt x="27527" y="487775"/>
                    <a:pt x="28194" y="487109"/>
                    <a:pt x="28861" y="487109"/>
                  </a:cubicBezTo>
                  <a:lnTo>
                    <a:pt x="29528" y="487109"/>
                  </a:lnTo>
                  <a:cubicBezTo>
                    <a:pt x="30861" y="487109"/>
                    <a:pt x="30861" y="486442"/>
                    <a:pt x="30861" y="485013"/>
                  </a:cubicBezTo>
                  <a:cubicBezTo>
                    <a:pt x="30194" y="485013"/>
                    <a:pt x="30194" y="484346"/>
                    <a:pt x="30194" y="484346"/>
                  </a:cubicBezTo>
                  <a:cubicBezTo>
                    <a:pt x="30194" y="483680"/>
                    <a:pt x="31528" y="482251"/>
                    <a:pt x="31528" y="480917"/>
                  </a:cubicBezTo>
                  <a:cubicBezTo>
                    <a:pt x="31528" y="478822"/>
                    <a:pt x="31528" y="478822"/>
                    <a:pt x="29432" y="478822"/>
                  </a:cubicBezTo>
                  <a:cubicBezTo>
                    <a:pt x="30099" y="478155"/>
                    <a:pt x="36957" y="473297"/>
                    <a:pt x="38386" y="470630"/>
                  </a:cubicBezTo>
                  <a:lnTo>
                    <a:pt x="37719" y="470630"/>
                  </a:lnTo>
                  <a:cubicBezTo>
                    <a:pt x="36386" y="470630"/>
                    <a:pt x="34290" y="467201"/>
                    <a:pt x="34290" y="466535"/>
                  </a:cubicBezTo>
                  <a:lnTo>
                    <a:pt x="34957" y="466535"/>
                  </a:lnTo>
                  <a:cubicBezTo>
                    <a:pt x="35624" y="467201"/>
                    <a:pt x="35624" y="467201"/>
                    <a:pt x="36290" y="467201"/>
                  </a:cubicBezTo>
                  <a:cubicBezTo>
                    <a:pt x="37624" y="467201"/>
                    <a:pt x="38386" y="465868"/>
                    <a:pt x="38386" y="465106"/>
                  </a:cubicBezTo>
                  <a:cubicBezTo>
                    <a:pt x="38386" y="464344"/>
                    <a:pt x="37719" y="464439"/>
                    <a:pt x="37719" y="463772"/>
                  </a:cubicBezTo>
                  <a:lnTo>
                    <a:pt x="37719" y="463106"/>
                  </a:lnTo>
                  <a:cubicBezTo>
                    <a:pt x="37052" y="463106"/>
                    <a:pt x="36386" y="463772"/>
                    <a:pt x="35624" y="463772"/>
                  </a:cubicBezTo>
                  <a:cubicBezTo>
                    <a:pt x="35624" y="463772"/>
                    <a:pt x="34290" y="461677"/>
                    <a:pt x="33528" y="461677"/>
                  </a:cubicBezTo>
                  <a:cubicBezTo>
                    <a:pt x="32861" y="461677"/>
                    <a:pt x="32861" y="462344"/>
                    <a:pt x="32195" y="463010"/>
                  </a:cubicBezTo>
                  <a:lnTo>
                    <a:pt x="31528" y="461677"/>
                  </a:lnTo>
                  <a:cubicBezTo>
                    <a:pt x="31528" y="461010"/>
                    <a:pt x="31528" y="458248"/>
                    <a:pt x="32861" y="458248"/>
                  </a:cubicBezTo>
                  <a:cubicBezTo>
                    <a:pt x="36290" y="458248"/>
                    <a:pt x="36290" y="461010"/>
                    <a:pt x="36957" y="461010"/>
                  </a:cubicBezTo>
                  <a:cubicBezTo>
                    <a:pt x="36957" y="460343"/>
                    <a:pt x="39053" y="458915"/>
                    <a:pt x="39719" y="458915"/>
                  </a:cubicBezTo>
                  <a:lnTo>
                    <a:pt x="39053" y="458248"/>
                  </a:lnTo>
                  <a:cubicBezTo>
                    <a:pt x="39053" y="452723"/>
                    <a:pt x="41148" y="450723"/>
                    <a:pt x="41148" y="448628"/>
                  </a:cubicBezTo>
                  <a:lnTo>
                    <a:pt x="41148" y="447961"/>
                  </a:lnTo>
                  <a:cubicBezTo>
                    <a:pt x="43244" y="447294"/>
                    <a:pt x="43244" y="446627"/>
                    <a:pt x="43910" y="446627"/>
                  </a:cubicBezTo>
                  <a:lnTo>
                    <a:pt x="43910" y="445961"/>
                  </a:lnTo>
                  <a:cubicBezTo>
                    <a:pt x="43244" y="445961"/>
                    <a:pt x="41148" y="446627"/>
                    <a:pt x="40481" y="446627"/>
                  </a:cubicBezTo>
                  <a:lnTo>
                    <a:pt x="39815" y="445961"/>
                  </a:lnTo>
                  <a:cubicBezTo>
                    <a:pt x="39815" y="445961"/>
                    <a:pt x="37719" y="450723"/>
                    <a:pt x="37719" y="452819"/>
                  </a:cubicBezTo>
                  <a:lnTo>
                    <a:pt x="34957" y="452819"/>
                  </a:lnTo>
                  <a:lnTo>
                    <a:pt x="34290" y="450056"/>
                  </a:lnTo>
                  <a:cubicBezTo>
                    <a:pt x="34957" y="450056"/>
                    <a:pt x="37719" y="445294"/>
                    <a:pt x="37719" y="443865"/>
                  </a:cubicBezTo>
                  <a:lnTo>
                    <a:pt x="37719" y="441579"/>
                  </a:lnTo>
                  <a:cubicBezTo>
                    <a:pt x="38386" y="440912"/>
                    <a:pt x="38386" y="440912"/>
                    <a:pt x="39053" y="440912"/>
                  </a:cubicBezTo>
                  <a:lnTo>
                    <a:pt x="40386" y="441579"/>
                  </a:lnTo>
                  <a:lnTo>
                    <a:pt x="40386" y="439484"/>
                  </a:lnTo>
                  <a:cubicBezTo>
                    <a:pt x="40386" y="437388"/>
                    <a:pt x="46577" y="437388"/>
                    <a:pt x="46577" y="429863"/>
                  </a:cubicBezTo>
                  <a:lnTo>
                    <a:pt x="45244" y="425101"/>
                  </a:lnTo>
                  <a:cubicBezTo>
                    <a:pt x="42482" y="425101"/>
                    <a:pt x="45244" y="431292"/>
                    <a:pt x="41148" y="431292"/>
                  </a:cubicBezTo>
                  <a:lnTo>
                    <a:pt x="40481" y="430625"/>
                  </a:lnTo>
                  <a:cubicBezTo>
                    <a:pt x="37719" y="430625"/>
                    <a:pt x="39148" y="436150"/>
                    <a:pt x="36386" y="436150"/>
                  </a:cubicBezTo>
                  <a:lnTo>
                    <a:pt x="35052" y="437483"/>
                  </a:lnTo>
                  <a:cubicBezTo>
                    <a:pt x="35052" y="438817"/>
                    <a:pt x="36386" y="439579"/>
                    <a:pt x="36386" y="439579"/>
                  </a:cubicBezTo>
                  <a:cubicBezTo>
                    <a:pt x="36386" y="440246"/>
                    <a:pt x="35719" y="440246"/>
                    <a:pt x="35719" y="440246"/>
                  </a:cubicBezTo>
                  <a:cubicBezTo>
                    <a:pt x="35052" y="440246"/>
                    <a:pt x="35052" y="440246"/>
                    <a:pt x="35052" y="440912"/>
                  </a:cubicBezTo>
                  <a:cubicBezTo>
                    <a:pt x="32957" y="438817"/>
                    <a:pt x="32290" y="437483"/>
                    <a:pt x="32290" y="437483"/>
                  </a:cubicBezTo>
                  <a:cubicBezTo>
                    <a:pt x="30956" y="438817"/>
                    <a:pt x="30956" y="439579"/>
                    <a:pt x="30956" y="439579"/>
                  </a:cubicBezTo>
                  <a:cubicBezTo>
                    <a:pt x="30956" y="439579"/>
                    <a:pt x="28861" y="437483"/>
                    <a:pt x="28861" y="436150"/>
                  </a:cubicBezTo>
                  <a:cubicBezTo>
                    <a:pt x="28861" y="433388"/>
                    <a:pt x="30956" y="433388"/>
                    <a:pt x="31623" y="433388"/>
                  </a:cubicBezTo>
                  <a:cubicBezTo>
                    <a:pt x="31623" y="434054"/>
                    <a:pt x="32290" y="434054"/>
                    <a:pt x="32290" y="434054"/>
                  </a:cubicBezTo>
                  <a:cubicBezTo>
                    <a:pt x="32957" y="434054"/>
                    <a:pt x="33623" y="433388"/>
                    <a:pt x="34385" y="433388"/>
                  </a:cubicBezTo>
                  <a:cubicBezTo>
                    <a:pt x="33719" y="432721"/>
                    <a:pt x="33719" y="432721"/>
                    <a:pt x="33719" y="432054"/>
                  </a:cubicBezTo>
                  <a:cubicBezTo>
                    <a:pt x="33719" y="430721"/>
                    <a:pt x="35052" y="424529"/>
                    <a:pt x="43339" y="419005"/>
                  </a:cubicBezTo>
                  <a:lnTo>
                    <a:pt x="45434" y="416243"/>
                  </a:lnTo>
                  <a:cubicBezTo>
                    <a:pt x="45434" y="414147"/>
                    <a:pt x="46768" y="414147"/>
                    <a:pt x="48197" y="413480"/>
                  </a:cubicBezTo>
                  <a:cubicBezTo>
                    <a:pt x="48197" y="410718"/>
                    <a:pt x="49530" y="404527"/>
                    <a:pt x="55054" y="404527"/>
                  </a:cubicBezTo>
                  <a:lnTo>
                    <a:pt x="56388" y="405194"/>
                  </a:lnTo>
                  <a:cubicBezTo>
                    <a:pt x="56388" y="405860"/>
                    <a:pt x="53626" y="409956"/>
                    <a:pt x="50864" y="412718"/>
                  </a:cubicBezTo>
                  <a:cubicBezTo>
                    <a:pt x="50864" y="412718"/>
                    <a:pt x="50864" y="413385"/>
                    <a:pt x="51530" y="414052"/>
                  </a:cubicBezTo>
                  <a:lnTo>
                    <a:pt x="51530" y="415385"/>
                  </a:lnTo>
                  <a:cubicBezTo>
                    <a:pt x="50864" y="416719"/>
                    <a:pt x="50864" y="418814"/>
                    <a:pt x="50197" y="419481"/>
                  </a:cubicBezTo>
                  <a:lnTo>
                    <a:pt x="48863" y="421576"/>
                  </a:lnTo>
                  <a:cubicBezTo>
                    <a:pt x="48197" y="422243"/>
                    <a:pt x="47530" y="422243"/>
                    <a:pt x="47530" y="422910"/>
                  </a:cubicBezTo>
                  <a:cubicBezTo>
                    <a:pt x="47530" y="423577"/>
                    <a:pt x="48197" y="423577"/>
                    <a:pt x="48863" y="424244"/>
                  </a:cubicBezTo>
                  <a:lnTo>
                    <a:pt x="50197" y="424244"/>
                  </a:lnTo>
                  <a:lnTo>
                    <a:pt x="54293" y="418719"/>
                  </a:lnTo>
                  <a:cubicBezTo>
                    <a:pt x="54959" y="418719"/>
                    <a:pt x="54959" y="417386"/>
                    <a:pt x="54959" y="415957"/>
                  </a:cubicBezTo>
                  <a:cubicBezTo>
                    <a:pt x="54959" y="414528"/>
                    <a:pt x="55626" y="412528"/>
                    <a:pt x="59055" y="412528"/>
                  </a:cubicBezTo>
                  <a:lnTo>
                    <a:pt x="61817" y="409766"/>
                  </a:lnTo>
                  <a:cubicBezTo>
                    <a:pt x="61817" y="407003"/>
                    <a:pt x="63151" y="407003"/>
                    <a:pt x="64579" y="406337"/>
                  </a:cubicBezTo>
                  <a:lnTo>
                    <a:pt x="65913" y="406337"/>
                  </a:lnTo>
                  <a:lnTo>
                    <a:pt x="65246" y="407003"/>
                  </a:lnTo>
                  <a:cubicBezTo>
                    <a:pt x="65246" y="407003"/>
                    <a:pt x="65246" y="407670"/>
                    <a:pt x="65913" y="407670"/>
                  </a:cubicBezTo>
                  <a:lnTo>
                    <a:pt x="66580" y="407003"/>
                  </a:lnTo>
                  <a:lnTo>
                    <a:pt x="67247" y="407003"/>
                  </a:lnTo>
                  <a:lnTo>
                    <a:pt x="67913" y="406337"/>
                  </a:lnTo>
                  <a:cubicBezTo>
                    <a:pt x="67247" y="405670"/>
                    <a:pt x="66580" y="404241"/>
                    <a:pt x="66580" y="402908"/>
                  </a:cubicBezTo>
                  <a:lnTo>
                    <a:pt x="70009" y="400145"/>
                  </a:lnTo>
                  <a:cubicBezTo>
                    <a:pt x="70676" y="400145"/>
                    <a:pt x="70676" y="398812"/>
                    <a:pt x="70676" y="397383"/>
                  </a:cubicBezTo>
                  <a:lnTo>
                    <a:pt x="70676" y="396049"/>
                  </a:lnTo>
                  <a:cubicBezTo>
                    <a:pt x="75438" y="394716"/>
                    <a:pt x="68580" y="396049"/>
                    <a:pt x="79629" y="385096"/>
                  </a:cubicBezTo>
                  <a:cubicBezTo>
                    <a:pt x="80296" y="383762"/>
                    <a:pt x="89249" y="367284"/>
                    <a:pt x="98870" y="362426"/>
                  </a:cubicBezTo>
                  <a:lnTo>
                    <a:pt x="98870" y="358331"/>
                  </a:lnTo>
                  <a:cubicBezTo>
                    <a:pt x="96774" y="358331"/>
                    <a:pt x="96774" y="359664"/>
                    <a:pt x="96107" y="360426"/>
                  </a:cubicBezTo>
                  <a:lnTo>
                    <a:pt x="96107" y="359759"/>
                  </a:lnTo>
                  <a:cubicBezTo>
                    <a:pt x="95440" y="359759"/>
                    <a:pt x="93345" y="359759"/>
                    <a:pt x="93345" y="360426"/>
                  </a:cubicBezTo>
                  <a:lnTo>
                    <a:pt x="92678" y="361093"/>
                  </a:lnTo>
                  <a:cubicBezTo>
                    <a:pt x="92678" y="363188"/>
                    <a:pt x="92012" y="361093"/>
                    <a:pt x="89916" y="363855"/>
                  </a:cubicBezTo>
                  <a:lnTo>
                    <a:pt x="89249" y="363188"/>
                  </a:lnTo>
                  <a:cubicBezTo>
                    <a:pt x="87916" y="363188"/>
                    <a:pt x="88583" y="364522"/>
                    <a:pt x="87916" y="364522"/>
                  </a:cubicBezTo>
                  <a:cubicBezTo>
                    <a:pt x="87916" y="364522"/>
                    <a:pt x="87249" y="364522"/>
                    <a:pt x="87249" y="363855"/>
                  </a:cubicBezTo>
                  <a:cubicBezTo>
                    <a:pt x="87249" y="364522"/>
                    <a:pt x="88583" y="357664"/>
                    <a:pt x="98203" y="352901"/>
                  </a:cubicBezTo>
                  <a:cubicBezTo>
                    <a:pt x="98870" y="352235"/>
                    <a:pt x="99536" y="350806"/>
                    <a:pt x="99536" y="350806"/>
                  </a:cubicBezTo>
                  <a:lnTo>
                    <a:pt x="98203" y="350806"/>
                  </a:lnTo>
                  <a:cubicBezTo>
                    <a:pt x="97536" y="350806"/>
                    <a:pt x="96869" y="350806"/>
                    <a:pt x="96869" y="350139"/>
                  </a:cubicBezTo>
                  <a:cubicBezTo>
                    <a:pt x="96869" y="348806"/>
                    <a:pt x="102394" y="343948"/>
                    <a:pt x="127730" y="325469"/>
                  </a:cubicBezTo>
                  <a:lnTo>
                    <a:pt x="132493" y="321374"/>
                  </a:lnTo>
                  <a:cubicBezTo>
                    <a:pt x="132493" y="323469"/>
                    <a:pt x="135255" y="314516"/>
                    <a:pt x="140684" y="314516"/>
                  </a:cubicBezTo>
                  <a:cubicBezTo>
                    <a:pt x="140684" y="315182"/>
                    <a:pt x="141351" y="315849"/>
                    <a:pt x="141351" y="315849"/>
                  </a:cubicBezTo>
                  <a:cubicBezTo>
                    <a:pt x="142018" y="315849"/>
                    <a:pt x="142685" y="311087"/>
                    <a:pt x="144113" y="311087"/>
                  </a:cubicBezTo>
                  <a:lnTo>
                    <a:pt x="144780" y="311753"/>
                  </a:lnTo>
                  <a:lnTo>
                    <a:pt x="145447" y="310420"/>
                  </a:lnTo>
                  <a:lnTo>
                    <a:pt x="145447" y="309753"/>
                  </a:lnTo>
                  <a:cubicBezTo>
                    <a:pt x="145447" y="309753"/>
                    <a:pt x="146114" y="309753"/>
                    <a:pt x="146780" y="310420"/>
                  </a:cubicBezTo>
                  <a:cubicBezTo>
                    <a:pt x="148114" y="309753"/>
                    <a:pt x="150209" y="306324"/>
                    <a:pt x="152305" y="304229"/>
                  </a:cubicBezTo>
                  <a:cubicBezTo>
                    <a:pt x="150971" y="303562"/>
                    <a:pt x="150209" y="303562"/>
                    <a:pt x="149543" y="303562"/>
                  </a:cubicBezTo>
                  <a:cubicBezTo>
                    <a:pt x="148209" y="303562"/>
                    <a:pt x="146780" y="306324"/>
                    <a:pt x="143351" y="306324"/>
                  </a:cubicBezTo>
                  <a:lnTo>
                    <a:pt x="141256" y="305657"/>
                  </a:lnTo>
                  <a:cubicBezTo>
                    <a:pt x="145352" y="304991"/>
                    <a:pt x="148781" y="298799"/>
                    <a:pt x="151543" y="298799"/>
                  </a:cubicBezTo>
                  <a:cubicBezTo>
                    <a:pt x="151543" y="298133"/>
                    <a:pt x="150876" y="298133"/>
                    <a:pt x="150876" y="297466"/>
                  </a:cubicBezTo>
                  <a:lnTo>
                    <a:pt x="152210" y="296799"/>
                  </a:lnTo>
                  <a:cubicBezTo>
                    <a:pt x="152876" y="296799"/>
                    <a:pt x="152876" y="297466"/>
                    <a:pt x="152876" y="298133"/>
                  </a:cubicBezTo>
                  <a:lnTo>
                    <a:pt x="154210" y="298799"/>
                  </a:lnTo>
                  <a:lnTo>
                    <a:pt x="151448" y="298799"/>
                  </a:lnTo>
                  <a:cubicBezTo>
                    <a:pt x="151448" y="300133"/>
                    <a:pt x="152114" y="302895"/>
                    <a:pt x="152114" y="304324"/>
                  </a:cubicBezTo>
                  <a:cubicBezTo>
                    <a:pt x="154210" y="304324"/>
                    <a:pt x="155543" y="302990"/>
                    <a:pt x="157639" y="300895"/>
                  </a:cubicBezTo>
                  <a:lnTo>
                    <a:pt x="158306" y="301562"/>
                  </a:lnTo>
                  <a:cubicBezTo>
                    <a:pt x="158972" y="300228"/>
                    <a:pt x="162401" y="296799"/>
                    <a:pt x="163068" y="296037"/>
                  </a:cubicBezTo>
                  <a:lnTo>
                    <a:pt x="163068" y="295370"/>
                  </a:lnTo>
                  <a:lnTo>
                    <a:pt x="163735" y="295370"/>
                  </a:lnTo>
                  <a:cubicBezTo>
                    <a:pt x="164402" y="295370"/>
                    <a:pt x="165068" y="295370"/>
                    <a:pt x="165830" y="294704"/>
                  </a:cubicBezTo>
                  <a:lnTo>
                    <a:pt x="166497" y="294704"/>
                  </a:lnTo>
                  <a:cubicBezTo>
                    <a:pt x="167164" y="291941"/>
                    <a:pt x="169259" y="292608"/>
                    <a:pt x="170593" y="291941"/>
                  </a:cubicBezTo>
                  <a:lnTo>
                    <a:pt x="171926" y="291274"/>
                  </a:lnTo>
                  <a:cubicBezTo>
                    <a:pt x="174022" y="288512"/>
                    <a:pt x="176689" y="287846"/>
                    <a:pt x="180118" y="286512"/>
                  </a:cubicBezTo>
                  <a:cubicBezTo>
                    <a:pt x="180118" y="286512"/>
                    <a:pt x="191738" y="275558"/>
                    <a:pt x="197930" y="275558"/>
                  </a:cubicBezTo>
                  <a:lnTo>
                    <a:pt x="198596" y="275558"/>
                  </a:lnTo>
                  <a:cubicBezTo>
                    <a:pt x="198596" y="274225"/>
                    <a:pt x="200692" y="273463"/>
                    <a:pt x="201359" y="272129"/>
                  </a:cubicBezTo>
                  <a:cubicBezTo>
                    <a:pt x="202025" y="273463"/>
                    <a:pt x="204121" y="277654"/>
                    <a:pt x="205454" y="277654"/>
                  </a:cubicBezTo>
                  <a:cubicBezTo>
                    <a:pt x="205454" y="276987"/>
                    <a:pt x="206121" y="276987"/>
                    <a:pt x="206121" y="276987"/>
                  </a:cubicBezTo>
                  <a:cubicBezTo>
                    <a:pt x="208217" y="275654"/>
                    <a:pt x="208217" y="274892"/>
                    <a:pt x="208217" y="274892"/>
                  </a:cubicBezTo>
                  <a:lnTo>
                    <a:pt x="205835" y="274892"/>
                  </a:lnTo>
                  <a:lnTo>
                    <a:pt x="204502" y="273558"/>
                  </a:lnTo>
                  <a:cubicBezTo>
                    <a:pt x="204502" y="273558"/>
                    <a:pt x="210693" y="266033"/>
                    <a:pt x="214122" y="266033"/>
                  </a:cubicBezTo>
                  <a:cubicBezTo>
                    <a:pt x="214789" y="266033"/>
                    <a:pt x="216218" y="267367"/>
                    <a:pt x="217551" y="270129"/>
                  </a:cubicBezTo>
                  <a:cubicBezTo>
                    <a:pt x="215456" y="270129"/>
                    <a:pt x="214789" y="270796"/>
                    <a:pt x="214122" y="272224"/>
                  </a:cubicBezTo>
                  <a:lnTo>
                    <a:pt x="214122" y="272891"/>
                  </a:lnTo>
                  <a:lnTo>
                    <a:pt x="217551" y="270129"/>
                  </a:lnTo>
                  <a:lnTo>
                    <a:pt x="218218" y="270129"/>
                  </a:lnTo>
                  <a:cubicBezTo>
                    <a:pt x="219551" y="270129"/>
                    <a:pt x="222314" y="270129"/>
                    <a:pt x="222314" y="268034"/>
                  </a:cubicBezTo>
                  <a:lnTo>
                    <a:pt x="221647" y="266700"/>
                  </a:lnTo>
                  <a:lnTo>
                    <a:pt x="218884" y="266700"/>
                  </a:lnTo>
                  <a:cubicBezTo>
                    <a:pt x="218218" y="266033"/>
                    <a:pt x="218218" y="266033"/>
                    <a:pt x="218218" y="265367"/>
                  </a:cubicBezTo>
                  <a:cubicBezTo>
                    <a:pt x="218884" y="264700"/>
                    <a:pt x="221647" y="264700"/>
                    <a:pt x="222314" y="263271"/>
                  </a:cubicBezTo>
                  <a:cubicBezTo>
                    <a:pt x="222980" y="263271"/>
                    <a:pt x="223647" y="263938"/>
                    <a:pt x="223647" y="263938"/>
                  </a:cubicBezTo>
                  <a:cubicBezTo>
                    <a:pt x="224314" y="263938"/>
                    <a:pt x="224314" y="263271"/>
                    <a:pt x="224314" y="262604"/>
                  </a:cubicBezTo>
                  <a:lnTo>
                    <a:pt x="224314" y="261271"/>
                  </a:lnTo>
                  <a:cubicBezTo>
                    <a:pt x="223647" y="261271"/>
                    <a:pt x="230505" y="250317"/>
                    <a:pt x="244888" y="250317"/>
                  </a:cubicBezTo>
                  <a:lnTo>
                    <a:pt x="244888" y="248984"/>
                  </a:lnTo>
                  <a:cubicBezTo>
                    <a:pt x="246221" y="248984"/>
                    <a:pt x="246983" y="248317"/>
                    <a:pt x="247650" y="246888"/>
                  </a:cubicBezTo>
                  <a:cubicBezTo>
                    <a:pt x="248317" y="246888"/>
                    <a:pt x="249746" y="248222"/>
                    <a:pt x="250412" y="248222"/>
                  </a:cubicBezTo>
                  <a:cubicBezTo>
                    <a:pt x="249746" y="248222"/>
                    <a:pt x="250412" y="247555"/>
                    <a:pt x="250412" y="247555"/>
                  </a:cubicBezTo>
                  <a:lnTo>
                    <a:pt x="250412" y="246221"/>
                  </a:lnTo>
                  <a:cubicBezTo>
                    <a:pt x="252508" y="246221"/>
                    <a:pt x="253841" y="244126"/>
                    <a:pt x="254508" y="244126"/>
                  </a:cubicBezTo>
                  <a:cubicBezTo>
                    <a:pt x="257270" y="244126"/>
                    <a:pt x="257270" y="246221"/>
                    <a:pt x="257937" y="246221"/>
                  </a:cubicBezTo>
                  <a:cubicBezTo>
                    <a:pt x="257270" y="246221"/>
                    <a:pt x="257270" y="248317"/>
                    <a:pt x="256604" y="248317"/>
                  </a:cubicBezTo>
                  <a:cubicBezTo>
                    <a:pt x="256604" y="248317"/>
                    <a:pt x="257270" y="248317"/>
                    <a:pt x="257270" y="248984"/>
                  </a:cubicBezTo>
                  <a:lnTo>
                    <a:pt x="259366" y="246888"/>
                  </a:lnTo>
                  <a:cubicBezTo>
                    <a:pt x="258699" y="246221"/>
                    <a:pt x="258699" y="244126"/>
                    <a:pt x="258699" y="243459"/>
                  </a:cubicBezTo>
                  <a:cubicBezTo>
                    <a:pt x="258699" y="240697"/>
                    <a:pt x="271748" y="234506"/>
                    <a:pt x="279273" y="234506"/>
                  </a:cubicBezTo>
                  <a:lnTo>
                    <a:pt x="279273" y="233839"/>
                  </a:lnTo>
                  <a:cubicBezTo>
                    <a:pt x="278606" y="233839"/>
                    <a:pt x="278606" y="231077"/>
                    <a:pt x="277178" y="229743"/>
                  </a:cubicBezTo>
                  <a:lnTo>
                    <a:pt x="277178" y="229076"/>
                  </a:lnTo>
                  <a:lnTo>
                    <a:pt x="278511" y="229743"/>
                  </a:lnTo>
                  <a:cubicBezTo>
                    <a:pt x="278511" y="230410"/>
                    <a:pt x="279178" y="230410"/>
                    <a:pt x="281273" y="231077"/>
                  </a:cubicBezTo>
                  <a:cubicBezTo>
                    <a:pt x="282607" y="231077"/>
                    <a:pt x="285369" y="230410"/>
                    <a:pt x="285369" y="228314"/>
                  </a:cubicBezTo>
                  <a:lnTo>
                    <a:pt x="285369" y="227648"/>
                  </a:lnTo>
                  <a:cubicBezTo>
                    <a:pt x="281940" y="229743"/>
                    <a:pt x="280607" y="229743"/>
                    <a:pt x="279845" y="229743"/>
                  </a:cubicBezTo>
                  <a:cubicBezTo>
                    <a:pt x="279083" y="229743"/>
                    <a:pt x="279178" y="229076"/>
                    <a:pt x="278511" y="227648"/>
                  </a:cubicBezTo>
                  <a:lnTo>
                    <a:pt x="278511" y="226981"/>
                  </a:lnTo>
                  <a:cubicBezTo>
                    <a:pt x="279178" y="226314"/>
                    <a:pt x="279845" y="225647"/>
                    <a:pt x="281273" y="225647"/>
                  </a:cubicBezTo>
                  <a:cubicBezTo>
                    <a:pt x="281940" y="225647"/>
                    <a:pt x="282607" y="225647"/>
                    <a:pt x="283369" y="226314"/>
                  </a:cubicBezTo>
                  <a:cubicBezTo>
                    <a:pt x="288893" y="224981"/>
                    <a:pt x="284702" y="213932"/>
                    <a:pt x="288131" y="201644"/>
                  </a:cubicBezTo>
                  <a:lnTo>
                    <a:pt x="288131" y="196120"/>
                  </a:lnTo>
                  <a:cubicBezTo>
                    <a:pt x="288798" y="195453"/>
                    <a:pt x="288798" y="194024"/>
                    <a:pt x="288798" y="193358"/>
                  </a:cubicBezTo>
                  <a:lnTo>
                    <a:pt x="288798" y="190595"/>
                  </a:lnTo>
                  <a:cubicBezTo>
                    <a:pt x="288798" y="189929"/>
                    <a:pt x="288798" y="188500"/>
                    <a:pt x="289465" y="187166"/>
                  </a:cubicBezTo>
                  <a:cubicBezTo>
                    <a:pt x="288798" y="186500"/>
                    <a:pt x="288798" y="183737"/>
                    <a:pt x="288798" y="182404"/>
                  </a:cubicBezTo>
                  <a:cubicBezTo>
                    <a:pt x="288798" y="158401"/>
                    <a:pt x="291560" y="160496"/>
                    <a:pt x="291560" y="141923"/>
                  </a:cubicBezTo>
                  <a:lnTo>
                    <a:pt x="291560" y="137160"/>
                  </a:lnTo>
                  <a:cubicBezTo>
                    <a:pt x="291560" y="135065"/>
                    <a:pt x="292227" y="133064"/>
                    <a:pt x="292227" y="130969"/>
                  </a:cubicBezTo>
                  <a:cubicBezTo>
                    <a:pt x="292227" y="128873"/>
                    <a:pt x="291560" y="126873"/>
                    <a:pt x="291560" y="124778"/>
                  </a:cubicBezTo>
                  <a:cubicBezTo>
                    <a:pt x="291560" y="123444"/>
                    <a:pt x="293656" y="122682"/>
                    <a:pt x="293656" y="111062"/>
                  </a:cubicBezTo>
                  <a:cubicBezTo>
                    <a:pt x="293656" y="108966"/>
                    <a:pt x="292989" y="107633"/>
                    <a:pt x="292989" y="105537"/>
                  </a:cubicBezTo>
                  <a:lnTo>
                    <a:pt x="292989" y="103442"/>
                  </a:lnTo>
                  <a:cubicBezTo>
                    <a:pt x="293656" y="102108"/>
                    <a:pt x="294323" y="100679"/>
                    <a:pt x="294323" y="98679"/>
                  </a:cubicBezTo>
                  <a:cubicBezTo>
                    <a:pt x="294323" y="97346"/>
                    <a:pt x="293656" y="95250"/>
                    <a:pt x="293656" y="93917"/>
                  </a:cubicBezTo>
                  <a:cubicBezTo>
                    <a:pt x="294323" y="91154"/>
                    <a:pt x="293656" y="87725"/>
                    <a:pt x="294989" y="85725"/>
                  </a:cubicBezTo>
                  <a:lnTo>
                    <a:pt x="294989" y="82296"/>
                  </a:lnTo>
                  <a:cubicBezTo>
                    <a:pt x="294989" y="82296"/>
                    <a:pt x="294323" y="81629"/>
                    <a:pt x="294323" y="80963"/>
                  </a:cubicBezTo>
                  <a:lnTo>
                    <a:pt x="292227" y="80963"/>
                  </a:lnTo>
                  <a:cubicBezTo>
                    <a:pt x="292227" y="85058"/>
                    <a:pt x="290894" y="87821"/>
                    <a:pt x="284702" y="87821"/>
                  </a:cubicBezTo>
                  <a:lnTo>
                    <a:pt x="284036" y="88487"/>
                  </a:lnTo>
                  <a:cubicBezTo>
                    <a:pt x="284036" y="94012"/>
                    <a:pt x="279273" y="94679"/>
                    <a:pt x="279273" y="99441"/>
                  </a:cubicBezTo>
                  <a:lnTo>
                    <a:pt x="276511" y="102870"/>
                  </a:lnTo>
                  <a:lnTo>
                    <a:pt x="276511" y="103537"/>
                  </a:lnTo>
                  <a:cubicBezTo>
                    <a:pt x="275844" y="103537"/>
                    <a:pt x="275844" y="102870"/>
                    <a:pt x="275844" y="102870"/>
                  </a:cubicBezTo>
                  <a:cubicBezTo>
                    <a:pt x="274511" y="102870"/>
                    <a:pt x="273082" y="103537"/>
                    <a:pt x="273082" y="104204"/>
                  </a:cubicBezTo>
                  <a:lnTo>
                    <a:pt x="273082" y="104870"/>
                  </a:lnTo>
                  <a:cubicBezTo>
                    <a:pt x="270320" y="108299"/>
                    <a:pt x="270320" y="107633"/>
                    <a:pt x="266891" y="114491"/>
                  </a:cubicBezTo>
                  <a:close/>
                  <a:moveTo>
                    <a:pt x="2096" y="524637"/>
                  </a:moveTo>
                  <a:cubicBezTo>
                    <a:pt x="2762" y="523304"/>
                    <a:pt x="3429" y="522542"/>
                    <a:pt x="3429" y="521208"/>
                  </a:cubicBezTo>
                  <a:cubicBezTo>
                    <a:pt x="3429" y="519874"/>
                    <a:pt x="2096" y="517779"/>
                    <a:pt x="2096" y="518446"/>
                  </a:cubicBezTo>
                  <a:cubicBezTo>
                    <a:pt x="2096" y="518446"/>
                    <a:pt x="2096" y="517779"/>
                    <a:pt x="2762" y="517779"/>
                  </a:cubicBezTo>
                  <a:lnTo>
                    <a:pt x="2762" y="516446"/>
                  </a:lnTo>
                  <a:cubicBezTo>
                    <a:pt x="3429" y="515779"/>
                    <a:pt x="3429" y="515779"/>
                    <a:pt x="3429" y="513683"/>
                  </a:cubicBezTo>
                  <a:lnTo>
                    <a:pt x="3429" y="508921"/>
                  </a:lnTo>
                  <a:cubicBezTo>
                    <a:pt x="4096" y="508921"/>
                    <a:pt x="4096" y="508921"/>
                    <a:pt x="4096" y="508254"/>
                  </a:cubicBezTo>
                  <a:cubicBezTo>
                    <a:pt x="4096" y="507587"/>
                    <a:pt x="4096" y="507587"/>
                    <a:pt x="3429" y="506921"/>
                  </a:cubicBezTo>
                  <a:cubicBezTo>
                    <a:pt x="3429" y="504825"/>
                    <a:pt x="4763" y="504158"/>
                    <a:pt x="5525" y="502825"/>
                  </a:cubicBezTo>
                  <a:lnTo>
                    <a:pt x="5525" y="501491"/>
                  </a:lnTo>
                  <a:cubicBezTo>
                    <a:pt x="5525" y="500824"/>
                    <a:pt x="6858" y="491871"/>
                    <a:pt x="8953" y="487775"/>
                  </a:cubicBezTo>
                  <a:lnTo>
                    <a:pt x="8953" y="487109"/>
                  </a:lnTo>
                  <a:cubicBezTo>
                    <a:pt x="10287" y="483680"/>
                    <a:pt x="11049" y="480917"/>
                    <a:pt x="12383" y="478917"/>
                  </a:cubicBezTo>
                  <a:lnTo>
                    <a:pt x="12383" y="478250"/>
                  </a:lnTo>
                  <a:cubicBezTo>
                    <a:pt x="13049" y="474821"/>
                    <a:pt x="15145" y="472059"/>
                    <a:pt x="15145" y="468630"/>
                  </a:cubicBezTo>
                  <a:lnTo>
                    <a:pt x="16478" y="467963"/>
                  </a:lnTo>
                  <a:cubicBezTo>
                    <a:pt x="16478" y="467963"/>
                    <a:pt x="17145" y="468630"/>
                    <a:pt x="17812" y="468630"/>
                  </a:cubicBezTo>
                  <a:lnTo>
                    <a:pt x="17812" y="469297"/>
                  </a:lnTo>
                  <a:cubicBezTo>
                    <a:pt x="17812" y="469964"/>
                    <a:pt x="17812" y="472059"/>
                    <a:pt x="17145" y="472726"/>
                  </a:cubicBezTo>
                  <a:lnTo>
                    <a:pt x="17812" y="472726"/>
                  </a:lnTo>
                  <a:cubicBezTo>
                    <a:pt x="17812" y="472726"/>
                    <a:pt x="17812" y="474059"/>
                    <a:pt x="18478" y="475488"/>
                  </a:cubicBezTo>
                  <a:lnTo>
                    <a:pt x="15050" y="478917"/>
                  </a:lnTo>
                  <a:lnTo>
                    <a:pt x="14383" y="478250"/>
                  </a:lnTo>
                  <a:cubicBezTo>
                    <a:pt x="13716" y="478250"/>
                    <a:pt x="13716" y="479584"/>
                    <a:pt x="13716" y="480346"/>
                  </a:cubicBezTo>
                  <a:lnTo>
                    <a:pt x="13716" y="481013"/>
                  </a:lnTo>
                  <a:cubicBezTo>
                    <a:pt x="13716" y="482346"/>
                    <a:pt x="13716" y="487871"/>
                    <a:pt x="11621" y="487871"/>
                  </a:cubicBezTo>
                  <a:lnTo>
                    <a:pt x="11621" y="489204"/>
                  </a:lnTo>
                  <a:cubicBezTo>
                    <a:pt x="11621" y="491299"/>
                    <a:pt x="11621" y="493967"/>
                    <a:pt x="9525" y="496729"/>
                  </a:cubicBezTo>
                  <a:cubicBezTo>
                    <a:pt x="9525" y="497396"/>
                    <a:pt x="9525" y="497396"/>
                    <a:pt x="10192" y="498062"/>
                  </a:cubicBezTo>
                  <a:cubicBezTo>
                    <a:pt x="10192" y="500158"/>
                    <a:pt x="9525" y="500824"/>
                    <a:pt x="9525" y="501491"/>
                  </a:cubicBezTo>
                  <a:cubicBezTo>
                    <a:pt x="9525" y="502825"/>
                    <a:pt x="12287" y="505587"/>
                    <a:pt x="12287" y="507016"/>
                  </a:cubicBezTo>
                  <a:cubicBezTo>
                    <a:pt x="12287" y="507683"/>
                    <a:pt x="10192" y="509111"/>
                    <a:pt x="10192" y="509111"/>
                  </a:cubicBezTo>
                  <a:cubicBezTo>
                    <a:pt x="10192" y="510445"/>
                    <a:pt x="12954" y="509111"/>
                    <a:pt x="12954" y="512540"/>
                  </a:cubicBezTo>
                  <a:lnTo>
                    <a:pt x="12954" y="513207"/>
                  </a:lnTo>
                  <a:cubicBezTo>
                    <a:pt x="10859" y="512540"/>
                    <a:pt x="10192" y="512540"/>
                    <a:pt x="9525" y="512540"/>
                  </a:cubicBezTo>
                  <a:cubicBezTo>
                    <a:pt x="8858" y="512540"/>
                    <a:pt x="5429" y="512540"/>
                    <a:pt x="5429" y="516636"/>
                  </a:cubicBezTo>
                  <a:cubicBezTo>
                    <a:pt x="5429" y="517303"/>
                    <a:pt x="6096" y="517970"/>
                    <a:pt x="6096" y="518732"/>
                  </a:cubicBezTo>
                  <a:cubicBezTo>
                    <a:pt x="6096" y="522161"/>
                    <a:pt x="4001" y="522827"/>
                    <a:pt x="4001" y="524256"/>
                  </a:cubicBezTo>
                  <a:lnTo>
                    <a:pt x="4001" y="524923"/>
                  </a:lnTo>
                  <a:lnTo>
                    <a:pt x="5334" y="525590"/>
                  </a:lnTo>
                  <a:cubicBezTo>
                    <a:pt x="5334" y="526256"/>
                    <a:pt x="5334" y="526923"/>
                    <a:pt x="4001" y="526923"/>
                  </a:cubicBezTo>
                  <a:cubicBezTo>
                    <a:pt x="4001" y="526923"/>
                    <a:pt x="3334" y="526256"/>
                    <a:pt x="3334" y="525590"/>
                  </a:cubicBezTo>
                  <a:lnTo>
                    <a:pt x="1238" y="525590"/>
                  </a:lnTo>
                  <a:lnTo>
                    <a:pt x="2096" y="524637"/>
                  </a:lnTo>
                  <a:close/>
                  <a:moveTo>
                    <a:pt x="8953" y="542449"/>
                  </a:moveTo>
                  <a:cubicBezTo>
                    <a:pt x="8953" y="541782"/>
                    <a:pt x="6858" y="539687"/>
                    <a:pt x="5525" y="538353"/>
                  </a:cubicBezTo>
                  <a:lnTo>
                    <a:pt x="4858" y="539020"/>
                  </a:lnTo>
                  <a:lnTo>
                    <a:pt x="5525" y="539687"/>
                  </a:lnTo>
                  <a:cubicBezTo>
                    <a:pt x="7620" y="546545"/>
                    <a:pt x="6191" y="546545"/>
                    <a:pt x="7620" y="546545"/>
                  </a:cubicBezTo>
                  <a:cubicBezTo>
                    <a:pt x="7620" y="546545"/>
                    <a:pt x="8287" y="546545"/>
                    <a:pt x="8287" y="545878"/>
                  </a:cubicBezTo>
                  <a:cubicBezTo>
                    <a:pt x="8287" y="545878"/>
                    <a:pt x="8287" y="545211"/>
                    <a:pt x="7620" y="545211"/>
                  </a:cubicBezTo>
                  <a:cubicBezTo>
                    <a:pt x="7620" y="544449"/>
                    <a:pt x="8287" y="543116"/>
                    <a:pt x="8953" y="542449"/>
                  </a:cubicBezTo>
                  <a:close/>
                  <a:moveTo>
                    <a:pt x="6191" y="509492"/>
                  </a:moveTo>
                  <a:cubicBezTo>
                    <a:pt x="6191" y="510159"/>
                    <a:pt x="6858" y="510159"/>
                    <a:pt x="6858" y="510159"/>
                  </a:cubicBezTo>
                  <a:lnTo>
                    <a:pt x="8191" y="508826"/>
                  </a:lnTo>
                  <a:cubicBezTo>
                    <a:pt x="6858" y="508826"/>
                    <a:pt x="6858" y="508826"/>
                    <a:pt x="6858" y="509492"/>
                  </a:cubicBezTo>
                  <a:lnTo>
                    <a:pt x="6191" y="509492"/>
                  </a:lnTo>
                  <a:close/>
                  <a:moveTo>
                    <a:pt x="7620" y="583597"/>
                  </a:moveTo>
                  <a:cubicBezTo>
                    <a:pt x="6953" y="583597"/>
                    <a:pt x="6287" y="582263"/>
                    <a:pt x="6287" y="581501"/>
                  </a:cubicBezTo>
                  <a:lnTo>
                    <a:pt x="6287" y="580835"/>
                  </a:lnTo>
                  <a:cubicBezTo>
                    <a:pt x="6953" y="581501"/>
                    <a:pt x="7620" y="581501"/>
                    <a:pt x="7620" y="582168"/>
                  </a:cubicBezTo>
                  <a:lnTo>
                    <a:pt x="7620" y="583597"/>
                  </a:lnTo>
                  <a:close/>
                  <a:moveTo>
                    <a:pt x="13049" y="519779"/>
                  </a:moveTo>
                  <a:cubicBezTo>
                    <a:pt x="13049" y="521875"/>
                    <a:pt x="12383" y="522542"/>
                    <a:pt x="10954" y="523208"/>
                  </a:cubicBezTo>
                  <a:cubicBezTo>
                    <a:pt x="9620" y="523208"/>
                    <a:pt x="8858" y="522542"/>
                    <a:pt x="8858" y="521875"/>
                  </a:cubicBezTo>
                  <a:cubicBezTo>
                    <a:pt x="9525" y="521208"/>
                    <a:pt x="12287" y="517779"/>
                    <a:pt x="12287" y="517779"/>
                  </a:cubicBezTo>
                  <a:lnTo>
                    <a:pt x="12954" y="519113"/>
                  </a:lnTo>
                  <a:lnTo>
                    <a:pt x="12954" y="519779"/>
                  </a:lnTo>
                  <a:close/>
                  <a:moveTo>
                    <a:pt x="11716" y="545211"/>
                  </a:moveTo>
                  <a:cubicBezTo>
                    <a:pt x="11716" y="545211"/>
                    <a:pt x="11049" y="545211"/>
                    <a:pt x="11049" y="546545"/>
                  </a:cubicBezTo>
                  <a:cubicBezTo>
                    <a:pt x="11049" y="546545"/>
                    <a:pt x="11049" y="547211"/>
                    <a:pt x="11716" y="547878"/>
                  </a:cubicBezTo>
                  <a:lnTo>
                    <a:pt x="11716" y="548545"/>
                  </a:lnTo>
                  <a:cubicBezTo>
                    <a:pt x="12383" y="548545"/>
                    <a:pt x="12383" y="549212"/>
                    <a:pt x="12383" y="549212"/>
                  </a:cubicBezTo>
                  <a:cubicBezTo>
                    <a:pt x="12383" y="548640"/>
                    <a:pt x="12383" y="547878"/>
                    <a:pt x="11716" y="545211"/>
                  </a:cubicBezTo>
                  <a:close/>
                  <a:moveTo>
                    <a:pt x="15812" y="539687"/>
                  </a:moveTo>
                  <a:lnTo>
                    <a:pt x="16478" y="539687"/>
                  </a:lnTo>
                  <a:lnTo>
                    <a:pt x="16478" y="534924"/>
                  </a:lnTo>
                  <a:cubicBezTo>
                    <a:pt x="17145" y="535591"/>
                    <a:pt x="18574" y="535591"/>
                    <a:pt x="19240" y="535591"/>
                  </a:cubicBezTo>
                  <a:cubicBezTo>
                    <a:pt x="19907" y="535591"/>
                    <a:pt x="19907" y="535591"/>
                    <a:pt x="19907" y="536258"/>
                  </a:cubicBezTo>
                  <a:cubicBezTo>
                    <a:pt x="19240" y="536924"/>
                    <a:pt x="19907" y="538353"/>
                    <a:pt x="18574" y="540353"/>
                  </a:cubicBezTo>
                  <a:lnTo>
                    <a:pt x="16478" y="540353"/>
                  </a:lnTo>
                  <a:cubicBezTo>
                    <a:pt x="16478" y="540353"/>
                    <a:pt x="15812" y="540353"/>
                    <a:pt x="15812" y="539687"/>
                  </a:cubicBezTo>
                  <a:close/>
                  <a:moveTo>
                    <a:pt x="18574" y="464249"/>
                  </a:moveTo>
                  <a:cubicBezTo>
                    <a:pt x="18574" y="463582"/>
                    <a:pt x="19907" y="460820"/>
                    <a:pt x="19907" y="460153"/>
                  </a:cubicBezTo>
                  <a:lnTo>
                    <a:pt x="21241" y="460153"/>
                  </a:lnTo>
                  <a:lnTo>
                    <a:pt x="21241" y="461486"/>
                  </a:lnTo>
                  <a:cubicBezTo>
                    <a:pt x="21336" y="463582"/>
                    <a:pt x="19240" y="464249"/>
                    <a:pt x="18574" y="464249"/>
                  </a:cubicBezTo>
                  <a:close/>
                  <a:moveTo>
                    <a:pt x="20669" y="554069"/>
                  </a:moveTo>
                  <a:cubicBezTo>
                    <a:pt x="20003" y="554069"/>
                    <a:pt x="20003" y="553403"/>
                    <a:pt x="20003" y="553403"/>
                  </a:cubicBezTo>
                  <a:cubicBezTo>
                    <a:pt x="20003" y="553403"/>
                    <a:pt x="20003" y="552736"/>
                    <a:pt x="20669" y="552736"/>
                  </a:cubicBezTo>
                  <a:cubicBezTo>
                    <a:pt x="20669" y="552736"/>
                    <a:pt x="20669" y="553403"/>
                    <a:pt x="22003" y="553403"/>
                  </a:cubicBezTo>
                  <a:lnTo>
                    <a:pt x="20669" y="554069"/>
                  </a:lnTo>
                  <a:close/>
                  <a:moveTo>
                    <a:pt x="36386" y="595217"/>
                  </a:moveTo>
                  <a:cubicBezTo>
                    <a:pt x="35719" y="592455"/>
                    <a:pt x="35052" y="590455"/>
                    <a:pt x="32290" y="589693"/>
                  </a:cubicBezTo>
                  <a:lnTo>
                    <a:pt x="32290" y="589026"/>
                  </a:lnTo>
                  <a:cubicBezTo>
                    <a:pt x="32957" y="589026"/>
                    <a:pt x="34385" y="589026"/>
                    <a:pt x="34385" y="586931"/>
                  </a:cubicBezTo>
                  <a:cubicBezTo>
                    <a:pt x="34385" y="584835"/>
                    <a:pt x="33052" y="580739"/>
                    <a:pt x="28861" y="573215"/>
                  </a:cubicBezTo>
                  <a:lnTo>
                    <a:pt x="28194" y="572548"/>
                  </a:lnTo>
                  <a:cubicBezTo>
                    <a:pt x="28194" y="572548"/>
                    <a:pt x="27527" y="572548"/>
                    <a:pt x="27527" y="573215"/>
                  </a:cubicBezTo>
                  <a:lnTo>
                    <a:pt x="27527" y="574548"/>
                  </a:lnTo>
                  <a:cubicBezTo>
                    <a:pt x="27527" y="575215"/>
                    <a:pt x="28194" y="574548"/>
                    <a:pt x="28194" y="575882"/>
                  </a:cubicBezTo>
                  <a:lnTo>
                    <a:pt x="26099" y="577977"/>
                  </a:lnTo>
                  <a:cubicBezTo>
                    <a:pt x="24765" y="577977"/>
                    <a:pt x="24765" y="575882"/>
                    <a:pt x="24765" y="575215"/>
                  </a:cubicBezTo>
                  <a:cubicBezTo>
                    <a:pt x="24765" y="574548"/>
                    <a:pt x="24765" y="574548"/>
                    <a:pt x="25432" y="573881"/>
                  </a:cubicBezTo>
                  <a:lnTo>
                    <a:pt x="23336" y="573215"/>
                  </a:lnTo>
                  <a:lnTo>
                    <a:pt x="22670" y="574548"/>
                  </a:lnTo>
                  <a:cubicBezTo>
                    <a:pt x="22670" y="575215"/>
                    <a:pt x="21336" y="576644"/>
                    <a:pt x="21336" y="577977"/>
                  </a:cubicBezTo>
                  <a:cubicBezTo>
                    <a:pt x="21336" y="579311"/>
                    <a:pt x="21336" y="578644"/>
                    <a:pt x="25432" y="582740"/>
                  </a:cubicBezTo>
                  <a:cubicBezTo>
                    <a:pt x="26099" y="582740"/>
                    <a:pt x="26099" y="582073"/>
                    <a:pt x="26099" y="581406"/>
                  </a:cubicBezTo>
                  <a:cubicBezTo>
                    <a:pt x="26099" y="580739"/>
                    <a:pt x="26099" y="580073"/>
                    <a:pt x="26765" y="580073"/>
                  </a:cubicBezTo>
                  <a:lnTo>
                    <a:pt x="28099" y="578739"/>
                  </a:lnTo>
                  <a:cubicBezTo>
                    <a:pt x="28765" y="578072"/>
                    <a:pt x="28765" y="582835"/>
                    <a:pt x="31528" y="589026"/>
                  </a:cubicBezTo>
                  <a:lnTo>
                    <a:pt x="34290" y="595217"/>
                  </a:lnTo>
                  <a:lnTo>
                    <a:pt x="35624" y="595884"/>
                  </a:lnTo>
                  <a:cubicBezTo>
                    <a:pt x="35719" y="595884"/>
                    <a:pt x="36386" y="595884"/>
                    <a:pt x="36386" y="595217"/>
                  </a:cubicBezTo>
                  <a:close/>
                  <a:moveTo>
                    <a:pt x="22670" y="455295"/>
                  </a:moveTo>
                  <a:cubicBezTo>
                    <a:pt x="24003" y="451199"/>
                    <a:pt x="24003" y="445008"/>
                    <a:pt x="26765" y="445008"/>
                  </a:cubicBezTo>
                  <a:cubicBezTo>
                    <a:pt x="28099" y="445008"/>
                    <a:pt x="28861" y="446342"/>
                    <a:pt x="30861" y="448437"/>
                  </a:cubicBezTo>
                  <a:lnTo>
                    <a:pt x="27432" y="449104"/>
                  </a:lnTo>
                  <a:cubicBezTo>
                    <a:pt x="27432" y="453866"/>
                    <a:pt x="24670" y="456629"/>
                    <a:pt x="24003" y="456629"/>
                  </a:cubicBezTo>
                  <a:cubicBezTo>
                    <a:pt x="23336" y="456057"/>
                    <a:pt x="22670" y="456057"/>
                    <a:pt x="22670" y="455295"/>
                  </a:cubicBezTo>
                  <a:close/>
                  <a:moveTo>
                    <a:pt x="27527" y="443008"/>
                  </a:moveTo>
                  <a:lnTo>
                    <a:pt x="27527" y="442341"/>
                  </a:lnTo>
                  <a:lnTo>
                    <a:pt x="28194" y="443008"/>
                  </a:lnTo>
                  <a:lnTo>
                    <a:pt x="27527" y="443008"/>
                  </a:lnTo>
                  <a:close/>
                  <a:moveTo>
                    <a:pt x="28861" y="525971"/>
                  </a:moveTo>
                  <a:cubicBezTo>
                    <a:pt x="28861" y="526637"/>
                    <a:pt x="28861" y="527304"/>
                    <a:pt x="28194" y="528733"/>
                  </a:cubicBezTo>
                  <a:cubicBezTo>
                    <a:pt x="29528" y="528733"/>
                    <a:pt x="28861" y="525304"/>
                    <a:pt x="30290" y="525304"/>
                  </a:cubicBezTo>
                  <a:lnTo>
                    <a:pt x="31623" y="525304"/>
                  </a:lnTo>
                  <a:cubicBezTo>
                    <a:pt x="30956" y="523970"/>
                    <a:pt x="30956" y="522542"/>
                    <a:pt x="30956" y="521875"/>
                  </a:cubicBezTo>
                  <a:cubicBezTo>
                    <a:pt x="30956" y="519779"/>
                    <a:pt x="32290" y="515017"/>
                    <a:pt x="32290" y="511588"/>
                  </a:cubicBezTo>
                  <a:cubicBezTo>
                    <a:pt x="31623" y="510254"/>
                    <a:pt x="31623" y="509492"/>
                    <a:pt x="31623" y="509492"/>
                  </a:cubicBezTo>
                  <a:lnTo>
                    <a:pt x="30956" y="508826"/>
                  </a:lnTo>
                  <a:cubicBezTo>
                    <a:pt x="29623" y="512255"/>
                    <a:pt x="28194" y="517779"/>
                    <a:pt x="28194" y="521208"/>
                  </a:cubicBezTo>
                  <a:cubicBezTo>
                    <a:pt x="28194" y="522542"/>
                    <a:pt x="28194" y="523304"/>
                    <a:pt x="28861" y="524637"/>
                  </a:cubicBezTo>
                  <a:lnTo>
                    <a:pt x="28861" y="525971"/>
                  </a:lnTo>
                  <a:close/>
                  <a:moveTo>
                    <a:pt x="31623" y="505397"/>
                  </a:moveTo>
                  <a:lnTo>
                    <a:pt x="32290" y="505397"/>
                  </a:lnTo>
                  <a:cubicBezTo>
                    <a:pt x="32290" y="504730"/>
                    <a:pt x="32290" y="504730"/>
                    <a:pt x="31623" y="504730"/>
                  </a:cubicBezTo>
                  <a:lnTo>
                    <a:pt x="31623" y="505397"/>
                  </a:lnTo>
                  <a:close/>
                  <a:moveTo>
                    <a:pt x="33623" y="423767"/>
                  </a:moveTo>
                  <a:lnTo>
                    <a:pt x="35719" y="424434"/>
                  </a:lnTo>
                  <a:cubicBezTo>
                    <a:pt x="35052" y="425101"/>
                    <a:pt x="35052" y="426530"/>
                    <a:pt x="35052" y="426530"/>
                  </a:cubicBezTo>
                  <a:lnTo>
                    <a:pt x="34385" y="425863"/>
                  </a:lnTo>
                  <a:cubicBezTo>
                    <a:pt x="34290" y="425863"/>
                    <a:pt x="33623" y="424434"/>
                    <a:pt x="33623" y="423767"/>
                  </a:cubicBezTo>
                  <a:close/>
                  <a:moveTo>
                    <a:pt x="35719" y="422434"/>
                  </a:moveTo>
                  <a:cubicBezTo>
                    <a:pt x="35719" y="422434"/>
                    <a:pt x="36386" y="421100"/>
                    <a:pt x="37814" y="420338"/>
                  </a:cubicBezTo>
                  <a:lnTo>
                    <a:pt x="37814" y="422434"/>
                  </a:lnTo>
                  <a:lnTo>
                    <a:pt x="37148" y="423101"/>
                  </a:lnTo>
                  <a:lnTo>
                    <a:pt x="35719" y="422434"/>
                  </a:lnTo>
                  <a:close/>
                  <a:moveTo>
                    <a:pt x="38481" y="600075"/>
                  </a:moveTo>
                  <a:cubicBezTo>
                    <a:pt x="38481" y="597980"/>
                    <a:pt x="37814" y="597980"/>
                    <a:pt x="36386" y="597313"/>
                  </a:cubicBezTo>
                  <a:lnTo>
                    <a:pt x="36386" y="599408"/>
                  </a:lnTo>
                  <a:lnTo>
                    <a:pt x="37719" y="600075"/>
                  </a:lnTo>
                  <a:lnTo>
                    <a:pt x="38481" y="600075"/>
                  </a:lnTo>
                  <a:close/>
                  <a:moveTo>
                    <a:pt x="41243" y="604838"/>
                  </a:moveTo>
                  <a:lnTo>
                    <a:pt x="39148" y="601409"/>
                  </a:lnTo>
                  <a:lnTo>
                    <a:pt x="38481" y="602075"/>
                  </a:lnTo>
                  <a:cubicBezTo>
                    <a:pt x="38481" y="604171"/>
                    <a:pt x="39815" y="604838"/>
                    <a:pt x="41243" y="604838"/>
                  </a:cubicBezTo>
                  <a:close/>
                  <a:moveTo>
                    <a:pt x="39148" y="419005"/>
                  </a:moveTo>
                  <a:cubicBezTo>
                    <a:pt x="39148" y="416243"/>
                    <a:pt x="39148" y="415576"/>
                    <a:pt x="39815" y="414909"/>
                  </a:cubicBezTo>
                  <a:lnTo>
                    <a:pt x="40481" y="414909"/>
                  </a:lnTo>
                  <a:lnTo>
                    <a:pt x="40481" y="418338"/>
                  </a:lnTo>
                  <a:cubicBezTo>
                    <a:pt x="40481" y="419672"/>
                    <a:pt x="40481" y="419672"/>
                    <a:pt x="39815" y="419672"/>
                  </a:cubicBezTo>
                  <a:cubicBezTo>
                    <a:pt x="39815" y="419005"/>
                    <a:pt x="39148" y="419005"/>
                    <a:pt x="39148" y="419005"/>
                  </a:cubicBezTo>
                  <a:close/>
                  <a:moveTo>
                    <a:pt x="281273" y="259175"/>
                  </a:moveTo>
                  <a:cubicBezTo>
                    <a:pt x="280607" y="259175"/>
                    <a:pt x="280607" y="259842"/>
                    <a:pt x="279940" y="259842"/>
                  </a:cubicBezTo>
                  <a:cubicBezTo>
                    <a:pt x="279178" y="261271"/>
                    <a:pt x="279178" y="257080"/>
                    <a:pt x="278511" y="257080"/>
                  </a:cubicBezTo>
                  <a:cubicBezTo>
                    <a:pt x="277844" y="257080"/>
                    <a:pt x="276416" y="257747"/>
                    <a:pt x="275749" y="259175"/>
                  </a:cubicBezTo>
                  <a:lnTo>
                    <a:pt x="274415" y="259175"/>
                  </a:lnTo>
                  <a:cubicBezTo>
                    <a:pt x="272320" y="259842"/>
                    <a:pt x="262033" y="268796"/>
                    <a:pt x="256604" y="268796"/>
                  </a:cubicBezTo>
                  <a:lnTo>
                    <a:pt x="255270" y="268796"/>
                  </a:lnTo>
                  <a:cubicBezTo>
                    <a:pt x="255270" y="269462"/>
                    <a:pt x="251174" y="272891"/>
                    <a:pt x="250508" y="272891"/>
                  </a:cubicBezTo>
                  <a:cubicBezTo>
                    <a:pt x="250508" y="273558"/>
                    <a:pt x="251174" y="273558"/>
                    <a:pt x="251174" y="273558"/>
                  </a:cubicBezTo>
                  <a:lnTo>
                    <a:pt x="250508" y="274225"/>
                  </a:lnTo>
                  <a:cubicBezTo>
                    <a:pt x="250508" y="274225"/>
                    <a:pt x="249841" y="274225"/>
                    <a:pt x="249841" y="273558"/>
                  </a:cubicBezTo>
                  <a:cubicBezTo>
                    <a:pt x="249841" y="274225"/>
                    <a:pt x="249174" y="274225"/>
                    <a:pt x="249174" y="274225"/>
                  </a:cubicBezTo>
                  <a:cubicBezTo>
                    <a:pt x="248507" y="274225"/>
                    <a:pt x="247841" y="272129"/>
                    <a:pt x="246412" y="272129"/>
                  </a:cubicBezTo>
                  <a:cubicBezTo>
                    <a:pt x="245078" y="272129"/>
                    <a:pt x="240887" y="277654"/>
                    <a:pt x="240221" y="279654"/>
                  </a:cubicBezTo>
                  <a:lnTo>
                    <a:pt x="238125" y="279654"/>
                  </a:lnTo>
                  <a:cubicBezTo>
                    <a:pt x="237458" y="279654"/>
                    <a:pt x="236792" y="280321"/>
                    <a:pt x="235363" y="280988"/>
                  </a:cubicBezTo>
                  <a:lnTo>
                    <a:pt x="233267" y="282321"/>
                  </a:lnTo>
                  <a:lnTo>
                    <a:pt x="233267" y="281654"/>
                  </a:lnTo>
                  <a:cubicBezTo>
                    <a:pt x="232601" y="281654"/>
                    <a:pt x="230505" y="282988"/>
                    <a:pt x="230505" y="284417"/>
                  </a:cubicBezTo>
                  <a:lnTo>
                    <a:pt x="229172" y="284417"/>
                  </a:lnTo>
                  <a:cubicBezTo>
                    <a:pt x="227838" y="284417"/>
                    <a:pt x="224409" y="285083"/>
                    <a:pt x="218884" y="290608"/>
                  </a:cubicBezTo>
                  <a:lnTo>
                    <a:pt x="218218" y="291274"/>
                  </a:lnTo>
                  <a:cubicBezTo>
                    <a:pt x="214122" y="291274"/>
                    <a:pt x="216122" y="293370"/>
                    <a:pt x="210693" y="296799"/>
                  </a:cubicBezTo>
                  <a:cubicBezTo>
                    <a:pt x="210026" y="296132"/>
                    <a:pt x="210026" y="296132"/>
                    <a:pt x="209359" y="296132"/>
                  </a:cubicBezTo>
                  <a:cubicBezTo>
                    <a:pt x="207264" y="296132"/>
                    <a:pt x="205931" y="299561"/>
                    <a:pt x="205264" y="299561"/>
                  </a:cubicBezTo>
                  <a:lnTo>
                    <a:pt x="200501" y="300895"/>
                  </a:lnTo>
                  <a:cubicBezTo>
                    <a:pt x="200501" y="302228"/>
                    <a:pt x="196406" y="306419"/>
                    <a:pt x="194310" y="307086"/>
                  </a:cubicBezTo>
                  <a:lnTo>
                    <a:pt x="193453" y="307086"/>
                  </a:lnTo>
                  <a:cubicBezTo>
                    <a:pt x="190691" y="307086"/>
                    <a:pt x="187261" y="316706"/>
                    <a:pt x="178403" y="316706"/>
                  </a:cubicBezTo>
                  <a:lnTo>
                    <a:pt x="174974" y="320802"/>
                  </a:lnTo>
                  <a:cubicBezTo>
                    <a:pt x="174308" y="320135"/>
                    <a:pt x="173641" y="320135"/>
                    <a:pt x="173641" y="320135"/>
                  </a:cubicBezTo>
                  <a:cubicBezTo>
                    <a:pt x="172974" y="320135"/>
                    <a:pt x="172307" y="320802"/>
                    <a:pt x="171545" y="321469"/>
                  </a:cubicBezTo>
                  <a:cubicBezTo>
                    <a:pt x="173641" y="322136"/>
                    <a:pt x="157829" y="328327"/>
                    <a:pt x="155067" y="337280"/>
                  </a:cubicBezTo>
                  <a:cubicBezTo>
                    <a:pt x="148876" y="337280"/>
                    <a:pt x="159830" y="340709"/>
                    <a:pt x="135160" y="356521"/>
                  </a:cubicBezTo>
                  <a:lnTo>
                    <a:pt x="128969" y="359950"/>
                  </a:lnTo>
                  <a:cubicBezTo>
                    <a:pt x="128969" y="370904"/>
                    <a:pt x="126873" y="355854"/>
                    <a:pt x="110490" y="380524"/>
                  </a:cubicBezTo>
                  <a:lnTo>
                    <a:pt x="103632" y="389477"/>
                  </a:lnTo>
                  <a:cubicBezTo>
                    <a:pt x="102299" y="390811"/>
                    <a:pt x="98870" y="393573"/>
                    <a:pt x="98870" y="396335"/>
                  </a:cubicBezTo>
                  <a:cubicBezTo>
                    <a:pt x="98870" y="399097"/>
                    <a:pt x="85820" y="406622"/>
                    <a:pt x="85820" y="415576"/>
                  </a:cubicBezTo>
                  <a:lnTo>
                    <a:pt x="81725" y="421100"/>
                  </a:lnTo>
                  <a:cubicBezTo>
                    <a:pt x="81725" y="419767"/>
                    <a:pt x="80391" y="428625"/>
                    <a:pt x="76962" y="428625"/>
                  </a:cubicBezTo>
                  <a:cubicBezTo>
                    <a:pt x="76295" y="428625"/>
                    <a:pt x="75628" y="427958"/>
                    <a:pt x="75628" y="427958"/>
                  </a:cubicBezTo>
                  <a:cubicBezTo>
                    <a:pt x="74962" y="427958"/>
                    <a:pt x="73533" y="430721"/>
                    <a:pt x="73533" y="431387"/>
                  </a:cubicBezTo>
                  <a:cubicBezTo>
                    <a:pt x="73533" y="432054"/>
                    <a:pt x="73533" y="432721"/>
                    <a:pt x="74200" y="433483"/>
                  </a:cubicBezTo>
                  <a:lnTo>
                    <a:pt x="72104" y="438245"/>
                  </a:lnTo>
                  <a:cubicBezTo>
                    <a:pt x="72104" y="443008"/>
                    <a:pt x="57055" y="460915"/>
                    <a:pt x="56293" y="469773"/>
                  </a:cubicBezTo>
                  <a:lnTo>
                    <a:pt x="56293" y="470440"/>
                  </a:lnTo>
                  <a:cubicBezTo>
                    <a:pt x="56293" y="471773"/>
                    <a:pt x="56293" y="471773"/>
                    <a:pt x="54959" y="473869"/>
                  </a:cubicBezTo>
                  <a:lnTo>
                    <a:pt x="53626" y="475964"/>
                  </a:lnTo>
                  <a:cubicBezTo>
                    <a:pt x="52959" y="478060"/>
                    <a:pt x="51530" y="478726"/>
                    <a:pt x="51530" y="480060"/>
                  </a:cubicBezTo>
                  <a:cubicBezTo>
                    <a:pt x="52197" y="480727"/>
                    <a:pt x="52197" y="481394"/>
                    <a:pt x="52197" y="482156"/>
                  </a:cubicBezTo>
                  <a:cubicBezTo>
                    <a:pt x="52197" y="483489"/>
                    <a:pt x="50864" y="483489"/>
                    <a:pt x="50102" y="483489"/>
                  </a:cubicBezTo>
                  <a:lnTo>
                    <a:pt x="50102" y="485585"/>
                  </a:lnTo>
                  <a:cubicBezTo>
                    <a:pt x="48768" y="486251"/>
                    <a:pt x="48768" y="486918"/>
                    <a:pt x="48768" y="488347"/>
                  </a:cubicBezTo>
                  <a:lnTo>
                    <a:pt x="48768" y="490442"/>
                  </a:lnTo>
                  <a:cubicBezTo>
                    <a:pt x="48768" y="491776"/>
                    <a:pt x="48768" y="493205"/>
                    <a:pt x="48101" y="494538"/>
                  </a:cubicBezTo>
                  <a:lnTo>
                    <a:pt x="46768" y="499301"/>
                  </a:lnTo>
                  <a:cubicBezTo>
                    <a:pt x="46768" y="499967"/>
                    <a:pt x="46768" y="500634"/>
                    <a:pt x="45434" y="501396"/>
                  </a:cubicBezTo>
                  <a:cubicBezTo>
                    <a:pt x="46101" y="502730"/>
                    <a:pt x="46101" y="503492"/>
                    <a:pt x="46101" y="504158"/>
                  </a:cubicBezTo>
                  <a:lnTo>
                    <a:pt x="46768" y="504825"/>
                  </a:lnTo>
                  <a:cubicBezTo>
                    <a:pt x="47435" y="504825"/>
                    <a:pt x="47435" y="505492"/>
                    <a:pt x="47435" y="506159"/>
                  </a:cubicBezTo>
                  <a:cubicBezTo>
                    <a:pt x="47435" y="508254"/>
                    <a:pt x="44672" y="514350"/>
                    <a:pt x="44672" y="517112"/>
                  </a:cubicBezTo>
                  <a:cubicBezTo>
                    <a:pt x="44672" y="520541"/>
                    <a:pt x="45339" y="520541"/>
                    <a:pt x="45339" y="521208"/>
                  </a:cubicBezTo>
                  <a:lnTo>
                    <a:pt x="46673" y="530828"/>
                  </a:lnTo>
                  <a:cubicBezTo>
                    <a:pt x="46673" y="534924"/>
                    <a:pt x="44577" y="532162"/>
                    <a:pt x="44577" y="535591"/>
                  </a:cubicBezTo>
                  <a:lnTo>
                    <a:pt x="44577" y="539687"/>
                  </a:lnTo>
                  <a:cubicBezTo>
                    <a:pt x="44577" y="541020"/>
                    <a:pt x="44577" y="542449"/>
                    <a:pt x="45244" y="543116"/>
                  </a:cubicBezTo>
                  <a:cubicBezTo>
                    <a:pt x="44577" y="544449"/>
                    <a:pt x="44577" y="545211"/>
                    <a:pt x="44577" y="545211"/>
                  </a:cubicBezTo>
                  <a:lnTo>
                    <a:pt x="43910" y="545211"/>
                  </a:lnTo>
                  <a:cubicBezTo>
                    <a:pt x="43244" y="545878"/>
                    <a:pt x="42577" y="545878"/>
                    <a:pt x="42577" y="546545"/>
                  </a:cubicBezTo>
                  <a:cubicBezTo>
                    <a:pt x="42577" y="546545"/>
                    <a:pt x="44672" y="551307"/>
                    <a:pt x="46006" y="552069"/>
                  </a:cubicBezTo>
                  <a:cubicBezTo>
                    <a:pt x="46006" y="552069"/>
                    <a:pt x="46006" y="553403"/>
                    <a:pt x="45339" y="553403"/>
                  </a:cubicBezTo>
                  <a:lnTo>
                    <a:pt x="45339" y="556832"/>
                  </a:lnTo>
                  <a:cubicBezTo>
                    <a:pt x="44672" y="556832"/>
                    <a:pt x="44672" y="557498"/>
                    <a:pt x="44672" y="558165"/>
                  </a:cubicBezTo>
                  <a:cubicBezTo>
                    <a:pt x="44672" y="563690"/>
                    <a:pt x="46768" y="564356"/>
                    <a:pt x="46768" y="565690"/>
                  </a:cubicBezTo>
                  <a:cubicBezTo>
                    <a:pt x="46768" y="566357"/>
                    <a:pt x="46101" y="566357"/>
                    <a:pt x="45434" y="566357"/>
                  </a:cubicBezTo>
                  <a:cubicBezTo>
                    <a:pt x="45434" y="569119"/>
                    <a:pt x="52292" y="576644"/>
                    <a:pt x="50197" y="569786"/>
                  </a:cubicBezTo>
                  <a:cubicBezTo>
                    <a:pt x="51530" y="571881"/>
                    <a:pt x="52292" y="571881"/>
                    <a:pt x="52292" y="572548"/>
                  </a:cubicBezTo>
                  <a:lnTo>
                    <a:pt x="52292" y="575310"/>
                  </a:lnTo>
                  <a:cubicBezTo>
                    <a:pt x="52292" y="576644"/>
                    <a:pt x="52292" y="577406"/>
                    <a:pt x="50959" y="581501"/>
                  </a:cubicBezTo>
                  <a:cubicBezTo>
                    <a:pt x="52292" y="582835"/>
                    <a:pt x="53054" y="587026"/>
                    <a:pt x="54388" y="588359"/>
                  </a:cubicBezTo>
                  <a:cubicBezTo>
                    <a:pt x="53721" y="589026"/>
                    <a:pt x="53721" y="589026"/>
                    <a:pt x="53721" y="589693"/>
                  </a:cubicBezTo>
                  <a:cubicBezTo>
                    <a:pt x="53721" y="589693"/>
                    <a:pt x="64008" y="596551"/>
                    <a:pt x="64008" y="599980"/>
                  </a:cubicBezTo>
                  <a:cubicBezTo>
                    <a:pt x="61246" y="599980"/>
                    <a:pt x="62675" y="599313"/>
                    <a:pt x="61246" y="599313"/>
                  </a:cubicBezTo>
                  <a:cubicBezTo>
                    <a:pt x="60579" y="599313"/>
                    <a:pt x="59912" y="599313"/>
                    <a:pt x="59912" y="599980"/>
                  </a:cubicBezTo>
                  <a:cubicBezTo>
                    <a:pt x="60579" y="601313"/>
                    <a:pt x="63341" y="606171"/>
                    <a:pt x="64675" y="606838"/>
                  </a:cubicBezTo>
                  <a:lnTo>
                    <a:pt x="66770" y="606838"/>
                  </a:lnTo>
                  <a:lnTo>
                    <a:pt x="70199" y="609600"/>
                  </a:lnTo>
                  <a:cubicBezTo>
                    <a:pt x="70866" y="610934"/>
                    <a:pt x="71533" y="610934"/>
                    <a:pt x="72962" y="610934"/>
                  </a:cubicBezTo>
                  <a:lnTo>
                    <a:pt x="74295" y="611600"/>
                  </a:lnTo>
                  <a:cubicBezTo>
                    <a:pt x="76390" y="614363"/>
                    <a:pt x="78391" y="614363"/>
                    <a:pt x="80486" y="614363"/>
                  </a:cubicBezTo>
                  <a:cubicBezTo>
                    <a:pt x="83915" y="613696"/>
                    <a:pt x="86678" y="613696"/>
                    <a:pt x="90107" y="613696"/>
                  </a:cubicBezTo>
                  <a:cubicBezTo>
                    <a:pt x="91440" y="613029"/>
                    <a:pt x="112014" y="609600"/>
                    <a:pt x="117539" y="602742"/>
                  </a:cubicBezTo>
                  <a:lnTo>
                    <a:pt x="124397" y="599313"/>
                  </a:lnTo>
                  <a:cubicBezTo>
                    <a:pt x="125063" y="599980"/>
                    <a:pt x="125063" y="599980"/>
                    <a:pt x="125730" y="599980"/>
                  </a:cubicBezTo>
                  <a:cubicBezTo>
                    <a:pt x="125730" y="599980"/>
                    <a:pt x="143542" y="589026"/>
                    <a:pt x="147638" y="583502"/>
                  </a:cubicBezTo>
                  <a:lnTo>
                    <a:pt x="148971" y="584168"/>
                  </a:lnTo>
                  <a:cubicBezTo>
                    <a:pt x="151067" y="580739"/>
                    <a:pt x="154496" y="579406"/>
                    <a:pt x="160592" y="569119"/>
                  </a:cubicBezTo>
                  <a:cubicBezTo>
                    <a:pt x="160592" y="567023"/>
                    <a:pt x="160592" y="567023"/>
                    <a:pt x="161258" y="567023"/>
                  </a:cubicBezTo>
                  <a:lnTo>
                    <a:pt x="162592" y="567023"/>
                  </a:lnTo>
                  <a:cubicBezTo>
                    <a:pt x="164687" y="567023"/>
                    <a:pt x="168783" y="564928"/>
                    <a:pt x="175641" y="553307"/>
                  </a:cubicBezTo>
                  <a:cubicBezTo>
                    <a:pt x="175641" y="548545"/>
                    <a:pt x="197549" y="551974"/>
                    <a:pt x="197549" y="514255"/>
                  </a:cubicBezTo>
                  <a:lnTo>
                    <a:pt x="198882" y="513588"/>
                  </a:lnTo>
                  <a:cubicBezTo>
                    <a:pt x="200978" y="513588"/>
                    <a:pt x="203645" y="505397"/>
                    <a:pt x="206407" y="503301"/>
                  </a:cubicBezTo>
                  <a:lnTo>
                    <a:pt x="207074" y="502634"/>
                  </a:lnTo>
                  <a:cubicBezTo>
                    <a:pt x="208407" y="495110"/>
                    <a:pt x="214598" y="488918"/>
                    <a:pt x="217360" y="478631"/>
                  </a:cubicBezTo>
                  <a:cubicBezTo>
                    <a:pt x="218694" y="477298"/>
                    <a:pt x="225552" y="454628"/>
                    <a:pt x="235172" y="443008"/>
                  </a:cubicBezTo>
                  <a:cubicBezTo>
                    <a:pt x="237268" y="425863"/>
                    <a:pt x="235172" y="446437"/>
                    <a:pt x="248888" y="404622"/>
                  </a:cubicBezTo>
                  <a:lnTo>
                    <a:pt x="251651" y="392240"/>
                  </a:lnTo>
                  <a:cubicBezTo>
                    <a:pt x="250317" y="393573"/>
                    <a:pt x="260604" y="371666"/>
                    <a:pt x="260604" y="366141"/>
                  </a:cubicBezTo>
                  <a:lnTo>
                    <a:pt x="260604" y="361379"/>
                  </a:lnTo>
                  <a:cubicBezTo>
                    <a:pt x="262700" y="357949"/>
                    <a:pt x="262700" y="350425"/>
                    <a:pt x="266129" y="345567"/>
                  </a:cubicBezTo>
                  <a:cubicBezTo>
                    <a:pt x="266129" y="342805"/>
                    <a:pt x="265462" y="341471"/>
                    <a:pt x="265462" y="338709"/>
                  </a:cubicBezTo>
                  <a:cubicBezTo>
                    <a:pt x="266129" y="336614"/>
                    <a:pt x="269558" y="329089"/>
                    <a:pt x="269558" y="329756"/>
                  </a:cubicBezTo>
                  <a:cubicBezTo>
                    <a:pt x="269558" y="326993"/>
                    <a:pt x="270224" y="325660"/>
                    <a:pt x="270891" y="324231"/>
                  </a:cubicBezTo>
                  <a:lnTo>
                    <a:pt x="270891" y="322136"/>
                  </a:lnTo>
                  <a:cubicBezTo>
                    <a:pt x="270891" y="318040"/>
                    <a:pt x="271558" y="307753"/>
                    <a:pt x="275654" y="299466"/>
                  </a:cubicBezTo>
                  <a:lnTo>
                    <a:pt x="275654" y="295370"/>
                  </a:lnTo>
                  <a:cubicBezTo>
                    <a:pt x="276320" y="289846"/>
                    <a:pt x="278416" y="285750"/>
                    <a:pt x="279083" y="280988"/>
                  </a:cubicBezTo>
                  <a:lnTo>
                    <a:pt x="279083" y="279654"/>
                  </a:lnTo>
                  <a:cubicBezTo>
                    <a:pt x="278416" y="278987"/>
                    <a:pt x="278416" y="277559"/>
                    <a:pt x="278416" y="275558"/>
                  </a:cubicBezTo>
                  <a:cubicBezTo>
                    <a:pt x="278416" y="271463"/>
                    <a:pt x="281845" y="266605"/>
                    <a:pt x="281845" y="263938"/>
                  </a:cubicBezTo>
                  <a:lnTo>
                    <a:pt x="281845" y="261176"/>
                  </a:lnTo>
                  <a:cubicBezTo>
                    <a:pt x="281940" y="261271"/>
                    <a:pt x="281940" y="258509"/>
                    <a:pt x="281273" y="259175"/>
                  </a:cubicBezTo>
                  <a:close/>
                  <a:moveTo>
                    <a:pt x="47339" y="419672"/>
                  </a:moveTo>
                  <a:lnTo>
                    <a:pt x="48006" y="421005"/>
                  </a:lnTo>
                  <a:lnTo>
                    <a:pt x="48006" y="418910"/>
                  </a:lnTo>
                  <a:cubicBezTo>
                    <a:pt x="47339" y="419005"/>
                    <a:pt x="47339" y="419672"/>
                    <a:pt x="47339" y="419672"/>
                  </a:cubicBezTo>
                  <a:close/>
                  <a:moveTo>
                    <a:pt x="50768" y="598646"/>
                  </a:moveTo>
                  <a:cubicBezTo>
                    <a:pt x="50768" y="597980"/>
                    <a:pt x="49435" y="595884"/>
                    <a:pt x="48673" y="595884"/>
                  </a:cubicBezTo>
                  <a:lnTo>
                    <a:pt x="47339" y="597218"/>
                  </a:lnTo>
                  <a:cubicBezTo>
                    <a:pt x="47339" y="598551"/>
                    <a:pt x="48006" y="599980"/>
                    <a:pt x="49435" y="601313"/>
                  </a:cubicBezTo>
                  <a:lnTo>
                    <a:pt x="50768" y="601980"/>
                  </a:lnTo>
                  <a:lnTo>
                    <a:pt x="50768" y="598646"/>
                  </a:lnTo>
                  <a:close/>
                  <a:moveTo>
                    <a:pt x="48101" y="404622"/>
                  </a:moveTo>
                  <a:cubicBezTo>
                    <a:pt x="48101" y="404622"/>
                    <a:pt x="48101" y="403955"/>
                    <a:pt x="48768" y="403289"/>
                  </a:cubicBezTo>
                  <a:lnTo>
                    <a:pt x="50102" y="403955"/>
                  </a:lnTo>
                  <a:cubicBezTo>
                    <a:pt x="48768" y="403955"/>
                    <a:pt x="48768" y="404622"/>
                    <a:pt x="48006" y="405289"/>
                  </a:cubicBezTo>
                  <a:lnTo>
                    <a:pt x="48006" y="404622"/>
                  </a:lnTo>
                  <a:close/>
                  <a:moveTo>
                    <a:pt x="54959" y="424434"/>
                  </a:moveTo>
                  <a:lnTo>
                    <a:pt x="56293" y="423767"/>
                  </a:lnTo>
                  <a:cubicBezTo>
                    <a:pt x="56293" y="423101"/>
                    <a:pt x="55626" y="423101"/>
                    <a:pt x="54959" y="423101"/>
                  </a:cubicBezTo>
                  <a:lnTo>
                    <a:pt x="54293" y="423101"/>
                  </a:lnTo>
                  <a:cubicBezTo>
                    <a:pt x="54197" y="423767"/>
                    <a:pt x="54959" y="424434"/>
                    <a:pt x="54959" y="424434"/>
                  </a:cubicBezTo>
                  <a:close/>
                  <a:moveTo>
                    <a:pt x="54959" y="395002"/>
                  </a:moveTo>
                  <a:lnTo>
                    <a:pt x="54959" y="394335"/>
                  </a:lnTo>
                  <a:cubicBezTo>
                    <a:pt x="56293" y="393001"/>
                    <a:pt x="55626" y="392240"/>
                    <a:pt x="56293" y="392240"/>
                  </a:cubicBezTo>
                  <a:lnTo>
                    <a:pt x="56960" y="392906"/>
                  </a:lnTo>
                  <a:lnTo>
                    <a:pt x="56960" y="395002"/>
                  </a:lnTo>
                  <a:lnTo>
                    <a:pt x="54959" y="395002"/>
                  </a:lnTo>
                  <a:close/>
                  <a:moveTo>
                    <a:pt x="58388" y="608267"/>
                  </a:moveTo>
                  <a:cubicBezTo>
                    <a:pt x="58388" y="607600"/>
                    <a:pt x="57722" y="607600"/>
                    <a:pt x="57722" y="607600"/>
                  </a:cubicBezTo>
                  <a:lnTo>
                    <a:pt x="55626" y="607600"/>
                  </a:lnTo>
                  <a:cubicBezTo>
                    <a:pt x="54959" y="607600"/>
                    <a:pt x="54959" y="607600"/>
                    <a:pt x="54959" y="608267"/>
                  </a:cubicBezTo>
                  <a:cubicBezTo>
                    <a:pt x="54959" y="609600"/>
                    <a:pt x="57722" y="609600"/>
                    <a:pt x="58388" y="609600"/>
                  </a:cubicBezTo>
                  <a:lnTo>
                    <a:pt x="58388" y="608267"/>
                  </a:lnTo>
                  <a:close/>
                  <a:moveTo>
                    <a:pt x="55626" y="600742"/>
                  </a:moveTo>
                  <a:lnTo>
                    <a:pt x="56293" y="600742"/>
                  </a:lnTo>
                  <a:lnTo>
                    <a:pt x="55626" y="600075"/>
                  </a:lnTo>
                  <a:lnTo>
                    <a:pt x="55626" y="600742"/>
                  </a:lnTo>
                  <a:close/>
                  <a:moveTo>
                    <a:pt x="58388" y="410051"/>
                  </a:moveTo>
                  <a:cubicBezTo>
                    <a:pt x="59055" y="407956"/>
                    <a:pt x="59722" y="407956"/>
                    <a:pt x="59722" y="407956"/>
                  </a:cubicBezTo>
                  <a:cubicBezTo>
                    <a:pt x="59722" y="410051"/>
                    <a:pt x="59722" y="410051"/>
                    <a:pt x="59055" y="410718"/>
                  </a:cubicBezTo>
                  <a:cubicBezTo>
                    <a:pt x="59055" y="410718"/>
                    <a:pt x="58388" y="410718"/>
                    <a:pt x="56960" y="410051"/>
                  </a:cubicBezTo>
                  <a:lnTo>
                    <a:pt x="58388" y="410051"/>
                  </a:lnTo>
                  <a:close/>
                  <a:moveTo>
                    <a:pt x="59055" y="399097"/>
                  </a:moveTo>
                  <a:cubicBezTo>
                    <a:pt x="59055" y="399097"/>
                    <a:pt x="59722" y="399097"/>
                    <a:pt x="59722" y="398431"/>
                  </a:cubicBezTo>
                  <a:lnTo>
                    <a:pt x="60389" y="399097"/>
                  </a:lnTo>
                  <a:cubicBezTo>
                    <a:pt x="60389" y="399097"/>
                    <a:pt x="60389" y="400431"/>
                    <a:pt x="59722" y="400431"/>
                  </a:cubicBezTo>
                  <a:cubicBezTo>
                    <a:pt x="59722" y="403193"/>
                    <a:pt x="61055" y="401098"/>
                    <a:pt x="61055" y="403193"/>
                  </a:cubicBezTo>
                  <a:lnTo>
                    <a:pt x="58960" y="405956"/>
                  </a:lnTo>
                  <a:lnTo>
                    <a:pt x="57626" y="405289"/>
                  </a:lnTo>
                  <a:cubicBezTo>
                    <a:pt x="58293" y="404622"/>
                    <a:pt x="58960" y="404622"/>
                    <a:pt x="58960" y="403955"/>
                  </a:cubicBezTo>
                  <a:lnTo>
                    <a:pt x="57626" y="402622"/>
                  </a:lnTo>
                  <a:cubicBezTo>
                    <a:pt x="57626" y="399097"/>
                    <a:pt x="58388" y="399097"/>
                    <a:pt x="59055" y="399097"/>
                  </a:cubicBezTo>
                  <a:close/>
                  <a:moveTo>
                    <a:pt x="60389" y="604838"/>
                  </a:moveTo>
                  <a:lnTo>
                    <a:pt x="58293" y="605504"/>
                  </a:lnTo>
                  <a:cubicBezTo>
                    <a:pt x="58293" y="605504"/>
                    <a:pt x="58293" y="606171"/>
                    <a:pt x="60389" y="607600"/>
                  </a:cubicBezTo>
                  <a:lnTo>
                    <a:pt x="61055" y="607600"/>
                  </a:lnTo>
                  <a:cubicBezTo>
                    <a:pt x="60389" y="606933"/>
                    <a:pt x="60389" y="606171"/>
                    <a:pt x="60389" y="604838"/>
                  </a:cubicBezTo>
                  <a:close/>
                  <a:moveTo>
                    <a:pt x="61055" y="395669"/>
                  </a:moveTo>
                  <a:lnTo>
                    <a:pt x="62389" y="395669"/>
                  </a:lnTo>
                  <a:lnTo>
                    <a:pt x="62389" y="397002"/>
                  </a:lnTo>
                  <a:cubicBezTo>
                    <a:pt x="61055" y="397002"/>
                    <a:pt x="61055" y="395669"/>
                    <a:pt x="61055" y="395669"/>
                  </a:cubicBezTo>
                  <a:close/>
                  <a:moveTo>
                    <a:pt x="62484" y="399097"/>
                  </a:moveTo>
                  <a:lnTo>
                    <a:pt x="63818" y="399764"/>
                  </a:lnTo>
                  <a:cubicBezTo>
                    <a:pt x="63151" y="400431"/>
                    <a:pt x="63151" y="399764"/>
                    <a:pt x="63151" y="399764"/>
                  </a:cubicBezTo>
                  <a:lnTo>
                    <a:pt x="63151" y="400431"/>
                  </a:lnTo>
                  <a:lnTo>
                    <a:pt x="62484" y="399097"/>
                  </a:lnTo>
                  <a:close/>
                  <a:moveTo>
                    <a:pt x="66580" y="391573"/>
                  </a:moveTo>
                  <a:lnTo>
                    <a:pt x="67247" y="391573"/>
                  </a:lnTo>
                  <a:cubicBezTo>
                    <a:pt x="67247" y="392240"/>
                    <a:pt x="66580" y="393668"/>
                    <a:pt x="65913" y="393668"/>
                  </a:cubicBezTo>
                  <a:cubicBezTo>
                    <a:pt x="65913" y="393668"/>
                    <a:pt x="65246" y="393668"/>
                    <a:pt x="65246" y="392335"/>
                  </a:cubicBezTo>
                  <a:lnTo>
                    <a:pt x="63913" y="392335"/>
                  </a:lnTo>
                  <a:cubicBezTo>
                    <a:pt x="65246" y="391573"/>
                    <a:pt x="65913" y="391573"/>
                    <a:pt x="66580" y="391573"/>
                  </a:cubicBezTo>
                  <a:close/>
                  <a:moveTo>
                    <a:pt x="66580" y="394240"/>
                  </a:moveTo>
                  <a:lnTo>
                    <a:pt x="66580" y="395573"/>
                  </a:lnTo>
                  <a:cubicBezTo>
                    <a:pt x="66580" y="396240"/>
                    <a:pt x="65913" y="397669"/>
                    <a:pt x="64484" y="397669"/>
                  </a:cubicBezTo>
                  <a:cubicBezTo>
                    <a:pt x="64484" y="397669"/>
                    <a:pt x="63818" y="397669"/>
                    <a:pt x="63818" y="396335"/>
                  </a:cubicBezTo>
                  <a:cubicBezTo>
                    <a:pt x="63818" y="396335"/>
                    <a:pt x="64484" y="395002"/>
                    <a:pt x="66580" y="394240"/>
                  </a:cubicBezTo>
                  <a:close/>
                  <a:moveTo>
                    <a:pt x="65913" y="386048"/>
                  </a:moveTo>
                  <a:lnTo>
                    <a:pt x="66580" y="385382"/>
                  </a:lnTo>
                  <a:cubicBezTo>
                    <a:pt x="67247" y="386715"/>
                    <a:pt x="67913" y="386715"/>
                    <a:pt x="68675" y="386715"/>
                  </a:cubicBezTo>
                  <a:cubicBezTo>
                    <a:pt x="69437" y="386715"/>
                    <a:pt x="69342" y="386715"/>
                    <a:pt x="70009" y="386048"/>
                  </a:cubicBezTo>
                  <a:lnTo>
                    <a:pt x="70009" y="384715"/>
                  </a:lnTo>
                  <a:cubicBezTo>
                    <a:pt x="70676" y="386048"/>
                    <a:pt x="70676" y="386048"/>
                    <a:pt x="72104" y="386048"/>
                  </a:cubicBezTo>
                  <a:cubicBezTo>
                    <a:pt x="72104" y="387382"/>
                    <a:pt x="71438" y="386048"/>
                    <a:pt x="70009" y="388144"/>
                  </a:cubicBezTo>
                  <a:lnTo>
                    <a:pt x="70009" y="388811"/>
                  </a:lnTo>
                  <a:lnTo>
                    <a:pt x="72104" y="388811"/>
                  </a:lnTo>
                  <a:cubicBezTo>
                    <a:pt x="72104" y="388811"/>
                    <a:pt x="72104" y="390144"/>
                    <a:pt x="70771" y="390144"/>
                  </a:cubicBezTo>
                  <a:cubicBezTo>
                    <a:pt x="69437" y="390144"/>
                    <a:pt x="68009" y="387382"/>
                    <a:pt x="67342" y="387382"/>
                  </a:cubicBezTo>
                  <a:cubicBezTo>
                    <a:pt x="66675" y="387382"/>
                    <a:pt x="65246" y="388049"/>
                    <a:pt x="66008" y="388049"/>
                  </a:cubicBezTo>
                  <a:cubicBezTo>
                    <a:pt x="66008" y="388049"/>
                    <a:pt x="65341" y="388049"/>
                    <a:pt x="65341" y="387382"/>
                  </a:cubicBezTo>
                  <a:cubicBezTo>
                    <a:pt x="65341" y="386715"/>
                    <a:pt x="65246" y="386715"/>
                    <a:pt x="65913" y="386048"/>
                  </a:cubicBezTo>
                  <a:close/>
                  <a:moveTo>
                    <a:pt x="65913" y="381286"/>
                  </a:moveTo>
                  <a:cubicBezTo>
                    <a:pt x="65913" y="380619"/>
                    <a:pt x="65913" y="379190"/>
                    <a:pt x="66580" y="379190"/>
                  </a:cubicBezTo>
                  <a:cubicBezTo>
                    <a:pt x="67247" y="379190"/>
                    <a:pt x="67247" y="380524"/>
                    <a:pt x="67247" y="380524"/>
                  </a:cubicBezTo>
                  <a:cubicBezTo>
                    <a:pt x="67247" y="381191"/>
                    <a:pt x="67247" y="381857"/>
                    <a:pt x="66580" y="381857"/>
                  </a:cubicBezTo>
                  <a:cubicBezTo>
                    <a:pt x="65913" y="381857"/>
                    <a:pt x="65913" y="381953"/>
                    <a:pt x="65913" y="381286"/>
                  </a:cubicBezTo>
                  <a:close/>
                  <a:moveTo>
                    <a:pt x="74105" y="395669"/>
                  </a:moveTo>
                  <a:lnTo>
                    <a:pt x="75438" y="397002"/>
                  </a:lnTo>
                  <a:cubicBezTo>
                    <a:pt x="76105" y="397002"/>
                    <a:pt x="76772" y="396335"/>
                    <a:pt x="76772" y="395669"/>
                  </a:cubicBezTo>
                  <a:cubicBezTo>
                    <a:pt x="76772" y="395669"/>
                    <a:pt x="76105" y="395669"/>
                    <a:pt x="76105" y="394335"/>
                  </a:cubicBezTo>
                  <a:lnTo>
                    <a:pt x="75438" y="394335"/>
                  </a:lnTo>
                  <a:cubicBezTo>
                    <a:pt x="74771" y="394240"/>
                    <a:pt x="75533" y="395669"/>
                    <a:pt x="74105" y="395669"/>
                  </a:cubicBezTo>
                  <a:close/>
                  <a:moveTo>
                    <a:pt x="76200" y="380524"/>
                  </a:moveTo>
                  <a:cubicBezTo>
                    <a:pt x="76200" y="381191"/>
                    <a:pt x="77534" y="381191"/>
                    <a:pt x="77534" y="381857"/>
                  </a:cubicBezTo>
                  <a:cubicBezTo>
                    <a:pt x="77534" y="381857"/>
                    <a:pt x="77534" y="382524"/>
                    <a:pt x="76867" y="383191"/>
                  </a:cubicBezTo>
                  <a:lnTo>
                    <a:pt x="75533" y="384524"/>
                  </a:lnTo>
                  <a:lnTo>
                    <a:pt x="74867" y="383858"/>
                  </a:lnTo>
                  <a:cubicBezTo>
                    <a:pt x="74771" y="381953"/>
                    <a:pt x="75533" y="381286"/>
                    <a:pt x="76200" y="380524"/>
                  </a:cubicBezTo>
                  <a:close/>
                  <a:moveTo>
                    <a:pt x="76200" y="369570"/>
                  </a:moveTo>
                  <a:cubicBezTo>
                    <a:pt x="76200" y="369570"/>
                    <a:pt x="75533" y="368903"/>
                    <a:pt x="75533" y="368237"/>
                  </a:cubicBezTo>
                  <a:lnTo>
                    <a:pt x="76867" y="368237"/>
                  </a:lnTo>
                  <a:cubicBezTo>
                    <a:pt x="76867" y="368903"/>
                    <a:pt x="76867" y="369570"/>
                    <a:pt x="76200" y="369570"/>
                  </a:cubicBezTo>
                  <a:close/>
                  <a:moveTo>
                    <a:pt x="82391" y="371666"/>
                  </a:moveTo>
                  <a:lnTo>
                    <a:pt x="82391" y="372999"/>
                  </a:lnTo>
                  <a:lnTo>
                    <a:pt x="83058" y="374333"/>
                  </a:lnTo>
                  <a:cubicBezTo>
                    <a:pt x="83058" y="374333"/>
                    <a:pt x="82391" y="377762"/>
                    <a:pt x="80963" y="377762"/>
                  </a:cubicBezTo>
                  <a:cubicBezTo>
                    <a:pt x="80963" y="377762"/>
                    <a:pt x="80296" y="377762"/>
                    <a:pt x="79629" y="377095"/>
                  </a:cubicBezTo>
                  <a:lnTo>
                    <a:pt x="79629" y="379190"/>
                  </a:lnTo>
                  <a:cubicBezTo>
                    <a:pt x="79629" y="379857"/>
                    <a:pt x="79629" y="379857"/>
                    <a:pt x="78962" y="379857"/>
                  </a:cubicBezTo>
                  <a:cubicBezTo>
                    <a:pt x="76867" y="379857"/>
                    <a:pt x="76200" y="378524"/>
                    <a:pt x="76200" y="378524"/>
                  </a:cubicBezTo>
                  <a:cubicBezTo>
                    <a:pt x="76867" y="375761"/>
                    <a:pt x="80963" y="374428"/>
                    <a:pt x="82391" y="371666"/>
                  </a:cubicBezTo>
                  <a:close/>
                  <a:moveTo>
                    <a:pt x="80963" y="363379"/>
                  </a:moveTo>
                  <a:lnTo>
                    <a:pt x="80963" y="366141"/>
                  </a:lnTo>
                  <a:cubicBezTo>
                    <a:pt x="80296" y="366141"/>
                    <a:pt x="80296" y="364046"/>
                    <a:pt x="79629" y="364046"/>
                  </a:cubicBezTo>
                  <a:cubicBezTo>
                    <a:pt x="79629" y="364046"/>
                    <a:pt x="80296" y="364046"/>
                    <a:pt x="80296" y="363379"/>
                  </a:cubicBezTo>
                  <a:lnTo>
                    <a:pt x="80963" y="363379"/>
                  </a:lnTo>
                  <a:close/>
                  <a:moveTo>
                    <a:pt x="80963" y="363379"/>
                  </a:moveTo>
                  <a:cubicBezTo>
                    <a:pt x="80963" y="362712"/>
                    <a:pt x="80963" y="362045"/>
                    <a:pt x="81629" y="360617"/>
                  </a:cubicBezTo>
                  <a:cubicBezTo>
                    <a:pt x="81629" y="361283"/>
                    <a:pt x="82296" y="361283"/>
                    <a:pt x="82296" y="361283"/>
                  </a:cubicBezTo>
                  <a:cubicBezTo>
                    <a:pt x="83058" y="362045"/>
                    <a:pt x="80963" y="363379"/>
                    <a:pt x="80963" y="363379"/>
                  </a:cubicBezTo>
                  <a:close/>
                  <a:moveTo>
                    <a:pt x="86487" y="357949"/>
                  </a:moveTo>
                  <a:lnTo>
                    <a:pt x="85820" y="357283"/>
                  </a:lnTo>
                  <a:lnTo>
                    <a:pt x="86487" y="357283"/>
                  </a:lnTo>
                  <a:cubicBezTo>
                    <a:pt x="87154" y="356616"/>
                    <a:pt x="87154" y="355187"/>
                    <a:pt x="87154" y="354521"/>
                  </a:cubicBezTo>
                  <a:cubicBezTo>
                    <a:pt x="86487" y="353854"/>
                    <a:pt x="86487" y="353854"/>
                    <a:pt x="86487" y="353187"/>
                  </a:cubicBezTo>
                  <a:cubicBezTo>
                    <a:pt x="86487" y="353187"/>
                    <a:pt x="86487" y="352520"/>
                    <a:pt x="87154" y="352520"/>
                  </a:cubicBezTo>
                  <a:cubicBezTo>
                    <a:pt x="87821" y="352520"/>
                    <a:pt x="88487" y="353187"/>
                    <a:pt x="89249" y="353187"/>
                  </a:cubicBezTo>
                  <a:cubicBezTo>
                    <a:pt x="89249" y="353187"/>
                    <a:pt x="89916" y="350425"/>
                    <a:pt x="89916" y="351092"/>
                  </a:cubicBezTo>
                  <a:cubicBezTo>
                    <a:pt x="94012" y="348996"/>
                    <a:pt x="92678" y="347663"/>
                    <a:pt x="94012" y="347663"/>
                  </a:cubicBezTo>
                  <a:cubicBezTo>
                    <a:pt x="94012" y="347663"/>
                    <a:pt x="94678" y="348329"/>
                    <a:pt x="95345" y="348329"/>
                  </a:cubicBezTo>
                  <a:cubicBezTo>
                    <a:pt x="96012" y="346234"/>
                    <a:pt x="96012" y="346234"/>
                    <a:pt x="96679" y="346234"/>
                  </a:cubicBezTo>
                  <a:lnTo>
                    <a:pt x="96679" y="348996"/>
                  </a:lnTo>
                  <a:cubicBezTo>
                    <a:pt x="96679" y="349663"/>
                    <a:pt x="96012" y="350330"/>
                    <a:pt x="95345" y="351092"/>
                  </a:cubicBezTo>
                  <a:lnTo>
                    <a:pt x="92583" y="352425"/>
                  </a:lnTo>
                  <a:cubicBezTo>
                    <a:pt x="92583" y="351092"/>
                    <a:pt x="89154" y="357188"/>
                    <a:pt x="89154" y="357188"/>
                  </a:cubicBezTo>
                  <a:cubicBezTo>
                    <a:pt x="87821" y="357283"/>
                    <a:pt x="87154" y="357949"/>
                    <a:pt x="86487" y="357949"/>
                  </a:cubicBezTo>
                  <a:close/>
                  <a:moveTo>
                    <a:pt x="87154" y="416909"/>
                  </a:moveTo>
                  <a:cubicBezTo>
                    <a:pt x="87154" y="419672"/>
                    <a:pt x="86487" y="420338"/>
                    <a:pt x="86487" y="421005"/>
                  </a:cubicBezTo>
                  <a:lnTo>
                    <a:pt x="85820" y="420338"/>
                  </a:lnTo>
                  <a:cubicBezTo>
                    <a:pt x="85820" y="419672"/>
                    <a:pt x="86487" y="418243"/>
                    <a:pt x="87154" y="416909"/>
                  </a:cubicBezTo>
                  <a:close/>
                  <a:moveTo>
                    <a:pt x="89916" y="412814"/>
                  </a:moveTo>
                  <a:cubicBezTo>
                    <a:pt x="90583" y="412814"/>
                    <a:pt x="90583" y="413480"/>
                    <a:pt x="90583" y="413480"/>
                  </a:cubicBezTo>
                  <a:lnTo>
                    <a:pt x="90583" y="414147"/>
                  </a:lnTo>
                  <a:cubicBezTo>
                    <a:pt x="89916" y="415481"/>
                    <a:pt x="87821" y="416243"/>
                    <a:pt x="87154" y="416909"/>
                  </a:cubicBezTo>
                  <a:cubicBezTo>
                    <a:pt x="87154" y="415576"/>
                    <a:pt x="87821" y="414814"/>
                    <a:pt x="87821" y="413480"/>
                  </a:cubicBezTo>
                  <a:cubicBezTo>
                    <a:pt x="88487" y="413480"/>
                    <a:pt x="89249" y="412814"/>
                    <a:pt x="89916" y="412814"/>
                  </a:cubicBezTo>
                  <a:close/>
                  <a:moveTo>
                    <a:pt x="100870" y="357949"/>
                  </a:moveTo>
                  <a:cubicBezTo>
                    <a:pt x="100203" y="357949"/>
                    <a:pt x="99536" y="357949"/>
                    <a:pt x="98774" y="358616"/>
                  </a:cubicBezTo>
                  <a:cubicBezTo>
                    <a:pt x="99441" y="359283"/>
                    <a:pt x="101537" y="359950"/>
                    <a:pt x="102203" y="359950"/>
                  </a:cubicBezTo>
                  <a:cubicBezTo>
                    <a:pt x="102203" y="359950"/>
                    <a:pt x="102870" y="359950"/>
                    <a:pt x="102870" y="359283"/>
                  </a:cubicBezTo>
                  <a:lnTo>
                    <a:pt x="102870" y="358616"/>
                  </a:lnTo>
                  <a:cubicBezTo>
                    <a:pt x="101537" y="357949"/>
                    <a:pt x="101537" y="357949"/>
                    <a:pt x="100870" y="357949"/>
                  </a:cubicBezTo>
                  <a:close/>
                  <a:moveTo>
                    <a:pt x="102203" y="356521"/>
                  </a:moveTo>
                  <a:lnTo>
                    <a:pt x="102870" y="356521"/>
                  </a:lnTo>
                  <a:cubicBezTo>
                    <a:pt x="106299" y="356521"/>
                    <a:pt x="104965" y="352425"/>
                    <a:pt x="106966" y="352425"/>
                  </a:cubicBezTo>
                  <a:lnTo>
                    <a:pt x="108299" y="350330"/>
                  </a:lnTo>
                  <a:cubicBezTo>
                    <a:pt x="108966" y="350330"/>
                    <a:pt x="108966" y="348996"/>
                    <a:pt x="108966" y="348996"/>
                  </a:cubicBezTo>
                  <a:lnTo>
                    <a:pt x="108299" y="348996"/>
                  </a:lnTo>
                  <a:cubicBezTo>
                    <a:pt x="108299" y="348996"/>
                    <a:pt x="103537" y="351092"/>
                    <a:pt x="102108" y="354521"/>
                  </a:cubicBezTo>
                  <a:lnTo>
                    <a:pt x="102108" y="356521"/>
                  </a:lnTo>
                  <a:close/>
                  <a:moveTo>
                    <a:pt x="102965" y="341471"/>
                  </a:moveTo>
                  <a:cubicBezTo>
                    <a:pt x="102965" y="340805"/>
                    <a:pt x="103632" y="339376"/>
                    <a:pt x="104299" y="338709"/>
                  </a:cubicBezTo>
                  <a:lnTo>
                    <a:pt x="104299" y="340805"/>
                  </a:lnTo>
                  <a:cubicBezTo>
                    <a:pt x="104299" y="341471"/>
                    <a:pt x="103632" y="342138"/>
                    <a:pt x="102965" y="342138"/>
                  </a:cubicBezTo>
                  <a:lnTo>
                    <a:pt x="102965" y="341471"/>
                  </a:lnTo>
                  <a:close/>
                  <a:moveTo>
                    <a:pt x="110490" y="335280"/>
                  </a:moveTo>
                  <a:lnTo>
                    <a:pt x="108395" y="334613"/>
                  </a:lnTo>
                  <a:cubicBezTo>
                    <a:pt x="108395" y="331184"/>
                    <a:pt x="111824" y="329851"/>
                    <a:pt x="114586" y="327755"/>
                  </a:cubicBezTo>
                  <a:lnTo>
                    <a:pt x="115253" y="327755"/>
                  </a:lnTo>
                  <a:cubicBezTo>
                    <a:pt x="114586" y="330518"/>
                    <a:pt x="114586" y="331851"/>
                    <a:pt x="112490" y="332518"/>
                  </a:cubicBezTo>
                  <a:lnTo>
                    <a:pt x="110490" y="335280"/>
                  </a:lnTo>
                  <a:close/>
                  <a:moveTo>
                    <a:pt x="112490" y="93917"/>
                  </a:moveTo>
                  <a:cubicBezTo>
                    <a:pt x="114586" y="91821"/>
                    <a:pt x="115919" y="91821"/>
                    <a:pt x="115919" y="91154"/>
                  </a:cubicBezTo>
                  <a:lnTo>
                    <a:pt x="114586" y="91154"/>
                  </a:lnTo>
                  <a:cubicBezTo>
                    <a:pt x="112490" y="91154"/>
                    <a:pt x="112490" y="91821"/>
                    <a:pt x="112490" y="93917"/>
                  </a:cubicBezTo>
                  <a:close/>
                  <a:moveTo>
                    <a:pt x="115919" y="90488"/>
                  </a:moveTo>
                  <a:cubicBezTo>
                    <a:pt x="116586" y="90488"/>
                    <a:pt x="117253" y="90488"/>
                    <a:pt x="117253" y="89821"/>
                  </a:cubicBezTo>
                  <a:cubicBezTo>
                    <a:pt x="117253" y="89154"/>
                    <a:pt x="116586" y="89154"/>
                    <a:pt x="115919" y="87725"/>
                  </a:cubicBezTo>
                  <a:lnTo>
                    <a:pt x="115919" y="90488"/>
                  </a:lnTo>
                  <a:close/>
                  <a:moveTo>
                    <a:pt x="115919" y="342805"/>
                  </a:moveTo>
                  <a:lnTo>
                    <a:pt x="115919" y="344138"/>
                  </a:lnTo>
                  <a:lnTo>
                    <a:pt x="116586" y="344805"/>
                  </a:lnTo>
                  <a:cubicBezTo>
                    <a:pt x="117253" y="344805"/>
                    <a:pt x="117253" y="344138"/>
                    <a:pt x="117253" y="344138"/>
                  </a:cubicBezTo>
                  <a:lnTo>
                    <a:pt x="117253" y="343472"/>
                  </a:lnTo>
                  <a:cubicBezTo>
                    <a:pt x="117253" y="344138"/>
                    <a:pt x="119348" y="338709"/>
                    <a:pt x="124778" y="338709"/>
                  </a:cubicBezTo>
                  <a:lnTo>
                    <a:pt x="124111" y="337376"/>
                  </a:lnTo>
                  <a:cubicBezTo>
                    <a:pt x="122777" y="336042"/>
                    <a:pt x="121349" y="336042"/>
                    <a:pt x="121349" y="336042"/>
                  </a:cubicBezTo>
                  <a:cubicBezTo>
                    <a:pt x="119253" y="337376"/>
                    <a:pt x="119253" y="340805"/>
                    <a:pt x="116586" y="340805"/>
                  </a:cubicBezTo>
                  <a:cubicBezTo>
                    <a:pt x="115919" y="341471"/>
                    <a:pt x="115919" y="342138"/>
                    <a:pt x="115919" y="342805"/>
                  </a:cubicBezTo>
                  <a:close/>
                  <a:moveTo>
                    <a:pt x="119348" y="326422"/>
                  </a:moveTo>
                  <a:cubicBezTo>
                    <a:pt x="119348" y="326422"/>
                    <a:pt x="118682" y="326422"/>
                    <a:pt x="118682" y="325755"/>
                  </a:cubicBezTo>
                  <a:lnTo>
                    <a:pt x="119348" y="325755"/>
                  </a:lnTo>
                  <a:lnTo>
                    <a:pt x="119348" y="326422"/>
                  </a:lnTo>
                  <a:close/>
                  <a:moveTo>
                    <a:pt x="122111" y="323660"/>
                  </a:moveTo>
                  <a:lnTo>
                    <a:pt x="121444" y="322993"/>
                  </a:lnTo>
                  <a:cubicBezTo>
                    <a:pt x="122111" y="321659"/>
                    <a:pt x="125540" y="318897"/>
                    <a:pt x="126206" y="318897"/>
                  </a:cubicBezTo>
                  <a:cubicBezTo>
                    <a:pt x="126206" y="320993"/>
                    <a:pt x="125540" y="322326"/>
                    <a:pt x="124873" y="324422"/>
                  </a:cubicBezTo>
                  <a:cubicBezTo>
                    <a:pt x="124206" y="324326"/>
                    <a:pt x="124206" y="324326"/>
                    <a:pt x="122111" y="323660"/>
                  </a:cubicBezTo>
                  <a:close/>
                  <a:moveTo>
                    <a:pt x="242126" y="82868"/>
                  </a:moveTo>
                  <a:lnTo>
                    <a:pt x="238030" y="82868"/>
                  </a:lnTo>
                  <a:cubicBezTo>
                    <a:pt x="235934" y="82868"/>
                    <a:pt x="235934" y="82201"/>
                    <a:pt x="235268" y="78772"/>
                  </a:cubicBezTo>
                  <a:cubicBezTo>
                    <a:pt x="235268" y="80105"/>
                    <a:pt x="224981" y="69818"/>
                    <a:pt x="224981" y="65723"/>
                  </a:cubicBezTo>
                  <a:cubicBezTo>
                    <a:pt x="224981" y="63627"/>
                    <a:pt x="224981" y="62960"/>
                    <a:pt x="226314" y="61627"/>
                  </a:cubicBezTo>
                  <a:cubicBezTo>
                    <a:pt x="226314" y="60293"/>
                    <a:pt x="224981" y="59531"/>
                    <a:pt x="224981" y="58198"/>
                  </a:cubicBezTo>
                  <a:cubicBezTo>
                    <a:pt x="224981" y="57531"/>
                    <a:pt x="224981" y="56864"/>
                    <a:pt x="225647" y="56102"/>
                  </a:cubicBezTo>
                  <a:cubicBezTo>
                    <a:pt x="225647" y="56102"/>
                    <a:pt x="224981" y="55435"/>
                    <a:pt x="224981" y="54769"/>
                  </a:cubicBezTo>
                  <a:cubicBezTo>
                    <a:pt x="224981" y="54102"/>
                    <a:pt x="225647" y="54102"/>
                    <a:pt x="226314" y="53435"/>
                  </a:cubicBezTo>
                  <a:cubicBezTo>
                    <a:pt x="225647" y="50673"/>
                    <a:pt x="223552" y="47244"/>
                    <a:pt x="222885" y="45244"/>
                  </a:cubicBezTo>
                  <a:cubicBezTo>
                    <a:pt x="222885" y="44577"/>
                    <a:pt x="223552" y="43148"/>
                    <a:pt x="223552" y="43148"/>
                  </a:cubicBezTo>
                  <a:cubicBezTo>
                    <a:pt x="222885" y="41053"/>
                    <a:pt x="222885" y="38386"/>
                    <a:pt x="221456" y="36957"/>
                  </a:cubicBezTo>
                  <a:lnTo>
                    <a:pt x="220123" y="32861"/>
                  </a:lnTo>
                  <a:cubicBezTo>
                    <a:pt x="219456" y="32195"/>
                    <a:pt x="218789" y="32195"/>
                    <a:pt x="218027" y="32195"/>
                  </a:cubicBezTo>
                  <a:cubicBezTo>
                    <a:pt x="211836" y="32195"/>
                    <a:pt x="213932" y="36290"/>
                    <a:pt x="207074" y="39719"/>
                  </a:cubicBezTo>
                  <a:lnTo>
                    <a:pt x="207074" y="38386"/>
                  </a:lnTo>
                  <a:cubicBezTo>
                    <a:pt x="207740" y="38386"/>
                    <a:pt x="208407" y="38386"/>
                    <a:pt x="208407" y="37719"/>
                  </a:cubicBezTo>
                  <a:cubicBezTo>
                    <a:pt x="204978" y="37719"/>
                    <a:pt x="196786" y="45910"/>
                    <a:pt x="196786" y="49340"/>
                  </a:cubicBezTo>
                  <a:lnTo>
                    <a:pt x="197453" y="49340"/>
                  </a:lnTo>
                  <a:cubicBezTo>
                    <a:pt x="198787" y="50673"/>
                    <a:pt x="198787" y="51435"/>
                    <a:pt x="198787" y="51435"/>
                  </a:cubicBezTo>
                  <a:lnTo>
                    <a:pt x="195358" y="50768"/>
                  </a:lnTo>
                  <a:lnTo>
                    <a:pt x="191929" y="54197"/>
                  </a:lnTo>
                  <a:cubicBezTo>
                    <a:pt x="190595" y="54197"/>
                    <a:pt x="189833" y="53531"/>
                    <a:pt x="189833" y="53531"/>
                  </a:cubicBezTo>
                  <a:cubicBezTo>
                    <a:pt x="189833" y="55626"/>
                    <a:pt x="183642" y="59722"/>
                    <a:pt x="183642" y="65151"/>
                  </a:cubicBezTo>
                  <a:lnTo>
                    <a:pt x="184309" y="68580"/>
                  </a:lnTo>
                  <a:cubicBezTo>
                    <a:pt x="184309" y="68580"/>
                    <a:pt x="183642" y="68580"/>
                    <a:pt x="182213" y="67247"/>
                  </a:cubicBezTo>
                  <a:lnTo>
                    <a:pt x="181547" y="65151"/>
                  </a:lnTo>
                  <a:cubicBezTo>
                    <a:pt x="181547" y="73343"/>
                    <a:pt x="180213" y="70676"/>
                    <a:pt x="180213" y="74105"/>
                  </a:cubicBezTo>
                  <a:cubicBezTo>
                    <a:pt x="179546" y="74771"/>
                    <a:pt x="179546" y="73438"/>
                    <a:pt x="179546" y="73438"/>
                  </a:cubicBezTo>
                  <a:lnTo>
                    <a:pt x="178880" y="73438"/>
                  </a:lnTo>
                  <a:lnTo>
                    <a:pt x="178880" y="74105"/>
                  </a:lnTo>
                  <a:cubicBezTo>
                    <a:pt x="178880" y="78200"/>
                    <a:pt x="174784" y="78200"/>
                    <a:pt x="175451" y="78867"/>
                  </a:cubicBezTo>
                  <a:lnTo>
                    <a:pt x="174784" y="78200"/>
                  </a:lnTo>
                  <a:lnTo>
                    <a:pt x="174117" y="78200"/>
                  </a:lnTo>
                  <a:lnTo>
                    <a:pt x="174117" y="79534"/>
                  </a:lnTo>
                  <a:cubicBezTo>
                    <a:pt x="172784" y="80201"/>
                    <a:pt x="172022" y="80201"/>
                    <a:pt x="172022" y="80867"/>
                  </a:cubicBezTo>
                  <a:cubicBezTo>
                    <a:pt x="172688" y="82963"/>
                    <a:pt x="173355" y="83630"/>
                    <a:pt x="173355" y="83630"/>
                  </a:cubicBezTo>
                  <a:lnTo>
                    <a:pt x="172022" y="83630"/>
                  </a:lnTo>
                  <a:lnTo>
                    <a:pt x="172022" y="82296"/>
                  </a:lnTo>
                  <a:lnTo>
                    <a:pt x="171545" y="81534"/>
                  </a:lnTo>
                  <a:cubicBezTo>
                    <a:pt x="164687" y="84296"/>
                    <a:pt x="170879" y="89726"/>
                    <a:pt x="161258" y="93917"/>
                  </a:cubicBezTo>
                  <a:lnTo>
                    <a:pt x="164021" y="97346"/>
                  </a:lnTo>
                  <a:lnTo>
                    <a:pt x="163354" y="97346"/>
                  </a:lnTo>
                  <a:cubicBezTo>
                    <a:pt x="162687" y="97346"/>
                    <a:pt x="162687" y="98679"/>
                    <a:pt x="162687" y="98679"/>
                  </a:cubicBezTo>
                  <a:lnTo>
                    <a:pt x="158591" y="104204"/>
                  </a:lnTo>
                  <a:cubicBezTo>
                    <a:pt x="157925" y="104204"/>
                    <a:pt x="154496" y="108966"/>
                    <a:pt x="154496" y="110395"/>
                  </a:cubicBezTo>
                  <a:lnTo>
                    <a:pt x="153829" y="109728"/>
                  </a:lnTo>
                  <a:lnTo>
                    <a:pt x="153162" y="110395"/>
                  </a:lnTo>
                  <a:cubicBezTo>
                    <a:pt x="153162" y="110395"/>
                    <a:pt x="152495" y="110395"/>
                    <a:pt x="152495" y="109728"/>
                  </a:cubicBezTo>
                  <a:lnTo>
                    <a:pt x="152495" y="114491"/>
                  </a:lnTo>
                  <a:lnTo>
                    <a:pt x="149733" y="115157"/>
                  </a:lnTo>
                  <a:cubicBezTo>
                    <a:pt x="149733" y="116491"/>
                    <a:pt x="146304" y="117920"/>
                    <a:pt x="145637" y="119253"/>
                  </a:cubicBezTo>
                  <a:lnTo>
                    <a:pt x="145637" y="120587"/>
                  </a:lnTo>
                  <a:cubicBezTo>
                    <a:pt x="145637" y="121253"/>
                    <a:pt x="145637" y="121253"/>
                    <a:pt x="146304" y="121920"/>
                  </a:cubicBezTo>
                  <a:lnTo>
                    <a:pt x="147638" y="122587"/>
                  </a:lnTo>
                  <a:cubicBezTo>
                    <a:pt x="146304" y="123920"/>
                    <a:pt x="146304" y="126016"/>
                    <a:pt x="145542" y="126683"/>
                  </a:cubicBezTo>
                  <a:lnTo>
                    <a:pt x="142780" y="126683"/>
                  </a:lnTo>
                  <a:cubicBezTo>
                    <a:pt x="143447" y="128778"/>
                    <a:pt x="143447" y="128778"/>
                    <a:pt x="143447" y="130112"/>
                  </a:cubicBezTo>
                  <a:cubicBezTo>
                    <a:pt x="139351" y="130112"/>
                    <a:pt x="140684" y="130112"/>
                    <a:pt x="135255" y="147923"/>
                  </a:cubicBezTo>
                  <a:lnTo>
                    <a:pt x="135255" y="152686"/>
                  </a:lnTo>
                  <a:cubicBezTo>
                    <a:pt x="132493" y="154019"/>
                    <a:pt x="124301" y="178022"/>
                    <a:pt x="124301" y="197263"/>
                  </a:cubicBezTo>
                  <a:lnTo>
                    <a:pt x="124301" y="201359"/>
                  </a:lnTo>
                  <a:cubicBezTo>
                    <a:pt x="124301" y="203454"/>
                    <a:pt x="124301" y="204788"/>
                    <a:pt x="125635" y="206883"/>
                  </a:cubicBezTo>
                  <a:lnTo>
                    <a:pt x="127730" y="207550"/>
                  </a:lnTo>
                  <a:cubicBezTo>
                    <a:pt x="129064" y="207550"/>
                    <a:pt x="128397" y="204121"/>
                    <a:pt x="134588" y="204121"/>
                  </a:cubicBezTo>
                  <a:cubicBezTo>
                    <a:pt x="134588" y="203454"/>
                    <a:pt x="134588" y="200025"/>
                    <a:pt x="135255" y="200025"/>
                  </a:cubicBezTo>
                  <a:cubicBezTo>
                    <a:pt x="135922" y="200692"/>
                    <a:pt x="137351" y="201359"/>
                    <a:pt x="140780" y="201359"/>
                  </a:cubicBezTo>
                  <a:lnTo>
                    <a:pt x="138684" y="200025"/>
                  </a:lnTo>
                  <a:cubicBezTo>
                    <a:pt x="138684" y="200692"/>
                    <a:pt x="139351" y="196596"/>
                    <a:pt x="145542" y="192500"/>
                  </a:cubicBezTo>
                  <a:cubicBezTo>
                    <a:pt x="146209" y="192500"/>
                    <a:pt x="146876" y="193167"/>
                    <a:pt x="148304" y="194596"/>
                  </a:cubicBezTo>
                  <a:lnTo>
                    <a:pt x="148971" y="194596"/>
                  </a:lnTo>
                  <a:cubicBezTo>
                    <a:pt x="150305" y="193262"/>
                    <a:pt x="149638" y="189833"/>
                    <a:pt x="150305" y="189833"/>
                  </a:cubicBezTo>
                  <a:lnTo>
                    <a:pt x="149638" y="187071"/>
                  </a:lnTo>
                  <a:lnTo>
                    <a:pt x="150971" y="187071"/>
                  </a:lnTo>
                  <a:cubicBezTo>
                    <a:pt x="154400" y="187071"/>
                    <a:pt x="157829" y="174689"/>
                    <a:pt x="172879" y="168593"/>
                  </a:cubicBezTo>
                  <a:lnTo>
                    <a:pt x="172879" y="165830"/>
                  </a:lnTo>
                  <a:lnTo>
                    <a:pt x="176308" y="161735"/>
                  </a:lnTo>
                  <a:lnTo>
                    <a:pt x="176975" y="161068"/>
                  </a:lnTo>
                  <a:cubicBezTo>
                    <a:pt x="179737" y="158972"/>
                    <a:pt x="181070" y="158306"/>
                    <a:pt x="185166" y="154210"/>
                  </a:cubicBezTo>
                  <a:lnTo>
                    <a:pt x="186500" y="152876"/>
                  </a:lnTo>
                  <a:cubicBezTo>
                    <a:pt x="187166" y="152876"/>
                    <a:pt x="187833" y="151543"/>
                    <a:pt x="187833" y="150781"/>
                  </a:cubicBezTo>
                  <a:cubicBezTo>
                    <a:pt x="187166" y="150114"/>
                    <a:pt x="187166" y="149447"/>
                    <a:pt x="187166" y="148685"/>
                  </a:cubicBezTo>
                  <a:cubicBezTo>
                    <a:pt x="187166" y="147352"/>
                    <a:pt x="191262" y="145256"/>
                    <a:pt x="194024" y="145256"/>
                  </a:cubicBezTo>
                  <a:lnTo>
                    <a:pt x="194024" y="142494"/>
                  </a:lnTo>
                  <a:cubicBezTo>
                    <a:pt x="194024" y="141827"/>
                    <a:pt x="194691" y="141161"/>
                    <a:pt x="196120" y="139732"/>
                  </a:cubicBezTo>
                  <a:lnTo>
                    <a:pt x="196786" y="139065"/>
                  </a:lnTo>
                  <a:cubicBezTo>
                    <a:pt x="198882" y="134303"/>
                    <a:pt x="202978" y="134969"/>
                    <a:pt x="202978" y="132207"/>
                  </a:cubicBezTo>
                  <a:lnTo>
                    <a:pt x="202978" y="130112"/>
                  </a:lnTo>
                  <a:cubicBezTo>
                    <a:pt x="203645" y="127349"/>
                    <a:pt x="208502" y="126683"/>
                    <a:pt x="208502" y="123254"/>
                  </a:cubicBezTo>
                  <a:cubicBezTo>
                    <a:pt x="216027" y="123254"/>
                    <a:pt x="209169" y="105442"/>
                    <a:pt x="230410" y="103346"/>
                  </a:cubicBezTo>
                  <a:lnTo>
                    <a:pt x="229743" y="102680"/>
                  </a:lnTo>
                  <a:cubicBezTo>
                    <a:pt x="229743" y="101346"/>
                    <a:pt x="231077" y="95822"/>
                    <a:pt x="235934" y="95822"/>
                  </a:cubicBezTo>
                  <a:lnTo>
                    <a:pt x="235268" y="91726"/>
                  </a:lnTo>
                  <a:cubicBezTo>
                    <a:pt x="235268" y="92393"/>
                    <a:pt x="235268" y="90392"/>
                    <a:pt x="238030" y="94488"/>
                  </a:cubicBezTo>
                  <a:lnTo>
                    <a:pt x="238697" y="95155"/>
                  </a:lnTo>
                  <a:cubicBezTo>
                    <a:pt x="238030" y="95822"/>
                    <a:pt x="237363" y="95822"/>
                    <a:pt x="237363" y="96488"/>
                  </a:cubicBezTo>
                  <a:lnTo>
                    <a:pt x="237363" y="97822"/>
                  </a:lnTo>
                  <a:cubicBezTo>
                    <a:pt x="239459" y="97155"/>
                    <a:pt x="239459" y="95726"/>
                    <a:pt x="240792" y="94393"/>
                  </a:cubicBezTo>
                  <a:cubicBezTo>
                    <a:pt x="240125" y="91631"/>
                    <a:pt x="239459" y="91631"/>
                    <a:pt x="238697" y="91631"/>
                  </a:cubicBezTo>
                  <a:lnTo>
                    <a:pt x="238030" y="91631"/>
                  </a:lnTo>
                  <a:cubicBezTo>
                    <a:pt x="238030" y="91631"/>
                    <a:pt x="237363" y="91631"/>
                    <a:pt x="237363" y="90964"/>
                  </a:cubicBezTo>
                  <a:cubicBezTo>
                    <a:pt x="236696" y="90964"/>
                    <a:pt x="236696" y="90297"/>
                    <a:pt x="236696" y="90297"/>
                  </a:cubicBezTo>
                  <a:cubicBezTo>
                    <a:pt x="240125" y="88202"/>
                    <a:pt x="242221" y="86868"/>
                    <a:pt x="242221" y="83439"/>
                  </a:cubicBezTo>
                  <a:lnTo>
                    <a:pt x="242221" y="82868"/>
                  </a:lnTo>
                  <a:close/>
                  <a:moveTo>
                    <a:pt x="129635" y="318802"/>
                  </a:moveTo>
                  <a:lnTo>
                    <a:pt x="127540" y="318802"/>
                  </a:lnTo>
                  <a:cubicBezTo>
                    <a:pt x="127540" y="316706"/>
                    <a:pt x="128207" y="316040"/>
                    <a:pt x="128873" y="316040"/>
                  </a:cubicBezTo>
                  <a:lnTo>
                    <a:pt x="129540" y="316040"/>
                  </a:lnTo>
                  <a:cubicBezTo>
                    <a:pt x="129540" y="316040"/>
                    <a:pt x="134303" y="309848"/>
                    <a:pt x="140494" y="307848"/>
                  </a:cubicBezTo>
                  <a:lnTo>
                    <a:pt x="141161" y="308515"/>
                  </a:lnTo>
                  <a:cubicBezTo>
                    <a:pt x="137732" y="314706"/>
                    <a:pt x="134303" y="309848"/>
                    <a:pt x="130874" y="317468"/>
                  </a:cubicBezTo>
                  <a:cubicBezTo>
                    <a:pt x="131064" y="318802"/>
                    <a:pt x="130397" y="318802"/>
                    <a:pt x="129635" y="318802"/>
                  </a:cubicBezTo>
                  <a:close/>
                  <a:moveTo>
                    <a:pt x="128969" y="331851"/>
                  </a:moveTo>
                  <a:lnTo>
                    <a:pt x="130302" y="332518"/>
                  </a:lnTo>
                  <a:cubicBezTo>
                    <a:pt x="130969" y="329756"/>
                    <a:pt x="137160" y="331184"/>
                    <a:pt x="137160" y="326326"/>
                  </a:cubicBezTo>
                  <a:lnTo>
                    <a:pt x="137160" y="325660"/>
                  </a:lnTo>
                  <a:cubicBezTo>
                    <a:pt x="135065" y="325660"/>
                    <a:pt x="134398" y="325660"/>
                    <a:pt x="132398" y="326326"/>
                  </a:cubicBezTo>
                  <a:cubicBezTo>
                    <a:pt x="131731" y="327755"/>
                    <a:pt x="131064" y="329851"/>
                    <a:pt x="128969" y="331851"/>
                  </a:cubicBezTo>
                  <a:close/>
                  <a:moveTo>
                    <a:pt x="144113" y="318802"/>
                  </a:moveTo>
                  <a:cubicBezTo>
                    <a:pt x="144113" y="318802"/>
                    <a:pt x="143447" y="318802"/>
                    <a:pt x="143447" y="319469"/>
                  </a:cubicBezTo>
                  <a:cubicBezTo>
                    <a:pt x="143351" y="319564"/>
                    <a:pt x="144113" y="319564"/>
                    <a:pt x="144113" y="318802"/>
                  </a:cubicBezTo>
                  <a:close/>
                  <a:moveTo>
                    <a:pt x="144113" y="318135"/>
                  </a:moveTo>
                  <a:cubicBezTo>
                    <a:pt x="144780" y="318135"/>
                    <a:pt x="146209" y="319469"/>
                    <a:pt x="146209" y="319469"/>
                  </a:cubicBezTo>
                  <a:cubicBezTo>
                    <a:pt x="147542" y="316706"/>
                    <a:pt x="150305" y="315373"/>
                    <a:pt x="154400" y="313277"/>
                  </a:cubicBezTo>
                  <a:lnTo>
                    <a:pt x="154400" y="311944"/>
                  </a:lnTo>
                  <a:cubicBezTo>
                    <a:pt x="151638" y="312611"/>
                    <a:pt x="150305" y="314706"/>
                    <a:pt x="147542" y="315373"/>
                  </a:cubicBezTo>
                  <a:cubicBezTo>
                    <a:pt x="146114" y="316135"/>
                    <a:pt x="144113" y="316135"/>
                    <a:pt x="144113" y="318135"/>
                  </a:cubicBezTo>
                  <a:close/>
                  <a:moveTo>
                    <a:pt x="164687" y="292799"/>
                  </a:moveTo>
                  <a:cubicBezTo>
                    <a:pt x="164021" y="292799"/>
                    <a:pt x="164021" y="292799"/>
                    <a:pt x="164021" y="292132"/>
                  </a:cubicBezTo>
                  <a:cubicBezTo>
                    <a:pt x="162687" y="293465"/>
                    <a:pt x="156496" y="294894"/>
                    <a:pt x="156496" y="298323"/>
                  </a:cubicBezTo>
                  <a:lnTo>
                    <a:pt x="155162" y="298323"/>
                  </a:lnTo>
                  <a:lnTo>
                    <a:pt x="155162" y="294894"/>
                  </a:lnTo>
                  <a:cubicBezTo>
                    <a:pt x="156496" y="294894"/>
                    <a:pt x="157258" y="292132"/>
                    <a:pt x="159258" y="292132"/>
                  </a:cubicBezTo>
                  <a:lnTo>
                    <a:pt x="159258" y="291465"/>
                  </a:lnTo>
                  <a:cubicBezTo>
                    <a:pt x="162687" y="291465"/>
                    <a:pt x="164021" y="288703"/>
                    <a:pt x="166116" y="287369"/>
                  </a:cubicBezTo>
                  <a:lnTo>
                    <a:pt x="168211" y="287369"/>
                  </a:lnTo>
                  <a:cubicBezTo>
                    <a:pt x="166687" y="291370"/>
                    <a:pt x="166021" y="291370"/>
                    <a:pt x="164687" y="292799"/>
                  </a:cubicBezTo>
                  <a:close/>
                  <a:moveTo>
                    <a:pt x="158496" y="307181"/>
                  </a:moveTo>
                  <a:lnTo>
                    <a:pt x="157829" y="307848"/>
                  </a:lnTo>
                  <a:lnTo>
                    <a:pt x="159925" y="309182"/>
                  </a:lnTo>
                  <a:lnTo>
                    <a:pt x="159925" y="308515"/>
                  </a:lnTo>
                  <a:lnTo>
                    <a:pt x="158496" y="307181"/>
                  </a:lnTo>
                  <a:close/>
                  <a:moveTo>
                    <a:pt x="169450" y="287941"/>
                  </a:moveTo>
                  <a:lnTo>
                    <a:pt x="169450" y="287274"/>
                  </a:lnTo>
                  <a:lnTo>
                    <a:pt x="170117" y="287941"/>
                  </a:lnTo>
                  <a:lnTo>
                    <a:pt x="169450" y="287941"/>
                  </a:lnTo>
                  <a:close/>
                  <a:moveTo>
                    <a:pt x="172212" y="299657"/>
                  </a:moveTo>
                  <a:cubicBezTo>
                    <a:pt x="172879" y="299657"/>
                    <a:pt x="173546" y="298990"/>
                    <a:pt x="173546" y="298323"/>
                  </a:cubicBezTo>
                  <a:cubicBezTo>
                    <a:pt x="173546" y="298323"/>
                    <a:pt x="173546" y="297656"/>
                    <a:pt x="172879" y="297656"/>
                  </a:cubicBezTo>
                  <a:cubicBezTo>
                    <a:pt x="172879" y="297656"/>
                    <a:pt x="170783" y="297656"/>
                    <a:pt x="170783" y="298323"/>
                  </a:cubicBezTo>
                  <a:cubicBezTo>
                    <a:pt x="170783" y="298228"/>
                    <a:pt x="170783" y="298990"/>
                    <a:pt x="172212" y="299657"/>
                  </a:cubicBezTo>
                  <a:close/>
                  <a:moveTo>
                    <a:pt x="174212" y="283178"/>
                  </a:moveTo>
                  <a:cubicBezTo>
                    <a:pt x="174212" y="283178"/>
                    <a:pt x="174879" y="283178"/>
                    <a:pt x="176308" y="283845"/>
                  </a:cubicBezTo>
                  <a:lnTo>
                    <a:pt x="176308" y="284512"/>
                  </a:lnTo>
                  <a:cubicBezTo>
                    <a:pt x="174212" y="284512"/>
                    <a:pt x="174212" y="285845"/>
                    <a:pt x="172879" y="285845"/>
                  </a:cubicBezTo>
                  <a:lnTo>
                    <a:pt x="172212" y="285845"/>
                  </a:lnTo>
                  <a:lnTo>
                    <a:pt x="174212" y="283178"/>
                  </a:lnTo>
                  <a:close/>
                  <a:moveTo>
                    <a:pt x="176308" y="295561"/>
                  </a:moveTo>
                  <a:cubicBezTo>
                    <a:pt x="176308" y="296228"/>
                    <a:pt x="175641" y="296228"/>
                    <a:pt x="175641" y="296894"/>
                  </a:cubicBezTo>
                  <a:lnTo>
                    <a:pt x="176308" y="296894"/>
                  </a:lnTo>
                  <a:lnTo>
                    <a:pt x="176308" y="295561"/>
                  </a:lnTo>
                  <a:close/>
                  <a:moveTo>
                    <a:pt x="184499" y="279749"/>
                  </a:moveTo>
                  <a:cubicBezTo>
                    <a:pt x="183833" y="279749"/>
                    <a:pt x="183166" y="279083"/>
                    <a:pt x="183166" y="279083"/>
                  </a:cubicBezTo>
                  <a:cubicBezTo>
                    <a:pt x="184499" y="277749"/>
                    <a:pt x="183833" y="274987"/>
                    <a:pt x="185928" y="274320"/>
                  </a:cubicBezTo>
                  <a:lnTo>
                    <a:pt x="186595" y="274987"/>
                  </a:lnTo>
                  <a:cubicBezTo>
                    <a:pt x="187261" y="274987"/>
                    <a:pt x="187928" y="275654"/>
                    <a:pt x="187928" y="275654"/>
                  </a:cubicBezTo>
                  <a:lnTo>
                    <a:pt x="187928" y="276987"/>
                  </a:lnTo>
                  <a:cubicBezTo>
                    <a:pt x="185833" y="276987"/>
                    <a:pt x="186595" y="279083"/>
                    <a:pt x="185833" y="279083"/>
                  </a:cubicBezTo>
                  <a:cubicBezTo>
                    <a:pt x="185928" y="279749"/>
                    <a:pt x="184499" y="279749"/>
                    <a:pt x="184499" y="279749"/>
                  </a:cubicBezTo>
                  <a:close/>
                  <a:moveTo>
                    <a:pt x="184499" y="288703"/>
                  </a:moveTo>
                  <a:lnTo>
                    <a:pt x="184499" y="289370"/>
                  </a:lnTo>
                  <a:cubicBezTo>
                    <a:pt x="185166" y="289370"/>
                    <a:pt x="185833" y="290036"/>
                    <a:pt x="186595" y="290036"/>
                  </a:cubicBezTo>
                  <a:cubicBezTo>
                    <a:pt x="188690" y="290036"/>
                    <a:pt x="189357" y="286607"/>
                    <a:pt x="192119" y="286607"/>
                  </a:cubicBezTo>
                  <a:lnTo>
                    <a:pt x="192119" y="285941"/>
                  </a:lnTo>
                  <a:lnTo>
                    <a:pt x="186595" y="288036"/>
                  </a:lnTo>
                  <a:cubicBezTo>
                    <a:pt x="184499" y="287941"/>
                    <a:pt x="184499" y="288703"/>
                    <a:pt x="184499" y="288703"/>
                  </a:cubicBezTo>
                  <a:close/>
                  <a:moveTo>
                    <a:pt x="192119" y="290036"/>
                  </a:moveTo>
                  <a:lnTo>
                    <a:pt x="192786" y="290036"/>
                  </a:lnTo>
                  <a:cubicBezTo>
                    <a:pt x="192786" y="290703"/>
                    <a:pt x="193453" y="290703"/>
                    <a:pt x="193453" y="290703"/>
                  </a:cubicBezTo>
                  <a:cubicBezTo>
                    <a:pt x="193453" y="291370"/>
                    <a:pt x="193453" y="289370"/>
                    <a:pt x="192786" y="289370"/>
                  </a:cubicBezTo>
                  <a:cubicBezTo>
                    <a:pt x="192119" y="289370"/>
                    <a:pt x="192119" y="290036"/>
                    <a:pt x="192119" y="290036"/>
                  </a:cubicBezTo>
                  <a:close/>
                  <a:moveTo>
                    <a:pt x="195548" y="270796"/>
                  </a:moveTo>
                  <a:lnTo>
                    <a:pt x="196215" y="269462"/>
                  </a:lnTo>
                  <a:cubicBezTo>
                    <a:pt x="196215" y="268796"/>
                    <a:pt x="196215" y="268796"/>
                    <a:pt x="196882" y="268796"/>
                  </a:cubicBezTo>
                  <a:lnTo>
                    <a:pt x="196882" y="269462"/>
                  </a:lnTo>
                  <a:cubicBezTo>
                    <a:pt x="196215" y="270129"/>
                    <a:pt x="196215" y="270796"/>
                    <a:pt x="196215" y="270796"/>
                  </a:cubicBezTo>
                  <a:lnTo>
                    <a:pt x="195548" y="270796"/>
                  </a:lnTo>
                  <a:close/>
                  <a:moveTo>
                    <a:pt x="207835" y="263938"/>
                  </a:moveTo>
                  <a:cubicBezTo>
                    <a:pt x="205740" y="263938"/>
                    <a:pt x="204407" y="264605"/>
                    <a:pt x="204407" y="266033"/>
                  </a:cubicBezTo>
                  <a:lnTo>
                    <a:pt x="204407" y="268129"/>
                  </a:lnTo>
                  <a:cubicBezTo>
                    <a:pt x="201644" y="266033"/>
                    <a:pt x="201644" y="267462"/>
                    <a:pt x="201644" y="265367"/>
                  </a:cubicBezTo>
                  <a:lnTo>
                    <a:pt x="201644" y="264033"/>
                  </a:lnTo>
                  <a:cubicBezTo>
                    <a:pt x="203740" y="264033"/>
                    <a:pt x="205073" y="263366"/>
                    <a:pt x="207169" y="262700"/>
                  </a:cubicBezTo>
                  <a:lnTo>
                    <a:pt x="209264" y="263366"/>
                  </a:lnTo>
                  <a:cubicBezTo>
                    <a:pt x="209264" y="264033"/>
                    <a:pt x="208598" y="264033"/>
                    <a:pt x="208598" y="264033"/>
                  </a:cubicBezTo>
                  <a:lnTo>
                    <a:pt x="207835" y="264033"/>
                  </a:lnTo>
                  <a:close/>
                  <a:moveTo>
                    <a:pt x="206502" y="264700"/>
                  </a:moveTo>
                  <a:lnTo>
                    <a:pt x="206502" y="266795"/>
                  </a:lnTo>
                  <a:cubicBezTo>
                    <a:pt x="205835" y="266795"/>
                    <a:pt x="205835" y="266795"/>
                    <a:pt x="205835" y="266129"/>
                  </a:cubicBezTo>
                  <a:cubicBezTo>
                    <a:pt x="205835" y="264700"/>
                    <a:pt x="206502" y="264700"/>
                    <a:pt x="206502" y="264700"/>
                  </a:cubicBezTo>
                  <a:close/>
                  <a:moveTo>
                    <a:pt x="207835" y="34195"/>
                  </a:moveTo>
                  <a:cubicBezTo>
                    <a:pt x="207835" y="34195"/>
                    <a:pt x="208502" y="34195"/>
                    <a:pt x="208502" y="32861"/>
                  </a:cubicBezTo>
                  <a:cubicBezTo>
                    <a:pt x="208502" y="32861"/>
                    <a:pt x="207835" y="32861"/>
                    <a:pt x="207835" y="34195"/>
                  </a:cubicBezTo>
                  <a:close/>
                  <a:moveTo>
                    <a:pt x="209931" y="272224"/>
                  </a:moveTo>
                  <a:lnTo>
                    <a:pt x="209931" y="273558"/>
                  </a:lnTo>
                  <a:lnTo>
                    <a:pt x="210598" y="272891"/>
                  </a:lnTo>
                  <a:lnTo>
                    <a:pt x="209931" y="272224"/>
                  </a:lnTo>
                  <a:close/>
                  <a:moveTo>
                    <a:pt x="221552" y="274225"/>
                  </a:moveTo>
                  <a:cubicBezTo>
                    <a:pt x="221552" y="274225"/>
                    <a:pt x="222218" y="273558"/>
                    <a:pt x="222218" y="272129"/>
                  </a:cubicBezTo>
                  <a:cubicBezTo>
                    <a:pt x="221552" y="272129"/>
                    <a:pt x="221552" y="272129"/>
                    <a:pt x="220885" y="271463"/>
                  </a:cubicBezTo>
                  <a:lnTo>
                    <a:pt x="220885" y="273558"/>
                  </a:lnTo>
                  <a:lnTo>
                    <a:pt x="221552" y="274225"/>
                  </a:lnTo>
                  <a:close/>
                  <a:moveTo>
                    <a:pt x="237363" y="245459"/>
                  </a:moveTo>
                  <a:lnTo>
                    <a:pt x="237363" y="244793"/>
                  </a:lnTo>
                  <a:cubicBezTo>
                    <a:pt x="239459" y="244793"/>
                    <a:pt x="240125" y="244126"/>
                    <a:pt x="242126" y="244126"/>
                  </a:cubicBezTo>
                  <a:lnTo>
                    <a:pt x="242126" y="244793"/>
                  </a:lnTo>
                  <a:cubicBezTo>
                    <a:pt x="240030" y="246126"/>
                    <a:pt x="240030" y="250317"/>
                    <a:pt x="239363" y="248888"/>
                  </a:cubicBezTo>
                  <a:cubicBezTo>
                    <a:pt x="239459" y="246793"/>
                    <a:pt x="237363" y="248888"/>
                    <a:pt x="237363" y="245459"/>
                  </a:cubicBezTo>
                  <a:close/>
                  <a:moveTo>
                    <a:pt x="240125" y="19145"/>
                  </a:moveTo>
                  <a:cubicBezTo>
                    <a:pt x="240125" y="19145"/>
                    <a:pt x="240125" y="19812"/>
                    <a:pt x="240792" y="19812"/>
                  </a:cubicBezTo>
                  <a:lnTo>
                    <a:pt x="240792" y="18479"/>
                  </a:lnTo>
                  <a:cubicBezTo>
                    <a:pt x="240125" y="18479"/>
                    <a:pt x="240125" y="19145"/>
                    <a:pt x="240125" y="19145"/>
                  </a:cubicBezTo>
                  <a:close/>
                  <a:moveTo>
                    <a:pt x="254508" y="237268"/>
                  </a:moveTo>
                  <a:cubicBezTo>
                    <a:pt x="255175" y="237268"/>
                    <a:pt x="255175" y="237935"/>
                    <a:pt x="256604" y="237935"/>
                  </a:cubicBezTo>
                  <a:lnTo>
                    <a:pt x="255937" y="239268"/>
                  </a:lnTo>
                  <a:cubicBezTo>
                    <a:pt x="255270" y="239268"/>
                    <a:pt x="254603" y="238601"/>
                    <a:pt x="254603" y="238601"/>
                  </a:cubicBezTo>
                  <a:cubicBezTo>
                    <a:pt x="253936" y="238601"/>
                    <a:pt x="253936" y="239935"/>
                    <a:pt x="253270" y="242030"/>
                  </a:cubicBezTo>
                  <a:lnTo>
                    <a:pt x="253270" y="243364"/>
                  </a:lnTo>
                  <a:lnTo>
                    <a:pt x="251174" y="243364"/>
                  </a:lnTo>
                  <a:lnTo>
                    <a:pt x="252508" y="242030"/>
                  </a:lnTo>
                  <a:cubicBezTo>
                    <a:pt x="251841" y="240697"/>
                    <a:pt x="251841" y="239935"/>
                    <a:pt x="251841" y="239268"/>
                  </a:cubicBezTo>
                  <a:cubicBezTo>
                    <a:pt x="251841" y="238601"/>
                    <a:pt x="251841" y="237935"/>
                    <a:pt x="253175" y="237935"/>
                  </a:cubicBezTo>
                  <a:cubicBezTo>
                    <a:pt x="253175" y="237935"/>
                    <a:pt x="253841" y="237268"/>
                    <a:pt x="254508" y="237268"/>
                  </a:cubicBezTo>
                  <a:close/>
                  <a:moveTo>
                    <a:pt x="264128" y="234506"/>
                  </a:moveTo>
                  <a:lnTo>
                    <a:pt x="261366" y="234506"/>
                  </a:lnTo>
                  <a:cubicBezTo>
                    <a:pt x="262033" y="234506"/>
                    <a:pt x="262700" y="233172"/>
                    <a:pt x="263462" y="232410"/>
                  </a:cubicBezTo>
                  <a:lnTo>
                    <a:pt x="264128" y="233077"/>
                  </a:lnTo>
                  <a:lnTo>
                    <a:pt x="264128" y="234506"/>
                  </a:lnTo>
                  <a:close/>
                  <a:moveTo>
                    <a:pt x="266129" y="232410"/>
                  </a:moveTo>
                  <a:cubicBezTo>
                    <a:pt x="266129" y="231077"/>
                    <a:pt x="266129" y="231077"/>
                    <a:pt x="266795" y="231077"/>
                  </a:cubicBezTo>
                  <a:lnTo>
                    <a:pt x="266795" y="232410"/>
                  </a:lnTo>
                  <a:cubicBezTo>
                    <a:pt x="266795" y="232410"/>
                    <a:pt x="266795" y="233077"/>
                    <a:pt x="266129" y="233077"/>
                  </a:cubicBezTo>
                  <a:lnTo>
                    <a:pt x="266129" y="232410"/>
                  </a:lnTo>
                  <a:close/>
                  <a:moveTo>
                    <a:pt x="269558" y="233077"/>
                  </a:moveTo>
                  <a:cubicBezTo>
                    <a:pt x="269558" y="232410"/>
                    <a:pt x="270224" y="232410"/>
                    <a:pt x="271653" y="232410"/>
                  </a:cubicBezTo>
                  <a:cubicBezTo>
                    <a:pt x="271653" y="233077"/>
                    <a:pt x="270320" y="233744"/>
                    <a:pt x="269558" y="233744"/>
                  </a:cubicBezTo>
                  <a:lnTo>
                    <a:pt x="269558" y="233077"/>
                  </a:lnTo>
                  <a:close/>
                  <a:moveTo>
                    <a:pt x="340233" y="220028"/>
                  </a:moveTo>
                  <a:lnTo>
                    <a:pt x="340900" y="219361"/>
                  </a:lnTo>
                  <a:lnTo>
                    <a:pt x="340233" y="218694"/>
                  </a:lnTo>
                  <a:cubicBezTo>
                    <a:pt x="339566" y="218694"/>
                    <a:pt x="338900" y="219361"/>
                    <a:pt x="338900" y="219361"/>
                  </a:cubicBezTo>
                  <a:lnTo>
                    <a:pt x="340995" y="222123"/>
                  </a:lnTo>
                  <a:lnTo>
                    <a:pt x="340995" y="223457"/>
                  </a:lnTo>
                  <a:cubicBezTo>
                    <a:pt x="340995" y="223457"/>
                    <a:pt x="341662" y="223457"/>
                    <a:pt x="341662" y="222123"/>
                  </a:cubicBezTo>
                  <a:cubicBezTo>
                    <a:pt x="340900" y="221456"/>
                    <a:pt x="340233" y="220790"/>
                    <a:pt x="340233" y="220028"/>
                  </a:cubicBezTo>
                  <a:close/>
                  <a:moveTo>
                    <a:pt x="343662" y="228314"/>
                  </a:moveTo>
                  <a:lnTo>
                    <a:pt x="341567" y="227648"/>
                  </a:lnTo>
                  <a:cubicBezTo>
                    <a:pt x="341567" y="227648"/>
                    <a:pt x="342900" y="228981"/>
                    <a:pt x="343662" y="228981"/>
                  </a:cubicBezTo>
                  <a:lnTo>
                    <a:pt x="343662" y="228314"/>
                  </a:lnTo>
                  <a:close/>
                  <a:moveTo>
                    <a:pt x="346424" y="213170"/>
                  </a:moveTo>
                  <a:lnTo>
                    <a:pt x="344329" y="212503"/>
                  </a:lnTo>
                  <a:cubicBezTo>
                    <a:pt x="344329" y="213170"/>
                    <a:pt x="344329" y="215265"/>
                    <a:pt x="344996" y="215265"/>
                  </a:cubicBezTo>
                  <a:cubicBezTo>
                    <a:pt x="344996" y="215265"/>
                    <a:pt x="346424" y="215265"/>
                    <a:pt x="346424" y="213170"/>
                  </a:cubicBezTo>
                  <a:close/>
                  <a:moveTo>
                    <a:pt x="346424" y="225552"/>
                  </a:moveTo>
                  <a:lnTo>
                    <a:pt x="344329" y="226219"/>
                  </a:lnTo>
                  <a:lnTo>
                    <a:pt x="346424" y="226219"/>
                  </a:lnTo>
                  <a:lnTo>
                    <a:pt x="346424" y="225552"/>
                  </a:lnTo>
                  <a:close/>
                  <a:moveTo>
                    <a:pt x="344996" y="220028"/>
                  </a:moveTo>
                  <a:lnTo>
                    <a:pt x="346329" y="220694"/>
                  </a:lnTo>
                  <a:cubicBezTo>
                    <a:pt x="345758" y="220028"/>
                    <a:pt x="345758" y="220028"/>
                    <a:pt x="344996" y="220028"/>
                  </a:cubicBezTo>
                  <a:close/>
                  <a:moveTo>
                    <a:pt x="350520" y="216694"/>
                  </a:moveTo>
                  <a:cubicBezTo>
                    <a:pt x="349187" y="216694"/>
                    <a:pt x="348425" y="216694"/>
                    <a:pt x="348425" y="218027"/>
                  </a:cubicBezTo>
                  <a:cubicBezTo>
                    <a:pt x="348425" y="218694"/>
                    <a:pt x="349758" y="220790"/>
                    <a:pt x="349758" y="220123"/>
                  </a:cubicBezTo>
                  <a:cubicBezTo>
                    <a:pt x="350520" y="218027"/>
                    <a:pt x="350520" y="217361"/>
                    <a:pt x="350520" y="216694"/>
                  </a:cubicBezTo>
                  <a:close/>
                  <a:moveTo>
                    <a:pt x="356711" y="213932"/>
                  </a:moveTo>
                  <a:cubicBezTo>
                    <a:pt x="356045" y="213932"/>
                    <a:pt x="355378" y="214598"/>
                    <a:pt x="355378" y="214598"/>
                  </a:cubicBezTo>
                  <a:lnTo>
                    <a:pt x="358807" y="214598"/>
                  </a:lnTo>
                  <a:cubicBezTo>
                    <a:pt x="358045" y="213932"/>
                    <a:pt x="357378" y="213932"/>
                    <a:pt x="356711" y="213932"/>
                  </a:cubicBezTo>
                  <a:close/>
                  <a:moveTo>
                    <a:pt x="358045" y="209741"/>
                  </a:moveTo>
                  <a:lnTo>
                    <a:pt x="360140" y="209741"/>
                  </a:lnTo>
                  <a:lnTo>
                    <a:pt x="360140" y="208407"/>
                  </a:lnTo>
                  <a:cubicBezTo>
                    <a:pt x="359474" y="208407"/>
                    <a:pt x="358045" y="209074"/>
                    <a:pt x="358045" y="209741"/>
                  </a:cubicBezTo>
                  <a:close/>
                  <a:moveTo>
                    <a:pt x="360140" y="220790"/>
                  </a:moveTo>
                  <a:cubicBezTo>
                    <a:pt x="360140" y="220123"/>
                    <a:pt x="360140" y="220123"/>
                    <a:pt x="359474" y="220123"/>
                  </a:cubicBezTo>
                  <a:cubicBezTo>
                    <a:pt x="359474" y="220123"/>
                    <a:pt x="358807" y="220123"/>
                    <a:pt x="358807" y="220790"/>
                  </a:cubicBezTo>
                  <a:lnTo>
                    <a:pt x="358807" y="222123"/>
                  </a:lnTo>
                  <a:lnTo>
                    <a:pt x="360140" y="222123"/>
                  </a:lnTo>
                  <a:lnTo>
                    <a:pt x="360140" y="220790"/>
                  </a:lnTo>
                  <a:close/>
                  <a:moveTo>
                    <a:pt x="379286" y="201549"/>
                  </a:moveTo>
                  <a:cubicBezTo>
                    <a:pt x="379286" y="201549"/>
                    <a:pt x="380619" y="201549"/>
                    <a:pt x="381381" y="202216"/>
                  </a:cubicBezTo>
                  <a:lnTo>
                    <a:pt x="381381" y="202883"/>
                  </a:lnTo>
                  <a:lnTo>
                    <a:pt x="380714" y="202883"/>
                  </a:lnTo>
                  <a:cubicBezTo>
                    <a:pt x="380048" y="203549"/>
                    <a:pt x="380048" y="203549"/>
                    <a:pt x="380048" y="204216"/>
                  </a:cubicBezTo>
                  <a:cubicBezTo>
                    <a:pt x="380048" y="204883"/>
                    <a:pt x="380048" y="205550"/>
                    <a:pt x="381381" y="206312"/>
                  </a:cubicBezTo>
                  <a:cubicBezTo>
                    <a:pt x="381381" y="209741"/>
                    <a:pt x="368999" y="209074"/>
                    <a:pt x="367665" y="211074"/>
                  </a:cubicBezTo>
                  <a:lnTo>
                    <a:pt x="366998" y="208979"/>
                  </a:lnTo>
                  <a:cubicBezTo>
                    <a:pt x="368332" y="208979"/>
                    <a:pt x="369094" y="208312"/>
                    <a:pt x="372523" y="208312"/>
                  </a:cubicBezTo>
                  <a:lnTo>
                    <a:pt x="373190" y="207645"/>
                  </a:lnTo>
                  <a:cubicBezTo>
                    <a:pt x="372523" y="206978"/>
                    <a:pt x="372523" y="206978"/>
                    <a:pt x="372523" y="206312"/>
                  </a:cubicBezTo>
                  <a:cubicBezTo>
                    <a:pt x="372523" y="205645"/>
                    <a:pt x="372523" y="204978"/>
                    <a:pt x="373190" y="204216"/>
                  </a:cubicBezTo>
                  <a:cubicBezTo>
                    <a:pt x="373190" y="203549"/>
                    <a:pt x="371094" y="203549"/>
                    <a:pt x="371856" y="202883"/>
                  </a:cubicBezTo>
                  <a:lnTo>
                    <a:pt x="371856" y="201549"/>
                  </a:lnTo>
                  <a:cubicBezTo>
                    <a:pt x="372523" y="201549"/>
                    <a:pt x="373190" y="200882"/>
                    <a:pt x="375285" y="200216"/>
                  </a:cubicBezTo>
                  <a:cubicBezTo>
                    <a:pt x="375952" y="200216"/>
                    <a:pt x="375952" y="200216"/>
                    <a:pt x="375952" y="201549"/>
                  </a:cubicBezTo>
                  <a:lnTo>
                    <a:pt x="376619" y="203645"/>
                  </a:lnTo>
                  <a:lnTo>
                    <a:pt x="379286" y="201549"/>
                  </a:lnTo>
                  <a:close/>
                  <a:moveTo>
                    <a:pt x="368999" y="202883"/>
                  </a:moveTo>
                  <a:cubicBezTo>
                    <a:pt x="368999" y="203549"/>
                    <a:pt x="368332" y="203549"/>
                    <a:pt x="368332" y="203549"/>
                  </a:cubicBezTo>
                  <a:cubicBezTo>
                    <a:pt x="368332" y="203549"/>
                    <a:pt x="367665" y="203549"/>
                    <a:pt x="367665" y="202883"/>
                  </a:cubicBezTo>
                  <a:lnTo>
                    <a:pt x="368999" y="202883"/>
                  </a:lnTo>
                  <a:close/>
                  <a:moveTo>
                    <a:pt x="368999" y="204978"/>
                  </a:moveTo>
                  <a:cubicBezTo>
                    <a:pt x="369665" y="204978"/>
                    <a:pt x="369665" y="204978"/>
                    <a:pt x="371094" y="206312"/>
                  </a:cubicBezTo>
                  <a:lnTo>
                    <a:pt x="371761" y="207645"/>
                  </a:lnTo>
                  <a:lnTo>
                    <a:pt x="370427" y="206978"/>
                  </a:lnTo>
                  <a:lnTo>
                    <a:pt x="368332" y="205645"/>
                  </a:lnTo>
                  <a:cubicBezTo>
                    <a:pt x="368332" y="204978"/>
                    <a:pt x="368999" y="204978"/>
                    <a:pt x="368999" y="204978"/>
                  </a:cubicBezTo>
                  <a:close/>
                  <a:moveTo>
                    <a:pt x="369761" y="217361"/>
                  </a:moveTo>
                  <a:lnTo>
                    <a:pt x="368427" y="220123"/>
                  </a:lnTo>
                  <a:lnTo>
                    <a:pt x="369094" y="220123"/>
                  </a:lnTo>
                  <a:cubicBezTo>
                    <a:pt x="371189" y="220123"/>
                    <a:pt x="371189" y="220123"/>
                    <a:pt x="372523" y="218789"/>
                  </a:cubicBezTo>
                  <a:cubicBezTo>
                    <a:pt x="371761" y="219361"/>
                    <a:pt x="372428" y="217361"/>
                    <a:pt x="369761" y="217361"/>
                  </a:cubicBezTo>
                  <a:close/>
                  <a:moveTo>
                    <a:pt x="378619" y="200216"/>
                  </a:moveTo>
                  <a:cubicBezTo>
                    <a:pt x="379286" y="199549"/>
                    <a:pt x="380714" y="199549"/>
                    <a:pt x="380714" y="199549"/>
                  </a:cubicBezTo>
                  <a:lnTo>
                    <a:pt x="381381" y="200216"/>
                  </a:lnTo>
                  <a:lnTo>
                    <a:pt x="381381" y="200882"/>
                  </a:lnTo>
                  <a:cubicBezTo>
                    <a:pt x="380714" y="200882"/>
                    <a:pt x="380714" y="200216"/>
                    <a:pt x="380714" y="200216"/>
                  </a:cubicBezTo>
                  <a:cubicBezTo>
                    <a:pt x="380714" y="200216"/>
                    <a:pt x="379381" y="200216"/>
                    <a:pt x="379381" y="200882"/>
                  </a:cubicBezTo>
                  <a:lnTo>
                    <a:pt x="378619" y="200216"/>
                  </a:lnTo>
                  <a:close/>
                  <a:moveTo>
                    <a:pt x="400622" y="197453"/>
                  </a:moveTo>
                  <a:cubicBezTo>
                    <a:pt x="399955" y="197453"/>
                    <a:pt x="399955" y="196787"/>
                    <a:pt x="399288" y="196787"/>
                  </a:cubicBezTo>
                  <a:cubicBezTo>
                    <a:pt x="397193" y="196787"/>
                    <a:pt x="395192" y="198120"/>
                    <a:pt x="393097" y="198120"/>
                  </a:cubicBezTo>
                  <a:lnTo>
                    <a:pt x="390335" y="201549"/>
                  </a:lnTo>
                  <a:lnTo>
                    <a:pt x="389668" y="202216"/>
                  </a:lnTo>
                  <a:lnTo>
                    <a:pt x="390335" y="202216"/>
                  </a:lnTo>
                  <a:cubicBezTo>
                    <a:pt x="390335" y="203549"/>
                    <a:pt x="390335" y="203549"/>
                    <a:pt x="389001" y="204978"/>
                  </a:cubicBezTo>
                  <a:lnTo>
                    <a:pt x="389001" y="204311"/>
                  </a:lnTo>
                  <a:lnTo>
                    <a:pt x="387668" y="202978"/>
                  </a:lnTo>
                  <a:lnTo>
                    <a:pt x="381476" y="201644"/>
                  </a:lnTo>
                  <a:lnTo>
                    <a:pt x="385572" y="201644"/>
                  </a:lnTo>
                  <a:lnTo>
                    <a:pt x="386906" y="200978"/>
                  </a:lnTo>
                  <a:cubicBezTo>
                    <a:pt x="386906" y="200978"/>
                    <a:pt x="386906" y="200311"/>
                    <a:pt x="386239" y="199644"/>
                  </a:cubicBezTo>
                  <a:cubicBezTo>
                    <a:pt x="386239" y="196215"/>
                    <a:pt x="395192" y="196215"/>
                    <a:pt x="400622" y="196215"/>
                  </a:cubicBezTo>
                  <a:lnTo>
                    <a:pt x="400622" y="197453"/>
                  </a:lnTo>
                  <a:close/>
                  <a:moveTo>
                    <a:pt x="388239" y="194024"/>
                  </a:moveTo>
                  <a:lnTo>
                    <a:pt x="387572" y="194024"/>
                  </a:lnTo>
                  <a:lnTo>
                    <a:pt x="388239" y="193358"/>
                  </a:lnTo>
                  <a:lnTo>
                    <a:pt x="388239" y="194024"/>
                  </a:lnTo>
                  <a:close/>
                  <a:moveTo>
                    <a:pt x="400622" y="202216"/>
                  </a:moveTo>
                  <a:cubicBezTo>
                    <a:pt x="398526" y="203549"/>
                    <a:pt x="397859" y="203549"/>
                    <a:pt x="395859" y="203549"/>
                  </a:cubicBezTo>
                  <a:lnTo>
                    <a:pt x="399288" y="200787"/>
                  </a:lnTo>
                  <a:lnTo>
                    <a:pt x="400622" y="202216"/>
                  </a:lnTo>
                  <a:close/>
                  <a:moveTo>
                    <a:pt x="404717" y="195358"/>
                  </a:moveTo>
                  <a:lnTo>
                    <a:pt x="401955" y="195358"/>
                  </a:lnTo>
                  <a:lnTo>
                    <a:pt x="404051" y="194024"/>
                  </a:lnTo>
                  <a:lnTo>
                    <a:pt x="404717" y="194024"/>
                  </a:lnTo>
                  <a:lnTo>
                    <a:pt x="405384" y="194691"/>
                  </a:lnTo>
                  <a:cubicBezTo>
                    <a:pt x="405384" y="195358"/>
                    <a:pt x="404717" y="195358"/>
                    <a:pt x="404717" y="19535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39A5B-E23B-4ED8-8806-7CB86B2B0A14}"/>
                </a:ext>
              </a:extLst>
            </p:cNvPr>
            <p:cNvSpPr/>
            <p:nvPr/>
          </p:nvSpPr>
          <p:spPr>
            <a:xfrm>
              <a:off x="4893468" y="3240596"/>
              <a:ext cx="219075" cy="314325"/>
            </a:xfrm>
            <a:custGeom>
              <a:avLst/>
              <a:gdLst>
                <a:gd name="connsiteX0" fmla="*/ 73247 w 219075"/>
                <a:gd name="connsiteY0" fmla="*/ 135445 h 314325"/>
                <a:gd name="connsiteX1" fmla="*/ 72581 w 219075"/>
                <a:gd name="connsiteY1" fmla="*/ 136779 h 314325"/>
                <a:gd name="connsiteX2" fmla="*/ 71914 w 219075"/>
                <a:gd name="connsiteY2" fmla="*/ 138113 h 314325"/>
                <a:gd name="connsiteX3" fmla="*/ 71914 w 219075"/>
                <a:gd name="connsiteY3" fmla="*/ 139446 h 314325"/>
                <a:gd name="connsiteX4" fmla="*/ 71247 w 219075"/>
                <a:gd name="connsiteY4" fmla="*/ 140113 h 314325"/>
                <a:gd name="connsiteX5" fmla="*/ 71247 w 219075"/>
                <a:gd name="connsiteY5" fmla="*/ 141446 h 314325"/>
                <a:gd name="connsiteX6" fmla="*/ 70580 w 219075"/>
                <a:gd name="connsiteY6" fmla="*/ 146971 h 314325"/>
                <a:gd name="connsiteX7" fmla="*/ 70580 w 219075"/>
                <a:gd name="connsiteY7" fmla="*/ 147638 h 314325"/>
                <a:gd name="connsiteX8" fmla="*/ 69247 w 219075"/>
                <a:gd name="connsiteY8" fmla="*/ 148971 h 314325"/>
                <a:gd name="connsiteX9" fmla="*/ 69247 w 219075"/>
                <a:gd name="connsiteY9" fmla="*/ 152400 h 314325"/>
                <a:gd name="connsiteX10" fmla="*/ 68580 w 219075"/>
                <a:gd name="connsiteY10" fmla="*/ 153067 h 314325"/>
                <a:gd name="connsiteX11" fmla="*/ 68580 w 219075"/>
                <a:gd name="connsiteY11" fmla="*/ 155162 h 314325"/>
                <a:gd name="connsiteX12" fmla="*/ 67246 w 219075"/>
                <a:gd name="connsiteY12" fmla="*/ 157924 h 314325"/>
                <a:gd name="connsiteX13" fmla="*/ 66580 w 219075"/>
                <a:gd name="connsiteY13" fmla="*/ 160687 h 314325"/>
                <a:gd name="connsiteX14" fmla="*/ 65913 w 219075"/>
                <a:gd name="connsiteY14" fmla="*/ 161353 h 314325"/>
                <a:gd name="connsiteX15" fmla="*/ 64579 w 219075"/>
                <a:gd name="connsiteY15" fmla="*/ 163449 h 314325"/>
                <a:gd name="connsiteX16" fmla="*/ 64579 w 219075"/>
                <a:gd name="connsiteY16" fmla="*/ 164783 h 314325"/>
                <a:gd name="connsiteX17" fmla="*/ 65246 w 219075"/>
                <a:gd name="connsiteY17" fmla="*/ 166878 h 314325"/>
                <a:gd name="connsiteX18" fmla="*/ 65246 w 219075"/>
                <a:gd name="connsiteY18" fmla="*/ 167545 h 314325"/>
                <a:gd name="connsiteX19" fmla="*/ 63151 w 219075"/>
                <a:gd name="connsiteY19" fmla="*/ 167545 h 314325"/>
                <a:gd name="connsiteX20" fmla="*/ 63818 w 219075"/>
                <a:gd name="connsiteY20" fmla="*/ 170307 h 314325"/>
                <a:gd name="connsiteX21" fmla="*/ 63818 w 219075"/>
                <a:gd name="connsiteY21" fmla="*/ 170974 h 314325"/>
                <a:gd name="connsiteX22" fmla="*/ 63151 w 219075"/>
                <a:gd name="connsiteY22" fmla="*/ 172307 h 314325"/>
                <a:gd name="connsiteX23" fmla="*/ 63151 w 219075"/>
                <a:gd name="connsiteY23" fmla="*/ 174403 h 314325"/>
                <a:gd name="connsiteX24" fmla="*/ 61055 w 219075"/>
                <a:gd name="connsiteY24" fmla="*/ 175069 h 314325"/>
                <a:gd name="connsiteX25" fmla="*/ 61722 w 219075"/>
                <a:gd name="connsiteY25" fmla="*/ 177832 h 314325"/>
                <a:gd name="connsiteX26" fmla="*/ 61722 w 219075"/>
                <a:gd name="connsiteY26" fmla="*/ 181927 h 314325"/>
                <a:gd name="connsiteX27" fmla="*/ 60389 w 219075"/>
                <a:gd name="connsiteY27" fmla="*/ 184023 h 314325"/>
                <a:gd name="connsiteX28" fmla="*/ 60389 w 219075"/>
                <a:gd name="connsiteY28" fmla="*/ 187452 h 314325"/>
                <a:gd name="connsiteX29" fmla="*/ 60389 w 219075"/>
                <a:gd name="connsiteY29" fmla="*/ 188119 h 314325"/>
                <a:gd name="connsiteX30" fmla="*/ 59055 w 219075"/>
                <a:gd name="connsiteY30" fmla="*/ 189452 h 314325"/>
                <a:gd name="connsiteX31" fmla="*/ 59722 w 219075"/>
                <a:gd name="connsiteY31" fmla="*/ 192215 h 314325"/>
                <a:gd name="connsiteX32" fmla="*/ 59722 w 219075"/>
                <a:gd name="connsiteY32" fmla="*/ 195643 h 314325"/>
                <a:gd name="connsiteX33" fmla="*/ 59055 w 219075"/>
                <a:gd name="connsiteY33" fmla="*/ 196310 h 314325"/>
                <a:gd name="connsiteX34" fmla="*/ 58388 w 219075"/>
                <a:gd name="connsiteY34" fmla="*/ 196977 h 314325"/>
                <a:gd name="connsiteX35" fmla="*/ 56293 w 219075"/>
                <a:gd name="connsiteY35" fmla="*/ 200406 h 314325"/>
                <a:gd name="connsiteX36" fmla="*/ 56293 w 219075"/>
                <a:gd name="connsiteY36" fmla="*/ 201073 h 314325"/>
                <a:gd name="connsiteX37" fmla="*/ 57626 w 219075"/>
                <a:gd name="connsiteY37" fmla="*/ 205168 h 314325"/>
                <a:gd name="connsiteX38" fmla="*/ 55531 w 219075"/>
                <a:gd name="connsiteY38" fmla="*/ 207931 h 314325"/>
                <a:gd name="connsiteX39" fmla="*/ 56198 w 219075"/>
                <a:gd name="connsiteY39" fmla="*/ 210026 h 314325"/>
                <a:gd name="connsiteX40" fmla="*/ 56198 w 219075"/>
                <a:gd name="connsiteY40" fmla="*/ 212122 h 314325"/>
                <a:gd name="connsiteX41" fmla="*/ 53435 w 219075"/>
                <a:gd name="connsiteY41" fmla="*/ 214217 h 314325"/>
                <a:gd name="connsiteX42" fmla="*/ 52102 w 219075"/>
                <a:gd name="connsiteY42" fmla="*/ 215551 h 314325"/>
                <a:gd name="connsiteX43" fmla="*/ 52769 w 219075"/>
                <a:gd name="connsiteY43" fmla="*/ 216217 h 314325"/>
                <a:gd name="connsiteX44" fmla="*/ 54769 w 219075"/>
                <a:gd name="connsiteY44" fmla="*/ 218503 h 314325"/>
                <a:gd name="connsiteX45" fmla="*/ 56102 w 219075"/>
                <a:gd name="connsiteY45" fmla="*/ 219837 h 314325"/>
                <a:gd name="connsiteX46" fmla="*/ 56102 w 219075"/>
                <a:gd name="connsiteY46" fmla="*/ 221170 h 314325"/>
                <a:gd name="connsiteX47" fmla="*/ 54007 w 219075"/>
                <a:gd name="connsiteY47" fmla="*/ 223266 h 314325"/>
                <a:gd name="connsiteX48" fmla="*/ 54674 w 219075"/>
                <a:gd name="connsiteY48" fmla="*/ 234220 h 314325"/>
                <a:gd name="connsiteX49" fmla="*/ 54674 w 219075"/>
                <a:gd name="connsiteY49" fmla="*/ 234887 h 314325"/>
                <a:gd name="connsiteX50" fmla="*/ 53340 w 219075"/>
                <a:gd name="connsiteY50" fmla="*/ 236220 h 314325"/>
                <a:gd name="connsiteX51" fmla="*/ 54674 w 219075"/>
                <a:gd name="connsiteY51" fmla="*/ 237553 h 314325"/>
                <a:gd name="connsiteX52" fmla="*/ 54674 w 219075"/>
                <a:gd name="connsiteY52" fmla="*/ 241649 h 314325"/>
                <a:gd name="connsiteX53" fmla="*/ 53340 w 219075"/>
                <a:gd name="connsiteY53" fmla="*/ 243745 h 314325"/>
                <a:gd name="connsiteX54" fmla="*/ 53340 w 219075"/>
                <a:gd name="connsiteY54" fmla="*/ 266414 h 314325"/>
                <a:gd name="connsiteX55" fmla="*/ 52673 w 219075"/>
                <a:gd name="connsiteY55" fmla="*/ 267081 h 314325"/>
                <a:gd name="connsiteX56" fmla="*/ 54007 w 219075"/>
                <a:gd name="connsiteY56" fmla="*/ 267748 h 314325"/>
                <a:gd name="connsiteX57" fmla="*/ 54769 w 219075"/>
                <a:gd name="connsiteY57" fmla="*/ 269176 h 314325"/>
                <a:gd name="connsiteX58" fmla="*/ 56864 w 219075"/>
                <a:gd name="connsiteY58" fmla="*/ 271939 h 314325"/>
                <a:gd name="connsiteX59" fmla="*/ 56864 w 219075"/>
                <a:gd name="connsiteY59" fmla="*/ 276035 h 314325"/>
                <a:gd name="connsiteX60" fmla="*/ 57531 w 219075"/>
                <a:gd name="connsiteY60" fmla="*/ 277368 h 314325"/>
                <a:gd name="connsiteX61" fmla="*/ 57531 w 219075"/>
                <a:gd name="connsiteY61" fmla="*/ 279464 h 314325"/>
                <a:gd name="connsiteX62" fmla="*/ 58198 w 219075"/>
                <a:gd name="connsiteY62" fmla="*/ 280130 h 314325"/>
                <a:gd name="connsiteX63" fmla="*/ 59531 w 219075"/>
                <a:gd name="connsiteY63" fmla="*/ 282226 h 314325"/>
                <a:gd name="connsiteX64" fmla="*/ 60865 w 219075"/>
                <a:gd name="connsiteY64" fmla="*/ 283559 h 314325"/>
                <a:gd name="connsiteX65" fmla="*/ 60865 w 219075"/>
                <a:gd name="connsiteY65" fmla="*/ 284226 h 314325"/>
                <a:gd name="connsiteX66" fmla="*/ 61531 w 219075"/>
                <a:gd name="connsiteY66" fmla="*/ 284226 h 314325"/>
                <a:gd name="connsiteX67" fmla="*/ 67723 w 219075"/>
                <a:gd name="connsiteY67" fmla="*/ 284893 h 314325"/>
                <a:gd name="connsiteX68" fmla="*/ 72485 w 219075"/>
                <a:gd name="connsiteY68" fmla="*/ 284893 h 314325"/>
                <a:gd name="connsiteX69" fmla="*/ 73819 w 219075"/>
                <a:gd name="connsiteY69" fmla="*/ 284226 h 314325"/>
                <a:gd name="connsiteX70" fmla="*/ 76581 w 219075"/>
                <a:gd name="connsiteY70" fmla="*/ 282892 h 314325"/>
                <a:gd name="connsiteX71" fmla="*/ 77915 w 219075"/>
                <a:gd name="connsiteY71" fmla="*/ 281559 h 314325"/>
                <a:gd name="connsiteX72" fmla="*/ 80010 w 219075"/>
                <a:gd name="connsiteY72" fmla="*/ 280225 h 314325"/>
                <a:gd name="connsiteX73" fmla="*/ 82106 w 219075"/>
                <a:gd name="connsiteY73" fmla="*/ 279559 h 314325"/>
                <a:gd name="connsiteX74" fmla="*/ 85535 w 219075"/>
                <a:gd name="connsiteY74" fmla="*/ 278225 h 314325"/>
                <a:gd name="connsiteX75" fmla="*/ 95155 w 219075"/>
                <a:gd name="connsiteY75" fmla="*/ 270700 h 314325"/>
                <a:gd name="connsiteX76" fmla="*/ 98584 w 219075"/>
                <a:gd name="connsiteY76" fmla="*/ 268605 h 314325"/>
                <a:gd name="connsiteX77" fmla="*/ 102679 w 219075"/>
                <a:gd name="connsiteY77" fmla="*/ 264509 h 314325"/>
                <a:gd name="connsiteX78" fmla="*/ 106775 w 219075"/>
                <a:gd name="connsiteY78" fmla="*/ 260414 h 314325"/>
                <a:gd name="connsiteX79" fmla="*/ 108109 w 219075"/>
                <a:gd name="connsiteY79" fmla="*/ 259080 h 314325"/>
                <a:gd name="connsiteX80" fmla="*/ 108109 w 219075"/>
                <a:gd name="connsiteY80" fmla="*/ 258413 h 314325"/>
                <a:gd name="connsiteX81" fmla="*/ 110871 w 219075"/>
                <a:gd name="connsiteY81" fmla="*/ 256318 h 314325"/>
                <a:gd name="connsiteX82" fmla="*/ 112967 w 219075"/>
                <a:gd name="connsiteY82" fmla="*/ 254222 h 314325"/>
                <a:gd name="connsiteX83" fmla="*/ 115729 w 219075"/>
                <a:gd name="connsiteY83" fmla="*/ 252127 h 314325"/>
                <a:gd name="connsiteX84" fmla="*/ 117062 w 219075"/>
                <a:gd name="connsiteY84" fmla="*/ 252127 h 314325"/>
                <a:gd name="connsiteX85" fmla="*/ 117062 w 219075"/>
                <a:gd name="connsiteY85" fmla="*/ 250031 h 314325"/>
                <a:gd name="connsiteX86" fmla="*/ 122587 w 219075"/>
                <a:gd name="connsiteY86" fmla="*/ 245936 h 314325"/>
                <a:gd name="connsiteX87" fmla="*/ 126683 w 219075"/>
                <a:gd name="connsiteY87" fmla="*/ 242506 h 314325"/>
                <a:gd name="connsiteX88" fmla="*/ 130112 w 219075"/>
                <a:gd name="connsiteY88" fmla="*/ 238411 h 314325"/>
                <a:gd name="connsiteX89" fmla="*/ 134207 w 219075"/>
                <a:gd name="connsiteY89" fmla="*/ 234315 h 314325"/>
                <a:gd name="connsiteX90" fmla="*/ 138303 w 219075"/>
                <a:gd name="connsiteY90" fmla="*/ 230219 h 314325"/>
                <a:gd name="connsiteX91" fmla="*/ 138970 w 219075"/>
                <a:gd name="connsiteY91" fmla="*/ 228886 h 314325"/>
                <a:gd name="connsiteX92" fmla="*/ 139637 w 219075"/>
                <a:gd name="connsiteY92" fmla="*/ 228219 h 314325"/>
                <a:gd name="connsiteX93" fmla="*/ 142399 w 219075"/>
                <a:gd name="connsiteY93" fmla="*/ 226886 h 314325"/>
                <a:gd name="connsiteX94" fmla="*/ 145161 w 219075"/>
                <a:gd name="connsiteY94" fmla="*/ 224790 h 314325"/>
                <a:gd name="connsiteX95" fmla="*/ 147256 w 219075"/>
                <a:gd name="connsiteY95" fmla="*/ 222028 h 314325"/>
                <a:gd name="connsiteX96" fmla="*/ 150019 w 219075"/>
                <a:gd name="connsiteY96" fmla="*/ 219932 h 314325"/>
                <a:gd name="connsiteX97" fmla="*/ 151352 w 219075"/>
                <a:gd name="connsiteY97" fmla="*/ 217837 h 314325"/>
                <a:gd name="connsiteX98" fmla="*/ 152686 w 219075"/>
                <a:gd name="connsiteY98" fmla="*/ 217170 h 314325"/>
                <a:gd name="connsiteX99" fmla="*/ 156781 w 219075"/>
                <a:gd name="connsiteY99" fmla="*/ 213074 h 314325"/>
                <a:gd name="connsiteX100" fmla="*/ 159544 w 219075"/>
                <a:gd name="connsiteY100" fmla="*/ 209645 h 314325"/>
                <a:gd name="connsiteX101" fmla="*/ 161639 w 219075"/>
                <a:gd name="connsiteY101" fmla="*/ 207550 h 314325"/>
                <a:gd name="connsiteX102" fmla="*/ 163735 w 219075"/>
                <a:gd name="connsiteY102" fmla="*/ 206216 h 314325"/>
                <a:gd name="connsiteX103" fmla="*/ 165830 w 219075"/>
                <a:gd name="connsiteY103" fmla="*/ 203454 h 314325"/>
                <a:gd name="connsiteX104" fmla="*/ 165830 w 219075"/>
                <a:gd name="connsiteY104" fmla="*/ 201359 h 314325"/>
                <a:gd name="connsiteX105" fmla="*/ 166497 w 219075"/>
                <a:gd name="connsiteY105" fmla="*/ 200692 h 314325"/>
                <a:gd name="connsiteX106" fmla="*/ 169259 w 219075"/>
                <a:gd name="connsiteY106" fmla="*/ 199358 h 314325"/>
                <a:gd name="connsiteX107" fmla="*/ 172021 w 219075"/>
                <a:gd name="connsiteY107" fmla="*/ 196596 h 314325"/>
                <a:gd name="connsiteX108" fmla="*/ 172021 w 219075"/>
                <a:gd name="connsiteY108" fmla="*/ 195929 h 314325"/>
                <a:gd name="connsiteX109" fmla="*/ 173355 w 219075"/>
                <a:gd name="connsiteY109" fmla="*/ 194596 h 314325"/>
                <a:gd name="connsiteX110" fmla="*/ 173355 w 219075"/>
                <a:gd name="connsiteY110" fmla="*/ 193929 h 314325"/>
                <a:gd name="connsiteX111" fmla="*/ 174022 w 219075"/>
                <a:gd name="connsiteY111" fmla="*/ 193262 h 314325"/>
                <a:gd name="connsiteX112" fmla="*/ 176784 w 219075"/>
                <a:gd name="connsiteY112" fmla="*/ 189833 h 314325"/>
                <a:gd name="connsiteX113" fmla="*/ 176784 w 219075"/>
                <a:gd name="connsiteY113" fmla="*/ 188500 h 314325"/>
                <a:gd name="connsiteX114" fmla="*/ 178879 w 219075"/>
                <a:gd name="connsiteY114" fmla="*/ 187833 h 314325"/>
                <a:gd name="connsiteX115" fmla="*/ 179546 w 219075"/>
                <a:gd name="connsiteY115" fmla="*/ 187833 h 314325"/>
                <a:gd name="connsiteX116" fmla="*/ 179546 w 219075"/>
                <a:gd name="connsiteY116" fmla="*/ 186499 h 314325"/>
                <a:gd name="connsiteX117" fmla="*/ 180880 w 219075"/>
                <a:gd name="connsiteY117" fmla="*/ 183737 h 314325"/>
                <a:gd name="connsiteX118" fmla="*/ 184309 w 219075"/>
                <a:gd name="connsiteY118" fmla="*/ 180975 h 314325"/>
                <a:gd name="connsiteX119" fmla="*/ 185642 w 219075"/>
                <a:gd name="connsiteY119" fmla="*/ 179642 h 314325"/>
                <a:gd name="connsiteX120" fmla="*/ 184975 w 219075"/>
                <a:gd name="connsiteY120" fmla="*/ 178975 h 314325"/>
                <a:gd name="connsiteX121" fmla="*/ 186309 w 219075"/>
                <a:gd name="connsiteY121" fmla="*/ 176879 h 314325"/>
                <a:gd name="connsiteX122" fmla="*/ 189071 w 219075"/>
                <a:gd name="connsiteY122" fmla="*/ 174117 h 314325"/>
                <a:gd name="connsiteX123" fmla="*/ 191834 w 219075"/>
                <a:gd name="connsiteY123" fmla="*/ 171355 h 314325"/>
                <a:gd name="connsiteX124" fmla="*/ 191834 w 219075"/>
                <a:gd name="connsiteY124" fmla="*/ 170688 h 314325"/>
                <a:gd name="connsiteX125" fmla="*/ 193929 w 219075"/>
                <a:gd name="connsiteY125" fmla="*/ 169354 h 314325"/>
                <a:gd name="connsiteX126" fmla="*/ 196025 w 219075"/>
                <a:gd name="connsiteY126" fmla="*/ 167259 h 314325"/>
                <a:gd name="connsiteX127" fmla="*/ 196691 w 219075"/>
                <a:gd name="connsiteY127" fmla="*/ 165925 h 314325"/>
                <a:gd name="connsiteX128" fmla="*/ 197358 w 219075"/>
                <a:gd name="connsiteY128" fmla="*/ 165259 h 314325"/>
                <a:gd name="connsiteX129" fmla="*/ 198692 w 219075"/>
                <a:gd name="connsiteY129" fmla="*/ 161830 h 314325"/>
                <a:gd name="connsiteX130" fmla="*/ 202121 w 219075"/>
                <a:gd name="connsiteY130" fmla="*/ 159734 h 314325"/>
                <a:gd name="connsiteX131" fmla="*/ 202121 w 219075"/>
                <a:gd name="connsiteY131" fmla="*/ 158401 h 314325"/>
                <a:gd name="connsiteX132" fmla="*/ 203454 w 219075"/>
                <a:gd name="connsiteY132" fmla="*/ 156305 h 314325"/>
                <a:gd name="connsiteX133" fmla="*/ 204788 w 219075"/>
                <a:gd name="connsiteY133" fmla="*/ 154210 h 314325"/>
                <a:gd name="connsiteX134" fmla="*/ 204788 w 219075"/>
                <a:gd name="connsiteY134" fmla="*/ 153543 h 314325"/>
                <a:gd name="connsiteX135" fmla="*/ 206121 w 219075"/>
                <a:gd name="connsiteY135" fmla="*/ 152210 h 314325"/>
                <a:gd name="connsiteX136" fmla="*/ 206788 w 219075"/>
                <a:gd name="connsiteY136" fmla="*/ 150114 h 314325"/>
                <a:gd name="connsiteX137" fmla="*/ 206788 w 219075"/>
                <a:gd name="connsiteY137" fmla="*/ 149447 h 314325"/>
                <a:gd name="connsiteX138" fmla="*/ 208121 w 219075"/>
                <a:gd name="connsiteY138" fmla="*/ 147352 h 314325"/>
                <a:gd name="connsiteX139" fmla="*/ 208788 w 219075"/>
                <a:gd name="connsiteY139" fmla="*/ 146018 h 314325"/>
                <a:gd name="connsiteX140" fmla="*/ 211550 w 219075"/>
                <a:gd name="connsiteY140" fmla="*/ 143923 h 314325"/>
                <a:gd name="connsiteX141" fmla="*/ 212217 w 219075"/>
                <a:gd name="connsiteY141" fmla="*/ 144590 h 314325"/>
                <a:gd name="connsiteX142" fmla="*/ 212217 w 219075"/>
                <a:gd name="connsiteY142" fmla="*/ 145256 h 314325"/>
                <a:gd name="connsiteX143" fmla="*/ 212884 w 219075"/>
                <a:gd name="connsiteY143" fmla="*/ 144590 h 314325"/>
                <a:gd name="connsiteX144" fmla="*/ 212884 w 219075"/>
                <a:gd name="connsiteY144" fmla="*/ 143923 h 314325"/>
                <a:gd name="connsiteX145" fmla="*/ 212217 w 219075"/>
                <a:gd name="connsiteY145" fmla="*/ 143923 h 314325"/>
                <a:gd name="connsiteX146" fmla="*/ 212217 w 219075"/>
                <a:gd name="connsiteY146" fmla="*/ 143256 h 314325"/>
                <a:gd name="connsiteX147" fmla="*/ 213550 w 219075"/>
                <a:gd name="connsiteY147" fmla="*/ 142589 h 314325"/>
                <a:gd name="connsiteX148" fmla="*/ 213550 w 219075"/>
                <a:gd name="connsiteY148" fmla="*/ 141256 h 314325"/>
                <a:gd name="connsiteX149" fmla="*/ 216313 w 219075"/>
                <a:gd name="connsiteY149" fmla="*/ 138493 h 314325"/>
                <a:gd name="connsiteX150" fmla="*/ 216979 w 219075"/>
                <a:gd name="connsiteY150" fmla="*/ 139160 h 314325"/>
                <a:gd name="connsiteX151" fmla="*/ 221075 w 219075"/>
                <a:gd name="connsiteY151" fmla="*/ 139827 h 314325"/>
                <a:gd name="connsiteX152" fmla="*/ 221075 w 219075"/>
                <a:gd name="connsiteY152" fmla="*/ 138493 h 314325"/>
                <a:gd name="connsiteX153" fmla="*/ 221075 w 219075"/>
                <a:gd name="connsiteY153" fmla="*/ 136398 h 314325"/>
                <a:gd name="connsiteX154" fmla="*/ 223838 w 219075"/>
                <a:gd name="connsiteY154" fmla="*/ 132969 h 314325"/>
                <a:gd name="connsiteX155" fmla="*/ 224504 w 219075"/>
                <a:gd name="connsiteY155" fmla="*/ 132969 h 314325"/>
                <a:gd name="connsiteX156" fmla="*/ 226219 w 219075"/>
                <a:gd name="connsiteY156" fmla="*/ 133445 h 314325"/>
                <a:gd name="connsiteX157" fmla="*/ 226886 w 219075"/>
                <a:gd name="connsiteY157" fmla="*/ 139637 h 314325"/>
                <a:gd name="connsiteX158" fmla="*/ 225552 w 219075"/>
                <a:gd name="connsiteY158" fmla="*/ 140303 h 314325"/>
                <a:gd name="connsiteX159" fmla="*/ 223456 w 219075"/>
                <a:gd name="connsiteY159" fmla="*/ 143066 h 314325"/>
                <a:gd name="connsiteX160" fmla="*/ 223456 w 219075"/>
                <a:gd name="connsiteY160" fmla="*/ 143732 h 314325"/>
                <a:gd name="connsiteX161" fmla="*/ 221361 w 219075"/>
                <a:gd name="connsiteY161" fmla="*/ 145066 h 314325"/>
                <a:gd name="connsiteX162" fmla="*/ 220027 w 219075"/>
                <a:gd name="connsiteY162" fmla="*/ 147828 h 314325"/>
                <a:gd name="connsiteX163" fmla="*/ 219361 w 219075"/>
                <a:gd name="connsiteY163" fmla="*/ 148495 h 314325"/>
                <a:gd name="connsiteX164" fmla="*/ 220694 w 219075"/>
                <a:gd name="connsiteY164" fmla="*/ 149162 h 314325"/>
                <a:gd name="connsiteX165" fmla="*/ 221361 w 219075"/>
                <a:gd name="connsiteY165" fmla="*/ 149162 h 314325"/>
                <a:gd name="connsiteX166" fmla="*/ 221361 w 219075"/>
                <a:gd name="connsiteY166" fmla="*/ 151257 h 314325"/>
                <a:gd name="connsiteX167" fmla="*/ 220027 w 219075"/>
                <a:gd name="connsiteY167" fmla="*/ 151924 h 314325"/>
                <a:gd name="connsiteX168" fmla="*/ 219361 w 219075"/>
                <a:gd name="connsiteY168" fmla="*/ 154686 h 314325"/>
                <a:gd name="connsiteX169" fmla="*/ 219361 w 219075"/>
                <a:gd name="connsiteY169" fmla="*/ 155353 h 314325"/>
                <a:gd name="connsiteX170" fmla="*/ 218694 w 219075"/>
                <a:gd name="connsiteY170" fmla="*/ 156686 h 314325"/>
                <a:gd name="connsiteX171" fmla="*/ 217361 w 219075"/>
                <a:gd name="connsiteY171" fmla="*/ 158020 h 314325"/>
                <a:gd name="connsiteX172" fmla="*/ 217361 w 219075"/>
                <a:gd name="connsiteY172" fmla="*/ 158687 h 314325"/>
                <a:gd name="connsiteX173" fmla="*/ 218027 w 219075"/>
                <a:gd name="connsiteY173" fmla="*/ 159353 h 314325"/>
                <a:gd name="connsiteX174" fmla="*/ 217361 w 219075"/>
                <a:gd name="connsiteY174" fmla="*/ 161449 h 314325"/>
                <a:gd name="connsiteX175" fmla="*/ 216027 w 219075"/>
                <a:gd name="connsiteY175" fmla="*/ 162116 h 314325"/>
                <a:gd name="connsiteX176" fmla="*/ 215360 w 219075"/>
                <a:gd name="connsiteY176" fmla="*/ 162782 h 314325"/>
                <a:gd name="connsiteX177" fmla="*/ 214027 w 219075"/>
                <a:gd name="connsiteY177" fmla="*/ 164878 h 314325"/>
                <a:gd name="connsiteX178" fmla="*/ 214027 w 219075"/>
                <a:gd name="connsiteY178" fmla="*/ 166973 h 314325"/>
                <a:gd name="connsiteX179" fmla="*/ 210598 w 219075"/>
                <a:gd name="connsiteY179" fmla="*/ 169736 h 314325"/>
                <a:gd name="connsiteX180" fmla="*/ 209931 w 219075"/>
                <a:gd name="connsiteY180" fmla="*/ 172498 h 314325"/>
                <a:gd name="connsiteX181" fmla="*/ 208598 w 219075"/>
                <a:gd name="connsiteY181" fmla="*/ 173831 h 314325"/>
                <a:gd name="connsiteX182" fmla="*/ 208598 w 219075"/>
                <a:gd name="connsiteY182" fmla="*/ 175927 h 314325"/>
                <a:gd name="connsiteX183" fmla="*/ 207931 w 219075"/>
                <a:gd name="connsiteY183" fmla="*/ 176593 h 314325"/>
                <a:gd name="connsiteX184" fmla="*/ 207931 w 219075"/>
                <a:gd name="connsiteY184" fmla="*/ 177260 h 314325"/>
                <a:gd name="connsiteX185" fmla="*/ 207264 w 219075"/>
                <a:gd name="connsiteY185" fmla="*/ 178594 h 314325"/>
                <a:gd name="connsiteX186" fmla="*/ 207264 w 219075"/>
                <a:gd name="connsiteY186" fmla="*/ 179927 h 314325"/>
                <a:gd name="connsiteX187" fmla="*/ 205931 w 219075"/>
                <a:gd name="connsiteY187" fmla="*/ 179927 h 314325"/>
                <a:gd name="connsiteX188" fmla="*/ 206597 w 219075"/>
                <a:gd name="connsiteY188" fmla="*/ 183356 h 314325"/>
                <a:gd name="connsiteX189" fmla="*/ 204502 w 219075"/>
                <a:gd name="connsiteY189" fmla="*/ 186118 h 314325"/>
                <a:gd name="connsiteX190" fmla="*/ 204502 w 219075"/>
                <a:gd name="connsiteY190" fmla="*/ 188881 h 314325"/>
                <a:gd name="connsiteX191" fmla="*/ 203835 w 219075"/>
                <a:gd name="connsiteY191" fmla="*/ 190214 h 314325"/>
                <a:gd name="connsiteX192" fmla="*/ 201073 w 219075"/>
                <a:gd name="connsiteY192" fmla="*/ 190214 h 314325"/>
                <a:gd name="connsiteX193" fmla="*/ 200406 w 219075"/>
                <a:gd name="connsiteY193" fmla="*/ 190881 h 314325"/>
                <a:gd name="connsiteX194" fmla="*/ 201740 w 219075"/>
                <a:gd name="connsiteY194" fmla="*/ 192215 h 314325"/>
                <a:gd name="connsiteX195" fmla="*/ 202406 w 219075"/>
                <a:gd name="connsiteY195" fmla="*/ 193548 h 314325"/>
                <a:gd name="connsiteX196" fmla="*/ 198977 w 219075"/>
                <a:gd name="connsiteY196" fmla="*/ 193548 h 314325"/>
                <a:gd name="connsiteX197" fmla="*/ 196215 w 219075"/>
                <a:gd name="connsiteY197" fmla="*/ 196310 h 314325"/>
                <a:gd name="connsiteX198" fmla="*/ 197548 w 219075"/>
                <a:gd name="connsiteY198" fmla="*/ 198406 h 314325"/>
                <a:gd name="connsiteX199" fmla="*/ 198215 w 219075"/>
                <a:gd name="connsiteY199" fmla="*/ 199072 h 314325"/>
                <a:gd name="connsiteX200" fmla="*/ 194786 w 219075"/>
                <a:gd name="connsiteY200" fmla="*/ 201168 h 314325"/>
                <a:gd name="connsiteX201" fmla="*/ 193453 w 219075"/>
                <a:gd name="connsiteY201" fmla="*/ 201835 h 314325"/>
                <a:gd name="connsiteX202" fmla="*/ 194786 w 219075"/>
                <a:gd name="connsiteY202" fmla="*/ 202501 h 314325"/>
                <a:gd name="connsiteX203" fmla="*/ 196882 w 219075"/>
                <a:gd name="connsiteY203" fmla="*/ 205930 h 314325"/>
                <a:gd name="connsiteX204" fmla="*/ 196882 w 219075"/>
                <a:gd name="connsiteY204" fmla="*/ 206597 h 314325"/>
                <a:gd name="connsiteX205" fmla="*/ 196215 w 219075"/>
                <a:gd name="connsiteY205" fmla="*/ 207264 h 314325"/>
                <a:gd name="connsiteX206" fmla="*/ 196215 w 219075"/>
                <a:gd name="connsiteY206" fmla="*/ 206597 h 314325"/>
                <a:gd name="connsiteX207" fmla="*/ 194881 w 219075"/>
                <a:gd name="connsiteY207" fmla="*/ 205930 h 314325"/>
                <a:gd name="connsiteX208" fmla="*/ 194215 w 219075"/>
                <a:gd name="connsiteY208" fmla="*/ 205930 h 314325"/>
                <a:gd name="connsiteX209" fmla="*/ 190119 w 219075"/>
                <a:gd name="connsiteY209" fmla="*/ 208693 h 314325"/>
                <a:gd name="connsiteX210" fmla="*/ 189452 w 219075"/>
                <a:gd name="connsiteY210" fmla="*/ 209360 h 314325"/>
                <a:gd name="connsiteX211" fmla="*/ 190119 w 219075"/>
                <a:gd name="connsiteY211" fmla="*/ 213455 h 314325"/>
                <a:gd name="connsiteX212" fmla="*/ 188786 w 219075"/>
                <a:gd name="connsiteY212" fmla="*/ 214122 h 314325"/>
                <a:gd name="connsiteX213" fmla="*/ 184690 w 219075"/>
                <a:gd name="connsiteY213" fmla="*/ 215455 h 314325"/>
                <a:gd name="connsiteX214" fmla="*/ 184023 w 219075"/>
                <a:gd name="connsiteY214" fmla="*/ 216789 h 314325"/>
                <a:gd name="connsiteX215" fmla="*/ 184023 w 219075"/>
                <a:gd name="connsiteY215" fmla="*/ 217456 h 314325"/>
                <a:gd name="connsiteX216" fmla="*/ 181927 w 219075"/>
                <a:gd name="connsiteY216" fmla="*/ 220885 h 314325"/>
                <a:gd name="connsiteX217" fmla="*/ 180594 w 219075"/>
                <a:gd name="connsiteY217" fmla="*/ 220885 h 314325"/>
                <a:gd name="connsiteX218" fmla="*/ 177832 w 219075"/>
                <a:gd name="connsiteY218" fmla="*/ 224314 h 314325"/>
                <a:gd name="connsiteX219" fmla="*/ 177832 w 219075"/>
                <a:gd name="connsiteY219" fmla="*/ 224980 h 314325"/>
                <a:gd name="connsiteX220" fmla="*/ 176498 w 219075"/>
                <a:gd name="connsiteY220" fmla="*/ 227743 h 314325"/>
                <a:gd name="connsiteX221" fmla="*/ 175165 w 219075"/>
                <a:gd name="connsiteY221" fmla="*/ 229838 h 314325"/>
                <a:gd name="connsiteX222" fmla="*/ 175831 w 219075"/>
                <a:gd name="connsiteY222" fmla="*/ 231172 h 314325"/>
                <a:gd name="connsiteX223" fmla="*/ 175165 w 219075"/>
                <a:gd name="connsiteY223" fmla="*/ 231839 h 314325"/>
                <a:gd name="connsiteX224" fmla="*/ 173069 w 219075"/>
                <a:gd name="connsiteY224" fmla="*/ 233934 h 314325"/>
                <a:gd name="connsiteX225" fmla="*/ 172402 w 219075"/>
                <a:gd name="connsiteY225" fmla="*/ 234601 h 314325"/>
                <a:gd name="connsiteX226" fmla="*/ 172402 w 219075"/>
                <a:gd name="connsiteY226" fmla="*/ 235267 h 314325"/>
                <a:gd name="connsiteX227" fmla="*/ 166211 w 219075"/>
                <a:gd name="connsiteY227" fmla="*/ 235267 h 314325"/>
                <a:gd name="connsiteX228" fmla="*/ 164878 w 219075"/>
                <a:gd name="connsiteY228" fmla="*/ 235934 h 314325"/>
                <a:gd name="connsiteX229" fmla="*/ 164211 w 219075"/>
                <a:gd name="connsiteY229" fmla="*/ 239363 h 314325"/>
                <a:gd name="connsiteX230" fmla="*/ 163544 w 219075"/>
                <a:gd name="connsiteY230" fmla="*/ 239363 h 314325"/>
                <a:gd name="connsiteX231" fmla="*/ 160115 w 219075"/>
                <a:gd name="connsiteY231" fmla="*/ 242792 h 314325"/>
                <a:gd name="connsiteX232" fmla="*/ 155353 w 219075"/>
                <a:gd name="connsiteY232" fmla="*/ 246888 h 314325"/>
                <a:gd name="connsiteX233" fmla="*/ 152590 w 219075"/>
                <a:gd name="connsiteY233" fmla="*/ 248221 h 314325"/>
                <a:gd name="connsiteX234" fmla="*/ 151257 w 219075"/>
                <a:gd name="connsiteY234" fmla="*/ 249555 h 314325"/>
                <a:gd name="connsiteX235" fmla="*/ 151924 w 219075"/>
                <a:gd name="connsiteY235" fmla="*/ 250889 h 314325"/>
                <a:gd name="connsiteX236" fmla="*/ 151257 w 219075"/>
                <a:gd name="connsiteY236" fmla="*/ 252222 h 314325"/>
                <a:gd name="connsiteX237" fmla="*/ 148495 w 219075"/>
                <a:gd name="connsiteY237" fmla="*/ 253555 h 314325"/>
                <a:gd name="connsiteX238" fmla="*/ 147161 w 219075"/>
                <a:gd name="connsiteY238" fmla="*/ 255651 h 314325"/>
                <a:gd name="connsiteX239" fmla="*/ 146494 w 219075"/>
                <a:gd name="connsiteY239" fmla="*/ 257746 h 314325"/>
                <a:gd name="connsiteX240" fmla="*/ 145828 w 219075"/>
                <a:gd name="connsiteY240" fmla="*/ 258413 h 314325"/>
                <a:gd name="connsiteX241" fmla="*/ 143732 w 219075"/>
                <a:gd name="connsiteY241" fmla="*/ 259080 h 314325"/>
                <a:gd name="connsiteX242" fmla="*/ 140970 w 219075"/>
                <a:gd name="connsiteY242" fmla="*/ 260414 h 314325"/>
                <a:gd name="connsiteX243" fmla="*/ 140303 w 219075"/>
                <a:gd name="connsiteY243" fmla="*/ 260414 h 314325"/>
                <a:gd name="connsiteX244" fmla="*/ 139637 w 219075"/>
                <a:gd name="connsiteY244" fmla="*/ 261080 h 314325"/>
                <a:gd name="connsiteX245" fmla="*/ 139637 w 219075"/>
                <a:gd name="connsiteY245" fmla="*/ 261747 h 314325"/>
                <a:gd name="connsiteX246" fmla="*/ 137541 w 219075"/>
                <a:gd name="connsiteY246" fmla="*/ 265176 h 314325"/>
                <a:gd name="connsiteX247" fmla="*/ 135446 w 219075"/>
                <a:gd name="connsiteY247" fmla="*/ 267271 h 314325"/>
                <a:gd name="connsiteX248" fmla="*/ 135446 w 219075"/>
                <a:gd name="connsiteY248" fmla="*/ 267938 h 314325"/>
                <a:gd name="connsiteX249" fmla="*/ 134779 w 219075"/>
                <a:gd name="connsiteY249" fmla="*/ 268605 h 314325"/>
                <a:gd name="connsiteX250" fmla="*/ 132683 w 219075"/>
                <a:gd name="connsiteY250" fmla="*/ 268605 h 314325"/>
                <a:gd name="connsiteX251" fmla="*/ 127159 w 219075"/>
                <a:gd name="connsiteY251" fmla="*/ 274796 h 314325"/>
                <a:gd name="connsiteX252" fmla="*/ 125825 w 219075"/>
                <a:gd name="connsiteY252" fmla="*/ 275463 h 314325"/>
                <a:gd name="connsiteX253" fmla="*/ 127159 w 219075"/>
                <a:gd name="connsiteY253" fmla="*/ 276130 h 314325"/>
                <a:gd name="connsiteX254" fmla="*/ 128492 w 219075"/>
                <a:gd name="connsiteY254" fmla="*/ 277463 h 314325"/>
                <a:gd name="connsiteX255" fmla="*/ 128492 w 219075"/>
                <a:gd name="connsiteY255" fmla="*/ 278130 h 314325"/>
                <a:gd name="connsiteX256" fmla="*/ 129159 w 219075"/>
                <a:gd name="connsiteY256" fmla="*/ 283655 h 314325"/>
                <a:gd name="connsiteX257" fmla="*/ 129826 w 219075"/>
                <a:gd name="connsiteY257" fmla="*/ 284321 h 314325"/>
                <a:gd name="connsiteX258" fmla="*/ 131921 w 219075"/>
                <a:gd name="connsiteY258" fmla="*/ 283655 h 314325"/>
                <a:gd name="connsiteX259" fmla="*/ 134684 w 219075"/>
                <a:gd name="connsiteY259" fmla="*/ 283655 h 314325"/>
                <a:gd name="connsiteX260" fmla="*/ 132588 w 219075"/>
                <a:gd name="connsiteY260" fmla="*/ 286417 h 314325"/>
                <a:gd name="connsiteX261" fmla="*/ 131921 w 219075"/>
                <a:gd name="connsiteY261" fmla="*/ 287084 h 314325"/>
                <a:gd name="connsiteX262" fmla="*/ 129826 w 219075"/>
                <a:gd name="connsiteY262" fmla="*/ 287084 h 314325"/>
                <a:gd name="connsiteX263" fmla="*/ 125730 w 219075"/>
                <a:gd name="connsiteY263" fmla="*/ 291179 h 314325"/>
                <a:gd name="connsiteX264" fmla="*/ 122301 w 219075"/>
                <a:gd name="connsiteY264" fmla="*/ 293275 h 314325"/>
                <a:gd name="connsiteX265" fmla="*/ 118872 w 219075"/>
                <a:gd name="connsiteY265" fmla="*/ 296704 h 314325"/>
                <a:gd name="connsiteX266" fmla="*/ 117538 w 219075"/>
                <a:gd name="connsiteY266" fmla="*/ 297370 h 314325"/>
                <a:gd name="connsiteX267" fmla="*/ 114110 w 219075"/>
                <a:gd name="connsiteY267" fmla="*/ 300799 h 314325"/>
                <a:gd name="connsiteX268" fmla="*/ 110014 w 219075"/>
                <a:gd name="connsiteY268" fmla="*/ 302133 h 314325"/>
                <a:gd name="connsiteX269" fmla="*/ 106585 w 219075"/>
                <a:gd name="connsiteY269" fmla="*/ 305562 h 314325"/>
                <a:gd name="connsiteX270" fmla="*/ 105918 w 219075"/>
                <a:gd name="connsiteY270" fmla="*/ 305562 h 314325"/>
                <a:gd name="connsiteX271" fmla="*/ 103156 w 219075"/>
                <a:gd name="connsiteY271" fmla="*/ 306229 h 314325"/>
                <a:gd name="connsiteX272" fmla="*/ 102489 w 219075"/>
                <a:gd name="connsiteY272" fmla="*/ 306229 h 314325"/>
                <a:gd name="connsiteX273" fmla="*/ 99727 w 219075"/>
                <a:gd name="connsiteY273" fmla="*/ 307562 h 314325"/>
                <a:gd name="connsiteX274" fmla="*/ 96298 w 219075"/>
                <a:gd name="connsiteY274" fmla="*/ 308229 h 314325"/>
                <a:gd name="connsiteX275" fmla="*/ 94964 w 219075"/>
                <a:gd name="connsiteY275" fmla="*/ 308229 h 314325"/>
                <a:gd name="connsiteX276" fmla="*/ 91535 w 219075"/>
                <a:gd name="connsiteY276" fmla="*/ 308896 h 314325"/>
                <a:gd name="connsiteX277" fmla="*/ 90202 w 219075"/>
                <a:gd name="connsiteY277" fmla="*/ 310991 h 314325"/>
                <a:gd name="connsiteX278" fmla="*/ 87440 w 219075"/>
                <a:gd name="connsiteY278" fmla="*/ 311658 h 314325"/>
                <a:gd name="connsiteX279" fmla="*/ 86106 w 219075"/>
                <a:gd name="connsiteY279" fmla="*/ 312325 h 314325"/>
                <a:gd name="connsiteX280" fmla="*/ 85439 w 219075"/>
                <a:gd name="connsiteY280" fmla="*/ 312325 h 314325"/>
                <a:gd name="connsiteX281" fmla="*/ 83344 w 219075"/>
                <a:gd name="connsiteY281" fmla="*/ 312992 h 314325"/>
                <a:gd name="connsiteX282" fmla="*/ 77819 w 219075"/>
                <a:gd name="connsiteY282" fmla="*/ 312992 h 314325"/>
                <a:gd name="connsiteX283" fmla="*/ 76486 w 219075"/>
                <a:gd name="connsiteY283" fmla="*/ 314325 h 314325"/>
                <a:gd name="connsiteX284" fmla="*/ 75819 w 219075"/>
                <a:gd name="connsiteY284" fmla="*/ 314992 h 314325"/>
                <a:gd name="connsiteX285" fmla="*/ 72390 w 219075"/>
                <a:gd name="connsiteY285" fmla="*/ 312896 h 314325"/>
                <a:gd name="connsiteX286" fmla="*/ 69628 w 219075"/>
                <a:gd name="connsiteY286" fmla="*/ 312896 h 314325"/>
                <a:gd name="connsiteX287" fmla="*/ 65532 w 219075"/>
                <a:gd name="connsiteY287" fmla="*/ 310134 h 314325"/>
                <a:gd name="connsiteX288" fmla="*/ 62770 w 219075"/>
                <a:gd name="connsiteY288" fmla="*/ 312230 h 314325"/>
                <a:gd name="connsiteX289" fmla="*/ 62103 w 219075"/>
                <a:gd name="connsiteY289" fmla="*/ 312896 h 314325"/>
                <a:gd name="connsiteX290" fmla="*/ 59341 w 219075"/>
                <a:gd name="connsiteY290" fmla="*/ 313563 h 314325"/>
                <a:gd name="connsiteX291" fmla="*/ 56578 w 219075"/>
                <a:gd name="connsiteY291" fmla="*/ 312896 h 314325"/>
                <a:gd name="connsiteX292" fmla="*/ 55912 w 219075"/>
                <a:gd name="connsiteY292" fmla="*/ 311563 h 314325"/>
                <a:gd name="connsiteX293" fmla="*/ 54578 w 219075"/>
                <a:gd name="connsiteY293" fmla="*/ 312896 h 314325"/>
                <a:gd name="connsiteX294" fmla="*/ 54578 w 219075"/>
                <a:gd name="connsiteY294" fmla="*/ 313563 h 314325"/>
                <a:gd name="connsiteX295" fmla="*/ 44291 w 219075"/>
                <a:gd name="connsiteY295" fmla="*/ 313563 h 314325"/>
                <a:gd name="connsiteX296" fmla="*/ 43625 w 219075"/>
                <a:gd name="connsiteY296" fmla="*/ 312896 h 314325"/>
                <a:gd name="connsiteX297" fmla="*/ 40196 w 219075"/>
                <a:gd name="connsiteY297" fmla="*/ 310134 h 314325"/>
                <a:gd name="connsiteX298" fmla="*/ 36767 w 219075"/>
                <a:gd name="connsiteY298" fmla="*/ 310134 h 314325"/>
                <a:gd name="connsiteX299" fmla="*/ 34004 w 219075"/>
                <a:gd name="connsiteY299" fmla="*/ 309467 h 314325"/>
                <a:gd name="connsiteX300" fmla="*/ 29908 w 219075"/>
                <a:gd name="connsiteY300" fmla="*/ 308134 h 314325"/>
                <a:gd name="connsiteX301" fmla="*/ 29242 w 219075"/>
                <a:gd name="connsiteY301" fmla="*/ 308134 h 314325"/>
                <a:gd name="connsiteX302" fmla="*/ 27146 w 219075"/>
                <a:gd name="connsiteY302" fmla="*/ 307467 h 314325"/>
                <a:gd name="connsiteX303" fmla="*/ 24384 w 219075"/>
                <a:gd name="connsiteY303" fmla="*/ 307467 h 314325"/>
                <a:gd name="connsiteX304" fmla="*/ 21622 w 219075"/>
                <a:gd name="connsiteY304" fmla="*/ 304705 h 314325"/>
                <a:gd name="connsiteX305" fmla="*/ 18859 w 219075"/>
                <a:gd name="connsiteY305" fmla="*/ 304038 h 314325"/>
                <a:gd name="connsiteX306" fmla="*/ 17526 w 219075"/>
                <a:gd name="connsiteY306" fmla="*/ 304038 h 314325"/>
                <a:gd name="connsiteX307" fmla="*/ 16193 w 219075"/>
                <a:gd name="connsiteY307" fmla="*/ 300609 h 314325"/>
                <a:gd name="connsiteX308" fmla="*/ 14859 w 219075"/>
                <a:gd name="connsiteY308" fmla="*/ 299275 h 314325"/>
                <a:gd name="connsiteX309" fmla="*/ 10763 w 219075"/>
                <a:gd name="connsiteY309" fmla="*/ 296513 h 314325"/>
                <a:gd name="connsiteX310" fmla="*/ 10763 w 219075"/>
                <a:gd name="connsiteY310" fmla="*/ 295846 h 314325"/>
                <a:gd name="connsiteX311" fmla="*/ 9430 w 219075"/>
                <a:gd name="connsiteY311" fmla="*/ 294513 h 314325"/>
                <a:gd name="connsiteX312" fmla="*/ 8096 w 219075"/>
                <a:gd name="connsiteY312" fmla="*/ 292417 h 314325"/>
                <a:gd name="connsiteX313" fmla="*/ 7429 w 219075"/>
                <a:gd name="connsiteY313" fmla="*/ 292417 h 314325"/>
                <a:gd name="connsiteX314" fmla="*/ 7429 w 219075"/>
                <a:gd name="connsiteY314" fmla="*/ 291751 h 314325"/>
                <a:gd name="connsiteX315" fmla="*/ 6763 w 219075"/>
                <a:gd name="connsiteY315" fmla="*/ 289655 h 314325"/>
                <a:gd name="connsiteX316" fmla="*/ 6763 w 219075"/>
                <a:gd name="connsiteY316" fmla="*/ 288989 h 314325"/>
                <a:gd name="connsiteX317" fmla="*/ 4667 w 219075"/>
                <a:gd name="connsiteY317" fmla="*/ 286226 h 314325"/>
                <a:gd name="connsiteX318" fmla="*/ 4667 w 219075"/>
                <a:gd name="connsiteY318" fmla="*/ 284893 h 314325"/>
                <a:gd name="connsiteX319" fmla="*/ 4000 w 219075"/>
                <a:gd name="connsiteY319" fmla="*/ 282131 h 314325"/>
                <a:gd name="connsiteX320" fmla="*/ 4000 w 219075"/>
                <a:gd name="connsiteY320" fmla="*/ 281464 h 314325"/>
                <a:gd name="connsiteX321" fmla="*/ 3334 w 219075"/>
                <a:gd name="connsiteY321" fmla="*/ 279368 h 314325"/>
                <a:gd name="connsiteX322" fmla="*/ 3334 w 219075"/>
                <a:gd name="connsiteY322" fmla="*/ 278701 h 314325"/>
                <a:gd name="connsiteX323" fmla="*/ 2000 w 219075"/>
                <a:gd name="connsiteY323" fmla="*/ 278035 h 314325"/>
                <a:gd name="connsiteX324" fmla="*/ 2000 w 219075"/>
                <a:gd name="connsiteY324" fmla="*/ 276701 h 314325"/>
                <a:gd name="connsiteX325" fmla="*/ 2667 w 219075"/>
                <a:gd name="connsiteY325" fmla="*/ 273272 h 314325"/>
                <a:gd name="connsiteX326" fmla="*/ 2667 w 219075"/>
                <a:gd name="connsiteY326" fmla="*/ 271272 h 314325"/>
                <a:gd name="connsiteX327" fmla="*/ 1333 w 219075"/>
                <a:gd name="connsiteY327" fmla="*/ 267176 h 314325"/>
                <a:gd name="connsiteX328" fmla="*/ 667 w 219075"/>
                <a:gd name="connsiteY328" fmla="*/ 264414 h 314325"/>
                <a:gd name="connsiteX329" fmla="*/ 667 w 219075"/>
                <a:gd name="connsiteY329" fmla="*/ 256889 h 314325"/>
                <a:gd name="connsiteX330" fmla="*/ 1333 w 219075"/>
                <a:gd name="connsiteY330" fmla="*/ 256222 h 314325"/>
                <a:gd name="connsiteX331" fmla="*/ 0 w 219075"/>
                <a:gd name="connsiteY331" fmla="*/ 254889 h 314325"/>
                <a:gd name="connsiteX332" fmla="*/ 0 w 219075"/>
                <a:gd name="connsiteY332" fmla="*/ 253555 h 314325"/>
                <a:gd name="connsiteX333" fmla="*/ 1333 w 219075"/>
                <a:gd name="connsiteY333" fmla="*/ 252889 h 314325"/>
                <a:gd name="connsiteX334" fmla="*/ 2000 w 219075"/>
                <a:gd name="connsiteY334" fmla="*/ 252889 h 314325"/>
                <a:gd name="connsiteX335" fmla="*/ 1333 w 219075"/>
                <a:gd name="connsiteY335" fmla="*/ 249460 h 314325"/>
                <a:gd name="connsiteX336" fmla="*/ 667 w 219075"/>
                <a:gd name="connsiteY336" fmla="*/ 248793 h 314325"/>
                <a:gd name="connsiteX337" fmla="*/ 0 w 219075"/>
                <a:gd name="connsiteY337" fmla="*/ 246031 h 314325"/>
                <a:gd name="connsiteX338" fmla="*/ 667 w 219075"/>
                <a:gd name="connsiteY338" fmla="*/ 245364 h 314325"/>
                <a:gd name="connsiteX339" fmla="*/ 2000 w 219075"/>
                <a:gd name="connsiteY339" fmla="*/ 244030 h 314325"/>
                <a:gd name="connsiteX340" fmla="*/ 1333 w 219075"/>
                <a:gd name="connsiteY340" fmla="*/ 242697 h 314325"/>
                <a:gd name="connsiteX341" fmla="*/ 2667 w 219075"/>
                <a:gd name="connsiteY341" fmla="*/ 241364 h 314325"/>
                <a:gd name="connsiteX342" fmla="*/ 2667 w 219075"/>
                <a:gd name="connsiteY342" fmla="*/ 234505 h 314325"/>
                <a:gd name="connsiteX343" fmla="*/ 3334 w 219075"/>
                <a:gd name="connsiteY343" fmla="*/ 231076 h 314325"/>
                <a:gd name="connsiteX344" fmla="*/ 3334 w 219075"/>
                <a:gd name="connsiteY344" fmla="*/ 228314 h 314325"/>
                <a:gd name="connsiteX345" fmla="*/ 4000 w 219075"/>
                <a:gd name="connsiteY345" fmla="*/ 226981 h 314325"/>
                <a:gd name="connsiteX346" fmla="*/ 4667 w 219075"/>
                <a:gd name="connsiteY346" fmla="*/ 225647 h 314325"/>
                <a:gd name="connsiteX347" fmla="*/ 4000 w 219075"/>
                <a:gd name="connsiteY347" fmla="*/ 224980 h 314325"/>
                <a:gd name="connsiteX348" fmla="*/ 3334 w 219075"/>
                <a:gd name="connsiteY348" fmla="*/ 223647 h 314325"/>
                <a:gd name="connsiteX349" fmla="*/ 4667 w 219075"/>
                <a:gd name="connsiteY349" fmla="*/ 222314 h 314325"/>
                <a:gd name="connsiteX350" fmla="*/ 4667 w 219075"/>
                <a:gd name="connsiteY350" fmla="*/ 220218 h 314325"/>
                <a:gd name="connsiteX351" fmla="*/ 5334 w 219075"/>
                <a:gd name="connsiteY351" fmla="*/ 218122 h 314325"/>
                <a:gd name="connsiteX352" fmla="*/ 6001 w 219075"/>
                <a:gd name="connsiteY352" fmla="*/ 216789 h 314325"/>
                <a:gd name="connsiteX353" fmla="*/ 4667 w 219075"/>
                <a:gd name="connsiteY353" fmla="*/ 216122 h 314325"/>
                <a:gd name="connsiteX354" fmla="*/ 3334 w 219075"/>
                <a:gd name="connsiteY354" fmla="*/ 216122 h 314325"/>
                <a:gd name="connsiteX355" fmla="*/ 2667 w 219075"/>
                <a:gd name="connsiteY355" fmla="*/ 214789 h 314325"/>
                <a:gd name="connsiteX356" fmla="*/ 3334 w 219075"/>
                <a:gd name="connsiteY356" fmla="*/ 214122 h 314325"/>
                <a:gd name="connsiteX357" fmla="*/ 3334 w 219075"/>
                <a:gd name="connsiteY357" fmla="*/ 212789 h 314325"/>
                <a:gd name="connsiteX358" fmla="*/ 4000 w 219075"/>
                <a:gd name="connsiteY358" fmla="*/ 212122 h 314325"/>
                <a:gd name="connsiteX359" fmla="*/ 4667 w 219075"/>
                <a:gd name="connsiteY359" fmla="*/ 212789 h 314325"/>
                <a:gd name="connsiteX360" fmla="*/ 4667 w 219075"/>
                <a:gd name="connsiteY360" fmla="*/ 213455 h 314325"/>
                <a:gd name="connsiteX361" fmla="*/ 5334 w 219075"/>
                <a:gd name="connsiteY361" fmla="*/ 212789 h 314325"/>
                <a:gd name="connsiteX362" fmla="*/ 6001 w 219075"/>
                <a:gd name="connsiteY362" fmla="*/ 212122 h 314325"/>
                <a:gd name="connsiteX363" fmla="*/ 6668 w 219075"/>
                <a:gd name="connsiteY363" fmla="*/ 210788 h 314325"/>
                <a:gd name="connsiteX364" fmla="*/ 6001 w 219075"/>
                <a:gd name="connsiteY364" fmla="*/ 209455 h 314325"/>
                <a:gd name="connsiteX365" fmla="*/ 6001 w 219075"/>
                <a:gd name="connsiteY365" fmla="*/ 208788 h 314325"/>
                <a:gd name="connsiteX366" fmla="*/ 6668 w 219075"/>
                <a:gd name="connsiteY366" fmla="*/ 204025 h 314325"/>
                <a:gd name="connsiteX367" fmla="*/ 6001 w 219075"/>
                <a:gd name="connsiteY367" fmla="*/ 201263 h 314325"/>
                <a:gd name="connsiteX368" fmla="*/ 7334 w 219075"/>
                <a:gd name="connsiteY368" fmla="*/ 198501 h 314325"/>
                <a:gd name="connsiteX369" fmla="*/ 7334 w 219075"/>
                <a:gd name="connsiteY369" fmla="*/ 197834 h 314325"/>
                <a:gd name="connsiteX370" fmla="*/ 7334 w 219075"/>
                <a:gd name="connsiteY370" fmla="*/ 191643 h 314325"/>
                <a:gd name="connsiteX371" fmla="*/ 6668 w 219075"/>
                <a:gd name="connsiteY371" fmla="*/ 186880 h 314325"/>
                <a:gd name="connsiteX372" fmla="*/ 8001 w 219075"/>
                <a:gd name="connsiteY372" fmla="*/ 182785 h 314325"/>
                <a:gd name="connsiteX373" fmla="*/ 8001 w 219075"/>
                <a:gd name="connsiteY373" fmla="*/ 178022 h 314325"/>
                <a:gd name="connsiteX374" fmla="*/ 9334 w 219075"/>
                <a:gd name="connsiteY374" fmla="*/ 176689 h 314325"/>
                <a:gd name="connsiteX375" fmla="*/ 11430 w 219075"/>
                <a:gd name="connsiteY375" fmla="*/ 174593 h 314325"/>
                <a:gd name="connsiteX376" fmla="*/ 11430 w 219075"/>
                <a:gd name="connsiteY376" fmla="*/ 172498 h 314325"/>
                <a:gd name="connsiteX377" fmla="*/ 10097 w 219075"/>
                <a:gd name="connsiteY377" fmla="*/ 171831 h 314325"/>
                <a:gd name="connsiteX378" fmla="*/ 10763 w 219075"/>
                <a:gd name="connsiteY378" fmla="*/ 171164 h 314325"/>
                <a:gd name="connsiteX379" fmla="*/ 11430 w 219075"/>
                <a:gd name="connsiteY379" fmla="*/ 170497 h 314325"/>
                <a:gd name="connsiteX380" fmla="*/ 11430 w 219075"/>
                <a:gd name="connsiteY380" fmla="*/ 169831 h 314325"/>
                <a:gd name="connsiteX381" fmla="*/ 10097 w 219075"/>
                <a:gd name="connsiteY381" fmla="*/ 168497 h 314325"/>
                <a:gd name="connsiteX382" fmla="*/ 11430 w 219075"/>
                <a:gd name="connsiteY382" fmla="*/ 166402 h 314325"/>
                <a:gd name="connsiteX383" fmla="*/ 12097 w 219075"/>
                <a:gd name="connsiteY383" fmla="*/ 165735 h 314325"/>
                <a:gd name="connsiteX384" fmla="*/ 11430 w 219075"/>
                <a:gd name="connsiteY384" fmla="*/ 164401 h 314325"/>
                <a:gd name="connsiteX385" fmla="*/ 13525 w 219075"/>
                <a:gd name="connsiteY385" fmla="*/ 161639 h 314325"/>
                <a:gd name="connsiteX386" fmla="*/ 14192 w 219075"/>
                <a:gd name="connsiteY386" fmla="*/ 160972 h 314325"/>
                <a:gd name="connsiteX387" fmla="*/ 13525 w 219075"/>
                <a:gd name="connsiteY387" fmla="*/ 160972 h 314325"/>
                <a:gd name="connsiteX388" fmla="*/ 14192 w 219075"/>
                <a:gd name="connsiteY388" fmla="*/ 158210 h 314325"/>
                <a:gd name="connsiteX389" fmla="*/ 15526 w 219075"/>
                <a:gd name="connsiteY389" fmla="*/ 156877 h 314325"/>
                <a:gd name="connsiteX390" fmla="*/ 16193 w 219075"/>
                <a:gd name="connsiteY390" fmla="*/ 155543 h 314325"/>
                <a:gd name="connsiteX391" fmla="*/ 16193 w 219075"/>
                <a:gd name="connsiteY391" fmla="*/ 154876 h 314325"/>
                <a:gd name="connsiteX392" fmla="*/ 17526 w 219075"/>
                <a:gd name="connsiteY392" fmla="*/ 152781 h 314325"/>
                <a:gd name="connsiteX393" fmla="*/ 17526 w 219075"/>
                <a:gd name="connsiteY393" fmla="*/ 146494 h 314325"/>
                <a:gd name="connsiteX394" fmla="*/ 18859 w 219075"/>
                <a:gd name="connsiteY394" fmla="*/ 143732 h 314325"/>
                <a:gd name="connsiteX395" fmla="*/ 18859 w 219075"/>
                <a:gd name="connsiteY395" fmla="*/ 142399 h 314325"/>
                <a:gd name="connsiteX396" fmla="*/ 20193 w 219075"/>
                <a:gd name="connsiteY396" fmla="*/ 138303 h 314325"/>
                <a:gd name="connsiteX397" fmla="*/ 19526 w 219075"/>
                <a:gd name="connsiteY397" fmla="*/ 135541 h 314325"/>
                <a:gd name="connsiteX398" fmla="*/ 20860 w 219075"/>
                <a:gd name="connsiteY398" fmla="*/ 134207 h 314325"/>
                <a:gd name="connsiteX399" fmla="*/ 20860 w 219075"/>
                <a:gd name="connsiteY399" fmla="*/ 133541 h 314325"/>
                <a:gd name="connsiteX400" fmla="*/ 20193 w 219075"/>
                <a:gd name="connsiteY400" fmla="*/ 131445 h 314325"/>
                <a:gd name="connsiteX401" fmla="*/ 20193 w 219075"/>
                <a:gd name="connsiteY401" fmla="*/ 129349 h 314325"/>
                <a:gd name="connsiteX402" fmla="*/ 20860 w 219075"/>
                <a:gd name="connsiteY402" fmla="*/ 128683 h 314325"/>
                <a:gd name="connsiteX403" fmla="*/ 22955 w 219075"/>
                <a:gd name="connsiteY403" fmla="*/ 125920 h 314325"/>
                <a:gd name="connsiteX404" fmla="*/ 22289 w 219075"/>
                <a:gd name="connsiteY404" fmla="*/ 124587 h 314325"/>
                <a:gd name="connsiteX405" fmla="*/ 30480 w 219075"/>
                <a:gd name="connsiteY405" fmla="*/ 102679 h 314325"/>
                <a:gd name="connsiteX406" fmla="*/ 30480 w 219075"/>
                <a:gd name="connsiteY406" fmla="*/ 102013 h 314325"/>
                <a:gd name="connsiteX407" fmla="*/ 31814 w 219075"/>
                <a:gd name="connsiteY407" fmla="*/ 99250 h 314325"/>
                <a:gd name="connsiteX408" fmla="*/ 31814 w 219075"/>
                <a:gd name="connsiteY408" fmla="*/ 98584 h 314325"/>
                <a:gd name="connsiteX409" fmla="*/ 33909 w 219075"/>
                <a:gd name="connsiteY409" fmla="*/ 96488 h 314325"/>
                <a:gd name="connsiteX410" fmla="*/ 35243 w 219075"/>
                <a:gd name="connsiteY410" fmla="*/ 95821 h 314325"/>
                <a:gd name="connsiteX411" fmla="*/ 35243 w 219075"/>
                <a:gd name="connsiteY411" fmla="*/ 95059 h 314325"/>
                <a:gd name="connsiteX412" fmla="*/ 36576 w 219075"/>
                <a:gd name="connsiteY412" fmla="*/ 92297 h 314325"/>
                <a:gd name="connsiteX413" fmla="*/ 36576 w 219075"/>
                <a:gd name="connsiteY413" fmla="*/ 89535 h 314325"/>
                <a:gd name="connsiteX414" fmla="*/ 37243 w 219075"/>
                <a:gd name="connsiteY414" fmla="*/ 88868 h 314325"/>
                <a:gd name="connsiteX415" fmla="*/ 38576 w 219075"/>
                <a:gd name="connsiteY415" fmla="*/ 86773 h 314325"/>
                <a:gd name="connsiteX416" fmla="*/ 39910 w 219075"/>
                <a:gd name="connsiteY416" fmla="*/ 84011 h 314325"/>
                <a:gd name="connsiteX417" fmla="*/ 39910 w 219075"/>
                <a:gd name="connsiteY417" fmla="*/ 82677 h 314325"/>
                <a:gd name="connsiteX418" fmla="*/ 42005 w 219075"/>
                <a:gd name="connsiteY418" fmla="*/ 80581 h 314325"/>
                <a:gd name="connsiteX419" fmla="*/ 42005 w 219075"/>
                <a:gd name="connsiteY419" fmla="*/ 79915 h 314325"/>
                <a:gd name="connsiteX420" fmla="*/ 42672 w 219075"/>
                <a:gd name="connsiteY420" fmla="*/ 79248 h 314325"/>
                <a:gd name="connsiteX421" fmla="*/ 44768 w 219075"/>
                <a:gd name="connsiteY421" fmla="*/ 75819 h 314325"/>
                <a:gd name="connsiteX422" fmla="*/ 45434 w 219075"/>
                <a:gd name="connsiteY422" fmla="*/ 75819 h 314325"/>
                <a:gd name="connsiteX423" fmla="*/ 49530 w 219075"/>
                <a:gd name="connsiteY423" fmla="*/ 73723 h 314325"/>
                <a:gd name="connsiteX424" fmla="*/ 51625 w 219075"/>
                <a:gd name="connsiteY424" fmla="*/ 73723 h 314325"/>
                <a:gd name="connsiteX425" fmla="*/ 54388 w 219075"/>
                <a:gd name="connsiteY425" fmla="*/ 71628 h 314325"/>
                <a:gd name="connsiteX426" fmla="*/ 56483 w 219075"/>
                <a:gd name="connsiteY426" fmla="*/ 69532 h 314325"/>
                <a:gd name="connsiteX427" fmla="*/ 57150 w 219075"/>
                <a:gd name="connsiteY427" fmla="*/ 70199 h 314325"/>
                <a:gd name="connsiteX428" fmla="*/ 57817 w 219075"/>
                <a:gd name="connsiteY428" fmla="*/ 70199 h 314325"/>
                <a:gd name="connsiteX429" fmla="*/ 64008 w 219075"/>
                <a:gd name="connsiteY429" fmla="*/ 66770 h 314325"/>
                <a:gd name="connsiteX430" fmla="*/ 66104 w 219075"/>
                <a:gd name="connsiteY430" fmla="*/ 67437 h 314325"/>
                <a:gd name="connsiteX431" fmla="*/ 68199 w 219075"/>
                <a:gd name="connsiteY431" fmla="*/ 68770 h 314325"/>
                <a:gd name="connsiteX432" fmla="*/ 70961 w 219075"/>
                <a:gd name="connsiteY432" fmla="*/ 68770 h 314325"/>
                <a:gd name="connsiteX433" fmla="*/ 71628 w 219075"/>
                <a:gd name="connsiteY433" fmla="*/ 69437 h 314325"/>
                <a:gd name="connsiteX434" fmla="*/ 76390 w 219075"/>
                <a:gd name="connsiteY434" fmla="*/ 73533 h 314325"/>
                <a:gd name="connsiteX435" fmla="*/ 77057 w 219075"/>
                <a:gd name="connsiteY435" fmla="*/ 73533 h 314325"/>
                <a:gd name="connsiteX436" fmla="*/ 78391 w 219075"/>
                <a:gd name="connsiteY436" fmla="*/ 74200 h 314325"/>
                <a:gd name="connsiteX437" fmla="*/ 79724 w 219075"/>
                <a:gd name="connsiteY437" fmla="*/ 76295 h 314325"/>
                <a:gd name="connsiteX438" fmla="*/ 80391 w 219075"/>
                <a:gd name="connsiteY438" fmla="*/ 76962 h 314325"/>
                <a:gd name="connsiteX439" fmla="*/ 81058 w 219075"/>
                <a:gd name="connsiteY439" fmla="*/ 76295 h 314325"/>
                <a:gd name="connsiteX440" fmla="*/ 82391 w 219075"/>
                <a:gd name="connsiteY440" fmla="*/ 75628 h 314325"/>
                <a:gd name="connsiteX441" fmla="*/ 83058 w 219075"/>
                <a:gd name="connsiteY441" fmla="*/ 74962 h 314325"/>
                <a:gd name="connsiteX442" fmla="*/ 84392 w 219075"/>
                <a:gd name="connsiteY442" fmla="*/ 75628 h 314325"/>
                <a:gd name="connsiteX443" fmla="*/ 82296 w 219075"/>
                <a:gd name="connsiteY443" fmla="*/ 81153 h 314325"/>
                <a:gd name="connsiteX444" fmla="*/ 83629 w 219075"/>
                <a:gd name="connsiteY444" fmla="*/ 81820 h 314325"/>
                <a:gd name="connsiteX445" fmla="*/ 85725 w 219075"/>
                <a:gd name="connsiteY445" fmla="*/ 82487 h 314325"/>
                <a:gd name="connsiteX446" fmla="*/ 87058 w 219075"/>
                <a:gd name="connsiteY446" fmla="*/ 82487 h 314325"/>
                <a:gd name="connsiteX447" fmla="*/ 88392 w 219075"/>
                <a:gd name="connsiteY447" fmla="*/ 84582 h 314325"/>
                <a:gd name="connsiteX448" fmla="*/ 91154 w 219075"/>
                <a:gd name="connsiteY448" fmla="*/ 85916 h 314325"/>
                <a:gd name="connsiteX449" fmla="*/ 91821 w 219075"/>
                <a:gd name="connsiteY449" fmla="*/ 85916 h 314325"/>
                <a:gd name="connsiteX450" fmla="*/ 92488 w 219075"/>
                <a:gd name="connsiteY450" fmla="*/ 92107 h 314325"/>
                <a:gd name="connsiteX451" fmla="*/ 91821 w 219075"/>
                <a:gd name="connsiteY451" fmla="*/ 93440 h 314325"/>
                <a:gd name="connsiteX452" fmla="*/ 91154 w 219075"/>
                <a:gd name="connsiteY452" fmla="*/ 94774 h 314325"/>
                <a:gd name="connsiteX453" fmla="*/ 89821 w 219075"/>
                <a:gd name="connsiteY453" fmla="*/ 96107 h 314325"/>
                <a:gd name="connsiteX454" fmla="*/ 88487 w 219075"/>
                <a:gd name="connsiteY454" fmla="*/ 98203 h 314325"/>
                <a:gd name="connsiteX455" fmla="*/ 88487 w 219075"/>
                <a:gd name="connsiteY455" fmla="*/ 98869 h 314325"/>
                <a:gd name="connsiteX456" fmla="*/ 87821 w 219075"/>
                <a:gd name="connsiteY456" fmla="*/ 100965 h 314325"/>
                <a:gd name="connsiteX457" fmla="*/ 85725 w 219075"/>
                <a:gd name="connsiteY457" fmla="*/ 103061 h 314325"/>
                <a:gd name="connsiteX458" fmla="*/ 85725 w 219075"/>
                <a:gd name="connsiteY458" fmla="*/ 104394 h 314325"/>
                <a:gd name="connsiteX459" fmla="*/ 73342 w 219075"/>
                <a:gd name="connsiteY459" fmla="*/ 131826 h 314325"/>
                <a:gd name="connsiteX460" fmla="*/ 72676 w 219075"/>
                <a:gd name="connsiteY460" fmla="*/ 132493 h 314325"/>
                <a:gd name="connsiteX461" fmla="*/ 72676 w 219075"/>
                <a:gd name="connsiteY461" fmla="*/ 134588 h 314325"/>
                <a:gd name="connsiteX462" fmla="*/ 73247 w 219075"/>
                <a:gd name="connsiteY462" fmla="*/ 135445 h 314325"/>
                <a:gd name="connsiteX463" fmla="*/ 82201 w 219075"/>
                <a:gd name="connsiteY463" fmla="*/ 29146 h 314325"/>
                <a:gd name="connsiteX464" fmla="*/ 80105 w 219075"/>
                <a:gd name="connsiteY464" fmla="*/ 28480 h 314325"/>
                <a:gd name="connsiteX465" fmla="*/ 77343 w 219075"/>
                <a:gd name="connsiteY465" fmla="*/ 30575 h 314325"/>
                <a:gd name="connsiteX466" fmla="*/ 76676 w 219075"/>
                <a:gd name="connsiteY466" fmla="*/ 31242 h 314325"/>
                <a:gd name="connsiteX467" fmla="*/ 75343 w 219075"/>
                <a:gd name="connsiteY467" fmla="*/ 30575 h 314325"/>
                <a:gd name="connsiteX468" fmla="*/ 71914 w 219075"/>
                <a:gd name="connsiteY468" fmla="*/ 27813 h 314325"/>
                <a:gd name="connsiteX469" fmla="*/ 67151 w 219075"/>
                <a:gd name="connsiteY469" fmla="*/ 27813 h 314325"/>
                <a:gd name="connsiteX470" fmla="*/ 67818 w 219075"/>
                <a:gd name="connsiteY470" fmla="*/ 26479 h 314325"/>
                <a:gd name="connsiteX471" fmla="*/ 65723 w 219075"/>
                <a:gd name="connsiteY471" fmla="*/ 25146 h 314325"/>
                <a:gd name="connsiteX472" fmla="*/ 64389 w 219075"/>
                <a:gd name="connsiteY472" fmla="*/ 23813 h 314325"/>
                <a:gd name="connsiteX473" fmla="*/ 61627 w 219075"/>
                <a:gd name="connsiteY473" fmla="*/ 20383 h 314325"/>
                <a:gd name="connsiteX474" fmla="*/ 60960 w 219075"/>
                <a:gd name="connsiteY474" fmla="*/ 19717 h 314325"/>
                <a:gd name="connsiteX475" fmla="*/ 60960 w 219075"/>
                <a:gd name="connsiteY475" fmla="*/ 16954 h 314325"/>
                <a:gd name="connsiteX476" fmla="*/ 59626 w 219075"/>
                <a:gd name="connsiteY476" fmla="*/ 15621 h 314325"/>
                <a:gd name="connsiteX477" fmla="*/ 60293 w 219075"/>
                <a:gd name="connsiteY477" fmla="*/ 14288 h 314325"/>
                <a:gd name="connsiteX478" fmla="*/ 62389 w 219075"/>
                <a:gd name="connsiteY478" fmla="*/ 13621 h 314325"/>
                <a:gd name="connsiteX479" fmla="*/ 63055 w 219075"/>
                <a:gd name="connsiteY479" fmla="*/ 13621 h 314325"/>
                <a:gd name="connsiteX480" fmla="*/ 69913 w 219075"/>
                <a:gd name="connsiteY480" fmla="*/ 9525 h 314325"/>
                <a:gd name="connsiteX481" fmla="*/ 72009 w 219075"/>
                <a:gd name="connsiteY481" fmla="*/ 8192 h 314325"/>
                <a:gd name="connsiteX482" fmla="*/ 73342 w 219075"/>
                <a:gd name="connsiteY482" fmla="*/ 7525 h 314325"/>
                <a:gd name="connsiteX483" fmla="*/ 74676 w 219075"/>
                <a:gd name="connsiteY483" fmla="*/ 6191 h 314325"/>
                <a:gd name="connsiteX484" fmla="*/ 82201 w 219075"/>
                <a:gd name="connsiteY484" fmla="*/ 0 h 314325"/>
                <a:gd name="connsiteX485" fmla="*/ 84296 w 219075"/>
                <a:gd name="connsiteY485" fmla="*/ 667 h 314325"/>
                <a:gd name="connsiteX486" fmla="*/ 87725 w 219075"/>
                <a:gd name="connsiteY486" fmla="*/ 1333 h 314325"/>
                <a:gd name="connsiteX487" fmla="*/ 89059 w 219075"/>
                <a:gd name="connsiteY487" fmla="*/ 3429 h 314325"/>
                <a:gd name="connsiteX488" fmla="*/ 88392 w 219075"/>
                <a:gd name="connsiteY488" fmla="*/ 4763 h 314325"/>
                <a:gd name="connsiteX489" fmla="*/ 88392 w 219075"/>
                <a:gd name="connsiteY489" fmla="*/ 5429 h 314325"/>
                <a:gd name="connsiteX490" fmla="*/ 91821 w 219075"/>
                <a:gd name="connsiteY490" fmla="*/ 5429 h 314325"/>
                <a:gd name="connsiteX491" fmla="*/ 91154 w 219075"/>
                <a:gd name="connsiteY491" fmla="*/ 6763 h 314325"/>
                <a:gd name="connsiteX492" fmla="*/ 93250 w 219075"/>
                <a:gd name="connsiteY492" fmla="*/ 8858 h 314325"/>
                <a:gd name="connsiteX493" fmla="*/ 94583 w 219075"/>
                <a:gd name="connsiteY493" fmla="*/ 9525 h 314325"/>
                <a:gd name="connsiteX494" fmla="*/ 100108 w 219075"/>
                <a:gd name="connsiteY494" fmla="*/ 9525 h 314325"/>
                <a:gd name="connsiteX495" fmla="*/ 100775 w 219075"/>
                <a:gd name="connsiteY495" fmla="*/ 8192 h 314325"/>
                <a:gd name="connsiteX496" fmla="*/ 102870 w 219075"/>
                <a:gd name="connsiteY496" fmla="*/ 8192 h 314325"/>
                <a:gd name="connsiteX497" fmla="*/ 106299 w 219075"/>
                <a:gd name="connsiteY497" fmla="*/ 10954 h 314325"/>
                <a:gd name="connsiteX498" fmla="*/ 104204 w 219075"/>
                <a:gd name="connsiteY498" fmla="*/ 17145 h 314325"/>
                <a:gd name="connsiteX499" fmla="*/ 106966 w 219075"/>
                <a:gd name="connsiteY499" fmla="*/ 17812 h 314325"/>
                <a:gd name="connsiteX500" fmla="*/ 109728 w 219075"/>
                <a:gd name="connsiteY500" fmla="*/ 17812 h 314325"/>
                <a:gd name="connsiteX501" fmla="*/ 110395 w 219075"/>
                <a:gd name="connsiteY501" fmla="*/ 18478 h 314325"/>
                <a:gd name="connsiteX502" fmla="*/ 111728 w 219075"/>
                <a:gd name="connsiteY502" fmla="*/ 21241 h 314325"/>
                <a:gd name="connsiteX503" fmla="*/ 113062 w 219075"/>
                <a:gd name="connsiteY503" fmla="*/ 24670 h 314325"/>
                <a:gd name="connsiteX504" fmla="*/ 110966 w 219075"/>
                <a:gd name="connsiteY504" fmla="*/ 25336 h 314325"/>
                <a:gd name="connsiteX505" fmla="*/ 108871 w 219075"/>
                <a:gd name="connsiteY505" fmla="*/ 26670 h 314325"/>
                <a:gd name="connsiteX506" fmla="*/ 107537 w 219075"/>
                <a:gd name="connsiteY506" fmla="*/ 27337 h 314325"/>
                <a:gd name="connsiteX507" fmla="*/ 104775 w 219075"/>
                <a:gd name="connsiteY507" fmla="*/ 28003 h 314325"/>
                <a:gd name="connsiteX508" fmla="*/ 102013 w 219075"/>
                <a:gd name="connsiteY508" fmla="*/ 28003 h 314325"/>
                <a:gd name="connsiteX509" fmla="*/ 101346 w 219075"/>
                <a:gd name="connsiteY509" fmla="*/ 28670 h 314325"/>
                <a:gd name="connsiteX510" fmla="*/ 92392 w 219075"/>
                <a:gd name="connsiteY510" fmla="*/ 28670 h 314325"/>
                <a:gd name="connsiteX511" fmla="*/ 91059 w 219075"/>
                <a:gd name="connsiteY511" fmla="*/ 29337 h 314325"/>
                <a:gd name="connsiteX512" fmla="*/ 90392 w 219075"/>
                <a:gd name="connsiteY512" fmla="*/ 30004 h 314325"/>
                <a:gd name="connsiteX513" fmla="*/ 83534 w 219075"/>
                <a:gd name="connsiteY513" fmla="*/ 30004 h 314325"/>
                <a:gd name="connsiteX514" fmla="*/ 82201 w 219075"/>
                <a:gd name="connsiteY514" fmla="*/ 29146 h 314325"/>
                <a:gd name="connsiteX515" fmla="*/ 109633 w 219075"/>
                <a:gd name="connsiteY515" fmla="*/ 291846 h 314325"/>
                <a:gd name="connsiteX516" fmla="*/ 110966 w 219075"/>
                <a:gd name="connsiteY516" fmla="*/ 289750 h 314325"/>
                <a:gd name="connsiteX517" fmla="*/ 110966 w 219075"/>
                <a:gd name="connsiteY517" fmla="*/ 289084 h 314325"/>
                <a:gd name="connsiteX518" fmla="*/ 112300 w 219075"/>
                <a:gd name="connsiteY518" fmla="*/ 289084 h 314325"/>
                <a:gd name="connsiteX519" fmla="*/ 113633 w 219075"/>
                <a:gd name="connsiteY519" fmla="*/ 288417 h 314325"/>
                <a:gd name="connsiteX520" fmla="*/ 117729 w 219075"/>
                <a:gd name="connsiteY520" fmla="*/ 284988 h 314325"/>
                <a:gd name="connsiteX521" fmla="*/ 118396 w 219075"/>
                <a:gd name="connsiteY521" fmla="*/ 284321 h 314325"/>
                <a:gd name="connsiteX522" fmla="*/ 117729 w 219075"/>
                <a:gd name="connsiteY522" fmla="*/ 284321 h 314325"/>
                <a:gd name="connsiteX523" fmla="*/ 115633 w 219075"/>
                <a:gd name="connsiteY523" fmla="*/ 282988 h 314325"/>
                <a:gd name="connsiteX524" fmla="*/ 114967 w 219075"/>
                <a:gd name="connsiteY524" fmla="*/ 283655 h 314325"/>
                <a:gd name="connsiteX525" fmla="*/ 114967 w 219075"/>
                <a:gd name="connsiteY525" fmla="*/ 284321 h 314325"/>
                <a:gd name="connsiteX526" fmla="*/ 110204 w 219075"/>
                <a:gd name="connsiteY526" fmla="*/ 287750 h 314325"/>
                <a:gd name="connsiteX527" fmla="*/ 108109 w 219075"/>
                <a:gd name="connsiteY527" fmla="*/ 287750 h 314325"/>
                <a:gd name="connsiteX528" fmla="*/ 107442 w 219075"/>
                <a:gd name="connsiteY528" fmla="*/ 290513 h 314325"/>
                <a:gd name="connsiteX529" fmla="*/ 106775 w 219075"/>
                <a:gd name="connsiteY529" fmla="*/ 291179 h 314325"/>
                <a:gd name="connsiteX530" fmla="*/ 108109 w 219075"/>
                <a:gd name="connsiteY530" fmla="*/ 291846 h 314325"/>
                <a:gd name="connsiteX531" fmla="*/ 109633 w 219075"/>
                <a:gd name="connsiteY531" fmla="*/ 291846 h 314325"/>
                <a:gd name="connsiteX532" fmla="*/ 130207 w 219075"/>
                <a:gd name="connsiteY532" fmla="*/ 276796 h 314325"/>
                <a:gd name="connsiteX533" fmla="*/ 131540 w 219075"/>
                <a:gd name="connsiteY533" fmla="*/ 276796 h 314325"/>
                <a:gd name="connsiteX534" fmla="*/ 131540 w 219075"/>
                <a:gd name="connsiteY534" fmla="*/ 277463 h 314325"/>
                <a:gd name="connsiteX535" fmla="*/ 132207 w 219075"/>
                <a:gd name="connsiteY535" fmla="*/ 277463 h 314325"/>
                <a:gd name="connsiteX536" fmla="*/ 134302 w 219075"/>
                <a:gd name="connsiteY536" fmla="*/ 278797 h 314325"/>
                <a:gd name="connsiteX537" fmla="*/ 134969 w 219075"/>
                <a:gd name="connsiteY537" fmla="*/ 279464 h 314325"/>
                <a:gd name="connsiteX538" fmla="*/ 134969 w 219075"/>
                <a:gd name="connsiteY538" fmla="*/ 280797 h 314325"/>
                <a:gd name="connsiteX539" fmla="*/ 132874 w 219075"/>
                <a:gd name="connsiteY539" fmla="*/ 281464 h 314325"/>
                <a:gd name="connsiteX540" fmla="*/ 132207 w 219075"/>
                <a:gd name="connsiteY540" fmla="*/ 280130 h 314325"/>
                <a:gd name="connsiteX541" fmla="*/ 130873 w 219075"/>
                <a:gd name="connsiteY541" fmla="*/ 279464 h 314325"/>
                <a:gd name="connsiteX542" fmla="*/ 131540 w 219075"/>
                <a:gd name="connsiteY542" fmla="*/ 278130 h 314325"/>
                <a:gd name="connsiteX543" fmla="*/ 131540 w 219075"/>
                <a:gd name="connsiteY543" fmla="*/ 277463 h 314325"/>
                <a:gd name="connsiteX544" fmla="*/ 130207 w 219075"/>
                <a:gd name="connsiteY544" fmla="*/ 277463 h 314325"/>
                <a:gd name="connsiteX545" fmla="*/ 130207 w 219075"/>
                <a:gd name="connsiteY545" fmla="*/ 276796 h 314325"/>
                <a:gd name="connsiteX546" fmla="*/ 134302 w 219075"/>
                <a:gd name="connsiteY546" fmla="*/ 275368 h 314325"/>
                <a:gd name="connsiteX547" fmla="*/ 133636 w 219075"/>
                <a:gd name="connsiteY547" fmla="*/ 274701 h 314325"/>
                <a:gd name="connsiteX548" fmla="*/ 134302 w 219075"/>
                <a:gd name="connsiteY548" fmla="*/ 274034 h 314325"/>
                <a:gd name="connsiteX549" fmla="*/ 135636 w 219075"/>
                <a:gd name="connsiteY549" fmla="*/ 274701 h 314325"/>
                <a:gd name="connsiteX550" fmla="*/ 134302 w 219075"/>
                <a:gd name="connsiteY550" fmla="*/ 275368 h 314325"/>
                <a:gd name="connsiteX551" fmla="*/ 136398 w 219075"/>
                <a:gd name="connsiteY551" fmla="*/ 283655 h 314325"/>
                <a:gd name="connsiteX552" fmla="*/ 135731 w 219075"/>
                <a:gd name="connsiteY552" fmla="*/ 282988 h 314325"/>
                <a:gd name="connsiteX553" fmla="*/ 137065 w 219075"/>
                <a:gd name="connsiteY553" fmla="*/ 281654 h 314325"/>
                <a:gd name="connsiteX554" fmla="*/ 137731 w 219075"/>
                <a:gd name="connsiteY554" fmla="*/ 281654 h 314325"/>
                <a:gd name="connsiteX555" fmla="*/ 137731 w 219075"/>
                <a:gd name="connsiteY555" fmla="*/ 282321 h 314325"/>
                <a:gd name="connsiteX556" fmla="*/ 138398 w 219075"/>
                <a:gd name="connsiteY556" fmla="*/ 283655 h 314325"/>
                <a:gd name="connsiteX557" fmla="*/ 137065 w 219075"/>
                <a:gd name="connsiteY557" fmla="*/ 284321 h 314325"/>
                <a:gd name="connsiteX558" fmla="*/ 136398 w 219075"/>
                <a:gd name="connsiteY558" fmla="*/ 283655 h 314325"/>
                <a:gd name="connsiteX559" fmla="*/ 138398 w 219075"/>
                <a:gd name="connsiteY559" fmla="*/ 277463 h 314325"/>
                <a:gd name="connsiteX560" fmla="*/ 138398 w 219075"/>
                <a:gd name="connsiteY560" fmla="*/ 272701 h 314325"/>
                <a:gd name="connsiteX561" fmla="*/ 139065 w 219075"/>
                <a:gd name="connsiteY561" fmla="*/ 272701 h 314325"/>
                <a:gd name="connsiteX562" fmla="*/ 143827 w 219075"/>
                <a:gd name="connsiteY562" fmla="*/ 266510 h 314325"/>
                <a:gd name="connsiteX563" fmla="*/ 145161 w 219075"/>
                <a:gd name="connsiteY563" fmla="*/ 266510 h 314325"/>
                <a:gd name="connsiteX564" fmla="*/ 146494 w 219075"/>
                <a:gd name="connsiteY564" fmla="*/ 268605 h 314325"/>
                <a:gd name="connsiteX565" fmla="*/ 142399 w 219075"/>
                <a:gd name="connsiteY565" fmla="*/ 272701 h 314325"/>
                <a:gd name="connsiteX566" fmla="*/ 141065 w 219075"/>
                <a:gd name="connsiteY566" fmla="*/ 274796 h 314325"/>
                <a:gd name="connsiteX567" fmla="*/ 141065 w 219075"/>
                <a:gd name="connsiteY567" fmla="*/ 277559 h 314325"/>
                <a:gd name="connsiteX568" fmla="*/ 138970 w 219075"/>
                <a:gd name="connsiteY568" fmla="*/ 280321 h 314325"/>
                <a:gd name="connsiteX569" fmla="*/ 138303 w 219075"/>
                <a:gd name="connsiteY569" fmla="*/ 280321 h 314325"/>
                <a:gd name="connsiteX570" fmla="*/ 136969 w 219075"/>
                <a:gd name="connsiteY570" fmla="*/ 278987 h 314325"/>
                <a:gd name="connsiteX571" fmla="*/ 138398 w 219075"/>
                <a:gd name="connsiteY571" fmla="*/ 277463 h 314325"/>
                <a:gd name="connsiteX572" fmla="*/ 149447 w 219075"/>
                <a:gd name="connsiteY572" fmla="*/ 258890 h 314325"/>
                <a:gd name="connsiteX573" fmla="*/ 149447 w 219075"/>
                <a:gd name="connsiteY573" fmla="*/ 258223 h 314325"/>
                <a:gd name="connsiteX574" fmla="*/ 152210 w 219075"/>
                <a:gd name="connsiteY574" fmla="*/ 258223 h 314325"/>
                <a:gd name="connsiteX575" fmla="*/ 155638 w 219075"/>
                <a:gd name="connsiteY575" fmla="*/ 257556 h 314325"/>
                <a:gd name="connsiteX576" fmla="*/ 156972 w 219075"/>
                <a:gd name="connsiteY576" fmla="*/ 256222 h 314325"/>
                <a:gd name="connsiteX577" fmla="*/ 158306 w 219075"/>
                <a:gd name="connsiteY577" fmla="*/ 255556 h 314325"/>
                <a:gd name="connsiteX578" fmla="*/ 160401 w 219075"/>
                <a:gd name="connsiteY578" fmla="*/ 253460 h 314325"/>
                <a:gd name="connsiteX579" fmla="*/ 161735 w 219075"/>
                <a:gd name="connsiteY579" fmla="*/ 252127 h 314325"/>
                <a:gd name="connsiteX580" fmla="*/ 161735 w 219075"/>
                <a:gd name="connsiteY580" fmla="*/ 250793 h 314325"/>
                <a:gd name="connsiteX581" fmla="*/ 162401 w 219075"/>
                <a:gd name="connsiteY581" fmla="*/ 249460 h 314325"/>
                <a:gd name="connsiteX582" fmla="*/ 163735 w 219075"/>
                <a:gd name="connsiteY582" fmla="*/ 249460 h 314325"/>
                <a:gd name="connsiteX583" fmla="*/ 163735 w 219075"/>
                <a:gd name="connsiteY583" fmla="*/ 250126 h 314325"/>
                <a:gd name="connsiteX584" fmla="*/ 163735 w 219075"/>
                <a:gd name="connsiteY584" fmla="*/ 250793 h 314325"/>
                <a:gd name="connsiteX585" fmla="*/ 165830 w 219075"/>
                <a:gd name="connsiteY585" fmla="*/ 252127 h 314325"/>
                <a:gd name="connsiteX586" fmla="*/ 165830 w 219075"/>
                <a:gd name="connsiteY586" fmla="*/ 253460 h 314325"/>
                <a:gd name="connsiteX587" fmla="*/ 166497 w 219075"/>
                <a:gd name="connsiteY587" fmla="*/ 254794 h 314325"/>
                <a:gd name="connsiteX588" fmla="*/ 166497 w 219075"/>
                <a:gd name="connsiteY588" fmla="*/ 255461 h 314325"/>
                <a:gd name="connsiteX589" fmla="*/ 162401 w 219075"/>
                <a:gd name="connsiteY589" fmla="*/ 258890 h 314325"/>
                <a:gd name="connsiteX590" fmla="*/ 161735 w 219075"/>
                <a:gd name="connsiteY590" fmla="*/ 259556 h 314325"/>
                <a:gd name="connsiteX591" fmla="*/ 158972 w 219075"/>
                <a:gd name="connsiteY591" fmla="*/ 259556 h 314325"/>
                <a:gd name="connsiteX592" fmla="*/ 157639 w 219075"/>
                <a:gd name="connsiteY592" fmla="*/ 260223 h 314325"/>
                <a:gd name="connsiteX593" fmla="*/ 158972 w 219075"/>
                <a:gd name="connsiteY593" fmla="*/ 260890 h 314325"/>
                <a:gd name="connsiteX594" fmla="*/ 159639 w 219075"/>
                <a:gd name="connsiteY594" fmla="*/ 261556 h 314325"/>
                <a:gd name="connsiteX595" fmla="*/ 160306 w 219075"/>
                <a:gd name="connsiteY595" fmla="*/ 261556 h 314325"/>
                <a:gd name="connsiteX596" fmla="*/ 159639 w 219075"/>
                <a:gd name="connsiteY596" fmla="*/ 262890 h 314325"/>
                <a:gd name="connsiteX597" fmla="*/ 156877 w 219075"/>
                <a:gd name="connsiteY597" fmla="*/ 264223 h 314325"/>
                <a:gd name="connsiteX598" fmla="*/ 156210 w 219075"/>
                <a:gd name="connsiteY598" fmla="*/ 264223 h 314325"/>
                <a:gd name="connsiteX599" fmla="*/ 154115 w 219075"/>
                <a:gd name="connsiteY599" fmla="*/ 263557 h 314325"/>
                <a:gd name="connsiteX600" fmla="*/ 154115 w 219075"/>
                <a:gd name="connsiteY600" fmla="*/ 260794 h 314325"/>
                <a:gd name="connsiteX601" fmla="*/ 153448 w 219075"/>
                <a:gd name="connsiteY601" fmla="*/ 261461 h 314325"/>
                <a:gd name="connsiteX602" fmla="*/ 151352 w 219075"/>
                <a:gd name="connsiteY602" fmla="*/ 264223 h 314325"/>
                <a:gd name="connsiteX603" fmla="*/ 149257 w 219075"/>
                <a:gd name="connsiteY603" fmla="*/ 264223 h 314325"/>
                <a:gd name="connsiteX604" fmla="*/ 148590 w 219075"/>
                <a:gd name="connsiteY604" fmla="*/ 261461 h 314325"/>
                <a:gd name="connsiteX605" fmla="*/ 149447 w 219075"/>
                <a:gd name="connsiteY605" fmla="*/ 258890 h 314325"/>
                <a:gd name="connsiteX606" fmla="*/ 154210 w 219075"/>
                <a:gd name="connsiteY606" fmla="*/ 254794 h 314325"/>
                <a:gd name="connsiteX607" fmla="*/ 154877 w 219075"/>
                <a:gd name="connsiteY607" fmla="*/ 254127 h 314325"/>
                <a:gd name="connsiteX608" fmla="*/ 155543 w 219075"/>
                <a:gd name="connsiteY608" fmla="*/ 254794 h 314325"/>
                <a:gd name="connsiteX609" fmla="*/ 155543 w 219075"/>
                <a:gd name="connsiteY609" fmla="*/ 256127 h 314325"/>
                <a:gd name="connsiteX610" fmla="*/ 154877 w 219075"/>
                <a:gd name="connsiteY610" fmla="*/ 256127 h 314325"/>
                <a:gd name="connsiteX611" fmla="*/ 154210 w 219075"/>
                <a:gd name="connsiteY611" fmla="*/ 254794 h 314325"/>
                <a:gd name="connsiteX612" fmla="*/ 177546 w 219075"/>
                <a:gd name="connsiteY612" fmla="*/ 241078 h 314325"/>
                <a:gd name="connsiteX613" fmla="*/ 176879 w 219075"/>
                <a:gd name="connsiteY613" fmla="*/ 242411 h 314325"/>
                <a:gd name="connsiteX614" fmla="*/ 176879 w 219075"/>
                <a:gd name="connsiteY614" fmla="*/ 243078 h 314325"/>
                <a:gd name="connsiteX615" fmla="*/ 176213 w 219075"/>
                <a:gd name="connsiteY615" fmla="*/ 243078 h 314325"/>
                <a:gd name="connsiteX616" fmla="*/ 174879 w 219075"/>
                <a:gd name="connsiteY616" fmla="*/ 240983 h 314325"/>
                <a:gd name="connsiteX617" fmla="*/ 174212 w 219075"/>
                <a:gd name="connsiteY617" fmla="*/ 240316 h 314325"/>
                <a:gd name="connsiteX618" fmla="*/ 174879 w 219075"/>
                <a:gd name="connsiteY618" fmla="*/ 239649 h 314325"/>
                <a:gd name="connsiteX619" fmla="*/ 176975 w 219075"/>
                <a:gd name="connsiteY619" fmla="*/ 237553 h 314325"/>
                <a:gd name="connsiteX620" fmla="*/ 178308 w 219075"/>
                <a:gd name="connsiteY620" fmla="*/ 237553 h 314325"/>
                <a:gd name="connsiteX621" fmla="*/ 178975 w 219075"/>
                <a:gd name="connsiteY621" fmla="*/ 238220 h 314325"/>
                <a:gd name="connsiteX622" fmla="*/ 178975 w 219075"/>
                <a:gd name="connsiteY622" fmla="*/ 238887 h 314325"/>
                <a:gd name="connsiteX623" fmla="*/ 178308 w 219075"/>
                <a:gd name="connsiteY623" fmla="*/ 239554 h 314325"/>
                <a:gd name="connsiteX624" fmla="*/ 177546 w 219075"/>
                <a:gd name="connsiteY624" fmla="*/ 241078 h 314325"/>
                <a:gd name="connsiteX625" fmla="*/ 180975 w 219075"/>
                <a:gd name="connsiteY625" fmla="*/ 209550 h 314325"/>
                <a:gd name="connsiteX626" fmla="*/ 181642 w 219075"/>
                <a:gd name="connsiteY626" fmla="*/ 210884 h 314325"/>
                <a:gd name="connsiteX627" fmla="*/ 181642 w 219075"/>
                <a:gd name="connsiteY627" fmla="*/ 209550 h 314325"/>
                <a:gd name="connsiteX628" fmla="*/ 180975 w 219075"/>
                <a:gd name="connsiteY628" fmla="*/ 209550 h 314325"/>
                <a:gd name="connsiteX629" fmla="*/ 189167 w 219075"/>
                <a:gd name="connsiteY629" fmla="*/ 204025 h 314325"/>
                <a:gd name="connsiteX630" fmla="*/ 189833 w 219075"/>
                <a:gd name="connsiteY630" fmla="*/ 204692 h 314325"/>
                <a:gd name="connsiteX631" fmla="*/ 190500 w 219075"/>
                <a:gd name="connsiteY631" fmla="*/ 203359 h 314325"/>
                <a:gd name="connsiteX632" fmla="*/ 189833 w 219075"/>
                <a:gd name="connsiteY632" fmla="*/ 202692 h 314325"/>
                <a:gd name="connsiteX633" fmla="*/ 189167 w 219075"/>
                <a:gd name="connsiteY633" fmla="*/ 204025 h 314325"/>
                <a:gd name="connsiteX634" fmla="*/ 204978 w 219075"/>
                <a:gd name="connsiteY634" fmla="*/ 179356 h 314325"/>
                <a:gd name="connsiteX635" fmla="*/ 204311 w 219075"/>
                <a:gd name="connsiteY635" fmla="*/ 180689 h 314325"/>
                <a:gd name="connsiteX636" fmla="*/ 204311 w 219075"/>
                <a:gd name="connsiteY636" fmla="*/ 180022 h 314325"/>
                <a:gd name="connsiteX637" fmla="*/ 203644 w 219075"/>
                <a:gd name="connsiteY637" fmla="*/ 180689 h 314325"/>
                <a:gd name="connsiteX638" fmla="*/ 202978 w 219075"/>
                <a:gd name="connsiteY638" fmla="*/ 181356 h 314325"/>
                <a:gd name="connsiteX639" fmla="*/ 202311 w 219075"/>
                <a:gd name="connsiteY639" fmla="*/ 181356 h 314325"/>
                <a:gd name="connsiteX640" fmla="*/ 201644 w 219075"/>
                <a:gd name="connsiteY640" fmla="*/ 182023 h 314325"/>
                <a:gd name="connsiteX641" fmla="*/ 202311 w 219075"/>
                <a:gd name="connsiteY641" fmla="*/ 182023 h 314325"/>
                <a:gd name="connsiteX642" fmla="*/ 200977 w 219075"/>
                <a:gd name="connsiteY642" fmla="*/ 182690 h 314325"/>
                <a:gd name="connsiteX643" fmla="*/ 198882 w 219075"/>
                <a:gd name="connsiteY643" fmla="*/ 183356 h 314325"/>
                <a:gd name="connsiteX644" fmla="*/ 194786 w 219075"/>
                <a:gd name="connsiteY644" fmla="*/ 185452 h 314325"/>
                <a:gd name="connsiteX645" fmla="*/ 195453 w 219075"/>
                <a:gd name="connsiteY645" fmla="*/ 185452 h 314325"/>
                <a:gd name="connsiteX646" fmla="*/ 198882 w 219075"/>
                <a:gd name="connsiteY646" fmla="*/ 184118 h 314325"/>
                <a:gd name="connsiteX647" fmla="*/ 195453 w 219075"/>
                <a:gd name="connsiteY647" fmla="*/ 188214 h 314325"/>
                <a:gd name="connsiteX648" fmla="*/ 196120 w 219075"/>
                <a:gd name="connsiteY648" fmla="*/ 188214 h 314325"/>
                <a:gd name="connsiteX649" fmla="*/ 196787 w 219075"/>
                <a:gd name="connsiteY649" fmla="*/ 188881 h 314325"/>
                <a:gd name="connsiteX650" fmla="*/ 197453 w 219075"/>
                <a:gd name="connsiteY650" fmla="*/ 188214 h 314325"/>
                <a:gd name="connsiteX651" fmla="*/ 200882 w 219075"/>
                <a:gd name="connsiteY651" fmla="*/ 186880 h 314325"/>
                <a:gd name="connsiteX652" fmla="*/ 202216 w 219075"/>
                <a:gd name="connsiteY652" fmla="*/ 186880 h 314325"/>
                <a:gd name="connsiteX653" fmla="*/ 202216 w 219075"/>
                <a:gd name="connsiteY653" fmla="*/ 185547 h 314325"/>
                <a:gd name="connsiteX654" fmla="*/ 203549 w 219075"/>
                <a:gd name="connsiteY654" fmla="*/ 184214 h 314325"/>
                <a:gd name="connsiteX655" fmla="*/ 204216 w 219075"/>
                <a:gd name="connsiteY655" fmla="*/ 183547 h 314325"/>
                <a:gd name="connsiteX656" fmla="*/ 204216 w 219075"/>
                <a:gd name="connsiteY656" fmla="*/ 180785 h 314325"/>
                <a:gd name="connsiteX657" fmla="*/ 204978 w 219075"/>
                <a:gd name="connsiteY657" fmla="*/ 179356 h 314325"/>
                <a:gd name="connsiteX658" fmla="*/ 200215 w 219075"/>
                <a:gd name="connsiteY658" fmla="*/ 202025 h 314325"/>
                <a:gd name="connsiteX659" fmla="*/ 198882 w 219075"/>
                <a:gd name="connsiteY659" fmla="*/ 202025 h 314325"/>
                <a:gd name="connsiteX660" fmla="*/ 199549 w 219075"/>
                <a:gd name="connsiteY660" fmla="*/ 201359 h 314325"/>
                <a:gd name="connsiteX661" fmla="*/ 200215 w 219075"/>
                <a:gd name="connsiteY661" fmla="*/ 202025 h 314325"/>
                <a:gd name="connsiteX662" fmla="*/ 205645 w 219075"/>
                <a:gd name="connsiteY662" fmla="*/ 162877 h 314325"/>
                <a:gd name="connsiteX663" fmla="*/ 205645 w 219075"/>
                <a:gd name="connsiteY663" fmla="*/ 164211 h 314325"/>
                <a:gd name="connsiteX664" fmla="*/ 206978 w 219075"/>
                <a:gd name="connsiteY664" fmla="*/ 164878 h 314325"/>
                <a:gd name="connsiteX665" fmla="*/ 206978 w 219075"/>
                <a:gd name="connsiteY665" fmla="*/ 162116 h 314325"/>
                <a:gd name="connsiteX666" fmla="*/ 205645 w 219075"/>
                <a:gd name="connsiteY666" fmla="*/ 162877 h 314325"/>
                <a:gd name="connsiteX667" fmla="*/ 211836 w 219075"/>
                <a:gd name="connsiteY667" fmla="*/ 177355 h 314325"/>
                <a:gd name="connsiteX668" fmla="*/ 211169 w 219075"/>
                <a:gd name="connsiteY668" fmla="*/ 177355 h 314325"/>
                <a:gd name="connsiteX669" fmla="*/ 211169 w 219075"/>
                <a:gd name="connsiteY669" fmla="*/ 176689 h 314325"/>
                <a:gd name="connsiteX670" fmla="*/ 212503 w 219075"/>
                <a:gd name="connsiteY670" fmla="*/ 176022 h 314325"/>
                <a:gd name="connsiteX671" fmla="*/ 212503 w 219075"/>
                <a:gd name="connsiteY671" fmla="*/ 176689 h 314325"/>
                <a:gd name="connsiteX672" fmla="*/ 211836 w 219075"/>
                <a:gd name="connsiteY672" fmla="*/ 177355 h 314325"/>
                <a:gd name="connsiteX673" fmla="*/ 212503 w 219075"/>
                <a:gd name="connsiteY673" fmla="*/ 161544 h 314325"/>
                <a:gd name="connsiteX674" fmla="*/ 213836 w 219075"/>
                <a:gd name="connsiteY674" fmla="*/ 160211 h 314325"/>
                <a:gd name="connsiteX675" fmla="*/ 213169 w 219075"/>
                <a:gd name="connsiteY675" fmla="*/ 160211 h 314325"/>
                <a:gd name="connsiteX676" fmla="*/ 211836 w 219075"/>
                <a:gd name="connsiteY676" fmla="*/ 160877 h 314325"/>
                <a:gd name="connsiteX677" fmla="*/ 212503 w 219075"/>
                <a:gd name="connsiteY677" fmla="*/ 161544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</a:cxnLst>
              <a:rect l="l" t="t" r="r" b="b"/>
              <a:pathLst>
                <a:path w="219075" h="314325">
                  <a:moveTo>
                    <a:pt x="73247" y="135445"/>
                  </a:moveTo>
                  <a:cubicBezTo>
                    <a:pt x="73247" y="136112"/>
                    <a:pt x="72581" y="136779"/>
                    <a:pt x="72581" y="136779"/>
                  </a:cubicBezTo>
                  <a:cubicBezTo>
                    <a:pt x="71914" y="137446"/>
                    <a:pt x="71914" y="137446"/>
                    <a:pt x="71914" y="138113"/>
                  </a:cubicBezTo>
                  <a:lnTo>
                    <a:pt x="71914" y="139446"/>
                  </a:lnTo>
                  <a:cubicBezTo>
                    <a:pt x="71914" y="139446"/>
                    <a:pt x="71247" y="139446"/>
                    <a:pt x="71247" y="140113"/>
                  </a:cubicBezTo>
                  <a:lnTo>
                    <a:pt x="71247" y="141446"/>
                  </a:lnTo>
                  <a:cubicBezTo>
                    <a:pt x="71247" y="143542"/>
                    <a:pt x="70580" y="145542"/>
                    <a:pt x="70580" y="146971"/>
                  </a:cubicBezTo>
                  <a:lnTo>
                    <a:pt x="70580" y="147638"/>
                  </a:lnTo>
                  <a:cubicBezTo>
                    <a:pt x="70580" y="148304"/>
                    <a:pt x="69913" y="148304"/>
                    <a:pt x="69247" y="148971"/>
                  </a:cubicBezTo>
                  <a:lnTo>
                    <a:pt x="69247" y="152400"/>
                  </a:lnTo>
                  <a:lnTo>
                    <a:pt x="68580" y="153067"/>
                  </a:lnTo>
                  <a:lnTo>
                    <a:pt x="68580" y="155162"/>
                  </a:lnTo>
                  <a:cubicBezTo>
                    <a:pt x="68580" y="155829"/>
                    <a:pt x="68580" y="157258"/>
                    <a:pt x="67246" y="157924"/>
                  </a:cubicBezTo>
                  <a:cubicBezTo>
                    <a:pt x="67246" y="158591"/>
                    <a:pt x="67246" y="160020"/>
                    <a:pt x="66580" y="160687"/>
                  </a:cubicBezTo>
                  <a:cubicBezTo>
                    <a:pt x="66580" y="161353"/>
                    <a:pt x="66580" y="161353"/>
                    <a:pt x="65913" y="161353"/>
                  </a:cubicBezTo>
                  <a:cubicBezTo>
                    <a:pt x="64579" y="162020"/>
                    <a:pt x="65246" y="162687"/>
                    <a:pt x="64579" y="163449"/>
                  </a:cubicBezTo>
                  <a:cubicBezTo>
                    <a:pt x="64579" y="164116"/>
                    <a:pt x="65246" y="164783"/>
                    <a:pt x="64579" y="164783"/>
                  </a:cubicBezTo>
                  <a:cubicBezTo>
                    <a:pt x="64579" y="166116"/>
                    <a:pt x="64579" y="166116"/>
                    <a:pt x="65246" y="166878"/>
                  </a:cubicBezTo>
                  <a:lnTo>
                    <a:pt x="65246" y="167545"/>
                  </a:lnTo>
                  <a:lnTo>
                    <a:pt x="63151" y="167545"/>
                  </a:lnTo>
                  <a:cubicBezTo>
                    <a:pt x="63818" y="168878"/>
                    <a:pt x="63818" y="169640"/>
                    <a:pt x="63818" y="170307"/>
                  </a:cubicBezTo>
                  <a:lnTo>
                    <a:pt x="63818" y="170974"/>
                  </a:lnTo>
                  <a:cubicBezTo>
                    <a:pt x="63818" y="170974"/>
                    <a:pt x="63151" y="171641"/>
                    <a:pt x="63151" y="172307"/>
                  </a:cubicBezTo>
                  <a:lnTo>
                    <a:pt x="63151" y="174403"/>
                  </a:lnTo>
                  <a:cubicBezTo>
                    <a:pt x="61817" y="175069"/>
                    <a:pt x="61055" y="175069"/>
                    <a:pt x="61055" y="175069"/>
                  </a:cubicBezTo>
                  <a:cubicBezTo>
                    <a:pt x="61055" y="175736"/>
                    <a:pt x="61055" y="176403"/>
                    <a:pt x="61722" y="177832"/>
                  </a:cubicBezTo>
                  <a:lnTo>
                    <a:pt x="61722" y="181927"/>
                  </a:lnTo>
                  <a:cubicBezTo>
                    <a:pt x="61722" y="182594"/>
                    <a:pt x="61055" y="183261"/>
                    <a:pt x="60389" y="184023"/>
                  </a:cubicBezTo>
                  <a:lnTo>
                    <a:pt x="60389" y="187452"/>
                  </a:lnTo>
                  <a:cubicBezTo>
                    <a:pt x="61055" y="188119"/>
                    <a:pt x="60389" y="188119"/>
                    <a:pt x="60389" y="188119"/>
                  </a:cubicBezTo>
                  <a:lnTo>
                    <a:pt x="59055" y="189452"/>
                  </a:lnTo>
                  <a:cubicBezTo>
                    <a:pt x="59722" y="190786"/>
                    <a:pt x="59722" y="191548"/>
                    <a:pt x="59722" y="192215"/>
                  </a:cubicBezTo>
                  <a:lnTo>
                    <a:pt x="59722" y="195643"/>
                  </a:lnTo>
                  <a:cubicBezTo>
                    <a:pt x="59722" y="196310"/>
                    <a:pt x="59055" y="196310"/>
                    <a:pt x="59055" y="196310"/>
                  </a:cubicBezTo>
                  <a:lnTo>
                    <a:pt x="58388" y="196977"/>
                  </a:lnTo>
                  <a:cubicBezTo>
                    <a:pt x="58388" y="198311"/>
                    <a:pt x="58388" y="199072"/>
                    <a:pt x="56293" y="200406"/>
                  </a:cubicBezTo>
                  <a:lnTo>
                    <a:pt x="56293" y="201073"/>
                  </a:lnTo>
                  <a:cubicBezTo>
                    <a:pt x="56959" y="202406"/>
                    <a:pt x="57626" y="203835"/>
                    <a:pt x="57626" y="205168"/>
                  </a:cubicBezTo>
                  <a:cubicBezTo>
                    <a:pt x="56959" y="206502"/>
                    <a:pt x="56959" y="207931"/>
                    <a:pt x="55531" y="207931"/>
                  </a:cubicBezTo>
                  <a:cubicBezTo>
                    <a:pt x="55531" y="207931"/>
                    <a:pt x="55531" y="209264"/>
                    <a:pt x="56198" y="210026"/>
                  </a:cubicBezTo>
                  <a:lnTo>
                    <a:pt x="56198" y="212122"/>
                  </a:lnTo>
                  <a:cubicBezTo>
                    <a:pt x="55531" y="213455"/>
                    <a:pt x="54102" y="214217"/>
                    <a:pt x="53435" y="214217"/>
                  </a:cubicBezTo>
                  <a:lnTo>
                    <a:pt x="52102" y="215551"/>
                  </a:lnTo>
                  <a:lnTo>
                    <a:pt x="52769" y="216217"/>
                  </a:lnTo>
                  <a:cubicBezTo>
                    <a:pt x="54769" y="217075"/>
                    <a:pt x="54769" y="217742"/>
                    <a:pt x="54769" y="218503"/>
                  </a:cubicBezTo>
                  <a:cubicBezTo>
                    <a:pt x="54769" y="219837"/>
                    <a:pt x="56102" y="219837"/>
                    <a:pt x="56102" y="219837"/>
                  </a:cubicBezTo>
                  <a:lnTo>
                    <a:pt x="56102" y="221170"/>
                  </a:lnTo>
                  <a:cubicBezTo>
                    <a:pt x="54769" y="221837"/>
                    <a:pt x="54007" y="222504"/>
                    <a:pt x="54007" y="223266"/>
                  </a:cubicBezTo>
                  <a:cubicBezTo>
                    <a:pt x="54007" y="227362"/>
                    <a:pt x="54674" y="230791"/>
                    <a:pt x="54674" y="234220"/>
                  </a:cubicBezTo>
                  <a:lnTo>
                    <a:pt x="54674" y="234887"/>
                  </a:lnTo>
                  <a:lnTo>
                    <a:pt x="53340" y="236220"/>
                  </a:lnTo>
                  <a:cubicBezTo>
                    <a:pt x="53340" y="236887"/>
                    <a:pt x="54007" y="236887"/>
                    <a:pt x="54674" y="237553"/>
                  </a:cubicBezTo>
                  <a:lnTo>
                    <a:pt x="54674" y="241649"/>
                  </a:lnTo>
                  <a:cubicBezTo>
                    <a:pt x="53340" y="242316"/>
                    <a:pt x="53340" y="242983"/>
                    <a:pt x="53340" y="243745"/>
                  </a:cubicBezTo>
                  <a:lnTo>
                    <a:pt x="53340" y="266414"/>
                  </a:lnTo>
                  <a:cubicBezTo>
                    <a:pt x="53340" y="267081"/>
                    <a:pt x="52673" y="267081"/>
                    <a:pt x="52673" y="267081"/>
                  </a:cubicBezTo>
                  <a:cubicBezTo>
                    <a:pt x="53340" y="267748"/>
                    <a:pt x="54007" y="267748"/>
                    <a:pt x="54007" y="267748"/>
                  </a:cubicBezTo>
                  <a:cubicBezTo>
                    <a:pt x="54007" y="267748"/>
                    <a:pt x="54769" y="268510"/>
                    <a:pt x="54769" y="269176"/>
                  </a:cubicBezTo>
                  <a:cubicBezTo>
                    <a:pt x="54769" y="270510"/>
                    <a:pt x="54769" y="271272"/>
                    <a:pt x="56864" y="271939"/>
                  </a:cubicBezTo>
                  <a:lnTo>
                    <a:pt x="56864" y="276035"/>
                  </a:lnTo>
                  <a:cubicBezTo>
                    <a:pt x="57531" y="276701"/>
                    <a:pt x="57531" y="276701"/>
                    <a:pt x="57531" y="277368"/>
                  </a:cubicBezTo>
                  <a:lnTo>
                    <a:pt x="57531" y="279464"/>
                  </a:lnTo>
                  <a:lnTo>
                    <a:pt x="58198" y="280130"/>
                  </a:lnTo>
                  <a:cubicBezTo>
                    <a:pt x="58865" y="280130"/>
                    <a:pt x="58865" y="281464"/>
                    <a:pt x="59531" y="282226"/>
                  </a:cubicBezTo>
                  <a:cubicBezTo>
                    <a:pt x="60198" y="282892"/>
                    <a:pt x="60865" y="282892"/>
                    <a:pt x="60865" y="283559"/>
                  </a:cubicBezTo>
                  <a:lnTo>
                    <a:pt x="60865" y="284226"/>
                  </a:lnTo>
                  <a:lnTo>
                    <a:pt x="61531" y="284226"/>
                  </a:lnTo>
                  <a:cubicBezTo>
                    <a:pt x="62865" y="284893"/>
                    <a:pt x="64960" y="284893"/>
                    <a:pt x="67723" y="284893"/>
                  </a:cubicBezTo>
                  <a:lnTo>
                    <a:pt x="72485" y="284893"/>
                  </a:lnTo>
                  <a:cubicBezTo>
                    <a:pt x="73152" y="284893"/>
                    <a:pt x="73152" y="284893"/>
                    <a:pt x="73819" y="284226"/>
                  </a:cubicBezTo>
                  <a:cubicBezTo>
                    <a:pt x="73819" y="283559"/>
                    <a:pt x="75914" y="284226"/>
                    <a:pt x="76581" y="282892"/>
                  </a:cubicBezTo>
                  <a:lnTo>
                    <a:pt x="77915" y="281559"/>
                  </a:lnTo>
                  <a:cubicBezTo>
                    <a:pt x="77915" y="281559"/>
                    <a:pt x="79248" y="280225"/>
                    <a:pt x="80010" y="280225"/>
                  </a:cubicBezTo>
                  <a:cubicBezTo>
                    <a:pt x="81344" y="280225"/>
                    <a:pt x="81344" y="280225"/>
                    <a:pt x="82106" y="279559"/>
                  </a:cubicBezTo>
                  <a:cubicBezTo>
                    <a:pt x="82772" y="278892"/>
                    <a:pt x="84201" y="278892"/>
                    <a:pt x="85535" y="278225"/>
                  </a:cubicBezTo>
                  <a:lnTo>
                    <a:pt x="95155" y="270700"/>
                  </a:lnTo>
                  <a:cubicBezTo>
                    <a:pt x="96488" y="270700"/>
                    <a:pt x="97250" y="269367"/>
                    <a:pt x="98584" y="268605"/>
                  </a:cubicBezTo>
                  <a:cubicBezTo>
                    <a:pt x="99250" y="266510"/>
                    <a:pt x="100679" y="265843"/>
                    <a:pt x="102679" y="264509"/>
                  </a:cubicBezTo>
                  <a:cubicBezTo>
                    <a:pt x="104013" y="262414"/>
                    <a:pt x="105442" y="261747"/>
                    <a:pt x="106775" y="260414"/>
                  </a:cubicBezTo>
                  <a:cubicBezTo>
                    <a:pt x="107442" y="259747"/>
                    <a:pt x="108109" y="259747"/>
                    <a:pt x="108109" y="259080"/>
                  </a:cubicBezTo>
                  <a:lnTo>
                    <a:pt x="108109" y="258413"/>
                  </a:lnTo>
                  <a:cubicBezTo>
                    <a:pt x="109442" y="257746"/>
                    <a:pt x="109442" y="256318"/>
                    <a:pt x="110871" y="256318"/>
                  </a:cubicBezTo>
                  <a:cubicBezTo>
                    <a:pt x="112204" y="256318"/>
                    <a:pt x="112204" y="254984"/>
                    <a:pt x="112967" y="254222"/>
                  </a:cubicBezTo>
                  <a:cubicBezTo>
                    <a:pt x="112967" y="253555"/>
                    <a:pt x="114300" y="252127"/>
                    <a:pt x="115729" y="252127"/>
                  </a:cubicBezTo>
                  <a:lnTo>
                    <a:pt x="117062" y="252127"/>
                  </a:lnTo>
                  <a:lnTo>
                    <a:pt x="117062" y="250031"/>
                  </a:lnTo>
                  <a:cubicBezTo>
                    <a:pt x="118396" y="248698"/>
                    <a:pt x="119825" y="247269"/>
                    <a:pt x="122587" y="245936"/>
                  </a:cubicBezTo>
                  <a:cubicBezTo>
                    <a:pt x="123920" y="244602"/>
                    <a:pt x="124682" y="243173"/>
                    <a:pt x="126683" y="242506"/>
                  </a:cubicBezTo>
                  <a:cubicBezTo>
                    <a:pt x="126683" y="239744"/>
                    <a:pt x="128016" y="239744"/>
                    <a:pt x="130112" y="238411"/>
                  </a:cubicBezTo>
                  <a:cubicBezTo>
                    <a:pt x="132207" y="237077"/>
                    <a:pt x="133540" y="235648"/>
                    <a:pt x="134207" y="234315"/>
                  </a:cubicBezTo>
                  <a:cubicBezTo>
                    <a:pt x="135541" y="232981"/>
                    <a:pt x="136969" y="232219"/>
                    <a:pt x="138303" y="230219"/>
                  </a:cubicBezTo>
                  <a:cubicBezTo>
                    <a:pt x="138303" y="230219"/>
                    <a:pt x="138303" y="228886"/>
                    <a:pt x="138970" y="228886"/>
                  </a:cubicBezTo>
                  <a:cubicBezTo>
                    <a:pt x="138970" y="228886"/>
                    <a:pt x="138970" y="228219"/>
                    <a:pt x="139637" y="228219"/>
                  </a:cubicBezTo>
                  <a:cubicBezTo>
                    <a:pt x="140303" y="228219"/>
                    <a:pt x="141732" y="228219"/>
                    <a:pt x="142399" y="226886"/>
                  </a:cubicBezTo>
                  <a:cubicBezTo>
                    <a:pt x="143065" y="226219"/>
                    <a:pt x="144494" y="224790"/>
                    <a:pt x="145161" y="224790"/>
                  </a:cubicBezTo>
                  <a:cubicBezTo>
                    <a:pt x="146494" y="224123"/>
                    <a:pt x="146494" y="222694"/>
                    <a:pt x="147256" y="222028"/>
                  </a:cubicBezTo>
                  <a:lnTo>
                    <a:pt x="150019" y="219932"/>
                  </a:lnTo>
                  <a:cubicBezTo>
                    <a:pt x="150686" y="219932"/>
                    <a:pt x="151352" y="218599"/>
                    <a:pt x="151352" y="217837"/>
                  </a:cubicBezTo>
                  <a:lnTo>
                    <a:pt x="152686" y="217170"/>
                  </a:lnTo>
                  <a:cubicBezTo>
                    <a:pt x="153352" y="214408"/>
                    <a:pt x="155448" y="213741"/>
                    <a:pt x="156781" y="213074"/>
                  </a:cubicBezTo>
                  <a:cubicBezTo>
                    <a:pt x="158115" y="211741"/>
                    <a:pt x="158115" y="210312"/>
                    <a:pt x="159544" y="209645"/>
                  </a:cubicBezTo>
                  <a:cubicBezTo>
                    <a:pt x="160877" y="208978"/>
                    <a:pt x="160877" y="207550"/>
                    <a:pt x="161639" y="207550"/>
                  </a:cubicBezTo>
                  <a:cubicBezTo>
                    <a:pt x="162973" y="206883"/>
                    <a:pt x="162973" y="206216"/>
                    <a:pt x="163735" y="206216"/>
                  </a:cubicBezTo>
                  <a:lnTo>
                    <a:pt x="165830" y="203454"/>
                  </a:lnTo>
                  <a:lnTo>
                    <a:pt x="165830" y="201359"/>
                  </a:lnTo>
                  <a:cubicBezTo>
                    <a:pt x="165830" y="200692"/>
                    <a:pt x="165830" y="200692"/>
                    <a:pt x="166497" y="200692"/>
                  </a:cubicBezTo>
                  <a:cubicBezTo>
                    <a:pt x="167164" y="200692"/>
                    <a:pt x="169259" y="199358"/>
                    <a:pt x="169259" y="199358"/>
                  </a:cubicBezTo>
                  <a:cubicBezTo>
                    <a:pt x="170593" y="198692"/>
                    <a:pt x="171355" y="198025"/>
                    <a:pt x="172021" y="196596"/>
                  </a:cubicBezTo>
                  <a:lnTo>
                    <a:pt x="172021" y="195929"/>
                  </a:lnTo>
                  <a:cubicBezTo>
                    <a:pt x="172021" y="195263"/>
                    <a:pt x="173355" y="195263"/>
                    <a:pt x="173355" y="194596"/>
                  </a:cubicBezTo>
                  <a:lnTo>
                    <a:pt x="173355" y="193929"/>
                  </a:lnTo>
                  <a:lnTo>
                    <a:pt x="174022" y="193262"/>
                  </a:lnTo>
                  <a:cubicBezTo>
                    <a:pt x="174022" y="191929"/>
                    <a:pt x="175355" y="191167"/>
                    <a:pt x="176784" y="189833"/>
                  </a:cubicBezTo>
                  <a:cubicBezTo>
                    <a:pt x="177451" y="189833"/>
                    <a:pt x="176784" y="189167"/>
                    <a:pt x="176784" y="188500"/>
                  </a:cubicBezTo>
                  <a:cubicBezTo>
                    <a:pt x="177451" y="187833"/>
                    <a:pt x="178117" y="187833"/>
                    <a:pt x="178879" y="187833"/>
                  </a:cubicBezTo>
                  <a:lnTo>
                    <a:pt x="179546" y="187833"/>
                  </a:lnTo>
                  <a:lnTo>
                    <a:pt x="179546" y="186499"/>
                  </a:lnTo>
                  <a:cubicBezTo>
                    <a:pt x="179546" y="185166"/>
                    <a:pt x="180213" y="184404"/>
                    <a:pt x="180880" y="183737"/>
                  </a:cubicBezTo>
                  <a:cubicBezTo>
                    <a:pt x="182975" y="183737"/>
                    <a:pt x="183642" y="181642"/>
                    <a:pt x="184309" y="180975"/>
                  </a:cubicBezTo>
                  <a:cubicBezTo>
                    <a:pt x="184975" y="180308"/>
                    <a:pt x="185642" y="180308"/>
                    <a:pt x="185642" y="179642"/>
                  </a:cubicBezTo>
                  <a:lnTo>
                    <a:pt x="184975" y="178975"/>
                  </a:lnTo>
                  <a:cubicBezTo>
                    <a:pt x="185642" y="177641"/>
                    <a:pt x="187071" y="177641"/>
                    <a:pt x="186309" y="176879"/>
                  </a:cubicBezTo>
                  <a:cubicBezTo>
                    <a:pt x="187642" y="176213"/>
                    <a:pt x="189071" y="175546"/>
                    <a:pt x="189071" y="174117"/>
                  </a:cubicBezTo>
                  <a:cubicBezTo>
                    <a:pt x="190405" y="173450"/>
                    <a:pt x="191834" y="172784"/>
                    <a:pt x="191834" y="171355"/>
                  </a:cubicBezTo>
                  <a:lnTo>
                    <a:pt x="191834" y="170688"/>
                  </a:lnTo>
                  <a:cubicBezTo>
                    <a:pt x="191834" y="170021"/>
                    <a:pt x="192500" y="169354"/>
                    <a:pt x="193929" y="169354"/>
                  </a:cubicBezTo>
                  <a:cubicBezTo>
                    <a:pt x="195263" y="168688"/>
                    <a:pt x="194596" y="168021"/>
                    <a:pt x="196025" y="167259"/>
                  </a:cubicBezTo>
                  <a:cubicBezTo>
                    <a:pt x="196691" y="167259"/>
                    <a:pt x="196691" y="166592"/>
                    <a:pt x="196691" y="165925"/>
                  </a:cubicBezTo>
                  <a:cubicBezTo>
                    <a:pt x="197358" y="165925"/>
                    <a:pt x="197358" y="165925"/>
                    <a:pt x="197358" y="165259"/>
                  </a:cubicBezTo>
                  <a:cubicBezTo>
                    <a:pt x="197358" y="163163"/>
                    <a:pt x="197358" y="163163"/>
                    <a:pt x="198692" y="161830"/>
                  </a:cubicBezTo>
                  <a:cubicBezTo>
                    <a:pt x="199358" y="161830"/>
                    <a:pt x="201454" y="160496"/>
                    <a:pt x="202121" y="159734"/>
                  </a:cubicBezTo>
                  <a:lnTo>
                    <a:pt x="202121" y="158401"/>
                  </a:lnTo>
                  <a:cubicBezTo>
                    <a:pt x="202121" y="157734"/>
                    <a:pt x="202787" y="157067"/>
                    <a:pt x="203454" y="156305"/>
                  </a:cubicBezTo>
                  <a:cubicBezTo>
                    <a:pt x="204121" y="154972"/>
                    <a:pt x="204788" y="154972"/>
                    <a:pt x="204788" y="154210"/>
                  </a:cubicBezTo>
                  <a:lnTo>
                    <a:pt x="204788" y="153543"/>
                  </a:lnTo>
                  <a:cubicBezTo>
                    <a:pt x="206121" y="152876"/>
                    <a:pt x="205454" y="152210"/>
                    <a:pt x="206121" y="152210"/>
                  </a:cubicBezTo>
                  <a:cubicBezTo>
                    <a:pt x="206788" y="151543"/>
                    <a:pt x="206788" y="150876"/>
                    <a:pt x="206788" y="150114"/>
                  </a:cubicBezTo>
                  <a:lnTo>
                    <a:pt x="206788" y="149447"/>
                  </a:lnTo>
                  <a:cubicBezTo>
                    <a:pt x="206788" y="148780"/>
                    <a:pt x="206788" y="148780"/>
                    <a:pt x="208121" y="147352"/>
                  </a:cubicBezTo>
                  <a:lnTo>
                    <a:pt x="208788" y="146018"/>
                  </a:lnTo>
                  <a:lnTo>
                    <a:pt x="211550" y="143923"/>
                  </a:lnTo>
                  <a:cubicBezTo>
                    <a:pt x="211550" y="143923"/>
                    <a:pt x="211550" y="144590"/>
                    <a:pt x="212217" y="144590"/>
                  </a:cubicBezTo>
                  <a:cubicBezTo>
                    <a:pt x="211550" y="145256"/>
                    <a:pt x="212217" y="145256"/>
                    <a:pt x="212217" y="145256"/>
                  </a:cubicBezTo>
                  <a:cubicBezTo>
                    <a:pt x="212217" y="145256"/>
                    <a:pt x="212884" y="145256"/>
                    <a:pt x="212884" y="144590"/>
                  </a:cubicBezTo>
                  <a:cubicBezTo>
                    <a:pt x="213550" y="144590"/>
                    <a:pt x="212884" y="143923"/>
                    <a:pt x="212884" y="143923"/>
                  </a:cubicBezTo>
                  <a:lnTo>
                    <a:pt x="212217" y="143923"/>
                  </a:lnTo>
                  <a:lnTo>
                    <a:pt x="212217" y="143256"/>
                  </a:lnTo>
                  <a:cubicBezTo>
                    <a:pt x="212217" y="143256"/>
                    <a:pt x="213550" y="143256"/>
                    <a:pt x="213550" y="142589"/>
                  </a:cubicBezTo>
                  <a:lnTo>
                    <a:pt x="213550" y="141256"/>
                  </a:lnTo>
                  <a:cubicBezTo>
                    <a:pt x="214884" y="139922"/>
                    <a:pt x="214884" y="139160"/>
                    <a:pt x="216313" y="138493"/>
                  </a:cubicBezTo>
                  <a:lnTo>
                    <a:pt x="216979" y="139160"/>
                  </a:lnTo>
                  <a:cubicBezTo>
                    <a:pt x="218313" y="139827"/>
                    <a:pt x="219742" y="139827"/>
                    <a:pt x="221075" y="139827"/>
                  </a:cubicBezTo>
                  <a:cubicBezTo>
                    <a:pt x="221742" y="139827"/>
                    <a:pt x="221075" y="139160"/>
                    <a:pt x="221075" y="138493"/>
                  </a:cubicBezTo>
                  <a:lnTo>
                    <a:pt x="221075" y="136398"/>
                  </a:lnTo>
                  <a:cubicBezTo>
                    <a:pt x="221075" y="135065"/>
                    <a:pt x="222409" y="134302"/>
                    <a:pt x="223838" y="132969"/>
                  </a:cubicBezTo>
                  <a:lnTo>
                    <a:pt x="224504" y="132969"/>
                  </a:lnTo>
                  <a:lnTo>
                    <a:pt x="226219" y="133445"/>
                  </a:lnTo>
                  <a:cubicBezTo>
                    <a:pt x="226219" y="135541"/>
                    <a:pt x="226219" y="136874"/>
                    <a:pt x="226886" y="139637"/>
                  </a:cubicBezTo>
                  <a:cubicBezTo>
                    <a:pt x="226886" y="139637"/>
                    <a:pt x="226219" y="139637"/>
                    <a:pt x="225552" y="140303"/>
                  </a:cubicBezTo>
                  <a:cubicBezTo>
                    <a:pt x="225552" y="140970"/>
                    <a:pt x="224885" y="141637"/>
                    <a:pt x="223456" y="143066"/>
                  </a:cubicBezTo>
                  <a:lnTo>
                    <a:pt x="223456" y="143732"/>
                  </a:lnTo>
                  <a:cubicBezTo>
                    <a:pt x="223456" y="144399"/>
                    <a:pt x="222790" y="144399"/>
                    <a:pt x="221361" y="145066"/>
                  </a:cubicBezTo>
                  <a:cubicBezTo>
                    <a:pt x="220027" y="146399"/>
                    <a:pt x="220694" y="146399"/>
                    <a:pt x="220027" y="147828"/>
                  </a:cubicBezTo>
                  <a:cubicBezTo>
                    <a:pt x="219361" y="147828"/>
                    <a:pt x="219361" y="148495"/>
                    <a:pt x="219361" y="148495"/>
                  </a:cubicBezTo>
                  <a:lnTo>
                    <a:pt x="220694" y="149162"/>
                  </a:lnTo>
                  <a:lnTo>
                    <a:pt x="221361" y="149162"/>
                  </a:lnTo>
                  <a:lnTo>
                    <a:pt x="221361" y="151257"/>
                  </a:lnTo>
                  <a:cubicBezTo>
                    <a:pt x="220694" y="151924"/>
                    <a:pt x="220027" y="151924"/>
                    <a:pt x="220027" y="151924"/>
                  </a:cubicBezTo>
                  <a:cubicBezTo>
                    <a:pt x="220027" y="153257"/>
                    <a:pt x="219361" y="153257"/>
                    <a:pt x="219361" y="154686"/>
                  </a:cubicBezTo>
                  <a:lnTo>
                    <a:pt x="219361" y="155353"/>
                  </a:lnTo>
                  <a:cubicBezTo>
                    <a:pt x="219361" y="156019"/>
                    <a:pt x="219361" y="156019"/>
                    <a:pt x="218694" y="156686"/>
                  </a:cubicBezTo>
                  <a:cubicBezTo>
                    <a:pt x="218027" y="157353"/>
                    <a:pt x="217361" y="157353"/>
                    <a:pt x="217361" y="158020"/>
                  </a:cubicBezTo>
                  <a:cubicBezTo>
                    <a:pt x="216694" y="158020"/>
                    <a:pt x="217361" y="158020"/>
                    <a:pt x="217361" y="158687"/>
                  </a:cubicBezTo>
                  <a:cubicBezTo>
                    <a:pt x="218027" y="158687"/>
                    <a:pt x="218027" y="159353"/>
                    <a:pt x="218027" y="159353"/>
                  </a:cubicBezTo>
                  <a:cubicBezTo>
                    <a:pt x="218027" y="160020"/>
                    <a:pt x="218027" y="160687"/>
                    <a:pt x="217361" y="161449"/>
                  </a:cubicBezTo>
                  <a:cubicBezTo>
                    <a:pt x="217361" y="161449"/>
                    <a:pt x="216694" y="162116"/>
                    <a:pt x="216027" y="162116"/>
                  </a:cubicBezTo>
                  <a:cubicBezTo>
                    <a:pt x="215360" y="162116"/>
                    <a:pt x="215360" y="162116"/>
                    <a:pt x="215360" y="162782"/>
                  </a:cubicBezTo>
                  <a:cubicBezTo>
                    <a:pt x="214694" y="163449"/>
                    <a:pt x="215360" y="164116"/>
                    <a:pt x="214027" y="164878"/>
                  </a:cubicBezTo>
                  <a:lnTo>
                    <a:pt x="214027" y="166973"/>
                  </a:lnTo>
                  <a:lnTo>
                    <a:pt x="210598" y="169736"/>
                  </a:lnTo>
                  <a:cubicBezTo>
                    <a:pt x="210598" y="170402"/>
                    <a:pt x="209931" y="171069"/>
                    <a:pt x="209931" y="172498"/>
                  </a:cubicBezTo>
                  <a:cubicBezTo>
                    <a:pt x="208598" y="172498"/>
                    <a:pt x="208598" y="173165"/>
                    <a:pt x="208598" y="173831"/>
                  </a:cubicBezTo>
                  <a:lnTo>
                    <a:pt x="208598" y="175927"/>
                  </a:lnTo>
                  <a:lnTo>
                    <a:pt x="207931" y="176593"/>
                  </a:lnTo>
                  <a:lnTo>
                    <a:pt x="207931" y="177260"/>
                  </a:lnTo>
                  <a:cubicBezTo>
                    <a:pt x="207931" y="177260"/>
                    <a:pt x="207931" y="177927"/>
                    <a:pt x="207264" y="178594"/>
                  </a:cubicBezTo>
                  <a:lnTo>
                    <a:pt x="207264" y="179927"/>
                  </a:lnTo>
                  <a:lnTo>
                    <a:pt x="205931" y="179927"/>
                  </a:lnTo>
                  <a:cubicBezTo>
                    <a:pt x="205931" y="181261"/>
                    <a:pt x="205931" y="182690"/>
                    <a:pt x="206597" y="183356"/>
                  </a:cubicBezTo>
                  <a:cubicBezTo>
                    <a:pt x="206597" y="184023"/>
                    <a:pt x="204502" y="185452"/>
                    <a:pt x="204502" y="186118"/>
                  </a:cubicBezTo>
                  <a:lnTo>
                    <a:pt x="204502" y="188881"/>
                  </a:lnTo>
                  <a:cubicBezTo>
                    <a:pt x="204502" y="189547"/>
                    <a:pt x="204502" y="190214"/>
                    <a:pt x="203835" y="190214"/>
                  </a:cubicBezTo>
                  <a:lnTo>
                    <a:pt x="201073" y="190214"/>
                  </a:lnTo>
                  <a:cubicBezTo>
                    <a:pt x="200406" y="190214"/>
                    <a:pt x="200406" y="190881"/>
                    <a:pt x="200406" y="190881"/>
                  </a:cubicBezTo>
                  <a:cubicBezTo>
                    <a:pt x="200406" y="191548"/>
                    <a:pt x="201073" y="192215"/>
                    <a:pt x="201740" y="192215"/>
                  </a:cubicBezTo>
                  <a:cubicBezTo>
                    <a:pt x="202406" y="192881"/>
                    <a:pt x="202406" y="192881"/>
                    <a:pt x="202406" y="193548"/>
                  </a:cubicBezTo>
                  <a:lnTo>
                    <a:pt x="198977" y="193548"/>
                  </a:lnTo>
                  <a:cubicBezTo>
                    <a:pt x="198311" y="194881"/>
                    <a:pt x="196215" y="194881"/>
                    <a:pt x="196215" y="196310"/>
                  </a:cubicBezTo>
                  <a:cubicBezTo>
                    <a:pt x="196882" y="197644"/>
                    <a:pt x="196215" y="197644"/>
                    <a:pt x="197548" y="198406"/>
                  </a:cubicBezTo>
                  <a:lnTo>
                    <a:pt x="198215" y="199072"/>
                  </a:lnTo>
                  <a:cubicBezTo>
                    <a:pt x="196120" y="199739"/>
                    <a:pt x="195453" y="200406"/>
                    <a:pt x="194786" y="201168"/>
                  </a:cubicBezTo>
                  <a:lnTo>
                    <a:pt x="193453" y="201835"/>
                  </a:lnTo>
                  <a:cubicBezTo>
                    <a:pt x="193453" y="201835"/>
                    <a:pt x="193453" y="202501"/>
                    <a:pt x="194786" y="202501"/>
                  </a:cubicBezTo>
                  <a:cubicBezTo>
                    <a:pt x="196120" y="203168"/>
                    <a:pt x="196882" y="204597"/>
                    <a:pt x="196882" y="205930"/>
                  </a:cubicBezTo>
                  <a:lnTo>
                    <a:pt x="196882" y="206597"/>
                  </a:lnTo>
                  <a:cubicBezTo>
                    <a:pt x="196882" y="207264"/>
                    <a:pt x="196215" y="207264"/>
                    <a:pt x="196215" y="207264"/>
                  </a:cubicBezTo>
                  <a:lnTo>
                    <a:pt x="196215" y="206597"/>
                  </a:lnTo>
                  <a:cubicBezTo>
                    <a:pt x="195548" y="205930"/>
                    <a:pt x="195548" y="205930"/>
                    <a:pt x="194881" y="205930"/>
                  </a:cubicBezTo>
                  <a:lnTo>
                    <a:pt x="194215" y="205930"/>
                  </a:lnTo>
                  <a:cubicBezTo>
                    <a:pt x="192881" y="205930"/>
                    <a:pt x="192119" y="207264"/>
                    <a:pt x="190119" y="208693"/>
                  </a:cubicBezTo>
                  <a:lnTo>
                    <a:pt x="189452" y="209360"/>
                  </a:lnTo>
                  <a:cubicBezTo>
                    <a:pt x="190119" y="211455"/>
                    <a:pt x="190119" y="212789"/>
                    <a:pt x="190119" y="213455"/>
                  </a:cubicBezTo>
                  <a:cubicBezTo>
                    <a:pt x="190119" y="213455"/>
                    <a:pt x="189452" y="214122"/>
                    <a:pt x="188786" y="214122"/>
                  </a:cubicBezTo>
                  <a:cubicBezTo>
                    <a:pt x="187452" y="214122"/>
                    <a:pt x="186023" y="214122"/>
                    <a:pt x="184690" y="215455"/>
                  </a:cubicBezTo>
                  <a:cubicBezTo>
                    <a:pt x="184023" y="216122"/>
                    <a:pt x="184023" y="216789"/>
                    <a:pt x="184023" y="216789"/>
                  </a:cubicBezTo>
                  <a:lnTo>
                    <a:pt x="184023" y="217456"/>
                  </a:lnTo>
                  <a:cubicBezTo>
                    <a:pt x="184023" y="218789"/>
                    <a:pt x="183356" y="219551"/>
                    <a:pt x="181927" y="220885"/>
                  </a:cubicBezTo>
                  <a:lnTo>
                    <a:pt x="180594" y="220885"/>
                  </a:lnTo>
                  <a:cubicBezTo>
                    <a:pt x="179927" y="221551"/>
                    <a:pt x="178498" y="222218"/>
                    <a:pt x="177832" y="224314"/>
                  </a:cubicBezTo>
                  <a:lnTo>
                    <a:pt x="177832" y="224980"/>
                  </a:lnTo>
                  <a:cubicBezTo>
                    <a:pt x="177832" y="225647"/>
                    <a:pt x="177165" y="226314"/>
                    <a:pt x="176498" y="227743"/>
                  </a:cubicBezTo>
                  <a:cubicBezTo>
                    <a:pt x="175831" y="228410"/>
                    <a:pt x="175165" y="228410"/>
                    <a:pt x="175165" y="229838"/>
                  </a:cubicBezTo>
                  <a:cubicBezTo>
                    <a:pt x="175165" y="230505"/>
                    <a:pt x="175831" y="231172"/>
                    <a:pt x="175831" y="231172"/>
                  </a:cubicBezTo>
                  <a:cubicBezTo>
                    <a:pt x="175831" y="231839"/>
                    <a:pt x="175165" y="231839"/>
                    <a:pt x="175165" y="231839"/>
                  </a:cubicBezTo>
                  <a:cubicBezTo>
                    <a:pt x="174498" y="231839"/>
                    <a:pt x="173069" y="232505"/>
                    <a:pt x="173069" y="233934"/>
                  </a:cubicBezTo>
                  <a:cubicBezTo>
                    <a:pt x="173069" y="234601"/>
                    <a:pt x="173069" y="234601"/>
                    <a:pt x="172402" y="234601"/>
                  </a:cubicBezTo>
                  <a:cubicBezTo>
                    <a:pt x="173069" y="235267"/>
                    <a:pt x="172402" y="235267"/>
                    <a:pt x="172402" y="235267"/>
                  </a:cubicBezTo>
                  <a:lnTo>
                    <a:pt x="166211" y="235267"/>
                  </a:lnTo>
                  <a:cubicBezTo>
                    <a:pt x="165544" y="235267"/>
                    <a:pt x="164878" y="235267"/>
                    <a:pt x="164878" y="235934"/>
                  </a:cubicBezTo>
                  <a:cubicBezTo>
                    <a:pt x="164878" y="237268"/>
                    <a:pt x="164878" y="238030"/>
                    <a:pt x="164211" y="239363"/>
                  </a:cubicBezTo>
                  <a:lnTo>
                    <a:pt x="163544" y="239363"/>
                  </a:lnTo>
                  <a:cubicBezTo>
                    <a:pt x="162211" y="239363"/>
                    <a:pt x="160782" y="240697"/>
                    <a:pt x="160115" y="242792"/>
                  </a:cubicBezTo>
                  <a:cubicBezTo>
                    <a:pt x="159448" y="244126"/>
                    <a:pt x="158020" y="245554"/>
                    <a:pt x="155353" y="246888"/>
                  </a:cubicBezTo>
                  <a:cubicBezTo>
                    <a:pt x="154019" y="246888"/>
                    <a:pt x="153257" y="246888"/>
                    <a:pt x="152590" y="248221"/>
                  </a:cubicBezTo>
                  <a:cubicBezTo>
                    <a:pt x="151924" y="248888"/>
                    <a:pt x="151257" y="248888"/>
                    <a:pt x="151257" y="249555"/>
                  </a:cubicBezTo>
                  <a:cubicBezTo>
                    <a:pt x="151257" y="250222"/>
                    <a:pt x="151924" y="250222"/>
                    <a:pt x="151924" y="250889"/>
                  </a:cubicBezTo>
                  <a:cubicBezTo>
                    <a:pt x="151924" y="251555"/>
                    <a:pt x="151257" y="252222"/>
                    <a:pt x="151257" y="252222"/>
                  </a:cubicBezTo>
                  <a:cubicBezTo>
                    <a:pt x="149923" y="252889"/>
                    <a:pt x="149923" y="253555"/>
                    <a:pt x="148495" y="253555"/>
                  </a:cubicBezTo>
                  <a:cubicBezTo>
                    <a:pt x="147161" y="254222"/>
                    <a:pt x="147828" y="255651"/>
                    <a:pt x="147161" y="255651"/>
                  </a:cubicBezTo>
                  <a:cubicBezTo>
                    <a:pt x="147161" y="256985"/>
                    <a:pt x="146494" y="256985"/>
                    <a:pt x="146494" y="257746"/>
                  </a:cubicBezTo>
                  <a:cubicBezTo>
                    <a:pt x="146494" y="258413"/>
                    <a:pt x="146494" y="258413"/>
                    <a:pt x="145828" y="258413"/>
                  </a:cubicBezTo>
                  <a:cubicBezTo>
                    <a:pt x="145161" y="259080"/>
                    <a:pt x="144494" y="259080"/>
                    <a:pt x="143732" y="259080"/>
                  </a:cubicBezTo>
                  <a:cubicBezTo>
                    <a:pt x="142399" y="259080"/>
                    <a:pt x="142399" y="260414"/>
                    <a:pt x="140970" y="260414"/>
                  </a:cubicBezTo>
                  <a:lnTo>
                    <a:pt x="140303" y="260414"/>
                  </a:lnTo>
                  <a:cubicBezTo>
                    <a:pt x="140303" y="261080"/>
                    <a:pt x="138970" y="261080"/>
                    <a:pt x="139637" y="261080"/>
                  </a:cubicBezTo>
                  <a:lnTo>
                    <a:pt x="139637" y="261747"/>
                  </a:lnTo>
                  <a:cubicBezTo>
                    <a:pt x="139637" y="263081"/>
                    <a:pt x="138970" y="263842"/>
                    <a:pt x="137541" y="265176"/>
                  </a:cubicBezTo>
                  <a:cubicBezTo>
                    <a:pt x="136208" y="265843"/>
                    <a:pt x="135446" y="265843"/>
                    <a:pt x="135446" y="267271"/>
                  </a:cubicBezTo>
                  <a:lnTo>
                    <a:pt x="135446" y="267938"/>
                  </a:lnTo>
                  <a:cubicBezTo>
                    <a:pt x="135446" y="268605"/>
                    <a:pt x="134779" y="268605"/>
                    <a:pt x="134779" y="268605"/>
                  </a:cubicBezTo>
                  <a:lnTo>
                    <a:pt x="132683" y="268605"/>
                  </a:lnTo>
                  <a:cubicBezTo>
                    <a:pt x="131350" y="271367"/>
                    <a:pt x="129254" y="272701"/>
                    <a:pt x="127159" y="274796"/>
                  </a:cubicBezTo>
                  <a:cubicBezTo>
                    <a:pt x="126492" y="275463"/>
                    <a:pt x="125825" y="275463"/>
                    <a:pt x="125825" y="275463"/>
                  </a:cubicBezTo>
                  <a:cubicBezTo>
                    <a:pt x="125825" y="275463"/>
                    <a:pt x="126492" y="276130"/>
                    <a:pt x="127159" y="276130"/>
                  </a:cubicBezTo>
                  <a:lnTo>
                    <a:pt x="128492" y="277463"/>
                  </a:lnTo>
                  <a:lnTo>
                    <a:pt x="128492" y="278130"/>
                  </a:lnTo>
                  <a:cubicBezTo>
                    <a:pt x="128492" y="279464"/>
                    <a:pt x="128492" y="281559"/>
                    <a:pt x="129159" y="283655"/>
                  </a:cubicBezTo>
                  <a:lnTo>
                    <a:pt x="129826" y="284321"/>
                  </a:lnTo>
                  <a:cubicBezTo>
                    <a:pt x="130492" y="284321"/>
                    <a:pt x="131159" y="284321"/>
                    <a:pt x="131921" y="283655"/>
                  </a:cubicBezTo>
                  <a:lnTo>
                    <a:pt x="134684" y="283655"/>
                  </a:lnTo>
                  <a:lnTo>
                    <a:pt x="132588" y="286417"/>
                  </a:lnTo>
                  <a:lnTo>
                    <a:pt x="131921" y="287084"/>
                  </a:lnTo>
                  <a:lnTo>
                    <a:pt x="129826" y="287084"/>
                  </a:lnTo>
                  <a:cubicBezTo>
                    <a:pt x="128492" y="289179"/>
                    <a:pt x="127063" y="290513"/>
                    <a:pt x="125730" y="291179"/>
                  </a:cubicBezTo>
                  <a:cubicBezTo>
                    <a:pt x="124396" y="292513"/>
                    <a:pt x="124396" y="293275"/>
                    <a:pt x="122301" y="293275"/>
                  </a:cubicBezTo>
                  <a:cubicBezTo>
                    <a:pt x="120967" y="294608"/>
                    <a:pt x="120967" y="296704"/>
                    <a:pt x="118872" y="296704"/>
                  </a:cubicBezTo>
                  <a:cubicBezTo>
                    <a:pt x="118205" y="296704"/>
                    <a:pt x="117538" y="297370"/>
                    <a:pt x="117538" y="297370"/>
                  </a:cubicBezTo>
                  <a:cubicBezTo>
                    <a:pt x="116205" y="298037"/>
                    <a:pt x="114776" y="299466"/>
                    <a:pt x="114110" y="300799"/>
                  </a:cubicBezTo>
                  <a:cubicBezTo>
                    <a:pt x="112776" y="301466"/>
                    <a:pt x="111347" y="302133"/>
                    <a:pt x="110014" y="302133"/>
                  </a:cubicBezTo>
                  <a:cubicBezTo>
                    <a:pt x="108680" y="302133"/>
                    <a:pt x="107918" y="304229"/>
                    <a:pt x="106585" y="305562"/>
                  </a:cubicBezTo>
                  <a:lnTo>
                    <a:pt x="105918" y="305562"/>
                  </a:lnTo>
                  <a:cubicBezTo>
                    <a:pt x="105251" y="305562"/>
                    <a:pt x="104585" y="306229"/>
                    <a:pt x="103156" y="306229"/>
                  </a:cubicBezTo>
                  <a:lnTo>
                    <a:pt x="102489" y="306229"/>
                  </a:lnTo>
                  <a:cubicBezTo>
                    <a:pt x="101822" y="306229"/>
                    <a:pt x="101156" y="307562"/>
                    <a:pt x="99727" y="307562"/>
                  </a:cubicBezTo>
                  <a:cubicBezTo>
                    <a:pt x="98393" y="307562"/>
                    <a:pt x="96965" y="308229"/>
                    <a:pt x="96298" y="308229"/>
                  </a:cubicBezTo>
                  <a:lnTo>
                    <a:pt x="94964" y="308229"/>
                  </a:lnTo>
                  <a:cubicBezTo>
                    <a:pt x="93631" y="308229"/>
                    <a:pt x="92869" y="308229"/>
                    <a:pt x="91535" y="308896"/>
                  </a:cubicBezTo>
                  <a:cubicBezTo>
                    <a:pt x="91535" y="310229"/>
                    <a:pt x="90869" y="310991"/>
                    <a:pt x="90202" y="310991"/>
                  </a:cubicBezTo>
                  <a:cubicBezTo>
                    <a:pt x="89535" y="310991"/>
                    <a:pt x="88106" y="311658"/>
                    <a:pt x="87440" y="311658"/>
                  </a:cubicBezTo>
                  <a:cubicBezTo>
                    <a:pt x="86773" y="312325"/>
                    <a:pt x="86106" y="312325"/>
                    <a:pt x="86106" y="312325"/>
                  </a:cubicBezTo>
                  <a:lnTo>
                    <a:pt x="85439" y="312325"/>
                  </a:lnTo>
                  <a:cubicBezTo>
                    <a:pt x="84773" y="312992"/>
                    <a:pt x="84773" y="312992"/>
                    <a:pt x="83344" y="312992"/>
                  </a:cubicBezTo>
                  <a:lnTo>
                    <a:pt x="77819" y="312992"/>
                  </a:lnTo>
                  <a:cubicBezTo>
                    <a:pt x="77152" y="312992"/>
                    <a:pt x="77152" y="313658"/>
                    <a:pt x="76486" y="314325"/>
                  </a:cubicBezTo>
                  <a:cubicBezTo>
                    <a:pt x="75819" y="314325"/>
                    <a:pt x="75819" y="314992"/>
                    <a:pt x="75819" y="314992"/>
                  </a:cubicBezTo>
                  <a:cubicBezTo>
                    <a:pt x="75152" y="312896"/>
                    <a:pt x="73723" y="312896"/>
                    <a:pt x="72390" y="312896"/>
                  </a:cubicBezTo>
                  <a:lnTo>
                    <a:pt x="69628" y="312896"/>
                  </a:lnTo>
                  <a:cubicBezTo>
                    <a:pt x="68294" y="310801"/>
                    <a:pt x="66865" y="310134"/>
                    <a:pt x="65532" y="310134"/>
                  </a:cubicBezTo>
                  <a:cubicBezTo>
                    <a:pt x="64865" y="311467"/>
                    <a:pt x="63437" y="311467"/>
                    <a:pt x="62770" y="312230"/>
                  </a:cubicBezTo>
                  <a:lnTo>
                    <a:pt x="62103" y="312896"/>
                  </a:lnTo>
                  <a:cubicBezTo>
                    <a:pt x="61436" y="313563"/>
                    <a:pt x="60007" y="313563"/>
                    <a:pt x="59341" y="313563"/>
                  </a:cubicBezTo>
                  <a:cubicBezTo>
                    <a:pt x="58007" y="313563"/>
                    <a:pt x="57245" y="313563"/>
                    <a:pt x="56578" y="312896"/>
                  </a:cubicBezTo>
                  <a:cubicBezTo>
                    <a:pt x="55912" y="312230"/>
                    <a:pt x="55912" y="311563"/>
                    <a:pt x="55912" y="311563"/>
                  </a:cubicBezTo>
                  <a:cubicBezTo>
                    <a:pt x="55245" y="311563"/>
                    <a:pt x="55245" y="312230"/>
                    <a:pt x="54578" y="312896"/>
                  </a:cubicBezTo>
                  <a:lnTo>
                    <a:pt x="54578" y="313563"/>
                  </a:lnTo>
                  <a:lnTo>
                    <a:pt x="44291" y="313563"/>
                  </a:lnTo>
                  <a:cubicBezTo>
                    <a:pt x="43625" y="313563"/>
                    <a:pt x="43625" y="312896"/>
                    <a:pt x="43625" y="312896"/>
                  </a:cubicBezTo>
                  <a:cubicBezTo>
                    <a:pt x="42958" y="311563"/>
                    <a:pt x="40862" y="311563"/>
                    <a:pt x="40196" y="310134"/>
                  </a:cubicBezTo>
                  <a:lnTo>
                    <a:pt x="36767" y="310134"/>
                  </a:lnTo>
                  <a:cubicBezTo>
                    <a:pt x="35433" y="309467"/>
                    <a:pt x="34671" y="309467"/>
                    <a:pt x="34004" y="309467"/>
                  </a:cubicBezTo>
                  <a:cubicBezTo>
                    <a:pt x="31909" y="309467"/>
                    <a:pt x="30575" y="309467"/>
                    <a:pt x="29908" y="308134"/>
                  </a:cubicBezTo>
                  <a:lnTo>
                    <a:pt x="29242" y="308134"/>
                  </a:lnTo>
                  <a:cubicBezTo>
                    <a:pt x="28575" y="308134"/>
                    <a:pt x="27908" y="307467"/>
                    <a:pt x="27146" y="307467"/>
                  </a:cubicBezTo>
                  <a:lnTo>
                    <a:pt x="24384" y="307467"/>
                  </a:lnTo>
                  <a:cubicBezTo>
                    <a:pt x="23050" y="306800"/>
                    <a:pt x="21622" y="306134"/>
                    <a:pt x="21622" y="304705"/>
                  </a:cubicBezTo>
                  <a:cubicBezTo>
                    <a:pt x="20288" y="304705"/>
                    <a:pt x="19526" y="304705"/>
                    <a:pt x="18859" y="304038"/>
                  </a:cubicBezTo>
                  <a:lnTo>
                    <a:pt x="17526" y="304038"/>
                  </a:lnTo>
                  <a:cubicBezTo>
                    <a:pt x="16859" y="303371"/>
                    <a:pt x="16859" y="301942"/>
                    <a:pt x="16193" y="300609"/>
                  </a:cubicBezTo>
                  <a:cubicBezTo>
                    <a:pt x="15526" y="300609"/>
                    <a:pt x="14859" y="299942"/>
                    <a:pt x="14859" y="299275"/>
                  </a:cubicBezTo>
                  <a:cubicBezTo>
                    <a:pt x="12764" y="298609"/>
                    <a:pt x="12097" y="297180"/>
                    <a:pt x="10763" y="296513"/>
                  </a:cubicBezTo>
                  <a:lnTo>
                    <a:pt x="10763" y="295846"/>
                  </a:lnTo>
                  <a:cubicBezTo>
                    <a:pt x="10763" y="295180"/>
                    <a:pt x="10097" y="295180"/>
                    <a:pt x="9430" y="294513"/>
                  </a:cubicBezTo>
                  <a:cubicBezTo>
                    <a:pt x="9430" y="293180"/>
                    <a:pt x="8763" y="293180"/>
                    <a:pt x="8096" y="292417"/>
                  </a:cubicBezTo>
                  <a:lnTo>
                    <a:pt x="7429" y="292417"/>
                  </a:lnTo>
                  <a:lnTo>
                    <a:pt x="7429" y="291751"/>
                  </a:lnTo>
                  <a:cubicBezTo>
                    <a:pt x="7429" y="291084"/>
                    <a:pt x="6763" y="290417"/>
                    <a:pt x="6763" y="289655"/>
                  </a:cubicBezTo>
                  <a:lnTo>
                    <a:pt x="6763" y="288989"/>
                  </a:lnTo>
                  <a:cubicBezTo>
                    <a:pt x="7429" y="288322"/>
                    <a:pt x="5429" y="287655"/>
                    <a:pt x="4667" y="286226"/>
                  </a:cubicBezTo>
                  <a:lnTo>
                    <a:pt x="4667" y="284893"/>
                  </a:lnTo>
                  <a:cubicBezTo>
                    <a:pt x="4667" y="283559"/>
                    <a:pt x="4000" y="283559"/>
                    <a:pt x="4000" y="282131"/>
                  </a:cubicBezTo>
                  <a:lnTo>
                    <a:pt x="4000" y="281464"/>
                  </a:lnTo>
                  <a:cubicBezTo>
                    <a:pt x="4000" y="280797"/>
                    <a:pt x="3334" y="280797"/>
                    <a:pt x="3334" y="279368"/>
                  </a:cubicBezTo>
                  <a:lnTo>
                    <a:pt x="3334" y="278701"/>
                  </a:lnTo>
                  <a:cubicBezTo>
                    <a:pt x="3334" y="278035"/>
                    <a:pt x="2667" y="278035"/>
                    <a:pt x="2000" y="278035"/>
                  </a:cubicBezTo>
                  <a:lnTo>
                    <a:pt x="2000" y="276701"/>
                  </a:lnTo>
                  <a:cubicBezTo>
                    <a:pt x="2667" y="275368"/>
                    <a:pt x="2667" y="274606"/>
                    <a:pt x="2667" y="273272"/>
                  </a:cubicBezTo>
                  <a:lnTo>
                    <a:pt x="2667" y="271272"/>
                  </a:lnTo>
                  <a:cubicBezTo>
                    <a:pt x="2667" y="269176"/>
                    <a:pt x="2000" y="267843"/>
                    <a:pt x="1333" y="267176"/>
                  </a:cubicBezTo>
                  <a:cubicBezTo>
                    <a:pt x="1333" y="265843"/>
                    <a:pt x="1333" y="265081"/>
                    <a:pt x="667" y="264414"/>
                  </a:cubicBezTo>
                  <a:lnTo>
                    <a:pt x="667" y="256889"/>
                  </a:lnTo>
                  <a:cubicBezTo>
                    <a:pt x="667" y="256889"/>
                    <a:pt x="1333" y="256889"/>
                    <a:pt x="1333" y="256222"/>
                  </a:cubicBezTo>
                  <a:cubicBezTo>
                    <a:pt x="1333" y="256222"/>
                    <a:pt x="0" y="255556"/>
                    <a:pt x="0" y="254889"/>
                  </a:cubicBezTo>
                  <a:lnTo>
                    <a:pt x="0" y="253555"/>
                  </a:lnTo>
                  <a:cubicBezTo>
                    <a:pt x="667" y="252889"/>
                    <a:pt x="1333" y="252889"/>
                    <a:pt x="1333" y="252889"/>
                  </a:cubicBezTo>
                  <a:lnTo>
                    <a:pt x="2000" y="252889"/>
                  </a:lnTo>
                  <a:cubicBezTo>
                    <a:pt x="2000" y="252222"/>
                    <a:pt x="2000" y="250793"/>
                    <a:pt x="1333" y="249460"/>
                  </a:cubicBezTo>
                  <a:lnTo>
                    <a:pt x="667" y="248793"/>
                  </a:lnTo>
                  <a:cubicBezTo>
                    <a:pt x="0" y="248126"/>
                    <a:pt x="0" y="246697"/>
                    <a:pt x="0" y="246031"/>
                  </a:cubicBezTo>
                  <a:lnTo>
                    <a:pt x="667" y="245364"/>
                  </a:lnTo>
                  <a:cubicBezTo>
                    <a:pt x="1333" y="244697"/>
                    <a:pt x="2000" y="244697"/>
                    <a:pt x="2000" y="244030"/>
                  </a:cubicBezTo>
                  <a:cubicBezTo>
                    <a:pt x="2000" y="244030"/>
                    <a:pt x="1333" y="243364"/>
                    <a:pt x="1333" y="242697"/>
                  </a:cubicBezTo>
                  <a:cubicBezTo>
                    <a:pt x="1333" y="242030"/>
                    <a:pt x="1333" y="242030"/>
                    <a:pt x="2667" y="241364"/>
                  </a:cubicBezTo>
                  <a:lnTo>
                    <a:pt x="2667" y="234505"/>
                  </a:lnTo>
                  <a:cubicBezTo>
                    <a:pt x="2667" y="233172"/>
                    <a:pt x="2667" y="231743"/>
                    <a:pt x="3334" y="231076"/>
                  </a:cubicBezTo>
                  <a:lnTo>
                    <a:pt x="3334" y="228314"/>
                  </a:lnTo>
                  <a:cubicBezTo>
                    <a:pt x="3334" y="227647"/>
                    <a:pt x="3334" y="226981"/>
                    <a:pt x="4000" y="226981"/>
                  </a:cubicBezTo>
                  <a:cubicBezTo>
                    <a:pt x="4000" y="226981"/>
                    <a:pt x="4667" y="226314"/>
                    <a:pt x="4667" y="225647"/>
                  </a:cubicBezTo>
                  <a:cubicBezTo>
                    <a:pt x="4667" y="224980"/>
                    <a:pt x="4000" y="224980"/>
                    <a:pt x="4000" y="224980"/>
                  </a:cubicBezTo>
                  <a:cubicBezTo>
                    <a:pt x="3334" y="224314"/>
                    <a:pt x="3334" y="223647"/>
                    <a:pt x="3334" y="223647"/>
                  </a:cubicBezTo>
                  <a:cubicBezTo>
                    <a:pt x="4000" y="222980"/>
                    <a:pt x="4667" y="222980"/>
                    <a:pt x="4667" y="222314"/>
                  </a:cubicBezTo>
                  <a:cubicBezTo>
                    <a:pt x="4667" y="220980"/>
                    <a:pt x="5334" y="220218"/>
                    <a:pt x="4667" y="220218"/>
                  </a:cubicBezTo>
                  <a:cubicBezTo>
                    <a:pt x="4667" y="218885"/>
                    <a:pt x="5334" y="218885"/>
                    <a:pt x="5334" y="218122"/>
                  </a:cubicBezTo>
                  <a:cubicBezTo>
                    <a:pt x="5334" y="217456"/>
                    <a:pt x="6001" y="216789"/>
                    <a:pt x="6001" y="216789"/>
                  </a:cubicBezTo>
                  <a:cubicBezTo>
                    <a:pt x="6001" y="216122"/>
                    <a:pt x="5334" y="216122"/>
                    <a:pt x="4667" y="216122"/>
                  </a:cubicBezTo>
                  <a:lnTo>
                    <a:pt x="3334" y="216122"/>
                  </a:lnTo>
                  <a:cubicBezTo>
                    <a:pt x="2667" y="216122"/>
                    <a:pt x="2667" y="215455"/>
                    <a:pt x="2667" y="214789"/>
                  </a:cubicBezTo>
                  <a:cubicBezTo>
                    <a:pt x="3334" y="214789"/>
                    <a:pt x="3334" y="214789"/>
                    <a:pt x="3334" y="214122"/>
                  </a:cubicBezTo>
                  <a:lnTo>
                    <a:pt x="3334" y="212789"/>
                  </a:lnTo>
                  <a:lnTo>
                    <a:pt x="4000" y="212122"/>
                  </a:lnTo>
                  <a:cubicBezTo>
                    <a:pt x="4000" y="212122"/>
                    <a:pt x="4000" y="212789"/>
                    <a:pt x="4667" y="212789"/>
                  </a:cubicBezTo>
                  <a:lnTo>
                    <a:pt x="4667" y="213455"/>
                  </a:lnTo>
                  <a:cubicBezTo>
                    <a:pt x="4667" y="212789"/>
                    <a:pt x="5334" y="212789"/>
                    <a:pt x="5334" y="212789"/>
                  </a:cubicBezTo>
                  <a:cubicBezTo>
                    <a:pt x="6001" y="212789"/>
                    <a:pt x="6001" y="212122"/>
                    <a:pt x="6001" y="212122"/>
                  </a:cubicBezTo>
                  <a:cubicBezTo>
                    <a:pt x="6668" y="211455"/>
                    <a:pt x="6668" y="211455"/>
                    <a:pt x="6668" y="210788"/>
                  </a:cubicBezTo>
                  <a:cubicBezTo>
                    <a:pt x="6668" y="210788"/>
                    <a:pt x="6668" y="210121"/>
                    <a:pt x="6001" y="209455"/>
                  </a:cubicBezTo>
                  <a:lnTo>
                    <a:pt x="6001" y="208788"/>
                  </a:lnTo>
                  <a:cubicBezTo>
                    <a:pt x="6001" y="207454"/>
                    <a:pt x="6668" y="205359"/>
                    <a:pt x="6668" y="204025"/>
                  </a:cubicBezTo>
                  <a:cubicBezTo>
                    <a:pt x="6001" y="203359"/>
                    <a:pt x="6001" y="201930"/>
                    <a:pt x="6001" y="201263"/>
                  </a:cubicBezTo>
                  <a:cubicBezTo>
                    <a:pt x="6001" y="200596"/>
                    <a:pt x="6001" y="199168"/>
                    <a:pt x="7334" y="198501"/>
                  </a:cubicBezTo>
                  <a:cubicBezTo>
                    <a:pt x="8001" y="198501"/>
                    <a:pt x="7334" y="198501"/>
                    <a:pt x="7334" y="197834"/>
                  </a:cubicBezTo>
                  <a:lnTo>
                    <a:pt x="7334" y="191643"/>
                  </a:lnTo>
                  <a:cubicBezTo>
                    <a:pt x="6668" y="190310"/>
                    <a:pt x="6668" y="188214"/>
                    <a:pt x="6668" y="186880"/>
                  </a:cubicBezTo>
                  <a:cubicBezTo>
                    <a:pt x="8001" y="185547"/>
                    <a:pt x="8001" y="184118"/>
                    <a:pt x="8001" y="182785"/>
                  </a:cubicBezTo>
                  <a:lnTo>
                    <a:pt x="8001" y="178022"/>
                  </a:lnTo>
                  <a:cubicBezTo>
                    <a:pt x="8001" y="177355"/>
                    <a:pt x="8668" y="177355"/>
                    <a:pt x="9334" y="176689"/>
                  </a:cubicBezTo>
                  <a:cubicBezTo>
                    <a:pt x="9334" y="176022"/>
                    <a:pt x="10001" y="175355"/>
                    <a:pt x="11430" y="174593"/>
                  </a:cubicBezTo>
                  <a:lnTo>
                    <a:pt x="11430" y="172498"/>
                  </a:lnTo>
                  <a:cubicBezTo>
                    <a:pt x="11430" y="172498"/>
                    <a:pt x="10097" y="172498"/>
                    <a:pt x="10097" y="171831"/>
                  </a:cubicBezTo>
                  <a:cubicBezTo>
                    <a:pt x="10097" y="171831"/>
                    <a:pt x="10763" y="171831"/>
                    <a:pt x="10763" y="171164"/>
                  </a:cubicBezTo>
                  <a:cubicBezTo>
                    <a:pt x="10763" y="170497"/>
                    <a:pt x="11430" y="170497"/>
                    <a:pt x="11430" y="170497"/>
                  </a:cubicBezTo>
                  <a:lnTo>
                    <a:pt x="11430" y="169831"/>
                  </a:lnTo>
                  <a:cubicBezTo>
                    <a:pt x="11430" y="169164"/>
                    <a:pt x="10763" y="168497"/>
                    <a:pt x="10097" y="168497"/>
                  </a:cubicBezTo>
                  <a:cubicBezTo>
                    <a:pt x="10097" y="168497"/>
                    <a:pt x="10763" y="167830"/>
                    <a:pt x="11430" y="166402"/>
                  </a:cubicBezTo>
                  <a:cubicBezTo>
                    <a:pt x="11430" y="166402"/>
                    <a:pt x="12097" y="166402"/>
                    <a:pt x="12097" y="165735"/>
                  </a:cubicBezTo>
                  <a:cubicBezTo>
                    <a:pt x="11430" y="165068"/>
                    <a:pt x="11430" y="165068"/>
                    <a:pt x="11430" y="164401"/>
                  </a:cubicBezTo>
                  <a:cubicBezTo>
                    <a:pt x="11430" y="163735"/>
                    <a:pt x="12764" y="162306"/>
                    <a:pt x="13525" y="161639"/>
                  </a:cubicBezTo>
                  <a:lnTo>
                    <a:pt x="14192" y="160972"/>
                  </a:lnTo>
                  <a:lnTo>
                    <a:pt x="13525" y="160972"/>
                  </a:lnTo>
                  <a:cubicBezTo>
                    <a:pt x="13525" y="159639"/>
                    <a:pt x="13525" y="158877"/>
                    <a:pt x="14192" y="158210"/>
                  </a:cubicBezTo>
                  <a:lnTo>
                    <a:pt x="15526" y="156877"/>
                  </a:lnTo>
                  <a:cubicBezTo>
                    <a:pt x="16193" y="156877"/>
                    <a:pt x="16193" y="156210"/>
                    <a:pt x="16193" y="155543"/>
                  </a:cubicBezTo>
                  <a:lnTo>
                    <a:pt x="16193" y="154876"/>
                  </a:lnTo>
                  <a:cubicBezTo>
                    <a:pt x="16193" y="154210"/>
                    <a:pt x="16859" y="153543"/>
                    <a:pt x="17526" y="152781"/>
                  </a:cubicBezTo>
                  <a:lnTo>
                    <a:pt x="17526" y="146494"/>
                  </a:lnTo>
                  <a:cubicBezTo>
                    <a:pt x="18859" y="145828"/>
                    <a:pt x="18859" y="145161"/>
                    <a:pt x="18859" y="143732"/>
                  </a:cubicBezTo>
                  <a:lnTo>
                    <a:pt x="18859" y="142399"/>
                  </a:lnTo>
                  <a:cubicBezTo>
                    <a:pt x="19526" y="141732"/>
                    <a:pt x="18859" y="139637"/>
                    <a:pt x="20193" y="138303"/>
                  </a:cubicBezTo>
                  <a:cubicBezTo>
                    <a:pt x="19526" y="137636"/>
                    <a:pt x="19526" y="136969"/>
                    <a:pt x="19526" y="135541"/>
                  </a:cubicBezTo>
                  <a:cubicBezTo>
                    <a:pt x="19526" y="134874"/>
                    <a:pt x="20193" y="134207"/>
                    <a:pt x="20860" y="134207"/>
                  </a:cubicBezTo>
                  <a:lnTo>
                    <a:pt x="20860" y="133541"/>
                  </a:lnTo>
                  <a:cubicBezTo>
                    <a:pt x="20193" y="132874"/>
                    <a:pt x="20193" y="132207"/>
                    <a:pt x="20193" y="131445"/>
                  </a:cubicBezTo>
                  <a:lnTo>
                    <a:pt x="20193" y="129349"/>
                  </a:lnTo>
                  <a:cubicBezTo>
                    <a:pt x="20193" y="129349"/>
                    <a:pt x="20193" y="128683"/>
                    <a:pt x="20860" y="128683"/>
                  </a:cubicBezTo>
                  <a:cubicBezTo>
                    <a:pt x="22955" y="127349"/>
                    <a:pt x="22955" y="126587"/>
                    <a:pt x="22955" y="125920"/>
                  </a:cubicBezTo>
                  <a:cubicBezTo>
                    <a:pt x="22955" y="125254"/>
                    <a:pt x="22955" y="125254"/>
                    <a:pt x="22289" y="124587"/>
                  </a:cubicBezTo>
                  <a:cubicBezTo>
                    <a:pt x="24384" y="125920"/>
                    <a:pt x="31242" y="101251"/>
                    <a:pt x="30480" y="102679"/>
                  </a:cubicBezTo>
                  <a:lnTo>
                    <a:pt x="30480" y="102013"/>
                  </a:lnTo>
                  <a:cubicBezTo>
                    <a:pt x="31814" y="101346"/>
                    <a:pt x="31814" y="99917"/>
                    <a:pt x="31814" y="99250"/>
                  </a:cubicBezTo>
                  <a:lnTo>
                    <a:pt x="31814" y="98584"/>
                  </a:lnTo>
                  <a:cubicBezTo>
                    <a:pt x="33147" y="97917"/>
                    <a:pt x="33909" y="97250"/>
                    <a:pt x="33909" y="96488"/>
                  </a:cubicBezTo>
                  <a:cubicBezTo>
                    <a:pt x="34576" y="95821"/>
                    <a:pt x="35243" y="95821"/>
                    <a:pt x="35243" y="95821"/>
                  </a:cubicBezTo>
                  <a:lnTo>
                    <a:pt x="35243" y="95059"/>
                  </a:lnTo>
                  <a:cubicBezTo>
                    <a:pt x="35243" y="93726"/>
                    <a:pt x="35909" y="92964"/>
                    <a:pt x="36576" y="92297"/>
                  </a:cubicBezTo>
                  <a:lnTo>
                    <a:pt x="36576" y="89535"/>
                  </a:lnTo>
                  <a:cubicBezTo>
                    <a:pt x="36576" y="88868"/>
                    <a:pt x="36576" y="88868"/>
                    <a:pt x="37243" y="88868"/>
                  </a:cubicBezTo>
                  <a:cubicBezTo>
                    <a:pt x="37909" y="88201"/>
                    <a:pt x="37909" y="86773"/>
                    <a:pt x="38576" y="86773"/>
                  </a:cubicBezTo>
                  <a:cubicBezTo>
                    <a:pt x="38576" y="85439"/>
                    <a:pt x="39243" y="84677"/>
                    <a:pt x="39910" y="84011"/>
                  </a:cubicBezTo>
                  <a:cubicBezTo>
                    <a:pt x="40576" y="84011"/>
                    <a:pt x="39910" y="83344"/>
                    <a:pt x="39910" y="82677"/>
                  </a:cubicBezTo>
                  <a:cubicBezTo>
                    <a:pt x="40576" y="82010"/>
                    <a:pt x="40576" y="81343"/>
                    <a:pt x="42005" y="80581"/>
                  </a:cubicBezTo>
                  <a:lnTo>
                    <a:pt x="42005" y="79915"/>
                  </a:lnTo>
                  <a:cubicBezTo>
                    <a:pt x="42005" y="79915"/>
                    <a:pt x="42005" y="79248"/>
                    <a:pt x="42672" y="79248"/>
                  </a:cubicBezTo>
                  <a:lnTo>
                    <a:pt x="44768" y="75819"/>
                  </a:lnTo>
                  <a:lnTo>
                    <a:pt x="45434" y="75819"/>
                  </a:lnTo>
                  <a:cubicBezTo>
                    <a:pt x="46768" y="75819"/>
                    <a:pt x="48197" y="74486"/>
                    <a:pt x="49530" y="73723"/>
                  </a:cubicBezTo>
                  <a:lnTo>
                    <a:pt x="51625" y="73723"/>
                  </a:lnTo>
                  <a:cubicBezTo>
                    <a:pt x="52292" y="72390"/>
                    <a:pt x="52959" y="71628"/>
                    <a:pt x="54388" y="71628"/>
                  </a:cubicBezTo>
                  <a:lnTo>
                    <a:pt x="56483" y="69532"/>
                  </a:lnTo>
                  <a:lnTo>
                    <a:pt x="57150" y="70199"/>
                  </a:lnTo>
                  <a:lnTo>
                    <a:pt x="57817" y="70199"/>
                  </a:lnTo>
                  <a:cubicBezTo>
                    <a:pt x="59912" y="70199"/>
                    <a:pt x="63341" y="66103"/>
                    <a:pt x="64008" y="66770"/>
                  </a:cubicBezTo>
                  <a:cubicBezTo>
                    <a:pt x="64675" y="66770"/>
                    <a:pt x="64675" y="66770"/>
                    <a:pt x="66104" y="67437"/>
                  </a:cubicBezTo>
                  <a:lnTo>
                    <a:pt x="68199" y="68770"/>
                  </a:lnTo>
                  <a:lnTo>
                    <a:pt x="70961" y="68770"/>
                  </a:lnTo>
                  <a:lnTo>
                    <a:pt x="71628" y="69437"/>
                  </a:lnTo>
                  <a:cubicBezTo>
                    <a:pt x="71628" y="70771"/>
                    <a:pt x="73723" y="72199"/>
                    <a:pt x="76390" y="73533"/>
                  </a:cubicBezTo>
                  <a:lnTo>
                    <a:pt x="77057" y="73533"/>
                  </a:lnTo>
                  <a:cubicBezTo>
                    <a:pt x="77724" y="73533"/>
                    <a:pt x="78391" y="73533"/>
                    <a:pt x="78391" y="74200"/>
                  </a:cubicBezTo>
                  <a:cubicBezTo>
                    <a:pt x="78391" y="74867"/>
                    <a:pt x="78391" y="75533"/>
                    <a:pt x="79724" y="76295"/>
                  </a:cubicBezTo>
                  <a:cubicBezTo>
                    <a:pt x="79724" y="76295"/>
                    <a:pt x="79724" y="76962"/>
                    <a:pt x="80391" y="76962"/>
                  </a:cubicBezTo>
                  <a:cubicBezTo>
                    <a:pt x="81058" y="76962"/>
                    <a:pt x="81058" y="76962"/>
                    <a:pt x="81058" y="76295"/>
                  </a:cubicBezTo>
                  <a:cubicBezTo>
                    <a:pt x="81725" y="76295"/>
                    <a:pt x="82391" y="76295"/>
                    <a:pt x="82391" y="75628"/>
                  </a:cubicBezTo>
                  <a:cubicBezTo>
                    <a:pt x="82391" y="74962"/>
                    <a:pt x="83058" y="74962"/>
                    <a:pt x="83058" y="74962"/>
                  </a:cubicBezTo>
                  <a:cubicBezTo>
                    <a:pt x="83725" y="74962"/>
                    <a:pt x="83725" y="74962"/>
                    <a:pt x="84392" y="75628"/>
                  </a:cubicBezTo>
                  <a:cubicBezTo>
                    <a:pt x="85058" y="76295"/>
                    <a:pt x="81629" y="81153"/>
                    <a:pt x="82296" y="81153"/>
                  </a:cubicBezTo>
                  <a:cubicBezTo>
                    <a:pt x="82963" y="81153"/>
                    <a:pt x="83629" y="81153"/>
                    <a:pt x="83629" y="81820"/>
                  </a:cubicBezTo>
                  <a:cubicBezTo>
                    <a:pt x="84296" y="82487"/>
                    <a:pt x="84963" y="82487"/>
                    <a:pt x="85725" y="82487"/>
                  </a:cubicBezTo>
                  <a:lnTo>
                    <a:pt x="87058" y="82487"/>
                  </a:lnTo>
                  <a:lnTo>
                    <a:pt x="88392" y="84582"/>
                  </a:lnTo>
                  <a:cubicBezTo>
                    <a:pt x="89059" y="85249"/>
                    <a:pt x="89725" y="85916"/>
                    <a:pt x="91154" y="85916"/>
                  </a:cubicBezTo>
                  <a:lnTo>
                    <a:pt x="91821" y="85916"/>
                  </a:lnTo>
                  <a:cubicBezTo>
                    <a:pt x="91821" y="88011"/>
                    <a:pt x="91821" y="90011"/>
                    <a:pt x="92488" y="92107"/>
                  </a:cubicBezTo>
                  <a:cubicBezTo>
                    <a:pt x="92488" y="92773"/>
                    <a:pt x="91821" y="93440"/>
                    <a:pt x="91821" y="93440"/>
                  </a:cubicBezTo>
                  <a:cubicBezTo>
                    <a:pt x="91154" y="93440"/>
                    <a:pt x="91154" y="94107"/>
                    <a:pt x="91154" y="94774"/>
                  </a:cubicBezTo>
                  <a:cubicBezTo>
                    <a:pt x="91154" y="95441"/>
                    <a:pt x="89821" y="95441"/>
                    <a:pt x="89821" y="96107"/>
                  </a:cubicBezTo>
                  <a:cubicBezTo>
                    <a:pt x="89821" y="96774"/>
                    <a:pt x="89821" y="96774"/>
                    <a:pt x="88487" y="98203"/>
                  </a:cubicBezTo>
                  <a:lnTo>
                    <a:pt x="88487" y="98869"/>
                  </a:lnTo>
                  <a:cubicBezTo>
                    <a:pt x="87821" y="99536"/>
                    <a:pt x="87821" y="100203"/>
                    <a:pt x="87821" y="100965"/>
                  </a:cubicBezTo>
                  <a:cubicBezTo>
                    <a:pt x="87154" y="100965"/>
                    <a:pt x="85725" y="101632"/>
                    <a:pt x="85725" y="103061"/>
                  </a:cubicBezTo>
                  <a:lnTo>
                    <a:pt x="85725" y="104394"/>
                  </a:lnTo>
                  <a:cubicBezTo>
                    <a:pt x="83629" y="107823"/>
                    <a:pt x="76105" y="125635"/>
                    <a:pt x="73342" y="131826"/>
                  </a:cubicBezTo>
                  <a:cubicBezTo>
                    <a:pt x="74009" y="131826"/>
                    <a:pt x="73342" y="132493"/>
                    <a:pt x="72676" y="132493"/>
                  </a:cubicBezTo>
                  <a:lnTo>
                    <a:pt x="72676" y="134588"/>
                  </a:lnTo>
                  <a:cubicBezTo>
                    <a:pt x="73247" y="134779"/>
                    <a:pt x="74009" y="135445"/>
                    <a:pt x="73247" y="135445"/>
                  </a:cubicBezTo>
                  <a:close/>
                  <a:moveTo>
                    <a:pt x="82201" y="29146"/>
                  </a:moveTo>
                  <a:cubicBezTo>
                    <a:pt x="81534" y="28480"/>
                    <a:pt x="80105" y="28480"/>
                    <a:pt x="80105" y="28480"/>
                  </a:cubicBezTo>
                  <a:cubicBezTo>
                    <a:pt x="79438" y="29146"/>
                    <a:pt x="78010" y="30575"/>
                    <a:pt x="77343" y="30575"/>
                  </a:cubicBezTo>
                  <a:cubicBezTo>
                    <a:pt x="77343" y="31242"/>
                    <a:pt x="77343" y="31242"/>
                    <a:pt x="76676" y="31242"/>
                  </a:cubicBezTo>
                  <a:cubicBezTo>
                    <a:pt x="76010" y="31242"/>
                    <a:pt x="75343" y="31242"/>
                    <a:pt x="75343" y="30575"/>
                  </a:cubicBezTo>
                  <a:lnTo>
                    <a:pt x="71914" y="27813"/>
                  </a:lnTo>
                  <a:lnTo>
                    <a:pt x="67151" y="27813"/>
                  </a:lnTo>
                  <a:cubicBezTo>
                    <a:pt x="67151" y="27813"/>
                    <a:pt x="67151" y="27146"/>
                    <a:pt x="67818" y="26479"/>
                  </a:cubicBezTo>
                  <a:cubicBezTo>
                    <a:pt x="67151" y="25146"/>
                    <a:pt x="67151" y="25146"/>
                    <a:pt x="65723" y="25146"/>
                  </a:cubicBezTo>
                  <a:cubicBezTo>
                    <a:pt x="64389" y="25146"/>
                    <a:pt x="64389" y="24479"/>
                    <a:pt x="64389" y="23813"/>
                  </a:cubicBezTo>
                  <a:lnTo>
                    <a:pt x="61627" y="20383"/>
                  </a:lnTo>
                  <a:cubicBezTo>
                    <a:pt x="60960" y="20383"/>
                    <a:pt x="60960" y="20383"/>
                    <a:pt x="60960" y="19717"/>
                  </a:cubicBezTo>
                  <a:lnTo>
                    <a:pt x="60960" y="16954"/>
                  </a:lnTo>
                  <a:cubicBezTo>
                    <a:pt x="60293" y="16288"/>
                    <a:pt x="59626" y="16288"/>
                    <a:pt x="59626" y="15621"/>
                  </a:cubicBezTo>
                  <a:cubicBezTo>
                    <a:pt x="59626" y="14954"/>
                    <a:pt x="60293" y="14954"/>
                    <a:pt x="60293" y="14288"/>
                  </a:cubicBezTo>
                  <a:cubicBezTo>
                    <a:pt x="60960" y="13621"/>
                    <a:pt x="61627" y="13621"/>
                    <a:pt x="62389" y="13621"/>
                  </a:cubicBezTo>
                  <a:lnTo>
                    <a:pt x="63055" y="13621"/>
                  </a:lnTo>
                  <a:cubicBezTo>
                    <a:pt x="65151" y="12954"/>
                    <a:pt x="67818" y="10858"/>
                    <a:pt x="69913" y="9525"/>
                  </a:cubicBezTo>
                  <a:cubicBezTo>
                    <a:pt x="69913" y="8192"/>
                    <a:pt x="71247" y="8192"/>
                    <a:pt x="72009" y="8192"/>
                  </a:cubicBezTo>
                  <a:cubicBezTo>
                    <a:pt x="72771" y="8192"/>
                    <a:pt x="73342" y="8192"/>
                    <a:pt x="73342" y="7525"/>
                  </a:cubicBezTo>
                  <a:cubicBezTo>
                    <a:pt x="74009" y="7525"/>
                    <a:pt x="74009" y="6191"/>
                    <a:pt x="74676" y="6191"/>
                  </a:cubicBezTo>
                  <a:cubicBezTo>
                    <a:pt x="76010" y="5524"/>
                    <a:pt x="80867" y="0"/>
                    <a:pt x="82201" y="0"/>
                  </a:cubicBezTo>
                  <a:cubicBezTo>
                    <a:pt x="82201" y="0"/>
                    <a:pt x="82867" y="667"/>
                    <a:pt x="84296" y="667"/>
                  </a:cubicBezTo>
                  <a:cubicBezTo>
                    <a:pt x="85630" y="667"/>
                    <a:pt x="86392" y="667"/>
                    <a:pt x="87725" y="1333"/>
                  </a:cubicBezTo>
                  <a:cubicBezTo>
                    <a:pt x="89059" y="2667"/>
                    <a:pt x="89059" y="2667"/>
                    <a:pt x="89059" y="3429"/>
                  </a:cubicBezTo>
                  <a:cubicBezTo>
                    <a:pt x="89059" y="4096"/>
                    <a:pt x="89059" y="4096"/>
                    <a:pt x="88392" y="4763"/>
                  </a:cubicBezTo>
                  <a:lnTo>
                    <a:pt x="88392" y="5429"/>
                  </a:lnTo>
                  <a:lnTo>
                    <a:pt x="91821" y="5429"/>
                  </a:lnTo>
                  <a:cubicBezTo>
                    <a:pt x="91821" y="5429"/>
                    <a:pt x="91154" y="6096"/>
                    <a:pt x="91154" y="6763"/>
                  </a:cubicBezTo>
                  <a:cubicBezTo>
                    <a:pt x="91154" y="7429"/>
                    <a:pt x="92488" y="8096"/>
                    <a:pt x="93250" y="8858"/>
                  </a:cubicBezTo>
                  <a:lnTo>
                    <a:pt x="94583" y="9525"/>
                  </a:lnTo>
                  <a:lnTo>
                    <a:pt x="100108" y="9525"/>
                  </a:lnTo>
                  <a:cubicBezTo>
                    <a:pt x="100775" y="9525"/>
                    <a:pt x="100775" y="8192"/>
                    <a:pt x="100775" y="8192"/>
                  </a:cubicBezTo>
                  <a:lnTo>
                    <a:pt x="102870" y="8192"/>
                  </a:lnTo>
                  <a:lnTo>
                    <a:pt x="106299" y="10954"/>
                  </a:lnTo>
                  <a:cubicBezTo>
                    <a:pt x="106299" y="10954"/>
                    <a:pt x="103537" y="17145"/>
                    <a:pt x="104204" y="17145"/>
                  </a:cubicBezTo>
                  <a:cubicBezTo>
                    <a:pt x="106299" y="17812"/>
                    <a:pt x="106299" y="17812"/>
                    <a:pt x="106966" y="17812"/>
                  </a:cubicBezTo>
                  <a:lnTo>
                    <a:pt x="109728" y="17812"/>
                  </a:lnTo>
                  <a:lnTo>
                    <a:pt x="110395" y="18478"/>
                  </a:lnTo>
                  <a:cubicBezTo>
                    <a:pt x="110395" y="19812"/>
                    <a:pt x="110395" y="20574"/>
                    <a:pt x="111728" y="21241"/>
                  </a:cubicBezTo>
                  <a:cubicBezTo>
                    <a:pt x="113062" y="21907"/>
                    <a:pt x="113062" y="23336"/>
                    <a:pt x="113062" y="24670"/>
                  </a:cubicBezTo>
                  <a:cubicBezTo>
                    <a:pt x="112395" y="25336"/>
                    <a:pt x="111728" y="25336"/>
                    <a:pt x="110966" y="25336"/>
                  </a:cubicBezTo>
                  <a:cubicBezTo>
                    <a:pt x="110204" y="25336"/>
                    <a:pt x="110300" y="26670"/>
                    <a:pt x="108871" y="26670"/>
                  </a:cubicBezTo>
                  <a:cubicBezTo>
                    <a:pt x="108204" y="26670"/>
                    <a:pt x="107537" y="26670"/>
                    <a:pt x="107537" y="27337"/>
                  </a:cubicBezTo>
                  <a:cubicBezTo>
                    <a:pt x="106204" y="28003"/>
                    <a:pt x="105442" y="28003"/>
                    <a:pt x="104775" y="28003"/>
                  </a:cubicBezTo>
                  <a:lnTo>
                    <a:pt x="102013" y="28003"/>
                  </a:lnTo>
                  <a:cubicBezTo>
                    <a:pt x="102013" y="28670"/>
                    <a:pt x="102013" y="28670"/>
                    <a:pt x="101346" y="28670"/>
                  </a:cubicBezTo>
                  <a:lnTo>
                    <a:pt x="92392" y="28670"/>
                  </a:lnTo>
                  <a:cubicBezTo>
                    <a:pt x="91726" y="28670"/>
                    <a:pt x="91059" y="29337"/>
                    <a:pt x="91059" y="29337"/>
                  </a:cubicBezTo>
                  <a:lnTo>
                    <a:pt x="90392" y="30004"/>
                  </a:lnTo>
                  <a:lnTo>
                    <a:pt x="83534" y="30004"/>
                  </a:lnTo>
                  <a:cubicBezTo>
                    <a:pt x="82867" y="29813"/>
                    <a:pt x="82867" y="29146"/>
                    <a:pt x="82201" y="29146"/>
                  </a:cubicBezTo>
                  <a:close/>
                  <a:moveTo>
                    <a:pt x="109633" y="291846"/>
                  </a:moveTo>
                  <a:cubicBezTo>
                    <a:pt x="110300" y="291179"/>
                    <a:pt x="110966" y="291179"/>
                    <a:pt x="110966" y="289750"/>
                  </a:cubicBezTo>
                  <a:lnTo>
                    <a:pt x="110966" y="289084"/>
                  </a:lnTo>
                  <a:lnTo>
                    <a:pt x="112300" y="289084"/>
                  </a:lnTo>
                  <a:cubicBezTo>
                    <a:pt x="112967" y="289084"/>
                    <a:pt x="112967" y="289084"/>
                    <a:pt x="113633" y="288417"/>
                  </a:cubicBezTo>
                  <a:cubicBezTo>
                    <a:pt x="114300" y="287084"/>
                    <a:pt x="115729" y="286321"/>
                    <a:pt x="117729" y="284988"/>
                  </a:cubicBezTo>
                  <a:lnTo>
                    <a:pt x="118396" y="284321"/>
                  </a:lnTo>
                  <a:lnTo>
                    <a:pt x="117729" y="284321"/>
                  </a:lnTo>
                  <a:cubicBezTo>
                    <a:pt x="116396" y="283655"/>
                    <a:pt x="115633" y="282988"/>
                    <a:pt x="115633" y="282988"/>
                  </a:cubicBezTo>
                  <a:cubicBezTo>
                    <a:pt x="114967" y="282988"/>
                    <a:pt x="114967" y="283655"/>
                    <a:pt x="114967" y="283655"/>
                  </a:cubicBezTo>
                  <a:lnTo>
                    <a:pt x="114967" y="284321"/>
                  </a:lnTo>
                  <a:lnTo>
                    <a:pt x="110204" y="287750"/>
                  </a:lnTo>
                  <a:lnTo>
                    <a:pt x="108109" y="287750"/>
                  </a:lnTo>
                  <a:cubicBezTo>
                    <a:pt x="107442" y="289084"/>
                    <a:pt x="107442" y="289846"/>
                    <a:pt x="107442" y="290513"/>
                  </a:cubicBezTo>
                  <a:cubicBezTo>
                    <a:pt x="106775" y="290513"/>
                    <a:pt x="106775" y="291179"/>
                    <a:pt x="106775" y="291179"/>
                  </a:cubicBezTo>
                  <a:cubicBezTo>
                    <a:pt x="106775" y="291846"/>
                    <a:pt x="107442" y="291846"/>
                    <a:pt x="108109" y="291846"/>
                  </a:cubicBezTo>
                  <a:lnTo>
                    <a:pt x="109633" y="291846"/>
                  </a:lnTo>
                  <a:close/>
                  <a:moveTo>
                    <a:pt x="130207" y="276796"/>
                  </a:moveTo>
                  <a:lnTo>
                    <a:pt x="131540" y="276796"/>
                  </a:lnTo>
                  <a:lnTo>
                    <a:pt x="131540" y="277463"/>
                  </a:lnTo>
                  <a:lnTo>
                    <a:pt x="132207" y="277463"/>
                  </a:lnTo>
                  <a:cubicBezTo>
                    <a:pt x="133540" y="277463"/>
                    <a:pt x="134302" y="277463"/>
                    <a:pt x="134302" y="278797"/>
                  </a:cubicBezTo>
                  <a:lnTo>
                    <a:pt x="134969" y="279464"/>
                  </a:lnTo>
                  <a:lnTo>
                    <a:pt x="134969" y="280797"/>
                  </a:lnTo>
                  <a:cubicBezTo>
                    <a:pt x="134302" y="281464"/>
                    <a:pt x="132874" y="281464"/>
                    <a:pt x="132874" y="281464"/>
                  </a:cubicBezTo>
                  <a:cubicBezTo>
                    <a:pt x="132874" y="280797"/>
                    <a:pt x="132207" y="280130"/>
                    <a:pt x="132207" y="280130"/>
                  </a:cubicBezTo>
                  <a:cubicBezTo>
                    <a:pt x="131540" y="280130"/>
                    <a:pt x="130873" y="280130"/>
                    <a:pt x="130873" y="279464"/>
                  </a:cubicBezTo>
                  <a:cubicBezTo>
                    <a:pt x="130873" y="279464"/>
                    <a:pt x="131540" y="278797"/>
                    <a:pt x="131540" y="278130"/>
                  </a:cubicBezTo>
                  <a:lnTo>
                    <a:pt x="131540" y="277463"/>
                  </a:lnTo>
                  <a:lnTo>
                    <a:pt x="130207" y="277463"/>
                  </a:lnTo>
                  <a:lnTo>
                    <a:pt x="130207" y="276796"/>
                  </a:lnTo>
                  <a:close/>
                  <a:moveTo>
                    <a:pt x="134302" y="275368"/>
                  </a:moveTo>
                  <a:cubicBezTo>
                    <a:pt x="134302" y="275368"/>
                    <a:pt x="133636" y="275368"/>
                    <a:pt x="133636" y="274701"/>
                  </a:cubicBezTo>
                  <a:cubicBezTo>
                    <a:pt x="133636" y="274034"/>
                    <a:pt x="133636" y="274034"/>
                    <a:pt x="134302" y="274034"/>
                  </a:cubicBezTo>
                  <a:cubicBezTo>
                    <a:pt x="134969" y="274034"/>
                    <a:pt x="134969" y="274034"/>
                    <a:pt x="135636" y="274701"/>
                  </a:cubicBezTo>
                  <a:cubicBezTo>
                    <a:pt x="134969" y="275368"/>
                    <a:pt x="134969" y="275368"/>
                    <a:pt x="134302" y="275368"/>
                  </a:cubicBezTo>
                  <a:close/>
                  <a:moveTo>
                    <a:pt x="136398" y="283655"/>
                  </a:moveTo>
                  <a:lnTo>
                    <a:pt x="135731" y="282988"/>
                  </a:lnTo>
                  <a:lnTo>
                    <a:pt x="137065" y="281654"/>
                  </a:lnTo>
                  <a:lnTo>
                    <a:pt x="137731" y="281654"/>
                  </a:lnTo>
                  <a:lnTo>
                    <a:pt x="137731" y="282321"/>
                  </a:lnTo>
                  <a:cubicBezTo>
                    <a:pt x="138398" y="282988"/>
                    <a:pt x="138398" y="283655"/>
                    <a:pt x="138398" y="283655"/>
                  </a:cubicBezTo>
                  <a:cubicBezTo>
                    <a:pt x="138398" y="284321"/>
                    <a:pt x="137731" y="284321"/>
                    <a:pt x="137065" y="284321"/>
                  </a:cubicBezTo>
                  <a:cubicBezTo>
                    <a:pt x="136398" y="284321"/>
                    <a:pt x="136398" y="284321"/>
                    <a:pt x="136398" y="283655"/>
                  </a:cubicBezTo>
                  <a:close/>
                  <a:moveTo>
                    <a:pt x="138398" y="277463"/>
                  </a:moveTo>
                  <a:lnTo>
                    <a:pt x="138398" y="272701"/>
                  </a:lnTo>
                  <a:lnTo>
                    <a:pt x="139065" y="272701"/>
                  </a:lnTo>
                  <a:cubicBezTo>
                    <a:pt x="140398" y="269939"/>
                    <a:pt x="142494" y="268605"/>
                    <a:pt x="143827" y="266510"/>
                  </a:cubicBezTo>
                  <a:lnTo>
                    <a:pt x="145161" y="266510"/>
                  </a:lnTo>
                  <a:cubicBezTo>
                    <a:pt x="145828" y="266510"/>
                    <a:pt x="147256" y="268605"/>
                    <a:pt x="146494" y="268605"/>
                  </a:cubicBezTo>
                  <a:cubicBezTo>
                    <a:pt x="145161" y="269939"/>
                    <a:pt x="144399" y="271367"/>
                    <a:pt x="142399" y="272701"/>
                  </a:cubicBezTo>
                  <a:cubicBezTo>
                    <a:pt x="141732" y="273367"/>
                    <a:pt x="141065" y="274034"/>
                    <a:pt x="141065" y="274796"/>
                  </a:cubicBezTo>
                  <a:lnTo>
                    <a:pt x="141065" y="277559"/>
                  </a:lnTo>
                  <a:cubicBezTo>
                    <a:pt x="141065" y="278225"/>
                    <a:pt x="140398" y="278892"/>
                    <a:pt x="138970" y="280321"/>
                  </a:cubicBezTo>
                  <a:lnTo>
                    <a:pt x="138303" y="280321"/>
                  </a:lnTo>
                  <a:cubicBezTo>
                    <a:pt x="137636" y="279654"/>
                    <a:pt x="137636" y="278987"/>
                    <a:pt x="136969" y="278987"/>
                  </a:cubicBezTo>
                  <a:lnTo>
                    <a:pt x="138398" y="277463"/>
                  </a:lnTo>
                  <a:close/>
                  <a:moveTo>
                    <a:pt x="149447" y="258890"/>
                  </a:moveTo>
                  <a:lnTo>
                    <a:pt x="149447" y="258223"/>
                  </a:lnTo>
                  <a:lnTo>
                    <a:pt x="152210" y="258223"/>
                  </a:lnTo>
                  <a:cubicBezTo>
                    <a:pt x="153543" y="258223"/>
                    <a:pt x="154305" y="258223"/>
                    <a:pt x="155638" y="257556"/>
                  </a:cubicBezTo>
                  <a:cubicBezTo>
                    <a:pt x="156305" y="256222"/>
                    <a:pt x="156305" y="256222"/>
                    <a:pt x="156972" y="256222"/>
                  </a:cubicBezTo>
                  <a:cubicBezTo>
                    <a:pt x="157639" y="256222"/>
                    <a:pt x="157639" y="256222"/>
                    <a:pt x="158306" y="255556"/>
                  </a:cubicBezTo>
                  <a:cubicBezTo>
                    <a:pt x="158972" y="254222"/>
                    <a:pt x="161068" y="254222"/>
                    <a:pt x="160401" y="253460"/>
                  </a:cubicBezTo>
                  <a:cubicBezTo>
                    <a:pt x="161068" y="252793"/>
                    <a:pt x="161068" y="252127"/>
                    <a:pt x="161735" y="252127"/>
                  </a:cubicBezTo>
                  <a:lnTo>
                    <a:pt x="161735" y="250793"/>
                  </a:lnTo>
                  <a:cubicBezTo>
                    <a:pt x="161735" y="250126"/>
                    <a:pt x="161735" y="250126"/>
                    <a:pt x="162401" y="249460"/>
                  </a:cubicBezTo>
                  <a:lnTo>
                    <a:pt x="163735" y="249460"/>
                  </a:lnTo>
                  <a:cubicBezTo>
                    <a:pt x="163735" y="249460"/>
                    <a:pt x="164402" y="249460"/>
                    <a:pt x="163735" y="250126"/>
                  </a:cubicBezTo>
                  <a:cubicBezTo>
                    <a:pt x="163735" y="250793"/>
                    <a:pt x="164402" y="250793"/>
                    <a:pt x="163735" y="250793"/>
                  </a:cubicBezTo>
                  <a:cubicBezTo>
                    <a:pt x="164402" y="251460"/>
                    <a:pt x="165068" y="252127"/>
                    <a:pt x="165830" y="252127"/>
                  </a:cubicBezTo>
                  <a:lnTo>
                    <a:pt x="165830" y="253460"/>
                  </a:lnTo>
                  <a:cubicBezTo>
                    <a:pt x="165830" y="254127"/>
                    <a:pt x="165830" y="254794"/>
                    <a:pt x="166497" y="254794"/>
                  </a:cubicBezTo>
                  <a:lnTo>
                    <a:pt x="166497" y="255461"/>
                  </a:lnTo>
                  <a:cubicBezTo>
                    <a:pt x="165163" y="256794"/>
                    <a:pt x="164402" y="258223"/>
                    <a:pt x="162401" y="258890"/>
                  </a:cubicBezTo>
                  <a:cubicBezTo>
                    <a:pt x="162401" y="259556"/>
                    <a:pt x="162401" y="259556"/>
                    <a:pt x="161735" y="259556"/>
                  </a:cubicBezTo>
                  <a:lnTo>
                    <a:pt x="158972" y="259556"/>
                  </a:lnTo>
                  <a:cubicBezTo>
                    <a:pt x="158306" y="259556"/>
                    <a:pt x="157639" y="260223"/>
                    <a:pt x="157639" y="260223"/>
                  </a:cubicBezTo>
                  <a:cubicBezTo>
                    <a:pt x="157639" y="260223"/>
                    <a:pt x="158306" y="260890"/>
                    <a:pt x="158972" y="260890"/>
                  </a:cubicBezTo>
                  <a:cubicBezTo>
                    <a:pt x="158972" y="260890"/>
                    <a:pt x="159639" y="260890"/>
                    <a:pt x="159639" y="261556"/>
                  </a:cubicBezTo>
                  <a:lnTo>
                    <a:pt x="160306" y="261556"/>
                  </a:lnTo>
                  <a:cubicBezTo>
                    <a:pt x="160306" y="262223"/>
                    <a:pt x="160306" y="262223"/>
                    <a:pt x="159639" y="262890"/>
                  </a:cubicBezTo>
                  <a:cubicBezTo>
                    <a:pt x="158972" y="262890"/>
                    <a:pt x="157544" y="263557"/>
                    <a:pt x="156877" y="264223"/>
                  </a:cubicBezTo>
                  <a:lnTo>
                    <a:pt x="156210" y="264223"/>
                  </a:lnTo>
                  <a:cubicBezTo>
                    <a:pt x="155543" y="264223"/>
                    <a:pt x="154877" y="264223"/>
                    <a:pt x="154115" y="263557"/>
                  </a:cubicBezTo>
                  <a:lnTo>
                    <a:pt x="154115" y="260794"/>
                  </a:lnTo>
                  <a:lnTo>
                    <a:pt x="153448" y="261461"/>
                  </a:lnTo>
                  <a:cubicBezTo>
                    <a:pt x="153448" y="262128"/>
                    <a:pt x="152114" y="263557"/>
                    <a:pt x="151352" y="264223"/>
                  </a:cubicBezTo>
                  <a:lnTo>
                    <a:pt x="149257" y="264223"/>
                  </a:lnTo>
                  <a:cubicBezTo>
                    <a:pt x="149257" y="262890"/>
                    <a:pt x="148590" y="262128"/>
                    <a:pt x="148590" y="261461"/>
                  </a:cubicBezTo>
                  <a:cubicBezTo>
                    <a:pt x="148685" y="260985"/>
                    <a:pt x="148685" y="260318"/>
                    <a:pt x="149447" y="258890"/>
                  </a:cubicBezTo>
                  <a:close/>
                  <a:moveTo>
                    <a:pt x="154210" y="254794"/>
                  </a:moveTo>
                  <a:lnTo>
                    <a:pt x="154877" y="254127"/>
                  </a:lnTo>
                  <a:lnTo>
                    <a:pt x="155543" y="254794"/>
                  </a:lnTo>
                  <a:lnTo>
                    <a:pt x="155543" y="256127"/>
                  </a:lnTo>
                  <a:lnTo>
                    <a:pt x="154877" y="256127"/>
                  </a:lnTo>
                  <a:lnTo>
                    <a:pt x="154210" y="254794"/>
                  </a:lnTo>
                  <a:close/>
                  <a:moveTo>
                    <a:pt x="177546" y="241078"/>
                  </a:moveTo>
                  <a:cubicBezTo>
                    <a:pt x="176879" y="241744"/>
                    <a:pt x="176879" y="242411"/>
                    <a:pt x="176879" y="242411"/>
                  </a:cubicBezTo>
                  <a:lnTo>
                    <a:pt x="176879" y="243078"/>
                  </a:lnTo>
                  <a:cubicBezTo>
                    <a:pt x="176879" y="243078"/>
                    <a:pt x="176213" y="243745"/>
                    <a:pt x="176213" y="243078"/>
                  </a:cubicBezTo>
                  <a:lnTo>
                    <a:pt x="174879" y="240983"/>
                  </a:lnTo>
                  <a:cubicBezTo>
                    <a:pt x="174212" y="240983"/>
                    <a:pt x="174212" y="240316"/>
                    <a:pt x="174212" y="240316"/>
                  </a:cubicBezTo>
                  <a:cubicBezTo>
                    <a:pt x="174212" y="240316"/>
                    <a:pt x="174212" y="239649"/>
                    <a:pt x="174879" y="239649"/>
                  </a:cubicBezTo>
                  <a:cubicBezTo>
                    <a:pt x="175546" y="238316"/>
                    <a:pt x="176213" y="238316"/>
                    <a:pt x="176975" y="237553"/>
                  </a:cubicBezTo>
                  <a:lnTo>
                    <a:pt x="178308" y="237553"/>
                  </a:lnTo>
                  <a:lnTo>
                    <a:pt x="178975" y="238220"/>
                  </a:lnTo>
                  <a:lnTo>
                    <a:pt x="178975" y="238887"/>
                  </a:lnTo>
                  <a:lnTo>
                    <a:pt x="178308" y="239554"/>
                  </a:lnTo>
                  <a:cubicBezTo>
                    <a:pt x="178879" y="239744"/>
                    <a:pt x="178213" y="241078"/>
                    <a:pt x="177546" y="241078"/>
                  </a:cubicBezTo>
                  <a:close/>
                  <a:moveTo>
                    <a:pt x="180975" y="209550"/>
                  </a:moveTo>
                  <a:cubicBezTo>
                    <a:pt x="180975" y="210217"/>
                    <a:pt x="180975" y="210217"/>
                    <a:pt x="181642" y="210884"/>
                  </a:cubicBezTo>
                  <a:lnTo>
                    <a:pt x="181642" y="209550"/>
                  </a:lnTo>
                  <a:lnTo>
                    <a:pt x="180975" y="209550"/>
                  </a:lnTo>
                  <a:close/>
                  <a:moveTo>
                    <a:pt x="189167" y="204025"/>
                  </a:moveTo>
                  <a:cubicBezTo>
                    <a:pt x="189167" y="204692"/>
                    <a:pt x="189167" y="204692"/>
                    <a:pt x="189833" y="204692"/>
                  </a:cubicBezTo>
                  <a:cubicBezTo>
                    <a:pt x="190500" y="204692"/>
                    <a:pt x="190500" y="204025"/>
                    <a:pt x="190500" y="203359"/>
                  </a:cubicBezTo>
                  <a:cubicBezTo>
                    <a:pt x="190500" y="202692"/>
                    <a:pt x="190500" y="202692"/>
                    <a:pt x="189833" y="202692"/>
                  </a:cubicBezTo>
                  <a:cubicBezTo>
                    <a:pt x="189167" y="203359"/>
                    <a:pt x="189167" y="203359"/>
                    <a:pt x="189167" y="204025"/>
                  </a:cubicBezTo>
                  <a:close/>
                  <a:moveTo>
                    <a:pt x="204978" y="179356"/>
                  </a:moveTo>
                  <a:cubicBezTo>
                    <a:pt x="204978" y="179356"/>
                    <a:pt x="204311" y="180022"/>
                    <a:pt x="204311" y="180689"/>
                  </a:cubicBezTo>
                  <a:lnTo>
                    <a:pt x="204311" y="180022"/>
                  </a:lnTo>
                  <a:cubicBezTo>
                    <a:pt x="203644" y="180022"/>
                    <a:pt x="203644" y="180022"/>
                    <a:pt x="203644" y="180689"/>
                  </a:cubicBezTo>
                  <a:lnTo>
                    <a:pt x="202978" y="181356"/>
                  </a:lnTo>
                  <a:lnTo>
                    <a:pt x="202311" y="181356"/>
                  </a:lnTo>
                  <a:lnTo>
                    <a:pt x="201644" y="182023"/>
                  </a:lnTo>
                  <a:lnTo>
                    <a:pt x="202311" y="182023"/>
                  </a:lnTo>
                  <a:cubicBezTo>
                    <a:pt x="202311" y="182023"/>
                    <a:pt x="201644" y="182690"/>
                    <a:pt x="200977" y="182690"/>
                  </a:cubicBezTo>
                  <a:cubicBezTo>
                    <a:pt x="200311" y="183356"/>
                    <a:pt x="200311" y="183356"/>
                    <a:pt x="198882" y="183356"/>
                  </a:cubicBezTo>
                  <a:cubicBezTo>
                    <a:pt x="197548" y="183356"/>
                    <a:pt x="195453" y="184023"/>
                    <a:pt x="194786" y="185452"/>
                  </a:cubicBezTo>
                  <a:lnTo>
                    <a:pt x="195453" y="185452"/>
                  </a:lnTo>
                  <a:cubicBezTo>
                    <a:pt x="196120" y="185452"/>
                    <a:pt x="196787" y="185452"/>
                    <a:pt x="198882" y="184118"/>
                  </a:cubicBezTo>
                  <a:cubicBezTo>
                    <a:pt x="195453" y="187547"/>
                    <a:pt x="195453" y="187547"/>
                    <a:pt x="195453" y="188214"/>
                  </a:cubicBezTo>
                  <a:lnTo>
                    <a:pt x="196120" y="188214"/>
                  </a:lnTo>
                  <a:cubicBezTo>
                    <a:pt x="196120" y="188881"/>
                    <a:pt x="196787" y="188881"/>
                    <a:pt x="196787" y="188881"/>
                  </a:cubicBezTo>
                  <a:lnTo>
                    <a:pt x="197453" y="188214"/>
                  </a:lnTo>
                  <a:cubicBezTo>
                    <a:pt x="198787" y="187547"/>
                    <a:pt x="198787" y="186880"/>
                    <a:pt x="200882" y="186880"/>
                  </a:cubicBezTo>
                  <a:lnTo>
                    <a:pt x="202216" y="186880"/>
                  </a:lnTo>
                  <a:lnTo>
                    <a:pt x="202216" y="185547"/>
                  </a:lnTo>
                  <a:cubicBezTo>
                    <a:pt x="202216" y="184880"/>
                    <a:pt x="203549" y="184214"/>
                    <a:pt x="203549" y="184214"/>
                  </a:cubicBezTo>
                  <a:cubicBezTo>
                    <a:pt x="203549" y="184214"/>
                    <a:pt x="204883" y="184214"/>
                    <a:pt x="204216" y="183547"/>
                  </a:cubicBezTo>
                  <a:lnTo>
                    <a:pt x="204216" y="180785"/>
                  </a:lnTo>
                  <a:lnTo>
                    <a:pt x="204978" y="179356"/>
                  </a:lnTo>
                  <a:close/>
                  <a:moveTo>
                    <a:pt x="200215" y="202025"/>
                  </a:moveTo>
                  <a:lnTo>
                    <a:pt x="198882" y="202025"/>
                  </a:lnTo>
                  <a:cubicBezTo>
                    <a:pt x="198882" y="201359"/>
                    <a:pt x="199549" y="201359"/>
                    <a:pt x="199549" y="201359"/>
                  </a:cubicBezTo>
                  <a:lnTo>
                    <a:pt x="200215" y="202025"/>
                  </a:lnTo>
                  <a:close/>
                  <a:moveTo>
                    <a:pt x="205645" y="162877"/>
                  </a:moveTo>
                  <a:lnTo>
                    <a:pt x="205645" y="164211"/>
                  </a:lnTo>
                  <a:cubicBezTo>
                    <a:pt x="206312" y="164211"/>
                    <a:pt x="206312" y="164211"/>
                    <a:pt x="206978" y="164878"/>
                  </a:cubicBezTo>
                  <a:lnTo>
                    <a:pt x="206978" y="162116"/>
                  </a:lnTo>
                  <a:cubicBezTo>
                    <a:pt x="206312" y="162877"/>
                    <a:pt x="206312" y="162877"/>
                    <a:pt x="205645" y="162877"/>
                  </a:cubicBezTo>
                  <a:close/>
                  <a:moveTo>
                    <a:pt x="211836" y="177355"/>
                  </a:moveTo>
                  <a:lnTo>
                    <a:pt x="211169" y="177355"/>
                  </a:lnTo>
                  <a:lnTo>
                    <a:pt x="211169" y="176689"/>
                  </a:lnTo>
                  <a:cubicBezTo>
                    <a:pt x="211836" y="176022"/>
                    <a:pt x="212503" y="176022"/>
                    <a:pt x="212503" y="176022"/>
                  </a:cubicBezTo>
                  <a:lnTo>
                    <a:pt x="212503" y="176689"/>
                  </a:lnTo>
                  <a:cubicBezTo>
                    <a:pt x="212503" y="177355"/>
                    <a:pt x="212503" y="177355"/>
                    <a:pt x="211836" y="177355"/>
                  </a:cubicBezTo>
                  <a:close/>
                  <a:moveTo>
                    <a:pt x="212503" y="161544"/>
                  </a:moveTo>
                  <a:lnTo>
                    <a:pt x="213836" y="160211"/>
                  </a:lnTo>
                  <a:lnTo>
                    <a:pt x="213169" y="160211"/>
                  </a:lnTo>
                  <a:cubicBezTo>
                    <a:pt x="212503" y="160211"/>
                    <a:pt x="212503" y="160211"/>
                    <a:pt x="211836" y="160877"/>
                  </a:cubicBezTo>
                  <a:lnTo>
                    <a:pt x="212503" y="16154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1B3F8AA-3429-444A-A80A-C8B9C8EFFBC0}"/>
                </a:ext>
              </a:extLst>
            </p:cNvPr>
            <p:cNvSpPr/>
            <p:nvPr/>
          </p:nvSpPr>
          <p:spPr>
            <a:xfrm>
              <a:off x="5087588" y="2933700"/>
              <a:ext cx="228600" cy="628650"/>
            </a:xfrm>
            <a:custGeom>
              <a:avLst/>
              <a:gdLst>
                <a:gd name="connsiteX0" fmla="*/ 12192 w 228600"/>
                <a:gd name="connsiteY0" fmla="*/ 596741 h 628650"/>
                <a:gd name="connsiteX1" fmla="*/ 10858 w 228600"/>
                <a:gd name="connsiteY1" fmla="*/ 595408 h 628650"/>
                <a:gd name="connsiteX2" fmla="*/ 12192 w 228600"/>
                <a:gd name="connsiteY2" fmla="*/ 591979 h 628650"/>
                <a:gd name="connsiteX3" fmla="*/ 11525 w 228600"/>
                <a:gd name="connsiteY3" fmla="*/ 591312 h 628650"/>
                <a:gd name="connsiteX4" fmla="*/ 8763 w 228600"/>
                <a:gd name="connsiteY4" fmla="*/ 587216 h 628650"/>
                <a:gd name="connsiteX5" fmla="*/ 8096 w 228600"/>
                <a:gd name="connsiteY5" fmla="*/ 587216 h 628650"/>
                <a:gd name="connsiteX6" fmla="*/ 8763 w 228600"/>
                <a:gd name="connsiteY6" fmla="*/ 584454 h 628650"/>
                <a:gd name="connsiteX7" fmla="*/ 8763 w 228600"/>
                <a:gd name="connsiteY7" fmla="*/ 579692 h 628650"/>
                <a:gd name="connsiteX8" fmla="*/ 7430 w 228600"/>
                <a:gd name="connsiteY8" fmla="*/ 575596 h 628650"/>
                <a:gd name="connsiteX9" fmla="*/ 3334 w 228600"/>
                <a:gd name="connsiteY9" fmla="*/ 569405 h 628650"/>
                <a:gd name="connsiteX10" fmla="*/ 4001 w 228600"/>
                <a:gd name="connsiteY10" fmla="*/ 567309 h 628650"/>
                <a:gd name="connsiteX11" fmla="*/ 3334 w 228600"/>
                <a:gd name="connsiteY11" fmla="*/ 566642 h 628650"/>
                <a:gd name="connsiteX12" fmla="*/ 2000 w 228600"/>
                <a:gd name="connsiteY12" fmla="*/ 559784 h 628650"/>
                <a:gd name="connsiteX13" fmla="*/ 667 w 228600"/>
                <a:gd name="connsiteY13" fmla="*/ 557022 h 628650"/>
                <a:gd name="connsiteX14" fmla="*/ 667 w 228600"/>
                <a:gd name="connsiteY14" fmla="*/ 556260 h 628650"/>
                <a:gd name="connsiteX15" fmla="*/ 0 w 228600"/>
                <a:gd name="connsiteY15" fmla="*/ 543878 h 628650"/>
                <a:gd name="connsiteX16" fmla="*/ 2096 w 228600"/>
                <a:gd name="connsiteY16" fmla="*/ 508921 h 628650"/>
                <a:gd name="connsiteX17" fmla="*/ 4191 w 228600"/>
                <a:gd name="connsiteY17" fmla="*/ 504825 h 628650"/>
                <a:gd name="connsiteX18" fmla="*/ 4858 w 228600"/>
                <a:gd name="connsiteY18" fmla="*/ 500063 h 628650"/>
                <a:gd name="connsiteX19" fmla="*/ 6191 w 228600"/>
                <a:gd name="connsiteY19" fmla="*/ 498729 h 628650"/>
                <a:gd name="connsiteX20" fmla="*/ 5525 w 228600"/>
                <a:gd name="connsiteY20" fmla="*/ 497396 h 628650"/>
                <a:gd name="connsiteX21" fmla="*/ 6858 w 228600"/>
                <a:gd name="connsiteY21" fmla="*/ 491871 h 628650"/>
                <a:gd name="connsiteX22" fmla="*/ 4763 w 228600"/>
                <a:gd name="connsiteY22" fmla="*/ 489109 h 628650"/>
                <a:gd name="connsiteX23" fmla="*/ 5429 w 228600"/>
                <a:gd name="connsiteY23" fmla="*/ 487013 h 628650"/>
                <a:gd name="connsiteX24" fmla="*/ 5429 w 228600"/>
                <a:gd name="connsiteY24" fmla="*/ 485680 h 628650"/>
                <a:gd name="connsiteX25" fmla="*/ 6763 w 228600"/>
                <a:gd name="connsiteY25" fmla="*/ 480917 h 628650"/>
                <a:gd name="connsiteX26" fmla="*/ 5429 w 228600"/>
                <a:gd name="connsiteY26" fmla="*/ 478822 h 628650"/>
                <a:gd name="connsiteX27" fmla="*/ 5429 w 228600"/>
                <a:gd name="connsiteY27" fmla="*/ 476726 h 628650"/>
                <a:gd name="connsiteX28" fmla="*/ 8192 w 228600"/>
                <a:gd name="connsiteY28" fmla="*/ 471202 h 628650"/>
                <a:gd name="connsiteX29" fmla="*/ 8192 w 228600"/>
                <a:gd name="connsiteY29" fmla="*/ 469868 h 628650"/>
                <a:gd name="connsiteX30" fmla="*/ 8858 w 228600"/>
                <a:gd name="connsiteY30" fmla="*/ 467773 h 628650"/>
                <a:gd name="connsiteX31" fmla="*/ 8858 w 228600"/>
                <a:gd name="connsiteY31" fmla="*/ 463010 h 628650"/>
                <a:gd name="connsiteX32" fmla="*/ 9525 w 228600"/>
                <a:gd name="connsiteY32" fmla="*/ 454819 h 628650"/>
                <a:gd name="connsiteX33" fmla="*/ 9525 w 228600"/>
                <a:gd name="connsiteY33" fmla="*/ 452057 h 628650"/>
                <a:gd name="connsiteX34" fmla="*/ 10192 w 228600"/>
                <a:gd name="connsiteY34" fmla="*/ 450723 h 628650"/>
                <a:gd name="connsiteX35" fmla="*/ 10192 w 228600"/>
                <a:gd name="connsiteY35" fmla="*/ 449390 h 628650"/>
                <a:gd name="connsiteX36" fmla="*/ 9525 w 228600"/>
                <a:gd name="connsiteY36" fmla="*/ 448056 h 628650"/>
                <a:gd name="connsiteX37" fmla="*/ 11621 w 228600"/>
                <a:gd name="connsiteY37" fmla="*/ 440531 h 628650"/>
                <a:gd name="connsiteX38" fmla="*/ 11621 w 228600"/>
                <a:gd name="connsiteY38" fmla="*/ 439198 h 628650"/>
                <a:gd name="connsiteX39" fmla="*/ 13716 w 228600"/>
                <a:gd name="connsiteY39" fmla="*/ 435102 h 628650"/>
                <a:gd name="connsiteX40" fmla="*/ 13716 w 228600"/>
                <a:gd name="connsiteY40" fmla="*/ 428625 h 628650"/>
                <a:gd name="connsiteX41" fmla="*/ 14383 w 228600"/>
                <a:gd name="connsiteY41" fmla="*/ 427292 h 628650"/>
                <a:gd name="connsiteX42" fmla="*/ 15050 w 228600"/>
                <a:gd name="connsiteY42" fmla="*/ 426625 h 628650"/>
                <a:gd name="connsiteX43" fmla="*/ 14383 w 228600"/>
                <a:gd name="connsiteY43" fmla="*/ 424529 h 628650"/>
                <a:gd name="connsiteX44" fmla="*/ 15050 w 228600"/>
                <a:gd name="connsiteY44" fmla="*/ 421100 h 628650"/>
                <a:gd name="connsiteX45" fmla="*/ 16383 w 228600"/>
                <a:gd name="connsiteY45" fmla="*/ 417671 h 628650"/>
                <a:gd name="connsiteX46" fmla="*/ 16383 w 228600"/>
                <a:gd name="connsiteY46" fmla="*/ 417005 h 628650"/>
                <a:gd name="connsiteX47" fmla="*/ 15716 w 228600"/>
                <a:gd name="connsiteY47" fmla="*/ 414242 h 628650"/>
                <a:gd name="connsiteX48" fmla="*/ 15716 w 228600"/>
                <a:gd name="connsiteY48" fmla="*/ 412909 h 628650"/>
                <a:gd name="connsiteX49" fmla="*/ 17050 w 228600"/>
                <a:gd name="connsiteY49" fmla="*/ 410813 h 628650"/>
                <a:gd name="connsiteX50" fmla="*/ 17717 w 228600"/>
                <a:gd name="connsiteY50" fmla="*/ 410147 h 628650"/>
                <a:gd name="connsiteX51" fmla="*/ 17050 w 228600"/>
                <a:gd name="connsiteY51" fmla="*/ 409480 h 628650"/>
                <a:gd name="connsiteX52" fmla="*/ 19145 w 228600"/>
                <a:gd name="connsiteY52" fmla="*/ 404717 h 628650"/>
                <a:gd name="connsiteX53" fmla="*/ 18479 w 228600"/>
                <a:gd name="connsiteY53" fmla="*/ 404050 h 628650"/>
                <a:gd name="connsiteX54" fmla="*/ 19145 w 228600"/>
                <a:gd name="connsiteY54" fmla="*/ 399955 h 628650"/>
                <a:gd name="connsiteX55" fmla="*/ 19145 w 228600"/>
                <a:gd name="connsiteY55" fmla="*/ 397859 h 628650"/>
                <a:gd name="connsiteX56" fmla="*/ 21241 w 228600"/>
                <a:gd name="connsiteY56" fmla="*/ 389668 h 628650"/>
                <a:gd name="connsiteX57" fmla="*/ 21908 w 228600"/>
                <a:gd name="connsiteY57" fmla="*/ 389001 h 628650"/>
                <a:gd name="connsiteX58" fmla="*/ 21241 w 228600"/>
                <a:gd name="connsiteY58" fmla="*/ 388334 h 628650"/>
                <a:gd name="connsiteX59" fmla="*/ 23336 w 228600"/>
                <a:gd name="connsiteY59" fmla="*/ 383572 h 628650"/>
                <a:gd name="connsiteX60" fmla="*/ 24003 w 228600"/>
                <a:gd name="connsiteY60" fmla="*/ 379476 h 628650"/>
                <a:gd name="connsiteX61" fmla="*/ 24003 w 228600"/>
                <a:gd name="connsiteY61" fmla="*/ 378809 h 628650"/>
                <a:gd name="connsiteX62" fmla="*/ 23336 w 228600"/>
                <a:gd name="connsiteY62" fmla="*/ 377476 h 628650"/>
                <a:gd name="connsiteX63" fmla="*/ 24003 w 228600"/>
                <a:gd name="connsiteY63" fmla="*/ 376142 h 628650"/>
                <a:gd name="connsiteX64" fmla="*/ 27432 w 228600"/>
                <a:gd name="connsiteY64" fmla="*/ 371380 h 628650"/>
                <a:gd name="connsiteX65" fmla="*/ 26099 w 228600"/>
                <a:gd name="connsiteY65" fmla="*/ 367284 h 628650"/>
                <a:gd name="connsiteX66" fmla="*/ 26099 w 228600"/>
                <a:gd name="connsiteY66" fmla="*/ 365950 h 628650"/>
                <a:gd name="connsiteX67" fmla="*/ 29528 w 228600"/>
                <a:gd name="connsiteY67" fmla="*/ 357759 h 628650"/>
                <a:gd name="connsiteX68" fmla="*/ 30861 w 228600"/>
                <a:gd name="connsiteY68" fmla="*/ 352997 h 628650"/>
                <a:gd name="connsiteX69" fmla="*/ 30194 w 228600"/>
                <a:gd name="connsiteY69" fmla="*/ 352330 h 628650"/>
                <a:gd name="connsiteX70" fmla="*/ 32290 w 228600"/>
                <a:gd name="connsiteY70" fmla="*/ 348234 h 628650"/>
                <a:gd name="connsiteX71" fmla="*/ 33623 w 228600"/>
                <a:gd name="connsiteY71" fmla="*/ 340709 h 628650"/>
                <a:gd name="connsiteX72" fmla="*/ 33623 w 228600"/>
                <a:gd name="connsiteY72" fmla="*/ 337947 h 628650"/>
                <a:gd name="connsiteX73" fmla="*/ 35719 w 228600"/>
                <a:gd name="connsiteY73" fmla="*/ 330422 h 628650"/>
                <a:gd name="connsiteX74" fmla="*/ 37052 w 228600"/>
                <a:gd name="connsiteY74" fmla="*/ 326326 h 628650"/>
                <a:gd name="connsiteX75" fmla="*/ 37719 w 228600"/>
                <a:gd name="connsiteY75" fmla="*/ 322231 h 628650"/>
                <a:gd name="connsiteX76" fmla="*/ 40481 w 228600"/>
                <a:gd name="connsiteY76" fmla="*/ 315373 h 628650"/>
                <a:gd name="connsiteX77" fmla="*/ 39815 w 228600"/>
                <a:gd name="connsiteY77" fmla="*/ 314039 h 628650"/>
                <a:gd name="connsiteX78" fmla="*/ 40481 w 228600"/>
                <a:gd name="connsiteY78" fmla="*/ 309944 h 628650"/>
                <a:gd name="connsiteX79" fmla="*/ 40481 w 228600"/>
                <a:gd name="connsiteY79" fmla="*/ 307848 h 628650"/>
                <a:gd name="connsiteX80" fmla="*/ 41148 w 228600"/>
                <a:gd name="connsiteY80" fmla="*/ 307181 h 628650"/>
                <a:gd name="connsiteX81" fmla="*/ 40481 w 228600"/>
                <a:gd name="connsiteY81" fmla="*/ 304419 h 628650"/>
                <a:gd name="connsiteX82" fmla="*/ 43244 w 228600"/>
                <a:gd name="connsiteY82" fmla="*/ 301657 h 628650"/>
                <a:gd name="connsiteX83" fmla="*/ 43244 w 228600"/>
                <a:gd name="connsiteY83" fmla="*/ 297561 h 628650"/>
                <a:gd name="connsiteX84" fmla="*/ 45339 w 228600"/>
                <a:gd name="connsiteY84" fmla="*/ 294799 h 628650"/>
                <a:gd name="connsiteX85" fmla="*/ 44672 w 228600"/>
                <a:gd name="connsiteY85" fmla="*/ 293465 h 628650"/>
                <a:gd name="connsiteX86" fmla="*/ 44672 w 228600"/>
                <a:gd name="connsiteY86" fmla="*/ 291465 h 628650"/>
                <a:gd name="connsiteX87" fmla="*/ 46768 w 228600"/>
                <a:gd name="connsiteY87" fmla="*/ 286703 h 628650"/>
                <a:gd name="connsiteX88" fmla="*/ 48101 w 228600"/>
                <a:gd name="connsiteY88" fmla="*/ 284607 h 628650"/>
                <a:gd name="connsiteX89" fmla="*/ 48768 w 228600"/>
                <a:gd name="connsiteY89" fmla="*/ 282512 h 628650"/>
                <a:gd name="connsiteX90" fmla="*/ 48101 w 228600"/>
                <a:gd name="connsiteY90" fmla="*/ 281845 h 628650"/>
                <a:gd name="connsiteX91" fmla="*/ 48101 w 228600"/>
                <a:gd name="connsiteY91" fmla="*/ 279749 h 628650"/>
                <a:gd name="connsiteX92" fmla="*/ 50864 w 228600"/>
                <a:gd name="connsiteY92" fmla="*/ 276320 h 628650"/>
                <a:gd name="connsiteX93" fmla="*/ 50864 w 228600"/>
                <a:gd name="connsiteY93" fmla="*/ 274987 h 628650"/>
                <a:gd name="connsiteX94" fmla="*/ 50864 w 228600"/>
                <a:gd name="connsiteY94" fmla="*/ 270891 h 628650"/>
                <a:gd name="connsiteX95" fmla="*/ 51530 w 228600"/>
                <a:gd name="connsiteY95" fmla="*/ 268796 h 628650"/>
                <a:gd name="connsiteX96" fmla="*/ 52864 w 228600"/>
                <a:gd name="connsiteY96" fmla="*/ 265367 h 628650"/>
                <a:gd name="connsiteX97" fmla="*/ 53531 w 228600"/>
                <a:gd name="connsiteY97" fmla="*/ 261271 h 628650"/>
                <a:gd name="connsiteX98" fmla="*/ 54197 w 228600"/>
                <a:gd name="connsiteY98" fmla="*/ 255746 h 628650"/>
                <a:gd name="connsiteX99" fmla="*/ 56960 w 228600"/>
                <a:gd name="connsiteY99" fmla="*/ 252317 h 628650"/>
                <a:gd name="connsiteX100" fmla="*/ 57626 w 228600"/>
                <a:gd name="connsiteY100" fmla="*/ 244793 h 628650"/>
                <a:gd name="connsiteX101" fmla="*/ 58293 w 228600"/>
                <a:gd name="connsiteY101" fmla="*/ 240030 h 628650"/>
                <a:gd name="connsiteX102" fmla="*/ 59627 w 228600"/>
                <a:gd name="connsiteY102" fmla="*/ 237268 h 628650"/>
                <a:gd name="connsiteX103" fmla="*/ 58960 w 228600"/>
                <a:gd name="connsiteY103" fmla="*/ 234506 h 628650"/>
                <a:gd name="connsiteX104" fmla="*/ 59627 w 228600"/>
                <a:gd name="connsiteY104" fmla="*/ 233172 h 628650"/>
                <a:gd name="connsiteX105" fmla="*/ 61722 w 228600"/>
                <a:gd name="connsiteY105" fmla="*/ 230410 h 628650"/>
                <a:gd name="connsiteX106" fmla="*/ 63056 w 228600"/>
                <a:gd name="connsiteY106" fmla="*/ 222218 h 628650"/>
                <a:gd name="connsiteX107" fmla="*/ 64389 w 228600"/>
                <a:gd name="connsiteY107" fmla="*/ 218123 h 628650"/>
                <a:gd name="connsiteX108" fmla="*/ 66485 w 228600"/>
                <a:gd name="connsiteY108" fmla="*/ 209169 h 628650"/>
                <a:gd name="connsiteX109" fmla="*/ 67818 w 228600"/>
                <a:gd name="connsiteY109" fmla="*/ 207074 h 628650"/>
                <a:gd name="connsiteX110" fmla="*/ 70580 w 228600"/>
                <a:gd name="connsiteY110" fmla="*/ 201549 h 628650"/>
                <a:gd name="connsiteX111" fmla="*/ 71247 w 228600"/>
                <a:gd name="connsiteY111" fmla="*/ 198787 h 628650"/>
                <a:gd name="connsiteX112" fmla="*/ 71247 w 228600"/>
                <a:gd name="connsiteY112" fmla="*/ 197453 h 628650"/>
                <a:gd name="connsiteX113" fmla="*/ 74676 w 228600"/>
                <a:gd name="connsiteY113" fmla="*/ 187166 h 628650"/>
                <a:gd name="connsiteX114" fmla="*/ 75343 w 228600"/>
                <a:gd name="connsiteY114" fmla="*/ 187166 h 628650"/>
                <a:gd name="connsiteX115" fmla="*/ 75343 w 228600"/>
                <a:gd name="connsiteY115" fmla="*/ 186500 h 628650"/>
                <a:gd name="connsiteX116" fmla="*/ 76676 w 228600"/>
                <a:gd name="connsiteY116" fmla="*/ 183737 h 628650"/>
                <a:gd name="connsiteX117" fmla="*/ 77343 w 228600"/>
                <a:gd name="connsiteY117" fmla="*/ 178213 h 628650"/>
                <a:gd name="connsiteX118" fmla="*/ 79439 w 228600"/>
                <a:gd name="connsiteY118" fmla="*/ 177546 h 628650"/>
                <a:gd name="connsiteX119" fmla="*/ 78772 w 228600"/>
                <a:gd name="connsiteY119" fmla="*/ 174784 h 628650"/>
                <a:gd name="connsiteX120" fmla="*/ 79439 w 228600"/>
                <a:gd name="connsiteY120" fmla="*/ 170021 h 628650"/>
                <a:gd name="connsiteX121" fmla="*/ 80772 w 228600"/>
                <a:gd name="connsiteY121" fmla="*/ 163830 h 628650"/>
                <a:gd name="connsiteX122" fmla="*/ 82868 w 228600"/>
                <a:gd name="connsiteY122" fmla="*/ 159068 h 628650"/>
                <a:gd name="connsiteX123" fmla="*/ 83534 w 228600"/>
                <a:gd name="connsiteY123" fmla="*/ 157734 h 628650"/>
                <a:gd name="connsiteX124" fmla="*/ 85630 w 228600"/>
                <a:gd name="connsiteY124" fmla="*/ 151543 h 628650"/>
                <a:gd name="connsiteX125" fmla="*/ 85630 w 228600"/>
                <a:gd name="connsiteY125" fmla="*/ 150209 h 628650"/>
                <a:gd name="connsiteX126" fmla="*/ 86963 w 228600"/>
                <a:gd name="connsiteY126" fmla="*/ 147447 h 628650"/>
                <a:gd name="connsiteX127" fmla="*/ 86963 w 228600"/>
                <a:gd name="connsiteY127" fmla="*/ 146114 h 628650"/>
                <a:gd name="connsiteX128" fmla="*/ 88297 w 228600"/>
                <a:gd name="connsiteY128" fmla="*/ 141351 h 628650"/>
                <a:gd name="connsiteX129" fmla="*/ 89630 w 228600"/>
                <a:gd name="connsiteY129" fmla="*/ 140684 h 628650"/>
                <a:gd name="connsiteX130" fmla="*/ 88964 w 228600"/>
                <a:gd name="connsiteY130" fmla="*/ 139351 h 628650"/>
                <a:gd name="connsiteX131" fmla="*/ 92393 w 228600"/>
                <a:gd name="connsiteY131" fmla="*/ 135922 h 628650"/>
                <a:gd name="connsiteX132" fmla="*/ 91059 w 228600"/>
                <a:gd name="connsiteY132" fmla="*/ 133160 h 628650"/>
                <a:gd name="connsiteX133" fmla="*/ 92393 w 228600"/>
                <a:gd name="connsiteY133" fmla="*/ 131826 h 628650"/>
                <a:gd name="connsiteX134" fmla="*/ 97155 w 228600"/>
                <a:gd name="connsiteY134" fmla="*/ 114681 h 628650"/>
                <a:gd name="connsiteX135" fmla="*/ 97822 w 228600"/>
                <a:gd name="connsiteY135" fmla="*/ 114014 h 628650"/>
                <a:gd name="connsiteX136" fmla="*/ 99155 w 228600"/>
                <a:gd name="connsiteY136" fmla="*/ 110585 h 628650"/>
                <a:gd name="connsiteX137" fmla="*/ 99155 w 228600"/>
                <a:gd name="connsiteY137" fmla="*/ 109919 h 628650"/>
                <a:gd name="connsiteX138" fmla="*/ 101918 w 228600"/>
                <a:gd name="connsiteY138" fmla="*/ 105156 h 628650"/>
                <a:gd name="connsiteX139" fmla="*/ 102584 w 228600"/>
                <a:gd name="connsiteY139" fmla="*/ 101727 h 628650"/>
                <a:gd name="connsiteX140" fmla="*/ 102584 w 228600"/>
                <a:gd name="connsiteY140" fmla="*/ 101060 h 628650"/>
                <a:gd name="connsiteX141" fmla="*/ 106013 w 228600"/>
                <a:gd name="connsiteY141" fmla="*/ 92869 h 628650"/>
                <a:gd name="connsiteX142" fmla="*/ 106013 w 228600"/>
                <a:gd name="connsiteY142" fmla="*/ 91916 h 628650"/>
                <a:gd name="connsiteX143" fmla="*/ 108109 w 228600"/>
                <a:gd name="connsiteY143" fmla="*/ 87154 h 628650"/>
                <a:gd name="connsiteX144" fmla="*/ 109442 w 228600"/>
                <a:gd name="connsiteY144" fmla="*/ 85058 h 628650"/>
                <a:gd name="connsiteX145" fmla="*/ 109442 w 228600"/>
                <a:gd name="connsiteY145" fmla="*/ 82963 h 628650"/>
                <a:gd name="connsiteX146" fmla="*/ 110109 w 228600"/>
                <a:gd name="connsiteY146" fmla="*/ 81629 h 628650"/>
                <a:gd name="connsiteX147" fmla="*/ 114872 w 228600"/>
                <a:gd name="connsiteY147" fmla="*/ 70676 h 628650"/>
                <a:gd name="connsiteX148" fmla="*/ 118967 w 228600"/>
                <a:gd name="connsiteY148" fmla="*/ 56960 h 628650"/>
                <a:gd name="connsiteX149" fmla="*/ 118967 w 228600"/>
                <a:gd name="connsiteY149" fmla="*/ 56198 h 628650"/>
                <a:gd name="connsiteX150" fmla="*/ 123063 w 228600"/>
                <a:gd name="connsiteY150" fmla="*/ 48006 h 628650"/>
                <a:gd name="connsiteX151" fmla="*/ 127159 w 228600"/>
                <a:gd name="connsiteY151" fmla="*/ 39815 h 628650"/>
                <a:gd name="connsiteX152" fmla="*/ 127826 w 228600"/>
                <a:gd name="connsiteY152" fmla="*/ 38481 h 628650"/>
                <a:gd name="connsiteX153" fmla="*/ 129159 w 228600"/>
                <a:gd name="connsiteY153" fmla="*/ 34385 h 628650"/>
                <a:gd name="connsiteX154" fmla="*/ 130493 w 228600"/>
                <a:gd name="connsiteY154" fmla="*/ 31623 h 628650"/>
                <a:gd name="connsiteX155" fmla="*/ 130493 w 228600"/>
                <a:gd name="connsiteY155" fmla="*/ 29528 h 628650"/>
                <a:gd name="connsiteX156" fmla="*/ 133255 w 228600"/>
                <a:gd name="connsiteY156" fmla="*/ 24765 h 628650"/>
                <a:gd name="connsiteX157" fmla="*/ 137351 w 228600"/>
                <a:gd name="connsiteY157" fmla="*/ 19241 h 628650"/>
                <a:gd name="connsiteX158" fmla="*/ 141446 w 228600"/>
                <a:gd name="connsiteY158" fmla="*/ 13716 h 628650"/>
                <a:gd name="connsiteX159" fmla="*/ 147638 w 228600"/>
                <a:gd name="connsiteY159" fmla="*/ 7525 h 628650"/>
                <a:gd name="connsiteX160" fmla="*/ 151067 w 228600"/>
                <a:gd name="connsiteY160" fmla="*/ 3429 h 628650"/>
                <a:gd name="connsiteX161" fmla="*/ 153829 w 228600"/>
                <a:gd name="connsiteY161" fmla="*/ 2762 h 628650"/>
                <a:gd name="connsiteX162" fmla="*/ 161354 w 228600"/>
                <a:gd name="connsiteY162" fmla="*/ 667 h 628650"/>
                <a:gd name="connsiteX163" fmla="*/ 169259 w 228600"/>
                <a:gd name="connsiteY163" fmla="*/ 0 h 628650"/>
                <a:gd name="connsiteX164" fmla="*/ 172688 w 228600"/>
                <a:gd name="connsiteY164" fmla="*/ 667 h 628650"/>
                <a:gd name="connsiteX165" fmla="*/ 175451 w 228600"/>
                <a:gd name="connsiteY165" fmla="*/ 667 h 628650"/>
                <a:gd name="connsiteX166" fmla="*/ 179546 w 228600"/>
                <a:gd name="connsiteY166" fmla="*/ 2762 h 628650"/>
                <a:gd name="connsiteX167" fmla="*/ 183642 w 228600"/>
                <a:gd name="connsiteY167" fmla="*/ 6858 h 628650"/>
                <a:gd name="connsiteX168" fmla="*/ 189833 w 228600"/>
                <a:gd name="connsiteY168" fmla="*/ 10954 h 628650"/>
                <a:gd name="connsiteX169" fmla="*/ 193262 w 228600"/>
                <a:gd name="connsiteY169" fmla="*/ 14383 h 628650"/>
                <a:gd name="connsiteX170" fmla="*/ 196025 w 228600"/>
                <a:gd name="connsiteY170" fmla="*/ 19907 h 628650"/>
                <a:gd name="connsiteX171" fmla="*/ 197358 w 228600"/>
                <a:gd name="connsiteY171" fmla="*/ 22670 h 628650"/>
                <a:gd name="connsiteX172" fmla="*/ 200787 w 228600"/>
                <a:gd name="connsiteY172" fmla="*/ 27432 h 628650"/>
                <a:gd name="connsiteX173" fmla="*/ 201454 w 228600"/>
                <a:gd name="connsiteY173" fmla="*/ 29528 h 628650"/>
                <a:gd name="connsiteX174" fmla="*/ 202787 w 228600"/>
                <a:gd name="connsiteY174" fmla="*/ 31623 h 628650"/>
                <a:gd name="connsiteX175" fmla="*/ 204883 w 228600"/>
                <a:gd name="connsiteY175" fmla="*/ 37814 h 628650"/>
                <a:gd name="connsiteX176" fmla="*/ 204883 w 228600"/>
                <a:gd name="connsiteY176" fmla="*/ 48768 h 628650"/>
                <a:gd name="connsiteX177" fmla="*/ 206216 w 228600"/>
                <a:gd name="connsiteY177" fmla="*/ 54293 h 628650"/>
                <a:gd name="connsiteX178" fmla="*/ 208979 w 228600"/>
                <a:gd name="connsiteY178" fmla="*/ 62484 h 628650"/>
                <a:gd name="connsiteX179" fmla="*/ 208979 w 228600"/>
                <a:gd name="connsiteY179" fmla="*/ 65913 h 628650"/>
                <a:gd name="connsiteX180" fmla="*/ 208312 w 228600"/>
                <a:gd name="connsiteY180" fmla="*/ 67247 h 628650"/>
                <a:gd name="connsiteX181" fmla="*/ 209645 w 228600"/>
                <a:gd name="connsiteY181" fmla="*/ 70676 h 628650"/>
                <a:gd name="connsiteX182" fmla="*/ 208979 w 228600"/>
                <a:gd name="connsiteY182" fmla="*/ 74771 h 628650"/>
                <a:gd name="connsiteX183" fmla="*/ 209645 w 228600"/>
                <a:gd name="connsiteY183" fmla="*/ 79534 h 628650"/>
                <a:gd name="connsiteX184" fmla="*/ 210979 w 228600"/>
                <a:gd name="connsiteY184" fmla="*/ 85058 h 628650"/>
                <a:gd name="connsiteX185" fmla="*/ 210979 w 228600"/>
                <a:gd name="connsiteY185" fmla="*/ 86392 h 628650"/>
                <a:gd name="connsiteX186" fmla="*/ 210312 w 228600"/>
                <a:gd name="connsiteY186" fmla="*/ 91916 h 628650"/>
                <a:gd name="connsiteX187" fmla="*/ 210312 w 228600"/>
                <a:gd name="connsiteY187" fmla="*/ 94678 h 628650"/>
                <a:gd name="connsiteX188" fmla="*/ 210979 w 228600"/>
                <a:gd name="connsiteY188" fmla="*/ 96774 h 628650"/>
                <a:gd name="connsiteX189" fmla="*/ 210312 w 228600"/>
                <a:gd name="connsiteY189" fmla="*/ 100203 h 628650"/>
                <a:gd name="connsiteX190" fmla="*/ 209645 w 228600"/>
                <a:gd name="connsiteY190" fmla="*/ 103632 h 628650"/>
                <a:gd name="connsiteX191" fmla="*/ 207550 w 228600"/>
                <a:gd name="connsiteY191" fmla="*/ 106394 h 628650"/>
                <a:gd name="connsiteX192" fmla="*/ 208217 w 228600"/>
                <a:gd name="connsiteY192" fmla="*/ 109157 h 628650"/>
                <a:gd name="connsiteX193" fmla="*/ 208217 w 228600"/>
                <a:gd name="connsiteY193" fmla="*/ 112586 h 628650"/>
                <a:gd name="connsiteX194" fmla="*/ 204121 w 228600"/>
                <a:gd name="connsiteY194" fmla="*/ 116015 h 628650"/>
                <a:gd name="connsiteX195" fmla="*/ 206216 w 228600"/>
                <a:gd name="connsiteY195" fmla="*/ 117348 h 628650"/>
                <a:gd name="connsiteX196" fmla="*/ 206216 w 228600"/>
                <a:gd name="connsiteY196" fmla="*/ 118682 h 628650"/>
                <a:gd name="connsiteX197" fmla="*/ 205550 w 228600"/>
                <a:gd name="connsiteY197" fmla="*/ 119348 h 628650"/>
                <a:gd name="connsiteX198" fmla="*/ 206883 w 228600"/>
                <a:gd name="connsiteY198" fmla="*/ 121444 h 628650"/>
                <a:gd name="connsiteX199" fmla="*/ 206883 w 228600"/>
                <a:gd name="connsiteY199" fmla="*/ 122777 h 628650"/>
                <a:gd name="connsiteX200" fmla="*/ 204121 w 228600"/>
                <a:gd name="connsiteY200" fmla="*/ 126206 h 628650"/>
                <a:gd name="connsiteX201" fmla="*/ 206216 w 228600"/>
                <a:gd name="connsiteY201" fmla="*/ 130302 h 628650"/>
                <a:gd name="connsiteX202" fmla="*/ 206883 w 228600"/>
                <a:gd name="connsiteY202" fmla="*/ 130302 h 628650"/>
                <a:gd name="connsiteX203" fmla="*/ 206883 w 228600"/>
                <a:gd name="connsiteY203" fmla="*/ 136493 h 628650"/>
                <a:gd name="connsiteX204" fmla="*/ 201359 w 228600"/>
                <a:gd name="connsiteY204" fmla="*/ 145447 h 628650"/>
                <a:gd name="connsiteX205" fmla="*/ 202025 w 228600"/>
                <a:gd name="connsiteY205" fmla="*/ 146780 h 628650"/>
                <a:gd name="connsiteX206" fmla="*/ 201359 w 228600"/>
                <a:gd name="connsiteY206" fmla="*/ 147447 h 628650"/>
                <a:gd name="connsiteX207" fmla="*/ 199263 w 228600"/>
                <a:gd name="connsiteY207" fmla="*/ 148781 h 628650"/>
                <a:gd name="connsiteX208" fmla="*/ 199263 w 228600"/>
                <a:gd name="connsiteY208" fmla="*/ 150876 h 628650"/>
                <a:gd name="connsiteX209" fmla="*/ 196501 w 228600"/>
                <a:gd name="connsiteY209" fmla="*/ 154305 h 628650"/>
                <a:gd name="connsiteX210" fmla="*/ 196501 w 228600"/>
                <a:gd name="connsiteY210" fmla="*/ 154972 h 628650"/>
                <a:gd name="connsiteX211" fmla="*/ 195834 w 228600"/>
                <a:gd name="connsiteY211" fmla="*/ 159734 h 628650"/>
                <a:gd name="connsiteX212" fmla="*/ 195167 w 228600"/>
                <a:gd name="connsiteY212" fmla="*/ 163163 h 628650"/>
                <a:gd name="connsiteX213" fmla="*/ 194501 w 228600"/>
                <a:gd name="connsiteY213" fmla="*/ 165926 h 628650"/>
                <a:gd name="connsiteX214" fmla="*/ 191072 w 228600"/>
                <a:gd name="connsiteY214" fmla="*/ 172117 h 628650"/>
                <a:gd name="connsiteX215" fmla="*/ 191072 w 228600"/>
                <a:gd name="connsiteY215" fmla="*/ 173450 h 628650"/>
                <a:gd name="connsiteX216" fmla="*/ 190405 w 228600"/>
                <a:gd name="connsiteY216" fmla="*/ 176213 h 628650"/>
                <a:gd name="connsiteX217" fmla="*/ 189738 w 228600"/>
                <a:gd name="connsiteY217" fmla="*/ 178308 h 628650"/>
                <a:gd name="connsiteX218" fmla="*/ 190405 w 228600"/>
                <a:gd name="connsiteY218" fmla="*/ 181070 h 628650"/>
                <a:gd name="connsiteX219" fmla="*/ 191072 w 228600"/>
                <a:gd name="connsiteY219" fmla="*/ 181737 h 628650"/>
                <a:gd name="connsiteX220" fmla="*/ 190405 w 228600"/>
                <a:gd name="connsiteY220" fmla="*/ 182404 h 628650"/>
                <a:gd name="connsiteX221" fmla="*/ 189071 w 228600"/>
                <a:gd name="connsiteY221" fmla="*/ 186500 h 628650"/>
                <a:gd name="connsiteX222" fmla="*/ 189738 w 228600"/>
                <a:gd name="connsiteY222" fmla="*/ 187166 h 628650"/>
                <a:gd name="connsiteX223" fmla="*/ 190405 w 228600"/>
                <a:gd name="connsiteY223" fmla="*/ 187166 h 628650"/>
                <a:gd name="connsiteX224" fmla="*/ 189738 w 228600"/>
                <a:gd name="connsiteY224" fmla="*/ 189262 h 628650"/>
                <a:gd name="connsiteX225" fmla="*/ 189071 w 228600"/>
                <a:gd name="connsiteY225" fmla="*/ 190595 h 628650"/>
                <a:gd name="connsiteX226" fmla="*/ 187738 w 228600"/>
                <a:gd name="connsiteY226" fmla="*/ 191929 h 628650"/>
                <a:gd name="connsiteX227" fmla="*/ 188405 w 228600"/>
                <a:gd name="connsiteY227" fmla="*/ 191929 h 628650"/>
                <a:gd name="connsiteX228" fmla="*/ 187071 w 228600"/>
                <a:gd name="connsiteY228" fmla="*/ 196691 h 628650"/>
                <a:gd name="connsiteX229" fmla="*/ 187071 w 228600"/>
                <a:gd name="connsiteY229" fmla="*/ 198025 h 628650"/>
                <a:gd name="connsiteX230" fmla="*/ 183642 w 228600"/>
                <a:gd name="connsiteY230" fmla="*/ 199358 h 628650"/>
                <a:gd name="connsiteX231" fmla="*/ 182309 w 228600"/>
                <a:gd name="connsiteY231" fmla="*/ 201454 h 628650"/>
                <a:gd name="connsiteX232" fmla="*/ 184404 w 228600"/>
                <a:gd name="connsiteY232" fmla="*/ 203549 h 628650"/>
                <a:gd name="connsiteX233" fmla="*/ 186500 w 228600"/>
                <a:gd name="connsiteY233" fmla="*/ 204216 h 628650"/>
                <a:gd name="connsiteX234" fmla="*/ 184404 w 228600"/>
                <a:gd name="connsiteY234" fmla="*/ 204883 h 628650"/>
                <a:gd name="connsiteX235" fmla="*/ 180975 w 228600"/>
                <a:gd name="connsiteY235" fmla="*/ 208979 h 628650"/>
                <a:gd name="connsiteX236" fmla="*/ 178880 w 228600"/>
                <a:gd name="connsiteY236" fmla="*/ 212408 h 628650"/>
                <a:gd name="connsiteX237" fmla="*/ 177546 w 228600"/>
                <a:gd name="connsiteY237" fmla="*/ 217170 h 628650"/>
                <a:gd name="connsiteX238" fmla="*/ 177546 w 228600"/>
                <a:gd name="connsiteY238" fmla="*/ 217837 h 628650"/>
                <a:gd name="connsiteX239" fmla="*/ 177546 w 228600"/>
                <a:gd name="connsiteY239" fmla="*/ 219170 h 628650"/>
                <a:gd name="connsiteX240" fmla="*/ 176879 w 228600"/>
                <a:gd name="connsiteY240" fmla="*/ 219170 h 628650"/>
                <a:gd name="connsiteX241" fmla="*/ 174784 w 228600"/>
                <a:gd name="connsiteY241" fmla="*/ 222599 h 628650"/>
                <a:gd name="connsiteX242" fmla="*/ 174117 w 228600"/>
                <a:gd name="connsiteY242" fmla="*/ 226028 h 628650"/>
                <a:gd name="connsiteX243" fmla="*/ 174117 w 228600"/>
                <a:gd name="connsiteY243" fmla="*/ 226695 h 628650"/>
                <a:gd name="connsiteX244" fmla="*/ 174784 w 228600"/>
                <a:gd name="connsiteY244" fmla="*/ 226028 h 628650"/>
                <a:gd name="connsiteX245" fmla="*/ 177546 w 228600"/>
                <a:gd name="connsiteY245" fmla="*/ 221933 h 628650"/>
                <a:gd name="connsiteX246" fmla="*/ 178213 w 228600"/>
                <a:gd name="connsiteY246" fmla="*/ 222599 h 628650"/>
                <a:gd name="connsiteX247" fmla="*/ 177546 w 228600"/>
                <a:gd name="connsiteY247" fmla="*/ 223266 h 628650"/>
                <a:gd name="connsiteX248" fmla="*/ 176213 w 228600"/>
                <a:gd name="connsiteY248" fmla="*/ 228791 h 628650"/>
                <a:gd name="connsiteX249" fmla="*/ 174117 w 228600"/>
                <a:gd name="connsiteY249" fmla="*/ 230124 h 628650"/>
                <a:gd name="connsiteX250" fmla="*/ 166592 w 228600"/>
                <a:gd name="connsiteY250" fmla="*/ 231458 h 628650"/>
                <a:gd name="connsiteX251" fmla="*/ 165259 w 228600"/>
                <a:gd name="connsiteY251" fmla="*/ 232124 h 628650"/>
                <a:gd name="connsiteX252" fmla="*/ 163163 w 228600"/>
                <a:gd name="connsiteY252" fmla="*/ 237649 h 628650"/>
                <a:gd name="connsiteX253" fmla="*/ 162497 w 228600"/>
                <a:gd name="connsiteY253" fmla="*/ 238982 h 628650"/>
                <a:gd name="connsiteX254" fmla="*/ 165259 w 228600"/>
                <a:gd name="connsiteY254" fmla="*/ 241744 h 628650"/>
                <a:gd name="connsiteX255" fmla="*/ 167354 w 228600"/>
                <a:gd name="connsiteY255" fmla="*/ 241744 h 628650"/>
                <a:gd name="connsiteX256" fmla="*/ 166688 w 228600"/>
                <a:gd name="connsiteY256" fmla="*/ 242411 h 628650"/>
                <a:gd name="connsiteX257" fmla="*/ 166688 w 228600"/>
                <a:gd name="connsiteY257" fmla="*/ 243078 h 628650"/>
                <a:gd name="connsiteX258" fmla="*/ 166021 w 228600"/>
                <a:gd name="connsiteY258" fmla="*/ 243745 h 628650"/>
                <a:gd name="connsiteX259" fmla="*/ 168783 w 228600"/>
                <a:gd name="connsiteY259" fmla="*/ 243745 h 628650"/>
                <a:gd name="connsiteX260" fmla="*/ 168783 w 228600"/>
                <a:gd name="connsiteY260" fmla="*/ 245078 h 628650"/>
                <a:gd name="connsiteX261" fmla="*/ 167450 w 228600"/>
                <a:gd name="connsiteY261" fmla="*/ 246412 h 628650"/>
                <a:gd name="connsiteX262" fmla="*/ 166116 w 228600"/>
                <a:gd name="connsiteY262" fmla="*/ 247079 h 628650"/>
                <a:gd name="connsiteX263" fmla="*/ 166783 w 228600"/>
                <a:gd name="connsiteY263" fmla="*/ 248412 h 628650"/>
                <a:gd name="connsiteX264" fmla="*/ 165449 w 228600"/>
                <a:gd name="connsiteY264" fmla="*/ 249079 h 628650"/>
                <a:gd name="connsiteX265" fmla="*/ 162687 w 228600"/>
                <a:gd name="connsiteY265" fmla="*/ 251841 h 628650"/>
                <a:gd name="connsiteX266" fmla="*/ 161354 w 228600"/>
                <a:gd name="connsiteY266" fmla="*/ 251841 h 628650"/>
                <a:gd name="connsiteX267" fmla="*/ 157925 w 228600"/>
                <a:gd name="connsiteY267" fmla="*/ 252508 h 628650"/>
                <a:gd name="connsiteX268" fmla="*/ 157258 w 228600"/>
                <a:gd name="connsiteY268" fmla="*/ 253175 h 628650"/>
                <a:gd name="connsiteX269" fmla="*/ 156591 w 228600"/>
                <a:gd name="connsiteY269" fmla="*/ 255270 h 628650"/>
                <a:gd name="connsiteX270" fmla="*/ 157258 w 228600"/>
                <a:gd name="connsiteY270" fmla="*/ 255270 h 628650"/>
                <a:gd name="connsiteX271" fmla="*/ 158591 w 228600"/>
                <a:gd name="connsiteY271" fmla="*/ 258032 h 628650"/>
                <a:gd name="connsiteX272" fmla="*/ 157925 w 228600"/>
                <a:gd name="connsiteY272" fmla="*/ 258699 h 628650"/>
                <a:gd name="connsiteX273" fmla="*/ 157925 w 228600"/>
                <a:gd name="connsiteY273" fmla="*/ 259366 h 628650"/>
                <a:gd name="connsiteX274" fmla="*/ 159258 w 228600"/>
                <a:gd name="connsiteY274" fmla="*/ 260699 h 628650"/>
                <a:gd name="connsiteX275" fmla="*/ 157925 w 228600"/>
                <a:gd name="connsiteY275" fmla="*/ 263462 h 628650"/>
                <a:gd name="connsiteX276" fmla="*/ 157925 w 228600"/>
                <a:gd name="connsiteY276" fmla="*/ 264128 h 628650"/>
                <a:gd name="connsiteX277" fmla="*/ 160687 w 228600"/>
                <a:gd name="connsiteY277" fmla="*/ 264128 h 628650"/>
                <a:gd name="connsiteX278" fmla="*/ 160020 w 228600"/>
                <a:gd name="connsiteY278" fmla="*/ 264795 h 628650"/>
                <a:gd name="connsiteX279" fmla="*/ 157258 w 228600"/>
                <a:gd name="connsiteY279" fmla="*/ 268224 h 628650"/>
                <a:gd name="connsiteX280" fmla="*/ 155924 w 228600"/>
                <a:gd name="connsiteY280" fmla="*/ 270320 h 628650"/>
                <a:gd name="connsiteX281" fmla="*/ 155924 w 228600"/>
                <a:gd name="connsiteY281" fmla="*/ 271653 h 628650"/>
                <a:gd name="connsiteX282" fmla="*/ 154591 w 228600"/>
                <a:gd name="connsiteY282" fmla="*/ 273749 h 628650"/>
                <a:gd name="connsiteX283" fmla="*/ 155258 w 228600"/>
                <a:gd name="connsiteY283" fmla="*/ 274415 h 628650"/>
                <a:gd name="connsiteX284" fmla="*/ 152114 w 228600"/>
                <a:gd name="connsiteY284" fmla="*/ 274415 h 628650"/>
                <a:gd name="connsiteX285" fmla="*/ 151448 w 228600"/>
                <a:gd name="connsiteY285" fmla="*/ 277178 h 628650"/>
                <a:gd name="connsiteX286" fmla="*/ 150781 w 228600"/>
                <a:gd name="connsiteY286" fmla="*/ 279940 h 628650"/>
                <a:gd name="connsiteX287" fmla="*/ 150781 w 228600"/>
                <a:gd name="connsiteY287" fmla="*/ 282035 h 628650"/>
                <a:gd name="connsiteX288" fmla="*/ 149447 w 228600"/>
                <a:gd name="connsiteY288" fmla="*/ 282702 h 628650"/>
                <a:gd name="connsiteX289" fmla="*/ 148781 w 228600"/>
                <a:gd name="connsiteY289" fmla="*/ 282035 h 628650"/>
                <a:gd name="connsiteX290" fmla="*/ 146018 w 228600"/>
                <a:gd name="connsiteY290" fmla="*/ 278606 h 628650"/>
                <a:gd name="connsiteX291" fmla="*/ 144685 w 228600"/>
                <a:gd name="connsiteY291" fmla="*/ 277940 h 628650"/>
                <a:gd name="connsiteX292" fmla="*/ 143351 w 228600"/>
                <a:gd name="connsiteY292" fmla="*/ 281369 h 628650"/>
                <a:gd name="connsiteX293" fmla="*/ 143351 w 228600"/>
                <a:gd name="connsiteY293" fmla="*/ 282035 h 628650"/>
                <a:gd name="connsiteX294" fmla="*/ 145447 w 228600"/>
                <a:gd name="connsiteY294" fmla="*/ 284798 h 628650"/>
                <a:gd name="connsiteX295" fmla="*/ 144113 w 228600"/>
                <a:gd name="connsiteY295" fmla="*/ 286131 h 628650"/>
                <a:gd name="connsiteX296" fmla="*/ 144113 w 228600"/>
                <a:gd name="connsiteY296" fmla="*/ 288227 h 628650"/>
                <a:gd name="connsiteX297" fmla="*/ 145447 w 228600"/>
                <a:gd name="connsiteY297" fmla="*/ 288227 h 628650"/>
                <a:gd name="connsiteX298" fmla="*/ 145447 w 228600"/>
                <a:gd name="connsiteY298" fmla="*/ 288893 h 628650"/>
                <a:gd name="connsiteX299" fmla="*/ 142685 w 228600"/>
                <a:gd name="connsiteY299" fmla="*/ 290227 h 628650"/>
                <a:gd name="connsiteX300" fmla="*/ 137922 w 228600"/>
                <a:gd name="connsiteY300" fmla="*/ 294989 h 628650"/>
                <a:gd name="connsiteX301" fmla="*/ 138589 w 228600"/>
                <a:gd name="connsiteY301" fmla="*/ 294989 h 628650"/>
                <a:gd name="connsiteX302" fmla="*/ 142685 w 228600"/>
                <a:gd name="connsiteY302" fmla="*/ 292894 h 628650"/>
                <a:gd name="connsiteX303" fmla="*/ 144780 w 228600"/>
                <a:gd name="connsiteY303" fmla="*/ 292894 h 628650"/>
                <a:gd name="connsiteX304" fmla="*/ 143447 w 228600"/>
                <a:gd name="connsiteY304" fmla="*/ 294989 h 628650"/>
                <a:gd name="connsiteX305" fmla="*/ 142113 w 228600"/>
                <a:gd name="connsiteY305" fmla="*/ 295656 h 628650"/>
                <a:gd name="connsiteX306" fmla="*/ 139351 w 228600"/>
                <a:gd name="connsiteY306" fmla="*/ 298418 h 628650"/>
                <a:gd name="connsiteX307" fmla="*/ 140018 w 228600"/>
                <a:gd name="connsiteY307" fmla="*/ 299752 h 628650"/>
                <a:gd name="connsiteX308" fmla="*/ 138684 w 228600"/>
                <a:gd name="connsiteY308" fmla="*/ 301085 h 628650"/>
                <a:gd name="connsiteX309" fmla="*/ 139351 w 228600"/>
                <a:gd name="connsiteY309" fmla="*/ 303181 h 628650"/>
                <a:gd name="connsiteX310" fmla="*/ 140018 w 228600"/>
                <a:gd name="connsiteY310" fmla="*/ 304514 h 628650"/>
                <a:gd name="connsiteX311" fmla="*/ 139351 w 228600"/>
                <a:gd name="connsiteY311" fmla="*/ 305181 h 628650"/>
                <a:gd name="connsiteX312" fmla="*/ 138017 w 228600"/>
                <a:gd name="connsiteY312" fmla="*/ 306515 h 628650"/>
                <a:gd name="connsiteX313" fmla="*/ 137351 w 228600"/>
                <a:gd name="connsiteY313" fmla="*/ 308610 h 628650"/>
                <a:gd name="connsiteX314" fmla="*/ 134588 w 228600"/>
                <a:gd name="connsiteY314" fmla="*/ 309277 h 628650"/>
                <a:gd name="connsiteX315" fmla="*/ 132493 w 228600"/>
                <a:gd name="connsiteY315" fmla="*/ 308610 h 628650"/>
                <a:gd name="connsiteX316" fmla="*/ 129731 w 228600"/>
                <a:gd name="connsiteY316" fmla="*/ 309944 h 628650"/>
                <a:gd name="connsiteX317" fmla="*/ 127635 w 228600"/>
                <a:gd name="connsiteY317" fmla="*/ 311277 h 628650"/>
                <a:gd name="connsiteX318" fmla="*/ 130397 w 228600"/>
                <a:gd name="connsiteY318" fmla="*/ 313373 h 628650"/>
                <a:gd name="connsiteX319" fmla="*/ 131064 w 228600"/>
                <a:gd name="connsiteY319" fmla="*/ 311277 h 628650"/>
                <a:gd name="connsiteX320" fmla="*/ 133160 w 228600"/>
                <a:gd name="connsiteY320" fmla="*/ 314039 h 628650"/>
                <a:gd name="connsiteX321" fmla="*/ 131064 w 228600"/>
                <a:gd name="connsiteY321" fmla="*/ 317468 h 628650"/>
                <a:gd name="connsiteX322" fmla="*/ 130397 w 228600"/>
                <a:gd name="connsiteY322" fmla="*/ 319564 h 628650"/>
                <a:gd name="connsiteX323" fmla="*/ 129731 w 228600"/>
                <a:gd name="connsiteY323" fmla="*/ 322993 h 628650"/>
                <a:gd name="connsiteX324" fmla="*/ 127635 w 228600"/>
                <a:gd name="connsiteY324" fmla="*/ 324326 h 628650"/>
                <a:gd name="connsiteX325" fmla="*/ 129731 w 228600"/>
                <a:gd name="connsiteY325" fmla="*/ 324993 h 628650"/>
                <a:gd name="connsiteX326" fmla="*/ 129731 w 228600"/>
                <a:gd name="connsiteY326" fmla="*/ 326326 h 628650"/>
                <a:gd name="connsiteX327" fmla="*/ 127635 w 228600"/>
                <a:gd name="connsiteY327" fmla="*/ 327660 h 628650"/>
                <a:gd name="connsiteX328" fmla="*/ 126302 w 228600"/>
                <a:gd name="connsiteY328" fmla="*/ 328327 h 628650"/>
                <a:gd name="connsiteX329" fmla="*/ 124968 w 228600"/>
                <a:gd name="connsiteY329" fmla="*/ 330422 h 628650"/>
                <a:gd name="connsiteX330" fmla="*/ 123635 w 228600"/>
                <a:gd name="connsiteY330" fmla="*/ 333185 h 628650"/>
                <a:gd name="connsiteX331" fmla="*/ 123635 w 228600"/>
                <a:gd name="connsiteY331" fmla="*/ 337947 h 628650"/>
                <a:gd name="connsiteX332" fmla="*/ 120872 w 228600"/>
                <a:gd name="connsiteY332" fmla="*/ 340709 h 628650"/>
                <a:gd name="connsiteX333" fmla="*/ 122968 w 228600"/>
                <a:gd name="connsiteY333" fmla="*/ 343472 h 628650"/>
                <a:gd name="connsiteX334" fmla="*/ 120206 w 228600"/>
                <a:gd name="connsiteY334" fmla="*/ 343472 h 628650"/>
                <a:gd name="connsiteX335" fmla="*/ 117443 w 228600"/>
                <a:gd name="connsiteY335" fmla="*/ 345567 h 628650"/>
                <a:gd name="connsiteX336" fmla="*/ 118777 w 228600"/>
                <a:gd name="connsiteY336" fmla="*/ 346900 h 628650"/>
                <a:gd name="connsiteX337" fmla="*/ 117443 w 228600"/>
                <a:gd name="connsiteY337" fmla="*/ 349663 h 628650"/>
                <a:gd name="connsiteX338" fmla="*/ 117443 w 228600"/>
                <a:gd name="connsiteY338" fmla="*/ 350996 h 628650"/>
                <a:gd name="connsiteX339" fmla="*/ 116777 w 228600"/>
                <a:gd name="connsiteY339" fmla="*/ 354425 h 628650"/>
                <a:gd name="connsiteX340" fmla="*/ 112681 w 228600"/>
                <a:gd name="connsiteY340" fmla="*/ 359950 h 628650"/>
                <a:gd name="connsiteX341" fmla="*/ 112681 w 228600"/>
                <a:gd name="connsiteY341" fmla="*/ 362712 h 628650"/>
                <a:gd name="connsiteX342" fmla="*/ 110585 w 228600"/>
                <a:gd name="connsiteY342" fmla="*/ 365474 h 628650"/>
                <a:gd name="connsiteX343" fmla="*/ 109252 w 228600"/>
                <a:gd name="connsiteY343" fmla="*/ 370237 h 628650"/>
                <a:gd name="connsiteX344" fmla="*/ 105823 w 228600"/>
                <a:gd name="connsiteY344" fmla="*/ 375761 h 628650"/>
                <a:gd name="connsiteX345" fmla="*/ 105823 w 228600"/>
                <a:gd name="connsiteY345" fmla="*/ 377857 h 628650"/>
                <a:gd name="connsiteX346" fmla="*/ 100298 w 228600"/>
                <a:gd name="connsiteY346" fmla="*/ 381286 h 628650"/>
                <a:gd name="connsiteX347" fmla="*/ 99631 w 228600"/>
                <a:gd name="connsiteY347" fmla="*/ 382619 h 628650"/>
                <a:gd name="connsiteX348" fmla="*/ 99631 w 228600"/>
                <a:gd name="connsiteY348" fmla="*/ 383953 h 628650"/>
                <a:gd name="connsiteX349" fmla="*/ 51626 w 228600"/>
                <a:gd name="connsiteY349" fmla="*/ 477869 h 628650"/>
                <a:gd name="connsiteX350" fmla="*/ 51626 w 228600"/>
                <a:gd name="connsiteY350" fmla="*/ 479203 h 628650"/>
                <a:gd name="connsiteX351" fmla="*/ 48863 w 228600"/>
                <a:gd name="connsiteY351" fmla="*/ 485394 h 628650"/>
                <a:gd name="connsiteX352" fmla="*/ 48863 w 228600"/>
                <a:gd name="connsiteY352" fmla="*/ 487490 h 628650"/>
                <a:gd name="connsiteX353" fmla="*/ 49530 w 228600"/>
                <a:gd name="connsiteY353" fmla="*/ 489585 h 628650"/>
                <a:gd name="connsiteX354" fmla="*/ 48863 w 228600"/>
                <a:gd name="connsiteY354" fmla="*/ 490252 h 628650"/>
                <a:gd name="connsiteX355" fmla="*/ 48197 w 228600"/>
                <a:gd name="connsiteY355" fmla="*/ 492347 h 628650"/>
                <a:gd name="connsiteX356" fmla="*/ 44101 w 228600"/>
                <a:gd name="connsiteY356" fmla="*/ 496443 h 628650"/>
                <a:gd name="connsiteX357" fmla="*/ 48197 w 228600"/>
                <a:gd name="connsiteY357" fmla="*/ 499872 h 628650"/>
                <a:gd name="connsiteX358" fmla="*/ 48197 w 228600"/>
                <a:gd name="connsiteY358" fmla="*/ 500539 h 628650"/>
                <a:gd name="connsiteX359" fmla="*/ 48863 w 228600"/>
                <a:gd name="connsiteY359" fmla="*/ 501872 h 628650"/>
                <a:gd name="connsiteX360" fmla="*/ 48863 w 228600"/>
                <a:gd name="connsiteY360" fmla="*/ 511493 h 628650"/>
                <a:gd name="connsiteX361" fmla="*/ 48197 w 228600"/>
                <a:gd name="connsiteY361" fmla="*/ 516255 h 628650"/>
                <a:gd name="connsiteX362" fmla="*/ 48197 w 228600"/>
                <a:gd name="connsiteY362" fmla="*/ 523780 h 628650"/>
                <a:gd name="connsiteX363" fmla="*/ 50959 w 228600"/>
                <a:gd name="connsiteY363" fmla="*/ 527209 h 628650"/>
                <a:gd name="connsiteX364" fmla="*/ 50292 w 228600"/>
                <a:gd name="connsiteY364" fmla="*/ 536162 h 628650"/>
                <a:gd name="connsiteX365" fmla="*/ 50959 w 228600"/>
                <a:gd name="connsiteY365" fmla="*/ 538925 h 628650"/>
                <a:gd name="connsiteX366" fmla="*/ 50292 w 228600"/>
                <a:gd name="connsiteY366" fmla="*/ 540258 h 628650"/>
                <a:gd name="connsiteX367" fmla="*/ 51626 w 228600"/>
                <a:gd name="connsiteY367" fmla="*/ 543020 h 628650"/>
                <a:gd name="connsiteX368" fmla="*/ 50959 w 228600"/>
                <a:gd name="connsiteY368" fmla="*/ 545116 h 628650"/>
                <a:gd name="connsiteX369" fmla="*/ 50959 w 228600"/>
                <a:gd name="connsiteY369" fmla="*/ 549212 h 628650"/>
                <a:gd name="connsiteX370" fmla="*/ 51626 w 228600"/>
                <a:gd name="connsiteY370" fmla="*/ 551307 h 628650"/>
                <a:gd name="connsiteX371" fmla="*/ 50292 w 228600"/>
                <a:gd name="connsiteY371" fmla="*/ 554736 h 628650"/>
                <a:gd name="connsiteX372" fmla="*/ 51626 w 228600"/>
                <a:gd name="connsiteY372" fmla="*/ 554736 h 628650"/>
                <a:gd name="connsiteX373" fmla="*/ 52292 w 228600"/>
                <a:gd name="connsiteY373" fmla="*/ 557498 h 628650"/>
                <a:gd name="connsiteX374" fmla="*/ 51626 w 228600"/>
                <a:gd name="connsiteY374" fmla="*/ 558832 h 628650"/>
                <a:gd name="connsiteX375" fmla="*/ 52292 w 228600"/>
                <a:gd name="connsiteY375" fmla="*/ 561594 h 628650"/>
                <a:gd name="connsiteX376" fmla="*/ 52292 w 228600"/>
                <a:gd name="connsiteY376" fmla="*/ 562261 h 628650"/>
                <a:gd name="connsiteX377" fmla="*/ 53626 w 228600"/>
                <a:gd name="connsiteY377" fmla="*/ 566357 h 628650"/>
                <a:gd name="connsiteX378" fmla="*/ 53626 w 228600"/>
                <a:gd name="connsiteY378" fmla="*/ 567690 h 628650"/>
                <a:gd name="connsiteX379" fmla="*/ 55721 w 228600"/>
                <a:gd name="connsiteY379" fmla="*/ 573215 h 628650"/>
                <a:gd name="connsiteX380" fmla="*/ 55721 w 228600"/>
                <a:gd name="connsiteY380" fmla="*/ 574548 h 628650"/>
                <a:gd name="connsiteX381" fmla="*/ 57055 w 228600"/>
                <a:gd name="connsiteY381" fmla="*/ 577977 h 628650"/>
                <a:gd name="connsiteX382" fmla="*/ 94774 w 228600"/>
                <a:gd name="connsiteY382" fmla="*/ 597884 h 628650"/>
                <a:gd name="connsiteX383" fmla="*/ 105061 w 228600"/>
                <a:gd name="connsiteY383" fmla="*/ 596551 h 628650"/>
                <a:gd name="connsiteX384" fmla="*/ 229838 w 228600"/>
                <a:gd name="connsiteY384" fmla="*/ 449104 h 628650"/>
                <a:gd name="connsiteX385" fmla="*/ 233267 w 228600"/>
                <a:gd name="connsiteY385" fmla="*/ 446342 h 628650"/>
                <a:gd name="connsiteX386" fmla="*/ 235363 w 228600"/>
                <a:gd name="connsiteY386" fmla="*/ 449104 h 628650"/>
                <a:gd name="connsiteX387" fmla="*/ 83820 w 228600"/>
                <a:gd name="connsiteY387" fmla="*/ 634937 h 628650"/>
                <a:gd name="connsiteX388" fmla="*/ 81058 w 228600"/>
                <a:gd name="connsiteY388" fmla="*/ 634937 h 628650"/>
                <a:gd name="connsiteX389" fmla="*/ 13145 w 228600"/>
                <a:gd name="connsiteY389" fmla="*/ 600647 h 628650"/>
                <a:gd name="connsiteX390" fmla="*/ 12192 w 228600"/>
                <a:gd name="connsiteY390" fmla="*/ 596741 h 628650"/>
                <a:gd name="connsiteX391" fmla="*/ 148685 w 228600"/>
                <a:gd name="connsiteY391" fmla="*/ 76105 h 628650"/>
                <a:gd name="connsiteX392" fmla="*/ 147352 w 228600"/>
                <a:gd name="connsiteY392" fmla="*/ 76772 h 628650"/>
                <a:gd name="connsiteX393" fmla="*/ 146018 w 228600"/>
                <a:gd name="connsiteY393" fmla="*/ 78105 h 628650"/>
                <a:gd name="connsiteX394" fmla="*/ 146685 w 228600"/>
                <a:gd name="connsiteY394" fmla="*/ 78772 h 628650"/>
                <a:gd name="connsiteX395" fmla="*/ 149447 w 228600"/>
                <a:gd name="connsiteY395" fmla="*/ 79439 h 628650"/>
                <a:gd name="connsiteX396" fmla="*/ 145352 w 228600"/>
                <a:gd name="connsiteY396" fmla="*/ 83534 h 628650"/>
                <a:gd name="connsiteX397" fmla="*/ 143256 w 228600"/>
                <a:gd name="connsiteY397" fmla="*/ 86963 h 628650"/>
                <a:gd name="connsiteX398" fmla="*/ 143256 w 228600"/>
                <a:gd name="connsiteY398" fmla="*/ 87630 h 628650"/>
                <a:gd name="connsiteX399" fmla="*/ 142589 w 228600"/>
                <a:gd name="connsiteY399" fmla="*/ 90392 h 628650"/>
                <a:gd name="connsiteX400" fmla="*/ 139160 w 228600"/>
                <a:gd name="connsiteY400" fmla="*/ 91726 h 628650"/>
                <a:gd name="connsiteX401" fmla="*/ 139160 w 228600"/>
                <a:gd name="connsiteY401" fmla="*/ 93059 h 628650"/>
                <a:gd name="connsiteX402" fmla="*/ 139827 w 228600"/>
                <a:gd name="connsiteY402" fmla="*/ 94393 h 628650"/>
                <a:gd name="connsiteX403" fmla="*/ 142589 w 228600"/>
                <a:gd name="connsiteY403" fmla="*/ 96488 h 628650"/>
                <a:gd name="connsiteX404" fmla="*/ 143256 w 228600"/>
                <a:gd name="connsiteY404" fmla="*/ 97155 h 628650"/>
                <a:gd name="connsiteX405" fmla="*/ 142589 w 228600"/>
                <a:gd name="connsiteY405" fmla="*/ 97155 h 628650"/>
                <a:gd name="connsiteX406" fmla="*/ 139160 w 228600"/>
                <a:gd name="connsiteY406" fmla="*/ 97822 h 628650"/>
                <a:gd name="connsiteX407" fmla="*/ 139160 w 228600"/>
                <a:gd name="connsiteY407" fmla="*/ 99155 h 628650"/>
                <a:gd name="connsiteX408" fmla="*/ 137827 w 228600"/>
                <a:gd name="connsiteY408" fmla="*/ 101918 h 628650"/>
                <a:gd name="connsiteX409" fmla="*/ 137160 w 228600"/>
                <a:gd name="connsiteY409" fmla="*/ 101918 h 628650"/>
                <a:gd name="connsiteX410" fmla="*/ 134398 w 228600"/>
                <a:gd name="connsiteY410" fmla="*/ 106680 h 628650"/>
                <a:gd name="connsiteX411" fmla="*/ 133731 w 228600"/>
                <a:gd name="connsiteY411" fmla="*/ 110109 h 628650"/>
                <a:gd name="connsiteX412" fmla="*/ 133731 w 228600"/>
                <a:gd name="connsiteY412" fmla="*/ 110776 h 628650"/>
                <a:gd name="connsiteX413" fmla="*/ 136493 w 228600"/>
                <a:gd name="connsiteY413" fmla="*/ 110109 h 628650"/>
                <a:gd name="connsiteX414" fmla="*/ 139256 w 228600"/>
                <a:gd name="connsiteY414" fmla="*/ 110109 h 628650"/>
                <a:gd name="connsiteX415" fmla="*/ 139256 w 228600"/>
                <a:gd name="connsiteY415" fmla="*/ 110776 h 628650"/>
                <a:gd name="connsiteX416" fmla="*/ 137922 w 228600"/>
                <a:gd name="connsiteY416" fmla="*/ 111443 h 628650"/>
                <a:gd name="connsiteX417" fmla="*/ 137255 w 228600"/>
                <a:gd name="connsiteY417" fmla="*/ 114205 h 628650"/>
                <a:gd name="connsiteX418" fmla="*/ 137255 w 228600"/>
                <a:gd name="connsiteY418" fmla="*/ 114872 h 628650"/>
                <a:gd name="connsiteX419" fmla="*/ 136589 w 228600"/>
                <a:gd name="connsiteY419" fmla="*/ 118301 h 628650"/>
                <a:gd name="connsiteX420" fmla="*/ 135922 w 228600"/>
                <a:gd name="connsiteY420" fmla="*/ 124492 h 628650"/>
                <a:gd name="connsiteX421" fmla="*/ 134588 w 228600"/>
                <a:gd name="connsiteY421" fmla="*/ 127254 h 628650"/>
                <a:gd name="connsiteX422" fmla="*/ 135255 w 228600"/>
                <a:gd name="connsiteY422" fmla="*/ 129350 h 628650"/>
                <a:gd name="connsiteX423" fmla="*/ 133160 w 228600"/>
                <a:gd name="connsiteY423" fmla="*/ 130683 h 628650"/>
                <a:gd name="connsiteX424" fmla="*/ 132493 w 228600"/>
                <a:gd name="connsiteY424" fmla="*/ 133445 h 628650"/>
                <a:gd name="connsiteX425" fmla="*/ 131826 w 228600"/>
                <a:gd name="connsiteY425" fmla="*/ 136874 h 628650"/>
                <a:gd name="connsiteX426" fmla="*/ 132493 w 228600"/>
                <a:gd name="connsiteY426" fmla="*/ 140970 h 628650"/>
                <a:gd name="connsiteX427" fmla="*/ 131826 w 228600"/>
                <a:gd name="connsiteY427" fmla="*/ 145733 h 628650"/>
                <a:gd name="connsiteX428" fmla="*/ 130207 w 228600"/>
                <a:gd name="connsiteY428" fmla="*/ 145733 h 628650"/>
                <a:gd name="connsiteX429" fmla="*/ 128873 w 228600"/>
                <a:gd name="connsiteY429" fmla="*/ 149828 h 628650"/>
                <a:gd name="connsiteX430" fmla="*/ 128873 w 228600"/>
                <a:gd name="connsiteY430" fmla="*/ 150495 h 628650"/>
                <a:gd name="connsiteX431" fmla="*/ 112395 w 228600"/>
                <a:gd name="connsiteY431" fmla="*/ 182690 h 628650"/>
                <a:gd name="connsiteX432" fmla="*/ 113729 w 228600"/>
                <a:gd name="connsiteY432" fmla="*/ 189548 h 628650"/>
                <a:gd name="connsiteX433" fmla="*/ 113729 w 228600"/>
                <a:gd name="connsiteY433" fmla="*/ 192310 h 628650"/>
                <a:gd name="connsiteX434" fmla="*/ 111633 w 228600"/>
                <a:gd name="connsiteY434" fmla="*/ 201930 h 628650"/>
                <a:gd name="connsiteX435" fmla="*/ 111633 w 228600"/>
                <a:gd name="connsiteY435" fmla="*/ 208121 h 628650"/>
                <a:gd name="connsiteX436" fmla="*/ 110966 w 228600"/>
                <a:gd name="connsiteY436" fmla="*/ 208788 h 628650"/>
                <a:gd name="connsiteX437" fmla="*/ 106204 w 228600"/>
                <a:gd name="connsiteY437" fmla="*/ 217742 h 628650"/>
                <a:gd name="connsiteX438" fmla="*/ 104108 w 228600"/>
                <a:gd name="connsiteY438" fmla="*/ 225933 h 628650"/>
                <a:gd name="connsiteX439" fmla="*/ 100013 w 228600"/>
                <a:gd name="connsiteY439" fmla="*/ 225933 h 628650"/>
                <a:gd name="connsiteX440" fmla="*/ 100013 w 228600"/>
                <a:gd name="connsiteY440" fmla="*/ 229362 h 628650"/>
                <a:gd name="connsiteX441" fmla="*/ 102108 w 228600"/>
                <a:gd name="connsiteY441" fmla="*/ 229362 h 628650"/>
                <a:gd name="connsiteX442" fmla="*/ 102775 w 228600"/>
                <a:gd name="connsiteY442" fmla="*/ 231458 h 628650"/>
                <a:gd name="connsiteX443" fmla="*/ 101441 w 228600"/>
                <a:gd name="connsiteY443" fmla="*/ 234220 h 628650"/>
                <a:gd name="connsiteX444" fmla="*/ 100108 w 228600"/>
                <a:gd name="connsiteY444" fmla="*/ 236315 h 628650"/>
                <a:gd name="connsiteX445" fmla="*/ 99441 w 228600"/>
                <a:gd name="connsiteY445" fmla="*/ 236982 h 628650"/>
                <a:gd name="connsiteX446" fmla="*/ 97346 w 228600"/>
                <a:gd name="connsiteY446" fmla="*/ 241078 h 628650"/>
                <a:gd name="connsiteX447" fmla="*/ 96679 w 228600"/>
                <a:gd name="connsiteY447" fmla="*/ 242411 h 628650"/>
                <a:gd name="connsiteX448" fmla="*/ 96012 w 228600"/>
                <a:gd name="connsiteY448" fmla="*/ 245174 h 628650"/>
                <a:gd name="connsiteX449" fmla="*/ 96012 w 228600"/>
                <a:gd name="connsiteY449" fmla="*/ 246507 h 628650"/>
                <a:gd name="connsiteX450" fmla="*/ 98774 w 228600"/>
                <a:gd name="connsiteY450" fmla="*/ 247174 h 628650"/>
                <a:gd name="connsiteX451" fmla="*/ 94679 w 228600"/>
                <a:gd name="connsiteY451" fmla="*/ 262985 h 628650"/>
                <a:gd name="connsiteX452" fmla="*/ 94679 w 228600"/>
                <a:gd name="connsiteY452" fmla="*/ 265081 h 628650"/>
                <a:gd name="connsiteX453" fmla="*/ 92583 w 228600"/>
                <a:gd name="connsiteY453" fmla="*/ 271939 h 628650"/>
                <a:gd name="connsiteX454" fmla="*/ 92583 w 228600"/>
                <a:gd name="connsiteY454" fmla="*/ 272606 h 628650"/>
                <a:gd name="connsiteX455" fmla="*/ 89821 w 228600"/>
                <a:gd name="connsiteY455" fmla="*/ 278797 h 628650"/>
                <a:gd name="connsiteX456" fmla="*/ 89821 w 228600"/>
                <a:gd name="connsiteY456" fmla="*/ 281559 h 628650"/>
                <a:gd name="connsiteX457" fmla="*/ 87725 w 228600"/>
                <a:gd name="connsiteY457" fmla="*/ 289751 h 628650"/>
                <a:gd name="connsiteX458" fmla="*/ 86392 w 228600"/>
                <a:gd name="connsiteY458" fmla="*/ 290417 h 628650"/>
                <a:gd name="connsiteX459" fmla="*/ 86392 w 228600"/>
                <a:gd name="connsiteY459" fmla="*/ 289084 h 628650"/>
                <a:gd name="connsiteX460" fmla="*/ 85058 w 228600"/>
                <a:gd name="connsiteY460" fmla="*/ 289084 h 628650"/>
                <a:gd name="connsiteX461" fmla="*/ 83725 w 228600"/>
                <a:gd name="connsiteY461" fmla="*/ 291179 h 628650"/>
                <a:gd name="connsiteX462" fmla="*/ 83725 w 228600"/>
                <a:gd name="connsiteY462" fmla="*/ 292513 h 628650"/>
                <a:gd name="connsiteX463" fmla="*/ 85058 w 228600"/>
                <a:gd name="connsiteY463" fmla="*/ 292513 h 628650"/>
                <a:gd name="connsiteX464" fmla="*/ 85725 w 228600"/>
                <a:gd name="connsiteY464" fmla="*/ 295275 h 628650"/>
                <a:gd name="connsiteX465" fmla="*/ 84392 w 228600"/>
                <a:gd name="connsiteY465" fmla="*/ 297371 h 628650"/>
                <a:gd name="connsiteX466" fmla="*/ 85725 w 228600"/>
                <a:gd name="connsiteY466" fmla="*/ 299466 h 628650"/>
                <a:gd name="connsiteX467" fmla="*/ 80963 w 228600"/>
                <a:gd name="connsiteY467" fmla="*/ 311087 h 628650"/>
                <a:gd name="connsiteX468" fmla="*/ 80963 w 228600"/>
                <a:gd name="connsiteY468" fmla="*/ 313182 h 628650"/>
                <a:gd name="connsiteX469" fmla="*/ 80963 w 228600"/>
                <a:gd name="connsiteY469" fmla="*/ 313849 h 628650"/>
                <a:gd name="connsiteX470" fmla="*/ 78200 w 228600"/>
                <a:gd name="connsiteY470" fmla="*/ 317945 h 628650"/>
                <a:gd name="connsiteX471" fmla="*/ 78200 w 228600"/>
                <a:gd name="connsiteY471" fmla="*/ 320707 h 628650"/>
                <a:gd name="connsiteX472" fmla="*/ 77533 w 228600"/>
                <a:gd name="connsiteY472" fmla="*/ 326898 h 628650"/>
                <a:gd name="connsiteX473" fmla="*/ 77533 w 228600"/>
                <a:gd name="connsiteY473" fmla="*/ 327565 h 628650"/>
                <a:gd name="connsiteX474" fmla="*/ 74105 w 228600"/>
                <a:gd name="connsiteY474" fmla="*/ 337852 h 628650"/>
                <a:gd name="connsiteX475" fmla="*/ 74105 w 228600"/>
                <a:gd name="connsiteY475" fmla="*/ 339947 h 628650"/>
                <a:gd name="connsiteX476" fmla="*/ 73438 w 228600"/>
                <a:gd name="connsiteY476" fmla="*/ 344710 h 628650"/>
                <a:gd name="connsiteX477" fmla="*/ 71342 w 228600"/>
                <a:gd name="connsiteY477" fmla="*/ 353663 h 628650"/>
                <a:gd name="connsiteX478" fmla="*/ 70009 w 228600"/>
                <a:gd name="connsiteY478" fmla="*/ 354997 h 628650"/>
                <a:gd name="connsiteX479" fmla="*/ 70009 w 228600"/>
                <a:gd name="connsiteY479" fmla="*/ 357759 h 628650"/>
                <a:gd name="connsiteX480" fmla="*/ 67913 w 228600"/>
                <a:gd name="connsiteY480" fmla="*/ 359855 h 628650"/>
                <a:gd name="connsiteX481" fmla="*/ 67913 w 228600"/>
                <a:gd name="connsiteY481" fmla="*/ 369475 h 628650"/>
                <a:gd name="connsiteX482" fmla="*/ 67247 w 228600"/>
                <a:gd name="connsiteY482" fmla="*/ 372904 h 628650"/>
                <a:gd name="connsiteX483" fmla="*/ 66580 w 228600"/>
                <a:gd name="connsiteY483" fmla="*/ 374999 h 628650"/>
                <a:gd name="connsiteX484" fmla="*/ 65913 w 228600"/>
                <a:gd name="connsiteY484" fmla="*/ 377095 h 628650"/>
                <a:gd name="connsiteX485" fmla="*/ 66580 w 228600"/>
                <a:gd name="connsiteY485" fmla="*/ 380524 h 628650"/>
                <a:gd name="connsiteX486" fmla="*/ 67247 w 228600"/>
                <a:gd name="connsiteY486" fmla="*/ 381191 h 628650"/>
                <a:gd name="connsiteX487" fmla="*/ 67913 w 228600"/>
                <a:gd name="connsiteY487" fmla="*/ 380524 h 628650"/>
                <a:gd name="connsiteX488" fmla="*/ 70009 w 228600"/>
                <a:gd name="connsiteY488" fmla="*/ 374999 h 628650"/>
                <a:gd name="connsiteX489" fmla="*/ 70676 w 228600"/>
                <a:gd name="connsiteY489" fmla="*/ 374333 h 628650"/>
                <a:gd name="connsiteX490" fmla="*/ 72771 w 228600"/>
                <a:gd name="connsiteY490" fmla="*/ 370904 h 628650"/>
                <a:gd name="connsiteX491" fmla="*/ 75533 w 228600"/>
                <a:gd name="connsiteY491" fmla="*/ 365379 h 628650"/>
                <a:gd name="connsiteX492" fmla="*/ 80296 w 228600"/>
                <a:gd name="connsiteY492" fmla="*/ 357854 h 628650"/>
                <a:gd name="connsiteX493" fmla="*/ 80963 w 228600"/>
                <a:gd name="connsiteY493" fmla="*/ 356521 h 628650"/>
                <a:gd name="connsiteX494" fmla="*/ 83058 w 228600"/>
                <a:gd name="connsiteY494" fmla="*/ 355187 h 628650"/>
                <a:gd name="connsiteX495" fmla="*/ 87154 w 228600"/>
                <a:gd name="connsiteY495" fmla="*/ 344234 h 628650"/>
                <a:gd name="connsiteX496" fmla="*/ 90583 w 228600"/>
                <a:gd name="connsiteY496" fmla="*/ 340138 h 628650"/>
                <a:gd name="connsiteX497" fmla="*/ 90583 w 228600"/>
                <a:gd name="connsiteY497" fmla="*/ 338804 h 628650"/>
                <a:gd name="connsiteX498" fmla="*/ 91250 w 228600"/>
                <a:gd name="connsiteY498" fmla="*/ 335375 h 628650"/>
                <a:gd name="connsiteX499" fmla="*/ 95345 w 228600"/>
                <a:gd name="connsiteY499" fmla="*/ 327850 h 628650"/>
                <a:gd name="connsiteX500" fmla="*/ 100108 w 228600"/>
                <a:gd name="connsiteY500" fmla="*/ 318230 h 628650"/>
                <a:gd name="connsiteX501" fmla="*/ 104870 w 228600"/>
                <a:gd name="connsiteY501" fmla="*/ 307943 h 628650"/>
                <a:gd name="connsiteX502" fmla="*/ 108966 w 228600"/>
                <a:gd name="connsiteY502" fmla="*/ 304514 h 628650"/>
                <a:gd name="connsiteX503" fmla="*/ 112395 w 228600"/>
                <a:gd name="connsiteY503" fmla="*/ 296323 h 628650"/>
                <a:gd name="connsiteX504" fmla="*/ 117158 w 228600"/>
                <a:gd name="connsiteY504" fmla="*/ 285369 h 628650"/>
                <a:gd name="connsiteX505" fmla="*/ 124016 w 228600"/>
                <a:gd name="connsiteY505" fmla="*/ 274415 h 628650"/>
                <a:gd name="connsiteX506" fmla="*/ 126778 w 228600"/>
                <a:gd name="connsiteY506" fmla="*/ 268224 h 628650"/>
                <a:gd name="connsiteX507" fmla="*/ 128111 w 228600"/>
                <a:gd name="connsiteY507" fmla="*/ 265462 h 628650"/>
                <a:gd name="connsiteX508" fmla="*/ 128111 w 228600"/>
                <a:gd name="connsiteY508" fmla="*/ 264795 h 628650"/>
                <a:gd name="connsiteX509" fmla="*/ 129445 w 228600"/>
                <a:gd name="connsiteY509" fmla="*/ 261366 h 628650"/>
                <a:gd name="connsiteX510" fmla="*/ 132207 w 228600"/>
                <a:gd name="connsiteY510" fmla="*/ 257270 h 628650"/>
                <a:gd name="connsiteX511" fmla="*/ 132874 w 228600"/>
                <a:gd name="connsiteY511" fmla="*/ 256604 h 628650"/>
                <a:gd name="connsiteX512" fmla="*/ 139065 w 228600"/>
                <a:gd name="connsiteY512" fmla="*/ 241554 h 628650"/>
                <a:gd name="connsiteX513" fmla="*/ 139732 w 228600"/>
                <a:gd name="connsiteY513" fmla="*/ 237458 h 628650"/>
                <a:gd name="connsiteX514" fmla="*/ 143828 w 228600"/>
                <a:gd name="connsiteY514" fmla="*/ 227171 h 628650"/>
                <a:gd name="connsiteX515" fmla="*/ 150019 w 228600"/>
                <a:gd name="connsiteY515" fmla="*/ 220980 h 628650"/>
                <a:gd name="connsiteX516" fmla="*/ 150019 w 228600"/>
                <a:gd name="connsiteY516" fmla="*/ 218123 h 628650"/>
                <a:gd name="connsiteX517" fmla="*/ 151352 w 228600"/>
                <a:gd name="connsiteY517" fmla="*/ 214694 h 628650"/>
                <a:gd name="connsiteX518" fmla="*/ 154781 w 228600"/>
                <a:gd name="connsiteY518" fmla="*/ 201644 h 628650"/>
                <a:gd name="connsiteX519" fmla="*/ 158877 w 228600"/>
                <a:gd name="connsiteY519" fmla="*/ 193453 h 628650"/>
                <a:gd name="connsiteX520" fmla="*/ 160973 w 228600"/>
                <a:gd name="connsiteY520" fmla="*/ 187262 h 628650"/>
                <a:gd name="connsiteX521" fmla="*/ 161639 w 228600"/>
                <a:gd name="connsiteY521" fmla="*/ 182499 h 628650"/>
                <a:gd name="connsiteX522" fmla="*/ 162306 w 228600"/>
                <a:gd name="connsiteY522" fmla="*/ 179070 h 628650"/>
                <a:gd name="connsiteX523" fmla="*/ 164402 w 228600"/>
                <a:gd name="connsiteY523" fmla="*/ 172212 h 628650"/>
                <a:gd name="connsiteX524" fmla="*/ 167831 w 228600"/>
                <a:gd name="connsiteY524" fmla="*/ 161925 h 628650"/>
                <a:gd name="connsiteX525" fmla="*/ 169164 w 228600"/>
                <a:gd name="connsiteY525" fmla="*/ 159830 h 628650"/>
                <a:gd name="connsiteX526" fmla="*/ 170498 w 228600"/>
                <a:gd name="connsiteY526" fmla="*/ 153638 h 628650"/>
                <a:gd name="connsiteX527" fmla="*/ 171164 w 228600"/>
                <a:gd name="connsiteY527" fmla="*/ 147447 h 628650"/>
                <a:gd name="connsiteX528" fmla="*/ 171164 w 228600"/>
                <a:gd name="connsiteY528" fmla="*/ 144018 h 628650"/>
                <a:gd name="connsiteX529" fmla="*/ 172498 w 228600"/>
                <a:gd name="connsiteY529" fmla="*/ 133731 h 628650"/>
                <a:gd name="connsiteX530" fmla="*/ 173831 w 228600"/>
                <a:gd name="connsiteY530" fmla="*/ 123444 h 628650"/>
                <a:gd name="connsiteX531" fmla="*/ 173831 w 228600"/>
                <a:gd name="connsiteY531" fmla="*/ 119348 h 628650"/>
                <a:gd name="connsiteX532" fmla="*/ 174498 w 228600"/>
                <a:gd name="connsiteY532" fmla="*/ 115253 h 628650"/>
                <a:gd name="connsiteX533" fmla="*/ 174498 w 228600"/>
                <a:gd name="connsiteY533" fmla="*/ 114586 h 628650"/>
                <a:gd name="connsiteX534" fmla="*/ 175831 w 228600"/>
                <a:gd name="connsiteY534" fmla="*/ 103632 h 628650"/>
                <a:gd name="connsiteX535" fmla="*/ 175831 w 228600"/>
                <a:gd name="connsiteY535" fmla="*/ 97441 h 628650"/>
                <a:gd name="connsiteX536" fmla="*/ 174498 w 228600"/>
                <a:gd name="connsiteY536" fmla="*/ 91916 h 628650"/>
                <a:gd name="connsiteX537" fmla="*/ 173831 w 228600"/>
                <a:gd name="connsiteY537" fmla="*/ 87154 h 628650"/>
                <a:gd name="connsiteX538" fmla="*/ 174498 w 228600"/>
                <a:gd name="connsiteY538" fmla="*/ 85058 h 628650"/>
                <a:gd name="connsiteX539" fmla="*/ 173831 w 228600"/>
                <a:gd name="connsiteY539" fmla="*/ 80963 h 628650"/>
                <a:gd name="connsiteX540" fmla="*/ 173831 w 228600"/>
                <a:gd name="connsiteY540" fmla="*/ 76200 h 628650"/>
                <a:gd name="connsiteX541" fmla="*/ 173165 w 228600"/>
                <a:gd name="connsiteY541" fmla="*/ 73438 h 628650"/>
                <a:gd name="connsiteX542" fmla="*/ 169736 w 228600"/>
                <a:gd name="connsiteY542" fmla="*/ 67247 h 628650"/>
                <a:gd name="connsiteX543" fmla="*/ 168402 w 228600"/>
                <a:gd name="connsiteY543" fmla="*/ 64484 h 628650"/>
                <a:gd name="connsiteX544" fmla="*/ 168402 w 228600"/>
                <a:gd name="connsiteY544" fmla="*/ 61722 h 628650"/>
                <a:gd name="connsiteX545" fmla="*/ 168402 w 228600"/>
                <a:gd name="connsiteY545" fmla="*/ 60389 h 628650"/>
                <a:gd name="connsiteX546" fmla="*/ 160211 w 228600"/>
                <a:gd name="connsiteY546" fmla="*/ 54864 h 628650"/>
                <a:gd name="connsiteX547" fmla="*/ 160211 w 228600"/>
                <a:gd name="connsiteY547" fmla="*/ 52102 h 628650"/>
                <a:gd name="connsiteX548" fmla="*/ 157448 w 228600"/>
                <a:gd name="connsiteY548" fmla="*/ 52102 h 628650"/>
                <a:gd name="connsiteX549" fmla="*/ 156781 w 228600"/>
                <a:gd name="connsiteY549" fmla="*/ 53435 h 628650"/>
                <a:gd name="connsiteX550" fmla="*/ 156781 w 228600"/>
                <a:gd name="connsiteY550" fmla="*/ 59627 h 628650"/>
                <a:gd name="connsiteX551" fmla="*/ 153353 w 228600"/>
                <a:gd name="connsiteY551" fmla="*/ 60960 h 628650"/>
                <a:gd name="connsiteX552" fmla="*/ 150590 w 228600"/>
                <a:gd name="connsiteY552" fmla="*/ 64389 h 628650"/>
                <a:gd name="connsiteX553" fmla="*/ 149924 w 228600"/>
                <a:gd name="connsiteY553" fmla="*/ 67151 h 628650"/>
                <a:gd name="connsiteX554" fmla="*/ 150590 w 228600"/>
                <a:gd name="connsiteY554" fmla="*/ 69914 h 628650"/>
                <a:gd name="connsiteX555" fmla="*/ 149924 w 228600"/>
                <a:gd name="connsiteY555" fmla="*/ 74676 h 628650"/>
                <a:gd name="connsiteX556" fmla="*/ 147828 w 228600"/>
                <a:gd name="connsiteY556" fmla="*/ 75343 h 628650"/>
                <a:gd name="connsiteX557" fmla="*/ 148685 w 228600"/>
                <a:gd name="connsiteY557" fmla="*/ 76105 h 628650"/>
                <a:gd name="connsiteX558" fmla="*/ 137731 w 228600"/>
                <a:gd name="connsiteY558" fmla="*/ 301085 h 628650"/>
                <a:gd name="connsiteX559" fmla="*/ 136398 w 228600"/>
                <a:gd name="connsiteY559" fmla="*/ 300419 h 628650"/>
                <a:gd name="connsiteX560" fmla="*/ 135731 w 228600"/>
                <a:gd name="connsiteY560" fmla="*/ 300419 h 628650"/>
                <a:gd name="connsiteX561" fmla="*/ 132969 w 228600"/>
                <a:gd name="connsiteY561" fmla="*/ 303181 h 628650"/>
                <a:gd name="connsiteX562" fmla="*/ 137731 w 228600"/>
                <a:gd name="connsiteY562" fmla="*/ 301085 h 628650"/>
                <a:gd name="connsiteX563" fmla="*/ 145923 w 228600"/>
                <a:gd name="connsiteY563" fmla="*/ 85058 h 628650"/>
                <a:gd name="connsiteX564" fmla="*/ 143161 w 228600"/>
                <a:gd name="connsiteY564" fmla="*/ 87059 h 628650"/>
                <a:gd name="connsiteX565" fmla="*/ 143828 w 228600"/>
                <a:gd name="connsiteY565" fmla="*/ 87725 h 628650"/>
                <a:gd name="connsiteX566" fmla="*/ 145923 w 228600"/>
                <a:gd name="connsiteY566" fmla="*/ 89059 h 628650"/>
                <a:gd name="connsiteX567" fmla="*/ 147256 w 228600"/>
                <a:gd name="connsiteY567" fmla="*/ 87725 h 628650"/>
                <a:gd name="connsiteX568" fmla="*/ 147256 w 228600"/>
                <a:gd name="connsiteY568" fmla="*/ 87059 h 628650"/>
                <a:gd name="connsiteX569" fmla="*/ 145923 w 228600"/>
                <a:gd name="connsiteY569" fmla="*/ 85058 h 628650"/>
                <a:gd name="connsiteX570" fmla="*/ 148685 w 228600"/>
                <a:gd name="connsiteY570" fmla="*/ 76105 h 628650"/>
                <a:gd name="connsiteX571" fmla="*/ 151448 w 228600"/>
                <a:gd name="connsiteY571" fmla="*/ 76772 h 628650"/>
                <a:gd name="connsiteX572" fmla="*/ 152114 w 228600"/>
                <a:gd name="connsiteY572" fmla="*/ 73343 h 628650"/>
                <a:gd name="connsiteX573" fmla="*/ 150019 w 228600"/>
                <a:gd name="connsiteY573" fmla="*/ 74676 h 628650"/>
                <a:gd name="connsiteX574" fmla="*/ 150019 w 228600"/>
                <a:gd name="connsiteY574" fmla="*/ 76010 h 628650"/>
                <a:gd name="connsiteX575" fmla="*/ 148685 w 228600"/>
                <a:gd name="connsiteY575" fmla="*/ 76010 h 628650"/>
                <a:gd name="connsiteX576" fmla="*/ 153448 w 228600"/>
                <a:gd name="connsiteY576" fmla="*/ 68580 h 628650"/>
                <a:gd name="connsiteX577" fmla="*/ 152114 w 228600"/>
                <a:gd name="connsiteY577" fmla="*/ 67913 h 628650"/>
                <a:gd name="connsiteX578" fmla="*/ 151448 w 228600"/>
                <a:gd name="connsiteY578" fmla="*/ 68580 h 628650"/>
                <a:gd name="connsiteX579" fmla="*/ 152114 w 228600"/>
                <a:gd name="connsiteY579" fmla="*/ 70676 h 628650"/>
                <a:gd name="connsiteX580" fmla="*/ 154210 w 228600"/>
                <a:gd name="connsiteY580" fmla="*/ 70676 h 628650"/>
                <a:gd name="connsiteX581" fmla="*/ 153448 w 228600"/>
                <a:gd name="connsiteY581" fmla="*/ 68580 h 628650"/>
                <a:gd name="connsiteX582" fmla="*/ 161068 w 228600"/>
                <a:gd name="connsiteY582" fmla="*/ 251746 h 628650"/>
                <a:gd name="connsiteX583" fmla="*/ 161735 w 228600"/>
                <a:gd name="connsiteY583" fmla="*/ 249650 h 628650"/>
                <a:gd name="connsiteX584" fmla="*/ 159639 w 228600"/>
                <a:gd name="connsiteY584" fmla="*/ 247555 h 628650"/>
                <a:gd name="connsiteX585" fmla="*/ 157544 w 228600"/>
                <a:gd name="connsiteY585" fmla="*/ 251651 h 628650"/>
                <a:gd name="connsiteX586" fmla="*/ 161068 w 228600"/>
                <a:gd name="connsiteY586" fmla="*/ 251651 h 628650"/>
                <a:gd name="connsiteX587" fmla="*/ 193262 w 228600"/>
                <a:gd name="connsiteY587" fmla="*/ 190024 h 628650"/>
                <a:gd name="connsiteX588" fmla="*/ 193262 w 228600"/>
                <a:gd name="connsiteY588" fmla="*/ 189357 h 628650"/>
                <a:gd name="connsiteX589" fmla="*/ 193929 w 228600"/>
                <a:gd name="connsiteY589" fmla="*/ 190024 h 628650"/>
                <a:gd name="connsiteX590" fmla="*/ 191167 w 228600"/>
                <a:gd name="connsiteY590" fmla="*/ 192119 h 628650"/>
                <a:gd name="connsiteX591" fmla="*/ 193262 w 228600"/>
                <a:gd name="connsiteY591" fmla="*/ 190024 h 62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</a:cxnLst>
              <a:rect l="l" t="t" r="r" b="b"/>
              <a:pathLst>
                <a:path w="228600" h="628650">
                  <a:moveTo>
                    <a:pt x="12192" y="596741"/>
                  </a:moveTo>
                  <a:cubicBezTo>
                    <a:pt x="12192" y="596741"/>
                    <a:pt x="12192" y="596075"/>
                    <a:pt x="10858" y="595408"/>
                  </a:cubicBezTo>
                  <a:cubicBezTo>
                    <a:pt x="10858" y="594741"/>
                    <a:pt x="12192" y="593312"/>
                    <a:pt x="12192" y="591979"/>
                  </a:cubicBezTo>
                  <a:cubicBezTo>
                    <a:pt x="12192" y="591979"/>
                    <a:pt x="11525" y="591979"/>
                    <a:pt x="11525" y="591312"/>
                  </a:cubicBezTo>
                  <a:cubicBezTo>
                    <a:pt x="10192" y="590645"/>
                    <a:pt x="9430" y="588550"/>
                    <a:pt x="8763" y="587216"/>
                  </a:cubicBezTo>
                  <a:lnTo>
                    <a:pt x="8096" y="587216"/>
                  </a:lnTo>
                  <a:cubicBezTo>
                    <a:pt x="8763" y="585883"/>
                    <a:pt x="8763" y="584454"/>
                    <a:pt x="8763" y="584454"/>
                  </a:cubicBezTo>
                  <a:lnTo>
                    <a:pt x="8763" y="579692"/>
                  </a:lnTo>
                  <a:cubicBezTo>
                    <a:pt x="8763" y="578358"/>
                    <a:pt x="8096" y="576929"/>
                    <a:pt x="7430" y="575596"/>
                  </a:cubicBezTo>
                  <a:cubicBezTo>
                    <a:pt x="7430" y="574929"/>
                    <a:pt x="3334" y="570833"/>
                    <a:pt x="3334" y="569405"/>
                  </a:cubicBezTo>
                  <a:cubicBezTo>
                    <a:pt x="3334" y="568738"/>
                    <a:pt x="4001" y="568071"/>
                    <a:pt x="4001" y="567309"/>
                  </a:cubicBezTo>
                  <a:cubicBezTo>
                    <a:pt x="4001" y="567309"/>
                    <a:pt x="4001" y="566642"/>
                    <a:pt x="3334" y="566642"/>
                  </a:cubicBezTo>
                  <a:cubicBezTo>
                    <a:pt x="2000" y="565309"/>
                    <a:pt x="2000" y="562547"/>
                    <a:pt x="2000" y="559784"/>
                  </a:cubicBezTo>
                  <a:cubicBezTo>
                    <a:pt x="2000" y="558451"/>
                    <a:pt x="667" y="558451"/>
                    <a:pt x="667" y="557022"/>
                  </a:cubicBezTo>
                  <a:lnTo>
                    <a:pt x="667" y="556260"/>
                  </a:lnTo>
                  <a:cubicBezTo>
                    <a:pt x="0" y="552164"/>
                    <a:pt x="0" y="548069"/>
                    <a:pt x="0" y="543878"/>
                  </a:cubicBezTo>
                  <a:cubicBezTo>
                    <a:pt x="0" y="533591"/>
                    <a:pt x="2096" y="521208"/>
                    <a:pt x="2096" y="508921"/>
                  </a:cubicBezTo>
                  <a:cubicBezTo>
                    <a:pt x="2762" y="507587"/>
                    <a:pt x="4191" y="505492"/>
                    <a:pt x="4191" y="504825"/>
                  </a:cubicBezTo>
                  <a:cubicBezTo>
                    <a:pt x="4191" y="502730"/>
                    <a:pt x="4191" y="500729"/>
                    <a:pt x="4858" y="500063"/>
                  </a:cubicBezTo>
                  <a:cubicBezTo>
                    <a:pt x="6191" y="499396"/>
                    <a:pt x="6191" y="499396"/>
                    <a:pt x="6191" y="498729"/>
                  </a:cubicBezTo>
                  <a:cubicBezTo>
                    <a:pt x="6191" y="498062"/>
                    <a:pt x="6191" y="498062"/>
                    <a:pt x="5525" y="497396"/>
                  </a:cubicBezTo>
                  <a:cubicBezTo>
                    <a:pt x="5525" y="496062"/>
                    <a:pt x="6191" y="492633"/>
                    <a:pt x="6858" y="491871"/>
                  </a:cubicBezTo>
                  <a:cubicBezTo>
                    <a:pt x="5525" y="491204"/>
                    <a:pt x="4763" y="489775"/>
                    <a:pt x="4763" y="489109"/>
                  </a:cubicBezTo>
                  <a:cubicBezTo>
                    <a:pt x="4763" y="488442"/>
                    <a:pt x="5429" y="487775"/>
                    <a:pt x="5429" y="487013"/>
                  </a:cubicBezTo>
                  <a:lnTo>
                    <a:pt x="5429" y="485680"/>
                  </a:lnTo>
                  <a:cubicBezTo>
                    <a:pt x="5429" y="483584"/>
                    <a:pt x="6763" y="482251"/>
                    <a:pt x="6763" y="480917"/>
                  </a:cubicBezTo>
                  <a:cubicBezTo>
                    <a:pt x="6763" y="480250"/>
                    <a:pt x="6096" y="479584"/>
                    <a:pt x="5429" y="478822"/>
                  </a:cubicBezTo>
                  <a:lnTo>
                    <a:pt x="5429" y="476726"/>
                  </a:lnTo>
                  <a:cubicBezTo>
                    <a:pt x="7525" y="475393"/>
                    <a:pt x="8192" y="472631"/>
                    <a:pt x="8192" y="471202"/>
                  </a:cubicBezTo>
                  <a:lnTo>
                    <a:pt x="8192" y="469868"/>
                  </a:lnTo>
                  <a:cubicBezTo>
                    <a:pt x="8192" y="469201"/>
                    <a:pt x="8192" y="468535"/>
                    <a:pt x="8858" y="467773"/>
                  </a:cubicBezTo>
                  <a:lnTo>
                    <a:pt x="8858" y="463010"/>
                  </a:lnTo>
                  <a:cubicBezTo>
                    <a:pt x="8858" y="460248"/>
                    <a:pt x="8858" y="457486"/>
                    <a:pt x="9525" y="454819"/>
                  </a:cubicBezTo>
                  <a:lnTo>
                    <a:pt x="9525" y="452057"/>
                  </a:lnTo>
                  <a:cubicBezTo>
                    <a:pt x="10192" y="451390"/>
                    <a:pt x="10192" y="451390"/>
                    <a:pt x="10192" y="450723"/>
                  </a:cubicBezTo>
                  <a:lnTo>
                    <a:pt x="10192" y="449390"/>
                  </a:lnTo>
                  <a:cubicBezTo>
                    <a:pt x="9525" y="448723"/>
                    <a:pt x="9525" y="448056"/>
                    <a:pt x="9525" y="448056"/>
                  </a:cubicBezTo>
                  <a:cubicBezTo>
                    <a:pt x="10192" y="445294"/>
                    <a:pt x="11621" y="443294"/>
                    <a:pt x="11621" y="440531"/>
                  </a:cubicBezTo>
                  <a:lnTo>
                    <a:pt x="11621" y="439198"/>
                  </a:lnTo>
                  <a:cubicBezTo>
                    <a:pt x="12954" y="438531"/>
                    <a:pt x="12954" y="435769"/>
                    <a:pt x="13716" y="435102"/>
                  </a:cubicBezTo>
                  <a:lnTo>
                    <a:pt x="13716" y="428625"/>
                  </a:lnTo>
                  <a:cubicBezTo>
                    <a:pt x="13716" y="427958"/>
                    <a:pt x="13716" y="427958"/>
                    <a:pt x="14383" y="427292"/>
                  </a:cubicBezTo>
                  <a:lnTo>
                    <a:pt x="15050" y="426625"/>
                  </a:lnTo>
                  <a:cubicBezTo>
                    <a:pt x="14383" y="425958"/>
                    <a:pt x="14383" y="425291"/>
                    <a:pt x="14383" y="424529"/>
                  </a:cubicBezTo>
                  <a:cubicBezTo>
                    <a:pt x="14383" y="423196"/>
                    <a:pt x="15050" y="421767"/>
                    <a:pt x="15050" y="421100"/>
                  </a:cubicBezTo>
                  <a:cubicBezTo>
                    <a:pt x="15716" y="419005"/>
                    <a:pt x="15716" y="417671"/>
                    <a:pt x="16383" y="417671"/>
                  </a:cubicBezTo>
                  <a:cubicBezTo>
                    <a:pt x="16383" y="417005"/>
                    <a:pt x="17050" y="417005"/>
                    <a:pt x="16383" y="417005"/>
                  </a:cubicBezTo>
                  <a:cubicBezTo>
                    <a:pt x="15716" y="415671"/>
                    <a:pt x="15716" y="414909"/>
                    <a:pt x="15716" y="414242"/>
                  </a:cubicBezTo>
                  <a:lnTo>
                    <a:pt x="15716" y="412909"/>
                  </a:lnTo>
                  <a:cubicBezTo>
                    <a:pt x="15716" y="412242"/>
                    <a:pt x="16383" y="412242"/>
                    <a:pt x="17050" y="410813"/>
                  </a:cubicBezTo>
                  <a:cubicBezTo>
                    <a:pt x="17050" y="410813"/>
                    <a:pt x="17717" y="410813"/>
                    <a:pt x="17717" y="410147"/>
                  </a:cubicBezTo>
                  <a:cubicBezTo>
                    <a:pt x="17717" y="410147"/>
                    <a:pt x="17717" y="409480"/>
                    <a:pt x="17050" y="409480"/>
                  </a:cubicBezTo>
                  <a:cubicBezTo>
                    <a:pt x="17050" y="408146"/>
                    <a:pt x="19145" y="406051"/>
                    <a:pt x="19145" y="404717"/>
                  </a:cubicBezTo>
                  <a:lnTo>
                    <a:pt x="18479" y="404050"/>
                  </a:lnTo>
                  <a:cubicBezTo>
                    <a:pt x="19145" y="402717"/>
                    <a:pt x="19145" y="399955"/>
                    <a:pt x="19145" y="399955"/>
                  </a:cubicBezTo>
                  <a:lnTo>
                    <a:pt x="19145" y="397859"/>
                  </a:lnTo>
                  <a:cubicBezTo>
                    <a:pt x="19812" y="395097"/>
                    <a:pt x="19812" y="393097"/>
                    <a:pt x="21241" y="389668"/>
                  </a:cubicBezTo>
                  <a:cubicBezTo>
                    <a:pt x="21908" y="389668"/>
                    <a:pt x="21908" y="389001"/>
                    <a:pt x="21908" y="389001"/>
                  </a:cubicBezTo>
                  <a:cubicBezTo>
                    <a:pt x="21908" y="389001"/>
                    <a:pt x="21908" y="388334"/>
                    <a:pt x="21241" y="388334"/>
                  </a:cubicBezTo>
                  <a:cubicBezTo>
                    <a:pt x="21908" y="387001"/>
                    <a:pt x="22574" y="384239"/>
                    <a:pt x="23336" y="383572"/>
                  </a:cubicBezTo>
                  <a:cubicBezTo>
                    <a:pt x="23336" y="382238"/>
                    <a:pt x="24003" y="380810"/>
                    <a:pt x="24003" y="379476"/>
                  </a:cubicBezTo>
                  <a:lnTo>
                    <a:pt x="24003" y="378809"/>
                  </a:lnTo>
                  <a:cubicBezTo>
                    <a:pt x="23336" y="378143"/>
                    <a:pt x="23336" y="377476"/>
                    <a:pt x="23336" y="377476"/>
                  </a:cubicBezTo>
                  <a:cubicBezTo>
                    <a:pt x="23336" y="376142"/>
                    <a:pt x="24003" y="376142"/>
                    <a:pt x="24003" y="376142"/>
                  </a:cubicBezTo>
                  <a:cubicBezTo>
                    <a:pt x="24670" y="374809"/>
                    <a:pt x="25337" y="373380"/>
                    <a:pt x="27432" y="371380"/>
                  </a:cubicBezTo>
                  <a:cubicBezTo>
                    <a:pt x="27432" y="370713"/>
                    <a:pt x="26099" y="368618"/>
                    <a:pt x="26099" y="367284"/>
                  </a:cubicBezTo>
                  <a:lnTo>
                    <a:pt x="26099" y="365950"/>
                  </a:lnTo>
                  <a:cubicBezTo>
                    <a:pt x="28861" y="362522"/>
                    <a:pt x="28861" y="361188"/>
                    <a:pt x="29528" y="357759"/>
                  </a:cubicBezTo>
                  <a:cubicBezTo>
                    <a:pt x="29528" y="357092"/>
                    <a:pt x="30194" y="353663"/>
                    <a:pt x="30861" y="352997"/>
                  </a:cubicBezTo>
                  <a:lnTo>
                    <a:pt x="30194" y="352330"/>
                  </a:lnTo>
                  <a:cubicBezTo>
                    <a:pt x="30194" y="349568"/>
                    <a:pt x="30861" y="348901"/>
                    <a:pt x="32290" y="348234"/>
                  </a:cubicBezTo>
                  <a:lnTo>
                    <a:pt x="33623" y="340709"/>
                  </a:lnTo>
                  <a:lnTo>
                    <a:pt x="33623" y="337947"/>
                  </a:lnTo>
                  <a:cubicBezTo>
                    <a:pt x="33623" y="335185"/>
                    <a:pt x="34290" y="333185"/>
                    <a:pt x="35719" y="330422"/>
                  </a:cubicBezTo>
                  <a:cubicBezTo>
                    <a:pt x="35719" y="329756"/>
                    <a:pt x="37052" y="326993"/>
                    <a:pt x="37052" y="326326"/>
                  </a:cubicBezTo>
                  <a:cubicBezTo>
                    <a:pt x="37719" y="324993"/>
                    <a:pt x="37719" y="322231"/>
                    <a:pt x="37719" y="322231"/>
                  </a:cubicBezTo>
                  <a:cubicBezTo>
                    <a:pt x="38386" y="319469"/>
                    <a:pt x="38386" y="318135"/>
                    <a:pt x="40481" y="315373"/>
                  </a:cubicBezTo>
                  <a:lnTo>
                    <a:pt x="39815" y="314039"/>
                  </a:lnTo>
                  <a:cubicBezTo>
                    <a:pt x="39815" y="311277"/>
                    <a:pt x="39815" y="310610"/>
                    <a:pt x="40481" y="309944"/>
                  </a:cubicBezTo>
                  <a:lnTo>
                    <a:pt x="40481" y="307848"/>
                  </a:lnTo>
                  <a:cubicBezTo>
                    <a:pt x="41148" y="307848"/>
                    <a:pt x="41148" y="307181"/>
                    <a:pt x="41148" y="307181"/>
                  </a:cubicBezTo>
                  <a:cubicBezTo>
                    <a:pt x="41148" y="306515"/>
                    <a:pt x="40481" y="305848"/>
                    <a:pt x="40481" y="304419"/>
                  </a:cubicBezTo>
                  <a:cubicBezTo>
                    <a:pt x="42577" y="303086"/>
                    <a:pt x="43244" y="301657"/>
                    <a:pt x="43244" y="301657"/>
                  </a:cubicBezTo>
                  <a:lnTo>
                    <a:pt x="43244" y="297561"/>
                  </a:lnTo>
                  <a:cubicBezTo>
                    <a:pt x="43910" y="296894"/>
                    <a:pt x="45339" y="296228"/>
                    <a:pt x="45339" y="294799"/>
                  </a:cubicBezTo>
                  <a:cubicBezTo>
                    <a:pt x="45339" y="294132"/>
                    <a:pt x="44672" y="293465"/>
                    <a:pt x="44672" y="293465"/>
                  </a:cubicBezTo>
                  <a:lnTo>
                    <a:pt x="44672" y="291465"/>
                  </a:lnTo>
                  <a:cubicBezTo>
                    <a:pt x="46768" y="290132"/>
                    <a:pt x="46768" y="288703"/>
                    <a:pt x="46768" y="286703"/>
                  </a:cubicBezTo>
                  <a:cubicBezTo>
                    <a:pt x="46768" y="286036"/>
                    <a:pt x="47435" y="285369"/>
                    <a:pt x="48101" y="284607"/>
                  </a:cubicBezTo>
                  <a:cubicBezTo>
                    <a:pt x="48101" y="283940"/>
                    <a:pt x="48768" y="283274"/>
                    <a:pt x="48768" y="282512"/>
                  </a:cubicBezTo>
                  <a:cubicBezTo>
                    <a:pt x="48768" y="282512"/>
                    <a:pt x="48768" y="281845"/>
                    <a:pt x="48101" y="281845"/>
                  </a:cubicBezTo>
                  <a:lnTo>
                    <a:pt x="48101" y="279749"/>
                  </a:lnTo>
                  <a:cubicBezTo>
                    <a:pt x="48101" y="279083"/>
                    <a:pt x="50864" y="278416"/>
                    <a:pt x="50864" y="276320"/>
                  </a:cubicBezTo>
                  <a:cubicBezTo>
                    <a:pt x="50864" y="275654"/>
                    <a:pt x="51530" y="274987"/>
                    <a:pt x="50864" y="274987"/>
                  </a:cubicBezTo>
                  <a:lnTo>
                    <a:pt x="50864" y="270891"/>
                  </a:lnTo>
                  <a:cubicBezTo>
                    <a:pt x="51530" y="270224"/>
                    <a:pt x="51530" y="269558"/>
                    <a:pt x="51530" y="268796"/>
                  </a:cubicBezTo>
                  <a:cubicBezTo>
                    <a:pt x="52197" y="268129"/>
                    <a:pt x="52197" y="265367"/>
                    <a:pt x="52864" y="265367"/>
                  </a:cubicBezTo>
                  <a:cubicBezTo>
                    <a:pt x="52864" y="264033"/>
                    <a:pt x="52864" y="263271"/>
                    <a:pt x="53531" y="261271"/>
                  </a:cubicBezTo>
                  <a:cubicBezTo>
                    <a:pt x="53531" y="259175"/>
                    <a:pt x="53531" y="257842"/>
                    <a:pt x="54197" y="255746"/>
                  </a:cubicBezTo>
                  <a:cubicBezTo>
                    <a:pt x="54197" y="255080"/>
                    <a:pt x="56960" y="252317"/>
                    <a:pt x="56960" y="252317"/>
                  </a:cubicBezTo>
                  <a:cubicBezTo>
                    <a:pt x="56960" y="249555"/>
                    <a:pt x="56960" y="248222"/>
                    <a:pt x="57626" y="244793"/>
                  </a:cubicBezTo>
                  <a:cubicBezTo>
                    <a:pt x="57626" y="243459"/>
                    <a:pt x="58293" y="242030"/>
                    <a:pt x="58293" y="240030"/>
                  </a:cubicBezTo>
                  <a:cubicBezTo>
                    <a:pt x="59627" y="238697"/>
                    <a:pt x="59627" y="237935"/>
                    <a:pt x="59627" y="237268"/>
                  </a:cubicBezTo>
                  <a:cubicBezTo>
                    <a:pt x="58960" y="235934"/>
                    <a:pt x="58960" y="235172"/>
                    <a:pt x="58960" y="234506"/>
                  </a:cubicBezTo>
                  <a:cubicBezTo>
                    <a:pt x="58960" y="233839"/>
                    <a:pt x="58960" y="233839"/>
                    <a:pt x="59627" y="233172"/>
                  </a:cubicBezTo>
                  <a:cubicBezTo>
                    <a:pt x="59627" y="232505"/>
                    <a:pt x="60960" y="231077"/>
                    <a:pt x="61722" y="230410"/>
                  </a:cubicBezTo>
                  <a:cubicBezTo>
                    <a:pt x="61722" y="227648"/>
                    <a:pt x="62389" y="223552"/>
                    <a:pt x="63056" y="222218"/>
                  </a:cubicBezTo>
                  <a:cubicBezTo>
                    <a:pt x="63056" y="219456"/>
                    <a:pt x="64389" y="218789"/>
                    <a:pt x="64389" y="218123"/>
                  </a:cubicBezTo>
                  <a:lnTo>
                    <a:pt x="66485" y="209169"/>
                  </a:lnTo>
                  <a:cubicBezTo>
                    <a:pt x="66485" y="209169"/>
                    <a:pt x="67151" y="208502"/>
                    <a:pt x="67818" y="207074"/>
                  </a:cubicBezTo>
                  <a:cubicBezTo>
                    <a:pt x="67818" y="205740"/>
                    <a:pt x="69914" y="204311"/>
                    <a:pt x="70580" y="201549"/>
                  </a:cubicBezTo>
                  <a:cubicBezTo>
                    <a:pt x="71247" y="200216"/>
                    <a:pt x="71914" y="198787"/>
                    <a:pt x="71247" y="198787"/>
                  </a:cubicBezTo>
                  <a:lnTo>
                    <a:pt x="71247" y="197453"/>
                  </a:lnTo>
                  <a:cubicBezTo>
                    <a:pt x="72581" y="193358"/>
                    <a:pt x="73343" y="189929"/>
                    <a:pt x="74676" y="187166"/>
                  </a:cubicBezTo>
                  <a:lnTo>
                    <a:pt x="75343" y="187166"/>
                  </a:lnTo>
                  <a:lnTo>
                    <a:pt x="75343" y="186500"/>
                  </a:lnTo>
                  <a:cubicBezTo>
                    <a:pt x="75343" y="185166"/>
                    <a:pt x="76010" y="185166"/>
                    <a:pt x="76676" y="183737"/>
                  </a:cubicBezTo>
                  <a:cubicBezTo>
                    <a:pt x="76676" y="183071"/>
                    <a:pt x="77343" y="179642"/>
                    <a:pt x="77343" y="178213"/>
                  </a:cubicBezTo>
                  <a:cubicBezTo>
                    <a:pt x="79439" y="178213"/>
                    <a:pt x="79439" y="177546"/>
                    <a:pt x="79439" y="177546"/>
                  </a:cubicBezTo>
                  <a:cubicBezTo>
                    <a:pt x="78772" y="176879"/>
                    <a:pt x="78772" y="175451"/>
                    <a:pt x="78772" y="174784"/>
                  </a:cubicBezTo>
                  <a:cubicBezTo>
                    <a:pt x="78772" y="173450"/>
                    <a:pt x="79439" y="172022"/>
                    <a:pt x="79439" y="170021"/>
                  </a:cubicBezTo>
                  <a:cubicBezTo>
                    <a:pt x="80105" y="167926"/>
                    <a:pt x="80772" y="165926"/>
                    <a:pt x="80772" y="163830"/>
                  </a:cubicBezTo>
                  <a:cubicBezTo>
                    <a:pt x="80772" y="163163"/>
                    <a:pt x="80772" y="161068"/>
                    <a:pt x="82868" y="159068"/>
                  </a:cubicBezTo>
                  <a:cubicBezTo>
                    <a:pt x="83534" y="159068"/>
                    <a:pt x="83534" y="158401"/>
                    <a:pt x="83534" y="157734"/>
                  </a:cubicBezTo>
                  <a:cubicBezTo>
                    <a:pt x="83534" y="155639"/>
                    <a:pt x="84868" y="153638"/>
                    <a:pt x="85630" y="151543"/>
                  </a:cubicBezTo>
                  <a:lnTo>
                    <a:pt x="85630" y="150209"/>
                  </a:lnTo>
                  <a:cubicBezTo>
                    <a:pt x="85630" y="148876"/>
                    <a:pt x="86963" y="148876"/>
                    <a:pt x="86963" y="147447"/>
                  </a:cubicBezTo>
                  <a:lnTo>
                    <a:pt x="86963" y="146114"/>
                  </a:lnTo>
                  <a:cubicBezTo>
                    <a:pt x="86963" y="144780"/>
                    <a:pt x="87630" y="142685"/>
                    <a:pt x="88297" y="141351"/>
                  </a:cubicBezTo>
                  <a:cubicBezTo>
                    <a:pt x="89630" y="141351"/>
                    <a:pt x="89630" y="140684"/>
                    <a:pt x="89630" y="140684"/>
                  </a:cubicBezTo>
                  <a:cubicBezTo>
                    <a:pt x="88964" y="140018"/>
                    <a:pt x="88964" y="140018"/>
                    <a:pt x="88964" y="139351"/>
                  </a:cubicBezTo>
                  <a:cubicBezTo>
                    <a:pt x="88964" y="138017"/>
                    <a:pt x="90297" y="137255"/>
                    <a:pt x="92393" y="135922"/>
                  </a:cubicBezTo>
                  <a:cubicBezTo>
                    <a:pt x="92393" y="135922"/>
                    <a:pt x="92393" y="135255"/>
                    <a:pt x="91059" y="133160"/>
                  </a:cubicBezTo>
                  <a:cubicBezTo>
                    <a:pt x="91059" y="132493"/>
                    <a:pt x="91059" y="132493"/>
                    <a:pt x="92393" y="131826"/>
                  </a:cubicBezTo>
                  <a:cubicBezTo>
                    <a:pt x="95155" y="127064"/>
                    <a:pt x="96488" y="122206"/>
                    <a:pt x="97155" y="114681"/>
                  </a:cubicBezTo>
                  <a:lnTo>
                    <a:pt x="97822" y="114014"/>
                  </a:lnTo>
                  <a:cubicBezTo>
                    <a:pt x="98489" y="113348"/>
                    <a:pt x="98489" y="111252"/>
                    <a:pt x="99155" y="110585"/>
                  </a:cubicBezTo>
                  <a:lnTo>
                    <a:pt x="99155" y="109919"/>
                  </a:lnTo>
                  <a:cubicBezTo>
                    <a:pt x="99155" y="107823"/>
                    <a:pt x="101251" y="107156"/>
                    <a:pt x="101918" y="105156"/>
                  </a:cubicBezTo>
                  <a:cubicBezTo>
                    <a:pt x="102584" y="105156"/>
                    <a:pt x="102584" y="103823"/>
                    <a:pt x="102584" y="101727"/>
                  </a:cubicBezTo>
                  <a:lnTo>
                    <a:pt x="102584" y="101060"/>
                  </a:lnTo>
                  <a:cubicBezTo>
                    <a:pt x="103918" y="98965"/>
                    <a:pt x="103918" y="96298"/>
                    <a:pt x="106013" y="92869"/>
                  </a:cubicBezTo>
                  <a:lnTo>
                    <a:pt x="106013" y="91916"/>
                  </a:lnTo>
                  <a:cubicBezTo>
                    <a:pt x="106680" y="89821"/>
                    <a:pt x="106680" y="88487"/>
                    <a:pt x="108109" y="87154"/>
                  </a:cubicBezTo>
                  <a:cubicBezTo>
                    <a:pt x="108776" y="86487"/>
                    <a:pt x="109442" y="86487"/>
                    <a:pt x="109442" y="85058"/>
                  </a:cubicBezTo>
                  <a:lnTo>
                    <a:pt x="109442" y="82963"/>
                  </a:lnTo>
                  <a:cubicBezTo>
                    <a:pt x="109442" y="82963"/>
                    <a:pt x="109442" y="82296"/>
                    <a:pt x="110109" y="81629"/>
                  </a:cubicBezTo>
                  <a:cubicBezTo>
                    <a:pt x="110776" y="78200"/>
                    <a:pt x="111443" y="75438"/>
                    <a:pt x="114872" y="70676"/>
                  </a:cubicBezTo>
                  <a:cubicBezTo>
                    <a:pt x="115538" y="66580"/>
                    <a:pt x="116205" y="62484"/>
                    <a:pt x="118967" y="56960"/>
                  </a:cubicBezTo>
                  <a:lnTo>
                    <a:pt x="118967" y="56198"/>
                  </a:lnTo>
                  <a:lnTo>
                    <a:pt x="123063" y="48006"/>
                  </a:lnTo>
                  <a:cubicBezTo>
                    <a:pt x="123730" y="45244"/>
                    <a:pt x="125158" y="43910"/>
                    <a:pt x="127159" y="39815"/>
                  </a:cubicBezTo>
                  <a:cubicBezTo>
                    <a:pt x="127159" y="39815"/>
                    <a:pt x="127159" y="39148"/>
                    <a:pt x="127826" y="38481"/>
                  </a:cubicBezTo>
                  <a:cubicBezTo>
                    <a:pt x="127826" y="35719"/>
                    <a:pt x="128492" y="35052"/>
                    <a:pt x="129159" y="34385"/>
                  </a:cubicBezTo>
                  <a:lnTo>
                    <a:pt x="130493" y="31623"/>
                  </a:lnTo>
                  <a:lnTo>
                    <a:pt x="130493" y="29528"/>
                  </a:lnTo>
                  <a:cubicBezTo>
                    <a:pt x="131159" y="28194"/>
                    <a:pt x="133255" y="26099"/>
                    <a:pt x="133255" y="24765"/>
                  </a:cubicBezTo>
                  <a:cubicBezTo>
                    <a:pt x="135350" y="23432"/>
                    <a:pt x="136684" y="21336"/>
                    <a:pt x="137351" y="19241"/>
                  </a:cubicBezTo>
                  <a:lnTo>
                    <a:pt x="141446" y="13716"/>
                  </a:lnTo>
                  <a:cubicBezTo>
                    <a:pt x="142780" y="11621"/>
                    <a:pt x="144209" y="8954"/>
                    <a:pt x="147638" y="7525"/>
                  </a:cubicBezTo>
                  <a:cubicBezTo>
                    <a:pt x="148304" y="6858"/>
                    <a:pt x="148971" y="4096"/>
                    <a:pt x="151067" y="3429"/>
                  </a:cubicBezTo>
                  <a:cubicBezTo>
                    <a:pt x="153162" y="3429"/>
                    <a:pt x="153162" y="3429"/>
                    <a:pt x="153829" y="2762"/>
                  </a:cubicBezTo>
                  <a:cubicBezTo>
                    <a:pt x="156591" y="2096"/>
                    <a:pt x="158591" y="2096"/>
                    <a:pt x="161354" y="667"/>
                  </a:cubicBezTo>
                  <a:cubicBezTo>
                    <a:pt x="163735" y="0"/>
                    <a:pt x="165830" y="0"/>
                    <a:pt x="169259" y="0"/>
                  </a:cubicBezTo>
                  <a:cubicBezTo>
                    <a:pt x="170593" y="0"/>
                    <a:pt x="171355" y="0"/>
                    <a:pt x="172688" y="667"/>
                  </a:cubicBezTo>
                  <a:lnTo>
                    <a:pt x="175451" y="667"/>
                  </a:lnTo>
                  <a:cubicBezTo>
                    <a:pt x="177546" y="667"/>
                    <a:pt x="178880" y="2000"/>
                    <a:pt x="179546" y="2762"/>
                  </a:cubicBezTo>
                  <a:cubicBezTo>
                    <a:pt x="181642" y="3429"/>
                    <a:pt x="182309" y="4096"/>
                    <a:pt x="183642" y="6858"/>
                  </a:cubicBezTo>
                  <a:cubicBezTo>
                    <a:pt x="185738" y="7525"/>
                    <a:pt x="187071" y="8954"/>
                    <a:pt x="189833" y="10954"/>
                  </a:cubicBezTo>
                  <a:cubicBezTo>
                    <a:pt x="189833" y="12287"/>
                    <a:pt x="192596" y="13049"/>
                    <a:pt x="193262" y="14383"/>
                  </a:cubicBezTo>
                  <a:lnTo>
                    <a:pt x="196025" y="19907"/>
                  </a:lnTo>
                  <a:cubicBezTo>
                    <a:pt x="196025" y="19907"/>
                    <a:pt x="197358" y="22003"/>
                    <a:pt x="197358" y="22670"/>
                  </a:cubicBezTo>
                  <a:cubicBezTo>
                    <a:pt x="200787" y="23336"/>
                    <a:pt x="200787" y="25432"/>
                    <a:pt x="200787" y="27432"/>
                  </a:cubicBezTo>
                  <a:cubicBezTo>
                    <a:pt x="200787" y="28099"/>
                    <a:pt x="201454" y="28766"/>
                    <a:pt x="201454" y="29528"/>
                  </a:cubicBezTo>
                  <a:cubicBezTo>
                    <a:pt x="202121" y="29528"/>
                    <a:pt x="202121" y="30861"/>
                    <a:pt x="202787" y="31623"/>
                  </a:cubicBezTo>
                  <a:cubicBezTo>
                    <a:pt x="202787" y="34385"/>
                    <a:pt x="204883" y="35052"/>
                    <a:pt x="204883" y="37814"/>
                  </a:cubicBezTo>
                  <a:lnTo>
                    <a:pt x="204883" y="48768"/>
                  </a:lnTo>
                  <a:cubicBezTo>
                    <a:pt x="204883" y="52197"/>
                    <a:pt x="204883" y="54293"/>
                    <a:pt x="206216" y="54293"/>
                  </a:cubicBezTo>
                  <a:cubicBezTo>
                    <a:pt x="208979" y="57055"/>
                    <a:pt x="208312" y="60484"/>
                    <a:pt x="208979" y="62484"/>
                  </a:cubicBezTo>
                  <a:lnTo>
                    <a:pt x="208979" y="65913"/>
                  </a:lnTo>
                  <a:cubicBezTo>
                    <a:pt x="208312" y="66485"/>
                    <a:pt x="208312" y="67247"/>
                    <a:pt x="208312" y="67247"/>
                  </a:cubicBezTo>
                  <a:cubicBezTo>
                    <a:pt x="208979" y="70009"/>
                    <a:pt x="210407" y="70009"/>
                    <a:pt x="209645" y="70676"/>
                  </a:cubicBezTo>
                  <a:cubicBezTo>
                    <a:pt x="209645" y="72771"/>
                    <a:pt x="209645" y="74105"/>
                    <a:pt x="208979" y="74771"/>
                  </a:cubicBezTo>
                  <a:cubicBezTo>
                    <a:pt x="208979" y="76867"/>
                    <a:pt x="209645" y="78200"/>
                    <a:pt x="209645" y="79534"/>
                  </a:cubicBezTo>
                  <a:cubicBezTo>
                    <a:pt x="209645" y="80867"/>
                    <a:pt x="210312" y="83630"/>
                    <a:pt x="210979" y="85058"/>
                  </a:cubicBezTo>
                  <a:lnTo>
                    <a:pt x="210979" y="86392"/>
                  </a:lnTo>
                  <a:cubicBezTo>
                    <a:pt x="210312" y="88487"/>
                    <a:pt x="210312" y="90488"/>
                    <a:pt x="210312" y="91916"/>
                  </a:cubicBezTo>
                  <a:lnTo>
                    <a:pt x="210312" y="94678"/>
                  </a:lnTo>
                  <a:cubicBezTo>
                    <a:pt x="210312" y="95345"/>
                    <a:pt x="210979" y="96012"/>
                    <a:pt x="210979" y="96774"/>
                  </a:cubicBezTo>
                  <a:cubicBezTo>
                    <a:pt x="210312" y="98870"/>
                    <a:pt x="210312" y="99536"/>
                    <a:pt x="210312" y="100203"/>
                  </a:cubicBezTo>
                  <a:cubicBezTo>
                    <a:pt x="210312" y="101537"/>
                    <a:pt x="210312" y="102299"/>
                    <a:pt x="209645" y="103632"/>
                  </a:cubicBezTo>
                  <a:cubicBezTo>
                    <a:pt x="208312" y="104299"/>
                    <a:pt x="207550" y="104966"/>
                    <a:pt x="207550" y="106394"/>
                  </a:cubicBezTo>
                  <a:cubicBezTo>
                    <a:pt x="207550" y="107061"/>
                    <a:pt x="207550" y="108490"/>
                    <a:pt x="208217" y="109157"/>
                  </a:cubicBezTo>
                  <a:lnTo>
                    <a:pt x="208217" y="112586"/>
                  </a:lnTo>
                  <a:cubicBezTo>
                    <a:pt x="208217" y="113252"/>
                    <a:pt x="207550" y="115348"/>
                    <a:pt x="204121" y="116015"/>
                  </a:cubicBezTo>
                  <a:cubicBezTo>
                    <a:pt x="204121" y="116681"/>
                    <a:pt x="204121" y="117348"/>
                    <a:pt x="206216" y="117348"/>
                  </a:cubicBezTo>
                  <a:lnTo>
                    <a:pt x="206216" y="118682"/>
                  </a:lnTo>
                  <a:cubicBezTo>
                    <a:pt x="205550" y="118682"/>
                    <a:pt x="205550" y="119348"/>
                    <a:pt x="205550" y="119348"/>
                  </a:cubicBezTo>
                  <a:cubicBezTo>
                    <a:pt x="205550" y="120015"/>
                    <a:pt x="206216" y="120682"/>
                    <a:pt x="206883" y="121444"/>
                  </a:cubicBezTo>
                  <a:lnTo>
                    <a:pt x="206883" y="122777"/>
                  </a:lnTo>
                  <a:cubicBezTo>
                    <a:pt x="204788" y="124111"/>
                    <a:pt x="204121" y="124873"/>
                    <a:pt x="204121" y="126206"/>
                  </a:cubicBezTo>
                  <a:cubicBezTo>
                    <a:pt x="204121" y="127540"/>
                    <a:pt x="204788" y="128302"/>
                    <a:pt x="206216" y="130302"/>
                  </a:cubicBezTo>
                  <a:lnTo>
                    <a:pt x="206883" y="130302"/>
                  </a:lnTo>
                  <a:lnTo>
                    <a:pt x="206883" y="136493"/>
                  </a:lnTo>
                  <a:cubicBezTo>
                    <a:pt x="206216" y="139922"/>
                    <a:pt x="203454" y="144018"/>
                    <a:pt x="201359" y="145447"/>
                  </a:cubicBezTo>
                  <a:cubicBezTo>
                    <a:pt x="201359" y="146114"/>
                    <a:pt x="202025" y="146780"/>
                    <a:pt x="202025" y="146780"/>
                  </a:cubicBezTo>
                  <a:cubicBezTo>
                    <a:pt x="202025" y="147447"/>
                    <a:pt x="201359" y="147447"/>
                    <a:pt x="201359" y="147447"/>
                  </a:cubicBezTo>
                  <a:cubicBezTo>
                    <a:pt x="200025" y="147447"/>
                    <a:pt x="199263" y="147447"/>
                    <a:pt x="199263" y="148781"/>
                  </a:cubicBezTo>
                  <a:lnTo>
                    <a:pt x="199263" y="150876"/>
                  </a:lnTo>
                  <a:cubicBezTo>
                    <a:pt x="197168" y="152210"/>
                    <a:pt x="196501" y="152972"/>
                    <a:pt x="196501" y="154305"/>
                  </a:cubicBezTo>
                  <a:lnTo>
                    <a:pt x="196501" y="154972"/>
                  </a:lnTo>
                  <a:cubicBezTo>
                    <a:pt x="196501" y="156305"/>
                    <a:pt x="195834" y="157734"/>
                    <a:pt x="195834" y="159734"/>
                  </a:cubicBezTo>
                  <a:cubicBezTo>
                    <a:pt x="195167" y="161830"/>
                    <a:pt x="195167" y="162497"/>
                    <a:pt x="195167" y="163163"/>
                  </a:cubicBezTo>
                  <a:cubicBezTo>
                    <a:pt x="195167" y="164497"/>
                    <a:pt x="194501" y="165259"/>
                    <a:pt x="194501" y="165926"/>
                  </a:cubicBezTo>
                  <a:cubicBezTo>
                    <a:pt x="193834" y="168688"/>
                    <a:pt x="193834" y="171450"/>
                    <a:pt x="191072" y="172117"/>
                  </a:cubicBezTo>
                  <a:lnTo>
                    <a:pt x="191072" y="173450"/>
                  </a:lnTo>
                  <a:cubicBezTo>
                    <a:pt x="191072" y="173450"/>
                    <a:pt x="191072" y="175546"/>
                    <a:pt x="190405" y="176213"/>
                  </a:cubicBezTo>
                  <a:cubicBezTo>
                    <a:pt x="189738" y="176879"/>
                    <a:pt x="189738" y="177546"/>
                    <a:pt x="189738" y="178308"/>
                  </a:cubicBezTo>
                  <a:cubicBezTo>
                    <a:pt x="189738" y="178975"/>
                    <a:pt x="189738" y="180404"/>
                    <a:pt x="190405" y="181070"/>
                  </a:cubicBezTo>
                  <a:lnTo>
                    <a:pt x="191072" y="181737"/>
                  </a:lnTo>
                  <a:cubicBezTo>
                    <a:pt x="191072" y="181737"/>
                    <a:pt x="191072" y="182404"/>
                    <a:pt x="190405" y="182404"/>
                  </a:cubicBezTo>
                  <a:cubicBezTo>
                    <a:pt x="189071" y="183737"/>
                    <a:pt x="189071" y="186500"/>
                    <a:pt x="189071" y="186500"/>
                  </a:cubicBezTo>
                  <a:cubicBezTo>
                    <a:pt x="189071" y="187166"/>
                    <a:pt x="189071" y="187166"/>
                    <a:pt x="189738" y="187166"/>
                  </a:cubicBezTo>
                  <a:lnTo>
                    <a:pt x="190405" y="187166"/>
                  </a:lnTo>
                  <a:cubicBezTo>
                    <a:pt x="190405" y="188500"/>
                    <a:pt x="190405" y="189262"/>
                    <a:pt x="189738" y="189262"/>
                  </a:cubicBezTo>
                  <a:cubicBezTo>
                    <a:pt x="189071" y="189929"/>
                    <a:pt x="189071" y="189929"/>
                    <a:pt x="189071" y="190595"/>
                  </a:cubicBezTo>
                  <a:cubicBezTo>
                    <a:pt x="189071" y="190595"/>
                    <a:pt x="187738" y="191262"/>
                    <a:pt x="187738" y="191929"/>
                  </a:cubicBezTo>
                  <a:lnTo>
                    <a:pt x="188405" y="191929"/>
                  </a:lnTo>
                  <a:cubicBezTo>
                    <a:pt x="188405" y="193262"/>
                    <a:pt x="188405" y="195358"/>
                    <a:pt x="187071" y="196691"/>
                  </a:cubicBezTo>
                  <a:lnTo>
                    <a:pt x="187071" y="198025"/>
                  </a:lnTo>
                  <a:cubicBezTo>
                    <a:pt x="187071" y="198692"/>
                    <a:pt x="186404" y="198692"/>
                    <a:pt x="183642" y="199358"/>
                  </a:cubicBezTo>
                  <a:cubicBezTo>
                    <a:pt x="183642" y="199358"/>
                    <a:pt x="182309" y="200692"/>
                    <a:pt x="182309" y="201454"/>
                  </a:cubicBezTo>
                  <a:cubicBezTo>
                    <a:pt x="182309" y="203549"/>
                    <a:pt x="182975" y="203549"/>
                    <a:pt x="184404" y="203549"/>
                  </a:cubicBezTo>
                  <a:cubicBezTo>
                    <a:pt x="186500" y="203549"/>
                    <a:pt x="186500" y="203549"/>
                    <a:pt x="186500" y="204216"/>
                  </a:cubicBezTo>
                  <a:lnTo>
                    <a:pt x="184404" y="204883"/>
                  </a:lnTo>
                  <a:cubicBezTo>
                    <a:pt x="183071" y="206216"/>
                    <a:pt x="181642" y="207645"/>
                    <a:pt x="180975" y="208979"/>
                  </a:cubicBezTo>
                  <a:cubicBezTo>
                    <a:pt x="178880" y="208979"/>
                    <a:pt x="179642" y="211074"/>
                    <a:pt x="178880" y="212408"/>
                  </a:cubicBezTo>
                  <a:cubicBezTo>
                    <a:pt x="178118" y="213741"/>
                    <a:pt x="177546" y="215837"/>
                    <a:pt x="177546" y="217170"/>
                  </a:cubicBezTo>
                  <a:cubicBezTo>
                    <a:pt x="176879" y="217837"/>
                    <a:pt x="177546" y="217837"/>
                    <a:pt x="177546" y="217837"/>
                  </a:cubicBezTo>
                  <a:lnTo>
                    <a:pt x="177546" y="219170"/>
                  </a:lnTo>
                  <a:lnTo>
                    <a:pt x="176879" y="219170"/>
                  </a:lnTo>
                  <a:cubicBezTo>
                    <a:pt x="176879" y="221266"/>
                    <a:pt x="174784" y="221266"/>
                    <a:pt x="174784" y="222599"/>
                  </a:cubicBezTo>
                  <a:cubicBezTo>
                    <a:pt x="174784" y="223266"/>
                    <a:pt x="174117" y="223933"/>
                    <a:pt x="174117" y="226028"/>
                  </a:cubicBezTo>
                  <a:lnTo>
                    <a:pt x="174117" y="226695"/>
                  </a:lnTo>
                  <a:cubicBezTo>
                    <a:pt x="174784" y="226695"/>
                    <a:pt x="174784" y="226028"/>
                    <a:pt x="174784" y="226028"/>
                  </a:cubicBezTo>
                  <a:cubicBezTo>
                    <a:pt x="174784" y="224695"/>
                    <a:pt x="177546" y="221933"/>
                    <a:pt x="177546" y="221933"/>
                  </a:cubicBezTo>
                  <a:cubicBezTo>
                    <a:pt x="178213" y="221933"/>
                    <a:pt x="178213" y="221933"/>
                    <a:pt x="178213" y="222599"/>
                  </a:cubicBezTo>
                  <a:lnTo>
                    <a:pt x="177546" y="223266"/>
                  </a:lnTo>
                  <a:cubicBezTo>
                    <a:pt x="176879" y="223933"/>
                    <a:pt x="176213" y="226695"/>
                    <a:pt x="176213" y="228791"/>
                  </a:cubicBezTo>
                  <a:cubicBezTo>
                    <a:pt x="176213" y="229457"/>
                    <a:pt x="174879" y="230124"/>
                    <a:pt x="174117" y="230124"/>
                  </a:cubicBezTo>
                  <a:cubicBezTo>
                    <a:pt x="171355" y="230124"/>
                    <a:pt x="170021" y="230124"/>
                    <a:pt x="166592" y="231458"/>
                  </a:cubicBezTo>
                  <a:cubicBezTo>
                    <a:pt x="166592" y="231458"/>
                    <a:pt x="165259" y="231458"/>
                    <a:pt x="165259" y="232124"/>
                  </a:cubicBezTo>
                  <a:cubicBezTo>
                    <a:pt x="163163" y="232791"/>
                    <a:pt x="163163" y="236220"/>
                    <a:pt x="163163" y="237649"/>
                  </a:cubicBezTo>
                  <a:cubicBezTo>
                    <a:pt x="163163" y="238316"/>
                    <a:pt x="162497" y="238316"/>
                    <a:pt x="162497" y="238982"/>
                  </a:cubicBezTo>
                  <a:cubicBezTo>
                    <a:pt x="162497" y="239649"/>
                    <a:pt x="163163" y="241078"/>
                    <a:pt x="165259" y="241744"/>
                  </a:cubicBezTo>
                  <a:lnTo>
                    <a:pt x="167354" y="241744"/>
                  </a:lnTo>
                  <a:cubicBezTo>
                    <a:pt x="167354" y="241744"/>
                    <a:pt x="167354" y="242411"/>
                    <a:pt x="166688" y="242411"/>
                  </a:cubicBezTo>
                  <a:lnTo>
                    <a:pt x="166688" y="243078"/>
                  </a:lnTo>
                  <a:cubicBezTo>
                    <a:pt x="166021" y="243078"/>
                    <a:pt x="166021" y="243745"/>
                    <a:pt x="166021" y="243745"/>
                  </a:cubicBezTo>
                  <a:lnTo>
                    <a:pt x="168783" y="243745"/>
                  </a:lnTo>
                  <a:lnTo>
                    <a:pt x="168783" y="245078"/>
                  </a:lnTo>
                  <a:cubicBezTo>
                    <a:pt x="168116" y="245078"/>
                    <a:pt x="167450" y="246412"/>
                    <a:pt x="167450" y="246412"/>
                  </a:cubicBezTo>
                  <a:cubicBezTo>
                    <a:pt x="166116" y="246412"/>
                    <a:pt x="166116" y="247079"/>
                    <a:pt x="166116" y="247079"/>
                  </a:cubicBezTo>
                  <a:cubicBezTo>
                    <a:pt x="166116" y="247745"/>
                    <a:pt x="166783" y="248412"/>
                    <a:pt x="166783" y="248412"/>
                  </a:cubicBezTo>
                  <a:cubicBezTo>
                    <a:pt x="166783" y="249079"/>
                    <a:pt x="166116" y="249079"/>
                    <a:pt x="165449" y="249079"/>
                  </a:cubicBezTo>
                  <a:cubicBezTo>
                    <a:pt x="165449" y="250412"/>
                    <a:pt x="164116" y="251841"/>
                    <a:pt x="162687" y="251841"/>
                  </a:cubicBezTo>
                  <a:lnTo>
                    <a:pt x="161354" y="251841"/>
                  </a:lnTo>
                  <a:cubicBezTo>
                    <a:pt x="160687" y="252508"/>
                    <a:pt x="160687" y="252508"/>
                    <a:pt x="157925" y="252508"/>
                  </a:cubicBezTo>
                  <a:cubicBezTo>
                    <a:pt x="157925" y="252508"/>
                    <a:pt x="157258" y="252508"/>
                    <a:pt x="157258" y="253175"/>
                  </a:cubicBezTo>
                  <a:cubicBezTo>
                    <a:pt x="157258" y="253175"/>
                    <a:pt x="156591" y="254508"/>
                    <a:pt x="156591" y="255270"/>
                  </a:cubicBezTo>
                  <a:lnTo>
                    <a:pt x="157258" y="255270"/>
                  </a:lnTo>
                  <a:cubicBezTo>
                    <a:pt x="157925" y="255937"/>
                    <a:pt x="158591" y="257366"/>
                    <a:pt x="158591" y="258032"/>
                  </a:cubicBezTo>
                  <a:cubicBezTo>
                    <a:pt x="158591" y="258032"/>
                    <a:pt x="158591" y="258699"/>
                    <a:pt x="157925" y="258699"/>
                  </a:cubicBezTo>
                  <a:lnTo>
                    <a:pt x="157925" y="259366"/>
                  </a:lnTo>
                  <a:cubicBezTo>
                    <a:pt x="158591" y="259366"/>
                    <a:pt x="159258" y="260033"/>
                    <a:pt x="159258" y="260699"/>
                  </a:cubicBezTo>
                  <a:cubicBezTo>
                    <a:pt x="159258" y="261366"/>
                    <a:pt x="157925" y="262795"/>
                    <a:pt x="157925" y="263462"/>
                  </a:cubicBezTo>
                  <a:lnTo>
                    <a:pt x="157925" y="264128"/>
                  </a:lnTo>
                  <a:lnTo>
                    <a:pt x="160687" y="264128"/>
                  </a:lnTo>
                  <a:lnTo>
                    <a:pt x="160020" y="264795"/>
                  </a:lnTo>
                  <a:cubicBezTo>
                    <a:pt x="157258" y="266891"/>
                    <a:pt x="157258" y="267557"/>
                    <a:pt x="157258" y="268224"/>
                  </a:cubicBezTo>
                  <a:cubicBezTo>
                    <a:pt x="157258" y="268891"/>
                    <a:pt x="156591" y="268891"/>
                    <a:pt x="155924" y="270320"/>
                  </a:cubicBezTo>
                  <a:lnTo>
                    <a:pt x="155924" y="271653"/>
                  </a:lnTo>
                  <a:cubicBezTo>
                    <a:pt x="155924" y="272987"/>
                    <a:pt x="155258" y="273749"/>
                    <a:pt x="154591" y="273749"/>
                  </a:cubicBezTo>
                  <a:lnTo>
                    <a:pt x="155258" y="274415"/>
                  </a:lnTo>
                  <a:lnTo>
                    <a:pt x="152114" y="274415"/>
                  </a:lnTo>
                  <a:lnTo>
                    <a:pt x="151448" y="277178"/>
                  </a:lnTo>
                  <a:cubicBezTo>
                    <a:pt x="150781" y="277844"/>
                    <a:pt x="150781" y="279273"/>
                    <a:pt x="150781" y="279940"/>
                  </a:cubicBezTo>
                  <a:lnTo>
                    <a:pt x="150781" y="282035"/>
                  </a:lnTo>
                  <a:cubicBezTo>
                    <a:pt x="150114" y="282702"/>
                    <a:pt x="149447" y="282702"/>
                    <a:pt x="149447" y="282702"/>
                  </a:cubicBezTo>
                  <a:cubicBezTo>
                    <a:pt x="149447" y="282702"/>
                    <a:pt x="148781" y="282702"/>
                    <a:pt x="148781" y="282035"/>
                  </a:cubicBezTo>
                  <a:cubicBezTo>
                    <a:pt x="148114" y="281369"/>
                    <a:pt x="146018" y="280702"/>
                    <a:pt x="146018" y="278606"/>
                  </a:cubicBezTo>
                  <a:cubicBezTo>
                    <a:pt x="146018" y="277940"/>
                    <a:pt x="145352" y="277940"/>
                    <a:pt x="144685" y="277940"/>
                  </a:cubicBezTo>
                  <a:cubicBezTo>
                    <a:pt x="144018" y="278606"/>
                    <a:pt x="143351" y="280035"/>
                    <a:pt x="143351" y="281369"/>
                  </a:cubicBezTo>
                  <a:lnTo>
                    <a:pt x="143351" y="282035"/>
                  </a:lnTo>
                  <a:cubicBezTo>
                    <a:pt x="144685" y="282702"/>
                    <a:pt x="144685" y="284131"/>
                    <a:pt x="145447" y="284798"/>
                  </a:cubicBezTo>
                  <a:lnTo>
                    <a:pt x="144113" y="286131"/>
                  </a:lnTo>
                  <a:lnTo>
                    <a:pt x="144113" y="288227"/>
                  </a:lnTo>
                  <a:lnTo>
                    <a:pt x="145447" y="288227"/>
                  </a:lnTo>
                  <a:lnTo>
                    <a:pt x="145447" y="288893"/>
                  </a:lnTo>
                  <a:cubicBezTo>
                    <a:pt x="144780" y="288893"/>
                    <a:pt x="144113" y="290227"/>
                    <a:pt x="142685" y="290227"/>
                  </a:cubicBezTo>
                  <a:cubicBezTo>
                    <a:pt x="140589" y="290894"/>
                    <a:pt x="137922" y="294989"/>
                    <a:pt x="137922" y="294989"/>
                  </a:cubicBezTo>
                  <a:lnTo>
                    <a:pt x="138589" y="294989"/>
                  </a:lnTo>
                  <a:cubicBezTo>
                    <a:pt x="139256" y="294989"/>
                    <a:pt x="141351" y="292894"/>
                    <a:pt x="142685" y="292894"/>
                  </a:cubicBezTo>
                  <a:lnTo>
                    <a:pt x="144780" y="292894"/>
                  </a:lnTo>
                  <a:cubicBezTo>
                    <a:pt x="144780" y="292894"/>
                    <a:pt x="144113" y="294989"/>
                    <a:pt x="143447" y="294989"/>
                  </a:cubicBezTo>
                  <a:cubicBezTo>
                    <a:pt x="143447" y="294989"/>
                    <a:pt x="142113" y="294989"/>
                    <a:pt x="142113" y="295656"/>
                  </a:cubicBezTo>
                  <a:cubicBezTo>
                    <a:pt x="140018" y="296323"/>
                    <a:pt x="139351" y="296990"/>
                    <a:pt x="139351" y="298418"/>
                  </a:cubicBezTo>
                  <a:cubicBezTo>
                    <a:pt x="139351" y="299085"/>
                    <a:pt x="140018" y="299752"/>
                    <a:pt x="140018" y="299752"/>
                  </a:cubicBezTo>
                  <a:cubicBezTo>
                    <a:pt x="140018" y="300419"/>
                    <a:pt x="140018" y="300419"/>
                    <a:pt x="138684" y="301085"/>
                  </a:cubicBezTo>
                  <a:cubicBezTo>
                    <a:pt x="138684" y="302419"/>
                    <a:pt x="139351" y="303181"/>
                    <a:pt x="139351" y="303181"/>
                  </a:cubicBezTo>
                  <a:cubicBezTo>
                    <a:pt x="140018" y="303848"/>
                    <a:pt x="140018" y="304514"/>
                    <a:pt x="140018" y="304514"/>
                  </a:cubicBezTo>
                  <a:cubicBezTo>
                    <a:pt x="140018" y="305181"/>
                    <a:pt x="140018" y="305181"/>
                    <a:pt x="139351" y="305181"/>
                  </a:cubicBezTo>
                  <a:cubicBezTo>
                    <a:pt x="139351" y="305848"/>
                    <a:pt x="138684" y="306515"/>
                    <a:pt x="138017" y="306515"/>
                  </a:cubicBezTo>
                  <a:cubicBezTo>
                    <a:pt x="138017" y="307848"/>
                    <a:pt x="137351" y="308610"/>
                    <a:pt x="137351" y="308610"/>
                  </a:cubicBezTo>
                  <a:cubicBezTo>
                    <a:pt x="137351" y="309277"/>
                    <a:pt x="134588" y="309277"/>
                    <a:pt x="134588" y="309277"/>
                  </a:cubicBezTo>
                  <a:cubicBezTo>
                    <a:pt x="133922" y="308610"/>
                    <a:pt x="133255" y="308610"/>
                    <a:pt x="132493" y="308610"/>
                  </a:cubicBezTo>
                  <a:cubicBezTo>
                    <a:pt x="131731" y="308610"/>
                    <a:pt x="130397" y="309277"/>
                    <a:pt x="129731" y="309944"/>
                  </a:cubicBezTo>
                  <a:cubicBezTo>
                    <a:pt x="127635" y="309944"/>
                    <a:pt x="127635" y="309944"/>
                    <a:pt x="127635" y="311277"/>
                  </a:cubicBezTo>
                  <a:lnTo>
                    <a:pt x="130397" y="313373"/>
                  </a:lnTo>
                  <a:cubicBezTo>
                    <a:pt x="130397" y="311277"/>
                    <a:pt x="131064" y="311277"/>
                    <a:pt x="131064" y="311277"/>
                  </a:cubicBezTo>
                  <a:cubicBezTo>
                    <a:pt x="131731" y="311277"/>
                    <a:pt x="133160" y="313373"/>
                    <a:pt x="133160" y="314039"/>
                  </a:cubicBezTo>
                  <a:lnTo>
                    <a:pt x="131064" y="317468"/>
                  </a:lnTo>
                  <a:cubicBezTo>
                    <a:pt x="130397" y="318135"/>
                    <a:pt x="130397" y="318802"/>
                    <a:pt x="130397" y="319564"/>
                  </a:cubicBezTo>
                  <a:cubicBezTo>
                    <a:pt x="130397" y="320231"/>
                    <a:pt x="130397" y="320231"/>
                    <a:pt x="129731" y="322993"/>
                  </a:cubicBezTo>
                  <a:cubicBezTo>
                    <a:pt x="129731" y="322993"/>
                    <a:pt x="127635" y="323660"/>
                    <a:pt x="127635" y="324326"/>
                  </a:cubicBezTo>
                  <a:cubicBezTo>
                    <a:pt x="127635" y="324326"/>
                    <a:pt x="128969" y="324993"/>
                    <a:pt x="129731" y="324993"/>
                  </a:cubicBezTo>
                  <a:lnTo>
                    <a:pt x="129731" y="326326"/>
                  </a:lnTo>
                  <a:cubicBezTo>
                    <a:pt x="129731" y="326993"/>
                    <a:pt x="129064" y="327660"/>
                    <a:pt x="127635" y="327660"/>
                  </a:cubicBezTo>
                  <a:cubicBezTo>
                    <a:pt x="126968" y="327660"/>
                    <a:pt x="126302" y="327660"/>
                    <a:pt x="126302" y="328327"/>
                  </a:cubicBezTo>
                  <a:cubicBezTo>
                    <a:pt x="126302" y="328327"/>
                    <a:pt x="126302" y="328994"/>
                    <a:pt x="124968" y="330422"/>
                  </a:cubicBezTo>
                  <a:cubicBezTo>
                    <a:pt x="124968" y="331089"/>
                    <a:pt x="123635" y="333185"/>
                    <a:pt x="123635" y="333185"/>
                  </a:cubicBezTo>
                  <a:lnTo>
                    <a:pt x="123635" y="337947"/>
                  </a:lnTo>
                  <a:cubicBezTo>
                    <a:pt x="123635" y="338614"/>
                    <a:pt x="120872" y="340043"/>
                    <a:pt x="120872" y="340709"/>
                  </a:cubicBezTo>
                  <a:cubicBezTo>
                    <a:pt x="120872" y="342043"/>
                    <a:pt x="122968" y="343472"/>
                    <a:pt x="122968" y="343472"/>
                  </a:cubicBezTo>
                  <a:lnTo>
                    <a:pt x="120206" y="343472"/>
                  </a:lnTo>
                  <a:cubicBezTo>
                    <a:pt x="118110" y="343472"/>
                    <a:pt x="117443" y="344805"/>
                    <a:pt x="117443" y="345567"/>
                  </a:cubicBezTo>
                  <a:cubicBezTo>
                    <a:pt x="118110" y="345567"/>
                    <a:pt x="118777" y="346234"/>
                    <a:pt x="118777" y="346900"/>
                  </a:cubicBezTo>
                  <a:cubicBezTo>
                    <a:pt x="118777" y="347567"/>
                    <a:pt x="117443" y="348996"/>
                    <a:pt x="117443" y="349663"/>
                  </a:cubicBezTo>
                  <a:lnTo>
                    <a:pt x="117443" y="350996"/>
                  </a:lnTo>
                  <a:cubicBezTo>
                    <a:pt x="117443" y="351663"/>
                    <a:pt x="117443" y="352330"/>
                    <a:pt x="116777" y="354425"/>
                  </a:cubicBezTo>
                  <a:cubicBezTo>
                    <a:pt x="114681" y="355092"/>
                    <a:pt x="114014" y="356521"/>
                    <a:pt x="112681" y="359950"/>
                  </a:cubicBezTo>
                  <a:lnTo>
                    <a:pt x="112681" y="362712"/>
                  </a:lnTo>
                  <a:cubicBezTo>
                    <a:pt x="112681" y="364046"/>
                    <a:pt x="112014" y="364808"/>
                    <a:pt x="110585" y="365474"/>
                  </a:cubicBezTo>
                  <a:cubicBezTo>
                    <a:pt x="109919" y="368237"/>
                    <a:pt x="109252" y="368903"/>
                    <a:pt x="109252" y="370237"/>
                  </a:cubicBezTo>
                  <a:cubicBezTo>
                    <a:pt x="107156" y="372999"/>
                    <a:pt x="105823" y="374333"/>
                    <a:pt x="105823" y="375761"/>
                  </a:cubicBezTo>
                  <a:lnTo>
                    <a:pt x="105823" y="377857"/>
                  </a:lnTo>
                  <a:cubicBezTo>
                    <a:pt x="105156" y="379952"/>
                    <a:pt x="101060" y="380619"/>
                    <a:pt x="100298" y="381286"/>
                  </a:cubicBezTo>
                  <a:cubicBezTo>
                    <a:pt x="99631" y="381953"/>
                    <a:pt x="99631" y="381953"/>
                    <a:pt x="99631" y="382619"/>
                  </a:cubicBezTo>
                  <a:cubicBezTo>
                    <a:pt x="99631" y="383286"/>
                    <a:pt x="99631" y="383953"/>
                    <a:pt x="99631" y="383953"/>
                  </a:cubicBezTo>
                  <a:cubicBezTo>
                    <a:pt x="95536" y="384620"/>
                    <a:pt x="51626" y="466916"/>
                    <a:pt x="51626" y="477869"/>
                  </a:cubicBezTo>
                  <a:cubicBezTo>
                    <a:pt x="51626" y="478536"/>
                    <a:pt x="51626" y="479203"/>
                    <a:pt x="51626" y="479203"/>
                  </a:cubicBezTo>
                  <a:cubicBezTo>
                    <a:pt x="52292" y="479870"/>
                    <a:pt x="49530" y="483965"/>
                    <a:pt x="48863" y="485394"/>
                  </a:cubicBezTo>
                  <a:lnTo>
                    <a:pt x="48863" y="487490"/>
                  </a:lnTo>
                  <a:cubicBezTo>
                    <a:pt x="48863" y="488823"/>
                    <a:pt x="49530" y="489585"/>
                    <a:pt x="49530" y="489585"/>
                  </a:cubicBezTo>
                  <a:cubicBezTo>
                    <a:pt x="49530" y="490252"/>
                    <a:pt x="48863" y="490252"/>
                    <a:pt x="48863" y="490252"/>
                  </a:cubicBezTo>
                  <a:cubicBezTo>
                    <a:pt x="48197" y="490252"/>
                    <a:pt x="48197" y="492347"/>
                    <a:pt x="48197" y="492347"/>
                  </a:cubicBezTo>
                  <a:cubicBezTo>
                    <a:pt x="46101" y="495110"/>
                    <a:pt x="44101" y="495776"/>
                    <a:pt x="44101" y="496443"/>
                  </a:cubicBezTo>
                  <a:cubicBezTo>
                    <a:pt x="44101" y="497110"/>
                    <a:pt x="45434" y="497776"/>
                    <a:pt x="48197" y="499872"/>
                  </a:cubicBezTo>
                  <a:lnTo>
                    <a:pt x="48197" y="500539"/>
                  </a:lnTo>
                  <a:cubicBezTo>
                    <a:pt x="48863" y="501206"/>
                    <a:pt x="48863" y="501206"/>
                    <a:pt x="48863" y="501872"/>
                  </a:cubicBezTo>
                  <a:lnTo>
                    <a:pt x="48863" y="511493"/>
                  </a:lnTo>
                  <a:cubicBezTo>
                    <a:pt x="48863" y="513588"/>
                    <a:pt x="48863" y="514922"/>
                    <a:pt x="48197" y="516255"/>
                  </a:cubicBezTo>
                  <a:lnTo>
                    <a:pt x="48197" y="523780"/>
                  </a:lnTo>
                  <a:cubicBezTo>
                    <a:pt x="48197" y="525875"/>
                    <a:pt x="50292" y="525113"/>
                    <a:pt x="50959" y="527209"/>
                  </a:cubicBezTo>
                  <a:cubicBezTo>
                    <a:pt x="50292" y="528542"/>
                    <a:pt x="50292" y="534067"/>
                    <a:pt x="50292" y="536162"/>
                  </a:cubicBezTo>
                  <a:cubicBezTo>
                    <a:pt x="50959" y="536829"/>
                    <a:pt x="50959" y="538258"/>
                    <a:pt x="50959" y="538925"/>
                  </a:cubicBezTo>
                  <a:cubicBezTo>
                    <a:pt x="50959" y="539591"/>
                    <a:pt x="50959" y="540258"/>
                    <a:pt x="50292" y="540258"/>
                  </a:cubicBezTo>
                  <a:cubicBezTo>
                    <a:pt x="50959" y="540925"/>
                    <a:pt x="51626" y="541592"/>
                    <a:pt x="51626" y="543020"/>
                  </a:cubicBezTo>
                  <a:cubicBezTo>
                    <a:pt x="51626" y="543687"/>
                    <a:pt x="50959" y="544354"/>
                    <a:pt x="50959" y="545116"/>
                  </a:cubicBezTo>
                  <a:lnTo>
                    <a:pt x="50959" y="549212"/>
                  </a:lnTo>
                  <a:cubicBezTo>
                    <a:pt x="51626" y="549878"/>
                    <a:pt x="51626" y="550545"/>
                    <a:pt x="51626" y="551307"/>
                  </a:cubicBezTo>
                  <a:cubicBezTo>
                    <a:pt x="51626" y="551974"/>
                    <a:pt x="51626" y="553403"/>
                    <a:pt x="50292" y="554736"/>
                  </a:cubicBezTo>
                  <a:lnTo>
                    <a:pt x="51626" y="554736"/>
                  </a:lnTo>
                  <a:cubicBezTo>
                    <a:pt x="52292" y="555403"/>
                    <a:pt x="52292" y="555403"/>
                    <a:pt x="52292" y="557498"/>
                  </a:cubicBezTo>
                  <a:cubicBezTo>
                    <a:pt x="51626" y="558165"/>
                    <a:pt x="51626" y="558832"/>
                    <a:pt x="51626" y="558832"/>
                  </a:cubicBezTo>
                  <a:cubicBezTo>
                    <a:pt x="51626" y="559499"/>
                    <a:pt x="51626" y="560927"/>
                    <a:pt x="52292" y="561594"/>
                  </a:cubicBezTo>
                  <a:lnTo>
                    <a:pt x="52292" y="562261"/>
                  </a:lnTo>
                  <a:cubicBezTo>
                    <a:pt x="53626" y="563594"/>
                    <a:pt x="53626" y="565023"/>
                    <a:pt x="53626" y="566357"/>
                  </a:cubicBezTo>
                  <a:lnTo>
                    <a:pt x="53626" y="567690"/>
                  </a:lnTo>
                  <a:cubicBezTo>
                    <a:pt x="53626" y="569024"/>
                    <a:pt x="53626" y="570452"/>
                    <a:pt x="55721" y="573215"/>
                  </a:cubicBezTo>
                  <a:lnTo>
                    <a:pt x="55721" y="574548"/>
                  </a:lnTo>
                  <a:cubicBezTo>
                    <a:pt x="56388" y="575882"/>
                    <a:pt x="57055" y="576644"/>
                    <a:pt x="57055" y="577977"/>
                  </a:cubicBezTo>
                  <a:cubicBezTo>
                    <a:pt x="57055" y="577977"/>
                    <a:pt x="68675" y="597884"/>
                    <a:pt x="94774" y="597884"/>
                  </a:cubicBezTo>
                  <a:cubicBezTo>
                    <a:pt x="97536" y="597884"/>
                    <a:pt x="100965" y="597218"/>
                    <a:pt x="105061" y="596551"/>
                  </a:cubicBezTo>
                  <a:cubicBezTo>
                    <a:pt x="138017" y="590360"/>
                    <a:pt x="229838" y="449104"/>
                    <a:pt x="229838" y="449104"/>
                  </a:cubicBezTo>
                  <a:cubicBezTo>
                    <a:pt x="229838" y="449104"/>
                    <a:pt x="231934" y="446342"/>
                    <a:pt x="233267" y="446342"/>
                  </a:cubicBezTo>
                  <a:cubicBezTo>
                    <a:pt x="233934" y="446342"/>
                    <a:pt x="234601" y="447008"/>
                    <a:pt x="235363" y="449104"/>
                  </a:cubicBezTo>
                  <a:cubicBezTo>
                    <a:pt x="236696" y="455295"/>
                    <a:pt x="148971" y="634937"/>
                    <a:pt x="83820" y="634937"/>
                  </a:cubicBezTo>
                  <a:cubicBezTo>
                    <a:pt x="83153" y="634937"/>
                    <a:pt x="81725" y="634937"/>
                    <a:pt x="81058" y="634937"/>
                  </a:cubicBezTo>
                  <a:cubicBezTo>
                    <a:pt x="61151" y="633603"/>
                    <a:pt x="37148" y="630841"/>
                    <a:pt x="13145" y="600647"/>
                  </a:cubicBezTo>
                  <a:cubicBezTo>
                    <a:pt x="12859" y="600170"/>
                    <a:pt x="12192" y="598742"/>
                    <a:pt x="12192" y="596741"/>
                  </a:cubicBezTo>
                  <a:close/>
                  <a:moveTo>
                    <a:pt x="148685" y="76105"/>
                  </a:moveTo>
                  <a:cubicBezTo>
                    <a:pt x="148019" y="76105"/>
                    <a:pt x="147352" y="76772"/>
                    <a:pt x="147352" y="76772"/>
                  </a:cubicBezTo>
                  <a:cubicBezTo>
                    <a:pt x="146685" y="76772"/>
                    <a:pt x="146018" y="77438"/>
                    <a:pt x="146018" y="78105"/>
                  </a:cubicBezTo>
                  <a:cubicBezTo>
                    <a:pt x="146018" y="78772"/>
                    <a:pt x="146018" y="78772"/>
                    <a:pt x="146685" y="78772"/>
                  </a:cubicBezTo>
                  <a:cubicBezTo>
                    <a:pt x="149447" y="78772"/>
                    <a:pt x="149447" y="78772"/>
                    <a:pt x="149447" y="79439"/>
                  </a:cubicBezTo>
                  <a:cubicBezTo>
                    <a:pt x="146685" y="80772"/>
                    <a:pt x="145352" y="82868"/>
                    <a:pt x="145352" y="83534"/>
                  </a:cubicBezTo>
                  <a:cubicBezTo>
                    <a:pt x="144685" y="84201"/>
                    <a:pt x="144018" y="84868"/>
                    <a:pt x="143256" y="86963"/>
                  </a:cubicBezTo>
                  <a:lnTo>
                    <a:pt x="143256" y="87630"/>
                  </a:lnTo>
                  <a:cubicBezTo>
                    <a:pt x="143256" y="88297"/>
                    <a:pt x="143256" y="90392"/>
                    <a:pt x="142589" y="90392"/>
                  </a:cubicBezTo>
                  <a:cubicBezTo>
                    <a:pt x="141923" y="91059"/>
                    <a:pt x="140494" y="91726"/>
                    <a:pt x="139160" y="91726"/>
                  </a:cubicBezTo>
                  <a:lnTo>
                    <a:pt x="139160" y="93059"/>
                  </a:lnTo>
                  <a:cubicBezTo>
                    <a:pt x="139160" y="93726"/>
                    <a:pt x="139160" y="94393"/>
                    <a:pt x="139827" y="94393"/>
                  </a:cubicBezTo>
                  <a:cubicBezTo>
                    <a:pt x="141161" y="94393"/>
                    <a:pt x="142589" y="96488"/>
                    <a:pt x="142589" y="96488"/>
                  </a:cubicBezTo>
                  <a:lnTo>
                    <a:pt x="143256" y="97155"/>
                  </a:lnTo>
                  <a:lnTo>
                    <a:pt x="142589" y="97155"/>
                  </a:lnTo>
                  <a:cubicBezTo>
                    <a:pt x="140494" y="97155"/>
                    <a:pt x="140494" y="97822"/>
                    <a:pt x="139160" y="97822"/>
                  </a:cubicBezTo>
                  <a:lnTo>
                    <a:pt x="139160" y="99155"/>
                  </a:lnTo>
                  <a:cubicBezTo>
                    <a:pt x="139160" y="101251"/>
                    <a:pt x="137827" y="101918"/>
                    <a:pt x="137827" y="101918"/>
                  </a:cubicBezTo>
                  <a:lnTo>
                    <a:pt x="137160" y="101918"/>
                  </a:lnTo>
                  <a:cubicBezTo>
                    <a:pt x="136493" y="103251"/>
                    <a:pt x="134398" y="105347"/>
                    <a:pt x="134398" y="106680"/>
                  </a:cubicBezTo>
                  <a:cubicBezTo>
                    <a:pt x="134398" y="108014"/>
                    <a:pt x="133731" y="108776"/>
                    <a:pt x="133731" y="110109"/>
                  </a:cubicBezTo>
                  <a:lnTo>
                    <a:pt x="133731" y="110776"/>
                  </a:lnTo>
                  <a:cubicBezTo>
                    <a:pt x="135827" y="110109"/>
                    <a:pt x="135827" y="110109"/>
                    <a:pt x="136493" y="110109"/>
                  </a:cubicBezTo>
                  <a:lnTo>
                    <a:pt x="139256" y="110109"/>
                  </a:lnTo>
                  <a:lnTo>
                    <a:pt x="139256" y="110776"/>
                  </a:lnTo>
                  <a:cubicBezTo>
                    <a:pt x="139256" y="110776"/>
                    <a:pt x="139256" y="111443"/>
                    <a:pt x="137922" y="111443"/>
                  </a:cubicBezTo>
                  <a:cubicBezTo>
                    <a:pt x="137255" y="112109"/>
                    <a:pt x="137255" y="112776"/>
                    <a:pt x="137255" y="114205"/>
                  </a:cubicBezTo>
                  <a:lnTo>
                    <a:pt x="137255" y="114872"/>
                  </a:lnTo>
                  <a:cubicBezTo>
                    <a:pt x="137255" y="115538"/>
                    <a:pt x="137255" y="116967"/>
                    <a:pt x="136589" y="118301"/>
                  </a:cubicBezTo>
                  <a:cubicBezTo>
                    <a:pt x="135922" y="118967"/>
                    <a:pt x="135922" y="123825"/>
                    <a:pt x="135922" y="124492"/>
                  </a:cubicBezTo>
                  <a:cubicBezTo>
                    <a:pt x="135922" y="125159"/>
                    <a:pt x="134588" y="126587"/>
                    <a:pt x="134588" y="127254"/>
                  </a:cubicBezTo>
                  <a:cubicBezTo>
                    <a:pt x="134588" y="127921"/>
                    <a:pt x="134588" y="127921"/>
                    <a:pt x="135255" y="129350"/>
                  </a:cubicBezTo>
                  <a:cubicBezTo>
                    <a:pt x="135255" y="129350"/>
                    <a:pt x="133160" y="130016"/>
                    <a:pt x="133160" y="130683"/>
                  </a:cubicBezTo>
                  <a:cubicBezTo>
                    <a:pt x="132493" y="131350"/>
                    <a:pt x="132493" y="133445"/>
                    <a:pt x="132493" y="133445"/>
                  </a:cubicBezTo>
                  <a:cubicBezTo>
                    <a:pt x="132493" y="134112"/>
                    <a:pt x="132493" y="134779"/>
                    <a:pt x="131826" y="136874"/>
                  </a:cubicBezTo>
                  <a:cubicBezTo>
                    <a:pt x="131826" y="138208"/>
                    <a:pt x="132493" y="139637"/>
                    <a:pt x="132493" y="140970"/>
                  </a:cubicBezTo>
                  <a:cubicBezTo>
                    <a:pt x="132493" y="143066"/>
                    <a:pt x="131826" y="144399"/>
                    <a:pt x="131826" y="145733"/>
                  </a:cubicBezTo>
                  <a:lnTo>
                    <a:pt x="130207" y="145733"/>
                  </a:lnTo>
                  <a:cubicBezTo>
                    <a:pt x="129540" y="147066"/>
                    <a:pt x="130207" y="147828"/>
                    <a:pt x="128873" y="149828"/>
                  </a:cubicBezTo>
                  <a:lnTo>
                    <a:pt x="128873" y="150495"/>
                  </a:lnTo>
                  <a:cubicBezTo>
                    <a:pt x="128873" y="150495"/>
                    <a:pt x="112395" y="168307"/>
                    <a:pt x="112395" y="182690"/>
                  </a:cubicBezTo>
                  <a:cubicBezTo>
                    <a:pt x="112395" y="185452"/>
                    <a:pt x="112395" y="187452"/>
                    <a:pt x="113729" y="189548"/>
                  </a:cubicBezTo>
                  <a:lnTo>
                    <a:pt x="113729" y="192310"/>
                  </a:lnTo>
                  <a:cubicBezTo>
                    <a:pt x="113062" y="197072"/>
                    <a:pt x="112395" y="200501"/>
                    <a:pt x="111633" y="201930"/>
                  </a:cubicBezTo>
                  <a:lnTo>
                    <a:pt x="111633" y="208121"/>
                  </a:lnTo>
                  <a:lnTo>
                    <a:pt x="110966" y="208788"/>
                  </a:lnTo>
                  <a:cubicBezTo>
                    <a:pt x="107537" y="212217"/>
                    <a:pt x="106871" y="215646"/>
                    <a:pt x="106204" y="217742"/>
                  </a:cubicBezTo>
                  <a:cubicBezTo>
                    <a:pt x="106204" y="220504"/>
                    <a:pt x="105537" y="221171"/>
                    <a:pt x="104108" y="225933"/>
                  </a:cubicBezTo>
                  <a:lnTo>
                    <a:pt x="100013" y="225933"/>
                  </a:lnTo>
                  <a:lnTo>
                    <a:pt x="100013" y="229362"/>
                  </a:lnTo>
                  <a:lnTo>
                    <a:pt x="102108" y="229362"/>
                  </a:lnTo>
                  <a:cubicBezTo>
                    <a:pt x="102108" y="230029"/>
                    <a:pt x="102775" y="231458"/>
                    <a:pt x="102775" y="231458"/>
                  </a:cubicBezTo>
                  <a:cubicBezTo>
                    <a:pt x="102108" y="232791"/>
                    <a:pt x="101441" y="233553"/>
                    <a:pt x="101441" y="234220"/>
                  </a:cubicBezTo>
                  <a:cubicBezTo>
                    <a:pt x="101441" y="234220"/>
                    <a:pt x="100108" y="235553"/>
                    <a:pt x="100108" y="236315"/>
                  </a:cubicBezTo>
                  <a:lnTo>
                    <a:pt x="99441" y="236982"/>
                  </a:lnTo>
                  <a:cubicBezTo>
                    <a:pt x="97346" y="237649"/>
                    <a:pt x="97346" y="239078"/>
                    <a:pt x="97346" y="241078"/>
                  </a:cubicBezTo>
                  <a:cubicBezTo>
                    <a:pt x="97346" y="241078"/>
                    <a:pt x="96679" y="241744"/>
                    <a:pt x="96679" y="242411"/>
                  </a:cubicBezTo>
                  <a:cubicBezTo>
                    <a:pt x="96679" y="243078"/>
                    <a:pt x="96679" y="243745"/>
                    <a:pt x="96012" y="245174"/>
                  </a:cubicBezTo>
                  <a:lnTo>
                    <a:pt x="96012" y="246507"/>
                  </a:lnTo>
                  <a:lnTo>
                    <a:pt x="98774" y="247174"/>
                  </a:lnTo>
                  <a:cubicBezTo>
                    <a:pt x="98108" y="251269"/>
                    <a:pt x="95345" y="258128"/>
                    <a:pt x="94679" y="262985"/>
                  </a:cubicBezTo>
                  <a:lnTo>
                    <a:pt x="94679" y="265081"/>
                  </a:lnTo>
                  <a:cubicBezTo>
                    <a:pt x="93345" y="268510"/>
                    <a:pt x="92583" y="270605"/>
                    <a:pt x="92583" y="271939"/>
                  </a:cubicBezTo>
                  <a:lnTo>
                    <a:pt x="92583" y="272606"/>
                  </a:lnTo>
                  <a:cubicBezTo>
                    <a:pt x="91916" y="276035"/>
                    <a:pt x="90488" y="277368"/>
                    <a:pt x="89821" y="278797"/>
                  </a:cubicBezTo>
                  <a:lnTo>
                    <a:pt x="89821" y="281559"/>
                  </a:lnTo>
                  <a:lnTo>
                    <a:pt x="87725" y="289751"/>
                  </a:lnTo>
                  <a:cubicBezTo>
                    <a:pt x="87725" y="289751"/>
                    <a:pt x="87058" y="290417"/>
                    <a:pt x="86392" y="290417"/>
                  </a:cubicBezTo>
                  <a:lnTo>
                    <a:pt x="86392" y="289084"/>
                  </a:lnTo>
                  <a:lnTo>
                    <a:pt x="85058" y="289084"/>
                  </a:lnTo>
                  <a:cubicBezTo>
                    <a:pt x="84392" y="289751"/>
                    <a:pt x="83725" y="290417"/>
                    <a:pt x="83725" y="291179"/>
                  </a:cubicBezTo>
                  <a:lnTo>
                    <a:pt x="83725" y="292513"/>
                  </a:lnTo>
                  <a:lnTo>
                    <a:pt x="85058" y="292513"/>
                  </a:lnTo>
                  <a:lnTo>
                    <a:pt x="85725" y="295275"/>
                  </a:lnTo>
                  <a:cubicBezTo>
                    <a:pt x="85058" y="295942"/>
                    <a:pt x="84392" y="296609"/>
                    <a:pt x="84392" y="297371"/>
                  </a:cubicBezTo>
                  <a:cubicBezTo>
                    <a:pt x="84392" y="298133"/>
                    <a:pt x="85058" y="298704"/>
                    <a:pt x="85725" y="299466"/>
                  </a:cubicBezTo>
                  <a:cubicBezTo>
                    <a:pt x="83630" y="304229"/>
                    <a:pt x="83630" y="306991"/>
                    <a:pt x="80963" y="311087"/>
                  </a:cubicBezTo>
                  <a:cubicBezTo>
                    <a:pt x="80963" y="311753"/>
                    <a:pt x="80963" y="312420"/>
                    <a:pt x="80963" y="313182"/>
                  </a:cubicBezTo>
                  <a:lnTo>
                    <a:pt x="80963" y="313849"/>
                  </a:lnTo>
                  <a:cubicBezTo>
                    <a:pt x="80963" y="315182"/>
                    <a:pt x="78200" y="317278"/>
                    <a:pt x="78200" y="317945"/>
                  </a:cubicBezTo>
                  <a:lnTo>
                    <a:pt x="78200" y="320707"/>
                  </a:lnTo>
                  <a:cubicBezTo>
                    <a:pt x="78200" y="322040"/>
                    <a:pt x="77533" y="325469"/>
                    <a:pt x="77533" y="326898"/>
                  </a:cubicBezTo>
                  <a:lnTo>
                    <a:pt x="77533" y="327565"/>
                  </a:lnTo>
                  <a:cubicBezTo>
                    <a:pt x="76867" y="330327"/>
                    <a:pt x="76200" y="334423"/>
                    <a:pt x="74105" y="337852"/>
                  </a:cubicBezTo>
                  <a:lnTo>
                    <a:pt x="74105" y="339947"/>
                  </a:lnTo>
                  <a:cubicBezTo>
                    <a:pt x="74105" y="342043"/>
                    <a:pt x="74105" y="344043"/>
                    <a:pt x="73438" y="344710"/>
                  </a:cubicBezTo>
                  <a:cubicBezTo>
                    <a:pt x="73438" y="348139"/>
                    <a:pt x="72104" y="352901"/>
                    <a:pt x="71342" y="353663"/>
                  </a:cubicBezTo>
                  <a:cubicBezTo>
                    <a:pt x="70009" y="353663"/>
                    <a:pt x="70009" y="354997"/>
                    <a:pt x="70009" y="354997"/>
                  </a:cubicBezTo>
                  <a:lnTo>
                    <a:pt x="70009" y="357759"/>
                  </a:lnTo>
                  <a:cubicBezTo>
                    <a:pt x="70009" y="358426"/>
                    <a:pt x="68675" y="359093"/>
                    <a:pt x="67913" y="359855"/>
                  </a:cubicBezTo>
                  <a:lnTo>
                    <a:pt x="67913" y="369475"/>
                  </a:lnTo>
                  <a:cubicBezTo>
                    <a:pt x="67913" y="370808"/>
                    <a:pt x="67913" y="370808"/>
                    <a:pt x="67247" y="372904"/>
                  </a:cubicBezTo>
                  <a:cubicBezTo>
                    <a:pt x="66580" y="374237"/>
                    <a:pt x="66580" y="374999"/>
                    <a:pt x="66580" y="374999"/>
                  </a:cubicBezTo>
                  <a:cubicBezTo>
                    <a:pt x="65913" y="375666"/>
                    <a:pt x="65913" y="376333"/>
                    <a:pt x="65913" y="377095"/>
                  </a:cubicBezTo>
                  <a:cubicBezTo>
                    <a:pt x="65913" y="377762"/>
                    <a:pt x="65913" y="379857"/>
                    <a:pt x="66580" y="380524"/>
                  </a:cubicBezTo>
                  <a:cubicBezTo>
                    <a:pt x="66580" y="380524"/>
                    <a:pt x="67247" y="380524"/>
                    <a:pt x="67247" y="381191"/>
                  </a:cubicBezTo>
                  <a:cubicBezTo>
                    <a:pt x="67913" y="381191"/>
                    <a:pt x="67913" y="380524"/>
                    <a:pt x="67913" y="380524"/>
                  </a:cubicBezTo>
                  <a:cubicBezTo>
                    <a:pt x="67913" y="377762"/>
                    <a:pt x="69247" y="375761"/>
                    <a:pt x="70009" y="374999"/>
                  </a:cubicBezTo>
                  <a:cubicBezTo>
                    <a:pt x="70009" y="374999"/>
                    <a:pt x="70009" y="374333"/>
                    <a:pt x="70676" y="374333"/>
                  </a:cubicBezTo>
                  <a:cubicBezTo>
                    <a:pt x="71342" y="372999"/>
                    <a:pt x="72771" y="371570"/>
                    <a:pt x="72771" y="370904"/>
                  </a:cubicBezTo>
                  <a:cubicBezTo>
                    <a:pt x="72771" y="370237"/>
                    <a:pt x="74867" y="366808"/>
                    <a:pt x="75533" y="365379"/>
                  </a:cubicBezTo>
                  <a:cubicBezTo>
                    <a:pt x="75533" y="361950"/>
                    <a:pt x="77629" y="359855"/>
                    <a:pt x="80296" y="357854"/>
                  </a:cubicBezTo>
                  <a:lnTo>
                    <a:pt x="80963" y="356521"/>
                  </a:lnTo>
                  <a:cubicBezTo>
                    <a:pt x="82296" y="355854"/>
                    <a:pt x="82296" y="355187"/>
                    <a:pt x="83058" y="355187"/>
                  </a:cubicBezTo>
                  <a:cubicBezTo>
                    <a:pt x="83725" y="351758"/>
                    <a:pt x="85154" y="347663"/>
                    <a:pt x="87154" y="344234"/>
                  </a:cubicBezTo>
                  <a:cubicBezTo>
                    <a:pt x="88487" y="342138"/>
                    <a:pt x="89916" y="340138"/>
                    <a:pt x="90583" y="340138"/>
                  </a:cubicBezTo>
                  <a:lnTo>
                    <a:pt x="90583" y="338804"/>
                  </a:lnTo>
                  <a:cubicBezTo>
                    <a:pt x="90583" y="338138"/>
                    <a:pt x="91250" y="335375"/>
                    <a:pt x="91250" y="335375"/>
                  </a:cubicBezTo>
                  <a:cubicBezTo>
                    <a:pt x="94012" y="334709"/>
                    <a:pt x="95345" y="330613"/>
                    <a:pt x="95345" y="327850"/>
                  </a:cubicBezTo>
                  <a:lnTo>
                    <a:pt x="100108" y="318230"/>
                  </a:lnTo>
                  <a:cubicBezTo>
                    <a:pt x="100775" y="317564"/>
                    <a:pt x="104204" y="311372"/>
                    <a:pt x="104870" y="307943"/>
                  </a:cubicBezTo>
                  <a:lnTo>
                    <a:pt x="108966" y="304514"/>
                  </a:lnTo>
                  <a:cubicBezTo>
                    <a:pt x="110300" y="301085"/>
                    <a:pt x="112395" y="300419"/>
                    <a:pt x="112395" y="296323"/>
                  </a:cubicBezTo>
                  <a:cubicBezTo>
                    <a:pt x="113729" y="292227"/>
                    <a:pt x="116491" y="289465"/>
                    <a:pt x="117158" y="285369"/>
                  </a:cubicBezTo>
                  <a:cubicBezTo>
                    <a:pt x="119253" y="283274"/>
                    <a:pt x="121253" y="278511"/>
                    <a:pt x="124016" y="274415"/>
                  </a:cubicBezTo>
                  <a:cubicBezTo>
                    <a:pt x="124016" y="273082"/>
                    <a:pt x="124682" y="271653"/>
                    <a:pt x="126778" y="268224"/>
                  </a:cubicBezTo>
                  <a:lnTo>
                    <a:pt x="128111" y="265462"/>
                  </a:lnTo>
                  <a:lnTo>
                    <a:pt x="128111" y="264795"/>
                  </a:lnTo>
                  <a:cubicBezTo>
                    <a:pt x="128111" y="264128"/>
                    <a:pt x="128778" y="263462"/>
                    <a:pt x="129445" y="261366"/>
                  </a:cubicBezTo>
                  <a:cubicBezTo>
                    <a:pt x="130778" y="260699"/>
                    <a:pt x="130778" y="260699"/>
                    <a:pt x="132207" y="257270"/>
                  </a:cubicBezTo>
                  <a:lnTo>
                    <a:pt x="132874" y="256604"/>
                  </a:lnTo>
                  <a:cubicBezTo>
                    <a:pt x="133541" y="251841"/>
                    <a:pt x="136303" y="246317"/>
                    <a:pt x="139065" y="241554"/>
                  </a:cubicBezTo>
                  <a:cubicBezTo>
                    <a:pt x="139732" y="238792"/>
                    <a:pt x="139732" y="238125"/>
                    <a:pt x="139732" y="237458"/>
                  </a:cubicBezTo>
                  <a:cubicBezTo>
                    <a:pt x="142494" y="234696"/>
                    <a:pt x="143828" y="227838"/>
                    <a:pt x="143828" y="227171"/>
                  </a:cubicBezTo>
                  <a:cubicBezTo>
                    <a:pt x="145161" y="226505"/>
                    <a:pt x="145923" y="223076"/>
                    <a:pt x="150019" y="220980"/>
                  </a:cubicBezTo>
                  <a:lnTo>
                    <a:pt x="150019" y="218123"/>
                  </a:lnTo>
                  <a:cubicBezTo>
                    <a:pt x="151352" y="216789"/>
                    <a:pt x="151352" y="216027"/>
                    <a:pt x="151352" y="214694"/>
                  </a:cubicBezTo>
                  <a:cubicBezTo>
                    <a:pt x="154115" y="209169"/>
                    <a:pt x="154115" y="205073"/>
                    <a:pt x="154781" y="201644"/>
                  </a:cubicBezTo>
                  <a:cubicBezTo>
                    <a:pt x="156115" y="199549"/>
                    <a:pt x="156115" y="195453"/>
                    <a:pt x="158877" y="193453"/>
                  </a:cubicBezTo>
                  <a:cubicBezTo>
                    <a:pt x="160211" y="192119"/>
                    <a:pt x="159544" y="190691"/>
                    <a:pt x="160973" y="187262"/>
                  </a:cubicBezTo>
                  <a:cubicBezTo>
                    <a:pt x="160973" y="185166"/>
                    <a:pt x="160973" y="185166"/>
                    <a:pt x="161639" y="182499"/>
                  </a:cubicBezTo>
                  <a:cubicBezTo>
                    <a:pt x="161639" y="181832"/>
                    <a:pt x="162306" y="181166"/>
                    <a:pt x="162306" y="179070"/>
                  </a:cubicBezTo>
                  <a:cubicBezTo>
                    <a:pt x="162973" y="176975"/>
                    <a:pt x="164402" y="174308"/>
                    <a:pt x="164402" y="172212"/>
                  </a:cubicBezTo>
                  <a:cubicBezTo>
                    <a:pt x="166497" y="168783"/>
                    <a:pt x="167831" y="166021"/>
                    <a:pt x="167831" y="161925"/>
                  </a:cubicBezTo>
                  <a:cubicBezTo>
                    <a:pt x="168497" y="161925"/>
                    <a:pt x="168497" y="160592"/>
                    <a:pt x="169164" y="159830"/>
                  </a:cubicBezTo>
                  <a:cubicBezTo>
                    <a:pt x="169164" y="157067"/>
                    <a:pt x="169164" y="155734"/>
                    <a:pt x="170498" y="153638"/>
                  </a:cubicBezTo>
                  <a:cubicBezTo>
                    <a:pt x="171164" y="150876"/>
                    <a:pt x="171164" y="150209"/>
                    <a:pt x="171164" y="147447"/>
                  </a:cubicBezTo>
                  <a:lnTo>
                    <a:pt x="171164" y="144018"/>
                  </a:lnTo>
                  <a:cubicBezTo>
                    <a:pt x="172498" y="139256"/>
                    <a:pt x="171831" y="135827"/>
                    <a:pt x="172498" y="133731"/>
                  </a:cubicBezTo>
                  <a:cubicBezTo>
                    <a:pt x="173831" y="130969"/>
                    <a:pt x="173831" y="126873"/>
                    <a:pt x="173831" y="123444"/>
                  </a:cubicBezTo>
                  <a:lnTo>
                    <a:pt x="173831" y="119348"/>
                  </a:lnTo>
                  <a:cubicBezTo>
                    <a:pt x="173831" y="118682"/>
                    <a:pt x="174498" y="117253"/>
                    <a:pt x="174498" y="115253"/>
                  </a:cubicBezTo>
                  <a:lnTo>
                    <a:pt x="174498" y="114586"/>
                  </a:lnTo>
                  <a:cubicBezTo>
                    <a:pt x="174498" y="110490"/>
                    <a:pt x="175831" y="107728"/>
                    <a:pt x="175831" y="103632"/>
                  </a:cubicBezTo>
                  <a:lnTo>
                    <a:pt x="175831" y="97441"/>
                  </a:lnTo>
                  <a:cubicBezTo>
                    <a:pt x="175165" y="94678"/>
                    <a:pt x="174498" y="93345"/>
                    <a:pt x="174498" y="91916"/>
                  </a:cubicBezTo>
                  <a:cubicBezTo>
                    <a:pt x="174498" y="90488"/>
                    <a:pt x="174498" y="87821"/>
                    <a:pt x="173831" y="87154"/>
                  </a:cubicBezTo>
                  <a:cubicBezTo>
                    <a:pt x="173831" y="85820"/>
                    <a:pt x="173831" y="85820"/>
                    <a:pt x="174498" y="85058"/>
                  </a:cubicBezTo>
                  <a:cubicBezTo>
                    <a:pt x="174498" y="83725"/>
                    <a:pt x="173831" y="82296"/>
                    <a:pt x="173831" y="80963"/>
                  </a:cubicBezTo>
                  <a:lnTo>
                    <a:pt x="173831" y="76200"/>
                  </a:lnTo>
                  <a:cubicBezTo>
                    <a:pt x="173165" y="74867"/>
                    <a:pt x="173165" y="74105"/>
                    <a:pt x="173165" y="73438"/>
                  </a:cubicBezTo>
                  <a:cubicBezTo>
                    <a:pt x="172498" y="70009"/>
                    <a:pt x="169736" y="69342"/>
                    <a:pt x="169736" y="67247"/>
                  </a:cubicBezTo>
                  <a:cubicBezTo>
                    <a:pt x="169069" y="66580"/>
                    <a:pt x="168402" y="65151"/>
                    <a:pt x="168402" y="64484"/>
                  </a:cubicBezTo>
                  <a:cubicBezTo>
                    <a:pt x="168402" y="63818"/>
                    <a:pt x="168402" y="62389"/>
                    <a:pt x="168402" y="61722"/>
                  </a:cubicBezTo>
                  <a:cubicBezTo>
                    <a:pt x="168402" y="61055"/>
                    <a:pt x="168402" y="60389"/>
                    <a:pt x="168402" y="60389"/>
                  </a:cubicBezTo>
                  <a:cubicBezTo>
                    <a:pt x="164973" y="56960"/>
                    <a:pt x="164306" y="55626"/>
                    <a:pt x="160211" y="54864"/>
                  </a:cubicBezTo>
                  <a:lnTo>
                    <a:pt x="160211" y="52102"/>
                  </a:lnTo>
                  <a:cubicBezTo>
                    <a:pt x="160211" y="51435"/>
                    <a:pt x="159544" y="52102"/>
                    <a:pt x="157448" y="52102"/>
                  </a:cubicBezTo>
                  <a:cubicBezTo>
                    <a:pt x="157448" y="52769"/>
                    <a:pt x="156781" y="52769"/>
                    <a:pt x="156781" y="53435"/>
                  </a:cubicBezTo>
                  <a:lnTo>
                    <a:pt x="156781" y="59627"/>
                  </a:lnTo>
                  <a:cubicBezTo>
                    <a:pt x="156115" y="60293"/>
                    <a:pt x="154686" y="60960"/>
                    <a:pt x="153353" y="60960"/>
                  </a:cubicBezTo>
                  <a:cubicBezTo>
                    <a:pt x="151257" y="63056"/>
                    <a:pt x="150590" y="63722"/>
                    <a:pt x="150590" y="64389"/>
                  </a:cubicBezTo>
                  <a:cubicBezTo>
                    <a:pt x="150590" y="65723"/>
                    <a:pt x="150590" y="66485"/>
                    <a:pt x="149924" y="67151"/>
                  </a:cubicBezTo>
                  <a:cubicBezTo>
                    <a:pt x="149924" y="67818"/>
                    <a:pt x="149924" y="69247"/>
                    <a:pt x="150590" y="69914"/>
                  </a:cubicBezTo>
                  <a:cubicBezTo>
                    <a:pt x="149924" y="70580"/>
                    <a:pt x="149924" y="73343"/>
                    <a:pt x="149924" y="74676"/>
                  </a:cubicBezTo>
                  <a:cubicBezTo>
                    <a:pt x="149257" y="74676"/>
                    <a:pt x="148590" y="75343"/>
                    <a:pt x="147828" y="75343"/>
                  </a:cubicBezTo>
                  <a:lnTo>
                    <a:pt x="148685" y="76105"/>
                  </a:lnTo>
                  <a:close/>
                  <a:moveTo>
                    <a:pt x="137731" y="301085"/>
                  </a:moveTo>
                  <a:cubicBezTo>
                    <a:pt x="137731" y="301085"/>
                    <a:pt x="137731" y="300419"/>
                    <a:pt x="136398" y="300419"/>
                  </a:cubicBezTo>
                  <a:lnTo>
                    <a:pt x="135731" y="300419"/>
                  </a:lnTo>
                  <a:cubicBezTo>
                    <a:pt x="135731" y="301085"/>
                    <a:pt x="133636" y="301752"/>
                    <a:pt x="132969" y="303181"/>
                  </a:cubicBezTo>
                  <a:cubicBezTo>
                    <a:pt x="132874" y="303181"/>
                    <a:pt x="135636" y="303181"/>
                    <a:pt x="137731" y="301085"/>
                  </a:cubicBezTo>
                  <a:close/>
                  <a:moveTo>
                    <a:pt x="145923" y="85058"/>
                  </a:moveTo>
                  <a:cubicBezTo>
                    <a:pt x="143923" y="85725"/>
                    <a:pt x="143161" y="86392"/>
                    <a:pt x="143161" y="87059"/>
                  </a:cubicBezTo>
                  <a:cubicBezTo>
                    <a:pt x="143161" y="87725"/>
                    <a:pt x="143161" y="87725"/>
                    <a:pt x="143828" y="87725"/>
                  </a:cubicBezTo>
                  <a:lnTo>
                    <a:pt x="145923" y="89059"/>
                  </a:lnTo>
                  <a:cubicBezTo>
                    <a:pt x="146590" y="87725"/>
                    <a:pt x="146590" y="87725"/>
                    <a:pt x="147256" y="87725"/>
                  </a:cubicBezTo>
                  <a:lnTo>
                    <a:pt x="147256" y="87059"/>
                  </a:lnTo>
                  <a:cubicBezTo>
                    <a:pt x="147352" y="86392"/>
                    <a:pt x="147352" y="86392"/>
                    <a:pt x="145923" y="85058"/>
                  </a:cubicBezTo>
                  <a:close/>
                  <a:moveTo>
                    <a:pt x="148685" y="76105"/>
                  </a:moveTo>
                  <a:cubicBezTo>
                    <a:pt x="150019" y="76772"/>
                    <a:pt x="150781" y="76772"/>
                    <a:pt x="151448" y="76772"/>
                  </a:cubicBezTo>
                  <a:cubicBezTo>
                    <a:pt x="151448" y="76772"/>
                    <a:pt x="152114" y="74009"/>
                    <a:pt x="152114" y="73343"/>
                  </a:cubicBezTo>
                  <a:cubicBezTo>
                    <a:pt x="151448" y="73343"/>
                    <a:pt x="150781" y="74009"/>
                    <a:pt x="150019" y="74676"/>
                  </a:cubicBezTo>
                  <a:lnTo>
                    <a:pt x="150019" y="76010"/>
                  </a:lnTo>
                  <a:lnTo>
                    <a:pt x="148685" y="76010"/>
                  </a:lnTo>
                  <a:close/>
                  <a:moveTo>
                    <a:pt x="153448" y="68580"/>
                  </a:moveTo>
                  <a:lnTo>
                    <a:pt x="152114" y="67913"/>
                  </a:lnTo>
                  <a:cubicBezTo>
                    <a:pt x="152114" y="67913"/>
                    <a:pt x="151448" y="67913"/>
                    <a:pt x="151448" y="68580"/>
                  </a:cubicBezTo>
                  <a:cubicBezTo>
                    <a:pt x="151448" y="69247"/>
                    <a:pt x="152114" y="69914"/>
                    <a:pt x="152114" y="70676"/>
                  </a:cubicBezTo>
                  <a:lnTo>
                    <a:pt x="154210" y="70676"/>
                  </a:lnTo>
                  <a:lnTo>
                    <a:pt x="153448" y="68580"/>
                  </a:lnTo>
                  <a:close/>
                  <a:moveTo>
                    <a:pt x="161068" y="251746"/>
                  </a:moveTo>
                  <a:cubicBezTo>
                    <a:pt x="161068" y="251079"/>
                    <a:pt x="161735" y="249650"/>
                    <a:pt x="161735" y="249650"/>
                  </a:cubicBezTo>
                  <a:cubicBezTo>
                    <a:pt x="160401" y="247555"/>
                    <a:pt x="159639" y="247555"/>
                    <a:pt x="159639" y="247555"/>
                  </a:cubicBezTo>
                  <a:cubicBezTo>
                    <a:pt x="157544" y="249650"/>
                    <a:pt x="157544" y="249650"/>
                    <a:pt x="157544" y="251651"/>
                  </a:cubicBezTo>
                  <a:lnTo>
                    <a:pt x="161068" y="251651"/>
                  </a:lnTo>
                  <a:close/>
                  <a:moveTo>
                    <a:pt x="193262" y="190024"/>
                  </a:moveTo>
                  <a:lnTo>
                    <a:pt x="193262" y="189357"/>
                  </a:lnTo>
                  <a:cubicBezTo>
                    <a:pt x="193929" y="189357"/>
                    <a:pt x="193929" y="190024"/>
                    <a:pt x="193929" y="190024"/>
                  </a:cubicBezTo>
                  <a:cubicBezTo>
                    <a:pt x="193929" y="190024"/>
                    <a:pt x="193262" y="190691"/>
                    <a:pt x="191167" y="192119"/>
                  </a:cubicBezTo>
                  <a:cubicBezTo>
                    <a:pt x="193262" y="190691"/>
                    <a:pt x="193262" y="190024"/>
                    <a:pt x="193262" y="19002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AA78DE3-8DBE-4DCF-A177-EDC4136F4CCD}"/>
                </a:ext>
              </a:extLst>
            </p:cNvPr>
            <p:cNvSpPr/>
            <p:nvPr/>
          </p:nvSpPr>
          <p:spPr>
            <a:xfrm>
              <a:off x="5283041" y="3253740"/>
              <a:ext cx="266700" cy="314325"/>
            </a:xfrm>
            <a:custGeom>
              <a:avLst/>
              <a:gdLst>
                <a:gd name="connsiteX0" fmla="*/ 262509 w 266700"/>
                <a:gd name="connsiteY0" fmla="*/ 161449 h 314325"/>
                <a:gd name="connsiteX1" fmla="*/ 260413 w 266700"/>
                <a:gd name="connsiteY1" fmla="*/ 166211 h 314325"/>
                <a:gd name="connsiteX2" fmla="*/ 254889 w 266700"/>
                <a:gd name="connsiteY2" fmla="*/ 170974 h 314325"/>
                <a:gd name="connsiteX3" fmla="*/ 253555 w 266700"/>
                <a:gd name="connsiteY3" fmla="*/ 173736 h 314325"/>
                <a:gd name="connsiteX4" fmla="*/ 252889 w 266700"/>
                <a:gd name="connsiteY4" fmla="*/ 175070 h 314325"/>
                <a:gd name="connsiteX5" fmla="*/ 254222 w 266700"/>
                <a:gd name="connsiteY5" fmla="*/ 177832 h 314325"/>
                <a:gd name="connsiteX6" fmla="*/ 255556 w 266700"/>
                <a:gd name="connsiteY6" fmla="*/ 178499 h 314325"/>
                <a:gd name="connsiteX7" fmla="*/ 258318 w 266700"/>
                <a:gd name="connsiteY7" fmla="*/ 179165 h 314325"/>
                <a:gd name="connsiteX8" fmla="*/ 258985 w 266700"/>
                <a:gd name="connsiteY8" fmla="*/ 178499 h 314325"/>
                <a:gd name="connsiteX9" fmla="*/ 260318 w 266700"/>
                <a:gd name="connsiteY9" fmla="*/ 179165 h 314325"/>
                <a:gd name="connsiteX10" fmla="*/ 254794 w 266700"/>
                <a:gd name="connsiteY10" fmla="*/ 187357 h 314325"/>
                <a:gd name="connsiteX11" fmla="*/ 252698 w 266700"/>
                <a:gd name="connsiteY11" fmla="*/ 191453 h 314325"/>
                <a:gd name="connsiteX12" fmla="*/ 250603 w 266700"/>
                <a:gd name="connsiteY12" fmla="*/ 192119 h 314325"/>
                <a:gd name="connsiteX13" fmla="*/ 251269 w 266700"/>
                <a:gd name="connsiteY13" fmla="*/ 190024 h 314325"/>
                <a:gd name="connsiteX14" fmla="*/ 250603 w 266700"/>
                <a:gd name="connsiteY14" fmla="*/ 187262 h 314325"/>
                <a:gd name="connsiteX15" fmla="*/ 252698 w 266700"/>
                <a:gd name="connsiteY15" fmla="*/ 181737 h 314325"/>
                <a:gd name="connsiteX16" fmla="*/ 253365 w 266700"/>
                <a:gd name="connsiteY16" fmla="*/ 180404 h 314325"/>
                <a:gd name="connsiteX17" fmla="*/ 252698 w 266700"/>
                <a:gd name="connsiteY17" fmla="*/ 180404 h 314325"/>
                <a:gd name="connsiteX18" fmla="*/ 251365 w 266700"/>
                <a:gd name="connsiteY18" fmla="*/ 180404 h 314325"/>
                <a:gd name="connsiteX19" fmla="*/ 248602 w 266700"/>
                <a:gd name="connsiteY19" fmla="*/ 183833 h 314325"/>
                <a:gd name="connsiteX20" fmla="*/ 246507 w 266700"/>
                <a:gd name="connsiteY20" fmla="*/ 185928 h 314325"/>
                <a:gd name="connsiteX21" fmla="*/ 245840 w 266700"/>
                <a:gd name="connsiteY21" fmla="*/ 185928 h 314325"/>
                <a:gd name="connsiteX22" fmla="*/ 244507 w 266700"/>
                <a:gd name="connsiteY22" fmla="*/ 185261 h 314325"/>
                <a:gd name="connsiteX23" fmla="*/ 244507 w 266700"/>
                <a:gd name="connsiteY23" fmla="*/ 183928 h 314325"/>
                <a:gd name="connsiteX24" fmla="*/ 243840 w 266700"/>
                <a:gd name="connsiteY24" fmla="*/ 182594 h 314325"/>
                <a:gd name="connsiteX25" fmla="*/ 243173 w 266700"/>
                <a:gd name="connsiteY25" fmla="*/ 183928 h 314325"/>
                <a:gd name="connsiteX26" fmla="*/ 241078 w 266700"/>
                <a:gd name="connsiteY26" fmla="*/ 185261 h 314325"/>
                <a:gd name="connsiteX27" fmla="*/ 241078 w 266700"/>
                <a:gd name="connsiteY27" fmla="*/ 190024 h 314325"/>
                <a:gd name="connsiteX28" fmla="*/ 240411 w 266700"/>
                <a:gd name="connsiteY28" fmla="*/ 190691 h 314325"/>
                <a:gd name="connsiteX29" fmla="*/ 235648 w 266700"/>
                <a:gd name="connsiteY29" fmla="*/ 188595 h 314325"/>
                <a:gd name="connsiteX30" fmla="*/ 234315 w 266700"/>
                <a:gd name="connsiteY30" fmla="*/ 189262 h 314325"/>
                <a:gd name="connsiteX31" fmla="*/ 234982 w 266700"/>
                <a:gd name="connsiteY31" fmla="*/ 191357 h 314325"/>
                <a:gd name="connsiteX32" fmla="*/ 233648 w 266700"/>
                <a:gd name="connsiteY32" fmla="*/ 193453 h 314325"/>
                <a:gd name="connsiteX33" fmla="*/ 228124 w 266700"/>
                <a:gd name="connsiteY33" fmla="*/ 201644 h 314325"/>
                <a:gd name="connsiteX34" fmla="*/ 227457 w 266700"/>
                <a:gd name="connsiteY34" fmla="*/ 202311 h 314325"/>
                <a:gd name="connsiteX35" fmla="*/ 226123 w 266700"/>
                <a:gd name="connsiteY35" fmla="*/ 202311 h 314325"/>
                <a:gd name="connsiteX36" fmla="*/ 225457 w 266700"/>
                <a:gd name="connsiteY36" fmla="*/ 202978 h 314325"/>
                <a:gd name="connsiteX37" fmla="*/ 225457 w 266700"/>
                <a:gd name="connsiteY37" fmla="*/ 204311 h 314325"/>
                <a:gd name="connsiteX38" fmla="*/ 224123 w 266700"/>
                <a:gd name="connsiteY38" fmla="*/ 207740 h 314325"/>
                <a:gd name="connsiteX39" fmla="*/ 220027 w 266700"/>
                <a:gd name="connsiteY39" fmla="*/ 211169 h 314325"/>
                <a:gd name="connsiteX40" fmla="*/ 216598 w 266700"/>
                <a:gd name="connsiteY40" fmla="*/ 212503 h 314325"/>
                <a:gd name="connsiteX41" fmla="*/ 215265 w 266700"/>
                <a:gd name="connsiteY41" fmla="*/ 213836 h 314325"/>
                <a:gd name="connsiteX42" fmla="*/ 213931 w 266700"/>
                <a:gd name="connsiteY42" fmla="*/ 214503 h 314325"/>
                <a:gd name="connsiteX43" fmla="*/ 215265 w 266700"/>
                <a:gd name="connsiteY43" fmla="*/ 215170 h 314325"/>
                <a:gd name="connsiteX44" fmla="*/ 215932 w 266700"/>
                <a:gd name="connsiteY44" fmla="*/ 215837 h 314325"/>
                <a:gd name="connsiteX45" fmla="*/ 217265 w 266700"/>
                <a:gd name="connsiteY45" fmla="*/ 217170 h 314325"/>
                <a:gd name="connsiteX46" fmla="*/ 214503 w 266700"/>
                <a:gd name="connsiteY46" fmla="*/ 220599 h 314325"/>
                <a:gd name="connsiteX47" fmla="*/ 211741 w 266700"/>
                <a:gd name="connsiteY47" fmla="*/ 221933 h 314325"/>
                <a:gd name="connsiteX48" fmla="*/ 206978 w 266700"/>
                <a:gd name="connsiteY48" fmla="*/ 224695 h 314325"/>
                <a:gd name="connsiteX49" fmla="*/ 204883 w 266700"/>
                <a:gd name="connsiteY49" fmla="*/ 230219 h 314325"/>
                <a:gd name="connsiteX50" fmla="*/ 203549 w 266700"/>
                <a:gd name="connsiteY50" fmla="*/ 234982 h 314325"/>
                <a:gd name="connsiteX51" fmla="*/ 204216 w 266700"/>
                <a:gd name="connsiteY51" fmla="*/ 236315 h 314325"/>
                <a:gd name="connsiteX52" fmla="*/ 204883 w 266700"/>
                <a:gd name="connsiteY52" fmla="*/ 236982 h 314325"/>
                <a:gd name="connsiteX53" fmla="*/ 204216 w 266700"/>
                <a:gd name="connsiteY53" fmla="*/ 237649 h 314325"/>
                <a:gd name="connsiteX54" fmla="*/ 203549 w 266700"/>
                <a:gd name="connsiteY54" fmla="*/ 238982 h 314325"/>
                <a:gd name="connsiteX55" fmla="*/ 204216 w 266700"/>
                <a:gd name="connsiteY55" fmla="*/ 240316 h 314325"/>
                <a:gd name="connsiteX56" fmla="*/ 204883 w 266700"/>
                <a:gd name="connsiteY56" fmla="*/ 240983 h 314325"/>
                <a:gd name="connsiteX57" fmla="*/ 205550 w 266700"/>
                <a:gd name="connsiteY57" fmla="*/ 240316 h 314325"/>
                <a:gd name="connsiteX58" fmla="*/ 208312 w 266700"/>
                <a:gd name="connsiteY58" fmla="*/ 236887 h 314325"/>
                <a:gd name="connsiteX59" fmla="*/ 208312 w 266700"/>
                <a:gd name="connsiteY59" fmla="*/ 236220 h 314325"/>
                <a:gd name="connsiteX60" fmla="*/ 210407 w 266700"/>
                <a:gd name="connsiteY60" fmla="*/ 234125 h 314325"/>
                <a:gd name="connsiteX61" fmla="*/ 214503 w 266700"/>
                <a:gd name="connsiteY61" fmla="*/ 231362 h 314325"/>
                <a:gd name="connsiteX62" fmla="*/ 215836 w 266700"/>
                <a:gd name="connsiteY62" fmla="*/ 228600 h 314325"/>
                <a:gd name="connsiteX63" fmla="*/ 217170 w 266700"/>
                <a:gd name="connsiteY63" fmla="*/ 229267 h 314325"/>
                <a:gd name="connsiteX64" fmla="*/ 214408 w 266700"/>
                <a:gd name="connsiteY64" fmla="*/ 233363 h 314325"/>
                <a:gd name="connsiteX65" fmla="*/ 213741 w 266700"/>
                <a:gd name="connsiteY65" fmla="*/ 234029 h 314325"/>
                <a:gd name="connsiteX66" fmla="*/ 213741 w 266700"/>
                <a:gd name="connsiteY66" fmla="*/ 234696 h 314325"/>
                <a:gd name="connsiteX67" fmla="*/ 209645 w 266700"/>
                <a:gd name="connsiteY67" fmla="*/ 240221 h 314325"/>
                <a:gd name="connsiteX68" fmla="*/ 205550 w 266700"/>
                <a:gd name="connsiteY68" fmla="*/ 244983 h 314325"/>
                <a:gd name="connsiteX69" fmla="*/ 199358 w 266700"/>
                <a:gd name="connsiteY69" fmla="*/ 250508 h 314325"/>
                <a:gd name="connsiteX70" fmla="*/ 197263 w 266700"/>
                <a:gd name="connsiteY70" fmla="*/ 251841 h 314325"/>
                <a:gd name="connsiteX71" fmla="*/ 196596 w 266700"/>
                <a:gd name="connsiteY71" fmla="*/ 251841 h 314325"/>
                <a:gd name="connsiteX72" fmla="*/ 193834 w 266700"/>
                <a:gd name="connsiteY72" fmla="*/ 249079 h 314325"/>
                <a:gd name="connsiteX73" fmla="*/ 193167 w 266700"/>
                <a:gd name="connsiteY73" fmla="*/ 248412 h 314325"/>
                <a:gd name="connsiteX74" fmla="*/ 193167 w 266700"/>
                <a:gd name="connsiteY74" fmla="*/ 247745 h 314325"/>
                <a:gd name="connsiteX75" fmla="*/ 193834 w 266700"/>
                <a:gd name="connsiteY75" fmla="*/ 247079 h 314325"/>
                <a:gd name="connsiteX76" fmla="*/ 195167 w 266700"/>
                <a:gd name="connsiteY76" fmla="*/ 245745 h 314325"/>
                <a:gd name="connsiteX77" fmla="*/ 195834 w 266700"/>
                <a:gd name="connsiteY77" fmla="*/ 245078 h 314325"/>
                <a:gd name="connsiteX78" fmla="*/ 195167 w 266700"/>
                <a:gd name="connsiteY78" fmla="*/ 244412 h 314325"/>
                <a:gd name="connsiteX79" fmla="*/ 193834 w 266700"/>
                <a:gd name="connsiteY79" fmla="*/ 243078 h 314325"/>
                <a:gd name="connsiteX80" fmla="*/ 195167 w 266700"/>
                <a:gd name="connsiteY80" fmla="*/ 242411 h 314325"/>
                <a:gd name="connsiteX81" fmla="*/ 195167 w 266700"/>
                <a:gd name="connsiteY81" fmla="*/ 241745 h 314325"/>
                <a:gd name="connsiteX82" fmla="*/ 195834 w 266700"/>
                <a:gd name="connsiteY82" fmla="*/ 241078 h 314325"/>
                <a:gd name="connsiteX83" fmla="*/ 195834 w 266700"/>
                <a:gd name="connsiteY83" fmla="*/ 240983 h 314325"/>
                <a:gd name="connsiteX84" fmla="*/ 194500 w 266700"/>
                <a:gd name="connsiteY84" fmla="*/ 240316 h 314325"/>
                <a:gd name="connsiteX85" fmla="*/ 193834 w 266700"/>
                <a:gd name="connsiteY85" fmla="*/ 240316 h 314325"/>
                <a:gd name="connsiteX86" fmla="*/ 188309 w 266700"/>
                <a:gd name="connsiteY86" fmla="*/ 245840 h 314325"/>
                <a:gd name="connsiteX87" fmla="*/ 187642 w 266700"/>
                <a:gd name="connsiteY87" fmla="*/ 246507 h 314325"/>
                <a:gd name="connsiteX88" fmla="*/ 188309 w 266700"/>
                <a:gd name="connsiteY88" fmla="*/ 247174 h 314325"/>
                <a:gd name="connsiteX89" fmla="*/ 189643 w 266700"/>
                <a:gd name="connsiteY89" fmla="*/ 247174 h 314325"/>
                <a:gd name="connsiteX90" fmla="*/ 190309 w 266700"/>
                <a:gd name="connsiteY90" fmla="*/ 247841 h 314325"/>
                <a:gd name="connsiteX91" fmla="*/ 188976 w 266700"/>
                <a:gd name="connsiteY91" fmla="*/ 248507 h 314325"/>
                <a:gd name="connsiteX92" fmla="*/ 186214 w 266700"/>
                <a:gd name="connsiteY92" fmla="*/ 252603 h 314325"/>
                <a:gd name="connsiteX93" fmla="*/ 186214 w 266700"/>
                <a:gd name="connsiteY93" fmla="*/ 253937 h 314325"/>
                <a:gd name="connsiteX94" fmla="*/ 186880 w 266700"/>
                <a:gd name="connsiteY94" fmla="*/ 256699 h 314325"/>
                <a:gd name="connsiteX95" fmla="*/ 186880 w 266700"/>
                <a:gd name="connsiteY95" fmla="*/ 257366 h 314325"/>
                <a:gd name="connsiteX96" fmla="*/ 185547 w 266700"/>
                <a:gd name="connsiteY96" fmla="*/ 258699 h 314325"/>
                <a:gd name="connsiteX97" fmla="*/ 184880 w 266700"/>
                <a:gd name="connsiteY97" fmla="*/ 259366 h 314325"/>
                <a:gd name="connsiteX98" fmla="*/ 185547 w 266700"/>
                <a:gd name="connsiteY98" fmla="*/ 259366 h 314325"/>
                <a:gd name="connsiteX99" fmla="*/ 186214 w 266700"/>
                <a:gd name="connsiteY99" fmla="*/ 260699 h 314325"/>
                <a:gd name="connsiteX100" fmla="*/ 186880 w 266700"/>
                <a:gd name="connsiteY100" fmla="*/ 262033 h 314325"/>
                <a:gd name="connsiteX101" fmla="*/ 184785 w 266700"/>
                <a:gd name="connsiteY101" fmla="*/ 264128 h 314325"/>
                <a:gd name="connsiteX102" fmla="*/ 181356 w 266700"/>
                <a:gd name="connsiteY102" fmla="*/ 264795 h 314325"/>
                <a:gd name="connsiteX103" fmla="*/ 180023 w 266700"/>
                <a:gd name="connsiteY103" fmla="*/ 266129 h 314325"/>
                <a:gd name="connsiteX104" fmla="*/ 180689 w 266700"/>
                <a:gd name="connsiteY104" fmla="*/ 267462 h 314325"/>
                <a:gd name="connsiteX105" fmla="*/ 181356 w 266700"/>
                <a:gd name="connsiteY105" fmla="*/ 268796 h 314325"/>
                <a:gd name="connsiteX106" fmla="*/ 181356 w 266700"/>
                <a:gd name="connsiteY106" fmla="*/ 269462 h 314325"/>
                <a:gd name="connsiteX107" fmla="*/ 180023 w 266700"/>
                <a:gd name="connsiteY107" fmla="*/ 269462 h 314325"/>
                <a:gd name="connsiteX108" fmla="*/ 176594 w 266700"/>
                <a:gd name="connsiteY108" fmla="*/ 268129 h 314325"/>
                <a:gd name="connsiteX109" fmla="*/ 175260 w 266700"/>
                <a:gd name="connsiteY109" fmla="*/ 268129 h 314325"/>
                <a:gd name="connsiteX110" fmla="*/ 173927 w 266700"/>
                <a:gd name="connsiteY110" fmla="*/ 266795 h 314325"/>
                <a:gd name="connsiteX111" fmla="*/ 176022 w 266700"/>
                <a:gd name="connsiteY111" fmla="*/ 264700 h 314325"/>
                <a:gd name="connsiteX112" fmla="*/ 175355 w 266700"/>
                <a:gd name="connsiteY112" fmla="*/ 264033 h 314325"/>
                <a:gd name="connsiteX113" fmla="*/ 176022 w 266700"/>
                <a:gd name="connsiteY113" fmla="*/ 263366 h 314325"/>
                <a:gd name="connsiteX114" fmla="*/ 173260 w 266700"/>
                <a:gd name="connsiteY114" fmla="*/ 264033 h 314325"/>
                <a:gd name="connsiteX115" fmla="*/ 166402 w 266700"/>
                <a:gd name="connsiteY115" fmla="*/ 264033 h 314325"/>
                <a:gd name="connsiteX116" fmla="*/ 165735 w 266700"/>
                <a:gd name="connsiteY116" fmla="*/ 266129 h 314325"/>
                <a:gd name="connsiteX117" fmla="*/ 170498 w 266700"/>
                <a:gd name="connsiteY117" fmla="*/ 270224 h 314325"/>
                <a:gd name="connsiteX118" fmla="*/ 171164 w 266700"/>
                <a:gd name="connsiteY118" fmla="*/ 270891 h 314325"/>
                <a:gd name="connsiteX119" fmla="*/ 171164 w 266700"/>
                <a:gd name="connsiteY119" fmla="*/ 271558 h 314325"/>
                <a:gd name="connsiteX120" fmla="*/ 171831 w 266700"/>
                <a:gd name="connsiteY120" fmla="*/ 272891 h 314325"/>
                <a:gd name="connsiteX121" fmla="*/ 171831 w 266700"/>
                <a:gd name="connsiteY121" fmla="*/ 274987 h 314325"/>
                <a:gd name="connsiteX122" fmla="*/ 165640 w 266700"/>
                <a:gd name="connsiteY122" fmla="*/ 282512 h 314325"/>
                <a:gd name="connsiteX123" fmla="*/ 162877 w 266700"/>
                <a:gd name="connsiteY123" fmla="*/ 284607 h 314325"/>
                <a:gd name="connsiteX124" fmla="*/ 158782 w 266700"/>
                <a:gd name="connsiteY124" fmla="*/ 289370 h 314325"/>
                <a:gd name="connsiteX125" fmla="*/ 152590 w 266700"/>
                <a:gd name="connsiteY125" fmla="*/ 294132 h 314325"/>
                <a:gd name="connsiteX126" fmla="*/ 147828 w 266700"/>
                <a:gd name="connsiteY126" fmla="*/ 297561 h 314325"/>
                <a:gd name="connsiteX127" fmla="*/ 140970 w 266700"/>
                <a:gd name="connsiteY127" fmla="*/ 302323 h 314325"/>
                <a:gd name="connsiteX128" fmla="*/ 136874 w 266700"/>
                <a:gd name="connsiteY128" fmla="*/ 305086 h 314325"/>
                <a:gd name="connsiteX129" fmla="*/ 131350 w 266700"/>
                <a:gd name="connsiteY129" fmla="*/ 307848 h 314325"/>
                <a:gd name="connsiteX130" fmla="*/ 116967 w 266700"/>
                <a:gd name="connsiteY130" fmla="*/ 314706 h 314325"/>
                <a:gd name="connsiteX131" fmla="*/ 113538 w 266700"/>
                <a:gd name="connsiteY131" fmla="*/ 318135 h 314325"/>
                <a:gd name="connsiteX132" fmla="*/ 108775 w 266700"/>
                <a:gd name="connsiteY132" fmla="*/ 318135 h 314325"/>
                <a:gd name="connsiteX133" fmla="*/ 106680 w 266700"/>
                <a:gd name="connsiteY133" fmla="*/ 318802 h 314325"/>
                <a:gd name="connsiteX134" fmla="*/ 101917 w 266700"/>
                <a:gd name="connsiteY134" fmla="*/ 320897 h 314325"/>
                <a:gd name="connsiteX135" fmla="*/ 97155 w 266700"/>
                <a:gd name="connsiteY135" fmla="*/ 321564 h 314325"/>
                <a:gd name="connsiteX136" fmla="*/ 93726 w 266700"/>
                <a:gd name="connsiteY136" fmla="*/ 322898 h 314325"/>
                <a:gd name="connsiteX137" fmla="*/ 92392 w 266700"/>
                <a:gd name="connsiteY137" fmla="*/ 323564 h 314325"/>
                <a:gd name="connsiteX138" fmla="*/ 91726 w 266700"/>
                <a:gd name="connsiteY138" fmla="*/ 322898 h 314325"/>
                <a:gd name="connsiteX139" fmla="*/ 88297 w 266700"/>
                <a:gd name="connsiteY139" fmla="*/ 322231 h 314325"/>
                <a:gd name="connsiteX140" fmla="*/ 84868 w 266700"/>
                <a:gd name="connsiteY140" fmla="*/ 322898 h 314325"/>
                <a:gd name="connsiteX141" fmla="*/ 81439 w 266700"/>
                <a:gd name="connsiteY141" fmla="*/ 323564 h 314325"/>
                <a:gd name="connsiteX142" fmla="*/ 73247 w 266700"/>
                <a:gd name="connsiteY142" fmla="*/ 323564 h 314325"/>
                <a:gd name="connsiteX143" fmla="*/ 69818 w 266700"/>
                <a:gd name="connsiteY143" fmla="*/ 322898 h 314325"/>
                <a:gd name="connsiteX144" fmla="*/ 58865 w 266700"/>
                <a:gd name="connsiteY144" fmla="*/ 322898 h 314325"/>
                <a:gd name="connsiteX145" fmla="*/ 56102 w 266700"/>
                <a:gd name="connsiteY145" fmla="*/ 322231 h 314325"/>
                <a:gd name="connsiteX146" fmla="*/ 54007 w 266700"/>
                <a:gd name="connsiteY146" fmla="*/ 321564 h 314325"/>
                <a:gd name="connsiteX147" fmla="*/ 43720 w 266700"/>
                <a:gd name="connsiteY147" fmla="*/ 319469 h 314325"/>
                <a:gd name="connsiteX148" fmla="*/ 42386 w 266700"/>
                <a:gd name="connsiteY148" fmla="*/ 318802 h 314325"/>
                <a:gd name="connsiteX149" fmla="*/ 38290 w 266700"/>
                <a:gd name="connsiteY149" fmla="*/ 316706 h 314325"/>
                <a:gd name="connsiteX150" fmla="*/ 35528 w 266700"/>
                <a:gd name="connsiteY150" fmla="*/ 314611 h 314325"/>
                <a:gd name="connsiteX151" fmla="*/ 31432 w 266700"/>
                <a:gd name="connsiteY151" fmla="*/ 311848 h 314325"/>
                <a:gd name="connsiteX152" fmla="*/ 26670 w 266700"/>
                <a:gd name="connsiteY152" fmla="*/ 311848 h 314325"/>
                <a:gd name="connsiteX153" fmla="*/ 26003 w 266700"/>
                <a:gd name="connsiteY153" fmla="*/ 310515 h 314325"/>
                <a:gd name="connsiteX154" fmla="*/ 27337 w 266700"/>
                <a:gd name="connsiteY154" fmla="*/ 309182 h 314325"/>
                <a:gd name="connsiteX155" fmla="*/ 27337 w 266700"/>
                <a:gd name="connsiteY155" fmla="*/ 308515 h 314325"/>
                <a:gd name="connsiteX156" fmla="*/ 26670 w 266700"/>
                <a:gd name="connsiteY156" fmla="*/ 307848 h 314325"/>
                <a:gd name="connsiteX157" fmla="*/ 25336 w 266700"/>
                <a:gd name="connsiteY157" fmla="*/ 307181 h 314325"/>
                <a:gd name="connsiteX158" fmla="*/ 21241 w 266700"/>
                <a:gd name="connsiteY158" fmla="*/ 305848 h 314325"/>
                <a:gd name="connsiteX159" fmla="*/ 20574 w 266700"/>
                <a:gd name="connsiteY159" fmla="*/ 305848 h 314325"/>
                <a:gd name="connsiteX160" fmla="*/ 19907 w 266700"/>
                <a:gd name="connsiteY160" fmla="*/ 305181 h 314325"/>
                <a:gd name="connsiteX161" fmla="*/ 20574 w 266700"/>
                <a:gd name="connsiteY161" fmla="*/ 303848 h 314325"/>
                <a:gd name="connsiteX162" fmla="*/ 20574 w 266700"/>
                <a:gd name="connsiteY162" fmla="*/ 302514 h 314325"/>
                <a:gd name="connsiteX163" fmla="*/ 17812 w 266700"/>
                <a:gd name="connsiteY163" fmla="*/ 302514 h 314325"/>
                <a:gd name="connsiteX164" fmla="*/ 17145 w 266700"/>
                <a:gd name="connsiteY164" fmla="*/ 300419 h 314325"/>
                <a:gd name="connsiteX165" fmla="*/ 17812 w 266700"/>
                <a:gd name="connsiteY165" fmla="*/ 300419 h 314325"/>
                <a:gd name="connsiteX166" fmla="*/ 19145 w 266700"/>
                <a:gd name="connsiteY166" fmla="*/ 297656 h 314325"/>
                <a:gd name="connsiteX167" fmla="*/ 17050 w 266700"/>
                <a:gd name="connsiteY167" fmla="*/ 294227 h 314325"/>
                <a:gd name="connsiteX168" fmla="*/ 5429 w 266700"/>
                <a:gd name="connsiteY168" fmla="*/ 277749 h 314325"/>
                <a:gd name="connsiteX169" fmla="*/ 4096 w 266700"/>
                <a:gd name="connsiteY169" fmla="*/ 273653 h 314325"/>
                <a:gd name="connsiteX170" fmla="*/ 2000 w 266700"/>
                <a:gd name="connsiteY170" fmla="*/ 266795 h 314325"/>
                <a:gd name="connsiteX171" fmla="*/ 2000 w 266700"/>
                <a:gd name="connsiteY171" fmla="*/ 259271 h 314325"/>
                <a:gd name="connsiteX172" fmla="*/ 1333 w 266700"/>
                <a:gd name="connsiteY172" fmla="*/ 255842 h 314325"/>
                <a:gd name="connsiteX173" fmla="*/ 2000 w 266700"/>
                <a:gd name="connsiteY173" fmla="*/ 253746 h 314325"/>
                <a:gd name="connsiteX174" fmla="*/ 2000 w 266700"/>
                <a:gd name="connsiteY174" fmla="*/ 249650 h 314325"/>
                <a:gd name="connsiteX175" fmla="*/ 2667 w 266700"/>
                <a:gd name="connsiteY175" fmla="*/ 247555 h 314325"/>
                <a:gd name="connsiteX176" fmla="*/ 2000 w 266700"/>
                <a:gd name="connsiteY176" fmla="*/ 245459 h 314325"/>
                <a:gd name="connsiteX177" fmla="*/ 1333 w 266700"/>
                <a:gd name="connsiteY177" fmla="*/ 241364 h 314325"/>
                <a:gd name="connsiteX178" fmla="*/ 1333 w 266700"/>
                <a:gd name="connsiteY178" fmla="*/ 240030 h 314325"/>
                <a:gd name="connsiteX179" fmla="*/ 2000 w 266700"/>
                <a:gd name="connsiteY179" fmla="*/ 237268 h 314325"/>
                <a:gd name="connsiteX180" fmla="*/ 667 w 266700"/>
                <a:gd name="connsiteY180" fmla="*/ 235172 h 314325"/>
                <a:gd name="connsiteX181" fmla="*/ 0 w 266700"/>
                <a:gd name="connsiteY181" fmla="*/ 233077 h 314325"/>
                <a:gd name="connsiteX182" fmla="*/ 1333 w 266700"/>
                <a:gd name="connsiteY182" fmla="*/ 229648 h 314325"/>
                <a:gd name="connsiteX183" fmla="*/ 667 w 266700"/>
                <a:gd name="connsiteY183" fmla="*/ 226219 h 314325"/>
                <a:gd name="connsiteX184" fmla="*/ 1333 w 266700"/>
                <a:gd name="connsiteY184" fmla="*/ 217265 h 314325"/>
                <a:gd name="connsiteX185" fmla="*/ 667 w 266700"/>
                <a:gd name="connsiteY185" fmla="*/ 215170 h 314325"/>
                <a:gd name="connsiteX186" fmla="*/ 2000 w 266700"/>
                <a:gd name="connsiteY186" fmla="*/ 211741 h 314325"/>
                <a:gd name="connsiteX187" fmla="*/ 2667 w 266700"/>
                <a:gd name="connsiteY187" fmla="*/ 210407 h 314325"/>
                <a:gd name="connsiteX188" fmla="*/ 4000 w 266700"/>
                <a:gd name="connsiteY188" fmla="*/ 212503 h 314325"/>
                <a:gd name="connsiteX189" fmla="*/ 4000 w 266700"/>
                <a:gd name="connsiteY189" fmla="*/ 213836 h 314325"/>
                <a:gd name="connsiteX190" fmla="*/ 4667 w 266700"/>
                <a:gd name="connsiteY190" fmla="*/ 213170 h 314325"/>
                <a:gd name="connsiteX191" fmla="*/ 4667 w 266700"/>
                <a:gd name="connsiteY191" fmla="*/ 206978 h 314325"/>
                <a:gd name="connsiteX192" fmla="*/ 5334 w 266700"/>
                <a:gd name="connsiteY192" fmla="*/ 205645 h 314325"/>
                <a:gd name="connsiteX193" fmla="*/ 6667 w 266700"/>
                <a:gd name="connsiteY193" fmla="*/ 204311 h 314325"/>
                <a:gd name="connsiteX194" fmla="*/ 6001 w 266700"/>
                <a:gd name="connsiteY194" fmla="*/ 204311 h 314325"/>
                <a:gd name="connsiteX195" fmla="*/ 4667 w 266700"/>
                <a:gd name="connsiteY195" fmla="*/ 198787 h 314325"/>
                <a:gd name="connsiteX196" fmla="*/ 4667 w 266700"/>
                <a:gd name="connsiteY196" fmla="*/ 197453 h 314325"/>
                <a:gd name="connsiteX197" fmla="*/ 4000 w 266700"/>
                <a:gd name="connsiteY197" fmla="*/ 196120 h 314325"/>
                <a:gd name="connsiteX198" fmla="*/ 4667 w 266700"/>
                <a:gd name="connsiteY198" fmla="*/ 192024 h 314325"/>
                <a:gd name="connsiteX199" fmla="*/ 4667 w 266700"/>
                <a:gd name="connsiteY199" fmla="*/ 189929 h 314325"/>
                <a:gd name="connsiteX200" fmla="*/ 5334 w 266700"/>
                <a:gd name="connsiteY200" fmla="*/ 187166 h 314325"/>
                <a:gd name="connsiteX201" fmla="*/ 6667 w 266700"/>
                <a:gd name="connsiteY201" fmla="*/ 186500 h 314325"/>
                <a:gd name="connsiteX202" fmla="*/ 8001 w 266700"/>
                <a:gd name="connsiteY202" fmla="*/ 185166 h 314325"/>
                <a:gd name="connsiteX203" fmla="*/ 8668 w 266700"/>
                <a:gd name="connsiteY203" fmla="*/ 184499 h 314325"/>
                <a:gd name="connsiteX204" fmla="*/ 8668 w 266700"/>
                <a:gd name="connsiteY204" fmla="*/ 183833 h 314325"/>
                <a:gd name="connsiteX205" fmla="*/ 8096 w 266700"/>
                <a:gd name="connsiteY205" fmla="*/ 183356 h 314325"/>
                <a:gd name="connsiteX206" fmla="*/ 6763 w 266700"/>
                <a:gd name="connsiteY206" fmla="*/ 184023 h 314325"/>
                <a:gd name="connsiteX207" fmla="*/ 6096 w 266700"/>
                <a:gd name="connsiteY207" fmla="*/ 184023 h 314325"/>
                <a:gd name="connsiteX208" fmla="*/ 6763 w 266700"/>
                <a:gd name="connsiteY208" fmla="*/ 181928 h 314325"/>
                <a:gd name="connsiteX209" fmla="*/ 7429 w 266700"/>
                <a:gd name="connsiteY209" fmla="*/ 179832 h 314325"/>
                <a:gd name="connsiteX210" fmla="*/ 6096 w 266700"/>
                <a:gd name="connsiteY210" fmla="*/ 176403 h 314325"/>
                <a:gd name="connsiteX211" fmla="*/ 6763 w 266700"/>
                <a:gd name="connsiteY211" fmla="*/ 175070 h 314325"/>
                <a:gd name="connsiteX212" fmla="*/ 6096 w 266700"/>
                <a:gd name="connsiteY212" fmla="*/ 172974 h 314325"/>
                <a:gd name="connsiteX213" fmla="*/ 6096 w 266700"/>
                <a:gd name="connsiteY213" fmla="*/ 172403 h 314325"/>
                <a:gd name="connsiteX214" fmla="*/ 8858 w 266700"/>
                <a:gd name="connsiteY214" fmla="*/ 165545 h 314325"/>
                <a:gd name="connsiteX215" fmla="*/ 8192 w 266700"/>
                <a:gd name="connsiteY215" fmla="*/ 162782 h 314325"/>
                <a:gd name="connsiteX216" fmla="*/ 9525 w 266700"/>
                <a:gd name="connsiteY216" fmla="*/ 157258 h 314325"/>
                <a:gd name="connsiteX217" fmla="*/ 9525 w 266700"/>
                <a:gd name="connsiteY217" fmla="*/ 155924 h 314325"/>
                <a:gd name="connsiteX218" fmla="*/ 11621 w 266700"/>
                <a:gd name="connsiteY218" fmla="*/ 153829 h 314325"/>
                <a:gd name="connsiteX219" fmla="*/ 12287 w 266700"/>
                <a:gd name="connsiteY219" fmla="*/ 152495 h 314325"/>
                <a:gd name="connsiteX220" fmla="*/ 11621 w 266700"/>
                <a:gd name="connsiteY220" fmla="*/ 150400 h 314325"/>
                <a:gd name="connsiteX221" fmla="*/ 12287 w 266700"/>
                <a:gd name="connsiteY221" fmla="*/ 146971 h 314325"/>
                <a:gd name="connsiteX222" fmla="*/ 12954 w 266700"/>
                <a:gd name="connsiteY222" fmla="*/ 145637 h 314325"/>
                <a:gd name="connsiteX223" fmla="*/ 14288 w 266700"/>
                <a:gd name="connsiteY223" fmla="*/ 142875 h 314325"/>
                <a:gd name="connsiteX224" fmla="*/ 14288 w 266700"/>
                <a:gd name="connsiteY224" fmla="*/ 138779 h 314325"/>
                <a:gd name="connsiteX225" fmla="*/ 14954 w 266700"/>
                <a:gd name="connsiteY225" fmla="*/ 131921 h 314325"/>
                <a:gd name="connsiteX226" fmla="*/ 19050 w 266700"/>
                <a:gd name="connsiteY226" fmla="*/ 125063 h 314325"/>
                <a:gd name="connsiteX227" fmla="*/ 20383 w 266700"/>
                <a:gd name="connsiteY227" fmla="*/ 121634 h 314325"/>
                <a:gd name="connsiteX228" fmla="*/ 19717 w 266700"/>
                <a:gd name="connsiteY228" fmla="*/ 118872 h 314325"/>
                <a:gd name="connsiteX229" fmla="*/ 21050 w 266700"/>
                <a:gd name="connsiteY229" fmla="*/ 115443 h 314325"/>
                <a:gd name="connsiteX230" fmla="*/ 26575 w 266700"/>
                <a:gd name="connsiteY230" fmla="*/ 103061 h 314325"/>
                <a:gd name="connsiteX231" fmla="*/ 27908 w 266700"/>
                <a:gd name="connsiteY231" fmla="*/ 97536 h 314325"/>
                <a:gd name="connsiteX232" fmla="*/ 30004 w 266700"/>
                <a:gd name="connsiteY232" fmla="*/ 92012 h 314325"/>
                <a:gd name="connsiteX233" fmla="*/ 32099 w 266700"/>
                <a:gd name="connsiteY233" fmla="*/ 90678 h 314325"/>
                <a:gd name="connsiteX234" fmla="*/ 34861 w 266700"/>
                <a:gd name="connsiteY234" fmla="*/ 83153 h 314325"/>
                <a:gd name="connsiteX235" fmla="*/ 39624 w 266700"/>
                <a:gd name="connsiteY235" fmla="*/ 73533 h 314325"/>
                <a:gd name="connsiteX236" fmla="*/ 40957 w 266700"/>
                <a:gd name="connsiteY236" fmla="*/ 68009 h 314325"/>
                <a:gd name="connsiteX237" fmla="*/ 42291 w 266700"/>
                <a:gd name="connsiteY237" fmla="*/ 65913 h 314325"/>
                <a:gd name="connsiteX238" fmla="*/ 47053 w 266700"/>
                <a:gd name="connsiteY238" fmla="*/ 59722 h 314325"/>
                <a:gd name="connsiteX239" fmla="*/ 52578 w 266700"/>
                <a:gd name="connsiteY239" fmla="*/ 50102 h 314325"/>
                <a:gd name="connsiteX240" fmla="*/ 52578 w 266700"/>
                <a:gd name="connsiteY240" fmla="*/ 49435 h 314325"/>
                <a:gd name="connsiteX241" fmla="*/ 56007 w 266700"/>
                <a:gd name="connsiteY241" fmla="*/ 43910 h 314325"/>
                <a:gd name="connsiteX242" fmla="*/ 56007 w 266700"/>
                <a:gd name="connsiteY242" fmla="*/ 43244 h 314325"/>
                <a:gd name="connsiteX243" fmla="*/ 63532 w 266700"/>
                <a:gd name="connsiteY243" fmla="*/ 30861 h 314325"/>
                <a:gd name="connsiteX244" fmla="*/ 73152 w 266700"/>
                <a:gd name="connsiteY244" fmla="*/ 20574 h 314325"/>
                <a:gd name="connsiteX245" fmla="*/ 75248 w 266700"/>
                <a:gd name="connsiteY245" fmla="*/ 17145 h 314325"/>
                <a:gd name="connsiteX246" fmla="*/ 79343 w 266700"/>
                <a:gd name="connsiteY246" fmla="*/ 14383 h 314325"/>
                <a:gd name="connsiteX247" fmla="*/ 86201 w 266700"/>
                <a:gd name="connsiteY247" fmla="*/ 9620 h 314325"/>
                <a:gd name="connsiteX248" fmla="*/ 87535 w 266700"/>
                <a:gd name="connsiteY248" fmla="*/ 8954 h 314325"/>
                <a:gd name="connsiteX249" fmla="*/ 96488 w 266700"/>
                <a:gd name="connsiteY249" fmla="*/ 3429 h 314325"/>
                <a:gd name="connsiteX250" fmla="*/ 102013 w 266700"/>
                <a:gd name="connsiteY250" fmla="*/ 1334 h 314325"/>
                <a:gd name="connsiteX251" fmla="*/ 108204 w 266700"/>
                <a:gd name="connsiteY251" fmla="*/ 0 h 314325"/>
                <a:gd name="connsiteX252" fmla="*/ 120586 w 266700"/>
                <a:gd name="connsiteY252" fmla="*/ 0 h 314325"/>
                <a:gd name="connsiteX253" fmla="*/ 125349 w 266700"/>
                <a:gd name="connsiteY253" fmla="*/ 3429 h 314325"/>
                <a:gd name="connsiteX254" fmla="*/ 126682 w 266700"/>
                <a:gd name="connsiteY254" fmla="*/ 4763 h 314325"/>
                <a:gd name="connsiteX255" fmla="*/ 132874 w 266700"/>
                <a:gd name="connsiteY255" fmla="*/ 8858 h 314325"/>
                <a:gd name="connsiteX256" fmla="*/ 135636 w 266700"/>
                <a:gd name="connsiteY256" fmla="*/ 10954 h 314325"/>
                <a:gd name="connsiteX257" fmla="*/ 137731 w 266700"/>
                <a:gd name="connsiteY257" fmla="*/ 12287 h 314325"/>
                <a:gd name="connsiteX258" fmla="*/ 139065 w 266700"/>
                <a:gd name="connsiteY258" fmla="*/ 14383 h 314325"/>
                <a:gd name="connsiteX259" fmla="*/ 143161 w 266700"/>
                <a:gd name="connsiteY259" fmla="*/ 15716 h 314325"/>
                <a:gd name="connsiteX260" fmla="*/ 144494 w 266700"/>
                <a:gd name="connsiteY260" fmla="*/ 15716 h 314325"/>
                <a:gd name="connsiteX261" fmla="*/ 148590 w 266700"/>
                <a:gd name="connsiteY261" fmla="*/ 18479 h 314325"/>
                <a:gd name="connsiteX262" fmla="*/ 149257 w 266700"/>
                <a:gd name="connsiteY262" fmla="*/ 20574 h 314325"/>
                <a:gd name="connsiteX263" fmla="*/ 148590 w 266700"/>
                <a:gd name="connsiteY263" fmla="*/ 21908 h 314325"/>
                <a:gd name="connsiteX264" fmla="*/ 143827 w 266700"/>
                <a:gd name="connsiteY264" fmla="*/ 23241 h 314325"/>
                <a:gd name="connsiteX265" fmla="*/ 143161 w 266700"/>
                <a:gd name="connsiteY265" fmla="*/ 23908 h 314325"/>
                <a:gd name="connsiteX266" fmla="*/ 142494 w 266700"/>
                <a:gd name="connsiteY266" fmla="*/ 21812 h 314325"/>
                <a:gd name="connsiteX267" fmla="*/ 142494 w 266700"/>
                <a:gd name="connsiteY267" fmla="*/ 20479 h 314325"/>
                <a:gd name="connsiteX268" fmla="*/ 140398 w 266700"/>
                <a:gd name="connsiteY268" fmla="*/ 20479 h 314325"/>
                <a:gd name="connsiteX269" fmla="*/ 137636 w 266700"/>
                <a:gd name="connsiteY269" fmla="*/ 24575 h 314325"/>
                <a:gd name="connsiteX270" fmla="*/ 138303 w 266700"/>
                <a:gd name="connsiteY270" fmla="*/ 25908 h 314325"/>
                <a:gd name="connsiteX271" fmla="*/ 138970 w 266700"/>
                <a:gd name="connsiteY271" fmla="*/ 26575 h 314325"/>
                <a:gd name="connsiteX272" fmla="*/ 140303 w 266700"/>
                <a:gd name="connsiteY272" fmla="*/ 30004 h 314325"/>
                <a:gd name="connsiteX273" fmla="*/ 141637 w 266700"/>
                <a:gd name="connsiteY273" fmla="*/ 31337 h 314325"/>
                <a:gd name="connsiteX274" fmla="*/ 142970 w 266700"/>
                <a:gd name="connsiteY274" fmla="*/ 30671 h 314325"/>
                <a:gd name="connsiteX275" fmla="*/ 144304 w 266700"/>
                <a:gd name="connsiteY275" fmla="*/ 32766 h 314325"/>
                <a:gd name="connsiteX276" fmla="*/ 145637 w 266700"/>
                <a:gd name="connsiteY276" fmla="*/ 35528 h 314325"/>
                <a:gd name="connsiteX277" fmla="*/ 144971 w 266700"/>
                <a:gd name="connsiteY277" fmla="*/ 36862 h 314325"/>
                <a:gd name="connsiteX278" fmla="*/ 146304 w 266700"/>
                <a:gd name="connsiteY278" fmla="*/ 39624 h 314325"/>
                <a:gd name="connsiteX279" fmla="*/ 147638 w 266700"/>
                <a:gd name="connsiteY279" fmla="*/ 39624 h 314325"/>
                <a:gd name="connsiteX280" fmla="*/ 147638 w 266700"/>
                <a:gd name="connsiteY280" fmla="*/ 36195 h 314325"/>
                <a:gd name="connsiteX281" fmla="*/ 146971 w 266700"/>
                <a:gd name="connsiteY281" fmla="*/ 30004 h 314325"/>
                <a:gd name="connsiteX282" fmla="*/ 150400 w 266700"/>
                <a:gd name="connsiteY282" fmla="*/ 26575 h 314325"/>
                <a:gd name="connsiteX283" fmla="*/ 153162 w 266700"/>
                <a:gd name="connsiteY283" fmla="*/ 27242 h 314325"/>
                <a:gd name="connsiteX284" fmla="*/ 152495 w 266700"/>
                <a:gd name="connsiteY284" fmla="*/ 28575 h 314325"/>
                <a:gd name="connsiteX285" fmla="*/ 155924 w 266700"/>
                <a:gd name="connsiteY285" fmla="*/ 31337 h 314325"/>
                <a:gd name="connsiteX286" fmla="*/ 156591 w 266700"/>
                <a:gd name="connsiteY286" fmla="*/ 33433 h 314325"/>
                <a:gd name="connsiteX287" fmla="*/ 156591 w 266700"/>
                <a:gd name="connsiteY287" fmla="*/ 34100 h 314325"/>
                <a:gd name="connsiteX288" fmla="*/ 154496 w 266700"/>
                <a:gd name="connsiteY288" fmla="*/ 36195 h 314325"/>
                <a:gd name="connsiteX289" fmla="*/ 155829 w 266700"/>
                <a:gd name="connsiteY289" fmla="*/ 38291 h 314325"/>
                <a:gd name="connsiteX290" fmla="*/ 157163 w 266700"/>
                <a:gd name="connsiteY290" fmla="*/ 39624 h 314325"/>
                <a:gd name="connsiteX291" fmla="*/ 156496 w 266700"/>
                <a:gd name="connsiteY291" fmla="*/ 41720 h 314325"/>
                <a:gd name="connsiteX292" fmla="*/ 155829 w 266700"/>
                <a:gd name="connsiteY292" fmla="*/ 43053 h 314325"/>
                <a:gd name="connsiteX293" fmla="*/ 153734 w 266700"/>
                <a:gd name="connsiteY293" fmla="*/ 45815 h 314325"/>
                <a:gd name="connsiteX294" fmla="*/ 154400 w 266700"/>
                <a:gd name="connsiteY294" fmla="*/ 47911 h 314325"/>
                <a:gd name="connsiteX295" fmla="*/ 155067 w 266700"/>
                <a:gd name="connsiteY295" fmla="*/ 48578 h 314325"/>
                <a:gd name="connsiteX296" fmla="*/ 157163 w 266700"/>
                <a:gd name="connsiteY296" fmla="*/ 48578 h 314325"/>
                <a:gd name="connsiteX297" fmla="*/ 157163 w 266700"/>
                <a:gd name="connsiteY297" fmla="*/ 49244 h 314325"/>
                <a:gd name="connsiteX298" fmla="*/ 155067 w 266700"/>
                <a:gd name="connsiteY298" fmla="*/ 54007 h 314325"/>
                <a:gd name="connsiteX299" fmla="*/ 154400 w 266700"/>
                <a:gd name="connsiteY299" fmla="*/ 55340 h 314325"/>
                <a:gd name="connsiteX300" fmla="*/ 155067 w 266700"/>
                <a:gd name="connsiteY300" fmla="*/ 57436 h 314325"/>
                <a:gd name="connsiteX301" fmla="*/ 156400 w 266700"/>
                <a:gd name="connsiteY301" fmla="*/ 60865 h 314325"/>
                <a:gd name="connsiteX302" fmla="*/ 156400 w 266700"/>
                <a:gd name="connsiteY302" fmla="*/ 63627 h 314325"/>
                <a:gd name="connsiteX303" fmla="*/ 155067 w 266700"/>
                <a:gd name="connsiteY303" fmla="*/ 65723 h 314325"/>
                <a:gd name="connsiteX304" fmla="*/ 152305 w 266700"/>
                <a:gd name="connsiteY304" fmla="*/ 71914 h 314325"/>
                <a:gd name="connsiteX305" fmla="*/ 152971 w 266700"/>
                <a:gd name="connsiteY305" fmla="*/ 74009 h 314325"/>
                <a:gd name="connsiteX306" fmla="*/ 147447 w 266700"/>
                <a:gd name="connsiteY306" fmla="*/ 84963 h 314325"/>
                <a:gd name="connsiteX307" fmla="*/ 148114 w 266700"/>
                <a:gd name="connsiteY307" fmla="*/ 87059 h 314325"/>
                <a:gd name="connsiteX308" fmla="*/ 146018 w 266700"/>
                <a:gd name="connsiteY308" fmla="*/ 91821 h 314325"/>
                <a:gd name="connsiteX309" fmla="*/ 143256 w 266700"/>
                <a:gd name="connsiteY309" fmla="*/ 98679 h 314325"/>
                <a:gd name="connsiteX310" fmla="*/ 143256 w 266700"/>
                <a:gd name="connsiteY310" fmla="*/ 100013 h 314325"/>
                <a:gd name="connsiteX311" fmla="*/ 137731 w 266700"/>
                <a:gd name="connsiteY311" fmla="*/ 109633 h 314325"/>
                <a:gd name="connsiteX312" fmla="*/ 134969 w 266700"/>
                <a:gd name="connsiteY312" fmla="*/ 112395 h 314325"/>
                <a:gd name="connsiteX313" fmla="*/ 131540 w 266700"/>
                <a:gd name="connsiteY313" fmla="*/ 117920 h 314325"/>
                <a:gd name="connsiteX314" fmla="*/ 131540 w 266700"/>
                <a:gd name="connsiteY314" fmla="*/ 118586 h 314325"/>
                <a:gd name="connsiteX315" fmla="*/ 130207 w 266700"/>
                <a:gd name="connsiteY315" fmla="*/ 119920 h 314325"/>
                <a:gd name="connsiteX316" fmla="*/ 128111 w 266700"/>
                <a:gd name="connsiteY316" fmla="*/ 124016 h 314325"/>
                <a:gd name="connsiteX317" fmla="*/ 128111 w 266700"/>
                <a:gd name="connsiteY317" fmla="*/ 124682 h 314325"/>
                <a:gd name="connsiteX318" fmla="*/ 126778 w 266700"/>
                <a:gd name="connsiteY318" fmla="*/ 126778 h 314325"/>
                <a:gd name="connsiteX319" fmla="*/ 122682 w 266700"/>
                <a:gd name="connsiteY319" fmla="*/ 130207 h 314325"/>
                <a:gd name="connsiteX320" fmla="*/ 115824 w 266700"/>
                <a:gd name="connsiteY320" fmla="*/ 139160 h 314325"/>
                <a:gd name="connsiteX321" fmla="*/ 105537 w 266700"/>
                <a:gd name="connsiteY321" fmla="*/ 151543 h 314325"/>
                <a:gd name="connsiteX322" fmla="*/ 100775 w 266700"/>
                <a:gd name="connsiteY322" fmla="*/ 154972 h 314325"/>
                <a:gd name="connsiteX323" fmla="*/ 98012 w 266700"/>
                <a:gd name="connsiteY323" fmla="*/ 156305 h 314325"/>
                <a:gd name="connsiteX324" fmla="*/ 93250 w 266700"/>
                <a:gd name="connsiteY324" fmla="*/ 160401 h 314325"/>
                <a:gd name="connsiteX325" fmla="*/ 85058 w 266700"/>
                <a:gd name="connsiteY325" fmla="*/ 163163 h 314325"/>
                <a:gd name="connsiteX326" fmla="*/ 82296 w 266700"/>
                <a:gd name="connsiteY326" fmla="*/ 163830 h 314325"/>
                <a:gd name="connsiteX327" fmla="*/ 70675 w 266700"/>
                <a:gd name="connsiteY327" fmla="*/ 165926 h 314325"/>
                <a:gd name="connsiteX328" fmla="*/ 63817 w 266700"/>
                <a:gd name="connsiteY328" fmla="*/ 167259 h 314325"/>
                <a:gd name="connsiteX329" fmla="*/ 60388 w 266700"/>
                <a:gd name="connsiteY329" fmla="*/ 167926 h 314325"/>
                <a:gd name="connsiteX330" fmla="*/ 55626 w 266700"/>
                <a:gd name="connsiteY330" fmla="*/ 166592 h 314325"/>
                <a:gd name="connsiteX331" fmla="*/ 52197 w 266700"/>
                <a:gd name="connsiteY331" fmla="*/ 165926 h 314325"/>
                <a:gd name="connsiteX332" fmla="*/ 50863 w 266700"/>
                <a:gd name="connsiteY332" fmla="*/ 167259 h 314325"/>
                <a:gd name="connsiteX333" fmla="*/ 47434 w 266700"/>
                <a:gd name="connsiteY333" fmla="*/ 176213 h 314325"/>
                <a:gd name="connsiteX334" fmla="*/ 48101 w 266700"/>
                <a:gd name="connsiteY334" fmla="*/ 180308 h 314325"/>
                <a:gd name="connsiteX335" fmla="*/ 48768 w 266700"/>
                <a:gd name="connsiteY335" fmla="*/ 183737 h 314325"/>
                <a:gd name="connsiteX336" fmla="*/ 48101 w 266700"/>
                <a:gd name="connsiteY336" fmla="*/ 185071 h 314325"/>
                <a:gd name="connsiteX337" fmla="*/ 46006 w 266700"/>
                <a:gd name="connsiteY337" fmla="*/ 188500 h 314325"/>
                <a:gd name="connsiteX338" fmla="*/ 46673 w 266700"/>
                <a:gd name="connsiteY338" fmla="*/ 190595 h 314325"/>
                <a:gd name="connsiteX339" fmla="*/ 44577 w 266700"/>
                <a:gd name="connsiteY339" fmla="*/ 196120 h 314325"/>
                <a:gd name="connsiteX340" fmla="*/ 44577 w 266700"/>
                <a:gd name="connsiteY340" fmla="*/ 204311 h 314325"/>
                <a:gd name="connsiteX341" fmla="*/ 45244 w 266700"/>
                <a:gd name="connsiteY341" fmla="*/ 207740 h 314325"/>
                <a:gd name="connsiteX342" fmla="*/ 44577 w 266700"/>
                <a:gd name="connsiteY342" fmla="*/ 209074 h 314325"/>
                <a:gd name="connsiteX343" fmla="*/ 43910 w 266700"/>
                <a:gd name="connsiteY343" fmla="*/ 213170 h 314325"/>
                <a:gd name="connsiteX344" fmla="*/ 43244 w 266700"/>
                <a:gd name="connsiteY344" fmla="*/ 215265 h 314325"/>
                <a:gd name="connsiteX345" fmla="*/ 43910 w 266700"/>
                <a:gd name="connsiteY345" fmla="*/ 217361 h 314325"/>
                <a:gd name="connsiteX346" fmla="*/ 44577 w 266700"/>
                <a:gd name="connsiteY346" fmla="*/ 219456 h 314325"/>
                <a:gd name="connsiteX347" fmla="*/ 43910 w 266700"/>
                <a:gd name="connsiteY347" fmla="*/ 220790 h 314325"/>
                <a:gd name="connsiteX348" fmla="*/ 43910 w 266700"/>
                <a:gd name="connsiteY348" fmla="*/ 221456 h 314325"/>
                <a:gd name="connsiteX349" fmla="*/ 44577 w 266700"/>
                <a:gd name="connsiteY349" fmla="*/ 223552 h 314325"/>
                <a:gd name="connsiteX350" fmla="*/ 43910 w 266700"/>
                <a:gd name="connsiteY350" fmla="*/ 227648 h 314325"/>
                <a:gd name="connsiteX351" fmla="*/ 43910 w 266700"/>
                <a:gd name="connsiteY351" fmla="*/ 231743 h 314325"/>
                <a:gd name="connsiteX352" fmla="*/ 45244 w 266700"/>
                <a:gd name="connsiteY352" fmla="*/ 235172 h 314325"/>
                <a:gd name="connsiteX353" fmla="*/ 45244 w 266700"/>
                <a:gd name="connsiteY353" fmla="*/ 244126 h 314325"/>
                <a:gd name="connsiteX354" fmla="*/ 43910 w 266700"/>
                <a:gd name="connsiteY354" fmla="*/ 248222 h 314325"/>
                <a:gd name="connsiteX355" fmla="*/ 45244 w 266700"/>
                <a:gd name="connsiteY355" fmla="*/ 250984 h 314325"/>
                <a:gd name="connsiteX356" fmla="*/ 45244 w 266700"/>
                <a:gd name="connsiteY356" fmla="*/ 253079 h 314325"/>
                <a:gd name="connsiteX357" fmla="*/ 45910 w 266700"/>
                <a:gd name="connsiteY357" fmla="*/ 254413 h 314325"/>
                <a:gd name="connsiteX358" fmla="*/ 49340 w 266700"/>
                <a:gd name="connsiteY358" fmla="*/ 260604 h 314325"/>
                <a:gd name="connsiteX359" fmla="*/ 49340 w 266700"/>
                <a:gd name="connsiteY359" fmla="*/ 263366 h 314325"/>
                <a:gd name="connsiteX360" fmla="*/ 48673 w 266700"/>
                <a:gd name="connsiteY360" fmla="*/ 265462 h 314325"/>
                <a:gd name="connsiteX361" fmla="*/ 51435 w 266700"/>
                <a:gd name="connsiteY361" fmla="*/ 268891 h 314325"/>
                <a:gd name="connsiteX362" fmla="*/ 54864 w 266700"/>
                <a:gd name="connsiteY362" fmla="*/ 275749 h 314325"/>
                <a:gd name="connsiteX363" fmla="*/ 55531 w 266700"/>
                <a:gd name="connsiteY363" fmla="*/ 276416 h 314325"/>
                <a:gd name="connsiteX364" fmla="*/ 58293 w 266700"/>
                <a:gd name="connsiteY364" fmla="*/ 281940 h 314325"/>
                <a:gd name="connsiteX365" fmla="*/ 58293 w 266700"/>
                <a:gd name="connsiteY365" fmla="*/ 282607 h 314325"/>
                <a:gd name="connsiteX366" fmla="*/ 61722 w 266700"/>
                <a:gd name="connsiteY366" fmla="*/ 286036 h 314325"/>
                <a:gd name="connsiteX367" fmla="*/ 64484 w 266700"/>
                <a:gd name="connsiteY367" fmla="*/ 289465 h 314325"/>
                <a:gd name="connsiteX368" fmla="*/ 73438 w 266700"/>
                <a:gd name="connsiteY368" fmla="*/ 293561 h 314325"/>
                <a:gd name="connsiteX369" fmla="*/ 76867 w 266700"/>
                <a:gd name="connsiteY369" fmla="*/ 292894 h 314325"/>
                <a:gd name="connsiteX370" fmla="*/ 80296 w 266700"/>
                <a:gd name="connsiteY370" fmla="*/ 292227 h 314325"/>
                <a:gd name="connsiteX371" fmla="*/ 96774 w 266700"/>
                <a:gd name="connsiteY371" fmla="*/ 288131 h 314325"/>
                <a:gd name="connsiteX372" fmla="*/ 108394 w 266700"/>
                <a:gd name="connsiteY372" fmla="*/ 281273 h 314325"/>
                <a:gd name="connsiteX373" fmla="*/ 115919 w 266700"/>
                <a:gd name="connsiteY373" fmla="*/ 277844 h 314325"/>
                <a:gd name="connsiteX374" fmla="*/ 128302 w 266700"/>
                <a:gd name="connsiteY374" fmla="*/ 268224 h 314325"/>
                <a:gd name="connsiteX375" fmla="*/ 137922 w 266700"/>
                <a:gd name="connsiteY375" fmla="*/ 260699 h 314325"/>
                <a:gd name="connsiteX376" fmla="*/ 144780 w 266700"/>
                <a:gd name="connsiteY376" fmla="*/ 253175 h 314325"/>
                <a:gd name="connsiteX377" fmla="*/ 154400 w 266700"/>
                <a:gd name="connsiteY377" fmla="*/ 244983 h 314325"/>
                <a:gd name="connsiteX378" fmla="*/ 159163 w 266700"/>
                <a:gd name="connsiteY378" fmla="*/ 240221 h 314325"/>
                <a:gd name="connsiteX379" fmla="*/ 161258 w 266700"/>
                <a:gd name="connsiteY379" fmla="*/ 238125 h 314325"/>
                <a:gd name="connsiteX380" fmla="*/ 161925 w 266700"/>
                <a:gd name="connsiteY380" fmla="*/ 236030 h 314325"/>
                <a:gd name="connsiteX381" fmla="*/ 169450 w 266700"/>
                <a:gd name="connsiteY381" fmla="*/ 230505 h 314325"/>
                <a:gd name="connsiteX382" fmla="*/ 175641 w 266700"/>
                <a:gd name="connsiteY382" fmla="*/ 223647 h 314325"/>
                <a:gd name="connsiteX383" fmla="*/ 184594 w 266700"/>
                <a:gd name="connsiteY383" fmla="*/ 212693 h 314325"/>
                <a:gd name="connsiteX384" fmla="*/ 197644 w 266700"/>
                <a:gd name="connsiteY384" fmla="*/ 198311 h 314325"/>
                <a:gd name="connsiteX385" fmla="*/ 198311 w 266700"/>
                <a:gd name="connsiteY385" fmla="*/ 197644 h 314325"/>
                <a:gd name="connsiteX386" fmla="*/ 204502 w 266700"/>
                <a:gd name="connsiteY386" fmla="*/ 190786 h 314325"/>
                <a:gd name="connsiteX387" fmla="*/ 212693 w 266700"/>
                <a:gd name="connsiteY387" fmla="*/ 180499 h 314325"/>
                <a:gd name="connsiteX388" fmla="*/ 215455 w 266700"/>
                <a:gd name="connsiteY388" fmla="*/ 175736 h 314325"/>
                <a:gd name="connsiteX389" fmla="*/ 225076 w 266700"/>
                <a:gd name="connsiteY389" fmla="*/ 164783 h 314325"/>
                <a:gd name="connsiteX390" fmla="*/ 224409 w 266700"/>
                <a:gd name="connsiteY390" fmla="*/ 164116 h 314325"/>
                <a:gd name="connsiteX391" fmla="*/ 232600 w 266700"/>
                <a:gd name="connsiteY391" fmla="*/ 151733 h 314325"/>
                <a:gd name="connsiteX392" fmla="*/ 233267 w 266700"/>
                <a:gd name="connsiteY392" fmla="*/ 148971 h 314325"/>
                <a:gd name="connsiteX393" fmla="*/ 238030 w 266700"/>
                <a:gd name="connsiteY393" fmla="*/ 144209 h 314325"/>
                <a:gd name="connsiteX394" fmla="*/ 240125 w 266700"/>
                <a:gd name="connsiteY394" fmla="*/ 138017 h 314325"/>
                <a:gd name="connsiteX395" fmla="*/ 240792 w 266700"/>
                <a:gd name="connsiteY395" fmla="*/ 138684 h 314325"/>
                <a:gd name="connsiteX396" fmla="*/ 240792 w 266700"/>
                <a:gd name="connsiteY396" fmla="*/ 140018 h 314325"/>
                <a:gd name="connsiteX397" fmla="*/ 241459 w 266700"/>
                <a:gd name="connsiteY397" fmla="*/ 140018 h 314325"/>
                <a:gd name="connsiteX398" fmla="*/ 242792 w 266700"/>
                <a:gd name="connsiteY398" fmla="*/ 137922 h 314325"/>
                <a:gd name="connsiteX399" fmla="*/ 242792 w 266700"/>
                <a:gd name="connsiteY399" fmla="*/ 136589 h 314325"/>
                <a:gd name="connsiteX400" fmla="*/ 244126 w 266700"/>
                <a:gd name="connsiteY400" fmla="*/ 132493 h 314325"/>
                <a:gd name="connsiteX401" fmla="*/ 244792 w 266700"/>
                <a:gd name="connsiteY401" fmla="*/ 130397 h 314325"/>
                <a:gd name="connsiteX402" fmla="*/ 246888 w 266700"/>
                <a:gd name="connsiteY402" fmla="*/ 127635 h 314325"/>
                <a:gd name="connsiteX403" fmla="*/ 248221 w 266700"/>
                <a:gd name="connsiteY403" fmla="*/ 122111 h 314325"/>
                <a:gd name="connsiteX404" fmla="*/ 250317 w 266700"/>
                <a:gd name="connsiteY404" fmla="*/ 119348 h 314325"/>
                <a:gd name="connsiteX405" fmla="*/ 251650 w 266700"/>
                <a:gd name="connsiteY405" fmla="*/ 118015 h 314325"/>
                <a:gd name="connsiteX406" fmla="*/ 251650 w 266700"/>
                <a:gd name="connsiteY406" fmla="*/ 116205 h 314325"/>
                <a:gd name="connsiteX407" fmla="*/ 255746 w 266700"/>
                <a:gd name="connsiteY407" fmla="*/ 112109 h 314325"/>
                <a:gd name="connsiteX408" fmla="*/ 255746 w 266700"/>
                <a:gd name="connsiteY408" fmla="*/ 111443 h 314325"/>
                <a:gd name="connsiteX409" fmla="*/ 256413 w 266700"/>
                <a:gd name="connsiteY409" fmla="*/ 110109 h 314325"/>
                <a:gd name="connsiteX410" fmla="*/ 256413 w 266700"/>
                <a:gd name="connsiteY410" fmla="*/ 108585 h 314325"/>
                <a:gd name="connsiteX411" fmla="*/ 258509 w 266700"/>
                <a:gd name="connsiteY411" fmla="*/ 105823 h 314325"/>
                <a:gd name="connsiteX412" fmla="*/ 261271 w 266700"/>
                <a:gd name="connsiteY412" fmla="*/ 102394 h 314325"/>
                <a:gd name="connsiteX413" fmla="*/ 261938 w 266700"/>
                <a:gd name="connsiteY413" fmla="*/ 102394 h 314325"/>
                <a:gd name="connsiteX414" fmla="*/ 262604 w 266700"/>
                <a:gd name="connsiteY414" fmla="*/ 103061 h 314325"/>
                <a:gd name="connsiteX415" fmla="*/ 263271 w 266700"/>
                <a:gd name="connsiteY415" fmla="*/ 105156 h 314325"/>
                <a:gd name="connsiteX416" fmla="*/ 264605 w 266700"/>
                <a:gd name="connsiteY416" fmla="*/ 105823 h 314325"/>
                <a:gd name="connsiteX417" fmla="*/ 266700 w 266700"/>
                <a:gd name="connsiteY417" fmla="*/ 106490 h 314325"/>
                <a:gd name="connsiteX418" fmla="*/ 266033 w 266700"/>
                <a:gd name="connsiteY418" fmla="*/ 107156 h 314325"/>
                <a:gd name="connsiteX419" fmla="*/ 264700 w 266700"/>
                <a:gd name="connsiteY419" fmla="*/ 113348 h 314325"/>
                <a:gd name="connsiteX420" fmla="*/ 261271 w 266700"/>
                <a:gd name="connsiteY420" fmla="*/ 115443 h 314325"/>
                <a:gd name="connsiteX421" fmla="*/ 259937 w 266700"/>
                <a:gd name="connsiteY421" fmla="*/ 115443 h 314325"/>
                <a:gd name="connsiteX422" fmla="*/ 257842 w 266700"/>
                <a:gd name="connsiteY422" fmla="*/ 116777 h 314325"/>
                <a:gd name="connsiteX423" fmla="*/ 259937 w 266700"/>
                <a:gd name="connsiteY423" fmla="*/ 121539 h 314325"/>
                <a:gd name="connsiteX424" fmla="*/ 261271 w 266700"/>
                <a:gd name="connsiteY424" fmla="*/ 123635 h 314325"/>
                <a:gd name="connsiteX425" fmla="*/ 261271 w 266700"/>
                <a:gd name="connsiteY425" fmla="*/ 124968 h 314325"/>
                <a:gd name="connsiteX426" fmla="*/ 261271 w 266700"/>
                <a:gd name="connsiteY426" fmla="*/ 126302 h 314325"/>
                <a:gd name="connsiteX427" fmla="*/ 261271 w 266700"/>
                <a:gd name="connsiteY427" fmla="*/ 127635 h 314325"/>
                <a:gd name="connsiteX428" fmla="*/ 259937 w 266700"/>
                <a:gd name="connsiteY428" fmla="*/ 132398 h 314325"/>
                <a:gd name="connsiteX429" fmla="*/ 259271 w 266700"/>
                <a:gd name="connsiteY429" fmla="*/ 135160 h 314325"/>
                <a:gd name="connsiteX430" fmla="*/ 258604 w 266700"/>
                <a:gd name="connsiteY430" fmla="*/ 135160 h 314325"/>
                <a:gd name="connsiteX431" fmla="*/ 258604 w 266700"/>
                <a:gd name="connsiteY431" fmla="*/ 131064 h 314325"/>
                <a:gd name="connsiteX432" fmla="*/ 257937 w 266700"/>
                <a:gd name="connsiteY432" fmla="*/ 131064 h 314325"/>
                <a:gd name="connsiteX433" fmla="*/ 256603 w 266700"/>
                <a:gd name="connsiteY433" fmla="*/ 126302 h 314325"/>
                <a:gd name="connsiteX434" fmla="*/ 257270 w 266700"/>
                <a:gd name="connsiteY434" fmla="*/ 124968 h 314325"/>
                <a:gd name="connsiteX435" fmla="*/ 255937 w 266700"/>
                <a:gd name="connsiteY435" fmla="*/ 124301 h 314325"/>
                <a:gd name="connsiteX436" fmla="*/ 255270 w 266700"/>
                <a:gd name="connsiteY436" fmla="*/ 124968 h 314325"/>
                <a:gd name="connsiteX437" fmla="*/ 251841 w 266700"/>
                <a:gd name="connsiteY437" fmla="*/ 131159 h 314325"/>
                <a:gd name="connsiteX438" fmla="*/ 250507 w 266700"/>
                <a:gd name="connsiteY438" fmla="*/ 134588 h 314325"/>
                <a:gd name="connsiteX439" fmla="*/ 248412 w 266700"/>
                <a:gd name="connsiteY439" fmla="*/ 135922 h 314325"/>
                <a:gd name="connsiteX440" fmla="*/ 246317 w 266700"/>
                <a:gd name="connsiteY440" fmla="*/ 138017 h 314325"/>
                <a:gd name="connsiteX441" fmla="*/ 246317 w 266700"/>
                <a:gd name="connsiteY441" fmla="*/ 138684 h 314325"/>
                <a:gd name="connsiteX442" fmla="*/ 245650 w 266700"/>
                <a:gd name="connsiteY442" fmla="*/ 140780 h 314325"/>
                <a:gd name="connsiteX443" fmla="*/ 243554 w 266700"/>
                <a:gd name="connsiteY443" fmla="*/ 148971 h 314325"/>
                <a:gd name="connsiteX444" fmla="*/ 243554 w 266700"/>
                <a:gd name="connsiteY444" fmla="*/ 149638 h 314325"/>
                <a:gd name="connsiteX445" fmla="*/ 244888 w 266700"/>
                <a:gd name="connsiteY445" fmla="*/ 149638 h 314325"/>
                <a:gd name="connsiteX446" fmla="*/ 246983 w 266700"/>
                <a:gd name="connsiteY446" fmla="*/ 146876 h 314325"/>
                <a:gd name="connsiteX447" fmla="*/ 249746 w 266700"/>
                <a:gd name="connsiteY447" fmla="*/ 144113 h 314325"/>
                <a:gd name="connsiteX448" fmla="*/ 253175 w 266700"/>
                <a:gd name="connsiteY448" fmla="*/ 142780 h 314325"/>
                <a:gd name="connsiteX449" fmla="*/ 253841 w 266700"/>
                <a:gd name="connsiteY449" fmla="*/ 142780 h 314325"/>
                <a:gd name="connsiteX450" fmla="*/ 252508 w 266700"/>
                <a:gd name="connsiteY450" fmla="*/ 148304 h 314325"/>
                <a:gd name="connsiteX451" fmla="*/ 250412 w 266700"/>
                <a:gd name="connsiteY451" fmla="*/ 150400 h 314325"/>
                <a:gd name="connsiteX452" fmla="*/ 252508 w 266700"/>
                <a:gd name="connsiteY452" fmla="*/ 153162 h 314325"/>
                <a:gd name="connsiteX453" fmla="*/ 254603 w 266700"/>
                <a:gd name="connsiteY453" fmla="*/ 153829 h 314325"/>
                <a:gd name="connsiteX454" fmla="*/ 255270 w 266700"/>
                <a:gd name="connsiteY454" fmla="*/ 156591 h 314325"/>
                <a:gd name="connsiteX455" fmla="*/ 255270 w 266700"/>
                <a:gd name="connsiteY455" fmla="*/ 158687 h 314325"/>
                <a:gd name="connsiteX456" fmla="*/ 255937 w 266700"/>
                <a:gd name="connsiteY456" fmla="*/ 160020 h 314325"/>
                <a:gd name="connsiteX457" fmla="*/ 260032 w 266700"/>
                <a:gd name="connsiteY457" fmla="*/ 160020 h 314325"/>
                <a:gd name="connsiteX458" fmla="*/ 262509 w 266700"/>
                <a:gd name="connsiteY458" fmla="*/ 161449 h 314325"/>
                <a:gd name="connsiteX459" fmla="*/ 3334 w 266700"/>
                <a:gd name="connsiteY459" fmla="*/ 256032 h 314325"/>
                <a:gd name="connsiteX460" fmla="*/ 3334 w 266700"/>
                <a:gd name="connsiteY460" fmla="*/ 256699 h 314325"/>
                <a:gd name="connsiteX461" fmla="*/ 4000 w 266700"/>
                <a:gd name="connsiteY461" fmla="*/ 257366 h 314325"/>
                <a:gd name="connsiteX462" fmla="*/ 4667 w 266700"/>
                <a:gd name="connsiteY462" fmla="*/ 257366 h 314325"/>
                <a:gd name="connsiteX463" fmla="*/ 3334 w 266700"/>
                <a:gd name="connsiteY463" fmla="*/ 256032 h 314325"/>
                <a:gd name="connsiteX464" fmla="*/ 44482 w 266700"/>
                <a:gd name="connsiteY464" fmla="*/ 101060 h 314325"/>
                <a:gd name="connsiteX465" fmla="*/ 45815 w 266700"/>
                <a:gd name="connsiteY465" fmla="*/ 96965 h 314325"/>
                <a:gd name="connsiteX466" fmla="*/ 45815 w 266700"/>
                <a:gd name="connsiteY466" fmla="*/ 94869 h 314325"/>
                <a:gd name="connsiteX467" fmla="*/ 49244 w 266700"/>
                <a:gd name="connsiteY467" fmla="*/ 90107 h 314325"/>
                <a:gd name="connsiteX468" fmla="*/ 51340 w 266700"/>
                <a:gd name="connsiteY468" fmla="*/ 84582 h 314325"/>
                <a:gd name="connsiteX469" fmla="*/ 52006 w 266700"/>
                <a:gd name="connsiteY469" fmla="*/ 83915 h 314325"/>
                <a:gd name="connsiteX470" fmla="*/ 54102 w 266700"/>
                <a:gd name="connsiteY470" fmla="*/ 81153 h 314325"/>
                <a:gd name="connsiteX471" fmla="*/ 58198 w 266700"/>
                <a:gd name="connsiteY471" fmla="*/ 68771 h 314325"/>
                <a:gd name="connsiteX472" fmla="*/ 57531 w 266700"/>
                <a:gd name="connsiteY472" fmla="*/ 68104 h 314325"/>
                <a:gd name="connsiteX473" fmla="*/ 57531 w 266700"/>
                <a:gd name="connsiteY473" fmla="*/ 67437 h 314325"/>
                <a:gd name="connsiteX474" fmla="*/ 55435 w 266700"/>
                <a:gd name="connsiteY474" fmla="*/ 69533 h 314325"/>
                <a:gd name="connsiteX475" fmla="*/ 54102 w 266700"/>
                <a:gd name="connsiteY475" fmla="*/ 73628 h 314325"/>
                <a:gd name="connsiteX476" fmla="*/ 51340 w 266700"/>
                <a:gd name="connsiteY476" fmla="*/ 79820 h 314325"/>
                <a:gd name="connsiteX477" fmla="*/ 47244 w 266700"/>
                <a:gd name="connsiteY477" fmla="*/ 85344 h 314325"/>
                <a:gd name="connsiteX478" fmla="*/ 44482 w 266700"/>
                <a:gd name="connsiteY478" fmla="*/ 91535 h 314325"/>
                <a:gd name="connsiteX479" fmla="*/ 45148 w 266700"/>
                <a:gd name="connsiteY479" fmla="*/ 92869 h 314325"/>
                <a:gd name="connsiteX480" fmla="*/ 42386 w 266700"/>
                <a:gd name="connsiteY480" fmla="*/ 96965 h 314325"/>
                <a:gd name="connsiteX481" fmla="*/ 39624 w 266700"/>
                <a:gd name="connsiteY481" fmla="*/ 105918 h 314325"/>
                <a:gd name="connsiteX482" fmla="*/ 38290 w 266700"/>
                <a:gd name="connsiteY482" fmla="*/ 112776 h 314325"/>
                <a:gd name="connsiteX483" fmla="*/ 37624 w 266700"/>
                <a:gd name="connsiteY483" fmla="*/ 113443 h 314325"/>
                <a:gd name="connsiteX484" fmla="*/ 38290 w 266700"/>
                <a:gd name="connsiteY484" fmla="*/ 114110 h 314325"/>
                <a:gd name="connsiteX485" fmla="*/ 38957 w 266700"/>
                <a:gd name="connsiteY485" fmla="*/ 113443 h 314325"/>
                <a:gd name="connsiteX486" fmla="*/ 39624 w 266700"/>
                <a:gd name="connsiteY486" fmla="*/ 112109 h 314325"/>
                <a:gd name="connsiteX487" fmla="*/ 39624 w 266700"/>
                <a:gd name="connsiteY487" fmla="*/ 110776 h 314325"/>
                <a:gd name="connsiteX488" fmla="*/ 40957 w 266700"/>
                <a:gd name="connsiteY488" fmla="*/ 107347 h 314325"/>
                <a:gd name="connsiteX489" fmla="*/ 44482 w 266700"/>
                <a:gd name="connsiteY489" fmla="*/ 101060 h 314325"/>
                <a:gd name="connsiteX490" fmla="*/ 65056 w 266700"/>
                <a:gd name="connsiteY490" fmla="*/ 116872 h 314325"/>
                <a:gd name="connsiteX491" fmla="*/ 63722 w 266700"/>
                <a:gd name="connsiteY491" fmla="*/ 120968 h 314325"/>
                <a:gd name="connsiteX492" fmla="*/ 63722 w 266700"/>
                <a:gd name="connsiteY492" fmla="*/ 123730 h 314325"/>
                <a:gd name="connsiteX493" fmla="*/ 70580 w 266700"/>
                <a:gd name="connsiteY493" fmla="*/ 129921 h 314325"/>
                <a:gd name="connsiteX494" fmla="*/ 72676 w 266700"/>
                <a:gd name="connsiteY494" fmla="*/ 129921 h 314325"/>
                <a:gd name="connsiteX495" fmla="*/ 74009 w 266700"/>
                <a:gd name="connsiteY495" fmla="*/ 128588 h 314325"/>
                <a:gd name="connsiteX496" fmla="*/ 79534 w 266700"/>
                <a:gd name="connsiteY496" fmla="*/ 122396 h 314325"/>
                <a:gd name="connsiteX497" fmla="*/ 87058 w 266700"/>
                <a:gd name="connsiteY497" fmla="*/ 112776 h 314325"/>
                <a:gd name="connsiteX498" fmla="*/ 89154 w 266700"/>
                <a:gd name="connsiteY498" fmla="*/ 110014 h 314325"/>
                <a:gd name="connsiteX499" fmla="*/ 92583 w 266700"/>
                <a:gd name="connsiteY499" fmla="*/ 105251 h 314325"/>
                <a:gd name="connsiteX500" fmla="*/ 96012 w 266700"/>
                <a:gd name="connsiteY500" fmla="*/ 99727 h 314325"/>
                <a:gd name="connsiteX501" fmla="*/ 97346 w 266700"/>
                <a:gd name="connsiteY501" fmla="*/ 95631 h 314325"/>
                <a:gd name="connsiteX502" fmla="*/ 102108 w 266700"/>
                <a:gd name="connsiteY502" fmla="*/ 89440 h 314325"/>
                <a:gd name="connsiteX503" fmla="*/ 105537 w 266700"/>
                <a:gd name="connsiteY503" fmla="*/ 82582 h 314325"/>
                <a:gd name="connsiteX504" fmla="*/ 106204 w 266700"/>
                <a:gd name="connsiteY504" fmla="*/ 77057 h 314325"/>
                <a:gd name="connsiteX505" fmla="*/ 108966 w 266700"/>
                <a:gd name="connsiteY505" fmla="*/ 70866 h 314325"/>
                <a:gd name="connsiteX506" fmla="*/ 111728 w 266700"/>
                <a:gd name="connsiteY506" fmla="*/ 64675 h 314325"/>
                <a:gd name="connsiteX507" fmla="*/ 113824 w 266700"/>
                <a:gd name="connsiteY507" fmla="*/ 59150 h 314325"/>
                <a:gd name="connsiteX508" fmla="*/ 113157 w 266700"/>
                <a:gd name="connsiteY508" fmla="*/ 57055 h 314325"/>
                <a:gd name="connsiteX509" fmla="*/ 113157 w 266700"/>
                <a:gd name="connsiteY509" fmla="*/ 55721 h 314325"/>
                <a:gd name="connsiteX510" fmla="*/ 114490 w 266700"/>
                <a:gd name="connsiteY510" fmla="*/ 54388 h 314325"/>
                <a:gd name="connsiteX511" fmla="*/ 115824 w 266700"/>
                <a:gd name="connsiteY511" fmla="*/ 54388 h 314325"/>
                <a:gd name="connsiteX512" fmla="*/ 116491 w 266700"/>
                <a:gd name="connsiteY512" fmla="*/ 53054 h 314325"/>
                <a:gd name="connsiteX513" fmla="*/ 115824 w 266700"/>
                <a:gd name="connsiteY513" fmla="*/ 52388 h 314325"/>
                <a:gd name="connsiteX514" fmla="*/ 115824 w 266700"/>
                <a:gd name="connsiteY514" fmla="*/ 51721 h 314325"/>
                <a:gd name="connsiteX515" fmla="*/ 115157 w 266700"/>
                <a:gd name="connsiteY515" fmla="*/ 51054 h 314325"/>
                <a:gd name="connsiteX516" fmla="*/ 114490 w 266700"/>
                <a:gd name="connsiteY516" fmla="*/ 49721 h 314325"/>
                <a:gd name="connsiteX517" fmla="*/ 115157 w 266700"/>
                <a:gd name="connsiteY517" fmla="*/ 48387 h 314325"/>
                <a:gd name="connsiteX518" fmla="*/ 115824 w 266700"/>
                <a:gd name="connsiteY518" fmla="*/ 47054 h 314325"/>
                <a:gd name="connsiteX519" fmla="*/ 114490 w 266700"/>
                <a:gd name="connsiteY519" fmla="*/ 46387 h 314325"/>
                <a:gd name="connsiteX520" fmla="*/ 114490 w 266700"/>
                <a:gd name="connsiteY520" fmla="*/ 45053 h 314325"/>
                <a:gd name="connsiteX521" fmla="*/ 115824 w 266700"/>
                <a:gd name="connsiteY521" fmla="*/ 42291 h 314325"/>
                <a:gd name="connsiteX522" fmla="*/ 115157 w 266700"/>
                <a:gd name="connsiteY522" fmla="*/ 39529 h 314325"/>
                <a:gd name="connsiteX523" fmla="*/ 113824 w 266700"/>
                <a:gd name="connsiteY523" fmla="*/ 34004 h 314325"/>
                <a:gd name="connsiteX524" fmla="*/ 113824 w 266700"/>
                <a:gd name="connsiteY524" fmla="*/ 33338 h 314325"/>
                <a:gd name="connsiteX525" fmla="*/ 114490 w 266700"/>
                <a:gd name="connsiteY525" fmla="*/ 32671 h 314325"/>
                <a:gd name="connsiteX526" fmla="*/ 115157 w 266700"/>
                <a:gd name="connsiteY526" fmla="*/ 32004 h 314325"/>
                <a:gd name="connsiteX527" fmla="*/ 115824 w 266700"/>
                <a:gd name="connsiteY527" fmla="*/ 30671 h 314325"/>
                <a:gd name="connsiteX528" fmla="*/ 111728 w 266700"/>
                <a:gd name="connsiteY528" fmla="*/ 30671 h 314325"/>
                <a:gd name="connsiteX529" fmla="*/ 105537 w 266700"/>
                <a:gd name="connsiteY529" fmla="*/ 38862 h 314325"/>
                <a:gd name="connsiteX530" fmla="*/ 104870 w 266700"/>
                <a:gd name="connsiteY530" fmla="*/ 39529 h 314325"/>
                <a:gd name="connsiteX531" fmla="*/ 104870 w 266700"/>
                <a:gd name="connsiteY531" fmla="*/ 40196 h 314325"/>
                <a:gd name="connsiteX532" fmla="*/ 96679 w 266700"/>
                <a:gd name="connsiteY532" fmla="*/ 50483 h 314325"/>
                <a:gd name="connsiteX533" fmla="*/ 96012 w 266700"/>
                <a:gd name="connsiteY533" fmla="*/ 51149 h 314325"/>
                <a:gd name="connsiteX534" fmla="*/ 90488 w 266700"/>
                <a:gd name="connsiteY534" fmla="*/ 57341 h 314325"/>
                <a:gd name="connsiteX535" fmla="*/ 89154 w 266700"/>
                <a:gd name="connsiteY535" fmla="*/ 60103 h 314325"/>
                <a:gd name="connsiteX536" fmla="*/ 89154 w 266700"/>
                <a:gd name="connsiteY536" fmla="*/ 60770 h 314325"/>
                <a:gd name="connsiteX537" fmla="*/ 86392 w 266700"/>
                <a:gd name="connsiteY537" fmla="*/ 64865 h 314325"/>
                <a:gd name="connsiteX538" fmla="*/ 83629 w 266700"/>
                <a:gd name="connsiteY538" fmla="*/ 68961 h 314325"/>
                <a:gd name="connsiteX539" fmla="*/ 82296 w 266700"/>
                <a:gd name="connsiteY539" fmla="*/ 70295 h 314325"/>
                <a:gd name="connsiteX540" fmla="*/ 82963 w 266700"/>
                <a:gd name="connsiteY540" fmla="*/ 74390 h 314325"/>
                <a:gd name="connsiteX541" fmla="*/ 80200 w 266700"/>
                <a:gd name="connsiteY541" fmla="*/ 78486 h 314325"/>
                <a:gd name="connsiteX542" fmla="*/ 80200 w 266700"/>
                <a:gd name="connsiteY542" fmla="*/ 80582 h 314325"/>
                <a:gd name="connsiteX543" fmla="*/ 78105 w 266700"/>
                <a:gd name="connsiteY543" fmla="*/ 82677 h 314325"/>
                <a:gd name="connsiteX544" fmla="*/ 75343 w 266700"/>
                <a:gd name="connsiteY544" fmla="*/ 88202 h 314325"/>
                <a:gd name="connsiteX545" fmla="*/ 75343 w 266700"/>
                <a:gd name="connsiteY545" fmla="*/ 89535 h 314325"/>
                <a:gd name="connsiteX546" fmla="*/ 73247 w 266700"/>
                <a:gd name="connsiteY546" fmla="*/ 92297 h 314325"/>
                <a:gd name="connsiteX547" fmla="*/ 70485 w 266700"/>
                <a:gd name="connsiteY547" fmla="*/ 95060 h 314325"/>
                <a:gd name="connsiteX548" fmla="*/ 70485 w 266700"/>
                <a:gd name="connsiteY548" fmla="*/ 95726 h 314325"/>
                <a:gd name="connsiteX549" fmla="*/ 65723 w 266700"/>
                <a:gd name="connsiteY549" fmla="*/ 110776 h 314325"/>
                <a:gd name="connsiteX550" fmla="*/ 65723 w 266700"/>
                <a:gd name="connsiteY550" fmla="*/ 114872 h 314325"/>
                <a:gd name="connsiteX551" fmla="*/ 65056 w 266700"/>
                <a:gd name="connsiteY551" fmla="*/ 116872 h 314325"/>
                <a:gd name="connsiteX552" fmla="*/ 133636 w 266700"/>
                <a:gd name="connsiteY552" fmla="*/ 65437 h 314325"/>
                <a:gd name="connsiteX553" fmla="*/ 134969 w 266700"/>
                <a:gd name="connsiteY553" fmla="*/ 64770 h 314325"/>
                <a:gd name="connsiteX554" fmla="*/ 135636 w 266700"/>
                <a:gd name="connsiteY554" fmla="*/ 62675 h 314325"/>
                <a:gd name="connsiteX555" fmla="*/ 135636 w 266700"/>
                <a:gd name="connsiteY555" fmla="*/ 62008 h 314325"/>
                <a:gd name="connsiteX556" fmla="*/ 134969 w 266700"/>
                <a:gd name="connsiteY556" fmla="*/ 61341 h 314325"/>
                <a:gd name="connsiteX557" fmla="*/ 134302 w 266700"/>
                <a:gd name="connsiteY557" fmla="*/ 61341 h 314325"/>
                <a:gd name="connsiteX558" fmla="*/ 132969 w 266700"/>
                <a:gd name="connsiteY558" fmla="*/ 63437 h 314325"/>
                <a:gd name="connsiteX559" fmla="*/ 133636 w 266700"/>
                <a:gd name="connsiteY559" fmla="*/ 65437 h 314325"/>
                <a:gd name="connsiteX560" fmla="*/ 133636 w 266700"/>
                <a:gd name="connsiteY560" fmla="*/ 30385 h 314325"/>
                <a:gd name="connsiteX561" fmla="*/ 134302 w 266700"/>
                <a:gd name="connsiteY561" fmla="*/ 31718 h 314325"/>
                <a:gd name="connsiteX562" fmla="*/ 135636 w 266700"/>
                <a:gd name="connsiteY562" fmla="*/ 33052 h 314325"/>
                <a:gd name="connsiteX563" fmla="*/ 136969 w 266700"/>
                <a:gd name="connsiteY563" fmla="*/ 31718 h 314325"/>
                <a:gd name="connsiteX564" fmla="*/ 134874 w 266700"/>
                <a:gd name="connsiteY564" fmla="*/ 28956 h 314325"/>
                <a:gd name="connsiteX565" fmla="*/ 134207 w 266700"/>
                <a:gd name="connsiteY565" fmla="*/ 28956 h 314325"/>
                <a:gd name="connsiteX566" fmla="*/ 133636 w 266700"/>
                <a:gd name="connsiteY566" fmla="*/ 30385 h 314325"/>
                <a:gd name="connsiteX567" fmla="*/ 137731 w 266700"/>
                <a:gd name="connsiteY567" fmla="*/ 35909 h 314325"/>
                <a:gd name="connsiteX568" fmla="*/ 134969 w 266700"/>
                <a:gd name="connsiteY568" fmla="*/ 36576 h 314325"/>
                <a:gd name="connsiteX569" fmla="*/ 134969 w 266700"/>
                <a:gd name="connsiteY569" fmla="*/ 40005 h 314325"/>
                <a:gd name="connsiteX570" fmla="*/ 135636 w 266700"/>
                <a:gd name="connsiteY570" fmla="*/ 43434 h 314325"/>
                <a:gd name="connsiteX571" fmla="*/ 134302 w 266700"/>
                <a:gd name="connsiteY571" fmla="*/ 46196 h 314325"/>
                <a:gd name="connsiteX572" fmla="*/ 135636 w 266700"/>
                <a:gd name="connsiteY572" fmla="*/ 50959 h 314325"/>
                <a:gd name="connsiteX573" fmla="*/ 134302 w 266700"/>
                <a:gd name="connsiteY573" fmla="*/ 53054 h 314325"/>
                <a:gd name="connsiteX574" fmla="*/ 134302 w 266700"/>
                <a:gd name="connsiteY574" fmla="*/ 54388 h 314325"/>
                <a:gd name="connsiteX575" fmla="*/ 134969 w 266700"/>
                <a:gd name="connsiteY575" fmla="*/ 55055 h 314325"/>
                <a:gd name="connsiteX576" fmla="*/ 136303 w 266700"/>
                <a:gd name="connsiteY576" fmla="*/ 54388 h 314325"/>
                <a:gd name="connsiteX577" fmla="*/ 139065 w 266700"/>
                <a:gd name="connsiteY577" fmla="*/ 53721 h 314325"/>
                <a:gd name="connsiteX578" fmla="*/ 143827 w 266700"/>
                <a:gd name="connsiteY578" fmla="*/ 47530 h 314325"/>
                <a:gd name="connsiteX579" fmla="*/ 143827 w 266700"/>
                <a:gd name="connsiteY579" fmla="*/ 44768 h 314325"/>
                <a:gd name="connsiteX580" fmla="*/ 142494 w 266700"/>
                <a:gd name="connsiteY580" fmla="*/ 42672 h 314325"/>
                <a:gd name="connsiteX581" fmla="*/ 139732 w 266700"/>
                <a:gd name="connsiteY581" fmla="*/ 39910 h 314325"/>
                <a:gd name="connsiteX582" fmla="*/ 138398 w 266700"/>
                <a:gd name="connsiteY582" fmla="*/ 36481 h 314325"/>
                <a:gd name="connsiteX583" fmla="*/ 137731 w 266700"/>
                <a:gd name="connsiteY583" fmla="*/ 35909 h 314325"/>
                <a:gd name="connsiteX584" fmla="*/ 140494 w 266700"/>
                <a:gd name="connsiteY584" fmla="*/ 38672 h 314325"/>
                <a:gd name="connsiteX585" fmla="*/ 141827 w 266700"/>
                <a:gd name="connsiteY585" fmla="*/ 39338 h 314325"/>
                <a:gd name="connsiteX586" fmla="*/ 142494 w 266700"/>
                <a:gd name="connsiteY586" fmla="*/ 39338 h 314325"/>
                <a:gd name="connsiteX587" fmla="*/ 142494 w 266700"/>
                <a:gd name="connsiteY587" fmla="*/ 38005 h 314325"/>
                <a:gd name="connsiteX588" fmla="*/ 141827 w 266700"/>
                <a:gd name="connsiteY588" fmla="*/ 36671 h 314325"/>
                <a:gd name="connsiteX589" fmla="*/ 141161 w 266700"/>
                <a:gd name="connsiteY589" fmla="*/ 37338 h 314325"/>
                <a:gd name="connsiteX590" fmla="*/ 140494 w 266700"/>
                <a:gd name="connsiteY590" fmla="*/ 38672 h 314325"/>
                <a:gd name="connsiteX591" fmla="*/ 143161 w 266700"/>
                <a:gd name="connsiteY591" fmla="*/ 57912 h 314325"/>
                <a:gd name="connsiteX592" fmla="*/ 143161 w 266700"/>
                <a:gd name="connsiteY592" fmla="*/ 58579 h 314325"/>
                <a:gd name="connsiteX593" fmla="*/ 144494 w 266700"/>
                <a:gd name="connsiteY593" fmla="*/ 64103 h 314325"/>
                <a:gd name="connsiteX594" fmla="*/ 145828 w 266700"/>
                <a:gd name="connsiteY594" fmla="*/ 64103 h 314325"/>
                <a:gd name="connsiteX595" fmla="*/ 148590 w 266700"/>
                <a:gd name="connsiteY595" fmla="*/ 60674 h 314325"/>
                <a:gd name="connsiteX596" fmla="*/ 147923 w 266700"/>
                <a:gd name="connsiteY596" fmla="*/ 59341 h 314325"/>
                <a:gd name="connsiteX597" fmla="*/ 147256 w 266700"/>
                <a:gd name="connsiteY597" fmla="*/ 58007 h 314325"/>
                <a:gd name="connsiteX598" fmla="*/ 147923 w 266700"/>
                <a:gd name="connsiteY598" fmla="*/ 56674 h 314325"/>
                <a:gd name="connsiteX599" fmla="*/ 147923 w 266700"/>
                <a:gd name="connsiteY599" fmla="*/ 56007 h 314325"/>
                <a:gd name="connsiteX600" fmla="*/ 145828 w 266700"/>
                <a:gd name="connsiteY600" fmla="*/ 55340 h 314325"/>
                <a:gd name="connsiteX601" fmla="*/ 143161 w 266700"/>
                <a:gd name="connsiteY601" fmla="*/ 57912 h 314325"/>
                <a:gd name="connsiteX602" fmla="*/ 145923 w 266700"/>
                <a:gd name="connsiteY602" fmla="*/ 49625 h 314325"/>
                <a:gd name="connsiteX603" fmla="*/ 145923 w 266700"/>
                <a:gd name="connsiteY603" fmla="*/ 52388 h 314325"/>
                <a:gd name="connsiteX604" fmla="*/ 146590 w 266700"/>
                <a:gd name="connsiteY604" fmla="*/ 53054 h 314325"/>
                <a:gd name="connsiteX605" fmla="*/ 150019 w 266700"/>
                <a:gd name="connsiteY605" fmla="*/ 49625 h 314325"/>
                <a:gd name="connsiteX606" fmla="*/ 150019 w 266700"/>
                <a:gd name="connsiteY606" fmla="*/ 48959 h 314325"/>
                <a:gd name="connsiteX607" fmla="*/ 147256 w 266700"/>
                <a:gd name="connsiteY607" fmla="*/ 46196 h 314325"/>
                <a:gd name="connsiteX608" fmla="*/ 146590 w 266700"/>
                <a:gd name="connsiteY608" fmla="*/ 46196 h 314325"/>
                <a:gd name="connsiteX609" fmla="*/ 145923 w 266700"/>
                <a:gd name="connsiteY609" fmla="*/ 49625 h 314325"/>
                <a:gd name="connsiteX610" fmla="*/ 176784 w 266700"/>
                <a:gd name="connsiteY610" fmla="*/ 260890 h 314325"/>
                <a:gd name="connsiteX611" fmla="*/ 176117 w 266700"/>
                <a:gd name="connsiteY611" fmla="*/ 259556 h 314325"/>
                <a:gd name="connsiteX612" fmla="*/ 174784 w 266700"/>
                <a:gd name="connsiteY612" fmla="*/ 259556 h 314325"/>
                <a:gd name="connsiteX613" fmla="*/ 174117 w 266700"/>
                <a:gd name="connsiteY613" fmla="*/ 260890 h 314325"/>
                <a:gd name="connsiteX614" fmla="*/ 175450 w 266700"/>
                <a:gd name="connsiteY614" fmla="*/ 261557 h 314325"/>
                <a:gd name="connsiteX615" fmla="*/ 176117 w 266700"/>
                <a:gd name="connsiteY615" fmla="*/ 261557 h 314325"/>
                <a:gd name="connsiteX616" fmla="*/ 176784 w 266700"/>
                <a:gd name="connsiteY616" fmla="*/ 260890 h 314325"/>
                <a:gd name="connsiteX617" fmla="*/ 191929 w 266700"/>
                <a:gd name="connsiteY617" fmla="*/ 257461 h 314325"/>
                <a:gd name="connsiteX618" fmla="*/ 191262 w 266700"/>
                <a:gd name="connsiteY618" fmla="*/ 258128 h 314325"/>
                <a:gd name="connsiteX619" fmla="*/ 190595 w 266700"/>
                <a:gd name="connsiteY619" fmla="*/ 257461 h 314325"/>
                <a:gd name="connsiteX620" fmla="*/ 191262 w 266700"/>
                <a:gd name="connsiteY620" fmla="*/ 256794 h 314325"/>
                <a:gd name="connsiteX621" fmla="*/ 191929 w 266700"/>
                <a:gd name="connsiteY621" fmla="*/ 257461 h 314325"/>
                <a:gd name="connsiteX622" fmla="*/ 229648 w 266700"/>
                <a:gd name="connsiteY622" fmla="*/ 217646 h 314325"/>
                <a:gd name="connsiteX623" fmla="*/ 226219 w 266700"/>
                <a:gd name="connsiteY623" fmla="*/ 221075 h 314325"/>
                <a:gd name="connsiteX624" fmla="*/ 224885 w 266700"/>
                <a:gd name="connsiteY624" fmla="*/ 222409 h 314325"/>
                <a:gd name="connsiteX625" fmla="*/ 224219 w 266700"/>
                <a:gd name="connsiteY625" fmla="*/ 221075 h 314325"/>
                <a:gd name="connsiteX626" fmla="*/ 222123 w 266700"/>
                <a:gd name="connsiteY626" fmla="*/ 218980 h 314325"/>
                <a:gd name="connsiteX627" fmla="*/ 220790 w 266700"/>
                <a:gd name="connsiteY627" fmla="*/ 217646 h 314325"/>
                <a:gd name="connsiteX628" fmla="*/ 220790 w 266700"/>
                <a:gd name="connsiteY628" fmla="*/ 216313 h 314325"/>
                <a:gd name="connsiteX629" fmla="*/ 224219 w 266700"/>
                <a:gd name="connsiteY629" fmla="*/ 214217 h 314325"/>
                <a:gd name="connsiteX630" fmla="*/ 224885 w 266700"/>
                <a:gd name="connsiteY630" fmla="*/ 214884 h 314325"/>
                <a:gd name="connsiteX631" fmla="*/ 228314 w 266700"/>
                <a:gd name="connsiteY631" fmla="*/ 216218 h 314325"/>
                <a:gd name="connsiteX632" fmla="*/ 229648 w 266700"/>
                <a:gd name="connsiteY632" fmla="*/ 217646 h 314325"/>
                <a:gd name="connsiteX633" fmla="*/ 233744 w 266700"/>
                <a:gd name="connsiteY633" fmla="*/ 203930 h 314325"/>
                <a:gd name="connsiteX634" fmla="*/ 233744 w 266700"/>
                <a:gd name="connsiteY634" fmla="*/ 204597 h 314325"/>
                <a:gd name="connsiteX635" fmla="*/ 229648 w 266700"/>
                <a:gd name="connsiteY635" fmla="*/ 208693 h 314325"/>
                <a:gd name="connsiteX636" fmla="*/ 228981 w 266700"/>
                <a:gd name="connsiteY636" fmla="*/ 208693 h 314325"/>
                <a:gd name="connsiteX637" fmla="*/ 228314 w 266700"/>
                <a:gd name="connsiteY637" fmla="*/ 208026 h 314325"/>
                <a:gd name="connsiteX638" fmla="*/ 228981 w 266700"/>
                <a:gd name="connsiteY638" fmla="*/ 206693 h 314325"/>
                <a:gd name="connsiteX639" fmla="*/ 231077 w 266700"/>
                <a:gd name="connsiteY639" fmla="*/ 204597 h 314325"/>
                <a:gd name="connsiteX640" fmla="*/ 231077 w 266700"/>
                <a:gd name="connsiteY640" fmla="*/ 203264 h 314325"/>
                <a:gd name="connsiteX641" fmla="*/ 231743 w 266700"/>
                <a:gd name="connsiteY641" fmla="*/ 203264 h 314325"/>
                <a:gd name="connsiteX642" fmla="*/ 233744 w 266700"/>
                <a:gd name="connsiteY642" fmla="*/ 203930 h 314325"/>
                <a:gd name="connsiteX643" fmla="*/ 249460 w 266700"/>
                <a:gd name="connsiteY643" fmla="*/ 192977 h 314325"/>
                <a:gd name="connsiteX644" fmla="*/ 250793 w 266700"/>
                <a:gd name="connsiteY644" fmla="*/ 192310 h 314325"/>
                <a:gd name="connsiteX645" fmla="*/ 248698 w 266700"/>
                <a:gd name="connsiteY645" fmla="*/ 197072 h 314325"/>
                <a:gd name="connsiteX646" fmla="*/ 247364 w 266700"/>
                <a:gd name="connsiteY646" fmla="*/ 197739 h 314325"/>
                <a:gd name="connsiteX647" fmla="*/ 247364 w 266700"/>
                <a:gd name="connsiteY647" fmla="*/ 195644 h 314325"/>
                <a:gd name="connsiteX648" fmla="*/ 249460 w 266700"/>
                <a:gd name="connsiteY648" fmla="*/ 192977 h 314325"/>
                <a:gd name="connsiteX649" fmla="*/ 251555 w 266700"/>
                <a:gd name="connsiteY649" fmla="*/ 158020 h 314325"/>
                <a:gd name="connsiteX650" fmla="*/ 250888 w 266700"/>
                <a:gd name="connsiteY650" fmla="*/ 155258 h 314325"/>
                <a:gd name="connsiteX651" fmla="*/ 250222 w 266700"/>
                <a:gd name="connsiteY651" fmla="*/ 155258 h 314325"/>
                <a:gd name="connsiteX652" fmla="*/ 250222 w 266700"/>
                <a:gd name="connsiteY652" fmla="*/ 156591 h 314325"/>
                <a:gd name="connsiteX653" fmla="*/ 250888 w 266700"/>
                <a:gd name="connsiteY653" fmla="*/ 157925 h 314325"/>
                <a:gd name="connsiteX654" fmla="*/ 250888 w 266700"/>
                <a:gd name="connsiteY654" fmla="*/ 158591 h 314325"/>
                <a:gd name="connsiteX655" fmla="*/ 251555 w 266700"/>
                <a:gd name="connsiteY655" fmla="*/ 158020 h 314325"/>
                <a:gd name="connsiteX656" fmla="*/ 254317 w 266700"/>
                <a:gd name="connsiteY656" fmla="*/ 138779 h 314325"/>
                <a:gd name="connsiteX657" fmla="*/ 254317 w 266700"/>
                <a:gd name="connsiteY657" fmla="*/ 139446 h 314325"/>
                <a:gd name="connsiteX658" fmla="*/ 251555 w 266700"/>
                <a:gd name="connsiteY658" fmla="*/ 141542 h 314325"/>
                <a:gd name="connsiteX659" fmla="*/ 250888 w 266700"/>
                <a:gd name="connsiteY659" fmla="*/ 140875 h 314325"/>
                <a:gd name="connsiteX660" fmla="*/ 250888 w 266700"/>
                <a:gd name="connsiteY660" fmla="*/ 140208 h 314325"/>
                <a:gd name="connsiteX661" fmla="*/ 252984 w 266700"/>
                <a:gd name="connsiteY661" fmla="*/ 138113 h 314325"/>
                <a:gd name="connsiteX662" fmla="*/ 254317 w 266700"/>
                <a:gd name="connsiteY662" fmla="*/ 138779 h 314325"/>
                <a:gd name="connsiteX663" fmla="*/ 267367 w 266700"/>
                <a:gd name="connsiteY663" fmla="*/ 147066 h 314325"/>
                <a:gd name="connsiteX664" fmla="*/ 267367 w 266700"/>
                <a:gd name="connsiteY664" fmla="*/ 147733 h 314325"/>
                <a:gd name="connsiteX665" fmla="*/ 266033 w 266700"/>
                <a:gd name="connsiteY665" fmla="*/ 151829 h 314325"/>
                <a:gd name="connsiteX666" fmla="*/ 265271 w 266700"/>
                <a:gd name="connsiteY666" fmla="*/ 153924 h 314325"/>
                <a:gd name="connsiteX667" fmla="*/ 264605 w 266700"/>
                <a:gd name="connsiteY667" fmla="*/ 156020 h 314325"/>
                <a:gd name="connsiteX668" fmla="*/ 262509 w 266700"/>
                <a:gd name="connsiteY668" fmla="*/ 158115 h 314325"/>
                <a:gd name="connsiteX669" fmla="*/ 260413 w 266700"/>
                <a:gd name="connsiteY669" fmla="*/ 156020 h 314325"/>
                <a:gd name="connsiteX670" fmla="*/ 262509 w 266700"/>
                <a:gd name="connsiteY670" fmla="*/ 150495 h 314325"/>
                <a:gd name="connsiteX671" fmla="*/ 262509 w 266700"/>
                <a:gd name="connsiteY671" fmla="*/ 148400 h 314325"/>
                <a:gd name="connsiteX672" fmla="*/ 263176 w 266700"/>
                <a:gd name="connsiteY672" fmla="*/ 145637 h 314325"/>
                <a:gd name="connsiteX673" fmla="*/ 265271 w 266700"/>
                <a:gd name="connsiteY673" fmla="*/ 140113 h 314325"/>
                <a:gd name="connsiteX674" fmla="*/ 265271 w 266700"/>
                <a:gd name="connsiteY674" fmla="*/ 138779 h 314325"/>
                <a:gd name="connsiteX675" fmla="*/ 265938 w 266700"/>
                <a:gd name="connsiteY675" fmla="*/ 137446 h 314325"/>
                <a:gd name="connsiteX676" fmla="*/ 266605 w 266700"/>
                <a:gd name="connsiteY676" fmla="*/ 137446 h 314325"/>
                <a:gd name="connsiteX677" fmla="*/ 267271 w 266700"/>
                <a:gd name="connsiteY677" fmla="*/ 137446 h 314325"/>
                <a:gd name="connsiteX678" fmla="*/ 267938 w 266700"/>
                <a:gd name="connsiteY678" fmla="*/ 138779 h 314325"/>
                <a:gd name="connsiteX679" fmla="*/ 267271 w 266700"/>
                <a:gd name="connsiteY679" fmla="*/ 139446 h 314325"/>
                <a:gd name="connsiteX680" fmla="*/ 265938 w 266700"/>
                <a:gd name="connsiteY680" fmla="*/ 142208 h 314325"/>
                <a:gd name="connsiteX681" fmla="*/ 265271 w 266700"/>
                <a:gd name="connsiteY681" fmla="*/ 143542 h 314325"/>
                <a:gd name="connsiteX682" fmla="*/ 266605 w 266700"/>
                <a:gd name="connsiteY682" fmla="*/ 144875 h 314325"/>
                <a:gd name="connsiteX683" fmla="*/ 267367 w 266700"/>
                <a:gd name="connsiteY683" fmla="*/ 147066 h 314325"/>
                <a:gd name="connsiteX684" fmla="*/ 260509 w 266700"/>
                <a:gd name="connsiteY684" fmla="*/ 98298 h 314325"/>
                <a:gd name="connsiteX685" fmla="*/ 261842 w 266700"/>
                <a:gd name="connsiteY685" fmla="*/ 96203 h 314325"/>
                <a:gd name="connsiteX686" fmla="*/ 265271 w 266700"/>
                <a:gd name="connsiteY686" fmla="*/ 96203 h 314325"/>
                <a:gd name="connsiteX687" fmla="*/ 264605 w 266700"/>
                <a:gd name="connsiteY687" fmla="*/ 98298 h 314325"/>
                <a:gd name="connsiteX688" fmla="*/ 265271 w 266700"/>
                <a:gd name="connsiteY688" fmla="*/ 98965 h 314325"/>
                <a:gd name="connsiteX689" fmla="*/ 263938 w 266700"/>
                <a:gd name="connsiteY689" fmla="*/ 100298 h 314325"/>
                <a:gd name="connsiteX690" fmla="*/ 260509 w 266700"/>
                <a:gd name="connsiteY690" fmla="*/ 98298 h 314325"/>
                <a:gd name="connsiteX691" fmla="*/ 268700 w 266700"/>
                <a:gd name="connsiteY691" fmla="*/ 167640 h 314325"/>
                <a:gd name="connsiteX692" fmla="*/ 266605 w 266700"/>
                <a:gd name="connsiteY692" fmla="*/ 169736 h 314325"/>
                <a:gd name="connsiteX693" fmla="*/ 267938 w 266700"/>
                <a:gd name="connsiteY693" fmla="*/ 166307 h 314325"/>
                <a:gd name="connsiteX694" fmla="*/ 268605 w 266700"/>
                <a:gd name="connsiteY694" fmla="*/ 166973 h 314325"/>
                <a:gd name="connsiteX695" fmla="*/ 268605 w 266700"/>
                <a:gd name="connsiteY695" fmla="*/ 167640 h 314325"/>
                <a:gd name="connsiteX696" fmla="*/ 272796 w 266700"/>
                <a:gd name="connsiteY696" fmla="*/ 158687 h 314325"/>
                <a:gd name="connsiteX697" fmla="*/ 272129 w 266700"/>
                <a:gd name="connsiteY697" fmla="*/ 156591 h 314325"/>
                <a:gd name="connsiteX698" fmla="*/ 272796 w 266700"/>
                <a:gd name="connsiteY698" fmla="*/ 155258 h 314325"/>
                <a:gd name="connsiteX699" fmla="*/ 273463 w 266700"/>
                <a:gd name="connsiteY699" fmla="*/ 154591 h 314325"/>
                <a:gd name="connsiteX700" fmla="*/ 274130 w 266700"/>
                <a:gd name="connsiteY700" fmla="*/ 155258 h 314325"/>
                <a:gd name="connsiteX701" fmla="*/ 272796 w 266700"/>
                <a:gd name="connsiteY701" fmla="*/ 158687 h 314325"/>
                <a:gd name="connsiteX702" fmla="*/ 272129 w 266700"/>
                <a:gd name="connsiteY702" fmla="*/ 159353 h 314325"/>
                <a:gd name="connsiteX703" fmla="*/ 272796 w 266700"/>
                <a:gd name="connsiteY703" fmla="*/ 158687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</a:cxnLst>
              <a:rect l="l" t="t" r="r" b="b"/>
              <a:pathLst>
                <a:path w="266700" h="314325">
                  <a:moveTo>
                    <a:pt x="262509" y="161449"/>
                  </a:moveTo>
                  <a:cubicBezTo>
                    <a:pt x="260413" y="163544"/>
                    <a:pt x="260413" y="164878"/>
                    <a:pt x="260413" y="166211"/>
                  </a:cubicBezTo>
                  <a:cubicBezTo>
                    <a:pt x="259080" y="168307"/>
                    <a:pt x="257651" y="169640"/>
                    <a:pt x="254889" y="170974"/>
                  </a:cubicBezTo>
                  <a:cubicBezTo>
                    <a:pt x="254222" y="171641"/>
                    <a:pt x="253555" y="173069"/>
                    <a:pt x="253555" y="173736"/>
                  </a:cubicBezTo>
                  <a:cubicBezTo>
                    <a:pt x="253555" y="174403"/>
                    <a:pt x="252889" y="174403"/>
                    <a:pt x="252889" y="175070"/>
                  </a:cubicBezTo>
                  <a:cubicBezTo>
                    <a:pt x="252889" y="175736"/>
                    <a:pt x="253555" y="177165"/>
                    <a:pt x="254222" y="177832"/>
                  </a:cubicBezTo>
                  <a:cubicBezTo>
                    <a:pt x="254889" y="177832"/>
                    <a:pt x="255556" y="178499"/>
                    <a:pt x="255556" y="178499"/>
                  </a:cubicBezTo>
                  <a:cubicBezTo>
                    <a:pt x="256889" y="179165"/>
                    <a:pt x="256889" y="179165"/>
                    <a:pt x="258318" y="179165"/>
                  </a:cubicBezTo>
                  <a:lnTo>
                    <a:pt x="258985" y="178499"/>
                  </a:lnTo>
                  <a:cubicBezTo>
                    <a:pt x="259652" y="178499"/>
                    <a:pt x="260318" y="178499"/>
                    <a:pt x="260318" y="179165"/>
                  </a:cubicBezTo>
                  <a:cubicBezTo>
                    <a:pt x="258985" y="182594"/>
                    <a:pt x="256889" y="185357"/>
                    <a:pt x="254794" y="187357"/>
                  </a:cubicBezTo>
                  <a:cubicBezTo>
                    <a:pt x="253460" y="188690"/>
                    <a:pt x="252698" y="190119"/>
                    <a:pt x="252698" y="191453"/>
                  </a:cubicBezTo>
                  <a:cubicBezTo>
                    <a:pt x="252698" y="192119"/>
                    <a:pt x="251365" y="192119"/>
                    <a:pt x="250603" y="192119"/>
                  </a:cubicBezTo>
                  <a:cubicBezTo>
                    <a:pt x="250603" y="191453"/>
                    <a:pt x="251269" y="190786"/>
                    <a:pt x="251269" y="190024"/>
                  </a:cubicBezTo>
                  <a:cubicBezTo>
                    <a:pt x="251269" y="189357"/>
                    <a:pt x="250603" y="188690"/>
                    <a:pt x="250603" y="187262"/>
                  </a:cubicBezTo>
                  <a:cubicBezTo>
                    <a:pt x="250603" y="185166"/>
                    <a:pt x="251936" y="183833"/>
                    <a:pt x="252698" y="181737"/>
                  </a:cubicBezTo>
                  <a:cubicBezTo>
                    <a:pt x="253365" y="181070"/>
                    <a:pt x="253365" y="180404"/>
                    <a:pt x="253365" y="180404"/>
                  </a:cubicBezTo>
                  <a:lnTo>
                    <a:pt x="252698" y="180404"/>
                  </a:lnTo>
                  <a:cubicBezTo>
                    <a:pt x="252698" y="179737"/>
                    <a:pt x="252031" y="180404"/>
                    <a:pt x="251365" y="180404"/>
                  </a:cubicBezTo>
                  <a:cubicBezTo>
                    <a:pt x="249269" y="180404"/>
                    <a:pt x="248602" y="181737"/>
                    <a:pt x="248602" y="183833"/>
                  </a:cubicBezTo>
                  <a:cubicBezTo>
                    <a:pt x="247936" y="185166"/>
                    <a:pt x="247269" y="185166"/>
                    <a:pt x="246507" y="185928"/>
                  </a:cubicBezTo>
                  <a:lnTo>
                    <a:pt x="245840" y="185928"/>
                  </a:lnTo>
                  <a:cubicBezTo>
                    <a:pt x="245173" y="185928"/>
                    <a:pt x="245173" y="185928"/>
                    <a:pt x="244507" y="185261"/>
                  </a:cubicBezTo>
                  <a:lnTo>
                    <a:pt x="244507" y="183928"/>
                  </a:lnTo>
                  <a:cubicBezTo>
                    <a:pt x="244507" y="183261"/>
                    <a:pt x="244507" y="182594"/>
                    <a:pt x="243840" y="182594"/>
                  </a:cubicBezTo>
                  <a:cubicBezTo>
                    <a:pt x="243173" y="182594"/>
                    <a:pt x="243173" y="183261"/>
                    <a:pt x="243173" y="183928"/>
                  </a:cubicBezTo>
                  <a:cubicBezTo>
                    <a:pt x="241840" y="183928"/>
                    <a:pt x="241078" y="185261"/>
                    <a:pt x="241078" y="185261"/>
                  </a:cubicBezTo>
                  <a:lnTo>
                    <a:pt x="241078" y="190024"/>
                  </a:lnTo>
                  <a:cubicBezTo>
                    <a:pt x="240411" y="190024"/>
                    <a:pt x="241078" y="190691"/>
                    <a:pt x="240411" y="190691"/>
                  </a:cubicBezTo>
                  <a:cubicBezTo>
                    <a:pt x="238315" y="190024"/>
                    <a:pt x="236315" y="190024"/>
                    <a:pt x="235648" y="188595"/>
                  </a:cubicBezTo>
                  <a:cubicBezTo>
                    <a:pt x="235648" y="188595"/>
                    <a:pt x="234315" y="188595"/>
                    <a:pt x="234315" y="189262"/>
                  </a:cubicBezTo>
                  <a:cubicBezTo>
                    <a:pt x="234315" y="189929"/>
                    <a:pt x="234315" y="189929"/>
                    <a:pt x="234982" y="191357"/>
                  </a:cubicBezTo>
                  <a:cubicBezTo>
                    <a:pt x="234982" y="192024"/>
                    <a:pt x="234982" y="192691"/>
                    <a:pt x="233648" y="193453"/>
                  </a:cubicBezTo>
                  <a:cubicBezTo>
                    <a:pt x="230886" y="196215"/>
                    <a:pt x="230219" y="198215"/>
                    <a:pt x="228124" y="201644"/>
                  </a:cubicBezTo>
                  <a:cubicBezTo>
                    <a:pt x="228124" y="201644"/>
                    <a:pt x="228124" y="202311"/>
                    <a:pt x="227457" y="202311"/>
                  </a:cubicBezTo>
                  <a:lnTo>
                    <a:pt x="226123" y="202311"/>
                  </a:lnTo>
                  <a:cubicBezTo>
                    <a:pt x="225457" y="202311"/>
                    <a:pt x="225457" y="202311"/>
                    <a:pt x="225457" y="202978"/>
                  </a:cubicBezTo>
                  <a:lnTo>
                    <a:pt x="225457" y="204311"/>
                  </a:lnTo>
                  <a:cubicBezTo>
                    <a:pt x="225457" y="205645"/>
                    <a:pt x="224123" y="206407"/>
                    <a:pt x="224123" y="207740"/>
                  </a:cubicBezTo>
                  <a:cubicBezTo>
                    <a:pt x="222790" y="209074"/>
                    <a:pt x="220694" y="209074"/>
                    <a:pt x="220027" y="211169"/>
                  </a:cubicBezTo>
                  <a:cubicBezTo>
                    <a:pt x="220027" y="212503"/>
                    <a:pt x="218694" y="212503"/>
                    <a:pt x="216598" y="212503"/>
                  </a:cubicBezTo>
                  <a:cubicBezTo>
                    <a:pt x="216598" y="212503"/>
                    <a:pt x="215265" y="213170"/>
                    <a:pt x="215265" y="213836"/>
                  </a:cubicBezTo>
                  <a:cubicBezTo>
                    <a:pt x="214598" y="213836"/>
                    <a:pt x="213931" y="214503"/>
                    <a:pt x="213931" y="214503"/>
                  </a:cubicBezTo>
                  <a:cubicBezTo>
                    <a:pt x="213931" y="214503"/>
                    <a:pt x="214598" y="215170"/>
                    <a:pt x="215265" y="215170"/>
                  </a:cubicBezTo>
                  <a:cubicBezTo>
                    <a:pt x="215265" y="215837"/>
                    <a:pt x="215265" y="215837"/>
                    <a:pt x="215932" y="215837"/>
                  </a:cubicBezTo>
                  <a:lnTo>
                    <a:pt x="217265" y="217170"/>
                  </a:lnTo>
                  <a:cubicBezTo>
                    <a:pt x="216598" y="218504"/>
                    <a:pt x="215932" y="220599"/>
                    <a:pt x="214503" y="220599"/>
                  </a:cubicBezTo>
                  <a:cubicBezTo>
                    <a:pt x="213836" y="221266"/>
                    <a:pt x="212407" y="221933"/>
                    <a:pt x="211741" y="221933"/>
                  </a:cubicBezTo>
                  <a:cubicBezTo>
                    <a:pt x="209645" y="222599"/>
                    <a:pt x="208978" y="223266"/>
                    <a:pt x="206978" y="224695"/>
                  </a:cubicBezTo>
                  <a:cubicBezTo>
                    <a:pt x="204978" y="226124"/>
                    <a:pt x="204883" y="228124"/>
                    <a:pt x="204883" y="230219"/>
                  </a:cubicBezTo>
                  <a:lnTo>
                    <a:pt x="203549" y="234982"/>
                  </a:lnTo>
                  <a:cubicBezTo>
                    <a:pt x="202882" y="234982"/>
                    <a:pt x="203549" y="235649"/>
                    <a:pt x="204216" y="236315"/>
                  </a:cubicBezTo>
                  <a:cubicBezTo>
                    <a:pt x="204216" y="236982"/>
                    <a:pt x="204883" y="236982"/>
                    <a:pt x="204883" y="236982"/>
                  </a:cubicBezTo>
                  <a:lnTo>
                    <a:pt x="204216" y="237649"/>
                  </a:lnTo>
                  <a:cubicBezTo>
                    <a:pt x="203549" y="238316"/>
                    <a:pt x="203549" y="238316"/>
                    <a:pt x="203549" y="238982"/>
                  </a:cubicBezTo>
                  <a:cubicBezTo>
                    <a:pt x="203549" y="239649"/>
                    <a:pt x="203549" y="240316"/>
                    <a:pt x="204216" y="240316"/>
                  </a:cubicBezTo>
                  <a:cubicBezTo>
                    <a:pt x="204216" y="240983"/>
                    <a:pt x="204216" y="240983"/>
                    <a:pt x="204883" y="240983"/>
                  </a:cubicBezTo>
                  <a:cubicBezTo>
                    <a:pt x="204883" y="240983"/>
                    <a:pt x="205550" y="240983"/>
                    <a:pt x="205550" y="240316"/>
                  </a:cubicBezTo>
                  <a:cubicBezTo>
                    <a:pt x="206883" y="239649"/>
                    <a:pt x="208312" y="238220"/>
                    <a:pt x="208312" y="236887"/>
                  </a:cubicBezTo>
                  <a:lnTo>
                    <a:pt x="208312" y="236220"/>
                  </a:lnTo>
                  <a:cubicBezTo>
                    <a:pt x="208312" y="235553"/>
                    <a:pt x="208978" y="234125"/>
                    <a:pt x="210407" y="234125"/>
                  </a:cubicBezTo>
                  <a:cubicBezTo>
                    <a:pt x="211741" y="234125"/>
                    <a:pt x="212503" y="232791"/>
                    <a:pt x="214503" y="231362"/>
                  </a:cubicBezTo>
                  <a:cubicBezTo>
                    <a:pt x="214503" y="230696"/>
                    <a:pt x="215170" y="229267"/>
                    <a:pt x="215836" y="228600"/>
                  </a:cubicBezTo>
                  <a:cubicBezTo>
                    <a:pt x="216503" y="228600"/>
                    <a:pt x="216503" y="228600"/>
                    <a:pt x="217170" y="229267"/>
                  </a:cubicBezTo>
                  <a:cubicBezTo>
                    <a:pt x="216503" y="230600"/>
                    <a:pt x="215836" y="232029"/>
                    <a:pt x="214408" y="233363"/>
                  </a:cubicBezTo>
                  <a:lnTo>
                    <a:pt x="213741" y="234029"/>
                  </a:lnTo>
                  <a:lnTo>
                    <a:pt x="213741" y="234696"/>
                  </a:lnTo>
                  <a:cubicBezTo>
                    <a:pt x="213741" y="236792"/>
                    <a:pt x="211646" y="238125"/>
                    <a:pt x="209645" y="240221"/>
                  </a:cubicBezTo>
                  <a:cubicBezTo>
                    <a:pt x="208978" y="242316"/>
                    <a:pt x="206883" y="242983"/>
                    <a:pt x="205550" y="244983"/>
                  </a:cubicBezTo>
                  <a:cubicBezTo>
                    <a:pt x="204216" y="247079"/>
                    <a:pt x="201454" y="248412"/>
                    <a:pt x="199358" y="250508"/>
                  </a:cubicBezTo>
                  <a:cubicBezTo>
                    <a:pt x="199358" y="250508"/>
                    <a:pt x="198692" y="251174"/>
                    <a:pt x="197263" y="251841"/>
                  </a:cubicBezTo>
                  <a:lnTo>
                    <a:pt x="196596" y="251841"/>
                  </a:lnTo>
                  <a:cubicBezTo>
                    <a:pt x="195929" y="249746"/>
                    <a:pt x="195929" y="249079"/>
                    <a:pt x="193834" y="249079"/>
                  </a:cubicBezTo>
                  <a:cubicBezTo>
                    <a:pt x="193834" y="249079"/>
                    <a:pt x="193167" y="249079"/>
                    <a:pt x="193167" y="248412"/>
                  </a:cubicBezTo>
                  <a:lnTo>
                    <a:pt x="193167" y="247745"/>
                  </a:lnTo>
                  <a:cubicBezTo>
                    <a:pt x="193167" y="247079"/>
                    <a:pt x="193167" y="247079"/>
                    <a:pt x="193834" y="247079"/>
                  </a:cubicBezTo>
                  <a:cubicBezTo>
                    <a:pt x="194500" y="247079"/>
                    <a:pt x="195167" y="246412"/>
                    <a:pt x="195167" y="245745"/>
                  </a:cubicBezTo>
                  <a:lnTo>
                    <a:pt x="195834" y="245078"/>
                  </a:lnTo>
                  <a:cubicBezTo>
                    <a:pt x="195834" y="245078"/>
                    <a:pt x="195167" y="245078"/>
                    <a:pt x="195167" y="244412"/>
                  </a:cubicBezTo>
                  <a:lnTo>
                    <a:pt x="193834" y="243078"/>
                  </a:lnTo>
                  <a:cubicBezTo>
                    <a:pt x="193834" y="243078"/>
                    <a:pt x="194500" y="243078"/>
                    <a:pt x="195167" y="242411"/>
                  </a:cubicBezTo>
                  <a:lnTo>
                    <a:pt x="195167" y="241745"/>
                  </a:lnTo>
                  <a:cubicBezTo>
                    <a:pt x="195167" y="241078"/>
                    <a:pt x="195167" y="241078"/>
                    <a:pt x="195834" y="241078"/>
                  </a:cubicBezTo>
                  <a:lnTo>
                    <a:pt x="195834" y="240983"/>
                  </a:lnTo>
                  <a:cubicBezTo>
                    <a:pt x="195167" y="240316"/>
                    <a:pt x="195167" y="240316"/>
                    <a:pt x="194500" y="240316"/>
                  </a:cubicBezTo>
                  <a:lnTo>
                    <a:pt x="193834" y="240316"/>
                  </a:lnTo>
                  <a:cubicBezTo>
                    <a:pt x="191071" y="241649"/>
                    <a:pt x="189738" y="243078"/>
                    <a:pt x="188309" y="245840"/>
                  </a:cubicBezTo>
                  <a:lnTo>
                    <a:pt x="187642" y="246507"/>
                  </a:lnTo>
                  <a:cubicBezTo>
                    <a:pt x="187642" y="246507"/>
                    <a:pt x="187642" y="247174"/>
                    <a:pt x="188309" y="247174"/>
                  </a:cubicBezTo>
                  <a:lnTo>
                    <a:pt x="189643" y="247174"/>
                  </a:lnTo>
                  <a:lnTo>
                    <a:pt x="190309" y="247841"/>
                  </a:lnTo>
                  <a:cubicBezTo>
                    <a:pt x="190309" y="247841"/>
                    <a:pt x="189643" y="247841"/>
                    <a:pt x="188976" y="248507"/>
                  </a:cubicBezTo>
                  <a:cubicBezTo>
                    <a:pt x="186880" y="249841"/>
                    <a:pt x="187642" y="251936"/>
                    <a:pt x="186214" y="252603"/>
                  </a:cubicBezTo>
                  <a:lnTo>
                    <a:pt x="186214" y="253937"/>
                  </a:lnTo>
                  <a:cubicBezTo>
                    <a:pt x="186880" y="254603"/>
                    <a:pt x="186880" y="256032"/>
                    <a:pt x="186880" y="256699"/>
                  </a:cubicBezTo>
                  <a:lnTo>
                    <a:pt x="186880" y="257366"/>
                  </a:lnTo>
                  <a:cubicBezTo>
                    <a:pt x="186214" y="257366"/>
                    <a:pt x="185547" y="258032"/>
                    <a:pt x="185547" y="258699"/>
                  </a:cubicBezTo>
                  <a:lnTo>
                    <a:pt x="184880" y="259366"/>
                  </a:lnTo>
                  <a:lnTo>
                    <a:pt x="185547" y="259366"/>
                  </a:lnTo>
                  <a:cubicBezTo>
                    <a:pt x="185547" y="260033"/>
                    <a:pt x="185547" y="260033"/>
                    <a:pt x="186214" y="260699"/>
                  </a:cubicBezTo>
                  <a:cubicBezTo>
                    <a:pt x="186880" y="260699"/>
                    <a:pt x="186880" y="261366"/>
                    <a:pt x="186880" y="262033"/>
                  </a:cubicBezTo>
                  <a:cubicBezTo>
                    <a:pt x="186880" y="263366"/>
                    <a:pt x="185547" y="264128"/>
                    <a:pt x="184785" y="264128"/>
                  </a:cubicBezTo>
                  <a:cubicBezTo>
                    <a:pt x="183452" y="264128"/>
                    <a:pt x="182690" y="264128"/>
                    <a:pt x="181356" y="264795"/>
                  </a:cubicBezTo>
                  <a:cubicBezTo>
                    <a:pt x="180689" y="265462"/>
                    <a:pt x="180023" y="265462"/>
                    <a:pt x="180023" y="266129"/>
                  </a:cubicBezTo>
                  <a:cubicBezTo>
                    <a:pt x="180023" y="266795"/>
                    <a:pt x="180689" y="266795"/>
                    <a:pt x="180689" y="267462"/>
                  </a:cubicBezTo>
                  <a:cubicBezTo>
                    <a:pt x="181356" y="268129"/>
                    <a:pt x="181356" y="268129"/>
                    <a:pt x="181356" y="268796"/>
                  </a:cubicBezTo>
                  <a:lnTo>
                    <a:pt x="181356" y="269462"/>
                  </a:lnTo>
                  <a:lnTo>
                    <a:pt x="180023" y="269462"/>
                  </a:lnTo>
                  <a:cubicBezTo>
                    <a:pt x="179356" y="268796"/>
                    <a:pt x="177927" y="268129"/>
                    <a:pt x="176594" y="268129"/>
                  </a:cubicBezTo>
                  <a:lnTo>
                    <a:pt x="175260" y="268129"/>
                  </a:lnTo>
                  <a:cubicBezTo>
                    <a:pt x="174593" y="267462"/>
                    <a:pt x="173927" y="267462"/>
                    <a:pt x="173927" y="266795"/>
                  </a:cubicBezTo>
                  <a:lnTo>
                    <a:pt x="176022" y="264700"/>
                  </a:lnTo>
                  <a:cubicBezTo>
                    <a:pt x="176022" y="264033"/>
                    <a:pt x="176022" y="264033"/>
                    <a:pt x="175355" y="264033"/>
                  </a:cubicBezTo>
                  <a:lnTo>
                    <a:pt x="176022" y="263366"/>
                  </a:lnTo>
                  <a:cubicBezTo>
                    <a:pt x="175355" y="263366"/>
                    <a:pt x="173927" y="264033"/>
                    <a:pt x="173260" y="264033"/>
                  </a:cubicBezTo>
                  <a:lnTo>
                    <a:pt x="166402" y="264033"/>
                  </a:lnTo>
                  <a:cubicBezTo>
                    <a:pt x="165735" y="264033"/>
                    <a:pt x="165735" y="265367"/>
                    <a:pt x="165735" y="266129"/>
                  </a:cubicBezTo>
                  <a:cubicBezTo>
                    <a:pt x="166402" y="267462"/>
                    <a:pt x="168497" y="269558"/>
                    <a:pt x="170498" y="270224"/>
                  </a:cubicBezTo>
                  <a:cubicBezTo>
                    <a:pt x="171164" y="270224"/>
                    <a:pt x="171164" y="270224"/>
                    <a:pt x="171164" y="270891"/>
                  </a:cubicBezTo>
                  <a:lnTo>
                    <a:pt x="171164" y="271558"/>
                  </a:lnTo>
                  <a:cubicBezTo>
                    <a:pt x="171164" y="271558"/>
                    <a:pt x="171831" y="272225"/>
                    <a:pt x="171831" y="272891"/>
                  </a:cubicBezTo>
                  <a:lnTo>
                    <a:pt x="171831" y="274987"/>
                  </a:lnTo>
                  <a:lnTo>
                    <a:pt x="165640" y="282512"/>
                  </a:lnTo>
                  <a:cubicBezTo>
                    <a:pt x="164306" y="282512"/>
                    <a:pt x="163544" y="283178"/>
                    <a:pt x="162877" y="284607"/>
                  </a:cubicBezTo>
                  <a:cubicBezTo>
                    <a:pt x="162211" y="286036"/>
                    <a:pt x="160782" y="288036"/>
                    <a:pt x="158782" y="289370"/>
                  </a:cubicBezTo>
                  <a:lnTo>
                    <a:pt x="152590" y="294132"/>
                  </a:lnTo>
                  <a:cubicBezTo>
                    <a:pt x="151924" y="294799"/>
                    <a:pt x="149161" y="295466"/>
                    <a:pt x="147828" y="297561"/>
                  </a:cubicBezTo>
                  <a:cubicBezTo>
                    <a:pt x="144399" y="297561"/>
                    <a:pt x="143065" y="300323"/>
                    <a:pt x="140970" y="302323"/>
                  </a:cubicBezTo>
                  <a:lnTo>
                    <a:pt x="136874" y="305086"/>
                  </a:lnTo>
                  <a:cubicBezTo>
                    <a:pt x="134779" y="305753"/>
                    <a:pt x="132778" y="306419"/>
                    <a:pt x="131350" y="307848"/>
                  </a:cubicBezTo>
                  <a:cubicBezTo>
                    <a:pt x="127254" y="309944"/>
                    <a:pt x="121729" y="313373"/>
                    <a:pt x="116967" y="314706"/>
                  </a:cubicBezTo>
                  <a:cubicBezTo>
                    <a:pt x="115633" y="315373"/>
                    <a:pt x="114871" y="316802"/>
                    <a:pt x="113538" y="318135"/>
                  </a:cubicBezTo>
                  <a:lnTo>
                    <a:pt x="108775" y="318135"/>
                  </a:lnTo>
                  <a:cubicBezTo>
                    <a:pt x="108775" y="318135"/>
                    <a:pt x="107442" y="318802"/>
                    <a:pt x="106680" y="318802"/>
                  </a:cubicBezTo>
                  <a:lnTo>
                    <a:pt x="101917" y="320897"/>
                  </a:lnTo>
                  <a:cubicBezTo>
                    <a:pt x="100584" y="320897"/>
                    <a:pt x="98488" y="320897"/>
                    <a:pt x="97155" y="321564"/>
                  </a:cubicBezTo>
                  <a:cubicBezTo>
                    <a:pt x="95821" y="321564"/>
                    <a:pt x="95059" y="322898"/>
                    <a:pt x="93726" y="322898"/>
                  </a:cubicBezTo>
                  <a:cubicBezTo>
                    <a:pt x="93059" y="323564"/>
                    <a:pt x="92392" y="323564"/>
                    <a:pt x="92392" y="323564"/>
                  </a:cubicBezTo>
                  <a:cubicBezTo>
                    <a:pt x="91726" y="323564"/>
                    <a:pt x="91726" y="323564"/>
                    <a:pt x="91726" y="322898"/>
                  </a:cubicBezTo>
                  <a:cubicBezTo>
                    <a:pt x="90392" y="322898"/>
                    <a:pt x="89630" y="322231"/>
                    <a:pt x="88297" y="322231"/>
                  </a:cubicBezTo>
                  <a:cubicBezTo>
                    <a:pt x="86963" y="322231"/>
                    <a:pt x="85534" y="322898"/>
                    <a:pt x="84868" y="322898"/>
                  </a:cubicBezTo>
                  <a:cubicBezTo>
                    <a:pt x="83534" y="323564"/>
                    <a:pt x="82772" y="323564"/>
                    <a:pt x="81439" y="323564"/>
                  </a:cubicBezTo>
                  <a:lnTo>
                    <a:pt x="73247" y="323564"/>
                  </a:lnTo>
                  <a:cubicBezTo>
                    <a:pt x="71914" y="322898"/>
                    <a:pt x="70485" y="322898"/>
                    <a:pt x="69818" y="322898"/>
                  </a:cubicBezTo>
                  <a:lnTo>
                    <a:pt x="58865" y="322898"/>
                  </a:lnTo>
                  <a:cubicBezTo>
                    <a:pt x="58198" y="322898"/>
                    <a:pt x="57531" y="322231"/>
                    <a:pt x="56102" y="322231"/>
                  </a:cubicBezTo>
                  <a:cubicBezTo>
                    <a:pt x="55435" y="322231"/>
                    <a:pt x="54007" y="321564"/>
                    <a:pt x="54007" y="321564"/>
                  </a:cubicBezTo>
                  <a:cubicBezTo>
                    <a:pt x="50578" y="321564"/>
                    <a:pt x="47149" y="320897"/>
                    <a:pt x="43720" y="319469"/>
                  </a:cubicBezTo>
                  <a:cubicBezTo>
                    <a:pt x="43720" y="319469"/>
                    <a:pt x="43053" y="319469"/>
                    <a:pt x="42386" y="318802"/>
                  </a:cubicBezTo>
                  <a:cubicBezTo>
                    <a:pt x="41053" y="316706"/>
                    <a:pt x="41053" y="316706"/>
                    <a:pt x="38290" y="316706"/>
                  </a:cubicBezTo>
                  <a:cubicBezTo>
                    <a:pt x="36957" y="316706"/>
                    <a:pt x="36195" y="316040"/>
                    <a:pt x="35528" y="314611"/>
                  </a:cubicBezTo>
                  <a:cubicBezTo>
                    <a:pt x="34195" y="311848"/>
                    <a:pt x="34195" y="311848"/>
                    <a:pt x="31432" y="311848"/>
                  </a:cubicBezTo>
                  <a:lnTo>
                    <a:pt x="26670" y="311848"/>
                  </a:lnTo>
                  <a:cubicBezTo>
                    <a:pt x="26670" y="311848"/>
                    <a:pt x="26003" y="311182"/>
                    <a:pt x="26003" y="310515"/>
                  </a:cubicBezTo>
                  <a:cubicBezTo>
                    <a:pt x="26003" y="309848"/>
                    <a:pt x="26670" y="309848"/>
                    <a:pt x="27337" y="309182"/>
                  </a:cubicBezTo>
                  <a:lnTo>
                    <a:pt x="27337" y="308515"/>
                  </a:lnTo>
                  <a:lnTo>
                    <a:pt x="26670" y="307848"/>
                  </a:lnTo>
                  <a:cubicBezTo>
                    <a:pt x="26670" y="307181"/>
                    <a:pt x="26003" y="307181"/>
                    <a:pt x="25336" y="307181"/>
                  </a:cubicBezTo>
                  <a:cubicBezTo>
                    <a:pt x="24003" y="307181"/>
                    <a:pt x="22574" y="307181"/>
                    <a:pt x="21241" y="305848"/>
                  </a:cubicBezTo>
                  <a:lnTo>
                    <a:pt x="20574" y="305848"/>
                  </a:lnTo>
                  <a:cubicBezTo>
                    <a:pt x="20574" y="305848"/>
                    <a:pt x="19907" y="305848"/>
                    <a:pt x="19907" y="305181"/>
                  </a:cubicBezTo>
                  <a:cubicBezTo>
                    <a:pt x="19907" y="305181"/>
                    <a:pt x="20574" y="304514"/>
                    <a:pt x="20574" y="303848"/>
                  </a:cubicBezTo>
                  <a:lnTo>
                    <a:pt x="20574" y="302514"/>
                  </a:lnTo>
                  <a:lnTo>
                    <a:pt x="17812" y="302514"/>
                  </a:lnTo>
                  <a:cubicBezTo>
                    <a:pt x="17145" y="302514"/>
                    <a:pt x="17145" y="301181"/>
                    <a:pt x="17145" y="300419"/>
                  </a:cubicBezTo>
                  <a:lnTo>
                    <a:pt x="17812" y="300419"/>
                  </a:lnTo>
                  <a:cubicBezTo>
                    <a:pt x="17812" y="299085"/>
                    <a:pt x="19145" y="299085"/>
                    <a:pt x="19145" y="297656"/>
                  </a:cubicBezTo>
                  <a:cubicBezTo>
                    <a:pt x="19145" y="296228"/>
                    <a:pt x="19145" y="294894"/>
                    <a:pt x="17050" y="294227"/>
                  </a:cubicBezTo>
                  <a:cubicBezTo>
                    <a:pt x="5429" y="287369"/>
                    <a:pt x="12954" y="285274"/>
                    <a:pt x="5429" y="277749"/>
                  </a:cubicBezTo>
                  <a:cubicBezTo>
                    <a:pt x="4763" y="276416"/>
                    <a:pt x="4096" y="274987"/>
                    <a:pt x="4096" y="273653"/>
                  </a:cubicBezTo>
                  <a:cubicBezTo>
                    <a:pt x="3429" y="271558"/>
                    <a:pt x="3429" y="268891"/>
                    <a:pt x="2000" y="266795"/>
                  </a:cubicBezTo>
                  <a:lnTo>
                    <a:pt x="2000" y="259271"/>
                  </a:lnTo>
                  <a:cubicBezTo>
                    <a:pt x="1333" y="257937"/>
                    <a:pt x="1333" y="257175"/>
                    <a:pt x="1333" y="255842"/>
                  </a:cubicBezTo>
                  <a:cubicBezTo>
                    <a:pt x="1333" y="255175"/>
                    <a:pt x="1333" y="254508"/>
                    <a:pt x="2000" y="253746"/>
                  </a:cubicBezTo>
                  <a:lnTo>
                    <a:pt x="2000" y="249650"/>
                  </a:lnTo>
                  <a:cubicBezTo>
                    <a:pt x="2000" y="248984"/>
                    <a:pt x="2667" y="248317"/>
                    <a:pt x="2667" y="247555"/>
                  </a:cubicBezTo>
                  <a:cubicBezTo>
                    <a:pt x="2667" y="246888"/>
                    <a:pt x="2000" y="246221"/>
                    <a:pt x="2000" y="245459"/>
                  </a:cubicBezTo>
                  <a:cubicBezTo>
                    <a:pt x="1333" y="244126"/>
                    <a:pt x="1333" y="242697"/>
                    <a:pt x="1333" y="241364"/>
                  </a:cubicBezTo>
                  <a:lnTo>
                    <a:pt x="1333" y="240030"/>
                  </a:lnTo>
                  <a:cubicBezTo>
                    <a:pt x="2000" y="239363"/>
                    <a:pt x="2000" y="237935"/>
                    <a:pt x="2000" y="237268"/>
                  </a:cubicBezTo>
                  <a:cubicBezTo>
                    <a:pt x="2000" y="236601"/>
                    <a:pt x="2000" y="235934"/>
                    <a:pt x="667" y="235172"/>
                  </a:cubicBezTo>
                  <a:cubicBezTo>
                    <a:pt x="667" y="234506"/>
                    <a:pt x="0" y="233839"/>
                    <a:pt x="0" y="233077"/>
                  </a:cubicBezTo>
                  <a:cubicBezTo>
                    <a:pt x="0" y="232410"/>
                    <a:pt x="667" y="230981"/>
                    <a:pt x="1333" y="229648"/>
                  </a:cubicBezTo>
                  <a:cubicBezTo>
                    <a:pt x="667" y="228314"/>
                    <a:pt x="667" y="227552"/>
                    <a:pt x="667" y="226219"/>
                  </a:cubicBezTo>
                  <a:cubicBezTo>
                    <a:pt x="1333" y="223457"/>
                    <a:pt x="1333" y="220694"/>
                    <a:pt x="1333" y="217265"/>
                  </a:cubicBezTo>
                  <a:cubicBezTo>
                    <a:pt x="1333" y="216599"/>
                    <a:pt x="667" y="215932"/>
                    <a:pt x="667" y="215170"/>
                  </a:cubicBezTo>
                  <a:cubicBezTo>
                    <a:pt x="667" y="213836"/>
                    <a:pt x="1333" y="213074"/>
                    <a:pt x="2000" y="211741"/>
                  </a:cubicBezTo>
                  <a:cubicBezTo>
                    <a:pt x="2000" y="211074"/>
                    <a:pt x="2000" y="210407"/>
                    <a:pt x="2667" y="210407"/>
                  </a:cubicBezTo>
                  <a:cubicBezTo>
                    <a:pt x="4000" y="210407"/>
                    <a:pt x="4000" y="211074"/>
                    <a:pt x="4000" y="212503"/>
                  </a:cubicBezTo>
                  <a:lnTo>
                    <a:pt x="4000" y="213836"/>
                  </a:lnTo>
                  <a:cubicBezTo>
                    <a:pt x="4667" y="213836"/>
                    <a:pt x="4667" y="213836"/>
                    <a:pt x="4667" y="213170"/>
                  </a:cubicBezTo>
                  <a:lnTo>
                    <a:pt x="4667" y="206978"/>
                  </a:lnTo>
                  <a:cubicBezTo>
                    <a:pt x="4667" y="206312"/>
                    <a:pt x="4667" y="206312"/>
                    <a:pt x="5334" y="205645"/>
                  </a:cubicBezTo>
                  <a:lnTo>
                    <a:pt x="6667" y="204311"/>
                  </a:lnTo>
                  <a:lnTo>
                    <a:pt x="6001" y="204311"/>
                  </a:lnTo>
                  <a:cubicBezTo>
                    <a:pt x="4667" y="202978"/>
                    <a:pt x="4667" y="200882"/>
                    <a:pt x="4667" y="198787"/>
                  </a:cubicBezTo>
                  <a:lnTo>
                    <a:pt x="4667" y="197453"/>
                  </a:lnTo>
                  <a:cubicBezTo>
                    <a:pt x="4667" y="196787"/>
                    <a:pt x="4667" y="196787"/>
                    <a:pt x="4000" y="196120"/>
                  </a:cubicBezTo>
                  <a:cubicBezTo>
                    <a:pt x="4667" y="194786"/>
                    <a:pt x="4667" y="193358"/>
                    <a:pt x="4667" y="192024"/>
                  </a:cubicBezTo>
                  <a:lnTo>
                    <a:pt x="4667" y="189929"/>
                  </a:lnTo>
                  <a:cubicBezTo>
                    <a:pt x="4667" y="188595"/>
                    <a:pt x="4667" y="187833"/>
                    <a:pt x="5334" y="187166"/>
                  </a:cubicBezTo>
                  <a:cubicBezTo>
                    <a:pt x="5334" y="186500"/>
                    <a:pt x="6001" y="186500"/>
                    <a:pt x="6667" y="186500"/>
                  </a:cubicBezTo>
                  <a:cubicBezTo>
                    <a:pt x="7334" y="186500"/>
                    <a:pt x="8001" y="185833"/>
                    <a:pt x="8001" y="185166"/>
                  </a:cubicBezTo>
                  <a:cubicBezTo>
                    <a:pt x="8668" y="185166"/>
                    <a:pt x="8668" y="185166"/>
                    <a:pt x="8668" y="184499"/>
                  </a:cubicBezTo>
                  <a:lnTo>
                    <a:pt x="8668" y="183833"/>
                  </a:lnTo>
                  <a:lnTo>
                    <a:pt x="8096" y="183356"/>
                  </a:lnTo>
                  <a:cubicBezTo>
                    <a:pt x="7429" y="183356"/>
                    <a:pt x="7429" y="184023"/>
                    <a:pt x="6763" y="184023"/>
                  </a:cubicBezTo>
                  <a:lnTo>
                    <a:pt x="6096" y="184023"/>
                  </a:lnTo>
                  <a:cubicBezTo>
                    <a:pt x="6096" y="182690"/>
                    <a:pt x="6096" y="182690"/>
                    <a:pt x="6763" y="181928"/>
                  </a:cubicBezTo>
                  <a:cubicBezTo>
                    <a:pt x="7429" y="181261"/>
                    <a:pt x="7429" y="180594"/>
                    <a:pt x="7429" y="179832"/>
                  </a:cubicBezTo>
                  <a:cubicBezTo>
                    <a:pt x="7429" y="179165"/>
                    <a:pt x="6763" y="177737"/>
                    <a:pt x="6096" y="176403"/>
                  </a:cubicBezTo>
                  <a:cubicBezTo>
                    <a:pt x="6096" y="175736"/>
                    <a:pt x="6763" y="175736"/>
                    <a:pt x="6763" y="175070"/>
                  </a:cubicBezTo>
                  <a:cubicBezTo>
                    <a:pt x="6763" y="174403"/>
                    <a:pt x="6096" y="173736"/>
                    <a:pt x="6096" y="172974"/>
                  </a:cubicBezTo>
                  <a:lnTo>
                    <a:pt x="6096" y="172403"/>
                  </a:lnTo>
                  <a:cubicBezTo>
                    <a:pt x="8192" y="169640"/>
                    <a:pt x="6763" y="167640"/>
                    <a:pt x="8858" y="165545"/>
                  </a:cubicBezTo>
                  <a:cubicBezTo>
                    <a:pt x="8858" y="164878"/>
                    <a:pt x="8192" y="163449"/>
                    <a:pt x="8192" y="162782"/>
                  </a:cubicBezTo>
                  <a:cubicBezTo>
                    <a:pt x="8858" y="160687"/>
                    <a:pt x="9525" y="159353"/>
                    <a:pt x="9525" y="157258"/>
                  </a:cubicBezTo>
                  <a:lnTo>
                    <a:pt x="9525" y="155924"/>
                  </a:lnTo>
                  <a:cubicBezTo>
                    <a:pt x="9525" y="155258"/>
                    <a:pt x="10192" y="154591"/>
                    <a:pt x="11621" y="153829"/>
                  </a:cubicBezTo>
                  <a:cubicBezTo>
                    <a:pt x="11621" y="153829"/>
                    <a:pt x="12287" y="153162"/>
                    <a:pt x="12287" y="152495"/>
                  </a:cubicBezTo>
                  <a:cubicBezTo>
                    <a:pt x="11621" y="151829"/>
                    <a:pt x="11621" y="151162"/>
                    <a:pt x="11621" y="150400"/>
                  </a:cubicBezTo>
                  <a:cubicBezTo>
                    <a:pt x="11621" y="149066"/>
                    <a:pt x="12287" y="148304"/>
                    <a:pt x="12287" y="146971"/>
                  </a:cubicBezTo>
                  <a:cubicBezTo>
                    <a:pt x="12287" y="146304"/>
                    <a:pt x="12954" y="145637"/>
                    <a:pt x="12954" y="145637"/>
                  </a:cubicBezTo>
                  <a:cubicBezTo>
                    <a:pt x="14288" y="144971"/>
                    <a:pt x="14288" y="144304"/>
                    <a:pt x="14288" y="142875"/>
                  </a:cubicBezTo>
                  <a:lnTo>
                    <a:pt x="14288" y="138779"/>
                  </a:lnTo>
                  <a:cubicBezTo>
                    <a:pt x="14288" y="136684"/>
                    <a:pt x="14954" y="134017"/>
                    <a:pt x="14954" y="131921"/>
                  </a:cubicBezTo>
                  <a:lnTo>
                    <a:pt x="19050" y="125063"/>
                  </a:lnTo>
                  <a:cubicBezTo>
                    <a:pt x="19050" y="123730"/>
                    <a:pt x="19717" y="122968"/>
                    <a:pt x="20383" y="121634"/>
                  </a:cubicBezTo>
                  <a:cubicBezTo>
                    <a:pt x="20383" y="120968"/>
                    <a:pt x="19717" y="119539"/>
                    <a:pt x="19717" y="118872"/>
                  </a:cubicBezTo>
                  <a:cubicBezTo>
                    <a:pt x="19717" y="117539"/>
                    <a:pt x="20383" y="116110"/>
                    <a:pt x="21050" y="115443"/>
                  </a:cubicBezTo>
                  <a:cubicBezTo>
                    <a:pt x="22384" y="111347"/>
                    <a:pt x="24479" y="107252"/>
                    <a:pt x="26575" y="103061"/>
                  </a:cubicBezTo>
                  <a:cubicBezTo>
                    <a:pt x="27242" y="100965"/>
                    <a:pt x="27908" y="98965"/>
                    <a:pt x="27908" y="97536"/>
                  </a:cubicBezTo>
                  <a:lnTo>
                    <a:pt x="30004" y="92012"/>
                  </a:lnTo>
                  <a:lnTo>
                    <a:pt x="32099" y="90678"/>
                  </a:lnTo>
                  <a:cubicBezTo>
                    <a:pt x="33433" y="87916"/>
                    <a:pt x="34195" y="85916"/>
                    <a:pt x="34861" y="83153"/>
                  </a:cubicBezTo>
                  <a:cubicBezTo>
                    <a:pt x="36195" y="79724"/>
                    <a:pt x="37624" y="76295"/>
                    <a:pt x="39624" y="73533"/>
                  </a:cubicBezTo>
                  <a:cubicBezTo>
                    <a:pt x="39624" y="71438"/>
                    <a:pt x="40957" y="70104"/>
                    <a:pt x="40957" y="68009"/>
                  </a:cubicBezTo>
                  <a:lnTo>
                    <a:pt x="42291" y="65913"/>
                  </a:lnTo>
                  <a:lnTo>
                    <a:pt x="47053" y="59722"/>
                  </a:lnTo>
                  <a:cubicBezTo>
                    <a:pt x="47053" y="56293"/>
                    <a:pt x="49149" y="52864"/>
                    <a:pt x="52578" y="50102"/>
                  </a:cubicBezTo>
                  <a:lnTo>
                    <a:pt x="52578" y="49435"/>
                  </a:lnTo>
                  <a:cubicBezTo>
                    <a:pt x="52578" y="46673"/>
                    <a:pt x="53911" y="46006"/>
                    <a:pt x="56007" y="43910"/>
                  </a:cubicBezTo>
                  <a:lnTo>
                    <a:pt x="56007" y="43244"/>
                  </a:lnTo>
                  <a:cubicBezTo>
                    <a:pt x="57340" y="38481"/>
                    <a:pt x="61531" y="35052"/>
                    <a:pt x="63532" y="30861"/>
                  </a:cubicBezTo>
                  <a:lnTo>
                    <a:pt x="73152" y="20574"/>
                  </a:lnTo>
                  <a:cubicBezTo>
                    <a:pt x="73819" y="19907"/>
                    <a:pt x="74486" y="19241"/>
                    <a:pt x="75248" y="17145"/>
                  </a:cubicBezTo>
                  <a:cubicBezTo>
                    <a:pt x="75914" y="15811"/>
                    <a:pt x="77343" y="14383"/>
                    <a:pt x="79343" y="14383"/>
                  </a:cubicBezTo>
                  <a:cubicBezTo>
                    <a:pt x="82105" y="12287"/>
                    <a:pt x="84868" y="11621"/>
                    <a:pt x="86201" y="9620"/>
                  </a:cubicBezTo>
                  <a:cubicBezTo>
                    <a:pt x="86201" y="9620"/>
                    <a:pt x="86868" y="9620"/>
                    <a:pt x="87535" y="8954"/>
                  </a:cubicBezTo>
                  <a:cubicBezTo>
                    <a:pt x="89630" y="6858"/>
                    <a:pt x="93059" y="5525"/>
                    <a:pt x="96488" y="3429"/>
                  </a:cubicBezTo>
                  <a:lnTo>
                    <a:pt x="102013" y="1334"/>
                  </a:lnTo>
                  <a:cubicBezTo>
                    <a:pt x="104775" y="667"/>
                    <a:pt x="106108" y="0"/>
                    <a:pt x="108204" y="0"/>
                  </a:cubicBezTo>
                  <a:lnTo>
                    <a:pt x="120586" y="0"/>
                  </a:lnTo>
                  <a:lnTo>
                    <a:pt x="125349" y="3429"/>
                  </a:lnTo>
                  <a:cubicBezTo>
                    <a:pt x="126016" y="4096"/>
                    <a:pt x="126016" y="4763"/>
                    <a:pt x="126682" y="4763"/>
                  </a:cubicBezTo>
                  <a:lnTo>
                    <a:pt x="132874" y="8858"/>
                  </a:lnTo>
                  <a:cubicBezTo>
                    <a:pt x="133540" y="9525"/>
                    <a:pt x="134207" y="10954"/>
                    <a:pt x="135636" y="10954"/>
                  </a:cubicBezTo>
                  <a:cubicBezTo>
                    <a:pt x="136303" y="10954"/>
                    <a:pt x="136969" y="11621"/>
                    <a:pt x="137731" y="12287"/>
                  </a:cubicBezTo>
                  <a:cubicBezTo>
                    <a:pt x="138398" y="12287"/>
                    <a:pt x="138398" y="13621"/>
                    <a:pt x="139065" y="14383"/>
                  </a:cubicBezTo>
                  <a:cubicBezTo>
                    <a:pt x="139732" y="15050"/>
                    <a:pt x="141827" y="15716"/>
                    <a:pt x="143161" y="15716"/>
                  </a:cubicBezTo>
                  <a:lnTo>
                    <a:pt x="144494" y="15716"/>
                  </a:lnTo>
                  <a:cubicBezTo>
                    <a:pt x="146590" y="15716"/>
                    <a:pt x="147256" y="17050"/>
                    <a:pt x="148590" y="18479"/>
                  </a:cubicBezTo>
                  <a:cubicBezTo>
                    <a:pt x="149257" y="19145"/>
                    <a:pt x="149257" y="19812"/>
                    <a:pt x="149257" y="20574"/>
                  </a:cubicBezTo>
                  <a:cubicBezTo>
                    <a:pt x="149257" y="21241"/>
                    <a:pt x="149257" y="21908"/>
                    <a:pt x="148590" y="21908"/>
                  </a:cubicBezTo>
                  <a:lnTo>
                    <a:pt x="143827" y="23241"/>
                  </a:lnTo>
                  <a:cubicBezTo>
                    <a:pt x="143161" y="23241"/>
                    <a:pt x="143161" y="23908"/>
                    <a:pt x="143161" y="23908"/>
                  </a:cubicBezTo>
                  <a:cubicBezTo>
                    <a:pt x="142494" y="23908"/>
                    <a:pt x="142494" y="23241"/>
                    <a:pt x="142494" y="21812"/>
                  </a:cubicBezTo>
                  <a:lnTo>
                    <a:pt x="142494" y="20479"/>
                  </a:lnTo>
                  <a:lnTo>
                    <a:pt x="140398" y="20479"/>
                  </a:lnTo>
                  <a:cubicBezTo>
                    <a:pt x="139065" y="21146"/>
                    <a:pt x="138303" y="23241"/>
                    <a:pt x="137636" y="24575"/>
                  </a:cubicBezTo>
                  <a:cubicBezTo>
                    <a:pt x="137636" y="25241"/>
                    <a:pt x="137636" y="25241"/>
                    <a:pt x="138303" y="25908"/>
                  </a:cubicBezTo>
                  <a:cubicBezTo>
                    <a:pt x="138303" y="26575"/>
                    <a:pt x="138970" y="26575"/>
                    <a:pt x="138970" y="26575"/>
                  </a:cubicBezTo>
                  <a:cubicBezTo>
                    <a:pt x="140303" y="27242"/>
                    <a:pt x="140303" y="28670"/>
                    <a:pt x="140303" y="30004"/>
                  </a:cubicBezTo>
                  <a:cubicBezTo>
                    <a:pt x="140303" y="31337"/>
                    <a:pt x="140970" y="31337"/>
                    <a:pt x="141637" y="31337"/>
                  </a:cubicBezTo>
                  <a:cubicBezTo>
                    <a:pt x="142303" y="31337"/>
                    <a:pt x="142970" y="30671"/>
                    <a:pt x="142970" y="30671"/>
                  </a:cubicBezTo>
                  <a:cubicBezTo>
                    <a:pt x="143637" y="30671"/>
                    <a:pt x="143637" y="31337"/>
                    <a:pt x="144304" y="32766"/>
                  </a:cubicBezTo>
                  <a:cubicBezTo>
                    <a:pt x="144971" y="33433"/>
                    <a:pt x="145637" y="34862"/>
                    <a:pt x="145637" y="35528"/>
                  </a:cubicBezTo>
                  <a:cubicBezTo>
                    <a:pt x="145637" y="36195"/>
                    <a:pt x="144971" y="36195"/>
                    <a:pt x="144971" y="36862"/>
                  </a:cubicBezTo>
                  <a:cubicBezTo>
                    <a:pt x="144971" y="38195"/>
                    <a:pt x="145637" y="38195"/>
                    <a:pt x="146304" y="39624"/>
                  </a:cubicBezTo>
                  <a:lnTo>
                    <a:pt x="147638" y="39624"/>
                  </a:lnTo>
                  <a:lnTo>
                    <a:pt x="147638" y="36195"/>
                  </a:lnTo>
                  <a:cubicBezTo>
                    <a:pt x="147638" y="34100"/>
                    <a:pt x="146971" y="32099"/>
                    <a:pt x="146971" y="30004"/>
                  </a:cubicBezTo>
                  <a:cubicBezTo>
                    <a:pt x="147638" y="28670"/>
                    <a:pt x="149066" y="27242"/>
                    <a:pt x="150400" y="26575"/>
                  </a:cubicBezTo>
                  <a:cubicBezTo>
                    <a:pt x="151067" y="26575"/>
                    <a:pt x="152495" y="26575"/>
                    <a:pt x="153162" y="27242"/>
                  </a:cubicBezTo>
                  <a:cubicBezTo>
                    <a:pt x="153162" y="27908"/>
                    <a:pt x="152495" y="28575"/>
                    <a:pt x="152495" y="28575"/>
                  </a:cubicBezTo>
                  <a:cubicBezTo>
                    <a:pt x="152495" y="30671"/>
                    <a:pt x="153829" y="31337"/>
                    <a:pt x="155924" y="31337"/>
                  </a:cubicBezTo>
                  <a:cubicBezTo>
                    <a:pt x="156591" y="31337"/>
                    <a:pt x="156591" y="32671"/>
                    <a:pt x="156591" y="33433"/>
                  </a:cubicBezTo>
                  <a:lnTo>
                    <a:pt x="156591" y="34100"/>
                  </a:lnTo>
                  <a:cubicBezTo>
                    <a:pt x="155257" y="35433"/>
                    <a:pt x="154496" y="35433"/>
                    <a:pt x="154496" y="36195"/>
                  </a:cubicBezTo>
                  <a:cubicBezTo>
                    <a:pt x="154496" y="36862"/>
                    <a:pt x="155162" y="37529"/>
                    <a:pt x="155829" y="38291"/>
                  </a:cubicBezTo>
                  <a:cubicBezTo>
                    <a:pt x="155829" y="38957"/>
                    <a:pt x="156496" y="39624"/>
                    <a:pt x="157163" y="39624"/>
                  </a:cubicBezTo>
                  <a:cubicBezTo>
                    <a:pt x="157163" y="40291"/>
                    <a:pt x="157163" y="40958"/>
                    <a:pt x="156496" y="41720"/>
                  </a:cubicBezTo>
                  <a:cubicBezTo>
                    <a:pt x="156496" y="42386"/>
                    <a:pt x="156496" y="43053"/>
                    <a:pt x="155829" y="43053"/>
                  </a:cubicBezTo>
                  <a:cubicBezTo>
                    <a:pt x="154496" y="43720"/>
                    <a:pt x="153734" y="44387"/>
                    <a:pt x="153734" y="45815"/>
                  </a:cubicBezTo>
                  <a:cubicBezTo>
                    <a:pt x="153734" y="46482"/>
                    <a:pt x="154400" y="47149"/>
                    <a:pt x="154400" y="47911"/>
                  </a:cubicBezTo>
                  <a:cubicBezTo>
                    <a:pt x="154400" y="48578"/>
                    <a:pt x="154400" y="48578"/>
                    <a:pt x="155067" y="48578"/>
                  </a:cubicBezTo>
                  <a:lnTo>
                    <a:pt x="157163" y="48578"/>
                  </a:lnTo>
                  <a:lnTo>
                    <a:pt x="157163" y="49244"/>
                  </a:lnTo>
                  <a:cubicBezTo>
                    <a:pt x="157163" y="50578"/>
                    <a:pt x="155829" y="52673"/>
                    <a:pt x="155067" y="54007"/>
                  </a:cubicBezTo>
                  <a:cubicBezTo>
                    <a:pt x="154400" y="54674"/>
                    <a:pt x="154400" y="54674"/>
                    <a:pt x="154400" y="55340"/>
                  </a:cubicBezTo>
                  <a:cubicBezTo>
                    <a:pt x="154400" y="56007"/>
                    <a:pt x="154400" y="56674"/>
                    <a:pt x="155067" y="57436"/>
                  </a:cubicBezTo>
                  <a:cubicBezTo>
                    <a:pt x="156400" y="58769"/>
                    <a:pt x="156400" y="59531"/>
                    <a:pt x="156400" y="60865"/>
                  </a:cubicBezTo>
                  <a:lnTo>
                    <a:pt x="156400" y="63627"/>
                  </a:lnTo>
                  <a:cubicBezTo>
                    <a:pt x="156400" y="64294"/>
                    <a:pt x="155734" y="64960"/>
                    <a:pt x="155067" y="65723"/>
                  </a:cubicBezTo>
                  <a:cubicBezTo>
                    <a:pt x="152971" y="67818"/>
                    <a:pt x="152305" y="69818"/>
                    <a:pt x="152305" y="71914"/>
                  </a:cubicBezTo>
                  <a:cubicBezTo>
                    <a:pt x="152971" y="72581"/>
                    <a:pt x="152971" y="73247"/>
                    <a:pt x="152971" y="74009"/>
                  </a:cubicBezTo>
                  <a:cubicBezTo>
                    <a:pt x="150209" y="77438"/>
                    <a:pt x="150209" y="81534"/>
                    <a:pt x="147447" y="84963"/>
                  </a:cubicBezTo>
                  <a:cubicBezTo>
                    <a:pt x="148114" y="85630"/>
                    <a:pt x="148114" y="86297"/>
                    <a:pt x="148114" y="87059"/>
                  </a:cubicBezTo>
                  <a:cubicBezTo>
                    <a:pt x="148114" y="88392"/>
                    <a:pt x="146780" y="90488"/>
                    <a:pt x="146018" y="91821"/>
                  </a:cubicBezTo>
                  <a:cubicBezTo>
                    <a:pt x="144685" y="93155"/>
                    <a:pt x="143256" y="95917"/>
                    <a:pt x="143256" y="98679"/>
                  </a:cubicBezTo>
                  <a:lnTo>
                    <a:pt x="143256" y="100013"/>
                  </a:lnTo>
                  <a:cubicBezTo>
                    <a:pt x="142589" y="103442"/>
                    <a:pt x="139827" y="106871"/>
                    <a:pt x="137731" y="109633"/>
                  </a:cubicBezTo>
                  <a:cubicBezTo>
                    <a:pt x="136398" y="110300"/>
                    <a:pt x="136398" y="111728"/>
                    <a:pt x="134969" y="112395"/>
                  </a:cubicBezTo>
                  <a:cubicBezTo>
                    <a:pt x="133636" y="113729"/>
                    <a:pt x="131540" y="115824"/>
                    <a:pt x="131540" y="117920"/>
                  </a:cubicBezTo>
                  <a:lnTo>
                    <a:pt x="131540" y="118586"/>
                  </a:lnTo>
                  <a:cubicBezTo>
                    <a:pt x="131540" y="119253"/>
                    <a:pt x="130873" y="119253"/>
                    <a:pt x="130207" y="119920"/>
                  </a:cubicBezTo>
                  <a:cubicBezTo>
                    <a:pt x="130207" y="122015"/>
                    <a:pt x="128111" y="122682"/>
                    <a:pt x="128111" y="124016"/>
                  </a:cubicBezTo>
                  <a:lnTo>
                    <a:pt x="128111" y="124682"/>
                  </a:lnTo>
                  <a:cubicBezTo>
                    <a:pt x="128111" y="126016"/>
                    <a:pt x="127444" y="126016"/>
                    <a:pt x="126778" y="126778"/>
                  </a:cubicBezTo>
                  <a:cubicBezTo>
                    <a:pt x="125444" y="128111"/>
                    <a:pt x="124015" y="129540"/>
                    <a:pt x="122682" y="130207"/>
                  </a:cubicBezTo>
                  <a:cubicBezTo>
                    <a:pt x="119920" y="132969"/>
                    <a:pt x="117157" y="135731"/>
                    <a:pt x="115824" y="139160"/>
                  </a:cubicBezTo>
                  <a:cubicBezTo>
                    <a:pt x="112395" y="143923"/>
                    <a:pt x="108966" y="148114"/>
                    <a:pt x="105537" y="151543"/>
                  </a:cubicBezTo>
                  <a:cubicBezTo>
                    <a:pt x="104870" y="152876"/>
                    <a:pt x="102775" y="154305"/>
                    <a:pt x="100775" y="154972"/>
                  </a:cubicBezTo>
                  <a:cubicBezTo>
                    <a:pt x="99441" y="154972"/>
                    <a:pt x="98679" y="154972"/>
                    <a:pt x="98012" y="156305"/>
                  </a:cubicBezTo>
                  <a:lnTo>
                    <a:pt x="93250" y="160401"/>
                  </a:lnTo>
                  <a:cubicBezTo>
                    <a:pt x="89821" y="162497"/>
                    <a:pt x="87725" y="163163"/>
                    <a:pt x="85058" y="163163"/>
                  </a:cubicBezTo>
                  <a:cubicBezTo>
                    <a:pt x="84392" y="163163"/>
                    <a:pt x="83725" y="163163"/>
                    <a:pt x="82296" y="163830"/>
                  </a:cubicBezTo>
                  <a:cubicBezTo>
                    <a:pt x="79534" y="165926"/>
                    <a:pt x="74771" y="165926"/>
                    <a:pt x="70675" y="165926"/>
                  </a:cubicBezTo>
                  <a:cubicBezTo>
                    <a:pt x="67913" y="165926"/>
                    <a:pt x="66580" y="166592"/>
                    <a:pt x="63817" y="167259"/>
                  </a:cubicBezTo>
                  <a:cubicBezTo>
                    <a:pt x="62484" y="167259"/>
                    <a:pt x="61722" y="167926"/>
                    <a:pt x="60388" y="167926"/>
                  </a:cubicBezTo>
                  <a:cubicBezTo>
                    <a:pt x="59055" y="167926"/>
                    <a:pt x="56959" y="167259"/>
                    <a:pt x="55626" y="166592"/>
                  </a:cubicBezTo>
                  <a:cubicBezTo>
                    <a:pt x="54292" y="165926"/>
                    <a:pt x="53530" y="165926"/>
                    <a:pt x="52197" y="165926"/>
                  </a:cubicBezTo>
                  <a:cubicBezTo>
                    <a:pt x="51530" y="165926"/>
                    <a:pt x="50863" y="165926"/>
                    <a:pt x="50863" y="167259"/>
                  </a:cubicBezTo>
                  <a:cubicBezTo>
                    <a:pt x="48768" y="170688"/>
                    <a:pt x="48101" y="173450"/>
                    <a:pt x="47434" y="176213"/>
                  </a:cubicBezTo>
                  <a:cubicBezTo>
                    <a:pt x="47434" y="177546"/>
                    <a:pt x="47434" y="178975"/>
                    <a:pt x="48101" y="180308"/>
                  </a:cubicBezTo>
                  <a:cubicBezTo>
                    <a:pt x="48768" y="180975"/>
                    <a:pt x="48768" y="182404"/>
                    <a:pt x="48768" y="183737"/>
                  </a:cubicBezTo>
                  <a:cubicBezTo>
                    <a:pt x="48768" y="183737"/>
                    <a:pt x="48768" y="184404"/>
                    <a:pt x="48101" y="185071"/>
                  </a:cubicBezTo>
                  <a:cubicBezTo>
                    <a:pt x="46768" y="185738"/>
                    <a:pt x="46006" y="187166"/>
                    <a:pt x="46006" y="188500"/>
                  </a:cubicBezTo>
                  <a:cubicBezTo>
                    <a:pt x="46006" y="189167"/>
                    <a:pt x="46673" y="189833"/>
                    <a:pt x="46673" y="190595"/>
                  </a:cubicBezTo>
                  <a:cubicBezTo>
                    <a:pt x="46006" y="192691"/>
                    <a:pt x="44577" y="194024"/>
                    <a:pt x="44577" y="196120"/>
                  </a:cubicBezTo>
                  <a:lnTo>
                    <a:pt x="44577" y="204311"/>
                  </a:lnTo>
                  <a:cubicBezTo>
                    <a:pt x="44577" y="205645"/>
                    <a:pt x="45244" y="207074"/>
                    <a:pt x="45244" y="207740"/>
                  </a:cubicBezTo>
                  <a:cubicBezTo>
                    <a:pt x="45244" y="208407"/>
                    <a:pt x="45244" y="208407"/>
                    <a:pt x="44577" y="209074"/>
                  </a:cubicBezTo>
                  <a:cubicBezTo>
                    <a:pt x="43910" y="209741"/>
                    <a:pt x="43910" y="211836"/>
                    <a:pt x="43910" y="213170"/>
                  </a:cubicBezTo>
                  <a:cubicBezTo>
                    <a:pt x="43910" y="213836"/>
                    <a:pt x="43244" y="214503"/>
                    <a:pt x="43244" y="215265"/>
                  </a:cubicBezTo>
                  <a:cubicBezTo>
                    <a:pt x="43244" y="215932"/>
                    <a:pt x="43910" y="217361"/>
                    <a:pt x="43910" y="217361"/>
                  </a:cubicBezTo>
                  <a:cubicBezTo>
                    <a:pt x="43910" y="218027"/>
                    <a:pt x="44577" y="218694"/>
                    <a:pt x="44577" y="219456"/>
                  </a:cubicBezTo>
                  <a:cubicBezTo>
                    <a:pt x="44577" y="220123"/>
                    <a:pt x="43910" y="220123"/>
                    <a:pt x="43910" y="220790"/>
                  </a:cubicBezTo>
                  <a:lnTo>
                    <a:pt x="43910" y="221456"/>
                  </a:lnTo>
                  <a:cubicBezTo>
                    <a:pt x="44577" y="222123"/>
                    <a:pt x="44577" y="222790"/>
                    <a:pt x="44577" y="223552"/>
                  </a:cubicBezTo>
                  <a:cubicBezTo>
                    <a:pt x="44577" y="224885"/>
                    <a:pt x="43910" y="226314"/>
                    <a:pt x="43910" y="227648"/>
                  </a:cubicBezTo>
                  <a:lnTo>
                    <a:pt x="43910" y="231743"/>
                  </a:lnTo>
                  <a:cubicBezTo>
                    <a:pt x="43910" y="233077"/>
                    <a:pt x="43910" y="234506"/>
                    <a:pt x="45244" y="235172"/>
                  </a:cubicBezTo>
                  <a:lnTo>
                    <a:pt x="45244" y="244126"/>
                  </a:lnTo>
                  <a:cubicBezTo>
                    <a:pt x="44577" y="245459"/>
                    <a:pt x="43910" y="246888"/>
                    <a:pt x="43910" y="248222"/>
                  </a:cubicBezTo>
                  <a:cubicBezTo>
                    <a:pt x="43910" y="248888"/>
                    <a:pt x="44577" y="250317"/>
                    <a:pt x="45244" y="250984"/>
                  </a:cubicBezTo>
                  <a:lnTo>
                    <a:pt x="45244" y="253079"/>
                  </a:lnTo>
                  <a:cubicBezTo>
                    <a:pt x="45244" y="253746"/>
                    <a:pt x="45244" y="254413"/>
                    <a:pt x="45910" y="254413"/>
                  </a:cubicBezTo>
                  <a:cubicBezTo>
                    <a:pt x="49340" y="255746"/>
                    <a:pt x="48673" y="258509"/>
                    <a:pt x="49340" y="260604"/>
                  </a:cubicBezTo>
                  <a:lnTo>
                    <a:pt x="49340" y="263366"/>
                  </a:lnTo>
                  <a:cubicBezTo>
                    <a:pt x="49340" y="264033"/>
                    <a:pt x="48673" y="264700"/>
                    <a:pt x="48673" y="265462"/>
                  </a:cubicBezTo>
                  <a:cubicBezTo>
                    <a:pt x="48673" y="266795"/>
                    <a:pt x="49340" y="267557"/>
                    <a:pt x="51435" y="268891"/>
                  </a:cubicBezTo>
                  <a:cubicBezTo>
                    <a:pt x="52102" y="270986"/>
                    <a:pt x="52769" y="273653"/>
                    <a:pt x="54864" y="275749"/>
                  </a:cubicBezTo>
                  <a:cubicBezTo>
                    <a:pt x="55531" y="275749"/>
                    <a:pt x="55531" y="276416"/>
                    <a:pt x="55531" y="276416"/>
                  </a:cubicBezTo>
                  <a:cubicBezTo>
                    <a:pt x="55531" y="279178"/>
                    <a:pt x="56198" y="280511"/>
                    <a:pt x="58293" y="281940"/>
                  </a:cubicBezTo>
                  <a:lnTo>
                    <a:pt x="58293" y="282607"/>
                  </a:lnTo>
                  <a:cubicBezTo>
                    <a:pt x="59627" y="283940"/>
                    <a:pt x="60388" y="285369"/>
                    <a:pt x="61722" y="286036"/>
                  </a:cubicBezTo>
                  <a:lnTo>
                    <a:pt x="64484" y="289465"/>
                  </a:lnTo>
                  <a:cubicBezTo>
                    <a:pt x="67246" y="292227"/>
                    <a:pt x="70009" y="293561"/>
                    <a:pt x="73438" y="293561"/>
                  </a:cubicBezTo>
                  <a:cubicBezTo>
                    <a:pt x="74771" y="293561"/>
                    <a:pt x="75533" y="293561"/>
                    <a:pt x="76867" y="292894"/>
                  </a:cubicBezTo>
                  <a:cubicBezTo>
                    <a:pt x="78200" y="292227"/>
                    <a:pt x="78962" y="292227"/>
                    <a:pt x="80296" y="292227"/>
                  </a:cubicBezTo>
                  <a:cubicBezTo>
                    <a:pt x="85820" y="292227"/>
                    <a:pt x="91250" y="290132"/>
                    <a:pt x="96774" y="288131"/>
                  </a:cubicBezTo>
                  <a:cubicBezTo>
                    <a:pt x="101536" y="286036"/>
                    <a:pt x="105727" y="284036"/>
                    <a:pt x="108394" y="281273"/>
                  </a:cubicBezTo>
                  <a:cubicBezTo>
                    <a:pt x="110490" y="279940"/>
                    <a:pt x="113919" y="279178"/>
                    <a:pt x="115919" y="277844"/>
                  </a:cubicBezTo>
                  <a:cubicBezTo>
                    <a:pt x="119348" y="274415"/>
                    <a:pt x="124111" y="271653"/>
                    <a:pt x="128302" y="268224"/>
                  </a:cubicBezTo>
                  <a:cubicBezTo>
                    <a:pt x="131731" y="266129"/>
                    <a:pt x="134493" y="263462"/>
                    <a:pt x="137922" y="260699"/>
                  </a:cubicBezTo>
                  <a:cubicBezTo>
                    <a:pt x="140684" y="258604"/>
                    <a:pt x="142684" y="255937"/>
                    <a:pt x="144780" y="253175"/>
                  </a:cubicBezTo>
                  <a:cubicBezTo>
                    <a:pt x="148209" y="251079"/>
                    <a:pt x="151638" y="247650"/>
                    <a:pt x="154400" y="244983"/>
                  </a:cubicBezTo>
                  <a:cubicBezTo>
                    <a:pt x="156496" y="243650"/>
                    <a:pt x="157163" y="241554"/>
                    <a:pt x="159163" y="240221"/>
                  </a:cubicBezTo>
                  <a:cubicBezTo>
                    <a:pt x="160496" y="239554"/>
                    <a:pt x="161258" y="238125"/>
                    <a:pt x="161258" y="238125"/>
                  </a:cubicBezTo>
                  <a:cubicBezTo>
                    <a:pt x="161925" y="237458"/>
                    <a:pt x="161925" y="236792"/>
                    <a:pt x="161925" y="236030"/>
                  </a:cubicBezTo>
                  <a:cubicBezTo>
                    <a:pt x="165354" y="234696"/>
                    <a:pt x="167450" y="231934"/>
                    <a:pt x="169450" y="230505"/>
                  </a:cubicBezTo>
                  <a:cubicBezTo>
                    <a:pt x="170783" y="228410"/>
                    <a:pt x="172879" y="225743"/>
                    <a:pt x="175641" y="223647"/>
                  </a:cubicBezTo>
                  <a:cubicBezTo>
                    <a:pt x="179070" y="220218"/>
                    <a:pt x="181165" y="216122"/>
                    <a:pt x="184594" y="212693"/>
                  </a:cubicBezTo>
                  <a:lnTo>
                    <a:pt x="197644" y="198311"/>
                  </a:lnTo>
                  <a:cubicBezTo>
                    <a:pt x="197644" y="198311"/>
                    <a:pt x="198311" y="198311"/>
                    <a:pt x="198311" y="197644"/>
                  </a:cubicBezTo>
                  <a:cubicBezTo>
                    <a:pt x="200406" y="196310"/>
                    <a:pt x="201740" y="193548"/>
                    <a:pt x="204502" y="190786"/>
                  </a:cubicBezTo>
                  <a:cubicBezTo>
                    <a:pt x="206597" y="187357"/>
                    <a:pt x="210026" y="183261"/>
                    <a:pt x="212693" y="180499"/>
                  </a:cubicBezTo>
                  <a:cubicBezTo>
                    <a:pt x="214027" y="179165"/>
                    <a:pt x="215455" y="177737"/>
                    <a:pt x="215455" y="175736"/>
                  </a:cubicBezTo>
                  <a:cubicBezTo>
                    <a:pt x="218218" y="171641"/>
                    <a:pt x="221647" y="168212"/>
                    <a:pt x="225076" y="164783"/>
                  </a:cubicBezTo>
                  <a:lnTo>
                    <a:pt x="224409" y="164116"/>
                  </a:lnTo>
                  <a:cubicBezTo>
                    <a:pt x="226504" y="160020"/>
                    <a:pt x="229171" y="156591"/>
                    <a:pt x="232600" y="151733"/>
                  </a:cubicBezTo>
                  <a:cubicBezTo>
                    <a:pt x="232600" y="151067"/>
                    <a:pt x="233267" y="150400"/>
                    <a:pt x="233267" y="148971"/>
                  </a:cubicBezTo>
                  <a:cubicBezTo>
                    <a:pt x="233934" y="146876"/>
                    <a:pt x="237363" y="146209"/>
                    <a:pt x="238030" y="144209"/>
                  </a:cubicBezTo>
                  <a:cubicBezTo>
                    <a:pt x="238030" y="141446"/>
                    <a:pt x="239363" y="140113"/>
                    <a:pt x="240125" y="138017"/>
                  </a:cubicBezTo>
                  <a:cubicBezTo>
                    <a:pt x="240792" y="138017"/>
                    <a:pt x="240792" y="138017"/>
                    <a:pt x="240792" y="138684"/>
                  </a:cubicBezTo>
                  <a:lnTo>
                    <a:pt x="240792" y="140018"/>
                  </a:lnTo>
                  <a:lnTo>
                    <a:pt x="241459" y="140018"/>
                  </a:lnTo>
                  <a:cubicBezTo>
                    <a:pt x="242125" y="139351"/>
                    <a:pt x="242792" y="138684"/>
                    <a:pt x="242792" y="137922"/>
                  </a:cubicBezTo>
                  <a:lnTo>
                    <a:pt x="242792" y="136589"/>
                  </a:lnTo>
                  <a:cubicBezTo>
                    <a:pt x="242792" y="135255"/>
                    <a:pt x="243459" y="133826"/>
                    <a:pt x="244126" y="132493"/>
                  </a:cubicBezTo>
                  <a:cubicBezTo>
                    <a:pt x="244792" y="132493"/>
                    <a:pt x="244792" y="131159"/>
                    <a:pt x="244792" y="130397"/>
                  </a:cubicBezTo>
                  <a:cubicBezTo>
                    <a:pt x="245459" y="129731"/>
                    <a:pt x="245459" y="127635"/>
                    <a:pt x="246888" y="127635"/>
                  </a:cubicBezTo>
                  <a:cubicBezTo>
                    <a:pt x="248221" y="126302"/>
                    <a:pt x="247555" y="124206"/>
                    <a:pt x="248221" y="122111"/>
                  </a:cubicBezTo>
                  <a:cubicBezTo>
                    <a:pt x="248221" y="120777"/>
                    <a:pt x="248888" y="119348"/>
                    <a:pt x="250317" y="119348"/>
                  </a:cubicBezTo>
                  <a:cubicBezTo>
                    <a:pt x="251650" y="119348"/>
                    <a:pt x="251650" y="118682"/>
                    <a:pt x="251650" y="118015"/>
                  </a:cubicBezTo>
                  <a:lnTo>
                    <a:pt x="251650" y="116205"/>
                  </a:lnTo>
                  <a:cubicBezTo>
                    <a:pt x="252317" y="112776"/>
                    <a:pt x="251650" y="113443"/>
                    <a:pt x="255746" y="112109"/>
                  </a:cubicBezTo>
                  <a:lnTo>
                    <a:pt x="255746" y="111443"/>
                  </a:lnTo>
                  <a:cubicBezTo>
                    <a:pt x="256413" y="110776"/>
                    <a:pt x="256413" y="110776"/>
                    <a:pt x="256413" y="110109"/>
                  </a:cubicBezTo>
                  <a:lnTo>
                    <a:pt x="256413" y="108585"/>
                  </a:lnTo>
                  <a:cubicBezTo>
                    <a:pt x="256413" y="107252"/>
                    <a:pt x="257080" y="105823"/>
                    <a:pt x="258509" y="105823"/>
                  </a:cubicBezTo>
                  <a:lnTo>
                    <a:pt x="261271" y="102394"/>
                  </a:lnTo>
                  <a:lnTo>
                    <a:pt x="261938" y="102394"/>
                  </a:lnTo>
                  <a:cubicBezTo>
                    <a:pt x="261938" y="102394"/>
                    <a:pt x="262604" y="102394"/>
                    <a:pt x="262604" y="103061"/>
                  </a:cubicBezTo>
                  <a:cubicBezTo>
                    <a:pt x="262604" y="103727"/>
                    <a:pt x="263271" y="104394"/>
                    <a:pt x="263271" y="105156"/>
                  </a:cubicBezTo>
                  <a:cubicBezTo>
                    <a:pt x="263271" y="105156"/>
                    <a:pt x="263938" y="105823"/>
                    <a:pt x="264605" y="105823"/>
                  </a:cubicBezTo>
                  <a:cubicBezTo>
                    <a:pt x="265938" y="105823"/>
                    <a:pt x="266700" y="105823"/>
                    <a:pt x="266700" y="106490"/>
                  </a:cubicBezTo>
                  <a:cubicBezTo>
                    <a:pt x="266700" y="106490"/>
                    <a:pt x="266033" y="106490"/>
                    <a:pt x="266033" y="107156"/>
                  </a:cubicBezTo>
                  <a:cubicBezTo>
                    <a:pt x="266033" y="109919"/>
                    <a:pt x="265367" y="111919"/>
                    <a:pt x="264700" y="113348"/>
                  </a:cubicBezTo>
                  <a:cubicBezTo>
                    <a:pt x="264033" y="114776"/>
                    <a:pt x="262604" y="115443"/>
                    <a:pt x="261271" y="115443"/>
                  </a:cubicBezTo>
                  <a:lnTo>
                    <a:pt x="259937" y="115443"/>
                  </a:lnTo>
                  <a:cubicBezTo>
                    <a:pt x="259271" y="115443"/>
                    <a:pt x="258604" y="116110"/>
                    <a:pt x="257842" y="116777"/>
                  </a:cubicBezTo>
                  <a:cubicBezTo>
                    <a:pt x="257842" y="118110"/>
                    <a:pt x="258509" y="120206"/>
                    <a:pt x="259937" y="121539"/>
                  </a:cubicBezTo>
                  <a:cubicBezTo>
                    <a:pt x="260604" y="121539"/>
                    <a:pt x="260604" y="122873"/>
                    <a:pt x="261271" y="123635"/>
                  </a:cubicBezTo>
                  <a:cubicBezTo>
                    <a:pt x="261271" y="124301"/>
                    <a:pt x="261938" y="124968"/>
                    <a:pt x="261271" y="124968"/>
                  </a:cubicBezTo>
                  <a:cubicBezTo>
                    <a:pt x="261271" y="125635"/>
                    <a:pt x="260604" y="126302"/>
                    <a:pt x="261271" y="126302"/>
                  </a:cubicBezTo>
                  <a:lnTo>
                    <a:pt x="261271" y="127635"/>
                  </a:lnTo>
                  <a:cubicBezTo>
                    <a:pt x="261271" y="128969"/>
                    <a:pt x="260604" y="131064"/>
                    <a:pt x="259937" y="132398"/>
                  </a:cubicBezTo>
                  <a:cubicBezTo>
                    <a:pt x="259937" y="133064"/>
                    <a:pt x="259937" y="134493"/>
                    <a:pt x="259271" y="135160"/>
                  </a:cubicBezTo>
                  <a:lnTo>
                    <a:pt x="258604" y="135160"/>
                  </a:lnTo>
                  <a:lnTo>
                    <a:pt x="258604" y="131064"/>
                  </a:lnTo>
                  <a:lnTo>
                    <a:pt x="257937" y="131064"/>
                  </a:lnTo>
                  <a:cubicBezTo>
                    <a:pt x="256603" y="129731"/>
                    <a:pt x="257270" y="127635"/>
                    <a:pt x="256603" y="126302"/>
                  </a:cubicBezTo>
                  <a:cubicBezTo>
                    <a:pt x="256603" y="125635"/>
                    <a:pt x="257270" y="124968"/>
                    <a:pt x="257270" y="124968"/>
                  </a:cubicBezTo>
                  <a:cubicBezTo>
                    <a:pt x="257270" y="124968"/>
                    <a:pt x="256603" y="124968"/>
                    <a:pt x="255937" y="124301"/>
                  </a:cubicBezTo>
                  <a:cubicBezTo>
                    <a:pt x="255270" y="124301"/>
                    <a:pt x="255270" y="124968"/>
                    <a:pt x="255270" y="124968"/>
                  </a:cubicBezTo>
                  <a:cubicBezTo>
                    <a:pt x="254603" y="127064"/>
                    <a:pt x="253175" y="129064"/>
                    <a:pt x="251841" y="131159"/>
                  </a:cubicBezTo>
                  <a:lnTo>
                    <a:pt x="250507" y="134588"/>
                  </a:lnTo>
                  <a:cubicBezTo>
                    <a:pt x="249841" y="134588"/>
                    <a:pt x="249174" y="135255"/>
                    <a:pt x="248412" y="135922"/>
                  </a:cubicBezTo>
                  <a:cubicBezTo>
                    <a:pt x="247078" y="135922"/>
                    <a:pt x="246317" y="136589"/>
                    <a:pt x="246317" y="138017"/>
                  </a:cubicBezTo>
                  <a:lnTo>
                    <a:pt x="246317" y="138684"/>
                  </a:lnTo>
                  <a:cubicBezTo>
                    <a:pt x="246317" y="139351"/>
                    <a:pt x="245650" y="140018"/>
                    <a:pt x="245650" y="140780"/>
                  </a:cubicBezTo>
                  <a:cubicBezTo>
                    <a:pt x="245650" y="144209"/>
                    <a:pt x="244316" y="146304"/>
                    <a:pt x="243554" y="148971"/>
                  </a:cubicBezTo>
                  <a:cubicBezTo>
                    <a:pt x="242888" y="148971"/>
                    <a:pt x="243554" y="149638"/>
                    <a:pt x="243554" y="149638"/>
                  </a:cubicBezTo>
                  <a:lnTo>
                    <a:pt x="244888" y="149638"/>
                  </a:lnTo>
                  <a:cubicBezTo>
                    <a:pt x="245554" y="148971"/>
                    <a:pt x="246983" y="148304"/>
                    <a:pt x="246983" y="146876"/>
                  </a:cubicBezTo>
                  <a:cubicBezTo>
                    <a:pt x="247650" y="145542"/>
                    <a:pt x="248317" y="144113"/>
                    <a:pt x="249746" y="144113"/>
                  </a:cubicBezTo>
                  <a:cubicBezTo>
                    <a:pt x="251079" y="144113"/>
                    <a:pt x="252508" y="144113"/>
                    <a:pt x="253175" y="142780"/>
                  </a:cubicBezTo>
                  <a:cubicBezTo>
                    <a:pt x="253841" y="142113"/>
                    <a:pt x="253841" y="142780"/>
                    <a:pt x="253841" y="142780"/>
                  </a:cubicBezTo>
                  <a:cubicBezTo>
                    <a:pt x="253841" y="144875"/>
                    <a:pt x="253841" y="146876"/>
                    <a:pt x="252508" y="148304"/>
                  </a:cubicBezTo>
                  <a:cubicBezTo>
                    <a:pt x="251841" y="148971"/>
                    <a:pt x="250412" y="149638"/>
                    <a:pt x="250412" y="150400"/>
                  </a:cubicBezTo>
                  <a:lnTo>
                    <a:pt x="252508" y="153162"/>
                  </a:lnTo>
                  <a:cubicBezTo>
                    <a:pt x="253841" y="153829"/>
                    <a:pt x="253841" y="153829"/>
                    <a:pt x="254603" y="153829"/>
                  </a:cubicBezTo>
                  <a:cubicBezTo>
                    <a:pt x="255270" y="154496"/>
                    <a:pt x="255270" y="155924"/>
                    <a:pt x="255270" y="156591"/>
                  </a:cubicBezTo>
                  <a:lnTo>
                    <a:pt x="255270" y="158687"/>
                  </a:lnTo>
                  <a:cubicBezTo>
                    <a:pt x="255270" y="158687"/>
                    <a:pt x="255270" y="160020"/>
                    <a:pt x="255937" y="160020"/>
                  </a:cubicBezTo>
                  <a:lnTo>
                    <a:pt x="260032" y="160020"/>
                  </a:lnTo>
                  <a:cubicBezTo>
                    <a:pt x="262509" y="160020"/>
                    <a:pt x="262509" y="160782"/>
                    <a:pt x="262509" y="161449"/>
                  </a:cubicBezTo>
                  <a:close/>
                  <a:moveTo>
                    <a:pt x="3334" y="256032"/>
                  </a:moveTo>
                  <a:lnTo>
                    <a:pt x="3334" y="256699"/>
                  </a:lnTo>
                  <a:lnTo>
                    <a:pt x="4000" y="257366"/>
                  </a:lnTo>
                  <a:lnTo>
                    <a:pt x="4667" y="257366"/>
                  </a:lnTo>
                  <a:cubicBezTo>
                    <a:pt x="4667" y="256794"/>
                    <a:pt x="4000" y="256032"/>
                    <a:pt x="3334" y="256032"/>
                  </a:cubicBezTo>
                  <a:close/>
                  <a:moveTo>
                    <a:pt x="44482" y="101060"/>
                  </a:moveTo>
                  <a:cubicBezTo>
                    <a:pt x="45815" y="99727"/>
                    <a:pt x="45815" y="98298"/>
                    <a:pt x="45815" y="96965"/>
                  </a:cubicBezTo>
                  <a:lnTo>
                    <a:pt x="45815" y="94869"/>
                  </a:lnTo>
                  <a:cubicBezTo>
                    <a:pt x="46482" y="92774"/>
                    <a:pt x="47911" y="92107"/>
                    <a:pt x="49244" y="90107"/>
                  </a:cubicBezTo>
                  <a:cubicBezTo>
                    <a:pt x="49911" y="88011"/>
                    <a:pt x="51340" y="86678"/>
                    <a:pt x="51340" y="84582"/>
                  </a:cubicBezTo>
                  <a:lnTo>
                    <a:pt x="52006" y="83915"/>
                  </a:lnTo>
                  <a:lnTo>
                    <a:pt x="54102" y="81153"/>
                  </a:lnTo>
                  <a:cubicBezTo>
                    <a:pt x="54769" y="77057"/>
                    <a:pt x="56864" y="72962"/>
                    <a:pt x="58198" y="68771"/>
                  </a:cubicBezTo>
                  <a:cubicBezTo>
                    <a:pt x="58198" y="68104"/>
                    <a:pt x="57531" y="68104"/>
                    <a:pt x="57531" y="68104"/>
                  </a:cubicBezTo>
                  <a:lnTo>
                    <a:pt x="57531" y="67437"/>
                  </a:lnTo>
                  <a:cubicBezTo>
                    <a:pt x="56198" y="68104"/>
                    <a:pt x="55435" y="68771"/>
                    <a:pt x="55435" y="69533"/>
                  </a:cubicBezTo>
                  <a:cubicBezTo>
                    <a:pt x="54769" y="70866"/>
                    <a:pt x="54102" y="72295"/>
                    <a:pt x="54102" y="73628"/>
                  </a:cubicBezTo>
                  <a:cubicBezTo>
                    <a:pt x="52769" y="74962"/>
                    <a:pt x="51340" y="77724"/>
                    <a:pt x="51340" y="79820"/>
                  </a:cubicBezTo>
                  <a:cubicBezTo>
                    <a:pt x="50006" y="81915"/>
                    <a:pt x="49244" y="83249"/>
                    <a:pt x="47244" y="85344"/>
                  </a:cubicBezTo>
                  <a:cubicBezTo>
                    <a:pt x="47244" y="87440"/>
                    <a:pt x="46577" y="89440"/>
                    <a:pt x="44482" y="91535"/>
                  </a:cubicBezTo>
                  <a:cubicBezTo>
                    <a:pt x="44482" y="92202"/>
                    <a:pt x="45148" y="92202"/>
                    <a:pt x="45148" y="92869"/>
                  </a:cubicBezTo>
                  <a:cubicBezTo>
                    <a:pt x="45148" y="94202"/>
                    <a:pt x="43053" y="95631"/>
                    <a:pt x="42386" y="96965"/>
                  </a:cubicBezTo>
                  <a:cubicBezTo>
                    <a:pt x="42386" y="99727"/>
                    <a:pt x="41053" y="102489"/>
                    <a:pt x="39624" y="105918"/>
                  </a:cubicBezTo>
                  <a:cubicBezTo>
                    <a:pt x="38957" y="108680"/>
                    <a:pt x="38290" y="110681"/>
                    <a:pt x="38290" y="112776"/>
                  </a:cubicBezTo>
                  <a:lnTo>
                    <a:pt x="37624" y="113443"/>
                  </a:lnTo>
                  <a:cubicBezTo>
                    <a:pt x="37624" y="113443"/>
                    <a:pt x="37624" y="114110"/>
                    <a:pt x="38290" y="114110"/>
                  </a:cubicBezTo>
                  <a:lnTo>
                    <a:pt x="38957" y="113443"/>
                  </a:lnTo>
                  <a:cubicBezTo>
                    <a:pt x="39624" y="112776"/>
                    <a:pt x="39624" y="112776"/>
                    <a:pt x="39624" y="112109"/>
                  </a:cubicBezTo>
                  <a:lnTo>
                    <a:pt x="39624" y="110776"/>
                  </a:lnTo>
                  <a:cubicBezTo>
                    <a:pt x="39624" y="109442"/>
                    <a:pt x="40291" y="108014"/>
                    <a:pt x="40957" y="107347"/>
                  </a:cubicBezTo>
                  <a:cubicBezTo>
                    <a:pt x="42386" y="105156"/>
                    <a:pt x="43720" y="103156"/>
                    <a:pt x="44482" y="101060"/>
                  </a:cubicBezTo>
                  <a:close/>
                  <a:moveTo>
                    <a:pt x="65056" y="116872"/>
                  </a:moveTo>
                  <a:cubicBezTo>
                    <a:pt x="64389" y="117539"/>
                    <a:pt x="63722" y="118967"/>
                    <a:pt x="63722" y="120968"/>
                  </a:cubicBezTo>
                  <a:lnTo>
                    <a:pt x="63722" y="123730"/>
                  </a:lnTo>
                  <a:cubicBezTo>
                    <a:pt x="67151" y="125063"/>
                    <a:pt x="69247" y="127159"/>
                    <a:pt x="70580" y="129921"/>
                  </a:cubicBezTo>
                  <a:lnTo>
                    <a:pt x="72676" y="129921"/>
                  </a:lnTo>
                  <a:cubicBezTo>
                    <a:pt x="73342" y="129921"/>
                    <a:pt x="73342" y="129254"/>
                    <a:pt x="74009" y="128588"/>
                  </a:cubicBezTo>
                  <a:cubicBezTo>
                    <a:pt x="75343" y="126492"/>
                    <a:pt x="76771" y="124492"/>
                    <a:pt x="79534" y="122396"/>
                  </a:cubicBezTo>
                  <a:cubicBezTo>
                    <a:pt x="82296" y="119634"/>
                    <a:pt x="84296" y="116872"/>
                    <a:pt x="87058" y="112776"/>
                  </a:cubicBezTo>
                  <a:cubicBezTo>
                    <a:pt x="87725" y="112109"/>
                    <a:pt x="87725" y="110681"/>
                    <a:pt x="89154" y="110014"/>
                  </a:cubicBezTo>
                  <a:lnTo>
                    <a:pt x="92583" y="105251"/>
                  </a:lnTo>
                  <a:cubicBezTo>
                    <a:pt x="93917" y="103156"/>
                    <a:pt x="94678" y="101156"/>
                    <a:pt x="96012" y="99727"/>
                  </a:cubicBezTo>
                  <a:cubicBezTo>
                    <a:pt x="96012" y="98393"/>
                    <a:pt x="96679" y="96965"/>
                    <a:pt x="97346" y="95631"/>
                  </a:cubicBezTo>
                  <a:cubicBezTo>
                    <a:pt x="98679" y="93536"/>
                    <a:pt x="100108" y="91535"/>
                    <a:pt x="102108" y="89440"/>
                  </a:cubicBezTo>
                  <a:cubicBezTo>
                    <a:pt x="104203" y="88106"/>
                    <a:pt x="104203" y="84677"/>
                    <a:pt x="105537" y="82582"/>
                  </a:cubicBezTo>
                  <a:cubicBezTo>
                    <a:pt x="106204" y="80486"/>
                    <a:pt x="106204" y="78486"/>
                    <a:pt x="106204" y="77057"/>
                  </a:cubicBezTo>
                  <a:cubicBezTo>
                    <a:pt x="108966" y="74962"/>
                    <a:pt x="108966" y="72962"/>
                    <a:pt x="108966" y="70866"/>
                  </a:cubicBezTo>
                  <a:cubicBezTo>
                    <a:pt x="109633" y="68771"/>
                    <a:pt x="110300" y="66770"/>
                    <a:pt x="111728" y="64675"/>
                  </a:cubicBezTo>
                  <a:cubicBezTo>
                    <a:pt x="112395" y="63341"/>
                    <a:pt x="113824" y="61246"/>
                    <a:pt x="113824" y="59150"/>
                  </a:cubicBezTo>
                  <a:cubicBezTo>
                    <a:pt x="113824" y="58484"/>
                    <a:pt x="113824" y="57817"/>
                    <a:pt x="113157" y="57055"/>
                  </a:cubicBezTo>
                  <a:lnTo>
                    <a:pt x="113157" y="55721"/>
                  </a:lnTo>
                  <a:cubicBezTo>
                    <a:pt x="113157" y="54388"/>
                    <a:pt x="113157" y="54388"/>
                    <a:pt x="114490" y="54388"/>
                  </a:cubicBezTo>
                  <a:lnTo>
                    <a:pt x="115824" y="54388"/>
                  </a:lnTo>
                  <a:cubicBezTo>
                    <a:pt x="115824" y="53721"/>
                    <a:pt x="116491" y="53054"/>
                    <a:pt x="116491" y="53054"/>
                  </a:cubicBezTo>
                  <a:cubicBezTo>
                    <a:pt x="116491" y="53054"/>
                    <a:pt x="115824" y="53054"/>
                    <a:pt x="115824" y="52388"/>
                  </a:cubicBezTo>
                  <a:lnTo>
                    <a:pt x="115824" y="51721"/>
                  </a:lnTo>
                  <a:cubicBezTo>
                    <a:pt x="115824" y="51054"/>
                    <a:pt x="115824" y="51054"/>
                    <a:pt x="115157" y="51054"/>
                  </a:cubicBezTo>
                  <a:cubicBezTo>
                    <a:pt x="114490" y="51054"/>
                    <a:pt x="114490" y="50387"/>
                    <a:pt x="114490" y="49721"/>
                  </a:cubicBezTo>
                  <a:cubicBezTo>
                    <a:pt x="114490" y="49054"/>
                    <a:pt x="114490" y="49054"/>
                    <a:pt x="115157" y="48387"/>
                  </a:cubicBezTo>
                  <a:cubicBezTo>
                    <a:pt x="115824" y="47720"/>
                    <a:pt x="115824" y="47054"/>
                    <a:pt x="115824" y="47054"/>
                  </a:cubicBezTo>
                  <a:lnTo>
                    <a:pt x="114490" y="46387"/>
                  </a:lnTo>
                  <a:cubicBezTo>
                    <a:pt x="114490" y="45720"/>
                    <a:pt x="113824" y="45053"/>
                    <a:pt x="114490" y="45053"/>
                  </a:cubicBezTo>
                  <a:cubicBezTo>
                    <a:pt x="115824" y="43720"/>
                    <a:pt x="115824" y="42958"/>
                    <a:pt x="115824" y="42291"/>
                  </a:cubicBezTo>
                  <a:cubicBezTo>
                    <a:pt x="115824" y="41624"/>
                    <a:pt x="115824" y="40196"/>
                    <a:pt x="115157" y="39529"/>
                  </a:cubicBezTo>
                  <a:cubicBezTo>
                    <a:pt x="114490" y="37433"/>
                    <a:pt x="115157" y="36100"/>
                    <a:pt x="113824" y="34004"/>
                  </a:cubicBezTo>
                  <a:lnTo>
                    <a:pt x="113824" y="33338"/>
                  </a:lnTo>
                  <a:cubicBezTo>
                    <a:pt x="113824" y="32671"/>
                    <a:pt x="113824" y="32671"/>
                    <a:pt x="114490" y="32671"/>
                  </a:cubicBezTo>
                  <a:cubicBezTo>
                    <a:pt x="114490" y="32004"/>
                    <a:pt x="114490" y="32004"/>
                    <a:pt x="115157" y="32004"/>
                  </a:cubicBezTo>
                  <a:cubicBezTo>
                    <a:pt x="115157" y="32004"/>
                    <a:pt x="115157" y="31337"/>
                    <a:pt x="115824" y="30671"/>
                  </a:cubicBezTo>
                  <a:lnTo>
                    <a:pt x="111728" y="30671"/>
                  </a:lnTo>
                  <a:cubicBezTo>
                    <a:pt x="109633" y="33433"/>
                    <a:pt x="107632" y="35433"/>
                    <a:pt x="105537" y="38862"/>
                  </a:cubicBezTo>
                  <a:cubicBezTo>
                    <a:pt x="104870" y="38862"/>
                    <a:pt x="104870" y="39529"/>
                    <a:pt x="104870" y="39529"/>
                  </a:cubicBezTo>
                  <a:lnTo>
                    <a:pt x="104870" y="40196"/>
                  </a:lnTo>
                  <a:cubicBezTo>
                    <a:pt x="101441" y="43625"/>
                    <a:pt x="98012" y="46387"/>
                    <a:pt x="96679" y="50483"/>
                  </a:cubicBezTo>
                  <a:lnTo>
                    <a:pt x="96012" y="51149"/>
                  </a:lnTo>
                  <a:cubicBezTo>
                    <a:pt x="93917" y="53245"/>
                    <a:pt x="91916" y="54578"/>
                    <a:pt x="90488" y="57341"/>
                  </a:cubicBezTo>
                  <a:cubicBezTo>
                    <a:pt x="89821" y="58007"/>
                    <a:pt x="89154" y="58674"/>
                    <a:pt x="89154" y="60103"/>
                  </a:cubicBezTo>
                  <a:lnTo>
                    <a:pt x="89154" y="60770"/>
                  </a:lnTo>
                  <a:cubicBezTo>
                    <a:pt x="88487" y="62865"/>
                    <a:pt x="87058" y="63532"/>
                    <a:pt x="86392" y="64865"/>
                  </a:cubicBezTo>
                  <a:cubicBezTo>
                    <a:pt x="86392" y="66199"/>
                    <a:pt x="85058" y="67628"/>
                    <a:pt x="83629" y="68961"/>
                  </a:cubicBezTo>
                  <a:cubicBezTo>
                    <a:pt x="82963" y="68961"/>
                    <a:pt x="82296" y="70295"/>
                    <a:pt x="82296" y="70295"/>
                  </a:cubicBezTo>
                  <a:cubicBezTo>
                    <a:pt x="82296" y="72390"/>
                    <a:pt x="82963" y="73724"/>
                    <a:pt x="82963" y="74390"/>
                  </a:cubicBezTo>
                  <a:cubicBezTo>
                    <a:pt x="81629" y="75724"/>
                    <a:pt x="80200" y="77153"/>
                    <a:pt x="80200" y="78486"/>
                  </a:cubicBezTo>
                  <a:lnTo>
                    <a:pt x="80200" y="80582"/>
                  </a:lnTo>
                  <a:cubicBezTo>
                    <a:pt x="78867" y="81915"/>
                    <a:pt x="78105" y="81915"/>
                    <a:pt x="78105" y="82677"/>
                  </a:cubicBezTo>
                  <a:cubicBezTo>
                    <a:pt x="76771" y="84011"/>
                    <a:pt x="75343" y="86106"/>
                    <a:pt x="75343" y="88202"/>
                  </a:cubicBezTo>
                  <a:lnTo>
                    <a:pt x="75343" y="89535"/>
                  </a:lnTo>
                  <a:cubicBezTo>
                    <a:pt x="75343" y="90869"/>
                    <a:pt x="74009" y="91631"/>
                    <a:pt x="73247" y="92297"/>
                  </a:cubicBezTo>
                  <a:lnTo>
                    <a:pt x="70485" y="95060"/>
                  </a:lnTo>
                  <a:lnTo>
                    <a:pt x="70485" y="95726"/>
                  </a:lnTo>
                  <a:cubicBezTo>
                    <a:pt x="70485" y="99822"/>
                    <a:pt x="67723" y="106013"/>
                    <a:pt x="65723" y="110776"/>
                  </a:cubicBezTo>
                  <a:lnTo>
                    <a:pt x="65723" y="114872"/>
                  </a:lnTo>
                  <a:cubicBezTo>
                    <a:pt x="65723" y="115443"/>
                    <a:pt x="65723" y="116205"/>
                    <a:pt x="65056" y="116872"/>
                  </a:cubicBezTo>
                  <a:close/>
                  <a:moveTo>
                    <a:pt x="133636" y="65437"/>
                  </a:moveTo>
                  <a:cubicBezTo>
                    <a:pt x="134302" y="65437"/>
                    <a:pt x="134969" y="65437"/>
                    <a:pt x="134969" y="64770"/>
                  </a:cubicBezTo>
                  <a:cubicBezTo>
                    <a:pt x="135636" y="64103"/>
                    <a:pt x="135636" y="63437"/>
                    <a:pt x="135636" y="62675"/>
                  </a:cubicBezTo>
                  <a:lnTo>
                    <a:pt x="135636" y="62008"/>
                  </a:lnTo>
                  <a:lnTo>
                    <a:pt x="134969" y="61341"/>
                  </a:lnTo>
                  <a:lnTo>
                    <a:pt x="134302" y="61341"/>
                  </a:lnTo>
                  <a:cubicBezTo>
                    <a:pt x="134302" y="62008"/>
                    <a:pt x="132969" y="62675"/>
                    <a:pt x="132969" y="63437"/>
                  </a:cubicBezTo>
                  <a:cubicBezTo>
                    <a:pt x="132874" y="64008"/>
                    <a:pt x="132874" y="64770"/>
                    <a:pt x="133636" y="65437"/>
                  </a:cubicBezTo>
                  <a:close/>
                  <a:moveTo>
                    <a:pt x="133636" y="30385"/>
                  </a:moveTo>
                  <a:cubicBezTo>
                    <a:pt x="133636" y="31052"/>
                    <a:pt x="133636" y="31718"/>
                    <a:pt x="134302" y="31718"/>
                  </a:cubicBezTo>
                  <a:cubicBezTo>
                    <a:pt x="134302" y="32385"/>
                    <a:pt x="134969" y="33052"/>
                    <a:pt x="135636" y="33052"/>
                  </a:cubicBezTo>
                  <a:cubicBezTo>
                    <a:pt x="136303" y="33052"/>
                    <a:pt x="136969" y="31718"/>
                    <a:pt x="136969" y="31718"/>
                  </a:cubicBezTo>
                  <a:lnTo>
                    <a:pt x="134874" y="28956"/>
                  </a:lnTo>
                  <a:lnTo>
                    <a:pt x="134207" y="28956"/>
                  </a:lnTo>
                  <a:cubicBezTo>
                    <a:pt x="133636" y="29051"/>
                    <a:pt x="133636" y="30385"/>
                    <a:pt x="133636" y="30385"/>
                  </a:cubicBezTo>
                  <a:close/>
                  <a:moveTo>
                    <a:pt x="137731" y="35909"/>
                  </a:moveTo>
                  <a:cubicBezTo>
                    <a:pt x="136398" y="35909"/>
                    <a:pt x="135636" y="35909"/>
                    <a:pt x="134969" y="36576"/>
                  </a:cubicBezTo>
                  <a:lnTo>
                    <a:pt x="134969" y="40005"/>
                  </a:lnTo>
                  <a:cubicBezTo>
                    <a:pt x="134969" y="41339"/>
                    <a:pt x="134969" y="42767"/>
                    <a:pt x="135636" y="43434"/>
                  </a:cubicBezTo>
                  <a:cubicBezTo>
                    <a:pt x="135636" y="44101"/>
                    <a:pt x="134969" y="45530"/>
                    <a:pt x="134302" y="46196"/>
                  </a:cubicBezTo>
                  <a:cubicBezTo>
                    <a:pt x="134302" y="47530"/>
                    <a:pt x="134302" y="48959"/>
                    <a:pt x="135636" y="50959"/>
                  </a:cubicBezTo>
                  <a:cubicBezTo>
                    <a:pt x="135636" y="50959"/>
                    <a:pt x="134969" y="52292"/>
                    <a:pt x="134302" y="53054"/>
                  </a:cubicBezTo>
                  <a:lnTo>
                    <a:pt x="134302" y="54388"/>
                  </a:lnTo>
                  <a:cubicBezTo>
                    <a:pt x="134302" y="55055"/>
                    <a:pt x="134302" y="55055"/>
                    <a:pt x="134969" y="55055"/>
                  </a:cubicBezTo>
                  <a:cubicBezTo>
                    <a:pt x="134969" y="55055"/>
                    <a:pt x="135636" y="55055"/>
                    <a:pt x="136303" y="54388"/>
                  </a:cubicBezTo>
                  <a:cubicBezTo>
                    <a:pt x="136969" y="54388"/>
                    <a:pt x="138398" y="54388"/>
                    <a:pt x="139065" y="53721"/>
                  </a:cubicBezTo>
                  <a:cubicBezTo>
                    <a:pt x="142494" y="53054"/>
                    <a:pt x="143827" y="50959"/>
                    <a:pt x="143827" y="47530"/>
                  </a:cubicBezTo>
                  <a:lnTo>
                    <a:pt x="143827" y="44768"/>
                  </a:lnTo>
                  <a:cubicBezTo>
                    <a:pt x="143827" y="44101"/>
                    <a:pt x="143161" y="43434"/>
                    <a:pt x="142494" y="42672"/>
                  </a:cubicBezTo>
                  <a:cubicBezTo>
                    <a:pt x="141827" y="41339"/>
                    <a:pt x="140398" y="41339"/>
                    <a:pt x="139732" y="39910"/>
                  </a:cubicBezTo>
                  <a:cubicBezTo>
                    <a:pt x="138398" y="39243"/>
                    <a:pt x="139065" y="37814"/>
                    <a:pt x="138398" y="36481"/>
                  </a:cubicBezTo>
                  <a:cubicBezTo>
                    <a:pt x="139065" y="35909"/>
                    <a:pt x="137731" y="35909"/>
                    <a:pt x="137731" y="35909"/>
                  </a:cubicBezTo>
                  <a:close/>
                  <a:moveTo>
                    <a:pt x="140494" y="38672"/>
                  </a:moveTo>
                  <a:cubicBezTo>
                    <a:pt x="141161" y="38672"/>
                    <a:pt x="141161" y="39338"/>
                    <a:pt x="141827" y="39338"/>
                  </a:cubicBezTo>
                  <a:lnTo>
                    <a:pt x="142494" y="39338"/>
                  </a:lnTo>
                  <a:lnTo>
                    <a:pt x="142494" y="38005"/>
                  </a:lnTo>
                  <a:cubicBezTo>
                    <a:pt x="142494" y="37338"/>
                    <a:pt x="141827" y="36671"/>
                    <a:pt x="141827" y="36671"/>
                  </a:cubicBezTo>
                  <a:lnTo>
                    <a:pt x="141161" y="37338"/>
                  </a:lnTo>
                  <a:cubicBezTo>
                    <a:pt x="140494" y="38005"/>
                    <a:pt x="140494" y="38672"/>
                    <a:pt x="140494" y="38672"/>
                  </a:cubicBezTo>
                  <a:close/>
                  <a:moveTo>
                    <a:pt x="143161" y="57912"/>
                  </a:moveTo>
                  <a:lnTo>
                    <a:pt x="143161" y="58579"/>
                  </a:lnTo>
                  <a:lnTo>
                    <a:pt x="144494" y="64103"/>
                  </a:lnTo>
                  <a:lnTo>
                    <a:pt x="145828" y="64103"/>
                  </a:lnTo>
                  <a:cubicBezTo>
                    <a:pt x="146494" y="62770"/>
                    <a:pt x="147161" y="61341"/>
                    <a:pt x="148590" y="60674"/>
                  </a:cubicBezTo>
                  <a:lnTo>
                    <a:pt x="147923" y="59341"/>
                  </a:lnTo>
                  <a:cubicBezTo>
                    <a:pt x="147256" y="59341"/>
                    <a:pt x="147256" y="58674"/>
                    <a:pt x="147256" y="58007"/>
                  </a:cubicBezTo>
                  <a:cubicBezTo>
                    <a:pt x="147256" y="57341"/>
                    <a:pt x="147256" y="57341"/>
                    <a:pt x="147923" y="56674"/>
                  </a:cubicBezTo>
                  <a:lnTo>
                    <a:pt x="147923" y="56007"/>
                  </a:lnTo>
                  <a:cubicBezTo>
                    <a:pt x="147256" y="55340"/>
                    <a:pt x="146590" y="55340"/>
                    <a:pt x="145828" y="55340"/>
                  </a:cubicBezTo>
                  <a:cubicBezTo>
                    <a:pt x="144590" y="55817"/>
                    <a:pt x="144590" y="57150"/>
                    <a:pt x="143161" y="57912"/>
                  </a:cubicBezTo>
                  <a:close/>
                  <a:moveTo>
                    <a:pt x="145923" y="49625"/>
                  </a:moveTo>
                  <a:lnTo>
                    <a:pt x="145923" y="52388"/>
                  </a:lnTo>
                  <a:cubicBezTo>
                    <a:pt x="145923" y="53054"/>
                    <a:pt x="146590" y="53054"/>
                    <a:pt x="146590" y="53054"/>
                  </a:cubicBezTo>
                  <a:cubicBezTo>
                    <a:pt x="148685" y="51721"/>
                    <a:pt x="148685" y="50959"/>
                    <a:pt x="150019" y="49625"/>
                  </a:cubicBezTo>
                  <a:lnTo>
                    <a:pt x="150019" y="48959"/>
                  </a:lnTo>
                  <a:cubicBezTo>
                    <a:pt x="149352" y="48292"/>
                    <a:pt x="148685" y="46863"/>
                    <a:pt x="147256" y="46196"/>
                  </a:cubicBezTo>
                  <a:lnTo>
                    <a:pt x="146590" y="46196"/>
                  </a:lnTo>
                  <a:cubicBezTo>
                    <a:pt x="146590" y="47625"/>
                    <a:pt x="145923" y="48959"/>
                    <a:pt x="145923" y="49625"/>
                  </a:cubicBezTo>
                  <a:close/>
                  <a:moveTo>
                    <a:pt x="176784" y="260890"/>
                  </a:moveTo>
                  <a:cubicBezTo>
                    <a:pt x="176117" y="260223"/>
                    <a:pt x="176117" y="260223"/>
                    <a:pt x="176117" y="259556"/>
                  </a:cubicBezTo>
                  <a:lnTo>
                    <a:pt x="174784" y="259556"/>
                  </a:lnTo>
                  <a:cubicBezTo>
                    <a:pt x="174784" y="259556"/>
                    <a:pt x="174117" y="260223"/>
                    <a:pt x="174117" y="260890"/>
                  </a:cubicBezTo>
                  <a:cubicBezTo>
                    <a:pt x="174117" y="260890"/>
                    <a:pt x="174117" y="261557"/>
                    <a:pt x="175450" y="261557"/>
                  </a:cubicBezTo>
                  <a:lnTo>
                    <a:pt x="176117" y="261557"/>
                  </a:lnTo>
                  <a:cubicBezTo>
                    <a:pt x="176117" y="260890"/>
                    <a:pt x="176784" y="260890"/>
                    <a:pt x="176784" y="260890"/>
                  </a:cubicBezTo>
                  <a:close/>
                  <a:moveTo>
                    <a:pt x="191929" y="257461"/>
                  </a:moveTo>
                  <a:cubicBezTo>
                    <a:pt x="191929" y="257461"/>
                    <a:pt x="191929" y="258128"/>
                    <a:pt x="191262" y="258128"/>
                  </a:cubicBezTo>
                  <a:cubicBezTo>
                    <a:pt x="191262" y="258128"/>
                    <a:pt x="190595" y="258128"/>
                    <a:pt x="190595" y="257461"/>
                  </a:cubicBezTo>
                  <a:cubicBezTo>
                    <a:pt x="190595" y="257461"/>
                    <a:pt x="191262" y="257461"/>
                    <a:pt x="191262" y="256794"/>
                  </a:cubicBezTo>
                  <a:cubicBezTo>
                    <a:pt x="191929" y="256794"/>
                    <a:pt x="191929" y="257461"/>
                    <a:pt x="191929" y="257461"/>
                  </a:cubicBezTo>
                  <a:close/>
                  <a:moveTo>
                    <a:pt x="229648" y="217646"/>
                  </a:moveTo>
                  <a:lnTo>
                    <a:pt x="226219" y="221075"/>
                  </a:lnTo>
                  <a:cubicBezTo>
                    <a:pt x="225552" y="221742"/>
                    <a:pt x="225552" y="222409"/>
                    <a:pt x="224885" y="222409"/>
                  </a:cubicBezTo>
                  <a:cubicBezTo>
                    <a:pt x="224219" y="222409"/>
                    <a:pt x="224219" y="221742"/>
                    <a:pt x="224219" y="221075"/>
                  </a:cubicBezTo>
                  <a:cubicBezTo>
                    <a:pt x="224219" y="219742"/>
                    <a:pt x="223552" y="218980"/>
                    <a:pt x="222123" y="218980"/>
                  </a:cubicBezTo>
                  <a:cubicBezTo>
                    <a:pt x="221456" y="218980"/>
                    <a:pt x="220790" y="218980"/>
                    <a:pt x="220790" y="217646"/>
                  </a:cubicBezTo>
                  <a:lnTo>
                    <a:pt x="220790" y="216313"/>
                  </a:lnTo>
                  <a:cubicBezTo>
                    <a:pt x="221456" y="215646"/>
                    <a:pt x="222885" y="215646"/>
                    <a:pt x="224219" y="214217"/>
                  </a:cubicBezTo>
                  <a:cubicBezTo>
                    <a:pt x="224219" y="214217"/>
                    <a:pt x="224885" y="214217"/>
                    <a:pt x="224885" y="214884"/>
                  </a:cubicBezTo>
                  <a:cubicBezTo>
                    <a:pt x="226219" y="216218"/>
                    <a:pt x="226981" y="216218"/>
                    <a:pt x="228314" y="216218"/>
                  </a:cubicBezTo>
                  <a:cubicBezTo>
                    <a:pt x="228886" y="216980"/>
                    <a:pt x="229648" y="216980"/>
                    <a:pt x="229648" y="217646"/>
                  </a:cubicBezTo>
                  <a:close/>
                  <a:moveTo>
                    <a:pt x="233744" y="203930"/>
                  </a:moveTo>
                  <a:lnTo>
                    <a:pt x="233744" y="204597"/>
                  </a:lnTo>
                  <a:cubicBezTo>
                    <a:pt x="233744" y="206693"/>
                    <a:pt x="231648" y="208693"/>
                    <a:pt x="229648" y="208693"/>
                  </a:cubicBezTo>
                  <a:lnTo>
                    <a:pt x="228981" y="208693"/>
                  </a:lnTo>
                  <a:lnTo>
                    <a:pt x="228314" y="208026"/>
                  </a:lnTo>
                  <a:cubicBezTo>
                    <a:pt x="228314" y="208026"/>
                    <a:pt x="228314" y="206693"/>
                    <a:pt x="228981" y="206693"/>
                  </a:cubicBezTo>
                  <a:cubicBezTo>
                    <a:pt x="230315" y="206693"/>
                    <a:pt x="231077" y="206026"/>
                    <a:pt x="231077" y="204597"/>
                  </a:cubicBezTo>
                  <a:lnTo>
                    <a:pt x="231077" y="203264"/>
                  </a:lnTo>
                  <a:lnTo>
                    <a:pt x="231743" y="203264"/>
                  </a:lnTo>
                  <a:cubicBezTo>
                    <a:pt x="232315" y="203264"/>
                    <a:pt x="233077" y="203264"/>
                    <a:pt x="233744" y="203930"/>
                  </a:cubicBezTo>
                  <a:close/>
                  <a:moveTo>
                    <a:pt x="249460" y="192977"/>
                  </a:moveTo>
                  <a:cubicBezTo>
                    <a:pt x="249460" y="192310"/>
                    <a:pt x="250127" y="192310"/>
                    <a:pt x="250793" y="192310"/>
                  </a:cubicBezTo>
                  <a:cubicBezTo>
                    <a:pt x="250127" y="193643"/>
                    <a:pt x="248698" y="195072"/>
                    <a:pt x="248698" y="197072"/>
                  </a:cubicBezTo>
                  <a:cubicBezTo>
                    <a:pt x="248031" y="197739"/>
                    <a:pt x="247364" y="198406"/>
                    <a:pt x="247364" y="197739"/>
                  </a:cubicBezTo>
                  <a:lnTo>
                    <a:pt x="247364" y="195644"/>
                  </a:lnTo>
                  <a:cubicBezTo>
                    <a:pt x="247459" y="195072"/>
                    <a:pt x="247459" y="193643"/>
                    <a:pt x="249460" y="192977"/>
                  </a:cubicBezTo>
                  <a:close/>
                  <a:moveTo>
                    <a:pt x="251555" y="158020"/>
                  </a:moveTo>
                  <a:cubicBezTo>
                    <a:pt x="250888" y="157353"/>
                    <a:pt x="250888" y="156686"/>
                    <a:pt x="250888" y="155258"/>
                  </a:cubicBezTo>
                  <a:lnTo>
                    <a:pt x="250222" y="155258"/>
                  </a:lnTo>
                  <a:lnTo>
                    <a:pt x="250222" y="156591"/>
                  </a:lnTo>
                  <a:cubicBezTo>
                    <a:pt x="250222" y="156591"/>
                    <a:pt x="250222" y="157258"/>
                    <a:pt x="250888" y="157925"/>
                  </a:cubicBezTo>
                  <a:lnTo>
                    <a:pt x="250888" y="158591"/>
                  </a:lnTo>
                  <a:cubicBezTo>
                    <a:pt x="251555" y="158687"/>
                    <a:pt x="251555" y="158020"/>
                    <a:pt x="251555" y="158020"/>
                  </a:cubicBezTo>
                  <a:close/>
                  <a:moveTo>
                    <a:pt x="254317" y="138779"/>
                  </a:moveTo>
                  <a:lnTo>
                    <a:pt x="254317" y="139446"/>
                  </a:lnTo>
                  <a:cubicBezTo>
                    <a:pt x="253651" y="140780"/>
                    <a:pt x="252984" y="140780"/>
                    <a:pt x="251555" y="141542"/>
                  </a:cubicBezTo>
                  <a:cubicBezTo>
                    <a:pt x="251555" y="140875"/>
                    <a:pt x="250888" y="140875"/>
                    <a:pt x="250888" y="140875"/>
                  </a:cubicBezTo>
                  <a:lnTo>
                    <a:pt x="250888" y="140208"/>
                  </a:lnTo>
                  <a:lnTo>
                    <a:pt x="252984" y="138113"/>
                  </a:lnTo>
                  <a:cubicBezTo>
                    <a:pt x="252222" y="137446"/>
                    <a:pt x="253651" y="138113"/>
                    <a:pt x="254317" y="138779"/>
                  </a:cubicBezTo>
                  <a:close/>
                  <a:moveTo>
                    <a:pt x="267367" y="147066"/>
                  </a:moveTo>
                  <a:lnTo>
                    <a:pt x="267367" y="147733"/>
                  </a:lnTo>
                  <a:lnTo>
                    <a:pt x="266033" y="151829"/>
                  </a:lnTo>
                  <a:cubicBezTo>
                    <a:pt x="265271" y="152495"/>
                    <a:pt x="265271" y="153924"/>
                    <a:pt x="265271" y="153924"/>
                  </a:cubicBezTo>
                  <a:cubicBezTo>
                    <a:pt x="264605" y="155258"/>
                    <a:pt x="264605" y="155258"/>
                    <a:pt x="264605" y="156020"/>
                  </a:cubicBezTo>
                  <a:cubicBezTo>
                    <a:pt x="264605" y="157353"/>
                    <a:pt x="264605" y="158115"/>
                    <a:pt x="262509" y="158115"/>
                  </a:cubicBezTo>
                  <a:cubicBezTo>
                    <a:pt x="261842" y="158115"/>
                    <a:pt x="259747" y="156782"/>
                    <a:pt x="260413" y="156020"/>
                  </a:cubicBezTo>
                  <a:cubicBezTo>
                    <a:pt x="262509" y="153924"/>
                    <a:pt x="262509" y="151924"/>
                    <a:pt x="262509" y="150495"/>
                  </a:cubicBezTo>
                  <a:lnTo>
                    <a:pt x="262509" y="148400"/>
                  </a:lnTo>
                  <a:cubicBezTo>
                    <a:pt x="262509" y="147733"/>
                    <a:pt x="262509" y="146304"/>
                    <a:pt x="263176" y="145637"/>
                  </a:cubicBezTo>
                  <a:cubicBezTo>
                    <a:pt x="263176" y="143542"/>
                    <a:pt x="263842" y="141542"/>
                    <a:pt x="265271" y="140113"/>
                  </a:cubicBezTo>
                  <a:lnTo>
                    <a:pt x="265271" y="138779"/>
                  </a:lnTo>
                  <a:cubicBezTo>
                    <a:pt x="265271" y="138113"/>
                    <a:pt x="265271" y="137446"/>
                    <a:pt x="265938" y="137446"/>
                  </a:cubicBezTo>
                  <a:cubicBezTo>
                    <a:pt x="265938" y="136779"/>
                    <a:pt x="266605" y="137446"/>
                    <a:pt x="266605" y="137446"/>
                  </a:cubicBezTo>
                  <a:lnTo>
                    <a:pt x="267271" y="137446"/>
                  </a:lnTo>
                  <a:cubicBezTo>
                    <a:pt x="267271" y="138113"/>
                    <a:pt x="267938" y="138779"/>
                    <a:pt x="267938" y="138779"/>
                  </a:cubicBezTo>
                  <a:cubicBezTo>
                    <a:pt x="267938" y="139446"/>
                    <a:pt x="267271" y="139446"/>
                    <a:pt x="267271" y="139446"/>
                  </a:cubicBezTo>
                  <a:cubicBezTo>
                    <a:pt x="267271" y="140113"/>
                    <a:pt x="266605" y="140780"/>
                    <a:pt x="265938" y="142208"/>
                  </a:cubicBezTo>
                  <a:cubicBezTo>
                    <a:pt x="265938" y="142875"/>
                    <a:pt x="265271" y="142875"/>
                    <a:pt x="265271" y="143542"/>
                  </a:cubicBezTo>
                  <a:cubicBezTo>
                    <a:pt x="265271" y="144209"/>
                    <a:pt x="265938" y="144209"/>
                    <a:pt x="266605" y="144875"/>
                  </a:cubicBezTo>
                  <a:cubicBezTo>
                    <a:pt x="267367" y="145637"/>
                    <a:pt x="267367" y="146304"/>
                    <a:pt x="267367" y="147066"/>
                  </a:cubicBezTo>
                  <a:close/>
                  <a:moveTo>
                    <a:pt x="260509" y="98298"/>
                  </a:moveTo>
                  <a:cubicBezTo>
                    <a:pt x="260509" y="97631"/>
                    <a:pt x="261175" y="96203"/>
                    <a:pt x="261842" y="96203"/>
                  </a:cubicBezTo>
                  <a:lnTo>
                    <a:pt x="265271" y="96203"/>
                  </a:lnTo>
                  <a:cubicBezTo>
                    <a:pt x="264605" y="96869"/>
                    <a:pt x="264605" y="97536"/>
                    <a:pt x="264605" y="98298"/>
                  </a:cubicBezTo>
                  <a:cubicBezTo>
                    <a:pt x="265271" y="98298"/>
                    <a:pt x="265271" y="98298"/>
                    <a:pt x="265271" y="98965"/>
                  </a:cubicBezTo>
                  <a:cubicBezTo>
                    <a:pt x="265271" y="99632"/>
                    <a:pt x="264605" y="100298"/>
                    <a:pt x="263938" y="100298"/>
                  </a:cubicBezTo>
                  <a:cubicBezTo>
                    <a:pt x="262509" y="100394"/>
                    <a:pt x="261842" y="99727"/>
                    <a:pt x="260509" y="98298"/>
                  </a:cubicBezTo>
                  <a:close/>
                  <a:moveTo>
                    <a:pt x="268700" y="167640"/>
                  </a:moveTo>
                  <a:cubicBezTo>
                    <a:pt x="268700" y="168307"/>
                    <a:pt x="267367" y="169736"/>
                    <a:pt x="266605" y="169736"/>
                  </a:cubicBezTo>
                  <a:cubicBezTo>
                    <a:pt x="266605" y="168402"/>
                    <a:pt x="267271" y="167640"/>
                    <a:pt x="267938" y="166307"/>
                  </a:cubicBezTo>
                  <a:lnTo>
                    <a:pt x="268605" y="166973"/>
                  </a:lnTo>
                  <a:lnTo>
                    <a:pt x="268605" y="167640"/>
                  </a:lnTo>
                  <a:close/>
                  <a:moveTo>
                    <a:pt x="272796" y="158687"/>
                  </a:moveTo>
                  <a:cubicBezTo>
                    <a:pt x="272129" y="158020"/>
                    <a:pt x="272129" y="157353"/>
                    <a:pt x="272129" y="156591"/>
                  </a:cubicBezTo>
                  <a:cubicBezTo>
                    <a:pt x="272129" y="155924"/>
                    <a:pt x="272129" y="155258"/>
                    <a:pt x="272796" y="155258"/>
                  </a:cubicBezTo>
                  <a:cubicBezTo>
                    <a:pt x="272796" y="154591"/>
                    <a:pt x="273463" y="154591"/>
                    <a:pt x="273463" y="154591"/>
                  </a:cubicBezTo>
                  <a:cubicBezTo>
                    <a:pt x="274130" y="154591"/>
                    <a:pt x="274130" y="155258"/>
                    <a:pt x="274130" y="155258"/>
                  </a:cubicBezTo>
                  <a:cubicBezTo>
                    <a:pt x="274225" y="156591"/>
                    <a:pt x="274225" y="158020"/>
                    <a:pt x="272796" y="158687"/>
                  </a:cubicBezTo>
                  <a:cubicBezTo>
                    <a:pt x="272796" y="159353"/>
                    <a:pt x="272796" y="159353"/>
                    <a:pt x="272129" y="159353"/>
                  </a:cubicBezTo>
                  <a:cubicBezTo>
                    <a:pt x="272129" y="158687"/>
                    <a:pt x="272129" y="158687"/>
                    <a:pt x="272796" y="15868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9A7EA42-29B5-4899-B3F9-B60C93990F24}"/>
              </a:ext>
            </a:extLst>
          </p:cNvPr>
          <p:cNvGrpSpPr/>
          <p:nvPr/>
        </p:nvGrpSpPr>
        <p:grpSpPr>
          <a:xfrm>
            <a:off x="962371" y="4458018"/>
            <a:ext cx="2710731" cy="1907133"/>
            <a:chOff x="1761507" y="4806166"/>
            <a:chExt cx="585833" cy="480515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5206812-395B-4496-9243-F70B0DBBE015}"/>
                </a:ext>
              </a:extLst>
            </p:cNvPr>
            <p:cNvSpPr/>
            <p:nvPr/>
          </p:nvSpPr>
          <p:spPr>
            <a:xfrm>
              <a:off x="1761507" y="4806166"/>
              <a:ext cx="585833" cy="480515"/>
            </a:xfrm>
            <a:custGeom>
              <a:avLst/>
              <a:gdLst>
                <a:gd name="connsiteX0" fmla="*/ 846106 w 847725"/>
                <a:gd name="connsiteY0" fmla="*/ 542461 h 695325"/>
                <a:gd name="connsiteX1" fmla="*/ 749808 w 847725"/>
                <a:gd name="connsiteY1" fmla="*/ 446163 h 695325"/>
                <a:gd name="connsiteX2" fmla="*/ 730377 w 847725"/>
                <a:gd name="connsiteY2" fmla="*/ 436257 h 695325"/>
                <a:gd name="connsiteX3" fmla="*/ 755809 w 847725"/>
                <a:gd name="connsiteY3" fmla="*/ 319480 h 695325"/>
                <a:gd name="connsiteX4" fmla="*/ 670084 w 847725"/>
                <a:gd name="connsiteY4" fmla="*/ 96881 h 695325"/>
                <a:gd name="connsiteX5" fmla="*/ 452056 w 847725"/>
                <a:gd name="connsiteY5" fmla="*/ 107 h 695325"/>
                <a:gd name="connsiteX6" fmla="*/ 132779 w 847725"/>
                <a:gd name="connsiteY6" fmla="*/ 303955 h 695325"/>
                <a:gd name="connsiteX7" fmla="*/ 132969 w 847725"/>
                <a:gd name="connsiteY7" fmla="*/ 321481 h 695325"/>
                <a:gd name="connsiteX8" fmla="*/ 88678 w 847725"/>
                <a:gd name="connsiteY8" fmla="*/ 332815 h 695325"/>
                <a:gd name="connsiteX9" fmla="*/ 79534 w 847725"/>
                <a:gd name="connsiteY9" fmla="*/ 396919 h 695325"/>
                <a:gd name="connsiteX10" fmla="*/ 196691 w 847725"/>
                <a:gd name="connsiteY10" fmla="*/ 466261 h 695325"/>
                <a:gd name="connsiteX11" fmla="*/ 244697 w 847725"/>
                <a:gd name="connsiteY11" fmla="*/ 453973 h 695325"/>
                <a:gd name="connsiteX12" fmla="*/ 314039 w 847725"/>
                <a:gd name="connsiteY12" fmla="*/ 336816 h 695325"/>
                <a:gd name="connsiteX13" fmla="*/ 275177 w 847725"/>
                <a:gd name="connsiteY13" fmla="*/ 285000 h 695325"/>
                <a:gd name="connsiteX14" fmla="*/ 246126 w 847725"/>
                <a:gd name="connsiteY14" fmla="*/ 292429 h 695325"/>
                <a:gd name="connsiteX15" fmla="*/ 449199 w 847725"/>
                <a:gd name="connsiteY15" fmla="*/ 112407 h 695325"/>
                <a:gd name="connsiteX16" fmla="*/ 588645 w 847725"/>
                <a:gd name="connsiteY16" fmla="*/ 174224 h 695325"/>
                <a:gd name="connsiteX17" fmla="*/ 643509 w 847725"/>
                <a:gd name="connsiteY17" fmla="*/ 316528 h 695325"/>
                <a:gd name="connsiteX18" fmla="*/ 445294 w 847725"/>
                <a:gd name="connsiteY18" fmla="*/ 510838 h 695325"/>
                <a:gd name="connsiteX19" fmla="*/ 430339 w 847725"/>
                <a:gd name="connsiteY19" fmla="*/ 512933 h 695325"/>
                <a:gd name="connsiteX20" fmla="*/ 56197 w 847725"/>
                <a:gd name="connsiteY20" fmla="*/ 512933 h 695325"/>
                <a:gd name="connsiteX21" fmla="*/ 0 w 847725"/>
                <a:gd name="connsiteY21" fmla="*/ 569131 h 695325"/>
                <a:gd name="connsiteX22" fmla="*/ 56197 w 847725"/>
                <a:gd name="connsiteY22" fmla="*/ 625328 h 695325"/>
                <a:gd name="connsiteX23" fmla="*/ 676847 w 847725"/>
                <a:gd name="connsiteY23" fmla="*/ 625328 h 695325"/>
                <a:gd name="connsiteX24" fmla="*/ 690182 w 847725"/>
                <a:gd name="connsiteY24" fmla="*/ 623709 h 695325"/>
                <a:gd name="connsiteX25" fmla="*/ 690182 w 847725"/>
                <a:gd name="connsiteY25" fmla="*/ 663333 h 695325"/>
                <a:gd name="connsiteX26" fmla="*/ 749999 w 847725"/>
                <a:gd name="connsiteY26" fmla="*/ 688098 h 695325"/>
                <a:gd name="connsiteX27" fmla="*/ 846296 w 847725"/>
                <a:gd name="connsiteY27" fmla="*/ 591800 h 695325"/>
                <a:gd name="connsiteX28" fmla="*/ 846106 w 847725"/>
                <a:gd name="connsiteY28" fmla="*/ 542461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47725" h="695325">
                  <a:moveTo>
                    <a:pt x="846106" y="542461"/>
                  </a:moveTo>
                  <a:lnTo>
                    <a:pt x="749808" y="446163"/>
                  </a:lnTo>
                  <a:cubicBezTo>
                    <a:pt x="744093" y="440448"/>
                    <a:pt x="737235" y="437305"/>
                    <a:pt x="730377" y="436257"/>
                  </a:cubicBezTo>
                  <a:cubicBezTo>
                    <a:pt x="745808" y="400443"/>
                    <a:pt x="754761" y="361105"/>
                    <a:pt x="755809" y="319480"/>
                  </a:cubicBezTo>
                  <a:cubicBezTo>
                    <a:pt x="757904" y="236232"/>
                    <a:pt x="727424" y="157174"/>
                    <a:pt x="670084" y="96881"/>
                  </a:cubicBezTo>
                  <a:cubicBezTo>
                    <a:pt x="612743" y="36588"/>
                    <a:pt x="535305" y="2203"/>
                    <a:pt x="452056" y="107"/>
                  </a:cubicBezTo>
                  <a:cubicBezTo>
                    <a:pt x="279940" y="-4370"/>
                    <a:pt x="136969" y="132124"/>
                    <a:pt x="132779" y="303955"/>
                  </a:cubicBezTo>
                  <a:cubicBezTo>
                    <a:pt x="132588" y="309765"/>
                    <a:pt x="132779" y="315670"/>
                    <a:pt x="132969" y="321481"/>
                  </a:cubicBezTo>
                  <a:lnTo>
                    <a:pt x="88678" y="332815"/>
                  </a:lnTo>
                  <a:cubicBezTo>
                    <a:pt x="58483" y="340531"/>
                    <a:pt x="52673" y="381012"/>
                    <a:pt x="79534" y="396919"/>
                  </a:cubicBezTo>
                  <a:lnTo>
                    <a:pt x="196691" y="466261"/>
                  </a:lnTo>
                  <a:cubicBezTo>
                    <a:pt x="213360" y="476071"/>
                    <a:pt x="234791" y="470642"/>
                    <a:pt x="244697" y="453973"/>
                  </a:cubicBezTo>
                  <a:lnTo>
                    <a:pt x="314039" y="336816"/>
                  </a:lnTo>
                  <a:cubicBezTo>
                    <a:pt x="329946" y="309955"/>
                    <a:pt x="305371" y="277285"/>
                    <a:pt x="275177" y="285000"/>
                  </a:cubicBezTo>
                  <a:lnTo>
                    <a:pt x="246126" y="292429"/>
                  </a:lnTo>
                  <a:cubicBezTo>
                    <a:pt x="256127" y="189464"/>
                    <a:pt x="344424" y="109930"/>
                    <a:pt x="449199" y="112407"/>
                  </a:cubicBezTo>
                  <a:cubicBezTo>
                    <a:pt x="502444" y="113740"/>
                    <a:pt x="551879" y="135648"/>
                    <a:pt x="588645" y="174224"/>
                  </a:cubicBezTo>
                  <a:cubicBezTo>
                    <a:pt x="625316" y="212800"/>
                    <a:pt x="644843" y="263283"/>
                    <a:pt x="643509" y="316528"/>
                  </a:cubicBezTo>
                  <a:cubicBezTo>
                    <a:pt x="640842" y="425017"/>
                    <a:pt x="553688" y="510361"/>
                    <a:pt x="445294" y="510838"/>
                  </a:cubicBezTo>
                  <a:cubicBezTo>
                    <a:pt x="440055" y="510838"/>
                    <a:pt x="435102" y="511600"/>
                    <a:pt x="430339" y="512933"/>
                  </a:cubicBezTo>
                  <a:lnTo>
                    <a:pt x="56197" y="512933"/>
                  </a:lnTo>
                  <a:cubicBezTo>
                    <a:pt x="25146" y="512933"/>
                    <a:pt x="0" y="538079"/>
                    <a:pt x="0" y="569131"/>
                  </a:cubicBezTo>
                  <a:cubicBezTo>
                    <a:pt x="0" y="600182"/>
                    <a:pt x="25146" y="625328"/>
                    <a:pt x="56197" y="625328"/>
                  </a:cubicBezTo>
                  <a:lnTo>
                    <a:pt x="676847" y="625328"/>
                  </a:lnTo>
                  <a:cubicBezTo>
                    <a:pt x="681418" y="625328"/>
                    <a:pt x="685895" y="624757"/>
                    <a:pt x="690182" y="623709"/>
                  </a:cubicBezTo>
                  <a:lnTo>
                    <a:pt x="690182" y="663333"/>
                  </a:lnTo>
                  <a:cubicBezTo>
                    <a:pt x="690182" y="694575"/>
                    <a:pt x="727901" y="710196"/>
                    <a:pt x="749999" y="688098"/>
                  </a:cubicBezTo>
                  <a:lnTo>
                    <a:pt x="846296" y="591800"/>
                  </a:lnTo>
                  <a:cubicBezTo>
                    <a:pt x="859726" y="578370"/>
                    <a:pt x="859726" y="556177"/>
                    <a:pt x="846106" y="54246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2BAB0881-C537-479B-AC7B-16B23DB469D5}"/>
                </a:ext>
              </a:extLst>
            </p:cNvPr>
            <p:cNvGrpSpPr/>
            <p:nvPr/>
          </p:nvGrpSpPr>
          <p:grpSpPr>
            <a:xfrm>
              <a:off x="1804491" y="4843628"/>
              <a:ext cx="507568" cy="400934"/>
              <a:chOff x="1804491" y="4843628"/>
              <a:chExt cx="507568" cy="400934"/>
            </a:xfrm>
          </p:grpSpPr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46C733D4-8197-4463-8B6E-1C4FA6980D5F}"/>
                  </a:ext>
                </a:extLst>
              </p:cNvPr>
              <p:cNvSpPr/>
              <p:nvPr/>
            </p:nvSpPr>
            <p:spPr>
              <a:xfrm>
                <a:off x="2208452" y="5199669"/>
                <a:ext cx="98736" cy="6582"/>
              </a:xfrm>
              <a:custGeom>
                <a:avLst/>
                <a:gdLst>
                  <a:gd name="connsiteX0" fmla="*/ 0 w 142875"/>
                  <a:gd name="connsiteY0" fmla="*/ 0 h 0"/>
                  <a:gd name="connsiteX1" fmla="*/ 151638 w 1428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2875">
                    <a:moveTo>
                      <a:pt x="0" y="0"/>
                    </a:moveTo>
                    <a:lnTo>
                      <a:pt x="151638" y="0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30B2984D-13D5-48BA-968E-9BA885FD6803}"/>
                  </a:ext>
                </a:extLst>
              </p:cNvPr>
              <p:cNvSpPr/>
              <p:nvPr/>
            </p:nvSpPr>
            <p:spPr>
              <a:xfrm>
                <a:off x="1846486" y="5034188"/>
                <a:ext cx="85571" cy="52659"/>
              </a:xfrm>
              <a:custGeom>
                <a:avLst/>
                <a:gdLst>
                  <a:gd name="connsiteX0" fmla="*/ 131445 w 123825"/>
                  <a:gd name="connsiteY0" fmla="*/ 0 h 76200"/>
                  <a:gd name="connsiteX1" fmla="*/ 84677 w 123825"/>
                  <a:gd name="connsiteY1" fmla="*/ 84677 h 76200"/>
                  <a:gd name="connsiteX2" fmla="*/ 0 w 123825"/>
                  <a:gd name="connsiteY2" fmla="*/ 38005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3825" h="76200">
                    <a:moveTo>
                      <a:pt x="131445" y="0"/>
                    </a:moveTo>
                    <a:lnTo>
                      <a:pt x="84677" y="84677"/>
                    </a:lnTo>
                    <a:lnTo>
                      <a:pt x="0" y="38005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3795B0A-D98D-4E72-BFB6-793009E9791B}"/>
                  </a:ext>
                </a:extLst>
              </p:cNvPr>
              <p:cNvSpPr/>
              <p:nvPr/>
            </p:nvSpPr>
            <p:spPr>
              <a:xfrm>
                <a:off x="2265982" y="5152408"/>
                <a:ext cx="46077" cy="92154"/>
              </a:xfrm>
              <a:custGeom>
                <a:avLst/>
                <a:gdLst>
                  <a:gd name="connsiteX0" fmla="*/ 0 w 66675"/>
                  <a:gd name="connsiteY0" fmla="*/ 0 h 133350"/>
                  <a:gd name="connsiteX1" fmla="*/ 68389 w 66675"/>
                  <a:gd name="connsiteY1" fmla="*/ 68390 h 133350"/>
                  <a:gd name="connsiteX2" fmla="*/ 0 w 66675"/>
                  <a:gd name="connsiteY2" fmla="*/ 136779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6675" h="133350">
                    <a:moveTo>
                      <a:pt x="0" y="0"/>
                    </a:moveTo>
                    <a:lnTo>
                      <a:pt x="68389" y="68390"/>
                    </a:lnTo>
                    <a:lnTo>
                      <a:pt x="0" y="136779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AA7B65C8-6151-43DA-9147-AEED249BFBFB}"/>
                  </a:ext>
                </a:extLst>
              </p:cNvPr>
              <p:cNvSpPr/>
              <p:nvPr/>
            </p:nvSpPr>
            <p:spPr>
              <a:xfrm>
                <a:off x="1804491" y="4843628"/>
                <a:ext cx="441020" cy="355449"/>
              </a:xfrm>
              <a:custGeom>
                <a:avLst/>
                <a:gdLst>
                  <a:gd name="connsiteX0" fmla="*/ 0 w 638175"/>
                  <a:gd name="connsiteY0" fmla="*/ 515207 h 514350"/>
                  <a:gd name="connsiteX1" fmla="*/ 382048 w 638175"/>
                  <a:gd name="connsiteY1" fmla="*/ 515207 h 514350"/>
                  <a:gd name="connsiteX2" fmla="*/ 639604 w 638175"/>
                  <a:gd name="connsiteY2" fmla="*/ 257651 h 514350"/>
                  <a:gd name="connsiteX3" fmla="*/ 382048 w 638175"/>
                  <a:gd name="connsiteY3" fmla="*/ 0 h 514350"/>
                  <a:gd name="connsiteX4" fmla="*/ 124492 w 638175"/>
                  <a:gd name="connsiteY4" fmla="*/ 257556 h 514350"/>
                  <a:gd name="connsiteX5" fmla="*/ 141922 w 638175"/>
                  <a:gd name="connsiteY5" fmla="*/ 350996 h 514350"/>
                  <a:gd name="connsiteX6" fmla="*/ 145542 w 638175"/>
                  <a:gd name="connsiteY6" fmla="*/ 360426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38175" h="514350">
                    <a:moveTo>
                      <a:pt x="0" y="515207"/>
                    </a:moveTo>
                    <a:lnTo>
                      <a:pt x="382048" y="515207"/>
                    </a:lnTo>
                    <a:cubicBezTo>
                      <a:pt x="524351" y="515207"/>
                      <a:pt x="639604" y="399860"/>
                      <a:pt x="639604" y="257651"/>
                    </a:cubicBezTo>
                    <a:cubicBezTo>
                      <a:pt x="639604" y="115443"/>
                      <a:pt x="524256" y="0"/>
                      <a:pt x="382048" y="0"/>
                    </a:cubicBezTo>
                    <a:cubicBezTo>
                      <a:pt x="239839" y="0"/>
                      <a:pt x="124492" y="115348"/>
                      <a:pt x="124492" y="257556"/>
                    </a:cubicBezTo>
                    <a:cubicBezTo>
                      <a:pt x="124492" y="290513"/>
                      <a:pt x="130683" y="322040"/>
                      <a:pt x="141922" y="350996"/>
                    </a:cubicBezTo>
                    <a:lnTo>
                      <a:pt x="145542" y="360426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7234C1C-07B0-4DE1-9530-7B418127A3AA}"/>
              </a:ext>
            </a:extLst>
          </p:cNvPr>
          <p:cNvGrpSpPr/>
          <p:nvPr/>
        </p:nvGrpSpPr>
        <p:grpSpPr>
          <a:xfrm>
            <a:off x="2055277" y="5135508"/>
            <a:ext cx="881278" cy="454180"/>
            <a:chOff x="5492527" y="3260609"/>
            <a:chExt cx="883643" cy="351730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96357F2E-4878-4396-9656-CC6F0DB77935}"/>
                </a:ext>
              </a:extLst>
            </p:cNvPr>
            <p:cNvSpPr/>
            <p:nvPr/>
          </p:nvSpPr>
          <p:spPr>
            <a:xfrm>
              <a:off x="5492527" y="3329150"/>
              <a:ext cx="163596" cy="265138"/>
            </a:xfrm>
            <a:custGeom>
              <a:avLst/>
              <a:gdLst>
                <a:gd name="connsiteX0" fmla="*/ 68259 w 163595"/>
                <a:gd name="connsiteY0" fmla="*/ 59515 h 265137"/>
                <a:gd name="connsiteX1" fmla="*/ 67695 w 163595"/>
                <a:gd name="connsiteY1" fmla="*/ 60361 h 265137"/>
                <a:gd name="connsiteX2" fmla="*/ 66848 w 163595"/>
                <a:gd name="connsiteY2" fmla="*/ 61207 h 265137"/>
                <a:gd name="connsiteX3" fmla="*/ 65438 w 163595"/>
                <a:gd name="connsiteY3" fmla="*/ 63182 h 265137"/>
                <a:gd name="connsiteX4" fmla="*/ 66284 w 163595"/>
                <a:gd name="connsiteY4" fmla="*/ 63464 h 265137"/>
                <a:gd name="connsiteX5" fmla="*/ 65156 w 163595"/>
                <a:gd name="connsiteY5" fmla="*/ 64874 h 265137"/>
                <a:gd name="connsiteX6" fmla="*/ 64028 w 163595"/>
                <a:gd name="connsiteY6" fmla="*/ 66566 h 265137"/>
                <a:gd name="connsiteX7" fmla="*/ 62900 w 163595"/>
                <a:gd name="connsiteY7" fmla="*/ 67131 h 265137"/>
                <a:gd name="connsiteX8" fmla="*/ 62336 w 163595"/>
                <a:gd name="connsiteY8" fmla="*/ 66849 h 265137"/>
                <a:gd name="connsiteX9" fmla="*/ 61772 w 163595"/>
                <a:gd name="connsiteY9" fmla="*/ 67413 h 265137"/>
                <a:gd name="connsiteX10" fmla="*/ 62336 w 163595"/>
                <a:gd name="connsiteY10" fmla="*/ 67695 h 265137"/>
                <a:gd name="connsiteX11" fmla="*/ 62618 w 163595"/>
                <a:gd name="connsiteY11" fmla="*/ 67977 h 265137"/>
                <a:gd name="connsiteX12" fmla="*/ 60643 w 163595"/>
                <a:gd name="connsiteY12" fmla="*/ 71644 h 265137"/>
                <a:gd name="connsiteX13" fmla="*/ 59797 w 163595"/>
                <a:gd name="connsiteY13" fmla="*/ 73054 h 265137"/>
                <a:gd name="connsiteX14" fmla="*/ 58669 w 163595"/>
                <a:gd name="connsiteY14" fmla="*/ 74464 h 265137"/>
                <a:gd name="connsiteX15" fmla="*/ 58105 w 163595"/>
                <a:gd name="connsiteY15" fmla="*/ 75310 h 265137"/>
                <a:gd name="connsiteX16" fmla="*/ 57823 w 163595"/>
                <a:gd name="connsiteY16" fmla="*/ 75592 h 265137"/>
                <a:gd name="connsiteX17" fmla="*/ 57541 w 163595"/>
                <a:gd name="connsiteY17" fmla="*/ 75592 h 265137"/>
                <a:gd name="connsiteX18" fmla="*/ 57541 w 163595"/>
                <a:gd name="connsiteY18" fmla="*/ 74746 h 265137"/>
                <a:gd name="connsiteX19" fmla="*/ 56976 w 163595"/>
                <a:gd name="connsiteY19" fmla="*/ 74746 h 265137"/>
                <a:gd name="connsiteX20" fmla="*/ 56130 w 163595"/>
                <a:gd name="connsiteY20" fmla="*/ 75592 h 265137"/>
                <a:gd name="connsiteX21" fmla="*/ 56130 w 163595"/>
                <a:gd name="connsiteY21" fmla="*/ 76157 h 265137"/>
                <a:gd name="connsiteX22" fmla="*/ 56694 w 163595"/>
                <a:gd name="connsiteY22" fmla="*/ 76157 h 265137"/>
                <a:gd name="connsiteX23" fmla="*/ 56694 w 163595"/>
                <a:gd name="connsiteY23" fmla="*/ 76439 h 265137"/>
                <a:gd name="connsiteX24" fmla="*/ 56976 w 163595"/>
                <a:gd name="connsiteY24" fmla="*/ 76721 h 265137"/>
                <a:gd name="connsiteX25" fmla="*/ 56694 w 163595"/>
                <a:gd name="connsiteY25" fmla="*/ 77003 h 265137"/>
                <a:gd name="connsiteX26" fmla="*/ 55566 w 163595"/>
                <a:gd name="connsiteY26" fmla="*/ 77003 h 265137"/>
                <a:gd name="connsiteX27" fmla="*/ 55002 w 163595"/>
                <a:gd name="connsiteY27" fmla="*/ 77285 h 265137"/>
                <a:gd name="connsiteX28" fmla="*/ 55002 w 163595"/>
                <a:gd name="connsiteY28" fmla="*/ 78131 h 265137"/>
                <a:gd name="connsiteX29" fmla="*/ 55566 w 163595"/>
                <a:gd name="connsiteY29" fmla="*/ 78413 h 265137"/>
                <a:gd name="connsiteX30" fmla="*/ 55848 w 163595"/>
                <a:gd name="connsiteY30" fmla="*/ 78977 h 265137"/>
                <a:gd name="connsiteX31" fmla="*/ 55566 w 163595"/>
                <a:gd name="connsiteY31" fmla="*/ 79259 h 265137"/>
                <a:gd name="connsiteX32" fmla="*/ 54438 w 163595"/>
                <a:gd name="connsiteY32" fmla="*/ 79823 h 265137"/>
                <a:gd name="connsiteX33" fmla="*/ 52745 w 163595"/>
                <a:gd name="connsiteY33" fmla="*/ 80387 h 265137"/>
                <a:gd name="connsiteX34" fmla="*/ 52745 w 163595"/>
                <a:gd name="connsiteY34" fmla="*/ 80670 h 265137"/>
                <a:gd name="connsiteX35" fmla="*/ 53310 w 163595"/>
                <a:gd name="connsiteY35" fmla="*/ 81516 h 265137"/>
                <a:gd name="connsiteX36" fmla="*/ 53310 w 163595"/>
                <a:gd name="connsiteY36" fmla="*/ 81798 h 265137"/>
                <a:gd name="connsiteX37" fmla="*/ 53027 w 163595"/>
                <a:gd name="connsiteY37" fmla="*/ 82080 h 265137"/>
                <a:gd name="connsiteX38" fmla="*/ 52745 w 163595"/>
                <a:gd name="connsiteY38" fmla="*/ 82362 h 265137"/>
                <a:gd name="connsiteX39" fmla="*/ 52463 w 163595"/>
                <a:gd name="connsiteY39" fmla="*/ 82926 h 265137"/>
                <a:gd name="connsiteX40" fmla="*/ 52745 w 163595"/>
                <a:gd name="connsiteY40" fmla="*/ 83490 h 265137"/>
                <a:gd name="connsiteX41" fmla="*/ 53027 w 163595"/>
                <a:gd name="connsiteY41" fmla="*/ 84054 h 265137"/>
                <a:gd name="connsiteX42" fmla="*/ 52745 w 163595"/>
                <a:gd name="connsiteY42" fmla="*/ 84900 h 265137"/>
                <a:gd name="connsiteX43" fmla="*/ 52181 w 163595"/>
                <a:gd name="connsiteY43" fmla="*/ 86029 h 265137"/>
                <a:gd name="connsiteX44" fmla="*/ 51335 w 163595"/>
                <a:gd name="connsiteY44" fmla="*/ 86311 h 265137"/>
                <a:gd name="connsiteX45" fmla="*/ 50489 w 163595"/>
                <a:gd name="connsiteY45" fmla="*/ 86593 h 265137"/>
                <a:gd name="connsiteX46" fmla="*/ 50489 w 163595"/>
                <a:gd name="connsiteY46" fmla="*/ 87157 h 265137"/>
                <a:gd name="connsiteX47" fmla="*/ 50771 w 163595"/>
                <a:gd name="connsiteY47" fmla="*/ 87439 h 265137"/>
                <a:gd name="connsiteX48" fmla="*/ 50489 w 163595"/>
                <a:gd name="connsiteY48" fmla="*/ 88003 h 265137"/>
                <a:gd name="connsiteX49" fmla="*/ 49925 w 163595"/>
                <a:gd name="connsiteY49" fmla="*/ 88003 h 265137"/>
                <a:gd name="connsiteX50" fmla="*/ 49361 w 163595"/>
                <a:gd name="connsiteY50" fmla="*/ 88285 h 265137"/>
                <a:gd name="connsiteX51" fmla="*/ 49079 w 163595"/>
                <a:gd name="connsiteY51" fmla="*/ 89413 h 265137"/>
                <a:gd name="connsiteX52" fmla="*/ 49079 w 163595"/>
                <a:gd name="connsiteY52" fmla="*/ 89696 h 265137"/>
                <a:gd name="connsiteX53" fmla="*/ 49643 w 163595"/>
                <a:gd name="connsiteY53" fmla="*/ 90824 h 265137"/>
                <a:gd name="connsiteX54" fmla="*/ 49361 w 163595"/>
                <a:gd name="connsiteY54" fmla="*/ 91388 h 265137"/>
                <a:gd name="connsiteX55" fmla="*/ 47668 w 163595"/>
                <a:gd name="connsiteY55" fmla="*/ 95055 h 265137"/>
                <a:gd name="connsiteX56" fmla="*/ 46258 w 163595"/>
                <a:gd name="connsiteY56" fmla="*/ 95901 h 265137"/>
                <a:gd name="connsiteX57" fmla="*/ 45694 w 163595"/>
                <a:gd name="connsiteY57" fmla="*/ 96465 h 265137"/>
                <a:gd name="connsiteX58" fmla="*/ 45412 w 163595"/>
                <a:gd name="connsiteY58" fmla="*/ 97029 h 265137"/>
                <a:gd name="connsiteX59" fmla="*/ 45694 w 163595"/>
                <a:gd name="connsiteY59" fmla="*/ 97311 h 265137"/>
                <a:gd name="connsiteX60" fmla="*/ 45976 w 163595"/>
                <a:gd name="connsiteY60" fmla="*/ 97311 h 265137"/>
                <a:gd name="connsiteX61" fmla="*/ 46540 w 163595"/>
                <a:gd name="connsiteY61" fmla="*/ 97593 h 265137"/>
                <a:gd name="connsiteX62" fmla="*/ 46258 w 163595"/>
                <a:gd name="connsiteY62" fmla="*/ 97875 h 265137"/>
                <a:gd name="connsiteX63" fmla="*/ 44848 w 163595"/>
                <a:gd name="connsiteY63" fmla="*/ 99004 h 265137"/>
                <a:gd name="connsiteX64" fmla="*/ 44566 w 163595"/>
                <a:gd name="connsiteY64" fmla="*/ 99286 h 265137"/>
                <a:gd name="connsiteX65" fmla="*/ 44848 w 163595"/>
                <a:gd name="connsiteY65" fmla="*/ 99568 h 265137"/>
                <a:gd name="connsiteX66" fmla="*/ 45130 w 163595"/>
                <a:gd name="connsiteY66" fmla="*/ 100132 h 265137"/>
                <a:gd name="connsiteX67" fmla="*/ 44848 w 163595"/>
                <a:gd name="connsiteY67" fmla="*/ 100696 h 265137"/>
                <a:gd name="connsiteX68" fmla="*/ 44002 w 163595"/>
                <a:gd name="connsiteY68" fmla="*/ 102952 h 265137"/>
                <a:gd name="connsiteX69" fmla="*/ 43720 w 163595"/>
                <a:gd name="connsiteY69" fmla="*/ 103799 h 265137"/>
                <a:gd name="connsiteX70" fmla="*/ 42027 w 163595"/>
                <a:gd name="connsiteY70" fmla="*/ 106055 h 265137"/>
                <a:gd name="connsiteX71" fmla="*/ 41463 w 163595"/>
                <a:gd name="connsiteY71" fmla="*/ 107183 h 265137"/>
                <a:gd name="connsiteX72" fmla="*/ 40617 w 163595"/>
                <a:gd name="connsiteY72" fmla="*/ 109440 h 265137"/>
                <a:gd name="connsiteX73" fmla="*/ 39489 w 163595"/>
                <a:gd name="connsiteY73" fmla="*/ 111978 h 265137"/>
                <a:gd name="connsiteX74" fmla="*/ 38642 w 163595"/>
                <a:gd name="connsiteY74" fmla="*/ 113107 h 265137"/>
                <a:gd name="connsiteX75" fmla="*/ 38360 w 163595"/>
                <a:gd name="connsiteY75" fmla="*/ 113953 h 265137"/>
                <a:gd name="connsiteX76" fmla="*/ 38360 w 163595"/>
                <a:gd name="connsiteY76" fmla="*/ 114517 h 265137"/>
                <a:gd name="connsiteX77" fmla="*/ 37796 w 163595"/>
                <a:gd name="connsiteY77" fmla="*/ 116773 h 265137"/>
                <a:gd name="connsiteX78" fmla="*/ 37232 w 163595"/>
                <a:gd name="connsiteY78" fmla="*/ 118184 h 265137"/>
                <a:gd name="connsiteX79" fmla="*/ 35258 w 163595"/>
                <a:gd name="connsiteY79" fmla="*/ 124389 h 265137"/>
                <a:gd name="connsiteX80" fmla="*/ 34693 w 163595"/>
                <a:gd name="connsiteY80" fmla="*/ 128902 h 265137"/>
                <a:gd name="connsiteX81" fmla="*/ 34976 w 163595"/>
                <a:gd name="connsiteY81" fmla="*/ 130030 h 265137"/>
                <a:gd name="connsiteX82" fmla="*/ 34976 w 163595"/>
                <a:gd name="connsiteY82" fmla="*/ 130312 h 265137"/>
                <a:gd name="connsiteX83" fmla="*/ 34411 w 163595"/>
                <a:gd name="connsiteY83" fmla="*/ 131159 h 265137"/>
                <a:gd name="connsiteX84" fmla="*/ 33565 w 163595"/>
                <a:gd name="connsiteY84" fmla="*/ 132287 h 265137"/>
                <a:gd name="connsiteX85" fmla="*/ 32719 w 163595"/>
                <a:gd name="connsiteY85" fmla="*/ 132569 h 265137"/>
                <a:gd name="connsiteX86" fmla="*/ 32437 w 163595"/>
                <a:gd name="connsiteY86" fmla="*/ 132569 h 265137"/>
                <a:gd name="connsiteX87" fmla="*/ 31027 w 163595"/>
                <a:gd name="connsiteY87" fmla="*/ 131441 h 265137"/>
                <a:gd name="connsiteX88" fmla="*/ 30745 w 163595"/>
                <a:gd name="connsiteY88" fmla="*/ 131159 h 265137"/>
                <a:gd name="connsiteX89" fmla="*/ 30180 w 163595"/>
                <a:gd name="connsiteY89" fmla="*/ 131723 h 265137"/>
                <a:gd name="connsiteX90" fmla="*/ 29616 w 163595"/>
                <a:gd name="connsiteY90" fmla="*/ 133133 h 265137"/>
                <a:gd name="connsiteX91" fmla="*/ 29052 w 163595"/>
                <a:gd name="connsiteY91" fmla="*/ 133697 h 265137"/>
                <a:gd name="connsiteX92" fmla="*/ 28770 w 163595"/>
                <a:gd name="connsiteY92" fmla="*/ 133133 h 265137"/>
                <a:gd name="connsiteX93" fmla="*/ 27924 w 163595"/>
                <a:gd name="connsiteY93" fmla="*/ 132287 h 265137"/>
                <a:gd name="connsiteX94" fmla="*/ 27642 w 163595"/>
                <a:gd name="connsiteY94" fmla="*/ 132569 h 265137"/>
                <a:gd name="connsiteX95" fmla="*/ 27642 w 163595"/>
                <a:gd name="connsiteY95" fmla="*/ 133133 h 265137"/>
                <a:gd name="connsiteX96" fmla="*/ 27078 w 163595"/>
                <a:gd name="connsiteY96" fmla="*/ 135389 h 265137"/>
                <a:gd name="connsiteX97" fmla="*/ 26796 w 163595"/>
                <a:gd name="connsiteY97" fmla="*/ 136518 h 265137"/>
                <a:gd name="connsiteX98" fmla="*/ 26514 w 163595"/>
                <a:gd name="connsiteY98" fmla="*/ 137082 h 265137"/>
                <a:gd name="connsiteX99" fmla="*/ 27360 w 163595"/>
                <a:gd name="connsiteY99" fmla="*/ 137364 h 265137"/>
                <a:gd name="connsiteX100" fmla="*/ 27924 w 163595"/>
                <a:gd name="connsiteY100" fmla="*/ 137646 h 265137"/>
                <a:gd name="connsiteX101" fmla="*/ 27360 w 163595"/>
                <a:gd name="connsiteY101" fmla="*/ 139056 h 265137"/>
                <a:gd name="connsiteX102" fmla="*/ 25950 w 163595"/>
                <a:gd name="connsiteY102" fmla="*/ 143005 h 265137"/>
                <a:gd name="connsiteX103" fmla="*/ 25668 w 163595"/>
                <a:gd name="connsiteY103" fmla="*/ 145544 h 265137"/>
                <a:gd name="connsiteX104" fmla="*/ 25104 w 163595"/>
                <a:gd name="connsiteY104" fmla="*/ 146108 h 265137"/>
                <a:gd name="connsiteX105" fmla="*/ 24821 w 163595"/>
                <a:gd name="connsiteY105" fmla="*/ 146108 h 265137"/>
                <a:gd name="connsiteX106" fmla="*/ 25104 w 163595"/>
                <a:gd name="connsiteY106" fmla="*/ 146390 h 265137"/>
                <a:gd name="connsiteX107" fmla="*/ 25668 w 163595"/>
                <a:gd name="connsiteY107" fmla="*/ 146954 h 265137"/>
                <a:gd name="connsiteX108" fmla="*/ 25104 w 163595"/>
                <a:gd name="connsiteY108" fmla="*/ 147800 h 265137"/>
                <a:gd name="connsiteX109" fmla="*/ 25386 w 163595"/>
                <a:gd name="connsiteY109" fmla="*/ 148364 h 265137"/>
                <a:gd name="connsiteX110" fmla="*/ 25104 w 163595"/>
                <a:gd name="connsiteY110" fmla="*/ 149493 h 265137"/>
                <a:gd name="connsiteX111" fmla="*/ 25104 w 163595"/>
                <a:gd name="connsiteY111" fmla="*/ 149775 h 265137"/>
                <a:gd name="connsiteX112" fmla="*/ 24821 w 163595"/>
                <a:gd name="connsiteY112" fmla="*/ 150057 h 265137"/>
                <a:gd name="connsiteX113" fmla="*/ 24539 w 163595"/>
                <a:gd name="connsiteY113" fmla="*/ 150621 h 265137"/>
                <a:gd name="connsiteX114" fmla="*/ 24539 w 163595"/>
                <a:gd name="connsiteY114" fmla="*/ 150903 h 265137"/>
                <a:gd name="connsiteX115" fmla="*/ 24821 w 163595"/>
                <a:gd name="connsiteY115" fmla="*/ 153441 h 265137"/>
                <a:gd name="connsiteX116" fmla="*/ 23693 w 163595"/>
                <a:gd name="connsiteY116" fmla="*/ 154852 h 265137"/>
                <a:gd name="connsiteX117" fmla="*/ 23411 w 163595"/>
                <a:gd name="connsiteY117" fmla="*/ 155416 h 265137"/>
                <a:gd name="connsiteX118" fmla="*/ 23693 w 163595"/>
                <a:gd name="connsiteY118" fmla="*/ 155980 h 265137"/>
                <a:gd name="connsiteX119" fmla="*/ 24257 w 163595"/>
                <a:gd name="connsiteY119" fmla="*/ 156826 h 265137"/>
                <a:gd name="connsiteX120" fmla="*/ 24257 w 163595"/>
                <a:gd name="connsiteY120" fmla="*/ 157108 h 265137"/>
                <a:gd name="connsiteX121" fmla="*/ 23129 w 163595"/>
                <a:gd name="connsiteY121" fmla="*/ 160775 h 265137"/>
                <a:gd name="connsiteX122" fmla="*/ 23129 w 163595"/>
                <a:gd name="connsiteY122" fmla="*/ 161621 h 265137"/>
                <a:gd name="connsiteX123" fmla="*/ 22847 w 163595"/>
                <a:gd name="connsiteY123" fmla="*/ 161903 h 265137"/>
                <a:gd name="connsiteX124" fmla="*/ 22565 w 163595"/>
                <a:gd name="connsiteY124" fmla="*/ 163031 h 265137"/>
                <a:gd name="connsiteX125" fmla="*/ 22283 w 163595"/>
                <a:gd name="connsiteY125" fmla="*/ 163878 h 265137"/>
                <a:gd name="connsiteX126" fmla="*/ 22001 w 163595"/>
                <a:gd name="connsiteY126" fmla="*/ 165852 h 265137"/>
                <a:gd name="connsiteX127" fmla="*/ 22001 w 163595"/>
                <a:gd name="connsiteY127" fmla="*/ 167262 h 265137"/>
                <a:gd name="connsiteX128" fmla="*/ 22283 w 163595"/>
                <a:gd name="connsiteY128" fmla="*/ 167827 h 265137"/>
                <a:gd name="connsiteX129" fmla="*/ 22001 w 163595"/>
                <a:gd name="connsiteY129" fmla="*/ 168673 h 265137"/>
                <a:gd name="connsiteX130" fmla="*/ 20873 w 163595"/>
                <a:gd name="connsiteY130" fmla="*/ 171775 h 265137"/>
                <a:gd name="connsiteX131" fmla="*/ 20873 w 163595"/>
                <a:gd name="connsiteY131" fmla="*/ 172904 h 265137"/>
                <a:gd name="connsiteX132" fmla="*/ 20308 w 163595"/>
                <a:gd name="connsiteY132" fmla="*/ 174032 h 265137"/>
                <a:gd name="connsiteX133" fmla="*/ 20026 w 163595"/>
                <a:gd name="connsiteY133" fmla="*/ 174878 h 265137"/>
                <a:gd name="connsiteX134" fmla="*/ 20026 w 163595"/>
                <a:gd name="connsiteY134" fmla="*/ 176006 h 265137"/>
                <a:gd name="connsiteX135" fmla="*/ 19744 w 163595"/>
                <a:gd name="connsiteY135" fmla="*/ 176570 h 265137"/>
                <a:gd name="connsiteX136" fmla="*/ 20026 w 163595"/>
                <a:gd name="connsiteY136" fmla="*/ 177135 h 265137"/>
                <a:gd name="connsiteX137" fmla="*/ 20308 w 163595"/>
                <a:gd name="connsiteY137" fmla="*/ 177417 h 265137"/>
                <a:gd name="connsiteX138" fmla="*/ 20308 w 163595"/>
                <a:gd name="connsiteY138" fmla="*/ 178827 h 265137"/>
                <a:gd name="connsiteX139" fmla="*/ 19744 w 163595"/>
                <a:gd name="connsiteY139" fmla="*/ 180237 h 265137"/>
                <a:gd name="connsiteX140" fmla="*/ 19744 w 163595"/>
                <a:gd name="connsiteY140" fmla="*/ 180519 h 265137"/>
                <a:gd name="connsiteX141" fmla="*/ 20026 w 163595"/>
                <a:gd name="connsiteY141" fmla="*/ 181648 h 265137"/>
                <a:gd name="connsiteX142" fmla="*/ 19744 w 163595"/>
                <a:gd name="connsiteY142" fmla="*/ 182776 h 265137"/>
                <a:gd name="connsiteX143" fmla="*/ 19462 w 163595"/>
                <a:gd name="connsiteY143" fmla="*/ 183058 h 265137"/>
                <a:gd name="connsiteX144" fmla="*/ 19744 w 163595"/>
                <a:gd name="connsiteY144" fmla="*/ 183904 h 265137"/>
                <a:gd name="connsiteX145" fmla="*/ 19180 w 163595"/>
                <a:gd name="connsiteY145" fmla="*/ 185032 h 265137"/>
                <a:gd name="connsiteX146" fmla="*/ 18898 w 163595"/>
                <a:gd name="connsiteY146" fmla="*/ 185596 h 265137"/>
                <a:gd name="connsiteX147" fmla="*/ 18898 w 163595"/>
                <a:gd name="connsiteY147" fmla="*/ 185878 h 265137"/>
                <a:gd name="connsiteX148" fmla="*/ 19462 w 163595"/>
                <a:gd name="connsiteY148" fmla="*/ 186161 h 265137"/>
                <a:gd name="connsiteX149" fmla="*/ 19180 w 163595"/>
                <a:gd name="connsiteY149" fmla="*/ 187007 h 265137"/>
                <a:gd name="connsiteX150" fmla="*/ 19180 w 163595"/>
                <a:gd name="connsiteY150" fmla="*/ 190109 h 265137"/>
                <a:gd name="connsiteX151" fmla="*/ 19462 w 163595"/>
                <a:gd name="connsiteY151" fmla="*/ 192930 h 265137"/>
                <a:gd name="connsiteX152" fmla="*/ 19180 w 163595"/>
                <a:gd name="connsiteY152" fmla="*/ 194622 h 265137"/>
                <a:gd name="connsiteX153" fmla="*/ 19180 w 163595"/>
                <a:gd name="connsiteY153" fmla="*/ 197725 h 265137"/>
                <a:gd name="connsiteX154" fmla="*/ 18616 w 163595"/>
                <a:gd name="connsiteY154" fmla="*/ 199982 h 265137"/>
                <a:gd name="connsiteX155" fmla="*/ 18334 w 163595"/>
                <a:gd name="connsiteY155" fmla="*/ 200264 h 265137"/>
                <a:gd name="connsiteX156" fmla="*/ 18616 w 163595"/>
                <a:gd name="connsiteY156" fmla="*/ 200546 h 265137"/>
                <a:gd name="connsiteX157" fmla="*/ 18898 w 163595"/>
                <a:gd name="connsiteY157" fmla="*/ 201392 h 265137"/>
                <a:gd name="connsiteX158" fmla="*/ 18616 w 163595"/>
                <a:gd name="connsiteY158" fmla="*/ 201956 h 265137"/>
                <a:gd name="connsiteX159" fmla="*/ 18334 w 163595"/>
                <a:gd name="connsiteY159" fmla="*/ 202520 h 265137"/>
                <a:gd name="connsiteX160" fmla="*/ 18898 w 163595"/>
                <a:gd name="connsiteY160" fmla="*/ 203084 h 265137"/>
                <a:gd name="connsiteX161" fmla="*/ 18616 w 163595"/>
                <a:gd name="connsiteY161" fmla="*/ 203366 h 265137"/>
                <a:gd name="connsiteX162" fmla="*/ 18334 w 163595"/>
                <a:gd name="connsiteY162" fmla="*/ 203930 h 265137"/>
                <a:gd name="connsiteX163" fmla="*/ 18052 w 163595"/>
                <a:gd name="connsiteY163" fmla="*/ 204494 h 265137"/>
                <a:gd name="connsiteX164" fmla="*/ 18334 w 163595"/>
                <a:gd name="connsiteY164" fmla="*/ 205059 h 265137"/>
                <a:gd name="connsiteX165" fmla="*/ 18334 w 163595"/>
                <a:gd name="connsiteY165" fmla="*/ 207315 h 265137"/>
                <a:gd name="connsiteX166" fmla="*/ 17770 w 163595"/>
                <a:gd name="connsiteY166" fmla="*/ 209854 h 265137"/>
                <a:gd name="connsiteX167" fmla="*/ 17770 w 163595"/>
                <a:gd name="connsiteY167" fmla="*/ 210700 h 265137"/>
                <a:gd name="connsiteX168" fmla="*/ 18334 w 163595"/>
                <a:gd name="connsiteY168" fmla="*/ 211828 h 265137"/>
                <a:gd name="connsiteX169" fmla="*/ 18052 w 163595"/>
                <a:gd name="connsiteY169" fmla="*/ 212674 h 265137"/>
                <a:gd name="connsiteX170" fmla="*/ 17770 w 163595"/>
                <a:gd name="connsiteY170" fmla="*/ 213520 h 265137"/>
                <a:gd name="connsiteX171" fmla="*/ 18052 w 163595"/>
                <a:gd name="connsiteY171" fmla="*/ 214931 h 265137"/>
                <a:gd name="connsiteX172" fmla="*/ 17770 w 163595"/>
                <a:gd name="connsiteY172" fmla="*/ 217469 h 265137"/>
                <a:gd name="connsiteX173" fmla="*/ 17488 w 163595"/>
                <a:gd name="connsiteY173" fmla="*/ 218880 h 265137"/>
                <a:gd name="connsiteX174" fmla="*/ 17770 w 163595"/>
                <a:gd name="connsiteY174" fmla="*/ 219444 h 265137"/>
                <a:gd name="connsiteX175" fmla="*/ 18052 w 163595"/>
                <a:gd name="connsiteY175" fmla="*/ 220572 h 265137"/>
                <a:gd name="connsiteX176" fmla="*/ 17770 w 163595"/>
                <a:gd name="connsiteY176" fmla="*/ 224239 h 265137"/>
                <a:gd name="connsiteX177" fmla="*/ 17488 w 163595"/>
                <a:gd name="connsiteY177" fmla="*/ 225367 h 265137"/>
                <a:gd name="connsiteX178" fmla="*/ 17770 w 163595"/>
                <a:gd name="connsiteY178" fmla="*/ 226495 h 265137"/>
                <a:gd name="connsiteX179" fmla="*/ 18052 w 163595"/>
                <a:gd name="connsiteY179" fmla="*/ 227341 h 265137"/>
                <a:gd name="connsiteX180" fmla="*/ 17488 w 163595"/>
                <a:gd name="connsiteY180" fmla="*/ 228752 h 265137"/>
                <a:gd name="connsiteX181" fmla="*/ 17206 w 163595"/>
                <a:gd name="connsiteY181" fmla="*/ 229598 h 265137"/>
                <a:gd name="connsiteX182" fmla="*/ 17770 w 163595"/>
                <a:gd name="connsiteY182" fmla="*/ 232137 h 265137"/>
                <a:gd name="connsiteX183" fmla="*/ 18052 w 163595"/>
                <a:gd name="connsiteY183" fmla="*/ 233829 h 265137"/>
                <a:gd name="connsiteX184" fmla="*/ 17770 w 163595"/>
                <a:gd name="connsiteY184" fmla="*/ 235521 h 265137"/>
                <a:gd name="connsiteX185" fmla="*/ 17770 w 163595"/>
                <a:gd name="connsiteY185" fmla="*/ 238060 h 265137"/>
                <a:gd name="connsiteX186" fmla="*/ 18052 w 163595"/>
                <a:gd name="connsiteY186" fmla="*/ 239188 h 265137"/>
                <a:gd name="connsiteX187" fmla="*/ 17770 w 163595"/>
                <a:gd name="connsiteY187" fmla="*/ 240598 h 265137"/>
                <a:gd name="connsiteX188" fmla="*/ 18052 w 163595"/>
                <a:gd name="connsiteY188" fmla="*/ 241445 h 265137"/>
                <a:gd name="connsiteX189" fmla="*/ 18334 w 163595"/>
                <a:gd name="connsiteY189" fmla="*/ 242009 h 265137"/>
                <a:gd name="connsiteX190" fmla="*/ 18616 w 163595"/>
                <a:gd name="connsiteY190" fmla="*/ 245958 h 265137"/>
                <a:gd name="connsiteX191" fmla="*/ 18616 w 163595"/>
                <a:gd name="connsiteY191" fmla="*/ 246804 h 265137"/>
                <a:gd name="connsiteX192" fmla="*/ 18052 w 163595"/>
                <a:gd name="connsiteY192" fmla="*/ 247932 h 265137"/>
                <a:gd name="connsiteX193" fmla="*/ 18334 w 163595"/>
                <a:gd name="connsiteY193" fmla="*/ 249060 h 265137"/>
                <a:gd name="connsiteX194" fmla="*/ 18334 w 163595"/>
                <a:gd name="connsiteY194" fmla="*/ 249624 h 265137"/>
                <a:gd name="connsiteX195" fmla="*/ 18052 w 163595"/>
                <a:gd name="connsiteY195" fmla="*/ 250753 h 265137"/>
                <a:gd name="connsiteX196" fmla="*/ 18616 w 163595"/>
                <a:gd name="connsiteY196" fmla="*/ 254701 h 265137"/>
                <a:gd name="connsiteX197" fmla="*/ 18898 w 163595"/>
                <a:gd name="connsiteY197" fmla="*/ 255548 h 265137"/>
                <a:gd name="connsiteX198" fmla="*/ 18616 w 163595"/>
                <a:gd name="connsiteY198" fmla="*/ 256112 h 265137"/>
                <a:gd name="connsiteX199" fmla="*/ 18334 w 163595"/>
                <a:gd name="connsiteY199" fmla="*/ 256958 h 265137"/>
                <a:gd name="connsiteX200" fmla="*/ 18334 w 163595"/>
                <a:gd name="connsiteY200" fmla="*/ 257522 h 265137"/>
                <a:gd name="connsiteX201" fmla="*/ 18052 w 163595"/>
                <a:gd name="connsiteY201" fmla="*/ 258086 h 265137"/>
                <a:gd name="connsiteX202" fmla="*/ 17488 w 163595"/>
                <a:gd name="connsiteY202" fmla="*/ 258086 h 265137"/>
                <a:gd name="connsiteX203" fmla="*/ 17206 w 163595"/>
                <a:gd name="connsiteY203" fmla="*/ 257804 h 265137"/>
                <a:gd name="connsiteX204" fmla="*/ 16924 w 163595"/>
                <a:gd name="connsiteY204" fmla="*/ 258086 h 265137"/>
                <a:gd name="connsiteX205" fmla="*/ 15231 w 163595"/>
                <a:gd name="connsiteY205" fmla="*/ 260061 h 265137"/>
                <a:gd name="connsiteX206" fmla="*/ 14667 w 163595"/>
                <a:gd name="connsiteY206" fmla="*/ 260625 h 265137"/>
                <a:gd name="connsiteX207" fmla="*/ 13821 w 163595"/>
                <a:gd name="connsiteY207" fmla="*/ 261189 h 265137"/>
                <a:gd name="connsiteX208" fmla="*/ 13257 w 163595"/>
                <a:gd name="connsiteY208" fmla="*/ 260907 h 265137"/>
                <a:gd name="connsiteX209" fmla="*/ 11564 w 163595"/>
                <a:gd name="connsiteY209" fmla="*/ 260343 h 265137"/>
                <a:gd name="connsiteX210" fmla="*/ 11282 w 163595"/>
                <a:gd name="connsiteY210" fmla="*/ 260625 h 265137"/>
                <a:gd name="connsiteX211" fmla="*/ 11000 w 163595"/>
                <a:gd name="connsiteY211" fmla="*/ 261753 h 265137"/>
                <a:gd name="connsiteX212" fmla="*/ 10718 w 163595"/>
                <a:gd name="connsiteY212" fmla="*/ 262317 h 265137"/>
                <a:gd name="connsiteX213" fmla="*/ 10154 w 163595"/>
                <a:gd name="connsiteY213" fmla="*/ 262317 h 265137"/>
                <a:gd name="connsiteX214" fmla="*/ 8744 w 163595"/>
                <a:gd name="connsiteY214" fmla="*/ 260625 h 265137"/>
                <a:gd name="connsiteX215" fmla="*/ 8744 w 163595"/>
                <a:gd name="connsiteY215" fmla="*/ 260343 h 265137"/>
                <a:gd name="connsiteX216" fmla="*/ 7898 w 163595"/>
                <a:gd name="connsiteY216" fmla="*/ 259214 h 265137"/>
                <a:gd name="connsiteX217" fmla="*/ 7616 w 163595"/>
                <a:gd name="connsiteY217" fmla="*/ 259214 h 265137"/>
                <a:gd name="connsiteX218" fmla="*/ 7616 w 163595"/>
                <a:gd name="connsiteY218" fmla="*/ 260343 h 265137"/>
                <a:gd name="connsiteX219" fmla="*/ 7898 w 163595"/>
                <a:gd name="connsiteY219" fmla="*/ 261189 h 265137"/>
                <a:gd name="connsiteX220" fmla="*/ 8180 w 163595"/>
                <a:gd name="connsiteY220" fmla="*/ 261753 h 265137"/>
                <a:gd name="connsiteX221" fmla="*/ 7616 w 163595"/>
                <a:gd name="connsiteY221" fmla="*/ 262317 h 265137"/>
                <a:gd name="connsiteX222" fmla="*/ 7334 w 163595"/>
                <a:gd name="connsiteY222" fmla="*/ 262881 h 265137"/>
                <a:gd name="connsiteX223" fmla="*/ 7052 w 163595"/>
                <a:gd name="connsiteY223" fmla="*/ 263163 h 265137"/>
                <a:gd name="connsiteX224" fmla="*/ 6770 w 163595"/>
                <a:gd name="connsiteY224" fmla="*/ 262881 h 265137"/>
                <a:gd name="connsiteX225" fmla="*/ 6205 w 163595"/>
                <a:gd name="connsiteY225" fmla="*/ 261471 h 265137"/>
                <a:gd name="connsiteX226" fmla="*/ 5641 w 163595"/>
                <a:gd name="connsiteY226" fmla="*/ 261471 h 265137"/>
                <a:gd name="connsiteX227" fmla="*/ 5359 w 163595"/>
                <a:gd name="connsiteY227" fmla="*/ 262599 h 265137"/>
                <a:gd name="connsiteX228" fmla="*/ 5641 w 163595"/>
                <a:gd name="connsiteY228" fmla="*/ 263163 h 265137"/>
                <a:gd name="connsiteX229" fmla="*/ 5641 w 163595"/>
                <a:gd name="connsiteY229" fmla="*/ 264292 h 265137"/>
                <a:gd name="connsiteX230" fmla="*/ 5923 w 163595"/>
                <a:gd name="connsiteY230" fmla="*/ 265138 h 265137"/>
                <a:gd name="connsiteX231" fmla="*/ 5641 w 163595"/>
                <a:gd name="connsiteY231" fmla="*/ 265138 h 265137"/>
                <a:gd name="connsiteX232" fmla="*/ 4795 w 163595"/>
                <a:gd name="connsiteY232" fmla="*/ 264856 h 265137"/>
                <a:gd name="connsiteX233" fmla="*/ 4231 w 163595"/>
                <a:gd name="connsiteY233" fmla="*/ 264009 h 265137"/>
                <a:gd name="connsiteX234" fmla="*/ 3949 w 163595"/>
                <a:gd name="connsiteY234" fmla="*/ 262317 h 265137"/>
                <a:gd name="connsiteX235" fmla="*/ 3667 w 163595"/>
                <a:gd name="connsiteY235" fmla="*/ 260907 h 265137"/>
                <a:gd name="connsiteX236" fmla="*/ 3667 w 163595"/>
                <a:gd name="connsiteY236" fmla="*/ 260061 h 265137"/>
                <a:gd name="connsiteX237" fmla="*/ 2821 w 163595"/>
                <a:gd name="connsiteY237" fmla="*/ 258650 h 265137"/>
                <a:gd name="connsiteX238" fmla="*/ 2256 w 163595"/>
                <a:gd name="connsiteY238" fmla="*/ 257522 h 265137"/>
                <a:gd name="connsiteX239" fmla="*/ 2539 w 163595"/>
                <a:gd name="connsiteY239" fmla="*/ 256394 h 265137"/>
                <a:gd name="connsiteX240" fmla="*/ 2256 w 163595"/>
                <a:gd name="connsiteY240" fmla="*/ 255266 h 265137"/>
                <a:gd name="connsiteX241" fmla="*/ 1692 w 163595"/>
                <a:gd name="connsiteY241" fmla="*/ 254419 h 265137"/>
                <a:gd name="connsiteX242" fmla="*/ 1974 w 163595"/>
                <a:gd name="connsiteY242" fmla="*/ 253573 h 265137"/>
                <a:gd name="connsiteX243" fmla="*/ 1692 w 163595"/>
                <a:gd name="connsiteY243" fmla="*/ 252727 h 265137"/>
                <a:gd name="connsiteX244" fmla="*/ 1128 w 163595"/>
                <a:gd name="connsiteY244" fmla="*/ 251599 h 265137"/>
                <a:gd name="connsiteX245" fmla="*/ 1410 w 163595"/>
                <a:gd name="connsiteY245" fmla="*/ 250753 h 265137"/>
                <a:gd name="connsiteX246" fmla="*/ 1974 w 163595"/>
                <a:gd name="connsiteY246" fmla="*/ 248496 h 265137"/>
                <a:gd name="connsiteX247" fmla="*/ 1974 w 163595"/>
                <a:gd name="connsiteY247" fmla="*/ 247650 h 265137"/>
                <a:gd name="connsiteX248" fmla="*/ 2256 w 163595"/>
                <a:gd name="connsiteY248" fmla="*/ 247086 h 265137"/>
                <a:gd name="connsiteX249" fmla="*/ 1974 w 163595"/>
                <a:gd name="connsiteY249" fmla="*/ 246240 h 265137"/>
                <a:gd name="connsiteX250" fmla="*/ 1410 w 163595"/>
                <a:gd name="connsiteY250" fmla="*/ 244829 h 265137"/>
                <a:gd name="connsiteX251" fmla="*/ 1692 w 163595"/>
                <a:gd name="connsiteY251" fmla="*/ 243983 h 265137"/>
                <a:gd name="connsiteX252" fmla="*/ 1410 w 163595"/>
                <a:gd name="connsiteY252" fmla="*/ 243701 h 265137"/>
                <a:gd name="connsiteX253" fmla="*/ 846 w 163595"/>
                <a:gd name="connsiteY253" fmla="*/ 243137 h 265137"/>
                <a:gd name="connsiteX254" fmla="*/ 564 w 163595"/>
                <a:gd name="connsiteY254" fmla="*/ 239752 h 265137"/>
                <a:gd name="connsiteX255" fmla="*/ 0 w 163595"/>
                <a:gd name="connsiteY255" fmla="*/ 238342 h 265137"/>
                <a:gd name="connsiteX256" fmla="*/ 282 w 163595"/>
                <a:gd name="connsiteY256" fmla="*/ 237214 h 265137"/>
                <a:gd name="connsiteX257" fmla="*/ 282 w 163595"/>
                <a:gd name="connsiteY257" fmla="*/ 229034 h 265137"/>
                <a:gd name="connsiteX258" fmla="*/ 564 w 163595"/>
                <a:gd name="connsiteY258" fmla="*/ 227059 h 265137"/>
                <a:gd name="connsiteX259" fmla="*/ 282 w 163595"/>
                <a:gd name="connsiteY259" fmla="*/ 226213 h 265137"/>
                <a:gd name="connsiteX260" fmla="*/ 282 w 163595"/>
                <a:gd name="connsiteY260" fmla="*/ 225085 h 265137"/>
                <a:gd name="connsiteX261" fmla="*/ 564 w 163595"/>
                <a:gd name="connsiteY261" fmla="*/ 223957 h 265137"/>
                <a:gd name="connsiteX262" fmla="*/ 564 w 163595"/>
                <a:gd name="connsiteY262" fmla="*/ 221700 h 265137"/>
                <a:gd name="connsiteX263" fmla="*/ 1128 w 163595"/>
                <a:gd name="connsiteY263" fmla="*/ 220290 h 265137"/>
                <a:gd name="connsiteX264" fmla="*/ 1410 w 163595"/>
                <a:gd name="connsiteY264" fmla="*/ 219726 h 265137"/>
                <a:gd name="connsiteX265" fmla="*/ 1410 w 163595"/>
                <a:gd name="connsiteY265" fmla="*/ 219444 h 265137"/>
                <a:gd name="connsiteX266" fmla="*/ 1128 w 163595"/>
                <a:gd name="connsiteY266" fmla="*/ 218598 h 265137"/>
                <a:gd name="connsiteX267" fmla="*/ 1692 w 163595"/>
                <a:gd name="connsiteY267" fmla="*/ 216905 h 265137"/>
                <a:gd name="connsiteX268" fmla="*/ 1974 w 163595"/>
                <a:gd name="connsiteY268" fmla="*/ 216059 h 265137"/>
                <a:gd name="connsiteX269" fmla="*/ 1692 w 163595"/>
                <a:gd name="connsiteY269" fmla="*/ 215495 h 265137"/>
                <a:gd name="connsiteX270" fmla="*/ 1410 w 163595"/>
                <a:gd name="connsiteY270" fmla="*/ 215213 h 265137"/>
                <a:gd name="connsiteX271" fmla="*/ 1692 w 163595"/>
                <a:gd name="connsiteY271" fmla="*/ 214367 h 265137"/>
                <a:gd name="connsiteX272" fmla="*/ 1128 w 163595"/>
                <a:gd name="connsiteY272" fmla="*/ 212392 h 265137"/>
                <a:gd name="connsiteX273" fmla="*/ 846 w 163595"/>
                <a:gd name="connsiteY273" fmla="*/ 211546 h 265137"/>
                <a:gd name="connsiteX274" fmla="*/ 846 w 163595"/>
                <a:gd name="connsiteY274" fmla="*/ 207033 h 265137"/>
                <a:gd name="connsiteX275" fmla="*/ 1128 w 163595"/>
                <a:gd name="connsiteY275" fmla="*/ 205623 h 265137"/>
                <a:gd name="connsiteX276" fmla="*/ 1128 w 163595"/>
                <a:gd name="connsiteY276" fmla="*/ 201110 h 265137"/>
                <a:gd name="connsiteX277" fmla="*/ 1692 w 163595"/>
                <a:gd name="connsiteY277" fmla="*/ 198853 h 265137"/>
                <a:gd name="connsiteX278" fmla="*/ 1692 w 163595"/>
                <a:gd name="connsiteY278" fmla="*/ 197443 h 265137"/>
                <a:gd name="connsiteX279" fmla="*/ 1974 w 163595"/>
                <a:gd name="connsiteY279" fmla="*/ 194340 h 265137"/>
                <a:gd name="connsiteX280" fmla="*/ 2256 w 163595"/>
                <a:gd name="connsiteY280" fmla="*/ 193494 h 265137"/>
                <a:gd name="connsiteX281" fmla="*/ 2539 w 163595"/>
                <a:gd name="connsiteY281" fmla="*/ 192930 h 265137"/>
                <a:gd name="connsiteX282" fmla="*/ 2539 w 163595"/>
                <a:gd name="connsiteY282" fmla="*/ 192366 h 265137"/>
                <a:gd name="connsiteX283" fmla="*/ 2256 w 163595"/>
                <a:gd name="connsiteY283" fmla="*/ 191520 h 265137"/>
                <a:gd name="connsiteX284" fmla="*/ 2256 w 163595"/>
                <a:gd name="connsiteY284" fmla="*/ 186725 h 265137"/>
                <a:gd name="connsiteX285" fmla="*/ 2539 w 163595"/>
                <a:gd name="connsiteY285" fmla="*/ 185314 h 265137"/>
                <a:gd name="connsiteX286" fmla="*/ 3103 w 163595"/>
                <a:gd name="connsiteY286" fmla="*/ 182212 h 265137"/>
                <a:gd name="connsiteX287" fmla="*/ 3385 w 163595"/>
                <a:gd name="connsiteY287" fmla="*/ 181648 h 265137"/>
                <a:gd name="connsiteX288" fmla="*/ 3103 w 163595"/>
                <a:gd name="connsiteY288" fmla="*/ 180801 h 265137"/>
                <a:gd name="connsiteX289" fmla="*/ 2821 w 163595"/>
                <a:gd name="connsiteY289" fmla="*/ 179955 h 265137"/>
                <a:gd name="connsiteX290" fmla="*/ 3667 w 163595"/>
                <a:gd name="connsiteY290" fmla="*/ 177135 h 265137"/>
                <a:gd name="connsiteX291" fmla="*/ 4513 w 163595"/>
                <a:gd name="connsiteY291" fmla="*/ 175724 h 265137"/>
                <a:gd name="connsiteX292" fmla="*/ 4795 w 163595"/>
                <a:gd name="connsiteY292" fmla="*/ 175160 h 265137"/>
                <a:gd name="connsiteX293" fmla="*/ 4513 w 163595"/>
                <a:gd name="connsiteY293" fmla="*/ 174314 h 265137"/>
                <a:gd name="connsiteX294" fmla="*/ 3949 w 163595"/>
                <a:gd name="connsiteY294" fmla="*/ 173750 h 265137"/>
                <a:gd name="connsiteX295" fmla="*/ 4231 w 163595"/>
                <a:gd name="connsiteY295" fmla="*/ 173186 h 265137"/>
                <a:gd name="connsiteX296" fmla="*/ 4795 w 163595"/>
                <a:gd name="connsiteY296" fmla="*/ 170929 h 265137"/>
                <a:gd name="connsiteX297" fmla="*/ 4795 w 163595"/>
                <a:gd name="connsiteY297" fmla="*/ 170365 h 265137"/>
                <a:gd name="connsiteX298" fmla="*/ 5077 w 163595"/>
                <a:gd name="connsiteY298" fmla="*/ 169519 h 265137"/>
                <a:gd name="connsiteX299" fmla="*/ 5077 w 163595"/>
                <a:gd name="connsiteY299" fmla="*/ 168955 h 265137"/>
                <a:gd name="connsiteX300" fmla="*/ 5359 w 163595"/>
                <a:gd name="connsiteY300" fmla="*/ 166980 h 265137"/>
                <a:gd name="connsiteX301" fmla="*/ 6205 w 163595"/>
                <a:gd name="connsiteY301" fmla="*/ 163031 h 265137"/>
                <a:gd name="connsiteX302" fmla="*/ 6487 w 163595"/>
                <a:gd name="connsiteY302" fmla="*/ 162467 h 265137"/>
                <a:gd name="connsiteX303" fmla="*/ 6770 w 163595"/>
                <a:gd name="connsiteY303" fmla="*/ 161903 h 265137"/>
                <a:gd name="connsiteX304" fmla="*/ 6487 w 163595"/>
                <a:gd name="connsiteY304" fmla="*/ 161057 h 265137"/>
                <a:gd name="connsiteX305" fmla="*/ 6205 w 163595"/>
                <a:gd name="connsiteY305" fmla="*/ 159365 h 265137"/>
                <a:gd name="connsiteX306" fmla="*/ 7334 w 163595"/>
                <a:gd name="connsiteY306" fmla="*/ 157672 h 265137"/>
                <a:gd name="connsiteX307" fmla="*/ 7616 w 163595"/>
                <a:gd name="connsiteY307" fmla="*/ 157108 h 265137"/>
                <a:gd name="connsiteX308" fmla="*/ 7616 w 163595"/>
                <a:gd name="connsiteY308" fmla="*/ 156826 h 265137"/>
                <a:gd name="connsiteX309" fmla="*/ 7334 w 163595"/>
                <a:gd name="connsiteY309" fmla="*/ 156262 h 265137"/>
                <a:gd name="connsiteX310" fmla="*/ 7052 w 163595"/>
                <a:gd name="connsiteY310" fmla="*/ 155698 h 265137"/>
                <a:gd name="connsiteX311" fmla="*/ 7616 w 163595"/>
                <a:gd name="connsiteY311" fmla="*/ 155134 h 265137"/>
                <a:gd name="connsiteX312" fmla="*/ 7898 w 163595"/>
                <a:gd name="connsiteY312" fmla="*/ 154852 h 265137"/>
                <a:gd name="connsiteX313" fmla="*/ 7616 w 163595"/>
                <a:gd name="connsiteY313" fmla="*/ 154570 h 265137"/>
                <a:gd name="connsiteX314" fmla="*/ 7052 w 163595"/>
                <a:gd name="connsiteY314" fmla="*/ 154288 h 265137"/>
                <a:gd name="connsiteX315" fmla="*/ 7616 w 163595"/>
                <a:gd name="connsiteY315" fmla="*/ 153723 h 265137"/>
                <a:gd name="connsiteX316" fmla="*/ 7898 w 163595"/>
                <a:gd name="connsiteY316" fmla="*/ 153159 h 265137"/>
                <a:gd name="connsiteX317" fmla="*/ 8180 w 163595"/>
                <a:gd name="connsiteY317" fmla="*/ 152595 h 265137"/>
                <a:gd name="connsiteX318" fmla="*/ 7898 w 163595"/>
                <a:gd name="connsiteY318" fmla="*/ 152031 h 265137"/>
                <a:gd name="connsiteX319" fmla="*/ 7616 w 163595"/>
                <a:gd name="connsiteY319" fmla="*/ 151749 h 265137"/>
                <a:gd name="connsiteX320" fmla="*/ 7334 w 163595"/>
                <a:gd name="connsiteY320" fmla="*/ 151185 h 265137"/>
                <a:gd name="connsiteX321" fmla="*/ 7616 w 163595"/>
                <a:gd name="connsiteY321" fmla="*/ 150621 h 265137"/>
                <a:gd name="connsiteX322" fmla="*/ 8744 w 163595"/>
                <a:gd name="connsiteY322" fmla="*/ 149493 h 265137"/>
                <a:gd name="connsiteX323" fmla="*/ 9026 w 163595"/>
                <a:gd name="connsiteY323" fmla="*/ 148928 h 265137"/>
                <a:gd name="connsiteX324" fmla="*/ 8744 w 163595"/>
                <a:gd name="connsiteY324" fmla="*/ 148082 h 265137"/>
                <a:gd name="connsiteX325" fmla="*/ 8462 w 163595"/>
                <a:gd name="connsiteY325" fmla="*/ 147518 h 265137"/>
                <a:gd name="connsiteX326" fmla="*/ 8744 w 163595"/>
                <a:gd name="connsiteY326" fmla="*/ 146672 h 265137"/>
                <a:gd name="connsiteX327" fmla="*/ 8462 w 163595"/>
                <a:gd name="connsiteY327" fmla="*/ 145262 h 265137"/>
                <a:gd name="connsiteX328" fmla="*/ 8462 w 163595"/>
                <a:gd name="connsiteY328" fmla="*/ 144697 h 265137"/>
                <a:gd name="connsiteX329" fmla="*/ 9590 w 163595"/>
                <a:gd name="connsiteY329" fmla="*/ 142723 h 265137"/>
                <a:gd name="connsiteX330" fmla="*/ 9590 w 163595"/>
                <a:gd name="connsiteY330" fmla="*/ 142441 h 265137"/>
                <a:gd name="connsiteX331" fmla="*/ 9308 w 163595"/>
                <a:gd name="connsiteY331" fmla="*/ 141595 h 265137"/>
                <a:gd name="connsiteX332" fmla="*/ 10436 w 163595"/>
                <a:gd name="connsiteY332" fmla="*/ 139620 h 265137"/>
                <a:gd name="connsiteX333" fmla="*/ 10718 w 163595"/>
                <a:gd name="connsiteY333" fmla="*/ 139338 h 265137"/>
                <a:gd name="connsiteX334" fmla="*/ 10154 w 163595"/>
                <a:gd name="connsiteY334" fmla="*/ 138774 h 265137"/>
                <a:gd name="connsiteX335" fmla="*/ 9590 w 163595"/>
                <a:gd name="connsiteY335" fmla="*/ 138210 h 265137"/>
                <a:gd name="connsiteX336" fmla="*/ 9872 w 163595"/>
                <a:gd name="connsiteY336" fmla="*/ 137928 h 265137"/>
                <a:gd name="connsiteX337" fmla="*/ 10154 w 163595"/>
                <a:gd name="connsiteY337" fmla="*/ 137646 h 265137"/>
                <a:gd name="connsiteX338" fmla="*/ 10154 w 163595"/>
                <a:gd name="connsiteY338" fmla="*/ 137082 h 265137"/>
                <a:gd name="connsiteX339" fmla="*/ 10718 w 163595"/>
                <a:gd name="connsiteY339" fmla="*/ 136518 h 265137"/>
                <a:gd name="connsiteX340" fmla="*/ 11282 w 163595"/>
                <a:gd name="connsiteY340" fmla="*/ 135954 h 265137"/>
                <a:gd name="connsiteX341" fmla="*/ 11000 w 163595"/>
                <a:gd name="connsiteY341" fmla="*/ 135107 h 265137"/>
                <a:gd name="connsiteX342" fmla="*/ 11282 w 163595"/>
                <a:gd name="connsiteY342" fmla="*/ 133979 h 265137"/>
                <a:gd name="connsiteX343" fmla="*/ 11282 w 163595"/>
                <a:gd name="connsiteY343" fmla="*/ 133697 h 265137"/>
                <a:gd name="connsiteX344" fmla="*/ 11564 w 163595"/>
                <a:gd name="connsiteY344" fmla="*/ 131723 h 265137"/>
                <a:gd name="connsiteX345" fmla="*/ 21719 w 163595"/>
                <a:gd name="connsiteY345" fmla="*/ 84618 h 265137"/>
                <a:gd name="connsiteX346" fmla="*/ 21719 w 163595"/>
                <a:gd name="connsiteY346" fmla="*/ 84336 h 265137"/>
                <a:gd name="connsiteX347" fmla="*/ 23975 w 163595"/>
                <a:gd name="connsiteY347" fmla="*/ 79823 h 265137"/>
                <a:gd name="connsiteX348" fmla="*/ 24539 w 163595"/>
                <a:gd name="connsiteY348" fmla="*/ 78977 h 265137"/>
                <a:gd name="connsiteX349" fmla="*/ 24821 w 163595"/>
                <a:gd name="connsiteY349" fmla="*/ 78131 h 265137"/>
                <a:gd name="connsiteX350" fmla="*/ 24821 w 163595"/>
                <a:gd name="connsiteY350" fmla="*/ 77567 h 265137"/>
                <a:gd name="connsiteX351" fmla="*/ 25104 w 163595"/>
                <a:gd name="connsiteY351" fmla="*/ 76439 h 265137"/>
                <a:gd name="connsiteX352" fmla="*/ 25950 w 163595"/>
                <a:gd name="connsiteY352" fmla="*/ 75028 h 265137"/>
                <a:gd name="connsiteX353" fmla="*/ 26796 w 163595"/>
                <a:gd name="connsiteY353" fmla="*/ 73054 h 265137"/>
                <a:gd name="connsiteX354" fmla="*/ 26796 w 163595"/>
                <a:gd name="connsiteY354" fmla="*/ 72208 h 265137"/>
                <a:gd name="connsiteX355" fmla="*/ 27924 w 163595"/>
                <a:gd name="connsiteY355" fmla="*/ 68823 h 265137"/>
                <a:gd name="connsiteX356" fmla="*/ 28206 w 163595"/>
                <a:gd name="connsiteY356" fmla="*/ 68259 h 265137"/>
                <a:gd name="connsiteX357" fmla="*/ 28770 w 163595"/>
                <a:gd name="connsiteY357" fmla="*/ 64874 h 265137"/>
                <a:gd name="connsiteX358" fmla="*/ 29052 w 163595"/>
                <a:gd name="connsiteY358" fmla="*/ 64028 h 265137"/>
                <a:gd name="connsiteX359" fmla="*/ 35258 w 163595"/>
                <a:gd name="connsiteY359" fmla="*/ 47104 h 265137"/>
                <a:gd name="connsiteX360" fmla="*/ 36950 w 163595"/>
                <a:gd name="connsiteY360" fmla="*/ 42873 h 265137"/>
                <a:gd name="connsiteX361" fmla="*/ 38360 w 163595"/>
                <a:gd name="connsiteY361" fmla="*/ 38642 h 265137"/>
                <a:gd name="connsiteX362" fmla="*/ 39489 w 163595"/>
                <a:gd name="connsiteY362" fmla="*/ 35822 h 265137"/>
                <a:gd name="connsiteX363" fmla="*/ 40335 w 163595"/>
                <a:gd name="connsiteY363" fmla="*/ 33283 h 265137"/>
                <a:gd name="connsiteX364" fmla="*/ 41463 w 163595"/>
                <a:gd name="connsiteY364" fmla="*/ 31027 h 265137"/>
                <a:gd name="connsiteX365" fmla="*/ 41463 w 163595"/>
                <a:gd name="connsiteY365" fmla="*/ 30463 h 265137"/>
                <a:gd name="connsiteX366" fmla="*/ 43155 w 163595"/>
                <a:gd name="connsiteY366" fmla="*/ 26514 h 265137"/>
                <a:gd name="connsiteX367" fmla="*/ 43720 w 163595"/>
                <a:gd name="connsiteY367" fmla="*/ 24539 h 265137"/>
                <a:gd name="connsiteX368" fmla="*/ 44284 w 163595"/>
                <a:gd name="connsiteY368" fmla="*/ 23411 h 265137"/>
                <a:gd name="connsiteX369" fmla="*/ 44566 w 163595"/>
                <a:gd name="connsiteY369" fmla="*/ 23129 h 265137"/>
                <a:gd name="connsiteX370" fmla="*/ 44566 w 163595"/>
                <a:gd name="connsiteY370" fmla="*/ 22565 h 265137"/>
                <a:gd name="connsiteX371" fmla="*/ 45412 w 163595"/>
                <a:gd name="connsiteY371" fmla="*/ 20308 h 265137"/>
                <a:gd name="connsiteX372" fmla="*/ 47386 w 163595"/>
                <a:gd name="connsiteY372" fmla="*/ 14667 h 265137"/>
                <a:gd name="connsiteX373" fmla="*/ 48514 w 163595"/>
                <a:gd name="connsiteY373" fmla="*/ 11565 h 265137"/>
                <a:gd name="connsiteX374" fmla="*/ 49079 w 163595"/>
                <a:gd name="connsiteY374" fmla="*/ 9308 h 265137"/>
                <a:gd name="connsiteX375" fmla="*/ 49925 w 163595"/>
                <a:gd name="connsiteY375" fmla="*/ 7616 h 265137"/>
                <a:gd name="connsiteX376" fmla="*/ 51617 w 163595"/>
                <a:gd name="connsiteY376" fmla="*/ 3667 h 265137"/>
                <a:gd name="connsiteX377" fmla="*/ 51899 w 163595"/>
                <a:gd name="connsiteY377" fmla="*/ 2821 h 265137"/>
                <a:gd name="connsiteX378" fmla="*/ 53874 w 163595"/>
                <a:gd name="connsiteY378" fmla="*/ 1128 h 265137"/>
                <a:gd name="connsiteX379" fmla="*/ 54720 w 163595"/>
                <a:gd name="connsiteY379" fmla="*/ 564 h 265137"/>
                <a:gd name="connsiteX380" fmla="*/ 55848 w 163595"/>
                <a:gd name="connsiteY380" fmla="*/ 282 h 265137"/>
                <a:gd name="connsiteX381" fmla="*/ 56694 w 163595"/>
                <a:gd name="connsiteY381" fmla="*/ 0 h 265137"/>
                <a:gd name="connsiteX382" fmla="*/ 57258 w 163595"/>
                <a:gd name="connsiteY382" fmla="*/ 282 h 265137"/>
                <a:gd name="connsiteX383" fmla="*/ 59233 w 163595"/>
                <a:gd name="connsiteY383" fmla="*/ 2539 h 265137"/>
                <a:gd name="connsiteX384" fmla="*/ 59515 w 163595"/>
                <a:gd name="connsiteY384" fmla="*/ 2821 h 265137"/>
                <a:gd name="connsiteX385" fmla="*/ 60361 w 163595"/>
                <a:gd name="connsiteY385" fmla="*/ 2256 h 265137"/>
                <a:gd name="connsiteX386" fmla="*/ 61207 w 163595"/>
                <a:gd name="connsiteY386" fmla="*/ 2821 h 265137"/>
                <a:gd name="connsiteX387" fmla="*/ 61772 w 163595"/>
                <a:gd name="connsiteY387" fmla="*/ 3385 h 265137"/>
                <a:gd name="connsiteX388" fmla="*/ 62054 w 163595"/>
                <a:gd name="connsiteY388" fmla="*/ 3667 h 265137"/>
                <a:gd name="connsiteX389" fmla="*/ 62336 w 163595"/>
                <a:gd name="connsiteY389" fmla="*/ 3385 h 265137"/>
                <a:gd name="connsiteX390" fmla="*/ 63182 w 163595"/>
                <a:gd name="connsiteY390" fmla="*/ 3667 h 265137"/>
                <a:gd name="connsiteX391" fmla="*/ 64310 w 163595"/>
                <a:gd name="connsiteY391" fmla="*/ 3949 h 265137"/>
                <a:gd name="connsiteX392" fmla="*/ 65438 w 163595"/>
                <a:gd name="connsiteY392" fmla="*/ 3667 h 265137"/>
                <a:gd name="connsiteX393" fmla="*/ 66848 w 163595"/>
                <a:gd name="connsiteY393" fmla="*/ 4231 h 265137"/>
                <a:gd name="connsiteX394" fmla="*/ 67413 w 163595"/>
                <a:gd name="connsiteY394" fmla="*/ 4231 h 265137"/>
                <a:gd name="connsiteX395" fmla="*/ 67977 w 163595"/>
                <a:gd name="connsiteY395" fmla="*/ 3949 h 265137"/>
                <a:gd name="connsiteX396" fmla="*/ 69387 w 163595"/>
                <a:gd name="connsiteY396" fmla="*/ 4795 h 265137"/>
                <a:gd name="connsiteX397" fmla="*/ 69669 w 163595"/>
                <a:gd name="connsiteY397" fmla="*/ 5359 h 265137"/>
                <a:gd name="connsiteX398" fmla="*/ 68823 w 163595"/>
                <a:gd name="connsiteY398" fmla="*/ 7052 h 265137"/>
                <a:gd name="connsiteX399" fmla="*/ 67977 w 163595"/>
                <a:gd name="connsiteY399" fmla="*/ 9026 h 265137"/>
                <a:gd name="connsiteX400" fmla="*/ 67977 w 163595"/>
                <a:gd name="connsiteY400" fmla="*/ 9590 h 265137"/>
                <a:gd name="connsiteX401" fmla="*/ 67130 w 163595"/>
                <a:gd name="connsiteY401" fmla="*/ 11847 h 265137"/>
                <a:gd name="connsiteX402" fmla="*/ 66284 w 163595"/>
                <a:gd name="connsiteY402" fmla="*/ 14103 h 265137"/>
                <a:gd name="connsiteX403" fmla="*/ 64592 w 163595"/>
                <a:gd name="connsiteY403" fmla="*/ 16924 h 265137"/>
                <a:gd name="connsiteX404" fmla="*/ 63746 w 163595"/>
                <a:gd name="connsiteY404" fmla="*/ 18616 h 265137"/>
                <a:gd name="connsiteX405" fmla="*/ 63464 w 163595"/>
                <a:gd name="connsiteY405" fmla="*/ 19744 h 265137"/>
                <a:gd name="connsiteX406" fmla="*/ 63182 w 163595"/>
                <a:gd name="connsiteY406" fmla="*/ 20873 h 265137"/>
                <a:gd name="connsiteX407" fmla="*/ 62336 w 163595"/>
                <a:gd name="connsiteY407" fmla="*/ 22283 h 265137"/>
                <a:gd name="connsiteX408" fmla="*/ 62054 w 163595"/>
                <a:gd name="connsiteY408" fmla="*/ 23693 h 265137"/>
                <a:gd name="connsiteX409" fmla="*/ 62054 w 163595"/>
                <a:gd name="connsiteY409" fmla="*/ 23975 h 265137"/>
                <a:gd name="connsiteX410" fmla="*/ 61207 w 163595"/>
                <a:gd name="connsiteY410" fmla="*/ 25668 h 265137"/>
                <a:gd name="connsiteX411" fmla="*/ 60643 w 163595"/>
                <a:gd name="connsiteY411" fmla="*/ 26796 h 265137"/>
                <a:gd name="connsiteX412" fmla="*/ 60643 w 163595"/>
                <a:gd name="connsiteY412" fmla="*/ 27360 h 265137"/>
                <a:gd name="connsiteX413" fmla="*/ 60925 w 163595"/>
                <a:gd name="connsiteY413" fmla="*/ 27924 h 265137"/>
                <a:gd name="connsiteX414" fmla="*/ 61207 w 163595"/>
                <a:gd name="connsiteY414" fmla="*/ 28488 h 265137"/>
                <a:gd name="connsiteX415" fmla="*/ 60925 w 163595"/>
                <a:gd name="connsiteY415" fmla="*/ 29052 h 265137"/>
                <a:gd name="connsiteX416" fmla="*/ 60079 w 163595"/>
                <a:gd name="connsiteY416" fmla="*/ 30463 h 265137"/>
                <a:gd name="connsiteX417" fmla="*/ 60079 w 163595"/>
                <a:gd name="connsiteY417" fmla="*/ 30745 h 265137"/>
                <a:gd name="connsiteX418" fmla="*/ 58669 w 163595"/>
                <a:gd name="connsiteY418" fmla="*/ 32719 h 265137"/>
                <a:gd name="connsiteX419" fmla="*/ 57541 w 163595"/>
                <a:gd name="connsiteY419" fmla="*/ 34411 h 265137"/>
                <a:gd name="connsiteX420" fmla="*/ 57258 w 163595"/>
                <a:gd name="connsiteY420" fmla="*/ 34694 h 265137"/>
                <a:gd name="connsiteX421" fmla="*/ 57541 w 163595"/>
                <a:gd name="connsiteY421" fmla="*/ 34976 h 265137"/>
                <a:gd name="connsiteX422" fmla="*/ 58105 w 163595"/>
                <a:gd name="connsiteY422" fmla="*/ 36104 h 265137"/>
                <a:gd name="connsiteX423" fmla="*/ 58105 w 163595"/>
                <a:gd name="connsiteY423" fmla="*/ 36668 h 265137"/>
                <a:gd name="connsiteX424" fmla="*/ 57258 w 163595"/>
                <a:gd name="connsiteY424" fmla="*/ 38078 h 265137"/>
                <a:gd name="connsiteX425" fmla="*/ 56694 w 163595"/>
                <a:gd name="connsiteY425" fmla="*/ 38924 h 265137"/>
                <a:gd name="connsiteX426" fmla="*/ 55848 w 163595"/>
                <a:gd name="connsiteY426" fmla="*/ 40335 h 265137"/>
                <a:gd name="connsiteX427" fmla="*/ 55284 w 163595"/>
                <a:gd name="connsiteY427" fmla="*/ 43437 h 265137"/>
                <a:gd name="connsiteX428" fmla="*/ 55002 w 163595"/>
                <a:gd name="connsiteY428" fmla="*/ 44002 h 265137"/>
                <a:gd name="connsiteX429" fmla="*/ 54156 w 163595"/>
                <a:gd name="connsiteY429" fmla="*/ 45412 h 265137"/>
                <a:gd name="connsiteX430" fmla="*/ 54156 w 163595"/>
                <a:gd name="connsiteY430" fmla="*/ 45976 h 265137"/>
                <a:gd name="connsiteX431" fmla="*/ 53592 w 163595"/>
                <a:gd name="connsiteY431" fmla="*/ 47104 h 265137"/>
                <a:gd name="connsiteX432" fmla="*/ 53592 w 163595"/>
                <a:gd name="connsiteY432" fmla="*/ 48232 h 265137"/>
                <a:gd name="connsiteX433" fmla="*/ 53027 w 163595"/>
                <a:gd name="connsiteY433" fmla="*/ 49643 h 265137"/>
                <a:gd name="connsiteX434" fmla="*/ 52463 w 163595"/>
                <a:gd name="connsiteY434" fmla="*/ 50771 h 265137"/>
                <a:gd name="connsiteX435" fmla="*/ 52181 w 163595"/>
                <a:gd name="connsiteY435" fmla="*/ 51053 h 265137"/>
                <a:gd name="connsiteX436" fmla="*/ 51335 w 163595"/>
                <a:gd name="connsiteY436" fmla="*/ 53310 h 265137"/>
                <a:gd name="connsiteX437" fmla="*/ 50489 w 163595"/>
                <a:gd name="connsiteY437" fmla="*/ 55002 h 265137"/>
                <a:gd name="connsiteX438" fmla="*/ 50771 w 163595"/>
                <a:gd name="connsiteY438" fmla="*/ 56130 h 265137"/>
                <a:gd name="connsiteX439" fmla="*/ 50771 w 163595"/>
                <a:gd name="connsiteY439" fmla="*/ 56412 h 265137"/>
                <a:gd name="connsiteX440" fmla="*/ 49361 w 163595"/>
                <a:gd name="connsiteY440" fmla="*/ 57258 h 265137"/>
                <a:gd name="connsiteX441" fmla="*/ 49643 w 163595"/>
                <a:gd name="connsiteY441" fmla="*/ 57823 h 265137"/>
                <a:gd name="connsiteX442" fmla="*/ 50207 w 163595"/>
                <a:gd name="connsiteY442" fmla="*/ 58387 h 265137"/>
                <a:gd name="connsiteX443" fmla="*/ 49925 w 163595"/>
                <a:gd name="connsiteY443" fmla="*/ 58669 h 265137"/>
                <a:gd name="connsiteX444" fmla="*/ 48232 w 163595"/>
                <a:gd name="connsiteY444" fmla="*/ 60643 h 265137"/>
                <a:gd name="connsiteX445" fmla="*/ 47950 w 163595"/>
                <a:gd name="connsiteY445" fmla="*/ 61771 h 265137"/>
                <a:gd name="connsiteX446" fmla="*/ 48232 w 163595"/>
                <a:gd name="connsiteY446" fmla="*/ 62336 h 265137"/>
                <a:gd name="connsiteX447" fmla="*/ 48796 w 163595"/>
                <a:gd name="connsiteY447" fmla="*/ 62053 h 265137"/>
                <a:gd name="connsiteX448" fmla="*/ 50207 w 163595"/>
                <a:gd name="connsiteY448" fmla="*/ 60079 h 265137"/>
                <a:gd name="connsiteX449" fmla="*/ 51617 w 163595"/>
                <a:gd name="connsiteY449" fmla="*/ 58105 h 265137"/>
                <a:gd name="connsiteX450" fmla="*/ 54438 w 163595"/>
                <a:gd name="connsiteY450" fmla="*/ 54720 h 265137"/>
                <a:gd name="connsiteX451" fmla="*/ 55848 w 163595"/>
                <a:gd name="connsiteY451" fmla="*/ 53310 h 265137"/>
                <a:gd name="connsiteX452" fmla="*/ 60643 w 163595"/>
                <a:gd name="connsiteY452" fmla="*/ 48232 h 265137"/>
                <a:gd name="connsiteX453" fmla="*/ 62618 w 163595"/>
                <a:gd name="connsiteY453" fmla="*/ 46258 h 265137"/>
                <a:gd name="connsiteX454" fmla="*/ 63464 w 163595"/>
                <a:gd name="connsiteY454" fmla="*/ 45694 h 265137"/>
                <a:gd name="connsiteX455" fmla="*/ 66848 w 163595"/>
                <a:gd name="connsiteY455" fmla="*/ 42591 h 265137"/>
                <a:gd name="connsiteX456" fmla="*/ 72208 w 163595"/>
                <a:gd name="connsiteY456" fmla="*/ 38924 h 265137"/>
                <a:gd name="connsiteX457" fmla="*/ 76721 w 163595"/>
                <a:gd name="connsiteY457" fmla="*/ 36386 h 265137"/>
                <a:gd name="connsiteX458" fmla="*/ 78695 w 163595"/>
                <a:gd name="connsiteY458" fmla="*/ 35540 h 265137"/>
                <a:gd name="connsiteX459" fmla="*/ 83490 w 163595"/>
                <a:gd name="connsiteY459" fmla="*/ 33847 h 265137"/>
                <a:gd name="connsiteX460" fmla="*/ 87439 w 163595"/>
                <a:gd name="connsiteY460" fmla="*/ 33001 h 265137"/>
                <a:gd name="connsiteX461" fmla="*/ 92798 w 163595"/>
                <a:gd name="connsiteY461" fmla="*/ 33001 h 265137"/>
                <a:gd name="connsiteX462" fmla="*/ 94773 w 163595"/>
                <a:gd name="connsiteY462" fmla="*/ 33283 h 265137"/>
                <a:gd name="connsiteX463" fmla="*/ 95337 w 163595"/>
                <a:gd name="connsiteY463" fmla="*/ 33565 h 265137"/>
                <a:gd name="connsiteX464" fmla="*/ 97029 w 163595"/>
                <a:gd name="connsiteY464" fmla="*/ 34129 h 265137"/>
                <a:gd name="connsiteX465" fmla="*/ 104081 w 163595"/>
                <a:gd name="connsiteY465" fmla="*/ 36668 h 265137"/>
                <a:gd name="connsiteX466" fmla="*/ 105491 w 163595"/>
                <a:gd name="connsiteY466" fmla="*/ 37232 h 265137"/>
                <a:gd name="connsiteX467" fmla="*/ 108594 w 163595"/>
                <a:gd name="connsiteY467" fmla="*/ 40053 h 265137"/>
                <a:gd name="connsiteX468" fmla="*/ 109440 w 163595"/>
                <a:gd name="connsiteY468" fmla="*/ 41181 h 265137"/>
                <a:gd name="connsiteX469" fmla="*/ 109722 w 163595"/>
                <a:gd name="connsiteY469" fmla="*/ 41463 h 265137"/>
                <a:gd name="connsiteX470" fmla="*/ 111696 w 163595"/>
                <a:gd name="connsiteY470" fmla="*/ 43720 h 265137"/>
                <a:gd name="connsiteX471" fmla="*/ 112260 w 163595"/>
                <a:gd name="connsiteY471" fmla="*/ 44284 h 265137"/>
                <a:gd name="connsiteX472" fmla="*/ 113107 w 163595"/>
                <a:gd name="connsiteY472" fmla="*/ 44848 h 265137"/>
                <a:gd name="connsiteX473" fmla="*/ 113953 w 163595"/>
                <a:gd name="connsiteY473" fmla="*/ 45976 h 265137"/>
                <a:gd name="connsiteX474" fmla="*/ 114235 w 163595"/>
                <a:gd name="connsiteY474" fmla="*/ 46540 h 265137"/>
                <a:gd name="connsiteX475" fmla="*/ 114235 w 163595"/>
                <a:gd name="connsiteY475" fmla="*/ 47668 h 265137"/>
                <a:gd name="connsiteX476" fmla="*/ 115363 w 163595"/>
                <a:gd name="connsiteY476" fmla="*/ 48515 h 265137"/>
                <a:gd name="connsiteX477" fmla="*/ 116209 w 163595"/>
                <a:gd name="connsiteY477" fmla="*/ 48515 h 265137"/>
                <a:gd name="connsiteX478" fmla="*/ 116774 w 163595"/>
                <a:gd name="connsiteY478" fmla="*/ 49361 h 265137"/>
                <a:gd name="connsiteX479" fmla="*/ 116774 w 163595"/>
                <a:gd name="connsiteY479" fmla="*/ 49643 h 265137"/>
                <a:gd name="connsiteX480" fmla="*/ 115927 w 163595"/>
                <a:gd name="connsiteY480" fmla="*/ 50771 h 265137"/>
                <a:gd name="connsiteX481" fmla="*/ 116209 w 163595"/>
                <a:gd name="connsiteY481" fmla="*/ 51335 h 265137"/>
                <a:gd name="connsiteX482" fmla="*/ 116774 w 163595"/>
                <a:gd name="connsiteY482" fmla="*/ 54156 h 265137"/>
                <a:gd name="connsiteX483" fmla="*/ 117056 w 163595"/>
                <a:gd name="connsiteY483" fmla="*/ 54720 h 265137"/>
                <a:gd name="connsiteX484" fmla="*/ 117338 w 163595"/>
                <a:gd name="connsiteY484" fmla="*/ 55284 h 265137"/>
                <a:gd name="connsiteX485" fmla="*/ 118184 w 163595"/>
                <a:gd name="connsiteY485" fmla="*/ 58951 h 265137"/>
                <a:gd name="connsiteX486" fmla="*/ 118466 w 163595"/>
                <a:gd name="connsiteY486" fmla="*/ 60361 h 265137"/>
                <a:gd name="connsiteX487" fmla="*/ 118466 w 163595"/>
                <a:gd name="connsiteY487" fmla="*/ 61489 h 265137"/>
                <a:gd name="connsiteX488" fmla="*/ 118748 w 163595"/>
                <a:gd name="connsiteY488" fmla="*/ 63746 h 265137"/>
                <a:gd name="connsiteX489" fmla="*/ 119312 w 163595"/>
                <a:gd name="connsiteY489" fmla="*/ 64310 h 265137"/>
                <a:gd name="connsiteX490" fmla="*/ 121850 w 163595"/>
                <a:gd name="connsiteY490" fmla="*/ 63464 h 265137"/>
                <a:gd name="connsiteX491" fmla="*/ 122697 w 163595"/>
                <a:gd name="connsiteY491" fmla="*/ 63182 h 265137"/>
                <a:gd name="connsiteX492" fmla="*/ 123543 w 163595"/>
                <a:gd name="connsiteY492" fmla="*/ 63182 h 265137"/>
                <a:gd name="connsiteX493" fmla="*/ 124107 w 163595"/>
                <a:gd name="connsiteY493" fmla="*/ 62900 h 265137"/>
                <a:gd name="connsiteX494" fmla="*/ 128902 w 163595"/>
                <a:gd name="connsiteY494" fmla="*/ 60079 h 265137"/>
                <a:gd name="connsiteX495" fmla="*/ 131159 w 163595"/>
                <a:gd name="connsiteY495" fmla="*/ 59233 h 265137"/>
                <a:gd name="connsiteX496" fmla="*/ 131441 w 163595"/>
                <a:gd name="connsiteY496" fmla="*/ 59233 h 265137"/>
                <a:gd name="connsiteX497" fmla="*/ 134825 w 163595"/>
                <a:gd name="connsiteY497" fmla="*/ 57823 h 265137"/>
                <a:gd name="connsiteX498" fmla="*/ 137928 w 163595"/>
                <a:gd name="connsiteY498" fmla="*/ 56976 h 265137"/>
                <a:gd name="connsiteX499" fmla="*/ 138774 w 163595"/>
                <a:gd name="connsiteY499" fmla="*/ 56694 h 265137"/>
                <a:gd name="connsiteX500" fmla="*/ 147518 w 163595"/>
                <a:gd name="connsiteY500" fmla="*/ 55566 h 265137"/>
                <a:gd name="connsiteX501" fmla="*/ 149775 w 163595"/>
                <a:gd name="connsiteY501" fmla="*/ 55566 h 265137"/>
                <a:gd name="connsiteX502" fmla="*/ 150339 w 163595"/>
                <a:gd name="connsiteY502" fmla="*/ 55848 h 265137"/>
                <a:gd name="connsiteX503" fmla="*/ 150903 w 163595"/>
                <a:gd name="connsiteY503" fmla="*/ 56412 h 265137"/>
                <a:gd name="connsiteX504" fmla="*/ 151185 w 163595"/>
                <a:gd name="connsiteY504" fmla="*/ 56412 h 265137"/>
                <a:gd name="connsiteX505" fmla="*/ 155980 w 163595"/>
                <a:gd name="connsiteY505" fmla="*/ 56130 h 265137"/>
                <a:gd name="connsiteX506" fmla="*/ 156826 w 163595"/>
                <a:gd name="connsiteY506" fmla="*/ 56130 h 265137"/>
                <a:gd name="connsiteX507" fmla="*/ 158800 w 163595"/>
                <a:gd name="connsiteY507" fmla="*/ 55848 h 265137"/>
                <a:gd name="connsiteX508" fmla="*/ 159083 w 163595"/>
                <a:gd name="connsiteY508" fmla="*/ 56130 h 265137"/>
                <a:gd name="connsiteX509" fmla="*/ 158800 w 163595"/>
                <a:gd name="connsiteY509" fmla="*/ 56130 h 265137"/>
                <a:gd name="connsiteX510" fmla="*/ 157954 w 163595"/>
                <a:gd name="connsiteY510" fmla="*/ 56694 h 265137"/>
                <a:gd name="connsiteX511" fmla="*/ 157954 w 163595"/>
                <a:gd name="connsiteY511" fmla="*/ 56976 h 265137"/>
                <a:gd name="connsiteX512" fmla="*/ 158236 w 163595"/>
                <a:gd name="connsiteY512" fmla="*/ 57258 h 265137"/>
                <a:gd name="connsiteX513" fmla="*/ 160775 w 163595"/>
                <a:gd name="connsiteY513" fmla="*/ 56976 h 265137"/>
                <a:gd name="connsiteX514" fmla="*/ 163314 w 163595"/>
                <a:gd name="connsiteY514" fmla="*/ 56694 h 265137"/>
                <a:gd name="connsiteX515" fmla="*/ 164442 w 163595"/>
                <a:gd name="connsiteY515" fmla="*/ 56694 h 265137"/>
                <a:gd name="connsiteX516" fmla="*/ 164160 w 163595"/>
                <a:gd name="connsiteY516" fmla="*/ 56976 h 265137"/>
                <a:gd name="connsiteX517" fmla="*/ 162467 w 163595"/>
                <a:gd name="connsiteY517" fmla="*/ 57541 h 265137"/>
                <a:gd name="connsiteX518" fmla="*/ 162185 w 163595"/>
                <a:gd name="connsiteY518" fmla="*/ 57823 h 265137"/>
                <a:gd name="connsiteX519" fmla="*/ 162467 w 163595"/>
                <a:gd name="connsiteY519" fmla="*/ 58105 h 265137"/>
                <a:gd name="connsiteX520" fmla="*/ 162185 w 163595"/>
                <a:gd name="connsiteY520" fmla="*/ 58669 h 265137"/>
                <a:gd name="connsiteX521" fmla="*/ 161903 w 163595"/>
                <a:gd name="connsiteY521" fmla="*/ 58951 h 265137"/>
                <a:gd name="connsiteX522" fmla="*/ 161903 w 163595"/>
                <a:gd name="connsiteY522" fmla="*/ 59233 h 265137"/>
                <a:gd name="connsiteX523" fmla="*/ 162185 w 163595"/>
                <a:gd name="connsiteY523" fmla="*/ 59515 h 265137"/>
                <a:gd name="connsiteX524" fmla="*/ 162467 w 163595"/>
                <a:gd name="connsiteY524" fmla="*/ 59515 h 265137"/>
                <a:gd name="connsiteX525" fmla="*/ 162185 w 163595"/>
                <a:gd name="connsiteY525" fmla="*/ 59797 h 265137"/>
                <a:gd name="connsiteX526" fmla="*/ 161621 w 163595"/>
                <a:gd name="connsiteY526" fmla="*/ 60079 h 265137"/>
                <a:gd name="connsiteX527" fmla="*/ 160211 w 163595"/>
                <a:gd name="connsiteY527" fmla="*/ 60925 h 265137"/>
                <a:gd name="connsiteX528" fmla="*/ 160211 w 163595"/>
                <a:gd name="connsiteY528" fmla="*/ 61207 h 265137"/>
                <a:gd name="connsiteX529" fmla="*/ 160775 w 163595"/>
                <a:gd name="connsiteY529" fmla="*/ 61771 h 265137"/>
                <a:gd name="connsiteX530" fmla="*/ 160493 w 163595"/>
                <a:gd name="connsiteY530" fmla="*/ 62618 h 265137"/>
                <a:gd name="connsiteX531" fmla="*/ 160493 w 163595"/>
                <a:gd name="connsiteY531" fmla="*/ 62900 h 265137"/>
                <a:gd name="connsiteX532" fmla="*/ 160211 w 163595"/>
                <a:gd name="connsiteY532" fmla="*/ 63182 h 265137"/>
                <a:gd name="connsiteX533" fmla="*/ 159083 w 163595"/>
                <a:gd name="connsiteY533" fmla="*/ 63464 h 265137"/>
                <a:gd name="connsiteX534" fmla="*/ 154288 w 163595"/>
                <a:gd name="connsiteY534" fmla="*/ 64028 h 265137"/>
                <a:gd name="connsiteX535" fmla="*/ 153159 w 163595"/>
                <a:gd name="connsiteY535" fmla="*/ 64028 h 265137"/>
                <a:gd name="connsiteX536" fmla="*/ 150621 w 163595"/>
                <a:gd name="connsiteY536" fmla="*/ 64874 h 265137"/>
                <a:gd name="connsiteX537" fmla="*/ 149211 w 163595"/>
                <a:gd name="connsiteY537" fmla="*/ 65156 h 265137"/>
                <a:gd name="connsiteX538" fmla="*/ 147518 w 163595"/>
                <a:gd name="connsiteY538" fmla="*/ 65438 h 265137"/>
                <a:gd name="connsiteX539" fmla="*/ 137646 w 163595"/>
                <a:gd name="connsiteY539" fmla="*/ 69105 h 265137"/>
                <a:gd name="connsiteX540" fmla="*/ 130877 w 163595"/>
                <a:gd name="connsiteY540" fmla="*/ 70797 h 265137"/>
                <a:gd name="connsiteX541" fmla="*/ 128902 w 163595"/>
                <a:gd name="connsiteY541" fmla="*/ 71644 h 265137"/>
                <a:gd name="connsiteX542" fmla="*/ 123261 w 163595"/>
                <a:gd name="connsiteY542" fmla="*/ 74746 h 265137"/>
                <a:gd name="connsiteX543" fmla="*/ 118466 w 163595"/>
                <a:gd name="connsiteY543" fmla="*/ 77003 h 265137"/>
                <a:gd name="connsiteX544" fmla="*/ 117902 w 163595"/>
                <a:gd name="connsiteY544" fmla="*/ 78413 h 265137"/>
                <a:gd name="connsiteX545" fmla="*/ 118184 w 163595"/>
                <a:gd name="connsiteY545" fmla="*/ 78695 h 265137"/>
                <a:gd name="connsiteX546" fmla="*/ 118748 w 163595"/>
                <a:gd name="connsiteY546" fmla="*/ 78977 h 265137"/>
                <a:gd name="connsiteX547" fmla="*/ 119030 w 163595"/>
                <a:gd name="connsiteY547" fmla="*/ 79541 h 265137"/>
                <a:gd name="connsiteX548" fmla="*/ 118184 w 163595"/>
                <a:gd name="connsiteY548" fmla="*/ 80387 h 265137"/>
                <a:gd name="connsiteX549" fmla="*/ 117902 w 163595"/>
                <a:gd name="connsiteY549" fmla="*/ 80670 h 265137"/>
                <a:gd name="connsiteX550" fmla="*/ 118184 w 163595"/>
                <a:gd name="connsiteY550" fmla="*/ 80952 h 265137"/>
                <a:gd name="connsiteX551" fmla="*/ 118466 w 163595"/>
                <a:gd name="connsiteY551" fmla="*/ 81234 h 265137"/>
                <a:gd name="connsiteX552" fmla="*/ 118748 w 163595"/>
                <a:gd name="connsiteY552" fmla="*/ 81798 h 265137"/>
                <a:gd name="connsiteX553" fmla="*/ 118466 w 163595"/>
                <a:gd name="connsiteY553" fmla="*/ 82362 h 265137"/>
                <a:gd name="connsiteX554" fmla="*/ 117902 w 163595"/>
                <a:gd name="connsiteY554" fmla="*/ 82362 h 265137"/>
                <a:gd name="connsiteX555" fmla="*/ 117338 w 163595"/>
                <a:gd name="connsiteY555" fmla="*/ 83208 h 265137"/>
                <a:gd name="connsiteX556" fmla="*/ 117338 w 163595"/>
                <a:gd name="connsiteY556" fmla="*/ 83772 h 265137"/>
                <a:gd name="connsiteX557" fmla="*/ 117056 w 163595"/>
                <a:gd name="connsiteY557" fmla="*/ 84054 h 265137"/>
                <a:gd name="connsiteX558" fmla="*/ 116774 w 163595"/>
                <a:gd name="connsiteY558" fmla="*/ 84618 h 265137"/>
                <a:gd name="connsiteX559" fmla="*/ 117056 w 163595"/>
                <a:gd name="connsiteY559" fmla="*/ 84900 h 265137"/>
                <a:gd name="connsiteX560" fmla="*/ 117338 w 163595"/>
                <a:gd name="connsiteY560" fmla="*/ 85465 h 265137"/>
                <a:gd name="connsiteX561" fmla="*/ 117338 w 163595"/>
                <a:gd name="connsiteY561" fmla="*/ 85747 h 265137"/>
                <a:gd name="connsiteX562" fmla="*/ 116491 w 163595"/>
                <a:gd name="connsiteY562" fmla="*/ 86875 h 265137"/>
                <a:gd name="connsiteX563" fmla="*/ 116491 w 163595"/>
                <a:gd name="connsiteY563" fmla="*/ 87439 h 265137"/>
                <a:gd name="connsiteX564" fmla="*/ 116774 w 163595"/>
                <a:gd name="connsiteY564" fmla="*/ 88285 h 265137"/>
                <a:gd name="connsiteX565" fmla="*/ 117338 w 163595"/>
                <a:gd name="connsiteY565" fmla="*/ 88849 h 265137"/>
                <a:gd name="connsiteX566" fmla="*/ 117056 w 163595"/>
                <a:gd name="connsiteY566" fmla="*/ 89696 h 265137"/>
                <a:gd name="connsiteX567" fmla="*/ 116774 w 163595"/>
                <a:gd name="connsiteY567" fmla="*/ 90260 h 265137"/>
                <a:gd name="connsiteX568" fmla="*/ 117056 w 163595"/>
                <a:gd name="connsiteY568" fmla="*/ 91388 h 265137"/>
                <a:gd name="connsiteX569" fmla="*/ 115363 w 163595"/>
                <a:gd name="connsiteY569" fmla="*/ 94491 h 265137"/>
                <a:gd name="connsiteX570" fmla="*/ 115081 w 163595"/>
                <a:gd name="connsiteY570" fmla="*/ 94773 h 265137"/>
                <a:gd name="connsiteX571" fmla="*/ 115363 w 163595"/>
                <a:gd name="connsiteY571" fmla="*/ 95055 h 265137"/>
                <a:gd name="connsiteX572" fmla="*/ 115081 w 163595"/>
                <a:gd name="connsiteY572" fmla="*/ 95901 h 265137"/>
                <a:gd name="connsiteX573" fmla="*/ 114517 w 163595"/>
                <a:gd name="connsiteY573" fmla="*/ 96465 h 265137"/>
                <a:gd name="connsiteX574" fmla="*/ 114235 w 163595"/>
                <a:gd name="connsiteY574" fmla="*/ 96465 h 265137"/>
                <a:gd name="connsiteX575" fmla="*/ 113107 w 163595"/>
                <a:gd name="connsiteY575" fmla="*/ 97311 h 265137"/>
                <a:gd name="connsiteX576" fmla="*/ 113107 w 163595"/>
                <a:gd name="connsiteY576" fmla="*/ 98439 h 265137"/>
                <a:gd name="connsiteX577" fmla="*/ 112260 w 163595"/>
                <a:gd name="connsiteY577" fmla="*/ 99568 h 265137"/>
                <a:gd name="connsiteX578" fmla="*/ 112260 w 163595"/>
                <a:gd name="connsiteY578" fmla="*/ 99850 h 265137"/>
                <a:gd name="connsiteX579" fmla="*/ 112543 w 163595"/>
                <a:gd name="connsiteY579" fmla="*/ 100414 h 265137"/>
                <a:gd name="connsiteX580" fmla="*/ 111978 w 163595"/>
                <a:gd name="connsiteY580" fmla="*/ 100978 h 265137"/>
                <a:gd name="connsiteX581" fmla="*/ 111978 w 163595"/>
                <a:gd name="connsiteY581" fmla="*/ 101260 h 265137"/>
                <a:gd name="connsiteX582" fmla="*/ 112543 w 163595"/>
                <a:gd name="connsiteY582" fmla="*/ 101542 h 265137"/>
                <a:gd name="connsiteX583" fmla="*/ 112825 w 163595"/>
                <a:gd name="connsiteY583" fmla="*/ 101260 h 265137"/>
                <a:gd name="connsiteX584" fmla="*/ 113107 w 163595"/>
                <a:gd name="connsiteY584" fmla="*/ 100414 h 265137"/>
                <a:gd name="connsiteX585" fmla="*/ 113389 w 163595"/>
                <a:gd name="connsiteY585" fmla="*/ 100132 h 265137"/>
                <a:gd name="connsiteX586" fmla="*/ 113953 w 163595"/>
                <a:gd name="connsiteY586" fmla="*/ 100696 h 265137"/>
                <a:gd name="connsiteX587" fmla="*/ 113671 w 163595"/>
                <a:gd name="connsiteY587" fmla="*/ 102106 h 265137"/>
                <a:gd name="connsiteX588" fmla="*/ 112260 w 163595"/>
                <a:gd name="connsiteY588" fmla="*/ 103799 h 265137"/>
                <a:gd name="connsiteX589" fmla="*/ 111978 w 163595"/>
                <a:gd name="connsiteY589" fmla="*/ 104081 h 265137"/>
                <a:gd name="connsiteX590" fmla="*/ 112260 w 163595"/>
                <a:gd name="connsiteY590" fmla="*/ 104645 h 265137"/>
                <a:gd name="connsiteX591" fmla="*/ 111978 w 163595"/>
                <a:gd name="connsiteY591" fmla="*/ 104927 h 265137"/>
                <a:gd name="connsiteX592" fmla="*/ 111132 w 163595"/>
                <a:gd name="connsiteY592" fmla="*/ 105773 h 265137"/>
                <a:gd name="connsiteX593" fmla="*/ 110850 w 163595"/>
                <a:gd name="connsiteY593" fmla="*/ 106337 h 265137"/>
                <a:gd name="connsiteX594" fmla="*/ 111132 w 163595"/>
                <a:gd name="connsiteY594" fmla="*/ 106901 h 265137"/>
                <a:gd name="connsiteX595" fmla="*/ 110568 w 163595"/>
                <a:gd name="connsiteY595" fmla="*/ 106901 h 265137"/>
                <a:gd name="connsiteX596" fmla="*/ 110004 w 163595"/>
                <a:gd name="connsiteY596" fmla="*/ 107183 h 265137"/>
                <a:gd name="connsiteX597" fmla="*/ 109722 w 163595"/>
                <a:gd name="connsiteY597" fmla="*/ 107465 h 265137"/>
                <a:gd name="connsiteX598" fmla="*/ 110286 w 163595"/>
                <a:gd name="connsiteY598" fmla="*/ 107747 h 265137"/>
                <a:gd name="connsiteX599" fmla="*/ 111132 w 163595"/>
                <a:gd name="connsiteY599" fmla="*/ 106901 h 265137"/>
                <a:gd name="connsiteX600" fmla="*/ 111414 w 163595"/>
                <a:gd name="connsiteY600" fmla="*/ 107183 h 265137"/>
                <a:gd name="connsiteX601" fmla="*/ 111132 w 163595"/>
                <a:gd name="connsiteY601" fmla="*/ 108876 h 265137"/>
                <a:gd name="connsiteX602" fmla="*/ 111132 w 163595"/>
                <a:gd name="connsiteY602" fmla="*/ 109158 h 265137"/>
                <a:gd name="connsiteX603" fmla="*/ 110568 w 163595"/>
                <a:gd name="connsiteY603" fmla="*/ 109722 h 265137"/>
                <a:gd name="connsiteX604" fmla="*/ 110004 w 163595"/>
                <a:gd name="connsiteY604" fmla="*/ 110286 h 265137"/>
                <a:gd name="connsiteX605" fmla="*/ 109722 w 163595"/>
                <a:gd name="connsiteY605" fmla="*/ 111132 h 265137"/>
                <a:gd name="connsiteX606" fmla="*/ 108876 w 163595"/>
                <a:gd name="connsiteY606" fmla="*/ 111978 h 265137"/>
                <a:gd name="connsiteX607" fmla="*/ 107747 w 163595"/>
                <a:gd name="connsiteY607" fmla="*/ 111978 h 265137"/>
                <a:gd name="connsiteX608" fmla="*/ 107465 w 163595"/>
                <a:gd name="connsiteY608" fmla="*/ 111978 h 265137"/>
                <a:gd name="connsiteX609" fmla="*/ 107747 w 163595"/>
                <a:gd name="connsiteY609" fmla="*/ 112260 h 265137"/>
                <a:gd name="connsiteX610" fmla="*/ 108876 w 163595"/>
                <a:gd name="connsiteY610" fmla="*/ 112825 h 265137"/>
                <a:gd name="connsiteX611" fmla="*/ 108876 w 163595"/>
                <a:gd name="connsiteY611" fmla="*/ 113389 h 265137"/>
                <a:gd name="connsiteX612" fmla="*/ 108029 w 163595"/>
                <a:gd name="connsiteY612" fmla="*/ 114799 h 265137"/>
                <a:gd name="connsiteX613" fmla="*/ 107465 w 163595"/>
                <a:gd name="connsiteY613" fmla="*/ 115645 h 265137"/>
                <a:gd name="connsiteX614" fmla="*/ 107465 w 163595"/>
                <a:gd name="connsiteY614" fmla="*/ 115927 h 265137"/>
                <a:gd name="connsiteX615" fmla="*/ 107183 w 163595"/>
                <a:gd name="connsiteY615" fmla="*/ 116491 h 265137"/>
                <a:gd name="connsiteX616" fmla="*/ 106337 w 163595"/>
                <a:gd name="connsiteY616" fmla="*/ 117338 h 265137"/>
                <a:gd name="connsiteX617" fmla="*/ 106055 w 163595"/>
                <a:gd name="connsiteY617" fmla="*/ 117620 h 265137"/>
                <a:gd name="connsiteX618" fmla="*/ 104927 w 163595"/>
                <a:gd name="connsiteY618" fmla="*/ 120158 h 265137"/>
                <a:gd name="connsiteX619" fmla="*/ 103798 w 163595"/>
                <a:gd name="connsiteY619" fmla="*/ 121851 h 265137"/>
                <a:gd name="connsiteX620" fmla="*/ 103234 w 163595"/>
                <a:gd name="connsiteY620" fmla="*/ 123261 h 265137"/>
                <a:gd name="connsiteX621" fmla="*/ 101824 w 163595"/>
                <a:gd name="connsiteY621" fmla="*/ 125799 h 265137"/>
                <a:gd name="connsiteX622" fmla="*/ 101260 w 163595"/>
                <a:gd name="connsiteY622" fmla="*/ 126646 h 265137"/>
                <a:gd name="connsiteX623" fmla="*/ 99004 w 163595"/>
                <a:gd name="connsiteY623" fmla="*/ 130030 h 265137"/>
                <a:gd name="connsiteX624" fmla="*/ 99004 w 163595"/>
                <a:gd name="connsiteY624" fmla="*/ 130594 h 265137"/>
                <a:gd name="connsiteX625" fmla="*/ 97311 w 163595"/>
                <a:gd name="connsiteY625" fmla="*/ 132287 h 265137"/>
                <a:gd name="connsiteX626" fmla="*/ 95901 w 163595"/>
                <a:gd name="connsiteY626" fmla="*/ 134261 h 265137"/>
                <a:gd name="connsiteX627" fmla="*/ 93926 w 163595"/>
                <a:gd name="connsiteY627" fmla="*/ 136518 h 265137"/>
                <a:gd name="connsiteX628" fmla="*/ 93362 w 163595"/>
                <a:gd name="connsiteY628" fmla="*/ 137082 h 265137"/>
                <a:gd name="connsiteX629" fmla="*/ 90542 w 163595"/>
                <a:gd name="connsiteY629" fmla="*/ 140467 h 265137"/>
                <a:gd name="connsiteX630" fmla="*/ 89695 w 163595"/>
                <a:gd name="connsiteY630" fmla="*/ 141313 h 265137"/>
                <a:gd name="connsiteX631" fmla="*/ 86311 w 163595"/>
                <a:gd name="connsiteY631" fmla="*/ 144980 h 265137"/>
                <a:gd name="connsiteX632" fmla="*/ 85464 w 163595"/>
                <a:gd name="connsiteY632" fmla="*/ 145826 h 265137"/>
                <a:gd name="connsiteX633" fmla="*/ 82362 w 163595"/>
                <a:gd name="connsiteY633" fmla="*/ 148082 h 265137"/>
                <a:gd name="connsiteX634" fmla="*/ 78977 w 163595"/>
                <a:gd name="connsiteY634" fmla="*/ 151185 h 265137"/>
                <a:gd name="connsiteX635" fmla="*/ 78695 w 163595"/>
                <a:gd name="connsiteY635" fmla="*/ 151749 h 265137"/>
                <a:gd name="connsiteX636" fmla="*/ 77567 w 163595"/>
                <a:gd name="connsiteY636" fmla="*/ 152313 h 265137"/>
                <a:gd name="connsiteX637" fmla="*/ 76721 w 163595"/>
                <a:gd name="connsiteY637" fmla="*/ 153159 h 265137"/>
                <a:gd name="connsiteX638" fmla="*/ 75028 w 163595"/>
                <a:gd name="connsiteY638" fmla="*/ 154288 h 265137"/>
                <a:gd name="connsiteX639" fmla="*/ 73054 w 163595"/>
                <a:gd name="connsiteY639" fmla="*/ 155980 h 265137"/>
                <a:gd name="connsiteX640" fmla="*/ 71926 w 163595"/>
                <a:gd name="connsiteY640" fmla="*/ 156826 h 265137"/>
                <a:gd name="connsiteX641" fmla="*/ 70515 w 163595"/>
                <a:gd name="connsiteY641" fmla="*/ 158519 h 265137"/>
                <a:gd name="connsiteX642" fmla="*/ 69669 w 163595"/>
                <a:gd name="connsiteY642" fmla="*/ 159647 h 265137"/>
                <a:gd name="connsiteX643" fmla="*/ 68259 w 163595"/>
                <a:gd name="connsiteY643" fmla="*/ 160775 h 265137"/>
                <a:gd name="connsiteX644" fmla="*/ 66284 w 163595"/>
                <a:gd name="connsiteY644" fmla="*/ 161339 h 265137"/>
                <a:gd name="connsiteX645" fmla="*/ 65720 w 163595"/>
                <a:gd name="connsiteY645" fmla="*/ 161339 h 265137"/>
                <a:gd name="connsiteX646" fmla="*/ 65720 w 163595"/>
                <a:gd name="connsiteY646" fmla="*/ 161621 h 265137"/>
                <a:gd name="connsiteX647" fmla="*/ 64874 w 163595"/>
                <a:gd name="connsiteY647" fmla="*/ 162185 h 265137"/>
                <a:gd name="connsiteX648" fmla="*/ 64028 w 163595"/>
                <a:gd name="connsiteY648" fmla="*/ 162749 h 265137"/>
                <a:gd name="connsiteX649" fmla="*/ 62054 w 163595"/>
                <a:gd name="connsiteY649" fmla="*/ 163596 h 265137"/>
                <a:gd name="connsiteX650" fmla="*/ 60643 w 163595"/>
                <a:gd name="connsiteY650" fmla="*/ 163596 h 265137"/>
                <a:gd name="connsiteX651" fmla="*/ 60361 w 163595"/>
                <a:gd name="connsiteY651" fmla="*/ 163878 h 265137"/>
                <a:gd name="connsiteX652" fmla="*/ 60079 w 163595"/>
                <a:gd name="connsiteY652" fmla="*/ 164160 h 265137"/>
                <a:gd name="connsiteX653" fmla="*/ 59797 w 163595"/>
                <a:gd name="connsiteY653" fmla="*/ 164160 h 265137"/>
                <a:gd name="connsiteX654" fmla="*/ 60079 w 163595"/>
                <a:gd name="connsiteY654" fmla="*/ 164442 h 265137"/>
                <a:gd name="connsiteX655" fmla="*/ 60361 w 163595"/>
                <a:gd name="connsiteY655" fmla="*/ 164442 h 265137"/>
                <a:gd name="connsiteX656" fmla="*/ 60079 w 163595"/>
                <a:gd name="connsiteY656" fmla="*/ 165006 h 265137"/>
                <a:gd name="connsiteX657" fmla="*/ 57258 w 163595"/>
                <a:gd name="connsiteY657" fmla="*/ 165570 h 265137"/>
                <a:gd name="connsiteX658" fmla="*/ 56130 w 163595"/>
                <a:gd name="connsiteY658" fmla="*/ 165570 h 265137"/>
                <a:gd name="connsiteX659" fmla="*/ 53874 w 163595"/>
                <a:gd name="connsiteY659" fmla="*/ 165006 h 265137"/>
                <a:gd name="connsiteX660" fmla="*/ 52745 w 163595"/>
                <a:gd name="connsiteY660" fmla="*/ 165288 h 265137"/>
                <a:gd name="connsiteX661" fmla="*/ 51335 w 163595"/>
                <a:gd name="connsiteY661" fmla="*/ 165852 h 265137"/>
                <a:gd name="connsiteX662" fmla="*/ 49361 w 163595"/>
                <a:gd name="connsiteY662" fmla="*/ 165852 h 265137"/>
                <a:gd name="connsiteX663" fmla="*/ 47104 w 163595"/>
                <a:gd name="connsiteY663" fmla="*/ 166698 h 265137"/>
                <a:gd name="connsiteX664" fmla="*/ 44002 w 163595"/>
                <a:gd name="connsiteY664" fmla="*/ 168109 h 265137"/>
                <a:gd name="connsiteX665" fmla="*/ 41745 w 163595"/>
                <a:gd name="connsiteY665" fmla="*/ 168391 h 265137"/>
                <a:gd name="connsiteX666" fmla="*/ 39489 w 163595"/>
                <a:gd name="connsiteY666" fmla="*/ 167544 h 265137"/>
                <a:gd name="connsiteX667" fmla="*/ 38924 w 163595"/>
                <a:gd name="connsiteY667" fmla="*/ 167262 h 265137"/>
                <a:gd name="connsiteX668" fmla="*/ 38078 w 163595"/>
                <a:gd name="connsiteY668" fmla="*/ 167262 h 265137"/>
                <a:gd name="connsiteX669" fmla="*/ 37232 w 163595"/>
                <a:gd name="connsiteY669" fmla="*/ 165852 h 265137"/>
                <a:gd name="connsiteX670" fmla="*/ 37514 w 163595"/>
                <a:gd name="connsiteY670" fmla="*/ 164724 h 265137"/>
                <a:gd name="connsiteX671" fmla="*/ 37796 w 163595"/>
                <a:gd name="connsiteY671" fmla="*/ 163031 h 265137"/>
                <a:gd name="connsiteX672" fmla="*/ 37796 w 163595"/>
                <a:gd name="connsiteY672" fmla="*/ 160775 h 265137"/>
                <a:gd name="connsiteX673" fmla="*/ 38078 w 163595"/>
                <a:gd name="connsiteY673" fmla="*/ 158801 h 265137"/>
                <a:gd name="connsiteX674" fmla="*/ 38078 w 163595"/>
                <a:gd name="connsiteY674" fmla="*/ 158519 h 265137"/>
                <a:gd name="connsiteX675" fmla="*/ 38360 w 163595"/>
                <a:gd name="connsiteY675" fmla="*/ 156544 h 265137"/>
                <a:gd name="connsiteX676" fmla="*/ 38642 w 163595"/>
                <a:gd name="connsiteY676" fmla="*/ 155698 h 265137"/>
                <a:gd name="connsiteX677" fmla="*/ 39489 w 163595"/>
                <a:gd name="connsiteY677" fmla="*/ 153441 h 265137"/>
                <a:gd name="connsiteX678" fmla="*/ 40053 w 163595"/>
                <a:gd name="connsiteY678" fmla="*/ 152877 h 265137"/>
                <a:gd name="connsiteX679" fmla="*/ 40053 w 163595"/>
                <a:gd name="connsiteY679" fmla="*/ 152313 h 265137"/>
                <a:gd name="connsiteX680" fmla="*/ 39489 w 163595"/>
                <a:gd name="connsiteY680" fmla="*/ 151185 h 265137"/>
                <a:gd name="connsiteX681" fmla="*/ 39771 w 163595"/>
                <a:gd name="connsiteY681" fmla="*/ 150621 h 265137"/>
                <a:gd name="connsiteX682" fmla="*/ 40335 w 163595"/>
                <a:gd name="connsiteY682" fmla="*/ 149210 h 265137"/>
                <a:gd name="connsiteX683" fmla="*/ 40617 w 163595"/>
                <a:gd name="connsiteY683" fmla="*/ 148928 h 265137"/>
                <a:gd name="connsiteX684" fmla="*/ 41463 w 163595"/>
                <a:gd name="connsiteY684" fmla="*/ 147518 h 265137"/>
                <a:gd name="connsiteX685" fmla="*/ 42027 w 163595"/>
                <a:gd name="connsiteY685" fmla="*/ 146954 h 265137"/>
                <a:gd name="connsiteX686" fmla="*/ 41745 w 163595"/>
                <a:gd name="connsiteY686" fmla="*/ 146672 h 265137"/>
                <a:gd name="connsiteX687" fmla="*/ 41181 w 163595"/>
                <a:gd name="connsiteY687" fmla="*/ 145826 h 265137"/>
                <a:gd name="connsiteX688" fmla="*/ 41463 w 163595"/>
                <a:gd name="connsiteY688" fmla="*/ 144980 h 265137"/>
                <a:gd name="connsiteX689" fmla="*/ 42309 w 163595"/>
                <a:gd name="connsiteY689" fmla="*/ 143569 h 265137"/>
                <a:gd name="connsiteX690" fmla="*/ 43155 w 163595"/>
                <a:gd name="connsiteY690" fmla="*/ 142723 h 265137"/>
                <a:gd name="connsiteX691" fmla="*/ 44002 w 163595"/>
                <a:gd name="connsiteY691" fmla="*/ 142723 h 265137"/>
                <a:gd name="connsiteX692" fmla="*/ 44284 w 163595"/>
                <a:gd name="connsiteY692" fmla="*/ 141877 h 265137"/>
                <a:gd name="connsiteX693" fmla="*/ 43720 w 163595"/>
                <a:gd name="connsiteY693" fmla="*/ 141313 h 265137"/>
                <a:gd name="connsiteX694" fmla="*/ 43438 w 163595"/>
                <a:gd name="connsiteY694" fmla="*/ 141313 h 265137"/>
                <a:gd name="connsiteX695" fmla="*/ 43155 w 163595"/>
                <a:gd name="connsiteY695" fmla="*/ 141031 h 265137"/>
                <a:gd name="connsiteX696" fmla="*/ 43438 w 163595"/>
                <a:gd name="connsiteY696" fmla="*/ 140467 h 265137"/>
                <a:gd name="connsiteX697" fmla="*/ 43720 w 163595"/>
                <a:gd name="connsiteY697" fmla="*/ 140185 h 265137"/>
                <a:gd name="connsiteX698" fmla="*/ 44848 w 163595"/>
                <a:gd name="connsiteY698" fmla="*/ 138774 h 265137"/>
                <a:gd name="connsiteX699" fmla="*/ 45412 w 163595"/>
                <a:gd name="connsiteY699" fmla="*/ 139056 h 265137"/>
                <a:gd name="connsiteX700" fmla="*/ 45694 w 163595"/>
                <a:gd name="connsiteY700" fmla="*/ 139056 h 265137"/>
                <a:gd name="connsiteX701" fmla="*/ 46822 w 163595"/>
                <a:gd name="connsiteY701" fmla="*/ 140185 h 265137"/>
                <a:gd name="connsiteX702" fmla="*/ 47386 w 163595"/>
                <a:gd name="connsiteY702" fmla="*/ 139620 h 265137"/>
                <a:gd name="connsiteX703" fmla="*/ 47668 w 163595"/>
                <a:gd name="connsiteY703" fmla="*/ 139338 h 265137"/>
                <a:gd name="connsiteX704" fmla="*/ 47386 w 163595"/>
                <a:gd name="connsiteY704" fmla="*/ 139056 h 265137"/>
                <a:gd name="connsiteX705" fmla="*/ 45976 w 163595"/>
                <a:gd name="connsiteY705" fmla="*/ 138492 h 265137"/>
                <a:gd name="connsiteX706" fmla="*/ 46258 w 163595"/>
                <a:gd name="connsiteY706" fmla="*/ 137646 h 265137"/>
                <a:gd name="connsiteX707" fmla="*/ 46540 w 163595"/>
                <a:gd name="connsiteY707" fmla="*/ 135954 h 265137"/>
                <a:gd name="connsiteX708" fmla="*/ 47668 w 163595"/>
                <a:gd name="connsiteY708" fmla="*/ 134261 h 265137"/>
                <a:gd name="connsiteX709" fmla="*/ 48232 w 163595"/>
                <a:gd name="connsiteY709" fmla="*/ 132287 h 265137"/>
                <a:gd name="connsiteX710" fmla="*/ 49361 w 163595"/>
                <a:gd name="connsiteY710" fmla="*/ 130594 h 265137"/>
                <a:gd name="connsiteX711" fmla="*/ 49925 w 163595"/>
                <a:gd name="connsiteY711" fmla="*/ 130030 h 265137"/>
                <a:gd name="connsiteX712" fmla="*/ 50489 w 163595"/>
                <a:gd name="connsiteY712" fmla="*/ 129184 h 265137"/>
                <a:gd name="connsiteX713" fmla="*/ 50771 w 163595"/>
                <a:gd name="connsiteY713" fmla="*/ 128620 h 265137"/>
                <a:gd name="connsiteX714" fmla="*/ 50489 w 163595"/>
                <a:gd name="connsiteY714" fmla="*/ 127774 h 265137"/>
                <a:gd name="connsiteX715" fmla="*/ 50489 w 163595"/>
                <a:gd name="connsiteY715" fmla="*/ 127492 h 265137"/>
                <a:gd name="connsiteX716" fmla="*/ 50771 w 163595"/>
                <a:gd name="connsiteY716" fmla="*/ 127210 h 265137"/>
                <a:gd name="connsiteX717" fmla="*/ 51899 w 163595"/>
                <a:gd name="connsiteY717" fmla="*/ 127210 h 265137"/>
                <a:gd name="connsiteX718" fmla="*/ 52463 w 163595"/>
                <a:gd name="connsiteY718" fmla="*/ 126363 h 265137"/>
                <a:gd name="connsiteX719" fmla="*/ 52181 w 163595"/>
                <a:gd name="connsiteY719" fmla="*/ 125799 h 265137"/>
                <a:gd name="connsiteX720" fmla="*/ 52463 w 163595"/>
                <a:gd name="connsiteY720" fmla="*/ 125235 h 265137"/>
                <a:gd name="connsiteX721" fmla="*/ 53592 w 163595"/>
                <a:gd name="connsiteY721" fmla="*/ 124107 h 265137"/>
                <a:gd name="connsiteX722" fmla="*/ 53874 w 163595"/>
                <a:gd name="connsiteY722" fmla="*/ 123825 h 265137"/>
                <a:gd name="connsiteX723" fmla="*/ 53592 w 163595"/>
                <a:gd name="connsiteY723" fmla="*/ 123261 h 265137"/>
                <a:gd name="connsiteX724" fmla="*/ 53874 w 163595"/>
                <a:gd name="connsiteY724" fmla="*/ 122697 h 265137"/>
                <a:gd name="connsiteX725" fmla="*/ 55002 w 163595"/>
                <a:gd name="connsiteY725" fmla="*/ 122415 h 265137"/>
                <a:gd name="connsiteX726" fmla="*/ 55284 w 163595"/>
                <a:gd name="connsiteY726" fmla="*/ 122415 h 265137"/>
                <a:gd name="connsiteX727" fmla="*/ 55284 w 163595"/>
                <a:gd name="connsiteY727" fmla="*/ 122133 h 265137"/>
                <a:gd name="connsiteX728" fmla="*/ 55848 w 163595"/>
                <a:gd name="connsiteY728" fmla="*/ 121004 h 265137"/>
                <a:gd name="connsiteX729" fmla="*/ 57823 w 163595"/>
                <a:gd name="connsiteY729" fmla="*/ 119030 h 265137"/>
                <a:gd name="connsiteX730" fmla="*/ 58105 w 163595"/>
                <a:gd name="connsiteY730" fmla="*/ 118184 h 265137"/>
                <a:gd name="connsiteX731" fmla="*/ 57823 w 163595"/>
                <a:gd name="connsiteY731" fmla="*/ 117620 h 265137"/>
                <a:gd name="connsiteX732" fmla="*/ 58669 w 163595"/>
                <a:gd name="connsiteY732" fmla="*/ 117055 h 265137"/>
                <a:gd name="connsiteX733" fmla="*/ 58951 w 163595"/>
                <a:gd name="connsiteY733" fmla="*/ 116773 h 265137"/>
                <a:gd name="connsiteX734" fmla="*/ 59797 w 163595"/>
                <a:gd name="connsiteY734" fmla="*/ 116209 h 265137"/>
                <a:gd name="connsiteX735" fmla="*/ 60361 w 163595"/>
                <a:gd name="connsiteY735" fmla="*/ 115363 h 265137"/>
                <a:gd name="connsiteX736" fmla="*/ 62054 w 163595"/>
                <a:gd name="connsiteY736" fmla="*/ 113671 h 265137"/>
                <a:gd name="connsiteX737" fmla="*/ 63464 w 163595"/>
                <a:gd name="connsiteY737" fmla="*/ 111696 h 265137"/>
                <a:gd name="connsiteX738" fmla="*/ 64310 w 163595"/>
                <a:gd name="connsiteY738" fmla="*/ 110004 h 265137"/>
                <a:gd name="connsiteX739" fmla="*/ 64592 w 163595"/>
                <a:gd name="connsiteY739" fmla="*/ 109722 h 265137"/>
                <a:gd name="connsiteX740" fmla="*/ 65720 w 163595"/>
                <a:gd name="connsiteY740" fmla="*/ 108312 h 265137"/>
                <a:gd name="connsiteX741" fmla="*/ 66566 w 163595"/>
                <a:gd name="connsiteY741" fmla="*/ 107465 h 265137"/>
                <a:gd name="connsiteX742" fmla="*/ 67977 w 163595"/>
                <a:gd name="connsiteY742" fmla="*/ 105773 h 265137"/>
                <a:gd name="connsiteX743" fmla="*/ 69105 w 163595"/>
                <a:gd name="connsiteY743" fmla="*/ 104081 h 265137"/>
                <a:gd name="connsiteX744" fmla="*/ 69669 w 163595"/>
                <a:gd name="connsiteY744" fmla="*/ 103517 h 265137"/>
                <a:gd name="connsiteX745" fmla="*/ 70515 w 163595"/>
                <a:gd name="connsiteY745" fmla="*/ 103234 h 265137"/>
                <a:gd name="connsiteX746" fmla="*/ 71079 w 163595"/>
                <a:gd name="connsiteY746" fmla="*/ 102670 h 265137"/>
                <a:gd name="connsiteX747" fmla="*/ 72490 w 163595"/>
                <a:gd name="connsiteY747" fmla="*/ 100414 h 265137"/>
                <a:gd name="connsiteX748" fmla="*/ 74464 w 163595"/>
                <a:gd name="connsiteY748" fmla="*/ 98157 h 265137"/>
                <a:gd name="connsiteX749" fmla="*/ 75592 w 163595"/>
                <a:gd name="connsiteY749" fmla="*/ 96183 h 265137"/>
                <a:gd name="connsiteX750" fmla="*/ 77003 w 163595"/>
                <a:gd name="connsiteY750" fmla="*/ 95337 h 265137"/>
                <a:gd name="connsiteX751" fmla="*/ 78131 w 163595"/>
                <a:gd name="connsiteY751" fmla="*/ 93926 h 265137"/>
                <a:gd name="connsiteX752" fmla="*/ 78977 w 163595"/>
                <a:gd name="connsiteY752" fmla="*/ 93362 h 265137"/>
                <a:gd name="connsiteX753" fmla="*/ 79823 w 163595"/>
                <a:gd name="connsiteY753" fmla="*/ 92798 h 265137"/>
                <a:gd name="connsiteX754" fmla="*/ 80952 w 163595"/>
                <a:gd name="connsiteY754" fmla="*/ 91952 h 265137"/>
                <a:gd name="connsiteX755" fmla="*/ 81234 w 163595"/>
                <a:gd name="connsiteY755" fmla="*/ 91388 h 265137"/>
                <a:gd name="connsiteX756" fmla="*/ 82362 w 163595"/>
                <a:gd name="connsiteY756" fmla="*/ 89696 h 265137"/>
                <a:gd name="connsiteX757" fmla="*/ 84054 w 163595"/>
                <a:gd name="connsiteY757" fmla="*/ 87439 h 265137"/>
                <a:gd name="connsiteX758" fmla="*/ 84336 w 163595"/>
                <a:gd name="connsiteY758" fmla="*/ 87157 h 265137"/>
                <a:gd name="connsiteX759" fmla="*/ 86311 w 163595"/>
                <a:gd name="connsiteY759" fmla="*/ 86029 h 265137"/>
                <a:gd name="connsiteX760" fmla="*/ 88003 w 163595"/>
                <a:gd name="connsiteY760" fmla="*/ 84900 h 265137"/>
                <a:gd name="connsiteX761" fmla="*/ 89978 w 163595"/>
                <a:gd name="connsiteY761" fmla="*/ 82926 h 265137"/>
                <a:gd name="connsiteX762" fmla="*/ 95619 w 163595"/>
                <a:gd name="connsiteY762" fmla="*/ 78977 h 265137"/>
                <a:gd name="connsiteX763" fmla="*/ 97593 w 163595"/>
                <a:gd name="connsiteY763" fmla="*/ 77567 h 265137"/>
                <a:gd name="connsiteX764" fmla="*/ 98722 w 163595"/>
                <a:gd name="connsiteY764" fmla="*/ 76721 h 265137"/>
                <a:gd name="connsiteX765" fmla="*/ 99850 w 163595"/>
                <a:gd name="connsiteY765" fmla="*/ 75875 h 265137"/>
                <a:gd name="connsiteX766" fmla="*/ 100978 w 163595"/>
                <a:gd name="connsiteY766" fmla="*/ 74464 h 265137"/>
                <a:gd name="connsiteX767" fmla="*/ 101260 w 163595"/>
                <a:gd name="connsiteY767" fmla="*/ 71644 h 265137"/>
                <a:gd name="connsiteX768" fmla="*/ 101260 w 163595"/>
                <a:gd name="connsiteY768" fmla="*/ 71079 h 265137"/>
                <a:gd name="connsiteX769" fmla="*/ 100978 w 163595"/>
                <a:gd name="connsiteY769" fmla="*/ 70515 h 265137"/>
                <a:gd name="connsiteX770" fmla="*/ 101260 w 163595"/>
                <a:gd name="connsiteY770" fmla="*/ 69951 h 265137"/>
                <a:gd name="connsiteX771" fmla="*/ 100978 w 163595"/>
                <a:gd name="connsiteY771" fmla="*/ 68259 h 265137"/>
                <a:gd name="connsiteX772" fmla="*/ 100978 w 163595"/>
                <a:gd name="connsiteY772" fmla="*/ 65438 h 265137"/>
                <a:gd name="connsiteX773" fmla="*/ 100696 w 163595"/>
                <a:gd name="connsiteY773" fmla="*/ 63464 h 265137"/>
                <a:gd name="connsiteX774" fmla="*/ 100696 w 163595"/>
                <a:gd name="connsiteY774" fmla="*/ 62053 h 265137"/>
                <a:gd name="connsiteX775" fmla="*/ 100132 w 163595"/>
                <a:gd name="connsiteY775" fmla="*/ 60925 h 265137"/>
                <a:gd name="connsiteX776" fmla="*/ 100414 w 163595"/>
                <a:gd name="connsiteY776" fmla="*/ 60361 h 265137"/>
                <a:gd name="connsiteX777" fmla="*/ 100132 w 163595"/>
                <a:gd name="connsiteY777" fmla="*/ 58669 h 265137"/>
                <a:gd name="connsiteX778" fmla="*/ 99004 w 163595"/>
                <a:gd name="connsiteY778" fmla="*/ 55848 h 265137"/>
                <a:gd name="connsiteX779" fmla="*/ 98722 w 163595"/>
                <a:gd name="connsiteY779" fmla="*/ 55002 h 265137"/>
                <a:gd name="connsiteX780" fmla="*/ 98722 w 163595"/>
                <a:gd name="connsiteY780" fmla="*/ 54438 h 265137"/>
                <a:gd name="connsiteX781" fmla="*/ 98440 w 163595"/>
                <a:gd name="connsiteY781" fmla="*/ 53592 h 265137"/>
                <a:gd name="connsiteX782" fmla="*/ 96465 w 163595"/>
                <a:gd name="connsiteY782" fmla="*/ 51053 h 265137"/>
                <a:gd name="connsiteX783" fmla="*/ 96747 w 163595"/>
                <a:gd name="connsiteY783" fmla="*/ 50207 h 265137"/>
                <a:gd name="connsiteX784" fmla="*/ 95619 w 163595"/>
                <a:gd name="connsiteY784" fmla="*/ 49361 h 265137"/>
                <a:gd name="connsiteX785" fmla="*/ 94773 w 163595"/>
                <a:gd name="connsiteY785" fmla="*/ 48797 h 265137"/>
                <a:gd name="connsiteX786" fmla="*/ 92234 w 163595"/>
                <a:gd name="connsiteY786" fmla="*/ 46258 h 265137"/>
                <a:gd name="connsiteX787" fmla="*/ 91388 w 163595"/>
                <a:gd name="connsiteY787" fmla="*/ 45976 h 265137"/>
                <a:gd name="connsiteX788" fmla="*/ 87157 w 163595"/>
                <a:gd name="connsiteY788" fmla="*/ 44848 h 265137"/>
                <a:gd name="connsiteX789" fmla="*/ 85747 w 163595"/>
                <a:gd name="connsiteY789" fmla="*/ 45412 h 265137"/>
                <a:gd name="connsiteX790" fmla="*/ 85464 w 163595"/>
                <a:gd name="connsiteY790" fmla="*/ 45412 h 265137"/>
                <a:gd name="connsiteX791" fmla="*/ 80952 w 163595"/>
                <a:gd name="connsiteY791" fmla="*/ 47950 h 265137"/>
                <a:gd name="connsiteX792" fmla="*/ 79823 w 163595"/>
                <a:gd name="connsiteY792" fmla="*/ 48515 h 265137"/>
                <a:gd name="connsiteX793" fmla="*/ 77849 w 163595"/>
                <a:gd name="connsiteY793" fmla="*/ 49361 h 265137"/>
                <a:gd name="connsiteX794" fmla="*/ 77285 w 163595"/>
                <a:gd name="connsiteY794" fmla="*/ 49361 h 265137"/>
                <a:gd name="connsiteX795" fmla="*/ 77567 w 163595"/>
                <a:gd name="connsiteY795" fmla="*/ 49925 h 265137"/>
                <a:gd name="connsiteX796" fmla="*/ 77285 w 163595"/>
                <a:gd name="connsiteY796" fmla="*/ 50489 h 265137"/>
                <a:gd name="connsiteX797" fmla="*/ 76157 w 163595"/>
                <a:gd name="connsiteY797" fmla="*/ 52181 h 265137"/>
                <a:gd name="connsiteX798" fmla="*/ 75592 w 163595"/>
                <a:gd name="connsiteY798" fmla="*/ 52745 h 265137"/>
                <a:gd name="connsiteX799" fmla="*/ 74746 w 163595"/>
                <a:gd name="connsiteY799" fmla="*/ 52745 h 265137"/>
                <a:gd name="connsiteX800" fmla="*/ 74746 w 163595"/>
                <a:gd name="connsiteY800" fmla="*/ 53310 h 265137"/>
                <a:gd name="connsiteX801" fmla="*/ 74182 w 163595"/>
                <a:gd name="connsiteY801" fmla="*/ 53874 h 265137"/>
                <a:gd name="connsiteX802" fmla="*/ 72772 w 163595"/>
                <a:gd name="connsiteY802" fmla="*/ 55848 h 265137"/>
                <a:gd name="connsiteX803" fmla="*/ 71926 w 163595"/>
                <a:gd name="connsiteY803" fmla="*/ 56130 h 265137"/>
                <a:gd name="connsiteX804" fmla="*/ 71361 w 163595"/>
                <a:gd name="connsiteY804" fmla="*/ 56130 h 265137"/>
                <a:gd name="connsiteX805" fmla="*/ 70797 w 163595"/>
                <a:gd name="connsiteY805" fmla="*/ 56694 h 265137"/>
                <a:gd name="connsiteX806" fmla="*/ 70515 w 163595"/>
                <a:gd name="connsiteY806" fmla="*/ 57258 h 265137"/>
                <a:gd name="connsiteX807" fmla="*/ 70515 w 163595"/>
                <a:gd name="connsiteY807" fmla="*/ 57823 h 265137"/>
                <a:gd name="connsiteX808" fmla="*/ 69669 w 163595"/>
                <a:gd name="connsiteY808" fmla="*/ 58387 h 265137"/>
                <a:gd name="connsiteX809" fmla="*/ 69105 w 163595"/>
                <a:gd name="connsiteY809" fmla="*/ 58387 h 265137"/>
                <a:gd name="connsiteX810" fmla="*/ 68259 w 163595"/>
                <a:gd name="connsiteY810" fmla="*/ 59515 h 265137"/>
                <a:gd name="connsiteX811" fmla="*/ 68823 w 163595"/>
                <a:gd name="connsiteY811" fmla="*/ 59515 h 265137"/>
                <a:gd name="connsiteX812" fmla="*/ 68823 w 163595"/>
                <a:gd name="connsiteY812" fmla="*/ 59797 h 265137"/>
                <a:gd name="connsiteX813" fmla="*/ 68541 w 163595"/>
                <a:gd name="connsiteY813" fmla="*/ 60079 h 265137"/>
                <a:gd name="connsiteX814" fmla="*/ 68259 w 163595"/>
                <a:gd name="connsiteY814" fmla="*/ 59515 h 265137"/>
                <a:gd name="connsiteX815" fmla="*/ 2256 w 163595"/>
                <a:gd name="connsiteY815" fmla="*/ 204777 h 265137"/>
                <a:gd name="connsiteX816" fmla="*/ 1974 w 163595"/>
                <a:gd name="connsiteY816" fmla="*/ 204494 h 265137"/>
                <a:gd name="connsiteX817" fmla="*/ 1974 w 163595"/>
                <a:gd name="connsiteY817" fmla="*/ 205059 h 265137"/>
                <a:gd name="connsiteX818" fmla="*/ 2256 w 163595"/>
                <a:gd name="connsiteY818" fmla="*/ 204777 h 265137"/>
                <a:gd name="connsiteX819" fmla="*/ 42591 w 163595"/>
                <a:gd name="connsiteY819" fmla="*/ 147518 h 265137"/>
                <a:gd name="connsiteX820" fmla="*/ 42027 w 163595"/>
                <a:gd name="connsiteY820" fmla="*/ 149493 h 265137"/>
                <a:gd name="connsiteX821" fmla="*/ 42309 w 163595"/>
                <a:gd name="connsiteY821" fmla="*/ 149493 h 265137"/>
                <a:gd name="connsiteX822" fmla="*/ 42873 w 163595"/>
                <a:gd name="connsiteY822" fmla="*/ 148082 h 265137"/>
                <a:gd name="connsiteX823" fmla="*/ 42591 w 163595"/>
                <a:gd name="connsiteY823" fmla="*/ 147518 h 265137"/>
                <a:gd name="connsiteX824" fmla="*/ 98722 w 163595"/>
                <a:gd name="connsiteY824" fmla="*/ 91952 h 265137"/>
                <a:gd name="connsiteX825" fmla="*/ 98722 w 163595"/>
                <a:gd name="connsiteY825" fmla="*/ 91388 h 265137"/>
                <a:gd name="connsiteX826" fmla="*/ 98440 w 163595"/>
                <a:gd name="connsiteY826" fmla="*/ 90542 h 265137"/>
                <a:gd name="connsiteX827" fmla="*/ 97875 w 163595"/>
                <a:gd name="connsiteY827" fmla="*/ 91106 h 265137"/>
                <a:gd name="connsiteX828" fmla="*/ 95337 w 163595"/>
                <a:gd name="connsiteY828" fmla="*/ 92798 h 265137"/>
                <a:gd name="connsiteX829" fmla="*/ 94773 w 163595"/>
                <a:gd name="connsiteY829" fmla="*/ 93080 h 265137"/>
                <a:gd name="connsiteX830" fmla="*/ 94773 w 163595"/>
                <a:gd name="connsiteY830" fmla="*/ 93362 h 265137"/>
                <a:gd name="connsiteX831" fmla="*/ 93926 w 163595"/>
                <a:gd name="connsiteY831" fmla="*/ 94491 h 265137"/>
                <a:gd name="connsiteX832" fmla="*/ 92798 w 163595"/>
                <a:gd name="connsiteY832" fmla="*/ 95901 h 265137"/>
                <a:gd name="connsiteX833" fmla="*/ 92234 w 163595"/>
                <a:gd name="connsiteY833" fmla="*/ 96747 h 265137"/>
                <a:gd name="connsiteX834" fmla="*/ 90260 w 163595"/>
                <a:gd name="connsiteY834" fmla="*/ 98157 h 265137"/>
                <a:gd name="connsiteX835" fmla="*/ 89978 w 163595"/>
                <a:gd name="connsiteY835" fmla="*/ 97875 h 265137"/>
                <a:gd name="connsiteX836" fmla="*/ 89695 w 163595"/>
                <a:gd name="connsiteY836" fmla="*/ 97029 h 265137"/>
                <a:gd name="connsiteX837" fmla="*/ 90260 w 163595"/>
                <a:gd name="connsiteY837" fmla="*/ 96183 h 265137"/>
                <a:gd name="connsiteX838" fmla="*/ 90260 w 163595"/>
                <a:gd name="connsiteY838" fmla="*/ 95901 h 265137"/>
                <a:gd name="connsiteX839" fmla="*/ 89978 w 163595"/>
                <a:gd name="connsiteY839" fmla="*/ 95055 h 265137"/>
                <a:gd name="connsiteX840" fmla="*/ 88285 w 163595"/>
                <a:gd name="connsiteY840" fmla="*/ 95337 h 265137"/>
                <a:gd name="connsiteX841" fmla="*/ 87721 w 163595"/>
                <a:gd name="connsiteY841" fmla="*/ 95901 h 265137"/>
                <a:gd name="connsiteX842" fmla="*/ 87721 w 163595"/>
                <a:gd name="connsiteY842" fmla="*/ 96747 h 265137"/>
                <a:gd name="connsiteX843" fmla="*/ 87439 w 163595"/>
                <a:gd name="connsiteY843" fmla="*/ 96747 h 265137"/>
                <a:gd name="connsiteX844" fmla="*/ 86875 w 163595"/>
                <a:gd name="connsiteY844" fmla="*/ 96465 h 265137"/>
                <a:gd name="connsiteX845" fmla="*/ 86593 w 163595"/>
                <a:gd name="connsiteY845" fmla="*/ 96183 h 265137"/>
                <a:gd name="connsiteX846" fmla="*/ 86311 w 163595"/>
                <a:gd name="connsiteY846" fmla="*/ 95901 h 265137"/>
                <a:gd name="connsiteX847" fmla="*/ 86029 w 163595"/>
                <a:gd name="connsiteY847" fmla="*/ 96183 h 265137"/>
                <a:gd name="connsiteX848" fmla="*/ 85464 w 163595"/>
                <a:gd name="connsiteY848" fmla="*/ 96747 h 265137"/>
                <a:gd name="connsiteX849" fmla="*/ 85182 w 163595"/>
                <a:gd name="connsiteY849" fmla="*/ 97311 h 265137"/>
                <a:gd name="connsiteX850" fmla="*/ 85182 w 163595"/>
                <a:gd name="connsiteY850" fmla="*/ 97875 h 265137"/>
                <a:gd name="connsiteX851" fmla="*/ 84336 w 163595"/>
                <a:gd name="connsiteY851" fmla="*/ 99850 h 265137"/>
                <a:gd name="connsiteX852" fmla="*/ 84054 w 163595"/>
                <a:gd name="connsiteY852" fmla="*/ 100414 h 265137"/>
                <a:gd name="connsiteX853" fmla="*/ 84054 w 163595"/>
                <a:gd name="connsiteY853" fmla="*/ 100978 h 265137"/>
                <a:gd name="connsiteX854" fmla="*/ 84336 w 163595"/>
                <a:gd name="connsiteY854" fmla="*/ 100978 h 265137"/>
                <a:gd name="connsiteX855" fmla="*/ 85464 w 163595"/>
                <a:gd name="connsiteY855" fmla="*/ 99850 h 265137"/>
                <a:gd name="connsiteX856" fmla="*/ 87157 w 163595"/>
                <a:gd name="connsiteY856" fmla="*/ 98721 h 265137"/>
                <a:gd name="connsiteX857" fmla="*/ 88003 w 163595"/>
                <a:gd name="connsiteY857" fmla="*/ 99286 h 265137"/>
                <a:gd name="connsiteX858" fmla="*/ 88285 w 163595"/>
                <a:gd name="connsiteY858" fmla="*/ 99568 h 265137"/>
                <a:gd name="connsiteX859" fmla="*/ 88567 w 163595"/>
                <a:gd name="connsiteY859" fmla="*/ 100132 h 265137"/>
                <a:gd name="connsiteX860" fmla="*/ 88285 w 163595"/>
                <a:gd name="connsiteY860" fmla="*/ 100414 h 265137"/>
                <a:gd name="connsiteX861" fmla="*/ 86875 w 163595"/>
                <a:gd name="connsiteY861" fmla="*/ 101824 h 265137"/>
                <a:gd name="connsiteX862" fmla="*/ 86029 w 163595"/>
                <a:gd name="connsiteY862" fmla="*/ 102670 h 265137"/>
                <a:gd name="connsiteX863" fmla="*/ 85182 w 163595"/>
                <a:gd name="connsiteY863" fmla="*/ 103234 h 265137"/>
                <a:gd name="connsiteX864" fmla="*/ 82926 w 163595"/>
                <a:gd name="connsiteY864" fmla="*/ 105491 h 265137"/>
                <a:gd name="connsiteX865" fmla="*/ 82362 w 163595"/>
                <a:gd name="connsiteY865" fmla="*/ 106055 h 265137"/>
                <a:gd name="connsiteX866" fmla="*/ 80388 w 163595"/>
                <a:gd name="connsiteY866" fmla="*/ 109158 h 265137"/>
                <a:gd name="connsiteX867" fmla="*/ 79259 w 163595"/>
                <a:gd name="connsiteY867" fmla="*/ 110568 h 265137"/>
                <a:gd name="connsiteX868" fmla="*/ 78977 w 163595"/>
                <a:gd name="connsiteY868" fmla="*/ 111132 h 265137"/>
                <a:gd name="connsiteX869" fmla="*/ 77567 w 163595"/>
                <a:gd name="connsiteY869" fmla="*/ 112542 h 265137"/>
                <a:gd name="connsiteX870" fmla="*/ 77003 w 163595"/>
                <a:gd name="connsiteY870" fmla="*/ 113107 h 265137"/>
                <a:gd name="connsiteX871" fmla="*/ 75592 w 163595"/>
                <a:gd name="connsiteY871" fmla="*/ 115081 h 265137"/>
                <a:gd name="connsiteX872" fmla="*/ 75028 w 163595"/>
                <a:gd name="connsiteY872" fmla="*/ 115645 h 265137"/>
                <a:gd name="connsiteX873" fmla="*/ 72490 w 163595"/>
                <a:gd name="connsiteY873" fmla="*/ 119030 h 265137"/>
                <a:gd name="connsiteX874" fmla="*/ 71926 w 163595"/>
                <a:gd name="connsiteY874" fmla="*/ 119312 h 265137"/>
                <a:gd name="connsiteX875" fmla="*/ 71644 w 163595"/>
                <a:gd name="connsiteY875" fmla="*/ 119312 h 265137"/>
                <a:gd name="connsiteX876" fmla="*/ 71079 w 163595"/>
                <a:gd name="connsiteY876" fmla="*/ 119030 h 265137"/>
                <a:gd name="connsiteX877" fmla="*/ 71644 w 163595"/>
                <a:gd name="connsiteY877" fmla="*/ 118748 h 265137"/>
                <a:gd name="connsiteX878" fmla="*/ 72490 w 163595"/>
                <a:gd name="connsiteY878" fmla="*/ 117338 h 265137"/>
                <a:gd name="connsiteX879" fmla="*/ 72490 w 163595"/>
                <a:gd name="connsiteY879" fmla="*/ 117055 h 265137"/>
                <a:gd name="connsiteX880" fmla="*/ 71926 w 163595"/>
                <a:gd name="connsiteY880" fmla="*/ 116491 h 265137"/>
                <a:gd name="connsiteX881" fmla="*/ 71926 w 163595"/>
                <a:gd name="connsiteY881" fmla="*/ 115645 h 265137"/>
                <a:gd name="connsiteX882" fmla="*/ 73054 w 163595"/>
                <a:gd name="connsiteY882" fmla="*/ 115081 h 265137"/>
                <a:gd name="connsiteX883" fmla="*/ 73618 w 163595"/>
                <a:gd name="connsiteY883" fmla="*/ 115081 h 265137"/>
                <a:gd name="connsiteX884" fmla="*/ 73900 w 163595"/>
                <a:gd name="connsiteY884" fmla="*/ 115081 h 265137"/>
                <a:gd name="connsiteX885" fmla="*/ 74182 w 163595"/>
                <a:gd name="connsiteY885" fmla="*/ 115081 h 265137"/>
                <a:gd name="connsiteX886" fmla="*/ 74464 w 163595"/>
                <a:gd name="connsiteY886" fmla="*/ 114517 h 265137"/>
                <a:gd name="connsiteX887" fmla="*/ 73900 w 163595"/>
                <a:gd name="connsiteY887" fmla="*/ 113389 h 265137"/>
                <a:gd name="connsiteX888" fmla="*/ 74464 w 163595"/>
                <a:gd name="connsiteY888" fmla="*/ 112542 h 265137"/>
                <a:gd name="connsiteX889" fmla="*/ 75875 w 163595"/>
                <a:gd name="connsiteY889" fmla="*/ 111132 h 265137"/>
                <a:gd name="connsiteX890" fmla="*/ 76157 w 163595"/>
                <a:gd name="connsiteY890" fmla="*/ 110850 h 265137"/>
                <a:gd name="connsiteX891" fmla="*/ 77567 w 163595"/>
                <a:gd name="connsiteY891" fmla="*/ 108594 h 265137"/>
                <a:gd name="connsiteX892" fmla="*/ 79541 w 163595"/>
                <a:gd name="connsiteY892" fmla="*/ 107465 h 265137"/>
                <a:gd name="connsiteX893" fmla="*/ 79823 w 163595"/>
                <a:gd name="connsiteY893" fmla="*/ 106901 h 265137"/>
                <a:gd name="connsiteX894" fmla="*/ 79823 w 163595"/>
                <a:gd name="connsiteY894" fmla="*/ 106337 h 265137"/>
                <a:gd name="connsiteX895" fmla="*/ 81234 w 163595"/>
                <a:gd name="connsiteY895" fmla="*/ 104645 h 265137"/>
                <a:gd name="connsiteX896" fmla="*/ 81798 w 163595"/>
                <a:gd name="connsiteY896" fmla="*/ 104363 h 265137"/>
                <a:gd name="connsiteX897" fmla="*/ 82362 w 163595"/>
                <a:gd name="connsiteY897" fmla="*/ 104645 h 265137"/>
                <a:gd name="connsiteX898" fmla="*/ 83208 w 163595"/>
                <a:gd name="connsiteY898" fmla="*/ 104363 h 265137"/>
                <a:gd name="connsiteX899" fmla="*/ 84054 w 163595"/>
                <a:gd name="connsiteY899" fmla="*/ 103517 h 265137"/>
                <a:gd name="connsiteX900" fmla="*/ 85182 w 163595"/>
                <a:gd name="connsiteY900" fmla="*/ 101824 h 265137"/>
                <a:gd name="connsiteX901" fmla="*/ 85182 w 163595"/>
                <a:gd name="connsiteY901" fmla="*/ 101542 h 265137"/>
                <a:gd name="connsiteX902" fmla="*/ 84900 w 163595"/>
                <a:gd name="connsiteY902" fmla="*/ 101542 h 265137"/>
                <a:gd name="connsiteX903" fmla="*/ 83490 w 163595"/>
                <a:gd name="connsiteY903" fmla="*/ 102670 h 265137"/>
                <a:gd name="connsiteX904" fmla="*/ 82926 w 163595"/>
                <a:gd name="connsiteY904" fmla="*/ 102952 h 265137"/>
                <a:gd name="connsiteX905" fmla="*/ 82644 w 163595"/>
                <a:gd name="connsiteY905" fmla="*/ 102670 h 265137"/>
                <a:gd name="connsiteX906" fmla="*/ 82080 w 163595"/>
                <a:gd name="connsiteY906" fmla="*/ 102106 h 265137"/>
                <a:gd name="connsiteX907" fmla="*/ 81234 w 163595"/>
                <a:gd name="connsiteY907" fmla="*/ 102670 h 265137"/>
                <a:gd name="connsiteX908" fmla="*/ 79541 w 163595"/>
                <a:gd name="connsiteY908" fmla="*/ 104081 h 265137"/>
                <a:gd name="connsiteX909" fmla="*/ 78695 w 163595"/>
                <a:gd name="connsiteY909" fmla="*/ 105491 h 265137"/>
                <a:gd name="connsiteX910" fmla="*/ 78695 w 163595"/>
                <a:gd name="connsiteY910" fmla="*/ 106055 h 265137"/>
                <a:gd name="connsiteX911" fmla="*/ 76439 w 163595"/>
                <a:gd name="connsiteY911" fmla="*/ 108876 h 265137"/>
                <a:gd name="connsiteX912" fmla="*/ 74464 w 163595"/>
                <a:gd name="connsiteY912" fmla="*/ 110568 h 265137"/>
                <a:gd name="connsiteX913" fmla="*/ 73900 w 163595"/>
                <a:gd name="connsiteY913" fmla="*/ 110850 h 265137"/>
                <a:gd name="connsiteX914" fmla="*/ 73054 w 163595"/>
                <a:gd name="connsiteY914" fmla="*/ 110850 h 265137"/>
                <a:gd name="connsiteX915" fmla="*/ 71644 w 163595"/>
                <a:gd name="connsiteY915" fmla="*/ 111696 h 265137"/>
                <a:gd name="connsiteX916" fmla="*/ 71079 w 163595"/>
                <a:gd name="connsiteY916" fmla="*/ 111978 h 265137"/>
                <a:gd name="connsiteX917" fmla="*/ 69951 w 163595"/>
                <a:gd name="connsiteY917" fmla="*/ 111978 h 265137"/>
                <a:gd name="connsiteX918" fmla="*/ 69105 w 163595"/>
                <a:gd name="connsiteY918" fmla="*/ 113107 h 265137"/>
                <a:gd name="connsiteX919" fmla="*/ 69105 w 163595"/>
                <a:gd name="connsiteY919" fmla="*/ 114517 h 265137"/>
                <a:gd name="connsiteX920" fmla="*/ 68823 w 163595"/>
                <a:gd name="connsiteY920" fmla="*/ 114799 h 265137"/>
                <a:gd name="connsiteX921" fmla="*/ 68541 w 163595"/>
                <a:gd name="connsiteY921" fmla="*/ 114517 h 265137"/>
                <a:gd name="connsiteX922" fmla="*/ 67977 w 163595"/>
                <a:gd name="connsiteY922" fmla="*/ 113953 h 265137"/>
                <a:gd name="connsiteX923" fmla="*/ 67413 w 163595"/>
                <a:gd name="connsiteY923" fmla="*/ 114517 h 265137"/>
                <a:gd name="connsiteX924" fmla="*/ 66002 w 163595"/>
                <a:gd name="connsiteY924" fmla="*/ 115645 h 265137"/>
                <a:gd name="connsiteX925" fmla="*/ 65438 w 163595"/>
                <a:gd name="connsiteY925" fmla="*/ 116491 h 265137"/>
                <a:gd name="connsiteX926" fmla="*/ 66002 w 163595"/>
                <a:gd name="connsiteY926" fmla="*/ 117055 h 265137"/>
                <a:gd name="connsiteX927" fmla="*/ 66848 w 163595"/>
                <a:gd name="connsiteY927" fmla="*/ 117902 h 265137"/>
                <a:gd name="connsiteX928" fmla="*/ 67130 w 163595"/>
                <a:gd name="connsiteY928" fmla="*/ 118184 h 265137"/>
                <a:gd name="connsiteX929" fmla="*/ 67130 w 163595"/>
                <a:gd name="connsiteY929" fmla="*/ 118466 h 265137"/>
                <a:gd name="connsiteX930" fmla="*/ 66566 w 163595"/>
                <a:gd name="connsiteY930" fmla="*/ 118748 h 265137"/>
                <a:gd name="connsiteX931" fmla="*/ 66002 w 163595"/>
                <a:gd name="connsiteY931" fmla="*/ 119594 h 265137"/>
                <a:gd name="connsiteX932" fmla="*/ 66284 w 163595"/>
                <a:gd name="connsiteY932" fmla="*/ 119876 h 265137"/>
                <a:gd name="connsiteX933" fmla="*/ 66284 w 163595"/>
                <a:gd name="connsiteY933" fmla="*/ 120440 h 265137"/>
                <a:gd name="connsiteX934" fmla="*/ 65720 w 163595"/>
                <a:gd name="connsiteY934" fmla="*/ 121286 h 265137"/>
                <a:gd name="connsiteX935" fmla="*/ 64592 w 163595"/>
                <a:gd name="connsiteY935" fmla="*/ 121568 h 265137"/>
                <a:gd name="connsiteX936" fmla="*/ 63746 w 163595"/>
                <a:gd name="connsiteY936" fmla="*/ 121286 h 265137"/>
                <a:gd name="connsiteX937" fmla="*/ 63464 w 163595"/>
                <a:gd name="connsiteY937" fmla="*/ 121004 h 265137"/>
                <a:gd name="connsiteX938" fmla="*/ 63182 w 163595"/>
                <a:gd name="connsiteY938" fmla="*/ 121286 h 265137"/>
                <a:gd name="connsiteX939" fmla="*/ 62054 w 163595"/>
                <a:gd name="connsiteY939" fmla="*/ 121568 h 265137"/>
                <a:gd name="connsiteX940" fmla="*/ 60925 w 163595"/>
                <a:gd name="connsiteY940" fmla="*/ 122133 h 265137"/>
                <a:gd name="connsiteX941" fmla="*/ 60925 w 163595"/>
                <a:gd name="connsiteY941" fmla="*/ 122415 h 265137"/>
                <a:gd name="connsiteX942" fmla="*/ 60643 w 163595"/>
                <a:gd name="connsiteY942" fmla="*/ 122133 h 265137"/>
                <a:gd name="connsiteX943" fmla="*/ 60079 w 163595"/>
                <a:gd name="connsiteY943" fmla="*/ 121851 h 265137"/>
                <a:gd name="connsiteX944" fmla="*/ 59797 w 163595"/>
                <a:gd name="connsiteY944" fmla="*/ 122415 h 265137"/>
                <a:gd name="connsiteX945" fmla="*/ 59515 w 163595"/>
                <a:gd name="connsiteY945" fmla="*/ 122697 h 265137"/>
                <a:gd name="connsiteX946" fmla="*/ 59797 w 163595"/>
                <a:gd name="connsiteY946" fmla="*/ 122979 h 265137"/>
                <a:gd name="connsiteX947" fmla="*/ 60925 w 163595"/>
                <a:gd name="connsiteY947" fmla="*/ 124671 h 265137"/>
                <a:gd name="connsiteX948" fmla="*/ 60925 w 163595"/>
                <a:gd name="connsiteY948" fmla="*/ 124953 h 265137"/>
                <a:gd name="connsiteX949" fmla="*/ 61772 w 163595"/>
                <a:gd name="connsiteY949" fmla="*/ 125235 h 265137"/>
                <a:gd name="connsiteX950" fmla="*/ 62054 w 163595"/>
                <a:gd name="connsiteY950" fmla="*/ 125235 h 265137"/>
                <a:gd name="connsiteX951" fmla="*/ 63182 w 163595"/>
                <a:gd name="connsiteY951" fmla="*/ 124671 h 265137"/>
                <a:gd name="connsiteX952" fmla="*/ 63464 w 163595"/>
                <a:gd name="connsiteY952" fmla="*/ 124671 h 265137"/>
                <a:gd name="connsiteX953" fmla="*/ 63464 w 163595"/>
                <a:gd name="connsiteY953" fmla="*/ 125235 h 265137"/>
                <a:gd name="connsiteX954" fmla="*/ 64874 w 163595"/>
                <a:gd name="connsiteY954" fmla="*/ 125799 h 265137"/>
                <a:gd name="connsiteX955" fmla="*/ 65438 w 163595"/>
                <a:gd name="connsiteY955" fmla="*/ 125235 h 265137"/>
                <a:gd name="connsiteX956" fmla="*/ 66002 w 163595"/>
                <a:gd name="connsiteY956" fmla="*/ 123825 h 265137"/>
                <a:gd name="connsiteX957" fmla="*/ 66284 w 163595"/>
                <a:gd name="connsiteY957" fmla="*/ 123261 h 265137"/>
                <a:gd name="connsiteX958" fmla="*/ 68259 w 163595"/>
                <a:gd name="connsiteY958" fmla="*/ 120440 h 265137"/>
                <a:gd name="connsiteX959" fmla="*/ 69669 w 163595"/>
                <a:gd name="connsiteY959" fmla="*/ 120158 h 265137"/>
                <a:gd name="connsiteX960" fmla="*/ 70797 w 163595"/>
                <a:gd name="connsiteY960" fmla="*/ 120722 h 265137"/>
                <a:gd name="connsiteX961" fmla="*/ 70797 w 163595"/>
                <a:gd name="connsiteY961" fmla="*/ 121286 h 265137"/>
                <a:gd name="connsiteX962" fmla="*/ 70233 w 163595"/>
                <a:gd name="connsiteY962" fmla="*/ 121851 h 265137"/>
                <a:gd name="connsiteX963" fmla="*/ 68541 w 163595"/>
                <a:gd name="connsiteY963" fmla="*/ 124671 h 265137"/>
                <a:gd name="connsiteX964" fmla="*/ 67977 w 163595"/>
                <a:gd name="connsiteY964" fmla="*/ 124953 h 265137"/>
                <a:gd name="connsiteX965" fmla="*/ 66566 w 163595"/>
                <a:gd name="connsiteY965" fmla="*/ 127492 h 265137"/>
                <a:gd name="connsiteX966" fmla="*/ 65438 w 163595"/>
                <a:gd name="connsiteY966" fmla="*/ 128620 h 265137"/>
                <a:gd name="connsiteX967" fmla="*/ 64874 w 163595"/>
                <a:gd name="connsiteY967" fmla="*/ 129184 h 265137"/>
                <a:gd name="connsiteX968" fmla="*/ 63182 w 163595"/>
                <a:gd name="connsiteY968" fmla="*/ 132005 h 265137"/>
                <a:gd name="connsiteX969" fmla="*/ 62054 w 163595"/>
                <a:gd name="connsiteY969" fmla="*/ 133133 h 265137"/>
                <a:gd name="connsiteX970" fmla="*/ 61772 w 163595"/>
                <a:gd name="connsiteY970" fmla="*/ 132569 h 265137"/>
                <a:gd name="connsiteX971" fmla="*/ 62054 w 163595"/>
                <a:gd name="connsiteY971" fmla="*/ 131723 h 265137"/>
                <a:gd name="connsiteX972" fmla="*/ 62054 w 163595"/>
                <a:gd name="connsiteY972" fmla="*/ 130876 h 265137"/>
                <a:gd name="connsiteX973" fmla="*/ 59515 w 163595"/>
                <a:gd name="connsiteY973" fmla="*/ 129748 h 265137"/>
                <a:gd name="connsiteX974" fmla="*/ 58951 w 163595"/>
                <a:gd name="connsiteY974" fmla="*/ 129748 h 265137"/>
                <a:gd name="connsiteX975" fmla="*/ 58387 w 163595"/>
                <a:gd name="connsiteY975" fmla="*/ 129466 h 265137"/>
                <a:gd name="connsiteX976" fmla="*/ 57541 w 163595"/>
                <a:gd name="connsiteY976" fmla="*/ 129748 h 265137"/>
                <a:gd name="connsiteX977" fmla="*/ 56976 w 163595"/>
                <a:gd name="connsiteY977" fmla="*/ 130312 h 265137"/>
                <a:gd name="connsiteX978" fmla="*/ 56412 w 163595"/>
                <a:gd name="connsiteY978" fmla="*/ 130030 h 265137"/>
                <a:gd name="connsiteX979" fmla="*/ 55848 w 163595"/>
                <a:gd name="connsiteY979" fmla="*/ 129184 h 265137"/>
                <a:gd name="connsiteX980" fmla="*/ 56130 w 163595"/>
                <a:gd name="connsiteY980" fmla="*/ 128056 h 265137"/>
                <a:gd name="connsiteX981" fmla="*/ 56412 w 163595"/>
                <a:gd name="connsiteY981" fmla="*/ 127774 h 265137"/>
                <a:gd name="connsiteX982" fmla="*/ 56130 w 163595"/>
                <a:gd name="connsiteY982" fmla="*/ 127774 h 265137"/>
                <a:gd name="connsiteX983" fmla="*/ 55284 w 163595"/>
                <a:gd name="connsiteY983" fmla="*/ 128056 h 265137"/>
                <a:gd name="connsiteX984" fmla="*/ 53874 w 163595"/>
                <a:gd name="connsiteY984" fmla="*/ 130594 h 265137"/>
                <a:gd name="connsiteX985" fmla="*/ 51335 w 163595"/>
                <a:gd name="connsiteY985" fmla="*/ 135389 h 265137"/>
                <a:gd name="connsiteX986" fmla="*/ 51335 w 163595"/>
                <a:gd name="connsiteY986" fmla="*/ 135672 h 265137"/>
                <a:gd name="connsiteX987" fmla="*/ 50489 w 163595"/>
                <a:gd name="connsiteY987" fmla="*/ 137082 h 265137"/>
                <a:gd name="connsiteX988" fmla="*/ 49925 w 163595"/>
                <a:gd name="connsiteY988" fmla="*/ 137364 h 265137"/>
                <a:gd name="connsiteX989" fmla="*/ 49643 w 163595"/>
                <a:gd name="connsiteY989" fmla="*/ 137928 h 265137"/>
                <a:gd name="connsiteX990" fmla="*/ 50207 w 163595"/>
                <a:gd name="connsiteY990" fmla="*/ 138210 h 265137"/>
                <a:gd name="connsiteX991" fmla="*/ 52181 w 163595"/>
                <a:gd name="connsiteY991" fmla="*/ 137364 h 265137"/>
                <a:gd name="connsiteX992" fmla="*/ 53027 w 163595"/>
                <a:gd name="connsiteY992" fmla="*/ 137082 h 265137"/>
                <a:gd name="connsiteX993" fmla="*/ 51899 w 163595"/>
                <a:gd name="connsiteY993" fmla="*/ 138774 h 265137"/>
                <a:gd name="connsiteX994" fmla="*/ 50771 w 163595"/>
                <a:gd name="connsiteY994" fmla="*/ 138774 h 265137"/>
                <a:gd name="connsiteX995" fmla="*/ 50207 w 163595"/>
                <a:gd name="connsiteY995" fmla="*/ 139056 h 265137"/>
                <a:gd name="connsiteX996" fmla="*/ 49925 w 163595"/>
                <a:gd name="connsiteY996" fmla="*/ 139056 h 265137"/>
                <a:gd name="connsiteX997" fmla="*/ 49361 w 163595"/>
                <a:gd name="connsiteY997" fmla="*/ 139620 h 265137"/>
                <a:gd name="connsiteX998" fmla="*/ 48232 w 163595"/>
                <a:gd name="connsiteY998" fmla="*/ 141595 h 265137"/>
                <a:gd name="connsiteX999" fmla="*/ 47950 w 163595"/>
                <a:gd name="connsiteY999" fmla="*/ 143287 h 265137"/>
                <a:gd name="connsiteX1000" fmla="*/ 47386 w 163595"/>
                <a:gd name="connsiteY1000" fmla="*/ 144697 h 265137"/>
                <a:gd name="connsiteX1001" fmla="*/ 47386 w 163595"/>
                <a:gd name="connsiteY1001" fmla="*/ 144980 h 265137"/>
                <a:gd name="connsiteX1002" fmla="*/ 47668 w 163595"/>
                <a:gd name="connsiteY1002" fmla="*/ 145262 h 265137"/>
                <a:gd name="connsiteX1003" fmla="*/ 47950 w 163595"/>
                <a:gd name="connsiteY1003" fmla="*/ 144980 h 265137"/>
                <a:gd name="connsiteX1004" fmla="*/ 48514 w 163595"/>
                <a:gd name="connsiteY1004" fmla="*/ 143851 h 265137"/>
                <a:gd name="connsiteX1005" fmla="*/ 48514 w 163595"/>
                <a:gd name="connsiteY1005" fmla="*/ 143569 h 265137"/>
                <a:gd name="connsiteX1006" fmla="*/ 49079 w 163595"/>
                <a:gd name="connsiteY1006" fmla="*/ 142723 h 265137"/>
                <a:gd name="connsiteX1007" fmla="*/ 49643 w 163595"/>
                <a:gd name="connsiteY1007" fmla="*/ 142159 h 265137"/>
                <a:gd name="connsiteX1008" fmla="*/ 50489 w 163595"/>
                <a:gd name="connsiteY1008" fmla="*/ 141877 h 265137"/>
                <a:gd name="connsiteX1009" fmla="*/ 51053 w 163595"/>
                <a:gd name="connsiteY1009" fmla="*/ 142441 h 265137"/>
                <a:gd name="connsiteX1010" fmla="*/ 50489 w 163595"/>
                <a:gd name="connsiteY1010" fmla="*/ 143569 h 265137"/>
                <a:gd name="connsiteX1011" fmla="*/ 49361 w 163595"/>
                <a:gd name="connsiteY1011" fmla="*/ 144415 h 265137"/>
                <a:gd name="connsiteX1012" fmla="*/ 49361 w 163595"/>
                <a:gd name="connsiteY1012" fmla="*/ 144697 h 265137"/>
                <a:gd name="connsiteX1013" fmla="*/ 49643 w 163595"/>
                <a:gd name="connsiteY1013" fmla="*/ 144697 h 265137"/>
                <a:gd name="connsiteX1014" fmla="*/ 50207 w 163595"/>
                <a:gd name="connsiteY1014" fmla="*/ 144415 h 265137"/>
                <a:gd name="connsiteX1015" fmla="*/ 51053 w 163595"/>
                <a:gd name="connsiteY1015" fmla="*/ 144980 h 265137"/>
                <a:gd name="connsiteX1016" fmla="*/ 51617 w 163595"/>
                <a:gd name="connsiteY1016" fmla="*/ 145544 h 265137"/>
                <a:gd name="connsiteX1017" fmla="*/ 51899 w 163595"/>
                <a:gd name="connsiteY1017" fmla="*/ 145262 h 265137"/>
                <a:gd name="connsiteX1018" fmla="*/ 52463 w 163595"/>
                <a:gd name="connsiteY1018" fmla="*/ 145826 h 265137"/>
                <a:gd name="connsiteX1019" fmla="*/ 52181 w 163595"/>
                <a:gd name="connsiteY1019" fmla="*/ 147518 h 265137"/>
                <a:gd name="connsiteX1020" fmla="*/ 52745 w 163595"/>
                <a:gd name="connsiteY1020" fmla="*/ 148082 h 265137"/>
                <a:gd name="connsiteX1021" fmla="*/ 53027 w 163595"/>
                <a:gd name="connsiteY1021" fmla="*/ 148082 h 265137"/>
                <a:gd name="connsiteX1022" fmla="*/ 53310 w 163595"/>
                <a:gd name="connsiteY1022" fmla="*/ 148364 h 265137"/>
                <a:gd name="connsiteX1023" fmla="*/ 53874 w 163595"/>
                <a:gd name="connsiteY1023" fmla="*/ 150057 h 265137"/>
                <a:gd name="connsiteX1024" fmla="*/ 52745 w 163595"/>
                <a:gd name="connsiteY1024" fmla="*/ 151467 h 265137"/>
                <a:gd name="connsiteX1025" fmla="*/ 52181 w 163595"/>
                <a:gd name="connsiteY1025" fmla="*/ 152595 h 265137"/>
                <a:gd name="connsiteX1026" fmla="*/ 52181 w 163595"/>
                <a:gd name="connsiteY1026" fmla="*/ 152877 h 265137"/>
                <a:gd name="connsiteX1027" fmla="*/ 51617 w 163595"/>
                <a:gd name="connsiteY1027" fmla="*/ 152877 h 265137"/>
                <a:gd name="connsiteX1028" fmla="*/ 50207 w 163595"/>
                <a:gd name="connsiteY1028" fmla="*/ 152595 h 265137"/>
                <a:gd name="connsiteX1029" fmla="*/ 49925 w 163595"/>
                <a:gd name="connsiteY1029" fmla="*/ 151467 h 265137"/>
                <a:gd name="connsiteX1030" fmla="*/ 49361 w 163595"/>
                <a:gd name="connsiteY1030" fmla="*/ 151467 h 265137"/>
                <a:gd name="connsiteX1031" fmla="*/ 49361 w 163595"/>
                <a:gd name="connsiteY1031" fmla="*/ 151749 h 265137"/>
                <a:gd name="connsiteX1032" fmla="*/ 49079 w 163595"/>
                <a:gd name="connsiteY1032" fmla="*/ 153441 h 265137"/>
                <a:gd name="connsiteX1033" fmla="*/ 48796 w 163595"/>
                <a:gd name="connsiteY1033" fmla="*/ 154288 h 265137"/>
                <a:gd name="connsiteX1034" fmla="*/ 48514 w 163595"/>
                <a:gd name="connsiteY1034" fmla="*/ 154288 h 265137"/>
                <a:gd name="connsiteX1035" fmla="*/ 47668 w 163595"/>
                <a:gd name="connsiteY1035" fmla="*/ 154006 h 265137"/>
                <a:gd name="connsiteX1036" fmla="*/ 47386 w 163595"/>
                <a:gd name="connsiteY1036" fmla="*/ 153723 h 265137"/>
                <a:gd name="connsiteX1037" fmla="*/ 47104 w 163595"/>
                <a:gd name="connsiteY1037" fmla="*/ 154006 h 265137"/>
                <a:gd name="connsiteX1038" fmla="*/ 46822 w 163595"/>
                <a:gd name="connsiteY1038" fmla="*/ 154570 h 265137"/>
                <a:gd name="connsiteX1039" fmla="*/ 47386 w 163595"/>
                <a:gd name="connsiteY1039" fmla="*/ 155416 h 265137"/>
                <a:gd name="connsiteX1040" fmla="*/ 48232 w 163595"/>
                <a:gd name="connsiteY1040" fmla="*/ 156826 h 265137"/>
                <a:gd name="connsiteX1041" fmla="*/ 48796 w 163595"/>
                <a:gd name="connsiteY1041" fmla="*/ 157108 h 265137"/>
                <a:gd name="connsiteX1042" fmla="*/ 49361 w 163595"/>
                <a:gd name="connsiteY1042" fmla="*/ 157108 h 265137"/>
                <a:gd name="connsiteX1043" fmla="*/ 51899 w 163595"/>
                <a:gd name="connsiteY1043" fmla="*/ 156262 h 265137"/>
                <a:gd name="connsiteX1044" fmla="*/ 52745 w 163595"/>
                <a:gd name="connsiteY1044" fmla="*/ 155416 h 265137"/>
                <a:gd name="connsiteX1045" fmla="*/ 54438 w 163595"/>
                <a:gd name="connsiteY1045" fmla="*/ 155134 h 265137"/>
                <a:gd name="connsiteX1046" fmla="*/ 54720 w 163595"/>
                <a:gd name="connsiteY1046" fmla="*/ 154852 h 265137"/>
                <a:gd name="connsiteX1047" fmla="*/ 55566 w 163595"/>
                <a:gd name="connsiteY1047" fmla="*/ 154288 h 265137"/>
                <a:gd name="connsiteX1048" fmla="*/ 59797 w 163595"/>
                <a:gd name="connsiteY1048" fmla="*/ 151467 h 265137"/>
                <a:gd name="connsiteX1049" fmla="*/ 61489 w 163595"/>
                <a:gd name="connsiteY1049" fmla="*/ 150339 h 265137"/>
                <a:gd name="connsiteX1050" fmla="*/ 65438 w 163595"/>
                <a:gd name="connsiteY1050" fmla="*/ 146954 h 265137"/>
                <a:gd name="connsiteX1051" fmla="*/ 69387 w 163595"/>
                <a:gd name="connsiteY1051" fmla="*/ 143569 h 265137"/>
                <a:gd name="connsiteX1052" fmla="*/ 70797 w 163595"/>
                <a:gd name="connsiteY1052" fmla="*/ 141877 h 265137"/>
                <a:gd name="connsiteX1053" fmla="*/ 73054 w 163595"/>
                <a:gd name="connsiteY1053" fmla="*/ 139902 h 265137"/>
                <a:gd name="connsiteX1054" fmla="*/ 75875 w 163595"/>
                <a:gd name="connsiteY1054" fmla="*/ 136800 h 265137"/>
                <a:gd name="connsiteX1055" fmla="*/ 76439 w 163595"/>
                <a:gd name="connsiteY1055" fmla="*/ 136518 h 265137"/>
                <a:gd name="connsiteX1056" fmla="*/ 81234 w 163595"/>
                <a:gd name="connsiteY1056" fmla="*/ 130876 h 265137"/>
                <a:gd name="connsiteX1057" fmla="*/ 86029 w 163595"/>
                <a:gd name="connsiteY1057" fmla="*/ 124389 h 265137"/>
                <a:gd name="connsiteX1058" fmla="*/ 88849 w 163595"/>
                <a:gd name="connsiteY1058" fmla="*/ 119030 h 265137"/>
                <a:gd name="connsiteX1059" fmla="*/ 93080 w 163595"/>
                <a:gd name="connsiteY1059" fmla="*/ 109722 h 265137"/>
                <a:gd name="connsiteX1060" fmla="*/ 93362 w 163595"/>
                <a:gd name="connsiteY1060" fmla="*/ 109440 h 265137"/>
                <a:gd name="connsiteX1061" fmla="*/ 96465 w 163595"/>
                <a:gd name="connsiteY1061" fmla="*/ 100414 h 265137"/>
                <a:gd name="connsiteX1062" fmla="*/ 98157 w 163595"/>
                <a:gd name="connsiteY1062" fmla="*/ 94773 h 265137"/>
                <a:gd name="connsiteX1063" fmla="*/ 98440 w 163595"/>
                <a:gd name="connsiteY1063" fmla="*/ 93926 h 265137"/>
                <a:gd name="connsiteX1064" fmla="*/ 98722 w 163595"/>
                <a:gd name="connsiteY1064" fmla="*/ 91952 h 265137"/>
                <a:gd name="connsiteX1065" fmla="*/ 47668 w 163595"/>
                <a:gd name="connsiteY1065" fmla="*/ 152877 h 265137"/>
                <a:gd name="connsiteX1066" fmla="*/ 47950 w 163595"/>
                <a:gd name="connsiteY1066" fmla="*/ 152595 h 265137"/>
                <a:gd name="connsiteX1067" fmla="*/ 47950 w 163595"/>
                <a:gd name="connsiteY1067" fmla="*/ 152031 h 265137"/>
                <a:gd name="connsiteX1068" fmla="*/ 47668 w 163595"/>
                <a:gd name="connsiteY1068" fmla="*/ 151749 h 265137"/>
                <a:gd name="connsiteX1069" fmla="*/ 47386 w 163595"/>
                <a:gd name="connsiteY1069" fmla="*/ 152313 h 265137"/>
                <a:gd name="connsiteX1070" fmla="*/ 47668 w 163595"/>
                <a:gd name="connsiteY1070" fmla="*/ 152877 h 265137"/>
                <a:gd name="connsiteX1071" fmla="*/ 48514 w 163595"/>
                <a:gd name="connsiteY1071" fmla="*/ 137646 h 265137"/>
                <a:gd name="connsiteX1072" fmla="*/ 49079 w 163595"/>
                <a:gd name="connsiteY1072" fmla="*/ 137082 h 265137"/>
                <a:gd name="connsiteX1073" fmla="*/ 48514 w 163595"/>
                <a:gd name="connsiteY1073" fmla="*/ 136518 h 265137"/>
                <a:gd name="connsiteX1074" fmla="*/ 47950 w 163595"/>
                <a:gd name="connsiteY1074" fmla="*/ 136800 h 265137"/>
                <a:gd name="connsiteX1075" fmla="*/ 47950 w 163595"/>
                <a:gd name="connsiteY1075" fmla="*/ 137646 h 265137"/>
                <a:gd name="connsiteX1076" fmla="*/ 47668 w 163595"/>
                <a:gd name="connsiteY1076" fmla="*/ 138210 h 265137"/>
                <a:gd name="connsiteX1077" fmla="*/ 48514 w 163595"/>
                <a:gd name="connsiteY1077" fmla="*/ 137646 h 265137"/>
                <a:gd name="connsiteX1078" fmla="*/ 49079 w 163595"/>
                <a:gd name="connsiteY1078" fmla="*/ 135672 h 265137"/>
                <a:gd name="connsiteX1079" fmla="*/ 49361 w 163595"/>
                <a:gd name="connsiteY1079" fmla="*/ 135672 h 265137"/>
                <a:gd name="connsiteX1080" fmla="*/ 51053 w 163595"/>
                <a:gd name="connsiteY1080" fmla="*/ 133415 h 265137"/>
                <a:gd name="connsiteX1081" fmla="*/ 50771 w 163595"/>
                <a:gd name="connsiteY1081" fmla="*/ 133415 h 265137"/>
                <a:gd name="connsiteX1082" fmla="*/ 50207 w 163595"/>
                <a:gd name="connsiteY1082" fmla="*/ 133697 h 265137"/>
                <a:gd name="connsiteX1083" fmla="*/ 49643 w 163595"/>
                <a:gd name="connsiteY1083" fmla="*/ 134543 h 265137"/>
                <a:gd name="connsiteX1084" fmla="*/ 49079 w 163595"/>
                <a:gd name="connsiteY1084" fmla="*/ 135389 h 265137"/>
                <a:gd name="connsiteX1085" fmla="*/ 49079 w 163595"/>
                <a:gd name="connsiteY1085" fmla="*/ 135672 h 265137"/>
                <a:gd name="connsiteX1086" fmla="*/ 53592 w 163595"/>
                <a:gd name="connsiteY1086" fmla="*/ 134825 h 265137"/>
                <a:gd name="connsiteX1087" fmla="*/ 53874 w 163595"/>
                <a:gd name="connsiteY1087" fmla="*/ 134261 h 265137"/>
                <a:gd name="connsiteX1088" fmla="*/ 53592 w 163595"/>
                <a:gd name="connsiteY1088" fmla="*/ 133415 h 265137"/>
                <a:gd name="connsiteX1089" fmla="*/ 54438 w 163595"/>
                <a:gd name="connsiteY1089" fmla="*/ 132287 h 265137"/>
                <a:gd name="connsiteX1090" fmla="*/ 55284 w 163595"/>
                <a:gd name="connsiteY1090" fmla="*/ 132005 h 265137"/>
                <a:gd name="connsiteX1091" fmla="*/ 55566 w 163595"/>
                <a:gd name="connsiteY1091" fmla="*/ 132005 h 265137"/>
                <a:gd name="connsiteX1092" fmla="*/ 55848 w 163595"/>
                <a:gd name="connsiteY1092" fmla="*/ 132287 h 265137"/>
                <a:gd name="connsiteX1093" fmla="*/ 55848 w 163595"/>
                <a:gd name="connsiteY1093" fmla="*/ 133133 h 265137"/>
                <a:gd name="connsiteX1094" fmla="*/ 56130 w 163595"/>
                <a:gd name="connsiteY1094" fmla="*/ 133415 h 265137"/>
                <a:gd name="connsiteX1095" fmla="*/ 56412 w 163595"/>
                <a:gd name="connsiteY1095" fmla="*/ 133415 h 265137"/>
                <a:gd name="connsiteX1096" fmla="*/ 56976 w 163595"/>
                <a:gd name="connsiteY1096" fmla="*/ 133697 h 265137"/>
                <a:gd name="connsiteX1097" fmla="*/ 56976 w 163595"/>
                <a:gd name="connsiteY1097" fmla="*/ 134543 h 265137"/>
                <a:gd name="connsiteX1098" fmla="*/ 56412 w 163595"/>
                <a:gd name="connsiteY1098" fmla="*/ 135672 h 265137"/>
                <a:gd name="connsiteX1099" fmla="*/ 55848 w 163595"/>
                <a:gd name="connsiteY1099" fmla="*/ 135954 h 265137"/>
                <a:gd name="connsiteX1100" fmla="*/ 55566 w 163595"/>
                <a:gd name="connsiteY1100" fmla="*/ 135954 h 265137"/>
                <a:gd name="connsiteX1101" fmla="*/ 54720 w 163595"/>
                <a:gd name="connsiteY1101" fmla="*/ 137082 h 265137"/>
                <a:gd name="connsiteX1102" fmla="*/ 53027 w 163595"/>
                <a:gd name="connsiteY1102" fmla="*/ 137082 h 265137"/>
                <a:gd name="connsiteX1103" fmla="*/ 53592 w 163595"/>
                <a:gd name="connsiteY1103" fmla="*/ 134825 h 265137"/>
                <a:gd name="connsiteX1104" fmla="*/ 54720 w 163595"/>
                <a:gd name="connsiteY1104" fmla="*/ 148082 h 265137"/>
                <a:gd name="connsiteX1105" fmla="*/ 55002 w 163595"/>
                <a:gd name="connsiteY1105" fmla="*/ 148646 h 265137"/>
                <a:gd name="connsiteX1106" fmla="*/ 54720 w 163595"/>
                <a:gd name="connsiteY1106" fmla="*/ 148928 h 265137"/>
                <a:gd name="connsiteX1107" fmla="*/ 54438 w 163595"/>
                <a:gd name="connsiteY1107" fmla="*/ 148928 h 265137"/>
                <a:gd name="connsiteX1108" fmla="*/ 54438 w 163595"/>
                <a:gd name="connsiteY1108" fmla="*/ 148364 h 265137"/>
                <a:gd name="connsiteX1109" fmla="*/ 54720 w 163595"/>
                <a:gd name="connsiteY1109" fmla="*/ 148082 h 265137"/>
                <a:gd name="connsiteX1110" fmla="*/ 54720 w 163595"/>
                <a:gd name="connsiteY1110" fmla="*/ 126646 h 265137"/>
                <a:gd name="connsiteX1111" fmla="*/ 55002 w 163595"/>
                <a:gd name="connsiteY1111" fmla="*/ 126646 h 265137"/>
                <a:gd name="connsiteX1112" fmla="*/ 55566 w 163595"/>
                <a:gd name="connsiteY1112" fmla="*/ 126081 h 265137"/>
                <a:gd name="connsiteX1113" fmla="*/ 55284 w 163595"/>
                <a:gd name="connsiteY1113" fmla="*/ 126081 h 265137"/>
                <a:gd name="connsiteX1114" fmla="*/ 55284 w 163595"/>
                <a:gd name="connsiteY1114" fmla="*/ 125799 h 265137"/>
                <a:gd name="connsiteX1115" fmla="*/ 54720 w 163595"/>
                <a:gd name="connsiteY1115" fmla="*/ 126363 h 265137"/>
                <a:gd name="connsiteX1116" fmla="*/ 54720 w 163595"/>
                <a:gd name="connsiteY1116" fmla="*/ 126646 h 265137"/>
                <a:gd name="connsiteX1117" fmla="*/ 56976 w 163595"/>
                <a:gd name="connsiteY1117" fmla="*/ 131723 h 265137"/>
                <a:gd name="connsiteX1118" fmla="*/ 56694 w 163595"/>
                <a:gd name="connsiteY1118" fmla="*/ 131723 h 265137"/>
                <a:gd name="connsiteX1119" fmla="*/ 56130 w 163595"/>
                <a:gd name="connsiteY1119" fmla="*/ 131441 h 265137"/>
                <a:gd name="connsiteX1120" fmla="*/ 56976 w 163595"/>
                <a:gd name="connsiteY1120" fmla="*/ 130876 h 265137"/>
                <a:gd name="connsiteX1121" fmla="*/ 56976 w 163595"/>
                <a:gd name="connsiteY1121" fmla="*/ 131723 h 265137"/>
                <a:gd name="connsiteX1122" fmla="*/ 58951 w 163595"/>
                <a:gd name="connsiteY1122" fmla="*/ 128056 h 265137"/>
                <a:gd name="connsiteX1123" fmla="*/ 59233 w 163595"/>
                <a:gd name="connsiteY1123" fmla="*/ 128338 h 265137"/>
                <a:gd name="connsiteX1124" fmla="*/ 61772 w 163595"/>
                <a:gd name="connsiteY1124" fmla="*/ 127774 h 265137"/>
                <a:gd name="connsiteX1125" fmla="*/ 61772 w 163595"/>
                <a:gd name="connsiteY1125" fmla="*/ 127492 h 265137"/>
                <a:gd name="connsiteX1126" fmla="*/ 60925 w 163595"/>
                <a:gd name="connsiteY1126" fmla="*/ 126928 h 265137"/>
                <a:gd name="connsiteX1127" fmla="*/ 59233 w 163595"/>
                <a:gd name="connsiteY1127" fmla="*/ 127774 h 265137"/>
                <a:gd name="connsiteX1128" fmla="*/ 58951 w 163595"/>
                <a:gd name="connsiteY1128" fmla="*/ 128056 h 265137"/>
                <a:gd name="connsiteX1129" fmla="*/ 59797 w 163595"/>
                <a:gd name="connsiteY1129" fmla="*/ 120440 h 265137"/>
                <a:gd name="connsiteX1130" fmla="*/ 60079 w 163595"/>
                <a:gd name="connsiteY1130" fmla="*/ 120158 h 265137"/>
                <a:gd name="connsiteX1131" fmla="*/ 59797 w 163595"/>
                <a:gd name="connsiteY1131" fmla="*/ 120158 h 265137"/>
                <a:gd name="connsiteX1132" fmla="*/ 59797 w 163595"/>
                <a:gd name="connsiteY1132" fmla="*/ 120440 h 265137"/>
                <a:gd name="connsiteX1133" fmla="*/ 66848 w 163595"/>
                <a:gd name="connsiteY1133" fmla="*/ 62900 h 265137"/>
                <a:gd name="connsiteX1134" fmla="*/ 66284 w 163595"/>
                <a:gd name="connsiteY1134" fmla="*/ 63182 h 265137"/>
                <a:gd name="connsiteX1135" fmla="*/ 66566 w 163595"/>
                <a:gd name="connsiteY1135" fmla="*/ 62618 h 265137"/>
                <a:gd name="connsiteX1136" fmla="*/ 66848 w 163595"/>
                <a:gd name="connsiteY1136" fmla="*/ 62618 h 265137"/>
                <a:gd name="connsiteX1137" fmla="*/ 66848 w 163595"/>
                <a:gd name="connsiteY1137" fmla="*/ 62900 h 265137"/>
                <a:gd name="connsiteX1138" fmla="*/ 67413 w 163595"/>
                <a:gd name="connsiteY1138" fmla="*/ 116491 h 265137"/>
                <a:gd name="connsiteX1139" fmla="*/ 67130 w 163595"/>
                <a:gd name="connsiteY1139" fmla="*/ 116773 h 265137"/>
                <a:gd name="connsiteX1140" fmla="*/ 66848 w 163595"/>
                <a:gd name="connsiteY1140" fmla="*/ 116773 h 265137"/>
                <a:gd name="connsiteX1141" fmla="*/ 66848 w 163595"/>
                <a:gd name="connsiteY1141" fmla="*/ 116491 h 265137"/>
                <a:gd name="connsiteX1142" fmla="*/ 67413 w 163595"/>
                <a:gd name="connsiteY1142" fmla="*/ 116491 h 265137"/>
                <a:gd name="connsiteX1143" fmla="*/ 70515 w 163595"/>
                <a:gd name="connsiteY1143" fmla="*/ 110004 h 265137"/>
                <a:gd name="connsiteX1144" fmla="*/ 71079 w 163595"/>
                <a:gd name="connsiteY1144" fmla="*/ 110286 h 265137"/>
                <a:gd name="connsiteX1145" fmla="*/ 71644 w 163595"/>
                <a:gd name="connsiteY1145" fmla="*/ 109722 h 265137"/>
                <a:gd name="connsiteX1146" fmla="*/ 71644 w 163595"/>
                <a:gd name="connsiteY1146" fmla="*/ 109440 h 265137"/>
                <a:gd name="connsiteX1147" fmla="*/ 71079 w 163595"/>
                <a:gd name="connsiteY1147" fmla="*/ 109158 h 265137"/>
                <a:gd name="connsiteX1148" fmla="*/ 70515 w 163595"/>
                <a:gd name="connsiteY1148" fmla="*/ 109440 h 265137"/>
                <a:gd name="connsiteX1149" fmla="*/ 70515 w 163595"/>
                <a:gd name="connsiteY1149" fmla="*/ 110004 h 265137"/>
                <a:gd name="connsiteX1150" fmla="*/ 75592 w 163595"/>
                <a:gd name="connsiteY1150" fmla="*/ 107183 h 265137"/>
                <a:gd name="connsiteX1151" fmla="*/ 76157 w 163595"/>
                <a:gd name="connsiteY1151" fmla="*/ 107183 h 265137"/>
                <a:gd name="connsiteX1152" fmla="*/ 76721 w 163595"/>
                <a:gd name="connsiteY1152" fmla="*/ 106901 h 265137"/>
                <a:gd name="connsiteX1153" fmla="*/ 76439 w 163595"/>
                <a:gd name="connsiteY1153" fmla="*/ 106619 h 265137"/>
                <a:gd name="connsiteX1154" fmla="*/ 76157 w 163595"/>
                <a:gd name="connsiteY1154" fmla="*/ 106337 h 265137"/>
                <a:gd name="connsiteX1155" fmla="*/ 75875 w 163595"/>
                <a:gd name="connsiteY1155" fmla="*/ 106619 h 265137"/>
                <a:gd name="connsiteX1156" fmla="*/ 75592 w 163595"/>
                <a:gd name="connsiteY1156" fmla="*/ 107183 h 265137"/>
                <a:gd name="connsiteX1157" fmla="*/ 77849 w 163595"/>
                <a:gd name="connsiteY1157" fmla="*/ 109722 h 265137"/>
                <a:gd name="connsiteX1158" fmla="*/ 77285 w 163595"/>
                <a:gd name="connsiteY1158" fmla="*/ 110286 h 265137"/>
                <a:gd name="connsiteX1159" fmla="*/ 77285 w 163595"/>
                <a:gd name="connsiteY1159" fmla="*/ 110568 h 265137"/>
                <a:gd name="connsiteX1160" fmla="*/ 77567 w 163595"/>
                <a:gd name="connsiteY1160" fmla="*/ 110568 h 265137"/>
                <a:gd name="connsiteX1161" fmla="*/ 78131 w 163595"/>
                <a:gd name="connsiteY1161" fmla="*/ 109722 h 265137"/>
                <a:gd name="connsiteX1162" fmla="*/ 77849 w 163595"/>
                <a:gd name="connsiteY1162" fmla="*/ 109722 h 265137"/>
                <a:gd name="connsiteX1163" fmla="*/ 77567 w 163595"/>
                <a:gd name="connsiteY1163" fmla="*/ 153159 h 265137"/>
                <a:gd name="connsiteX1164" fmla="*/ 78131 w 163595"/>
                <a:gd name="connsiteY1164" fmla="*/ 153159 h 265137"/>
                <a:gd name="connsiteX1165" fmla="*/ 77849 w 163595"/>
                <a:gd name="connsiteY1165" fmla="*/ 153441 h 265137"/>
                <a:gd name="connsiteX1166" fmla="*/ 77567 w 163595"/>
                <a:gd name="connsiteY1166" fmla="*/ 153441 h 265137"/>
                <a:gd name="connsiteX1167" fmla="*/ 77567 w 163595"/>
                <a:gd name="connsiteY1167" fmla="*/ 153159 h 265137"/>
                <a:gd name="connsiteX1168" fmla="*/ 78977 w 163595"/>
                <a:gd name="connsiteY1168" fmla="*/ 151749 h 265137"/>
                <a:gd name="connsiteX1169" fmla="*/ 79823 w 163595"/>
                <a:gd name="connsiteY1169" fmla="*/ 151749 h 265137"/>
                <a:gd name="connsiteX1170" fmla="*/ 79259 w 163595"/>
                <a:gd name="connsiteY1170" fmla="*/ 152877 h 265137"/>
                <a:gd name="connsiteX1171" fmla="*/ 78131 w 163595"/>
                <a:gd name="connsiteY1171" fmla="*/ 153159 h 265137"/>
                <a:gd name="connsiteX1172" fmla="*/ 78977 w 163595"/>
                <a:gd name="connsiteY1172" fmla="*/ 151749 h 265137"/>
                <a:gd name="connsiteX1173" fmla="*/ 79823 w 163595"/>
                <a:gd name="connsiteY1173" fmla="*/ 100978 h 265137"/>
                <a:gd name="connsiteX1174" fmla="*/ 80388 w 163595"/>
                <a:gd name="connsiteY1174" fmla="*/ 101542 h 265137"/>
                <a:gd name="connsiteX1175" fmla="*/ 81234 w 163595"/>
                <a:gd name="connsiteY1175" fmla="*/ 100978 h 265137"/>
                <a:gd name="connsiteX1176" fmla="*/ 81234 w 163595"/>
                <a:gd name="connsiteY1176" fmla="*/ 100696 h 265137"/>
                <a:gd name="connsiteX1177" fmla="*/ 80952 w 163595"/>
                <a:gd name="connsiteY1177" fmla="*/ 100414 h 265137"/>
                <a:gd name="connsiteX1178" fmla="*/ 80388 w 163595"/>
                <a:gd name="connsiteY1178" fmla="*/ 100696 h 265137"/>
                <a:gd name="connsiteX1179" fmla="*/ 80106 w 163595"/>
                <a:gd name="connsiteY1179" fmla="*/ 100978 h 265137"/>
                <a:gd name="connsiteX1180" fmla="*/ 79823 w 163595"/>
                <a:gd name="connsiteY1180" fmla="*/ 100978 h 265137"/>
                <a:gd name="connsiteX1181" fmla="*/ 93362 w 163595"/>
                <a:gd name="connsiteY1181" fmla="*/ 92234 h 265137"/>
                <a:gd name="connsiteX1182" fmla="*/ 93926 w 163595"/>
                <a:gd name="connsiteY1182" fmla="*/ 91670 h 265137"/>
                <a:gd name="connsiteX1183" fmla="*/ 94491 w 163595"/>
                <a:gd name="connsiteY1183" fmla="*/ 89978 h 265137"/>
                <a:gd name="connsiteX1184" fmla="*/ 94491 w 163595"/>
                <a:gd name="connsiteY1184" fmla="*/ 89696 h 265137"/>
                <a:gd name="connsiteX1185" fmla="*/ 94209 w 163595"/>
                <a:gd name="connsiteY1185" fmla="*/ 89413 h 265137"/>
                <a:gd name="connsiteX1186" fmla="*/ 93362 w 163595"/>
                <a:gd name="connsiteY1186" fmla="*/ 89978 h 265137"/>
                <a:gd name="connsiteX1187" fmla="*/ 92798 w 163595"/>
                <a:gd name="connsiteY1187" fmla="*/ 90824 h 265137"/>
                <a:gd name="connsiteX1188" fmla="*/ 92516 w 163595"/>
                <a:gd name="connsiteY1188" fmla="*/ 91670 h 265137"/>
                <a:gd name="connsiteX1189" fmla="*/ 93362 w 163595"/>
                <a:gd name="connsiteY1189" fmla="*/ 92234 h 265137"/>
                <a:gd name="connsiteX1190" fmla="*/ 96465 w 163595"/>
                <a:gd name="connsiteY1190" fmla="*/ 90542 h 265137"/>
                <a:gd name="connsiteX1191" fmla="*/ 97029 w 163595"/>
                <a:gd name="connsiteY1191" fmla="*/ 90260 h 265137"/>
                <a:gd name="connsiteX1192" fmla="*/ 97029 w 163595"/>
                <a:gd name="connsiteY1192" fmla="*/ 89978 h 265137"/>
                <a:gd name="connsiteX1193" fmla="*/ 96747 w 163595"/>
                <a:gd name="connsiteY1193" fmla="*/ 89978 h 265137"/>
                <a:gd name="connsiteX1194" fmla="*/ 96465 w 163595"/>
                <a:gd name="connsiteY1194" fmla="*/ 90260 h 265137"/>
                <a:gd name="connsiteX1195" fmla="*/ 96465 w 163595"/>
                <a:gd name="connsiteY1195" fmla="*/ 90542 h 265137"/>
                <a:gd name="connsiteX1196" fmla="*/ 108594 w 163595"/>
                <a:gd name="connsiteY1196" fmla="*/ 108876 h 265137"/>
                <a:gd name="connsiteX1197" fmla="*/ 108594 w 163595"/>
                <a:gd name="connsiteY1197" fmla="*/ 108594 h 265137"/>
                <a:gd name="connsiteX1198" fmla="*/ 107747 w 163595"/>
                <a:gd name="connsiteY1198" fmla="*/ 108876 h 265137"/>
                <a:gd name="connsiteX1199" fmla="*/ 108029 w 163595"/>
                <a:gd name="connsiteY1199" fmla="*/ 109158 h 265137"/>
                <a:gd name="connsiteX1200" fmla="*/ 108594 w 163595"/>
                <a:gd name="connsiteY1200" fmla="*/ 108876 h 265137"/>
                <a:gd name="connsiteX1201" fmla="*/ 115645 w 163595"/>
                <a:gd name="connsiteY1201" fmla="*/ 90260 h 265137"/>
                <a:gd name="connsiteX1202" fmla="*/ 115363 w 163595"/>
                <a:gd name="connsiteY1202" fmla="*/ 90260 h 265137"/>
                <a:gd name="connsiteX1203" fmla="*/ 115927 w 163595"/>
                <a:gd name="connsiteY1203" fmla="*/ 91106 h 265137"/>
                <a:gd name="connsiteX1204" fmla="*/ 116209 w 163595"/>
                <a:gd name="connsiteY1204" fmla="*/ 91106 h 265137"/>
                <a:gd name="connsiteX1205" fmla="*/ 116209 w 163595"/>
                <a:gd name="connsiteY1205" fmla="*/ 90824 h 265137"/>
                <a:gd name="connsiteX1206" fmla="*/ 115645 w 163595"/>
                <a:gd name="connsiteY1206" fmla="*/ 90260 h 265137"/>
                <a:gd name="connsiteX1207" fmla="*/ 130312 w 163595"/>
                <a:gd name="connsiteY1207" fmla="*/ 70233 h 265137"/>
                <a:gd name="connsiteX1208" fmla="*/ 130030 w 163595"/>
                <a:gd name="connsiteY1208" fmla="*/ 70233 h 265137"/>
                <a:gd name="connsiteX1209" fmla="*/ 129748 w 163595"/>
                <a:gd name="connsiteY1209" fmla="*/ 70515 h 265137"/>
                <a:gd name="connsiteX1210" fmla="*/ 130312 w 163595"/>
                <a:gd name="connsiteY1210" fmla="*/ 70233 h 265137"/>
                <a:gd name="connsiteX1211" fmla="*/ 153159 w 163595"/>
                <a:gd name="connsiteY1211" fmla="*/ 55566 h 265137"/>
                <a:gd name="connsiteX1212" fmla="*/ 153159 w 163595"/>
                <a:gd name="connsiteY1212" fmla="*/ 55284 h 265137"/>
                <a:gd name="connsiteX1213" fmla="*/ 153159 w 163595"/>
                <a:gd name="connsiteY1213" fmla="*/ 55566 h 2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</a:cxnLst>
              <a:rect l="l" t="t" r="r" b="b"/>
              <a:pathLst>
                <a:path w="163595" h="265137">
                  <a:moveTo>
                    <a:pt x="68259" y="59515"/>
                  </a:moveTo>
                  <a:cubicBezTo>
                    <a:pt x="67977" y="59515"/>
                    <a:pt x="67977" y="60079"/>
                    <a:pt x="67695" y="60361"/>
                  </a:cubicBezTo>
                  <a:cubicBezTo>
                    <a:pt x="67695" y="60925"/>
                    <a:pt x="67413" y="61207"/>
                    <a:pt x="66848" y="61207"/>
                  </a:cubicBezTo>
                  <a:cubicBezTo>
                    <a:pt x="66002" y="61489"/>
                    <a:pt x="65438" y="62053"/>
                    <a:pt x="65438" y="63182"/>
                  </a:cubicBezTo>
                  <a:cubicBezTo>
                    <a:pt x="65720" y="63464"/>
                    <a:pt x="66002" y="63464"/>
                    <a:pt x="66284" y="63464"/>
                  </a:cubicBezTo>
                  <a:lnTo>
                    <a:pt x="65156" y="64874"/>
                  </a:lnTo>
                  <a:cubicBezTo>
                    <a:pt x="64874" y="65438"/>
                    <a:pt x="64592" y="66002"/>
                    <a:pt x="64028" y="66566"/>
                  </a:cubicBezTo>
                  <a:cubicBezTo>
                    <a:pt x="63746" y="66849"/>
                    <a:pt x="63182" y="67131"/>
                    <a:pt x="62900" y="67131"/>
                  </a:cubicBezTo>
                  <a:cubicBezTo>
                    <a:pt x="62618" y="67131"/>
                    <a:pt x="62618" y="67131"/>
                    <a:pt x="62336" y="66849"/>
                  </a:cubicBezTo>
                  <a:cubicBezTo>
                    <a:pt x="62054" y="66849"/>
                    <a:pt x="61772" y="67131"/>
                    <a:pt x="61772" y="67413"/>
                  </a:cubicBezTo>
                  <a:cubicBezTo>
                    <a:pt x="61772" y="67695"/>
                    <a:pt x="61772" y="67695"/>
                    <a:pt x="62336" y="67695"/>
                  </a:cubicBezTo>
                  <a:cubicBezTo>
                    <a:pt x="62618" y="67695"/>
                    <a:pt x="62900" y="67977"/>
                    <a:pt x="62618" y="67977"/>
                  </a:cubicBezTo>
                  <a:cubicBezTo>
                    <a:pt x="62054" y="69387"/>
                    <a:pt x="61489" y="70515"/>
                    <a:pt x="60643" y="71644"/>
                  </a:cubicBezTo>
                  <a:cubicBezTo>
                    <a:pt x="60079" y="71926"/>
                    <a:pt x="59797" y="72490"/>
                    <a:pt x="59797" y="73054"/>
                  </a:cubicBezTo>
                  <a:cubicBezTo>
                    <a:pt x="59515" y="73618"/>
                    <a:pt x="59233" y="74182"/>
                    <a:pt x="58669" y="74464"/>
                  </a:cubicBezTo>
                  <a:lnTo>
                    <a:pt x="58105" y="75310"/>
                  </a:lnTo>
                  <a:lnTo>
                    <a:pt x="57823" y="75592"/>
                  </a:lnTo>
                  <a:lnTo>
                    <a:pt x="57541" y="75592"/>
                  </a:lnTo>
                  <a:lnTo>
                    <a:pt x="57541" y="74746"/>
                  </a:lnTo>
                  <a:lnTo>
                    <a:pt x="56976" y="74746"/>
                  </a:lnTo>
                  <a:lnTo>
                    <a:pt x="56130" y="75592"/>
                  </a:lnTo>
                  <a:lnTo>
                    <a:pt x="56130" y="76157"/>
                  </a:lnTo>
                  <a:cubicBezTo>
                    <a:pt x="55848" y="76439"/>
                    <a:pt x="56412" y="76157"/>
                    <a:pt x="56694" y="76157"/>
                  </a:cubicBezTo>
                  <a:cubicBezTo>
                    <a:pt x="56694" y="76157"/>
                    <a:pt x="56976" y="76157"/>
                    <a:pt x="56694" y="76439"/>
                  </a:cubicBezTo>
                  <a:cubicBezTo>
                    <a:pt x="56976" y="76439"/>
                    <a:pt x="56976" y="76721"/>
                    <a:pt x="56976" y="76721"/>
                  </a:cubicBezTo>
                  <a:cubicBezTo>
                    <a:pt x="56976" y="77003"/>
                    <a:pt x="56694" y="77003"/>
                    <a:pt x="56694" y="77003"/>
                  </a:cubicBezTo>
                  <a:lnTo>
                    <a:pt x="55566" y="77003"/>
                  </a:lnTo>
                  <a:cubicBezTo>
                    <a:pt x="55284" y="77003"/>
                    <a:pt x="55284" y="77003"/>
                    <a:pt x="55002" y="77285"/>
                  </a:cubicBezTo>
                  <a:lnTo>
                    <a:pt x="55002" y="78131"/>
                  </a:lnTo>
                  <a:cubicBezTo>
                    <a:pt x="55002" y="78413"/>
                    <a:pt x="55284" y="78413"/>
                    <a:pt x="55566" y="78413"/>
                  </a:cubicBezTo>
                  <a:cubicBezTo>
                    <a:pt x="55848" y="78695"/>
                    <a:pt x="55848" y="78695"/>
                    <a:pt x="55848" y="78977"/>
                  </a:cubicBezTo>
                  <a:cubicBezTo>
                    <a:pt x="55848" y="78977"/>
                    <a:pt x="55848" y="79259"/>
                    <a:pt x="55566" y="79259"/>
                  </a:cubicBezTo>
                  <a:cubicBezTo>
                    <a:pt x="55566" y="79541"/>
                    <a:pt x="54720" y="79823"/>
                    <a:pt x="54438" y="79823"/>
                  </a:cubicBezTo>
                  <a:cubicBezTo>
                    <a:pt x="53874" y="80105"/>
                    <a:pt x="53310" y="80387"/>
                    <a:pt x="52745" y="80387"/>
                  </a:cubicBezTo>
                  <a:cubicBezTo>
                    <a:pt x="52745" y="80387"/>
                    <a:pt x="52463" y="80670"/>
                    <a:pt x="52745" y="80670"/>
                  </a:cubicBezTo>
                  <a:cubicBezTo>
                    <a:pt x="52745" y="80952"/>
                    <a:pt x="53027" y="81234"/>
                    <a:pt x="53310" y="81516"/>
                  </a:cubicBezTo>
                  <a:lnTo>
                    <a:pt x="53310" y="81798"/>
                  </a:lnTo>
                  <a:cubicBezTo>
                    <a:pt x="53310" y="82080"/>
                    <a:pt x="53310" y="82080"/>
                    <a:pt x="53027" y="82080"/>
                  </a:cubicBezTo>
                  <a:lnTo>
                    <a:pt x="52745" y="82362"/>
                  </a:lnTo>
                  <a:cubicBezTo>
                    <a:pt x="52745" y="82362"/>
                    <a:pt x="52463" y="82644"/>
                    <a:pt x="52463" y="82926"/>
                  </a:cubicBezTo>
                  <a:cubicBezTo>
                    <a:pt x="52463" y="83208"/>
                    <a:pt x="52745" y="83208"/>
                    <a:pt x="52745" y="83490"/>
                  </a:cubicBezTo>
                  <a:cubicBezTo>
                    <a:pt x="52745" y="83772"/>
                    <a:pt x="53027" y="83772"/>
                    <a:pt x="53027" y="84054"/>
                  </a:cubicBezTo>
                  <a:cubicBezTo>
                    <a:pt x="53027" y="84336"/>
                    <a:pt x="52745" y="84618"/>
                    <a:pt x="52745" y="84900"/>
                  </a:cubicBezTo>
                  <a:cubicBezTo>
                    <a:pt x="52463" y="85183"/>
                    <a:pt x="52181" y="85465"/>
                    <a:pt x="52181" y="86029"/>
                  </a:cubicBezTo>
                  <a:cubicBezTo>
                    <a:pt x="52181" y="86029"/>
                    <a:pt x="51617" y="86311"/>
                    <a:pt x="51335" y="86311"/>
                  </a:cubicBezTo>
                  <a:cubicBezTo>
                    <a:pt x="51335" y="86029"/>
                    <a:pt x="50771" y="86311"/>
                    <a:pt x="50489" y="86593"/>
                  </a:cubicBezTo>
                  <a:lnTo>
                    <a:pt x="50489" y="87157"/>
                  </a:lnTo>
                  <a:cubicBezTo>
                    <a:pt x="50489" y="87439"/>
                    <a:pt x="50489" y="87439"/>
                    <a:pt x="50771" y="87439"/>
                  </a:cubicBezTo>
                  <a:cubicBezTo>
                    <a:pt x="50771" y="87721"/>
                    <a:pt x="50771" y="88003"/>
                    <a:pt x="50489" y="88003"/>
                  </a:cubicBezTo>
                  <a:lnTo>
                    <a:pt x="49925" y="88003"/>
                  </a:lnTo>
                  <a:lnTo>
                    <a:pt x="49361" y="88285"/>
                  </a:lnTo>
                  <a:cubicBezTo>
                    <a:pt x="49079" y="88567"/>
                    <a:pt x="49079" y="89131"/>
                    <a:pt x="49079" y="89413"/>
                  </a:cubicBezTo>
                  <a:lnTo>
                    <a:pt x="49079" y="89696"/>
                  </a:lnTo>
                  <a:cubicBezTo>
                    <a:pt x="49361" y="89978"/>
                    <a:pt x="49643" y="90542"/>
                    <a:pt x="49643" y="90824"/>
                  </a:cubicBezTo>
                  <a:cubicBezTo>
                    <a:pt x="49643" y="91106"/>
                    <a:pt x="49361" y="91106"/>
                    <a:pt x="49361" y="91388"/>
                  </a:cubicBezTo>
                  <a:lnTo>
                    <a:pt x="47668" y="95055"/>
                  </a:lnTo>
                  <a:cubicBezTo>
                    <a:pt x="47386" y="95337"/>
                    <a:pt x="46822" y="95901"/>
                    <a:pt x="46258" y="95901"/>
                  </a:cubicBezTo>
                  <a:cubicBezTo>
                    <a:pt x="45976" y="95901"/>
                    <a:pt x="45694" y="96183"/>
                    <a:pt x="45694" y="96465"/>
                  </a:cubicBezTo>
                  <a:cubicBezTo>
                    <a:pt x="45694" y="96747"/>
                    <a:pt x="45412" y="97029"/>
                    <a:pt x="45412" y="97029"/>
                  </a:cubicBezTo>
                  <a:cubicBezTo>
                    <a:pt x="45412" y="97311"/>
                    <a:pt x="45694" y="97311"/>
                    <a:pt x="45694" y="97311"/>
                  </a:cubicBezTo>
                  <a:lnTo>
                    <a:pt x="45976" y="97311"/>
                  </a:lnTo>
                  <a:cubicBezTo>
                    <a:pt x="46258" y="97593"/>
                    <a:pt x="46540" y="97593"/>
                    <a:pt x="46540" y="97593"/>
                  </a:cubicBezTo>
                  <a:lnTo>
                    <a:pt x="46258" y="97875"/>
                  </a:lnTo>
                  <a:cubicBezTo>
                    <a:pt x="45976" y="98439"/>
                    <a:pt x="45694" y="99004"/>
                    <a:pt x="44848" y="99004"/>
                  </a:cubicBezTo>
                  <a:cubicBezTo>
                    <a:pt x="44566" y="99004"/>
                    <a:pt x="44566" y="99286"/>
                    <a:pt x="44566" y="99286"/>
                  </a:cubicBezTo>
                  <a:cubicBezTo>
                    <a:pt x="44566" y="99286"/>
                    <a:pt x="44566" y="99568"/>
                    <a:pt x="44848" y="99568"/>
                  </a:cubicBezTo>
                  <a:cubicBezTo>
                    <a:pt x="44848" y="99850"/>
                    <a:pt x="45130" y="99850"/>
                    <a:pt x="45130" y="100132"/>
                  </a:cubicBezTo>
                  <a:cubicBezTo>
                    <a:pt x="45130" y="100414"/>
                    <a:pt x="44848" y="100696"/>
                    <a:pt x="44848" y="100696"/>
                  </a:cubicBezTo>
                  <a:cubicBezTo>
                    <a:pt x="44284" y="101260"/>
                    <a:pt x="44002" y="102106"/>
                    <a:pt x="44002" y="102952"/>
                  </a:cubicBezTo>
                  <a:cubicBezTo>
                    <a:pt x="44002" y="103234"/>
                    <a:pt x="44002" y="103517"/>
                    <a:pt x="43720" y="103799"/>
                  </a:cubicBezTo>
                  <a:cubicBezTo>
                    <a:pt x="43155" y="104363"/>
                    <a:pt x="42873" y="105491"/>
                    <a:pt x="42027" y="106055"/>
                  </a:cubicBezTo>
                  <a:cubicBezTo>
                    <a:pt x="41463" y="106337"/>
                    <a:pt x="41463" y="106901"/>
                    <a:pt x="41463" y="107183"/>
                  </a:cubicBezTo>
                  <a:cubicBezTo>
                    <a:pt x="41463" y="108030"/>
                    <a:pt x="41463" y="108594"/>
                    <a:pt x="40617" y="109440"/>
                  </a:cubicBezTo>
                  <a:cubicBezTo>
                    <a:pt x="40053" y="110004"/>
                    <a:pt x="40053" y="111132"/>
                    <a:pt x="39489" y="111978"/>
                  </a:cubicBezTo>
                  <a:cubicBezTo>
                    <a:pt x="39489" y="112542"/>
                    <a:pt x="39207" y="112825"/>
                    <a:pt x="38642" y="113107"/>
                  </a:cubicBezTo>
                  <a:cubicBezTo>
                    <a:pt x="38360" y="113389"/>
                    <a:pt x="38360" y="113671"/>
                    <a:pt x="38360" y="113953"/>
                  </a:cubicBezTo>
                  <a:lnTo>
                    <a:pt x="38360" y="114517"/>
                  </a:lnTo>
                  <a:cubicBezTo>
                    <a:pt x="38360" y="115363"/>
                    <a:pt x="38078" y="116209"/>
                    <a:pt x="37796" y="116773"/>
                  </a:cubicBezTo>
                  <a:cubicBezTo>
                    <a:pt x="37514" y="117338"/>
                    <a:pt x="37514" y="117902"/>
                    <a:pt x="37232" y="118184"/>
                  </a:cubicBezTo>
                  <a:lnTo>
                    <a:pt x="35258" y="124389"/>
                  </a:lnTo>
                  <a:cubicBezTo>
                    <a:pt x="34693" y="125799"/>
                    <a:pt x="34693" y="127492"/>
                    <a:pt x="34693" y="128902"/>
                  </a:cubicBezTo>
                  <a:cubicBezTo>
                    <a:pt x="34693" y="129184"/>
                    <a:pt x="34693" y="129748"/>
                    <a:pt x="34976" y="130030"/>
                  </a:cubicBezTo>
                  <a:lnTo>
                    <a:pt x="34976" y="130312"/>
                  </a:lnTo>
                  <a:cubicBezTo>
                    <a:pt x="34976" y="130594"/>
                    <a:pt x="34693" y="130876"/>
                    <a:pt x="34411" y="131159"/>
                  </a:cubicBezTo>
                  <a:cubicBezTo>
                    <a:pt x="33847" y="131441"/>
                    <a:pt x="33565" y="131723"/>
                    <a:pt x="33565" y="132287"/>
                  </a:cubicBezTo>
                  <a:cubicBezTo>
                    <a:pt x="33283" y="132569"/>
                    <a:pt x="33001" y="132569"/>
                    <a:pt x="32719" y="132569"/>
                  </a:cubicBezTo>
                  <a:lnTo>
                    <a:pt x="32437" y="132569"/>
                  </a:lnTo>
                  <a:lnTo>
                    <a:pt x="31027" y="131441"/>
                  </a:lnTo>
                  <a:lnTo>
                    <a:pt x="30745" y="131159"/>
                  </a:lnTo>
                  <a:cubicBezTo>
                    <a:pt x="30462" y="131159"/>
                    <a:pt x="30462" y="131441"/>
                    <a:pt x="30180" y="131723"/>
                  </a:cubicBezTo>
                  <a:lnTo>
                    <a:pt x="29616" y="133133"/>
                  </a:lnTo>
                  <a:cubicBezTo>
                    <a:pt x="29616" y="133415"/>
                    <a:pt x="29334" y="133697"/>
                    <a:pt x="29052" y="133697"/>
                  </a:cubicBezTo>
                  <a:cubicBezTo>
                    <a:pt x="28770" y="133697"/>
                    <a:pt x="28770" y="133415"/>
                    <a:pt x="28770" y="133133"/>
                  </a:cubicBezTo>
                  <a:cubicBezTo>
                    <a:pt x="28770" y="132569"/>
                    <a:pt x="28488" y="132287"/>
                    <a:pt x="27924" y="132287"/>
                  </a:cubicBezTo>
                  <a:lnTo>
                    <a:pt x="27642" y="132569"/>
                  </a:lnTo>
                  <a:lnTo>
                    <a:pt x="27642" y="133133"/>
                  </a:lnTo>
                  <a:cubicBezTo>
                    <a:pt x="27642" y="133979"/>
                    <a:pt x="27078" y="134543"/>
                    <a:pt x="27078" y="135389"/>
                  </a:cubicBezTo>
                  <a:cubicBezTo>
                    <a:pt x="27078" y="135672"/>
                    <a:pt x="26796" y="136236"/>
                    <a:pt x="26796" y="136518"/>
                  </a:cubicBezTo>
                  <a:cubicBezTo>
                    <a:pt x="26796" y="136800"/>
                    <a:pt x="26514" y="137082"/>
                    <a:pt x="26514" y="137082"/>
                  </a:cubicBezTo>
                  <a:cubicBezTo>
                    <a:pt x="26514" y="137364"/>
                    <a:pt x="26796" y="137364"/>
                    <a:pt x="27360" y="137364"/>
                  </a:cubicBezTo>
                  <a:cubicBezTo>
                    <a:pt x="27642" y="137364"/>
                    <a:pt x="27924" y="137364"/>
                    <a:pt x="27924" y="137646"/>
                  </a:cubicBezTo>
                  <a:lnTo>
                    <a:pt x="27360" y="139056"/>
                  </a:lnTo>
                  <a:cubicBezTo>
                    <a:pt x="26514" y="140185"/>
                    <a:pt x="25950" y="141595"/>
                    <a:pt x="25950" y="143005"/>
                  </a:cubicBezTo>
                  <a:cubicBezTo>
                    <a:pt x="25950" y="143851"/>
                    <a:pt x="25668" y="144697"/>
                    <a:pt x="25668" y="145544"/>
                  </a:cubicBezTo>
                  <a:cubicBezTo>
                    <a:pt x="25668" y="145826"/>
                    <a:pt x="25386" y="145826"/>
                    <a:pt x="25104" y="146108"/>
                  </a:cubicBezTo>
                  <a:lnTo>
                    <a:pt x="24821" y="146108"/>
                  </a:lnTo>
                  <a:lnTo>
                    <a:pt x="25104" y="146390"/>
                  </a:lnTo>
                  <a:cubicBezTo>
                    <a:pt x="25668" y="146672"/>
                    <a:pt x="25668" y="146672"/>
                    <a:pt x="25668" y="146954"/>
                  </a:cubicBezTo>
                  <a:cubicBezTo>
                    <a:pt x="25386" y="147236"/>
                    <a:pt x="25104" y="147518"/>
                    <a:pt x="25104" y="147800"/>
                  </a:cubicBezTo>
                  <a:cubicBezTo>
                    <a:pt x="25104" y="148082"/>
                    <a:pt x="25386" y="148082"/>
                    <a:pt x="25386" y="148364"/>
                  </a:cubicBezTo>
                  <a:cubicBezTo>
                    <a:pt x="25668" y="148646"/>
                    <a:pt x="24821" y="149210"/>
                    <a:pt x="25104" y="149493"/>
                  </a:cubicBezTo>
                  <a:lnTo>
                    <a:pt x="25104" y="149775"/>
                  </a:lnTo>
                  <a:cubicBezTo>
                    <a:pt x="25104" y="150057"/>
                    <a:pt x="25104" y="150057"/>
                    <a:pt x="24821" y="150057"/>
                  </a:cubicBezTo>
                  <a:cubicBezTo>
                    <a:pt x="24821" y="150339"/>
                    <a:pt x="24539" y="150339"/>
                    <a:pt x="24539" y="150621"/>
                  </a:cubicBezTo>
                  <a:lnTo>
                    <a:pt x="24539" y="150903"/>
                  </a:lnTo>
                  <a:cubicBezTo>
                    <a:pt x="24821" y="151749"/>
                    <a:pt x="24821" y="152595"/>
                    <a:pt x="24821" y="153441"/>
                  </a:cubicBezTo>
                  <a:cubicBezTo>
                    <a:pt x="24539" y="154006"/>
                    <a:pt x="24257" y="154570"/>
                    <a:pt x="23693" y="154852"/>
                  </a:cubicBezTo>
                  <a:cubicBezTo>
                    <a:pt x="23411" y="155134"/>
                    <a:pt x="23411" y="155134"/>
                    <a:pt x="23411" y="155416"/>
                  </a:cubicBezTo>
                  <a:cubicBezTo>
                    <a:pt x="23411" y="155698"/>
                    <a:pt x="23411" y="155698"/>
                    <a:pt x="23693" y="155980"/>
                  </a:cubicBezTo>
                  <a:cubicBezTo>
                    <a:pt x="23975" y="156262"/>
                    <a:pt x="24257" y="156544"/>
                    <a:pt x="24257" y="156826"/>
                  </a:cubicBezTo>
                  <a:lnTo>
                    <a:pt x="24257" y="157108"/>
                  </a:lnTo>
                  <a:cubicBezTo>
                    <a:pt x="23975" y="158519"/>
                    <a:pt x="23975" y="159647"/>
                    <a:pt x="23129" y="160775"/>
                  </a:cubicBezTo>
                  <a:lnTo>
                    <a:pt x="23129" y="161621"/>
                  </a:lnTo>
                  <a:cubicBezTo>
                    <a:pt x="23129" y="161903"/>
                    <a:pt x="23129" y="161903"/>
                    <a:pt x="22847" y="161903"/>
                  </a:cubicBezTo>
                  <a:cubicBezTo>
                    <a:pt x="22565" y="162185"/>
                    <a:pt x="22565" y="162467"/>
                    <a:pt x="22565" y="163031"/>
                  </a:cubicBezTo>
                  <a:cubicBezTo>
                    <a:pt x="22565" y="163314"/>
                    <a:pt x="22283" y="163596"/>
                    <a:pt x="22283" y="163878"/>
                  </a:cubicBezTo>
                  <a:cubicBezTo>
                    <a:pt x="22283" y="164724"/>
                    <a:pt x="22283" y="165288"/>
                    <a:pt x="22001" y="165852"/>
                  </a:cubicBezTo>
                  <a:lnTo>
                    <a:pt x="22001" y="167262"/>
                  </a:lnTo>
                  <a:cubicBezTo>
                    <a:pt x="22283" y="167262"/>
                    <a:pt x="22283" y="167544"/>
                    <a:pt x="22283" y="167827"/>
                  </a:cubicBezTo>
                  <a:cubicBezTo>
                    <a:pt x="22283" y="168109"/>
                    <a:pt x="22283" y="168391"/>
                    <a:pt x="22001" y="168673"/>
                  </a:cubicBezTo>
                  <a:cubicBezTo>
                    <a:pt x="21437" y="169519"/>
                    <a:pt x="20873" y="170647"/>
                    <a:pt x="20873" y="171775"/>
                  </a:cubicBezTo>
                  <a:lnTo>
                    <a:pt x="20873" y="172904"/>
                  </a:lnTo>
                  <a:lnTo>
                    <a:pt x="20308" y="174032"/>
                  </a:lnTo>
                  <a:cubicBezTo>
                    <a:pt x="20026" y="174314"/>
                    <a:pt x="20026" y="174596"/>
                    <a:pt x="20026" y="174878"/>
                  </a:cubicBezTo>
                  <a:lnTo>
                    <a:pt x="20026" y="176006"/>
                  </a:lnTo>
                  <a:cubicBezTo>
                    <a:pt x="19744" y="176288"/>
                    <a:pt x="19744" y="176288"/>
                    <a:pt x="19744" y="176570"/>
                  </a:cubicBezTo>
                  <a:cubicBezTo>
                    <a:pt x="19744" y="176852"/>
                    <a:pt x="19744" y="177135"/>
                    <a:pt x="20026" y="177135"/>
                  </a:cubicBezTo>
                  <a:lnTo>
                    <a:pt x="20308" y="177417"/>
                  </a:lnTo>
                  <a:lnTo>
                    <a:pt x="20308" y="178827"/>
                  </a:lnTo>
                  <a:cubicBezTo>
                    <a:pt x="20308" y="179391"/>
                    <a:pt x="20308" y="179955"/>
                    <a:pt x="19744" y="180237"/>
                  </a:cubicBezTo>
                  <a:cubicBezTo>
                    <a:pt x="19744" y="180237"/>
                    <a:pt x="19462" y="180519"/>
                    <a:pt x="19744" y="180519"/>
                  </a:cubicBezTo>
                  <a:cubicBezTo>
                    <a:pt x="19744" y="181083"/>
                    <a:pt x="20026" y="181365"/>
                    <a:pt x="20026" y="181648"/>
                  </a:cubicBezTo>
                  <a:cubicBezTo>
                    <a:pt x="20026" y="181930"/>
                    <a:pt x="19744" y="182494"/>
                    <a:pt x="19744" y="182776"/>
                  </a:cubicBezTo>
                  <a:lnTo>
                    <a:pt x="19462" y="183058"/>
                  </a:lnTo>
                  <a:cubicBezTo>
                    <a:pt x="19744" y="183340"/>
                    <a:pt x="19744" y="183622"/>
                    <a:pt x="19744" y="183904"/>
                  </a:cubicBezTo>
                  <a:cubicBezTo>
                    <a:pt x="19744" y="184186"/>
                    <a:pt x="19462" y="184750"/>
                    <a:pt x="19180" y="185032"/>
                  </a:cubicBezTo>
                  <a:cubicBezTo>
                    <a:pt x="18898" y="185032"/>
                    <a:pt x="18898" y="185314"/>
                    <a:pt x="18898" y="185596"/>
                  </a:cubicBezTo>
                  <a:lnTo>
                    <a:pt x="18898" y="185878"/>
                  </a:lnTo>
                  <a:cubicBezTo>
                    <a:pt x="19180" y="185878"/>
                    <a:pt x="19462" y="185878"/>
                    <a:pt x="19462" y="186161"/>
                  </a:cubicBezTo>
                  <a:cubicBezTo>
                    <a:pt x="19462" y="186443"/>
                    <a:pt x="19180" y="186725"/>
                    <a:pt x="19180" y="187007"/>
                  </a:cubicBezTo>
                  <a:lnTo>
                    <a:pt x="19180" y="190109"/>
                  </a:lnTo>
                  <a:cubicBezTo>
                    <a:pt x="19180" y="190956"/>
                    <a:pt x="19462" y="191802"/>
                    <a:pt x="19462" y="192930"/>
                  </a:cubicBezTo>
                  <a:cubicBezTo>
                    <a:pt x="19462" y="193494"/>
                    <a:pt x="19462" y="194058"/>
                    <a:pt x="19180" y="194622"/>
                  </a:cubicBezTo>
                  <a:lnTo>
                    <a:pt x="19180" y="197725"/>
                  </a:lnTo>
                  <a:lnTo>
                    <a:pt x="18616" y="199982"/>
                  </a:lnTo>
                  <a:lnTo>
                    <a:pt x="18334" y="200264"/>
                  </a:lnTo>
                  <a:cubicBezTo>
                    <a:pt x="18334" y="200264"/>
                    <a:pt x="18334" y="200546"/>
                    <a:pt x="18616" y="200546"/>
                  </a:cubicBezTo>
                  <a:cubicBezTo>
                    <a:pt x="18616" y="200828"/>
                    <a:pt x="18898" y="201110"/>
                    <a:pt x="18898" y="201392"/>
                  </a:cubicBezTo>
                  <a:cubicBezTo>
                    <a:pt x="18898" y="201674"/>
                    <a:pt x="18616" y="201674"/>
                    <a:pt x="18616" y="201956"/>
                  </a:cubicBezTo>
                  <a:cubicBezTo>
                    <a:pt x="18616" y="201956"/>
                    <a:pt x="18334" y="202238"/>
                    <a:pt x="18334" y="202520"/>
                  </a:cubicBezTo>
                  <a:cubicBezTo>
                    <a:pt x="18616" y="202802"/>
                    <a:pt x="18898" y="202802"/>
                    <a:pt x="18898" y="203084"/>
                  </a:cubicBezTo>
                  <a:lnTo>
                    <a:pt x="18616" y="203366"/>
                  </a:lnTo>
                  <a:cubicBezTo>
                    <a:pt x="18334" y="203648"/>
                    <a:pt x="18334" y="203648"/>
                    <a:pt x="18334" y="203930"/>
                  </a:cubicBezTo>
                  <a:cubicBezTo>
                    <a:pt x="18052" y="204212"/>
                    <a:pt x="18052" y="204212"/>
                    <a:pt x="18052" y="204494"/>
                  </a:cubicBezTo>
                  <a:cubicBezTo>
                    <a:pt x="18052" y="204777"/>
                    <a:pt x="18052" y="204777"/>
                    <a:pt x="18334" y="205059"/>
                  </a:cubicBezTo>
                  <a:lnTo>
                    <a:pt x="18334" y="207315"/>
                  </a:lnTo>
                  <a:cubicBezTo>
                    <a:pt x="18334" y="208161"/>
                    <a:pt x="17770" y="209007"/>
                    <a:pt x="17770" y="209854"/>
                  </a:cubicBezTo>
                  <a:lnTo>
                    <a:pt x="17770" y="210700"/>
                  </a:lnTo>
                  <a:cubicBezTo>
                    <a:pt x="18052" y="210982"/>
                    <a:pt x="18334" y="211546"/>
                    <a:pt x="18334" y="211828"/>
                  </a:cubicBezTo>
                  <a:cubicBezTo>
                    <a:pt x="18334" y="212110"/>
                    <a:pt x="18052" y="212392"/>
                    <a:pt x="18052" y="212674"/>
                  </a:cubicBezTo>
                  <a:cubicBezTo>
                    <a:pt x="17770" y="212956"/>
                    <a:pt x="17770" y="213238"/>
                    <a:pt x="17770" y="213520"/>
                  </a:cubicBezTo>
                  <a:cubicBezTo>
                    <a:pt x="17770" y="213803"/>
                    <a:pt x="17770" y="214367"/>
                    <a:pt x="18052" y="214931"/>
                  </a:cubicBezTo>
                  <a:cubicBezTo>
                    <a:pt x="18052" y="215777"/>
                    <a:pt x="18052" y="216623"/>
                    <a:pt x="17770" y="217469"/>
                  </a:cubicBezTo>
                  <a:cubicBezTo>
                    <a:pt x="17770" y="217751"/>
                    <a:pt x="17488" y="218316"/>
                    <a:pt x="17488" y="218880"/>
                  </a:cubicBezTo>
                  <a:cubicBezTo>
                    <a:pt x="17488" y="219162"/>
                    <a:pt x="17488" y="219162"/>
                    <a:pt x="17770" y="219444"/>
                  </a:cubicBezTo>
                  <a:cubicBezTo>
                    <a:pt x="18052" y="219726"/>
                    <a:pt x="18052" y="220008"/>
                    <a:pt x="18052" y="220572"/>
                  </a:cubicBezTo>
                  <a:cubicBezTo>
                    <a:pt x="17770" y="221700"/>
                    <a:pt x="17770" y="223111"/>
                    <a:pt x="17770" y="224239"/>
                  </a:cubicBezTo>
                  <a:cubicBezTo>
                    <a:pt x="17488" y="224803"/>
                    <a:pt x="17488" y="225085"/>
                    <a:pt x="17488" y="225367"/>
                  </a:cubicBezTo>
                  <a:cubicBezTo>
                    <a:pt x="17488" y="225649"/>
                    <a:pt x="17488" y="226213"/>
                    <a:pt x="17770" y="226495"/>
                  </a:cubicBezTo>
                  <a:cubicBezTo>
                    <a:pt x="17770" y="226777"/>
                    <a:pt x="18052" y="227059"/>
                    <a:pt x="18052" y="227341"/>
                  </a:cubicBezTo>
                  <a:cubicBezTo>
                    <a:pt x="18052" y="227906"/>
                    <a:pt x="17770" y="228188"/>
                    <a:pt x="17488" y="228752"/>
                  </a:cubicBezTo>
                  <a:cubicBezTo>
                    <a:pt x="17206" y="229034"/>
                    <a:pt x="17206" y="229316"/>
                    <a:pt x="17206" y="229598"/>
                  </a:cubicBezTo>
                  <a:lnTo>
                    <a:pt x="17770" y="232137"/>
                  </a:lnTo>
                  <a:cubicBezTo>
                    <a:pt x="17770" y="232701"/>
                    <a:pt x="18052" y="233265"/>
                    <a:pt x="18052" y="233829"/>
                  </a:cubicBezTo>
                  <a:cubicBezTo>
                    <a:pt x="18052" y="234393"/>
                    <a:pt x="17770" y="234957"/>
                    <a:pt x="17770" y="235521"/>
                  </a:cubicBezTo>
                  <a:lnTo>
                    <a:pt x="17770" y="238060"/>
                  </a:lnTo>
                  <a:cubicBezTo>
                    <a:pt x="18052" y="238342"/>
                    <a:pt x="18052" y="238906"/>
                    <a:pt x="18052" y="239188"/>
                  </a:cubicBezTo>
                  <a:cubicBezTo>
                    <a:pt x="17770" y="239752"/>
                    <a:pt x="17770" y="240034"/>
                    <a:pt x="17770" y="240598"/>
                  </a:cubicBezTo>
                  <a:cubicBezTo>
                    <a:pt x="17770" y="240880"/>
                    <a:pt x="17770" y="241162"/>
                    <a:pt x="18052" y="241445"/>
                  </a:cubicBezTo>
                  <a:cubicBezTo>
                    <a:pt x="18334" y="241445"/>
                    <a:pt x="18334" y="241727"/>
                    <a:pt x="18334" y="242009"/>
                  </a:cubicBezTo>
                  <a:cubicBezTo>
                    <a:pt x="18334" y="243419"/>
                    <a:pt x="18334" y="244547"/>
                    <a:pt x="18616" y="245958"/>
                  </a:cubicBezTo>
                  <a:lnTo>
                    <a:pt x="18616" y="246804"/>
                  </a:lnTo>
                  <a:cubicBezTo>
                    <a:pt x="18334" y="247086"/>
                    <a:pt x="18052" y="247368"/>
                    <a:pt x="18052" y="247932"/>
                  </a:cubicBezTo>
                  <a:cubicBezTo>
                    <a:pt x="18052" y="248214"/>
                    <a:pt x="18334" y="248778"/>
                    <a:pt x="18334" y="249060"/>
                  </a:cubicBezTo>
                  <a:lnTo>
                    <a:pt x="18334" y="249624"/>
                  </a:lnTo>
                  <a:cubicBezTo>
                    <a:pt x="18334" y="249906"/>
                    <a:pt x="18334" y="250471"/>
                    <a:pt x="18052" y="250753"/>
                  </a:cubicBezTo>
                  <a:cubicBezTo>
                    <a:pt x="18052" y="252163"/>
                    <a:pt x="18334" y="253291"/>
                    <a:pt x="18616" y="254701"/>
                  </a:cubicBezTo>
                  <a:cubicBezTo>
                    <a:pt x="18616" y="254983"/>
                    <a:pt x="18898" y="255266"/>
                    <a:pt x="18898" y="255548"/>
                  </a:cubicBezTo>
                  <a:cubicBezTo>
                    <a:pt x="18898" y="255830"/>
                    <a:pt x="18616" y="255830"/>
                    <a:pt x="18616" y="256112"/>
                  </a:cubicBezTo>
                  <a:cubicBezTo>
                    <a:pt x="18334" y="256394"/>
                    <a:pt x="18334" y="256676"/>
                    <a:pt x="18334" y="256958"/>
                  </a:cubicBezTo>
                  <a:lnTo>
                    <a:pt x="18334" y="257522"/>
                  </a:lnTo>
                  <a:cubicBezTo>
                    <a:pt x="18334" y="257804"/>
                    <a:pt x="18052" y="258086"/>
                    <a:pt x="18052" y="258086"/>
                  </a:cubicBezTo>
                  <a:cubicBezTo>
                    <a:pt x="18052" y="258368"/>
                    <a:pt x="17770" y="258086"/>
                    <a:pt x="17488" y="258086"/>
                  </a:cubicBezTo>
                  <a:cubicBezTo>
                    <a:pt x="17206" y="258086"/>
                    <a:pt x="17206" y="257804"/>
                    <a:pt x="17206" y="257804"/>
                  </a:cubicBezTo>
                  <a:lnTo>
                    <a:pt x="16924" y="258086"/>
                  </a:lnTo>
                  <a:cubicBezTo>
                    <a:pt x="16642" y="258932"/>
                    <a:pt x="16077" y="259779"/>
                    <a:pt x="15231" y="260061"/>
                  </a:cubicBezTo>
                  <a:cubicBezTo>
                    <a:pt x="15231" y="260061"/>
                    <a:pt x="14667" y="260343"/>
                    <a:pt x="14667" y="260625"/>
                  </a:cubicBezTo>
                  <a:cubicBezTo>
                    <a:pt x="14385" y="260907"/>
                    <a:pt x="14103" y="261189"/>
                    <a:pt x="13821" y="261189"/>
                  </a:cubicBezTo>
                  <a:cubicBezTo>
                    <a:pt x="13539" y="261189"/>
                    <a:pt x="13539" y="260907"/>
                    <a:pt x="13257" y="260907"/>
                  </a:cubicBezTo>
                  <a:cubicBezTo>
                    <a:pt x="12975" y="260625"/>
                    <a:pt x="12128" y="260907"/>
                    <a:pt x="11564" y="260343"/>
                  </a:cubicBezTo>
                  <a:cubicBezTo>
                    <a:pt x="11846" y="260061"/>
                    <a:pt x="11282" y="260343"/>
                    <a:pt x="11282" y="260625"/>
                  </a:cubicBezTo>
                  <a:cubicBezTo>
                    <a:pt x="11282" y="260907"/>
                    <a:pt x="11282" y="261471"/>
                    <a:pt x="11000" y="261753"/>
                  </a:cubicBezTo>
                  <a:cubicBezTo>
                    <a:pt x="11000" y="262035"/>
                    <a:pt x="11000" y="262035"/>
                    <a:pt x="10718" y="262317"/>
                  </a:cubicBezTo>
                  <a:lnTo>
                    <a:pt x="10154" y="262317"/>
                  </a:lnTo>
                  <a:cubicBezTo>
                    <a:pt x="9590" y="261753"/>
                    <a:pt x="9026" y="261471"/>
                    <a:pt x="8744" y="260625"/>
                  </a:cubicBezTo>
                  <a:lnTo>
                    <a:pt x="8744" y="260343"/>
                  </a:lnTo>
                  <a:cubicBezTo>
                    <a:pt x="8744" y="259779"/>
                    <a:pt x="8462" y="259779"/>
                    <a:pt x="7898" y="259214"/>
                  </a:cubicBezTo>
                  <a:lnTo>
                    <a:pt x="7616" y="259214"/>
                  </a:lnTo>
                  <a:lnTo>
                    <a:pt x="7616" y="260343"/>
                  </a:lnTo>
                  <a:cubicBezTo>
                    <a:pt x="7616" y="260625"/>
                    <a:pt x="7616" y="260907"/>
                    <a:pt x="7898" y="261189"/>
                  </a:cubicBezTo>
                  <a:cubicBezTo>
                    <a:pt x="7898" y="261471"/>
                    <a:pt x="8180" y="261471"/>
                    <a:pt x="8180" y="261753"/>
                  </a:cubicBezTo>
                  <a:cubicBezTo>
                    <a:pt x="8180" y="262035"/>
                    <a:pt x="7898" y="262035"/>
                    <a:pt x="7616" y="262317"/>
                  </a:cubicBezTo>
                  <a:cubicBezTo>
                    <a:pt x="7616" y="262599"/>
                    <a:pt x="7334" y="262881"/>
                    <a:pt x="7334" y="262881"/>
                  </a:cubicBezTo>
                  <a:lnTo>
                    <a:pt x="7052" y="263163"/>
                  </a:lnTo>
                  <a:cubicBezTo>
                    <a:pt x="7052" y="263163"/>
                    <a:pt x="6770" y="263163"/>
                    <a:pt x="6770" y="262881"/>
                  </a:cubicBezTo>
                  <a:cubicBezTo>
                    <a:pt x="6487" y="262599"/>
                    <a:pt x="6205" y="262035"/>
                    <a:pt x="6205" y="261471"/>
                  </a:cubicBezTo>
                  <a:lnTo>
                    <a:pt x="5641" y="261471"/>
                  </a:lnTo>
                  <a:cubicBezTo>
                    <a:pt x="5641" y="261753"/>
                    <a:pt x="5359" y="262317"/>
                    <a:pt x="5359" y="262599"/>
                  </a:cubicBezTo>
                  <a:cubicBezTo>
                    <a:pt x="5359" y="262881"/>
                    <a:pt x="5359" y="263163"/>
                    <a:pt x="5641" y="263163"/>
                  </a:cubicBezTo>
                  <a:lnTo>
                    <a:pt x="5641" y="264292"/>
                  </a:lnTo>
                  <a:cubicBezTo>
                    <a:pt x="5641" y="264574"/>
                    <a:pt x="5641" y="264856"/>
                    <a:pt x="5923" y="265138"/>
                  </a:cubicBezTo>
                  <a:cubicBezTo>
                    <a:pt x="5923" y="265138"/>
                    <a:pt x="5641" y="265420"/>
                    <a:pt x="5641" y="265138"/>
                  </a:cubicBezTo>
                  <a:cubicBezTo>
                    <a:pt x="5359" y="265138"/>
                    <a:pt x="5077" y="264856"/>
                    <a:pt x="4795" y="264856"/>
                  </a:cubicBezTo>
                  <a:cubicBezTo>
                    <a:pt x="4513" y="264574"/>
                    <a:pt x="4231" y="264292"/>
                    <a:pt x="4231" y="264009"/>
                  </a:cubicBezTo>
                  <a:cubicBezTo>
                    <a:pt x="4231" y="263445"/>
                    <a:pt x="4231" y="262881"/>
                    <a:pt x="3949" y="262317"/>
                  </a:cubicBezTo>
                  <a:cubicBezTo>
                    <a:pt x="3667" y="262035"/>
                    <a:pt x="3667" y="261471"/>
                    <a:pt x="3667" y="260907"/>
                  </a:cubicBezTo>
                  <a:lnTo>
                    <a:pt x="3667" y="260061"/>
                  </a:lnTo>
                  <a:cubicBezTo>
                    <a:pt x="3667" y="259496"/>
                    <a:pt x="3385" y="258932"/>
                    <a:pt x="2821" y="258650"/>
                  </a:cubicBezTo>
                  <a:cubicBezTo>
                    <a:pt x="2539" y="258368"/>
                    <a:pt x="2256" y="258086"/>
                    <a:pt x="2256" y="257522"/>
                  </a:cubicBezTo>
                  <a:cubicBezTo>
                    <a:pt x="2256" y="257240"/>
                    <a:pt x="2539" y="256676"/>
                    <a:pt x="2539" y="256394"/>
                  </a:cubicBezTo>
                  <a:cubicBezTo>
                    <a:pt x="2539" y="256112"/>
                    <a:pt x="2539" y="255830"/>
                    <a:pt x="2256" y="255266"/>
                  </a:cubicBezTo>
                  <a:cubicBezTo>
                    <a:pt x="1974" y="254983"/>
                    <a:pt x="1692" y="254701"/>
                    <a:pt x="1692" y="254419"/>
                  </a:cubicBezTo>
                  <a:cubicBezTo>
                    <a:pt x="1692" y="254137"/>
                    <a:pt x="1692" y="253855"/>
                    <a:pt x="1974" y="253573"/>
                  </a:cubicBezTo>
                  <a:cubicBezTo>
                    <a:pt x="1974" y="253291"/>
                    <a:pt x="1974" y="253009"/>
                    <a:pt x="1692" y="252727"/>
                  </a:cubicBezTo>
                  <a:cubicBezTo>
                    <a:pt x="1410" y="252445"/>
                    <a:pt x="1128" y="251881"/>
                    <a:pt x="1128" y="251599"/>
                  </a:cubicBezTo>
                  <a:cubicBezTo>
                    <a:pt x="1128" y="251317"/>
                    <a:pt x="1410" y="251035"/>
                    <a:pt x="1410" y="250753"/>
                  </a:cubicBezTo>
                  <a:cubicBezTo>
                    <a:pt x="1692" y="249906"/>
                    <a:pt x="1974" y="249342"/>
                    <a:pt x="1974" y="248496"/>
                  </a:cubicBezTo>
                  <a:lnTo>
                    <a:pt x="1974" y="247650"/>
                  </a:lnTo>
                  <a:cubicBezTo>
                    <a:pt x="2256" y="247368"/>
                    <a:pt x="2256" y="247368"/>
                    <a:pt x="2256" y="247086"/>
                  </a:cubicBezTo>
                  <a:cubicBezTo>
                    <a:pt x="2256" y="246804"/>
                    <a:pt x="1974" y="246522"/>
                    <a:pt x="1974" y="246240"/>
                  </a:cubicBezTo>
                  <a:cubicBezTo>
                    <a:pt x="1692" y="245958"/>
                    <a:pt x="1410" y="245393"/>
                    <a:pt x="1410" y="244829"/>
                  </a:cubicBezTo>
                  <a:cubicBezTo>
                    <a:pt x="1410" y="244547"/>
                    <a:pt x="1410" y="244265"/>
                    <a:pt x="1692" y="243983"/>
                  </a:cubicBezTo>
                  <a:cubicBezTo>
                    <a:pt x="1974" y="243983"/>
                    <a:pt x="1692" y="243701"/>
                    <a:pt x="1410" y="243701"/>
                  </a:cubicBezTo>
                  <a:cubicBezTo>
                    <a:pt x="1128" y="243701"/>
                    <a:pt x="846" y="243701"/>
                    <a:pt x="846" y="243137"/>
                  </a:cubicBezTo>
                  <a:cubicBezTo>
                    <a:pt x="846" y="242009"/>
                    <a:pt x="564" y="240880"/>
                    <a:pt x="564" y="239752"/>
                  </a:cubicBezTo>
                  <a:cubicBezTo>
                    <a:pt x="282" y="239470"/>
                    <a:pt x="282" y="238906"/>
                    <a:pt x="0" y="238342"/>
                  </a:cubicBezTo>
                  <a:cubicBezTo>
                    <a:pt x="0" y="238060"/>
                    <a:pt x="0" y="237778"/>
                    <a:pt x="282" y="237214"/>
                  </a:cubicBezTo>
                  <a:lnTo>
                    <a:pt x="282" y="229034"/>
                  </a:lnTo>
                  <a:cubicBezTo>
                    <a:pt x="282" y="228470"/>
                    <a:pt x="564" y="227624"/>
                    <a:pt x="564" y="227059"/>
                  </a:cubicBezTo>
                  <a:cubicBezTo>
                    <a:pt x="564" y="226777"/>
                    <a:pt x="564" y="226495"/>
                    <a:pt x="282" y="226213"/>
                  </a:cubicBezTo>
                  <a:lnTo>
                    <a:pt x="282" y="225085"/>
                  </a:lnTo>
                  <a:cubicBezTo>
                    <a:pt x="282" y="224803"/>
                    <a:pt x="282" y="224521"/>
                    <a:pt x="564" y="223957"/>
                  </a:cubicBezTo>
                  <a:lnTo>
                    <a:pt x="564" y="221700"/>
                  </a:lnTo>
                  <a:lnTo>
                    <a:pt x="1128" y="220290"/>
                  </a:lnTo>
                  <a:cubicBezTo>
                    <a:pt x="1410" y="220290"/>
                    <a:pt x="1410" y="220008"/>
                    <a:pt x="1410" y="219726"/>
                  </a:cubicBezTo>
                  <a:lnTo>
                    <a:pt x="1410" y="219444"/>
                  </a:lnTo>
                  <a:cubicBezTo>
                    <a:pt x="1128" y="219162"/>
                    <a:pt x="1128" y="218880"/>
                    <a:pt x="1128" y="218598"/>
                  </a:cubicBezTo>
                  <a:cubicBezTo>
                    <a:pt x="1128" y="218033"/>
                    <a:pt x="1410" y="217469"/>
                    <a:pt x="1692" y="216905"/>
                  </a:cubicBezTo>
                  <a:cubicBezTo>
                    <a:pt x="1692" y="216623"/>
                    <a:pt x="1974" y="216341"/>
                    <a:pt x="1974" y="216059"/>
                  </a:cubicBezTo>
                  <a:cubicBezTo>
                    <a:pt x="1974" y="215777"/>
                    <a:pt x="1692" y="215777"/>
                    <a:pt x="1692" y="215495"/>
                  </a:cubicBezTo>
                  <a:cubicBezTo>
                    <a:pt x="1410" y="215495"/>
                    <a:pt x="1410" y="215213"/>
                    <a:pt x="1410" y="215213"/>
                  </a:cubicBezTo>
                  <a:cubicBezTo>
                    <a:pt x="1692" y="214931"/>
                    <a:pt x="1692" y="214649"/>
                    <a:pt x="1692" y="214367"/>
                  </a:cubicBezTo>
                  <a:cubicBezTo>
                    <a:pt x="1692" y="213803"/>
                    <a:pt x="1410" y="212956"/>
                    <a:pt x="1128" y="212392"/>
                  </a:cubicBezTo>
                  <a:cubicBezTo>
                    <a:pt x="1128" y="212110"/>
                    <a:pt x="1128" y="211828"/>
                    <a:pt x="846" y="211546"/>
                  </a:cubicBezTo>
                  <a:lnTo>
                    <a:pt x="846" y="207033"/>
                  </a:lnTo>
                  <a:cubicBezTo>
                    <a:pt x="846" y="206469"/>
                    <a:pt x="1128" y="205905"/>
                    <a:pt x="1128" y="205623"/>
                  </a:cubicBezTo>
                  <a:lnTo>
                    <a:pt x="1128" y="201110"/>
                  </a:lnTo>
                  <a:lnTo>
                    <a:pt x="1692" y="198853"/>
                  </a:lnTo>
                  <a:lnTo>
                    <a:pt x="1692" y="197443"/>
                  </a:lnTo>
                  <a:cubicBezTo>
                    <a:pt x="1692" y="196315"/>
                    <a:pt x="1692" y="195469"/>
                    <a:pt x="1974" y="194340"/>
                  </a:cubicBezTo>
                  <a:cubicBezTo>
                    <a:pt x="1974" y="194058"/>
                    <a:pt x="1974" y="193776"/>
                    <a:pt x="2256" y="193494"/>
                  </a:cubicBezTo>
                  <a:cubicBezTo>
                    <a:pt x="2539" y="193212"/>
                    <a:pt x="2539" y="193212"/>
                    <a:pt x="2539" y="192930"/>
                  </a:cubicBezTo>
                  <a:lnTo>
                    <a:pt x="2539" y="192366"/>
                  </a:lnTo>
                  <a:cubicBezTo>
                    <a:pt x="2256" y="192084"/>
                    <a:pt x="2256" y="191802"/>
                    <a:pt x="2256" y="191520"/>
                  </a:cubicBezTo>
                  <a:lnTo>
                    <a:pt x="2256" y="186725"/>
                  </a:lnTo>
                  <a:cubicBezTo>
                    <a:pt x="2256" y="186443"/>
                    <a:pt x="2256" y="185878"/>
                    <a:pt x="2539" y="185314"/>
                  </a:cubicBezTo>
                  <a:cubicBezTo>
                    <a:pt x="2539" y="184186"/>
                    <a:pt x="2821" y="183340"/>
                    <a:pt x="3103" y="182212"/>
                  </a:cubicBezTo>
                  <a:cubicBezTo>
                    <a:pt x="3103" y="181930"/>
                    <a:pt x="3385" y="181930"/>
                    <a:pt x="3385" y="181648"/>
                  </a:cubicBezTo>
                  <a:cubicBezTo>
                    <a:pt x="3385" y="181365"/>
                    <a:pt x="3103" y="181083"/>
                    <a:pt x="3103" y="180801"/>
                  </a:cubicBezTo>
                  <a:cubicBezTo>
                    <a:pt x="2821" y="180519"/>
                    <a:pt x="2821" y="180237"/>
                    <a:pt x="2821" y="179955"/>
                  </a:cubicBezTo>
                  <a:cubicBezTo>
                    <a:pt x="3667" y="179109"/>
                    <a:pt x="3667" y="177981"/>
                    <a:pt x="3667" y="177135"/>
                  </a:cubicBezTo>
                  <a:cubicBezTo>
                    <a:pt x="3667" y="176570"/>
                    <a:pt x="3949" y="176006"/>
                    <a:pt x="4513" y="175724"/>
                  </a:cubicBezTo>
                  <a:cubicBezTo>
                    <a:pt x="4513" y="175442"/>
                    <a:pt x="4795" y="175442"/>
                    <a:pt x="4795" y="175160"/>
                  </a:cubicBezTo>
                  <a:cubicBezTo>
                    <a:pt x="4795" y="174878"/>
                    <a:pt x="4513" y="174596"/>
                    <a:pt x="4513" y="174314"/>
                  </a:cubicBezTo>
                  <a:cubicBezTo>
                    <a:pt x="4231" y="174032"/>
                    <a:pt x="3949" y="174032"/>
                    <a:pt x="3949" y="173750"/>
                  </a:cubicBezTo>
                  <a:cubicBezTo>
                    <a:pt x="3949" y="173468"/>
                    <a:pt x="4231" y="173186"/>
                    <a:pt x="4231" y="173186"/>
                  </a:cubicBezTo>
                  <a:cubicBezTo>
                    <a:pt x="4795" y="172339"/>
                    <a:pt x="4795" y="171775"/>
                    <a:pt x="4795" y="170929"/>
                  </a:cubicBezTo>
                  <a:lnTo>
                    <a:pt x="4795" y="170365"/>
                  </a:lnTo>
                  <a:cubicBezTo>
                    <a:pt x="4795" y="170083"/>
                    <a:pt x="4795" y="169801"/>
                    <a:pt x="5077" y="169519"/>
                  </a:cubicBezTo>
                  <a:lnTo>
                    <a:pt x="5077" y="168955"/>
                  </a:lnTo>
                  <a:cubicBezTo>
                    <a:pt x="5077" y="168391"/>
                    <a:pt x="5359" y="167544"/>
                    <a:pt x="5359" y="166980"/>
                  </a:cubicBezTo>
                  <a:cubicBezTo>
                    <a:pt x="5359" y="165570"/>
                    <a:pt x="5641" y="164442"/>
                    <a:pt x="6205" y="163031"/>
                  </a:cubicBezTo>
                  <a:cubicBezTo>
                    <a:pt x="6205" y="162749"/>
                    <a:pt x="6487" y="162749"/>
                    <a:pt x="6487" y="162467"/>
                  </a:cubicBezTo>
                  <a:cubicBezTo>
                    <a:pt x="6770" y="162185"/>
                    <a:pt x="6770" y="162185"/>
                    <a:pt x="6770" y="161903"/>
                  </a:cubicBezTo>
                  <a:cubicBezTo>
                    <a:pt x="6770" y="161903"/>
                    <a:pt x="6770" y="161621"/>
                    <a:pt x="6487" y="161057"/>
                  </a:cubicBezTo>
                  <a:cubicBezTo>
                    <a:pt x="6205" y="160493"/>
                    <a:pt x="6205" y="159929"/>
                    <a:pt x="6205" y="159365"/>
                  </a:cubicBezTo>
                  <a:cubicBezTo>
                    <a:pt x="6487" y="158519"/>
                    <a:pt x="6487" y="157954"/>
                    <a:pt x="7334" y="157672"/>
                  </a:cubicBezTo>
                  <a:cubicBezTo>
                    <a:pt x="7334" y="157672"/>
                    <a:pt x="7616" y="157390"/>
                    <a:pt x="7616" y="157108"/>
                  </a:cubicBezTo>
                  <a:lnTo>
                    <a:pt x="7616" y="156826"/>
                  </a:lnTo>
                  <a:cubicBezTo>
                    <a:pt x="7616" y="156544"/>
                    <a:pt x="7616" y="156544"/>
                    <a:pt x="7334" y="156262"/>
                  </a:cubicBezTo>
                  <a:cubicBezTo>
                    <a:pt x="7334" y="155980"/>
                    <a:pt x="7052" y="155698"/>
                    <a:pt x="7052" y="155698"/>
                  </a:cubicBezTo>
                  <a:cubicBezTo>
                    <a:pt x="7052" y="155416"/>
                    <a:pt x="7334" y="155416"/>
                    <a:pt x="7616" y="155134"/>
                  </a:cubicBezTo>
                  <a:lnTo>
                    <a:pt x="7898" y="154852"/>
                  </a:lnTo>
                  <a:cubicBezTo>
                    <a:pt x="8180" y="154852"/>
                    <a:pt x="7898" y="154570"/>
                    <a:pt x="7616" y="154570"/>
                  </a:cubicBezTo>
                  <a:cubicBezTo>
                    <a:pt x="7334" y="154570"/>
                    <a:pt x="7052" y="154288"/>
                    <a:pt x="7052" y="154288"/>
                  </a:cubicBezTo>
                  <a:lnTo>
                    <a:pt x="7616" y="153723"/>
                  </a:lnTo>
                  <a:cubicBezTo>
                    <a:pt x="7616" y="153723"/>
                    <a:pt x="7616" y="153441"/>
                    <a:pt x="7898" y="153159"/>
                  </a:cubicBezTo>
                  <a:cubicBezTo>
                    <a:pt x="7898" y="153159"/>
                    <a:pt x="8180" y="152877"/>
                    <a:pt x="8180" y="152595"/>
                  </a:cubicBezTo>
                  <a:cubicBezTo>
                    <a:pt x="8180" y="152313"/>
                    <a:pt x="7898" y="152313"/>
                    <a:pt x="7898" y="152031"/>
                  </a:cubicBezTo>
                  <a:cubicBezTo>
                    <a:pt x="7616" y="152031"/>
                    <a:pt x="7616" y="151749"/>
                    <a:pt x="7616" y="151749"/>
                  </a:cubicBezTo>
                  <a:cubicBezTo>
                    <a:pt x="7334" y="151467"/>
                    <a:pt x="7334" y="151467"/>
                    <a:pt x="7334" y="151185"/>
                  </a:cubicBezTo>
                  <a:cubicBezTo>
                    <a:pt x="7334" y="150903"/>
                    <a:pt x="7334" y="150903"/>
                    <a:pt x="7616" y="150621"/>
                  </a:cubicBezTo>
                  <a:lnTo>
                    <a:pt x="8744" y="149493"/>
                  </a:lnTo>
                  <a:cubicBezTo>
                    <a:pt x="8744" y="149210"/>
                    <a:pt x="9026" y="149210"/>
                    <a:pt x="9026" y="148928"/>
                  </a:cubicBezTo>
                  <a:cubicBezTo>
                    <a:pt x="9026" y="148646"/>
                    <a:pt x="8744" y="148364"/>
                    <a:pt x="8744" y="148082"/>
                  </a:cubicBezTo>
                  <a:cubicBezTo>
                    <a:pt x="8462" y="148082"/>
                    <a:pt x="8462" y="147800"/>
                    <a:pt x="8462" y="147518"/>
                  </a:cubicBezTo>
                  <a:cubicBezTo>
                    <a:pt x="8744" y="147236"/>
                    <a:pt x="8744" y="146954"/>
                    <a:pt x="8744" y="146672"/>
                  </a:cubicBezTo>
                  <a:cubicBezTo>
                    <a:pt x="8462" y="146390"/>
                    <a:pt x="8462" y="145826"/>
                    <a:pt x="8462" y="145262"/>
                  </a:cubicBezTo>
                  <a:lnTo>
                    <a:pt x="8462" y="144697"/>
                  </a:lnTo>
                  <a:cubicBezTo>
                    <a:pt x="8744" y="144133"/>
                    <a:pt x="8744" y="143287"/>
                    <a:pt x="9590" y="142723"/>
                  </a:cubicBezTo>
                  <a:lnTo>
                    <a:pt x="9590" y="142441"/>
                  </a:lnTo>
                  <a:cubicBezTo>
                    <a:pt x="9590" y="142159"/>
                    <a:pt x="9308" y="141877"/>
                    <a:pt x="9308" y="141595"/>
                  </a:cubicBezTo>
                  <a:cubicBezTo>
                    <a:pt x="9308" y="140749"/>
                    <a:pt x="9872" y="140185"/>
                    <a:pt x="10436" y="139620"/>
                  </a:cubicBezTo>
                  <a:lnTo>
                    <a:pt x="10718" y="139338"/>
                  </a:lnTo>
                  <a:lnTo>
                    <a:pt x="10154" y="138774"/>
                  </a:lnTo>
                  <a:cubicBezTo>
                    <a:pt x="9872" y="138774"/>
                    <a:pt x="9590" y="138492"/>
                    <a:pt x="9590" y="138210"/>
                  </a:cubicBezTo>
                  <a:cubicBezTo>
                    <a:pt x="9590" y="138210"/>
                    <a:pt x="9590" y="137928"/>
                    <a:pt x="9872" y="137928"/>
                  </a:cubicBezTo>
                  <a:lnTo>
                    <a:pt x="10154" y="137646"/>
                  </a:lnTo>
                  <a:lnTo>
                    <a:pt x="10154" y="137082"/>
                  </a:lnTo>
                  <a:cubicBezTo>
                    <a:pt x="10154" y="136800"/>
                    <a:pt x="10436" y="136518"/>
                    <a:pt x="10718" y="136518"/>
                  </a:cubicBezTo>
                  <a:cubicBezTo>
                    <a:pt x="11000" y="136518"/>
                    <a:pt x="11282" y="136236"/>
                    <a:pt x="11282" y="135954"/>
                  </a:cubicBezTo>
                  <a:cubicBezTo>
                    <a:pt x="11000" y="135672"/>
                    <a:pt x="11000" y="135389"/>
                    <a:pt x="11000" y="135107"/>
                  </a:cubicBezTo>
                  <a:cubicBezTo>
                    <a:pt x="11000" y="134825"/>
                    <a:pt x="11000" y="134543"/>
                    <a:pt x="11282" y="133979"/>
                  </a:cubicBezTo>
                  <a:lnTo>
                    <a:pt x="11282" y="133697"/>
                  </a:lnTo>
                  <a:cubicBezTo>
                    <a:pt x="11282" y="133133"/>
                    <a:pt x="11282" y="132287"/>
                    <a:pt x="11564" y="131723"/>
                  </a:cubicBezTo>
                  <a:cubicBezTo>
                    <a:pt x="15795" y="115645"/>
                    <a:pt x="17206" y="100696"/>
                    <a:pt x="21719" y="84618"/>
                  </a:cubicBezTo>
                  <a:lnTo>
                    <a:pt x="21719" y="84336"/>
                  </a:lnTo>
                  <a:cubicBezTo>
                    <a:pt x="22565" y="82926"/>
                    <a:pt x="23411" y="81516"/>
                    <a:pt x="23975" y="79823"/>
                  </a:cubicBezTo>
                  <a:cubicBezTo>
                    <a:pt x="24257" y="79541"/>
                    <a:pt x="24539" y="79259"/>
                    <a:pt x="24539" y="78977"/>
                  </a:cubicBezTo>
                  <a:cubicBezTo>
                    <a:pt x="24821" y="78695"/>
                    <a:pt x="24821" y="78413"/>
                    <a:pt x="24821" y="78131"/>
                  </a:cubicBezTo>
                  <a:lnTo>
                    <a:pt x="24821" y="77567"/>
                  </a:lnTo>
                  <a:cubicBezTo>
                    <a:pt x="24821" y="77285"/>
                    <a:pt x="24821" y="76721"/>
                    <a:pt x="25104" y="76439"/>
                  </a:cubicBezTo>
                  <a:cubicBezTo>
                    <a:pt x="25668" y="75875"/>
                    <a:pt x="25950" y="75592"/>
                    <a:pt x="25950" y="75028"/>
                  </a:cubicBezTo>
                  <a:cubicBezTo>
                    <a:pt x="25950" y="74464"/>
                    <a:pt x="25950" y="73618"/>
                    <a:pt x="26796" y="73054"/>
                  </a:cubicBezTo>
                  <a:lnTo>
                    <a:pt x="26796" y="72208"/>
                  </a:lnTo>
                  <a:cubicBezTo>
                    <a:pt x="27078" y="71079"/>
                    <a:pt x="27360" y="69951"/>
                    <a:pt x="27924" y="68823"/>
                  </a:cubicBezTo>
                  <a:cubicBezTo>
                    <a:pt x="28206" y="68823"/>
                    <a:pt x="28206" y="68541"/>
                    <a:pt x="28206" y="68259"/>
                  </a:cubicBezTo>
                  <a:cubicBezTo>
                    <a:pt x="28206" y="67131"/>
                    <a:pt x="28770" y="66002"/>
                    <a:pt x="28770" y="64874"/>
                  </a:cubicBezTo>
                  <a:cubicBezTo>
                    <a:pt x="28770" y="64592"/>
                    <a:pt x="29052" y="64310"/>
                    <a:pt x="29052" y="64028"/>
                  </a:cubicBezTo>
                  <a:lnTo>
                    <a:pt x="35258" y="47104"/>
                  </a:lnTo>
                  <a:cubicBezTo>
                    <a:pt x="35540" y="45694"/>
                    <a:pt x="36104" y="44284"/>
                    <a:pt x="36950" y="42873"/>
                  </a:cubicBezTo>
                  <a:cubicBezTo>
                    <a:pt x="37232" y="41463"/>
                    <a:pt x="37796" y="40053"/>
                    <a:pt x="38360" y="38642"/>
                  </a:cubicBezTo>
                  <a:cubicBezTo>
                    <a:pt x="38642" y="37514"/>
                    <a:pt x="38924" y="36668"/>
                    <a:pt x="39489" y="35822"/>
                  </a:cubicBezTo>
                  <a:lnTo>
                    <a:pt x="40335" y="33283"/>
                  </a:lnTo>
                  <a:cubicBezTo>
                    <a:pt x="40899" y="32719"/>
                    <a:pt x="41181" y="31873"/>
                    <a:pt x="41463" y="31027"/>
                  </a:cubicBezTo>
                  <a:lnTo>
                    <a:pt x="41463" y="30463"/>
                  </a:lnTo>
                  <a:lnTo>
                    <a:pt x="43155" y="26514"/>
                  </a:lnTo>
                  <a:cubicBezTo>
                    <a:pt x="43155" y="25950"/>
                    <a:pt x="43438" y="25103"/>
                    <a:pt x="43720" y="24539"/>
                  </a:cubicBezTo>
                  <a:lnTo>
                    <a:pt x="44284" y="23411"/>
                  </a:lnTo>
                  <a:lnTo>
                    <a:pt x="44566" y="23129"/>
                  </a:lnTo>
                  <a:lnTo>
                    <a:pt x="44566" y="22565"/>
                  </a:lnTo>
                  <a:cubicBezTo>
                    <a:pt x="44566" y="21719"/>
                    <a:pt x="45130" y="21155"/>
                    <a:pt x="45412" y="20308"/>
                  </a:cubicBezTo>
                  <a:cubicBezTo>
                    <a:pt x="46258" y="18334"/>
                    <a:pt x="46540" y="16642"/>
                    <a:pt x="47386" y="14667"/>
                  </a:cubicBezTo>
                  <a:cubicBezTo>
                    <a:pt x="47668" y="13821"/>
                    <a:pt x="47950" y="12693"/>
                    <a:pt x="48514" y="11565"/>
                  </a:cubicBezTo>
                  <a:lnTo>
                    <a:pt x="49079" y="9308"/>
                  </a:lnTo>
                  <a:cubicBezTo>
                    <a:pt x="49079" y="8744"/>
                    <a:pt x="49643" y="8180"/>
                    <a:pt x="49925" y="7616"/>
                  </a:cubicBezTo>
                  <a:cubicBezTo>
                    <a:pt x="50207" y="6205"/>
                    <a:pt x="51053" y="5077"/>
                    <a:pt x="51617" y="3667"/>
                  </a:cubicBezTo>
                  <a:cubicBezTo>
                    <a:pt x="51617" y="3385"/>
                    <a:pt x="51899" y="3103"/>
                    <a:pt x="51899" y="2821"/>
                  </a:cubicBezTo>
                  <a:lnTo>
                    <a:pt x="53874" y="1128"/>
                  </a:lnTo>
                  <a:cubicBezTo>
                    <a:pt x="54156" y="846"/>
                    <a:pt x="54438" y="564"/>
                    <a:pt x="54720" y="564"/>
                  </a:cubicBezTo>
                  <a:cubicBezTo>
                    <a:pt x="55002" y="282"/>
                    <a:pt x="55566" y="282"/>
                    <a:pt x="55848" y="282"/>
                  </a:cubicBezTo>
                  <a:cubicBezTo>
                    <a:pt x="56130" y="0"/>
                    <a:pt x="56412" y="0"/>
                    <a:pt x="56694" y="0"/>
                  </a:cubicBezTo>
                  <a:cubicBezTo>
                    <a:pt x="56976" y="0"/>
                    <a:pt x="56976" y="0"/>
                    <a:pt x="57258" y="282"/>
                  </a:cubicBezTo>
                  <a:cubicBezTo>
                    <a:pt x="57823" y="1128"/>
                    <a:pt x="58951" y="1410"/>
                    <a:pt x="59233" y="2539"/>
                  </a:cubicBezTo>
                  <a:lnTo>
                    <a:pt x="59515" y="2821"/>
                  </a:lnTo>
                  <a:cubicBezTo>
                    <a:pt x="59797" y="2539"/>
                    <a:pt x="60079" y="2256"/>
                    <a:pt x="60361" y="2256"/>
                  </a:cubicBezTo>
                  <a:cubicBezTo>
                    <a:pt x="60643" y="2256"/>
                    <a:pt x="60925" y="2539"/>
                    <a:pt x="61207" y="2821"/>
                  </a:cubicBezTo>
                  <a:lnTo>
                    <a:pt x="61772" y="3385"/>
                  </a:lnTo>
                  <a:cubicBezTo>
                    <a:pt x="61772" y="3667"/>
                    <a:pt x="62054" y="3667"/>
                    <a:pt x="62054" y="3667"/>
                  </a:cubicBezTo>
                  <a:lnTo>
                    <a:pt x="62336" y="3385"/>
                  </a:lnTo>
                  <a:cubicBezTo>
                    <a:pt x="62618" y="3385"/>
                    <a:pt x="62900" y="3385"/>
                    <a:pt x="63182" y="3667"/>
                  </a:cubicBezTo>
                  <a:cubicBezTo>
                    <a:pt x="63464" y="3949"/>
                    <a:pt x="63746" y="3949"/>
                    <a:pt x="64310" y="3949"/>
                  </a:cubicBezTo>
                  <a:cubicBezTo>
                    <a:pt x="64592" y="3949"/>
                    <a:pt x="64874" y="3667"/>
                    <a:pt x="65438" y="3667"/>
                  </a:cubicBezTo>
                  <a:cubicBezTo>
                    <a:pt x="65720" y="3667"/>
                    <a:pt x="66284" y="3949"/>
                    <a:pt x="66848" y="4231"/>
                  </a:cubicBezTo>
                  <a:lnTo>
                    <a:pt x="67413" y="4231"/>
                  </a:lnTo>
                  <a:cubicBezTo>
                    <a:pt x="67695" y="3949"/>
                    <a:pt x="67695" y="3949"/>
                    <a:pt x="67977" y="3949"/>
                  </a:cubicBezTo>
                  <a:cubicBezTo>
                    <a:pt x="68541" y="3949"/>
                    <a:pt x="69105" y="4513"/>
                    <a:pt x="69387" y="4795"/>
                  </a:cubicBezTo>
                  <a:cubicBezTo>
                    <a:pt x="69669" y="5077"/>
                    <a:pt x="69669" y="5359"/>
                    <a:pt x="69669" y="5359"/>
                  </a:cubicBezTo>
                  <a:cubicBezTo>
                    <a:pt x="69105" y="5923"/>
                    <a:pt x="69105" y="6487"/>
                    <a:pt x="68823" y="7052"/>
                  </a:cubicBezTo>
                  <a:lnTo>
                    <a:pt x="67977" y="9026"/>
                  </a:lnTo>
                  <a:lnTo>
                    <a:pt x="67977" y="9590"/>
                  </a:lnTo>
                  <a:cubicBezTo>
                    <a:pt x="67413" y="10436"/>
                    <a:pt x="67130" y="11282"/>
                    <a:pt x="67130" y="11847"/>
                  </a:cubicBezTo>
                  <a:cubicBezTo>
                    <a:pt x="66566" y="12693"/>
                    <a:pt x="66566" y="13539"/>
                    <a:pt x="66284" y="14103"/>
                  </a:cubicBezTo>
                  <a:cubicBezTo>
                    <a:pt x="65438" y="15231"/>
                    <a:pt x="65156" y="16077"/>
                    <a:pt x="64592" y="16924"/>
                  </a:cubicBezTo>
                  <a:cubicBezTo>
                    <a:pt x="64310" y="17488"/>
                    <a:pt x="64310" y="18052"/>
                    <a:pt x="63746" y="18616"/>
                  </a:cubicBezTo>
                  <a:cubicBezTo>
                    <a:pt x="63746" y="18898"/>
                    <a:pt x="63746" y="19180"/>
                    <a:pt x="63464" y="19744"/>
                  </a:cubicBezTo>
                  <a:cubicBezTo>
                    <a:pt x="63464" y="20026"/>
                    <a:pt x="63182" y="20308"/>
                    <a:pt x="63182" y="20873"/>
                  </a:cubicBezTo>
                  <a:cubicBezTo>
                    <a:pt x="63182" y="21437"/>
                    <a:pt x="62618" y="22001"/>
                    <a:pt x="62336" y="22283"/>
                  </a:cubicBezTo>
                  <a:cubicBezTo>
                    <a:pt x="62054" y="22847"/>
                    <a:pt x="62054" y="23129"/>
                    <a:pt x="62054" y="23693"/>
                  </a:cubicBezTo>
                  <a:lnTo>
                    <a:pt x="62054" y="23975"/>
                  </a:lnTo>
                  <a:cubicBezTo>
                    <a:pt x="62054" y="24539"/>
                    <a:pt x="61489" y="25103"/>
                    <a:pt x="61207" y="25668"/>
                  </a:cubicBezTo>
                  <a:cubicBezTo>
                    <a:pt x="61207" y="25950"/>
                    <a:pt x="60925" y="26514"/>
                    <a:pt x="60643" y="26796"/>
                  </a:cubicBezTo>
                  <a:lnTo>
                    <a:pt x="60643" y="27360"/>
                  </a:lnTo>
                  <a:cubicBezTo>
                    <a:pt x="60643" y="27642"/>
                    <a:pt x="60643" y="27642"/>
                    <a:pt x="60925" y="27924"/>
                  </a:cubicBezTo>
                  <a:cubicBezTo>
                    <a:pt x="60925" y="28206"/>
                    <a:pt x="61207" y="28206"/>
                    <a:pt x="61207" y="28488"/>
                  </a:cubicBezTo>
                  <a:cubicBezTo>
                    <a:pt x="61207" y="28770"/>
                    <a:pt x="60925" y="28770"/>
                    <a:pt x="60925" y="29052"/>
                  </a:cubicBezTo>
                  <a:cubicBezTo>
                    <a:pt x="60925" y="29616"/>
                    <a:pt x="60643" y="30181"/>
                    <a:pt x="60079" y="30463"/>
                  </a:cubicBezTo>
                  <a:lnTo>
                    <a:pt x="60079" y="30745"/>
                  </a:lnTo>
                  <a:lnTo>
                    <a:pt x="58669" y="32719"/>
                  </a:lnTo>
                  <a:cubicBezTo>
                    <a:pt x="58105" y="33283"/>
                    <a:pt x="57823" y="33847"/>
                    <a:pt x="57541" y="34411"/>
                  </a:cubicBezTo>
                  <a:lnTo>
                    <a:pt x="57258" y="34694"/>
                  </a:lnTo>
                  <a:cubicBezTo>
                    <a:pt x="57258" y="34694"/>
                    <a:pt x="57258" y="34976"/>
                    <a:pt x="57541" y="34976"/>
                  </a:cubicBezTo>
                  <a:cubicBezTo>
                    <a:pt x="57823" y="35258"/>
                    <a:pt x="58105" y="35540"/>
                    <a:pt x="58105" y="36104"/>
                  </a:cubicBezTo>
                  <a:lnTo>
                    <a:pt x="58105" y="36668"/>
                  </a:lnTo>
                  <a:cubicBezTo>
                    <a:pt x="58105" y="36950"/>
                    <a:pt x="57823" y="37514"/>
                    <a:pt x="57258" y="38078"/>
                  </a:cubicBezTo>
                  <a:cubicBezTo>
                    <a:pt x="57258" y="38360"/>
                    <a:pt x="56976" y="38924"/>
                    <a:pt x="56694" y="38924"/>
                  </a:cubicBezTo>
                  <a:cubicBezTo>
                    <a:pt x="56130" y="39207"/>
                    <a:pt x="55848" y="39489"/>
                    <a:pt x="55848" y="40335"/>
                  </a:cubicBezTo>
                  <a:cubicBezTo>
                    <a:pt x="55566" y="41181"/>
                    <a:pt x="55284" y="42309"/>
                    <a:pt x="55284" y="43437"/>
                  </a:cubicBezTo>
                  <a:cubicBezTo>
                    <a:pt x="55002" y="43720"/>
                    <a:pt x="55002" y="43720"/>
                    <a:pt x="55002" y="44002"/>
                  </a:cubicBezTo>
                  <a:cubicBezTo>
                    <a:pt x="54156" y="44284"/>
                    <a:pt x="54156" y="44848"/>
                    <a:pt x="54156" y="45412"/>
                  </a:cubicBezTo>
                  <a:lnTo>
                    <a:pt x="54156" y="45976"/>
                  </a:lnTo>
                  <a:cubicBezTo>
                    <a:pt x="54156" y="46258"/>
                    <a:pt x="53592" y="46540"/>
                    <a:pt x="53592" y="47104"/>
                  </a:cubicBezTo>
                  <a:lnTo>
                    <a:pt x="53592" y="48232"/>
                  </a:lnTo>
                  <a:cubicBezTo>
                    <a:pt x="53592" y="48797"/>
                    <a:pt x="53310" y="49079"/>
                    <a:pt x="53027" y="49643"/>
                  </a:cubicBezTo>
                  <a:cubicBezTo>
                    <a:pt x="52745" y="49925"/>
                    <a:pt x="52463" y="50207"/>
                    <a:pt x="52463" y="50771"/>
                  </a:cubicBezTo>
                  <a:cubicBezTo>
                    <a:pt x="52463" y="50771"/>
                    <a:pt x="52463" y="51053"/>
                    <a:pt x="52181" y="51053"/>
                  </a:cubicBezTo>
                  <a:cubicBezTo>
                    <a:pt x="51617" y="51617"/>
                    <a:pt x="51335" y="52463"/>
                    <a:pt x="51335" y="53310"/>
                  </a:cubicBezTo>
                  <a:cubicBezTo>
                    <a:pt x="50771" y="53874"/>
                    <a:pt x="50771" y="54438"/>
                    <a:pt x="50489" y="55002"/>
                  </a:cubicBezTo>
                  <a:cubicBezTo>
                    <a:pt x="50489" y="55284"/>
                    <a:pt x="50771" y="55566"/>
                    <a:pt x="50771" y="56130"/>
                  </a:cubicBezTo>
                  <a:lnTo>
                    <a:pt x="50771" y="56412"/>
                  </a:lnTo>
                  <a:lnTo>
                    <a:pt x="49361" y="57258"/>
                  </a:lnTo>
                  <a:cubicBezTo>
                    <a:pt x="49361" y="57541"/>
                    <a:pt x="49361" y="57541"/>
                    <a:pt x="49643" y="57823"/>
                  </a:cubicBezTo>
                  <a:cubicBezTo>
                    <a:pt x="49925" y="58105"/>
                    <a:pt x="50207" y="58105"/>
                    <a:pt x="50207" y="58387"/>
                  </a:cubicBezTo>
                  <a:lnTo>
                    <a:pt x="49925" y="58669"/>
                  </a:lnTo>
                  <a:cubicBezTo>
                    <a:pt x="49079" y="59233"/>
                    <a:pt x="48796" y="59797"/>
                    <a:pt x="48232" y="60643"/>
                  </a:cubicBezTo>
                  <a:cubicBezTo>
                    <a:pt x="48232" y="60925"/>
                    <a:pt x="48232" y="61489"/>
                    <a:pt x="47950" y="61771"/>
                  </a:cubicBezTo>
                  <a:cubicBezTo>
                    <a:pt x="47950" y="62053"/>
                    <a:pt x="47950" y="62618"/>
                    <a:pt x="48232" y="62336"/>
                  </a:cubicBezTo>
                  <a:lnTo>
                    <a:pt x="48796" y="62053"/>
                  </a:lnTo>
                  <a:cubicBezTo>
                    <a:pt x="48796" y="61207"/>
                    <a:pt x="49643" y="60925"/>
                    <a:pt x="50207" y="60079"/>
                  </a:cubicBezTo>
                  <a:cubicBezTo>
                    <a:pt x="50489" y="59233"/>
                    <a:pt x="51335" y="58951"/>
                    <a:pt x="51617" y="58105"/>
                  </a:cubicBezTo>
                  <a:cubicBezTo>
                    <a:pt x="52745" y="56976"/>
                    <a:pt x="53592" y="55848"/>
                    <a:pt x="54438" y="54720"/>
                  </a:cubicBezTo>
                  <a:cubicBezTo>
                    <a:pt x="54720" y="54156"/>
                    <a:pt x="55566" y="53592"/>
                    <a:pt x="55848" y="53310"/>
                  </a:cubicBezTo>
                  <a:cubicBezTo>
                    <a:pt x="57258" y="51335"/>
                    <a:pt x="58951" y="49643"/>
                    <a:pt x="60643" y="48232"/>
                  </a:cubicBezTo>
                  <a:cubicBezTo>
                    <a:pt x="61489" y="47668"/>
                    <a:pt x="62336" y="47104"/>
                    <a:pt x="62618" y="46258"/>
                  </a:cubicBezTo>
                  <a:lnTo>
                    <a:pt x="63464" y="45694"/>
                  </a:lnTo>
                  <a:cubicBezTo>
                    <a:pt x="64310" y="44566"/>
                    <a:pt x="65720" y="43720"/>
                    <a:pt x="66848" y="42591"/>
                  </a:cubicBezTo>
                  <a:cubicBezTo>
                    <a:pt x="68541" y="41181"/>
                    <a:pt x="70515" y="40053"/>
                    <a:pt x="72208" y="38924"/>
                  </a:cubicBezTo>
                  <a:lnTo>
                    <a:pt x="76721" y="36386"/>
                  </a:lnTo>
                  <a:cubicBezTo>
                    <a:pt x="77285" y="35822"/>
                    <a:pt x="78131" y="35822"/>
                    <a:pt x="78695" y="35540"/>
                  </a:cubicBezTo>
                  <a:cubicBezTo>
                    <a:pt x="80106" y="34976"/>
                    <a:pt x="82080" y="34129"/>
                    <a:pt x="83490" y="33847"/>
                  </a:cubicBezTo>
                  <a:cubicBezTo>
                    <a:pt x="84900" y="33283"/>
                    <a:pt x="86311" y="33001"/>
                    <a:pt x="87439" y="33001"/>
                  </a:cubicBezTo>
                  <a:lnTo>
                    <a:pt x="92798" y="33001"/>
                  </a:lnTo>
                  <a:cubicBezTo>
                    <a:pt x="93362" y="33283"/>
                    <a:pt x="93926" y="33283"/>
                    <a:pt x="94773" y="33283"/>
                  </a:cubicBezTo>
                  <a:cubicBezTo>
                    <a:pt x="95055" y="33283"/>
                    <a:pt x="95337" y="33283"/>
                    <a:pt x="95337" y="33565"/>
                  </a:cubicBezTo>
                  <a:cubicBezTo>
                    <a:pt x="95901" y="34129"/>
                    <a:pt x="96465" y="34129"/>
                    <a:pt x="97029" y="34129"/>
                  </a:cubicBezTo>
                  <a:cubicBezTo>
                    <a:pt x="99286" y="34694"/>
                    <a:pt x="101824" y="35540"/>
                    <a:pt x="104081" y="36668"/>
                  </a:cubicBezTo>
                  <a:cubicBezTo>
                    <a:pt x="104645" y="36668"/>
                    <a:pt x="104927" y="36950"/>
                    <a:pt x="105491" y="37232"/>
                  </a:cubicBezTo>
                  <a:lnTo>
                    <a:pt x="108594" y="40053"/>
                  </a:lnTo>
                  <a:cubicBezTo>
                    <a:pt x="109158" y="40335"/>
                    <a:pt x="109440" y="40617"/>
                    <a:pt x="109440" y="41181"/>
                  </a:cubicBezTo>
                  <a:lnTo>
                    <a:pt x="109722" y="41463"/>
                  </a:lnTo>
                  <a:cubicBezTo>
                    <a:pt x="110568" y="42027"/>
                    <a:pt x="111414" y="42873"/>
                    <a:pt x="111696" y="43720"/>
                  </a:cubicBezTo>
                  <a:cubicBezTo>
                    <a:pt x="111978" y="44002"/>
                    <a:pt x="111978" y="44284"/>
                    <a:pt x="112260" y="44284"/>
                  </a:cubicBezTo>
                  <a:cubicBezTo>
                    <a:pt x="112825" y="44284"/>
                    <a:pt x="113107" y="44566"/>
                    <a:pt x="113107" y="44848"/>
                  </a:cubicBezTo>
                  <a:cubicBezTo>
                    <a:pt x="113389" y="45412"/>
                    <a:pt x="113389" y="45694"/>
                    <a:pt x="113953" y="45976"/>
                  </a:cubicBezTo>
                  <a:cubicBezTo>
                    <a:pt x="113953" y="45976"/>
                    <a:pt x="114235" y="46258"/>
                    <a:pt x="114235" y="46540"/>
                  </a:cubicBezTo>
                  <a:lnTo>
                    <a:pt x="114235" y="47668"/>
                  </a:lnTo>
                  <a:cubicBezTo>
                    <a:pt x="114517" y="48232"/>
                    <a:pt x="114799" y="48515"/>
                    <a:pt x="115363" y="48515"/>
                  </a:cubicBezTo>
                  <a:lnTo>
                    <a:pt x="116209" y="48515"/>
                  </a:lnTo>
                  <a:cubicBezTo>
                    <a:pt x="116491" y="48515"/>
                    <a:pt x="116774" y="49079"/>
                    <a:pt x="116774" y="49361"/>
                  </a:cubicBezTo>
                  <a:lnTo>
                    <a:pt x="116774" y="49643"/>
                  </a:lnTo>
                  <a:cubicBezTo>
                    <a:pt x="116209" y="49925"/>
                    <a:pt x="115927" y="50489"/>
                    <a:pt x="115927" y="50771"/>
                  </a:cubicBezTo>
                  <a:cubicBezTo>
                    <a:pt x="115927" y="51053"/>
                    <a:pt x="116209" y="51053"/>
                    <a:pt x="116209" y="51335"/>
                  </a:cubicBezTo>
                  <a:cubicBezTo>
                    <a:pt x="116491" y="52181"/>
                    <a:pt x="116774" y="53028"/>
                    <a:pt x="116774" y="54156"/>
                  </a:cubicBezTo>
                  <a:cubicBezTo>
                    <a:pt x="116774" y="54156"/>
                    <a:pt x="116774" y="54438"/>
                    <a:pt x="117056" y="54720"/>
                  </a:cubicBezTo>
                  <a:cubicBezTo>
                    <a:pt x="117056" y="54720"/>
                    <a:pt x="117338" y="55002"/>
                    <a:pt x="117338" y="55284"/>
                  </a:cubicBezTo>
                  <a:cubicBezTo>
                    <a:pt x="117338" y="56694"/>
                    <a:pt x="117620" y="57823"/>
                    <a:pt x="118184" y="58951"/>
                  </a:cubicBezTo>
                  <a:cubicBezTo>
                    <a:pt x="118466" y="59515"/>
                    <a:pt x="118466" y="60079"/>
                    <a:pt x="118466" y="60361"/>
                  </a:cubicBezTo>
                  <a:lnTo>
                    <a:pt x="118466" y="61489"/>
                  </a:lnTo>
                  <a:cubicBezTo>
                    <a:pt x="118466" y="62053"/>
                    <a:pt x="118748" y="62900"/>
                    <a:pt x="118748" y="63746"/>
                  </a:cubicBezTo>
                  <a:cubicBezTo>
                    <a:pt x="118748" y="64028"/>
                    <a:pt x="119030" y="64310"/>
                    <a:pt x="119312" y="64310"/>
                  </a:cubicBezTo>
                  <a:lnTo>
                    <a:pt x="121850" y="63464"/>
                  </a:lnTo>
                  <a:cubicBezTo>
                    <a:pt x="122132" y="63182"/>
                    <a:pt x="122415" y="63182"/>
                    <a:pt x="122697" y="63182"/>
                  </a:cubicBezTo>
                  <a:lnTo>
                    <a:pt x="123543" y="63182"/>
                  </a:lnTo>
                  <a:cubicBezTo>
                    <a:pt x="123825" y="63182"/>
                    <a:pt x="123825" y="63182"/>
                    <a:pt x="124107" y="62900"/>
                  </a:cubicBezTo>
                  <a:cubicBezTo>
                    <a:pt x="125235" y="61489"/>
                    <a:pt x="126928" y="60925"/>
                    <a:pt x="128902" y="60079"/>
                  </a:cubicBezTo>
                  <a:lnTo>
                    <a:pt x="131159" y="59233"/>
                  </a:lnTo>
                  <a:lnTo>
                    <a:pt x="131441" y="59233"/>
                  </a:lnTo>
                  <a:cubicBezTo>
                    <a:pt x="132569" y="58387"/>
                    <a:pt x="133697" y="58105"/>
                    <a:pt x="134825" y="57823"/>
                  </a:cubicBezTo>
                  <a:cubicBezTo>
                    <a:pt x="135954" y="57258"/>
                    <a:pt x="137082" y="56976"/>
                    <a:pt x="137928" y="56976"/>
                  </a:cubicBezTo>
                  <a:cubicBezTo>
                    <a:pt x="138210" y="56976"/>
                    <a:pt x="138492" y="56976"/>
                    <a:pt x="138774" y="56694"/>
                  </a:cubicBezTo>
                  <a:cubicBezTo>
                    <a:pt x="139620" y="56412"/>
                    <a:pt x="147518" y="55566"/>
                    <a:pt x="147518" y="55566"/>
                  </a:cubicBezTo>
                  <a:lnTo>
                    <a:pt x="149775" y="55566"/>
                  </a:lnTo>
                  <a:lnTo>
                    <a:pt x="150339" y="55848"/>
                  </a:lnTo>
                  <a:cubicBezTo>
                    <a:pt x="150339" y="56130"/>
                    <a:pt x="150621" y="56412"/>
                    <a:pt x="150903" y="56412"/>
                  </a:cubicBezTo>
                  <a:lnTo>
                    <a:pt x="151185" y="56412"/>
                  </a:lnTo>
                  <a:cubicBezTo>
                    <a:pt x="152877" y="56130"/>
                    <a:pt x="154570" y="56130"/>
                    <a:pt x="155980" y="56130"/>
                  </a:cubicBezTo>
                  <a:lnTo>
                    <a:pt x="156826" y="56130"/>
                  </a:lnTo>
                  <a:cubicBezTo>
                    <a:pt x="157672" y="55848"/>
                    <a:pt x="158236" y="55848"/>
                    <a:pt x="158800" y="55848"/>
                  </a:cubicBezTo>
                  <a:cubicBezTo>
                    <a:pt x="159083" y="55848"/>
                    <a:pt x="159083" y="55848"/>
                    <a:pt x="159083" y="56130"/>
                  </a:cubicBezTo>
                  <a:lnTo>
                    <a:pt x="158800" y="56130"/>
                  </a:lnTo>
                  <a:lnTo>
                    <a:pt x="157954" y="56694"/>
                  </a:lnTo>
                  <a:lnTo>
                    <a:pt x="157954" y="56976"/>
                  </a:lnTo>
                  <a:lnTo>
                    <a:pt x="158236" y="57258"/>
                  </a:lnTo>
                  <a:cubicBezTo>
                    <a:pt x="159083" y="56976"/>
                    <a:pt x="159929" y="56976"/>
                    <a:pt x="160775" y="56976"/>
                  </a:cubicBezTo>
                  <a:cubicBezTo>
                    <a:pt x="161621" y="56976"/>
                    <a:pt x="162467" y="56976"/>
                    <a:pt x="163314" y="56694"/>
                  </a:cubicBezTo>
                  <a:lnTo>
                    <a:pt x="164442" y="56694"/>
                  </a:lnTo>
                  <a:cubicBezTo>
                    <a:pt x="164442" y="56976"/>
                    <a:pt x="164442" y="56976"/>
                    <a:pt x="164160" y="56976"/>
                  </a:cubicBezTo>
                  <a:cubicBezTo>
                    <a:pt x="163596" y="57258"/>
                    <a:pt x="163031" y="57541"/>
                    <a:pt x="162467" y="57541"/>
                  </a:cubicBezTo>
                  <a:cubicBezTo>
                    <a:pt x="162185" y="57541"/>
                    <a:pt x="162185" y="57823"/>
                    <a:pt x="162185" y="57823"/>
                  </a:cubicBezTo>
                  <a:lnTo>
                    <a:pt x="162467" y="58105"/>
                  </a:lnTo>
                  <a:cubicBezTo>
                    <a:pt x="162467" y="58387"/>
                    <a:pt x="162467" y="58387"/>
                    <a:pt x="162185" y="58669"/>
                  </a:cubicBezTo>
                  <a:lnTo>
                    <a:pt x="161903" y="58951"/>
                  </a:lnTo>
                  <a:lnTo>
                    <a:pt x="161903" y="59233"/>
                  </a:lnTo>
                  <a:cubicBezTo>
                    <a:pt x="161903" y="59515"/>
                    <a:pt x="162185" y="59515"/>
                    <a:pt x="162185" y="59515"/>
                  </a:cubicBezTo>
                  <a:lnTo>
                    <a:pt x="162467" y="59515"/>
                  </a:lnTo>
                  <a:lnTo>
                    <a:pt x="162185" y="59797"/>
                  </a:lnTo>
                  <a:cubicBezTo>
                    <a:pt x="161903" y="59797"/>
                    <a:pt x="161903" y="60079"/>
                    <a:pt x="161621" y="60079"/>
                  </a:cubicBezTo>
                  <a:cubicBezTo>
                    <a:pt x="161057" y="60079"/>
                    <a:pt x="160493" y="60361"/>
                    <a:pt x="160211" y="60925"/>
                  </a:cubicBezTo>
                  <a:lnTo>
                    <a:pt x="160211" y="61207"/>
                  </a:lnTo>
                  <a:cubicBezTo>
                    <a:pt x="160493" y="61489"/>
                    <a:pt x="160775" y="61489"/>
                    <a:pt x="160775" y="61771"/>
                  </a:cubicBezTo>
                  <a:cubicBezTo>
                    <a:pt x="160775" y="62053"/>
                    <a:pt x="160493" y="62336"/>
                    <a:pt x="160493" y="62618"/>
                  </a:cubicBezTo>
                  <a:lnTo>
                    <a:pt x="160493" y="62900"/>
                  </a:lnTo>
                  <a:lnTo>
                    <a:pt x="160211" y="63182"/>
                  </a:lnTo>
                  <a:cubicBezTo>
                    <a:pt x="159929" y="63464"/>
                    <a:pt x="159365" y="63464"/>
                    <a:pt x="159083" y="63464"/>
                  </a:cubicBezTo>
                  <a:cubicBezTo>
                    <a:pt x="157390" y="63746"/>
                    <a:pt x="155980" y="64028"/>
                    <a:pt x="154288" y="64028"/>
                  </a:cubicBezTo>
                  <a:lnTo>
                    <a:pt x="153159" y="64028"/>
                  </a:lnTo>
                  <a:cubicBezTo>
                    <a:pt x="152313" y="64310"/>
                    <a:pt x="151467" y="64310"/>
                    <a:pt x="150621" y="64874"/>
                  </a:cubicBezTo>
                  <a:cubicBezTo>
                    <a:pt x="150057" y="64874"/>
                    <a:pt x="149775" y="65156"/>
                    <a:pt x="149211" y="65156"/>
                  </a:cubicBezTo>
                  <a:cubicBezTo>
                    <a:pt x="148646" y="65156"/>
                    <a:pt x="148364" y="65156"/>
                    <a:pt x="147518" y="65438"/>
                  </a:cubicBezTo>
                  <a:cubicBezTo>
                    <a:pt x="148364" y="64592"/>
                    <a:pt x="137082" y="69387"/>
                    <a:pt x="137646" y="69105"/>
                  </a:cubicBezTo>
                  <a:lnTo>
                    <a:pt x="130877" y="70797"/>
                  </a:lnTo>
                  <a:cubicBezTo>
                    <a:pt x="130312" y="71079"/>
                    <a:pt x="129466" y="71079"/>
                    <a:pt x="128902" y="71644"/>
                  </a:cubicBezTo>
                  <a:cubicBezTo>
                    <a:pt x="126928" y="72490"/>
                    <a:pt x="124953" y="73618"/>
                    <a:pt x="123261" y="74746"/>
                  </a:cubicBezTo>
                  <a:lnTo>
                    <a:pt x="118466" y="77003"/>
                  </a:lnTo>
                  <a:cubicBezTo>
                    <a:pt x="118184" y="77285"/>
                    <a:pt x="118184" y="77849"/>
                    <a:pt x="117902" y="78413"/>
                  </a:cubicBezTo>
                  <a:lnTo>
                    <a:pt x="118184" y="78695"/>
                  </a:lnTo>
                  <a:cubicBezTo>
                    <a:pt x="118466" y="78695"/>
                    <a:pt x="118748" y="78977"/>
                    <a:pt x="118748" y="78977"/>
                  </a:cubicBezTo>
                  <a:cubicBezTo>
                    <a:pt x="119030" y="78977"/>
                    <a:pt x="119312" y="79541"/>
                    <a:pt x="119030" y="79541"/>
                  </a:cubicBezTo>
                  <a:cubicBezTo>
                    <a:pt x="118748" y="80105"/>
                    <a:pt x="118466" y="80105"/>
                    <a:pt x="118184" y="80387"/>
                  </a:cubicBezTo>
                  <a:lnTo>
                    <a:pt x="117902" y="80670"/>
                  </a:lnTo>
                  <a:cubicBezTo>
                    <a:pt x="117902" y="80670"/>
                    <a:pt x="117902" y="80952"/>
                    <a:pt x="118184" y="80952"/>
                  </a:cubicBezTo>
                  <a:lnTo>
                    <a:pt x="118466" y="81234"/>
                  </a:lnTo>
                  <a:cubicBezTo>
                    <a:pt x="118748" y="81234"/>
                    <a:pt x="118748" y="81516"/>
                    <a:pt x="118748" y="81798"/>
                  </a:cubicBezTo>
                  <a:cubicBezTo>
                    <a:pt x="118748" y="82080"/>
                    <a:pt x="118748" y="82080"/>
                    <a:pt x="118466" y="82362"/>
                  </a:cubicBezTo>
                  <a:lnTo>
                    <a:pt x="117902" y="82362"/>
                  </a:lnTo>
                  <a:cubicBezTo>
                    <a:pt x="117338" y="82644"/>
                    <a:pt x="117338" y="82644"/>
                    <a:pt x="117338" y="83208"/>
                  </a:cubicBezTo>
                  <a:lnTo>
                    <a:pt x="117338" y="83772"/>
                  </a:lnTo>
                  <a:cubicBezTo>
                    <a:pt x="117338" y="83772"/>
                    <a:pt x="117338" y="84054"/>
                    <a:pt x="117056" y="84054"/>
                  </a:cubicBezTo>
                  <a:cubicBezTo>
                    <a:pt x="116774" y="84336"/>
                    <a:pt x="116774" y="84618"/>
                    <a:pt x="116774" y="84618"/>
                  </a:cubicBezTo>
                  <a:cubicBezTo>
                    <a:pt x="116774" y="84900"/>
                    <a:pt x="116774" y="84900"/>
                    <a:pt x="117056" y="84900"/>
                  </a:cubicBezTo>
                  <a:cubicBezTo>
                    <a:pt x="117338" y="85183"/>
                    <a:pt x="117338" y="85183"/>
                    <a:pt x="117338" y="85465"/>
                  </a:cubicBezTo>
                  <a:lnTo>
                    <a:pt x="117338" y="85747"/>
                  </a:lnTo>
                  <a:lnTo>
                    <a:pt x="116491" y="86875"/>
                  </a:lnTo>
                  <a:lnTo>
                    <a:pt x="116491" y="87439"/>
                  </a:lnTo>
                  <a:cubicBezTo>
                    <a:pt x="116491" y="87721"/>
                    <a:pt x="116491" y="88003"/>
                    <a:pt x="116774" y="88285"/>
                  </a:cubicBezTo>
                  <a:lnTo>
                    <a:pt x="117338" y="88849"/>
                  </a:lnTo>
                  <a:cubicBezTo>
                    <a:pt x="117338" y="89131"/>
                    <a:pt x="117056" y="89413"/>
                    <a:pt x="117056" y="89696"/>
                  </a:cubicBezTo>
                  <a:cubicBezTo>
                    <a:pt x="116774" y="89978"/>
                    <a:pt x="116774" y="89978"/>
                    <a:pt x="116774" y="90260"/>
                  </a:cubicBezTo>
                  <a:cubicBezTo>
                    <a:pt x="116774" y="90542"/>
                    <a:pt x="117056" y="91106"/>
                    <a:pt x="117056" y="91388"/>
                  </a:cubicBezTo>
                  <a:cubicBezTo>
                    <a:pt x="116774" y="92516"/>
                    <a:pt x="116491" y="93644"/>
                    <a:pt x="115363" y="94491"/>
                  </a:cubicBezTo>
                  <a:cubicBezTo>
                    <a:pt x="115081" y="94491"/>
                    <a:pt x="115081" y="94773"/>
                    <a:pt x="115081" y="94773"/>
                  </a:cubicBezTo>
                  <a:cubicBezTo>
                    <a:pt x="115081" y="94773"/>
                    <a:pt x="115081" y="95055"/>
                    <a:pt x="115363" y="95055"/>
                  </a:cubicBezTo>
                  <a:cubicBezTo>
                    <a:pt x="115363" y="95337"/>
                    <a:pt x="115363" y="95619"/>
                    <a:pt x="115081" y="95901"/>
                  </a:cubicBezTo>
                  <a:cubicBezTo>
                    <a:pt x="114799" y="96183"/>
                    <a:pt x="114799" y="96465"/>
                    <a:pt x="114517" y="96465"/>
                  </a:cubicBezTo>
                  <a:lnTo>
                    <a:pt x="114235" y="96465"/>
                  </a:lnTo>
                  <a:cubicBezTo>
                    <a:pt x="113671" y="96465"/>
                    <a:pt x="113671" y="96747"/>
                    <a:pt x="113107" y="97311"/>
                  </a:cubicBezTo>
                  <a:lnTo>
                    <a:pt x="113107" y="98439"/>
                  </a:lnTo>
                  <a:lnTo>
                    <a:pt x="112260" y="99568"/>
                  </a:lnTo>
                  <a:lnTo>
                    <a:pt x="112260" y="99850"/>
                  </a:lnTo>
                  <a:cubicBezTo>
                    <a:pt x="112260" y="100132"/>
                    <a:pt x="112543" y="100132"/>
                    <a:pt x="112543" y="100414"/>
                  </a:cubicBezTo>
                  <a:cubicBezTo>
                    <a:pt x="112543" y="100696"/>
                    <a:pt x="112260" y="100696"/>
                    <a:pt x="111978" y="100978"/>
                  </a:cubicBezTo>
                  <a:lnTo>
                    <a:pt x="111978" y="101260"/>
                  </a:lnTo>
                  <a:cubicBezTo>
                    <a:pt x="111978" y="101542"/>
                    <a:pt x="112260" y="101542"/>
                    <a:pt x="112543" y="101542"/>
                  </a:cubicBezTo>
                  <a:cubicBezTo>
                    <a:pt x="112543" y="101824"/>
                    <a:pt x="112825" y="101542"/>
                    <a:pt x="112825" y="101260"/>
                  </a:cubicBezTo>
                  <a:cubicBezTo>
                    <a:pt x="113107" y="100978"/>
                    <a:pt x="113107" y="100696"/>
                    <a:pt x="113107" y="100414"/>
                  </a:cubicBezTo>
                  <a:cubicBezTo>
                    <a:pt x="113389" y="100414"/>
                    <a:pt x="113389" y="100132"/>
                    <a:pt x="113389" y="100132"/>
                  </a:cubicBezTo>
                  <a:cubicBezTo>
                    <a:pt x="113671" y="100414"/>
                    <a:pt x="113953" y="100414"/>
                    <a:pt x="113953" y="100696"/>
                  </a:cubicBezTo>
                  <a:cubicBezTo>
                    <a:pt x="113953" y="101260"/>
                    <a:pt x="113953" y="101824"/>
                    <a:pt x="113671" y="102106"/>
                  </a:cubicBezTo>
                  <a:cubicBezTo>
                    <a:pt x="113107" y="102670"/>
                    <a:pt x="113107" y="103517"/>
                    <a:pt x="112260" y="103799"/>
                  </a:cubicBezTo>
                  <a:cubicBezTo>
                    <a:pt x="112260" y="103799"/>
                    <a:pt x="112260" y="104081"/>
                    <a:pt x="111978" y="104081"/>
                  </a:cubicBezTo>
                  <a:cubicBezTo>
                    <a:pt x="111978" y="104363"/>
                    <a:pt x="112260" y="104363"/>
                    <a:pt x="112260" y="104645"/>
                  </a:cubicBezTo>
                  <a:cubicBezTo>
                    <a:pt x="112260" y="104645"/>
                    <a:pt x="112260" y="104927"/>
                    <a:pt x="111978" y="104927"/>
                  </a:cubicBezTo>
                  <a:cubicBezTo>
                    <a:pt x="111696" y="105209"/>
                    <a:pt x="111132" y="105491"/>
                    <a:pt x="111132" y="105773"/>
                  </a:cubicBezTo>
                  <a:cubicBezTo>
                    <a:pt x="110850" y="106055"/>
                    <a:pt x="110850" y="106055"/>
                    <a:pt x="110850" y="106337"/>
                  </a:cubicBezTo>
                  <a:cubicBezTo>
                    <a:pt x="110850" y="106619"/>
                    <a:pt x="110850" y="106619"/>
                    <a:pt x="111132" y="106901"/>
                  </a:cubicBezTo>
                  <a:lnTo>
                    <a:pt x="110568" y="106901"/>
                  </a:lnTo>
                  <a:cubicBezTo>
                    <a:pt x="110286" y="106901"/>
                    <a:pt x="110004" y="106901"/>
                    <a:pt x="110004" y="107183"/>
                  </a:cubicBezTo>
                  <a:cubicBezTo>
                    <a:pt x="109722" y="107183"/>
                    <a:pt x="109722" y="107465"/>
                    <a:pt x="109722" y="107465"/>
                  </a:cubicBezTo>
                  <a:cubicBezTo>
                    <a:pt x="109722" y="107747"/>
                    <a:pt x="110004" y="107747"/>
                    <a:pt x="110286" y="107747"/>
                  </a:cubicBezTo>
                  <a:cubicBezTo>
                    <a:pt x="110850" y="107747"/>
                    <a:pt x="111132" y="107183"/>
                    <a:pt x="111132" y="106901"/>
                  </a:cubicBezTo>
                  <a:lnTo>
                    <a:pt x="111414" y="107183"/>
                  </a:lnTo>
                  <a:cubicBezTo>
                    <a:pt x="111414" y="107747"/>
                    <a:pt x="111132" y="108312"/>
                    <a:pt x="111132" y="108876"/>
                  </a:cubicBezTo>
                  <a:lnTo>
                    <a:pt x="111132" y="109158"/>
                  </a:lnTo>
                  <a:cubicBezTo>
                    <a:pt x="111132" y="109440"/>
                    <a:pt x="110850" y="109440"/>
                    <a:pt x="110568" y="109722"/>
                  </a:cubicBezTo>
                  <a:cubicBezTo>
                    <a:pt x="110286" y="109722"/>
                    <a:pt x="110286" y="110004"/>
                    <a:pt x="110004" y="110286"/>
                  </a:cubicBezTo>
                  <a:cubicBezTo>
                    <a:pt x="110004" y="110568"/>
                    <a:pt x="109722" y="110850"/>
                    <a:pt x="109722" y="111132"/>
                  </a:cubicBezTo>
                  <a:cubicBezTo>
                    <a:pt x="109440" y="111414"/>
                    <a:pt x="109440" y="111696"/>
                    <a:pt x="108876" y="111978"/>
                  </a:cubicBezTo>
                  <a:lnTo>
                    <a:pt x="107747" y="111978"/>
                  </a:lnTo>
                  <a:cubicBezTo>
                    <a:pt x="108029" y="111696"/>
                    <a:pt x="107465" y="111978"/>
                    <a:pt x="107465" y="111978"/>
                  </a:cubicBezTo>
                  <a:lnTo>
                    <a:pt x="107747" y="112260"/>
                  </a:lnTo>
                  <a:lnTo>
                    <a:pt x="108876" y="112825"/>
                  </a:lnTo>
                  <a:lnTo>
                    <a:pt x="108876" y="113389"/>
                  </a:lnTo>
                  <a:lnTo>
                    <a:pt x="108029" y="114799"/>
                  </a:lnTo>
                  <a:cubicBezTo>
                    <a:pt x="107747" y="115081"/>
                    <a:pt x="107465" y="115363"/>
                    <a:pt x="107465" y="115645"/>
                  </a:cubicBezTo>
                  <a:lnTo>
                    <a:pt x="107465" y="115927"/>
                  </a:lnTo>
                  <a:cubicBezTo>
                    <a:pt x="107465" y="116209"/>
                    <a:pt x="107465" y="116491"/>
                    <a:pt x="107183" y="116491"/>
                  </a:cubicBezTo>
                  <a:lnTo>
                    <a:pt x="106337" y="117338"/>
                  </a:lnTo>
                  <a:cubicBezTo>
                    <a:pt x="106055" y="117338"/>
                    <a:pt x="106055" y="117620"/>
                    <a:pt x="106055" y="117620"/>
                  </a:cubicBezTo>
                  <a:cubicBezTo>
                    <a:pt x="106055" y="118748"/>
                    <a:pt x="105773" y="119594"/>
                    <a:pt x="104927" y="120158"/>
                  </a:cubicBezTo>
                  <a:cubicBezTo>
                    <a:pt x="104645" y="120722"/>
                    <a:pt x="104363" y="121286"/>
                    <a:pt x="103798" y="121851"/>
                  </a:cubicBezTo>
                  <a:cubicBezTo>
                    <a:pt x="103798" y="122415"/>
                    <a:pt x="103516" y="122697"/>
                    <a:pt x="103234" y="123261"/>
                  </a:cubicBezTo>
                  <a:cubicBezTo>
                    <a:pt x="102952" y="124107"/>
                    <a:pt x="102106" y="124953"/>
                    <a:pt x="101824" y="125799"/>
                  </a:cubicBezTo>
                  <a:cubicBezTo>
                    <a:pt x="101824" y="126081"/>
                    <a:pt x="101542" y="126363"/>
                    <a:pt x="101260" y="126646"/>
                  </a:cubicBezTo>
                  <a:cubicBezTo>
                    <a:pt x="100414" y="127492"/>
                    <a:pt x="99286" y="128620"/>
                    <a:pt x="99004" y="130030"/>
                  </a:cubicBezTo>
                  <a:lnTo>
                    <a:pt x="99004" y="130594"/>
                  </a:lnTo>
                  <a:cubicBezTo>
                    <a:pt x="98440" y="131159"/>
                    <a:pt x="97593" y="131723"/>
                    <a:pt x="97311" y="132287"/>
                  </a:cubicBezTo>
                  <a:cubicBezTo>
                    <a:pt x="96747" y="132851"/>
                    <a:pt x="95901" y="133415"/>
                    <a:pt x="95901" y="134261"/>
                  </a:cubicBezTo>
                  <a:cubicBezTo>
                    <a:pt x="95055" y="134825"/>
                    <a:pt x="94491" y="135672"/>
                    <a:pt x="93926" y="136518"/>
                  </a:cubicBezTo>
                  <a:cubicBezTo>
                    <a:pt x="93644" y="136800"/>
                    <a:pt x="93362" y="136800"/>
                    <a:pt x="93362" y="137082"/>
                  </a:cubicBezTo>
                  <a:lnTo>
                    <a:pt x="90542" y="140467"/>
                  </a:lnTo>
                  <a:cubicBezTo>
                    <a:pt x="90260" y="140749"/>
                    <a:pt x="89695" y="141031"/>
                    <a:pt x="89695" y="141313"/>
                  </a:cubicBezTo>
                  <a:cubicBezTo>
                    <a:pt x="88285" y="142441"/>
                    <a:pt x="87439" y="143569"/>
                    <a:pt x="86311" y="144980"/>
                  </a:cubicBezTo>
                  <a:lnTo>
                    <a:pt x="85464" y="145826"/>
                  </a:lnTo>
                  <a:cubicBezTo>
                    <a:pt x="84336" y="146390"/>
                    <a:pt x="83490" y="147236"/>
                    <a:pt x="82362" y="148082"/>
                  </a:cubicBezTo>
                  <a:lnTo>
                    <a:pt x="78977" y="151185"/>
                  </a:lnTo>
                  <a:cubicBezTo>
                    <a:pt x="78977" y="151185"/>
                    <a:pt x="78977" y="151467"/>
                    <a:pt x="78695" y="151749"/>
                  </a:cubicBezTo>
                  <a:lnTo>
                    <a:pt x="77567" y="152313"/>
                  </a:lnTo>
                  <a:cubicBezTo>
                    <a:pt x="77285" y="152595"/>
                    <a:pt x="77003" y="153159"/>
                    <a:pt x="76721" y="153159"/>
                  </a:cubicBezTo>
                  <a:cubicBezTo>
                    <a:pt x="75875" y="153441"/>
                    <a:pt x="75310" y="154006"/>
                    <a:pt x="75028" y="154288"/>
                  </a:cubicBezTo>
                  <a:lnTo>
                    <a:pt x="73054" y="155980"/>
                  </a:lnTo>
                  <a:cubicBezTo>
                    <a:pt x="72772" y="156544"/>
                    <a:pt x="72490" y="156544"/>
                    <a:pt x="71926" y="156826"/>
                  </a:cubicBezTo>
                  <a:cubicBezTo>
                    <a:pt x="71079" y="157108"/>
                    <a:pt x="70515" y="157672"/>
                    <a:pt x="70515" y="158519"/>
                  </a:cubicBezTo>
                  <a:cubicBezTo>
                    <a:pt x="70233" y="158801"/>
                    <a:pt x="69669" y="159083"/>
                    <a:pt x="69669" y="159647"/>
                  </a:cubicBezTo>
                  <a:cubicBezTo>
                    <a:pt x="69387" y="160211"/>
                    <a:pt x="68541" y="160493"/>
                    <a:pt x="68259" y="160775"/>
                  </a:cubicBezTo>
                  <a:cubicBezTo>
                    <a:pt x="67413" y="161057"/>
                    <a:pt x="66848" y="161339"/>
                    <a:pt x="66284" y="161339"/>
                  </a:cubicBezTo>
                  <a:lnTo>
                    <a:pt x="65720" y="161339"/>
                  </a:lnTo>
                  <a:lnTo>
                    <a:pt x="65720" y="161621"/>
                  </a:lnTo>
                  <a:cubicBezTo>
                    <a:pt x="65720" y="162185"/>
                    <a:pt x="65438" y="162185"/>
                    <a:pt x="64874" y="162185"/>
                  </a:cubicBezTo>
                  <a:cubicBezTo>
                    <a:pt x="64592" y="162185"/>
                    <a:pt x="64310" y="162467"/>
                    <a:pt x="64028" y="162749"/>
                  </a:cubicBezTo>
                  <a:cubicBezTo>
                    <a:pt x="63746" y="163314"/>
                    <a:pt x="62618" y="163596"/>
                    <a:pt x="62054" y="163596"/>
                  </a:cubicBezTo>
                  <a:lnTo>
                    <a:pt x="60643" y="163596"/>
                  </a:lnTo>
                  <a:cubicBezTo>
                    <a:pt x="60643" y="163878"/>
                    <a:pt x="60643" y="163878"/>
                    <a:pt x="60361" y="163878"/>
                  </a:cubicBezTo>
                  <a:cubicBezTo>
                    <a:pt x="60361" y="163878"/>
                    <a:pt x="60079" y="163878"/>
                    <a:pt x="60079" y="164160"/>
                  </a:cubicBezTo>
                  <a:lnTo>
                    <a:pt x="59797" y="164160"/>
                  </a:lnTo>
                  <a:cubicBezTo>
                    <a:pt x="60079" y="164160"/>
                    <a:pt x="60079" y="164442"/>
                    <a:pt x="60079" y="164442"/>
                  </a:cubicBezTo>
                  <a:lnTo>
                    <a:pt x="60361" y="164442"/>
                  </a:lnTo>
                  <a:cubicBezTo>
                    <a:pt x="60079" y="164442"/>
                    <a:pt x="60079" y="164724"/>
                    <a:pt x="60079" y="165006"/>
                  </a:cubicBezTo>
                  <a:cubicBezTo>
                    <a:pt x="58951" y="165288"/>
                    <a:pt x="58105" y="165570"/>
                    <a:pt x="57258" y="165570"/>
                  </a:cubicBezTo>
                  <a:lnTo>
                    <a:pt x="56130" y="165570"/>
                  </a:lnTo>
                  <a:lnTo>
                    <a:pt x="53874" y="165006"/>
                  </a:lnTo>
                  <a:cubicBezTo>
                    <a:pt x="53592" y="165006"/>
                    <a:pt x="53027" y="165006"/>
                    <a:pt x="52745" y="165288"/>
                  </a:cubicBezTo>
                  <a:cubicBezTo>
                    <a:pt x="52463" y="165852"/>
                    <a:pt x="51899" y="165852"/>
                    <a:pt x="51335" y="165852"/>
                  </a:cubicBezTo>
                  <a:lnTo>
                    <a:pt x="49361" y="165852"/>
                  </a:lnTo>
                  <a:cubicBezTo>
                    <a:pt x="48796" y="166416"/>
                    <a:pt x="47668" y="166416"/>
                    <a:pt x="47104" y="166698"/>
                  </a:cubicBezTo>
                  <a:cubicBezTo>
                    <a:pt x="45976" y="167262"/>
                    <a:pt x="44848" y="167544"/>
                    <a:pt x="44002" y="168109"/>
                  </a:cubicBezTo>
                  <a:cubicBezTo>
                    <a:pt x="43155" y="168109"/>
                    <a:pt x="42591" y="168391"/>
                    <a:pt x="41745" y="168391"/>
                  </a:cubicBezTo>
                  <a:cubicBezTo>
                    <a:pt x="40899" y="168391"/>
                    <a:pt x="40053" y="168109"/>
                    <a:pt x="39489" y="167544"/>
                  </a:cubicBezTo>
                  <a:cubicBezTo>
                    <a:pt x="39489" y="167262"/>
                    <a:pt x="39207" y="167262"/>
                    <a:pt x="38924" y="167262"/>
                  </a:cubicBezTo>
                  <a:lnTo>
                    <a:pt x="38078" y="167262"/>
                  </a:lnTo>
                  <a:cubicBezTo>
                    <a:pt x="37232" y="167262"/>
                    <a:pt x="37232" y="166698"/>
                    <a:pt x="37232" y="165852"/>
                  </a:cubicBezTo>
                  <a:cubicBezTo>
                    <a:pt x="37232" y="165570"/>
                    <a:pt x="37514" y="165006"/>
                    <a:pt x="37514" y="164724"/>
                  </a:cubicBezTo>
                  <a:cubicBezTo>
                    <a:pt x="37796" y="164160"/>
                    <a:pt x="37796" y="163596"/>
                    <a:pt x="37796" y="163031"/>
                  </a:cubicBezTo>
                  <a:lnTo>
                    <a:pt x="37796" y="160775"/>
                  </a:lnTo>
                  <a:cubicBezTo>
                    <a:pt x="37796" y="160211"/>
                    <a:pt x="38078" y="159365"/>
                    <a:pt x="38078" y="158801"/>
                  </a:cubicBezTo>
                  <a:lnTo>
                    <a:pt x="38078" y="158519"/>
                  </a:lnTo>
                  <a:cubicBezTo>
                    <a:pt x="38078" y="157954"/>
                    <a:pt x="38360" y="157108"/>
                    <a:pt x="38360" y="156544"/>
                  </a:cubicBezTo>
                  <a:cubicBezTo>
                    <a:pt x="38360" y="156262"/>
                    <a:pt x="38642" y="155980"/>
                    <a:pt x="38642" y="155698"/>
                  </a:cubicBezTo>
                  <a:cubicBezTo>
                    <a:pt x="39207" y="155134"/>
                    <a:pt x="39489" y="154288"/>
                    <a:pt x="39489" y="153441"/>
                  </a:cubicBezTo>
                  <a:cubicBezTo>
                    <a:pt x="39489" y="153159"/>
                    <a:pt x="39771" y="152877"/>
                    <a:pt x="40053" y="152877"/>
                  </a:cubicBezTo>
                  <a:lnTo>
                    <a:pt x="40053" y="152313"/>
                  </a:lnTo>
                  <a:cubicBezTo>
                    <a:pt x="39771" y="152031"/>
                    <a:pt x="39489" y="151467"/>
                    <a:pt x="39489" y="151185"/>
                  </a:cubicBezTo>
                  <a:cubicBezTo>
                    <a:pt x="39489" y="150903"/>
                    <a:pt x="39771" y="150903"/>
                    <a:pt x="39771" y="150621"/>
                  </a:cubicBezTo>
                  <a:lnTo>
                    <a:pt x="40335" y="149210"/>
                  </a:lnTo>
                  <a:cubicBezTo>
                    <a:pt x="40335" y="149210"/>
                    <a:pt x="40335" y="148928"/>
                    <a:pt x="40617" y="148928"/>
                  </a:cubicBezTo>
                  <a:cubicBezTo>
                    <a:pt x="41463" y="148928"/>
                    <a:pt x="41181" y="148082"/>
                    <a:pt x="41463" y="147518"/>
                  </a:cubicBezTo>
                  <a:cubicBezTo>
                    <a:pt x="41745" y="147236"/>
                    <a:pt x="42027" y="147236"/>
                    <a:pt x="42027" y="146954"/>
                  </a:cubicBezTo>
                  <a:lnTo>
                    <a:pt x="41745" y="146672"/>
                  </a:lnTo>
                  <a:cubicBezTo>
                    <a:pt x="41181" y="146390"/>
                    <a:pt x="41181" y="146108"/>
                    <a:pt x="41181" y="145826"/>
                  </a:cubicBezTo>
                  <a:cubicBezTo>
                    <a:pt x="41181" y="145544"/>
                    <a:pt x="41181" y="145262"/>
                    <a:pt x="41463" y="144980"/>
                  </a:cubicBezTo>
                  <a:cubicBezTo>
                    <a:pt x="41745" y="144415"/>
                    <a:pt x="42309" y="144133"/>
                    <a:pt x="42309" y="143569"/>
                  </a:cubicBezTo>
                  <a:cubicBezTo>
                    <a:pt x="42309" y="143005"/>
                    <a:pt x="42591" y="143005"/>
                    <a:pt x="43155" y="142723"/>
                  </a:cubicBezTo>
                  <a:lnTo>
                    <a:pt x="44002" y="142723"/>
                  </a:lnTo>
                  <a:cubicBezTo>
                    <a:pt x="44284" y="142441"/>
                    <a:pt x="44284" y="142159"/>
                    <a:pt x="44284" y="141877"/>
                  </a:cubicBezTo>
                  <a:cubicBezTo>
                    <a:pt x="44284" y="141595"/>
                    <a:pt x="44002" y="141313"/>
                    <a:pt x="43720" y="141313"/>
                  </a:cubicBezTo>
                  <a:lnTo>
                    <a:pt x="43438" y="141313"/>
                  </a:lnTo>
                  <a:cubicBezTo>
                    <a:pt x="43155" y="141313"/>
                    <a:pt x="43155" y="141313"/>
                    <a:pt x="43155" y="141031"/>
                  </a:cubicBezTo>
                  <a:cubicBezTo>
                    <a:pt x="43155" y="140749"/>
                    <a:pt x="43155" y="140749"/>
                    <a:pt x="43438" y="140467"/>
                  </a:cubicBezTo>
                  <a:cubicBezTo>
                    <a:pt x="43438" y="140467"/>
                    <a:pt x="43438" y="140185"/>
                    <a:pt x="43720" y="140185"/>
                  </a:cubicBezTo>
                  <a:lnTo>
                    <a:pt x="44848" y="138774"/>
                  </a:lnTo>
                  <a:cubicBezTo>
                    <a:pt x="45130" y="138774"/>
                    <a:pt x="45412" y="138774"/>
                    <a:pt x="45412" y="139056"/>
                  </a:cubicBezTo>
                  <a:lnTo>
                    <a:pt x="45694" y="139056"/>
                  </a:lnTo>
                  <a:cubicBezTo>
                    <a:pt x="45694" y="139902"/>
                    <a:pt x="46258" y="139902"/>
                    <a:pt x="46822" y="140185"/>
                  </a:cubicBezTo>
                  <a:cubicBezTo>
                    <a:pt x="47104" y="140185"/>
                    <a:pt x="47386" y="140185"/>
                    <a:pt x="47386" y="139620"/>
                  </a:cubicBezTo>
                  <a:lnTo>
                    <a:pt x="47668" y="139338"/>
                  </a:lnTo>
                  <a:cubicBezTo>
                    <a:pt x="47668" y="139056"/>
                    <a:pt x="47668" y="139056"/>
                    <a:pt x="47386" y="139056"/>
                  </a:cubicBezTo>
                  <a:cubicBezTo>
                    <a:pt x="46540" y="138774"/>
                    <a:pt x="45976" y="138774"/>
                    <a:pt x="45976" y="138492"/>
                  </a:cubicBezTo>
                  <a:cubicBezTo>
                    <a:pt x="45976" y="138210"/>
                    <a:pt x="46258" y="137928"/>
                    <a:pt x="46258" y="137646"/>
                  </a:cubicBezTo>
                  <a:cubicBezTo>
                    <a:pt x="46258" y="137082"/>
                    <a:pt x="46540" y="136518"/>
                    <a:pt x="46540" y="135954"/>
                  </a:cubicBezTo>
                  <a:cubicBezTo>
                    <a:pt x="47104" y="135389"/>
                    <a:pt x="46822" y="134543"/>
                    <a:pt x="47668" y="134261"/>
                  </a:cubicBezTo>
                  <a:cubicBezTo>
                    <a:pt x="48232" y="133697"/>
                    <a:pt x="47950" y="132851"/>
                    <a:pt x="48232" y="132287"/>
                  </a:cubicBezTo>
                  <a:cubicBezTo>
                    <a:pt x="48514" y="131723"/>
                    <a:pt x="49079" y="131441"/>
                    <a:pt x="49361" y="130594"/>
                  </a:cubicBezTo>
                  <a:cubicBezTo>
                    <a:pt x="49361" y="130312"/>
                    <a:pt x="49643" y="130312"/>
                    <a:pt x="49925" y="130030"/>
                  </a:cubicBezTo>
                  <a:cubicBezTo>
                    <a:pt x="50207" y="129748"/>
                    <a:pt x="50489" y="129466"/>
                    <a:pt x="50489" y="129184"/>
                  </a:cubicBezTo>
                  <a:cubicBezTo>
                    <a:pt x="50489" y="128902"/>
                    <a:pt x="50771" y="128902"/>
                    <a:pt x="50771" y="128620"/>
                  </a:cubicBezTo>
                  <a:cubicBezTo>
                    <a:pt x="50771" y="128338"/>
                    <a:pt x="50489" y="128056"/>
                    <a:pt x="50489" y="127774"/>
                  </a:cubicBezTo>
                  <a:lnTo>
                    <a:pt x="50489" y="127492"/>
                  </a:lnTo>
                  <a:cubicBezTo>
                    <a:pt x="50489" y="127210"/>
                    <a:pt x="50489" y="127210"/>
                    <a:pt x="50771" y="127210"/>
                  </a:cubicBezTo>
                  <a:lnTo>
                    <a:pt x="51899" y="127210"/>
                  </a:lnTo>
                  <a:cubicBezTo>
                    <a:pt x="52181" y="127210"/>
                    <a:pt x="52463" y="126646"/>
                    <a:pt x="52463" y="126363"/>
                  </a:cubicBezTo>
                  <a:cubicBezTo>
                    <a:pt x="52181" y="126081"/>
                    <a:pt x="52181" y="126081"/>
                    <a:pt x="52181" y="125799"/>
                  </a:cubicBezTo>
                  <a:cubicBezTo>
                    <a:pt x="52181" y="125517"/>
                    <a:pt x="52181" y="125517"/>
                    <a:pt x="52463" y="125235"/>
                  </a:cubicBezTo>
                  <a:lnTo>
                    <a:pt x="53592" y="124107"/>
                  </a:lnTo>
                  <a:cubicBezTo>
                    <a:pt x="53592" y="124107"/>
                    <a:pt x="53874" y="124107"/>
                    <a:pt x="53874" y="123825"/>
                  </a:cubicBezTo>
                  <a:cubicBezTo>
                    <a:pt x="53874" y="123825"/>
                    <a:pt x="53592" y="123543"/>
                    <a:pt x="53592" y="123261"/>
                  </a:cubicBezTo>
                  <a:cubicBezTo>
                    <a:pt x="53592" y="122979"/>
                    <a:pt x="53592" y="122697"/>
                    <a:pt x="53874" y="122697"/>
                  </a:cubicBezTo>
                  <a:cubicBezTo>
                    <a:pt x="54156" y="122697"/>
                    <a:pt x="54720" y="122697"/>
                    <a:pt x="55002" y="122415"/>
                  </a:cubicBezTo>
                  <a:lnTo>
                    <a:pt x="55284" y="122415"/>
                  </a:lnTo>
                  <a:lnTo>
                    <a:pt x="55284" y="122133"/>
                  </a:lnTo>
                  <a:cubicBezTo>
                    <a:pt x="55284" y="121568"/>
                    <a:pt x="55566" y="121286"/>
                    <a:pt x="55848" y="121004"/>
                  </a:cubicBezTo>
                  <a:cubicBezTo>
                    <a:pt x="56412" y="120440"/>
                    <a:pt x="56976" y="119594"/>
                    <a:pt x="57823" y="119030"/>
                  </a:cubicBezTo>
                  <a:cubicBezTo>
                    <a:pt x="57823" y="118748"/>
                    <a:pt x="57823" y="118466"/>
                    <a:pt x="58105" y="118184"/>
                  </a:cubicBezTo>
                  <a:cubicBezTo>
                    <a:pt x="58105" y="117902"/>
                    <a:pt x="57823" y="117620"/>
                    <a:pt x="57823" y="117620"/>
                  </a:cubicBezTo>
                  <a:cubicBezTo>
                    <a:pt x="57823" y="117338"/>
                    <a:pt x="58105" y="117338"/>
                    <a:pt x="58669" y="117055"/>
                  </a:cubicBezTo>
                  <a:lnTo>
                    <a:pt x="58951" y="116773"/>
                  </a:lnTo>
                  <a:cubicBezTo>
                    <a:pt x="59233" y="116773"/>
                    <a:pt x="59515" y="116491"/>
                    <a:pt x="59797" y="116209"/>
                  </a:cubicBezTo>
                  <a:cubicBezTo>
                    <a:pt x="59797" y="115645"/>
                    <a:pt x="60079" y="115363"/>
                    <a:pt x="60361" y="115363"/>
                  </a:cubicBezTo>
                  <a:cubicBezTo>
                    <a:pt x="61207" y="114799"/>
                    <a:pt x="61772" y="114235"/>
                    <a:pt x="62054" y="113671"/>
                  </a:cubicBezTo>
                  <a:cubicBezTo>
                    <a:pt x="62618" y="113107"/>
                    <a:pt x="63182" y="112542"/>
                    <a:pt x="63464" y="111696"/>
                  </a:cubicBezTo>
                  <a:lnTo>
                    <a:pt x="64310" y="110004"/>
                  </a:lnTo>
                  <a:cubicBezTo>
                    <a:pt x="64310" y="109722"/>
                    <a:pt x="64592" y="109722"/>
                    <a:pt x="64592" y="109722"/>
                  </a:cubicBezTo>
                  <a:cubicBezTo>
                    <a:pt x="65156" y="109440"/>
                    <a:pt x="65438" y="109158"/>
                    <a:pt x="65720" y="108312"/>
                  </a:cubicBezTo>
                  <a:cubicBezTo>
                    <a:pt x="65720" y="108030"/>
                    <a:pt x="66284" y="107465"/>
                    <a:pt x="66566" y="107465"/>
                  </a:cubicBezTo>
                  <a:cubicBezTo>
                    <a:pt x="67130" y="106901"/>
                    <a:pt x="67695" y="106619"/>
                    <a:pt x="67977" y="105773"/>
                  </a:cubicBezTo>
                  <a:cubicBezTo>
                    <a:pt x="68259" y="105209"/>
                    <a:pt x="68823" y="104927"/>
                    <a:pt x="69105" y="104081"/>
                  </a:cubicBezTo>
                  <a:lnTo>
                    <a:pt x="69669" y="103517"/>
                  </a:lnTo>
                  <a:cubicBezTo>
                    <a:pt x="69951" y="103517"/>
                    <a:pt x="70233" y="103234"/>
                    <a:pt x="70515" y="103234"/>
                  </a:cubicBezTo>
                  <a:cubicBezTo>
                    <a:pt x="70797" y="103234"/>
                    <a:pt x="71079" y="102952"/>
                    <a:pt x="71079" y="102670"/>
                  </a:cubicBezTo>
                  <a:cubicBezTo>
                    <a:pt x="71361" y="101824"/>
                    <a:pt x="71926" y="100978"/>
                    <a:pt x="72490" y="100414"/>
                  </a:cubicBezTo>
                  <a:cubicBezTo>
                    <a:pt x="73336" y="99850"/>
                    <a:pt x="73900" y="99004"/>
                    <a:pt x="74464" y="98157"/>
                  </a:cubicBezTo>
                  <a:cubicBezTo>
                    <a:pt x="74746" y="97593"/>
                    <a:pt x="75592" y="97029"/>
                    <a:pt x="75592" y="96183"/>
                  </a:cubicBezTo>
                  <a:lnTo>
                    <a:pt x="77003" y="95337"/>
                  </a:lnTo>
                  <a:cubicBezTo>
                    <a:pt x="77567" y="95055"/>
                    <a:pt x="77849" y="94491"/>
                    <a:pt x="78131" y="93926"/>
                  </a:cubicBezTo>
                  <a:cubicBezTo>
                    <a:pt x="78413" y="93644"/>
                    <a:pt x="78413" y="93362"/>
                    <a:pt x="78977" y="93362"/>
                  </a:cubicBezTo>
                  <a:cubicBezTo>
                    <a:pt x="79259" y="93362"/>
                    <a:pt x="79823" y="93080"/>
                    <a:pt x="79823" y="92798"/>
                  </a:cubicBezTo>
                  <a:lnTo>
                    <a:pt x="80952" y="91952"/>
                  </a:lnTo>
                  <a:cubicBezTo>
                    <a:pt x="80952" y="91670"/>
                    <a:pt x="81234" y="91670"/>
                    <a:pt x="81234" y="91388"/>
                  </a:cubicBezTo>
                  <a:cubicBezTo>
                    <a:pt x="81234" y="90542"/>
                    <a:pt x="81798" y="90260"/>
                    <a:pt x="82362" y="89696"/>
                  </a:cubicBezTo>
                  <a:cubicBezTo>
                    <a:pt x="83208" y="89131"/>
                    <a:pt x="84054" y="88567"/>
                    <a:pt x="84054" y="87439"/>
                  </a:cubicBezTo>
                  <a:lnTo>
                    <a:pt x="84336" y="87157"/>
                  </a:lnTo>
                  <a:cubicBezTo>
                    <a:pt x="85182" y="86875"/>
                    <a:pt x="85464" y="86311"/>
                    <a:pt x="86311" y="86029"/>
                  </a:cubicBezTo>
                  <a:lnTo>
                    <a:pt x="88003" y="84900"/>
                  </a:lnTo>
                  <a:cubicBezTo>
                    <a:pt x="88849" y="84336"/>
                    <a:pt x="89413" y="83772"/>
                    <a:pt x="89978" y="82926"/>
                  </a:cubicBezTo>
                  <a:lnTo>
                    <a:pt x="95619" y="78977"/>
                  </a:lnTo>
                  <a:cubicBezTo>
                    <a:pt x="96183" y="78413"/>
                    <a:pt x="96747" y="77849"/>
                    <a:pt x="97593" y="77567"/>
                  </a:cubicBezTo>
                  <a:lnTo>
                    <a:pt x="98722" y="76721"/>
                  </a:lnTo>
                  <a:cubicBezTo>
                    <a:pt x="99004" y="76439"/>
                    <a:pt x="99568" y="75875"/>
                    <a:pt x="99850" y="75875"/>
                  </a:cubicBezTo>
                  <a:cubicBezTo>
                    <a:pt x="100696" y="75592"/>
                    <a:pt x="100696" y="75028"/>
                    <a:pt x="100978" y="74464"/>
                  </a:cubicBezTo>
                  <a:cubicBezTo>
                    <a:pt x="100978" y="73618"/>
                    <a:pt x="101260" y="72490"/>
                    <a:pt x="101260" y="71644"/>
                  </a:cubicBezTo>
                  <a:lnTo>
                    <a:pt x="101260" y="71079"/>
                  </a:lnTo>
                  <a:cubicBezTo>
                    <a:pt x="100978" y="71079"/>
                    <a:pt x="100978" y="70797"/>
                    <a:pt x="100978" y="70515"/>
                  </a:cubicBezTo>
                  <a:cubicBezTo>
                    <a:pt x="100978" y="70233"/>
                    <a:pt x="100978" y="70233"/>
                    <a:pt x="101260" y="69951"/>
                  </a:cubicBezTo>
                  <a:cubicBezTo>
                    <a:pt x="101260" y="69387"/>
                    <a:pt x="101260" y="68823"/>
                    <a:pt x="100978" y="68259"/>
                  </a:cubicBezTo>
                  <a:lnTo>
                    <a:pt x="100978" y="65438"/>
                  </a:lnTo>
                  <a:cubicBezTo>
                    <a:pt x="100978" y="64874"/>
                    <a:pt x="100696" y="64028"/>
                    <a:pt x="100696" y="63464"/>
                  </a:cubicBezTo>
                  <a:lnTo>
                    <a:pt x="100696" y="62053"/>
                  </a:lnTo>
                  <a:cubicBezTo>
                    <a:pt x="100414" y="61771"/>
                    <a:pt x="100132" y="61207"/>
                    <a:pt x="100132" y="60925"/>
                  </a:cubicBezTo>
                  <a:cubicBezTo>
                    <a:pt x="100132" y="60643"/>
                    <a:pt x="100132" y="60643"/>
                    <a:pt x="100414" y="60361"/>
                  </a:cubicBezTo>
                  <a:cubicBezTo>
                    <a:pt x="100414" y="59797"/>
                    <a:pt x="100132" y="59233"/>
                    <a:pt x="100132" y="58669"/>
                  </a:cubicBezTo>
                  <a:cubicBezTo>
                    <a:pt x="99568" y="57823"/>
                    <a:pt x="99286" y="56976"/>
                    <a:pt x="99004" y="55848"/>
                  </a:cubicBezTo>
                  <a:cubicBezTo>
                    <a:pt x="98722" y="55566"/>
                    <a:pt x="98722" y="55284"/>
                    <a:pt x="98722" y="55002"/>
                  </a:cubicBezTo>
                  <a:lnTo>
                    <a:pt x="98722" y="54438"/>
                  </a:lnTo>
                  <a:cubicBezTo>
                    <a:pt x="98722" y="54156"/>
                    <a:pt x="98722" y="53874"/>
                    <a:pt x="98440" y="53592"/>
                  </a:cubicBezTo>
                  <a:cubicBezTo>
                    <a:pt x="97875" y="52745"/>
                    <a:pt x="97311" y="51899"/>
                    <a:pt x="96465" y="51053"/>
                  </a:cubicBezTo>
                  <a:cubicBezTo>
                    <a:pt x="96465" y="50771"/>
                    <a:pt x="96747" y="50489"/>
                    <a:pt x="96747" y="50207"/>
                  </a:cubicBezTo>
                  <a:cubicBezTo>
                    <a:pt x="96747" y="49643"/>
                    <a:pt x="96183" y="49361"/>
                    <a:pt x="95619" y="49361"/>
                  </a:cubicBezTo>
                  <a:lnTo>
                    <a:pt x="94773" y="48797"/>
                  </a:lnTo>
                  <a:cubicBezTo>
                    <a:pt x="93926" y="47668"/>
                    <a:pt x="93080" y="47104"/>
                    <a:pt x="92234" y="46258"/>
                  </a:cubicBezTo>
                  <a:cubicBezTo>
                    <a:pt x="91952" y="46258"/>
                    <a:pt x="91670" y="45976"/>
                    <a:pt x="91388" y="45976"/>
                  </a:cubicBezTo>
                  <a:cubicBezTo>
                    <a:pt x="89413" y="44848"/>
                    <a:pt x="89413" y="44848"/>
                    <a:pt x="87157" y="44848"/>
                  </a:cubicBezTo>
                  <a:cubicBezTo>
                    <a:pt x="86593" y="45130"/>
                    <a:pt x="86029" y="45130"/>
                    <a:pt x="85747" y="45412"/>
                  </a:cubicBezTo>
                  <a:lnTo>
                    <a:pt x="85464" y="45412"/>
                  </a:lnTo>
                  <a:cubicBezTo>
                    <a:pt x="83772" y="45694"/>
                    <a:pt x="82644" y="47104"/>
                    <a:pt x="80952" y="47950"/>
                  </a:cubicBezTo>
                  <a:cubicBezTo>
                    <a:pt x="80388" y="48232"/>
                    <a:pt x="80106" y="48515"/>
                    <a:pt x="79823" y="48515"/>
                  </a:cubicBezTo>
                  <a:cubicBezTo>
                    <a:pt x="79259" y="49079"/>
                    <a:pt x="78695" y="49361"/>
                    <a:pt x="77849" y="49361"/>
                  </a:cubicBezTo>
                  <a:lnTo>
                    <a:pt x="77285" y="49361"/>
                  </a:lnTo>
                  <a:cubicBezTo>
                    <a:pt x="77285" y="49361"/>
                    <a:pt x="77567" y="49643"/>
                    <a:pt x="77567" y="49925"/>
                  </a:cubicBezTo>
                  <a:cubicBezTo>
                    <a:pt x="77567" y="50207"/>
                    <a:pt x="77567" y="50489"/>
                    <a:pt x="77285" y="50489"/>
                  </a:cubicBezTo>
                  <a:cubicBezTo>
                    <a:pt x="76721" y="51053"/>
                    <a:pt x="76439" y="51617"/>
                    <a:pt x="76157" y="52181"/>
                  </a:cubicBezTo>
                  <a:lnTo>
                    <a:pt x="75592" y="52745"/>
                  </a:lnTo>
                  <a:lnTo>
                    <a:pt x="74746" y="52745"/>
                  </a:lnTo>
                  <a:lnTo>
                    <a:pt x="74746" y="53310"/>
                  </a:lnTo>
                  <a:cubicBezTo>
                    <a:pt x="74746" y="53592"/>
                    <a:pt x="74746" y="53592"/>
                    <a:pt x="74182" y="53874"/>
                  </a:cubicBezTo>
                  <a:lnTo>
                    <a:pt x="72772" y="55848"/>
                  </a:lnTo>
                  <a:cubicBezTo>
                    <a:pt x="72490" y="56130"/>
                    <a:pt x="72208" y="56130"/>
                    <a:pt x="71926" y="56130"/>
                  </a:cubicBezTo>
                  <a:lnTo>
                    <a:pt x="71361" y="56130"/>
                  </a:lnTo>
                  <a:cubicBezTo>
                    <a:pt x="71079" y="56130"/>
                    <a:pt x="70797" y="56412"/>
                    <a:pt x="70797" y="56694"/>
                  </a:cubicBezTo>
                  <a:cubicBezTo>
                    <a:pt x="70797" y="56976"/>
                    <a:pt x="70797" y="56976"/>
                    <a:pt x="70515" y="57258"/>
                  </a:cubicBezTo>
                  <a:lnTo>
                    <a:pt x="70515" y="57823"/>
                  </a:lnTo>
                  <a:cubicBezTo>
                    <a:pt x="70515" y="58387"/>
                    <a:pt x="70233" y="58387"/>
                    <a:pt x="69669" y="58387"/>
                  </a:cubicBezTo>
                  <a:lnTo>
                    <a:pt x="69105" y="58387"/>
                  </a:lnTo>
                  <a:cubicBezTo>
                    <a:pt x="68541" y="58387"/>
                    <a:pt x="68259" y="58951"/>
                    <a:pt x="68259" y="59515"/>
                  </a:cubicBezTo>
                  <a:lnTo>
                    <a:pt x="68823" y="59515"/>
                  </a:lnTo>
                  <a:lnTo>
                    <a:pt x="68823" y="59797"/>
                  </a:lnTo>
                  <a:cubicBezTo>
                    <a:pt x="68823" y="59797"/>
                    <a:pt x="68823" y="60079"/>
                    <a:pt x="68541" y="60079"/>
                  </a:cubicBezTo>
                  <a:lnTo>
                    <a:pt x="68259" y="59515"/>
                  </a:lnTo>
                  <a:close/>
                  <a:moveTo>
                    <a:pt x="2256" y="204777"/>
                  </a:moveTo>
                  <a:lnTo>
                    <a:pt x="1974" y="204494"/>
                  </a:lnTo>
                  <a:lnTo>
                    <a:pt x="1974" y="205059"/>
                  </a:lnTo>
                  <a:cubicBezTo>
                    <a:pt x="1974" y="205059"/>
                    <a:pt x="2256" y="205059"/>
                    <a:pt x="2256" y="204777"/>
                  </a:cubicBezTo>
                  <a:close/>
                  <a:moveTo>
                    <a:pt x="42591" y="147518"/>
                  </a:moveTo>
                  <a:cubicBezTo>
                    <a:pt x="42309" y="148082"/>
                    <a:pt x="42027" y="148646"/>
                    <a:pt x="42027" y="149493"/>
                  </a:cubicBezTo>
                  <a:lnTo>
                    <a:pt x="42309" y="149493"/>
                  </a:lnTo>
                  <a:lnTo>
                    <a:pt x="42873" y="148082"/>
                  </a:lnTo>
                  <a:lnTo>
                    <a:pt x="42591" y="147518"/>
                  </a:lnTo>
                  <a:close/>
                  <a:moveTo>
                    <a:pt x="98722" y="91952"/>
                  </a:moveTo>
                  <a:lnTo>
                    <a:pt x="98722" y="91388"/>
                  </a:lnTo>
                  <a:cubicBezTo>
                    <a:pt x="98722" y="91106"/>
                    <a:pt x="98722" y="90824"/>
                    <a:pt x="98440" y="90542"/>
                  </a:cubicBezTo>
                  <a:cubicBezTo>
                    <a:pt x="98157" y="90542"/>
                    <a:pt x="98157" y="90824"/>
                    <a:pt x="97875" y="91106"/>
                  </a:cubicBezTo>
                  <a:cubicBezTo>
                    <a:pt x="97311" y="91670"/>
                    <a:pt x="96465" y="92234"/>
                    <a:pt x="95337" y="92798"/>
                  </a:cubicBezTo>
                  <a:cubicBezTo>
                    <a:pt x="95055" y="92798"/>
                    <a:pt x="94773" y="93080"/>
                    <a:pt x="94773" y="93080"/>
                  </a:cubicBezTo>
                  <a:lnTo>
                    <a:pt x="94773" y="93362"/>
                  </a:lnTo>
                  <a:cubicBezTo>
                    <a:pt x="94773" y="93644"/>
                    <a:pt x="94491" y="93926"/>
                    <a:pt x="93926" y="94491"/>
                  </a:cubicBezTo>
                  <a:lnTo>
                    <a:pt x="92798" y="95901"/>
                  </a:lnTo>
                  <a:cubicBezTo>
                    <a:pt x="92798" y="96183"/>
                    <a:pt x="92234" y="96465"/>
                    <a:pt x="92234" y="96747"/>
                  </a:cubicBezTo>
                  <a:cubicBezTo>
                    <a:pt x="91388" y="97029"/>
                    <a:pt x="90824" y="97593"/>
                    <a:pt x="90260" y="98157"/>
                  </a:cubicBezTo>
                  <a:cubicBezTo>
                    <a:pt x="90260" y="98157"/>
                    <a:pt x="89978" y="98157"/>
                    <a:pt x="89978" y="97875"/>
                  </a:cubicBezTo>
                  <a:cubicBezTo>
                    <a:pt x="89695" y="97593"/>
                    <a:pt x="89695" y="97311"/>
                    <a:pt x="89695" y="97029"/>
                  </a:cubicBezTo>
                  <a:cubicBezTo>
                    <a:pt x="89695" y="96747"/>
                    <a:pt x="89695" y="96465"/>
                    <a:pt x="90260" y="96183"/>
                  </a:cubicBezTo>
                  <a:lnTo>
                    <a:pt x="90260" y="95901"/>
                  </a:lnTo>
                  <a:cubicBezTo>
                    <a:pt x="90260" y="95619"/>
                    <a:pt x="90260" y="95055"/>
                    <a:pt x="89978" y="95055"/>
                  </a:cubicBezTo>
                  <a:cubicBezTo>
                    <a:pt x="89413" y="95055"/>
                    <a:pt x="88849" y="95055"/>
                    <a:pt x="88285" y="95337"/>
                  </a:cubicBezTo>
                  <a:cubicBezTo>
                    <a:pt x="88003" y="95337"/>
                    <a:pt x="88003" y="95619"/>
                    <a:pt x="87721" y="95901"/>
                  </a:cubicBezTo>
                  <a:lnTo>
                    <a:pt x="87721" y="96747"/>
                  </a:lnTo>
                  <a:lnTo>
                    <a:pt x="87439" y="96747"/>
                  </a:lnTo>
                  <a:cubicBezTo>
                    <a:pt x="87157" y="96747"/>
                    <a:pt x="87157" y="96465"/>
                    <a:pt x="86875" y="96465"/>
                  </a:cubicBezTo>
                  <a:lnTo>
                    <a:pt x="86593" y="96183"/>
                  </a:lnTo>
                  <a:cubicBezTo>
                    <a:pt x="86311" y="96183"/>
                    <a:pt x="86311" y="95901"/>
                    <a:pt x="86311" y="95901"/>
                  </a:cubicBezTo>
                  <a:lnTo>
                    <a:pt x="86029" y="96183"/>
                  </a:lnTo>
                  <a:cubicBezTo>
                    <a:pt x="85747" y="96465"/>
                    <a:pt x="85464" y="96465"/>
                    <a:pt x="85464" y="96747"/>
                  </a:cubicBezTo>
                  <a:cubicBezTo>
                    <a:pt x="85182" y="97029"/>
                    <a:pt x="85182" y="97029"/>
                    <a:pt x="85182" y="97311"/>
                  </a:cubicBezTo>
                  <a:lnTo>
                    <a:pt x="85182" y="97875"/>
                  </a:lnTo>
                  <a:cubicBezTo>
                    <a:pt x="85182" y="98439"/>
                    <a:pt x="84900" y="99286"/>
                    <a:pt x="84336" y="99850"/>
                  </a:cubicBezTo>
                  <a:cubicBezTo>
                    <a:pt x="84336" y="100132"/>
                    <a:pt x="84054" y="100414"/>
                    <a:pt x="84054" y="100414"/>
                  </a:cubicBezTo>
                  <a:lnTo>
                    <a:pt x="84054" y="100978"/>
                  </a:lnTo>
                  <a:lnTo>
                    <a:pt x="84336" y="100978"/>
                  </a:lnTo>
                  <a:lnTo>
                    <a:pt x="85464" y="99850"/>
                  </a:lnTo>
                  <a:cubicBezTo>
                    <a:pt x="85747" y="99286"/>
                    <a:pt x="86311" y="99004"/>
                    <a:pt x="87157" y="98721"/>
                  </a:cubicBezTo>
                  <a:cubicBezTo>
                    <a:pt x="87439" y="98721"/>
                    <a:pt x="87439" y="99286"/>
                    <a:pt x="88003" y="99286"/>
                  </a:cubicBezTo>
                  <a:cubicBezTo>
                    <a:pt x="88003" y="99568"/>
                    <a:pt x="88285" y="99568"/>
                    <a:pt x="88285" y="99568"/>
                  </a:cubicBezTo>
                  <a:cubicBezTo>
                    <a:pt x="88285" y="99850"/>
                    <a:pt x="88567" y="100132"/>
                    <a:pt x="88567" y="100132"/>
                  </a:cubicBezTo>
                  <a:cubicBezTo>
                    <a:pt x="88567" y="100414"/>
                    <a:pt x="88285" y="100414"/>
                    <a:pt x="88285" y="100414"/>
                  </a:cubicBezTo>
                  <a:cubicBezTo>
                    <a:pt x="87721" y="100696"/>
                    <a:pt x="87157" y="101260"/>
                    <a:pt x="86875" y="101824"/>
                  </a:cubicBezTo>
                  <a:cubicBezTo>
                    <a:pt x="86875" y="102106"/>
                    <a:pt x="86029" y="102388"/>
                    <a:pt x="86029" y="102670"/>
                  </a:cubicBezTo>
                  <a:cubicBezTo>
                    <a:pt x="85747" y="102952"/>
                    <a:pt x="85464" y="103234"/>
                    <a:pt x="85182" y="103234"/>
                  </a:cubicBezTo>
                  <a:cubicBezTo>
                    <a:pt x="84900" y="104363"/>
                    <a:pt x="84054" y="104927"/>
                    <a:pt x="82926" y="105491"/>
                  </a:cubicBezTo>
                  <a:cubicBezTo>
                    <a:pt x="82644" y="105491"/>
                    <a:pt x="82644" y="105773"/>
                    <a:pt x="82362" y="106055"/>
                  </a:cubicBezTo>
                  <a:cubicBezTo>
                    <a:pt x="82080" y="107183"/>
                    <a:pt x="81234" y="108312"/>
                    <a:pt x="80388" y="109158"/>
                  </a:cubicBezTo>
                  <a:cubicBezTo>
                    <a:pt x="80388" y="109722"/>
                    <a:pt x="79823" y="110286"/>
                    <a:pt x="79259" y="110568"/>
                  </a:cubicBezTo>
                  <a:cubicBezTo>
                    <a:pt x="79259" y="110568"/>
                    <a:pt x="78977" y="110850"/>
                    <a:pt x="78977" y="111132"/>
                  </a:cubicBezTo>
                  <a:cubicBezTo>
                    <a:pt x="78977" y="111696"/>
                    <a:pt x="78131" y="112260"/>
                    <a:pt x="77567" y="112542"/>
                  </a:cubicBezTo>
                  <a:cubicBezTo>
                    <a:pt x="77285" y="112542"/>
                    <a:pt x="77003" y="112825"/>
                    <a:pt x="77003" y="113107"/>
                  </a:cubicBezTo>
                  <a:cubicBezTo>
                    <a:pt x="77003" y="113953"/>
                    <a:pt x="76157" y="114235"/>
                    <a:pt x="75592" y="115081"/>
                  </a:cubicBezTo>
                  <a:cubicBezTo>
                    <a:pt x="75592" y="115081"/>
                    <a:pt x="75028" y="115363"/>
                    <a:pt x="75028" y="115645"/>
                  </a:cubicBezTo>
                  <a:cubicBezTo>
                    <a:pt x="74464" y="117055"/>
                    <a:pt x="73618" y="117902"/>
                    <a:pt x="72490" y="119030"/>
                  </a:cubicBezTo>
                  <a:cubicBezTo>
                    <a:pt x="72490" y="119312"/>
                    <a:pt x="72208" y="119312"/>
                    <a:pt x="71926" y="119312"/>
                  </a:cubicBezTo>
                  <a:lnTo>
                    <a:pt x="71644" y="119312"/>
                  </a:lnTo>
                  <a:cubicBezTo>
                    <a:pt x="71361" y="119312"/>
                    <a:pt x="71079" y="119030"/>
                    <a:pt x="71079" y="119030"/>
                  </a:cubicBezTo>
                  <a:cubicBezTo>
                    <a:pt x="71079" y="119030"/>
                    <a:pt x="71361" y="119030"/>
                    <a:pt x="71644" y="118748"/>
                  </a:cubicBezTo>
                  <a:cubicBezTo>
                    <a:pt x="71926" y="118466"/>
                    <a:pt x="72490" y="117902"/>
                    <a:pt x="72490" y="117338"/>
                  </a:cubicBezTo>
                  <a:lnTo>
                    <a:pt x="72490" y="117055"/>
                  </a:lnTo>
                  <a:cubicBezTo>
                    <a:pt x="72490" y="116773"/>
                    <a:pt x="72208" y="116773"/>
                    <a:pt x="71926" y="116491"/>
                  </a:cubicBezTo>
                  <a:lnTo>
                    <a:pt x="71926" y="115645"/>
                  </a:lnTo>
                  <a:cubicBezTo>
                    <a:pt x="72208" y="115363"/>
                    <a:pt x="72772" y="115081"/>
                    <a:pt x="73054" y="115081"/>
                  </a:cubicBezTo>
                  <a:lnTo>
                    <a:pt x="73618" y="115081"/>
                  </a:lnTo>
                  <a:cubicBezTo>
                    <a:pt x="73618" y="115081"/>
                    <a:pt x="73336" y="115363"/>
                    <a:pt x="73900" y="115081"/>
                  </a:cubicBezTo>
                  <a:lnTo>
                    <a:pt x="74182" y="115081"/>
                  </a:lnTo>
                  <a:cubicBezTo>
                    <a:pt x="74464" y="114799"/>
                    <a:pt x="74464" y="114517"/>
                    <a:pt x="74464" y="114517"/>
                  </a:cubicBezTo>
                  <a:cubicBezTo>
                    <a:pt x="73900" y="114235"/>
                    <a:pt x="73900" y="113671"/>
                    <a:pt x="73900" y="113389"/>
                  </a:cubicBezTo>
                  <a:cubicBezTo>
                    <a:pt x="73900" y="113107"/>
                    <a:pt x="73900" y="112825"/>
                    <a:pt x="74464" y="112542"/>
                  </a:cubicBezTo>
                  <a:cubicBezTo>
                    <a:pt x="74746" y="111978"/>
                    <a:pt x="75310" y="111414"/>
                    <a:pt x="75875" y="111132"/>
                  </a:cubicBezTo>
                  <a:cubicBezTo>
                    <a:pt x="76157" y="111132"/>
                    <a:pt x="76157" y="110850"/>
                    <a:pt x="76157" y="110850"/>
                  </a:cubicBezTo>
                  <a:cubicBezTo>
                    <a:pt x="76157" y="110004"/>
                    <a:pt x="77003" y="109440"/>
                    <a:pt x="77567" y="108594"/>
                  </a:cubicBezTo>
                  <a:cubicBezTo>
                    <a:pt x="78131" y="108030"/>
                    <a:pt x="78695" y="107465"/>
                    <a:pt x="79541" y="107465"/>
                  </a:cubicBezTo>
                  <a:cubicBezTo>
                    <a:pt x="79823" y="107465"/>
                    <a:pt x="79823" y="107183"/>
                    <a:pt x="79823" y="106901"/>
                  </a:cubicBezTo>
                  <a:cubicBezTo>
                    <a:pt x="79823" y="106619"/>
                    <a:pt x="79541" y="106337"/>
                    <a:pt x="79823" y="106337"/>
                  </a:cubicBezTo>
                  <a:cubicBezTo>
                    <a:pt x="80106" y="105773"/>
                    <a:pt x="80670" y="105209"/>
                    <a:pt x="81234" y="104645"/>
                  </a:cubicBezTo>
                  <a:cubicBezTo>
                    <a:pt x="81516" y="104363"/>
                    <a:pt x="81516" y="104363"/>
                    <a:pt x="81798" y="104363"/>
                  </a:cubicBezTo>
                  <a:cubicBezTo>
                    <a:pt x="82080" y="104645"/>
                    <a:pt x="82080" y="104645"/>
                    <a:pt x="82362" y="104645"/>
                  </a:cubicBezTo>
                  <a:cubicBezTo>
                    <a:pt x="82644" y="104645"/>
                    <a:pt x="82926" y="104645"/>
                    <a:pt x="83208" y="104363"/>
                  </a:cubicBezTo>
                  <a:cubicBezTo>
                    <a:pt x="83772" y="104081"/>
                    <a:pt x="84054" y="103799"/>
                    <a:pt x="84054" y="103517"/>
                  </a:cubicBezTo>
                  <a:cubicBezTo>
                    <a:pt x="84336" y="102952"/>
                    <a:pt x="84618" y="102388"/>
                    <a:pt x="85182" y="101824"/>
                  </a:cubicBezTo>
                  <a:lnTo>
                    <a:pt x="85182" y="101542"/>
                  </a:lnTo>
                  <a:lnTo>
                    <a:pt x="84900" y="101542"/>
                  </a:lnTo>
                  <a:lnTo>
                    <a:pt x="83490" y="102670"/>
                  </a:lnTo>
                  <a:cubicBezTo>
                    <a:pt x="83208" y="102952"/>
                    <a:pt x="82926" y="102952"/>
                    <a:pt x="82926" y="102952"/>
                  </a:cubicBezTo>
                  <a:cubicBezTo>
                    <a:pt x="82644" y="102952"/>
                    <a:pt x="82644" y="102952"/>
                    <a:pt x="82644" y="102670"/>
                  </a:cubicBezTo>
                  <a:lnTo>
                    <a:pt x="82080" y="102106"/>
                  </a:lnTo>
                  <a:cubicBezTo>
                    <a:pt x="81798" y="102106"/>
                    <a:pt x="81516" y="102388"/>
                    <a:pt x="81234" y="102670"/>
                  </a:cubicBezTo>
                  <a:cubicBezTo>
                    <a:pt x="80670" y="102952"/>
                    <a:pt x="80106" y="103517"/>
                    <a:pt x="79541" y="104081"/>
                  </a:cubicBezTo>
                  <a:cubicBezTo>
                    <a:pt x="78977" y="104645"/>
                    <a:pt x="78695" y="104927"/>
                    <a:pt x="78695" y="105491"/>
                  </a:cubicBezTo>
                  <a:cubicBezTo>
                    <a:pt x="78977" y="105491"/>
                    <a:pt x="78695" y="105773"/>
                    <a:pt x="78695" y="106055"/>
                  </a:cubicBezTo>
                  <a:cubicBezTo>
                    <a:pt x="78131" y="107183"/>
                    <a:pt x="77567" y="108030"/>
                    <a:pt x="76439" y="108876"/>
                  </a:cubicBezTo>
                  <a:lnTo>
                    <a:pt x="74464" y="110568"/>
                  </a:lnTo>
                  <a:cubicBezTo>
                    <a:pt x="74464" y="110850"/>
                    <a:pt x="74182" y="110850"/>
                    <a:pt x="73900" y="110850"/>
                  </a:cubicBezTo>
                  <a:lnTo>
                    <a:pt x="73054" y="110850"/>
                  </a:lnTo>
                  <a:cubicBezTo>
                    <a:pt x="72490" y="110850"/>
                    <a:pt x="71926" y="110850"/>
                    <a:pt x="71644" y="111696"/>
                  </a:cubicBezTo>
                  <a:cubicBezTo>
                    <a:pt x="71361" y="111978"/>
                    <a:pt x="71361" y="111978"/>
                    <a:pt x="71079" y="111978"/>
                  </a:cubicBezTo>
                  <a:lnTo>
                    <a:pt x="69951" y="111978"/>
                  </a:lnTo>
                  <a:cubicBezTo>
                    <a:pt x="69387" y="112260"/>
                    <a:pt x="69105" y="112542"/>
                    <a:pt x="69105" y="113107"/>
                  </a:cubicBezTo>
                  <a:lnTo>
                    <a:pt x="69105" y="114517"/>
                  </a:lnTo>
                  <a:cubicBezTo>
                    <a:pt x="69105" y="114799"/>
                    <a:pt x="68823" y="114799"/>
                    <a:pt x="68823" y="114799"/>
                  </a:cubicBezTo>
                  <a:cubicBezTo>
                    <a:pt x="68823" y="114799"/>
                    <a:pt x="68541" y="114799"/>
                    <a:pt x="68541" y="114517"/>
                  </a:cubicBezTo>
                  <a:cubicBezTo>
                    <a:pt x="68259" y="114517"/>
                    <a:pt x="68541" y="113953"/>
                    <a:pt x="67977" y="113953"/>
                  </a:cubicBezTo>
                  <a:cubicBezTo>
                    <a:pt x="67695" y="113953"/>
                    <a:pt x="67695" y="114235"/>
                    <a:pt x="67413" y="114517"/>
                  </a:cubicBezTo>
                  <a:lnTo>
                    <a:pt x="66002" y="115645"/>
                  </a:lnTo>
                  <a:cubicBezTo>
                    <a:pt x="65720" y="115927"/>
                    <a:pt x="65438" y="116209"/>
                    <a:pt x="65438" y="116491"/>
                  </a:cubicBezTo>
                  <a:cubicBezTo>
                    <a:pt x="65438" y="116773"/>
                    <a:pt x="65720" y="117055"/>
                    <a:pt x="66002" y="117055"/>
                  </a:cubicBezTo>
                  <a:lnTo>
                    <a:pt x="66848" y="117902"/>
                  </a:lnTo>
                  <a:cubicBezTo>
                    <a:pt x="67130" y="117902"/>
                    <a:pt x="67130" y="117902"/>
                    <a:pt x="67130" y="118184"/>
                  </a:cubicBezTo>
                  <a:lnTo>
                    <a:pt x="67130" y="118466"/>
                  </a:lnTo>
                  <a:cubicBezTo>
                    <a:pt x="67130" y="118748"/>
                    <a:pt x="66848" y="118748"/>
                    <a:pt x="66566" y="118748"/>
                  </a:cubicBezTo>
                  <a:cubicBezTo>
                    <a:pt x="66284" y="119030"/>
                    <a:pt x="66002" y="119030"/>
                    <a:pt x="66002" y="119594"/>
                  </a:cubicBezTo>
                  <a:cubicBezTo>
                    <a:pt x="66284" y="119594"/>
                    <a:pt x="66284" y="119876"/>
                    <a:pt x="66284" y="119876"/>
                  </a:cubicBezTo>
                  <a:lnTo>
                    <a:pt x="66284" y="120440"/>
                  </a:lnTo>
                  <a:cubicBezTo>
                    <a:pt x="66284" y="121004"/>
                    <a:pt x="66002" y="121004"/>
                    <a:pt x="65720" y="121286"/>
                  </a:cubicBezTo>
                  <a:cubicBezTo>
                    <a:pt x="65438" y="121286"/>
                    <a:pt x="65156" y="121286"/>
                    <a:pt x="64592" y="121568"/>
                  </a:cubicBezTo>
                  <a:cubicBezTo>
                    <a:pt x="64310" y="121568"/>
                    <a:pt x="63746" y="121568"/>
                    <a:pt x="63746" y="121286"/>
                  </a:cubicBezTo>
                  <a:cubicBezTo>
                    <a:pt x="63464" y="121286"/>
                    <a:pt x="63464" y="121004"/>
                    <a:pt x="63464" y="121004"/>
                  </a:cubicBezTo>
                  <a:lnTo>
                    <a:pt x="63182" y="121286"/>
                  </a:lnTo>
                  <a:cubicBezTo>
                    <a:pt x="62618" y="121568"/>
                    <a:pt x="62336" y="121568"/>
                    <a:pt x="62054" y="121568"/>
                  </a:cubicBezTo>
                  <a:cubicBezTo>
                    <a:pt x="61489" y="121568"/>
                    <a:pt x="61207" y="121851"/>
                    <a:pt x="60925" y="122133"/>
                  </a:cubicBezTo>
                  <a:lnTo>
                    <a:pt x="60925" y="122415"/>
                  </a:lnTo>
                  <a:cubicBezTo>
                    <a:pt x="60925" y="122415"/>
                    <a:pt x="60643" y="122415"/>
                    <a:pt x="60643" y="122133"/>
                  </a:cubicBezTo>
                  <a:cubicBezTo>
                    <a:pt x="60361" y="121851"/>
                    <a:pt x="60361" y="121851"/>
                    <a:pt x="60079" y="121851"/>
                  </a:cubicBezTo>
                  <a:cubicBezTo>
                    <a:pt x="59797" y="122133"/>
                    <a:pt x="59797" y="122133"/>
                    <a:pt x="59797" y="122415"/>
                  </a:cubicBezTo>
                  <a:lnTo>
                    <a:pt x="59515" y="122697"/>
                  </a:lnTo>
                  <a:cubicBezTo>
                    <a:pt x="59515" y="122697"/>
                    <a:pt x="59515" y="122979"/>
                    <a:pt x="59797" y="122979"/>
                  </a:cubicBezTo>
                  <a:cubicBezTo>
                    <a:pt x="60361" y="123543"/>
                    <a:pt x="60925" y="123825"/>
                    <a:pt x="60925" y="124671"/>
                  </a:cubicBezTo>
                  <a:lnTo>
                    <a:pt x="60925" y="124953"/>
                  </a:lnTo>
                  <a:cubicBezTo>
                    <a:pt x="60925" y="125235"/>
                    <a:pt x="61207" y="125235"/>
                    <a:pt x="61772" y="125235"/>
                  </a:cubicBezTo>
                  <a:lnTo>
                    <a:pt x="62054" y="125235"/>
                  </a:lnTo>
                  <a:cubicBezTo>
                    <a:pt x="62336" y="124953"/>
                    <a:pt x="62900" y="124671"/>
                    <a:pt x="63182" y="124671"/>
                  </a:cubicBezTo>
                  <a:lnTo>
                    <a:pt x="63464" y="124671"/>
                  </a:lnTo>
                  <a:lnTo>
                    <a:pt x="63464" y="125235"/>
                  </a:lnTo>
                  <a:cubicBezTo>
                    <a:pt x="64028" y="125799"/>
                    <a:pt x="64310" y="125799"/>
                    <a:pt x="64874" y="125799"/>
                  </a:cubicBezTo>
                  <a:cubicBezTo>
                    <a:pt x="65156" y="125799"/>
                    <a:pt x="65438" y="125517"/>
                    <a:pt x="65438" y="125235"/>
                  </a:cubicBezTo>
                  <a:cubicBezTo>
                    <a:pt x="65438" y="124671"/>
                    <a:pt x="65438" y="124389"/>
                    <a:pt x="66002" y="123825"/>
                  </a:cubicBezTo>
                  <a:cubicBezTo>
                    <a:pt x="66002" y="123825"/>
                    <a:pt x="66002" y="123543"/>
                    <a:pt x="66284" y="123261"/>
                  </a:cubicBezTo>
                  <a:cubicBezTo>
                    <a:pt x="66566" y="122133"/>
                    <a:pt x="67695" y="121286"/>
                    <a:pt x="68259" y="120440"/>
                  </a:cubicBezTo>
                  <a:cubicBezTo>
                    <a:pt x="68823" y="120158"/>
                    <a:pt x="69105" y="120158"/>
                    <a:pt x="69669" y="120158"/>
                  </a:cubicBezTo>
                  <a:lnTo>
                    <a:pt x="70797" y="120722"/>
                  </a:lnTo>
                  <a:lnTo>
                    <a:pt x="70797" y="121286"/>
                  </a:lnTo>
                  <a:lnTo>
                    <a:pt x="70233" y="121851"/>
                  </a:lnTo>
                  <a:cubicBezTo>
                    <a:pt x="69387" y="122697"/>
                    <a:pt x="68823" y="123543"/>
                    <a:pt x="68541" y="124671"/>
                  </a:cubicBezTo>
                  <a:lnTo>
                    <a:pt x="67977" y="124953"/>
                  </a:lnTo>
                  <a:lnTo>
                    <a:pt x="66566" y="127492"/>
                  </a:lnTo>
                  <a:cubicBezTo>
                    <a:pt x="66284" y="127774"/>
                    <a:pt x="65720" y="128056"/>
                    <a:pt x="65438" y="128620"/>
                  </a:cubicBezTo>
                  <a:cubicBezTo>
                    <a:pt x="65156" y="128620"/>
                    <a:pt x="64874" y="128902"/>
                    <a:pt x="64874" y="129184"/>
                  </a:cubicBezTo>
                  <a:cubicBezTo>
                    <a:pt x="64592" y="130030"/>
                    <a:pt x="64028" y="131159"/>
                    <a:pt x="63182" y="132005"/>
                  </a:cubicBezTo>
                  <a:cubicBezTo>
                    <a:pt x="62900" y="132569"/>
                    <a:pt x="62900" y="133133"/>
                    <a:pt x="62054" y="133133"/>
                  </a:cubicBezTo>
                  <a:cubicBezTo>
                    <a:pt x="61772" y="133133"/>
                    <a:pt x="61772" y="132851"/>
                    <a:pt x="61772" y="132569"/>
                  </a:cubicBezTo>
                  <a:cubicBezTo>
                    <a:pt x="61772" y="132287"/>
                    <a:pt x="61772" y="132005"/>
                    <a:pt x="62054" y="131723"/>
                  </a:cubicBezTo>
                  <a:lnTo>
                    <a:pt x="62054" y="130876"/>
                  </a:lnTo>
                  <a:cubicBezTo>
                    <a:pt x="61207" y="130312"/>
                    <a:pt x="60643" y="129748"/>
                    <a:pt x="59515" y="129748"/>
                  </a:cubicBezTo>
                  <a:lnTo>
                    <a:pt x="58951" y="129748"/>
                  </a:lnTo>
                  <a:cubicBezTo>
                    <a:pt x="58669" y="129748"/>
                    <a:pt x="58669" y="129466"/>
                    <a:pt x="58387" y="129466"/>
                  </a:cubicBezTo>
                  <a:cubicBezTo>
                    <a:pt x="58105" y="129466"/>
                    <a:pt x="57823" y="129466"/>
                    <a:pt x="57541" y="129748"/>
                  </a:cubicBezTo>
                  <a:cubicBezTo>
                    <a:pt x="57258" y="130030"/>
                    <a:pt x="57258" y="130312"/>
                    <a:pt x="56976" y="130312"/>
                  </a:cubicBezTo>
                  <a:cubicBezTo>
                    <a:pt x="56976" y="130312"/>
                    <a:pt x="56694" y="130030"/>
                    <a:pt x="56412" y="130030"/>
                  </a:cubicBezTo>
                  <a:cubicBezTo>
                    <a:pt x="55848" y="129466"/>
                    <a:pt x="55848" y="129466"/>
                    <a:pt x="55848" y="129184"/>
                  </a:cubicBezTo>
                  <a:cubicBezTo>
                    <a:pt x="55848" y="128902"/>
                    <a:pt x="55848" y="128620"/>
                    <a:pt x="56130" y="128056"/>
                  </a:cubicBezTo>
                  <a:lnTo>
                    <a:pt x="56412" y="127774"/>
                  </a:lnTo>
                  <a:lnTo>
                    <a:pt x="56130" y="127774"/>
                  </a:lnTo>
                  <a:cubicBezTo>
                    <a:pt x="55848" y="127774"/>
                    <a:pt x="55848" y="127774"/>
                    <a:pt x="55284" y="128056"/>
                  </a:cubicBezTo>
                  <a:cubicBezTo>
                    <a:pt x="55002" y="128902"/>
                    <a:pt x="54438" y="129748"/>
                    <a:pt x="53874" y="130594"/>
                  </a:cubicBezTo>
                  <a:cubicBezTo>
                    <a:pt x="52745" y="132005"/>
                    <a:pt x="52181" y="133697"/>
                    <a:pt x="51335" y="135389"/>
                  </a:cubicBezTo>
                  <a:lnTo>
                    <a:pt x="51335" y="135672"/>
                  </a:lnTo>
                  <a:cubicBezTo>
                    <a:pt x="51335" y="136236"/>
                    <a:pt x="51053" y="136518"/>
                    <a:pt x="50489" y="137082"/>
                  </a:cubicBezTo>
                  <a:cubicBezTo>
                    <a:pt x="50489" y="137082"/>
                    <a:pt x="50207" y="137082"/>
                    <a:pt x="49925" y="137364"/>
                  </a:cubicBezTo>
                  <a:cubicBezTo>
                    <a:pt x="49925" y="137364"/>
                    <a:pt x="49925" y="137646"/>
                    <a:pt x="49643" y="137928"/>
                  </a:cubicBezTo>
                  <a:cubicBezTo>
                    <a:pt x="49643" y="138210"/>
                    <a:pt x="49925" y="138210"/>
                    <a:pt x="50207" y="138210"/>
                  </a:cubicBezTo>
                  <a:cubicBezTo>
                    <a:pt x="50771" y="137928"/>
                    <a:pt x="51335" y="137928"/>
                    <a:pt x="52181" y="137364"/>
                  </a:cubicBezTo>
                  <a:cubicBezTo>
                    <a:pt x="52463" y="137364"/>
                    <a:pt x="52745" y="137364"/>
                    <a:pt x="53027" y="137082"/>
                  </a:cubicBezTo>
                  <a:cubicBezTo>
                    <a:pt x="52745" y="137928"/>
                    <a:pt x="52463" y="138492"/>
                    <a:pt x="51899" y="138774"/>
                  </a:cubicBezTo>
                  <a:lnTo>
                    <a:pt x="50771" y="138774"/>
                  </a:lnTo>
                  <a:cubicBezTo>
                    <a:pt x="50489" y="139056"/>
                    <a:pt x="50207" y="139056"/>
                    <a:pt x="50207" y="139056"/>
                  </a:cubicBezTo>
                  <a:lnTo>
                    <a:pt x="49925" y="139056"/>
                  </a:lnTo>
                  <a:cubicBezTo>
                    <a:pt x="49643" y="139056"/>
                    <a:pt x="49361" y="139338"/>
                    <a:pt x="49361" y="139620"/>
                  </a:cubicBezTo>
                  <a:cubicBezTo>
                    <a:pt x="49361" y="140185"/>
                    <a:pt x="48796" y="140749"/>
                    <a:pt x="48232" y="141595"/>
                  </a:cubicBezTo>
                  <a:cubicBezTo>
                    <a:pt x="47950" y="142159"/>
                    <a:pt x="47950" y="142723"/>
                    <a:pt x="47950" y="143287"/>
                  </a:cubicBezTo>
                  <a:cubicBezTo>
                    <a:pt x="47950" y="143851"/>
                    <a:pt x="47668" y="144415"/>
                    <a:pt x="47386" y="144697"/>
                  </a:cubicBezTo>
                  <a:lnTo>
                    <a:pt x="47386" y="144980"/>
                  </a:lnTo>
                  <a:cubicBezTo>
                    <a:pt x="47386" y="145262"/>
                    <a:pt x="47668" y="145262"/>
                    <a:pt x="47668" y="145262"/>
                  </a:cubicBezTo>
                  <a:lnTo>
                    <a:pt x="47950" y="144980"/>
                  </a:lnTo>
                  <a:cubicBezTo>
                    <a:pt x="48232" y="144697"/>
                    <a:pt x="48514" y="144415"/>
                    <a:pt x="48514" y="143851"/>
                  </a:cubicBezTo>
                  <a:lnTo>
                    <a:pt x="48514" y="143569"/>
                  </a:lnTo>
                  <a:cubicBezTo>
                    <a:pt x="48514" y="143287"/>
                    <a:pt x="48796" y="143005"/>
                    <a:pt x="49079" y="142723"/>
                  </a:cubicBezTo>
                  <a:cubicBezTo>
                    <a:pt x="49079" y="142441"/>
                    <a:pt x="49361" y="142159"/>
                    <a:pt x="49643" y="142159"/>
                  </a:cubicBezTo>
                  <a:cubicBezTo>
                    <a:pt x="49925" y="141877"/>
                    <a:pt x="50207" y="141877"/>
                    <a:pt x="50489" y="141877"/>
                  </a:cubicBezTo>
                  <a:cubicBezTo>
                    <a:pt x="50771" y="141877"/>
                    <a:pt x="51053" y="142159"/>
                    <a:pt x="51053" y="142441"/>
                  </a:cubicBezTo>
                  <a:cubicBezTo>
                    <a:pt x="51053" y="143005"/>
                    <a:pt x="50771" y="143287"/>
                    <a:pt x="50489" y="143569"/>
                  </a:cubicBezTo>
                  <a:cubicBezTo>
                    <a:pt x="50207" y="143851"/>
                    <a:pt x="49643" y="143851"/>
                    <a:pt x="49361" y="144415"/>
                  </a:cubicBezTo>
                  <a:cubicBezTo>
                    <a:pt x="49361" y="144697"/>
                    <a:pt x="49079" y="144697"/>
                    <a:pt x="49361" y="144697"/>
                  </a:cubicBezTo>
                  <a:cubicBezTo>
                    <a:pt x="49361" y="144697"/>
                    <a:pt x="49361" y="144980"/>
                    <a:pt x="49643" y="144697"/>
                  </a:cubicBezTo>
                  <a:cubicBezTo>
                    <a:pt x="49643" y="144697"/>
                    <a:pt x="49925" y="144415"/>
                    <a:pt x="50207" y="144415"/>
                  </a:cubicBezTo>
                  <a:cubicBezTo>
                    <a:pt x="50489" y="144415"/>
                    <a:pt x="50771" y="144697"/>
                    <a:pt x="51053" y="144980"/>
                  </a:cubicBezTo>
                  <a:cubicBezTo>
                    <a:pt x="51335" y="145262"/>
                    <a:pt x="51335" y="145544"/>
                    <a:pt x="51617" y="145544"/>
                  </a:cubicBezTo>
                  <a:lnTo>
                    <a:pt x="51899" y="145262"/>
                  </a:lnTo>
                  <a:cubicBezTo>
                    <a:pt x="52181" y="145262"/>
                    <a:pt x="52463" y="145544"/>
                    <a:pt x="52463" y="145826"/>
                  </a:cubicBezTo>
                  <a:cubicBezTo>
                    <a:pt x="52463" y="146390"/>
                    <a:pt x="52463" y="146954"/>
                    <a:pt x="52181" y="147518"/>
                  </a:cubicBezTo>
                  <a:cubicBezTo>
                    <a:pt x="52181" y="147800"/>
                    <a:pt x="52463" y="148082"/>
                    <a:pt x="52745" y="148082"/>
                  </a:cubicBezTo>
                  <a:lnTo>
                    <a:pt x="53027" y="148082"/>
                  </a:lnTo>
                  <a:cubicBezTo>
                    <a:pt x="53027" y="148082"/>
                    <a:pt x="53310" y="148082"/>
                    <a:pt x="53310" y="148364"/>
                  </a:cubicBezTo>
                  <a:lnTo>
                    <a:pt x="53874" y="150057"/>
                  </a:lnTo>
                  <a:cubicBezTo>
                    <a:pt x="53310" y="150339"/>
                    <a:pt x="53027" y="150903"/>
                    <a:pt x="52745" y="151467"/>
                  </a:cubicBezTo>
                  <a:cubicBezTo>
                    <a:pt x="52463" y="151749"/>
                    <a:pt x="52181" y="152313"/>
                    <a:pt x="52181" y="152595"/>
                  </a:cubicBezTo>
                  <a:lnTo>
                    <a:pt x="52181" y="152877"/>
                  </a:lnTo>
                  <a:lnTo>
                    <a:pt x="51617" y="152877"/>
                  </a:lnTo>
                  <a:cubicBezTo>
                    <a:pt x="51053" y="152877"/>
                    <a:pt x="50489" y="152877"/>
                    <a:pt x="50207" y="152595"/>
                  </a:cubicBezTo>
                  <a:cubicBezTo>
                    <a:pt x="50207" y="152313"/>
                    <a:pt x="49925" y="151749"/>
                    <a:pt x="49925" y="151467"/>
                  </a:cubicBezTo>
                  <a:lnTo>
                    <a:pt x="49361" y="151467"/>
                  </a:lnTo>
                  <a:lnTo>
                    <a:pt x="49361" y="151749"/>
                  </a:lnTo>
                  <a:cubicBezTo>
                    <a:pt x="49079" y="152313"/>
                    <a:pt x="49079" y="152877"/>
                    <a:pt x="49079" y="153441"/>
                  </a:cubicBezTo>
                  <a:cubicBezTo>
                    <a:pt x="49079" y="153723"/>
                    <a:pt x="48796" y="154006"/>
                    <a:pt x="48796" y="154288"/>
                  </a:cubicBezTo>
                  <a:lnTo>
                    <a:pt x="48514" y="154288"/>
                  </a:lnTo>
                  <a:cubicBezTo>
                    <a:pt x="48232" y="154288"/>
                    <a:pt x="47950" y="154006"/>
                    <a:pt x="47668" y="154006"/>
                  </a:cubicBezTo>
                  <a:lnTo>
                    <a:pt x="47386" y="153723"/>
                  </a:lnTo>
                  <a:lnTo>
                    <a:pt x="47104" y="154006"/>
                  </a:lnTo>
                  <a:cubicBezTo>
                    <a:pt x="46822" y="154288"/>
                    <a:pt x="46822" y="154570"/>
                    <a:pt x="46822" y="154570"/>
                  </a:cubicBezTo>
                  <a:cubicBezTo>
                    <a:pt x="46822" y="154852"/>
                    <a:pt x="47104" y="155416"/>
                    <a:pt x="47386" y="155416"/>
                  </a:cubicBezTo>
                  <a:cubicBezTo>
                    <a:pt x="47668" y="155980"/>
                    <a:pt x="48232" y="156262"/>
                    <a:pt x="48232" y="156826"/>
                  </a:cubicBezTo>
                  <a:cubicBezTo>
                    <a:pt x="48232" y="157108"/>
                    <a:pt x="48514" y="157108"/>
                    <a:pt x="48796" y="157108"/>
                  </a:cubicBezTo>
                  <a:lnTo>
                    <a:pt x="49361" y="157108"/>
                  </a:lnTo>
                  <a:cubicBezTo>
                    <a:pt x="50207" y="156826"/>
                    <a:pt x="50771" y="157108"/>
                    <a:pt x="51899" y="156262"/>
                  </a:cubicBezTo>
                  <a:cubicBezTo>
                    <a:pt x="52181" y="155980"/>
                    <a:pt x="52463" y="155980"/>
                    <a:pt x="52745" y="155416"/>
                  </a:cubicBezTo>
                  <a:cubicBezTo>
                    <a:pt x="53310" y="155134"/>
                    <a:pt x="53874" y="155134"/>
                    <a:pt x="54438" y="155134"/>
                  </a:cubicBezTo>
                  <a:cubicBezTo>
                    <a:pt x="54438" y="154852"/>
                    <a:pt x="54720" y="154852"/>
                    <a:pt x="54720" y="154852"/>
                  </a:cubicBezTo>
                  <a:cubicBezTo>
                    <a:pt x="55002" y="154570"/>
                    <a:pt x="55284" y="154288"/>
                    <a:pt x="55566" y="154288"/>
                  </a:cubicBezTo>
                  <a:cubicBezTo>
                    <a:pt x="57258" y="153441"/>
                    <a:pt x="58387" y="152031"/>
                    <a:pt x="59797" y="151467"/>
                  </a:cubicBezTo>
                  <a:cubicBezTo>
                    <a:pt x="60361" y="151185"/>
                    <a:pt x="60643" y="150621"/>
                    <a:pt x="61489" y="150339"/>
                  </a:cubicBezTo>
                  <a:lnTo>
                    <a:pt x="65438" y="146954"/>
                  </a:lnTo>
                  <a:cubicBezTo>
                    <a:pt x="66848" y="146108"/>
                    <a:pt x="67695" y="144697"/>
                    <a:pt x="69387" y="143569"/>
                  </a:cubicBezTo>
                  <a:cubicBezTo>
                    <a:pt x="69669" y="143005"/>
                    <a:pt x="70233" y="142441"/>
                    <a:pt x="70797" y="141877"/>
                  </a:cubicBezTo>
                  <a:lnTo>
                    <a:pt x="73054" y="139902"/>
                  </a:lnTo>
                  <a:cubicBezTo>
                    <a:pt x="74182" y="139056"/>
                    <a:pt x="75028" y="137928"/>
                    <a:pt x="75875" y="136800"/>
                  </a:cubicBezTo>
                  <a:cubicBezTo>
                    <a:pt x="76157" y="136518"/>
                    <a:pt x="76157" y="136518"/>
                    <a:pt x="76439" y="136518"/>
                  </a:cubicBezTo>
                  <a:lnTo>
                    <a:pt x="81234" y="130876"/>
                  </a:lnTo>
                  <a:cubicBezTo>
                    <a:pt x="82926" y="128902"/>
                    <a:pt x="84336" y="126646"/>
                    <a:pt x="86029" y="124389"/>
                  </a:cubicBezTo>
                  <a:cubicBezTo>
                    <a:pt x="87157" y="122697"/>
                    <a:pt x="88285" y="120722"/>
                    <a:pt x="88849" y="119030"/>
                  </a:cubicBezTo>
                  <a:cubicBezTo>
                    <a:pt x="90542" y="115927"/>
                    <a:pt x="92234" y="113107"/>
                    <a:pt x="93080" y="109722"/>
                  </a:cubicBezTo>
                  <a:cubicBezTo>
                    <a:pt x="93080" y="109722"/>
                    <a:pt x="93362" y="109722"/>
                    <a:pt x="93362" y="109440"/>
                  </a:cubicBezTo>
                  <a:lnTo>
                    <a:pt x="96465" y="100414"/>
                  </a:lnTo>
                  <a:cubicBezTo>
                    <a:pt x="97311" y="98439"/>
                    <a:pt x="97311" y="96465"/>
                    <a:pt x="98157" y="94773"/>
                  </a:cubicBezTo>
                  <a:cubicBezTo>
                    <a:pt x="98440" y="94491"/>
                    <a:pt x="98440" y="94208"/>
                    <a:pt x="98440" y="93926"/>
                  </a:cubicBezTo>
                  <a:cubicBezTo>
                    <a:pt x="98440" y="93362"/>
                    <a:pt x="98722" y="92516"/>
                    <a:pt x="98722" y="91952"/>
                  </a:cubicBezTo>
                  <a:close/>
                  <a:moveTo>
                    <a:pt x="47668" y="152877"/>
                  </a:moveTo>
                  <a:cubicBezTo>
                    <a:pt x="47950" y="152877"/>
                    <a:pt x="47950" y="152877"/>
                    <a:pt x="47950" y="152595"/>
                  </a:cubicBezTo>
                  <a:lnTo>
                    <a:pt x="47950" y="152031"/>
                  </a:lnTo>
                  <a:cubicBezTo>
                    <a:pt x="47950" y="151749"/>
                    <a:pt x="47668" y="151749"/>
                    <a:pt x="47668" y="151749"/>
                  </a:cubicBezTo>
                  <a:cubicBezTo>
                    <a:pt x="47386" y="152031"/>
                    <a:pt x="47386" y="152031"/>
                    <a:pt x="47386" y="152313"/>
                  </a:cubicBezTo>
                  <a:lnTo>
                    <a:pt x="47668" y="152877"/>
                  </a:lnTo>
                  <a:close/>
                  <a:moveTo>
                    <a:pt x="48514" y="137646"/>
                  </a:moveTo>
                  <a:cubicBezTo>
                    <a:pt x="48796" y="137646"/>
                    <a:pt x="48796" y="137364"/>
                    <a:pt x="49079" y="137082"/>
                  </a:cubicBezTo>
                  <a:cubicBezTo>
                    <a:pt x="49079" y="136800"/>
                    <a:pt x="48796" y="136518"/>
                    <a:pt x="48514" y="136518"/>
                  </a:cubicBezTo>
                  <a:cubicBezTo>
                    <a:pt x="48514" y="136518"/>
                    <a:pt x="48232" y="136518"/>
                    <a:pt x="47950" y="136800"/>
                  </a:cubicBezTo>
                  <a:cubicBezTo>
                    <a:pt x="47668" y="136800"/>
                    <a:pt x="47950" y="137082"/>
                    <a:pt x="47950" y="137646"/>
                  </a:cubicBezTo>
                  <a:cubicBezTo>
                    <a:pt x="47950" y="137646"/>
                    <a:pt x="47668" y="137928"/>
                    <a:pt x="47668" y="138210"/>
                  </a:cubicBezTo>
                  <a:cubicBezTo>
                    <a:pt x="47668" y="138210"/>
                    <a:pt x="48232" y="138210"/>
                    <a:pt x="48514" y="137646"/>
                  </a:cubicBezTo>
                  <a:close/>
                  <a:moveTo>
                    <a:pt x="49079" y="135672"/>
                  </a:moveTo>
                  <a:lnTo>
                    <a:pt x="49361" y="135672"/>
                  </a:lnTo>
                  <a:cubicBezTo>
                    <a:pt x="50207" y="135107"/>
                    <a:pt x="50489" y="133979"/>
                    <a:pt x="51053" y="133415"/>
                  </a:cubicBezTo>
                  <a:lnTo>
                    <a:pt x="50771" y="133415"/>
                  </a:lnTo>
                  <a:cubicBezTo>
                    <a:pt x="50489" y="133415"/>
                    <a:pt x="50489" y="133415"/>
                    <a:pt x="50207" y="133697"/>
                  </a:cubicBezTo>
                  <a:cubicBezTo>
                    <a:pt x="50207" y="133979"/>
                    <a:pt x="50207" y="134261"/>
                    <a:pt x="49643" y="134543"/>
                  </a:cubicBezTo>
                  <a:cubicBezTo>
                    <a:pt x="49643" y="134825"/>
                    <a:pt x="49361" y="135107"/>
                    <a:pt x="49079" y="135389"/>
                  </a:cubicBezTo>
                  <a:lnTo>
                    <a:pt x="49079" y="135672"/>
                  </a:lnTo>
                  <a:close/>
                  <a:moveTo>
                    <a:pt x="53592" y="134825"/>
                  </a:moveTo>
                  <a:cubicBezTo>
                    <a:pt x="53592" y="134825"/>
                    <a:pt x="53592" y="134543"/>
                    <a:pt x="53874" y="134261"/>
                  </a:cubicBezTo>
                  <a:cubicBezTo>
                    <a:pt x="53874" y="133979"/>
                    <a:pt x="53592" y="133697"/>
                    <a:pt x="53592" y="133415"/>
                  </a:cubicBezTo>
                  <a:cubicBezTo>
                    <a:pt x="53592" y="132569"/>
                    <a:pt x="53874" y="132287"/>
                    <a:pt x="54438" y="132287"/>
                  </a:cubicBezTo>
                  <a:cubicBezTo>
                    <a:pt x="54720" y="132287"/>
                    <a:pt x="55002" y="132005"/>
                    <a:pt x="55284" y="132005"/>
                  </a:cubicBezTo>
                  <a:lnTo>
                    <a:pt x="55566" y="132005"/>
                  </a:lnTo>
                  <a:cubicBezTo>
                    <a:pt x="55848" y="132005"/>
                    <a:pt x="55848" y="132005"/>
                    <a:pt x="55848" y="132287"/>
                  </a:cubicBezTo>
                  <a:lnTo>
                    <a:pt x="55848" y="133133"/>
                  </a:lnTo>
                  <a:cubicBezTo>
                    <a:pt x="55848" y="133415"/>
                    <a:pt x="56130" y="133415"/>
                    <a:pt x="56130" y="133415"/>
                  </a:cubicBezTo>
                  <a:lnTo>
                    <a:pt x="56412" y="133415"/>
                  </a:lnTo>
                  <a:cubicBezTo>
                    <a:pt x="56412" y="133415"/>
                    <a:pt x="56694" y="133415"/>
                    <a:pt x="56976" y="133697"/>
                  </a:cubicBezTo>
                  <a:lnTo>
                    <a:pt x="56976" y="134543"/>
                  </a:lnTo>
                  <a:lnTo>
                    <a:pt x="56412" y="135672"/>
                  </a:lnTo>
                  <a:cubicBezTo>
                    <a:pt x="56412" y="135954"/>
                    <a:pt x="56130" y="135954"/>
                    <a:pt x="55848" y="135954"/>
                  </a:cubicBezTo>
                  <a:lnTo>
                    <a:pt x="55566" y="135954"/>
                  </a:lnTo>
                  <a:cubicBezTo>
                    <a:pt x="55002" y="136236"/>
                    <a:pt x="55284" y="137082"/>
                    <a:pt x="54720" y="137082"/>
                  </a:cubicBezTo>
                  <a:lnTo>
                    <a:pt x="53027" y="137082"/>
                  </a:lnTo>
                  <a:cubicBezTo>
                    <a:pt x="53027" y="136236"/>
                    <a:pt x="53027" y="135672"/>
                    <a:pt x="53592" y="134825"/>
                  </a:cubicBezTo>
                  <a:close/>
                  <a:moveTo>
                    <a:pt x="54720" y="148082"/>
                  </a:moveTo>
                  <a:cubicBezTo>
                    <a:pt x="55002" y="148364"/>
                    <a:pt x="55002" y="148646"/>
                    <a:pt x="55002" y="148646"/>
                  </a:cubicBezTo>
                  <a:lnTo>
                    <a:pt x="54720" y="148928"/>
                  </a:lnTo>
                  <a:lnTo>
                    <a:pt x="54438" y="148928"/>
                  </a:lnTo>
                  <a:lnTo>
                    <a:pt x="54438" y="148364"/>
                  </a:lnTo>
                  <a:cubicBezTo>
                    <a:pt x="54438" y="148364"/>
                    <a:pt x="54720" y="148364"/>
                    <a:pt x="54720" y="148082"/>
                  </a:cubicBezTo>
                  <a:close/>
                  <a:moveTo>
                    <a:pt x="54720" y="126646"/>
                  </a:moveTo>
                  <a:lnTo>
                    <a:pt x="55002" y="126646"/>
                  </a:lnTo>
                  <a:lnTo>
                    <a:pt x="55566" y="126081"/>
                  </a:lnTo>
                  <a:lnTo>
                    <a:pt x="55284" y="126081"/>
                  </a:lnTo>
                  <a:lnTo>
                    <a:pt x="55284" y="125799"/>
                  </a:lnTo>
                  <a:lnTo>
                    <a:pt x="54720" y="126363"/>
                  </a:lnTo>
                  <a:lnTo>
                    <a:pt x="54720" y="126646"/>
                  </a:lnTo>
                  <a:close/>
                  <a:moveTo>
                    <a:pt x="56976" y="131723"/>
                  </a:moveTo>
                  <a:lnTo>
                    <a:pt x="56694" y="131723"/>
                  </a:lnTo>
                  <a:cubicBezTo>
                    <a:pt x="56412" y="131723"/>
                    <a:pt x="56130" y="131723"/>
                    <a:pt x="56130" y="131441"/>
                  </a:cubicBezTo>
                  <a:lnTo>
                    <a:pt x="56976" y="130876"/>
                  </a:lnTo>
                  <a:lnTo>
                    <a:pt x="56976" y="131723"/>
                  </a:lnTo>
                  <a:close/>
                  <a:moveTo>
                    <a:pt x="58951" y="128056"/>
                  </a:moveTo>
                  <a:lnTo>
                    <a:pt x="59233" y="128338"/>
                  </a:lnTo>
                  <a:lnTo>
                    <a:pt x="61772" y="127774"/>
                  </a:lnTo>
                  <a:lnTo>
                    <a:pt x="61772" y="127492"/>
                  </a:lnTo>
                  <a:cubicBezTo>
                    <a:pt x="61489" y="127210"/>
                    <a:pt x="61207" y="126928"/>
                    <a:pt x="60925" y="126928"/>
                  </a:cubicBezTo>
                  <a:cubicBezTo>
                    <a:pt x="60079" y="126928"/>
                    <a:pt x="59797" y="127210"/>
                    <a:pt x="59233" y="127774"/>
                  </a:cubicBezTo>
                  <a:lnTo>
                    <a:pt x="58951" y="128056"/>
                  </a:lnTo>
                  <a:close/>
                  <a:moveTo>
                    <a:pt x="59797" y="120440"/>
                  </a:moveTo>
                  <a:cubicBezTo>
                    <a:pt x="60079" y="120440"/>
                    <a:pt x="60079" y="120440"/>
                    <a:pt x="60079" y="120158"/>
                  </a:cubicBezTo>
                  <a:lnTo>
                    <a:pt x="59797" y="120158"/>
                  </a:lnTo>
                  <a:lnTo>
                    <a:pt x="59797" y="120440"/>
                  </a:lnTo>
                  <a:close/>
                  <a:moveTo>
                    <a:pt x="66848" y="62900"/>
                  </a:moveTo>
                  <a:cubicBezTo>
                    <a:pt x="66566" y="62900"/>
                    <a:pt x="66566" y="63182"/>
                    <a:pt x="66284" y="63182"/>
                  </a:cubicBezTo>
                  <a:cubicBezTo>
                    <a:pt x="66284" y="62900"/>
                    <a:pt x="66284" y="62900"/>
                    <a:pt x="66566" y="62618"/>
                  </a:cubicBezTo>
                  <a:lnTo>
                    <a:pt x="66848" y="62618"/>
                  </a:lnTo>
                  <a:lnTo>
                    <a:pt x="66848" y="62900"/>
                  </a:lnTo>
                  <a:close/>
                  <a:moveTo>
                    <a:pt x="67413" y="116491"/>
                  </a:moveTo>
                  <a:cubicBezTo>
                    <a:pt x="67130" y="116491"/>
                    <a:pt x="67130" y="116773"/>
                    <a:pt x="67130" y="116773"/>
                  </a:cubicBezTo>
                  <a:lnTo>
                    <a:pt x="66848" y="116773"/>
                  </a:lnTo>
                  <a:lnTo>
                    <a:pt x="66848" y="116491"/>
                  </a:lnTo>
                  <a:lnTo>
                    <a:pt x="67413" y="116491"/>
                  </a:lnTo>
                  <a:close/>
                  <a:moveTo>
                    <a:pt x="70515" y="110004"/>
                  </a:moveTo>
                  <a:cubicBezTo>
                    <a:pt x="70515" y="110004"/>
                    <a:pt x="70797" y="110286"/>
                    <a:pt x="71079" y="110286"/>
                  </a:cubicBezTo>
                  <a:cubicBezTo>
                    <a:pt x="71079" y="110004"/>
                    <a:pt x="71361" y="109722"/>
                    <a:pt x="71644" y="109722"/>
                  </a:cubicBezTo>
                  <a:lnTo>
                    <a:pt x="71644" y="109440"/>
                  </a:lnTo>
                  <a:cubicBezTo>
                    <a:pt x="71361" y="109440"/>
                    <a:pt x="71361" y="109158"/>
                    <a:pt x="71079" y="109158"/>
                  </a:cubicBezTo>
                  <a:cubicBezTo>
                    <a:pt x="70797" y="109158"/>
                    <a:pt x="70515" y="109440"/>
                    <a:pt x="70515" y="109440"/>
                  </a:cubicBezTo>
                  <a:lnTo>
                    <a:pt x="70515" y="110004"/>
                  </a:lnTo>
                  <a:close/>
                  <a:moveTo>
                    <a:pt x="75592" y="107183"/>
                  </a:moveTo>
                  <a:lnTo>
                    <a:pt x="76157" y="107183"/>
                  </a:lnTo>
                  <a:cubicBezTo>
                    <a:pt x="76439" y="107183"/>
                    <a:pt x="76439" y="106901"/>
                    <a:pt x="76721" y="106901"/>
                  </a:cubicBezTo>
                  <a:cubicBezTo>
                    <a:pt x="76721" y="106619"/>
                    <a:pt x="76439" y="106619"/>
                    <a:pt x="76439" y="106619"/>
                  </a:cubicBezTo>
                  <a:lnTo>
                    <a:pt x="76157" y="106337"/>
                  </a:lnTo>
                  <a:lnTo>
                    <a:pt x="75875" y="106619"/>
                  </a:lnTo>
                  <a:cubicBezTo>
                    <a:pt x="75592" y="106619"/>
                    <a:pt x="75592" y="106901"/>
                    <a:pt x="75592" y="107183"/>
                  </a:cubicBezTo>
                  <a:close/>
                  <a:moveTo>
                    <a:pt x="77849" y="109722"/>
                  </a:moveTo>
                  <a:cubicBezTo>
                    <a:pt x="77567" y="109722"/>
                    <a:pt x="77285" y="110004"/>
                    <a:pt x="77285" y="110286"/>
                  </a:cubicBezTo>
                  <a:lnTo>
                    <a:pt x="77285" y="110568"/>
                  </a:lnTo>
                  <a:lnTo>
                    <a:pt x="77567" y="110568"/>
                  </a:lnTo>
                  <a:cubicBezTo>
                    <a:pt x="77849" y="110568"/>
                    <a:pt x="78131" y="110004"/>
                    <a:pt x="78131" y="109722"/>
                  </a:cubicBezTo>
                  <a:lnTo>
                    <a:pt x="77849" y="109722"/>
                  </a:lnTo>
                  <a:close/>
                  <a:moveTo>
                    <a:pt x="77567" y="153159"/>
                  </a:moveTo>
                  <a:lnTo>
                    <a:pt x="78131" y="153159"/>
                  </a:lnTo>
                  <a:lnTo>
                    <a:pt x="77849" y="153441"/>
                  </a:lnTo>
                  <a:lnTo>
                    <a:pt x="77567" y="153441"/>
                  </a:lnTo>
                  <a:lnTo>
                    <a:pt x="77567" y="153159"/>
                  </a:lnTo>
                  <a:close/>
                  <a:moveTo>
                    <a:pt x="78977" y="151749"/>
                  </a:moveTo>
                  <a:lnTo>
                    <a:pt x="79823" y="151749"/>
                  </a:lnTo>
                  <a:cubicBezTo>
                    <a:pt x="79823" y="152031"/>
                    <a:pt x="79541" y="152595"/>
                    <a:pt x="79259" y="152877"/>
                  </a:cubicBezTo>
                  <a:cubicBezTo>
                    <a:pt x="78977" y="153159"/>
                    <a:pt x="78413" y="153159"/>
                    <a:pt x="78131" y="153159"/>
                  </a:cubicBezTo>
                  <a:cubicBezTo>
                    <a:pt x="78413" y="152595"/>
                    <a:pt x="78977" y="152313"/>
                    <a:pt x="78977" y="151749"/>
                  </a:cubicBezTo>
                  <a:close/>
                  <a:moveTo>
                    <a:pt x="79823" y="100978"/>
                  </a:moveTo>
                  <a:cubicBezTo>
                    <a:pt x="80106" y="101260"/>
                    <a:pt x="80388" y="101260"/>
                    <a:pt x="80388" y="101542"/>
                  </a:cubicBezTo>
                  <a:cubicBezTo>
                    <a:pt x="80952" y="101542"/>
                    <a:pt x="81234" y="101542"/>
                    <a:pt x="81234" y="100978"/>
                  </a:cubicBezTo>
                  <a:lnTo>
                    <a:pt x="81234" y="100696"/>
                  </a:lnTo>
                  <a:lnTo>
                    <a:pt x="80952" y="100414"/>
                  </a:lnTo>
                  <a:cubicBezTo>
                    <a:pt x="80670" y="100414"/>
                    <a:pt x="80670" y="100696"/>
                    <a:pt x="80388" y="100696"/>
                  </a:cubicBezTo>
                  <a:cubicBezTo>
                    <a:pt x="80388" y="100696"/>
                    <a:pt x="80106" y="100696"/>
                    <a:pt x="80106" y="100978"/>
                  </a:cubicBezTo>
                  <a:lnTo>
                    <a:pt x="79823" y="100978"/>
                  </a:lnTo>
                  <a:close/>
                  <a:moveTo>
                    <a:pt x="93362" y="92234"/>
                  </a:moveTo>
                  <a:cubicBezTo>
                    <a:pt x="93926" y="92234"/>
                    <a:pt x="93926" y="92234"/>
                    <a:pt x="93926" y="91670"/>
                  </a:cubicBezTo>
                  <a:cubicBezTo>
                    <a:pt x="94209" y="91106"/>
                    <a:pt x="93926" y="90260"/>
                    <a:pt x="94491" y="89978"/>
                  </a:cubicBezTo>
                  <a:lnTo>
                    <a:pt x="94491" y="89696"/>
                  </a:lnTo>
                  <a:cubicBezTo>
                    <a:pt x="94491" y="89413"/>
                    <a:pt x="94491" y="89413"/>
                    <a:pt x="94209" y="89413"/>
                  </a:cubicBezTo>
                  <a:cubicBezTo>
                    <a:pt x="93644" y="89413"/>
                    <a:pt x="93644" y="89413"/>
                    <a:pt x="93362" y="89978"/>
                  </a:cubicBezTo>
                  <a:lnTo>
                    <a:pt x="92798" y="90824"/>
                  </a:lnTo>
                  <a:cubicBezTo>
                    <a:pt x="92798" y="91106"/>
                    <a:pt x="92798" y="91388"/>
                    <a:pt x="92516" y="91670"/>
                  </a:cubicBezTo>
                  <a:cubicBezTo>
                    <a:pt x="92516" y="91952"/>
                    <a:pt x="92798" y="92234"/>
                    <a:pt x="93362" y="92234"/>
                  </a:cubicBezTo>
                  <a:close/>
                  <a:moveTo>
                    <a:pt x="96465" y="90542"/>
                  </a:moveTo>
                  <a:cubicBezTo>
                    <a:pt x="96747" y="90542"/>
                    <a:pt x="96747" y="90260"/>
                    <a:pt x="97029" y="90260"/>
                  </a:cubicBezTo>
                  <a:lnTo>
                    <a:pt x="97029" y="89978"/>
                  </a:lnTo>
                  <a:lnTo>
                    <a:pt x="96747" y="89978"/>
                  </a:lnTo>
                  <a:lnTo>
                    <a:pt x="96465" y="90260"/>
                  </a:lnTo>
                  <a:lnTo>
                    <a:pt x="96465" y="90542"/>
                  </a:lnTo>
                  <a:close/>
                  <a:moveTo>
                    <a:pt x="108594" y="108876"/>
                  </a:moveTo>
                  <a:cubicBezTo>
                    <a:pt x="108312" y="108876"/>
                    <a:pt x="108594" y="108594"/>
                    <a:pt x="108594" y="108594"/>
                  </a:cubicBezTo>
                  <a:cubicBezTo>
                    <a:pt x="108312" y="108594"/>
                    <a:pt x="108029" y="108594"/>
                    <a:pt x="107747" y="108876"/>
                  </a:cubicBezTo>
                  <a:cubicBezTo>
                    <a:pt x="107747" y="108876"/>
                    <a:pt x="107747" y="109158"/>
                    <a:pt x="108029" y="109158"/>
                  </a:cubicBezTo>
                  <a:cubicBezTo>
                    <a:pt x="108029" y="109158"/>
                    <a:pt x="108312" y="109158"/>
                    <a:pt x="108594" y="108876"/>
                  </a:cubicBezTo>
                  <a:close/>
                  <a:moveTo>
                    <a:pt x="115645" y="90260"/>
                  </a:moveTo>
                  <a:lnTo>
                    <a:pt x="115363" y="90260"/>
                  </a:lnTo>
                  <a:lnTo>
                    <a:pt x="115927" y="91106"/>
                  </a:lnTo>
                  <a:lnTo>
                    <a:pt x="116209" y="91106"/>
                  </a:lnTo>
                  <a:lnTo>
                    <a:pt x="116209" y="90824"/>
                  </a:lnTo>
                  <a:cubicBezTo>
                    <a:pt x="116209" y="90542"/>
                    <a:pt x="115927" y="90542"/>
                    <a:pt x="115645" y="90260"/>
                  </a:cubicBezTo>
                  <a:close/>
                  <a:moveTo>
                    <a:pt x="130312" y="70233"/>
                  </a:moveTo>
                  <a:lnTo>
                    <a:pt x="130030" y="70233"/>
                  </a:lnTo>
                  <a:cubicBezTo>
                    <a:pt x="130030" y="70233"/>
                    <a:pt x="129748" y="70233"/>
                    <a:pt x="129748" y="70515"/>
                  </a:cubicBezTo>
                  <a:cubicBezTo>
                    <a:pt x="130030" y="70515"/>
                    <a:pt x="130030" y="70233"/>
                    <a:pt x="130312" y="70233"/>
                  </a:cubicBezTo>
                  <a:close/>
                  <a:moveTo>
                    <a:pt x="153159" y="55566"/>
                  </a:moveTo>
                  <a:cubicBezTo>
                    <a:pt x="153442" y="55284"/>
                    <a:pt x="153159" y="55284"/>
                    <a:pt x="153159" y="55284"/>
                  </a:cubicBezTo>
                  <a:lnTo>
                    <a:pt x="153159" y="55566"/>
                  </a:lnTo>
                  <a:close/>
                </a:path>
              </a:pathLst>
            </a:custGeom>
            <a:solidFill>
              <a:srgbClr val="000000"/>
            </a:solidFill>
            <a:ln w="5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941EB01-7161-4954-86B8-5D4F538638F4}"/>
                </a:ext>
              </a:extLst>
            </p:cNvPr>
            <p:cNvSpPr/>
            <p:nvPr/>
          </p:nvSpPr>
          <p:spPr>
            <a:xfrm>
              <a:off x="5628199" y="3344663"/>
              <a:ext cx="78977" cy="129748"/>
            </a:xfrm>
            <a:custGeom>
              <a:avLst/>
              <a:gdLst>
                <a:gd name="connsiteX0" fmla="*/ 35822 w 78977"/>
                <a:gd name="connsiteY0" fmla="*/ 79823 h 129748"/>
                <a:gd name="connsiteX1" fmla="*/ 35258 w 78977"/>
                <a:gd name="connsiteY1" fmla="*/ 81234 h 129748"/>
                <a:gd name="connsiteX2" fmla="*/ 34411 w 78977"/>
                <a:gd name="connsiteY2" fmla="*/ 82080 h 129748"/>
                <a:gd name="connsiteX3" fmla="*/ 34411 w 78977"/>
                <a:gd name="connsiteY3" fmla="*/ 83772 h 129748"/>
                <a:gd name="connsiteX4" fmla="*/ 34129 w 78977"/>
                <a:gd name="connsiteY4" fmla="*/ 84618 h 129748"/>
                <a:gd name="connsiteX5" fmla="*/ 33283 w 78977"/>
                <a:gd name="connsiteY5" fmla="*/ 85465 h 129748"/>
                <a:gd name="connsiteX6" fmla="*/ 30463 w 78977"/>
                <a:gd name="connsiteY6" fmla="*/ 93644 h 129748"/>
                <a:gd name="connsiteX7" fmla="*/ 29898 w 78977"/>
                <a:gd name="connsiteY7" fmla="*/ 95337 h 129748"/>
                <a:gd name="connsiteX8" fmla="*/ 28770 w 78977"/>
                <a:gd name="connsiteY8" fmla="*/ 97029 h 129748"/>
                <a:gd name="connsiteX9" fmla="*/ 28488 w 78977"/>
                <a:gd name="connsiteY9" fmla="*/ 99004 h 129748"/>
                <a:gd name="connsiteX10" fmla="*/ 27642 w 78977"/>
                <a:gd name="connsiteY10" fmla="*/ 100414 h 129748"/>
                <a:gd name="connsiteX11" fmla="*/ 27078 w 78977"/>
                <a:gd name="connsiteY11" fmla="*/ 101260 h 129748"/>
                <a:gd name="connsiteX12" fmla="*/ 26232 w 78977"/>
                <a:gd name="connsiteY12" fmla="*/ 105209 h 129748"/>
                <a:gd name="connsiteX13" fmla="*/ 24822 w 78977"/>
                <a:gd name="connsiteY13" fmla="*/ 109722 h 129748"/>
                <a:gd name="connsiteX14" fmla="*/ 23975 w 78977"/>
                <a:gd name="connsiteY14" fmla="*/ 111414 h 129748"/>
                <a:gd name="connsiteX15" fmla="*/ 23411 w 78977"/>
                <a:gd name="connsiteY15" fmla="*/ 113107 h 129748"/>
                <a:gd name="connsiteX16" fmla="*/ 22847 w 78977"/>
                <a:gd name="connsiteY16" fmla="*/ 113953 h 129748"/>
                <a:gd name="connsiteX17" fmla="*/ 20873 w 78977"/>
                <a:gd name="connsiteY17" fmla="*/ 118748 h 129748"/>
                <a:gd name="connsiteX18" fmla="*/ 19462 w 78977"/>
                <a:gd name="connsiteY18" fmla="*/ 121851 h 129748"/>
                <a:gd name="connsiteX19" fmla="*/ 18898 w 78977"/>
                <a:gd name="connsiteY19" fmla="*/ 122697 h 129748"/>
                <a:gd name="connsiteX20" fmla="*/ 17206 w 78977"/>
                <a:gd name="connsiteY20" fmla="*/ 124671 h 129748"/>
                <a:gd name="connsiteX21" fmla="*/ 15231 w 78977"/>
                <a:gd name="connsiteY21" fmla="*/ 126364 h 129748"/>
                <a:gd name="connsiteX22" fmla="*/ 14385 w 78977"/>
                <a:gd name="connsiteY22" fmla="*/ 127492 h 129748"/>
                <a:gd name="connsiteX23" fmla="*/ 13257 w 78977"/>
                <a:gd name="connsiteY23" fmla="*/ 128338 h 129748"/>
                <a:gd name="connsiteX24" fmla="*/ 12975 w 78977"/>
                <a:gd name="connsiteY24" fmla="*/ 128620 h 129748"/>
                <a:gd name="connsiteX25" fmla="*/ 12975 w 78977"/>
                <a:gd name="connsiteY25" fmla="*/ 129184 h 129748"/>
                <a:gd name="connsiteX26" fmla="*/ 11282 w 78977"/>
                <a:gd name="connsiteY26" fmla="*/ 130876 h 129748"/>
                <a:gd name="connsiteX27" fmla="*/ 9872 w 78977"/>
                <a:gd name="connsiteY27" fmla="*/ 131441 h 129748"/>
                <a:gd name="connsiteX28" fmla="*/ 9590 w 78977"/>
                <a:gd name="connsiteY28" fmla="*/ 131723 h 129748"/>
                <a:gd name="connsiteX29" fmla="*/ 8180 w 78977"/>
                <a:gd name="connsiteY29" fmla="*/ 132569 h 129748"/>
                <a:gd name="connsiteX30" fmla="*/ 6770 w 78977"/>
                <a:gd name="connsiteY30" fmla="*/ 132005 h 129748"/>
                <a:gd name="connsiteX31" fmla="*/ 3385 w 78977"/>
                <a:gd name="connsiteY31" fmla="*/ 130594 h 129748"/>
                <a:gd name="connsiteX32" fmla="*/ 2539 w 78977"/>
                <a:gd name="connsiteY32" fmla="*/ 130030 h 129748"/>
                <a:gd name="connsiteX33" fmla="*/ 564 w 78977"/>
                <a:gd name="connsiteY33" fmla="*/ 128338 h 129748"/>
                <a:gd name="connsiteX34" fmla="*/ 564 w 78977"/>
                <a:gd name="connsiteY34" fmla="*/ 128056 h 129748"/>
                <a:gd name="connsiteX35" fmla="*/ 0 w 78977"/>
                <a:gd name="connsiteY35" fmla="*/ 126081 h 129748"/>
                <a:gd name="connsiteX36" fmla="*/ 0 w 78977"/>
                <a:gd name="connsiteY36" fmla="*/ 125517 h 129748"/>
                <a:gd name="connsiteX37" fmla="*/ 564 w 78977"/>
                <a:gd name="connsiteY37" fmla="*/ 123261 h 129748"/>
                <a:gd name="connsiteX38" fmla="*/ 846 w 78977"/>
                <a:gd name="connsiteY38" fmla="*/ 120158 h 129748"/>
                <a:gd name="connsiteX39" fmla="*/ 846 w 78977"/>
                <a:gd name="connsiteY39" fmla="*/ 119594 h 129748"/>
                <a:gd name="connsiteX40" fmla="*/ 1692 w 78977"/>
                <a:gd name="connsiteY40" fmla="*/ 116773 h 129748"/>
                <a:gd name="connsiteX41" fmla="*/ 2821 w 78977"/>
                <a:gd name="connsiteY41" fmla="*/ 112260 h 129748"/>
                <a:gd name="connsiteX42" fmla="*/ 3385 w 78977"/>
                <a:gd name="connsiteY42" fmla="*/ 108312 h 129748"/>
                <a:gd name="connsiteX43" fmla="*/ 3949 w 78977"/>
                <a:gd name="connsiteY43" fmla="*/ 105773 h 129748"/>
                <a:gd name="connsiteX44" fmla="*/ 5359 w 78977"/>
                <a:gd name="connsiteY44" fmla="*/ 99286 h 129748"/>
                <a:gd name="connsiteX45" fmla="*/ 5641 w 78977"/>
                <a:gd name="connsiteY45" fmla="*/ 94773 h 129748"/>
                <a:gd name="connsiteX46" fmla="*/ 5641 w 78977"/>
                <a:gd name="connsiteY46" fmla="*/ 92798 h 129748"/>
                <a:gd name="connsiteX47" fmla="*/ 5923 w 78977"/>
                <a:gd name="connsiteY47" fmla="*/ 89131 h 129748"/>
                <a:gd name="connsiteX48" fmla="*/ 5923 w 78977"/>
                <a:gd name="connsiteY48" fmla="*/ 87721 h 129748"/>
                <a:gd name="connsiteX49" fmla="*/ 6488 w 78977"/>
                <a:gd name="connsiteY49" fmla="*/ 86875 h 129748"/>
                <a:gd name="connsiteX50" fmla="*/ 6770 w 78977"/>
                <a:gd name="connsiteY50" fmla="*/ 83208 h 129748"/>
                <a:gd name="connsiteX51" fmla="*/ 7334 w 78977"/>
                <a:gd name="connsiteY51" fmla="*/ 79259 h 129748"/>
                <a:gd name="connsiteX52" fmla="*/ 7898 w 78977"/>
                <a:gd name="connsiteY52" fmla="*/ 75592 h 129748"/>
                <a:gd name="connsiteX53" fmla="*/ 8744 w 78977"/>
                <a:gd name="connsiteY53" fmla="*/ 69669 h 129748"/>
                <a:gd name="connsiteX54" fmla="*/ 8744 w 78977"/>
                <a:gd name="connsiteY54" fmla="*/ 69105 h 129748"/>
                <a:gd name="connsiteX55" fmla="*/ 8744 w 78977"/>
                <a:gd name="connsiteY55" fmla="*/ 67977 h 129748"/>
                <a:gd name="connsiteX56" fmla="*/ 9026 w 78977"/>
                <a:gd name="connsiteY56" fmla="*/ 63464 h 129748"/>
                <a:gd name="connsiteX57" fmla="*/ 10154 w 78977"/>
                <a:gd name="connsiteY57" fmla="*/ 58951 h 129748"/>
                <a:gd name="connsiteX58" fmla="*/ 10436 w 78977"/>
                <a:gd name="connsiteY58" fmla="*/ 57823 h 129748"/>
                <a:gd name="connsiteX59" fmla="*/ 11282 w 78977"/>
                <a:gd name="connsiteY59" fmla="*/ 53028 h 129748"/>
                <a:gd name="connsiteX60" fmla="*/ 11282 w 78977"/>
                <a:gd name="connsiteY60" fmla="*/ 50207 h 129748"/>
                <a:gd name="connsiteX61" fmla="*/ 11564 w 78977"/>
                <a:gd name="connsiteY61" fmla="*/ 47104 h 129748"/>
                <a:gd name="connsiteX62" fmla="*/ 11846 w 78977"/>
                <a:gd name="connsiteY62" fmla="*/ 45694 h 129748"/>
                <a:gd name="connsiteX63" fmla="*/ 12411 w 78977"/>
                <a:gd name="connsiteY63" fmla="*/ 40617 h 129748"/>
                <a:gd name="connsiteX64" fmla="*/ 13539 w 78977"/>
                <a:gd name="connsiteY64" fmla="*/ 34694 h 129748"/>
                <a:gd name="connsiteX65" fmla="*/ 14103 w 78977"/>
                <a:gd name="connsiteY65" fmla="*/ 31027 h 129748"/>
                <a:gd name="connsiteX66" fmla="*/ 14385 w 78977"/>
                <a:gd name="connsiteY66" fmla="*/ 29052 h 129748"/>
                <a:gd name="connsiteX67" fmla="*/ 14385 w 78977"/>
                <a:gd name="connsiteY67" fmla="*/ 28206 h 129748"/>
                <a:gd name="connsiteX68" fmla="*/ 14667 w 78977"/>
                <a:gd name="connsiteY68" fmla="*/ 27642 h 129748"/>
                <a:gd name="connsiteX69" fmla="*/ 15795 w 78977"/>
                <a:gd name="connsiteY69" fmla="*/ 21719 h 129748"/>
                <a:gd name="connsiteX70" fmla="*/ 16924 w 78977"/>
                <a:gd name="connsiteY70" fmla="*/ 14103 h 129748"/>
                <a:gd name="connsiteX71" fmla="*/ 17206 w 78977"/>
                <a:gd name="connsiteY71" fmla="*/ 13821 h 129748"/>
                <a:gd name="connsiteX72" fmla="*/ 18898 w 78977"/>
                <a:gd name="connsiteY72" fmla="*/ 9026 h 129748"/>
                <a:gd name="connsiteX73" fmla="*/ 19180 w 78977"/>
                <a:gd name="connsiteY73" fmla="*/ 7616 h 129748"/>
                <a:gd name="connsiteX74" fmla="*/ 20026 w 78977"/>
                <a:gd name="connsiteY74" fmla="*/ 3103 h 129748"/>
                <a:gd name="connsiteX75" fmla="*/ 21719 w 78977"/>
                <a:gd name="connsiteY75" fmla="*/ 282 h 129748"/>
                <a:gd name="connsiteX76" fmla="*/ 22283 w 78977"/>
                <a:gd name="connsiteY76" fmla="*/ 0 h 129748"/>
                <a:gd name="connsiteX77" fmla="*/ 22565 w 78977"/>
                <a:gd name="connsiteY77" fmla="*/ 0 h 129748"/>
                <a:gd name="connsiteX78" fmla="*/ 23693 w 78977"/>
                <a:gd name="connsiteY78" fmla="*/ 282 h 129748"/>
                <a:gd name="connsiteX79" fmla="*/ 24539 w 78977"/>
                <a:gd name="connsiteY79" fmla="*/ 282 h 129748"/>
                <a:gd name="connsiteX80" fmla="*/ 27360 w 78977"/>
                <a:gd name="connsiteY80" fmla="*/ 1128 h 129748"/>
                <a:gd name="connsiteX81" fmla="*/ 31309 w 78977"/>
                <a:gd name="connsiteY81" fmla="*/ 1974 h 129748"/>
                <a:gd name="connsiteX82" fmla="*/ 32719 w 78977"/>
                <a:gd name="connsiteY82" fmla="*/ 2539 h 129748"/>
                <a:gd name="connsiteX83" fmla="*/ 33283 w 78977"/>
                <a:gd name="connsiteY83" fmla="*/ 2539 h 129748"/>
                <a:gd name="connsiteX84" fmla="*/ 34411 w 78977"/>
                <a:gd name="connsiteY84" fmla="*/ 3385 h 129748"/>
                <a:gd name="connsiteX85" fmla="*/ 34411 w 78977"/>
                <a:gd name="connsiteY85" fmla="*/ 3667 h 129748"/>
                <a:gd name="connsiteX86" fmla="*/ 34129 w 78977"/>
                <a:gd name="connsiteY86" fmla="*/ 4795 h 129748"/>
                <a:gd name="connsiteX87" fmla="*/ 34694 w 78977"/>
                <a:gd name="connsiteY87" fmla="*/ 5077 h 129748"/>
                <a:gd name="connsiteX88" fmla="*/ 34976 w 78977"/>
                <a:gd name="connsiteY88" fmla="*/ 5641 h 129748"/>
                <a:gd name="connsiteX89" fmla="*/ 34694 w 78977"/>
                <a:gd name="connsiteY89" fmla="*/ 8180 h 129748"/>
                <a:gd name="connsiteX90" fmla="*/ 34129 w 78977"/>
                <a:gd name="connsiteY90" fmla="*/ 10154 h 129748"/>
                <a:gd name="connsiteX91" fmla="*/ 33283 w 78977"/>
                <a:gd name="connsiteY91" fmla="*/ 10718 h 129748"/>
                <a:gd name="connsiteX92" fmla="*/ 33001 w 78977"/>
                <a:gd name="connsiteY92" fmla="*/ 11000 h 129748"/>
                <a:gd name="connsiteX93" fmla="*/ 33565 w 78977"/>
                <a:gd name="connsiteY93" fmla="*/ 11282 h 129748"/>
                <a:gd name="connsiteX94" fmla="*/ 33847 w 78977"/>
                <a:gd name="connsiteY94" fmla="*/ 11847 h 129748"/>
                <a:gd name="connsiteX95" fmla="*/ 32719 w 78977"/>
                <a:gd name="connsiteY95" fmla="*/ 13257 h 129748"/>
                <a:gd name="connsiteX96" fmla="*/ 32437 w 78977"/>
                <a:gd name="connsiteY96" fmla="*/ 13539 h 129748"/>
                <a:gd name="connsiteX97" fmla="*/ 32155 w 78977"/>
                <a:gd name="connsiteY97" fmla="*/ 13257 h 129748"/>
                <a:gd name="connsiteX98" fmla="*/ 31309 w 78977"/>
                <a:gd name="connsiteY98" fmla="*/ 13821 h 129748"/>
                <a:gd name="connsiteX99" fmla="*/ 31309 w 78977"/>
                <a:gd name="connsiteY99" fmla="*/ 14667 h 129748"/>
                <a:gd name="connsiteX100" fmla="*/ 31591 w 78977"/>
                <a:gd name="connsiteY100" fmla="*/ 15231 h 129748"/>
                <a:gd name="connsiteX101" fmla="*/ 32437 w 78977"/>
                <a:gd name="connsiteY101" fmla="*/ 16360 h 129748"/>
                <a:gd name="connsiteX102" fmla="*/ 32155 w 78977"/>
                <a:gd name="connsiteY102" fmla="*/ 16924 h 129748"/>
                <a:gd name="connsiteX103" fmla="*/ 31027 w 78977"/>
                <a:gd name="connsiteY103" fmla="*/ 21437 h 129748"/>
                <a:gd name="connsiteX104" fmla="*/ 31027 w 78977"/>
                <a:gd name="connsiteY104" fmla="*/ 22001 h 129748"/>
                <a:gd name="connsiteX105" fmla="*/ 31027 w 78977"/>
                <a:gd name="connsiteY105" fmla="*/ 23129 h 129748"/>
                <a:gd name="connsiteX106" fmla="*/ 31027 w 78977"/>
                <a:gd name="connsiteY106" fmla="*/ 24821 h 129748"/>
                <a:gd name="connsiteX107" fmla="*/ 31309 w 78977"/>
                <a:gd name="connsiteY107" fmla="*/ 26796 h 129748"/>
                <a:gd name="connsiteX108" fmla="*/ 31309 w 78977"/>
                <a:gd name="connsiteY108" fmla="*/ 27078 h 129748"/>
                <a:gd name="connsiteX109" fmla="*/ 30463 w 78977"/>
                <a:gd name="connsiteY109" fmla="*/ 29616 h 129748"/>
                <a:gd name="connsiteX110" fmla="*/ 29616 w 78977"/>
                <a:gd name="connsiteY110" fmla="*/ 34694 h 129748"/>
                <a:gd name="connsiteX111" fmla="*/ 29334 w 78977"/>
                <a:gd name="connsiteY111" fmla="*/ 37232 h 129748"/>
                <a:gd name="connsiteX112" fmla="*/ 29616 w 78977"/>
                <a:gd name="connsiteY112" fmla="*/ 38642 h 129748"/>
                <a:gd name="connsiteX113" fmla="*/ 29052 w 78977"/>
                <a:gd name="connsiteY113" fmla="*/ 40899 h 129748"/>
                <a:gd name="connsiteX114" fmla="*/ 29616 w 78977"/>
                <a:gd name="connsiteY114" fmla="*/ 42873 h 129748"/>
                <a:gd name="connsiteX115" fmla="*/ 29334 w 78977"/>
                <a:gd name="connsiteY115" fmla="*/ 43437 h 129748"/>
                <a:gd name="connsiteX116" fmla="*/ 29334 w 78977"/>
                <a:gd name="connsiteY116" fmla="*/ 44284 h 129748"/>
                <a:gd name="connsiteX117" fmla="*/ 29334 w 78977"/>
                <a:gd name="connsiteY117" fmla="*/ 44848 h 129748"/>
                <a:gd name="connsiteX118" fmla="*/ 29052 w 78977"/>
                <a:gd name="connsiteY118" fmla="*/ 46258 h 129748"/>
                <a:gd name="connsiteX119" fmla="*/ 28488 w 78977"/>
                <a:gd name="connsiteY119" fmla="*/ 47668 h 129748"/>
                <a:gd name="connsiteX120" fmla="*/ 27924 w 78977"/>
                <a:gd name="connsiteY120" fmla="*/ 50489 h 129748"/>
                <a:gd name="connsiteX121" fmla="*/ 28206 w 78977"/>
                <a:gd name="connsiteY121" fmla="*/ 51335 h 129748"/>
                <a:gd name="connsiteX122" fmla="*/ 28206 w 78977"/>
                <a:gd name="connsiteY122" fmla="*/ 53310 h 129748"/>
                <a:gd name="connsiteX123" fmla="*/ 27924 w 78977"/>
                <a:gd name="connsiteY123" fmla="*/ 55002 h 129748"/>
                <a:gd name="connsiteX124" fmla="*/ 27924 w 78977"/>
                <a:gd name="connsiteY124" fmla="*/ 56412 h 129748"/>
                <a:gd name="connsiteX125" fmla="*/ 27924 w 78977"/>
                <a:gd name="connsiteY125" fmla="*/ 57258 h 129748"/>
                <a:gd name="connsiteX126" fmla="*/ 27360 w 78977"/>
                <a:gd name="connsiteY126" fmla="*/ 59233 h 129748"/>
                <a:gd name="connsiteX127" fmla="*/ 27360 w 78977"/>
                <a:gd name="connsiteY127" fmla="*/ 59797 h 129748"/>
                <a:gd name="connsiteX128" fmla="*/ 27924 w 78977"/>
                <a:gd name="connsiteY128" fmla="*/ 59515 h 129748"/>
                <a:gd name="connsiteX129" fmla="*/ 31027 w 78977"/>
                <a:gd name="connsiteY129" fmla="*/ 55002 h 129748"/>
                <a:gd name="connsiteX130" fmla="*/ 32155 w 78977"/>
                <a:gd name="connsiteY130" fmla="*/ 53310 h 129748"/>
                <a:gd name="connsiteX131" fmla="*/ 35540 w 78977"/>
                <a:gd name="connsiteY131" fmla="*/ 47104 h 129748"/>
                <a:gd name="connsiteX132" fmla="*/ 39489 w 78977"/>
                <a:gd name="connsiteY132" fmla="*/ 41181 h 129748"/>
                <a:gd name="connsiteX133" fmla="*/ 41181 w 78977"/>
                <a:gd name="connsiteY133" fmla="*/ 39207 h 129748"/>
                <a:gd name="connsiteX134" fmla="*/ 42873 w 78977"/>
                <a:gd name="connsiteY134" fmla="*/ 37232 h 129748"/>
                <a:gd name="connsiteX135" fmla="*/ 44566 w 78977"/>
                <a:gd name="connsiteY135" fmla="*/ 35258 h 129748"/>
                <a:gd name="connsiteX136" fmla="*/ 45412 w 78977"/>
                <a:gd name="connsiteY136" fmla="*/ 34694 h 129748"/>
                <a:gd name="connsiteX137" fmla="*/ 48514 w 78977"/>
                <a:gd name="connsiteY137" fmla="*/ 30745 h 129748"/>
                <a:gd name="connsiteX138" fmla="*/ 49361 w 78977"/>
                <a:gd name="connsiteY138" fmla="*/ 30181 h 129748"/>
                <a:gd name="connsiteX139" fmla="*/ 49925 w 78977"/>
                <a:gd name="connsiteY139" fmla="*/ 29616 h 129748"/>
                <a:gd name="connsiteX140" fmla="*/ 54438 w 78977"/>
                <a:gd name="connsiteY140" fmla="*/ 25668 h 129748"/>
                <a:gd name="connsiteX141" fmla="*/ 55284 w 78977"/>
                <a:gd name="connsiteY141" fmla="*/ 25386 h 129748"/>
                <a:gd name="connsiteX142" fmla="*/ 55566 w 78977"/>
                <a:gd name="connsiteY142" fmla="*/ 25668 h 129748"/>
                <a:gd name="connsiteX143" fmla="*/ 55848 w 78977"/>
                <a:gd name="connsiteY143" fmla="*/ 25386 h 129748"/>
                <a:gd name="connsiteX144" fmla="*/ 57823 w 78977"/>
                <a:gd name="connsiteY144" fmla="*/ 24539 h 129748"/>
                <a:gd name="connsiteX145" fmla="*/ 58105 w 78977"/>
                <a:gd name="connsiteY145" fmla="*/ 24539 h 129748"/>
                <a:gd name="connsiteX146" fmla="*/ 58387 w 78977"/>
                <a:gd name="connsiteY146" fmla="*/ 23975 h 129748"/>
                <a:gd name="connsiteX147" fmla="*/ 61490 w 78977"/>
                <a:gd name="connsiteY147" fmla="*/ 21437 h 129748"/>
                <a:gd name="connsiteX148" fmla="*/ 62900 w 78977"/>
                <a:gd name="connsiteY148" fmla="*/ 20308 h 129748"/>
                <a:gd name="connsiteX149" fmla="*/ 63182 w 78977"/>
                <a:gd name="connsiteY149" fmla="*/ 20026 h 129748"/>
                <a:gd name="connsiteX150" fmla="*/ 65438 w 78977"/>
                <a:gd name="connsiteY150" fmla="*/ 19462 h 129748"/>
                <a:gd name="connsiteX151" fmla="*/ 66002 w 78977"/>
                <a:gd name="connsiteY151" fmla="*/ 19462 h 129748"/>
                <a:gd name="connsiteX152" fmla="*/ 67131 w 78977"/>
                <a:gd name="connsiteY152" fmla="*/ 19744 h 129748"/>
                <a:gd name="connsiteX153" fmla="*/ 67977 w 78977"/>
                <a:gd name="connsiteY153" fmla="*/ 20026 h 129748"/>
                <a:gd name="connsiteX154" fmla="*/ 69105 w 78977"/>
                <a:gd name="connsiteY154" fmla="*/ 19462 h 129748"/>
                <a:gd name="connsiteX155" fmla="*/ 69669 w 78977"/>
                <a:gd name="connsiteY155" fmla="*/ 19180 h 129748"/>
                <a:gd name="connsiteX156" fmla="*/ 70515 w 78977"/>
                <a:gd name="connsiteY156" fmla="*/ 19462 h 129748"/>
                <a:gd name="connsiteX157" fmla="*/ 72208 w 78977"/>
                <a:gd name="connsiteY157" fmla="*/ 19180 h 129748"/>
                <a:gd name="connsiteX158" fmla="*/ 75028 w 78977"/>
                <a:gd name="connsiteY158" fmla="*/ 20026 h 129748"/>
                <a:gd name="connsiteX159" fmla="*/ 75310 w 78977"/>
                <a:gd name="connsiteY159" fmla="*/ 20026 h 129748"/>
                <a:gd name="connsiteX160" fmla="*/ 75875 w 78977"/>
                <a:gd name="connsiteY160" fmla="*/ 20026 h 129748"/>
                <a:gd name="connsiteX161" fmla="*/ 77285 w 78977"/>
                <a:gd name="connsiteY161" fmla="*/ 20873 h 129748"/>
                <a:gd name="connsiteX162" fmla="*/ 77003 w 78977"/>
                <a:gd name="connsiteY162" fmla="*/ 21437 h 129748"/>
                <a:gd name="connsiteX163" fmla="*/ 78131 w 78977"/>
                <a:gd name="connsiteY163" fmla="*/ 22283 h 129748"/>
                <a:gd name="connsiteX164" fmla="*/ 79259 w 78977"/>
                <a:gd name="connsiteY164" fmla="*/ 22283 h 129748"/>
                <a:gd name="connsiteX165" fmla="*/ 80106 w 78977"/>
                <a:gd name="connsiteY165" fmla="*/ 22283 h 129748"/>
                <a:gd name="connsiteX166" fmla="*/ 81234 w 78977"/>
                <a:gd name="connsiteY166" fmla="*/ 22001 h 129748"/>
                <a:gd name="connsiteX167" fmla="*/ 83208 w 78977"/>
                <a:gd name="connsiteY167" fmla="*/ 22283 h 129748"/>
                <a:gd name="connsiteX168" fmla="*/ 83490 w 78977"/>
                <a:gd name="connsiteY168" fmla="*/ 22565 h 129748"/>
                <a:gd name="connsiteX169" fmla="*/ 84054 w 78977"/>
                <a:gd name="connsiteY169" fmla="*/ 25668 h 129748"/>
                <a:gd name="connsiteX170" fmla="*/ 84054 w 78977"/>
                <a:gd name="connsiteY170" fmla="*/ 25950 h 129748"/>
                <a:gd name="connsiteX171" fmla="*/ 83490 w 78977"/>
                <a:gd name="connsiteY171" fmla="*/ 26514 h 129748"/>
                <a:gd name="connsiteX172" fmla="*/ 82926 w 78977"/>
                <a:gd name="connsiteY172" fmla="*/ 26514 h 129748"/>
                <a:gd name="connsiteX173" fmla="*/ 82926 w 78977"/>
                <a:gd name="connsiteY173" fmla="*/ 27078 h 129748"/>
                <a:gd name="connsiteX174" fmla="*/ 82644 w 78977"/>
                <a:gd name="connsiteY174" fmla="*/ 27924 h 129748"/>
                <a:gd name="connsiteX175" fmla="*/ 81798 w 78977"/>
                <a:gd name="connsiteY175" fmla="*/ 27642 h 129748"/>
                <a:gd name="connsiteX176" fmla="*/ 81516 w 78977"/>
                <a:gd name="connsiteY176" fmla="*/ 27924 h 129748"/>
                <a:gd name="connsiteX177" fmla="*/ 81516 w 78977"/>
                <a:gd name="connsiteY177" fmla="*/ 28488 h 129748"/>
                <a:gd name="connsiteX178" fmla="*/ 81516 w 78977"/>
                <a:gd name="connsiteY178" fmla="*/ 28770 h 129748"/>
                <a:gd name="connsiteX179" fmla="*/ 80670 w 78977"/>
                <a:gd name="connsiteY179" fmla="*/ 29334 h 129748"/>
                <a:gd name="connsiteX180" fmla="*/ 80106 w 78977"/>
                <a:gd name="connsiteY180" fmla="*/ 29616 h 129748"/>
                <a:gd name="connsiteX181" fmla="*/ 80106 w 78977"/>
                <a:gd name="connsiteY181" fmla="*/ 29899 h 129748"/>
                <a:gd name="connsiteX182" fmla="*/ 80388 w 78977"/>
                <a:gd name="connsiteY182" fmla="*/ 30181 h 129748"/>
                <a:gd name="connsiteX183" fmla="*/ 80388 w 78977"/>
                <a:gd name="connsiteY183" fmla="*/ 30463 h 129748"/>
                <a:gd name="connsiteX184" fmla="*/ 79824 w 78977"/>
                <a:gd name="connsiteY184" fmla="*/ 30745 h 129748"/>
                <a:gd name="connsiteX185" fmla="*/ 79259 w 78977"/>
                <a:gd name="connsiteY185" fmla="*/ 30745 h 129748"/>
                <a:gd name="connsiteX186" fmla="*/ 75875 w 78977"/>
                <a:gd name="connsiteY186" fmla="*/ 29052 h 129748"/>
                <a:gd name="connsiteX187" fmla="*/ 73900 w 78977"/>
                <a:gd name="connsiteY187" fmla="*/ 28770 h 129748"/>
                <a:gd name="connsiteX188" fmla="*/ 70797 w 78977"/>
                <a:gd name="connsiteY188" fmla="*/ 29334 h 129748"/>
                <a:gd name="connsiteX189" fmla="*/ 70515 w 78977"/>
                <a:gd name="connsiteY189" fmla="*/ 29616 h 129748"/>
                <a:gd name="connsiteX190" fmla="*/ 67977 w 78977"/>
                <a:gd name="connsiteY190" fmla="*/ 31027 h 129748"/>
                <a:gd name="connsiteX191" fmla="*/ 62336 w 78977"/>
                <a:gd name="connsiteY191" fmla="*/ 34694 h 129748"/>
                <a:gd name="connsiteX192" fmla="*/ 61207 w 78977"/>
                <a:gd name="connsiteY192" fmla="*/ 36668 h 129748"/>
                <a:gd name="connsiteX193" fmla="*/ 60643 w 78977"/>
                <a:gd name="connsiteY193" fmla="*/ 37514 h 129748"/>
                <a:gd name="connsiteX194" fmla="*/ 57259 w 78977"/>
                <a:gd name="connsiteY194" fmla="*/ 41181 h 129748"/>
                <a:gd name="connsiteX195" fmla="*/ 54438 w 78977"/>
                <a:gd name="connsiteY195" fmla="*/ 45412 h 129748"/>
                <a:gd name="connsiteX196" fmla="*/ 52463 w 78977"/>
                <a:gd name="connsiteY196" fmla="*/ 47950 h 129748"/>
                <a:gd name="connsiteX197" fmla="*/ 52181 w 78977"/>
                <a:gd name="connsiteY197" fmla="*/ 49079 h 129748"/>
                <a:gd name="connsiteX198" fmla="*/ 50207 w 78977"/>
                <a:gd name="connsiteY198" fmla="*/ 51335 h 129748"/>
                <a:gd name="connsiteX199" fmla="*/ 48797 w 78977"/>
                <a:gd name="connsiteY199" fmla="*/ 53592 h 129748"/>
                <a:gd name="connsiteX200" fmla="*/ 47668 w 78977"/>
                <a:gd name="connsiteY200" fmla="*/ 56412 h 129748"/>
                <a:gd name="connsiteX201" fmla="*/ 45412 w 78977"/>
                <a:gd name="connsiteY201" fmla="*/ 60361 h 129748"/>
                <a:gd name="connsiteX202" fmla="*/ 44848 w 78977"/>
                <a:gd name="connsiteY202" fmla="*/ 61207 h 129748"/>
                <a:gd name="connsiteX203" fmla="*/ 44002 w 78977"/>
                <a:gd name="connsiteY203" fmla="*/ 63182 h 129748"/>
                <a:gd name="connsiteX204" fmla="*/ 43720 w 78977"/>
                <a:gd name="connsiteY204" fmla="*/ 63464 h 129748"/>
                <a:gd name="connsiteX205" fmla="*/ 42873 w 78977"/>
                <a:gd name="connsiteY205" fmla="*/ 65438 h 129748"/>
                <a:gd name="connsiteX206" fmla="*/ 42309 w 78977"/>
                <a:gd name="connsiteY206" fmla="*/ 66284 h 129748"/>
                <a:gd name="connsiteX207" fmla="*/ 41181 w 78977"/>
                <a:gd name="connsiteY207" fmla="*/ 66849 h 129748"/>
                <a:gd name="connsiteX208" fmla="*/ 40899 w 78977"/>
                <a:gd name="connsiteY208" fmla="*/ 67695 h 129748"/>
                <a:gd name="connsiteX209" fmla="*/ 40899 w 78977"/>
                <a:gd name="connsiteY209" fmla="*/ 68259 h 129748"/>
                <a:gd name="connsiteX210" fmla="*/ 40899 w 78977"/>
                <a:gd name="connsiteY210" fmla="*/ 68823 h 129748"/>
                <a:gd name="connsiteX211" fmla="*/ 39207 w 78977"/>
                <a:gd name="connsiteY211" fmla="*/ 73618 h 129748"/>
                <a:gd name="connsiteX212" fmla="*/ 38925 w 78977"/>
                <a:gd name="connsiteY212" fmla="*/ 73900 h 129748"/>
                <a:gd name="connsiteX213" fmla="*/ 38078 w 78977"/>
                <a:gd name="connsiteY213" fmla="*/ 74746 h 129748"/>
                <a:gd name="connsiteX214" fmla="*/ 38078 w 78977"/>
                <a:gd name="connsiteY214" fmla="*/ 75028 h 129748"/>
                <a:gd name="connsiteX215" fmla="*/ 36950 w 78977"/>
                <a:gd name="connsiteY215" fmla="*/ 76157 h 129748"/>
                <a:gd name="connsiteX216" fmla="*/ 36950 w 78977"/>
                <a:gd name="connsiteY216" fmla="*/ 77003 h 129748"/>
                <a:gd name="connsiteX217" fmla="*/ 36950 w 78977"/>
                <a:gd name="connsiteY217" fmla="*/ 77567 h 129748"/>
                <a:gd name="connsiteX218" fmla="*/ 35822 w 78977"/>
                <a:gd name="connsiteY218" fmla="*/ 78977 h 129748"/>
                <a:gd name="connsiteX219" fmla="*/ 35822 w 78977"/>
                <a:gd name="connsiteY219" fmla="*/ 79823 h 129748"/>
                <a:gd name="connsiteX220" fmla="*/ 35822 w 78977"/>
                <a:gd name="connsiteY220" fmla="*/ 78413 h 129748"/>
                <a:gd name="connsiteX221" fmla="*/ 35540 w 78977"/>
                <a:gd name="connsiteY221" fmla="*/ 78413 h 129748"/>
                <a:gd name="connsiteX222" fmla="*/ 35822 w 78977"/>
                <a:gd name="connsiteY222" fmla="*/ 78977 h 129748"/>
                <a:gd name="connsiteX223" fmla="*/ 35822 w 78977"/>
                <a:gd name="connsiteY223" fmla="*/ 78413 h 129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78977" h="129748">
                  <a:moveTo>
                    <a:pt x="35822" y="79823"/>
                  </a:moveTo>
                  <a:cubicBezTo>
                    <a:pt x="35822" y="80105"/>
                    <a:pt x="35540" y="80670"/>
                    <a:pt x="35258" y="81234"/>
                  </a:cubicBezTo>
                  <a:cubicBezTo>
                    <a:pt x="34694" y="81234"/>
                    <a:pt x="34411" y="81516"/>
                    <a:pt x="34411" y="82080"/>
                  </a:cubicBezTo>
                  <a:lnTo>
                    <a:pt x="34411" y="83772"/>
                  </a:lnTo>
                  <a:cubicBezTo>
                    <a:pt x="34411" y="84054"/>
                    <a:pt x="34411" y="84336"/>
                    <a:pt x="34129" y="84618"/>
                  </a:cubicBezTo>
                  <a:cubicBezTo>
                    <a:pt x="33847" y="84900"/>
                    <a:pt x="33283" y="85183"/>
                    <a:pt x="33283" y="85465"/>
                  </a:cubicBezTo>
                  <a:lnTo>
                    <a:pt x="30463" y="93644"/>
                  </a:lnTo>
                  <a:cubicBezTo>
                    <a:pt x="30463" y="94209"/>
                    <a:pt x="30180" y="94773"/>
                    <a:pt x="29898" y="95337"/>
                  </a:cubicBezTo>
                  <a:cubicBezTo>
                    <a:pt x="29334" y="95619"/>
                    <a:pt x="29052" y="96183"/>
                    <a:pt x="28770" y="97029"/>
                  </a:cubicBezTo>
                  <a:cubicBezTo>
                    <a:pt x="28770" y="97311"/>
                    <a:pt x="28488" y="98439"/>
                    <a:pt x="28488" y="99004"/>
                  </a:cubicBezTo>
                  <a:cubicBezTo>
                    <a:pt x="28488" y="99286"/>
                    <a:pt x="28206" y="99850"/>
                    <a:pt x="27642" y="100414"/>
                  </a:cubicBezTo>
                  <a:cubicBezTo>
                    <a:pt x="27078" y="100414"/>
                    <a:pt x="27078" y="100978"/>
                    <a:pt x="27078" y="101260"/>
                  </a:cubicBezTo>
                  <a:cubicBezTo>
                    <a:pt x="27078" y="102952"/>
                    <a:pt x="26796" y="104363"/>
                    <a:pt x="26232" y="105209"/>
                  </a:cubicBezTo>
                  <a:cubicBezTo>
                    <a:pt x="25386" y="107183"/>
                    <a:pt x="25104" y="108594"/>
                    <a:pt x="24822" y="109722"/>
                  </a:cubicBezTo>
                  <a:lnTo>
                    <a:pt x="23975" y="111414"/>
                  </a:lnTo>
                  <a:cubicBezTo>
                    <a:pt x="23975" y="111978"/>
                    <a:pt x="23693" y="112825"/>
                    <a:pt x="23411" y="113107"/>
                  </a:cubicBezTo>
                  <a:cubicBezTo>
                    <a:pt x="23411" y="113389"/>
                    <a:pt x="22847" y="113671"/>
                    <a:pt x="22847" y="113953"/>
                  </a:cubicBezTo>
                  <a:cubicBezTo>
                    <a:pt x="22565" y="115645"/>
                    <a:pt x="21437" y="117338"/>
                    <a:pt x="20873" y="118748"/>
                  </a:cubicBezTo>
                  <a:cubicBezTo>
                    <a:pt x="20591" y="119876"/>
                    <a:pt x="20026" y="121004"/>
                    <a:pt x="19462" y="121851"/>
                  </a:cubicBezTo>
                  <a:cubicBezTo>
                    <a:pt x="19180" y="122133"/>
                    <a:pt x="19180" y="122697"/>
                    <a:pt x="18898" y="122697"/>
                  </a:cubicBezTo>
                  <a:cubicBezTo>
                    <a:pt x="17770" y="122979"/>
                    <a:pt x="17488" y="123825"/>
                    <a:pt x="17206" y="124671"/>
                  </a:cubicBezTo>
                  <a:cubicBezTo>
                    <a:pt x="16642" y="125517"/>
                    <a:pt x="16077" y="126364"/>
                    <a:pt x="15231" y="126364"/>
                  </a:cubicBezTo>
                  <a:cubicBezTo>
                    <a:pt x="14949" y="126646"/>
                    <a:pt x="14385" y="126928"/>
                    <a:pt x="14385" y="127492"/>
                  </a:cubicBezTo>
                  <a:cubicBezTo>
                    <a:pt x="14103" y="128056"/>
                    <a:pt x="14103" y="128338"/>
                    <a:pt x="13257" y="128338"/>
                  </a:cubicBezTo>
                  <a:cubicBezTo>
                    <a:pt x="12975" y="128338"/>
                    <a:pt x="12975" y="128338"/>
                    <a:pt x="12975" y="128620"/>
                  </a:cubicBezTo>
                  <a:lnTo>
                    <a:pt x="12975" y="129184"/>
                  </a:lnTo>
                  <a:cubicBezTo>
                    <a:pt x="12129" y="129748"/>
                    <a:pt x="11846" y="130312"/>
                    <a:pt x="11282" y="130876"/>
                  </a:cubicBezTo>
                  <a:cubicBezTo>
                    <a:pt x="10718" y="130876"/>
                    <a:pt x="10154" y="130876"/>
                    <a:pt x="9872" y="131441"/>
                  </a:cubicBezTo>
                  <a:cubicBezTo>
                    <a:pt x="9872" y="131441"/>
                    <a:pt x="9872" y="131723"/>
                    <a:pt x="9590" y="131723"/>
                  </a:cubicBezTo>
                  <a:cubicBezTo>
                    <a:pt x="8744" y="132287"/>
                    <a:pt x="8462" y="132569"/>
                    <a:pt x="8180" y="132569"/>
                  </a:cubicBezTo>
                  <a:cubicBezTo>
                    <a:pt x="7898" y="132569"/>
                    <a:pt x="7334" y="132287"/>
                    <a:pt x="6770" y="132005"/>
                  </a:cubicBezTo>
                  <a:lnTo>
                    <a:pt x="3385" y="130594"/>
                  </a:lnTo>
                  <a:cubicBezTo>
                    <a:pt x="3103" y="130594"/>
                    <a:pt x="2539" y="130312"/>
                    <a:pt x="2539" y="130030"/>
                  </a:cubicBezTo>
                  <a:cubicBezTo>
                    <a:pt x="2257" y="128902"/>
                    <a:pt x="1128" y="128620"/>
                    <a:pt x="564" y="128338"/>
                  </a:cubicBezTo>
                  <a:lnTo>
                    <a:pt x="564" y="128056"/>
                  </a:lnTo>
                  <a:cubicBezTo>
                    <a:pt x="564" y="127492"/>
                    <a:pt x="564" y="126928"/>
                    <a:pt x="0" y="126081"/>
                  </a:cubicBezTo>
                  <a:lnTo>
                    <a:pt x="0" y="125517"/>
                  </a:lnTo>
                  <a:cubicBezTo>
                    <a:pt x="282" y="124953"/>
                    <a:pt x="564" y="124107"/>
                    <a:pt x="564" y="123261"/>
                  </a:cubicBezTo>
                  <a:cubicBezTo>
                    <a:pt x="564" y="122133"/>
                    <a:pt x="846" y="121286"/>
                    <a:pt x="846" y="120158"/>
                  </a:cubicBezTo>
                  <a:lnTo>
                    <a:pt x="846" y="119594"/>
                  </a:lnTo>
                  <a:cubicBezTo>
                    <a:pt x="1410" y="118748"/>
                    <a:pt x="1410" y="117338"/>
                    <a:pt x="1692" y="116773"/>
                  </a:cubicBezTo>
                  <a:cubicBezTo>
                    <a:pt x="2539" y="115363"/>
                    <a:pt x="2821" y="113671"/>
                    <a:pt x="2821" y="112260"/>
                  </a:cubicBezTo>
                  <a:cubicBezTo>
                    <a:pt x="2821" y="111132"/>
                    <a:pt x="3103" y="109440"/>
                    <a:pt x="3385" y="108312"/>
                  </a:cubicBezTo>
                  <a:cubicBezTo>
                    <a:pt x="3385" y="107465"/>
                    <a:pt x="3667" y="106901"/>
                    <a:pt x="3949" y="105773"/>
                  </a:cubicBezTo>
                  <a:lnTo>
                    <a:pt x="5359" y="99286"/>
                  </a:lnTo>
                  <a:cubicBezTo>
                    <a:pt x="5359" y="97593"/>
                    <a:pt x="5641" y="96183"/>
                    <a:pt x="5641" y="94773"/>
                  </a:cubicBezTo>
                  <a:lnTo>
                    <a:pt x="5641" y="92798"/>
                  </a:lnTo>
                  <a:cubicBezTo>
                    <a:pt x="5641" y="91670"/>
                    <a:pt x="5923" y="90542"/>
                    <a:pt x="5923" y="89131"/>
                  </a:cubicBezTo>
                  <a:lnTo>
                    <a:pt x="5923" y="87721"/>
                  </a:lnTo>
                  <a:cubicBezTo>
                    <a:pt x="5923" y="87439"/>
                    <a:pt x="6488" y="87157"/>
                    <a:pt x="6488" y="86875"/>
                  </a:cubicBezTo>
                  <a:cubicBezTo>
                    <a:pt x="6488" y="85465"/>
                    <a:pt x="6770" y="84054"/>
                    <a:pt x="6770" y="83208"/>
                  </a:cubicBezTo>
                  <a:cubicBezTo>
                    <a:pt x="7052" y="81798"/>
                    <a:pt x="7334" y="80387"/>
                    <a:pt x="7334" y="79259"/>
                  </a:cubicBezTo>
                  <a:cubicBezTo>
                    <a:pt x="7334" y="78131"/>
                    <a:pt x="7616" y="77003"/>
                    <a:pt x="7898" y="75592"/>
                  </a:cubicBezTo>
                  <a:cubicBezTo>
                    <a:pt x="7898" y="73618"/>
                    <a:pt x="8180" y="71644"/>
                    <a:pt x="8744" y="69669"/>
                  </a:cubicBezTo>
                  <a:lnTo>
                    <a:pt x="8744" y="69105"/>
                  </a:lnTo>
                  <a:cubicBezTo>
                    <a:pt x="8744" y="68823"/>
                    <a:pt x="8744" y="68259"/>
                    <a:pt x="8744" y="67977"/>
                  </a:cubicBezTo>
                  <a:cubicBezTo>
                    <a:pt x="8744" y="66566"/>
                    <a:pt x="9026" y="65156"/>
                    <a:pt x="9026" y="63464"/>
                  </a:cubicBezTo>
                  <a:cubicBezTo>
                    <a:pt x="9026" y="62054"/>
                    <a:pt x="9308" y="60361"/>
                    <a:pt x="10154" y="58951"/>
                  </a:cubicBezTo>
                  <a:cubicBezTo>
                    <a:pt x="10154" y="58387"/>
                    <a:pt x="10154" y="58387"/>
                    <a:pt x="10436" y="57823"/>
                  </a:cubicBezTo>
                  <a:cubicBezTo>
                    <a:pt x="10718" y="56412"/>
                    <a:pt x="11282" y="55002"/>
                    <a:pt x="11282" y="53028"/>
                  </a:cubicBezTo>
                  <a:lnTo>
                    <a:pt x="11282" y="50207"/>
                  </a:lnTo>
                  <a:cubicBezTo>
                    <a:pt x="11564" y="49361"/>
                    <a:pt x="11564" y="48233"/>
                    <a:pt x="11564" y="47104"/>
                  </a:cubicBezTo>
                  <a:cubicBezTo>
                    <a:pt x="11564" y="47104"/>
                    <a:pt x="11564" y="46258"/>
                    <a:pt x="11846" y="45694"/>
                  </a:cubicBezTo>
                  <a:cubicBezTo>
                    <a:pt x="12411" y="44002"/>
                    <a:pt x="12411" y="42309"/>
                    <a:pt x="12411" y="40617"/>
                  </a:cubicBezTo>
                  <a:cubicBezTo>
                    <a:pt x="12975" y="38642"/>
                    <a:pt x="13257" y="36668"/>
                    <a:pt x="13539" y="34694"/>
                  </a:cubicBezTo>
                  <a:cubicBezTo>
                    <a:pt x="13821" y="33565"/>
                    <a:pt x="13539" y="32437"/>
                    <a:pt x="14103" y="31027"/>
                  </a:cubicBezTo>
                  <a:cubicBezTo>
                    <a:pt x="14385" y="30745"/>
                    <a:pt x="14385" y="29899"/>
                    <a:pt x="14385" y="29052"/>
                  </a:cubicBezTo>
                  <a:cubicBezTo>
                    <a:pt x="14385" y="28770"/>
                    <a:pt x="14385" y="28488"/>
                    <a:pt x="14385" y="28206"/>
                  </a:cubicBezTo>
                  <a:cubicBezTo>
                    <a:pt x="14385" y="28206"/>
                    <a:pt x="14385" y="27924"/>
                    <a:pt x="14667" y="27642"/>
                  </a:cubicBezTo>
                  <a:cubicBezTo>
                    <a:pt x="14949" y="25950"/>
                    <a:pt x="15231" y="23693"/>
                    <a:pt x="15795" y="21719"/>
                  </a:cubicBezTo>
                  <a:cubicBezTo>
                    <a:pt x="16360" y="19180"/>
                    <a:pt x="16642" y="16642"/>
                    <a:pt x="16924" y="14103"/>
                  </a:cubicBezTo>
                  <a:cubicBezTo>
                    <a:pt x="17206" y="14103"/>
                    <a:pt x="16924" y="13821"/>
                    <a:pt x="17206" y="13821"/>
                  </a:cubicBezTo>
                  <a:cubicBezTo>
                    <a:pt x="18052" y="12129"/>
                    <a:pt x="18052" y="10436"/>
                    <a:pt x="18898" y="9026"/>
                  </a:cubicBezTo>
                  <a:cubicBezTo>
                    <a:pt x="18898" y="8744"/>
                    <a:pt x="18898" y="7898"/>
                    <a:pt x="19180" y="7616"/>
                  </a:cubicBezTo>
                  <a:cubicBezTo>
                    <a:pt x="19462" y="5923"/>
                    <a:pt x="20026" y="5077"/>
                    <a:pt x="20026" y="3103"/>
                  </a:cubicBezTo>
                  <a:lnTo>
                    <a:pt x="21719" y="282"/>
                  </a:lnTo>
                  <a:cubicBezTo>
                    <a:pt x="22001" y="0"/>
                    <a:pt x="22001" y="0"/>
                    <a:pt x="22283" y="0"/>
                  </a:cubicBezTo>
                  <a:lnTo>
                    <a:pt x="22565" y="0"/>
                  </a:lnTo>
                  <a:cubicBezTo>
                    <a:pt x="22847" y="282"/>
                    <a:pt x="23411" y="282"/>
                    <a:pt x="23693" y="282"/>
                  </a:cubicBezTo>
                  <a:cubicBezTo>
                    <a:pt x="23975" y="282"/>
                    <a:pt x="24257" y="282"/>
                    <a:pt x="24539" y="282"/>
                  </a:cubicBezTo>
                  <a:cubicBezTo>
                    <a:pt x="25668" y="846"/>
                    <a:pt x="26514" y="1128"/>
                    <a:pt x="27360" y="1128"/>
                  </a:cubicBezTo>
                  <a:cubicBezTo>
                    <a:pt x="28770" y="1128"/>
                    <a:pt x="30180" y="1692"/>
                    <a:pt x="31309" y="1974"/>
                  </a:cubicBezTo>
                  <a:cubicBezTo>
                    <a:pt x="31873" y="2256"/>
                    <a:pt x="32155" y="2539"/>
                    <a:pt x="32719" y="2539"/>
                  </a:cubicBezTo>
                  <a:cubicBezTo>
                    <a:pt x="33001" y="2539"/>
                    <a:pt x="33001" y="2539"/>
                    <a:pt x="33283" y="2539"/>
                  </a:cubicBezTo>
                  <a:cubicBezTo>
                    <a:pt x="33847" y="2539"/>
                    <a:pt x="34129" y="2821"/>
                    <a:pt x="34411" y="3385"/>
                  </a:cubicBezTo>
                  <a:lnTo>
                    <a:pt x="34411" y="3667"/>
                  </a:lnTo>
                  <a:cubicBezTo>
                    <a:pt x="34411" y="3949"/>
                    <a:pt x="34411" y="4513"/>
                    <a:pt x="34129" y="4795"/>
                  </a:cubicBezTo>
                  <a:cubicBezTo>
                    <a:pt x="34129" y="4795"/>
                    <a:pt x="34411" y="5077"/>
                    <a:pt x="34694" y="5077"/>
                  </a:cubicBezTo>
                  <a:cubicBezTo>
                    <a:pt x="34976" y="5077"/>
                    <a:pt x="34976" y="5359"/>
                    <a:pt x="34976" y="5641"/>
                  </a:cubicBezTo>
                  <a:cubicBezTo>
                    <a:pt x="34976" y="6487"/>
                    <a:pt x="34694" y="7052"/>
                    <a:pt x="34694" y="8180"/>
                  </a:cubicBezTo>
                  <a:cubicBezTo>
                    <a:pt x="34694" y="8744"/>
                    <a:pt x="34129" y="9590"/>
                    <a:pt x="34129" y="10154"/>
                  </a:cubicBezTo>
                  <a:cubicBezTo>
                    <a:pt x="34129" y="10718"/>
                    <a:pt x="33847" y="10436"/>
                    <a:pt x="33283" y="10718"/>
                  </a:cubicBezTo>
                  <a:cubicBezTo>
                    <a:pt x="33001" y="11000"/>
                    <a:pt x="33001" y="11000"/>
                    <a:pt x="33001" y="11000"/>
                  </a:cubicBezTo>
                  <a:cubicBezTo>
                    <a:pt x="33001" y="11000"/>
                    <a:pt x="33001" y="11282"/>
                    <a:pt x="33565" y="11282"/>
                  </a:cubicBezTo>
                  <a:cubicBezTo>
                    <a:pt x="33565" y="11282"/>
                    <a:pt x="33847" y="11565"/>
                    <a:pt x="33847" y="11847"/>
                  </a:cubicBezTo>
                  <a:cubicBezTo>
                    <a:pt x="33283" y="12411"/>
                    <a:pt x="32719" y="12975"/>
                    <a:pt x="32719" y="13257"/>
                  </a:cubicBezTo>
                  <a:cubicBezTo>
                    <a:pt x="32719" y="13539"/>
                    <a:pt x="32437" y="13539"/>
                    <a:pt x="32437" y="13539"/>
                  </a:cubicBezTo>
                  <a:cubicBezTo>
                    <a:pt x="32437" y="13539"/>
                    <a:pt x="32155" y="13539"/>
                    <a:pt x="32155" y="13257"/>
                  </a:cubicBezTo>
                  <a:cubicBezTo>
                    <a:pt x="31309" y="13257"/>
                    <a:pt x="31309" y="13257"/>
                    <a:pt x="31309" y="13821"/>
                  </a:cubicBezTo>
                  <a:lnTo>
                    <a:pt x="31309" y="14667"/>
                  </a:lnTo>
                  <a:cubicBezTo>
                    <a:pt x="31309" y="14949"/>
                    <a:pt x="31591" y="15231"/>
                    <a:pt x="31591" y="15231"/>
                  </a:cubicBezTo>
                  <a:cubicBezTo>
                    <a:pt x="32155" y="15513"/>
                    <a:pt x="32437" y="16078"/>
                    <a:pt x="32437" y="16360"/>
                  </a:cubicBezTo>
                  <a:cubicBezTo>
                    <a:pt x="32437" y="16642"/>
                    <a:pt x="32155" y="16642"/>
                    <a:pt x="32155" y="16924"/>
                  </a:cubicBezTo>
                  <a:cubicBezTo>
                    <a:pt x="31873" y="18334"/>
                    <a:pt x="31591" y="20026"/>
                    <a:pt x="31027" y="21437"/>
                  </a:cubicBezTo>
                  <a:lnTo>
                    <a:pt x="31027" y="22001"/>
                  </a:lnTo>
                  <a:cubicBezTo>
                    <a:pt x="31027" y="22283"/>
                    <a:pt x="31027" y="22847"/>
                    <a:pt x="31027" y="23129"/>
                  </a:cubicBezTo>
                  <a:cubicBezTo>
                    <a:pt x="31027" y="23693"/>
                    <a:pt x="31027" y="24257"/>
                    <a:pt x="31027" y="24821"/>
                  </a:cubicBezTo>
                  <a:cubicBezTo>
                    <a:pt x="31027" y="25386"/>
                    <a:pt x="31027" y="26232"/>
                    <a:pt x="31309" y="26796"/>
                  </a:cubicBezTo>
                  <a:lnTo>
                    <a:pt x="31309" y="27078"/>
                  </a:lnTo>
                  <a:cubicBezTo>
                    <a:pt x="30745" y="27924"/>
                    <a:pt x="30745" y="28770"/>
                    <a:pt x="30463" y="29616"/>
                  </a:cubicBezTo>
                  <a:cubicBezTo>
                    <a:pt x="29898" y="31309"/>
                    <a:pt x="29898" y="33001"/>
                    <a:pt x="29616" y="34694"/>
                  </a:cubicBezTo>
                  <a:cubicBezTo>
                    <a:pt x="29616" y="35540"/>
                    <a:pt x="29334" y="36386"/>
                    <a:pt x="29334" y="37232"/>
                  </a:cubicBezTo>
                  <a:cubicBezTo>
                    <a:pt x="29334" y="37796"/>
                    <a:pt x="29334" y="38078"/>
                    <a:pt x="29616" y="38642"/>
                  </a:cubicBezTo>
                  <a:cubicBezTo>
                    <a:pt x="29334" y="39489"/>
                    <a:pt x="29052" y="40053"/>
                    <a:pt x="29052" y="40899"/>
                  </a:cubicBezTo>
                  <a:cubicBezTo>
                    <a:pt x="29052" y="41463"/>
                    <a:pt x="29334" y="42309"/>
                    <a:pt x="29616" y="42873"/>
                  </a:cubicBezTo>
                  <a:cubicBezTo>
                    <a:pt x="29334" y="42873"/>
                    <a:pt x="29334" y="43155"/>
                    <a:pt x="29334" y="43437"/>
                  </a:cubicBezTo>
                  <a:cubicBezTo>
                    <a:pt x="29334" y="43720"/>
                    <a:pt x="29334" y="44002"/>
                    <a:pt x="29334" y="44284"/>
                  </a:cubicBezTo>
                  <a:cubicBezTo>
                    <a:pt x="29334" y="44566"/>
                    <a:pt x="29334" y="44566"/>
                    <a:pt x="29334" y="44848"/>
                  </a:cubicBezTo>
                  <a:cubicBezTo>
                    <a:pt x="29334" y="45130"/>
                    <a:pt x="29334" y="45976"/>
                    <a:pt x="29052" y="46258"/>
                  </a:cubicBezTo>
                  <a:cubicBezTo>
                    <a:pt x="28770" y="46822"/>
                    <a:pt x="28488" y="47104"/>
                    <a:pt x="28488" y="47668"/>
                  </a:cubicBezTo>
                  <a:cubicBezTo>
                    <a:pt x="28488" y="48797"/>
                    <a:pt x="27924" y="49643"/>
                    <a:pt x="27924" y="50489"/>
                  </a:cubicBezTo>
                  <a:cubicBezTo>
                    <a:pt x="27924" y="50771"/>
                    <a:pt x="27924" y="51053"/>
                    <a:pt x="28206" y="51335"/>
                  </a:cubicBezTo>
                  <a:lnTo>
                    <a:pt x="28206" y="53310"/>
                  </a:lnTo>
                  <a:cubicBezTo>
                    <a:pt x="27924" y="53874"/>
                    <a:pt x="27924" y="54438"/>
                    <a:pt x="27924" y="55002"/>
                  </a:cubicBezTo>
                  <a:cubicBezTo>
                    <a:pt x="27924" y="55566"/>
                    <a:pt x="27924" y="55848"/>
                    <a:pt x="27924" y="56412"/>
                  </a:cubicBezTo>
                  <a:cubicBezTo>
                    <a:pt x="27924" y="56694"/>
                    <a:pt x="27924" y="56976"/>
                    <a:pt x="27924" y="57258"/>
                  </a:cubicBezTo>
                  <a:cubicBezTo>
                    <a:pt x="27924" y="57823"/>
                    <a:pt x="27642" y="59233"/>
                    <a:pt x="27360" y="59233"/>
                  </a:cubicBezTo>
                  <a:lnTo>
                    <a:pt x="27360" y="59797"/>
                  </a:lnTo>
                  <a:cubicBezTo>
                    <a:pt x="27642" y="59797"/>
                    <a:pt x="27924" y="59797"/>
                    <a:pt x="27924" y="59515"/>
                  </a:cubicBezTo>
                  <a:lnTo>
                    <a:pt x="31027" y="55002"/>
                  </a:lnTo>
                  <a:cubicBezTo>
                    <a:pt x="31591" y="54720"/>
                    <a:pt x="31873" y="53874"/>
                    <a:pt x="32155" y="53310"/>
                  </a:cubicBezTo>
                  <a:cubicBezTo>
                    <a:pt x="33001" y="51053"/>
                    <a:pt x="34411" y="49079"/>
                    <a:pt x="35540" y="47104"/>
                  </a:cubicBezTo>
                  <a:lnTo>
                    <a:pt x="39489" y="41181"/>
                  </a:lnTo>
                  <a:cubicBezTo>
                    <a:pt x="40053" y="40899"/>
                    <a:pt x="40617" y="40053"/>
                    <a:pt x="41181" y="39207"/>
                  </a:cubicBezTo>
                  <a:lnTo>
                    <a:pt x="42873" y="37232"/>
                  </a:lnTo>
                  <a:cubicBezTo>
                    <a:pt x="43438" y="36668"/>
                    <a:pt x="43720" y="35822"/>
                    <a:pt x="44566" y="35258"/>
                  </a:cubicBezTo>
                  <a:cubicBezTo>
                    <a:pt x="44848" y="34976"/>
                    <a:pt x="45130" y="34694"/>
                    <a:pt x="45412" y="34694"/>
                  </a:cubicBezTo>
                  <a:cubicBezTo>
                    <a:pt x="46258" y="33283"/>
                    <a:pt x="47104" y="31591"/>
                    <a:pt x="48514" y="30745"/>
                  </a:cubicBezTo>
                  <a:cubicBezTo>
                    <a:pt x="49079" y="30745"/>
                    <a:pt x="49079" y="30463"/>
                    <a:pt x="49361" y="30181"/>
                  </a:cubicBezTo>
                  <a:lnTo>
                    <a:pt x="49925" y="29616"/>
                  </a:lnTo>
                  <a:cubicBezTo>
                    <a:pt x="51617" y="28488"/>
                    <a:pt x="53028" y="27078"/>
                    <a:pt x="54438" y="25668"/>
                  </a:cubicBezTo>
                  <a:cubicBezTo>
                    <a:pt x="54720" y="25386"/>
                    <a:pt x="55002" y="25386"/>
                    <a:pt x="55284" y="25386"/>
                  </a:cubicBezTo>
                  <a:cubicBezTo>
                    <a:pt x="55284" y="25668"/>
                    <a:pt x="55566" y="25668"/>
                    <a:pt x="55566" y="25668"/>
                  </a:cubicBezTo>
                  <a:cubicBezTo>
                    <a:pt x="55566" y="25668"/>
                    <a:pt x="55848" y="25668"/>
                    <a:pt x="55848" y="25386"/>
                  </a:cubicBezTo>
                  <a:cubicBezTo>
                    <a:pt x="56694" y="25103"/>
                    <a:pt x="57259" y="24539"/>
                    <a:pt x="57823" y="24539"/>
                  </a:cubicBezTo>
                  <a:lnTo>
                    <a:pt x="58105" y="24539"/>
                  </a:lnTo>
                  <a:cubicBezTo>
                    <a:pt x="58387" y="24539"/>
                    <a:pt x="58387" y="24257"/>
                    <a:pt x="58387" y="23975"/>
                  </a:cubicBezTo>
                  <a:cubicBezTo>
                    <a:pt x="58951" y="22847"/>
                    <a:pt x="59797" y="22283"/>
                    <a:pt x="61490" y="21437"/>
                  </a:cubicBezTo>
                  <a:cubicBezTo>
                    <a:pt x="62054" y="21155"/>
                    <a:pt x="62900" y="21155"/>
                    <a:pt x="62900" y="20308"/>
                  </a:cubicBezTo>
                  <a:cubicBezTo>
                    <a:pt x="63182" y="20308"/>
                    <a:pt x="63182" y="20026"/>
                    <a:pt x="63182" y="20026"/>
                  </a:cubicBezTo>
                  <a:cubicBezTo>
                    <a:pt x="64028" y="19744"/>
                    <a:pt x="64874" y="19462"/>
                    <a:pt x="65438" y="19462"/>
                  </a:cubicBezTo>
                  <a:cubicBezTo>
                    <a:pt x="65720" y="19462"/>
                    <a:pt x="65720" y="19462"/>
                    <a:pt x="66002" y="19462"/>
                  </a:cubicBezTo>
                  <a:cubicBezTo>
                    <a:pt x="66284" y="19462"/>
                    <a:pt x="66848" y="19462"/>
                    <a:pt x="67131" y="19744"/>
                  </a:cubicBezTo>
                  <a:cubicBezTo>
                    <a:pt x="67413" y="19744"/>
                    <a:pt x="67695" y="20026"/>
                    <a:pt x="67977" y="20026"/>
                  </a:cubicBezTo>
                  <a:cubicBezTo>
                    <a:pt x="68259" y="20026"/>
                    <a:pt x="68823" y="19744"/>
                    <a:pt x="69105" y="19462"/>
                  </a:cubicBezTo>
                  <a:cubicBezTo>
                    <a:pt x="69387" y="19462"/>
                    <a:pt x="69387" y="19180"/>
                    <a:pt x="69669" y="19180"/>
                  </a:cubicBezTo>
                  <a:cubicBezTo>
                    <a:pt x="69951" y="19180"/>
                    <a:pt x="70233" y="19462"/>
                    <a:pt x="70515" y="19462"/>
                  </a:cubicBezTo>
                  <a:cubicBezTo>
                    <a:pt x="71079" y="19180"/>
                    <a:pt x="71362" y="19180"/>
                    <a:pt x="72208" y="19180"/>
                  </a:cubicBezTo>
                  <a:cubicBezTo>
                    <a:pt x="73336" y="19462"/>
                    <a:pt x="74182" y="19180"/>
                    <a:pt x="75028" y="20026"/>
                  </a:cubicBezTo>
                  <a:lnTo>
                    <a:pt x="75310" y="20026"/>
                  </a:lnTo>
                  <a:cubicBezTo>
                    <a:pt x="75593" y="20026"/>
                    <a:pt x="75593" y="20026"/>
                    <a:pt x="75875" y="20026"/>
                  </a:cubicBezTo>
                  <a:cubicBezTo>
                    <a:pt x="76439" y="20026"/>
                    <a:pt x="77003" y="20308"/>
                    <a:pt x="77285" y="20873"/>
                  </a:cubicBezTo>
                  <a:cubicBezTo>
                    <a:pt x="77285" y="21155"/>
                    <a:pt x="77003" y="21437"/>
                    <a:pt x="77003" y="21437"/>
                  </a:cubicBezTo>
                  <a:cubicBezTo>
                    <a:pt x="77003" y="22001"/>
                    <a:pt x="77849" y="21719"/>
                    <a:pt x="78131" y="22283"/>
                  </a:cubicBezTo>
                  <a:cubicBezTo>
                    <a:pt x="78413" y="22283"/>
                    <a:pt x="78695" y="22283"/>
                    <a:pt x="79259" y="22283"/>
                  </a:cubicBezTo>
                  <a:cubicBezTo>
                    <a:pt x="79541" y="22283"/>
                    <a:pt x="79824" y="22283"/>
                    <a:pt x="80106" y="22283"/>
                  </a:cubicBezTo>
                  <a:cubicBezTo>
                    <a:pt x="80388" y="22001"/>
                    <a:pt x="80952" y="22001"/>
                    <a:pt x="81234" y="22001"/>
                  </a:cubicBezTo>
                  <a:cubicBezTo>
                    <a:pt x="82080" y="22001"/>
                    <a:pt x="82644" y="22283"/>
                    <a:pt x="83208" y="22283"/>
                  </a:cubicBezTo>
                  <a:cubicBezTo>
                    <a:pt x="83490" y="22283"/>
                    <a:pt x="83490" y="22283"/>
                    <a:pt x="83490" y="22565"/>
                  </a:cubicBezTo>
                  <a:cubicBezTo>
                    <a:pt x="83490" y="23693"/>
                    <a:pt x="83490" y="24821"/>
                    <a:pt x="84054" y="25668"/>
                  </a:cubicBezTo>
                  <a:lnTo>
                    <a:pt x="84054" y="25950"/>
                  </a:lnTo>
                  <a:cubicBezTo>
                    <a:pt x="84054" y="26232"/>
                    <a:pt x="83772" y="26514"/>
                    <a:pt x="83490" y="26514"/>
                  </a:cubicBezTo>
                  <a:lnTo>
                    <a:pt x="82926" y="26514"/>
                  </a:lnTo>
                  <a:lnTo>
                    <a:pt x="82926" y="27078"/>
                  </a:lnTo>
                  <a:cubicBezTo>
                    <a:pt x="82926" y="27360"/>
                    <a:pt x="82926" y="27924"/>
                    <a:pt x="82644" y="27924"/>
                  </a:cubicBezTo>
                  <a:cubicBezTo>
                    <a:pt x="82362" y="27924"/>
                    <a:pt x="82080" y="27642"/>
                    <a:pt x="81798" y="27642"/>
                  </a:cubicBezTo>
                  <a:cubicBezTo>
                    <a:pt x="81798" y="27642"/>
                    <a:pt x="81516" y="27642"/>
                    <a:pt x="81516" y="27924"/>
                  </a:cubicBezTo>
                  <a:cubicBezTo>
                    <a:pt x="81516" y="27924"/>
                    <a:pt x="81516" y="28206"/>
                    <a:pt x="81516" y="28488"/>
                  </a:cubicBezTo>
                  <a:lnTo>
                    <a:pt x="81516" y="28770"/>
                  </a:lnTo>
                  <a:cubicBezTo>
                    <a:pt x="81516" y="29334"/>
                    <a:pt x="81516" y="29334"/>
                    <a:pt x="80670" y="29334"/>
                  </a:cubicBezTo>
                  <a:cubicBezTo>
                    <a:pt x="80388" y="29334"/>
                    <a:pt x="80106" y="29334"/>
                    <a:pt x="80106" y="29616"/>
                  </a:cubicBezTo>
                  <a:cubicBezTo>
                    <a:pt x="80106" y="29616"/>
                    <a:pt x="80106" y="29616"/>
                    <a:pt x="80106" y="29899"/>
                  </a:cubicBezTo>
                  <a:lnTo>
                    <a:pt x="80388" y="30181"/>
                  </a:lnTo>
                  <a:lnTo>
                    <a:pt x="80388" y="30463"/>
                  </a:lnTo>
                  <a:cubicBezTo>
                    <a:pt x="80388" y="30745"/>
                    <a:pt x="79824" y="31027"/>
                    <a:pt x="79824" y="30745"/>
                  </a:cubicBezTo>
                  <a:lnTo>
                    <a:pt x="79259" y="30745"/>
                  </a:lnTo>
                  <a:cubicBezTo>
                    <a:pt x="78413" y="29899"/>
                    <a:pt x="77285" y="29616"/>
                    <a:pt x="75875" y="29052"/>
                  </a:cubicBezTo>
                  <a:cubicBezTo>
                    <a:pt x="75310" y="29052"/>
                    <a:pt x="74746" y="28770"/>
                    <a:pt x="73900" y="28770"/>
                  </a:cubicBezTo>
                  <a:cubicBezTo>
                    <a:pt x="72772" y="28770"/>
                    <a:pt x="71644" y="28770"/>
                    <a:pt x="70797" y="29334"/>
                  </a:cubicBezTo>
                  <a:cubicBezTo>
                    <a:pt x="70797" y="29616"/>
                    <a:pt x="70797" y="29616"/>
                    <a:pt x="70515" y="29616"/>
                  </a:cubicBezTo>
                  <a:cubicBezTo>
                    <a:pt x="69387" y="29899"/>
                    <a:pt x="68541" y="30463"/>
                    <a:pt x="67977" y="31027"/>
                  </a:cubicBezTo>
                  <a:lnTo>
                    <a:pt x="62336" y="34694"/>
                  </a:lnTo>
                  <a:lnTo>
                    <a:pt x="61207" y="36668"/>
                  </a:lnTo>
                  <a:lnTo>
                    <a:pt x="60643" y="37514"/>
                  </a:lnTo>
                  <a:cubicBezTo>
                    <a:pt x="59233" y="38642"/>
                    <a:pt x="58387" y="40053"/>
                    <a:pt x="57259" y="41181"/>
                  </a:cubicBezTo>
                  <a:cubicBezTo>
                    <a:pt x="56694" y="42873"/>
                    <a:pt x="55566" y="43720"/>
                    <a:pt x="54438" y="45412"/>
                  </a:cubicBezTo>
                  <a:cubicBezTo>
                    <a:pt x="53592" y="46258"/>
                    <a:pt x="53028" y="47104"/>
                    <a:pt x="52463" y="47950"/>
                  </a:cubicBezTo>
                  <a:cubicBezTo>
                    <a:pt x="52181" y="48233"/>
                    <a:pt x="52181" y="48797"/>
                    <a:pt x="52181" y="49079"/>
                  </a:cubicBezTo>
                  <a:cubicBezTo>
                    <a:pt x="51617" y="49925"/>
                    <a:pt x="51053" y="51053"/>
                    <a:pt x="50207" y="51335"/>
                  </a:cubicBezTo>
                  <a:cubicBezTo>
                    <a:pt x="49643" y="51899"/>
                    <a:pt x="49079" y="52745"/>
                    <a:pt x="48797" y="53592"/>
                  </a:cubicBezTo>
                  <a:cubicBezTo>
                    <a:pt x="48514" y="54720"/>
                    <a:pt x="48232" y="55566"/>
                    <a:pt x="47668" y="56412"/>
                  </a:cubicBezTo>
                  <a:cubicBezTo>
                    <a:pt x="47104" y="57541"/>
                    <a:pt x="46540" y="59233"/>
                    <a:pt x="45412" y="60361"/>
                  </a:cubicBezTo>
                  <a:cubicBezTo>
                    <a:pt x="45130" y="60643"/>
                    <a:pt x="44848" y="60925"/>
                    <a:pt x="44848" y="61207"/>
                  </a:cubicBezTo>
                  <a:cubicBezTo>
                    <a:pt x="44284" y="61207"/>
                    <a:pt x="44002" y="62054"/>
                    <a:pt x="44002" y="63182"/>
                  </a:cubicBezTo>
                  <a:cubicBezTo>
                    <a:pt x="44002" y="63464"/>
                    <a:pt x="44002" y="63464"/>
                    <a:pt x="43720" y="63464"/>
                  </a:cubicBezTo>
                  <a:cubicBezTo>
                    <a:pt x="42873" y="63746"/>
                    <a:pt x="42873" y="64592"/>
                    <a:pt x="42873" y="65438"/>
                  </a:cubicBezTo>
                  <a:cubicBezTo>
                    <a:pt x="42873" y="66002"/>
                    <a:pt x="42591" y="66284"/>
                    <a:pt x="42309" y="66284"/>
                  </a:cubicBezTo>
                  <a:cubicBezTo>
                    <a:pt x="41745" y="66284"/>
                    <a:pt x="41463" y="66849"/>
                    <a:pt x="41181" y="66849"/>
                  </a:cubicBezTo>
                  <a:cubicBezTo>
                    <a:pt x="40899" y="67131"/>
                    <a:pt x="40899" y="67413"/>
                    <a:pt x="40899" y="67695"/>
                  </a:cubicBezTo>
                  <a:cubicBezTo>
                    <a:pt x="40899" y="67977"/>
                    <a:pt x="40899" y="68259"/>
                    <a:pt x="40899" y="68259"/>
                  </a:cubicBezTo>
                  <a:cubicBezTo>
                    <a:pt x="40899" y="68541"/>
                    <a:pt x="40899" y="68541"/>
                    <a:pt x="40899" y="68823"/>
                  </a:cubicBezTo>
                  <a:lnTo>
                    <a:pt x="39207" y="73618"/>
                  </a:lnTo>
                  <a:cubicBezTo>
                    <a:pt x="39207" y="73618"/>
                    <a:pt x="38925" y="73618"/>
                    <a:pt x="38925" y="73900"/>
                  </a:cubicBezTo>
                  <a:lnTo>
                    <a:pt x="38078" y="74746"/>
                  </a:lnTo>
                  <a:lnTo>
                    <a:pt x="38078" y="75028"/>
                  </a:lnTo>
                  <a:lnTo>
                    <a:pt x="36950" y="76157"/>
                  </a:lnTo>
                  <a:cubicBezTo>
                    <a:pt x="36950" y="76439"/>
                    <a:pt x="36950" y="76721"/>
                    <a:pt x="36950" y="77003"/>
                  </a:cubicBezTo>
                  <a:cubicBezTo>
                    <a:pt x="36950" y="77285"/>
                    <a:pt x="36950" y="77285"/>
                    <a:pt x="36950" y="77567"/>
                  </a:cubicBezTo>
                  <a:cubicBezTo>
                    <a:pt x="36668" y="78413"/>
                    <a:pt x="36668" y="78695"/>
                    <a:pt x="35822" y="78977"/>
                  </a:cubicBezTo>
                  <a:lnTo>
                    <a:pt x="35822" y="79823"/>
                  </a:lnTo>
                  <a:close/>
                  <a:moveTo>
                    <a:pt x="35822" y="78413"/>
                  </a:moveTo>
                  <a:lnTo>
                    <a:pt x="35540" y="78413"/>
                  </a:lnTo>
                  <a:cubicBezTo>
                    <a:pt x="35540" y="78695"/>
                    <a:pt x="35822" y="78695"/>
                    <a:pt x="35822" y="78977"/>
                  </a:cubicBezTo>
                  <a:lnTo>
                    <a:pt x="35822" y="78413"/>
                  </a:lnTo>
                  <a:close/>
                </a:path>
              </a:pathLst>
            </a:custGeom>
            <a:solidFill>
              <a:srgbClr val="000000"/>
            </a:solidFill>
            <a:ln w="5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1ECDACD-85FE-4FA5-8789-DFFD1AE01D53}"/>
                </a:ext>
              </a:extLst>
            </p:cNvPr>
            <p:cNvSpPr/>
            <p:nvPr/>
          </p:nvSpPr>
          <p:spPr>
            <a:xfrm>
              <a:off x="5699278" y="3362151"/>
              <a:ext cx="118466" cy="124107"/>
            </a:xfrm>
            <a:custGeom>
              <a:avLst/>
              <a:gdLst>
                <a:gd name="connsiteX0" fmla="*/ 45412 w 118465"/>
                <a:gd name="connsiteY0" fmla="*/ 118748 h 124107"/>
                <a:gd name="connsiteX1" fmla="*/ 44848 w 118465"/>
                <a:gd name="connsiteY1" fmla="*/ 118466 h 124107"/>
                <a:gd name="connsiteX2" fmla="*/ 44848 w 118465"/>
                <a:gd name="connsiteY2" fmla="*/ 118748 h 124107"/>
                <a:gd name="connsiteX3" fmla="*/ 45412 w 118465"/>
                <a:gd name="connsiteY3" fmla="*/ 119312 h 124107"/>
                <a:gd name="connsiteX4" fmla="*/ 45976 w 118465"/>
                <a:gd name="connsiteY4" fmla="*/ 120158 h 124107"/>
                <a:gd name="connsiteX5" fmla="*/ 45976 w 118465"/>
                <a:gd name="connsiteY5" fmla="*/ 120722 h 124107"/>
                <a:gd name="connsiteX6" fmla="*/ 44002 w 118465"/>
                <a:gd name="connsiteY6" fmla="*/ 121286 h 124107"/>
                <a:gd name="connsiteX7" fmla="*/ 43720 w 118465"/>
                <a:gd name="connsiteY7" fmla="*/ 121286 h 124107"/>
                <a:gd name="connsiteX8" fmla="*/ 42592 w 118465"/>
                <a:gd name="connsiteY8" fmla="*/ 121851 h 124107"/>
                <a:gd name="connsiteX9" fmla="*/ 41463 w 118465"/>
                <a:gd name="connsiteY9" fmla="*/ 122133 h 124107"/>
                <a:gd name="connsiteX10" fmla="*/ 40899 w 118465"/>
                <a:gd name="connsiteY10" fmla="*/ 122133 h 124107"/>
                <a:gd name="connsiteX11" fmla="*/ 39771 w 118465"/>
                <a:gd name="connsiteY11" fmla="*/ 121286 h 124107"/>
                <a:gd name="connsiteX12" fmla="*/ 39207 w 118465"/>
                <a:gd name="connsiteY12" fmla="*/ 121568 h 124107"/>
                <a:gd name="connsiteX13" fmla="*/ 39207 w 118465"/>
                <a:gd name="connsiteY13" fmla="*/ 121851 h 124107"/>
                <a:gd name="connsiteX14" fmla="*/ 40053 w 118465"/>
                <a:gd name="connsiteY14" fmla="*/ 122697 h 124107"/>
                <a:gd name="connsiteX15" fmla="*/ 40053 w 118465"/>
                <a:gd name="connsiteY15" fmla="*/ 123825 h 124107"/>
                <a:gd name="connsiteX16" fmla="*/ 39771 w 118465"/>
                <a:gd name="connsiteY16" fmla="*/ 124107 h 124107"/>
                <a:gd name="connsiteX17" fmla="*/ 40617 w 118465"/>
                <a:gd name="connsiteY17" fmla="*/ 124107 h 124107"/>
                <a:gd name="connsiteX18" fmla="*/ 41745 w 118465"/>
                <a:gd name="connsiteY18" fmla="*/ 123261 h 124107"/>
                <a:gd name="connsiteX19" fmla="*/ 42592 w 118465"/>
                <a:gd name="connsiteY19" fmla="*/ 123543 h 124107"/>
                <a:gd name="connsiteX20" fmla="*/ 42309 w 118465"/>
                <a:gd name="connsiteY20" fmla="*/ 124107 h 124107"/>
                <a:gd name="connsiteX21" fmla="*/ 39489 w 118465"/>
                <a:gd name="connsiteY21" fmla="*/ 126081 h 124107"/>
                <a:gd name="connsiteX22" fmla="*/ 38361 w 118465"/>
                <a:gd name="connsiteY22" fmla="*/ 126646 h 124107"/>
                <a:gd name="connsiteX23" fmla="*/ 37796 w 118465"/>
                <a:gd name="connsiteY23" fmla="*/ 127210 h 124107"/>
                <a:gd name="connsiteX24" fmla="*/ 36668 w 118465"/>
                <a:gd name="connsiteY24" fmla="*/ 127492 h 124107"/>
                <a:gd name="connsiteX25" fmla="*/ 34694 w 118465"/>
                <a:gd name="connsiteY25" fmla="*/ 127492 h 124107"/>
                <a:gd name="connsiteX26" fmla="*/ 33847 w 118465"/>
                <a:gd name="connsiteY26" fmla="*/ 127210 h 124107"/>
                <a:gd name="connsiteX27" fmla="*/ 32437 w 118465"/>
                <a:gd name="connsiteY27" fmla="*/ 127210 h 124107"/>
                <a:gd name="connsiteX28" fmla="*/ 31873 w 118465"/>
                <a:gd name="connsiteY28" fmla="*/ 127492 h 124107"/>
                <a:gd name="connsiteX29" fmla="*/ 31591 w 118465"/>
                <a:gd name="connsiteY29" fmla="*/ 127492 h 124107"/>
                <a:gd name="connsiteX30" fmla="*/ 30181 w 118465"/>
                <a:gd name="connsiteY30" fmla="*/ 126928 h 124107"/>
                <a:gd name="connsiteX31" fmla="*/ 27924 w 118465"/>
                <a:gd name="connsiteY31" fmla="*/ 126081 h 124107"/>
                <a:gd name="connsiteX32" fmla="*/ 25950 w 118465"/>
                <a:gd name="connsiteY32" fmla="*/ 126081 h 124107"/>
                <a:gd name="connsiteX33" fmla="*/ 25386 w 118465"/>
                <a:gd name="connsiteY33" fmla="*/ 125799 h 124107"/>
                <a:gd name="connsiteX34" fmla="*/ 24822 w 118465"/>
                <a:gd name="connsiteY34" fmla="*/ 125517 h 124107"/>
                <a:gd name="connsiteX35" fmla="*/ 24540 w 118465"/>
                <a:gd name="connsiteY35" fmla="*/ 125799 h 124107"/>
                <a:gd name="connsiteX36" fmla="*/ 23129 w 118465"/>
                <a:gd name="connsiteY36" fmla="*/ 126646 h 124107"/>
                <a:gd name="connsiteX37" fmla="*/ 19462 w 118465"/>
                <a:gd name="connsiteY37" fmla="*/ 126646 h 124107"/>
                <a:gd name="connsiteX38" fmla="*/ 18334 w 118465"/>
                <a:gd name="connsiteY38" fmla="*/ 127210 h 124107"/>
                <a:gd name="connsiteX39" fmla="*/ 14667 w 118465"/>
                <a:gd name="connsiteY39" fmla="*/ 127210 h 124107"/>
                <a:gd name="connsiteX40" fmla="*/ 13539 w 118465"/>
                <a:gd name="connsiteY40" fmla="*/ 126928 h 124107"/>
                <a:gd name="connsiteX41" fmla="*/ 12693 w 118465"/>
                <a:gd name="connsiteY41" fmla="*/ 126363 h 124107"/>
                <a:gd name="connsiteX42" fmla="*/ 11565 w 118465"/>
                <a:gd name="connsiteY42" fmla="*/ 125799 h 124107"/>
                <a:gd name="connsiteX43" fmla="*/ 9872 w 118465"/>
                <a:gd name="connsiteY43" fmla="*/ 124107 h 124107"/>
                <a:gd name="connsiteX44" fmla="*/ 8744 w 118465"/>
                <a:gd name="connsiteY44" fmla="*/ 122415 h 124107"/>
                <a:gd name="connsiteX45" fmla="*/ 8462 w 118465"/>
                <a:gd name="connsiteY45" fmla="*/ 122415 h 124107"/>
                <a:gd name="connsiteX46" fmla="*/ 7052 w 118465"/>
                <a:gd name="connsiteY46" fmla="*/ 121851 h 124107"/>
                <a:gd name="connsiteX47" fmla="*/ 6488 w 118465"/>
                <a:gd name="connsiteY47" fmla="*/ 120440 h 124107"/>
                <a:gd name="connsiteX48" fmla="*/ 5077 w 118465"/>
                <a:gd name="connsiteY48" fmla="*/ 119312 h 124107"/>
                <a:gd name="connsiteX49" fmla="*/ 3103 w 118465"/>
                <a:gd name="connsiteY49" fmla="*/ 116209 h 124107"/>
                <a:gd name="connsiteX50" fmla="*/ 3103 w 118465"/>
                <a:gd name="connsiteY50" fmla="*/ 115363 h 124107"/>
                <a:gd name="connsiteX51" fmla="*/ 2821 w 118465"/>
                <a:gd name="connsiteY51" fmla="*/ 114799 h 124107"/>
                <a:gd name="connsiteX52" fmla="*/ 2257 w 118465"/>
                <a:gd name="connsiteY52" fmla="*/ 113953 h 124107"/>
                <a:gd name="connsiteX53" fmla="*/ 2257 w 118465"/>
                <a:gd name="connsiteY53" fmla="*/ 113389 h 124107"/>
                <a:gd name="connsiteX54" fmla="*/ 1975 w 118465"/>
                <a:gd name="connsiteY54" fmla="*/ 112542 h 124107"/>
                <a:gd name="connsiteX55" fmla="*/ 1975 w 118465"/>
                <a:gd name="connsiteY55" fmla="*/ 111414 h 124107"/>
                <a:gd name="connsiteX56" fmla="*/ 1410 w 118465"/>
                <a:gd name="connsiteY56" fmla="*/ 110850 h 124107"/>
                <a:gd name="connsiteX57" fmla="*/ 1410 w 118465"/>
                <a:gd name="connsiteY57" fmla="*/ 110286 h 124107"/>
                <a:gd name="connsiteX58" fmla="*/ 846 w 118465"/>
                <a:gd name="connsiteY58" fmla="*/ 108594 h 124107"/>
                <a:gd name="connsiteX59" fmla="*/ 846 w 118465"/>
                <a:gd name="connsiteY59" fmla="*/ 107465 h 124107"/>
                <a:gd name="connsiteX60" fmla="*/ 0 w 118465"/>
                <a:gd name="connsiteY60" fmla="*/ 98721 h 124107"/>
                <a:gd name="connsiteX61" fmla="*/ 282 w 118465"/>
                <a:gd name="connsiteY61" fmla="*/ 97029 h 124107"/>
                <a:gd name="connsiteX62" fmla="*/ 564 w 118465"/>
                <a:gd name="connsiteY62" fmla="*/ 96465 h 124107"/>
                <a:gd name="connsiteX63" fmla="*/ 282 w 118465"/>
                <a:gd name="connsiteY63" fmla="*/ 95055 h 124107"/>
                <a:gd name="connsiteX64" fmla="*/ 282 w 118465"/>
                <a:gd name="connsiteY64" fmla="*/ 91670 h 124107"/>
                <a:gd name="connsiteX65" fmla="*/ 846 w 118465"/>
                <a:gd name="connsiteY65" fmla="*/ 90260 h 124107"/>
                <a:gd name="connsiteX66" fmla="*/ 282 w 118465"/>
                <a:gd name="connsiteY66" fmla="*/ 89131 h 124107"/>
                <a:gd name="connsiteX67" fmla="*/ 1693 w 118465"/>
                <a:gd name="connsiteY67" fmla="*/ 87157 h 124107"/>
                <a:gd name="connsiteX68" fmla="*/ 1693 w 118465"/>
                <a:gd name="connsiteY68" fmla="*/ 85747 h 124107"/>
                <a:gd name="connsiteX69" fmla="*/ 1975 w 118465"/>
                <a:gd name="connsiteY69" fmla="*/ 84618 h 124107"/>
                <a:gd name="connsiteX70" fmla="*/ 1693 w 118465"/>
                <a:gd name="connsiteY70" fmla="*/ 84054 h 124107"/>
                <a:gd name="connsiteX71" fmla="*/ 1975 w 118465"/>
                <a:gd name="connsiteY71" fmla="*/ 83208 h 124107"/>
                <a:gd name="connsiteX72" fmla="*/ 2821 w 118465"/>
                <a:gd name="connsiteY72" fmla="*/ 83208 h 124107"/>
                <a:gd name="connsiteX73" fmla="*/ 3103 w 118465"/>
                <a:gd name="connsiteY73" fmla="*/ 83772 h 124107"/>
                <a:gd name="connsiteX74" fmla="*/ 3103 w 118465"/>
                <a:gd name="connsiteY74" fmla="*/ 84054 h 124107"/>
                <a:gd name="connsiteX75" fmla="*/ 2821 w 118465"/>
                <a:gd name="connsiteY75" fmla="*/ 84336 h 124107"/>
                <a:gd name="connsiteX76" fmla="*/ 3103 w 118465"/>
                <a:gd name="connsiteY76" fmla="*/ 84618 h 124107"/>
                <a:gd name="connsiteX77" fmla="*/ 3385 w 118465"/>
                <a:gd name="connsiteY77" fmla="*/ 84618 h 124107"/>
                <a:gd name="connsiteX78" fmla="*/ 3667 w 118465"/>
                <a:gd name="connsiteY78" fmla="*/ 84336 h 124107"/>
                <a:gd name="connsiteX79" fmla="*/ 3385 w 118465"/>
                <a:gd name="connsiteY79" fmla="*/ 83490 h 124107"/>
                <a:gd name="connsiteX80" fmla="*/ 3949 w 118465"/>
                <a:gd name="connsiteY80" fmla="*/ 82644 h 124107"/>
                <a:gd name="connsiteX81" fmla="*/ 4513 w 118465"/>
                <a:gd name="connsiteY81" fmla="*/ 82644 h 124107"/>
                <a:gd name="connsiteX82" fmla="*/ 4795 w 118465"/>
                <a:gd name="connsiteY82" fmla="*/ 82362 h 124107"/>
                <a:gd name="connsiteX83" fmla="*/ 5077 w 118465"/>
                <a:gd name="connsiteY83" fmla="*/ 81798 h 124107"/>
                <a:gd name="connsiteX84" fmla="*/ 5359 w 118465"/>
                <a:gd name="connsiteY84" fmla="*/ 79823 h 124107"/>
                <a:gd name="connsiteX85" fmla="*/ 4795 w 118465"/>
                <a:gd name="connsiteY85" fmla="*/ 79259 h 124107"/>
                <a:gd name="connsiteX86" fmla="*/ 3385 w 118465"/>
                <a:gd name="connsiteY86" fmla="*/ 80670 h 124107"/>
                <a:gd name="connsiteX87" fmla="*/ 3667 w 118465"/>
                <a:gd name="connsiteY87" fmla="*/ 80952 h 124107"/>
                <a:gd name="connsiteX88" fmla="*/ 4231 w 118465"/>
                <a:gd name="connsiteY88" fmla="*/ 81516 h 124107"/>
                <a:gd name="connsiteX89" fmla="*/ 3385 w 118465"/>
                <a:gd name="connsiteY89" fmla="*/ 81798 h 124107"/>
                <a:gd name="connsiteX90" fmla="*/ 2539 w 118465"/>
                <a:gd name="connsiteY90" fmla="*/ 81234 h 124107"/>
                <a:gd name="connsiteX91" fmla="*/ 2539 w 118465"/>
                <a:gd name="connsiteY91" fmla="*/ 80952 h 124107"/>
                <a:gd name="connsiteX92" fmla="*/ 2821 w 118465"/>
                <a:gd name="connsiteY92" fmla="*/ 80388 h 124107"/>
                <a:gd name="connsiteX93" fmla="*/ 3103 w 118465"/>
                <a:gd name="connsiteY93" fmla="*/ 80105 h 124107"/>
                <a:gd name="connsiteX94" fmla="*/ 2539 w 118465"/>
                <a:gd name="connsiteY94" fmla="*/ 78695 h 124107"/>
                <a:gd name="connsiteX95" fmla="*/ 2821 w 118465"/>
                <a:gd name="connsiteY95" fmla="*/ 77285 h 124107"/>
                <a:gd name="connsiteX96" fmla="*/ 2821 w 118465"/>
                <a:gd name="connsiteY96" fmla="*/ 77003 h 124107"/>
                <a:gd name="connsiteX97" fmla="*/ 3103 w 118465"/>
                <a:gd name="connsiteY97" fmla="*/ 76439 h 124107"/>
                <a:gd name="connsiteX98" fmla="*/ 3103 w 118465"/>
                <a:gd name="connsiteY98" fmla="*/ 76157 h 124107"/>
                <a:gd name="connsiteX99" fmla="*/ 3949 w 118465"/>
                <a:gd name="connsiteY99" fmla="*/ 74746 h 124107"/>
                <a:gd name="connsiteX100" fmla="*/ 3385 w 118465"/>
                <a:gd name="connsiteY100" fmla="*/ 73054 h 124107"/>
                <a:gd name="connsiteX101" fmla="*/ 3667 w 118465"/>
                <a:gd name="connsiteY101" fmla="*/ 72490 h 124107"/>
                <a:gd name="connsiteX102" fmla="*/ 4795 w 118465"/>
                <a:gd name="connsiteY102" fmla="*/ 71362 h 124107"/>
                <a:gd name="connsiteX103" fmla="*/ 4513 w 118465"/>
                <a:gd name="connsiteY103" fmla="*/ 70515 h 124107"/>
                <a:gd name="connsiteX104" fmla="*/ 4231 w 118465"/>
                <a:gd name="connsiteY104" fmla="*/ 69951 h 124107"/>
                <a:gd name="connsiteX105" fmla="*/ 4513 w 118465"/>
                <a:gd name="connsiteY105" fmla="*/ 69669 h 124107"/>
                <a:gd name="connsiteX106" fmla="*/ 5924 w 118465"/>
                <a:gd name="connsiteY106" fmla="*/ 68823 h 124107"/>
                <a:gd name="connsiteX107" fmla="*/ 6206 w 118465"/>
                <a:gd name="connsiteY107" fmla="*/ 68823 h 124107"/>
                <a:gd name="connsiteX108" fmla="*/ 6770 w 118465"/>
                <a:gd name="connsiteY108" fmla="*/ 68541 h 124107"/>
                <a:gd name="connsiteX109" fmla="*/ 6770 w 118465"/>
                <a:gd name="connsiteY109" fmla="*/ 67413 h 124107"/>
                <a:gd name="connsiteX110" fmla="*/ 6488 w 118465"/>
                <a:gd name="connsiteY110" fmla="*/ 67131 h 124107"/>
                <a:gd name="connsiteX111" fmla="*/ 6488 w 118465"/>
                <a:gd name="connsiteY111" fmla="*/ 64310 h 124107"/>
                <a:gd name="connsiteX112" fmla="*/ 6770 w 118465"/>
                <a:gd name="connsiteY112" fmla="*/ 63464 h 124107"/>
                <a:gd name="connsiteX113" fmla="*/ 7052 w 118465"/>
                <a:gd name="connsiteY113" fmla="*/ 63182 h 124107"/>
                <a:gd name="connsiteX114" fmla="*/ 6770 w 118465"/>
                <a:gd name="connsiteY114" fmla="*/ 62054 h 124107"/>
                <a:gd name="connsiteX115" fmla="*/ 7616 w 118465"/>
                <a:gd name="connsiteY115" fmla="*/ 60925 h 124107"/>
                <a:gd name="connsiteX116" fmla="*/ 9026 w 118465"/>
                <a:gd name="connsiteY116" fmla="*/ 58105 h 124107"/>
                <a:gd name="connsiteX117" fmla="*/ 8744 w 118465"/>
                <a:gd name="connsiteY117" fmla="*/ 57541 h 124107"/>
                <a:gd name="connsiteX118" fmla="*/ 8744 w 118465"/>
                <a:gd name="connsiteY118" fmla="*/ 56694 h 124107"/>
                <a:gd name="connsiteX119" fmla="*/ 9026 w 118465"/>
                <a:gd name="connsiteY119" fmla="*/ 55848 h 124107"/>
                <a:gd name="connsiteX120" fmla="*/ 9872 w 118465"/>
                <a:gd name="connsiteY120" fmla="*/ 55002 h 124107"/>
                <a:gd name="connsiteX121" fmla="*/ 9872 w 118465"/>
                <a:gd name="connsiteY121" fmla="*/ 53310 h 124107"/>
                <a:gd name="connsiteX122" fmla="*/ 10154 w 118465"/>
                <a:gd name="connsiteY122" fmla="*/ 52745 h 124107"/>
                <a:gd name="connsiteX123" fmla="*/ 9872 w 118465"/>
                <a:gd name="connsiteY123" fmla="*/ 51899 h 124107"/>
                <a:gd name="connsiteX124" fmla="*/ 10154 w 118465"/>
                <a:gd name="connsiteY124" fmla="*/ 51053 h 124107"/>
                <a:gd name="connsiteX125" fmla="*/ 11847 w 118465"/>
                <a:gd name="connsiteY125" fmla="*/ 49643 h 124107"/>
                <a:gd name="connsiteX126" fmla="*/ 11847 w 118465"/>
                <a:gd name="connsiteY126" fmla="*/ 49079 h 124107"/>
                <a:gd name="connsiteX127" fmla="*/ 12411 w 118465"/>
                <a:gd name="connsiteY127" fmla="*/ 47386 h 124107"/>
                <a:gd name="connsiteX128" fmla="*/ 12411 w 118465"/>
                <a:gd name="connsiteY128" fmla="*/ 46822 h 124107"/>
                <a:gd name="connsiteX129" fmla="*/ 12693 w 118465"/>
                <a:gd name="connsiteY129" fmla="*/ 46540 h 124107"/>
                <a:gd name="connsiteX130" fmla="*/ 12693 w 118465"/>
                <a:gd name="connsiteY130" fmla="*/ 45130 h 124107"/>
                <a:gd name="connsiteX131" fmla="*/ 13821 w 118465"/>
                <a:gd name="connsiteY131" fmla="*/ 43720 h 124107"/>
                <a:gd name="connsiteX132" fmla="*/ 14103 w 118465"/>
                <a:gd name="connsiteY132" fmla="*/ 42309 h 124107"/>
                <a:gd name="connsiteX133" fmla="*/ 14667 w 118465"/>
                <a:gd name="connsiteY133" fmla="*/ 41181 h 124107"/>
                <a:gd name="connsiteX134" fmla="*/ 14385 w 118465"/>
                <a:gd name="connsiteY134" fmla="*/ 40617 h 124107"/>
                <a:gd name="connsiteX135" fmla="*/ 14949 w 118465"/>
                <a:gd name="connsiteY135" fmla="*/ 39771 h 124107"/>
                <a:gd name="connsiteX136" fmla="*/ 15796 w 118465"/>
                <a:gd name="connsiteY136" fmla="*/ 38924 h 124107"/>
                <a:gd name="connsiteX137" fmla="*/ 15796 w 118465"/>
                <a:gd name="connsiteY137" fmla="*/ 37796 h 124107"/>
                <a:gd name="connsiteX138" fmla="*/ 16360 w 118465"/>
                <a:gd name="connsiteY138" fmla="*/ 36950 h 124107"/>
                <a:gd name="connsiteX139" fmla="*/ 17206 w 118465"/>
                <a:gd name="connsiteY139" fmla="*/ 35822 h 124107"/>
                <a:gd name="connsiteX140" fmla="*/ 16924 w 118465"/>
                <a:gd name="connsiteY140" fmla="*/ 35540 h 124107"/>
                <a:gd name="connsiteX141" fmla="*/ 17488 w 118465"/>
                <a:gd name="connsiteY141" fmla="*/ 34411 h 124107"/>
                <a:gd name="connsiteX142" fmla="*/ 18052 w 118465"/>
                <a:gd name="connsiteY142" fmla="*/ 33283 h 124107"/>
                <a:gd name="connsiteX143" fmla="*/ 18898 w 118465"/>
                <a:gd name="connsiteY143" fmla="*/ 32437 h 124107"/>
                <a:gd name="connsiteX144" fmla="*/ 19744 w 118465"/>
                <a:gd name="connsiteY144" fmla="*/ 31309 h 124107"/>
                <a:gd name="connsiteX145" fmla="*/ 20309 w 118465"/>
                <a:gd name="connsiteY145" fmla="*/ 30463 h 124107"/>
                <a:gd name="connsiteX146" fmla="*/ 20027 w 118465"/>
                <a:gd name="connsiteY146" fmla="*/ 29899 h 124107"/>
                <a:gd name="connsiteX147" fmla="*/ 20873 w 118465"/>
                <a:gd name="connsiteY147" fmla="*/ 28488 h 124107"/>
                <a:gd name="connsiteX148" fmla="*/ 21437 w 118465"/>
                <a:gd name="connsiteY148" fmla="*/ 27360 h 124107"/>
                <a:gd name="connsiteX149" fmla="*/ 22283 w 118465"/>
                <a:gd name="connsiteY149" fmla="*/ 25950 h 124107"/>
                <a:gd name="connsiteX150" fmla="*/ 23129 w 118465"/>
                <a:gd name="connsiteY150" fmla="*/ 24821 h 124107"/>
                <a:gd name="connsiteX151" fmla="*/ 23129 w 118465"/>
                <a:gd name="connsiteY151" fmla="*/ 24539 h 124107"/>
                <a:gd name="connsiteX152" fmla="*/ 23693 w 118465"/>
                <a:gd name="connsiteY152" fmla="*/ 23975 h 124107"/>
                <a:gd name="connsiteX153" fmla="*/ 24540 w 118465"/>
                <a:gd name="connsiteY153" fmla="*/ 23693 h 124107"/>
                <a:gd name="connsiteX154" fmla="*/ 25104 w 118465"/>
                <a:gd name="connsiteY154" fmla="*/ 22847 h 124107"/>
                <a:gd name="connsiteX155" fmla="*/ 27360 w 118465"/>
                <a:gd name="connsiteY155" fmla="*/ 20308 h 124107"/>
                <a:gd name="connsiteX156" fmla="*/ 28770 w 118465"/>
                <a:gd name="connsiteY156" fmla="*/ 18052 h 124107"/>
                <a:gd name="connsiteX157" fmla="*/ 30745 w 118465"/>
                <a:gd name="connsiteY157" fmla="*/ 16360 h 124107"/>
                <a:gd name="connsiteX158" fmla="*/ 31591 w 118465"/>
                <a:gd name="connsiteY158" fmla="*/ 15795 h 124107"/>
                <a:gd name="connsiteX159" fmla="*/ 33001 w 118465"/>
                <a:gd name="connsiteY159" fmla="*/ 14385 h 124107"/>
                <a:gd name="connsiteX160" fmla="*/ 35540 w 118465"/>
                <a:gd name="connsiteY160" fmla="*/ 14385 h 124107"/>
                <a:gd name="connsiteX161" fmla="*/ 36104 w 118465"/>
                <a:gd name="connsiteY161" fmla="*/ 15231 h 124107"/>
                <a:gd name="connsiteX162" fmla="*/ 36950 w 118465"/>
                <a:gd name="connsiteY162" fmla="*/ 15231 h 124107"/>
                <a:gd name="connsiteX163" fmla="*/ 38078 w 118465"/>
                <a:gd name="connsiteY163" fmla="*/ 14385 h 124107"/>
                <a:gd name="connsiteX164" fmla="*/ 39489 w 118465"/>
                <a:gd name="connsiteY164" fmla="*/ 15231 h 124107"/>
                <a:gd name="connsiteX165" fmla="*/ 40053 w 118465"/>
                <a:gd name="connsiteY165" fmla="*/ 15513 h 124107"/>
                <a:gd name="connsiteX166" fmla="*/ 42027 w 118465"/>
                <a:gd name="connsiteY166" fmla="*/ 16642 h 124107"/>
                <a:gd name="connsiteX167" fmla="*/ 42874 w 118465"/>
                <a:gd name="connsiteY167" fmla="*/ 17488 h 124107"/>
                <a:gd name="connsiteX168" fmla="*/ 43156 w 118465"/>
                <a:gd name="connsiteY168" fmla="*/ 17488 h 124107"/>
                <a:gd name="connsiteX169" fmla="*/ 43156 w 118465"/>
                <a:gd name="connsiteY169" fmla="*/ 16642 h 124107"/>
                <a:gd name="connsiteX170" fmla="*/ 42874 w 118465"/>
                <a:gd name="connsiteY170" fmla="*/ 16078 h 124107"/>
                <a:gd name="connsiteX171" fmla="*/ 42874 w 118465"/>
                <a:gd name="connsiteY171" fmla="*/ 15513 h 124107"/>
                <a:gd name="connsiteX172" fmla="*/ 44002 w 118465"/>
                <a:gd name="connsiteY172" fmla="*/ 15513 h 124107"/>
                <a:gd name="connsiteX173" fmla="*/ 43438 w 118465"/>
                <a:gd name="connsiteY173" fmla="*/ 14103 h 124107"/>
                <a:gd name="connsiteX174" fmla="*/ 42309 w 118465"/>
                <a:gd name="connsiteY174" fmla="*/ 12693 h 124107"/>
                <a:gd name="connsiteX175" fmla="*/ 42027 w 118465"/>
                <a:gd name="connsiteY175" fmla="*/ 12411 h 124107"/>
                <a:gd name="connsiteX176" fmla="*/ 41463 w 118465"/>
                <a:gd name="connsiteY176" fmla="*/ 10154 h 124107"/>
                <a:gd name="connsiteX177" fmla="*/ 41181 w 118465"/>
                <a:gd name="connsiteY177" fmla="*/ 9590 h 124107"/>
                <a:gd name="connsiteX178" fmla="*/ 41463 w 118465"/>
                <a:gd name="connsiteY178" fmla="*/ 9026 h 124107"/>
                <a:gd name="connsiteX179" fmla="*/ 41463 w 118465"/>
                <a:gd name="connsiteY179" fmla="*/ 8744 h 124107"/>
                <a:gd name="connsiteX180" fmla="*/ 42027 w 118465"/>
                <a:gd name="connsiteY180" fmla="*/ 7898 h 124107"/>
                <a:gd name="connsiteX181" fmla="*/ 44284 w 118465"/>
                <a:gd name="connsiteY181" fmla="*/ 6487 h 124107"/>
                <a:gd name="connsiteX182" fmla="*/ 46258 w 118465"/>
                <a:gd name="connsiteY182" fmla="*/ 4231 h 124107"/>
                <a:gd name="connsiteX183" fmla="*/ 47104 w 118465"/>
                <a:gd name="connsiteY183" fmla="*/ 3385 h 124107"/>
                <a:gd name="connsiteX184" fmla="*/ 47668 w 118465"/>
                <a:gd name="connsiteY184" fmla="*/ 2539 h 124107"/>
                <a:gd name="connsiteX185" fmla="*/ 49361 w 118465"/>
                <a:gd name="connsiteY185" fmla="*/ 1410 h 124107"/>
                <a:gd name="connsiteX186" fmla="*/ 50489 w 118465"/>
                <a:gd name="connsiteY186" fmla="*/ 846 h 124107"/>
                <a:gd name="connsiteX187" fmla="*/ 51617 w 118465"/>
                <a:gd name="connsiteY187" fmla="*/ 846 h 124107"/>
                <a:gd name="connsiteX188" fmla="*/ 52746 w 118465"/>
                <a:gd name="connsiteY188" fmla="*/ 282 h 124107"/>
                <a:gd name="connsiteX189" fmla="*/ 55002 w 118465"/>
                <a:gd name="connsiteY189" fmla="*/ 282 h 124107"/>
                <a:gd name="connsiteX190" fmla="*/ 56130 w 118465"/>
                <a:gd name="connsiteY190" fmla="*/ 0 h 124107"/>
                <a:gd name="connsiteX191" fmla="*/ 56977 w 118465"/>
                <a:gd name="connsiteY191" fmla="*/ 0 h 124107"/>
                <a:gd name="connsiteX192" fmla="*/ 59233 w 118465"/>
                <a:gd name="connsiteY192" fmla="*/ 846 h 124107"/>
                <a:gd name="connsiteX193" fmla="*/ 60361 w 118465"/>
                <a:gd name="connsiteY193" fmla="*/ 1974 h 124107"/>
                <a:gd name="connsiteX194" fmla="*/ 60361 w 118465"/>
                <a:gd name="connsiteY194" fmla="*/ 2256 h 124107"/>
                <a:gd name="connsiteX195" fmla="*/ 60926 w 118465"/>
                <a:gd name="connsiteY195" fmla="*/ 2539 h 124107"/>
                <a:gd name="connsiteX196" fmla="*/ 63182 w 118465"/>
                <a:gd name="connsiteY196" fmla="*/ 3667 h 124107"/>
                <a:gd name="connsiteX197" fmla="*/ 64874 w 118465"/>
                <a:gd name="connsiteY197" fmla="*/ 4795 h 124107"/>
                <a:gd name="connsiteX198" fmla="*/ 66567 w 118465"/>
                <a:gd name="connsiteY198" fmla="*/ 6205 h 124107"/>
                <a:gd name="connsiteX199" fmla="*/ 67131 w 118465"/>
                <a:gd name="connsiteY199" fmla="*/ 7898 h 124107"/>
                <a:gd name="connsiteX200" fmla="*/ 66849 w 118465"/>
                <a:gd name="connsiteY200" fmla="*/ 8744 h 124107"/>
                <a:gd name="connsiteX201" fmla="*/ 67131 w 118465"/>
                <a:gd name="connsiteY201" fmla="*/ 9308 h 124107"/>
                <a:gd name="connsiteX202" fmla="*/ 66567 w 118465"/>
                <a:gd name="connsiteY202" fmla="*/ 9590 h 124107"/>
                <a:gd name="connsiteX203" fmla="*/ 66567 w 118465"/>
                <a:gd name="connsiteY203" fmla="*/ 10718 h 124107"/>
                <a:gd name="connsiteX204" fmla="*/ 66849 w 118465"/>
                <a:gd name="connsiteY204" fmla="*/ 11000 h 124107"/>
                <a:gd name="connsiteX205" fmla="*/ 67977 w 118465"/>
                <a:gd name="connsiteY205" fmla="*/ 11000 h 124107"/>
                <a:gd name="connsiteX206" fmla="*/ 68259 w 118465"/>
                <a:gd name="connsiteY206" fmla="*/ 11282 h 124107"/>
                <a:gd name="connsiteX207" fmla="*/ 67977 w 118465"/>
                <a:gd name="connsiteY207" fmla="*/ 11847 h 124107"/>
                <a:gd name="connsiteX208" fmla="*/ 67131 w 118465"/>
                <a:gd name="connsiteY208" fmla="*/ 12693 h 124107"/>
                <a:gd name="connsiteX209" fmla="*/ 66284 w 118465"/>
                <a:gd name="connsiteY209" fmla="*/ 12693 h 124107"/>
                <a:gd name="connsiteX210" fmla="*/ 66567 w 118465"/>
                <a:gd name="connsiteY210" fmla="*/ 13539 h 124107"/>
                <a:gd name="connsiteX211" fmla="*/ 68823 w 118465"/>
                <a:gd name="connsiteY211" fmla="*/ 15513 h 124107"/>
                <a:gd name="connsiteX212" fmla="*/ 69105 w 118465"/>
                <a:gd name="connsiteY212" fmla="*/ 16078 h 124107"/>
                <a:gd name="connsiteX213" fmla="*/ 71080 w 118465"/>
                <a:gd name="connsiteY213" fmla="*/ 17488 h 124107"/>
                <a:gd name="connsiteX214" fmla="*/ 71362 w 118465"/>
                <a:gd name="connsiteY214" fmla="*/ 17488 h 124107"/>
                <a:gd name="connsiteX215" fmla="*/ 72772 w 118465"/>
                <a:gd name="connsiteY215" fmla="*/ 18334 h 124107"/>
                <a:gd name="connsiteX216" fmla="*/ 74182 w 118465"/>
                <a:gd name="connsiteY216" fmla="*/ 19180 h 124107"/>
                <a:gd name="connsiteX217" fmla="*/ 75029 w 118465"/>
                <a:gd name="connsiteY217" fmla="*/ 19462 h 124107"/>
                <a:gd name="connsiteX218" fmla="*/ 75875 w 118465"/>
                <a:gd name="connsiteY218" fmla="*/ 20026 h 124107"/>
                <a:gd name="connsiteX219" fmla="*/ 78695 w 118465"/>
                <a:gd name="connsiteY219" fmla="*/ 21155 h 124107"/>
                <a:gd name="connsiteX220" fmla="*/ 79259 w 118465"/>
                <a:gd name="connsiteY220" fmla="*/ 21437 h 124107"/>
                <a:gd name="connsiteX221" fmla="*/ 80952 w 118465"/>
                <a:gd name="connsiteY221" fmla="*/ 21719 h 124107"/>
                <a:gd name="connsiteX222" fmla="*/ 81234 w 118465"/>
                <a:gd name="connsiteY222" fmla="*/ 22001 h 124107"/>
                <a:gd name="connsiteX223" fmla="*/ 84054 w 118465"/>
                <a:gd name="connsiteY223" fmla="*/ 22001 h 124107"/>
                <a:gd name="connsiteX224" fmla="*/ 85747 w 118465"/>
                <a:gd name="connsiteY224" fmla="*/ 22565 h 124107"/>
                <a:gd name="connsiteX225" fmla="*/ 87157 w 118465"/>
                <a:gd name="connsiteY225" fmla="*/ 23129 h 124107"/>
                <a:gd name="connsiteX226" fmla="*/ 87721 w 118465"/>
                <a:gd name="connsiteY226" fmla="*/ 22847 h 124107"/>
                <a:gd name="connsiteX227" fmla="*/ 89131 w 118465"/>
                <a:gd name="connsiteY227" fmla="*/ 22847 h 124107"/>
                <a:gd name="connsiteX228" fmla="*/ 90542 w 118465"/>
                <a:gd name="connsiteY228" fmla="*/ 23411 h 124107"/>
                <a:gd name="connsiteX229" fmla="*/ 95337 w 118465"/>
                <a:gd name="connsiteY229" fmla="*/ 23411 h 124107"/>
                <a:gd name="connsiteX230" fmla="*/ 96465 w 118465"/>
                <a:gd name="connsiteY230" fmla="*/ 22847 h 124107"/>
                <a:gd name="connsiteX231" fmla="*/ 99850 w 118465"/>
                <a:gd name="connsiteY231" fmla="*/ 22847 h 124107"/>
                <a:gd name="connsiteX232" fmla="*/ 100414 w 118465"/>
                <a:gd name="connsiteY232" fmla="*/ 23129 h 124107"/>
                <a:gd name="connsiteX233" fmla="*/ 101260 w 118465"/>
                <a:gd name="connsiteY233" fmla="*/ 22565 h 124107"/>
                <a:gd name="connsiteX234" fmla="*/ 102670 w 118465"/>
                <a:gd name="connsiteY234" fmla="*/ 22565 h 124107"/>
                <a:gd name="connsiteX235" fmla="*/ 103798 w 118465"/>
                <a:gd name="connsiteY235" fmla="*/ 22283 h 124107"/>
                <a:gd name="connsiteX236" fmla="*/ 105491 w 118465"/>
                <a:gd name="connsiteY236" fmla="*/ 22001 h 124107"/>
                <a:gd name="connsiteX237" fmla="*/ 106337 w 118465"/>
                <a:gd name="connsiteY237" fmla="*/ 21719 h 124107"/>
                <a:gd name="connsiteX238" fmla="*/ 107465 w 118465"/>
                <a:gd name="connsiteY238" fmla="*/ 21719 h 124107"/>
                <a:gd name="connsiteX239" fmla="*/ 108876 w 118465"/>
                <a:gd name="connsiteY239" fmla="*/ 21437 h 124107"/>
                <a:gd name="connsiteX240" fmla="*/ 110286 w 118465"/>
                <a:gd name="connsiteY240" fmla="*/ 21437 h 124107"/>
                <a:gd name="connsiteX241" fmla="*/ 111979 w 118465"/>
                <a:gd name="connsiteY241" fmla="*/ 20590 h 124107"/>
                <a:gd name="connsiteX242" fmla="*/ 113953 w 118465"/>
                <a:gd name="connsiteY242" fmla="*/ 20026 h 124107"/>
                <a:gd name="connsiteX243" fmla="*/ 115081 w 118465"/>
                <a:gd name="connsiteY243" fmla="*/ 19462 h 124107"/>
                <a:gd name="connsiteX244" fmla="*/ 115646 w 118465"/>
                <a:gd name="connsiteY244" fmla="*/ 19462 h 124107"/>
                <a:gd name="connsiteX245" fmla="*/ 116210 w 118465"/>
                <a:gd name="connsiteY245" fmla="*/ 19180 h 124107"/>
                <a:gd name="connsiteX246" fmla="*/ 117620 w 118465"/>
                <a:gd name="connsiteY246" fmla="*/ 18616 h 124107"/>
                <a:gd name="connsiteX247" fmla="*/ 117902 w 118465"/>
                <a:gd name="connsiteY247" fmla="*/ 18616 h 124107"/>
                <a:gd name="connsiteX248" fmla="*/ 119312 w 118465"/>
                <a:gd name="connsiteY248" fmla="*/ 18052 h 124107"/>
                <a:gd name="connsiteX249" fmla="*/ 120440 w 118465"/>
                <a:gd name="connsiteY249" fmla="*/ 17770 h 124107"/>
                <a:gd name="connsiteX250" fmla="*/ 121568 w 118465"/>
                <a:gd name="connsiteY250" fmla="*/ 17770 h 124107"/>
                <a:gd name="connsiteX251" fmla="*/ 121851 w 118465"/>
                <a:gd name="connsiteY251" fmla="*/ 18052 h 124107"/>
                <a:gd name="connsiteX252" fmla="*/ 121851 w 118465"/>
                <a:gd name="connsiteY252" fmla="*/ 18334 h 124107"/>
                <a:gd name="connsiteX253" fmla="*/ 122979 w 118465"/>
                <a:gd name="connsiteY253" fmla="*/ 19744 h 124107"/>
                <a:gd name="connsiteX254" fmla="*/ 121851 w 118465"/>
                <a:gd name="connsiteY254" fmla="*/ 21155 h 124107"/>
                <a:gd name="connsiteX255" fmla="*/ 120440 w 118465"/>
                <a:gd name="connsiteY255" fmla="*/ 22847 h 124107"/>
                <a:gd name="connsiteX256" fmla="*/ 120440 w 118465"/>
                <a:gd name="connsiteY256" fmla="*/ 23411 h 124107"/>
                <a:gd name="connsiteX257" fmla="*/ 119312 w 118465"/>
                <a:gd name="connsiteY257" fmla="*/ 23693 h 124107"/>
                <a:gd name="connsiteX258" fmla="*/ 118748 w 118465"/>
                <a:gd name="connsiteY258" fmla="*/ 24539 h 124107"/>
                <a:gd name="connsiteX259" fmla="*/ 119312 w 118465"/>
                <a:gd name="connsiteY259" fmla="*/ 25103 h 124107"/>
                <a:gd name="connsiteX260" fmla="*/ 119312 w 118465"/>
                <a:gd name="connsiteY260" fmla="*/ 25386 h 124107"/>
                <a:gd name="connsiteX261" fmla="*/ 117902 w 118465"/>
                <a:gd name="connsiteY261" fmla="*/ 27360 h 124107"/>
                <a:gd name="connsiteX262" fmla="*/ 118466 w 118465"/>
                <a:gd name="connsiteY262" fmla="*/ 27924 h 124107"/>
                <a:gd name="connsiteX263" fmla="*/ 118184 w 118465"/>
                <a:gd name="connsiteY263" fmla="*/ 27924 h 124107"/>
                <a:gd name="connsiteX264" fmla="*/ 117620 w 118465"/>
                <a:gd name="connsiteY264" fmla="*/ 28488 h 124107"/>
                <a:gd name="connsiteX265" fmla="*/ 116491 w 118465"/>
                <a:gd name="connsiteY265" fmla="*/ 29334 h 124107"/>
                <a:gd name="connsiteX266" fmla="*/ 115646 w 118465"/>
                <a:gd name="connsiteY266" fmla="*/ 29334 h 124107"/>
                <a:gd name="connsiteX267" fmla="*/ 114517 w 118465"/>
                <a:gd name="connsiteY267" fmla="*/ 30181 h 124107"/>
                <a:gd name="connsiteX268" fmla="*/ 113953 w 118465"/>
                <a:gd name="connsiteY268" fmla="*/ 29899 h 124107"/>
                <a:gd name="connsiteX269" fmla="*/ 113671 w 118465"/>
                <a:gd name="connsiteY269" fmla="*/ 29899 h 124107"/>
                <a:gd name="connsiteX270" fmla="*/ 113671 w 118465"/>
                <a:gd name="connsiteY270" fmla="*/ 30181 h 124107"/>
                <a:gd name="connsiteX271" fmla="*/ 112260 w 118465"/>
                <a:gd name="connsiteY271" fmla="*/ 31591 h 124107"/>
                <a:gd name="connsiteX272" fmla="*/ 111696 w 118465"/>
                <a:gd name="connsiteY272" fmla="*/ 32719 h 124107"/>
                <a:gd name="connsiteX273" fmla="*/ 110004 w 118465"/>
                <a:gd name="connsiteY273" fmla="*/ 32719 h 124107"/>
                <a:gd name="connsiteX274" fmla="*/ 110004 w 118465"/>
                <a:gd name="connsiteY274" fmla="*/ 33283 h 124107"/>
                <a:gd name="connsiteX275" fmla="*/ 109722 w 118465"/>
                <a:gd name="connsiteY275" fmla="*/ 34129 h 124107"/>
                <a:gd name="connsiteX276" fmla="*/ 109722 w 118465"/>
                <a:gd name="connsiteY276" fmla="*/ 34694 h 124107"/>
                <a:gd name="connsiteX277" fmla="*/ 111132 w 118465"/>
                <a:gd name="connsiteY277" fmla="*/ 35258 h 124107"/>
                <a:gd name="connsiteX278" fmla="*/ 112260 w 118465"/>
                <a:gd name="connsiteY278" fmla="*/ 35540 h 124107"/>
                <a:gd name="connsiteX279" fmla="*/ 112543 w 118465"/>
                <a:gd name="connsiteY279" fmla="*/ 35822 h 124107"/>
                <a:gd name="connsiteX280" fmla="*/ 112543 w 118465"/>
                <a:gd name="connsiteY280" fmla="*/ 36104 h 124107"/>
                <a:gd name="connsiteX281" fmla="*/ 111132 w 118465"/>
                <a:gd name="connsiteY281" fmla="*/ 36950 h 124107"/>
                <a:gd name="connsiteX282" fmla="*/ 109722 w 118465"/>
                <a:gd name="connsiteY282" fmla="*/ 36950 h 124107"/>
                <a:gd name="connsiteX283" fmla="*/ 109158 w 118465"/>
                <a:gd name="connsiteY283" fmla="*/ 36668 h 124107"/>
                <a:gd name="connsiteX284" fmla="*/ 108876 w 118465"/>
                <a:gd name="connsiteY284" fmla="*/ 36950 h 124107"/>
                <a:gd name="connsiteX285" fmla="*/ 107748 w 118465"/>
                <a:gd name="connsiteY285" fmla="*/ 36950 h 124107"/>
                <a:gd name="connsiteX286" fmla="*/ 106337 w 118465"/>
                <a:gd name="connsiteY286" fmla="*/ 37232 h 124107"/>
                <a:gd name="connsiteX287" fmla="*/ 106055 w 118465"/>
                <a:gd name="connsiteY287" fmla="*/ 37514 h 124107"/>
                <a:gd name="connsiteX288" fmla="*/ 104927 w 118465"/>
                <a:gd name="connsiteY288" fmla="*/ 37232 h 124107"/>
                <a:gd name="connsiteX289" fmla="*/ 104363 w 118465"/>
                <a:gd name="connsiteY289" fmla="*/ 36950 h 124107"/>
                <a:gd name="connsiteX290" fmla="*/ 103234 w 118465"/>
                <a:gd name="connsiteY290" fmla="*/ 37232 h 124107"/>
                <a:gd name="connsiteX291" fmla="*/ 102388 w 118465"/>
                <a:gd name="connsiteY291" fmla="*/ 37796 h 124107"/>
                <a:gd name="connsiteX292" fmla="*/ 102106 w 118465"/>
                <a:gd name="connsiteY292" fmla="*/ 37796 h 124107"/>
                <a:gd name="connsiteX293" fmla="*/ 100414 w 118465"/>
                <a:gd name="connsiteY293" fmla="*/ 37232 h 124107"/>
                <a:gd name="connsiteX294" fmla="*/ 98440 w 118465"/>
                <a:gd name="connsiteY294" fmla="*/ 37232 h 124107"/>
                <a:gd name="connsiteX295" fmla="*/ 97876 w 118465"/>
                <a:gd name="connsiteY295" fmla="*/ 36950 h 124107"/>
                <a:gd name="connsiteX296" fmla="*/ 96465 w 118465"/>
                <a:gd name="connsiteY296" fmla="*/ 37232 h 124107"/>
                <a:gd name="connsiteX297" fmla="*/ 96183 w 118465"/>
                <a:gd name="connsiteY297" fmla="*/ 37232 h 124107"/>
                <a:gd name="connsiteX298" fmla="*/ 94491 w 118465"/>
                <a:gd name="connsiteY298" fmla="*/ 38360 h 124107"/>
                <a:gd name="connsiteX299" fmla="*/ 93362 w 118465"/>
                <a:gd name="connsiteY299" fmla="*/ 38924 h 124107"/>
                <a:gd name="connsiteX300" fmla="*/ 92798 w 118465"/>
                <a:gd name="connsiteY300" fmla="*/ 38924 h 124107"/>
                <a:gd name="connsiteX301" fmla="*/ 89131 w 118465"/>
                <a:gd name="connsiteY301" fmla="*/ 37232 h 124107"/>
                <a:gd name="connsiteX302" fmla="*/ 88850 w 118465"/>
                <a:gd name="connsiteY302" fmla="*/ 36950 h 124107"/>
                <a:gd name="connsiteX303" fmla="*/ 88567 w 118465"/>
                <a:gd name="connsiteY303" fmla="*/ 37232 h 124107"/>
                <a:gd name="connsiteX304" fmla="*/ 87157 w 118465"/>
                <a:gd name="connsiteY304" fmla="*/ 38078 h 124107"/>
                <a:gd name="connsiteX305" fmla="*/ 86593 w 118465"/>
                <a:gd name="connsiteY305" fmla="*/ 37796 h 124107"/>
                <a:gd name="connsiteX306" fmla="*/ 85183 w 118465"/>
                <a:gd name="connsiteY306" fmla="*/ 38078 h 124107"/>
                <a:gd name="connsiteX307" fmla="*/ 84054 w 118465"/>
                <a:gd name="connsiteY307" fmla="*/ 37232 h 124107"/>
                <a:gd name="connsiteX308" fmla="*/ 81234 w 118465"/>
                <a:gd name="connsiteY308" fmla="*/ 37232 h 124107"/>
                <a:gd name="connsiteX309" fmla="*/ 79542 w 118465"/>
                <a:gd name="connsiteY309" fmla="*/ 36668 h 124107"/>
                <a:gd name="connsiteX310" fmla="*/ 78413 w 118465"/>
                <a:gd name="connsiteY310" fmla="*/ 36668 h 124107"/>
                <a:gd name="connsiteX311" fmla="*/ 77567 w 118465"/>
                <a:gd name="connsiteY311" fmla="*/ 36386 h 124107"/>
                <a:gd name="connsiteX312" fmla="*/ 76157 w 118465"/>
                <a:gd name="connsiteY312" fmla="*/ 36386 h 124107"/>
                <a:gd name="connsiteX313" fmla="*/ 75029 w 118465"/>
                <a:gd name="connsiteY313" fmla="*/ 36104 h 124107"/>
                <a:gd name="connsiteX314" fmla="*/ 74464 w 118465"/>
                <a:gd name="connsiteY314" fmla="*/ 36386 h 124107"/>
                <a:gd name="connsiteX315" fmla="*/ 74182 w 118465"/>
                <a:gd name="connsiteY315" fmla="*/ 36668 h 124107"/>
                <a:gd name="connsiteX316" fmla="*/ 74182 w 118465"/>
                <a:gd name="connsiteY316" fmla="*/ 36386 h 124107"/>
                <a:gd name="connsiteX317" fmla="*/ 71644 w 118465"/>
                <a:gd name="connsiteY317" fmla="*/ 35258 h 124107"/>
                <a:gd name="connsiteX318" fmla="*/ 71362 w 118465"/>
                <a:gd name="connsiteY318" fmla="*/ 34976 h 124107"/>
                <a:gd name="connsiteX319" fmla="*/ 69387 w 118465"/>
                <a:gd name="connsiteY319" fmla="*/ 34976 h 124107"/>
                <a:gd name="connsiteX320" fmla="*/ 67977 w 118465"/>
                <a:gd name="connsiteY320" fmla="*/ 34411 h 124107"/>
                <a:gd name="connsiteX321" fmla="*/ 67695 w 118465"/>
                <a:gd name="connsiteY321" fmla="*/ 34411 h 124107"/>
                <a:gd name="connsiteX322" fmla="*/ 67131 w 118465"/>
                <a:gd name="connsiteY322" fmla="*/ 34976 h 124107"/>
                <a:gd name="connsiteX323" fmla="*/ 67695 w 118465"/>
                <a:gd name="connsiteY323" fmla="*/ 36950 h 124107"/>
                <a:gd name="connsiteX324" fmla="*/ 67977 w 118465"/>
                <a:gd name="connsiteY324" fmla="*/ 37514 h 124107"/>
                <a:gd name="connsiteX325" fmla="*/ 67977 w 118465"/>
                <a:gd name="connsiteY325" fmla="*/ 37796 h 124107"/>
                <a:gd name="connsiteX326" fmla="*/ 67695 w 118465"/>
                <a:gd name="connsiteY326" fmla="*/ 39771 h 124107"/>
                <a:gd name="connsiteX327" fmla="*/ 67413 w 118465"/>
                <a:gd name="connsiteY327" fmla="*/ 40899 h 124107"/>
                <a:gd name="connsiteX328" fmla="*/ 67695 w 118465"/>
                <a:gd name="connsiteY328" fmla="*/ 41745 h 124107"/>
                <a:gd name="connsiteX329" fmla="*/ 67131 w 118465"/>
                <a:gd name="connsiteY329" fmla="*/ 43155 h 124107"/>
                <a:gd name="connsiteX330" fmla="*/ 66849 w 118465"/>
                <a:gd name="connsiteY330" fmla="*/ 43155 h 124107"/>
                <a:gd name="connsiteX331" fmla="*/ 66567 w 118465"/>
                <a:gd name="connsiteY331" fmla="*/ 42309 h 124107"/>
                <a:gd name="connsiteX332" fmla="*/ 66567 w 118465"/>
                <a:gd name="connsiteY332" fmla="*/ 41745 h 124107"/>
                <a:gd name="connsiteX333" fmla="*/ 66284 w 118465"/>
                <a:gd name="connsiteY333" fmla="*/ 40617 h 124107"/>
                <a:gd name="connsiteX334" fmla="*/ 66284 w 118465"/>
                <a:gd name="connsiteY334" fmla="*/ 40335 h 124107"/>
                <a:gd name="connsiteX335" fmla="*/ 66002 w 118465"/>
                <a:gd name="connsiteY335" fmla="*/ 39771 h 124107"/>
                <a:gd name="connsiteX336" fmla="*/ 66567 w 118465"/>
                <a:gd name="connsiteY336" fmla="*/ 38642 h 124107"/>
                <a:gd name="connsiteX337" fmla="*/ 66002 w 118465"/>
                <a:gd name="connsiteY337" fmla="*/ 37796 h 124107"/>
                <a:gd name="connsiteX338" fmla="*/ 66284 w 118465"/>
                <a:gd name="connsiteY338" fmla="*/ 37514 h 124107"/>
                <a:gd name="connsiteX339" fmla="*/ 66567 w 118465"/>
                <a:gd name="connsiteY339" fmla="*/ 35822 h 124107"/>
                <a:gd name="connsiteX340" fmla="*/ 65720 w 118465"/>
                <a:gd name="connsiteY340" fmla="*/ 34976 h 124107"/>
                <a:gd name="connsiteX341" fmla="*/ 66002 w 118465"/>
                <a:gd name="connsiteY341" fmla="*/ 34129 h 124107"/>
                <a:gd name="connsiteX342" fmla="*/ 66849 w 118465"/>
                <a:gd name="connsiteY342" fmla="*/ 33565 h 124107"/>
                <a:gd name="connsiteX343" fmla="*/ 66002 w 118465"/>
                <a:gd name="connsiteY343" fmla="*/ 33283 h 124107"/>
                <a:gd name="connsiteX344" fmla="*/ 64874 w 118465"/>
                <a:gd name="connsiteY344" fmla="*/ 33001 h 124107"/>
                <a:gd name="connsiteX345" fmla="*/ 63746 w 118465"/>
                <a:gd name="connsiteY345" fmla="*/ 32437 h 124107"/>
                <a:gd name="connsiteX346" fmla="*/ 63182 w 118465"/>
                <a:gd name="connsiteY346" fmla="*/ 32719 h 124107"/>
                <a:gd name="connsiteX347" fmla="*/ 63182 w 118465"/>
                <a:gd name="connsiteY347" fmla="*/ 33847 h 124107"/>
                <a:gd name="connsiteX348" fmla="*/ 63464 w 118465"/>
                <a:gd name="connsiteY348" fmla="*/ 36668 h 124107"/>
                <a:gd name="connsiteX349" fmla="*/ 63464 w 118465"/>
                <a:gd name="connsiteY349" fmla="*/ 37232 h 124107"/>
                <a:gd name="connsiteX350" fmla="*/ 63464 w 118465"/>
                <a:gd name="connsiteY350" fmla="*/ 38078 h 124107"/>
                <a:gd name="connsiteX351" fmla="*/ 63746 w 118465"/>
                <a:gd name="connsiteY351" fmla="*/ 39207 h 124107"/>
                <a:gd name="connsiteX352" fmla="*/ 64028 w 118465"/>
                <a:gd name="connsiteY352" fmla="*/ 39771 h 124107"/>
                <a:gd name="connsiteX353" fmla="*/ 63746 w 118465"/>
                <a:gd name="connsiteY353" fmla="*/ 40335 h 124107"/>
                <a:gd name="connsiteX354" fmla="*/ 64310 w 118465"/>
                <a:gd name="connsiteY354" fmla="*/ 41463 h 124107"/>
                <a:gd name="connsiteX355" fmla="*/ 64874 w 118465"/>
                <a:gd name="connsiteY355" fmla="*/ 42309 h 124107"/>
                <a:gd name="connsiteX356" fmla="*/ 64592 w 118465"/>
                <a:gd name="connsiteY356" fmla="*/ 42873 h 124107"/>
                <a:gd name="connsiteX357" fmla="*/ 64592 w 118465"/>
                <a:gd name="connsiteY357" fmla="*/ 43155 h 124107"/>
                <a:gd name="connsiteX358" fmla="*/ 64028 w 118465"/>
                <a:gd name="connsiteY358" fmla="*/ 43155 h 124107"/>
                <a:gd name="connsiteX359" fmla="*/ 63746 w 118465"/>
                <a:gd name="connsiteY359" fmla="*/ 42873 h 124107"/>
                <a:gd name="connsiteX360" fmla="*/ 63182 w 118465"/>
                <a:gd name="connsiteY360" fmla="*/ 43155 h 124107"/>
                <a:gd name="connsiteX361" fmla="*/ 62900 w 118465"/>
                <a:gd name="connsiteY361" fmla="*/ 43720 h 124107"/>
                <a:gd name="connsiteX362" fmla="*/ 62900 w 118465"/>
                <a:gd name="connsiteY362" fmla="*/ 44002 h 124107"/>
                <a:gd name="connsiteX363" fmla="*/ 63746 w 118465"/>
                <a:gd name="connsiteY363" fmla="*/ 45694 h 124107"/>
                <a:gd name="connsiteX364" fmla="*/ 64592 w 118465"/>
                <a:gd name="connsiteY364" fmla="*/ 47386 h 124107"/>
                <a:gd name="connsiteX365" fmla="*/ 65156 w 118465"/>
                <a:gd name="connsiteY365" fmla="*/ 47950 h 124107"/>
                <a:gd name="connsiteX366" fmla="*/ 65720 w 118465"/>
                <a:gd name="connsiteY366" fmla="*/ 47668 h 124107"/>
                <a:gd name="connsiteX367" fmla="*/ 66284 w 118465"/>
                <a:gd name="connsiteY367" fmla="*/ 47104 h 124107"/>
                <a:gd name="connsiteX368" fmla="*/ 66002 w 118465"/>
                <a:gd name="connsiteY368" fmla="*/ 45694 h 124107"/>
                <a:gd name="connsiteX369" fmla="*/ 66284 w 118465"/>
                <a:gd name="connsiteY369" fmla="*/ 45130 h 124107"/>
                <a:gd name="connsiteX370" fmla="*/ 67131 w 118465"/>
                <a:gd name="connsiteY370" fmla="*/ 45694 h 124107"/>
                <a:gd name="connsiteX371" fmla="*/ 67131 w 118465"/>
                <a:gd name="connsiteY371" fmla="*/ 45976 h 124107"/>
                <a:gd name="connsiteX372" fmla="*/ 67413 w 118465"/>
                <a:gd name="connsiteY372" fmla="*/ 47104 h 124107"/>
                <a:gd name="connsiteX373" fmla="*/ 67131 w 118465"/>
                <a:gd name="connsiteY373" fmla="*/ 47668 h 124107"/>
                <a:gd name="connsiteX374" fmla="*/ 67131 w 118465"/>
                <a:gd name="connsiteY374" fmla="*/ 49643 h 124107"/>
                <a:gd name="connsiteX375" fmla="*/ 66567 w 118465"/>
                <a:gd name="connsiteY375" fmla="*/ 50771 h 124107"/>
                <a:gd name="connsiteX376" fmla="*/ 66849 w 118465"/>
                <a:gd name="connsiteY376" fmla="*/ 51617 h 124107"/>
                <a:gd name="connsiteX377" fmla="*/ 67131 w 118465"/>
                <a:gd name="connsiteY377" fmla="*/ 54156 h 124107"/>
                <a:gd name="connsiteX378" fmla="*/ 67131 w 118465"/>
                <a:gd name="connsiteY378" fmla="*/ 55002 h 124107"/>
                <a:gd name="connsiteX379" fmla="*/ 66002 w 118465"/>
                <a:gd name="connsiteY379" fmla="*/ 56694 h 124107"/>
                <a:gd name="connsiteX380" fmla="*/ 66284 w 118465"/>
                <a:gd name="connsiteY380" fmla="*/ 57258 h 124107"/>
                <a:gd name="connsiteX381" fmla="*/ 66849 w 118465"/>
                <a:gd name="connsiteY381" fmla="*/ 58951 h 124107"/>
                <a:gd name="connsiteX382" fmla="*/ 66567 w 118465"/>
                <a:gd name="connsiteY382" fmla="*/ 60079 h 124107"/>
                <a:gd name="connsiteX383" fmla="*/ 67413 w 118465"/>
                <a:gd name="connsiteY383" fmla="*/ 62336 h 124107"/>
                <a:gd name="connsiteX384" fmla="*/ 68541 w 118465"/>
                <a:gd name="connsiteY384" fmla="*/ 62900 h 124107"/>
                <a:gd name="connsiteX385" fmla="*/ 68541 w 118465"/>
                <a:gd name="connsiteY385" fmla="*/ 63464 h 124107"/>
                <a:gd name="connsiteX386" fmla="*/ 65720 w 118465"/>
                <a:gd name="connsiteY386" fmla="*/ 63464 h 124107"/>
                <a:gd name="connsiteX387" fmla="*/ 64874 w 118465"/>
                <a:gd name="connsiteY387" fmla="*/ 65156 h 124107"/>
                <a:gd name="connsiteX388" fmla="*/ 64592 w 118465"/>
                <a:gd name="connsiteY388" fmla="*/ 66002 h 124107"/>
                <a:gd name="connsiteX389" fmla="*/ 65156 w 118465"/>
                <a:gd name="connsiteY389" fmla="*/ 66849 h 124107"/>
                <a:gd name="connsiteX390" fmla="*/ 64874 w 118465"/>
                <a:gd name="connsiteY390" fmla="*/ 67413 h 124107"/>
                <a:gd name="connsiteX391" fmla="*/ 64874 w 118465"/>
                <a:gd name="connsiteY391" fmla="*/ 67977 h 124107"/>
                <a:gd name="connsiteX392" fmla="*/ 65720 w 118465"/>
                <a:gd name="connsiteY392" fmla="*/ 69105 h 124107"/>
                <a:gd name="connsiteX393" fmla="*/ 65438 w 118465"/>
                <a:gd name="connsiteY393" fmla="*/ 69669 h 124107"/>
                <a:gd name="connsiteX394" fmla="*/ 65438 w 118465"/>
                <a:gd name="connsiteY394" fmla="*/ 71079 h 124107"/>
                <a:gd name="connsiteX395" fmla="*/ 64874 w 118465"/>
                <a:gd name="connsiteY395" fmla="*/ 72490 h 124107"/>
                <a:gd name="connsiteX396" fmla="*/ 64592 w 118465"/>
                <a:gd name="connsiteY396" fmla="*/ 72772 h 124107"/>
                <a:gd name="connsiteX397" fmla="*/ 65156 w 118465"/>
                <a:gd name="connsiteY397" fmla="*/ 73900 h 124107"/>
                <a:gd name="connsiteX398" fmla="*/ 65156 w 118465"/>
                <a:gd name="connsiteY398" fmla="*/ 74464 h 124107"/>
                <a:gd name="connsiteX399" fmla="*/ 66002 w 118465"/>
                <a:gd name="connsiteY399" fmla="*/ 74182 h 124107"/>
                <a:gd name="connsiteX400" fmla="*/ 66284 w 118465"/>
                <a:gd name="connsiteY400" fmla="*/ 73618 h 124107"/>
                <a:gd name="connsiteX401" fmla="*/ 66284 w 118465"/>
                <a:gd name="connsiteY401" fmla="*/ 73336 h 124107"/>
                <a:gd name="connsiteX402" fmla="*/ 66567 w 118465"/>
                <a:gd name="connsiteY402" fmla="*/ 73054 h 124107"/>
                <a:gd name="connsiteX403" fmla="*/ 66849 w 118465"/>
                <a:gd name="connsiteY403" fmla="*/ 73336 h 124107"/>
                <a:gd name="connsiteX404" fmla="*/ 67131 w 118465"/>
                <a:gd name="connsiteY404" fmla="*/ 74182 h 124107"/>
                <a:gd name="connsiteX405" fmla="*/ 68259 w 118465"/>
                <a:gd name="connsiteY405" fmla="*/ 74464 h 124107"/>
                <a:gd name="connsiteX406" fmla="*/ 68541 w 118465"/>
                <a:gd name="connsiteY406" fmla="*/ 73618 h 124107"/>
                <a:gd name="connsiteX407" fmla="*/ 68823 w 118465"/>
                <a:gd name="connsiteY407" fmla="*/ 73618 h 124107"/>
                <a:gd name="connsiteX408" fmla="*/ 69105 w 118465"/>
                <a:gd name="connsiteY408" fmla="*/ 73900 h 124107"/>
                <a:gd name="connsiteX409" fmla="*/ 69387 w 118465"/>
                <a:gd name="connsiteY409" fmla="*/ 74464 h 124107"/>
                <a:gd name="connsiteX410" fmla="*/ 69105 w 118465"/>
                <a:gd name="connsiteY410" fmla="*/ 75310 h 124107"/>
                <a:gd name="connsiteX411" fmla="*/ 68259 w 118465"/>
                <a:gd name="connsiteY411" fmla="*/ 76439 h 124107"/>
                <a:gd name="connsiteX412" fmla="*/ 67413 w 118465"/>
                <a:gd name="connsiteY412" fmla="*/ 76439 h 124107"/>
                <a:gd name="connsiteX413" fmla="*/ 67413 w 118465"/>
                <a:gd name="connsiteY413" fmla="*/ 76157 h 124107"/>
                <a:gd name="connsiteX414" fmla="*/ 66849 w 118465"/>
                <a:gd name="connsiteY414" fmla="*/ 77567 h 124107"/>
                <a:gd name="connsiteX415" fmla="*/ 66849 w 118465"/>
                <a:gd name="connsiteY415" fmla="*/ 78695 h 124107"/>
                <a:gd name="connsiteX416" fmla="*/ 67695 w 118465"/>
                <a:gd name="connsiteY416" fmla="*/ 80105 h 124107"/>
                <a:gd name="connsiteX417" fmla="*/ 67413 w 118465"/>
                <a:gd name="connsiteY417" fmla="*/ 80670 h 124107"/>
                <a:gd name="connsiteX418" fmla="*/ 66849 w 118465"/>
                <a:gd name="connsiteY418" fmla="*/ 79823 h 124107"/>
                <a:gd name="connsiteX419" fmla="*/ 66567 w 118465"/>
                <a:gd name="connsiteY419" fmla="*/ 80105 h 124107"/>
                <a:gd name="connsiteX420" fmla="*/ 65720 w 118465"/>
                <a:gd name="connsiteY420" fmla="*/ 81234 h 124107"/>
                <a:gd name="connsiteX421" fmla="*/ 65156 w 118465"/>
                <a:gd name="connsiteY421" fmla="*/ 81798 h 124107"/>
                <a:gd name="connsiteX422" fmla="*/ 65438 w 118465"/>
                <a:gd name="connsiteY422" fmla="*/ 82926 h 124107"/>
                <a:gd name="connsiteX423" fmla="*/ 65438 w 118465"/>
                <a:gd name="connsiteY423" fmla="*/ 83208 h 124107"/>
                <a:gd name="connsiteX424" fmla="*/ 65156 w 118465"/>
                <a:gd name="connsiteY424" fmla="*/ 84054 h 124107"/>
                <a:gd name="connsiteX425" fmla="*/ 65438 w 118465"/>
                <a:gd name="connsiteY425" fmla="*/ 85183 h 124107"/>
                <a:gd name="connsiteX426" fmla="*/ 64592 w 118465"/>
                <a:gd name="connsiteY426" fmla="*/ 86875 h 124107"/>
                <a:gd name="connsiteX427" fmla="*/ 64592 w 118465"/>
                <a:gd name="connsiteY427" fmla="*/ 87721 h 124107"/>
                <a:gd name="connsiteX428" fmla="*/ 64874 w 118465"/>
                <a:gd name="connsiteY428" fmla="*/ 89131 h 124107"/>
                <a:gd name="connsiteX429" fmla="*/ 66002 w 118465"/>
                <a:gd name="connsiteY429" fmla="*/ 90542 h 124107"/>
                <a:gd name="connsiteX430" fmla="*/ 66284 w 118465"/>
                <a:gd name="connsiteY430" fmla="*/ 90824 h 124107"/>
                <a:gd name="connsiteX431" fmla="*/ 66849 w 118465"/>
                <a:gd name="connsiteY431" fmla="*/ 90542 h 124107"/>
                <a:gd name="connsiteX432" fmla="*/ 67413 w 118465"/>
                <a:gd name="connsiteY432" fmla="*/ 89413 h 124107"/>
                <a:gd name="connsiteX433" fmla="*/ 67977 w 118465"/>
                <a:gd name="connsiteY433" fmla="*/ 88567 h 124107"/>
                <a:gd name="connsiteX434" fmla="*/ 69105 w 118465"/>
                <a:gd name="connsiteY434" fmla="*/ 87721 h 124107"/>
                <a:gd name="connsiteX435" fmla="*/ 68823 w 118465"/>
                <a:gd name="connsiteY435" fmla="*/ 87157 h 124107"/>
                <a:gd name="connsiteX436" fmla="*/ 69105 w 118465"/>
                <a:gd name="connsiteY436" fmla="*/ 86593 h 124107"/>
                <a:gd name="connsiteX437" fmla="*/ 69105 w 118465"/>
                <a:gd name="connsiteY437" fmla="*/ 86311 h 124107"/>
                <a:gd name="connsiteX438" fmla="*/ 69669 w 118465"/>
                <a:gd name="connsiteY438" fmla="*/ 85465 h 124107"/>
                <a:gd name="connsiteX439" fmla="*/ 70233 w 118465"/>
                <a:gd name="connsiteY439" fmla="*/ 87157 h 124107"/>
                <a:gd name="connsiteX440" fmla="*/ 69669 w 118465"/>
                <a:gd name="connsiteY440" fmla="*/ 88003 h 124107"/>
                <a:gd name="connsiteX441" fmla="*/ 69105 w 118465"/>
                <a:gd name="connsiteY441" fmla="*/ 88849 h 124107"/>
                <a:gd name="connsiteX442" fmla="*/ 69387 w 118465"/>
                <a:gd name="connsiteY442" fmla="*/ 89131 h 124107"/>
                <a:gd name="connsiteX443" fmla="*/ 69669 w 118465"/>
                <a:gd name="connsiteY443" fmla="*/ 89978 h 124107"/>
                <a:gd name="connsiteX444" fmla="*/ 69105 w 118465"/>
                <a:gd name="connsiteY444" fmla="*/ 90542 h 124107"/>
                <a:gd name="connsiteX445" fmla="*/ 68259 w 118465"/>
                <a:gd name="connsiteY445" fmla="*/ 92798 h 124107"/>
                <a:gd name="connsiteX446" fmla="*/ 68259 w 118465"/>
                <a:gd name="connsiteY446" fmla="*/ 94773 h 124107"/>
                <a:gd name="connsiteX447" fmla="*/ 67695 w 118465"/>
                <a:gd name="connsiteY447" fmla="*/ 95337 h 124107"/>
                <a:gd name="connsiteX448" fmla="*/ 66849 w 118465"/>
                <a:gd name="connsiteY448" fmla="*/ 97593 h 124107"/>
                <a:gd name="connsiteX449" fmla="*/ 65720 w 118465"/>
                <a:gd name="connsiteY449" fmla="*/ 98439 h 124107"/>
                <a:gd name="connsiteX450" fmla="*/ 65438 w 118465"/>
                <a:gd name="connsiteY450" fmla="*/ 99004 h 124107"/>
                <a:gd name="connsiteX451" fmla="*/ 65720 w 118465"/>
                <a:gd name="connsiteY451" fmla="*/ 101260 h 124107"/>
                <a:gd name="connsiteX452" fmla="*/ 65438 w 118465"/>
                <a:gd name="connsiteY452" fmla="*/ 101542 h 124107"/>
                <a:gd name="connsiteX453" fmla="*/ 64874 w 118465"/>
                <a:gd name="connsiteY453" fmla="*/ 101542 h 124107"/>
                <a:gd name="connsiteX454" fmla="*/ 64310 w 118465"/>
                <a:gd name="connsiteY454" fmla="*/ 100696 h 124107"/>
                <a:gd name="connsiteX455" fmla="*/ 64310 w 118465"/>
                <a:gd name="connsiteY455" fmla="*/ 97311 h 124107"/>
                <a:gd name="connsiteX456" fmla="*/ 64028 w 118465"/>
                <a:gd name="connsiteY456" fmla="*/ 97311 h 124107"/>
                <a:gd name="connsiteX457" fmla="*/ 63746 w 118465"/>
                <a:gd name="connsiteY457" fmla="*/ 96747 h 124107"/>
                <a:gd name="connsiteX458" fmla="*/ 62618 w 118465"/>
                <a:gd name="connsiteY458" fmla="*/ 97593 h 124107"/>
                <a:gd name="connsiteX459" fmla="*/ 62054 w 118465"/>
                <a:gd name="connsiteY459" fmla="*/ 99286 h 124107"/>
                <a:gd name="connsiteX460" fmla="*/ 62054 w 118465"/>
                <a:gd name="connsiteY460" fmla="*/ 99568 h 124107"/>
                <a:gd name="connsiteX461" fmla="*/ 62336 w 118465"/>
                <a:gd name="connsiteY461" fmla="*/ 100696 h 124107"/>
                <a:gd name="connsiteX462" fmla="*/ 62054 w 118465"/>
                <a:gd name="connsiteY462" fmla="*/ 100978 h 124107"/>
                <a:gd name="connsiteX463" fmla="*/ 60926 w 118465"/>
                <a:gd name="connsiteY463" fmla="*/ 102388 h 124107"/>
                <a:gd name="connsiteX464" fmla="*/ 60643 w 118465"/>
                <a:gd name="connsiteY464" fmla="*/ 102670 h 124107"/>
                <a:gd name="connsiteX465" fmla="*/ 59797 w 118465"/>
                <a:gd name="connsiteY465" fmla="*/ 104645 h 124107"/>
                <a:gd name="connsiteX466" fmla="*/ 58105 w 118465"/>
                <a:gd name="connsiteY466" fmla="*/ 106337 h 124107"/>
                <a:gd name="connsiteX467" fmla="*/ 57259 w 118465"/>
                <a:gd name="connsiteY467" fmla="*/ 107465 h 124107"/>
                <a:gd name="connsiteX468" fmla="*/ 57259 w 118465"/>
                <a:gd name="connsiteY468" fmla="*/ 107747 h 124107"/>
                <a:gd name="connsiteX469" fmla="*/ 56412 w 118465"/>
                <a:gd name="connsiteY469" fmla="*/ 108312 h 124107"/>
                <a:gd name="connsiteX470" fmla="*/ 55566 w 118465"/>
                <a:gd name="connsiteY470" fmla="*/ 108876 h 124107"/>
                <a:gd name="connsiteX471" fmla="*/ 54156 w 118465"/>
                <a:gd name="connsiteY471" fmla="*/ 111414 h 124107"/>
                <a:gd name="connsiteX472" fmla="*/ 53874 w 118465"/>
                <a:gd name="connsiteY472" fmla="*/ 111978 h 124107"/>
                <a:gd name="connsiteX473" fmla="*/ 53028 w 118465"/>
                <a:gd name="connsiteY473" fmla="*/ 112825 h 124107"/>
                <a:gd name="connsiteX474" fmla="*/ 51899 w 118465"/>
                <a:gd name="connsiteY474" fmla="*/ 113107 h 124107"/>
                <a:gd name="connsiteX475" fmla="*/ 51899 w 118465"/>
                <a:gd name="connsiteY475" fmla="*/ 113953 h 124107"/>
                <a:gd name="connsiteX476" fmla="*/ 49925 w 118465"/>
                <a:gd name="connsiteY476" fmla="*/ 115363 h 124107"/>
                <a:gd name="connsiteX477" fmla="*/ 49361 w 118465"/>
                <a:gd name="connsiteY477" fmla="*/ 115363 h 124107"/>
                <a:gd name="connsiteX478" fmla="*/ 49361 w 118465"/>
                <a:gd name="connsiteY478" fmla="*/ 114235 h 124107"/>
                <a:gd name="connsiteX479" fmla="*/ 48797 w 118465"/>
                <a:gd name="connsiteY479" fmla="*/ 114517 h 124107"/>
                <a:gd name="connsiteX480" fmla="*/ 48515 w 118465"/>
                <a:gd name="connsiteY480" fmla="*/ 115081 h 124107"/>
                <a:gd name="connsiteX481" fmla="*/ 48515 w 118465"/>
                <a:gd name="connsiteY481" fmla="*/ 115363 h 124107"/>
                <a:gd name="connsiteX482" fmla="*/ 47950 w 118465"/>
                <a:gd name="connsiteY482" fmla="*/ 117055 h 124107"/>
                <a:gd name="connsiteX483" fmla="*/ 47104 w 118465"/>
                <a:gd name="connsiteY483" fmla="*/ 117620 h 124107"/>
                <a:gd name="connsiteX484" fmla="*/ 45694 w 118465"/>
                <a:gd name="connsiteY484" fmla="*/ 119312 h 124107"/>
                <a:gd name="connsiteX485" fmla="*/ 45412 w 118465"/>
                <a:gd name="connsiteY485" fmla="*/ 118748 h 124107"/>
                <a:gd name="connsiteX486" fmla="*/ 2539 w 118465"/>
                <a:gd name="connsiteY486" fmla="*/ 85747 h 124107"/>
                <a:gd name="connsiteX487" fmla="*/ 2821 w 118465"/>
                <a:gd name="connsiteY487" fmla="*/ 85747 h 124107"/>
                <a:gd name="connsiteX488" fmla="*/ 2821 w 118465"/>
                <a:gd name="connsiteY488" fmla="*/ 85465 h 124107"/>
                <a:gd name="connsiteX489" fmla="*/ 2539 w 118465"/>
                <a:gd name="connsiteY489" fmla="*/ 85747 h 124107"/>
                <a:gd name="connsiteX490" fmla="*/ 7052 w 118465"/>
                <a:gd name="connsiteY490" fmla="*/ 114235 h 124107"/>
                <a:gd name="connsiteX491" fmla="*/ 6206 w 118465"/>
                <a:gd name="connsiteY491" fmla="*/ 112260 h 124107"/>
                <a:gd name="connsiteX492" fmla="*/ 5359 w 118465"/>
                <a:gd name="connsiteY492" fmla="*/ 111132 h 124107"/>
                <a:gd name="connsiteX493" fmla="*/ 4513 w 118465"/>
                <a:gd name="connsiteY493" fmla="*/ 109440 h 124107"/>
                <a:gd name="connsiteX494" fmla="*/ 3949 w 118465"/>
                <a:gd name="connsiteY494" fmla="*/ 109158 h 124107"/>
                <a:gd name="connsiteX495" fmla="*/ 3667 w 118465"/>
                <a:gd name="connsiteY495" fmla="*/ 109158 h 124107"/>
                <a:gd name="connsiteX496" fmla="*/ 3385 w 118465"/>
                <a:gd name="connsiteY496" fmla="*/ 108876 h 124107"/>
                <a:gd name="connsiteX497" fmla="*/ 3103 w 118465"/>
                <a:gd name="connsiteY497" fmla="*/ 108876 h 124107"/>
                <a:gd name="connsiteX498" fmla="*/ 3103 w 118465"/>
                <a:gd name="connsiteY498" fmla="*/ 110286 h 124107"/>
                <a:gd name="connsiteX499" fmla="*/ 4231 w 118465"/>
                <a:gd name="connsiteY499" fmla="*/ 111414 h 124107"/>
                <a:gd name="connsiteX500" fmla="*/ 4231 w 118465"/>
                <a:gd name="connsiteY500" fmla="*/ 112825 h 124107"/>
                <a:gd name="connsiteX501" fmla="*/ 4513 w 118465"/>
                <a:gd name="connsiteY501" fmla="*/ 114235 h 124107"/>
                <a:gd name="connsiteX502" fmla="*/ 4795 w 118465"/>
                <a:gd name="connsiteY502" fmla="*/ 114517 h 124107"/>
                <a:gd name="connsiteX503" fmla="*/ 5924 w 118465"/>
                <a:gd name="connsiteY503" fmla="*/ 115645 h 124107"/>
                <a:gd name="connsiteX504" fmla="*/ 5924 w 118465"/>
                <a:gd name="connsiteY504" fmla="*/ 116209 h 124107"/>
                <a:gd name="connsiteX505" fmla="*/ 6770 w 118465"/>
                <a:gd name="connsiteY505" fmla="*/ 117055 h 124107"/>
                <a:gd name="connsiteX506" fmla="*/ 6770 w 118465"/>
                <a:gd name="connsiteY506" fmla="*/ 117338 h 124107"/>
                <a:gd name="connsiteX507" fmla="*/ 7052 w 118465"/>
                <a:gd name="connsiteY507" fmla="*/ 117055 h 124107"/>
                <a:gd name="connsiteX508" fmla="*/ 6770 w 118465"/>
                <a:gd name="connsiteY508" fmla="*/ 115645 h 124107"/>
                <a:gd name="connsiteX509" fmla="*/ 7334 w 118465"/>
                <a:gd name="connsiteY509" fmla="*/ 114799 h 124107"/>
                <a:gd name="connsiteX510" fmla="*/ 7052 w 118465"/>
                <a:gd name="connsiteY510" fmla="*/ 114235 h 124107"/>
                <a:gd name="connsiteX511" fmla="*/ 4795 w 118465"/>
                <a:gd name="connsiteY511" fmla="*/ 77849 h 124107"/>
                <a:gd name="connsiteX512" fmla="*/ 4513 w 118465"/>
                <a:gd name="connsiteY512" fmla="*/ 76439 h 124107"/>
                <a:gd name="connsiteX513" fmla="*/ 4231 w 118465"/>
                <a:gd name="connsiteY513" fmla="*/ 76157 h 124107"/>
                <a:gd name="connsiteX514" fmla="*/ 3667 w 118465"/>
                <a:gd name="connsiteY514" fmla="*/ 76157 h 124107"/>
                <a:gd name="connsiteX515" fmla="*/ 3949 w 118465"/>
                <a:gd name="connsiteY515" fmla="*/ 76721 h 124107"/>
                <a:gd name="connsiteX516" fmla="*/ 4513 w 118465"/>
                <a:gd name="connsiteY516" fmla="*/ 78413 h 124107"/>
                <a:gd name="connsiteX517" fmla="*/ 4513 w 118465"/>
                <a:gd name="connsiteY517" fmla="*/ 78695 h 124107"/>
                <a:gd name="connsiteX518" fmla="*/ 4795 w 118465"/>
                <a:gd name="connsiteY518" fmla="*/ 78413 h 124107"/>
                <a:gd name="connsiteX519" fmla="*/ 4795 w 118465"/>
                <a:gd name="connsiteY519" fmla="*/ 77849 h 124107"/>
                <a:gd name="connsiteX520" fmla="*/ 5641 w 118465"/>
                <a:gd name="connsiteY520" fmla="*/ 69951 h 124107"/>
                <a:gd name="connsiteX521" fmla="*/ 5924 w 118465"/>
                <a:gd name="connsiteY521" fmla="*/ 69951 h 124107"/>
                <a:gd name="connsiteX522" fmla="*/ 5924 w 118465"/>
                <a:gd name="connsiteY522" fmla="*/ 69669 h 124107"/>
                <a:gd name="connsiteX523" fmla="*/ 5641 w 118465"/>
                <a:gd name="connsiteY523" fmla="*/ 69951 h 124107"/>
                <a:gd name="connsiteX524" fmla="*/ 7898 w 118465"/>
                <a:gd name="connsiteY524" fmla="*/ 116491 h 124107"/>
                <a:gd name="connsiteX525" fmla="*/ 8180 w 118465"/>
                <a:gd name="connsiteY525" fmla="*/ 117055 h 124107"/>
                <a:gd name="connsiteX526" fmla="*/ 8462 w 118465"/>
                <a:gd name="connsiteY526" fmla="*/ 117338 h 124107"/>
                <a:gd name="connsiteX527" fmla="*/ 8744 w 118465"/>
                <a:gd name="connsiteY527" fmla="*/ 116773 h 124107"/>
                <a:gd name="connsiteX528" fmla="*/ 8180 w 118465"/>
                <a:gd name="connsiteY528" fmla="*/ 116209 h 124107"/>
                <a:gd name="connsiteX529" fmla="*/ 7898 w 118465"/>
                <a:gd name="connsiteY529" fmla="*/ 116491 h 124107"/>
                <a:gd name="connsiteX530" fmla="*/ 9308 w 118465"/>
                <a:gd name="connsiteY530" fmla="*/ 119876 h 124107"/>
                <a:gd name="connsiteX531" fmla="*/ 8462 w 118465"/>
                <a:gd name="connsiteY531" fmla="*/ 119030 h 124107"/>
                <a:gd name="connsiteX532" fmla="*/ 7898 w 118465"/>
                <a:gd name="connsiteY532" fmla="*/ 119030 h 124107"/>
                <a:gd name="connsiteX533" fmla="*/ 8180 w 118465"/>
                <a:gd name="connsiteY533" fmla="*/ 119312 h 124107"/>
                <a:gd name="connsiteX534" fmla="*/ 8744 w 118465"/>
                <a:gd name="connsiteY534" fmla="*/ 120722 h 124107"/>
                <a:gd name="connsiteX535" fmla="*/ 8744 w 118465"/>
                <a:gd name="connsiteY535" fmla="*/ 121004 h 124107"/>
                <a:gd name="connsiteX536" fmla="*/ 9026 w 118465"/>
                <a:gd name="connsiteY536" fmla="*/ 121286 h 124107"/>
                <a:gd name="connsiteX537" fmla="*/ 9590 w 118465"/>
                <a:gd name="connsiteY537" fmla="*/ 120722 h 124107"/>
                <a:gd name="connsiteX538" fmla="*/ 9308 w 118465"/>
                <a:gd name="connsiteY538" fmla="*/ 119876 h 124107"/>
                <a:gd name="connsiteX539" fmla="*/ 9872 w 118465"/>
                <a:gd name="connsiteY539" fmla="*/ 121568 h 124107"/>
                <a:gd name="connsiteX540" fmla="*/ 9872 w 118465"/>
                <a:gd name="connsiteY540" fmla="*/ 122133 h 124107"/>
                <a:gd name="connsiteX541" fmla="*/ 10436 w 118465"/>
                <a:gd name="connsiteY541" fmla="*/ 122979 h 124107"/>
                <a:gd name="connsiteX542" fmla="*/ 10718 w 118465"/>
                <a:gd name="connsiteY542" fmla="*/ 122697 h 124107"/>
                <a:gd name="connsiteX543" fmla="*/ 9872 w 118465"/>
                <a:gd name="connsiteY543" fmla="*/ 121568 h 124107"/>
                <a:gd name="connsiteX544" fmla="*/ 58387 w 118465"/>
                <a:gd name="connsiteY544" fmla="*/ 45694 h 124107"/>
                <a:gd name="connsiteX545" fmla="*/ 58951 w 118465"/>
                <a:gd name="connsiteY545" fmla="*/ 45130 h 124107"/>
                <a:gd name="connsiteX546" fmla="*/ 58387 w 118465"/>
                <a:gd name="connsiteY546" fmla="*/ 44002 h 124107"/>
                <a:gd name="connsiteX547" fmla="*/ 58105 w 118465"/>
                <a:gd name="connsiteY547" fmla="*/ 43720 h 124107"/>
                <a:gd name="connsiteX548" fmla="*/ 58951 w 118465"/>
                <a:gd name="connsiteY548" fmla="*/ 42591 h 124107"/>
                <a:gd name="connsiteX549" fmla="*/ 58105 w 118465"/>
                <a:gd name="connsiteY549" fmla="*/ 41463 h 124107"/>
                <a:gd name="connsiteX550" fmla="*/ 58105 w 118465"/>
                <a:gd name="connsiteY550" fmla="*/ 41181 h 124107"/>
                <a:gd name="connsiteX551" fmla="*/ 58669 w 118465"/>
                <a:gd name="connsiteY551" fmla="*/ 40053 h 124107"/>
                <a:gd name="connsiteX552" fmla="*/ 58669 w 118465"/>
                <a:gd name="connsiteY552" fmla="*/ 38642 h 124107"/>
                <a:gd name="connsiteX553" fmla="*/ 58387 w 118465"/>
                <a:gd name="connsiteY553" fmla="*/ 37514 h 124107"/>
                <a:gd name="connsiteX554" fmla="*/ 58669 w 118465"/>
                <a:gd name="connsiteY554" fmla="*/ 36386 h 124107"/>
                <a:gd name="connsiteX555" fmla="*/ 57259 w 118465"/>
                <a:gd name="connsiteY555" fmla="*/ 36386 h 124107"/>
                <a:gd name="connsiteX556" fmla="*/ 56977 w 118465"/>
                <a:gd name="connsiteY556" fmla="*/ 36668 h 124107"/>
                <a:gd name="connsiteX557" fmla="*/ 56977 w 118465"/>
                <a:gd name="connsiteY557" fmla="*/ 36104 h 124107"/>
                <a:gd name="connsiteX558" fmla="*/ 56130 w 118465"/>
                <a:gd name="connsiteY558" fmla="*/ 34976 h 124107"/>
                <a:gd name="connsiteX559" fmla="*/ 56130 w 118465"/>
                <a:gd name="connsiteY559" fmla="*/ 31027 h 124107"/>
                <a:gd name="connsiteX560" fmla="*/ 56977 w 118465"/>
                <a:gd name="connsiteY560" fmla="*/ 30463 h 124107"/>
                <a:gd name="connsiteX561" fmla="*/ 57541 w 118465"/>
                <a:gd name="connsiteY561" fmla="*/ 31027 h 124107"/>
                <a:gd name="connsiteX562" fmla="*/ 57823 w 118465"/>
                <a:gd name="connsiteY562" fmla="*/ 31027 h 124107"/>
                <a:gd name="connsiteX563" fmla="*/ 58951 w 118465"/>
                <a:gd name="connsiteY563" fmla="*/ 30463 h 124107"/>
                <a:gd name="connsiteX564" fmla="*/ 57823 w 118465"/>
                <a:gd name="connsiteY564" fmla="*/ 29334 h 124107"/>
                <a:gd name="connsiteX565" fmla="*/ 56695 w 118465"/>
                <a:gd name="connsiteY565" fmla="*/ 28488 h 124107"/>
                <a:gd name="connsiteX566" fmla="*/ 56412 w 118465"/>
                <a:gd name="connsiteY566" fmla="*/ 28488 h 124107"/>
                <a:gd name="connsiteX567" fmla="*/ 55284 w 118465"/>
                <a:gd name="connsiteY567" fmla="*/ 27360 h 124107"/>
                <a:gd name="connsiteX568" fmla="*/ 55284 w 118465"/>
                <a:gd name="connsiteY568" fmla="*/ 27078 h 124107"/>
                <a:gd name="connsiteX569" fmla="*/ 54720 w 118465"/>
                <a:gd name="connsiteY569" fmla="*/ 25386 h 124107"/>
                <a:gd name="connsiteX570" fmla="*/ 53592 w 118465"/>
                <a:gd name="connsiteY570" fmla="*/ 23975 h 124107"/>
                <a:gd name="connsiteX571" fmla="*/ 51899 w 118465"/>
                <a:gd name="connsiteY571" fmla="*/ 22565 h 124107"/>
                <a:gd name="connsiteX572" fmla="*/ 49643 w 118465"/>
                <a:gd name="connsiteY572" fmla="*/ 21155 h 124107"/>
                <a:gd name="connsiteX573" fmla="*/ 49643 w 118465"/>
                <a:gd name="connsiteY573" fmla="*/ 20873 h 124107"/>
                <a:gd name="connsiteX574" fmla="*/ 49361 w 118465"/>
                <a:gd name="connsiteY574" fmla="*/ 21155 h 124107"/>
                <a:gd name="connsiteX575" fmla="*/ 49079 w 118465"/>
                <a:gd name="connsiteY575" fmla="*/ 21719 h 124107"/>
                <a:gd name="connsiteX576" fmla="*/ 48233 w 118465"/>
                <a:gd name="connsiteY576" fmla="*/ 22001 h 124107"/>
                <a:gd name="connsiteX577" fmla="*/ 47668 w 118465"/>
                <a:gd name="connsiteY577" fmla="*/ 22001 h 124107"/>
                <a:gd name="connsiteX578" fmla="*/ 47668 w 118465"/>
                <a:gd name="connsiteY578" fmla="*/ 21719 h 124107"/>
                <a:gd name="connsiteX579" fmla="*/ 46822 w 118465"/>
                <a:gd name="connsiteY579" fmla="*/ 22565 h 124107"/>
                <a:gd name="connsiteX580" fmla="*/ 46822 w 118465"/>
                <a:gd name="connsiteY580" fmla="*/ 23693 h 124107"/>
                <a:gd name="connsiteX581" fmla="*/ 47104 w 118465"/>
                <a:gd name="connsiteY581" fmla="*/ 24539 h 124107"/>
                <a:gd name="connsiteX582" fmla="*/ 47668 w 118465"/>
                <a:gd name="connsiteY582" fmla="*/ 25668 h 124107"/>
                <a:gd name="connsiteX583" fmla="*/ 47386 w 118465"/>
                <a:gd name="connsiteY583" fmla="*/ 26514 h 124107"/>
                <a:gd name="connsiteX584" fmla="*/ 47386 w 118465"/>
                <a:gd name="connsiteY584" fmla="*/ 27078 h 124107"/>
                <a:gd name="connsiteX585" fmla="*/ 48233 w 118465"/>
                <a:gd name="connsiteY585" fmla="*/ 29334 h 124107"/>
                <a:gd name="connsiteX586" fmla="*/ 47668 w 118465"/>
                <a:gd name="connsiteY586" fmla="*/ 29334 h 124107"/>
                <a:gd name="connsiteX587" fmla="*/ 46540 w 118465"/>
                <a:gd name="connsiteY587" fmla="*/ 27360 h 124107"/>
                <a:gd name="connsiteX588" fmla="*/ 46258 w 118465"/>
                <a:gd name="connsiteY588" fmla="*/ 27078 h 124107"/>
                <a:gd name="connsiteX589" fmla="*/ 45130 w 118465"/>
                <a:gd name="connsiteY589" fmla="*/ 27360 h 124107"/>
                <a:gd name="connsiteX590" fmla="*/ 44002 w 118465"/>
                <a:gd name="connsiteY590" fmla="*/ 28488 h 124107"/>
                <a:gd name="connsiteX591" fmla="*/ 43720 w 118465"/>
                <a:gd name="connsiteY591" fmla="*/ 29616 h 124107"/>
                <a:gd name="connsiteX592" fmla="*/ 44284 w 118465"/>
                <a:gd name="connsiteY592" fmla="*/ 30463 h 124107"/>
                <a:gd name="connsiteX593" fmla="*/ 44002 w 118465"/>
                <a:gd name="connsiteY593" fmla="*/ 32437 h 124107"/>
                <a:gd name="connsiteX594" fmla="*/ 43438 w 118465"/>
                <a:gd name="connsiteY594" fmla="*/ 32719 h 124107"/>
                <a:gd name="connsiteX595" fmla="*/ 42309 w 118465"/>
                <a:gd name="connsiteY595" fmla="*/ 33001 h 124107"/>
                <a:gd name="connsiteX596" fmla="*/ 41745 w 118465"/>
                <a:gd name="connsiteY596" fmla="*/ 33847 h 124107"/>
                <a:gd name="connsiteX597" fmla="*/ 40335 w 118465"/>
                <a:gd name="connsiteY597" fmla="*/ 35258 h 124107"/>
                <a:gd name="connsiteX598" fmla="*/ 39771 w 118465"/>
                <a:gd name="connsiteY598" fmla="*/ 36950 h 124107"/>
                <a:gd name="connsiteX599" fmla="*/ 39207 w 118465"/>
                <a:gd name="connsiteY599" fmla="*/ 38078 h 124107"/>
                <a:gd name="connsiteX600" fmla="*/ 38078 w 118465"/>
                <a:gd name="connsiteY600" fmla="*/ 39207 h 124107"/>
                <a:gd name="connsiteX601" fmla="*/ 37232 w 118465"/>
                <a:gd name="connsiteY601" fmla="*/ 40335 h 124107"/>
                <a:gd name="connsiteX602" fmla="*/ 37232 w 118465"/>
                <a:gd name="connsiteY602" fmla="*/ 40617 h 124107"/>
                <a:gd name="connsiteX603" fmla="*/ 36950 w 118465"/>
                <a:gd name="connsiteY603" fmla="*/ 41463 h 124107"/>
                <a:gd name="connsiteX604" fmla="*/ 36950 w 118465"/>
                <a:gd name="connsiteY604" fmla="*/ 41745 h 124107"/>
                <a:gd name="connsiteX605" fmla="*/ 35540 w 118465"/>
                <a:gd name="connsiteY605" fmla="*/ 43155 h 124107"/>
                <a:gd name="connsiteX606" fmla="*/ 34976 w 118465"/>
                <a:gd name="connsiteY606" fmla="*/ 43437 h 124107"/>
                <a:gd name="connsiteX607" fmla="*/ 34412 w 118465"/>
                <a:gd name="connsiteY607" fmla="*/ 44848 h 124107"/>
                <a:gd name="connsiteX608" fmla="*/ 34130 w 118465"/>
                <a:gd name="connsiteY608" fmla="*/ 45976 h 124107"/>
                <a:gd name="connsiteX609" fmla="*/ 34130 w 118465"/>
                <a:gd name="connsiteY609" fmla="*/ 47386 h 124107"/>
                <a:gd name="connsiteX610" fmla="*/ 33565 w 118465"/>
                <a:gd name="connsiteY610" fmla="*/ 48233 h 124107"/>
                <a:gd name="connsiteX611" fmla="*/ 31873 w 118465"/>
                <a:gd name="connsiteY611" fmla="*/ 50207 h 124107"/>
                <a:gd name="connsiteX612" fmla="*/ 31591 w 118465"/>
                <a:gd name="connsiteY612" fmla="*/ 50771 h 124107"/>
                <a:gd name="connsiteX613" fmla="*/ 31309 w 118465"/>
                <a:gd name="connsiteY613" fmla="*/ 51617 h 124107"/>
                <a:gd name="connsiteX614" fmla="*/ 31591 w 118465"/>
                <a:gd name="connsiteY614" fmla="*/ 51899 h 124107"/>
                <a:gd name="connsiteX615" fmla="*/ 31873 w 118465"/>
                <a:gd name="connsiteY615" fmla="*/ 52463 h 124107"/>
                <a:gd name="connsiteX616" fmla="*/ 31591 w 118465"/>
                <a:gd name="connsiteY616" fmla="*/ 53028 h 124107"/>
                <a:gd name="connsiteX617" fmla="*/ 31027 w 118465"/>
                <a:gd name="connsiteY617" fmla="*/ 53028 h 124107"/>
                <a:gd name="connsiteX618" fmla="*/ 30463 w 118465"/>
                <a:gd name="connsiteY618" fmla="*/ 54438 h 124107"/>
                <a:gd name="connsiteX619" fmla="*/ 30463 w 118465"/>
                <a:gd name="connsiteY619" fmla="*/ 54720 h 124107"/>
                <a:gd name="connsiteX620" fmla="*/ 29616 w 118465"/>
                <a:gd name="connsiteY620" fmla="*/ 55566 h 124107"/>
                <a:gd name="connsiteX621" fmla="*/ 29616 w 118465"/>
                <a:gd name="connsiteY621" fmla="*/ 56412 h 124107"/>
                <a:gd name="connsiteX622" fmla="*/ 29899 w 118465"/>
                <a:gd name="connsiteY622" fmla="*/ 56976 h 124107"/>
                <a:gd name="connsiteX623" fmla="*/ 29616 w 118465"/>
                <a:gd name="connsiteY623" fmla="*/ 57258 h 124107"/>
                <a:gd name="connsiteX624" fmla="*/ 29616 w 118465"/>
                <a:gd name="connsiteY624" fmla="*/ 57823 h 124107"/>
                <a:gd name="connsiteX625" fmla="*/ 29052 w 118465"/>
                <a:gd name="connsiteY625" fmla="*/ 58951 h 124107"/>
                <a:gd name="connsiteX626" fmla="*/ 29052 w 118465"/>
                <a:gd name="connsiteY626" fmla="*/ 59233 h 124107"/>
                <a:gd name="connsiteX627" fmla="*/ 28770 w 118465"/>
                <a:gd name="connsiteY627" fmla="*/ 59515 h 124107"/>
                <a:gd name="connsiteX628" fmla="*/ 27642 w 118465"/>
                <a:gd name="connsiteY628" fmla="*/ 60643 h 124107"/>
                <a:gd name="connsiteX629" fmla="*/ 27078 w 118465"/>
                <a:gd name="connsiteY629" fmla="*/ 62336 h 124107"/>
                <a:gd name="connsiteX630" fmla="*/ 27642 w 118465"/>
                <a:gd name="connsiteY630" fmla="*/ 63182 h 124107"/>
                <a:gd name="connsiteX631" fmla="*/ 27924 w 118465"/>
                <a:gd name="connsiteY631" fmla="*/ 63746 h 124107"/>
                <a:gd name="connsiteX632" fmla="*/ 27078 w 118465"/>
                <a:gd name="connsiteY632" fmla="*/ 64874 h 124107"/>
                <a:gd name="connsiteX633" fmla="*/ 25668 w 118465"/>
                <a:gd name="connsiteY633" fmla="*/ 66002 h 124107"/>
                <a:gd name="connsiteX634" fmla="*/ 25950 w 118465"/>
                <a:gd name="connsiteY634" fmla="*/ 66849 h 124107"/>
                <a:gd name="connsiteX635" fmla="*/ 26232 w 118465"/>
                <a:gd name="connsiteY635" fmla="*/ 67131 h 124107"/>
                <a:gd name="connsiteX636" fmla="*/ 25668 w 118465"/>
                <a:gd name="connsiteY636" fmla="*/ 68541 h 124107"/>
                <a:gd name="connsiteX637" fmla="*/ 25104 w 118465"/>
                <a:gd name="connsiteY637" fmla="*/ 69105 h 124107"/>
                <a:gd name="connsiteX638" fmla="*/ 24540 w 118465"/>
                <a:gd name="connsiteY638" fmla="*/ 71079 h 124107"/>
                <a:gd name="connsiteX639" fmla="*/ 24258 w 118465"/>
                <a:gd name="connsiteY639" fmla="*/ 71362 h 124107"/>
                <a:gd name="connsiteX640" fmla="*/ 23411 w 118465"/>
                <a:gd name="connsiteY640" fmla="*/ 72490 h 124107"/>
                <a:gd name="connsiteX641" fmla="*/ 23975 w 118465"/>
                <a:gd name="connsiteY641" fmla="*/ 73900 h 124107"/>
                <a:gd name="connsiteX642" fmla="*/ 23693 w 118465"/>
                <a:gd name="connsiteY642" fmla="*/ 74746 h 124107"/>
                <a:gd name="connsiteX643" fmla="*/ 22847 w 118465"/>
                <a:gd name="connsiteY643" fmla="*/ 75875 h 124107"/>
                <a:gd name="connsiteX644" fmla="*/ 22847 w 118465"/>
                <a:gd name="connsiteY644" fmla="*/ 77003 h 124107"/>
                <a:gd name="connsiteX645" fmla="*/ 22001 w 118465"/>
                <a:gd name="connsiteY645" fmla="*/ 78695 h 124107"/>
                <a:gd name="connsiteX646" fmla="*/ 22283 w 118465"/>
                <a:gd name="connsiteY646" fmla="*/ 80105 h 124107"/>
                <a:gd name="connsiteX647" fmla="*/ 22283 w 118465"/>
                <a:gd name="connsiteY647" fmla="*/ 81234 h 124107"/>
                <a:gd name="connsiteX648" fmla="*/ 22001 w 118465"/>
                <a:gd name="connsiteY648" fmla="*/ 81516 h 124107"/>
                <a:gd name="connsiteX649" fmla="*/ 21719 w 118465"/>
                <a:gd name="connsiteY649" fmla="*/ 82644 h 124107"/>
                <a:gd name="connsiteX650" fmla="*/ 21719 w 118465"/>
                <a:gd name="connsiteY650" fmla="*/ 82926 h 124107"/>
                <a:gd name="connsiteX651" fmla="*/ 21437 w 118465"/>
                <a:gd name="connsiteY651" fmla="*/ 83208 h 124107"/>
                <a:gd name="connsiteX652" fmla="*/ 21155 w 118465"/>
                <a:gd name="connsiteY652" fmla="*/ 83490 h 124107"/>
                <a:gd name="connsiteX653" fmla="*/ 21437 w 118465"/>
                <a:gd name="connsiteY653" fmla="*/ 84618 h 124107"/>
                <a:gd name="connsiteX654" fmla="*/ 21437 w 118465"/>
                <a:gd name="connsiteY654" fmla="*/ 84900 h 124107"/>
                <a:gd name="connsiteX655" fmla="*/ 20873 w 118465"/>
                <a:gd name="connsiteY655" fmla="*/ 85747 h 124107"/>
                <a:gd name="connsiteX656" fmla="*/ 21155 w 118465"/>
                <a:gd name="connsiteY656" fmla="*/ 86593 h 124107"/>
                <a:gd name="connsiteX657" fmla="*/ 20873 w 118465"/>
                <a:gd name="connsiteY657" fmla="*/ 87721 h 124107"/>
                <a:gd name="connsiteX658" fmla="*/ 20027 w 118465"/>
                <a:gd name="connsiteY658" fmla="*/ 89131 h 124107"/>
                <a:gd name="connsiteX659" fmla="*/ 20309 w 118465"/>
                <a:gd name="connsiteY659" fmla="*/ 89978 h 124107"/>
                <a:gd name="connsiteX660" fmla="*/ 20309 w 118465"/>
                <a:gd name="connsiteY660" fmla="*/ 90824 h 124107"/>
                <a:gd name="connsiteX661" fmla="*/ 20027 w 118465"/>
                <a:gd name="connsiteY661" fmla="*/ 91952 h 124107"/>
                <a:gd name="connsiteX662" fmla="*/ 20027 w 118465"/>
                <a:gd name="connsiteY662" fmla="*/ 93080 h 124107"/>
                <a:gd name="connsiteX663" fmla="*/ 19744 w 118465"/>
                <a:gd name="connsiteY663" fmla="*/ 93644 h 124107"/>
                <a:gd name="connsiteX664" fmla="*/ 20309 w 118465"/>
                <a:gd name="connsiteY664" fmla="*/ 95337 h 124107"/>
                <a:gd name="connsiteX665" fmla="*/ 20309 w 118465"/>
                <a:gd name="connsiteY665" fmla="*/ 95619 h 124107"/>
                <a:gd name="connsiteX666" fmla="*/ 19744 w 118465"/>
                <a:gd name="connsiteY666" fmla="*/ 96465 h 124107"/>
                <a:gd name="connsiteX667" fmla="*/ 19744 w 118465"/>
                <a:gd name="connsiteY667" fmla="*/ 97311 h 124107"/>
                <a:gd name="connsiteX668" fmla="*/ 19462 w 118465"/>
                <a:gd name="connsiteY668" fmla="*/ 99004 h 124107"/>
                <a:gd name="connsiteX669" fmla="*/ 20309 w 118465"/>
                <a:gd name="connsiteY669" fmla="*/ 100132 h 124107"/>
                <a:gd name="connsiteX670" fmla="*/ 19744 w 118465"/>
                <a:gd name="connsiteY670" fmla="*/ 100978 h 124107"/>
                <a:gd name="connsiteX671" fmla="*/ 19462 w 118465"/>
                <a:gd name="connsiteY671" fmla="*/ 102388 h 124107"/>
                <a:gd name="connsiteX672" fmla="*/ 20027 w 118465"/>
                <a:gd name="connsiteY672" fmla="*/ 104081 h 124107"/>
                <a:gd name="connsiteX673" fmla="*/ 19744 w 118465"/>
                <a:gd name="connsiteY673" fmla="*/ 104645 h 124107"/>
                <a:gd name="connsiteX674" fmla="*/ 19180 w 118465"/>
                <a:gd name="connsiteY674" fmla="*/ 104645 h 124107"/>
                <a:gd name="connsiteX675" fmla="*/ 18898 w 118465"/>
                <a:gd name="connsiteY675" fmla="*/ 104927 h 124107"/>
                <a:gd name="connsiteX676" fmla="*/ 19180 w 118465"/>
                <a:gd name="connsiteY676" fmla="*/ 106055 h 124107"/>
                <a:gd name="connsiteX677" fmla="*/ 21155 w 118465"/>
                <a:gd name="connsiteY677" fmla="*/ 108876 h 124107"/>
                <a:gd name="connsiteX678" fmla="*/ 21155 w 118465"/>
                <a:gd name="connsiteY678" fmla="*/ 109158 h 124107"/>
                <a:gd name="connsiteX679" fmla="*/ 21437 w 118465"/>
                <a:gd name="connsiteY679" fmla="*/ 110850 h 124107"/>
                <a:gd name="connsiteX680" fmla="*/ 22283 w 118465"/>
                <a:gd name="connsiteY680" fmla="*/ 112260 h 124107"/>
                <a:gd name="connsiteX681" fmla="*/ 23411 w 118465"/>
                <a:gd name="connsiteY681" fmla="*/ 114517 h 124107"/>
                <a:gd name="connsiteX682" fmla="*/ 25104 w 118465"/>
                <a:gd name="connsiteY682" fmla="*/ 114799 h 124107"/>
                <a:gd name="connsiteX683" fmla="*/ 26232 w 118465"/>
                <a:gd name="connsiteY683" fmla="*/ 114799 h 124107"/>
                <a:gd name="connsiteX684" fmla="*/ 28206 w 118465"/>
                <a:gd name="connsiteY684" fmla="*/ 114235 h 124107"/>
                <a:gd name="connsiteX685" fmla="*/ 29052 w 118465"/>
                <a:gd name="connsiteY685" fmla="*/ 113671 h 124107"/>
                <a:gd name="connsiteX686" fmla="*/ 30463 w 118465"/>
                <a:gd name="connsiteY686" fmla="*/ 112825 h 124107"/>
                <a:gd name="connsiteX687" fmla="*/ 31591 w 118465"/>
                <a:gd name="connsiteY687" fmla="*/ 112260 h 124107"/>
                <a:gd name="connsiteX688" fmla="*/ 33001 w 118465"/>
                <a:gd name="connsiteY688" fmla="*/ 111414 h 124107"/>
                <a:gd name="connsiteX689" fmla="*/ 34694 w 118465"/>
                <a:gd name="connsiteY689" fmla="*/ 110004 h 124107"/>
                <a:gd name="connsiteX690" fmla="*/ 35822 w 118465"/>
                <a:gd name="connsiteY690" fmla="*/ 108876 h 124107"/>
                <a:gd name="connsiteX691" fmla="*/ 37514 w 118465"/>
                <a:gd name="connsiteY691" fmla="*/ 107747 h 124107"/>
                <a:gd name="connsiteX692" fmla="*/ 38643 w 118465"/>
                <a:gd name="connsiteY692" fmla="*/ 106337 h 124107"/>
                <a:gd name="connsiteX693" fmla="*/ 40053 w 118465"/>
                <a:gd name="connsiteY693" fmla="*/ 104645 h 124107"/>
                <a:gd name="connsiteX694" fmla="*/ 41745 w 118465"/>
                <a:gd name="connsiteY694" fmla="*/ 102388 h 124107"/>
                <a:gd name="connsiteX695" fmla="*/ 41745 w 118465"/>
                <a:gd name="connsiteY695" fmla="*/ 101824 h 124107"/>
                <a:gd name="connsiteX696" fmla="*/ 42309 w 118465"/>
                <a:gd name="connsiteY696" fmla="*/ 100978 h 124107"/>
                <a:gd name="connsiteX697" fmla="*/ 42592 w 118465"/>
                <a:gd name="connsiteY697" fmla="*/ 100132 h 124107"/>
                <a:gd name="connsiteX698" fmla="*/ 42592 w 118465"/>
                <a:gd name="connsiteY698" fmla="*/ 99850 h 124107"/>
                <a:gd name="connsiteX699" fmla="*/ 43438 w 118465"/>
                <a:gd name="connsiteY699" fmla="*/ 99568 h 124107"/>
                <a:gd name="connsiteX700" fmla="*/ 43438 w 118465"/>
                <a:gd name="connsiteY700" fmla="*/ 99286 h 124107"/>
                <a:gd name="connsiteX701" fmla="*/ 44566 w 118465"/>
                <a:gd name="connsiteY701" fmla="*/ 97593 h 124107"/>
                <a:gd name="connsiteX702" fmla="*/ 44848 w 118465"/>
                <a:gd name="connsiteY702" fmla="*/ 96465 h 124107"/>
                <a:gd name="connsiteX703" fmla="*/ 45412 w 118465"/>
                <a:gd name="connsiteY703" fmla="*/ 95337 h 124107"/>
                <a:gd name="connsiteX704" fmla="*/ 46540 w 118465"/>
                <a:gd name="connsiteY704" fmla="*/ 93644 h 124107"/>
                <a:gd name="connsiteX705" fmla="*/ 46258 w 118465"/>
                <a:gd name="connsiteY705" fmla="*/ 93080 h 124107"/>
                <a:gd name="connsiteX706" fmla="*/ 46540 w 118465"/>
                <a:gd name="connsiteY706" fmla="*/ 92234 h 124107"/>
                <a:gd name="connsiteX707" fmla="*/ 46540 w 118465"/>
                <a:gd name="connsiteY707" fmla="*/ 91952 h 124107"/>
                <a:gd name="connsiteX708" fmla="*/ 47668 w 118465"/>
                <a:gd name="connsiteY708" fmla="*/ 91388 h 124107"/>
                <a:gd name="connsiteX709" fmla="*/ 47950 w 118465"/>
                <a:gd name="connsiteY709" fmla="*/ 90824 h 124107"/>
                <a:gd name="connsiteX710" fmla="*/ 47950 w 118465"/>
                <a:gd name="connsiteY710" fmla="*/ 89978 h 124107"/>
                <a:gd name="connsiteX711" fmla="*/ 48233 w 118465"/>
                <a:gd name="connsiteY711" fmla="*/ 89131 h 124107"/>
                <a:gd name="connsiteX712" fmla="*/ 48233 w 118465"/>
                <a:gd name="connsiteY712" fmla="*/ 88849 h 124107"/>
                <a:gd name="connsiteX713" fmla="*/ 48797 w 118465"/>
                <a:gd name="connsiteY713" fmla="*/ 87721 h 124107"/>
                <a:gd name="connsiteX714" fmla="*/ 49079 w 118465"/>
                <a:gd name="connsiteY714" fmla="*/ 86875 h 124107"/>
                <a:gd name="connsiteX715" fmla="*/ 49361 w 118465"/>
                <a:gd name="connsiteY715" fmla="*/ 86311 h 124107"/>
                <a:gd name="connsiteX716" fmla="*/ 49361 w 118465"/>
                <a:gd name="connsiteY716" fmla="*/ 85747 h 124107"/>
                <a:gd name="connsiteX717" fmla="*/ 49925 w 118465"/>
                <a:gd name="connsiteY717" fmla="*/ 84336 h 124107"/>
                <a:gd name="connsiteX718" fmla="*/ 49643 w 118465"/>
                <a:gd name="connsiteY718" fmla="*/ 83490 h 124107"/>
                <a:gd name="connsiteX719" fmla="*/ 50207 w 118465"/>
                <a:gd name="connsiteY719" fmla="*/ 83208 h 124107"/>
                <a:gd name="connsiteX720" fmla="*/ 50489 w 118465"/>
                <a:gd name="connsiteY720" fmla="*/ 82644 h 124107"/>
                <a:gd name="connsiteX721" fmla="*/ 50771 w 118465"/>
                <a:gd name="connsiteY721" fmla="*/ 81798 h 124107"/>
                <a:gd name="connsiteX722" fmla="*/ 51335 w 118465"/>
                <a:gd name="connsiteY722" fmla="*/ 81234 h 124107"/>
                <a:gd name="connsiteX723" fmla="*/ 51335 w 118465"/>
                <a:gd name="connsiteY723" fmla="*/ 79823 h 124107"/>
                <a:gd name="connsiteX724" fmla="*/ 51053 w 118465"/>
                <a:gd name="connsiteY724" fmla="*/ 78695 h 124107"/>
                <a:gd name="connsiteX725" fmla="*/ 51053 w 118465"/>
                <a:gd name="connsiteY725" fmla="*/ 78413 h 124107"/>
                <a:gd name="connsiteX726" fmla="*/ 51335 w 118465"/>
                <a:gd name="connsiteY726" fmla="*/ 78131 h 124107"/>
                <a:gd name="connsiteX727" fmla="*/ 51617 w 118465"/>
                <a:gd name="connsiteY727" fmla="*/ 77567 h 124107"/>
                <a:gd name="connsiteX728" fmla="*/ 51899 w 118465"/>
                <a:gd name="connsiteY728" fmla="*/ 77003 h 124107"/>
                <a:gd name="connsiteX729" fmla="*/ 51617 w 118465"/>
                <a:gd name="connsiteY729" fmla="*/ 75875 h 124107"/>
                <a:gd name="connsiteX730" fmla="*/ 51899 w 118465"/>
                <a:gd name="connsiteY730" fmla="*/ 75028 h 124107"/>
                <a:gd name="connsiteX731" fmla="*/ 52464 w 118465"/>
                <a:gd name="connsiteY731" fmla="*/ 74464 h 124107"/>
                <a:gd name="connsiteX732" fmla="*/ 52464 w 118465"/>
                <a:gd name="connsiteY732" fmla="*/ 74182 h 124107"/>
                <a:gd name="connsiteX733" fmla="*/ 52746 w 118465"/>
                <a:gd name="connsiteY733" fmla="*/ 73336 h 124107"/>
                <a:gd name="connsiteX734" fmla="*/ 52746 w 118465"/>
                <a:gd name="connsiteY734" fmla="*/ 73054 h 124107"/>
                <a:gd name="connsiteX735" fmla="*/ 53310 w 118465"/>
                <a:gd name="connsiteY735" fmla="*/ 71079 h 124107"/>
                <a:gd name="connsiteX736" fmla="*/ 53028 w 118465"/>
                <a:gd name="connsiteY736" fmla="*/ 69951 h 124107"/>
                <a:gd name="connsiteX737" fmla="*/ 53310 w 118465"/>
                <a:gd name="connsiteY737" fmla="*/ 69105 h 124107"/>
                <a:gd name="connsiteX738" fmla="*/ 53592 w 118465"/>
                <a:gd name="connsiteY738" fmla="*/ 68259 h 124107"/>
                <a:gd name="connsiteX739" fmla="*/ 53592 w 118465"/>
                <a:gd name="connsiteY739" fmla="*/ 67977 h 124107"/>
                <a:gd name="connsiteX740" fmla="*/ 53310 w 118465"/>
                <a:gd name="connsiteY740" fmla="*/ 66849 h 124107"/>
                <a:gd name="connsiteX741" fmla="*/ 53874 w 118465"/>
                <a:gd name="connsiteY741" fmla="*/ 66002 h 124107"/>
                <a:gd name="connsiteX742" fmla="*/ 53874 w 118465"/>
                <a:gd name="connsiteY742" fmla="*/ 65156 h 124107"/>
                <a:gd name="connsiteX743" fmla="*/ 54156 w 118465"/>
                <a:gd name="connsiteY743" fmla="*/ 64874 h 124107"/>
                <a:gd name="connsiteX744" fmla="*/ 54438 w 118465"/>
                <a:gd name="connsiteY744" fmla="*/ 64028 h 124107"/>
                <a:gd name="connsiteX745" fmla="*/ 54438 w 118465"/>
                <a:gd name="connsiteY745" fmla="*/ 62054 h 124107"/>
                <a:gd name="connsiteX746" fmla="*/ 55002 w 118465"/>
                <a:gd name="connsiteY746" fmla="*/ 61771 h 124107"/>
                <a:gd name="connsiteX747" fmla="*/ 55848 w 118465"/>
                <a:gd name="connsiteY747" fmla="*/ 61207 h 124107"/>
                <a:gd name="connsiteX748" fmla="*/ 55566 w 118465"/>
                <a:gd name="connsiteY748" fmla="*/ 60079 h 124107"/>
                <a:gd name="connsiteX749" fmla="*/ 55848 w 118465"/>
                <a:gd name="connsiteY749" fmla="*/ 59233 h 124107"/>
                <a:gd name="connsiteX750" fmla="*/ 56695 w 118465"/>
                <a:gd name="connsiteY750" fmla="*/ 58105 h 124107"/>
                <a:gd name="connsiteX751" fmla="*/ 56977 w 118465"/>
                <a:gd name="connsiteY751" fmla="*/ 57258 h 124107"/>
                <a:gd name="connsiteX752" fmla="*/ 56977 w 118465"/>
                <a:gd name="connsiteY752" fmla="*/ 56412 h 124107"/>
                <a:gd name="connsiteX753" fmla="*/ 57541 w 118465"/>
                <a:gd name="connsiteY753" fmla="*/ 54720 h 124107"/>
                <a:gd name="connsiteX754" fmla="*/ 56977 w 118465"/>
                <a:gd name="connsiteY754" fmla="*/ 53592 h 124107"/>
                <a:gd name="connsiteX755" fmla="*/ 57823 w 118465"/>
                <a:gd name="connsiteY755" fmla="*/ 52463 h 124107"/>
                <a:gd name="connsiteX756" fmla="*/ 57259 w 118465"/>
                <a:gd name="connsiteY756" fmla="*/ 51617 h 124107"/>
                <a:gd name="connsiteX757" fmla="*/ 57541 w 118465"/>
                <a:gd name="connsiteY757" fmla="*/ 50489 h 124107"/>
                <a:gd name="connsiteX758" fmla="*/ 57541 w 118465"/>
                <a:gd name="connsiteY758" fmla="*/ 50207 h 124107"/>
                <a:gd name="connsiteX759" fmla="*/ 58387 w 118465"/>
                <a:gd name="connsiteY759" fmla="*/ 49361 h 124107"/>
                <a:gd name="connsiteX760" fmla="*/ 58387 w 118465"/>
                <a:gd name="connsiteY760" fmla="*/ 47950 h 124107"/>
                <a:gd name="connsiteX761" fmla="*/ 58105 w 118465"/>
                <a:gd name="connsiteY761" fmla="*/ 47386 h 124107"/>
                <a:gd name="connsiteX762" fmla="*/ 58387 w 118465"/>
                <a:gd name="connsiteY762" fmla="*/ 46258 h 124107"/>
                <a:gd name="connsiteX763" fmla="*/ 58387 w 118465"/>
                <a:gd name="connsiteY763" fmla="*/ 45694 h 124107"/>
                <a:gd name="connsiteX764" fmla="*/ 19180 w 118465"/>
                <a:gd name="connsiteY764" fmla="*/ 85747 h 124107"/>
                <a:gd name="connsiteX765" fmla="*/ 19462 w 118465"/>
                <a:gd name="connsiteY765" fmla="*/ 86311 h 124107"/>
                <a:gd name="connsiteX766" fmla="*/ 20591 w 118465"/>
                <a:gd name="connsiteY766" fmla="*/ 85183 h 124107"/>
                <a:gd name="connsiteX767" fmla="*/ 20309 w 118465"/>
                <a:gd name="connsiteY767" fmla="*/ 84900 h 124107"/>
                <a:gd name="connsiteX768" fmla="*/ 20027 w 118465"/>
                <a:gd name="connsiteY768" fmla="*/ 84618 h 124107"/>
                <a:gd name="connsiteX769" fmla="*/ 19462 w 118465"/>
                <a:gd name="connsiteY769" fmla="*/ 85183 h 124107"/>
                <a:gd name="connsiteX770" fmla="*/ 19180 w 118465"/>
                <a:gd name="connsiteY770" fmla="*/ 85747 h 124107"/>
                <a:gd name="connsiteX771" fmla="*/ 37232 w 118465"/>
                <a:gd name="connsiteY771" fmla="*/ 124953 h 124107"/>
                <a:gd name="connsiteX772" fmla="*/ 36668 w 118465"/>
                <a:gd name="connsiteY772" fmla="*/ 124671 h 124107"/>
                <a:gd name="connsiteX773" fmla="*/ 35822 w 118465"/>
                <a:gd name="connsiteY773" fmla="*/ 125235 h 124107"/>
                <a:gd name="connsiteX774" fmla="*/ 35822 w 118465"/>
                <a:gd name="connsiteY774" fmla="*/ 125517 h 124107"/>
                <a:gd name="connsiteX775" fmla="*/ 37232 w 118465"/>
                <a:gd name="connsiteY775" fmla="*/ 124953 h 124107"/>
                <a:gd name="connsiteX776" fmla="*/ 54156 w 118465"/>
                <a:gd name="connsiteY776" fmla="*/ 113953 h 124107"/>
                <a:gd name="connsiteX777" fmla="*/ 54720 w 118465"/>
                <a:gd name="connsiteY777" fmla="*/ 114235 h 124107"/>
                <a:gd name="connsiteX778" fmla="*/ 54438 w 118465"/>
                <a:gd name="connsiteY778" fmla="*/ 114517 h 124107"/>
                <a:gd name="connsiteX779" fmla="*/ 54156 w 118465"/>
                <a:gd name="connsiteY779" fmla="*/ 114517 h 124107"/>
                <a:gd name="connsiteX780" fmla="*/ 52746 w 118465"/>
                <a:gd name="connsiteY780" fmla="*/ 116491 h 124107"/>
                <a:gd name="connsiteX781" fmla="*/ 52464 w 118465"/>
                <a:gd name="connsiteY781" fmla="*/ 116491 h 124107"/>
                <a:gd name="connsiteX782" fmla="*/ 51617 w 118465"/>
                <a:gd name="connsiteY782" fmla="*/ 115645 h 124107"/>
                <a:gd name="connsiteX783" fmla="*/ 51617 w 118465"/>
                <a:gd name="connsiteY783" fmla="*/ 115363 h 124107"/>
                <a:gd name="connsiteX784" fmla="*/ 53874 w 118465"/>
                <a:gd name="connsiteY784" fmla="*/ 113671 h 124107"/>
                <a:gd name="connsiteX785" fmla="*/ 54156 w 118465"/>
                <a:gd name="connsiteY785" fmla="*/ 113953 h 124107"/>
                <a:gd name="connsiteX786" fmla="*/ 58105 w 118465"/>
                <a:gd name="connsiteY786" fmla="*/ 33565 h 124107"/>
                <a:gd name="connsiteX787" fmla="*/ 57541 w 118465"/>
                <a:gd name="connsiteY787" fmla="*/ 33283 h 124107"/>
                <a:gd name="connsiteX788" fmla="*/ 56977 w 118465"/>
                <a:gd name="connsiteY788" fmla="*/ 33847 h 124107"/>
                <a:gd name="connsiteX789" fmla="*/ 56977 w 118465"/>
                <a:gd name="connsiteY789" fmla="*/ 34976 h 124107"/>
                <a:gd name="connsiteX790" fmla="*/ 58105 w 118465"/>
                <a:gd name="connsiteY790" fmla="*/ 34411 h 124107"/>
                <a:gd name="connsiteX791" fmla="*/ 58105 w 118465"/>
                <a:gd name="connsiteY791" fmla="*/ 33565 h 124107"/>
                <a:gd name="connsiteX792" fmla="*/ 61772 w 118465"/>
                <a:gd name="connsiteY792" fmla="*/ 104927 h 124107"/>
                <a:gd name="connsiteX793" fmla="*/ 62336 w 118465"/>
                <a:gd name="connsiteY793" fmla="*/ 105491 h 124107"/>
                <a:gd name="connsiteX794" fmla="*/ 62618 w 118465"/>
                <a:gd name="connsiteY794" fmla="*/ 105773 h 124107"/>
                <a:gd name="connsiteX795" fmla="*/ 60643 w 118465"/>
                <a:gd name="connsiteY795" fmla="*/ 108030 h 124107"/>
                <a:gd name="connsiteX796" fmla="*/ 60079 w 118465"/>
                <a:gd name="connsiteY796" fmla="*/ 108312 h 124107"/>
                <a:gd name="connsiteX797" fmla="*/ 60079 w 118465"/>
                <a:gd name="connsiteY797" fmla="*/ 108876 h 124107"/>
                <a:gd name="connsiteX798" fmla="*/ 59515 w 118465"/>
                <a:gd name="connsiteY798" fmla="*/ 110286 h 124107"/>
                <a:gd name="connsiteX799" fmla="*/ 58669 w 118465"/>
                <a:gd name="connsiteY799" fmla="*/ 110850 h 124107"/>
                <a:gd name="connsiteX800" fmla="*/ 58669 w 118465"/>
                <a:gd name="connsiteY800" fmla="*/ 111132 h 124107"/>
                <a:gd name="connsiteX801" fmla="*/ 57541 w 118465"/>
                <a:gd name="connsiteY801" fmla="*/ 110850 h 124107"/>
                <a:gd name="connsiteX802" fmla="*/ 57823 w 118465"/>
                <a:gd name="connsiteY802" fmla="*/ 110850 h 124107"/>
                <a:gd name="connsiteX803" fmla="*/ 58387 w 118465"/>
                <a:gd name="connsiteY803" fmla="*/ 109722 h 124107"/>
                <a:gd name="connsiteX804" fmla="*/ 58387 w 118465"/>
                <a:gd name="connsiteY804" fmla="*/ 108312 h 124107"/>
                <a:gd name="connsiteX805" fmla="*/ 59515 w 118465"/>
                <a:gd name="connsiteY805" fmla="*/ 106055 h 124107"/>
                <a:gd name="connsiteX806" fmla="*/ 60079 w 118465"/>
                <a:gd name="connsiteY806" fmla="*/ 105773 h 124107"/>
                <a:gd name="connsiteX807" fmla="*/ 60643 w 118465"/>
                <a:gd name="connsiteY807" fmla="*/ 106055 h 124107"/>
                <a:gd name="connsiteX808" fmla="*/ 61208 w 118465"/>
                <a:gd name="connsiteY808" fmla="*/ 105773 h 124107"/>
                <a:gd name="connsiteX809" fmla="*/ 60926 w 118465"/>
                <a:gd name="connsiteY809" fmla="*/ 105491 h 124107"/>
                <a:gd name="connsiteX810" fmla="*/ 61772 w 118465"/>
                <a:gd name="connsiteY810" fmla="*/ 104927 h 124107"/>
                <a:gd name="connsiteX811" fmla="*/ 59515 w 118465"/>
                <a:gd name="connsiteY811" fmla="*/ 49925 h 124107"/>
                <a:gd name="connsiteX812" fmla="*/ 59515 w 118465"/>
                <a:gd name="connsiteY812" fmla="*/ 50207 h 124107"/>
                <a:gd name="connsiteX813" fmla="*/ 60079 w 118465"/>
                <a:gd name="connsiteY813" fmla="*/ 49925 h 124107"/>
                <a:gd name="connsiteX814" fmla="*/ 59515 w 118465"/>
                <a:gd name="connsiteY814" fmla="*/ 49925 h 124107"/>
                <a:gd name="connsiteX815" fmla="*/ 60079 w 118465"/>
                <a:gd name="connsiteY815" fmla="*/ 43720 h 124107"/>
                <a:gd name="connsiteX816" fmla="*/ 60079 w 118465"/>
                <a:gd name="connsiteY816" fmla="*/ 44284 h 124107"/>
                <a:gd name="connsiteX817" fmla="*/ 60361 w 118465"/>
                <a:gd name="connsiteY817" fmla="*/ 44566 h 124107"/>
                <a:gd name="connsiteX818" fmla="*/ 60926 w 118465"/>
                <a:gd name="connsiteY818" fmla="*/ 44284 h 124107"/>
                <a:gd name="connsiteX819" fmla="*/ 60643 w 118465"/>
                <a:gd name="connsiteY819" fmla="*/ 43155 h 124107"/>
                <a:gd name="connsiteX820" fmla="*/ 60079 w 118465"/>
                <a:gd name="connsiteY820" fmla="*/ 43720 h 124107"/>
                <a:gd name="connsiteX821" fmla="*/ 60079 w 118465"/>
                <a:gd name="connsiteY821" fmla="*/ 47668 h 124107"/>
                <a:gd name="connsiteX822" fmla="*/ 60643 w 118465"/>
                <a:gd name="connsiteY822" fmla="*/ 47950 h 124107"/>
                <a:gd name="connsiteX823" fmla="*/ 60361 w 118465"/>
                <a:gd name="connsiteY823" fmla="*/ 47668 h 124107"/>
                <a:gd name="connsiteX824" fmla="*/ 60361 w 118465"/>
                <a:gd name="connsiteY824" fmla="*/ 47386 h 124107"/>
                <a:gd name="connsiteX825" fmla="*/ 60079 w 118465"/>
                <a:gd name="connsiteY825" fmla="*/ 47668 h 124107"/>
                <a:gd name="connsiteX826" fmla="*/ 61490 w 118465"/>
                <a:gd name="connsiteY826" fmla="*/ 29899 h 124107"/>
                <a:gd name="connsiteX827" fmla="*/ 60361 w 118465"/>
                <a:gd name="connsiteY827" fmla="*/ 28770 h 124107"/>
                <a:gd name="connsiteX828" fmla="*/ 60361 w 118465"/>
                <a:gd name="connsiteY828" fmla="*/ 29899 h 124107"/>
                <a:gd name="connsiteX829" fmla="*/ 60926 w 118465"/>
                <a:gd name="connsiteY829" fmla="*/ 30181 h 124107"/>
                <a:gd name="connsiteX830" fmla="*/ 61490 w 118465"/>
                <a:gd name="connsiteY830" fmla="*/ 29899 h 124107"/>
                <a:gd name="connsiteX831" fmla="*/ 62054 w 118465"/>
                <a:gd name="connsiteY831" fmla="*/ 96183 h 124107"/>
                <a:gd name="connsiteX832" fmla="*/ 61772 w 118465"/>
                <a:gd name="connsiteY832" fmla="*/ 95619 h 124107"/>
                <a:gd name="connsiteX833" fmla="*/ 61208 w 118465"/>
                <a:gd name="connsiteY833" fmla="*/ 95901 h 124107"/>
                <a:gd name="connsiteX834" fmla="*/ 60643 w 118465"/>
                <a:gd name="connsiteY834" fmla="*/ 97311 h 124107"/>
                <a:gd name="connsiteX835" fmla="*/ 60361 w 118465"/>
                <a:gd name="connsiteY835" fmla="*/ 97593 h 124107"/>
                <a:gd name="connsiteX836" fmla="*/ 60926 w 118465"/>
                <a:gd name="connsiteY836" fmla="*/ 98157 h 124107"/>
                <a:gd name="connsiteX837" fmla="*/ 61772 w 118465"/>
                <a:gd name="connsiteY837" fmla="*/ 97593 h 124107"/>
                <a:gd name="connsiteX838" fmla="*/ 62054 w 118465"/>
                <a:gd name="connsiteY838" fmla="*/ 96183 h 124107"/>
                <a:gd name="connsiteX839" fmla="*/ 64310 w 118465"/>
                <a:gd name="connsiteY839" fmla="*/ 94773 h 124107"/>
                <a:gd name="connsiteX840" fmla="*/ 64028 w 118465"/>
                <a:gd name="connsiteY840" fmla="*/ 94491 h 124107"/>
                <a:gd name="connsiteX841" fmla="*/ 64028 w 118465"/>
                <a:gd name="connsiteY841" fmla="*/ 93644 h 124107"/>
                <a:gd name="connsiteX842" fmla="*/ 64310 w 118465"/>
                <a:gd name="connsiteY842" fmla="*/ 92516 h 124107"/>
                <a:gd name="connsiteX843" fmla="*/ 64310 w 118465"/>
                <a:gd name="connsiteY843" fmla="*/ 91670 h 124107"/>
                <a:gd name="connsiteX844" fmla="*/ 63746 w 118465"/>
                <a:gd name="connsiteY844" fmla="*/ 91106 h 124107"/>
                <a:gd name="connsiteX845" fmla="*/ 63746 w 118465"/>
                <a:gd name="connsiteY845" fmla="*/ 90824 h 124107"/>
                <a:gd name="connsiteX846" fmla="*/ 63464 w 118465"/>
                <a:gd name="connsiteY846" fmla="*/ 91106 h 124107"/>
                <a:gd name="connsiteX847" fmla="*/ 63182 w 118465"/>
                <a:gd name="connsiteY847" fmla="*/ 91670 h 124107"/>
                <a:gd name="connsiteX848" fmla="*/ 62618 w 118465"/>
                <a:gd name="connsiteY848" fmla="*/ 93080 h 124107"/>
                <a:gd name="connsiteX849" fmla="*/ 62336 w 118465"/>
                <a:gd name="connsiteY849" fmla="*/ 93644 h 124107"/>
                <a:gd name="connsiteX850" fmla="*/ 62900 w 118465"/>
                <a:gd name="connsiteY850" fmla="*/ 94491 h 124107"/>
                <a:gd name="connsiteX851" fmla="*/ 64310 w 118465"/>
                <a:gd name="connsiteY851" fmla="*/ 95337 h 124107"/>
                <a:gd name="connsiteX852" fmla="*/ 64874 w 118465"/>
                <a:gd name="connsiteY852" fmla="*/ 95619 h 124107"/>
                <a:gd name="connsiteX853" fmla="*/ 65438 w 118465"/>
                <a:gd name="connsiteY853" fmla="*/ 95619 h 124107"/>
                <a:gd name="connsiteX854" fmla="*/ 64310 w 118465"/>
                <a:gd name="connsiteY854" fmla="*/ 94773 h 124107"/>
                <a:gd name="connsiteX855" fmla="*/ 65438 w 118465"/>
                <a:gd name="connsiteY855" fmla="*/ 35822 h 124107"/>
                <a:gd name="connsiteX856" fmla="*/ 65156 w 118465"/>
                <a:gd name="connsiteY856" fmla="*/ 36386 h 124107"/>
                <a:gd name="connsiteX857" fmla="*/ 64592 w 118465"/>
                <a:gd name="connsiteY857" fmla="*/ 36668 h 124107"/>
                <a:gd name="connsiteX858" fmla="*/ 64310 w 118465"/>
                <a:gd name="connsiteY858" fmla="*/ 36386 h 124107"/>
                <a:gd name="connsiteX859" fmla="*/ 64874 w 118465"/>
                <a:gd name="connsiteY859" fmla="*/ 35822 h 124107"/>
                <a:gd name="connsiteX860" fmla="*/ 64592 w 118465"/>
                <a:gd name="connsiteY860" fmla="*/ 35258 h 124107"/>
                <a:gd name="connsiteX861" fmla="*/ 64874 w 118465"/>
                <a:gd name="connsiteY861" fmla="*/ 34976 h 124107"/>
                <a:gd name="connsiteX862" fmla="*/ 64874 w 118465"/>
                <a:gd name="connsiteY862" fmla="*/ 35258 h 124107"/>
                <a:gd name="connsiteX863" fmla="*/ 65438 w 118465"/>
                <a:gd name="connsiteY863" fmla="*/ 35822 h 124107"/>
                <a:gd name="connsiteX864" fmla="*/ 67695 w 118465"/>
                <a:gd name="connsiteY864" fmla="*/ 87157 h 124107"/>
                <a:gd name="connsiteX865" fmla="*/ 67695 w 118465"/>
                <a:gd name="connsiteY865" fmla="*/ 88003 h 124107"/>
                <a:gd name="connsiteX866" fmla="*/ 66849 w 118465"/>
                <a:gd name="connsiteY866" fmla="*/ 88003 h 124107"/>
                <a:gd name="connsiteX867" fmla="*/ 65720 w 118465"/>
                <a:gd name="connsiteY867" fmla="*/ 86875 h 124107"/>
                <a:gd name="connsiteX868" fmla="*/ 66567 w 118465"/>
                <a:gd name="connsiteY868" fmla="*/ 85183 h 124107"/>
                <a:gd name="connsiteX869" fmla="*/ 66567 w 118465"/>
                <a:gd name="connsiteY869" fmla="*/ 85465 h 124107"/>
                <a:gd name="connsiteX870" fmla="*/ 66849 w 118465"/>
                <a:gd name="connsiteY870" fmla="*/ 85747 h 124107"/>
                <a:gd name="connsiteX871" fmla="*/ 67695 w 118465"/>
                <a:gd name="connsiteY871" fmla="*/ 87157 h 124107"/>
                <a:gd name="connsiteX872" fmla="*/ 66002 w 118465"/>
                <a:gd name="connsiteY872" fmla="*/ 93080 h 124107"/>
                <a:gd name="connsiteX873" fmla="*/ 66284 w 118465"/>
                <a:gd name="connsiteY873" fmla="*/ 93362 h 124107"/>
                <a:gd name="connsiteX874" fmla="*/ 66567 w 118465"/>
                <a:gd name="connsiteY874" fmla="*/ 93362 h 124107"/>
                <a:gd name="connsiteX875" fmla="*/ 66849 w 118465"/>
                <a:gd name="connsiteY875" fmla="*/ 93080 h 124107"/>
                <a:gd name="connsiteX876" fmla="*/ 66284 w 118465"/>
                <a:gd name="connsiteY876" fmla="*/ 92516 h 124107"/>
                <a:gd name="connsiteX877" fmla="*/ 66002 w 118465"/>
                <a:gd name="connsiteY877" fmla="*/ 93080 h 124107"/>
                <a:gd name="connsiteX878" fmla="*/ 66567 w 118465"/>
                <a:gd name="connsiteY878" fmla="*/ 69669 h 124107"/>
                <a:gd name="connsiteX879" fmla="*/ 66849 w 118465"/>
                <a:gd name="connsiteY879" fmla="*/ 68823 h 124107"/>
                <a:gd name="connsiteX880" fmla="*/ 67413 w 118465"/>
                <a:gd name="connsiteY880" fmla="*/ 67977 h 124107"/>
                <a:gd name="connsiteX881" fmla="*/ 68259 w 118465"/>
                <a:gd name="connsiteY881" fmla="*/ 68259 h 124107"/>
                <a:gd name="connsiteX882" fmla="*/ 68259 w 118465"/>
                <a:gd name="connsiteY882" fmla="*/ 69669 h 124107"/>
                <a:gd name="connsiteX883" fmla="*/ 67977 w 118465"/>
                <a:gd name="connsiteY883" fmla="*/ 71362 h 124107"/>
                <a:gd name="connsiteX884" fmla="*/ 67131 w 118465"/>
                <a:gd name="connsiteY884" fmla="*/ 71362 h 124107"/>
                <a:gd name="connsiteX885" fmla="*/ 67131 w 118465"/>
                <a:gd name="connsiteY885" fmla="*/ 71079 h 124107"/>
                <a:gd name="connsiteX886" fmla="*/ 66567 w 118465"/>
                <a:gd name="connsiteY886" fmla="*/ 69669 h 124107"/>
                <a:gd name="connsiteX887" fmla="*/ 67413 w 118465"/>
                <a:gd name="connsiteY887" fmla="*/ 58105 h 124107"/>
                <a:gd name="connsiteX888" fmla="*/ 67131 w 118465"/>
                <a:gd name="connsiteY888" fmla="*/ 57258 h 124107"/>
                <a:gd name="connsiteX889" fmla="*/ 67413 w 118465"/>
                <a:gd name="connsiteY889" fmla="*/ 56976 h 124107"/>
                <a:gd name="connsiteX890" fmla="*/ 68259 w 118465"/>
                <a:gd name="connsiteY890" fmla="*/ 55566 h 124107"/>
                <a:gd name="connsiteX891" fmla="*/ 68823 w 118465"/>
                <a:gd name="connsiteY891" fmla="*/ 55284 h 124107"/>
                <a:gd name="connsiteX892" fmla="*/ 69105 w 118465"/>
                <a:gd name="connsiteY892" fmla="*/ 55566 h 124107"/>
                <a:gd name="connsiteX893" fmla="*/ 68823 w 118465"/>
                <a:gd name="connsiteY893" fmla="*/ 56694 h 124107"/>
                <a:gd name="connsiteX894" fmla="*/ 68823 w 118465"/>
                <a:gd name="connsiteY894" fmla="*/ 57258 h 124107"/>
                <a:gd name="connsiteX895" fmla="*/ 69105 w 118465"/>
                <a:gd name="connsiteY895" fmla="*/ 58105 h 124107"/>
                <a:gd name="connsiteX896" fmla="*/ 69105 w 118465"/>
                <a:gd name="connsiteY896" fmla="*/ 58387 h 124107"/>
                <a:gd name="connsiteX897" fmla="*/ 67413 w 118465"/>
                <a:gd name="connsiteY897" fmla="*/ 59233 h 124107"/>
                <a:gd name="connsiteX898" fmla="*/ 67131 w 118465"/>
                <a:gd name="connsiteY898" fmla="*/ 59515 h 124107"/>
                <a:gd name="connsiteX899" fmla="*/ 67131 w 118465"/>
                <a:gd name="connsiteY899" fmla="*/ 59233 h 124107"/>
                <a:gd name="connsiteX900" fmla="*/ 67413 w 118465"/>
                <a:gd name="connsiteY900" fmla="*/ 58105 h 124107"/>
                <a:gd name="connsiteX901" fmla="*/ 70515 w 118465"/>
                <a:gd name="connsiteY901" fmla="*/ 53028 h 124107"/>
                <a:gd name="connsiteX902" fmla="*/ 69387 w 118465"/>
                <a:gd name="connsiteY902" fmla="*/ 53592 h 124107"/>
                <a:gd name="connsiteX903" fmla="*/ 69105 w 118465"/>
                <a:gd name="connsiteY903" fmla="*/ 53592 h 124107"/>
                <a:gd name="connsiteX904" fmla="*/ 68541 w 118465"/>
                <a:gd name="connsiteY904" fmla="*/ 53028 h 124107"/>
                <a:gd name="connsiteX905" fmla="*/ 67695 w 118465"/>
                <a:gd name="connsiteY905" fmla="*/ 52463 h 124107"/>
                <a:gd name="connsiteX906" fmla="*/ 68541 w 118465"/>
                <a:gd name="connsiteY906" fmla="*/ 51617 h 124107"/>
                <a:gd name="connsiteX907" fmla="*/ 70515 w 118465"/>
                <a:gd name="connsiteY907" fmla="*/ 53028 h 124107"/>
                <a:gd name="connsiteX908" fmla="*/ 73054 w 118465"/>
                <a:gd name="connsiteY908" fmla="*/ 69387 h 124107"/>
                <a:gd name="connsiteX909" fmla="*/ 73618 w 118465"/>
                <a:gd name="connsiteY909" fmla="*/ 71362 h 124107"/>
                <a:gd name="connsiteX910" fmla="*/ 73054 w 118465"/>
                <a:gd name="connsiteY910" fmla="*/ 71644 h 124107"/>
                <a:gd name="connsiteX911" fmla="*/ 72490 w 118465"/>
                <a:gd name="connsiteY911" fmla="*/ 72490 h 124107"/>
                <a:gd name="connsiteX912" fmla="*/ 73054 w 118465"/>
                <a:gd name="connsiteY912" fmla="*/ 74182 h 124107"/>
                <a:gd name="connsiteX913" fmla="*/ 73336 w 118465"/>
                <a:gd name="connsiteY913" fmla="*/ 74464 h 124107"/>
                <a:gd name="connsiteX914" fmla="*/ 73054 w 118465"/>
                <a:gd name="connsiteY914" fmla="*/ 74746 h 124107"/>
                <a:gd name="connsiteX915" fmla="*/ 73054 w 118465"/>
                <a:gd name="connsiteY915" fmla="*/ 75592 h 124107"/>
                <a:gd name="connsiteX916" fmla="*/ 72772 w 118465"/>
                <a:gd name="connsiteY916" fmla="*/ 75875 h 124107"/>
                <a:gd name="connsiteX917" fmla="*/ 72490 w 118465"/>
                <a:gd name="connsiteY917" fmla="*/ 76439 h 124107"/>
                <a:gd name="connsiteX918" fmla="*/ 72490 w 118465"/>
                <a:gd name="connsiteY918" fmla="*/ 76721 h 124107"/>
                <a:gd name="connsiteX919" fmla="*/ 71644 w 118465"/>
                <a:gd name="connsiteY919" fmla="*/ 78131 h 124107"/>
                <a:gd name="connsiteX920" fmla="*/ 71362 w 118465"/>
                <a:gd name="connsiteY920" fmla="*/ 78413 h 124107"/>
                <a:gd name="connsiteX921" fmla="*/ 71644 w 118465"/>
                <a:gd name="connsiteY921" fmla="*/ 78695 h 124107"/>
                <a:gd name="connsiteX922" fmla="*/ 72772 w 118465"/>
                <a:gd name="connsiteY922" fmla="*/ 79259 h 124107"/>
                <a:gd name="connsiteX923" fmla="*/ 73054 w 118465"/>
                <a:gd name="connsiteY923" fmla="*/ 79823 h 124107"/>
                <a:gd name="connsiteX924" fmla="*/ 72772 w 118465"/>
                <a:gd name="connsiteY924" fmla="*/ 80388 h 124107"/>
                <a:gd name="connsiteX925" fmla="*/ 72772 w 118465"/>
                <a:gd name="connsiteY925" fmla="*/ 80670 h 124107"/>
                <a:gd name="connsiteX926" fmla="*/ 72490 w 118465"/>
                <a:gd name="connsiteY926" fmla="*/ 81798 h 124107"/>
                <a:gd name="connsiteX927" fmla="*/ 71644 w 118465"/>
                <a:gd name="connsiteY927" fmla="*/ 82926 h 124107"/>
                <a:gd name="connsiteX928" fmla="*/ 70233 w 118465"/>
                <a:gd name="connsiteY928" fmla="*/ 85183 h 124107"/>
                <a:gd name="connsiteX929" fmla="*/ 69951 w 118465"/>
                <a:gd name="connsiteY929" fmla="*/ 85465 h 124107"/>
                <a:gd name="connsiteX930" fmla="*/ 69669 w 118465"/>
                <a:gd name="connsiteY930" fmla="*/ 85465 h 124107"/>
                <a:gd name="connsiteX931" fmla="*/ 69951 w 118465"/>
                <a:gd name="connsiteY931" fmla="*/ 85183 h 124107"/>
                <a:gd name="connsiteX932" fmla="*/ 69951 w 118465"/>
                <a:gd name="connsiteY932" fmla="*/ 84618 h 124107"/>
                <a:gd name="connsiteX933" fmla="*/ 69669 w 118465"/>
                <a:gd name="connsiteY933" fmla="*/ 83772 h 124107"/>
                <a:gd name="connsiteX934" fmla="*/ 70233 w 118465"/>
                <a:gd name="connsiteY934" fmla="*/ 82926 h 124107"/>
                <a:gd name="connsiteX935" fmla="*/ 69951 w 118465"/>
                <a:gd name="connsiteY935" fmla="*/ 81798 h 124107"/>
                <a:gd name="connsiteX936" fmla="*/ 69669 w 118465"/>
                <a:gd name="connsiteY936" fmla="*/ 81234 h 124107"/>
                <a:gd name="connsiteX937" fmla="*/ 69951 w 118465"/>
                <a:gd name="connsiteY937" fmla="*/ 80670 h 124107"/>
                <a:gd name="connsiteX938" fmla="*/ 70233 w 118465"/>
                <a:gd name="connsiteY938" fmla="*/ 80670 h 124107"/>
                <a:gd name="connsiteX939" fmla="*/ 70515 w 118465"/>
                <a:gd name="connsiteY939" fmla="*/ 80105 h 124107"/>
                <a:gd name="connsiteX940" fmla="*/ 69387 w 118465"/>
                <a:gd name="connsiteY940" fmla="*/ 78695 h 124107"/>
                <a:gd name="connsiteX941" fmla="*/ 69105 w 118465"/>
                <a:gd name="connsiteY941" fmla="*/ 78413 h 124107"/>
                <a:gd name="connsiteX942" fmla="*/ 69387 w 118465"/>
                <a:gd name="connsiteY942" fmla="*/ 77849 h 124107"/>
                <a:gd name="connsiteX943" fmla="*/ 70515 w 118465"/>
                <a:gd name="connsiteY943" fmla="*/ 76721 h 124107"/>
                <a:gd name="connsiteX944" fmla="*/ 70233 w 118465"/>
                <a:gd name="connsiteY944" fmla="*/ 76157 h 124107"/>
                <a:gd name="connsiteX945" fmla="*/ 69951 w 118465"/>
                <a:gd name="connsiteY945" fmla="*/ 75592 h 124107"/>
                <a:gd name="connsiteX946" fmla="*/ 70233 w 118465"/>
                <a:gd name="connsiteY946" fmla="*/ 75592 h 124107"/>
                <a:gd name="connsiteX947" fmla="*/ 70515 w 118465"/>
                <a:gd name="connsiteY947" fmla="*/ 75310 h 124107"/>
                <a:gd name="connsiteX948" fmla="*/ 71080 w 118465"/>
                <a:gd name="connsiteY948" fmla="*/ 74746 h 124107"/>
                <a:gd name="connsiteX949" fmla="*/ 70515 w 118465"/>
                <a:gd name="connsiteY949" fmla="*/ 74182 h 124107"/>
                <a:gd name="connsiteX950" fmla="*/ 70233 w 118465"/>
                <a:gd name="connsiteY950" fmla="*/ 73336 h 124107"/>
                <a:gd name="connsiteX951" fmla="*/ 70515 w 118465"/>
                <a:gd name="connsiteY951" fmla="*/ 72208 h 124107"/>
                <a:gd name="connsiteX952" fmla="*/ 70798 w 118465"/>
                <a:gd name="connsiteY952" fmla="*/ 71926 h 124107"/>
                <a:gd name="connsiteX953" fmla="*/ 71080 w 118465"/>
                <a:gd name="connsiteY953" fmla="*/ 71362 h 124107"/>
                <a:gd name="connsiteX954" fmla="*/ 71362 w 118465"/>
                <a:gd name="connsiteY954" fmla="*/ 71644 h 124107"/>
                <a:gd name="connsiteX955" fmla="*/ 72490 w 118465"/>
                <a:gd name="connsiteY955" fmla="*/ 70797 h 124107"/>
                <a:gd name="connsiteX956" fmla="*/ 72208 w 118465"/>
                <a:gd name="connsiteY956" fmla="*/ 69951 h 124107"/>
                <a:gd name="connsiteX957" fmla="*/ 72208 w 118465"/>
                <a:gd name="connsiteY957" fmla="*/ 69105 h 124107"/>
                <a:gd name="connsiteX958" fmla="*/ 72772 w 118465"/>
                <a:gd name="connsiteY958" fmla="*/ 69387 h 124107"/>
                <a:gd name="connsiteX959" fmla="*/ 73054 w 118465"/>
                <a:gd name="connsiteY959" fmla="*/ 69387 h 124107"/>
                <a:gd name="connsiteX960" fmla="*/ 69951 w 118465"/>
                <a:gd name="connsiteY960" fmla="*/ 41745 h 124107"/>
                <a:gd name="connsiteX961" fmla="*/ 70233 w 118465"/>
                <a:gd name="connsiteY961" fmla="*/ 42309 h 124107"/>
                <a:gd name="connsiteX962" fmla="*/ 69669 w 118465"/>
                <a:gd name="connsiteY962" fmla="*/ 42873 h 124107"/>
                <a:gd name="connsiteX963" fmla="*/ 69669 w 118465"/>
                <a:gd name="connsiteY963" fmla="*/ 41463 h 124107"/>
                <a:gd name="connsiteX964" fmla="*/ 69951 w 118465"/>
                <a:gd name="connsiteY964" fmla="*/ 41745 h 124107"/>
                <a:gd name="connsiteX965" fmla="*/ 74746 w 118465"/>
                <a:gd name="connsiteY965" fmla="*/ 51617 h 124107"/>
                <a:gd name="connsiteX966" fmla="*/ 74746 w 118465"/>
                <a:gd name="connsiteY966" fmla="*/ 52181 h 124107"/>
                <a:gd name="connsiteX967" fmla="*/ 74182 w 118465"/>
                <a:gd name="connsiteY967" fmla="*/ 53592 h 124107"/>
                <a:gd name="connsiteX968" fmla="*/ 74464 w 118465"/>
                <a:gd name="connsiteY968" fmla="*/ 54720 h 124107"/>
                <a:gd name="connsiteX969" fmla="*/ 73900 w 118465"/>
                <a:gd name="connsiteY969" fmla="*/ 56130 h 124107"/>
                <a:gd name="connsiteX970" fmla="*/ 73618 w 118465"/>
                <a:gd name="connsiteY970" fmla="*/ 56694 h 124107"/>
                <a:gd name="connsiteX971" fmla="*/ 74182 w 118465"/>
                <a:gd name="connsiteY971" fmla="*/ 57541 h 124107"/>
                <a:gd name="connsiteX972" fmla="*/ 74182 w 118465"/>
                <a:gd name="connsiteY972" fmla="*/ 58669 h 124107"/>
                <a:gd name="connsiteX973" fmla="*/ 73618 w 118465"/>
                <a:gd name="connsiteY973" fmla="*/ 59515 h 124107"/>
                <a:gd name="connsiteX974" fmla="*/ 72490 w 118465"/>
                <a:gd name="connsiteY974" fmla="*/ 58951 h 124107"/>
                <a:gd name="connsiteX975" fmla="*/ 73336 w 118465"/>
                <a:gd name="connsiteY975" fmla="*/ 58105 h 124107"/>
                <a:gd name="connsiteX976" fmla="*/ 73618 w 118465"/>
                <a:gd name="connsiteY976" fmla="*/ 57541 h 124107"/>
                <a:gd name="connsiteX977" fmla="*/ 72772 w 118465"/>
                <a:gd name="connsiteY977" fmla="*/ 56694 h 124107"/>
                <a:gd name="connsiteX978" fmla="*/ 73336 w 118465"/>
                <a:gd name="connsiteY978" fmla="*/ 56130 h 124107"/>
                <a:gd name="connsiteX979" fmla="*/ 73054 w 118465"/>
                <a:gd name="connsiteY979" fmla="*/ 55284 h 124107"/>
                <a:gd name="connsiteX980" fmla="*/ 73054 w 118465"/>
                <a:gd name="connsiteY980" fmla="*/ 55002 h 124107"/>
                <a:gd name="connsiteX981" fmla="*/ 72490 w 118465"/>
                <a:gd name="connsiteY981" fmla="*/ 53592 h 124107"/>
                <a:gd name="connsiteX982" fmla="*/ 73054 w 118465"/>
                <a:gd name="connsiteY982" fmla="*/ 52745 h 124107"/>
                <a:gd name="connsiteX983" fmla="*/ 73336 w 118465"/>
                <a:gd name="connsiteY983" fmla="*/ 52181 h 124107"/>
                <a:gd name="connsiteX984" fmla="*/ 72772 w 118465"/>
                <a:gd name="connsiteY984" fmla="*/ 51617 h 124107"/>
                <a:gd name="connsiteX985" fmla="*/ 72772 w 118465"/>
                <a:gd name="connsiteY985" fmla="*/ 51053 h 124107"/>
                <a:gd name="connsiteX986" fmla="*/ 73336 w 118465"/>
                <a:gd name="connsiteY986" fmla="*/ 49925 h 124107"/>
                <a:gd name="connsiteX987" fmla="*/ 74182 w 118465"/>
                <a:gd name="connsiteY987" fmla="*/ 49643 h 124107"/>
                <a:gd name="connsiteX988" fmla="*/ 74464 w 118465"/>
                <a:gd name="connsiteY988" fmla="*/ 50207 h 124107"/>
                <a:gd name="connsiteX989" fmla="*/ 74746 w 118465"/>
                <a:gd name="connsiteY989" fmla="*/ 51617 h 124107"/>
                <a:gd name="connsiteX990" fmla="*/ 73618 w 118465"/>
                <a:gd name="connsiteY990" fmla="*/ 60643 h 124107"/>
                <a:gd name="connsiteX991" fmla="*/ 73618 w 118465"/>
                <a:gd name="connsiteY991" fmla="*/ 61207 h 124107"/>
                <a:gd name="connsiteX992" fmla="*/ 73336 w 118465"/>
                <a:gd name="connsiteY992" fmla="*/ 61489 h 124107"/>
                <a:gd name="connsiteX993" fmla="*/ 72490 w 118465"/>
                <a:gd name="connsiteY993" fmla="*/ 61771 h 124107"/>
                <a:gd name="connsiteX994" fmla="*/ 72490 w 118465"/>
                <a:gd name="connsiteY994" fmla="*/ 60643 h 124107"/>
                <a:gd name="connsiteX995" fmla="*/ 72772 w 118465"/>
                <a:gd name="connsiteY995" fmla="*/ 60361 h 124107"/>
                <a:gd name="connsiteX996" fmla="*/ 73618 w 118465"/>
                <a:gd name="connsiteY996" fmla="*/ 60643 h 124107"/>
                <a:gd name="connsiteX997" fmla="*/ 108594 w 118465"/>
                <a:gd name="connsiteY997" fmla="*/ 33565 h 124107"/>
                <a:gd name="connsiteX998" fmla="*/ 108312 w 118465"/>
                <a:gd name="connsiteY998" fmla="*/ 33283 h 124107"/>
                <a:gd name="connsiteX999" fmla="*/ 108029 w 118465"/>
                <a:gd name="connsiteY999" fmla="*/ 33283 h 124107"/>
                <a:gd name="connsiteX1000" fmla="*/ 106619 w 118465"/>
                <a:gd name="connsiteY1000" fmla="*/ 34129 h 124107"/>
                <a:gd name="connsiteX1001" fmla="*/ 106619 w 118465"/>
                <a:gd name="connsiteY1001" fmla="*/ 34411 h 124107"/>
                <a:gd name="connsiteX1002" fmla="*/ 107184 w 118465"/>
                <a:gd name="connsiteY1002" fmla="*/ 34694 h 124107"/>
                <a:gd name="connsiteX1003" fmla="*/ 108594 w 118465"/>
                <a:gd name="connsiteY1003" fmla="*/ 33565 h 1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</a:cxnLst>
              <a:rect l="l" t="t" r="r" b="b"/>
              <a:pathLst>
                <a:path w="118465" h="124107">
                  <a:moveTo>
                    <a:pt x="45412" y="118748"/>
                  </a:moveTo>
                  <a:cubicBezTo>
                    <a:pt x="45412" y="118748"/>
                    <a:pt x="45130" y="118748"/>
                    <a:pt x="44848" y="118466"/>
                  </a:cubicBezTo>
                  <a:lnTo>
                    <a:pt x="44848" y="118748"/>
                  </a:lnTo>
                  <a:cubicBezTo>
                    <a:pt x="44566" y="118748"/>
                    <a:pt x="44848" y="119030"/>
                    <a:pt x="45412" y="119312"/>
                  </a:cubicBezTo>
                  <a:cubicBezTo>
                    <a:pt x="45694" y="119312"/>
                    <a:pt x="45976" y="119876"/>
                    <a:pt x="45976" y="120158"/>
                  </a:cubicBezTo>
                  <a:lnTo>
                    <a:pt x="45976" y="120722"/>
                  </a:lnTo>
                  <a:cubicBezTo>
                    <a:pt x="44848" y="120722"/>
                    <a:pt x="44566" y="121004"/>
                    <a:pt x="44002" y="121286"/>
                  </a:cubicBezTo>
                  <a:lnTo>
                    <a:pt x="43720" y="121286"/>
                  </a:lnTo>
                  <a:cubicBezTo>
                    <a:pt x="43156" y="121286"/>
                    <a:pt x="42874" y="121851"/>
                    <a:pt x="42592" y="121851"/>
                  </a:cubicBezTo>
                  <a:cubicBezTo>
                    <a:pt x="41745" y="121851"/>
                    <a:pt x="41745" y="122133"/>
                    <a:pt x="41463" y="122133"/>
                  </a:cubicBezTo>
                  <a:lnTo>
                    <a:pt x="40899" y="122133"/>
                  </a:lnTo>
                  <a:cubicBezTo>
                    <a:pt x="40053" y="121851"/>
                    <a:pt x="39771" y="121568"/>
                    <a:pt x="39771" y="121286"/>
                  </a:cubicBezTo>
                  <a:cubicBezTo>
                    <a:pt x="39771" y="121286"/>
                    <a:pt x="39489" y="121286"/>
                    <a:pt x="39207" y="121568"/>
                  </a:cubicBezTo>
                  <a:lnTo>
                    <a:pt x="39207" y="121851"/>
                  </a:lnTo>
                  <a:cubicBezTo>
                    <a:pt x="39489" y="122133"/>
                    <a:pt x="39771" y="122697"/>
                    <a:pt x="40053" y="122697"/>
                  </a:cubicBezTo>
                  <a:lnTo>
                    <a:pt x="40053" y="123825"/>
                  </a:lnTo>
                  <a:lnTo>
                    <a:pt x="39771" y="124107"/>
                  </a:lnTo>
                  <a:lnTo>
                    <a:pt x="40617" y="124107"/>
                  </a:lnTo>
                  <a:lnTo>
                    <a:pt x="41745" y="123261"/>
                  </a:lnTo>
                  <a:cubicBezTo>
                    <a:pt x="42027" y="123261"/>
                    <a:pt x="42309" y="123543"/>
                    <a:pt x="42592" y="123543"/>
                  </a:cubicBezTo>
                  <a:lnTo>
                    <a:pt x="42309" y="124107"/>
                  </a:lnTo>
                  <a:cubicBezTo>
                    <a:pt x="41181" y="124671"/>
                    <a:pt x="40617" y="125799"/>
                    <a:pt x="39489" y="126081"/>
                  </a:cubicBezTo>
                  <a:cubicBezTo>
                    <a:pt x="39207" y="126646"/>
                    <a:pt x="38643" y="126646"/>
                    <a:pt x="38361" y="126646"/>
                  </a:cubicBezTo>
                  <a:cubicBezTo>
                    <a:pt x="38078" y="126646"/>
                    <a:pt x="37796" y="127210"/>
                    <a:pt x="37796" y="127210"/>
                  </a:cubicBezTo>
                  <a:cubicBezTo>
                    <a:pt x="37232" y="127210"/>
                    <a:pt x="36668" y="127210"/>
                    <a:pt x="36668" y="127492"/>
                  </a:cubicBezTo>
                  <a:lnTo>
                    <a:pt x="34694" y="127492"/>
                  </a:lnTo>
                  <a:cubicBezTo>
                    <a:pt x="34412" y="127492"/>
                    <a:pt x="33847" y="127210"/>
                    <a:pt x="33847" y="127210"/>
                  </a:cubicBezTo>
                  <a:lnTo>
                    <a:pt x="32437" y="127210"/>
                  </a:lnTo>
                  <a:cubicBezTo>
                    <a:pt x="32155" y="127492"/>
                    <a:pt x="31873" y="127492"/>
                    <a:pt x="31873" y="127492"/>
                  </a:cubicBezTo>
                  <a:lnTo>
                    <a:pt x="31591" y="127492"/>
                  </a:lnTo>
                  <a:cubicBezTo>
                    <a:pt x="31309" y="127210"/>
                    <a:pt x="30463" y="127210"/>
                    <a:pt x="30181" y="126928"/>
                  </a:cubicBezTo>
                  <a:cubicBezTo>
                    <a:pt x="29616" y="126081"/>
                    <a:pt x="29052" y="126081"/>
                    <a:pt x="27924" y="126081"/>
                  </a:cubicBezTo>
                  <a:lnTo>
                    <a:pt x="25950" y="126081"/>
                  </a:lnTo>
                  <a:cubicBezTo>
                    <a:pt x="25668" y="126081"/>
                    <a:pt x="25386" y="126081"/>
                    <a:pt x="25386" y="125799"/>
                  </a:cubicBezTo>
                  <a:cubicBezTo>
                    <a:pt x="25104" y="125799"/>
                    <a:pt x="24822" y="125517"/>
                    <a:pt x="24822" y="125517"/>
                  </a:cubicBezTo>
                  <a:lnTo>
                    <a:pt x="24540" y="125799"/>
                  </a:lnTo>
                  <a:cubicBezTo>
                    <a:pt x="24258" y="126646"/>
                    <a:pt x="23693" y="126646"/>
                    <a:pt x="23129" y="126646"/>
                  </a:cubicBezTo>
                  <a:lnTo>
                    <a:pt x="19462" y="126646"/>
                  </a:lnTo>
                  <a:cubicBezTo>
                    <a:pt x="18898" y="126646"/>
                    <a:pt x="18898" y="127210"/>
                    <a:pt x="18334" y="127210"/>
                  </a:cubicBezTo>
                  <a:lnTo>
                    <a:pt x="14667" y="127210"/>
                  </a:lnTo>
                  <a:cubicBezTo>
                    <a:pt x="14385" y="126928"/>
                    <a:pt x="13821" y="126928"/>
                    <a:pt x="13539" y="126928"/>
                  </a:cubicBezTo>
                  <a:cubicBezTo>
                    <a:pt x="13257" y="126928"/>
                    <a:pt x="12975" y="126928"/>
                    <a:pt x="12693" y="126363"/>
                  </a:cubicBezTo>
                  <a:lnTo>
                    <a:pt x="11565" y="125799"/>
                  </a:lnTo>
                  <a:cubicBezTo>
                    <a:pt x="11000" y="125235"/>
                    <a:pt x="10436" y="124389"/>
                    <a:pt x="9872" y="124107"/>
                  </a:cubicBezTo>
                  <a:cubicBezTo>
                    <a:pt x="9872" y="123543"/>
                    <a:pt x="9026" y="123261"/>
                    <a:pt x="8744" y="122415"/>
                  </a:cubicBezTo>
                  <a:lnTo>
                    <a:pt x="8462" y="122415"/>
                  </a:lnTo>
                  <a:cubicBezTo>
                    <a:pt x="8180" y="122415"/>
                    <a:pt x="7616" y="122133"/>
                    <a:pt x="7052" y="121851"/>
                  </a:cubicBezTo>
                  <a:cubicBezTo>
                    <a:pt x="6488" y="121286"/>
                    <a:pt x="6488" y="121004"/>
                    <a:pt x="6488" y="120440"/>
                  </a:cubicBezTo>
                  <a:cubicBezTo>
                    <a:pt x="6206" y="119876"/>
                    <a:pt x="5359" y="119876"/>
                    <a:pt x="5077" y="119312"/>
                  </a:cubicBezTo>
                  <a:cubicBezTo>
                    <a:pt x="4513" y="118184"/>
                    <a:pt x="4231" y="117338"/>
                    <a:pt x="3103" y="116209"/>
                  </a:cubicBezTo>
                  <a:lnTo>
                    <a:pt x="3103" y="115363"/>
                  </a:lnTo>
                  <a:cubicBezTo>
                    <a:pt x="3103" y="115081"/>
                    <a:pt x="3103" y="115081"/>
                    <a:pt x="2821" y="114799"/>
                  </a:cubicBezTo>
                  <a:cubicBezTo>
                    <a:pt x="2257" y="114799"/>
                    <a:pt x="2539" y="114235"/>
                    <a:pt x="2257" y="113953"/>
                  </a:cubicBezTo>
                  <a:lnTo>
                    <a:pt x="2257" y="113389"/>
                  </a:lnTo>
                  <a:cubicBezTo>
                    <a:pt x="1975" y="113107"/>
                    <a:pt x="1975" y="112825"/>
                    <a:pt x="1975" y="112542"/>
                  </a:cubicBezTo>
                  <a:lnTo>
                    <a:pt x="1975" y="111414"/>
                  </a:lnTo>
                  <a:cubicBezTo>
                    <a:pt x="1410" y="111132"/>
                    <a:pt x="1410" y="111132"/>
                    <a:pt x="1410" y="110850"/>
                  </a:cubicBezTo>
                  <a:lnTo>
                    <a:pt x="1410" y="110286"/>
                  </a:lnTo>
                  <a:cubicBezTo>
                    <a:pt x="846" y="109722"/>
                    <a:pt x="846" y="109158"/>
                    <a:pt x="846" y="108594"/>
                  </a:cubicBezTo>
                  <a:lnTo>
                    <a:pt x="846" y="107465"/>
                  </a:lnTo>
                  <a:lnTo>
                    <a:pt x="0" y="98721"/>
                  </a:lnTo>
                  <a:cubicBezTo>
                    <a:pt x="0" y="98439"/>
                    <a:pt x="282" y="97593"/>
                    <a:pt x="282" y="97029"/>
                  </a:cubicBezTo>
                  <a:cubicBezTo>
                    <a:pt x="564" y="96747"/>
                    <a:pt x="564" y="96747"/>
                    <a:pt x="564" y="96465"/>
                  </a:cubicBezTo>
                  <a:cubicBezTo>
                    <a:pt x="564" y="95901"/>
                    <a:pt x="282" y="95337"/>
                    <a:pt x="282" y="95055"/>
                  </a:cubicBezTo>
                  <a:lnTo>
                    <a:pt x="282" y="91670"/>
                  </a:lnTo>
                  <a:cubicBezTo>
                    <a:pt x="846" y="91388"/>
                    <a:pt x="846" y="91106"/>
                    <a:pt x="846" y="90260"/>
                  </a:cubicBezTo>
                  <a:cubicBezTo>
                    <a:pt x="846" y="89696"/>
                    <a:pt x="564" y="89413"/>
                    <a:pt x="282" y="89131"/>
                  </a:cubicBezTo>
                  <a:cubicBezTo>
                    <a:pt x="1410" y="88849"/>
                    <a:pt x="846" y="87721"/>
                    <a:pt x="1693" y="87157"/>
                  </a:cubicBezTo>
                  <a:lnTo>
                    <a:pt x="1693" y="85747"/>
                  </a:lnTo>
                  <a:cubicBezTo>
                    <a:pt x="1693" y="85465"/>
                    <a:pt x="1975" y="85183"/>
                    <a:pt x="1975" y="84618"/>
                  </a:cubicBezTo>
                  <a:cubicBezTo>
                    <a:pt x="1693" y="84336"/>
                    <a:pt x="1693" y="84336"/>
                    <a:pt x="1693" y="84054"/>
                  </a:cubicBezTo>
                  <a:cubicBezTo>
                    <a:pt x="1693" y="83772"/>
                    <a:pt x="1975" y="83490"/>
                    <a:pt x="1975" y="83208"/>
                  </a:cubicBezTo>
                  <a:lnTo>
                    <a:pt x="2821" y="83208"/>
                  </a:lnTo>
                  <a:cubicBezTo>
                    <a:pt x="3103" y="83208"/>
                    <a:pt x="3103" y="83490"/>
                    <a:pt x="3103" y="83772"/>
                  </a:cubicBezTo>
                  <a:lnTo>
                    <a:pt x="3103" y="84054"/>
                  </a:lnTo>
                  <a:cubicBezTo>
                    <a:pt x="3103" y="84336"/>
                    <a:pt x="3103" y="84336"/>
                    <a:pt x="2821" y="84336"/>
                  </a:cubicBezTo>
                  <a:cubicBezTo>
                    <a:pt x="2821" y="84618"/>
                    <a:pt x="2821" y="84618"/>
                    <a:pt x="3103" y="84618"/>
                  </a:cubicBezTo>
                  <a:lnTo>
                    <a:pt x="3385" y="84618"/>
                  </a:lnTo>
                  <a:cubicBezTo>
                    <a:pt x="3667" y="84618"/>
                    <a:pt x="3667" y="84336"/>
                    <a:pt x="3667" y="84336"/>
                  </a:cubicBezTo>
                  <a:cubicBezTo>
                    <a:pt x="3385" y="84054"/>
                    <a:pt x="3385" y="83772"/>
                    <a:pt x="3385" y="83490"/>
                  </a:cubicBezTo>
                  <a:cubicBezTo>
                    <a:pt x="3385" y="83208"/>
                    <a:pt x="3667" y="82926"/>
                    <a:pt x="3949" y="82644"/>
                  </a:cubicBezTo>
                  <a:lnTo>
                    <a:pt x="4513" y="82644"/>
                  </a:lnTo>
                  <a:cubicBezTo>
                    <a:pt x="4795" y="82644"/>
                    <a:pt x="4795" y="82644"/>
                    <a:pt x="4795" y="82362"/>
                  </a:cubicBezTo>
                  <a:cubicBezTo>
                    <a:pt x="4795" y="82362"/>
                    <a:pt x="4795" y="82080"/>
                    <a:pt x="5077" y="81798"/>
                  </a:cubicBezTo>
                  <a:cubicBezTo>
                    <a:pt x="5359" y="81234"/>
                    <a:pt x="5359" y="80670"/>
                    <a:pt x="5359" y="79823"/>
                  </a:cubicBezTo>
                  <a:lnTo>
                    <a:pt x="4795" y="79259"/>
                  </a:lnTo>
                  <a:cubicBezTo>
                    <a:pt x="4513" y="79823"/>
                    <a:pt x="4231" y="80388"/>
                    <a:pt x="3385" y="80670"/>
                  </a:cubicBezTo>
                  <a:cubicBezTo>
                    <a:pt x="3385" y="80670"/>
                    <a:pt x="3385" y="80952"/>
                    <a:pt x="3667" y="80952"/>
                  </a:cubicBezTo>
                  <a:cubicBezTo>
                    <a:pt x="3667" y="81234"/>
                    <a:pt x="3667" y="81234"/>
                    <a:pt x="4231" y="81516"/>
                  </a:cubicBezTo>
                  <a:lnTo>
                    <a:pt x="3385" y="81798"/>
                  </a:lnTo>
                  <a:cubicBezTo>
                    <a:pt x="3103" y="81798"/>
                    <a:pt x="2821" y="81234"/>
                    <a:pt x="2539" y="81234"/>
                  </a:cubicBezTo>
                  <a:lnTo>
                    <a:pt x="2539" y="80952"/>
                  </a:lnTo>
                  <a:cubicBezTo>
                    <a:pt x="2539" y="80670"/>
                    <a:pt x="2539" y="80670"/>
                    <a:pt x="2821" y="80388"/>
                  </a:cubicBezTo>
                  <a:lnTo>
                    <a:pt x="3103" y="80105"/>
                  </a:lnTo>
                  <a:cubicBezTo>
                    <a:pt x="2821" y="79823"/>
                    <a:pt x="2539" y="78977"/>
                    <a:pt x="2539" y="78695"/>
                  </a:cubicBezTo>
                  <a:cubicBezTo>
                    <a:pt x="2821" y="78413"/>
                    <a:pt x="2821" y="77849"/>
                    <a:pt x="2821" y="77285"/>
                  </a:cubicBezTo>
                  <a:lnTo>
                    <a:pt x="2821" y="77003"/>
                  </a:lnTo>
                  <a:cubicBezTo>
                    <a:pt x="2821" y="76721"/>
                    <a:pt x="3103" y="76721"/>
                    <a:pt x="3103" y="76439"/>
                  </a:cubicBezTo>
                  <a:lnTo>
                    <a:pt x="3103" y="76157"/>
                  </a:lnTo>
                  <a:cubicBezTo>
                    <a:pt x="3103" y="75592"/>
                    <a:pt x="3949" y="75310"/>
                    <a:pt x="3949" y="74746"/>
                  </a:cubicBezTo>
                  <a:cubicBezTo>
                    <a:pt x="3949" y="73900"/>
                    <a:pt x="3949" y="73618"/>
                    <a:pt x="3385" y="73054"/>
                  </a:cubicBezTo>
                  <a:cubicBezTo>
                    <a:pt x="3385" y="72772"/>
                    <a:pt x="3385" y="72490"/>
                    <a:pt x="3667" y="72490"/>
                  </a:cubicBezTo>
                  <a:cubicBezTo>
                    <a:pt x="4513" y="72208"/>
                    <a:pt x="4795" y="71926"/>
                    <a:pt x="4795" y="71362"/>
                  </a:cubicBezTo>
                  <a:cubicBezTo>
                    <a:pt x="4795" y="71079"/>
                    <a:pt x="4513" y="70797"/>
                    <a:pt x="4513" y="70515"/>
                  </a:cubicBezTo>
                  <a:cubicBezTo>
                    <a:pt x="4513" y="70233"/>
                    <a:pt x="4231" y="70233"/>
                    <a:pt x="4231" y="69951"/>
                  </a:cubicBezTo>
                  <a:cubicBezTo>
                    <a:pt x="4231" y="69951"/>
                    <a:pt x="4231" y="69669"/>
                    <a:pt x="4513" y="69669"/>
                  </a:cubicBezTo>
                  <a:cubicBezTo>
                    <a:pt x="4795" y="69387"/>
                    <a:pt x="5359" y="68823"/>
                    <a:pt x="5924" y="68823"/>
                  </a:cubicBezTo>
                  <a:lnTo>
                    <a:pt x="6206" y="68823"/>
                  </a:lnTo>
                  <a:cubicBezTo>
                    <a:pt x="6770" y="68823"/>
                    <a:pt x="6770" y="68541"/>
                    <a:pt x="6770" y="68541"/>
                  </a:cubicBezTo>
                  <a:lnTo>
                    <a:pt x="6770" y="67413"/>
                  </a:lnTo>
                  <a:cubicBezTo>
                    <a:pt x="6770" y="67131"/>
                    <a:pt x="6770" y="67131"/>
                    <a:pt x="6488" y="67131"/>
                  </a:cubicBezTo>
                  <a:lnTo>
                    <a:pt x="6488" y="64310"/>
                  </a:lnTo>
                  <a:cubicBezTo>
                    <a:pt x="6488" y="64028"/>
                    <a:pt x="6488" y="63746"/>
                    <a:pt x="6770" y="63464"/>
                  </a:cubicBezTo>
                  <a:cubicBezTo>
                    <a:pt x="7052" y="63464"/>
                    <a:pt x="7052" y="63182"/>
                    <a:pt x="7052" y="63182"/>
                  </a:cubicBezTo>
                  <a:cubicBezTo>
                    <a:pt x="7052" y="62900"/>
                    <a:pt x="6770" y="62618"/>
                    <a:pt x="6770" y="62054"/>
                  </a:cubicBezTo>
                  <a:cubicBezTo>
                    <a:pt x="7334" y="62054"/>
                    <a:pt x="7334" y="61489"/>
                    <a:pt x="7616" y="60925"/>
                  </a:cubicBezTo>
                  <a:cubicBezTo>
                    <a:pt x="7898" y="60079"/>
                    <a:pt x="8180" y="58951"/>
                    <a:pt x="9026" y="58105"/>
                  </a:cubicBezTo>
                  <a:cubicBezTo>
                    <a:pt x="8744" y="57823"/>
                    <a:pt x="8744" y="57541"/>
                    <a:pt x="8744" y="57541"/>
                  </a:cubicBezTo>
                  <a:lnTo>
                    <a:pt x="8744" y="56694"/>
                  </a:lnTo>
                  <a:cubicBezTo>
                    <a:pt x="8744" y="56412"/>
                    <a:pt x="8744" y="56130"/>
                    <a:pt x="9026" y="55848"/>
                  </a:cubicBezTo>
                  <a:lnTo>
                    <a:pt x="9872" y="55002"/>
                  </a:lnTo>
                  <a:lnTo>
                    <a:pt x="9872" y="53310"/>
                  </a:lnTo>
                  <a:cubicBezTo>
                    <a:pt x="9872" y="53310"/>
                    <a:pt x="10154" y="53028"/>
                    <a:pt x="10154" y="52745"/>
                  </a:cubicBezTo>
                  <a:cubicBezTo>
                    <a:pt x="10154" y="52463"/>
                    <a:pt x="9872" y="52181"/>
                    <a:pt x="9872" y="51899"/>
                  </a:cubicBezTo>
                  <a:cubicBezTo>
                    <a:pt x="9872" y="51617"/>
                    <a:pt x="9872" y="51053"/>
                    <a:pt x="10154" y="51053"/>
                  </a:cubicBezTo>
                  <a:lnTo>
                    <a:pt x="11847" y="49643"/>
                  </a:lnTo>
                  <a:lnTo>
                    <a:pt x="11847" y="49079"/>
                  </a:lnTo>
                  <a:cubicBezTo>
                    <a:pt x="11847" y="48233"/>
                    <a:pt x="11847" y="47668"/>
                    <a:pt x="12411" y="47386"/>
                  </a:cubicBezTo>
                  <a:lnTo>
                    <a:pt x="12411" y="46822"/>
                  </a:lnTo>
                  <a:cubicBezTo>
                    <a:pt x="12411" y="46540"/>
                    <a:pt x="12411" y="46540"/>
                    <a:pt x="12693" y="46540"/>
                  </a:cubicBezTo>
                  <a:lnTo>
                    <a:pt x="12693" y="45130"/>
                  </a:lnTo>
                  <a:cubicBezTo>
                    <a:pt x="13257" y="44848"/>
                    <a:pt x="13257" y="44002"/>
                    <a:pt x="13821" y="43720"/>
                  </a:cubicBezTo>
                  <a:cubicBezTo>
                    <a:pt x="13821" y="43437"/>
                    <a:pt x="14103" y="42591"/>
                    <a:pt x="14103" y="42309"/>
                  </a:cubicBezTo>
                  <a:cubicBezTo>
                    <a:pt x="14385" y="42027"/>
                    <a:pt x="14103" y="41745"/>
                    <a:pt x="14667" y="41181"/>
                  </a:cubicBezTo>
                  <a:cubicBezTo>
                    <a:pt x="14667" y="40899"/>
                    <a:pt x="14385" y="40899"/>
                    <a:pt x="14385" y="40617"/>
                  </a:cubicBezTo>
                  <a:cubicBezTo>
                    <a:pt x="14385" y="40335"/>
                    <a:pt x="14667" y="40053"/>
                    <a:pt x="14949" y="39771"/>
                  </a:cubicBezTo>
                  <a:cubicBezTo>
                    <a:pt x="15513" y="39771"/>
                    <a:pt x="15796" y="39489"/>
                    <a:pt x="15796" y="38924"/>
                  </a:cubicBezTo>
                  <a:lnTo>
                    <a:pt x="15796" y="37796"/>
                  </a:lnTo>
                  <a:lnTo>
                    <a:pt x="16360" y="36950"/>
                  </a:lnTo>
                  <a:cubicBezTo>
                    <a:pt x="16642" y="36386"/>
                    <a:pt x="17206" y="36104"/>
                    <a:pt x="17206" y="35822"/>
                  </a:cubicBezTo>
                  <a:lnTo>
                    <a:pt x="16924" y="35540"/>
                  </a:lnTo>
                  <a:cubicBezTo>
                    <a:pt x="16924" y="35258"/>
                    <a:pt x="17488" y="34976"/>
                    <a:pt x="17488" y="34411"/>
                  </a:cubicBezTo>
                  <a:cubicBezTo>
                    <a:pt x="17488" y="33847"/>
                    <a:pt x="17770" y="33565"/>
                    <a:pt x="18052" y="33283"/>
                  </a:cubicBezTo>
                  <a:cubicBezTo>
                    <a:pt x="18334" y="33001"/>
                    <a:pt x="18334" y="32719"/>
                    <a:pt x="18898" y="32437"/>
                  </a:cubicBezTo>
                  <a:cubicBezTo>
                    <a:pt x="19462" y="32437"/>
                    <a:pt x="19180" y="31591"/>
                    <a:pt x="19744" y="31309"/>
                  </a:cubicBezTo>
                  <a:cubicBezTo>
                    <a:pt x="20027" y="31027"/>
                    <a:pt x="20309" y="30745"/>
                    <a:pt x="20309" y="30463"/>
                  </a:cubicBezTo>
                  <a:cubicBezTo>
                    <a:pt x="20309" y="30463"/>
                    <a:pt x="20309" y="30181"/>
                    <a:pt x="20027" y="29899"/>
                  </a:cubicBezTo>
                  <a:cubicBezTo>
                    <a:pt x="20309" y="29334"/>
                    <a:pt x="20309" y="28770"/>
                    <a:pt x="20873" y="28488"/>
                  </a:cubicBezTo>
                  <a:cubicBezTo>
                    <a:pt x="21437" y="28206"/>
                    <a:pt x="21437" y="27360"/>
                    <a:pt x="21437" y="27360"/>
                  </a:cubicBezTo>
                  <a:cubicBezTo>
                    <a:pt x="22283" y="26796"/>
                    <a:pt x="22283" y="26232"/>
                    <a:pt x="22283" y="25950"/>
                  </a:cubicBezTo>
                  <a:cubicBezTo>
                    <a:pt x="22847" y="25668"/>
                    <a:pt x="23129" y="25103"/>
                    <a:pt x="23129" y="24821"/>
                  </a:cubicBezTo>
                  <a:lnTo>
                    <a:pt x="23129" y="24539"/>
                  </a:lnTo>
                  <a:cubicBezTo>
                    <a:pt x="23129" y="24257"/>
                    <a:pt x="23693" y="23975"/>
                    <a:pt x="23693" y="23975"/>
                  </a:cubicBezTo>
                  <a:cubicBezTo>
                    <a:pt x="23975" y="23975"/>
                    <a:pt x="24540" y="23975"/>
                    <a:pt x="24540" y="23693"/>
                  </a:cubicBezTo>
                  <a:lnTo>
                    <a:pt x="25104" y="22847"/>
                  </a:lnTo>
                  <a:cubicBezTo>
                    <a:pt x="25386" y="22001"/>
                    <a:pt x="25950" y="21437"/>
                    <a:pt x="27360" y="20308"/>
                  </a:cubicBezTo>
                  <a:cubicBezTo>
                    <a:pt x="27924" y="19744"/>
                    <a:pt x="28488" y="18898"/>
                    <a:pt x="28770" y="18052"/>
                  </a:cubicBezTo>
                  <a:cubicBezTo>
                    <a:pt x="29616" y="17488"/>
                    <a:pt x="29616" y="16642"/>
                    <a:pt x="30745" y="16360"/>
                  </a:cubicBezTo>
                  <a:cubicBezTo>
                    <a:pt x="31027" y="16360"/>
                    <a:pt x="31309" y="16078"/>
                    <a:pt x="31591" y="15795"/>
                  </a:cubicBezTo>
                  <a:cubicBezTo>
                    <a:pt x="31873" y="15513"/>
                    <a:pt x="32155" y="14667"/>
                    <a:pt x="33001" y="14385"/>
                  </a:cubicBezTo>
                  <a:lnTo>
                    <a:pt x="35540" y="14385"/>
                  </a:lnTo>
                  <a:cubicBezTo>
                    <a:pt x="35822" y="14385"/>
                    <a:pt x="35540" y="14385"/>
                    <a:pt x="36104" y="15231"/>
                  </a:cubicBezTo>
                  <a:lnTo>
                    <a:pt x="36950" y="15231"/>
                  </a:lnTo>
                  <a:cubicBezTo>
                    <a:pt x="37232" y="14667"/>
                    <a:pt x="37514" y="14385"/>
                    <a:pt x="38078" y="14385"/>
                  </a:cubicBezTo>
                  <a:cubicBezTo>
                    <a:pt x="38643" y="14385"/>
                    <a:pt x="39207" y="14667"/>
                    <a:pt x="39489" y="15231"/>
                  </a:cubicBezTo>
                  <a:cubicBezTo>
                    <a:pt x="39489" y="15231"/>
                    <a:pt x="39771" y="15513"/>
                    <a:pt x="40053" y="15513"/>
                  </a:cubicBezTo>
                  <a:cubicBezTo>
                    <a:pt x="40053" y="16360"/>
                    <a:pt x="41181" y="16642"/>
                    <a:pt x="42027" y="16642"/>
                  </a:cubicBezTo>
                  <a:cubicBezTo>
                    <a:pt x="42309" y="17206"/>
                    <a:pt x="42592" y="16642"/>
                    <a:pt x="42874" y="17488"/>
                  </a:cubicBezTo>
                  <a:lnTo>
                    <a:pt x="43156" y="17488"/>
                  </a:lnTo>
                  <a:lnTo>
                    <a:pt x="43156" y="16642"/>
                  </a:lnTo>
                  <a:cubicBezTo>
                    <a:pt x="42874" y="16360"/>
                    <a:pt x="42874" y="16360"/>
                    <a:pt x="42874" y="16078"/>
                  </a:cubicBezTo>
                  <a:lnTo>
                    <a:pt x="42874" y="15513"/>
                  </a:lnTo>
                  <a:lnTo>
                    <a:pt x="44002" y="15513"/>
                  </a:lnTo>
                  <a:cubicBezTo>
                    <a:pt x="44002" y="15231"/>
                    <a:pt x="43438" y="14667"/>
                    <a:pt x="43438" y="14103"/>
                  </a:cubicBezTo>
                  <a:cubicBezTo>
                    <a:pt x="43156" y="13539"/>
                    <a:pt x="43156" y="13257"/>
                    <a:pt x="42309" y="12693"/>
                  </a:cubicBezTo>
                  <a:cubicBezTo>
                    <a:pt x="42027" y="12693"/>
                    <a:pt x="42027" y="12411"/>
                    <a:pt x="42027" y="12411"/>
                  </a:cubicBezTo>
                  <a:cubicBezTo>
                    <a:pt x="42027" y="11565"/>
                    <a:pt x="42027" y="10718"/>
                    <a:pt x="41463" y="10154"/>
                  </a:cubicBezTo>
                  <a:cubicBezTo>
                    <a:pt x="41181" y="10154"/>
                    <a:pt x="41181" y="9872"/>
                    <a:pt x="41181" y="9590"/>
                  </a:cubicBezTo>
                  <a:cubicBezTo>
                    <a:pt x="41181" y="9308"/>
                    <a:pt x="41181" y="9308"/>
                    <a:pt x="41463" y="9026"/>
                  </a:cubicBezTo>
                  <a:lnTo>
                    <a:pt x="41463" y="8744"/>
                  </a:lnTo>
                  <a:cubicBezTo>
                    <a:pt x="41463" y="8462"/>
                    <a:pt x="41745" y="8180"/>
                    <a:pt x="42027" y="7898"/>
                  </a:cubicBezTo>
                  <a:cubicBezTo>
                    <a:pt x="42874" y="7616"/>
                    <a:pt x="43720" y="7052"/>
                    <a:pt x="44284" y="6487"/>
                  </a:cubicBezTo>
                  <a:cubicBezTo>
                    <a:pt x="44566" y="5641"/>
                    <a:pt x="45412" y="4795"/>
                    <a:pt x="46258" y="4231"/>
                  </a:cubicBezTo>
                  <a:cubicBezTo>
                    <a:pt x="46540" y="4231"/>
                    <a:pt x="46822" y="3667"/>
                    <a:pt x="47104" y="3385"/>
                  </a:cubicBezTo>
                  <a:cubicBezTo>
                    <a:pt x="47386" y="3103"/>
                    <a:pt x="47668" y="2821"/>
                    <a:pt x="47668" y="2539"/>
                  </a:cubicBezTo>
                  <a:lnTo>
                    <a:pt x="49361" y="1410"/>
                  </a:lnTo>
                  <a:cubicBezTo>
                    <a:pt x="49925" y="1128"/>
                    <a:pt x="49925" y="846"/>
                    <a:pt x="50489" y="846"/>
                  </a:cubicBezTo>
                  <a:lnTo>
                    <a:pt x="51617" y="846"/>
                  </a:lnTo>
                  <a:cubicBezTo>
                    <a:pt x="52181" y="846"/>
                    <a:pt x="52746" y="846"/>
                    <a:pt x="52746" y="282"/>
                  </a:cubicBezTo>
                  <a:lnTo>
                    <a:pt x="55002" y="282"/>
                  </a:lnTo>
                  <a:cubicBezTo>
                    <a:pt x="55284" y="0"/>
                    <a:pt x="55848" y="0"/>
                    <a:pt x="56130" y="0"/>
                  </a:cubicBezTo>
                  <a:lnTo>
                    <a:pt x="56977" y="0"/>
                  </a:lnTo>
                  <a:cubicBezTo>
                    <a:pt x="57823" y="0"/>
                    <a:pt x="58669" y="282"/>
                    <a:pt x="59233" y="846"/>
                  </a:cubicBezTo>
                  <a:cubicBezTo>
                    <a:pt x="59797" y="1128"/>
                    <a:pt x="60361" y="1410"/>
                    <a:pt x="60361" y="1974"/>
                  </a:cubicBezTo>
                  <a:lnTo>
                    <a:pt x="60361" y="2256"/>
                  </a:lnTo>
                  <a:cubicBezTo>
                    <a:pt x="60361" y="2256"/>
                    <a:pt x="60926" y="2256"/>
                    <a:pt x="60926" y="2539"/>
                  </a:cubicBezTo>
                  <a:cubicBezTo>
                    <a:pt x="61490" y="3103"/>
                    <a:pt x="62336" y="3103"/>
                    <a:pt x="63182" y="3667"/>
                  </a:cubicBezTo>
                  <a:cubicBezTo>
                    <a:pt x="64028" y="4231"/>
                    <a:pt x="64874" y="4231"/>
                    <a:pt x="64874" y="4795"/>
                  </a:cubicBezTo>
                  <a:lnTo>
                    <a:pt x="66567" y="6205"/>
                  </a:lnTo>
                  <a:cubicBezTo>
                    <a:pt x="66849" y="6769"/>
                    <a:pt x="67131" y="7334"/>
                    <a:pt x="67131" y="7898"/>
                  </a:cubicBezTo>
                  <a:cubicBezTo>
                    <a:pt x="66849" y="8462"/>
                    <a:pt x="66849" y="8744"/>
                    <a:pt x="66849" y="8744"/>
                  </a:cubicBezTo>
                  <a:cubicBezTo>
                    <a:pt x="67413" y="9308"/>
                    <a:pt x="67131" y="9308"/>
                    <a:pt x="67131" y="9308"/>
                  </a:cubicBezTo>
                  <a:cubicBezTo>
                    <a:pt x="66567" y="9308"/>
                    <a:pt x="66567" y="9308"/>
                    <a:pt x="66567" y="9590"/>
                  </a:cubicBezTo>
                  <a:lnTo>
                    <a:pt x="66567" y="10718"/>
                  </a:lnTo>
                  <a:cubicBezTo>
                    <a:pt x="66567" y="10718"/>
                    <a:pt x="66567" y="11000"/>
                    <a:pt x="66849" y="11000"/>
                  </a:cubicBezTo>
                  <a:lnTo>
                    <a:pt x="67977" y="11000"/>
                  </a:lnTo>
                  <a:cubicBezTo>
                    <a:pt x="67977" y="11000"/>
                    <a:pt x="68259" y="11000"/>
                    <a:pt x="68259" y="11282"/>
                  </a:cubicBezTo>
                  <a:cubicBezTo>
                    <a:pt x="68259" y="11565"/>
                    <a:pt x="67977" y="11847"/>
                    <a:pt x="67977" y="11847"/>
                  </a:cubicBezTo>
                  <a:cubicBezTo>
                    <a:pt x="67695" y="12129"/>
                    <a:pt x="67413" y="12693"/>
                    <a:pt x="67131" y="12693"/>
                  </a:cubicBezTo>
                  <a:lnTo>
                    <a:pt x="66284" y="12693"/>
                  </a:lnTo>
                  <a:cubicBezTo>
                    <a:pt x="66284" y="12975"/>
                    <a:pt x="66284" y="13539"/>
                    <a:pt x="66567" y="13539"/>
                  </a:cubicBezTo>
                  <a:cubicBezTo>
                    <a:pt x="67413" y="14103"/>
                    <a:pt x="67977" y="15513"/>
                    <a:pt x="68823" y="15513"/>
                  </a:cubicBezTo>
                  <a:cubicBezTo>
                    <a:pt x="69105" y="15513"/>
                    <a:pt x="69105" y="15795"/>
                    <a:pt x="69105" y="16078"/>
                  </a:cubicBezTo>
                  <a:cubicBezTo>
                    <a:pt x="69951" y="16360"/>
                    <a:pt x="70515" y="16924"/>
                    <a:pt x="71080" y="17488"/>
                  </a:cubicBezTo>
                  <a:lnTo>
                    <a:pt x="71362" y="17488"/>
                  </a:lnTo>
                  <a:cubicBezTo>
                    <a:pt x="72208" y="17488"/>
                    <a:pt x="72490" y="17770"/>
                    <a:pt x="72772" y="18334"/>
                  </a:cubicBezTo>
                  <a:cubicBezTo>
                    <a:pt x="73336" y="18616"/>
                    <a:pt x="74182" y="18616"/>
                    <a:pt x="74182" y="19180"/>
                  </a:cubicBezTo>
                  <a:cubicBezTo>
                    <a:pt x="74746" y="19180"/>
                    <a:pt x="74746" y="19462"/>
                    <a:pt x="75029" y="19462"/>
                  </a:cubicBezTo>
                  <a:cubicBezTo>
                    <a:pt x="75593" y="19744"/>
                    <a:pt x="75593" y="20026"/>
                    <a:pt x="75875" y="20026"/>
                  </a:cubicBezTo>
                  <a:cubicBezTo>
                    <a:pt x="77285" y="20026"/>
                    <a:pt x="78131" y="20590"/>
                    <a:pt x="78695" y="21155"/>
                  </a:cubicBezTo>
                  <a:cubicBezTo>
                    <a:pt x="78978" y="21437"/>
                    <a:pt x="79259" y="21437"/>
                    <a:pt x="79259" y="21437"/>
                  </a:cubicBezTo>
                  <a:cubicBezTo>
                    <a:pt x="80106" y="21437"/>
                    <a:pt x="80670" y="21437"/>
                    <a:pt x="80952" y="21719"/>
                  </a:cubicBezTo>
                  <a:cubicBezTo>
                    <a:pt x="80952" y="22001"/>
                    <a:pt x="80952" y="22001"/>
                    <a:pt x="81234" y="22001"/>
                  </a:cubicBezTo>
                  <a:lnTo>
                    <a:pt x="84054" y="22001"/>
                  </a:lnTo>
                  <a:cubicBezTo>
                    <a:pt x="84900" y="22565"/>
                    <a:pt x="85464" y="22565"/>
                    <a:pt x="85747" y="22565"/>
                  </a:cubicBezTo>
                  <a:cubicBezTo>
                    <a:pt x="86029" y="22565"/>
                    <a:pt x="86593" y="23129"/>
                    <a:pt x="87157" y="23129"/>
                  </a:cubicBezTo>
                  <a:cubicBezTo>
                    <a:pt x="87439" y="23129"/>
                    <a:pt x="87439" y="23129"/>
                    <a:pt x="87721" y="22847"/>
                  </a:cubicBezTo>
                  <a:lnTo>
                    <a:pt x="89131" y="22847"/>
                  </a:lnTo>
                  <a:cubicBezTo>
                    <a:pt x="89978" y="22847"/>
                    <a:pt x="89978" y="23411"/>
                    <a:pt x="90542" y="23411"/>
                  </a:cubicBezTo>
                  <a:lnTo>
                    <a:pt x="95337" y="23411"/>
                  </a:lnTo>
                  <a:cubicBezTo>
                    <a:pt x="95619" y="23411"/>
                    <a:pt x="96183" y="23411"/>
                    <a:pt x="96465" y="22847"/>
                  </a:cubicBezTo>
                  <a:lnTo>
                    <a:pt x="99850" y="22847"/>
                  </a:lnTo>
                  <a:cubicBezTo>
                    <a:pt x="100132" y="23129"/>
                    <a:pt x="100414" y="23129"/>
                    <a:pt x="100414" y="23129"/>
                  </a:cubicBezTo>
                  <a:cubicBezTo>
                    <a:pt x="100696" y="23129"/>
                    <a:pt x="100696" y="22565"/>
                    <a:pt x="101260" y="22565"/>
                  </a:cubicBezTo>
                  <a:lnTo>
                    <a:pt x="102670" y="22565"/>
                  </a:lnTo>
                  <a:cubicBezTo>
                    <a:pt x="103234" y="22565"/>
                    <a:pt x="104081" y="22565"/>
                    <a:pt x="103798" y="22283"/>
                  </a:cubicBezTo>
                  <a:cubicBezTo>
                    <a:pt x="104363" y="22001"/>
                    <a:pt x="104927" y="22001"/>
                    <a:pt x="105491" y="22001"/>
                  </a:cubicBezTo>
                  <a:cubicBezTo>
                    <a:pt x="105491" y="21719"/>
                    <a:pt x="106055" y="21719"/>
                    <a:pt x="106337" y="21719"/>
                  </a:cubicBezTo>
                  <a:lnTo>
                    <a:pt x="107465" y="21719"/>
                  </a:lnTo>
                  <a:cubicBezTo>
                    <a:pt x="107748" y="21719"/>
                    <a:pt x="108312" y="21437"/>
                    <a:pt x="108876" y="21437"/>
                  </a:cubicBezTo>
                  <a:lnTo>
                    <a:pt x="110286" y="21437"/>
                  </a:lnTo>
                  <a:cubicBezTo>
                    <a:pt x="110850" y="20873"/>
                    <a:pt x="111696" y="20590"/>
                    <a:pt x="111979" y="20590"/>
                  </a:cubicBezTo>
                  <a:cubicBezTo>
                    <a:pt x="112543" y="20026"/>
                    <a:pt x="113389" y="20026"/>
                    <a:pt x="113953" y="20026"/>
                  </a:cubicBezTo>
                  <a:cubicBezTo>
                    <a:pt x="114517" y="20026"/>
                    <a:pt x="114235" y="19462"/>
                    <a:pt x="115081" y="19462"/>
                  </a:cubicBezTo>
                  <a:lnTo>
                    <a:pt x="115646" y="19462"/>
                  </a:lnTo>
                  <a:cubicBezTo>
                    <a:pt x="115927" y="19462"/>
                    <a:pt x="115927" y="19462"/>
                    <a:pt x="116210" y="19180"/>
                  </a:cubicBezTo>
                  <a:cubicBezTo>
                    <a:pt x="116491" y="19180"/>
                    <a:pt x="117056" y="19180"/>
                    <a:pt x="117620" y="18616"/>
                  </a:cubicBezTo>
                  <a:lnTo>
                    <a:pt x="117902" y="18616"/>
                  </a:lnTo>
                  <a:cubicBezTo>
                    <a:pt x="118184" y="18616"/>
                    <a:pt x="118748" y="18334"/>
                    <a:pt x="119312" y="18052"/>
                  </a:cubicBezTo>
                  <a:cubicBezTo>
                    <a:pt x="119594" y="17770"/>
                    <a:pt x="120158" y="17770"/>
                    <a:pt x="120440" y="17770"/>
                  </a:cubicBezTo>
                  <a:lnTo>
                    <a:pt x="121568" y="17770"/>
                  </a:lnTo>
                  <a:lnTo>
                    <a:pt x="121851" y="18052"/>
                  </a:lnTo>
                  <a:lnTo>
                    <a:pt x="121851" y="18334"/>
                  </a:lnTo>
                  <a:lnTo>
                    <a:pt x="122979" y="19744"/>
                  </a:lnTo>
                  <a:cubicBezTo>
                    <a:pt x="122979" y="20026"/>
                    <a:pt x="122415" y="20308"/>
                    <a:pt x="121851" y="21155"/>
                  </a:cubicBezTo>
                  <a:cubicBezTo>
                    <a:pt x="121004" y="21719"/>
                    <a:pt x="120440" y="22001"/>
                    <a:pt x="120440" y="22847"/>
                  </a:cubicBezTo>
                  <a:lnTo>
                    <a:pt x="120440" y="23411"/>
                  </a:lnTo>
                  <a:cubicBezTo>
                    <a:pt x="120440" y="23411"/>
                    <a:pt x="120158" y="23693"/>
                    <a:pt x="119312" y="23693"/>
                  </a:cubicBezTo>
                  <a:lnTo>
                    <a:pt x="118748" y="24539"/>
                  </a:lnTo>
                  <a:cubicBezTo>
                    <a:pt x="119030" y="24539"/>
                    <a:pt x="119312" y="24821"/>
                    <a:pt x="119312" y="25103"/>
                  </a:cubicBezTo>
                  <a:lnTo>
                    <a:pt x="119312" y="25386"/>
                  </a:lnTo>
                  <a:cubicBezTo>
                    <a:pt x="119030" y="25668"/>
                    <a:pt x="118748" y="26514"/>
                    <a:pt x="117902" y="27360"/>
                  </a:cubicBezTo>
                  <a:cubicBezTo>
                    <a:pt x="117902" y="27360"/>
                    <a:pt x="118466" y="27642"/>
                    <a:pt x="118466" y="27924"/>
                  </a:cubicBezTo>
                  <a:lnTo>
                    <a:pt x="118184" y="27924"/>
                  </a:lnTo>
                  <a:lnTo>
                    <a:pt x="117620" y="28488"/>
                  </a:lnTo>
                  <a:cubicBezTo>
                    <a:pt x="117338" y="29052"/>
                    <a:pt x="116774" y="29334"/>
                    <a:pt x="116491" y="29334"/>
                  </a:cubicBezTo>
                  <a:lnTo>
                    <a:pt x="115646" y="29334"/>
                  </a:lnTo>
                  <a:cubicBezTo>
                    <a:pt x="115081" y="29899"/>
                    <a:pt x="114799" y="30181"/>
                    <a:pt x="114517" y="30181"/>
                  </a:cubicBezTo>
                  <a:cubicBezTo>
                    <a:pt x="114235" y="30181"/>
                    <a:pt x="114235" y="29899"/>
                    <a:pt x="113953" y="29899"/>
                  </a:cubicBezTo>
                  <a:cubicBezTo>
                    <a:pt x="113953" y="29616"/>
                    <a:pt x="113671" y="29899"/>
                    <a:pt x="113671" y="29899"/>
                  </a:cubicBezTo>
                  <a:lnTo>
                    <a:pt x="113671" y="30181"/>
                  </a:lnTo>
                  <a:cubicBezTo>
                    <a:pt x="113671" y="30745"/>
                    <a:pt x="112543" y="30745"/>
                    <a:pt x="112260" y="31591"/>
                  </a:cubicBezTo>
                  <a:cubicBezTo>
                    <a:pt x="112260" y="32155"/>
                    <a:pt x="112260" y="32437"/>
                    <a:pt x="111696" y="32719"/>
                  </a:cubicBezTo>
                  <a:lnTo>
                    <a:pt x="110004" y="32719"/>
                  </a:lnTo>
                  <a:lnTo>
                    <a:pt x="110004" y="33283"/>
                  </a:lnTo>
                  <a:cubicBezTo>
                    <a:pt x="110004" y="33283"/>
                    <a:pt x="109722" y="33847"/>
                    <a:pt x="109722" y="34129"/>
                  </a:cubicBezTo>
                  <a:lnTo>
                    <a:pt x="109722" y="34694"/>
                  </a:lnTo>
                  <a:cubicBezTo>
                    <a:pt x="110568" y="34694"/>
                    <a:pt x="110850" y="35258"/>
                    <a:pt x="111132" y="35258"/>
                  </a:cubicBezTo>
                  <a:cubicBezTo>
                    <a:pt x="111696" y="35258"/>
                    <a:pt x="112260" y="35258"/>
                    <a:pt x="112260" y="35540"/>
                  </a:cubicBezTo>
                  <a:cubicBezTo>
                    <a:pt x="112260" y="35540"/>
                    <a:pt x="112543" y="35540"/>
                    <a:pt x="112543" y="35822"/>
                  </a:cubicBezTo>
                  <a:lnTo>
                    <a:pt x="112543" y="36104"/>
                  </a:lnTo>
                  <a:cubicBezTo>
                    <a:pt x="112260" y="36386"/>
                    <a:pt x="111415" y="36386"/>
                    <a:pt x="111132" y="36950"/>
                  </a:cubicBezTo>
                  <a:lnTo>
                    <a:pt x="109722" y="36950"/>
                  </a:lnTo>
                  <a:cubicBezTo>
                    <a:pt x="109440" y="36668"/>
                    <a:pt x="109158" y="36668"/>
                    <a:pt x="109158" y="36668"/>
                  </a:cubicBezTo>
                  <a:cubicBezTo>
                    <a:pt x="109158" y="36668"/>
                    <a:pt x="108876" y="36668"/>
                    <a:pt x="108876" y="36950"/>
                  </a:cubicBezTo>
                  <a:lnTo>
                    <a:pt x="107748" y="36950"/>
                  </a:lnTo>
                  <a:cubicBezTo>
                    <a:pt x="107184" y="36950"/>
                    <a:pt x="106901" y="36950"/>
                    <a:pt x="106337" y="37232"/>
                  </a:cubicBezTo>
                  <a:cubicBezTo>
                    <a:pt x="106337" y="37514"/>
                    <a:pt x="106055" y="37514"/>
                    <a:pt x="106055" y="37514"/>
                  </a:cubicBezTo>
                  <a:cubicBezTo>
                    <a:pt x="105773" y="37514"/>
                    <a:pt x="105491" y="37232"/>
                    <a:pt x="104927" y="37232"/>
                  </a:cubicBezTo>
                  <a:cubicBezTo>
                    <a:pt x="104645" y="37232"/>
                    <a:pt x="104363" y="37232"/>
                    <a:pt x="104363" y="36950"/>
                  </a:cubicBezTo>
                  <a:cubicBezTo>
                    <a:pt x="104081" y="36950"/>
                    <a:pt x="103798" y="36950"/>
                    <a:pt x="103234" y="37232"/>
                  </a:cubicBezTo>
                  <a:cubicBezTo>
                    <a:pt x="102953" y="37232"/>
                    <a:pt x="102670" y="37796"/>
                    <a:pt x="102388" y="37796"/>
                  </a:cubicBezTo>
                  <a:lnTo>
                    <a:pt x="102106" y="37796"/>
                  </a:lnTo>
                  <a:cubicBezTo>
                    <a:pt x="101824" y="37232"/>
                    <a:pt x="101260" y="37232"/>
                    <a:pt x="100414" y="37232"/>
                  </a:cubicBezTo>
                  <a:lnTo>
                    <a:pt x="98440" y="37232"/>
                  </a:lnTo>
                  <a:cubicBezTo>
                    <a:pt x="98157" y="37232"/>
                    <a:pt x="97876" y="37232"/>
                    <a:pt x="97876" y="36950"/>
                  </a:cubicBezTo>
                  <a:cubicBezTo>
                    <a:pt x="97312" y="36950"/>
                    <a:pt x="97312" y="36950"/>
                    <a:pt x="96465" y="37232"/>
                  </a:cubicBezTo>
                  <a:lnTo>
                    <a:pt x="96183" y="37232"/>
                  </a:lnTo>
                  <a:cubicBezTo>
                    <a:pt x="95337" y="37232"/>
                    <a:pt x="94773" y="37796"/>
                    <a:pt x="94491" y="38360"/>
                  </a:cubicBezTo>
                  <a:cubicBezTo>
                    <a:pt x="94209" y="38642"/>
                    <a:pt x="93926" y="38924"/>
                    <a:pt x="93362" y="38924"/>
                  </a:cubicBezTo>
                  <a:lnTo>
                    <a:pt x="92798" y="38924"/>
                  </a:lnTo>
                  <a:cubicBezTo>
                    <a:pt x="91670" y="38924"/>
                    <a:pt x="90260" y="38360"/>
                    <a:pt x="89131" y="37232"/>
                  </a:cubicBezTo>
                  <a:lnTo>
                    <a:pt x="88850" y="36950"/>
                  </a:lnTo>
                  <a:lnTo>
                    <a:pt x="88567" y="37232"/>
                  </a:lnTo>
                  <a:cubicBezTo>
                    <a:pt x="88285" y="37514"/>
                    <a:pt x="87721" y="38078"/>
                    <a:pt x="87157" y="38078"/>
                  </a:cubicBezTo>
                  <a:cubicBezTo>
                    <a:pt x="86875" y="38078"/>
                    <a:pt x="86875" y="38078"/>
                    <a:pt x="86593" y="37796"/>
                  </a:cubicBezTo>
                  <a:cubicBezTo>
                    <a:pt x="86029" y="37796"/>
                    <a:pt x="85464" y="38078"/>
                    <a:pt x="85183" y="38078"/>
                  </a:cubicBezTo>
                  <a:cubicBezTo>
                    <a:pt x="84619" y="38078"/>
                    <a:pt x="84336" y="37796"/>
                    <a:pt x="84054" y="37232"/>
                  </a:cubicBezTo>
                  <a:lnTo>
                    <a:pt x="81234" y="37232"/>
                  </a:lnTo>
                  <a:cubicBezTo>
                    <a:pt x="80952" y="36950"/>
                    <a:pt x="80106" y="37232"/>
                    <a:pt x="79542" y="36668"/>
                  </a:cubicBezTo>
                  <a:lnTo>
                    <a:pt x="78413" y="36668"/>
                  </a:lnTo>
                  <a:cubicBezTo>
                    <a:pt x="78131" y="36668"/>
                    <a:pt x="77849" y="36668"/>
                    <a:pt x="77567" y="36386"/>
                  </a:cubicBezTo>
                  <a:lnTo>
                    <a:pt x="76157" y="36386"/>
                  </a:lnTo>
                  <a:cubicBezTo>
                    <a:pt x="75875" y="36386"/>
                    <a:pt x="75311" y="36104"/>
                    <a:pt x="75029" y="36104"/>
                  </a:cubicBezTo>
                  <a:cubicBezTo>
                    <a:pt x="74746" y="36104"/>
                    <a:pt x="74746" y="36104"/>
                    <a:pt x="74464" y="36386"/>
                  </a:cubicBezTo>
                  <a:cubicBezTo>
                    <a:pt x="74464" y="36668"/>
                    <a:pt x="74182" y="36668"/>
                    <a:pt x="74182" y="36668"/>
                  </a:cubicBezTo>
                  <a:lnTo>
                    <a:pt x="74182" y="36386"/>
                  </a:lnTo>
                  <a:cubicBezTo>
                    <a:pt x="73618" y="35822"/>
                    <a:pt x="72772" y="35822"/>
                    <a:pt x="71644" y="35258"/>
                  </a:cubicBezTo>
                  <a:cubicBezTo>
                    <a:pt x="71644" y="34976"/>
                    <a:pt x="71362" y="34976"/>
                    <a:pt x="71362" y="34976"/>
                  </a:cubicBezTo>
                  <a:lnTo>
                    <a:pt x="69387" y="34976"/>
                  </a:lnTo>
                  <a:cubicBezTo>
                    <a:pt x="68823" y="34694"/>
                    <a:pt x="68259" y="34411"/>
                    <a:pt x="67977" y="34411"/>
                  </a:cubicBezTo>
                  <a:lnTo>
                    <a:pt x="67695" y="34411"/>
                  </a:lnTo>
                  <a:cubicBezTo>
                    <a:pt x="67131" y="34411"/>
                    <a:pt x="67131" y="34694"/>
                    <a:pt x="67131" y="34976"/>
                  </a:cubicBezTo>
                  <a:cubicBezTo>
                    <a:pt x="67413" y="35540"/>
                    <a:pt x="67695" y="36386"/>
                    <a:pt x="67695" y="36950"/>
                  </a:cubicBezTo>
                  <a:cubicBezTo>
                    <a:pt x="67413" y="37232"/>
                    <a:pt x="67977" y="37232"/>
                    <a:pt x="67977" y="37514"/>
                  </a:cubicBezTo>
                  <a:lnTo>
                    <a:pt x="67977" y="37796"/>
                  </a:lnTo>
                  <a:cubicBezTo>
                    <a:pt x="67695" y="38642"/>
                    <a:pt x="67695" y="39207"/>
                    <a:pt x="67695" y="39771"/>
                  </a:cubicBezTo>
                  <a:cubicBezTo>
                    <a:pt x="67413" y="40053"/>
                    <a:pt x="67413" y="40617"/>
                    <a:pt x="67413" y="40899"/>
                  </a:cubicBezTo>
                  <a:cubicBezTo>
                    <a:pt x="67413" y="41181"/>
                    <a:pt x="67413" y="41463"/>
                    <a:pt x="67695" y="41745"/>
                  </a:cubicBezTo>
                  <a:cubicBezTo>
                    <a:pt x="67131" y="42027"/>
                    <a:pt x="67131" y="42309"/>
                    <a:pt x="67131" y="43155"/>
                  </a:cubicBezTo>
                  <a:lnTo>
                    <a:pt x="66849" y="43155"/>
                  </a:lnTo>
                  <a:cubicBezTo>
                    <a:pt x="66567" y="42873"/>
                    <a:pt x="66567" y="42591"/>
                    <a:pt x="66567" y="42309"/>
                  </a:cubicBezTo>
                  <a:lnTo>
                    <a:pt x="66567" y="41745"/>
                  </a:lnTo>
                  <a:cubicBezTo>
                    <a:pt x="66567" y="41463"/>
                    <a:pt x="66567" y="41181"/>
                    <a:pt x="66284" y="40617"/>
                  </a:cubicBezTo>
                  <a:lnTo>
                    <a:pt x="66284" y="40335"/>
                  </a:lnTo>
                  <a:cubicBezTo>
                    <a:pt x="66284" y="40053"/>
                    <a:pt x="65720" y="39771"/>
                    <a:pt x="66002" y="39771"/>
                  </a:cubicBezTo>
                  <a:cubicBezTo>
                    <a:pt x="66567" y="39207"/>
                    <a:pt x="66567" y="39207"/>
                    <a:pt x="66567" y="38642"/>
                  </a:cubicBezTo>
                  <a:cubicBezTo>
                    <a:pt x="66284" y="38360"/>
                    <a:pt x="66002" y="38078"/>
                    <a:pt x="66002" y="37796"/>
                  </a:cubicBezTo>
                  <a:lnTo>
                    <a:pt x="66284" y="37514"/>
                  </a:lnTo>
                  <a:cubicBezTo>
                    <a:pt x="66284" y="37232"/>
                    <a:pt x="66567" y="36386"/>
                    <a:pt x="66567" y="35822"/>
                  </a:cubicBezTo>
                  <a:cubicBezTo>
                    <a:pt x="66002" y="35540"/>
                    <a:pt x="65720" y="35258"/>
                    <a:pt x="65720" y="34976"/>
                  </a:cubicBezTo>
                  <a:cubicBezTo>
                    <a:pt x="65720" y="34694"/>
                    <a:pt x="65720" y="34411"/>
                    <a:pt x="66002" y="34129"/>
                  </a:cubicBezTo>
                  <a:cubicBezTo>
                    <a:pt x="66284" y="34129"/>
                    <a:pt x="66849" y="33847"/>
                    <a:pt x="66849" y="33565"/>
                  </a:cubicBezTo>
                  <a:cubicBezTo>
                    <a:pt x="66849" y="33283"/>
                    <a:pt x="66284" y="33283"/>
                    <a:pt x="66002" y="33283"/>
                  </a:cubicBezTo>
                  <a:cubicBezTo>
                    <a:pt x="65720" y="33283"/>
                    <a:pt x="65156" y="33283"/>
                    <a:pt x="64874" y="33001"/>
                  </a:cubicBezTo>
                  <a:cubicBezTo>
                    <a:pt x="64310" y="32437"/>
                    <a:pt x="64028" y="32437"/>
                    <a:pt x="63746" y="32437"/>
                  </a:cubicBezTo>
                  <a:cubicBezTo>
                    <a:pt x="63464" y="32437"/>
                    <a:pt x="63182" y="32719"/>
                    <a:pt x="63182" y="32719"/>
                  </a:cubicBezTo>
                  <a:lnTo>
                    <a:pt x="63182" y="33847"/>
                  </a:lnTo>
                  <a:cubicBezTo>
                    <a:pt x="63182" y="34694"/>
                    <a:pt x="63182" y="35822"/>
                    <a:pt x="63464" y="36668"/>
                  </a:cubicBezTo>
                  <a:cubicBezTo>
                    <a:pt x="63464" y="36950"/>
                    <a:pt x="63182" y="37232"/>
                    <a:pt x="63464" y="37232"/>
                  </a:cubicBezTo>
                  <a:lnTo>
                    <a:pt x="63464" y="38078"/>
                  </a:lnTo>
                  <a:cubicBezTo>
                    <a:pt x="63464" y="38642"/>
                    <a:pt x="63464" y="39207"/>
                    <a:pt x="63746" y="39207"/>
                  </a:cubicBezTo>
                  <a:cubicBezTo>
                    <a:pt x="63746" y="39489"/>
                    <a:pt x="64028" y="39771"/>
                    <a:pt x="64028" y="39771"/>
                  </a:cubicBezTo>
                  <a:cubicBezTo>
                    <a:pt x="64028" y="40053"/>
                    <a:pt x="63746" y="40053"/>
                    <a:pt x="63746" y="40335"/>
                  </a:cubicBezTo>
                  <a:cubicBezTo>
                    <a:pt x="63746" y="40617"/>
                    <a:pt x="64028" y="41181"/>
                    <a:pt x="64310" y="41463"/>
                  </a:cubicBezTo>
                  <a:cubicBezTo>
                    <a:pt x="64310" y="41745"/>
                    <a:pt x="64592" y="42027"/>
                    <a:pt x="64874" y="42309"/>
                  </a:cubicBezTo>
                  <a:cubicBezTo>
                    <a:pt x="64592" y="42591"/>
                    <a:pt x="64592" y="42873"/>
                    <a:pt x="64592" y="42873"/>
                  </a:cubicBezTo>
                  <a:lnTo>
                    <a:pt x="64592" y="43155"/>
                  </a:lnTo>
                  <a:lnTo>
                    <a:pt x="64028" y="43155"/>
                  </a:lnTo>
                  <a:cubicBezTo>
                    <a:pt x="63746" y="43155"/>
                    <a:pt x="63746" y="42873"/>
                    <a:pt x="63746" y="42873"/>
                  </a:cubicBezTo>
                  <a:cubicBezTo>
                    <a:pt x="63464" y="42873"/>
                    <a:pt x="63182" y="43155"/>
                    <a:pt x="63182" y="43155"/>
                  </a:cubicBezTo>
                  <a:cubicBezTo>
                    <a:pt x="62900" y="43155"/>
                    <a:pt x="62900" y="43437"/>
                    <a:pt x="62900" y="43720"/>
                  </a:cubicBezTo>
                  <a:lnTo>
                    <a:pt x="62900" y="44002"/>
                  </a:lnTo>
                  <a:cubicBezTo>
                    <a:pt x="62900" y="44566"/>
                    <a:pt x="63182" y="45130"/>
                    <a:pt x="63746" y="45694"/>
                  </a:cubicBezTo>
                  <a:cubicBezTo>
                    <a:pt x="64310" y="45976"/>
                    <a:pt x="64592" y="46540"/>
                    <a:pt x="64592" y="47386"/>
                  </a:cubicBezTo>
                  <a:cubicBezTo>
                    <a:pt x="64592" y="47668"/>
                    <a:pt x="64874" y="47950"/>
                    <a:pt x="65156" y="47950"/>
                  </a:cubicBezTo>
                  <a:cubicBezTo>
                    <a:pt x="65156" y="47950"/>
                    <a:pt x="65438" y="47950"/>
                    <a:pt x="65720" y="47668"/>
                  </a:cubicBezTo>
                  <a:cubicBezTo>
                    <a:pt x="65720" y="47386"/>
                    <a:pt x="66284" y="47386"/>
                    <a:pt x="66284" y="47104"/>
                  </a:cubicBezTo>
                  <a:cubicBezTo>
                    <a:pt x="66002" y="46258"/>
                    <a:pt x="66002" y="45976"/>
                    <a:pt x="66002" y="45694"/>
                  </a:cubicBezTo>
                  <a:cubicBezTo>
                    <a:pt x="66002" y="45130"/>
                    <a:pt x="66284" y="45130"/>
                    <a:pt x="66284" y="45130"/>
                  </a:cubicBezTo>
                  <a:cubicBezTo>
                    <a:pt x="66849" y="45130"/>
                    <a:pt x="67131" y="45130"/>
                    <a:pt x="67131" y="45694"/>
                  </a:cubicBezTo>
                  <a:lnTo>
                    <a:pt x="67131" y="45976"/>
                  </a:lnTo>
                  <a:cubicBezTo>
                    <a:pt x="67131" y="46258"/>
                    <a:pt x="67413" y="46540"/>
                    <a:pt x="67413" y="47104"/>
                  </a:cubicBezTo>
                  <a:cubicBezTo>
                    <a:pt x="67413" y="47386"/>
                    <a:pt x="67413" y="47386"/>
                    <a:pt x="67131" y="47668"/>
                  </a:cubicBezTo>
                  <a:lnTo>
                    <a:pt x="67131" y="49643"/>
                  </a:lnTo>
                  <a:cubicBezTo>
                    <a:pt x="66849" y="49925"/>
                    <a:pt x="66567" y="50207"/>
                    <a:pt x="66567" y="50771"/>
                  </a:cubicBezTo>
                  <a:cubicBezTo>
                    <a:pt x="66567" y="51053"/>
                    <a:pt x="66567" y="51335"/>
                    <a:pt x="66849" y="51617"/>
                  </a:cubicBezTo>
                  <a:cubicBezTo>
                    <a:pt x="67131" y="52181"/>
                    <a:pt x="67131" y="53028"/>
                    <a:pt x="67131" y="54156"/>
                  </a:cubicBezTo>
                  <a:lnTo>
                    <a:pt x="67131" y="55002"/>
                  </a:lnTo>
                  <a:cubicBezTo>
                    <a:pt x="66849" y="55566"/>
                    <a:pt x="66002" y="56130"/>
                    <a:pt x="66002" y="56694"/>
                  </a:cubicBezTo>
                  <a:cubicBezTo>
                    <a:pt x="66002" y="56976"/>
                    <a:pt x="66284" y="56976"/>
                    <a:pt x="66284" y="57258"/>
                  </a:cubicBezTo>
                  <a:cubicBezTo>
                    <a:pt x="66567" y="57823"/>
                    <a:pt x="66849" y="58387"/>
                    <a:pt x="66849" y="58951"/>
                  </a:cubicBezTo>
                  <a:cubicBezTo>
                    <a:pt x="66849" y="59233"/>
                    <a:pt x="66567" y="59797"/>
                    <a:pt x="66567" y="60079"/>
                  </a:cubicBezTo>
                  <a:lnTo>
                    <a:pt x="67413" y="62336"/>
                  </a:lnTo>
                  <a:cubicBezTo>
                    <a:pt x="67695" y="62618"/>
                    <a:pt x="68259" y="62900"/>
                    <a:pt x="68541" y="62900"/>
                  </a:cubicBezTo>
                  <a:lnTo>
                    <a:pt x="68541" y="63464"/>
                  </a:lnTo>
                  <a:lnTo>
                    <a:pt x="65720" y="63464"/>
                  </a:lnTo>
                  <a:cubicBezTo>
                    <a:pt x="65720" y="64592"/>
                    <a:pt x="65156" y="64874"/>
                    <a:pt x="64874" y="65156"/>
                  </a:cubicBezTo>
                  <a:cubicBezTo>
                    <a:pt x="64592" y="65438"/>
                    <a:pt x="64592" y="65438"/>
                    <a:pt x="64592" y="66002"/>
                  </a:cubicBezTo>
                  <a:cubicBezTo>
                    <a:pt x="64874" y="66002"/>
                    <a:pt x="65156" y="66566"/>
                    <a:pt x="65156" y="66849"/>
                  </a:cubicBezTo>
                  <a:cubicBezTo>
                    <a:pt x="64874" y="67131"/>
                    <a:pt x="64874" y="67131"/>
                    <a:pt x="64874" y="67413"/>
                  </a:cubicBezTo>
                  <a:lnTo>
                    <a:pt x="64874" y="67977"/>
                  </a:lnTo>
                  <a:cubicBezTo>
                    <a:pt x="65438" y="68541"/>
                    <a:pt x="65720" y="68823"/>
                    <a:pt x="65720" y="69105"/>
                  </a:cubicBezTo>
                  <a:cubicBezTo>
                    <a:pt x="65720" y="69387"/>
                    <a:pt x="65438" y="69387"/>
                    <a:pt x="65438" y="69669"/>
                  </a:cubicBezTo>
                  <a:lnTo>
                    <a:pt x="65438" y="71079"/>
                  </a:lnTo>
                  <a:cubicBezTo>
                    <a:pt x="65156" y="71362"/>
                    <a:pt x="65156" y="71926"/>
                    <a:pt x="64874" y="72490"/>
                  </a:cubicBezTo>
                  <a:cubicBezTo>
                    <a:pt x="64592" y="72490"/>
                    <a:pt x="64592" y="72772"/>
                    <a:pt x="64592" y="72772"/>
                  </a:cubicBezTo>
                  <a:cubicBezTo>
                    <a:pt x="64592" y="73054"/>
                    <a:pt x="64874" y="73618"/>
                    <a:pt x="65156" y="73900"/>
                  </a:cubicBezTo>
                  <a:lnTo>
                    <a:pt x="65156" y="74464"/>
                  </a:lnTo>
                  <a:cubicBezTo>
                    <a:pt x="65720" y="74464"/>
                    <a:pt x="65720" y="74464"/>
                    <a:pt x="66002" y="74182"/>
                  </a:cubicBezTo>
                  <a:cubicBezTo>
                    <a:pt x="66284" y="73900"/>
                    <a:pt x="66284" y="73900"/>
                    <a:pt x="66284" y="73618"/>
                  </a:cubicBezTo>
                  <a:lnTo>
                    <a:pt x="66284" y="73336"/>
                  </a:lnTo>
                  <a:cubicBezTo>
                    <a:pt x="66284" y="73054"/>
                    <a:pt x="66284" y="73054"/>
                    <a:pt x="66567" y="73054"/>
                  </a:cubicBezTo>
                  <a:cubicBezTo>
                    <a:pt x="66849" y="73054"/>
                    <a:pt x="66849" y="73336"/>
                    <a:pt x="66849" y="73336"/>
                  </a:cubicBezTo>
                  <a:cubicBezTo>
                    <a:pt x="67131" y="73618"/>
                    <a:pt x="67131" y="74182"/>
                    <a:pt x="67131" y="74182"/>
                  </a:cubicBezTo>
                  <a:cubicBezTo>
                    <a:pt x="67131" y="74464"/>
                    <a:pt x="67977" y="74464"/>
                    <a:pt x="68259" y="74464"/>
                  </a:cubicBezTo>
                  <a:cubicBezTo>
                    <a:pt x="68541" y="74182"/>
                    <a:pt x="68541" y="73900"/>
                    <a:pt x="68541" y="73618"/>
                  </a:cubicBezTo>
                  <a:lnTo>
                    <a:pt x="68823" y="73618"/>
                  </a:lnTo>
                  <a:cubicBezTo>
                    <a:pt x="69105" y="73618"/>
                    <a:pt x="69105" y="73618"/>
                    <a:pt x="69105" y="73900"/>
                  </a:cubicBezTo>
                  <a:cubicBezTo>
                    <a:pt x="69387" y="74182"/>
                    <a:pt x="69387" y="74182"/>
                    <a:pt x="69387" y="74464"/>
                  </a:cubicBezTo>
                  <a:cubicBezTo>
                    <a:pt x="69387" y="74746"/>
                    <a:pt x="69387" y="75028"/>
                    <a:pt x="69105" y="75310"/>
                  </a:cubicBezTo>
                  <a:cubicBezTo>
                    <a:pt x="69105" y="75310"/>
                    <a:pt x="68259" y="75875"/>
                    <a:pt x="68259" y="76439"/>
                  </a:cubicBezTo>
                  <a:cubicBezTo>
                    <a:pt x="68259" y="76721"/>
                    <a:pt x="67977" y="76439"/>
                    <a:pt x="67413" y="76439"/>
                  </a:cubicBezTo>
                  <a:lnTo>
                    <a:pt x="67413" y="76157"/>
                  </a:lnTo>
                  <a:cubicBezTo>
                    <a:pt x="66849" y="76721"/>
                    <a:pt x="67131" y="77285"/>
                    <a:pt x="66849" y="77567"/>
                  </a:cubicBezTo>
                  <a:lnTo>
                    <a:pt x="66849" y="78695"/>
                  </a:lnTo>
                  <a:cubicBezTo>
                    <a:pt x="67695" y="78977"/>
                    <a:pt x="67413" y="79823"/>
                    <a:pt x="67695" y="80105"/>
                  </a:cubicBezTo>
                  <a:cubicBezTo>
                    <a:pt x="67695" y="80670"/>
                    <a:pt x="67695" y="80670"/>
                    <a:pt x="67413" y="80670"/>
                  </a:cubicBezTo>
                  <a:cubicBezTo>
                    <a:pt x="67131" y="80105"/>
                    <a:pt x="67131" y="79823"/>
                    <a:pt x="66849" y="79823"/>
                  </a:cubicBezTo>
                  <a:lnTo>
                    <a:pt x="66567" y="80105"/>
                  </a:lnTo>
                  <a:cubicBezTo>
                    <a:pt x="66284" y="80670"/>
                    <a:pt x="65720" y="80952"/>
                    <a:pt x="65720" y="81234"/>
                  </a:cubicBezTo>
                  <a:cubicBezTo>
                    <a:pt x="65156" y="81516"/>
                    <a:pt x="65156" y="81516"/>
                    <a:pt x="65156" y="81798"/>
                  </a:cubicBezTo>
                  <a:cubicBezTo>
                    <a:pt x="65156" y="82080"/>
                    <a:pt x="65156" y="82362"/>
                    <a:pt x="65438" y="82926"/>
                  </a:cubicBezTo>
                  <a:lnTo>
                    <a:pt x="65438" y="83208"/>
                  </a:lnTo>
                  <a:cubicBezTo>
                    <a:pt x="65156" y="83490"/>
                    <a:pt x="65156" y="83772"/>
                    <a:pt x="65156" y="84054"/>
                  </a:cubicBezTo>
                  <a:cubicBezTo>
                    <a:pt x="65156" y="84618"/>
                    <a:pt x="65438" y="84900"/>
                    <a:pt x="65438" y="85183"/>
                  </a:cubicBezTo>
                  <a:cubicBezTo>
                    <a:pt x="65438" y="86029"/>
                    <a:pt x="64874" y="86593"/>
                    <a:pt x="64592" y="86875"/>
                  </a:cubicBezTo>
                  <a:lnTo>
                    <a:pt x="64592" y="87721"/>
                  </a:lnTo>
                  <a:cubicBezTo>
                    <a:pt x="64874" y="88285"/>
                    <a:pt x="64874" y="88567"/>
                    <a:pt x="64874" y="89131"/>
                  </a:cubicBezTo>
                  <a:cubicBezTo>
                    <a:pt x="65438" y="89131"/>
                    <a:pt x="65438" y="89696"/>
                    <a:pt x="66002" y="90542"/>
                  </a:cubicBezTo>
                  <a:cubicBezTo>
                    <a:pt x="66002" y="90824"/>
                    <a:pt x="66002" y="90824"/>
                    <a:pt x="66284" y="90824"/>
                  </a:cubicBezTo>
                  <a:cubicBezTo>
                    <a:pt x="66284" y="90824"/>
                    <a:pt x="66567" y="90824"/>
                    <a:pt x="66849" y="90542"/>
                  </a:cubicBezTo>
                  <a:cubicBezTo>
                    <a:pt x="67131" y="89696"/>
                    <a:pt x="67695" y="89696"/>
                    <a:pt x="67413" y="89413"/>
                  </a:cubicBezTo>
                  <a:cubicBezTo>
                    <a:pt x="67413" y="89131"/>
                    <a:pt x="67977" y="88849"/>
                    <a:pt x="67977" y="88567"/>
                  </a:cubicBezTo>
                  <a:cubicBezTo>
                    <a:pt x="68259" y="88567"/>
                    <a:pt x="69105" y="88003"/>
                    <a:pt x="69105" y="87721"/>
                  </a:cubicBezTo>
                  <a:cubicBezTo>
                    <a:pt x="68823" y="87439"/>
                    <a:pt x="68823" y="87439"/>
                    <a:pt x="68823" y="87157"/>
                  </a:cubicBezTo>
                  <a:cubicBezTo>
                    <a:pt x="68823" y="86875"/>
                    <a:pt x="69105" y="86875"/>
                    <a:pt x="69105" y="86593"/>
                  </a:cubicBezTo>
                  <a:lnTo>
                    <a:pt x="69105" y="86311"/>
                  </a:lnTo>
                  <a:cubicBezTo>
                    <a:pt x="69387" y="86029"/>
                    <a:pt x="69387" y="85465"/>
                    <a:pt x="69669" y="85465"/>
                  </a:cubicBezTo>
                  <a:lnTo>
                    <a:pt x="70233" y="87157"/>
                  </a:lnTo>
                  <a:cubicBezTo>
                    <a:pt x="70233" y="87439"/>
                    <a:pt x="69951" y="88003"/>
                    <a:pt x="69669" y="88003"/>
                  </a:cubicBezTo>
                  <a:cubicBezTo>
                    <a:pt x="69387" y="88285"/>
                    <a:pt x="69105" y="88567"/>
                    <a:pt x="69105" y="88849"/>
                  </a:cubicBezTo>
                  <a:lnTo>
                    <a:pt x="69387" y="89131"/>
                  </a:lnTo>
                  <a:cubicBezTo>
                    <a:pt x="69387" y="89413"/>
                    <a:pt x="69669" y="89696"/>
                    <a:pt x="69669" y="89978"/>
                  </a:cubicBezTo>
                  <a:cubicBezTo>
                    <a:pt x="69669" y="90260"/>
                    <a:pt x="69387" y="90542"/>
                    <a:pt x="69105" y="90542"/>
                  </a:cubicBezTo>
                  <a:cubicBezTo>
                    <a:pt x="69105" y="91106"/>
                    <a:pt x="68541" y="91670"/>
                    <a:pt x="68259" y="92798"/>
                  </a:cubicBezTo>
                  <a:lnTo>
                    <a:pt x="68259" y="94773"/>
                  </a:lnTo>
                  <a:cubicBezTo>
                    <a:pt x="68259" y="95055"/>
                    <a:pt x="67977" y="95055"/>
                    <a:pt x="67695" y="95337"/>
                  </a:cubicBezTo>
                  <a:cubicBezTo>
                    <a:pt x="67413" y="95901"/>
                    <a:pt x="66849" y="97029"/>
                    <a:pt x="66849" y="97593"/>
                  </a:cubicBezTo>
                  <a:cubicBezTo>
                    <a:pt x="66567" y="98439"/>
                    <a:pt x="66567" y="98439"/>
                    <a:pt x="65720" y="98439"/>
                  </a:cubicBezTo>
                  <a:cubicBezTo>
                    <a:pt x="65438" y="98439"/>
                    <a:pt x="65438" y="99004"/>
                    <a:pt x="65438" y="99004"/>
                  </a:cubicBezTo>
                  <a:cubicBezTo>
                    <a:pt x="65438" y="99568"/>
                    <a:pt x="65720" y="100414"/>
                    <a:pt x="65720" y="101260"/>
                  </a:cubicBezTo>
                  <a:lnTo>
                    <a:pt x="65438" y="101542"/>
                  </a:lnTo>
                  <a:lnTo>
                    <a:pt x="64874" y="101542"/>
                  </a:lnTo>
                  <a:cubicBezTo>
                    <a:pt x="64874" y="101260"/>
                    <a:pt x="64592" y="100978"/>
                    <a:pt x="64310" y="100696"/>
                  </a:cubicBezTo>
                  <a:lnTo>
                    <a:pt x="64310" y="97311"/>
                  </a:lnTo>
                  <a:lnTo>
                    <a:pt x="64028" y="97311"/>
                  </a:lnTo>
                  <a:cubicBezTo>
                    <a:pt x="64028" y="97029"/>
                    <a:pt x="64028" y="96747"/>
                    <a:pt x="63746" y="96747"/>
                  </a:cubicBezTo>
                  <a:cubicBezTo>
                    <a:pt x="63464" y="96747"/>
                    <a:pt x="62900" y="97311"/>
                    <a:pt x="62618" y="97593"/>
                  </a:cubicBezTo>
                  <a:cubicBezTo>
                    <a:pt x="62618" y="98439"/>
                    <a:pt x="62054" y="98721"/>
                    <a:pt x="62054" y="99286"/>
                  </a:cubicBezTo>
                  <a:lnTo>
                    <a:pt x="62054" y="99568"/>
                  </a:lnTo>
                  <a:cubicBezTo>
                    <a:pt x="62054" y="99568"/>
                    <a:pt x="62336" y="100414"/>
                    <a:pt x="62336" y="100696"/>
                  </a:cubicBezTo>
                  <a:lnTo>
                    <a:pt x="62054" y="100978"/>
                  </a:lnTo>
                  <a:cubicBezTo>
                    <a:pt x="61208" y="100978"/>
                    <a:pt x="60926" y="101542"/>
                    <a:pt x="60926" y="102388"/>
                  </a:cubicBezTo>
                  <a:cubicBezTo>
                    <a:pt x="60926" y="102388"/>
                    <a:pt x="60643" y="102388"/>
                    <a:pt x="60643" y="102670"/>
                  </a:cubicBezTo>
                  <a:cubicBezTo>
                    <a:pt x="60643" y="103234"/>
                    <a:pt x="59797" y="104081"/>
                    <a:pt x="59797" y="104645"/>
                  </a:cubicBezTo>
                  <a:lnTo>
                    <a:pt x="58105" y="106337"/>
                  </a:lnTo>
                  <a:cubicBezTo>
                    <a:pt x="57823" y="106901"/>
                    <a:pt x="57259" y="106901"/>
                    <a:pt x="57259" y="107465"/>
                  </a:cubicBezTo>
                  <a:lnTo>
                    <a:pt x="57259" y="107747"/>
                  </a:lnTo>
                  <a:cubicBezTo>
                    <a:pt x="56695" y="108030"/>
                    <a:pt x="56695" y="108312"/>
                    <a:pt x="56412" y="108312"/>
                  </a:cubicBezTo>
                  <a:cubicBezTo>
                    <a:pt x="55848" y="108312"/>
                    <a:pt x="55566" y="108594"/>
                    <a:pt x="55566" y="108876"/>
                  </a:cubicBezTo>
                  <a:cubicBezTo>
                    <a:pt x="55284" y="110004"/>
                    <a:pt x="54438" y="110850"/>
                    <a:pt x="54156" y="111414"/>
                  </a:cubicBezTo>
                  <a:cubicBezTo>
                    <a:pt x="53874" y="111414"/>
                    <a:pt x="53874" y="111978"/>
                    <a:pt x="53874" y="111978"/>
                  </a:cubicBezTo>
                  <a:cubicBezTo>
                    <a:pt x="53310" y="112260"/>
                    <a:pt x="53874" y="112825"/>
                    <a:pt x="53028" y="112825"/>
                  </a:cubicBezTo>
                  <a:cubicBezTo>
                    <a:pt x="52746" y="112825"/>
                    <a:pt x="52464" y="113107"/>
                    <a:pt x="51899" y="113107"/>
                  </a:cubicBezTo>
                  <a:lnTo>
                    <a:pt x="51899" y="113953"/>
                  </a:lnTo>
                  <a:lnTo>
                    <a:pt x="49925" y="115363"/>
                  </a:lnTo>
                  <a:lnTo>
                    <a:pt x="49361" y="115363"/>
                  </a:lnTo>
                  <a:lnTo>
                    <a:pt x="49361" y="114235"/>
                  </a:lnTo>
                  <a:cubicBezTo>
                    <a:pt x="49079" y="114235"/>
                    <a:pt x="48797" y="114517"/>
                    <a:pt x="48797" y="114517"/>
                  </a:cubicBezTo>
                  <a:cubicBezTo>
                    <a:pt x="48515" y="114799"/>
                    <a:pt x="48515" y="114799"/>
                    <a:pt x="48515" y="115081"/>
                  </a:cubicBezTo>
                  <a:lnTo>
                    <a:pt x="48515" y="115363"/>
                  </a:lnTo>
                  <a:cubicBezTo>
                    <a:pt x="48515" y="116209"/>
                    <a:pt x="48515" y="116773"/>
                    <a:pt x="47950" y="117055"/>
                  </a:cubicBezTo>
                  <a:cubicBezTo>
                    <a:pt x="47386" y="117055"/>
                    <a:pt x="47386" y="117338"/>
                    <a:pt x="47104" y="117620"/>
                  </a:cubicBezTo>
                  <a:cubicBezTo>
                    <a:pt x="46822" y="118748"/>
                    <a:pt x="46540" y="119312"/>
                    <a:pt x="45694" y="119312"/>
                  </a:cubicBezTo>
                  <a:cubicBezTo>
                    <a:pt x="45412" y="119030"/>
                    <a:pt x="45412" y="118748"/>
                    <a:pt x="45412" y="118748"/>
                  </a:cubicBezTo>
                  <a:close/>
                  <a:moveTo>
                    <a:pt x="2539" y="85747"/>
                  </a:moveTo>
                  <a:lnTo>
                    <a:pt x="2821" y="85747"/>
                  </a:lnTo>
                  <a:lnTo>
                    <a:pt x="2821" y="85465"/>
                  </a:lnTo>
                  <a:cubicBezTo>
                    <a:pt x="2539" y="85465"/>
                    <a:pt x="2539" y="85747"/>
                    <a:pt x="2539" y="85747"/>
                  </a:cubicBezTo>
                  <a:close/>
                  <a:moveTo>
                    <a:pt x="7052" y="114235"/>
                  </a:moveTo>
                  <a:cubicBezTo>
                    <a:pt x="6770" y="113389"/>
                    <a:pt x="6770" y="112825"/>
                    <a:pt x="6206" y="112260"/>
                  </a:cubicBezTo>
                  <a:lnTo>
                    <a:pt x="5359" y="111132"/>
                  </a:lnTo>
                  <a:cubicBezTo>
                    <a:pt x="5359" y="110568"/>
                    <a:pt x="5077" y="110004"/>
                    <a:pt x="4513" y="109440"/>
                  </a:cubicBezTo>
                  <a:cubicBezTo>
                    <a:pt x="4231" y="109440"/>
                    <a:pt x="3949" y="109440"/>
                    <a:pt x="3949" y="109158"/>
                  </a:cubicBezTo>
                  <a:lnTo>
                    <a:pt x="3667" y="109158"/>
                  </a:lnTo>
                  <a:lnTo>
                    <a:pt x="3385" y="108876"/>
                  </a:lnTo>
                  <a:lnTo>
                    <a:pt x="3103" y="108876"/>
                  </a:lnTo>
                  <a:lnTo>
                    <a:pt x="3103" y="110286"/>
                  </a:lnTo>
                  <a:cubicBezTo>
                    <a:pt x="3103" y="110568"/>
                    <a:pt x="3385" y="110850"/>
                    <a:pt x="4231" y="111414"/>
                  </a:cubicBezTo>
                  <a:lnTo>
                    <a:pt x="4231" y="112825"/>
                  </a:lnTo>
                  <a:cubicBezTo>
                    <a:pt x="4231" y="113107"/>
                    <a:pt x="4513" y="113389"/>
                    <a:pt x="4513" y="114235"/>
                  </a:cubicBezTo>
                  <a:cubicBezTo>
                    <a:pt x="4513" y="114235"/>
                    <a:pt x="4513" y="114517"/>
                    <a:pt x="4795" y="114517"/>
                  </a:cubicBezTo>
                  <a:cubicBezTo>
                    <a:pt x="5641" y="114799"/>
                    <a:pt x="5924" y="115081"/>
                    <a:pt x="5924" y="115645"/>
                  </a:cubicBezTo>
                  <a:lnTo>
                    <a:pt x="5924" y="116209"/>
                  </a:lnTo>
                  <a:cubicBezTo>
                    <a:pt x="5924" y="116491"/>
                    <a:pt x="6206" y="116773"/>
                    <a:pt x="6770" y="117055"/>
                  </a:cubicBezTo>
                  <a:lnTo>
                    <a:pt x="6770" y="117338"/>
                  </a:lnTo>
                  <a:cubicBezTo>
                    <a:pt x="7052" y="117338"/>
                    <a:pt x="7052" y="117055"/>
                    <a:pt x="7052" y="117055"/>
                  </a:cubicBezTo>
                  <a:cubicBezTo>
                    <a:pt x="6770" y="116491"/>
                    <a:pt x="6770" y="115927"/>
                    <a:pt x="6770" y="115645"/>
                  </a:cubicBezTo>
                  <a:cubicBezTo>
                    <a:pt x="6770" y="115363"/>
                    <a:pt x="6770" y="115081"/>
                    <a:pt x="7334" y="114799"/>
                  </a:cubicBezTo>
                  <a:cubicBezTo>
                    <a:pt x="7334" y="114517"/>
                    <a:pt x="7334" y="114235"/>
                    <a:pt x="7052" y="114235"/>
                  </a:cubicBezTo>
                  <a:close/>
                  <a:moveTo>
                    <a:pt x="4795" y="77849"/>
                  </a:moveTo>
                  <a:cubicBezTo>
                    <a:pt x="4795" y="77003"/>
                    <a:pt x="4795" y="76721"/>
                    <a:pt x="4513" y="76439"/>
                  </a:cubicBezTo>
                  <a:cubicBezTo>
                    <a:pt x="4513" y="76439"/>
                    <a:pt x="4513" y="76157"/>
                    <a:pt x="4231" y="76157"/>
                  </a:cubicBezTo>
                  <a:lnTo>
                    <a:pt x="3667" y="76157"/>
                  </a:lnTo>
                  <a:cubicBezTo>
                    <a:pt x="3667" y="76439"/>
                    <a:pt x="3667" y="76721"/>
                    <a:pt x="3949" y="76721"/>
                  </a:cubicBezTo>
                  <a:cubicBezTo>
                    <a:pt x="4513" y="77285"/>
                    <a:pt x="4513" y="77849"/>
                    <a:pt x="4513" y="78413"/>
                  </a:cubicBezTo>
                  <a:lnTo>
                    <a:pt x="4513" y="78695"/>
                  </a:lnTo>
                  <a:lnTo>
                    <a:pt x="4795" y="78413"/>
                  </a:lnTo>
                  <a:lnTo>
                    <a:pt x="4795" y="77849"/>
                  </a:lnTo>
                  <a:close/>
                  <a:moveTo>
                    <a:pt x="5641" y="69951"/>
                  </a:moveTo>
                  <a:lnTo>
                    <a:pt x="5924" y="69951"/>
                  </a:lnTo>
                  <a:lnTo>
                    <a:pt x="5924" y="69669"/>
                  </a:lnTo>
                  <a:cubicBezTo>
                    <a:pt x="5924" y="69951"/>
                    <a:pt x="5641" y="69951"/>
                    <a:pt x="5641" y="69951"/>
                  </a:cubicBezTo>
                  <a:close/>
                  <a:moveTo>
                    <a:pt x="7898" y="116491"/>
                  </a:moveTo>
                  <a:cubicBezTo>
                    <a:pt x="7898" y="116491"/>
                    <a:pt x="7898" y="116773"/>
                    <a:pt x="8180" y="117055"/>
                  </a:cubicBezTo>
                  <a:lnTo>
                    <a:pt x="8462" y="117338"/>
                  </a:lnTo>
                  <a:cubicBezTo>
                    <a:pt x="8744" y="117338"/>
                    <a:pt x="8744" y="117055"/>
                    <a:pt x="8744" y="116773"/>
                  </a:cubicBezTo>
                  <a:cubicBezTo>
                    <a:pt x="8462" y="116491"/>
                    <a:pt x="8462" y="116209"/>
                    <a:pt x="8180" y="116209"/>
                  </a:cubicBezTo>
                  <a:cubicBezTo>
                    <a:pt x="7898" y="116209"/>
                    <a:pt x="7898" y="116209"/>
                    <a:pt x="7898" y="116491"/>
                  </a:cubicBezTo>
                  <a:close/>
                  <a:moveTo>
                    <a:pt x="9308" y="119876"/>
                  </a:moveTo>
                  <a:cubicBezTo>
                    <a:pt x="9308" y="119312"/>
                    <a:pt x="9026" y="119312"/>
                    <a:pt x="8462" y="119030"/>
                  </a:cubicBezTo>
                  <a:lnTo>
                    <a:pt x="7898" y="119030"/>
                  </a:lnTo>
                  <a:lnTo>
                    <a:pt x="8180" y="119312"/>
                  </a:lnTo>
                  <a:cubicBezTo>
                    <a:pt x="8462" y="119876"/>
                    <a:pt x="8744" y="120158"/>
                    <a:pt x="8744" y="120722"/>
                  </a:cubicBezTo>
                  <a:lnTo>
                    <a:pt x="8744" y="121004"/>
                  </a:lnTo>
                  <a:cubicBezTo>
                    <a:pt x="9026" y="121004"/>
                    <a:pt x="9026" y="121004"/>
                    <a:pt x="9026" y="121286"/>
                  </a:cubicBezTo>
                  <a:lnTo>
                    <a:pt x="9590" y="120722"/>
                  </a:lnTo>
                  <a:cubicBezTo>
                    <a:pt x="9590" y="120440"/>
                    <a:pt x="9590" y="120440"/>
                    <a:pt x="9308" y="119876"/>
                  </a:cubicBezTo>
                  <a:close/>
                  <a:moveTo>
                    <a:pt x="9872" y="121568"/>
                  </a:moveTo>
                  <a:cubicBezTo>
                    <a:pt x="9872" y="121286"/>
                    <a:pt x="9590" y="121568"/>
                    <a:pt x="9872" y="122133"/>
                  </a:cubicBezTo>
                  <a:cubicBezTo>
                    <a:pt x="9872" y="122415"/>
                    <a:pt x="10436" y="122697"/>
                    <a:pt x="10436" y="122979"/>
                  </a:cubicBezTo>
                  <a:cubicBezTo>
                    <a:pt x="10436" y="122979"/>
                    <a:pt x="10718" y="122979"/>
                    <a:pt x="10718" y="122697"/>
                  </a:cubicBezTo>
                  <a:lnTo>
                    <a:pt x="9872" y="121568"/>
                  </a:lnTo>
                  <a:close/>
                  <a:moveTo>
                    <a:pt x="58387" y="45694"/>
                  </a:moveTo>
                  <a:cubicBezTo>
                    <a:pt x="58387" y="45412"/>
                    <a:pt x="58387" y="45412"/>
                    <a:pt x="58951" y="45130"/>
                  </a:cubicBezTo>
                  <a:cubicBezTo>
                    <a:pt x="58951" y="45130"/>
                    <a:pt x="58387" y="44284"/>
                    <a:pt x="58387" y="44002"/>
                  </a:cubicBezTo>
                  <a:lnTo>
                    <a:pt x="58105" y="43720"/>
                  </a:lnTo>
                  <a:cubicBezTo>
                    <a:pt x="58669" y="43437"/>
                    <a:pt x="58951" y="42873"/>
                    <a:pt x="58951" y="42591"/>
                  </a:cubicBezTo>
                  <a:cubicBezTo>
                    <a:pt x="58951" y="42309"/>
                    <a:pt x="58669" y="42027"/>
                    <a:pt x="58105" y="41463"/>
                  </a:cubicBezTo>
                  <a:cubicBezTo>
                    <a:pt x="57823" y="41463"/>
                    <a:pt x="58105" y="41181"/>
                    <a:pt x="58105" y="41181"/>
                  </a:cubicBezTo>
                  <a:cubicBezTo>
                    <a:pt x="58105" y="40899"/>
                    <a:pt x="58669" y="40617"/>
                    <a:pt x="58669" y="40053"/>
                  </a:cubicBezTo>
                  <a:lnTo>
                    <a:pt x="58669" y="38642"/>
                  </a:lnTo>
                  <a:cubicBezTo>
                    <a:pt x="58387" y="38360"/>
                    <a:pt x="58387" y="37796"/>
                    <a:pt x="58387" y="37514"/>
                  </a:cubicBezTo>
                  <a:cubicBezTo>
                    <a:pt x="58387" y="37232"/>
                    <a:pt x="58387" y="36950"/>
                    <a:pt x="58669" y="36386"/>
                  </a:cubicBezTo>
                  <a:lnTo>
                    <a:pt x="57259" y="36386"/>
                  </a:lnTo>
                  <a:cubicBezTo>
                    <a:pt x="57259" y="36668"/>
                    <a:pt x="56977" y="36668"/>
                    <a:pt x="56977" y="36668"/>
                  </a:cubicBezTo>
                  <a:lnTo>
                    <a:pt x="56977" y="36104"/>
                  </a:lnTo>
                  <a:cubicBezTo>
                    <a:pt x="56977" y="35540"/>
                    <a:pt x="56130" y="35258"/>
                    <a:pt x="56130" y="34976"/>
                  </a:cubicBezTo>
                  <a:lnTo>
                    <a:pt x="56130" y="31027"/>
                  </a:lnTo>
                  <a:cubicBezTo>
                    <a:pt x="56412" y="30463"/>
                    <a:pt x="56412" y="30463"/>
                    <a:pt x="56977" y="30463"/>
                  </a:cubicBezTo>
                  <a:cubicBezTo>
                    <a:pt x="57541" y="30463"/>
                    <a:pt x="57259" y="30745"/>
                    <a:pt x="57541" y="31027"/>
                  </a:cubicBezTo>
                  <a:lnTo>
                    <a:pt x="57823" y="31027"/>
                  </a:lnTo>
                  <a:cubicBezTo>
                    <a:pt x="58105" y="31027"/>
                    <a:pt x="58669" y="30745"/>
                    <a:pt x="58951" y="30463"/>
                  </a:cubicBezTo>
                  <a:cubicBezTo>
                    <a:pt x="58387" y="30181"/>
                    <a:pt x="57823" y="29899"/>
                    <a:pt x="57823" y="29334"/>
                  </a:cubicBezTo>
                  <a:lnTo>
                    <a:pt x="56695" y="28488"/>
                  </a:lnTo>
                  <a:lnTo>
                    <a:pt x="56412" y="28488"/>
                  </a:lnTo>
                  <a:cubicBezTo>
                    <a:pt x="55848" y="28206"/>
                    <a:pt x="55284" y="27924"/>
                    <a:pt x="55284" y="27360"/>
                  </a:cubicBezTo>
                  <a:lnTo>
                    <a:pt x="55284" y="27078"/>
                  </a:lnTo>
                  <a:cubicBezTo>
                    <a:pt x="55284" y="26514"/>
                    <a:pt x="55002" y="25950"/>
                    <a:pt x="54720" y="25386"/>
                  </a:cubicBezTo>
                  <a:lnTo>
                    <a:pt x="53592" y="23975"/>
                  </a:lnTo>
                  <a:cubicBezTo>
                    <a:pt x="53310" y="23411"/>
                    <a:pt x="52464" y="22847"/>
                    <a:pt x="51899" y="22565"/>
                  </a:cubicBezTo>
                  <a:cubicBezTo>
                    <a:pt x="51053" y="22001"/>
                    <a:pt x="50489" y="22001"/>
                    <a:pt x="49643" y="21155"/>
                  </a:cubicBezTo>
                  <a:lnTo>
                    <a:pt x="49643" y="20873"/>
                  </a:lnTo>
                  <a:cubicBezTo>
                    <a:pt x="49643" y="20873"/>
                    <a:pt x="49361" y="20873"/>
                    <a:pt x="49361" y="21155"/>
                  </a:cubicBezTo>
                  <a:cubicBezTo>
                    <a:pt x="49079" y="21437"/>
                    <a:pt x="49079" y="21437"/>
                    <a:pt x="49079" y="21719"/>
                  </a:cubicBezTo>
                  <a:cubicBezTo>
                    <a:pt x="48797" y="22001"/>
                    <a:pt x="48515" y="22001"/>
                    <a:pt x="48233" y="22001"/>
                  </a:cubicBezTo>
                  <a:lnTo>
                    <a:pt x="47668" y="22001"/>
                  </a:lnTo>
                  <a:lnTo>
                    <a:pt x="47668" y="21719"/>
                  </a:lnTo>
                  <a:cubicBezTo>
                    <a:pt x="47386" y="22001"/>
                    <a:pt x="46822" y="22283"/>
                    <a:pt x="46822" y="22565"/>
                  </a:cubicBezTo>
                  <a:lnTo>
                    <a:pt x="46822" y="23693"/>
                  </a:lnTo>
                  <a:cubicBezTo>
                    <a:pt x="46822" y="23975"/>
                    <a:pt x="46822" y="24257"/>
                    <a:pt x="47104" y="24539"/>
                  </a:cubicBezTo>
                  <a:cubicBezTo>
                    <a:pt x="47386" y="25103"/>
                    <a:pt x="47668" y="25386"/>
                    <a:pt x="47668" y="25668"/>
                  </a:cubicBezTo>
                  <a:cubicBezTo>
                    <a:pt x="47668" y="25950"/>
                    <a:pt x="47386" y="26232"/>
                    <a:pt x="47386" y="26514"/>
                  </a:cubicBezTo>
                  <a:lnTo>
                    <a:pt x="47386" y="27078"/>
                  </a:lnTo>
                  <a:cubicBezTo>
                    <a:pt x="48233" y="27360"/>
                    <a:pt x="48233" y="28488"/>
                    <a:pt x="48233" y="29334"/>
                  </a:cubicBezTo>
                  <a:lnTo>
                    <a:pt x="47668" y="29334"/>
                  </a:lnTo>
                  <a:cubicBezTo>
                    <a:pt x="47104" y="28770"/>
                    <a:pt x="46540" y="28488"/>
                    <a:pt x="46540" y="27360"/>
                  </a:cubicBezTo>
                  <a:cubicBezTo>
                    <a:pt x="46540" y="27360"/>
                    <a:pt x="46540" y="27078"/>
                    <a:pt x="46258" y="27078"/>
                  </a:cubicBezTo>
                  <a:cubicBezTo>
                    <a:pt x="45976" y="27078"/>
                    <a:pt x="45694" y="27078"/>
                    <a:pt x="45130" y="27360"/>
                  </a:cubicBezTo>
                  <a:cubicBezTo>
                    <a:pt x="45130" y="27924"/>
                    <a:pt x="44566" y="28206"/>
                    <a:pt x="44002" y="28488"/>
                  </a:cubicBezTo>
                  <a:cubicBezTo>
                    <a:pt x="43720" y="29052"/>
                    <a:pt x="43720" y="29334"/>
                    <a:pt x="43720" y="29616"/>
                  </a:cubicBezTo>
                  <a:cubicBezTo>
                    <a:pt x="43720" y="29899"/>
                    <a:pt x="43720" y="30181"/>
                    <a:pt x="44284" y="30463"/>
                  </a:cubicBezTo>
                  <a:cubicBezTo>
                    <a:pt x="44002" y="31027"/>
                    <a:pt x="44002" y="31591"/>
                    <a:pt x="44002" y="32437"/>
                  </a:cubicBezTo>
                  <a:cubicBezTo>
                    <a:pt x="44002" y="32719"/>
                    <a:pt x="44002" y="32719"/>
                    <a:pt x="43438" y="32719"/>
                  </a:cubicBezTo>
                  <a:cubicBezTo>
                    <a:pt x="43438" y="32719"/>
                    <a:pt x="42874" y="32719"/>
                    <a:pt x="42309" y="33001"/>
                  </a:cubicBezTo>
                  <a:cubicBezTo>
                    <a:pt x="42027" y="33001"/>
                    <a:pt x="42309" y="33283"/>
                    <a:pt x="41745" y="33847"/>
                  </a:cubicBezTo>
                  <a:cubicBezTo>
                    <a:pt x="41181" y="33847"/>
                    <a:pt x="40617" y="34411"/>
                    <a:pt x="40335" y="35258"/>
                  </a:cubicBezTo>
                  <a:cubicBezTo>
                    <a:pt x="40335" y="35822"/>
                    <a:pt x="40053" y="36386"/>
                    <a:pt x="39771" y="36950"/>
                  </a:cubicBezTo>
                  <a:cubicBezTo>
                    <a:pt x="39207" y="37232"/>
                    <a:pt x="39207" y="37796"/>
                    <a:pt x="39207" y="38078"/>
                  </a:cubicBezTo>
                  <a:cubicBezTo>
                    <a:pt x="38925" y="38642"/>
                    <a:pt x="38361" y="39207"/>
                    <a:pt x="38078" y="39207"/>
                  </a:cubicBezTo>
                  <a:lnTo>
                    <a:pt x="37232" y="40335"/>
                  </a:lnTo>
                  <a:lnTo>
                    <a:pt x="37232" y="40617"/>
                  </a:lnTo>
                  <a:cubicBezTo>
                    <a:pt x="37232" y="41181"/>
                    <a:pt x="36950" y="41181"/>
                    <a:pt x="36950" y="41463"/>
                  </a:cubicBezTo>
                  <a:lnTo>
                    <a:pt x="36950" y="41745"/>
                  </a:lnTo>
                  <a:cubicBezTo>
                    <a:pt x="36386" y="42309"/>
                    <a:pt x="36386" y="43155"/>
                    <a:pt x="35540" y="43155"/>
                  </a:cubicBezTo>
                  <a:cubicBezTo>
                    <a:pt x="35258" y="43155"/>
                    <a:pt x="34976" y="43155"/>
                    <a:pt x="34976" y="43437"/>
                  </a:cubicBezTo>
                  <a:cubicBezTo>
                    <a:pt x="34976" y="43720"/>
                    <a:pt x="34412" y="44284"/>
                    <a:pt x="34412" y="44848"/>
                  </a:cubicBezTo>
                  <a:cubicBezTo>
                    <a:pt x="34412" y="45412"/>
                    <a:pt x="34130" y="45694"/>
                    <a:pt x="34130" y="45976"/>
                  </a:cubicBezTo>
                  <a:lnTo>
                    <a:pt x="34130" y="47386"/>
                  </a:lnTo>
                  <a:cubicBezTo>
                    <a:pt x="33847" y="47668"/>
                    <a:pt x="33565" y="47950"/>
                    <a:pt x="33565" y="48233"/>
                  </a:cubicBezTo>
                  <a:cubicBezTo>
                    <a:pt x="32719" y="48797"/>
                    <a:pt x="32437" y="49079"/>
                    <a:pt x="31873" y="50207"/>
                  </a:cubicBezTo>
                  <a:cubicBezTo>
                    <a:pt x="31873" y="50489"/>
                    <a:pt x="31873" y="50771"/>
                    <a:pt x="31591" y="50771"/>
                  </a:cubicBezTo>
                  <a:cubicBezTo>
                    <a:pt x="31591" y="51053"/>
                    <a:pt x="31591" y="51335"/>
                    <a:pt x="31309" y="51617"/>
                  </a:cubicBezTo>
                  <a:cubicBezTo>
                    <a:pt x="31309" y="51617"/>
                    <a:pt x="31309" y="51899"/>
                    <a:pt x="31591" y="51899"/>
                  </a:cubicBezTo>
                  <a:cubicBezTo>
                    <a:pt x="31873" y="52181"/>
                    <a:pt x="31873" y="52463"/>
                    <a:pt x="31873" y="52463"/>
                  </a:cubicBezTo>
                  <a:cubicBezTo>
                    <a:pt x="31873" y="52745"/>
                    <a:pt x="31873" y="52745"/>
                    <a:pt x="31591" y="53028"/>
                  </a:cubicBezTo>
                  <a:lnTo>
                    <a:pt x="31027" y="53028"/>
                  </a:lnTo>
                  <a:cubicBezTo>
                    <a:pt x="30463" y="53592"/>
                    <a:pt x="30463" y="54156"/>
                    <a:pt x="30463" y="54438"/>
                  </a:cubicBezTo>
                  <a:lnTo>
                    <a:pt x="30463" y="54720"/>
                  </a:lnTo>
                  <a:cubicBezTo>
                    <a:pt x="29899" y="55002"/>
                    <a:pt x="30181" y="55566"/>
                    <a:pt x="29616" y="55566"/>
                  </a:cubicBezTo>
                  <a:lnTo>
                    <a:pt x="29616" y="56412"/>
                  </a:lnTo>
                  <a:cubicBezTo>
                    <a:pt x="29616" y="56694"/>
                    <a:pt x="29899" y="56976"/>
                    <a:pt x="29899" y="56976"/>
                  </a:cubicBezTo>
                  <a:cubicBezTo>
                    <a:pt x="29899" y="57258"/>
                    <a:pt x="29616" y="57258"/>
                    <a:pt x="29616" y="57258"/>
                  </a:cubicBezTo>
                  <a:lnTo>
                    <a:pt x="29616" y="57823"/>
                  </a:lnTo>
                  <a:cubicBezTo>
                    <a:pt x="29334" y="58105"/>
                    <a:pt x="29052" y="58669"/>
                    <a:pt x="29052" y="58951"/>
                  </a:cubicBezTo>
                  <a:lnTo>
                    <a:pt x="29052" y="59233"/>
                  </a:lnTo>
                  <a:cubicBezTo>
                    <a:pt x="29052" y="59515"/>
                    <a:pt x="28770" y="59515"/>
                    <a:pt x="28770" y="59515"/>
                  </a:cubicBezTo>
                  <a:cubicBezTo>
                    <a:pt x="28206" y="59797"/>
                    <a:pt x="27924" y="60079"/>
                    <a:pt x="27642" y="60643"/>
                  </a:cubicBezTo>
                  <a:cubicBezTo>
                    <a:pt x="27360" y="61207"/>
                    <a:pt x="27078" y="61771"/>
                    <a:pt x="27078" y="62336"/>
                  </a:cubicBezTo>
                  <a:cubicBezTo>
                    <a:pt x="27078" y="62618"/>
                    <a:pt x="27078" y="62900"/>
                    <a:pt x="27642" y="63182"/>
                  </a:cubicBezTo>
                  <a:cubicBezTo>
                    <a:pt x="27924" y="63182"/>
                    <a:pt x="27924" y="63464"/>
                    <a:pt x="27924" y="63746"/>
                  </a:cubicBezTo>
                  <a:cubicBezTo>
                    <a:pt x="27924" y="64310"/>
                    <a:pt x="27360" y="64874"/>
                    <a:pt x="27078" y="64874"/>
                  </a:cubicBezTo>
                  <a:cubicBezTo>
                    <a:pt x="26232" y="65156"/>
                    <a:pt x="25668" y="65438"/>
                    <a:pt x="25668" y="66002"/>
                  </a:cubicBezTo>
                  <a:cubicBezTo>
                    <a:pt x="25668" y="66284"/>
                    <a:pt x="25950" y="66566"/>
                    <a:pt x="25950" y="66849"/>
                  </a:cubicBezTo>
                  <a:cubicBezTo>
                    <a:pt x="26232" y="66849"/>
                    <a:pt x="26232" y="67131"/>
                    <a:pt x="26232" y="67131"/>
                  </a:cubicBezTo>
                  <a:cubicBezTo>
                    <a:pt x="26232" y="67977"/>
                    <a:pt x="26232" y="68259"/>
                    <a:pt x="25668" y="68541"/>
                  </a:cubicBezTo>
                  <a:cubicBezTo>
                    <a:pt x="25104" y="68541"/>
                    <a:pt x="25104" y="68823"/>
                    <a:pt x="25104" y="69105"/>
                  </a:cubicBezTo>
                  <a:cubicBezTo>
                    <a:pt x="24822" y="69669"/>
                    <a:pt x="24540" y="69951"/>
                    <a:pt x="24540" y="71079"/>
                  </a:cubicBezTo>
                  <a:cubicBezTo>
                    <a:pt x="24540" y="71362"/>
                    <a:pt x="24258" y="71362"/>
                    <a:pt x="24258" y="71362"/>
                  </a:cubicBezTo>
                  <a:cubicBezTo>
                    <a:pt x="24258" y="71926"/>
                    <a:pt x="23975" y="72208"/>
                    <a:pt x="23411" y="72490"/>
                  </a:cubicBezTo>
                  <a:cubicBezTo>
                    <a:pt x="23411" y="72772"/>
                    <a:pt x="23693" y="73336"/>
                    <a:pt x="23975" y="73900"/>
                  </a:cubicBezTo>
                  <a:cubicBezTo>
                    <a:pt x="23975" y="74182"/>
                    <a:pt x="23693" y="74464"/>
                    <a:pt x="23693" y="74746"/>
                  </a:cubicBezTo>
                  <a:cubicBezTo>
                    <a:pt x="23693" y="75028"/>
                    <a:pt x="23129" y="75592"/>
                    <a:pt x="22847" y="75875"/>
                  </a:cubicBezTo>
                  <a:lnTo>
                    <a:pt x="22847" y="77003"/>
                  </a:lnTo>
                  <a:cubicBezTo>
                    <a:pt x="22565" y="77567"/>
                    <a:pt x="22847" y="78413"/>
                    <a:pt x="22001" y="78695"/>
                  </a:cubicBezTo>
                  <a:cubicBezTo>
                    <a:pt x="22283" y="79259"/>
                    <a:pt x="22283" y="79823"/>
                    <a:pt x="22283" y="80105"/>
                  </a:cubicBezTo>
                  <a:lnTo>
                    <a:pt x="22283" y="81234"/>
                  </a:lnTo>
                  <a:cubicBezTo>
                    <a:pt x="22283" y="81516"/>
                    <a:pt x="22283" y="81516"/>
                    <a:pt x="22001" y="81516"/>
                  </a:cubicBezTo>
                  <a:cubicBezTo>
                    <a:pt x="21719" y="81798"/>
                    <a:pt x="21719" y="82362"/>
                    <a:pt x="21719" y="82644"/>
                  </a:cubicBezTo>
                  <a:lnTo>
                    <a:pt x="21719" y="82926"/>
                  </a:lnTo>
                  <a:cubicBezTo>
                    <a:pt x="21719" y="83208"/>
                    <a:pt x="21437" y="83208"/>
                    <a:pt x="21437" y="83208"/>
                  </a:cubicBezTo>
                  <a:cubicBezTo>
                    <a:pt x="21155" y="83208"/>
                    <a:pt x="21155" y="83208"/>
                    <a:pt x="21155" y="83490"/>
                  </a:cubicBezTo>
                  <a:cubicBezTo>
                    <a:pt x="21155" y="83772"/>
                    <a:pt x="21437" y="84336"/>
                    <a:pt x="21437" y="84618"/>
                  </a:cubicBezTo>
                  <a:lnTo>
                    <a:pt x="21437" y="84900"/>
                  </a:lnTo>
                  <a:cubicBezTo>
                    <a:pt x="20873" y="85183"/>
                    <a:pt x="20873" y="85465"/>
                    <a:pt x="20873" y="85747"/>
                  </a:cubicBezTo>
                  <a:cubicBezTo>
                    <a:pt x="20873" y="86029"/>
                    <a:pt x="20873" y="86311"/>
                    <a:pt x="21155" y="86593"/>
                  </a:cubicBezTo>
                  <a:cubicBezTo>
                    <a:pt x="21155" y="86593"/>
                    <a:pt x="21155" y="87157"/>
                    <a:pt x="20873" y="87721"/>
                  </a:cubicBezTo>
                  <a:cubicBezTo>
                    <a:pt x="21155" y="88003"/>
                    <a:pt x="20027" y="88567"/>
                    <a:pt x="20027" y="89131"/>
                  </a:cubicBezTo>
                  <a:cubicBezTo>
                    <a:pt x="20309" y="89413"/>
                    <a:pt x="20309" y="89696"/>
                    <a:pt x="20309" y="89978"/>
                  </a:cubicBezTo>
                  <a:lnTo>
                    <a:pt x="20309" y="90824"/>
                  </a:lnTo>
                  <a:cubicBezTo>
                    <a:pt x="20027" y="91106"/>
                    <a:pt x="20027" y="91670"/>
                    <a:pt x="20027" y="91952"/>
                  </a:cubicBezTo>
                  <a:lnTo>
                    <a:pt x="20027" y="93080"/>
                  </a:lnTo>
                  <a:cubicBezTo>
                    <a:pt x="19744" y="93362"/>
                    <a:pt x="19744" y="93362"/>
                    <a:pt x="19744" y="93644"/>
                  </a:cubicBezTo>
                  <a:cubicBezTo>
                    <a:pt x="19744" y="94208"/>
                    <a:pt x="20027" y="94773"/>
                    <a:pt x="20309" y="95337"/>
                  </a:cubicBezTo>
                  <a:lnTo>
                    <a:pt x="20309" y="95619"/>
                  </a:lnTo>
                  <a:cubicBezTo>
                    <a:pt x="19744" y="95901"/>
                    <a:pt x="19744" y="96183"/>
                    <a:pt x="19744" y="96465"/>
                  </a:cubicBezTo>
                  <a:lnTo>
                    <a:pt x="19744" y="97311"/>
                  </a:lnTo>
                  <a:cubicBezTo>
                    <a:pt x="19744" y="97875"/>
                    <a:pt x="19462" y="98439"/>
                    <a:pt x="19462" y="99004"/>
                  </a:cubicBezTo>
                  <a:cubicBezTo>
                    <a:pt x="19462" y="99568"/>
                    <a:pt x="20027" y="99568"/>
                    <a:pt x="20309" y="100132"/>
                  </a:cubicBezTo>
                  <a:cubicBezTo>
                    <a:pt x="20591" y="100414"/>
                    <a:pt x="19744" y="100696"/>
                    <a:pt x="19744" y="100978"/>
                  </a:cubicBezTo>
                  <a:cubicBezTo>
                    <a:pt x="19462" y="101542"/>
                    <a:pt x="19462" y="102106"/>
                    <a:pt x="19462" y="102388"/>
                  </a:cubicBezTo>
                  <a:cubicBezTo>
                    <a:pt x="19462" y="102952"/>
                    <a:pt x="19462" y="103234"/>
                    <a:pt x="20027" y="104081"/>
                  </a:cubicBezTo>
                  <a:cubicBezTo>
                    <a:pt x="20027" y="104363"/>
                    <a:pt x="19744" y="104645"/>
                    <a:pt x="19744" y="104645"/>
                  </a:cubicBezTo>
                  <a:lnTo>
                    <a:pt x="19180" y="104645"/>
                  </a:lnTo>
                  <a:lnTo>
                    <a:pt x="18898" y="104927"/>
                  </a:lnTo>
                  <a:cubicBezTo>
                    <a:pt x="18616" y="104927"/>
                    <a:pt x="19180" y="105773"/>
                    <a:pt x="19180" y="106055"/>
                  </a:cubicBezTo>
                  <a:cubicBezTo>
                    <a:pt x="20873" y="107183"/>
                    <a:pt x="21155" y="107465"/>
                    <a:pt x="21155" y="108876"/>
                  </a:cubicBezTo>
                  <a:lnTo>
                    <a:pt x="21155" y="109158"/>
                  </a:lnTo>
                  <a:cubicBezTo>
                    <a:pt x="21155" y="109722"/>
                    <a:pt x="21437" y="110286"/>
                    <a:pt x="21437" y="110850"/>
                  </a:cubicBezTo>
                  <a:cubicBezTo>
                    <a:pt x="22001" y="111414"/>
                    <a:pt x="22283" y="111414"/>
                    <a:pt x="22283" y="112260"/>
                  </a:cubicBezTo>
                  <a:cubicBezTo>
                    <a:pt x="22283" y="112825"/>
                    <a:pt x="22847" y="113389"/>
                    <a:pt x="23411" y="114517"/>
                  </a:cubicBezTo>
                  <a:cubicBezTo>
                    <a:pt x="23975" y="114799"/>
                    <a:pt x="24540" y="114799"/>
                    <a:pt x="25104" y="114799"/>
                  </a:cubicBezTo>
                  <a:lnTo>
                    <a:pt x="26232" y="114799"/>
                  </a:lnTo>
                  <a:cubicBezTo>
                    <a:pt x="26796" y="114799"/>
                    <a:pt x="27360" y="114517"/>
                    <a:pt x="28206" y="114235"/>
                  </a:cubicBezTo>
                  <a:cubicBezTo>
                    <a:pt x="28770" y="114235"/>
                    <a:pt x="28770" y="113671"/>
                    <a:pt x="29052" y="113671"/>
                  </a:cubicBezTo>
                  <a:cubicBezTo>
                    <a:pt x="29616" y="113389"/>
                    <a:pt x="30181" y="112825"/>
                    <a:pt x="30463" y="112825"/>
                  </a:cubicBezTo>
                  <a:cubicBezTo>
                    <a:pt x="31027" y="112825"/>
                    <a:pt x="31027" y="112260"/>
                    <a:pt x="31591" y="112260"/>
                  </a:cubicBezTo>
                  <a:cubicBezTo>
                    <a:pt x="32155" y="112260"/>
                    <a:pt x="32437" y="111414"/>
                    <a:pt x="33001" y="111414"/>
                  </a:cubicBezTo>
                  <a:cubicBezTo>
                    <a:pt x="34130" y="111414"/>
                    <a:pt x="33847" y="110004"/>
                    <a:pt x="34694" y="110004"/>
                  </a:cubicBezTo>
                  <a:cubicBezTo>
                    <a:pt x="35258" y="109440"/>
                    <a:pt x="35258" y="108876"/>
                    <a:pt x="35822" y="108876"/>
                  </a:cubicBezTo>
                  <a:cubicBezTo>
                    <a:pt x="36386" y="108312"/>
                    <a:pt x="36668" y="108030"/>
                    <a:pt x="37514" y="107747"/>
                  </a:cubicBezTo>
                  <a:lnTo>
                    <a:pt x="38643" y="106337"/>
                  </a:lnTo>
                  <a:cubicBezTo>
                    <a:pt x="38925" y="106055"/>
                    <a:pt x="39771" y="105491"/>
                    <a:pt x="40053" y="104645"/>
                  </a:cubicBezTo>
                  <a:cubicBezTo>
                    <a:pt x="40617" y="103799"/>
                    <a:pt x="41463" y="103234"/>
                    <a:pt x="41745" y="102388"/>
                  </a:cubicBezTo>
                  <a:lnTo>
                    <a:pt x="41745" y="101824"/>
                  </a:lnTo>
                  <a:cubicBezTo>
                    <a:pt x="42027" y="101542"/>
                    <a:pt x="42309" y="101542"/>
                    <a:pt x="42309" y="100978"/>
                  </a:cubicBezTo>
                  <a:cubicBezTo>
                    <a:pt x="42309" y="100696"/>
                    <a:pt x="42592" y="100414"/>
                    <a:pt x="42592" y="100132"/>
                  </a:cubicBezTo>
                  <a:lnTo>
                    <a:pt x="42592" y="99850"/>
                  </a:lnTo>
                  <a:cubicBezTo>
                    <a:pt x="42874" y="99850"/>
                    <a:pt x="43438" y="99568"/>
                    <a:pt x="43438" y="99568"/>
                  </a:cubicBezTo>
                  <a:lnTo>
                    <a:pt x="43438" y="99286"/>
                  </a:lnTo>
                  <a:cubicBezTo>
                    <a:pt x="43438" y="98439"/>
                    <a:pt x="44002" y="98157"/>
                    <a:pt x="44566" y="97593"/>
                  </a:cubicBezTo>
                  <a:cubicBezTo>
                    <a:pt x="44848" y="97593"/>
                    <a:pt x="44848" y="97029"/>
                    <a:pt x="44848" y="96465"/>
                  </a:cubicBezTo>
                  <a:cubicBezTo>
                    <a:pt x="45412" y="95901"/>
                    <a:pt x="45412" y="95619"/>
                    <a:pt x="45412" y="95337"/>
                  </a:cubicBezTo>
                  <a:cubicBezTo>
                    <a:pt x="45412" y="94491"/>
                    <a:pt x="46540" y="94491"/>
                    <a:pt x="46540" y="93644"/>
                  </a:cubicBezTo>
                  <a:cubicBezTo>
                    <a:pt x="46258" y="93362"/>
                    <a:pt x="46258" y="93362"/>
                    <a:pt x="46258" y="93080"/>
                  </a:cubicBezTo>
                  <a:cubicBezTo>
                    <a:pt x="46258" y="92798"/>
                    <a:pt x="46540" y="92516"/>
                    <a:pt x="46540" y="92234"/>
                  </a:cubicBezTo>
                  <a:lnTo>
                    <a:pt x="46540" y="91952"/>
                  </a:lnTo>
                  <a:cubicBezTo>
                    <a:pt x="46822" y="91670"/>
                    <a:pt x="47104" y="91388"/>
                    <a:pt x="47668" y="91388"/>
                  </a:cubicBezTo>
                  <a:cubicBezTo>
                    <a:pt x="47950" y="91388"/>
                    <a:pt x="47950" y="91106"/>
                    <a:pt x="47950" y="90824"/>
                  </a:cubicBezTo>
                  <a:lnTo>
                    <a:pt x="47950" y="89978"/>
                  </a:lnTo>
                  <a:cubicBezTo>
                    <a:pt x="47950" y="89696"/>
                    <a:pt x="48233" y="89413"/>
                    <a:pt x="48233" y="89131"/>
                  </a:cubicBezTo>
                  <a:lnTo>
                    <a:pt x="48233" y="88849"/>
                  </a:lnTo>
                  <a:cubicBezTo>
                    <a:pt x="48233" y="88567"/>
                    <a:pt x="48515" y="88285"/>
                    <a:pt x="48797" y="87721"/>
                  </a:cubicBezTo>
                  <a:cubicBezTo>
                    <a:pt x="48515" y="87721"/>
                    <a:pt x="48797" y="87157"/>
                    <a:pt x="49079" y="86875"/>
                  </a:cubicBezTo>
                  <a:cubicBezTo>
                    <a:pt x="49361" y="86593"/>
                    <a:pt x="49361" y="86593"/>
                    <a:pt x="49361" y="86311"/>
                  </a:cubicBezTo>
                  <a:lnTo>
                    <a:pt x="49361" y="85747"/>
                  </a:lnTo>
                  <a:cubicBezTo>
                    <a:pt x="49361" y="85465"/>
                    <a:pt x="49925" y="84900"/>
                    <a:pt x="49925" y="84336"/>
                  </a:cubicBezTo>
                  <a:cubicBezTo>
                    <a:pt x="49925" y="84054"/>
                    <a:pt x="49643" y="83772"/>
                    <a:pt x="49643" y="83490"/>
                  </a:cubicBezTo>
                  <a:cubicBezTo>
                    <a:pt x="49643" y="83490"/>
                    <a:pt x="49925" y="83208"/>
                    <a:pt x="50207" y="83208"/>
                  </a:cubicBezTo>
                  <a:cubicBezTo>
                    <a:pt x="50489" y="82926"/>
                    <a:pt x="50489" y="82644"/>
                    <a:pt x="50489" y="82644"/>
                  </a:cubicBezTo>
                  <a:cubicBezTo>
                    <a:pt x="50489" y="82362"/>
                    <a:pt x="50771" y="82080"/>
                    <a:pt x="50771" y="81798"/>
                  </a:cubicBezTo>
                  <a:cubicBezTo>
                    <a:pt x="50771" y="81516"/>
                    <a:pt x="50771" y="81234"/>
                    <a:pt x="51335" y="81234"/>
                  </a:cubicBezTo>
                  <a:lnTo>
                    <a:pt x="51335" y="79823"/>
                  </a:lnTo>
                  <a:cubicBezTo>
                    <a:pt x="51335" y="79541"/>
                    <a:pt x="51335" y="79259"/>
                    <a:pt x="51053" y="78695"/>
                  </a:cubicBezTo>
                  <a:lnTo>
                    <a:pt x="51053" y="78413"/>
                  </a:lnTo>
                  <a:cubicBezTo>
                    <a:pt x="51335" y="78413"/>
                    <a:pt x="51335" y="78413"/>
                    <a:pt x="51335" y="78131"/>
                  </a:cubicBezTo>
                  <a:cubicBezTo>
                    <a:pt x="51335" y="78131"/>
                    <a:pt x="51335" y="77849"/>
                    <a:pt x="51617" y="77567"/>
                  </a:cubicBezTo>
                  <a:cubicBezTo>
                    <a:pt x="51899" y="77285"/>
                    <a:pt x="51899" y="77285"/>
                    <a:pt x="51899" y="77003"/>
                  </a:cubicBezTo>
                  <a:cubicBezTo>
                    <a:pt x="51899" y="76721"/>
                    <a:pt x="51617" y="76157"/>
                    <a:pt x="51617" y="75875"/>
                  </a:cubicBezTo>
                  <a:cubicBezTo>
                    <a:pt x="51617" y="75875"/>
                    <a:pt x="51899" y="75310"/>
                    <a:pt x="51899" y="75028"/>
                  </a:cubicBezTo>
                  <a:cubicBezTo>
                    <a:pt x="52464" y="74746"/>
                    <a:pt x="52464" y="74746"/>
                    <a:pt x="52464" y="74464"/>
                  </a:cubicBezTo>
                  <a:lnTo>
                    <a:pt x="52464" y="74182"/>
                  </a:lnTo>
                  <a:cubicBezTo>
                    <a:pt x="52464" y="73618"/>
                    <a:pt x="52746" y="73336"/>
                    <a:pt x="52746" y="73336"/>
                  </a:cubicBezTo>
                  <a:lnTo>
                    <a:pt x="52746" y="73054"/>
                  </a:lnTo>
                  <a:cubicBezTo>
                    <a:pt x="52746" y="72490"/>
                    <a:pt x="53310" y="71926"/>
                    <a:pt x="53310" y="71079"/>
                  </a:cubicBezTo>
                  <a:cubicBezTo>
                    <a:pt x="53028" y="70515"/>
                    <a:pt x="53028" y="70233"/>
                    <a:pt x="53028" y="69951"/>
                  </a:cubicBezTo>
                  <a:cubicBezTo>
                    <a:pt x="53028" y="69669"/>
                    <a:pt x="53028" y="69387"/>
                    <a:pt x="53310" y="69105"/>
                  </a:cubicBezTo>
                  <a:cubicBezTo>
                    <a:pt x="53310" y="68823"/>
                    <a:pt x="53592" y="68541"/>
                    <a:pt x="53592" y="68259"/>
                  </a:cubicBezTo>
                  <a:lnTo>
                    <a:pt x="53592" y="67977"/>
                  </a:lnTo>
                  <a:cubicBezTo>
                    <a:pt x="53592" y="67695"/>
                    <a:pt x="53310" y="67131"/>
                    <a:pt x="53310" y="66849"/>
                  </a:cubicBezTo>
                  <a:cubicBezTo>
                    <a:pt x="53310" y="66566"/>
                    <a:pt x="53592" y="66284"/>
                    <a:pt x="53874" y="66002"/>
                  </a:cubicBezTo>
                  <a:lnTo>
                    <a:pt x="53874" y="65156"/>
                  </a:lnTo>
                  <a:cubicBezTo>
                    <a:pt x="53874" y="64874"/>
                    <a:pt x="53874" y="64874"/>
                    <a:pt x="54156" y="64874"/>
                  </a:cubicBezTo>
                  <a:cubicBezTo>
                    <a:pt x="54438" y="64592"/>
                    <a:pt x="54438" y="64310"/>
                    <a:pt x="54438" y="64028"/>
                  </a:cubicBezTo>
                  <a:lnTo>
                    <a:pt x="54438" y="62054"/>
                  </a:lnTo>
                  <a:cubicBezTo>
                    <a:pt x="54720" y="61771"/>
                    <a:pt x="55002" y="61771"/>
                    <a:pt x="55002" y="61771"/>
                  </a:cubicBezTo>
                  <a:cubicBezTo>
                    <a:pt x="55848" y="61771"/>
                    <a:pt x="55848" y="61771"/>
                    <a:pt x="55848" y="61207"/>
                  </a:cubicBezTo>
                  <a:cubicBezTo>
                    <a:pt x="55848" y="60925"/>
                    <a:pt x="55566" y="60361"/>
                    <a:pt x="55566" y="60079"/>
                  </a:cubicBezTo>
                  <a:cubicBezTo>
                    <a:pt x="55848" y="59515"/>
                    <a:pt x="55848" y="59233"/>
                    <a:pt x="55848" y="59233"/>
                  </a:cubicBezTo>
                  <a:cubicBezTo>
                    <a:pt x="56412" y="58951"/>
                    <a:pt x="56130" y="58387"/>
                    <a:pt x="56695" y="58105"/>
                  </a:cubicBezTo>
                  <a:cubicBezTo>
                    <a:pt x="56977" y="57823"/>
                    <a:pt x="56977" y="57541"/>
                    <a:pt x="56977" y="57258"/>
                  </a:cubicBezTo>
                  <a:lnTo>
                    <a:pt x="56977" y="56412"/>
                  </a:lnTo>
                  <a:cubicBezTo>
                    <a:pt x="57259" y="55848"/>
                    <a:pt x="56977" y="55002"/>
                    <a:pt x="57541" y="54720"/>
                  </a:cubicBezTo>
                  <a:cubicBezTo>
                    <a:pt x="57259" y="54438"/>
                    <a:pt x="56977" y="53874"/>
                    <a:pt x="56977" y="53592"/>
                  </a:cubicBezTo>
                  <a:cubicBezTo>
                    <a:pt x="56977" y="53028"/>
                    <a:pt x="57541" y="52745"/>
                    <a:pt x="57823" y="52463"/>
                  </a:cubicBezTo>
                  <a:cubicBezTo>
                    <a:pt x="57541" y="52181"/>
                    <a:pt x="57259" y="51899"/>
                    <a:pt x="57259" y="51617"/>
                  </a:cubicBezTo>
                  <a:cubicBezTo>
                    <a:pt x="57259" y="51335"/>
                    <a:pt x="57541" y="50771"/>
                    <a:pt x="57541" y="50489"/>
                  </a:cubicBezTo>
                  <a:lnTo>
                    <a:pt x="57541" y="50207"/>
                  </a:lnTo>
                  <a:cubicBezTo>
                    <a:pt x="57541" y="49925"/>
                    <a:pt x="58105" y="49643"/>
                    <a:pt x="58387" y="49361"/>
                  </a:cubicBezTo>
                  <a:lnTo>
                    <a:pt x="58387" y="47950"/>
                  </a:lnTo>
                  <a:cubicBezTo>
                    <a:pt x="58105" y="47668"/>
                    <a:pt x="58105" y="47668"/>
                    <a:pt x="58105" y="47386"/>
                  </a:cubicBezTo>
                  <a:cubicBezTo>
                    <a:pt x="58105" y="47104"/>
                    <a:pt x="58387" y="46822"/>
                    <a:pt x="58387" y="46258"/>
                  </a:cubicBezTo>
                  <a:lnTo>
                    <a:pt x="58387" y="45694"/>
                  </a:lnTo>
                  <a:close/>
                  <a:moveTo>
                    <a:pt x="19180" y="85747"/>
                  </a:moveTo>
                  <a:cubicBezTo>
                    <a:pt x="19180" y="86029"/>
                    <a:pt x="19180" y="86029"/>
                    <a:pt x="19462" y="86311"/>
                  </a:cubicBezTo>
                  <a:cubicBezTo>
                    <a:pt x="19462" y="85747"/>
                    <a:pt x="20027" y="85465"/>
                    <a:pt x="20591" y="85183"/>
                  </a:cubicBezTo>
                  <a:cubicBezTo>
                    <a:pt x="20591" y="85183"/>
                    <a:pt x="20591" y="84900"/>
                    <a:pt x="20309" y="84900"/>
                  </a:cubicBezTo>
                  <a:cubicBezTo>
                    <a:pt x="20309" y="84618"/>
                    <a:pt x="20027" y="84618"/>
                    <a:pt x="20027" y="84618"/>
                  </a:cubicBezTo>
                  <a:lnTo>
                    <a:pt x="19462" y="85183"/>
                  </a:lnTo>
                  <a:cubicBezTo>
                    <a:pt x="19180" y="85465"/>
                    <a:pt x="19180" y="85465"/>
                    <a:pt x="19180" y="85747"/>
                  </a:cubicBezTo>
                  <a:close/>
                  <a:moveTo>
                    <a:pt x="37232" y="124953"/>
                  </a:moveTo>
                  <a:cubicBezTo>
                    <a:pt x="36668" y="124953"/>
                    <a:pt x="36668" y="124671"/>
                    <a:pt x="36668" y="124671"/>
                  </a:cubicBezTo>
                  <a:cubicBezTo>
                    <a:pt x="36104" y="124671"/>
                    <a:pt x="35822" y="125235"/>
                    <a:pt x="35822" y="125235"/>
                  </a:cubicBezTo>
                  <a:lnTo>
                    <a:pt x="35822" y="125517"/>
                  </a:lnTo>
                  <a:cubicBezTo>
                    <a:pt x="36668" y="125517"/>
                    <a:pt x="36668" y="125235"/>
                    <a:pt x="37232" y="124953"/>
                  </a:cubicBezTo>
                  <a:close/>
                  <a:moveTo>
                    <a:pt x="54156" y="113953"/>
                  </a:moveTo>
                  <a:cubicBezTo>
                    <a:pt x="54438" y="113953"/>
                    <a:pt x="54720" y="114235"/>
                    <a:pt x="54720" y="114235"/>
                  </a:cubicBezTo>
                  <a:lnTo>
                    <a:pt x="54438" y="114517"/>
                  </a:lnTo>
                  <a:lnTo>
                    <a:pt x="54156" y="114517"/>
                  </a:lnTo>
                  <a:cubicBezTo>
                    <a:pt x="53592" y="115081"/>
                    <a:pt x="53028" y="115363"/>
                    <a:pt x="52746" y="116491"/>
                  </a:cubicBezTo>
                  <a:lnTo>
                    <a:pt x="52464" y="116491"/>
                  </a:lnTo>
                  <a:lnTo>
                    <a:pt x="51617" y="115645"/>
                  </a:lnTo>
                  <a:lnTo>
                    <a:pt x="51617" y="115363"/>
                  </a:lnTo>
                  <a:lnTo>
                    <a:pt x="53874" y="113671"/>
                  </a:lnTo>
                  <a:cubicBezTo>
                    <a:pt x="53874" y="113671"/>
                    <a:pt x="54156" y="113671"/>
                    <a:pt x="54156" y="113953"/>
                  </a:cubicBezTo>
                  <a:close/>
                  <a:moveTo>
                    <a:pt x="58105" y="33565"/>
                  </a:moveTo>
                  <a:cubicBezTo>
                    <a:pt x="58105" y="33283"/>
                    <a:pt x="57823" y="33283"/>
                    <a:pt x="57541" y="33283"/>
                  </a:cubicBezTo>
                  <a:cubicBezTo>
                    <a:pt x="57259" y="33283"/>
                    <a:pt x="57259" y="33565"/>
                    <a:pt x="56977" y="33847"/>
                  </a:cubicBezTo>
                  <a:lnTo>
                    <a:pt x="56977" y="34976"/>
                  </a:lnTo>
                  <a:cubicBezTo>
                    <a:pt x="57541" y="34976"/>
                    <a:pt x="58105" y="34976"/>
                    <a:pt x="58105" y="34411"/>
                  </a:cubicBezTo>
                  <a:lnTo>
                    <a:pt x="58105" y="33565"/>
                  </a:lnTo>
                  <a:close/>
                  <a:moveTo>
                    <a:pt x="61772" y="104927"/>
                  </a:moveTo>
                  <a:cubicBezTo>
                    <a:pt x="62054" y="104927"/>
                    <a:pt x="62054" y="105209"/>
                    <a:pt x="62336" y="105491"/>
                  </a:cubicBezTo>
                  <a:lnTo>
                    <a:pt x="62618" y="105773"/>
                  </a:lnTo>
                  <a:cubicBezTo>
                    <a:pt x="62336" y="106337"/>
                    <a:pt x="61208" y="107183"/>
                    <a:pt x="60643" y="108030"/>
                  </a:cubicBezTo>
                  <a:cubicBezTo>
                    <a:pt x="60079" y="108030"/>
                    <a:pt x="60079" y="108030"/>
                    <a:pt x="60079" y="108312"/>
                  </a:cubicBezTo>
                  <a:lnTo>
                    <a:pt x="60079" y="108876"/>
                  </a:lnTo>
                  <a:cubicBezTo>
                    <a:pt x="60079" y="109158"/>
                    <a:pt x="60079" y="109722"/>
                    <a:pt x="59515" y="110286"/>
                  </a:cubicBezTo>
                  <a:cubicBezTo>
                    <a:pt x="58951" y="110286"/>
                    <a:pt x="58951" y="110850"/>
                    <a:pt x="58669" y="110850"/>
                  </a:cubicBezTo>
                  <a:lnTo>
                    <a:pt x="58669" y="111132"/>
                  </a:lnTo>
                  <a:cubicBezTo>
                    <a:pt x="58387" y="111132"/>
                    <a:pt x="58387" y="111132"/>
                    <a:pt x="57541" y="110850"/>
                  </a:cubicBezTo>
                  <a:lnTo>
                    <a:pt x="57823" y="110850"/>
                  </a:lnTo>
                  <a:cubicBezTo>
                    <a:pt x="57823" y="110568"/>
                    <a:pt x="58105" y="110286"/>
                    <a:pt x="58387" y="109722"/>
                  </a:cubicBezTo>
                  <a:lnTo>
                    <a:pt x="58387" y="108312"/>
                  </a:lnTo>
                  <a:cubicBezTo>
                    <a:pt x="58387" y="106901"/>
                    <a:pt x="58387" y="106901"/>
                    <a:pt x="59515" y="106055"/>
                  </a:cubicBezTo>
                  <a:cubicBezTo>
                    <a:pt x="59797" y="105773"/>
                    <a:pt x="59797" y="105773"/>
                    <a:pt x="60079" y="105773"/>
                  </a:cubicBezTo>
                  <a:cubicBezTo>
                    <a:pt x="60079" y="105773"/>
                    <a:pt x="60361" y="105773"/>
                    <a:pt x="60643" y="106055"/>
                  </a:cubicBezTo>
                  <a:cubicBezTo>
                    <a:pt x="60643" y="106055"/>
                    <a:pt x="61208" y="106055"/>
                    <a:pt x="61208" y="105773"/>
                  </a:cubicBezTo>
                  <a:lnTo>
                    <a:pt x="60926" y="105491"/>
                  </a:lnTo>
                  <a:cubicBezTo>
                    <a:pt x="61208" y="105209"/>
                    <a:pt x="61490" y="104927"/>
                    <a:pt x="61772" y="104927"/>
                  </a:cubicBezTo>
                  <a:close/>
                  <a:moveTo>
                    <a:pt x="59515" y="49925"/>
                  </a:moveTo>
                  <a:lnTo>
                    <a:pt x="59515" y="50207"/>
                  </a:lnTo>
                  <a:cubicBezTo>
                    <a:pt x="59797" y="50207"/>
                    <a:pt x="59797" y="49925"/>
                    <a:pt x="60079" y="49925"/>
                  </a:cubicBezTo>
                  <a:lnTo>
                    <a:pt x="59515" y="49925"/>
                  </a:lnTo>
                  <a:close/>
                  <a:moveTo>
                    <a:pt x="60079" y="43720"/>
                  </a:moveTo>
                  <a:lnTo>
                    <a:pt x="60079" y="44284"/>
                  </a:lnTo>
                  <a:cubicBezTo>
                    <a:pt x="60079" y="44566"/>
                    <a:pt x="60361" y="44566"/>
                    <a:pt x="60361" y="44566"/>
                  </a:cubicBezTo>
                  <a:cubicBezTo>
                    <a:pt x="60926" y="44566"/>
                    <a:pt x="60926" y="44566"/>
                    <a:pt x="60926" y="44284"/>
                  </a:cubicBezTo>
                  <a:cubicBezTo>
                    <a:pt x="60926" y="44002"/>
                    <a:pt x="60643" y="43155"/>
                    <a:pt x="60643" y="43155"/>
                  </a:cubicBezTo>
                  <a:cubicBezTo>
                    <a:pt x="60079" y="43437"/>
                    <a:pt x="60079" y="43720"/>
                    <a:pt x="60079" y="43720"/>
                  </a:cubicBezTo>
                  <a:close/>
                  <a:moveTo>
                    <a:pt x="60079" y="47668"/>
                  </a:moveTo>
                  <a:cubicBezTo>
                    <a:pt x="60079" y="47668"/>
                    <a:pt x="60361" y="47950"/>
                    <a:pt x="60643" y="47950"/>
                  </a:cubicBezTo>
                  <a:lnTo>
                    <a:pt x="60361" y="47668"/>
                  </a:lnTo>
                  <a:lnTo>
                    <a:pt x="60361" y="47386"/>
                  </a:lnTo>
                  <a:cubicBezTo>
                    <a:pt x="60079" y="47386"/>
                    <a:pt x="60079" y="47668"/>
                    <a:pt x="60079" y="47668"/>
                  </a:cubicBezTo>
                  <a:close/>
                  <a:moveTo>
                    <a:pt x="61490" y="29899"/>
                  </a:moveTo>
                  <a:cubicBezTo>
                    <a:pt x="61490" y="29334"/>
                    <a:pt x="60926" y="29334"/>
                    <a:pt x="60361" y="28770"/>
                  </a:cubicBezTo>
                  <a:lnTo>
                    <a:pt x="60361" y="29899"/>
                  </a:lnTo>
                  <a:cubicBezTo>
                    <a:pt x="60361" y="30181"/>
                    <a:pt x="60643" y="30181"/>
                    <a:pt x="60926" y="30181"/>
                  </a:cubicBezTo>
                  <a:cubicBezTo>
                    <a:pt x="61208" y="30181"/>
                    <a:pt x="61490" y="29899"/>
                    <a:pt x="61490" y="29899"/>
                  </a:cubicBezTo>
                  <a:close/>
                  <a:moveTo>
                    <a:pt x="62054" y="96183"/>
                  </a:moveTo>
                  <a:cubicBezTo>
                    <a:pt x="62054" y="95901"/>
                    <a:pt x="61772" y="95619"/>
                    <a:pt x="61772" y="95619"/>
                  </a:cubicBezTo>
                  <a:cubicBezTo>
                    <a:pt x="61490" y="95619"/>
                    <a:pt x="61208" y="95619"/>
                    <a:pt x="61208" y="95901"/>
                  </a:cubicBezTo>
                  <a:cubicBezTo>
                    <a:pt x="61208" y="96465"/>
                    <a:pt x="60643" y="97029"/>
                    <a:pt x="60643" y="97311"/>
                  </a:cubicBezTo>
                  <a:cubicBezTo>
                    <a:pt x="60361" y="97311"/>
                    <a:pt x="60361" y="97593"/>
                    <a:pt x="60361" y="97593"/>
                  </a:cubicBezTo>
                  <a:cubicBezTo>
                    <a:pt x="60643" y="97593"/>
                    <a:pt x="60643" y="97875"/>
                    <a:pt x="60926" y="98157"/>
                  </a:cubicBezTo>
                  <a:cubicBezTo>
                    <a:pt x="61490" y="98157"/>
                    <a:pt x="61490" y="97593"/>
                    <a:pt x="61772" y="97593"/>
                  </a:cubicBezTo>
                  <a:cubicBezTo>
                    <a:pt x="62054" y="97311"/>
                    <a:pt x="62054" y="97029"/>
                    <a:pt x="62054" y="96183"/>
                  </a:cubicBezTo>
                  <a:close/>
                  <a:moveTo>
                    <a:pt x="64310" y="94773"/>
                  </a:moveTo>
                  <a:lnTo>
                    <a:pt x="64028" y="94491"/>
                  </a:lnTo>
                  <a:lnTo>
                    <a:pt x="64028" y="93644"/>
                  </a:lnTo>
                  <a:cubicBezTo>
                    <a:pt x="64310" y="93362"/>
                    <a:pt x="64310" y="93080"/>
                    <a:pt x="64310" y="92516"/>
                  </a:cubicBezTo>
                  <a:cubicBezTo>
                    <a:pt x="64310" y="91952"/>
                    <a:pt x="64592" y="91670"/>
                    <a:pt x="64310" y="91670"/>
                  </a:cubicBezTo>
                  <a:lnTo>
                    <a:pt x="63746" y="91106"/>
                  </a:lnTo>
                  <a:lnTo>
                    <a:pt x="63746" y="90824"/>
                  </a:lnTo>
                  <a:lnTo>
                    <a:pt x="63464" y="91106"/>
                  </a:lnTo>
                  <a:cubicBezTo>
                    <a:pt x="63182" y="91106"/>
                    <a:pt x="63182" y="91388"/>
                    <a:pt x="63182" y="91670"/>
                  </a:cubicBezTo>
                  <a:cubicBezTo>
                    <a:pt x="62900" y="92516"/>
                    <a:pt x="62900" y="92798"/>
                    <a:pt x="62618" y="93080"/>
                  </a:cubicBezTo>
                  <a:cubicBezTo>
                    <a:pt x="62618" y="93080"/>
                    <a:pt x="62336" y="93362"/>
                    <a:pt x="62336" y="93644"/>
                  </a:cubicBezTo>
                  <a:cubicBezTo>
                    <a:pt x="62336" y="93926"/>
                    <a:pt x="62618" y="94208"/>
                    <a:pt x="62900" y="94491"/>
                  </a:cubicBezTo>
                  <a:lnTo>
                    <a:pt x="64310" y="95337"/>
                  </a:lnTo>
                  <a:cubicBezTo>
                    <a:pt x="64592" y="95619"/>
                    <a:pt x="64592" y="95619"/>
                    <a:pt x="64874" y="95619"/>
                  </a:cubicBezTo>
                  <a:lnTo>
                    <a:pt x="65438" y="95619"/>
                  </a:lnTo>
                  <a:cubicBezTo>
                    <a:pt x="65438" y="95619"/>
                    <a:pt x="65156" y="95055"/>
                    <a:pt x="64310" y="94773"/>
                  </a:cubicBezTo>
                  <a:close/>
                  <a:moveTo>
                    <a:pt x="65438" y="35822"/>
                  </a:moveTo>
                  <a:cubicBezTo>
                    <a:pt x="65438" y="36386"/>
                    <a:pt x="65438" y="36386"/>
                    <a:pt x="65156" y="36386"/>
                  </a:cubicBezTo>
                  <a:cubicBezTo>
                    <a:pt x="65156" y="36668"/>
                    <a:pt x="65156" y="36668"/>
                    <a:pt x="64592" y="36668"/>
                  </a:cubicBezTo>
                  <a:lnTo>
                    <a:pt x="64310" y="36386"/>
                  </a:lnTo>
                  <a:cubicBezTo>
                    <a:pt x="64592" y="36386"/>
                    <a:pt x="64874" y="36104"/>
                    <a:pt x="64874" y="35822"/>
                  </a:cubicBezTo>
                  <a:cubicBezTo>
                    <a:pt x="64874" y="35540"/>
                    <a:pt x="64592" y="35540"/>
                    <a:pt x="64592" y="35258"/>
                  </a:cubicBezTo>
                  <a:lnTo>
                    <a:pt x="64874" y="34976"/>
                  </a:lnTo>
                  <a:lnTo>
                    <a:pt x="64874" y="35258"/>
                  </a:lnTo>
                  <a:lnTo>
                    <a:pt x="65438" y="35822"/>
                  </a:lnTo>
                  <a:close/>
                  <a:moveTo>
                    <a:pt x="67695" y="87157"/>
                  </a:moveTo>
                  <a:lnTo>
                    <a:pt x="67695" y="88003"/>
                  </a:lnTo>
                  <a:lnTo>
                    <a:pt x="66849" y="88003"/>
                  </a:lnTo>
                  <a:lnTo>
                    <a:pt x="65720" y="86875"/>
                  </a:lnTo>
                  <a:cubicBezTo>
                    <a:pt x="66567" y="86593"/>
                    <a:pt x="66002" y="86029"/>
                    <a:pt x="66567" y="85183"/>
                  </a:cubicBezTo>
                  <a:lnTo>
                    <a:pt x="66567" y="85465"/>
                  </a:lnTo>
                  <a:cubicBezTo>
                    <a:pt x="66567" y="85465"/>
                    <a:pt x="66567" y="85747"/>
                    <a:pt x="66849" y="85747"/>
                  </a:cubicBezTo>
                  <a:cubicBezTo>
                    <a:pt x="67413" y="86029"/>
                    <a:pt x="67413" y="86593"/>
                    <a:pt x="67695" y="87157"/>
                  </a:cubicBezTo>
                  <a:close/>
                  <a:moveTo>
                    <a:pt x="66002" y="93080"/>
                  </a:moveTo>
                  <a:cubicBezTo>
                    <a:pt x="66002" y="93362"/>
                    <a:pt x="66002" y="93362"/>
                    <a:pt x="66284" y="93362"/>
                  </a:cubicBezTo>
                  <a:lnTo>
                    <a:pt x="66567" y="93362"/>
                  </a:lnTo>
                  <a:lnTo>
                    <a:pt x="66849" y="93080"/>
                  </a:lnTo>
                  <a:cubicBezTo>
                    <a:pt x="66849" y="92798"/>
                    <a:pt x="66567" y="92798"/>
                    <a:pt x="66284" y="92516"/>
                  </a:cubicBezTo>
                  <a:cubicBezTo>
                    <a:pt x="66002" y="92798"/>
                    <a:pt x="66002" y="93080"/>
                    <a:pt x="66002" y="93080"/>
                  </a:cubicBezTo>
                  <a:close/>
                  <a:moveTo>
                    <a:pt x="66567" y="69669"/>
                  </a:moveTo>
                  <a:cubicBezTo>
                    <a:pt x="66567" y="69387"/>
                    <a:pt x="66567" y="69387"/>
                    <a:pt x="66849" y="68823"/>
                  </a:cubicBezTo>
                  <a:cubicBezTo>
                    <a:pt x="67131" y="68259"/>
                    <a:pt x="67413" y="67977"/>
                    <a:pt x="67413" y="67977"/>
                  </a:cubicBezTo>
                  <a:cubicBezTo>
                    <a:pt x="67413" y="67977"/>
                    <a:pt x="67977" y="68259"/>
                    <a:pt x="68259" y="68259"/>
                  </a:cubicBezTo>
                  <a:lnTo>
                    <a:pt x="68259" y="69669"/>
                  </a:lnTo>
                  <a:cubicBezTo>
                    <a:pt x="68259" y="69951"/>
                    <a:pt x="68259" y="70797"/>
                    <a:pt x="67977" y="71362"/>
                  </a:cubicBezTo>
                  <a:lnTo>
                    <a:pt x="67131" y="71362"/>
                  </a:lnTo>
                  <a:lnTo>
                    <a:pt x="67131" y="71079"/>
                  </a:lnTo>
                  <a:cubicBezTo>
                    <a:pt x="66849" y="70233"/>
                    <a:pt x="66849" y="69951"/>
                    <a:pt x="66567" y="69669"/>
                  </a:cubicBezTo>
                  <a:close/>
                  <a:moveTo>
                    <a:pt x="67413" y="58105"/>
                  </a:moveTo>
                  <a:cubicBezTo>
                    <a:pt x="67413" y="57823"/>
                    <a:pt x="67413" y="57541"/>
                    <a:pt x="67131" y="57258"/>
                  </a:cubicBezTo>
                  <a:cubicBezTo>
                    <a:pt x="67131" y="57258"/>
                    <a:pt x="67131" y="56976"/>
                    <a:pt x="67413" y="56976"/>
                  </a:cubicBezTo>
                  <a:cubicBezTo>
                    <a:pt x="67695" y="56694"/>
                    <a:pt x="68259" y="56130"/>
                    <a:pt x="68259" y="55566"/>
                  </a:cubicBezTo>
                  <a:cubicBezTo>
                    <a:pt x="68259" y="55566"/>
                    <a:pt x="68541" y="55284"/>
                    <a:pt x="68823" y="55284"/>
                  </a:cubicBezTo>
                  <a:cubicBezTo>
                    <a:pt x="69105" y="55284"/>
                    <a:pt x="69105" y="55566"/>
                    <a:pt x="69105" y="55566"/>
                  </a:cubicBezTo>
                  <a:cubicBezTo>
                    <a:pt x="69105" y="56130"/>
                    <a:pt x="69105" y="56130"/>
                    <a:pt x="68823" y="56694"/>
                  </a:cubicBezTo>
                  <a:lnTo>
                    <a:pt x="68823" y="57258"/>
                  </a:lnTo>
                  <a:cubicBezTo>
                    <a:pt x="69105" y="57823"/>
                    <a:pt x="69105" y="58105"/>
                    <a:pt x="69105" y="58105"/>
                  </a:cubicBezTo>
                  <a:lnTo>
                    <a:pt x="69105" y="58387"/>
                  </a:lnTo>
                  <a:cubicBezTo>
                    <a:pt x="68541" y="58951"/>
                    <a:pt x="67977" y="58951"/>
                    <a:pt x="67413" y="59233"/>
                  </a:cubicBezTo>
                  <a:cubicBezTo>
                    <a:pt x="67413" y="59515"/>
                    <a:pt x="67131" y="59515"/>
                    <a:pt x="67131" y="59515"/>
                  </a:cubicBezTo>
                  <a:lnTo>
                    <a:pt x="67131" y="59233"/>
                  </a:lnTo>
                  <a:cubicBezTo>
                    <a:pt x="67131" y="58951"/>
                    <a:pt x="67413" y="58669"/>
                    <a:pt x="67413" y="58105"/>
                  </a:cubicBezTo>
                  <a:close/>
                  <a:moveTo>
                    <a:pt x="70515" y="53028"/>
                  </a:moveTo>
                  <a:cubicBezTo>
                    <a:pt x="70515" y="53028"/>
                    <a:pt x="69669" y="53592"/>
                    <a:pt x="69387" y="53592"/>
                  </a:cubicBezTo>
                  <a:lnTo>
                    <a:pt x="69105" y="53592"/>
                  </a:lnTo>
                  <a:cubicBezTo>
                    <a:pt x="69105" y="53028"/>
                    <a:pt x="69105" y="53028"/>
                    <a:pt x="68541" y="53028"/>
                  </a:cubicBezTo>
                  <a:cubicBezTo>
                    <a:pt x="68541" y="53028"/>
                    <a:pt x="67695" y="53028"/>
                    <a:pt x="67695" y="52463"/>
                  </a:cubicBezTo>
                  <a:cubicBezTo>
                    <a:pt x="67695" y="52181"/>
                    <a:pt x="68259" y="51617"/>
                    <a:pt x="68541" y="51617"/>
                  </a:cubicBezTo>
                  <a:cubicBezTo>
                    <a:pt x="69387" y="51617"/>
                    <a:pt x="70515" y="52181"/>
                    <a:pt x="70515" y="53028"/>
                  </a:cubicBezTo>
                  <a:close/>
                  <a:moveTo>
                    <a:pt x="73054" y="69387"/>
                  </a:moveTo>
                  <a:cubicBezTo>
                    <a:pt x="73336" y="69951"/>
                    <a:pt x="73618" y="70797"/>
                    <a:pt x="73618" y="71362"/>
                  </a:cubicBezTo>
                  <a:cubicBezTo>
                    <a:pt x="73618" y="71362"/>
                    <a:pt x="73336" y="71644"/>
                    <a:pt x="73054" y="71644"/>
                  </a:cubicBezTo>
                  <a:cubicBezTo>
                    <a:pt x="73054" y="71926"/>
                    <a:pt x="72490" y="71926"/>
                    <a:pt x="72490" y="72490"/>
                  </a:cubicBezTo>
                  <a:lnTo>
                    <a:pt x="73054" y="74182"/>
                  </a:lnTo>
                  <a:lnTo>
                    <a:pt x="73336" y="74464"/>
                  </a:lnTo>
                  <a:cubicBezTo>
                    <a:pt x="73336" y="74746"/>
                    <a:pt x="73054" y="74746"/>
                    <a:pt x="73054" y="74746"/>
                  </a:cubicBezTo>
                  <a:lnTo>
                    <a:pt x="73054" y="75592"/>
                  </a:lnTo>
                  <a:cubicBezTo>
                    <a:pt x="73336" y="75592"/>
                    <a:pt x="73054" y="75875"/>
                    <a:pt x="72772" y="75875"/>
                  </a:cubicBezTo>
                  <a:cubicBezTo>
                    <a:pt x="72772" y="76439"/>
                    <a:pt x="72490" y="76157"/>
                    <a:pt x="72490" y="76439"/>
                  </a:cubicBezTo>
                  <a:lnTo>
                    <a:pt x="72490" y="76721"/>
                  </a:lnTo>
                  <a:cubicBezTo>
                    <a:pt x="72208" y="77285"/>
                    <a:pt x="72208" y="77849"/>
                    <a:pt x="71644" y="78131"/>
                  </a:cubicBezTo>
                  <a:lnTo>
                    <a:pt x="71362" y="78413"/>
                  </a:lnTo>
                  <a:cubicBezTo>
                    <a:pt x="71362" y="78413"/>
                    <a:pt x="71362" y="78695"/>
                    <a:pt x="71644" y="78695"/>
                  </a:cubicBezTo>
                  <a:cubicBezTo>
                    <a:pt x="72208" y="78695"/>
                    <a:pt x="72490" y="78977"/>
                    <a:pt x="72772" y="79259"/>
                  </a:cubicBezTo>
                  <a:cubicBezTo>
                    <a:pt x="73054" y="79259"/>
                    <a:pt x="73054" y="79541"/>
                    <a:pt x="73054" y="79823"/>
                  </a:cubicBezTo>
                  <a:cubicBezTo>
                    <a:pt x="72772" y="79823"/>
                    <a:pt x="72772" y="80105"/>
                    <a:pt x="72772" y="80388"/>
                  </a:cubicBezTo>
                  <a:lnTo>
                    <a:pt x="72772" y="80670"/>
                  </a:lnTo>
                  <a:cubicBezTo>
                    <a:pt x="72772" y="80952"/>
                    <a:pt x="72772" y="81234"/>
                    <a:pt x="72490" y="81798"/>
                  </a:cubicBezTo>
                  <a:lnTo>
                    <a:pt x="71644" y="82926"/>
                  </a:lnTo>
                  <a:cubicBezTo>
                    <a:pt x="70798" y="83772"/>
                    <a:pt x="70798" y="84618"/>
                    <a:pt x="70233" y="85183"/>
                  </a:cubicBezTo>
                  <a:lnTo>
                    <a:pt x="69951" y="85465"/>
                  </a:lnTo>
                  <a:lnTo>
                    <a:pt x="69669" y="85465"/>
                  </a:lnTo>
                  <a:lnTo>
                    <a:pt x="69951" y="85183"/>
                  </a:lnTo>
                  <a:lnTo>
                    <a:pt x="69951" y="84618"/>
                  </a:lnTo>
                  <a:cubicBezTo>
                    <a:pt x="69669" y="84336"/>
                    <a:pt x="69669" y="84054"/>
                    <a:pt x="69669" y="83772"/>
                  </a:cubicBezTo>
                  <a:cubicBezTo>
                    <a:pt x="69669" y="83490"/>
                    <a:pt x="69669" y="83208"/>
                    <a:pt x="70233" y="82926"/>
                  </a:cubicBezTo>
                  <a:cubicBezTo>
                    <a:pt x="69951" y="82644"/>
                    <a:pt x="69951" y="82362"/>
                    <a:pt x="69951" y="81798"/>
                  </a:cubicBezTo>
                  <a:cubicBezTo>
                    <a:pt x="69669" y="81516"/>
                    <a:pt x="69669" y="81516"/>
                    <a:pt x="69669" y="81234"/>
                  </a:cubicBezTo>
                  <a:cubicBezTo>
                    <a:pt x="69669" y="81234"/>
                    <a:pt x="69669" y="80952"/>
                    <a:pt x="69951" y="80670"/>
                  </a:cubicBezTo>
                  <a:lnTo>
                    <a:pt x="70233" y="80670"/>
                  </a:lnTo>
                  <a:cubicBezTo>
                    <a:pt x="70233" y="80388"/>
                    <a:pt x="70515" y="80388"/>
                    <a:pt x="70515" y="80105"/>
                  </a:cubicBezTo>
                  <a:cubicBezTo>
                    <a:pt x="70515" y="79823"/>
                    <a:pt x="70233" y="79259"/>
                    <a:pt x="69387" y="78695"/>
                  </a:cubicBezTo>
                  <a:lnTo>
                    <a:pt x="69105" y="78413"/>
                  </a:lnTo>
                  <a:cubicBezTo>
                    <a:pt x="69105" y="78131"/>
                    <a:pt x="69387" y="77849"/>
                    <a:pt x="69387" y="77849"/>
                  </a:cubicBezTo>
                  <a:cubicBezTo>
                    <a:pt x="70233" y="77567"/>
                    <a:pt x="70515" y="77003"/>
                    <a:pt x="70515" y="76721"/>
                  </a:cubicBezTo>
                  <a:cubicBezTo>
                    <a:pt x="70515" y="76439"/>
                    <a:pt x="70233" y="76439"/>
                    <a:pt x="70233" y="76157"/>
                  </a:cubicBezTo>
                  <a:cubicBezTo>
                    <a:pt x="70233" y="75875"/>
                    <a:pt x="69951" y="75592"/>
                    <a:pt x="69951" y="75592"/>
                  </a:cubicBezTo>
                  <a:lnTo>
                    <a:pt x="70233" y="75592"/>
                  </a:lnTo>
                  <a:lnTo>
                    <a:pt x="70515" y="75310"/>
                  </a:lnTo>
                  <a:cubicBezTo>
                    <a:pt x="70798" y="75028"/>
                    <a:pt x="71080" y="75028"/>
                    <a:pt x="71080" y="74746"/>
                  </a:cubicBezTo>
                  <a:lnTo>
                    <a:pt x="70515" y="74182"/>
                  </a:lnTo>
                  <a:cubicBezTo>
                    <a:pt x="70233" y="73900"/>
                    <a:pt x="70233" y="73618"/>
                    <a:pt x="70233" y="73336"/>
                  </a:cubicBezTo>
                  <a:cubicBezTo>
                    <a:pt x="70233" y="73054"/>
                    <a:pt x="70233" y="72772"/>
                    <a:pt x="70515" y="72208"/>
                  </a:cubicBezTo>
                  <a:cubicBezTo>
                    <a:pt x="70798" y="72208"/>
                    <a:pt x="70798" y="72208"/>
                    <a:pt x="70798" y="71926"/>
                  </a:cubicBezTo>
                  <a:cubicBezTo>
                    <a:pt x="70798" y="71926"/>
                    <a:pt x="70798" y="71644"/>
                    <a:pt x="71080" y="71362"/>
                  </a:cubicBezTo>
                  <a:lnTo>
                    <a:pt x="71362" y="71644"/>
                  </a:lnTo>
                  <a:cubicBezTo>
                    <a:pt x="71926" y="71362"/>
                    <a:pt x="72208" y="71362"/>
                    <a:pt x="72490" y="70797"/>
                  </a:cubicBezTo>
                  <a:cubicBezTo>
                    <a:pt x="72208" y="70233"/>
                    <a:pt x="72208" y="69951"/>
                    <a:pt x="72208" y="69951"/>
                  </a:cubicBezTo>
                  <a:lnTo>
                    <a:pt x="72208" y="69105"/>
                  </a:lnTo>
                  <a:cubicBezTo>
                    <a:pt x="72208" y="69105"/>
                    <a:pt x="72490" y="69105"/>
                    <a:pt x="72772" y="69387"/>
                  </a:cubicBezTo>
                  <a:lnTo>
                    <a:pt x="73054" y="69387"/>
                  </a:lnTo>
                  <a:close/>
                  <a:moveTo>
                    <a:pt x="69951" y="41745"/>
                  </a:moveTo>
                  <a:cubicBezTo>
                    <a:pt x="70233" y="41745"/>
                    <a:pt x="70233" y="42309"/>
                    <a:pt x="70233" y="42309"/>
                  </a:cubicBezTo>
                  <a:cubicBezTo>
                    <a:pt x="70233" y="42309"/>
                    <a:pt x="69951" y="42873"/>
                    <a:pt x="69669" y="42873"/>
                  </a:cubicBezTo>
                  <a:lnTo>
                    <a:pt x="69669" y="41463"/>
                  </a:lnTo>
                  <a:lnTo>
                    <a:pt x="69951" y="41745"/>
                  </a:lnTo>
                  <a:close/>
                  <a:moveTo>
                    <a:pt x="74746" y="51617"/>
                  </a:moveTo>
                  <a:lnTo>
                    <a:pt x="74746" y="52181"/>
                  </a:lnTo>
                  <a:lnTo>
                    <a:pt x="74182" y="53592"/>
                  </a:lnTo>
                  <a:cubicBezTo>
                    <a:pt x="74182" y="53874"/>
                    <a:pt x="74182" y="54156"/>
                    <a:pt x="74464" y="54720"/>
                  </a:cubicBezTo>
                  <a:cubicBezTo>
                    <a:pt x="74182" y="55002"/>
                    <a:pt x="74464" y="55848"/>
                    <a:pt x="73900" y="56130"/>
                  </a:cubicBezTo>
                  <a:cubicBezTo>
                    <a:pt x="73900" y="56130"/>
                    <a:pt x="73618" y="56412"/>
                    <a:pt x="73618" y="56694"/>
                  </a:cubicBezTo>
                  <a:cubicBezTo>
                    <a:pt x="73618" y="56976"/>
                    <a:pt x="73900" y="57258"/>
                    <a:pt x="74182" y="57541"/>
                  </a:cubicBezTo>
                  <a:lnTo>
                    <a:pt x="74182" y="58669"/>
                  </a:lnTo>
                  <a:cubicBezTo>
                    <a:pt x="74182" y="58951"/>
                    <a:pt x="73618" y="59515"/>
                    <a:pt x="73618" y="59515"/>
                  </a:cubicBezTo>
                  <a:cubicBezTo>
                    <a:pt x="73336" y="59233"/>
                    <a:pt x="73054" y="58951"/>
                    <a:pt x="72490" y="58951"/>
                  </a:cubicBezTo>
                  <a:cubicBezTo>
                    <a:pt x="72490" y="58669"/>
                    <a:pt x="72490" y="58387"/>
                    <a:pt x="73336" y="58105"/>
                  </a:cubicBezTo>
                  <a:cubicBezTo>
                    <a:pt x="73618" y="58105"/>
                    <a:pt x="73618" y="58105"/>
                    <a:pt x="73618" y="57541"/>
                  </a:cubicBezTo>
                  <a:cubicBezTo>
                    <a:pt x="73336" y="57258"/>
                    <a:pt x="72772" y="56976"/>
                    <a:pt x="72772" y="56694"/>
                  </a:cubicBezTo>
                  <a:cubicBezTo>
                    <a:pt x="72772" y="56412"/>
                    <a:pt x="73054" y="56412"/>
                    <a:pt x="73336" y="56130"/>
                  </a:cubicBezTo>
                  <a:cubicBezTo>
                    <a:pt x="73054" y="55848"/>
                    <a:pt x="73054" y="55566"/>
                    <a:pt x="73054" y="55284"/>
                  </a:cubicBezTo>
                  <a:lnTo>
                    <a:pt x="73054" y="55002"/>
                  </a:lnTo>
                  <a:cubicBezTo>
                    <a:pt x="73054" y="54720"/>
                    <a:pt x="72490" y="54156"/>
                    <a:pt x="72490" y="53592"/>
                  </a:cubicBezTo>
                  <a:cubicBezTo>
                    <a:pt x="72490" y="53592"/>
                    <a:pt x="73054" y="53028"/>
                    <a:pt x="73054" y="52745"/>
                  </a:cubicBezTo>
                  <a:cubicBezTo>
                    <a:pt x="73054" y="52463"/>
                    <a:pt x="73336" y="52463"/>
                    <a:pt x="73336" y="52181"/>
                  </a:cubicBezTo>
                  <a:lnTo>
                    <a:pt x="72772" y="51617"/>
                  </a:lnTo>
                  <a:lnTo>
                    <a:pt x="72772" y="51053"/>
                  </a:lnTo>
                  <a:cubicBezTo>
                    <a:pt x="73054" y="50771"/>
                    <a:pt x="73336" y="50207"/>
                    <a:pt x="73336" y="49925"/>
                  </a:cubicBezTo>
                  <a:cubicBezTo>
                    <a:pt x="73336" y="49925"/>
                    <a:pt x="73900" y="49643"/>
                    <a:pt x="74182" y="49643"/>
                  </a:cubicBezTo>
                  <a:cubicBezTo>
                    <a:pt x="74464" y="49643"/>
                    <a:pt x="74464" y="49925"/>
                    <a:pt x="74464" y="50207"/>
                  </a:cubicBezTo>
                  <a:cubicBezTo>
                    <a:pt x="74464" y="50207"/>
                    <a:pt x="74464" y="50489"/>
                    <a:pt x="74746" y="51617"/>
                  </a:cubicBezTo>
                  <a:close/>
                  <a:moveTo>
                    <a:pt x="73618" y="60643"/>
                  </a:moveTo>
                  <a:lnTo>
                    <a:pt x="73618" y="61207"/>
                  </a:lnTo>
                  <a:lnTo>
                    <a:pt x="73336" y="61489"/>
                  </a:lnTo>
                  <a:cubicBezTo>
                    <a:pt x="72772" y="61489"/>
                    <a:pt x="72772" y="61771"/>
                    <a:pt x="72490" y="61771"/>
                  </a:cubicBezTo>
                  <a:lnTo>
                    <a:pt x="72490" y="60643"/>
                  </a:lnTo>
                  <a:lnTo>
                    <a:pt x="72772" y="60361"/>
                  </a:lnTo>
                  <a:cubicBezTo>
                    <a:pt x="73054" y="60361"/>
                    <a:pt x="73336" y="60643"/>
                    <a:pt x="73618" y="60643"/>
                  </a:cubicBezTo>
                  <a:close/>
                  <a:moveTo>
                    <a:pt x="108594" y="33565"/>
                  </a:moveTo>
                  <a:cubicBezTo>
                    <a:pt x="108594" y="33283"/>
                    <a:pt x="108312" y="33283"/>
                    <a:pt x="108312" y="33283"/>
                  </a:cubicBezTo>
                  <a:lnTo>
                    <a:pt x="108029" y="33283"/>
                  </a:lnTo>
                  <a:cubicBezTo>
                    <a:pt x="107748" y="33283"/>
                    <a:pt x="107184" y="33565"/>
                    <a:pt x="106619" y="34129"/>
                  </a:cubicBezTo>
                  <a:lnTo>
                    <a:pt x="106619" y="34411"/>
                  </a:lnTo>
                  <a:cubicBezTo>
                    <a:pt x="106619" y="34694"/>
                    <a:pt x="106901" y="34694"/>
                    <a:pt x="107184" y="34694"/>
                  </a:cubicBezTo>
                  <a:cubicBezTo>
                    <a:pt x="107748" y="34694"/>
                    <a:pt x="108312" y="34129"/>
                    <a:pt x="108594" y="33565"/>
                  </a:cubicBezTo>
                  <a:close/>
                </a:path>
              </a:pathLst>
            </a:custGeom>
            <a:solidFill>
              <a:srgbClr val="000000"/>
            </a:solidFill>
            <a:ln w="5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8355902-FEF4-47CA-852C-A1679CDB21DA}"/>
                </a:ext>
              </a:extLst>
            </p:cNvPr>
            <p:cNvSpPr/>
            <p:nvPr/>
          </p:nvSpPr>
          <p:spPr>
            <a:xfrm>
              <a:off x="5755691" y="3260609"/>
              <a:ext cx="180519" cy="248214"/>
            </a:xfrm>
            <a:custGeom>
              <a:avLst/>
              <a:gdLst>
                <a:gd name="connsiteX0" fmla="*/ 36668 w 180519"/>
                <a:gd name="connsiteY0" fmla="*/ 57258 h 248214"/>
                <a:gd name="connsiteX1" fmla="*/ 36386 w 180519"/>
                <a:gd name="connsiteY1" fmla="*/ 56976 h 248214"/>
                <a:gd name="connsiteX2" fmla="*/ 36386 w 180519"/>
                <a:gd name="connsiteY2" fmla="*/ 56694 h 248214"/>
                <a:gd name="connsiteX3" fmla="*/ 38079 w 180519"/>
                <a:gd name="connsiteY3" fmla="*/ 55566 h 248214"/>
                <a:gd name="connsiteX4" fmla="*/ 38643 w 180519"/>
                <a:gd name="connsiteY4" fmla="*/ 55566 h 248214"/>
                <a:gd name="connsiteX5" fmla="*/ 40617 w 180519"/>
                <a:gd name="connsiteY5" fmla="*/ 55284 h 248214"/>
                <a:gd name="connsiteX6" fmla="*/ 41745 w 180519"/>
                <a:gd name="connsiteY6" fmla="*/ 54720 h 248214"/>
                <a:gd name="connsiteX7" fmla="*/ 43155 w 180519"/>
                <a:gd name="connsiteY7" fmla="*/ 54156 h 248214"/>
                <a:gd name="connsiteX8" fmla="*/ 44848 w 180519"/>
                <a:gd name="connsiteY8" fmla="*/ 53310 h 248214"/>
                <a:gd name="connsiteX9" fmla="*/ 45976 w 180519"/>
                <a:gd name="connsiteY9" fmla="*/ 53310 h 248214"/>
                <a:gd name="connsiteX10" fmla="*/ 49925 w 180519"/>
                <a:gd name="connsiteY10" fmla="*/ 52463 h 248214"/>
                <a:gd name="connsiteX11" fmla="*/ 50771 w 180519"/>
                <a:gd name="connsiteY11" fmla="*/ 52463 h 248214"/>
                <a:gd name="connsiteX12" fmla="*/ 51335 w 180519"/>
                <a:gd name="connsiteY12" fmla="*/ 53028 h 248214"/>
                <a:gd name="connsiteX13" fmla="*/ 49925 w 180519"/>
                <a:gd name="connsiteY13" fmla="*/ 54720 h 248214"/>
                <a:gd name="connsiteX14" fmla="*/ 49079 w 180519"/>
                <a:gd name="connsiteY14" fmla="*/ 55002 h 248214"/>
                <a:gd name="connsiteX15" fmla="*/ 48796 w 180519"/>
                <a:gd name="connsiteY15" fmla="*/ 55284 h 248214"/>
                <a:gd name="connsiteX16" fmla="*/ 48796 w 180519"/>
                <a:gd name="connsiteY16" fmla="*/ 55566 h 248214"/>
                <a:gd name="connsiteX17" fmla="*/ 49361 w 180519"/>
                <a:gd name="connsiteY17" fmla="*/ 56130 h 248214"/>
                <a:gd name="connsiteX18" fmla="*/ 49925 w 180519"/>
                <a:gd name="connsiteY18" fmla="*/ 56412 h 248214"/>
                <a:gd name="connsiteX19" fmla="*/ 50489 w 180519"/>
                <a:gd name="connsiteY19" fmla="*/ 56412 h 248214"/>
                <a:gd name="connsiteX20" fmla="*/ 51053 w 180519"/>
                <a:gd name="connsiteY20" fmla="*/ 56976 h 248214"/>
                <a:gd name="connsiteX21" fmla="*/ 51617 w 180519"/>
                <a:gd name="connsiteY21" fmla="*/ 56976 h 248214"/>
                <a:gd name="connsiteX22" fmla="*/ 52746 w 180519"/>
                <a:gd name="connsiteY22" fmla="*/ 55566 h 248214"/>
                <a:gd name="connsiteX23" fmla="*/ 54720 w 180519"/>
                <a:gd name="connsiteY23" fmla="*/ 54156 h 248214"/>
                <a:gd name="connsiteX24" fmla="*/ 55284 w 180519"/>
                <a:gd name="connsiteY24" fmla="*/ 52463 h 248214"/>
                <a:gd name="connsiteX25" fmla="*/ 56977 w 180519"/>
                <a:gd name="connsiteY25" fmla="*/ 51335 h 248214"/>
                <a:gd name="connsiteX26" fmla="*/ 57541 w 180519"/>
                <a:gd name="connsiteY26" fmla="*/ 51335 h 248214"/>
                <a:gd name="connsiteX27" fmla="*/ 58951 w 180519"/>
                <a:gd name="connsiteY27" fmla="*/ 51053 h 248214"/>
                <a:gd name="connsiteX28" fmla="*/ 60361 w 180519"/>
                <a:gd name="connsiteY28" fmla="*/ 50489 h 248214"/>
                <a:gd name="connsiteX29" fmla="*/ 61208 w 180519"/>
                <a:gd name="connsiteY29" fmla="*/ 51053 h 248214"/>
                <a:gd name="connsiteX30" fmla="*/ 61489 w 180519"/>
                <a:gd name="connsiteY30" fmla="*/ 51617 h 248214"/>
                <a:gd name="connsiteX31" fmla="*/ 62618 w 180519"/>
                <a:gd name="connsiteY31" fmla="*/ 51335 h 248214"/>
                <a:gd name="connsiteX32" fmla="*/ 62900 w 180519"/>
                <a:gd name="connsiteY32" fmla="*/ 51335 h 248214"/>
                <a:gd name="connsiteX33" fmla="*/ 63182 w 180519"/>
                <a:gd name="connsiteY33" fmla="*/ 51053 h 248214"/>
                <a:gd name="connsiteX34" fmla="*/ 66002 w 180519"/>
                <a:gd name="connsiteY34" fmla="*/ 49079 h 248214"/>
                <a:gd name="connsiteX35" fmla="*/ 68823 w 180519"/>
                <a:gd name="connsiteY35" fmla="*/ 49079 h 248214"/>
                <a:gd name="connsiteX36" fmla="*/ 69105 w 180519"/>
                <a:gd name="connsiteY36" fmla="*/ 49361 h 248214"/>
                <a:gd name="connsiteX37" fmla="*/ 69105 w 180519"/>
                <a:gd name="connsiteY37" fmla="*/ 49643 h 248214"/>
                <a:gd name="connsiteX38" fmla="*/ 68259 w 180519"/>
                <a:gd name="connsiteY38" fmla="*/ 50771 h 248214"/>
                <a:gd name="connsiteX39" fmla="*/ 68259 w 180519"/>
                <a:gd name="connsiteY39" fmla="*/ 51053 h 248214"/>
                <a:gd name="connsiteX40" fmla="*/ 69105 w 180519"/>
                <a:gd name="connsiteY40" fmla="*/ 51053 h 248214"/>
                <a:gd name="connsiteX41" fmla="*/ 70797 w 180519"/>
                <a:gd name="connsiteY41" fmla="*/ 50489 h 248214"/>
                <a:gd name="connsiteX42" fmla="*/ 71926 w 180519"/>
                <a:gd name="connsiteY42" fmla="*/ 49643 h 248214"/>
                <a:gd name="connsiteX43" fmla="*/ 71080 w 180519"/>
                <a:gd name="connsiteY43" fmla="*/ 50771 h 248214"/>
                <a:gd name="connsiteX44" fmla="*/ 69387 w 180519"/>
                <a:gd name="connsiteY44" fmla="*/ 51899 h 248214"/>
                <a:gd name="connsiteX45" fmla="*/ 68823 w 180519"/>
                <a:gd name="connsiteY45" fmla="*/ 51899 h 248214"/>
                <a:gd name="connsiteX46" fmla="*/ 68259 w 180519"/>
                <a:gd name="connsiteY46" fmla="*/ 52463 h 248214"/>
                <a:gd name="connsiteX47" fmla="*/ 68259 w 180519"/>
                <a:gd name="connsiteY47" fmla="*/ 53028 h 248214"/>
                <a:gd name="connsiteX48" fmla="*/ 71080 w 180519"/>
                <a:gd name="connsiteY48" fmla="*/ 52463 h 248214"/>
                <a:gd name="connsiteX49" fmla="*/ 71644 w 180519"/>
                <a:gd name="connsiteY49" fmla="*/ 52463 h 248214"/>
                <a:gd name="connsiteX50" fmla="*/ 73054 w 180519"/>
                <a:gd name="connsiteY50" fmla="*/ 51899 h 248214"/>
                <a:gd name="connsiteX51" fmla="*/ 73618 w 180519"/>
                <a:gd name="connsiteY51" fmla="*/ 51617 h 248214"/>
                <a:gd name="connsiteX52" fmla="*/ 73054 w 180519"/>
                <a:gd name="connsiteY52" fmla="*/ 51335 h 248214"/>
                <a:gd name="connsiteX53" fmla="*/ 72772 w 180519"/>
                <a:gd name="connsiteY53" fmla="*/ 51053 h 248214"/>
                <a:gd name="connsiteX54" fmla="*/ 72490 w 180519"/>
                <a:gd name="connsiteY54" fmla="*/ 50489 h 248214"/>
                <a:gd name="connsiteX55" fmla="*/ 73054 w 180519"/>
                <a:gd name="connsiteY55" fmla="*/ 49643 h 248214"/>
                <a:gd name="connsiteX56" fmla="*/ 73900 w 180519"/>
                <a:gd name="connsiteY56" fmla="*/ 49079 h 248214"/>
                <a:gd name="connsiteX57" fmla="*/ 74464 w 180519"/>
                <a:gd name="connsiteY57" fmla="*/ 47950 h 248214"/>
                <a:gd name="connsiteX58" fmla="*/ 77567 w 180519"/>
                <a:gd name="connsiteY58" fmla="*/ 36668 h 248214"/>
                <a:gd name="connsiteX59" fmla="*/ 77849 w 180519"/>
                <a:gd name="connsiteY59" fmla="*/ 31873 h 248214"/>
                <a:gd name="connsiteX60" fmla="*/ 79823 w 180519"/>
                <a:gd name="connsiteY60" fmla="*/ 30463 h 248214"/>
                <a:gd name="connsiteX61" fmla="*/ 80388 w 180519"/>
                <a:gd name="connsiteY61" fmla="*/ 29899 h 248214"/>
                <a:gd name="connsiteX62" fmla="*/ 80106 w 180519"/>
                <a:gd name="connsiteY62" fmla="*/ 29616 h 248214"/>
                <a:gd name="connsiteX63" fmla="*/ 80388 w 180519"/>
                <a:gd name="connsiteY63" fmla="*/ 28770 h 248214"/>
                <a:gd name="connsiteX64" fmla="*/ 79259 w 180519"/>
                <a:gd name="connsiteY64" fmla="*/ 28206 h 248214"/>
                <a:gd name="connsiteX65" fmla="*/ 78978 w 180519"/>
                <a:gd name="connsiteY65" fmla="*/ 26796 h 248214"/>
                <a:gd name="connsiteX66" fmla="*/ 78978 w 180519"/>
                <a:gd name="connsiteY66" fmla="*/ 26232 h 248214"/>
                <a:gd name="connsiteX67" fmla="*/ 79823 w 180519"/>
                <a:gd name="connsiteY67" fmla="*/ 25386 h 248214"/>
                <a:gd name="connsiteX68" fmla="*/ 80106 w 180519"/>
                <a:gd name="connsiteY68" fmla="*/ 24539 h 248214"/>
                <a:gd name="connsiteX69" fmla="*/ 80106 w 180519"/>
                <a:gd name="connsiteY69" fmla="*/ 23975 h 248214"/>
                <a:gd name="connsiteX70" fmla="*/ 80670 w 180519"/>
                <a:gd name="connsiteY70" fmla="*/ 22565 h 248214"/>
                <a:gd name="connsiteX71" fmla="*/ 81516 w 180519"/>
                <a:gd name="connsiteY71" fmla="*/ 21155 h 248214"/>
                <a:gd name="connsiteX72" fmla="*/ 81516 w 180519"/>
                <a:gd name="connsiteY72" fmla="*/ 20873 h 248214"/>
                <a:gd name="connsiteX73" fmla="*/ 82080 w 180519"/>
                <a:gd name="connsiteY73" fmla="*/ 19462 h 248214"/>
                <a:gd name="connsiteX74" fmla="*/ 82362 w 180519"/>
                <a:gd name="connsiteY74" fmla="*/ 19180 h 248214"/>
                <a:gd name="connsiteX75" fmla="*/ 82362 w 180519"/>
                <a:gd name="connsiteY75" fmla="*/ 18898 h 248214"/>
                <a:gd name="connsiteX76" fmla="*/ 82080 w 180519"/>
                <a:gd name="connsiteY76" fmla="*/ 18616 h 248214"/>
                <a:gd name="connsiteX77" fmla="*/ 82080 w 180519"/>
                <a:gd name="connsiteY77" fmla="*/ 17206 h 248214"/>
                <a:gd name="connsiteX78" fmla="*/ 82362 w 180519"/>
                <a:gd name="connsiteY78" fmla="*/ 16642 h 248214"/>
                <a:gd name="connsiteX79" fmla="*/ 83772 w 180519"/>
                <a:gd name="connsiteY79" fmla="*/ 15513 h 248214"/>
                <a:gd name="connsiteX80" fmla="*/ 83490 w 180519"/>
                <a:gd name="connsiteY80" fmla="*/ 15231 h 248214"/>
                <a:gd name="connsiteX81" fmla="*/ 84336 w 180519"/>
                <a:gd name="connsiteY81" fmla="*/ 13539 h 248214"/>
                <a:gd name="connsiteX82" fmla="*/ 84054 w 180519"/>
                <a:gd name="connsiteY82" fmla="*/ 13257 h 248214"/>
                <a:gd name="connsiteX83" fmla="*/ 85183 w 180519"/>
                <a:gd name="connsiteY83" fmla="*/ 12693 h 248214"/>
                <a:gd name="connsiteX84" fmla="*/ 86311 w 180519"/>
                <a:gd name="connsiteY84" fmla="*/ 11847 h 248214"/>
                <a:gd name="connsiteX85" fmla="*/ 86311 w 180519"/>
                <a:gd name="connsiteY85" fmla="*/ 10436 h 248214"/>
                <a:gd name="connsiteX86" fmla="*/ 88003 w 180519"/>
                <a:gd name="connsiteY86" fmla="*/ 9026 h 248214"/>
                <a:gd name="connsiteX87" fmla="*/ 88850 w 180519"/>
                <a:gd name="connsiteY87" fmla="*/ 6487 h 248214"/>
                <a:gd name="connsiteX88" fmla="*/ 89414 w 180519"/>
                <a:gd name="connsiteY88" fmla="*/ 6205 h 248214"/>
                <a:gd name="connsiteX89" fmla="*/ 89695 w 180519"/>
                <a:gd name="connsiteY89" fmla="*/ 5359 h 248214"/>
                <a:gd name="connsiteX90" fmla="*/ 90542 w 180519"/>
                <a:gd name="connsiteY90" fmla="*/ 3949 h 248214"/>
                <a:gd name="connsiteX91" fmla="*/ 91952 w 180519"/>
                <a:gd name="connsiteY91" fmla="*/ 2821 h 248214"/>
                <a:gd name="connsiteX92" fmla="*/ 91670 w 180519"/>
                <a:gd name="connsiteY92" fmla="*/ 2256 h 248214"/>
                <a:gd name="connsiteX93" fmla="*/ 92798 w 180519"/>
                <a:gd name="connsiteY93" fmla="*/ 1692 h 248214"/>
                <a:gd name="connsiteX94" fmla="*/ 93362 w 180519"/>
                <a:gd name="connsiteY94" fmla="*/ 1410 h 248214"/>
                <a:gd name="connsiteX95" fmla="*/ 93926 w 180519"/>
                <a:gd name="connsiteY95" fmla="*/ 1128 h 248214"/>
                <a:gd name="connsiteX96" fmla="*/ 94209 w 180519"/>
                <a:gd name="connsiteY96" fmla="*/ 1128 h 248214"/>
                <a:gd name="connsiteX97" fmla="*/ 94491 w 180519"/>
                <a:gd name="connsiteY97" fmla="*/ 1410 h 248214"/>
                <a:gd name="connsiteX98" fmla="*/ 95055 w 180519"/>
                <a:gd name="connsiteY98" fmla="*/ 1128 h 248214"/>
                <a:gd name="connsiteX99" fmla="*/ 96465 w 180519"/>
                <a:gd name="connsiteY99" fmla="*/ 282 h 248214"/>
                <a:gd name="connsiteX100" fmla="*/ 97312 w 180519"/>
                <a:gd name="connsiteY100" fmla="*/ 0 h 248214"/>
                <a:gd name="connsiteX101" fmla="*/ 98440 w 180519"/>
                <a:gd name="connsiteY101" fmla="*/ 564 h 248214"/>
                <a:gd name="connsiteX102" fmla="*/ 98722 w 180519"/>
                <a:gd name="connsiteY102" fmla="*/ 846 h 248214"/>
                <a:gd name="connsiteX103" fmla="*/ 98440 w 180519"/>
                <a:gd name="connsiteY103" fmla="*/ 2821 h 248214"/>
                <a:gd name="connsiteX104" fmla="*/ 99004 w 180519"/>
                <a:gd name="connsiteY104" fmla="*/ 3103 h 248214"/>
                <a:gd name="connsiteX105" fmla="*/ 99568 w 180519"/>
                <a:gd name="connsiteY105" fmla="*/ 3103 h 248214"/>
                <a:gd name="connsiteX106" fmla="*/ 100414 w 180519"/>
                <a:gd name="connsiteY106" fmla="*/ 1692 h 248214"/>
                <a:gd name="connsiteX107" fmla="*/ 100696 w 180519"/>
                <a:gd name="connsiteY107" fmla="*/ 1692 h 248214"/>
                <a:gd name="connsiteX108" fmla="*/ 100978 w 180519"/>
                <a:gd name="connsiteY108" fmla="*/ 2256 h 248214"/>
                <a:gd name="connsiteX109" fmla="*/ 101542 w 180519"/>
                <a:gd name="connsiteY109" fmla="*/ 2821 h 248214"/>
                <a:gd name="connsiteX110" fmla="*/ 102106 w 180519"/>
                <a:gd name="connsiteY110" fmla="*/ 3103 h 248214"/>
                <a:gd name="connsiteX111" fmla="*/ 104363 w 180519"/>
                <a:gd name="connsiteY111" fmla="*/ 3103 h 248214"/>
                <a:gd name="connsiteX112" fmla="*/ 104081 w 180519"/>
                <a:gd name="connsiteY112" fmla="*/ 3667 h 248214"/>
                <a:gd name="connsiteX113" fmla="*/ 104081 w 180519"/>
                <a:gd name="connsiteY113" fmla="*/ 4231 h 248214"/>
                <a:gd name="connsiteX114" fmla="*/ 105209 w 180519"/>
                <a:gd name="connsiteY114" fmla="*/ 4231 h 248214"/>
                <a:gd name="connsiteX115" fmla="*/ 105491 w 180519"/>
                <a:gd name="connsiteY115" fmla="*/ 3949 h 248214"/>
                <a:gd name="connsiteX116" fmla="*/ 106619 w 180519"/>
                <a:gd name="connsiteY116" fmla="*/ 3667 h 248214"/>
                <a:gd name="connsiteX117" fmla="*/ 107184 w 180519"/>
                <a:gd name="connsiteY117" fmla="*/ 3949 h 248214"/>
                <a:gd name="connsiteX118" fmla="*/ 108876 w 180519"/>
                <a:gd name="connsiteY118" fmla="*/ 4231 h 248214"/>
                <a:gd name="connsiteX119" fmla="*/ 110004 w 180519"/>
                <a:gd name="connsiteY119" fmla="*/ 5077 h 248214"/>
                <a:gd name="connsiteX120" fmla="*/ 109722 w 180519"/>
                <a:gd name="connsiteY120" fmla="*/ 7052 h 248214"/>
                <a:gd name="connsiteX121" fmla="*/ 110286 w 180519"/>
                <a:gd name="connsiteY121" fmla="*/ 7898 h 248214"/>
                <a:gd name="connsiteX122" fmla="*/ 110568 w 180519"/>
                <a:gd name="connsiteY122" fmla="*/ 8462 h 248214"/>
                <a:gd name="connsiteX123" fmla="*/ 109722 w 180519"/>
                <a:gd name="connsiteY123" fmla="*/ 9872 h 248214"/>
                <a:gd name="connsiteX124" fmla="*/ 109440 w 180519"/>
                <a:gd name="connsiteY124" fmla="*/ 10718 h 248214"/>
                <a:gd name="connsiteX125" fmla="*/ 108312 w 180519"/>
                <a:gd name="connsiteY125" fmla="*/ 11847 h 248214"/>
                <a:gd name="connsiteX126" fmla="*/ 108029 w 180519"/>
                <a:gd name="connsiteY126" fmla="*/ 12411 h 248214"/>
                <a:gd name="connsiteX127" fmla="*/ 107748 w 180519"/>
                <a:gd name="connsiteY127" fmla="*/ 13257 h 248214"/>
                <a:gd name="connsiteX128" fmla="*/ 107465 w 180519"/>
                <a:gd name="connsiteY128" fmla="*/ 13539 h 248214"/>
                <a:gd name="connsiteX129" fmla="*/ 107184 w 180519"/>
                <a:gd name="connsiteY129" fmla="*/ 13821 h 248214"/>
                <a:gd name="connsiteX130" fmla="*/ 107184 w 180519"/>
                <a:gd name="connsiteY130" fmla="*/ 15231 h 248214"/>
                <a:gd name="connsiteX131" fmla="*/ 106337 w 180519"/>
                <a:gd name="connsiteY131" fmla="*/ 16642 h 248214"/>
                <a:gd name="connsiteX132" fmla="*/ 106337 w 180519"/>
                <a:gd name="connsiteY132" fmla="*/ 16924 h 248214"/>
                <a:gd name="connsiteX133" fmla="*/ 105491 w 180519"/>
                <a:gd name="connsiteY133" fmla="*/ 18898 h 248214"/>
                <a:gd name="connsiteX134" fmla="*/ 105209 w 180519"/>
                <a:gd name="connsiteY134" fmla="*/ 20026 h 248214"/>
                <a:gd name="connsiteX135" fmla="*/ 105209 w 180519"/>
                <a:gd name="connsiteY135" fmla="*/ 20308 h 248214"/>
                <a:gd name="connsiteX136" fmla="*/ 104363 w 180519"/>
                <a:gd name="connsiteY136" fmla="*/ 21437 h 248214"/>
                <a:gd name="connsiteX137" fmla="*/ 104645 w 180519"/>
                <a:gd name="connsiteY137" fmla="*/ 21719 h 248214"/>
                <a:gd name="connsiteX138" fmla="*/ 104645 w 180519"/>
                <a:gd name="connsiteY138" fmla="*/ 22283 h 248214"/>
                <a:gd name="connsiteX139" fmla="*/ 103234 w 180519"/>
                <a:gd name="connsiteY139" fmla="*/ 23975 h 248214"/>
                <a:gd name="connsiteX140" fmla="*/ 103517 w 180519"/>
                <a:gd name="connsiteY140" fmla="*/ 24257 h 248214"/>
                <a:gd name="connsiteX141" fmla="*/ 103517 w 180519"/>
                <a:gd name="connsiteY141" fmla="*/ 24539 h 248214"/>
                <a:gd name="connsiteX142" fmla="*/ 103234 w 180519"/>
                <a:gd name="connsiteY142" fmla="*/ 25103 h 248214"/>
                <a:gd name="connsiteX143" fmla="*/ 103234 w 180519"/>
                <a:gd name="connsiteY143" fmla="*/ 25386 h 248214"/>
                <a:gd name="connsiteX144" fmla="*/ 102388 w 180519"/>
                <a:gd name="connsiteY144" fmla="*/ 26232 h 248214"/>
                <a:gd name="connsiteX145" fmla="*/ 102388 w 180519"/>
                <a:gd name="connsiteY145" fmla="*/ 26514 h 248214"/>
                <a:gd name="connsiteX146" fmla="*/ 101824 w 180519"/>
                <a:gd name="connsiteY146" fmla="*/ 27360 h 248214"/>
                <a:gd name="connsiteX147" fmla="*/ 101260 w 180519"/>
                <a:gd name="connsiteY147" fmla="*/ 28770 h 248214"/>
                <a:gd name="connsiteX148" fmla="*/ 100978 w 180519"/>
                <a:gd name="connsiteY148" fmla="*/ 29052 h 248214"/>
                <a:gd name="connsiteX149" fmla="*/ 100978 w 180519"/>
                <a:gd name="connsiteY149" fmla="*/ 29616 h 248214"/>
                <a:gd name="connsiteX150" fmla="*/ 101260 w 180519"/>
                <a:gd name="connsiteY150" fmla="*/ 29899 h 248214"/>
                <a:gd name="connsiteX151" fmla="*/ 100414 w 180519"/>
                <a:gd name="connsiteY151" fmla="*/ 31591 h 248214"/>
                <a:gd name="connsiteX152" fmla="*/ 99004 w 180519"/>
                <a:gd name="connsiteY152" fmla="*/ 45130 h 248214"/>
                <a:gd name="connsiteX153" fmla="*/ 99850 w 180519"/>
                <a:gd name="connsiteY153" fmla="*/ 44566 h 248214"/>
                <a:gd name="connsiteX154" fmla="*/ 100414 w 180519"/>
                <a:gd name="connsiteY154" fmla="*/ 44284 h 248214"/>
                <a:gd name="connsiteX155" fmla="*/ 101542 w 180519"/>
                <a:gd name="connsiteY155" fmla="*/ 45412 h 248214"/>
                <a:gd name="connsiteX156" fmla="*/ 102953 w 180519"/>
                <a:gd name="connsiteY156" fmla="*/ 46540 h 248214"/>
                <a:gd name="connsiteX157" fmla="*/ 105773 w 180519"/>
                <a:gd name="connsiteY157" fmla="*/ 45130 h 248214"/>
                <a:gd name="connsiteX158" fmla="*/ 102953 w 180519"/>
                <a:gd name="connsiteY158" fmla="*/ 45694 h 248214"/>
                <a:gd name="connsiteX159" fmla="*/ 102388 w 180519"/>
                <a:gd name="connsiteY159" fmla="*/ 45412 h 248214"/>
                <a:gd name="connsiteX160" fmla="*/ 102388 w 180519"/>
                <a:gd name="connsiteY160" fmla="*/ 45130 h 248214"/>
                <a:gd name="connsiteX161" fmla="*/ 104927 w 180519"/>
                <a:gd name="connsiteY161" fmla="*/ 44284 h 248214"/>
                <a:gd name="connsiteX162" fmla="*/ 105491 w 180519"/>
                <a:gd name="connsiteY162" fmla="*/ 44002 h 248214"/>
                <a:gd name="connsiteX163" fmla="*/ 106055 w 180519"/>
                <a:gd name="connsiteY163" fmla="*/ 44566 h 248214"/>
                <a:gd name="connsiteX164" fmla="*/ 105773 w 180519"/>
                <a:gd name="connsiteY164" fmla="*/ 45130 h 248214"/>
                <a:gd name="connsiteX165" fmla="*/ 106337 w 180519"/>
                <a:gd name="connsiteY165" fmla="*/ 44848 h 248214"/>
                <a:gd name="connsiteX166" fmla="*/ 107748 w 180519"/>
                <a:gd name="connsiteY166" fmla="*/ 44284 h 248214"/>
                <a:gd name="connsiteX167" fmla="*/ 110568 w 180519"/>
                <a:gd name="connsiteY167" fmla="*/ 43720 h 248214"/>
                <a:gd name="connsiteX168" fmla="*/ 112260 w 180519"/>
                <a:gd name="connsiteY168" fmla="*/ 43437 h 248214"/>
                <a:gd name="connsiteX169" fmla="*/ 113107 w 180519"/>
                <a:gd name="connsiteY169" fmla="*/ 43437 h 248214"/>
                <a:gd name="connsiteX170" fmla="*/ 112825 w 180519"/>
                <a:gd name="connsiteY170" fmla="*/ 44002 h 248214"/>
                <a:gd name="connsiteX171" fmla="*/ 112260 w 180519"/>
                <a:gd name="connsiteY171" fmla="*/ 44566 h 248214"/>
                <a:gd name="connsiteX172" fmla="*/ 111696 w 180519"/>
                <a:gd name="connsiteY172" fmla="*/ 45412 h 248214"/>
                <a:gd name="connsiteX173" fmla="*/ 111979 w 180519"/>
                <a:gd name="connsiteY173" fmla="*/ 45694 h 248214"/>
                <a:gd name="connsiteX174" fmla="*/ 111696 w 180519"/>
                <a:gd name="connsiteY174" fmla="*/ 45976 h 248214"/>
                <a:gd name="connsiteX175" fmla="*/ 110568 w 180519"/>
                <a:gd name="connsiteY175" fmla="*/ 47386 h 248214"/>
                <a:gd name="connsiteX176" fmla="*/ 108029 w 180519"/>
                <a:gd name="connsiteY176" fmla="*/ 49361 h 248214"/>
                <a:gd name="connsiteX177" fmla="*/ 107184 w 180519"/>
                <a:gd name="connsiteY177" fmla="*/ 49925 h 248214"/>
                <a:gd name="connsiteX178" fmla="*/ 108029 w 180519"/>
                <a:gd name="connsiteY178" fmla="*/ 50489 h 248214"/>
                <a:gd name="connsiteX179" fmla="*/ 108594 w 180519"/>
                <a:gd name="connsiteY179" fmla="*/ 49925 h 248214"/>
                <a:gd name="connsiteX180" fmla="*/ 109440 w 180519"/>
                <a:gd name="connsiteY180" fmla="*/ 49361 h 248214"/>
                <a:gd name="connsiteX181" fmla="*/ 110568 w 180519"/>
                <a:gd name="connsiteY181" fmla="*/ 48515 h 248214"/>
                <a:gd name="connsiteX182" fmla="*/ 111696 w 180519"/>
                <a:gd name="connsiteY182" fmla="*/ 48515 h 248214"/>
                <a:gd name="connsiteX183" fmla="*/ 113389 w 180519"/>
                <a:gd name="connsiteY183" fmla="*/ 47386 h 248214"/>
                <a:gd name="connsiteX184" fmla="*/ 113671 w 180519"/>
                <a:gd name="connsiteY184" fmla="*/ 46822 h 248214"/>
                <a:gd name="connsiteX185" fmla="*/ 113953 w 180519"/>
                <a:gd name="connsiteY185" fmla="*/ 46540 h 248214"/>
                <a:gd name="connsiteX186" fmla="*/ 113389 w 180519"/>
                <a:gd name="connsiteY186" fmla="*/ 46258 h 248214"/>
                <a:gd name="connsiteX187" fmla="*/ 112825 w 180519"/>
                <a:gd name="connsiteY187" fmla="*/ 46258 h 248214"/>
                <a:gd name="connsiteX188" fmla="*/ 113107 w 180519"/>
                <a:gd name="connsiteY188" fmla="*/ 45694 h 248214"/>
                <a:gd name="connsiteX189" fmla="*/ 113389 w 180519"/>
                <a:gd name="connsiteY189" fmla="*/ 45412 h 248214"/>
                <a:gd name="connsiteX190" fmla="*/ 117056 w 180519"/>
                <a:gd name="connsiteY190" fmla="*/ 43437 h 248214"/>
                <a:gd name="connsiteX191" fmla="*/ 117620 w 180519"/>
                <a:gd name="connsiteY191" fmla="*/ 43155 h 248214"/>
                <a:gd name="connsiteX192" fmla="*/ 117902 w 180519"/>
                <a:gd name="connsiteY192" fmla="*/ 43437 h 248214"/>
                <a:gd name="connsiteX193" fmla="*/ 117902 w 180519"/>
                <a:gd name="connsiteY193" fmla="*/ 44002 h 248214"/>
                <a:gd name="connsiteX194" fmla="*/ 118184 w 180519"/>
                <a:gd name="connsiteY194" fmla="*/ 45130 h 248214"/>
                <a:gd name="connsiteX195" fmla="*/ 118748 w 180519"/>
                <a:gd name="connsiteY195" fmla="*/ 45130 h 248214"/>
                <a:gd name="connsiteX196" fmla="*/ 119594 w 180519"/>
                <a:gd name="connsiteY196" fmla="*/ 42873 h 248214"/>
                <a:gd name="connsiteX197" fmla="*/ 121568 w 180519"/>
                <a:gd name="connsiteY197" fmla="*/ 41745 h 248214"/>
                <a:gd name="connsiteX198" fmla="*/ 124107 w 180519"/>
                <a:gd name="connsiteY198" fmla="*/ 41745 h 248214"/>
                <a:gd name="connsiteX199" fmla="*/ 123825 w 180519"/>
                <a:gd name="connsiteY199" fmla="*/ 42873 h 248214"/>
                <a:gd name="connsiteX200" fmla="*/ 123543 w 180519"/>
                <a:gd name="connsiteY200" fmla="*/ 43155 h 248214"/>
                <a:gd name="connsiteX201" fmla="*/ 123543 w 180519"/>
                <a:gd name="connsiteY201" fmla="*/ 43720 h 248214"/>
                <a:gd name="connsiteX202" fmla="*/ 125235 w 180519"/>
                <a:gd name="connsiteY202" fmla="*/ 44002 h 248214"/>
                <a:gd name="connsiteX203" fmla="*/ 125518 w 180519"/>
                <a:gd name="connsiteY203" fmla="*/ 44002 h 248214"/>
                <a:gd name="connsiteX204" fmla="*/ 125518 w 180519"/>
                <a:gd name="connsiteY204" fmla="*/ 44848 h 248214"/>
                <a:gd name="connsiteX205" fmla="*/ 124389 w 180519"/>
                <a:gd name="connsiteY205" fmla="*/ 45130 h 248214"/>
                <a:gd name="connsiteX206" fmla="*/ 122979 w 180519"/>
                <a:gd name="connsiteY206" fmla="*/ 45694 h 248214"/>
                <a:gd name="connsiteX207" fmla="*/ 122697 w 180519"/>
                <a:gd name="connsiteY207" fmla="*/ 45976 h 248214"/>
                <a:gd name="connsiteX208" fmla="*/ 122697 w 180519"/>
                <a:gd name="connsiteY208" fmla="*/ 46540 h 248214"/>
                <a:gd name="connsiteX209" fmla="*/ 123543 w 180519"/>
                <a:gd name="connsiteY209" fmla="*/ 46540 h 248214"/>
                <a:gd name="connsiteX210" fmla="*/ 126646 w 180519"/>
                <a:gd name="connsiteY210" fmla="*/ 45976 h 248214"/>
                <a:gd name="connsiteX211" fmla="*/ 127492 w 180519"/>
                <a:gd name="connsiteY211" fmla="*/ 47104 h 248214"/>
                <a:gd name="connsiteX212" fmla="*/ 128056 w 180519"/>
                <a:gd name="connsiteY212" fmla="*/ 47386 h 248214"/>
                <a:gd name="connsiteX213" fmla="*/ 128620 w 180519"/>
                <a:gd name="connsiteY213" fmla="*/ 47104 h 248214"/>
                <a:gd name="connsiteX214" fmla="*/ 129749 w 180519"/>
                <a:gd name="connsiteY214" fmla="*/ 45694 h 248214"/>
                <a:gd name="connsiteX215" fmla="*/ 129749 w 180519"/>
                <a:gd name="connsiteY215" fmla="*/ 45412 h 248214"/>
                <a:gd name="connsiteX216" fmla="*/ 129466 w 180519"/>
                <a:gd name="connsiteY216" fmla="*/ 45412 h 248214"/>
                <a:gd name="connsiteX217" fmla="*/ 129184 w 180519"/>
                <a:gd name="connsiteY217" fmla="*/ 45694 h 248214"/>
                <a:gd name="connsiteX218" fmla="*/ 128902 w 180519"/>
                <a:gd name="connsiteY218" fmla="*/ 45694 h 248214"/>
                <a:gd name="connsiteX219" fmla="*/ 129184 w 180519"/>
                <a:gd name="connsiteY219" fmla="*/ 45412 h 248214"/>
                <a:gd name="connsiteX220" fmla="*/ 129184 w 180519"/>
                <a:gd name="connsiteY220" fmla="*/ 45130 h 248214"/>
                <a:gd name="connsiteX221" fmla="*/ 130030 w 180519"/>
                <a:gd name="connsiteY221" fmla="*/ 44002 h 248214"/>
                <a:gd name="connsiteX222" fmla="*/ 130594 w 180519"/>
                <a:gd name="connsiteY222" fmla="*/ 42873 h 248214"/>
                <a:gd name="connsiteX223" fmla="*/ 129184 w 180519"/>
                <a:gd name="connsiteY223" fmla="*/ 43155 h 248214"/>
                <a:gd name="connsiteX224" fmla="*/ 127774 w 180519"/>
                <a:gd name="connsiteY224" fmla="*/ 42873 h 248214"/>
                <a:gd name="connsiteX225" fmla="*/ 128056 w 180519"/>
                <a:gd name="connsiteY225" fmla="*/ 42591 h 248214"/>
                <a:gd name="connsiteX226" fmla="*/ 128056 w 180519"/>
                <a:gd name="connsiteY226" fmla="*/ 42309 h 248214"/>
                <a:gd name="connsiteX227" fmla="*/ 128338 w 180519"/>
                <a:gd name="connsiteY227" fmla="*/ 41463 h 248214"/>
                <a:gd name="connsiteX228" fmla="*/ 129184 w 180519"/>
                <a:gd name="connsiteY228" fmla="*/ 41745 h 248214"/>
                <a:gd name="connsiteX229" fmla="*/ 130030 w 180519"/>
                <a:gd name="connsiteY229" fmla="*/ 42591 h 248214"/>
                <a:gd name="connsiteX230" fmla="*/ 131159 w 180519"/>
                <a:gd name="connsiteY230" fmla="*/ 41181 h 248214"/>
                <a:gd name="connsiteX231" fmla="*/ 134261 w 180519"/>
                <a:gd name="connsiteY231" fmla="*/ 41181 h 248214"/>
                <a:gd name="connsiteX232" fmla="*/ 138774 w 180519"/>
                <a:gd name="connsiteY232" fmla="*/ 40053 h 248214"/>
                <a:gd name="connsiteX233" fmla="*/ 140749 w 180519"/>
                <a:gd name="connsiteY233" fmla="*/ 40053 h 248214"/>
                <a:gd name="connsiteX234" fmla="*/ 141313 w 180519"/>
                <a:gd name="connsiteY234" fmla="*/ 41745 h 248214"/>
                <a:gd name="connsiteX235" fmla="*/ 141877 w 180519"/>
                <a:gd name="connsiteY235" fmla="*/ 42309 h 248214"/>
                <a:gd name="connsiteX236" fmla="*/ 143287 w 180519"/>
                <a:gd name="connsiteY236" fmla="*/ 42027 h 248214"/>
                <a:gd name="connsiteX237" fmla="*/ 144416 w 180519"/>
                <a:gd name="connsiteY237" fmla="*/ 42027 h 248214"/>
                <a:gd name="connsiteX238" fmla="*/ 143852 w 180519"/>
                <a:gd name="connsiteY238" fmla="*/ 43437 h 248214"/>
                <a:gd name="connsiteX239" fmla="*/ 144416 w 180519"/>
                <a:gd name="connsiteY239" fmla="*/ 44848 h 248214"/>
                <a:gd name="connsiteX240" fmla="*/ 145262 w 180519"/>
                <a:gd name="connsiteY240" fmla="*/ 45130 h 248214"/>
                <a:gd name="connsiteX241" fmla="*/ 144980 w 180519"/>
                <a:gd name="connsiteY241" fmla="*/ 45412 h 248214"/>
                <a:gd name="connsiteX242" fmla="*/ 144416 w 180519"/>
                <a:gd name="connsiteY242" fmla="*/ 46258 h 248214"/>
                <a:gd name="connsiteX243" fmla="*/ 143852 w 180519"/>
                <a:gd name="connsiteY243" fmla="*/ 47104 h 248214"/>
                <a:gd name="connsiteX244" fmla="*/ 144980 w 180519"/>
                <a:gd name="connsiteY244" fmla="*/ 46258 h 248214"/>
                <a:gd name="connsiteX245" fmla="*/ 146672 w 180519"/>
                <a:gd name="connsiteY245" fmla="*/ 45412 h 248214"/>
                <a:gd name="connsiteX246" fmla="*/ 147236 w 180519"/>
                <a:gd name="connsiteY246" fmla="*/ 45130 h 248214"/>
                <a:gd name="connsiteX247" fmla="*/ 147518 w 180519"/>
                <a:gd name="connsiteY247" fmla="*/ 45412 h 248214"/>
                <a:gd name="connsiteX248" fmla="*/ 148364 w 180519"/>
                <a:gd name="connsiteY248" fmla="*/ 44848 h 248214"/>
                <a:gd name="connsiteX249" fmla="*/ 148928 w 180519"/>
                <a:gd name="connsiteY249" fmla="*/ 43155 h 248214"/>
                <a:gd name="connsiteX250" fmla="*/ 148928 w 180519"/>
                <a:gd name="connsiteY250" fmla="*/ 42873 h 248214"/>
                <a:gd name="connsiteX251" fmla="*/ 149775 w 180519"/>
                <a:gd name="connsiteY251" fmla="*/ 41463 h 248214"/>
                <a:gd name="connsiteX252" fmla="*/ 151467 w 180519"/>
                <a:gd name="connsiteY252" fmla="*/ 39771 h 248214"/>
                <a:gd name="connsiteX253" fmla="*/ 152314 w 180519"/>
                <a:gd name="connsiteY253" fmla="*/ 39771 h 248214"/>
                <a:gd name="connsiteX254" fmla="*/ 153159 w 180519"/>
                <a:gd name="connsiteY254" fmla="*/ 40053 h 248214"/>
                <a:gd name="connsiteX255" fmla="*/ 155980 w 180519"/>
                <a:gd name="connsiteY255" fmla="*/ 38924 h 248214"/>
                <a:gd name="connsiteX256" fmla="*/ 156544 w 180519"/>
                <a:gd name="connsiteY256" fmla="*/ 38924 h 248214"/>
                <a:gd name="connsiteX257" fmla="*/ 157390 w 180519"/>
                <a:gd name="connsiteY257" fmla="*/ 39207 h 248214"/>
                <a:gd name="connsiteX258" fmla="*/ 159083 w 180519"/>
                <a:gd name="connsiteY258" fmla="*/ 38924 h 248214"/>
                <a:gd name="connsiteX259" fmla="*/ 161621 w 180519"/>
                <a:gd name="connsiteY259" fmla="*/ 39489 h 248214"/>
                <a:gd name="connsiteX260" fmla="*/ 164724 w 180519"/>
                <a:gd name="connsiteY260" fmla="*/ 38924 h 248214"/>
                <a:gd name="connsiteX261" fmla="*/ 165852 w 180519"/>
                <a:gd name="connsiteY261" fmla="*/ 38924 h 248214"/>
                <a:gd name="connsiteX262" fmla="*/ 165852 w 180519"/>
                <a:gd name="connsiteY262" fmla="*/ 39207 h 248214"/>
                <a:gd name="connsiteX263" fmla="*/ 166134 w 180519"/>
                <a:gd name="connsiteY263" fmla="*/ 39489 h 248214"/>
                <a:gd name="connsiteX264" fmla="*/ 166698 w 180519"/>
                <a:gd name="connsiteY264" fmla="*/ 39207 h 248214"/>
                <a:gd name="connsiteX265" fmla="*/ 167827 w 180519"/>
                <a:gd name="connsiteY265" fmla="*/ 39207 h 248214"/>
                <a:gd name="connsiteX266" fmla="*/ 169801 w 180519"/>
                <a:gd name="connsiteY266" fmla="*/ 40053 h 248214"/>
                <a:gd name="connsiteX267" fmla="*/ 170365 w 180519"/>
                <a:gd name="connsiteY267" fmla="*/ 40617 h 248214"/>
                <a:gd name="connsiteX268" fmla="*/ 171493 w 180519"/>
                <a:gd name="connsiteY268" fmla="*/ 40335 h 248214"/>
                <a:gd name="connsiteX269" fmla="*/ 172058 w 180519"/>
                <a:gd name="connsiteY269" fmla="*/ 40335 h 248214"/>
                <a:gd name="connsiteX270" fmla="*/ 174314 w 180519"/>
                <a:gd name="connsiteY270" fmla="*/ 39771 h 248214"/>
                <a:gd name="connsiteX271" fmla="*/ 175724 w 180519"/>
                <a:gd name="connsiteY271" fmla="*/ 40617 h 248214"/>
                <a:gd name="connsiteX272" fmla="*/ 177981 w 180519"/>
                <a:gd name="connsiteY272" fmla="*/ 40617 h 248214"/>
                <a:gd name="connsiteX273" fmla="*/ 179109 w 180519"/>
                <a:gd name="connsiteY273" fmla="*/ 40335 h 248214"/>
                <a:gd name="connsiteX274" fmla="*/ 180520 w 180519"/>
                <a:gd name="connsiteY274" fmla="*/ 41181 h 248214"/>
                <a:gd name="connsiteX275" fmla="*/ 181084 w 180519"/>
                <a:gd name="connsiteY275" fmla="*/ 42027 h 248214"/>
                <a:gd name="connsiteX276" fmla="*/ 181084 w 180519"/>
                <a:gd name="connsiteY276" fmla="*/ 42309 h 248214"/>
                <a:gd name="connsiteX277" fmla="*/ 181648 w 180519"/>
                <a:gd name="connsiteY277" fmla="*/ 44566 h 248214"/>
                <a:gd name="connsiteX278" fmla="*/ 181648 w 180519"/>
                <a:gd name="connsiteY278" fmla="*/ 45130 h 248214"/>
                <a:gd name="connsiteX279" fmla="*/ 182494 w 180519"/>
                <a:gd name="connsiteY279" fmla="*/ 46258 h 248214"/>
                <a:gd name="connsiteX280" fmla="*/ 181930 w 180519"/>
                <a:gd name="connsiteY280" fmla="*/ 47668 h 248214"/>
                <a:gd name="connsiteX281" fmla="*/ 181930 w 180519"/>
                <a:gd name="connsiteY281" fmla="*/ 50771 h 248214"/>
                <a:gd name="connsiteX282" fmla="*/ 180801 w 180519"/>
                <a:gd name="connsiteY282" fmla="*/ 51899 h 248214"/>
                <a:gd name="connsiteX283" fmla="*/ 179955 w 180519"/>
                <a:gd name="connsiteY283" fmla="*/ 52745 h 248214"/>
                <a:gd name="connsiteX284" fmla="*/ 177981 w 180519"/>
                <a:gd name="connsiteY284" fmla="*/ 54156 h 248214"/>
                <a:gd name="connsiteX285" fmla="*/ 177417 w 180519"/>
                <a:gd name="connsiteY285" fmla="*/ 54720 h 248214"/>
                <a:gd name="connsiteX286" fmla="*/ 176570 w 180519"/>
                <a:gd name="connsiteY286" fmla="*/ 54720 h 248214"/>
                <a:gd name="connsiteX287" fmla="*/ 174314 w 180519"/>
                <a:gd name="connsiteY287" fmla="*/ 55566 h 248214"/>
                <a:gd name="connsiteX288" fmla="*/ 170648 w 180519"/>
                <a:gd name="connsiteY288" fmla="*/ 56694 h 248214"/>
                <a:gd name="connsiteX289" fmla="*/ 169519 w 180519"/>
                <a:gd name="connsiteY289" fmla="*/ 56976 h 248214"/>
                <a:gd name="connsiteX290" fmla="*/ 166698 w 180519"/>
                <a:gd name="connsiteY290" fmla="*/ 57541 h 248214"/>
                <a:gd name="connsiteX291" fmla="*/ 165852 w 180519"/>
                <a:gd name="connsiteY291" fmla="*/ 57541 h 248214"/>
                <a:gd name="connsiteX292" fmla="*/ 165288 w 180519"/>
                <a:gd name="connsiteY292" fmla="*/ 57823 h 248214"/>
                <a:gd name="connsiteX293" fmla="*/ 165288 w 180519"/>
                <a:gd name="connsiteY293" fmla="*/ 57541 h 248214"/>
                <a:gd name="connsiteX294" fmla="*/ 164160 w 180519"/>
                <a:gd name="connsiteY294" fmla="*/ 56130 h 248214"/>
                <a:gd name="connsiteX295" fmla="*/ 164724 w 180519"/>
                <a:gd name="connsiteY295" fmla="*/ 55566 h 248214"/>
                <a:gd name="connsiteX296" fmla="*/ 166134 w 180519"/>
                <a:gd name="connsiteY296" fmla="*/ 54438 h 248214"/>
                <a:gd name="connsiteX297" fmla="*/ 164160 w 180519"/>
                <a:gd name="connsiteY297" fmla="*/ 54438 h 248214"/>
                <a:gd name="connsiteX298" fmla="*/ 163878 w 180519"/>
                <a:gd name="connsiteY298" fmla="*/ 54156 h 248214"/>
                <a:gd name="connsiteX299" fmla="*/ 165288 w 180519"/>
                <a:gd name="connsiteY299" fmla="*/ 52745 h 248214"/>
                <a:gd name="connsiteX300" fmla="*/ 165852 w 180519"/>
                <a:gd name="connsiteY300" fmla="*/ 52745 h 248214"/>
                <a:gd name="connsiteX301" fmla="*/ 166698 w 180519"/>
                <a:gd name="connsiteY301" fmla="*/ 51899 h 248214"/>
                <a:gd name="connsiteX302" fmla="*/ 166698 w 180519"/>
                <a:gd name="connsiteY302" fmla="*/ 51617 h 248214"/>
                <a:gd name="connsiteX303" fmla="*/ 165852 w 180519"/>
                <a:gd name="connsiteY303" fmla="*/ 51335 h 248214"/>
                <a:gd name="connsiteX304" fmla="*/ 165288 w 180519"/>
                <a:gd name="connsiteY304" fmla="*/ 51617 h 248214"/>
                <a:gd name="connsiteX305" fmla="*/ 165006 w 180519"/>
                <a:gd name="connsiteY305" fmla="*/ 51617 h 248214"/>
                <a:gd name="connsiteX306" fmla="*/ 165288 w 180519"/>
                <a:gd name="connsiteY306" fmla="*/ 51335 h 248214"/>
                <a:gd name="connsiteX307" fmla="*/ 165570 w 180519"/>
                <a:gd name="connsiteY307" fmla="*/ 50771 h 248214"/>
                <a:gd name="connsiteX308" fmla="*/ 164160 w 180519"/>
                <a:gd name="connsiteY308" fmla="*/ 50207 h 248214"/>
                <a:gd name="connsiteX309" fmla="*/ 163314 w 180519"/>
                <a:gd name="connsiteY309" fmla="*/ 50207 h 248214"/>
                <a:gd name="connsiteX310" fmla="*/ 162467 w 180519"/>
                <a:gd name="connsiteY310" fmla="*/ 50771 h 248214"/>
                <a:gd name="connsiteX311" fmla="*/ 161057 w 180519"/>
                <a:gd name="connsiteY311" fmla="*/ 51335 h 248214"/>
                <a:gd name="connsiteX312" fmla="*/ 159647 w 180519"/>
                <a:gd name="connsiteY312" fmla="*/ 51335 h 248214"/>
                <a:gd name="connsiteX313" fmla="*/ 156544 w 180519"/>
                <a:gd name="connsiteY313" fmla="*/ 50771 h 248214"/>
                <a:gd name="connsiteX314" fmla="*/ 152595 w 180519"/>
                <a:gd name="connsiteY314" fmla="*/ 50771 h 248214"/>
                <a:gd name="connsiteX315" fmla="*/ 152031 w 180519"/>
                <a:gd name="connsiteY315" fmla="*/ 50489 h 248214"/>
                <a:gd name="connsiteX316" fmla="*/ 151749 w 180519"/>
                <a:gd name="connsiteY316" fmla="*/ 49925 h 248214"/>
                <a:gd name="connsiteX317" fmla="*/ 151749 w 180519"/>
                <a:gd name="connsiteY317" fmla="*/ 49361 h 248214"/>
                <a:gd name="connsiteX318" fmla="*/ 152314 w 180519"/>
                <a:gd name="connsiteY318" fmla="*/ 48232 h 248214"/>
                <a:gd name="connsiteX319" fmla="*/ 152031 w 180519"/>
                <a:gd name="connsiteY319" fmla="*/ 47950 h 248214"/>
                <a:gd name="connsiteX320" fmla="*/ 150903 w 180519"/>
                <a:gd name="connsiteY320" fmla="*/ 49079 h 248214"/>
                <a:gd name="connsiteX321" fmla="*/ 149493 w 180519"/>
                <a:gd name="connsiteY321" fmla="*/ 49643 h 248214"/>
                <a:gd name="connsiteX322" fmla="*/ 149211 w 180519"/>
                <a:gd name="connsiteY322" fmla="*/ 49643 h 248214"/>
                <a:gd name="connsiteX323" fmla="*/ 149493 w 180519"/>
                <a:gd name="connsiteY323" fmla="*/ 49079 h 248214"/>
                <a:gd name="connsiteX324" fmla="*/ 149211 w 180519"/>
                <a:gd name="connsiteY324" fmla="*/ 49079 h 248214"/>
                <a:gd name="connsiteX325" fmla="*/ 148364 w 180519"/>
                <a:gd name="connsiteY325" fmla="*/ 49925 h 248214"/>
                <a:gd name="connsiteX326" fmla="*/ 146954 w 180519"/>
                <a:gd name="connsiteY326" fmla="*/ 51053 h 248214"/>
                <a:gd name="connsiteX327" fmla="*/ 145262 w 180519"/>
                <a:gd name="connsiteY327" fmla="*/ 50771 h 248214"/>
                <a:gd name="connsiteX328" fmla="*/ 143852 w 180519"/>
                <a:gd name="connsiteY328" fmla="*/ 51335 h 248214"/>
                <a:gd name="connsiteX329" fmla="*/ 142723 w 180519"/>
                <a:gd name="connsiteY329" fmla="*/ 51617 h 248214"/>
                <a:gd name="connsiteX330" fmla="*/ 141313 w 180519"/>
                <a:gd name="connsiteY330" fmla="*/ 51335 h 248214"/>
                <a:gd name="connsiteX331" fmla="*/ 140749 w 180519"/>
                <a:gd name="connsiteY331" fmla="*/ 51335 h 248214"/>
                <a:gd name="connsiteX332" fmla="*/ 140185 w 180519"/>
                <a:gd name="connsiteY332" fmla="*/ 51053 h 248214"/>
                <a:gd name="connsiteX333" fmla="*/ 139621 w 180519"/>
                <a:gd name="connsiteY333" fmla="*/ 51053 h 248214"/>
                <a:gd name="connsiteX334" fmla="*/ 137928 w 180519"/>
                <a:gd name="connsiteY334" fmla="*/ 51335 h 248214"/>
                <a:gd name="connsiteX335" fmla="*/ 136236 w 180519"/>
                <a:gd name="connsiteY335" fmla="*/ 50771 h 248214"/>
                <a:gd name="connsiteX336" fmla="*/ 135672 w 180519"/>
                <a:gd name="connsiteY336" fmla="*/ 51053 h 248214"/>
                <a:gd name="connsiteX337" fmla="*/ 134544 w 180519"/>
                <a:gd name="connsiteY337" fmla="*/ 50489 h 248214"/>
                <a:gd name="connsiteX338" fmla="*/ 133980 w 180519"/>
                <a:gd name="connsiteY338" fmla="*/ 50207 h 248214"/>
                <a:gd name="connsiteX339" fmla="*/ 133133 w 180519"/>
                <a:gd name="connsiteY339" fmla="*/ 50489 h 248214"/>
                <a:gd name="connsiteX340" fmla="*/ 132287 w 180519"/>
                <a:gd name="connsiteY340" fmla="*/ 51335 h 248214"/>
                <a:gd name="connsiteX341" fmla="*/ 132005 w 180519"/>
                <a:gd name="connsiteY341" fmla="*/ 51335 h 248214"/>
                <a:gd name="connsiteX342" fmla="*/ 132005 w 180519"/>
                <a:gd name="connsiteY342" fmla="*/ 51053 h 248214"/>
                <a:gd name="connsiteX343" fmla="*/ 131441 w 180519"/>
                <a:gd name="connsiteY343" fmla="*/ 50771 h 248214"/>
                <a:gd name="connsiteX344" fmla="*/ 129749 w 180519"/>
                <a:gd name="connsiteY344" fmla="*/ 51899 h 248214"/>
                <a:gd name="connsiteX345" fmla="*/ 129749 w 180519"/>
                <a:gd name="connsiteY345" fmla="*/ 51335 h 248214"/>
                <a:gd name="connsiteX346" fmla="*/ 129466 w 180519"/>
                <a:gd name="connsiteY346" fmla="*/ 51053 h 248214"/>
                <a:gd name="connsiteX347" fmla="*/ 128902 w 180519"/>
                <a:gd name="connsiteY347" fmla="*/ 51617 h 248214"/>
                <a:gd name="connsiteX348" fmla="*/ 127774 w 180519"/>
                <a:gd name="connsiteY348" fmla="*/ 51899 h 248214"/>
                <a:gd name="connsiteX349" fmla="*/ 127492 w 180519"/>
                <a:gd name="connsiteY349" fmla="*/ 51899 h 248214"/>
                <a:gd name="connsiteX350" fmla="*/ 127492 w 180519"/>
                <a:gd name="connsiteY350" fmla="*/ 51335 h 248214"/>
                <a:gd name="connsiteX351" fmla="*/ 127210 w 180519"/>
                <a:gd name="connsiteY351" fmla="*/ 51335 h 248214"/>
                <a:gd name="connsiteX352" fmla="*/ 125799 w 180519"/>
                <a:gd name="connsiteY352" fmla="*/ 52181 h 248214"/>
                <a:gd name="connsiteX353" fmla="*/ 125235 w 180519"/>
                <a:gd name="connsiteY353" fmla="*/ 52181 h 248214"/>
                <a:gd name="connsiteX354" fmla="*/ 122415 w 180519"/>
                <a:gd name="connsiteY354" fmla="*/ 51617 h 248214"/>
                <a:gd name="connsiteX355" fmla="*/ 122132 w 180519"/>
                <a:gd name="connsiteY355" fmla="*/ 51335 h 248214"/>
                <a:gd name="connsiteX356" fmla="*/ 121568 w 180519"/>
                <a:gd name="connsiteY356" fmla="*/ 50771 h 248214"/>
                <a:gd name="connsiteX357" fmla="*/ 120440 w 180519"/>
                <a:gd name="connsiteY357" fmla="*/ 51335 h 248214"/>
                <a:gd name="connsiteX358" fmla="*/ 120158 w 180519"/>
                <a:gd name="connsiteY358" fmla="*/ 51617 h 248214"/>
                <a:gd name="connsiteX359" fmla="*/ 119594 w 180519"/>
                <a:gd name="connsiteY359" fmla="*/ 51335 h 248214"/>
                <a:gd name="connsiteX360" fmla="*/ 115927 w 180519"/>
                <a:gd name="connsiteY360" fmla="*/ 52463 h 248214"/>
                <a:gd name="connsiteX361" fmla="*/ 114799 w 180519"/>
                <a:gd name="connsiteY361" fmla="*/ 52745 h 248214"/>
                <a:gd name="connsiteX362" fmla="*/ 113671 w 180519"/>
                <a:gd name="connsiteY362" fmla="*/ 52745 h 248214"/>
                <a:gd name="connsiteX363" fmla="*/ 112825 w 180519"/>
                <a:gd name="connsiteY363" fmla="*/ 53028 h 248214"/>
                <a:gd name="connsiteX364" fmla="*/ 108029 w 180519"/>
                <a:gd name="connsiteY364" fmla="*/ 54156 h 248214"/>
                <a:gd name="connsiteX365" fmla="*/ 106055 w 180519"/>
                <a:gd name="connsiteY365" fmla="*/ 54438 h 248214"/>
                <a:gd name="connsiteX366" fmla="*/ 104927 w 180519"/>
                <a:gd name="connsiteY366" fmla="*/ 54438 h 248214"/>
                <a:gd name="connsiteX367" fmla="*/ 100978 w 180519"/>
                <a:gd name="connsiteY367" fmla="*/ 55284 h 248214"/>
                <a:gd name="connsiteX368" fmla="*/ 100414 w 180519"/>
                <a:gd name="connsiteY368" fmla="*/ 55002 h 248214"/>
                <a:gd name="connsiteX369" fmla="*/ 100414 w 180519"/>
                <a:gd name="connsiteY369" fmla="*/ 53310 h 248214"/>
                <a:gd name="connsiteX370" fmla="*/ 100978 w 180519"/>
                <a:gd name="connsiteY370" fmla="*/ 52745 h 248214"/>
                <a:gd name="connsiteX371" fmla="*/ 100696 w 180519"/>
                <a:gd name="connsiteY371" fmla="*/ 52463 h 248214"/>
                <a:gd name="connsiteX372" fmla="*/ 100414 w 180519"/>
                <a:gd name="connsiteY372" fmla="*/ 52745 h 248214"/>
                <a:gd name="connsiteX373" fmla="*/ 99850 w 180519"/>
                <a:gd name="connsiteY373" fmla="*/ 53028 h 248214"/>
                <a:gd name="connsiteX374" fmla="*/ 97876 w 180519"/>
                <a:gd name="connsiteY374" fmla="*/ 54438 h 248214"/>
                <a:gd name="connsiteX375" fmla="*/ 97029 w 180519"/>
                <a:gd name="connsiteY375" fmla="*/ 54438 h 248214"/>
                <a:gd name="connsiteX376" fmla="*/ 95055 w 180519"/>
                <a:gd name="connsiteY376" fmla="*/ 55284 h 248214"/>
                <a:gd name="connsiteX377" fmla="*/ 86875 w 180519"/>
                <a:gd name="connsiteY377" fmla="*/ 66849 h 248214"/>
                <a:gd name="connsiteX378" fmla="*/ 86311 w 180519"/>
                <a:gd name="connsiteY378" fmla="*/ 65720 h 248214"/>
                <a:gd name="connsiteX379" fmla="*/ 86311 w 180519"/>
                <a:gd name="connsiteY379" fmla="*/ 65438 h 248214"/>
                <a:gd name="connsiteX380" fmla="*/ 85747 w 180519"/>
                <a:gd name="connsiteY380" fmla="*/ 65720 h 248214"/>
                <a:gd name="connsiteX381" fmla="*/ 85464 w 180519"/>
                <a:gd name="connsiteY381" fmla="*/ 66002 h 248214"/>
                <a:gd name="connsiteX382" fmla="*/ 86593 w 180519"/>
                <a:gd name="connsiteY382" fmla="*/ 68823 h 248214"/>
                <a:gd name="connsiteX383" fmla="*/ 86593 w 180519"/>
                <a:gd name="connsiteY383" fmla="*/ 69105 h 248214"/>
                <a:gd name="connsiteX384" fmla="*/ 86029 w 180519"/>
                <a:gd name="connsiteY384" fmla="*/ 70515 h 248214"/>
                <a:gd name="connsiteX385" fmla="*/ 85183 w 180519"/>
                <a:gd name="connsiteY385" fmla="*/ 71079 h 248214"/>
                <a:gd name="connsiteX386" fmla="*/ 85747 w 180519"/>
                <a:gd name="connsiteY386" fmla="*/ 71644 h 248214"/>
                <a:gd name="connsiteX387" fmla="*/ 86029 w 180519"/>
                <a:gd name="connsiteY387" fmla="*/ 72208 h 248214"/>
                <a:gd name="connsiteX388" fmla="*/ 85747 w 180519"/>
                <a:gd name="connsiteY388" fmla="*/ 73618 h 248214"/>
                <a:gd name="connsiteX389" fmla="*/ 84900 w 180519"/>
                <a:gd name="connsiteY389" fmla="*/ 74182 h 248214"/>
                <a:gd name="connsiteX390" fmla="*/ 84054 w 180519"/>
                <a:gd name="connsiteY390" fmla="*/ 74746 h 248214"/>
                <a:gd name="connsiteX391" fmla="*/ 83208 w 180519"/>
                <a:gd name="connsiteY391" fmla="*/ 75310 h 248214"/>
                <a:gd name="connsiteX392" fmla="*/ 84054 w 180519"/>
                <a:gd name="connsiteY392" fmla="*/ 75875 h 248214"/>
                <a:gd name="connsiteX393" fmla="*/ 84336 w 180519"/>
                <a:gd name="connsiteY393" fmla="*/ 76439 h 248214"/>
                <a:gd name="connsiteX394" fmla="*/ 83208 w 180519"/>
                <a:gd name="connsiteY394" fmla="*/ 77567 h 248214"/>
                <a:gd name="connsiteX395" fmla="*/ 83208 w 180519"/>
                <a:gd name="connsiteY395" fmla="*/ 77849 h 248214"/>
                <a:gd name="connsiteX396" fmla="*/ 78978 w 180519"/>
                <a:gd name="connsiteY396" fmla="*/ 94491 h 248214"/>
                <a:gd name="connsiteX397" fmla="*/ 78131 w 180519"/>
                <a:gd name="connsiteY397" fmla="*/ 96747 h 248214"/>
                <a:gd name="connsiteX398" fmla="*/ 78131 w 180519"/>
                <a:gd name="connsiteY398" fmla="*/ 98721 h 248214"/>
                <a:gd name="connsiteX399" fmla="*/ 77285 w 180519"/>
                <a:gd name="connsiteY399" fmla="*/ 99568 h 248214"/>
                <a:gd name="connsiteX400" fmla="*/ 77567 w 180519"/>
                <a:gd name="connsiteY400" fmla="*/ 99850 h 248214"/>
                <a:gd name="connsiteX401" fmla="*/ 77285 w 180519"/>
                <a:gd name="connsiteY401" fmla="*/ 100978 h 248214"/>
                <a:gd name="connsiteX402" fmla="*/ 77285 w 180519"/>
                <a:gd name="connsiteY402" fmla="*/ 101542 h 248214"/>
                <a:gd name="connsiteX403" fmla="*/ 75875 w 180519"/>
                <a:gd name="connsiteY403" fmla="*/ 104081 h 248214"/>
                <a:gd name="connsiteX404" fmla="*/ 75311 w 180519"/>
                <a:gd name="connsiteY404" fmla="*/ 104927 h 248214"/>
                <a:gd name="connsiteX405" fmla="*/ 76157 w 180519"/>
                <a:gd name="connsiteY405" fmla="*/ 105491 h 248214"/>
                <a:gd name="connsiteX406" fmla="*/ 75592 w 180519"/>
                <a:gd name="connsiteY406" fmla="*/ 106055 h 248214"/>
                <a:gd name="connsiteX407" fmla="*/ 75875 w 180519"/>
                <a:gd name="connsiteY407" fmla="*/ 106337 h 248214"/>
                <a:gd name="connsiteX408" fmla="*/ 75875 w 180519"/>
                <a:gd name="connsiteY408" fmla="*/ 107183 h 248214"/>
                <a:gd name="connsiteX409" fmla="*/ 75311 w 180519"/>
                <a:gd name="connsiteY409" fmla="*/ 107183 h 248214"/>
                <a:gd name="connsiteX410" fmla="*/ 75592 w 180519"/>
                <a:gd name="connsiteY410" fmla="*/ 108594 h 248214"/>
                <a:gd name="connsiteX411" fmla="*/ 74747 w 180519"/>
                <a:gd name="connsiteY411" fmla="*/ 109722 h 248214"/>
                <a:gd name="connsiteX412" fmla="*/ 75028 w 180519"/>
                <a:gd name="connsiteY412" fmla="*/ 110286 h 248214"/>
                <a:gd name="connsiteX413" fmla="*/ 75028 w 180519"/>
                <a:gd name="connsiteY413" fmla="*/ 110568 h 248214"/>
                <a:gd name="connsiteX414" fmla="*/ 74464 w 180519"/>
                <a:gd name="connsiteY414" fmla="*/ 111132 h 248214"/>
                <a:gd name="connsiteX415" fmla="*/ 74182 w 180519"/>
                <a:gd name="connsiteY415" fmla="*/ 113107 h 248214"/>
                <a:gd name="connsiteX416" fmla="*/ 73900 w 180519"/>
                <a:gd name="connsiteY416" fmla="*/ 113953 h 248214"/>
                <a:gd name="connsiteX417" fmla="*/ 73336 w 180519"/>
                <a:gd name="connsiteY417" fmla="*/ 115363 h 248214"/>
                <a:gd name="connsiteX418" fmla="*/ 73618 w 180519"/>
                <a:gd name="connsiteY418" fmla="*/ 115927 h 248214"/>
                <a:gd name="connsiteX419" fmla="*/ 73618 w 180519"/>
                <a:gd name="connsiteY419" fmla="*/ 116491 h 248214"/>
                <a:gd name="connsiteX420" fmla="*/ 73054 w 180519"/>
                <a:gd name="connsiteY420" fmla="*/ 118184 h 248214"/>
                <a:gd name="connsiteX421" fmla="*/ 72490 w 180519"/>
                <a:gd name="connsiteY421" fmla="*/ 119030 h 248214"/>
                <a:gd name="connsiteX422" fmla="*/ 71080 w 180519"/>
                <a:gd name="connsiteY422" fmla="*/ 119876 h 248214"/>
                <a:gd name="connsiteX423" fmla="*/ 71644 w 180519"/>
                <a:gd name="connsiteY423" fmla="*/ 120158 h 248214"/>
                <a:gd name="connsiteX424" fmla="*/ 71926 w 180519"/>
                <a:gd name="connsiteY424" fmla="*/ 120722 h 248214"/>
                <a:gd name="connsiteX425" fmla="*/ 71926 w 180519"/>
                <a:gd name="connsiteY425" fmla="*/ 121286 h 248214"/>
                <a:gd name="connsiteX426" fmla="*/ 70516 w 180519"/>
                <a:gd name="connsiteY426" fmla="*/ 123261 h 248214"/>
                <a:gd name="connsiteX427" fmla="*/ 69951 w 180519"/>
                <a:gd name="connsiteY427" fmla="*/ 123825 h 248214"/>
                <a:gd name="connsiteX428" fmla="*/ 70233 w 180519"/>
                <a:gd name="connsiteY428" fmla="*/ 124107 h 248214"/>
                <a:gd name="connsiteX429" fmla="*/ 70516 w 180519"/>
                <a:gd name="connsiteY429" fmla="*/ 124953 h 248214"/>
                <a:gd name="connsiteX430" fmla="*/ 70797 w 180519"/>
                <a:gd name="connsiteY430" fmla="*/ 125517 h 248214"/>
                <a:gd name="connsiteX431" fmla="*/ 70516 w 180519"/>
                <a:gd name="connsiteY431" fmla="*/ 125799 h 248214"/>
                <a:gd name="connsiteX432" fmla="*/ 70797 w 180519"/>
                <a:gd name="connsiteY432" fmla="*/ 126363 h 248214"/>
                <a:gd name="connsiteX433" fmla="*/ 71361 w 180519"/>
                <a:gd name="connsiteY433" fmla="*/ 126363 h 248214"/>
                <a:gd name="connsiteX434" fmla="*/ 71361 w 180519"/>
                <a:gd name="connsiteY434" fmla="*/ 126646 h 248214"/>
                <a:gd name="connsiteX435" fmla="*/ 71080 w 180519"/>
                <a:gd name="connsiteY435" fmla="*/ 126928 h 248214"/>
                <a:gd name="connsiteX436" fmla="*/ 70516 w 180519"/>
                <a:gd name="connsiteY436" fmla="*/ 126928 h 248214"/>
                <a:gd name="connsiteX437" fmla="*/ 69951 w 180519"/>
                <a:gd name="connsiteY437" fmla="*/ 126363 h 248214"/>
                <a:gd name="connsiteX438" fmla="*/ 69669 w 180519"/>
                <a:gd name="connsiteY438" fmla="*/ 126363 h 248214"/>
                <a:gd name="connsiteX439" fmla="*/ 68823 w 180519"/>
                <a:gd name="connsiteY439" fmla="*/ 127774 h 248214"/>
                <a:gd name="connsiteX440" fmla="*/ 68541 w 180519"/>
                <a:gd name="connsiteY440" fmla="*/ 128056 h 248214"/>
                <a:gd name="connsiteX441" fmla="*/ 67977 w 180519"/>
                <a:gd name="connsiteY441" fmla="*/ 128056 h 248214"/>
                <a:gd name="connsiteX442" fmla="*/ 67130 w 180519"/>
                <a:gd name="connsiteY442" fmla="*/ 128338 h 248214"/>
                <a:gd name="connsiteX443" fmla="*/ 66849 w 180519"/>
                <a:gd name="connsiteY443" fmla="*/ 129466 h 248214"/>
                <a:gd name="connsiteX444" fmla="*/ 66849 w 180519"/>
                <a:gd name="connsiteY444" fmla="*/ 130030 h 248214"/>
                <a:gd name="connsiteX445" fmla="*/ 66566 w 180519"/>
                <a:gd name="connsiteY445" fmla="*/ 130594 h 248214"/>
                <a:gd name="connsiteX446" fmla="*/ 66566 w 180519"/>
                <a:gd name="connsiteY446" fmla="*/ 131723 h 248214"/>
                <a:gd name="connsiteX447" fmla="*/ 67130 w 180519"/>
                <a:gd name="connsiteY447" fmla="*/ 132851 h 248214"/>
                <a:gd name="connsiteX448" fmla="*/ 67130 w 180519"/>
                <a:gd name="connsiteY448" fmla="*/ 133133 h 248214"/>
                <a:gd name="connsiteX449" fmla="*/ 66849 w 180519"/>
                <a:gd name="connsiteY449" fmla="*/ 133415 h 248214"/>
                <a:gd name="connsiteX450" fmla="*/ 66002 w 180519"/>
                <a:gd name="connsiteY450" fmla="*/ 134825 h 248214"/>
                <a:gd name="connsiteX451" fmla="*/ 66285 w 180519"/>
                <a:gd name="connsiteY451" fmla="*/ 135389 h 248214"/>
                <a:gd name="connsiteX452" fmla="*/ 66566 w 180519"/>
                <a:gd name="connsiteY452" fmla="*/ 135389 h 248214"/>
                <a:gd name="connsiteX453" fmla="*/ 67413 w 180519"/>
                <a:gd name="connsiteY453" fmla="*/ 134825 h 248214"/>
                <a:gd name="connsiteX454" fmla="*/ 68541 w 180519"/>
                <a:gd name="connsiteY454" fmla="*/ 134261 h 248214"/>
                <a:gd name="connsiteX455" fmla="*/ 69387 w 180519"/>
                <a:gd name="connsiteY455" fmla="*/ 133697 h 248214"/>
                <a:gd name="connsiteX456" fmla="*/ 69951 w 180519"/>
                <a:gd name="connsiteY456" fmla="*/ 133697 h 248214"/>
                <a:gd name="connsiteX457" fmla="*/ 69951 w 180519"/>
                <a:gd name="connsiteY457" fmla="*/ 134261 h 248214"/>
                <a:gd name="connsiteX458" fmla="*/ 69105 w 180519"/>
                <a:gd name="connsiteY458" fmla="*/ 135389 h 248214"/>
                <a:gd name="connsiteX459" fmla="*/ 69105 w 180519"/>
                <a:gd name="connsiteY459" fmla="*/ 135954 h 248214"/>
                <a:gd name="connsiteX460" fmla="*/ 67413 w 180519"/>
                <a:gd name="connsiteY460" fmla="*/ 137082 h 248214"/>
                <a:gd name="connsiteX461" fmla="*/ 67130 w 180519"/>
                <a:gd name="connsiteY461" fmla="*/ 137928 h 248214"/>
                <a:gd name="connsiteX462" fmla="*/ 67130 w 180519"/>
                <a:gd name="connsiteY462" fmla="*/ 138774 h 248214"/>
                <a:gd name="connsiteX463" fmla="*/ 67413 w 180519"/>
                <a:gd name="connsiteY463" fmla="*/ 139338 h 248214"/>
                <a:gd name="connsiteX464" fmla="*/ 68541 w 180519"/>
                <a:gd name="connsiteY464" fmla="*/ 139902 h 248214"/>
                <a:gd name="connsiteX465" fmla="*/ 68541 w 180519"/>
                <a:gd name="connsiteY465" fmla="*/ 140185 h 248214"/>
                <a:gd name="connsiteX466" fmla="*/ 68259 w 180519"/>
                <a:gd name="connsiteY466" fmla="*/ 141031 h 248214"/>
                <a:gd name="connsiteX467" fmla="*/ 67695 w 180519"/>
                <a:gd name="connsiteY467" fmla="*/ 141595 h 248214"/>
                <a:gd name="connsiteX468" fmla="*/ 67413 w 180519"/>
                <a:gd name="connsiteY468" fmla="*/ 141877 h 248214"/>
                <a:gd name="connsiteX469" fmla="*/ 67695 w 180519"/>
                <a:gd name="connsiteY469" fmla="*/ 143005 h 248214"/>
                <a:gd name="connsiteX470" fmla="*/ 67413 w 180519"/>
                <a:gd name="connsiteY470" fmla="*/ 143287 h 248214"/>
                <a:gd name="connsiteX471" fmla="*/ 66849 w 180519"/>
                <a:gd name="connsiteY471" fmla="*/ 143005 h 248214"/>
                <a:gd name="connsiteX472" fmla="*/ 66849 w 180519"/>
                <a:gd name="connsiteY472" fmla="*/ 142723 h 248214"/>
                <a:gd name="connsiteX473" fmla="*/ 66566 w 180519"/>
                <a:gd name="connsiteY473" fmla="*/ 142441 h 248214"/>
                <a:gd name="connsiteX474" fmla="*/ 67130 w 180519"/>
                <a:gd name="connsiteY474" fmla="*/ 140749 h 248214"/>
                <a:gd name="connsiteX475" fmla="*/ 66849 w 180519"/>
                <a:gd name="connsiteY475" fmla="*/ 140185 h 248214"/>
                <a:gd name="connsiteX476" fmla="*/ 65156 w 180519"/>
                <a:gd name="connsiteY476" fmla="*/ 141595 h 248214"/>
                <a:gd name="connsiteX477" fmla="*/ 64874 w 180519"/>
                <a:gd name="connsiteY477" fmla="*/ 141877 h 248214"/>
                <a:gd name="connsiteX478" fmla="*/ 65156 w 180519"/>
                <a:gd name="connsiteY478" fmla="*/ 142159 h 248214"/>
                <a:gd name="connsiteX479" fmla="*/ 65720 w 180519"/>
                <a:gd name="connsiteY479" fmla="*/ 142441 h 248214"/>
                <a:gd name="connsiteX480" fmla="*/ 65720 w 180519"/>
                <a:gd name="connsiteY480" fmla="*/ 142723 h 248214"/>
                <a:gd name="connsiteX481" fmla="*/ 65156 w 180519"/>
                <a:gd name="connsiteY481" fmla="*/ 144133 h 248214"/>
                <a:gd name="connsiteX482" fmla="*/ 64310 w 180519"/>
                <a:gd name="connsiteY482" fmla="*/ 144697 h 248214"/>
                <a:gd name="connsiteX483" fmla="*/ 63464 w 180519"/>
                <a:gd name="connsiteY483" fmla="*/ 145262 h 248214"/>
                <a:gd name="connsiteX484" fmla="*/ 64028 w 180519"/>
                <a:gd name="connsiteY484" fmla="*/ 145826 h 248214"/>
                <a:gd name="connsiteX485" fmla="*/ 64592 w 180519"/>
                <a:gd name="connsiteY485" fmla="*/ 146954 h 248214"/>
                <a:gd name="connsiteX486" fmla="*/ 63746 w 180519"/>
                <a:gd name="connsiteY486" fmla="*/ 147800 h 248214"/>
                <a:gd name="connsiteX487" fmla="*/ 64028 w 180519"/>
                <a:gd name="connsiteY487" fmla="*/ 148082 h 248214"/>
                <a:gd name="connsiteX488" fmla="*/ 63746 w 180519"/>
                <a:gd name="connsiteY488" fmla="*/ 149210 h 248214"/>
                <a:gd name="connsiteX489" fmla="*/ 63182 w 180519"/>
                <a:gd name="connsiteY489" fmla="*/ 149775 h 248214"/>
                <a:gd name="connsiteX490" fmla="*/ 63746 w 180519"/>
                <a:gd name="connsiteY490" fmla="*/ 150621 h 248214"/>
                <a:gd name="connsiteX491" fmla="*/ 64028 w 180519"/>
                <a:gd name="connsiteY491" fmla="*/ 150903 h 248214"/>
                <a:gd name="connsiteX492" fmla="*/ 63464 w 180519"/>
                <a:gd name="connsiteY492" fmla="*/ 151467 h 248214"/>
                <a:gd name="connsiteX493" fmla="*/ 62618 w 180519"/>
                <a:gd name="connsiteY493" fmla="*/ 153159 h 248214"/>
                <a:gd name="connsiteX494" fmla="*/ 62618 w 180519"/>
                <a:gd name="connsiteY494" fmla="*/ 153441 h 248214"/>
                <a:gd name="connsiteX495" fmla="*/ 62900 w 180519"/>
                <a:gd name="connsiteY495" fmla="*/ 154570 h 248214"/>
                <a:gd name="connsiteX496" fmla="*/ 62618 w 180519"/>
                <a:gd name="connsiteY496" fmla="*/ 155416 h 248214"/>
                <a:gd name="connsiteX497" fmla="*/ 62618 w 180519"/>
                <a:gd name="connsiteY497" fmla="*/ 156544 h 248214"/>
                <a:gd name="connsiteX498" fmla="*/ 62900 w 180519"/>
                <a:gd name="connsiteY498" fmla="*/ 157108 h 248214"/>
                <a:gd name="connsiteX499" fmla="*/ 63182 w 180519"/>
                <a:gd name="connsiteY499" fmla="*/ 157390 h 248214"/>
                <a:gd name="connsiteX500" fmla="*/ 62618 w 180519"/>
                <a:gd name="connsiteY500" fmla="*/ 157954 h 248214"/>
                <a:gd name="connsiteX501" fmla="*/ 62336 w 180519"/>
                <a:gd name="connsiteY501" fmla="*/ 159647 h 248214"/>
                <a:gd name="connsiteX502" fmla="*/ 62054 w 180519"/>
                <a:gd name="connsiteY502" fmla="*/ 160211 h 248214"/>
                <a:gd name="connsiteX503" fmla="*/ 62336 w 180519"/>
                <a:gd name="connsiteY503" fmla="*/ 160775 h 248214"/>
                <a:gd name="connsiteX504" fmla="*/ 62336 w 180519"/>
                <a:gd name="connsiteY504" fmla="*/ 161621 h 248214"/>
                <a:gd name="connsiteX505" fmla="*/ 61208 w 180519"/>
                <a:gd name="connsiteY505" fmla="*/ 162467 h 248214"/>
                <a:gd name="connsiteX506" fmla="*/ 60644 w 180519"/>
                <a:gd name="connsiteY506" fmla="*/ 162749 h 248214"/>
                <a:gd name="connsiteX507" fmla="*/ 60925 w 180519"/>
                <a:gd name="connsiteY507" fmla="*/ 163596 h 248214"/>
                <a:gd name="connsiteX508" fmla="*/ 62054 w 180519"/>
                <a:gd name="connsiteY508" fmla="*/ 164724 h 248214"/>
                <a:gd name="connsiteX509" fmla="*/ 61772 w 180519"/>
                <a:gd name="connsiteY509" fmla="*/ 165288 h 248214"/>
                <a:gd name="connsiteX510" fmla="*/ 62054 w 180519"/>
                <a:gd name="connsiteY510" fmla="*/ 165570 h 248214"/>
                <a:gd name="connsiteX511" fmla="*/ 62054 w 180519"/>
                <a:gd name="connsiteY511" fmla="*/ 166698 h 248214"/>
                <a:gd name="connsiteX512" fmla="*/ 61208 w 180519"/>
                <a:gd name="connsiteY512" fmla="*/ 167827 h 248214"/>
                <a:gd name="connsiteX513" fmla="*/ 61208 w 180519"/>
                <a:gd name="connsiteY513" fmla="*/ 169519 h 248214"/>
                <a:gd name="connsiteX514" fmla="*/ 60925 w 180519"/>
                <a:gd name="connsiteY514" fmla="*/ 170365 h 248214"/>
                <a:gd name="connsiteX515" fmla="*/ 60644 w 180519"/>
                <a:gd name="connsiteY515" fmla="*/ 170929 h 248214"/>
                <a:gd name="connsiteX516" fmla="*/ 60925 w 180519"/>
                <a:gd name="connsiteY516" fmla="*/ 171493 h 248214"/>
                <a:gd name="connsiteX517" fmla="*/ 62054 w 180519"/>
                <a:gd name="connsiteY517" fmla="*/ 171493 h 248214"/>
                <a:gd name="connsiteX518" fmla="*/ 62618 w 180519"/>
                <a:gd name="connsiteY518" fmla="*/ 170929 h 248214"/>
                <a:gd name="connsiteX519" fmla="*/ 62900 w 180519"/>
                <a:gd name="connsiteY519" fmla="*/ 170929 h 248214"/>
                <a:gd name="connsiteX520" fmla="*/ 63182 w 180519"/>
                <a:gd name="connsiteY520" fmla="*/ 171211 h 248214"/>
                <a:gd name="connsiteX521" fmla="*/ 63464 w 180519"/>
                <a:gd name="connsiteY521" fmla="*/ 172340 h 248214"/>
                <a:gd name="connsiteX522" fmla="*/ 63746 w 180519"/>
                <a:gd name="connsiteY522" fmla="*/ 172622 h 248214"/>
                <a:gd name="connsiteX523" fmla="*/ 64028 w 180519"/>
                <a:gd name="connsiteY523" fmla="*/ 173186 h 248214"/>
                <a:gd name="connsiteX524" fmla="*/ 63182 w 180519"/>
                <a:gd name="connsiteY524" fmla="*/ 174032 h 248214"/>
                <a:gd name="connsiteX525" fmla="*/ 62618 w 180519"/>
                <a:gd name="connsiteY525" fmla="*/ 174314 h 248214"/>
                <a:gd name="connsiteX526" fmla="*/ 61489 w 180519"/>
                <a:gd name="connsiteY526" fmla="*/ 172904 h 248214"/>
                <a:gd name="connsiteX527" fmla="*/ 61208 w 180519"/>
                <a:gd name="connsiteY527" fmla="*/ 172622 h 248214"/>
                <a:gd name="connsiteX528" fmla="*/ 60925 w 180519"/>
                <a:gd name="connsiteY528" fmla="*/ 173186 h 248214"/>
                <a:gd name="connsiteX529" fmla="*/ 60079 w 180519"/>
                <a:gd name="connsiteY529" fmla="*/ 174878 h 248214"/>
                <a:gd name="connsiteX530" fmla="*/ 60079 w 180519"/>
                <a:gd name="connsiteY530" fmla="*/ 175160 h 248214"/>
                <a:gd name="connsiteX531" fmla="*/ 59797 w 180519"/>
                <a:gd name="connsiteY531" fmla="*/ 178263 h 248214"/>
                <a:gd name="connsiteX532" fmla="*/ 59797 w 180519"/>
                <a:gd name="connsiteY532" fmla="*/ 179391 h 248214"/>
                <a:gd name="connsiteX533" fmla="*/ 59515 w 180519"/>
                <a:gd name="connsiteY533" fmla="*/ 180237 h 248214"/>
                <a:gd name="connsiteX534" fmla="*/ 59515 w 180519"/>
                <a:gd name="connsiteY534" fmla="*/ 181365 h 248214"/>
                <a:gd name="connsiteX535" fmla="*/ 59797 w 180519"/>
                <a:gd name="connsiteY535" fmla="*/ 181930 h 248214"/>
                <a:gd name="connsiteX536" fmla="*/ 59797 w 180519"/>
                <a:gd name="connsiteY536" fmla="*/ 183058 h 248214"/>
                <a:gd name="connsiteX537" fmla="*/ 59233 w 180519"/>
                <a:gd name="connsiteY537" fmla="*/ 183904 h 248214"/>
                <a:gd name="connsiteX538" fmla="*/ 59233 w 180519"/>
                <a:gd name="connsiteY538" fmla="*/ 184750 h 248214"/>
                <a:gd name="connsiteX539" fmla="*/ 59515 w 180519"/>
                <a:gd name="connsiteY539" fmla="*/ 186443 h 248214"/>
                <a:gd name="connsiteX540" fmla="*/ 59233 w 180519"/>
                <a:gd name="connsiteY540" fmla="*/ 187853 h 248214"/>
                <a:gd name="connsiteX541" fmla="*/ 59233 w 180519"/>
                <a:gd name="connsiteY541" fmla="*/ 188135 h 248214"/>
                <a:gd name="connsiteX542" fmla="*/ 59515 w 180519"/>
                <a:gd name="connsiteY542" fmla="*/ 188417 h 248214"/>
                <a:gd name="connsiteX543" fmla="*/ 59797 w 180519"/>
                <a:gd name="connsiteY543" fmla="*/ 188417 h 248214"/>
                <a:gd name="connsiteX544" fmla="*/ 60079 w 180519"/>
                <a:gd name="connsiteY544" fmla="*/ 188981 h 248214"/>
                <a:gd name="connsiteX545" fmla="*/ 59515 w 180519"/>
                <a:gd name="connsiteY545" fmla="*/ 189827 h 248214"/>
                <a:gd name="connsiteX546" fmla="*/ 59515 w 180519"/>
                <a:gd name="connsiteY546" fmla="*/ 192084 h 248214"/>
                <a:gd name="connsiteX547" fmla="*/ 59797 w 180519"/>
                <a:gd name="connsiteY547" fmla="*/ 192366 h 248214"/>
                <a:gd name="connsiteX548" fmla="*/ 60079 w 180519"/>
                <a:gd name="connsiteY548" fmla="*/ 192366 h 248214"/>
                <a:gd name="connsiteX549" fmla="*/ 60644 w 180519"/>
                <a:gd name="connsiteY549" fmla="*/ 190956 h 248214"/>
                <a:gd name="connsiteX550" fmla="*/ 60925 w 180519"/>
                <a:gd name="connsiteY550" fmla="*/ 190673 h 248214"/>
                <a:gd name="connsiteX551" fmla="*/ 61208 w 180519"/>
                <a:gd name="connsiteY551" fmla="*/ 190956 h 248214"/>
                <a:gd name="connsiteX552" fmla="*/ 62054 w 180519"/>
                <a:gd name="connsiteY552" fmla="*/ 192084 h 248214"/>
                <a:gd name="connsiteX553" fmla="*/ 61489 w 180519"/>
                <a:gd name="connsiteY553" fmla="*/ 192648 h 248214"/>
                <a:gd name="connsiteX554" fmla="*/ 62054 w 180519"/>
                <a:gd name="connsiteY554" fmla="*/ 192930 h 248214"/>
                <a:gd name="connsiteX555" fmla="*/ 61772 w 180519"/>
                <a:gd name="connsiteY555" fmla="*/ 195751 h 248214"/>
                <a:gd name="connsiteX556" fmla="*/ 61208 w 180519"/>
                <a:gd name="connsiteY556" fmla="*/ 195751 h 248214"/>
                <a:gd name="connsiteX557" fmla="*/ 60644 w 180519"/>
                <a:gd name="connsiteY557" fmla="*/ 195186 h 248214"/>
                <a:gd name="connsiteX558" fmla="*/ 60079 w 180519"/>
                <a:gd name="connsiteY558" fmla="*/ 194058 h 248214"/>
                <a:gd name="connsiteX559" fmla="*/ 60644 w 180519"/>
                <a:gd name="connsiteY559" fmla="*/ 193212 h 248214"/>
                <a:gd name="connsiteX560" fmla="*/ 60925 w 180519"/>
                <a:gd name="connsiteY560" fmla="*/ 192930 h 248214"/>
                <a:gd name="connsiteX561" fmla="*/ 60644 w 180519"/>
                <a:gd name="connsiteY561" fmla="*/ 192930 h 248214"/>
                <a:gd name="connsiteX562" fmla="*/ 60079 w 180519"/>
                <a:gd name="connsiteY562" fmla="*/ 192648 h 248214"/>
                <a:gd name="connsiteX563" fmla="*/ 59233 w 180519"/>
                <a:gd name="connsiteY563" fmla="*/ 194058 h 248214"/>
                <a:gd name="connsiteX564" fmla="*/ 59233 w 180519"/>
                <a:gd name="connsiteY564" fmla="*/ 194904 h 248214"/>
                <a:gd name="connsiteX565" fmla="*/ 58387 w 180519"/>
                <a:gd name="connsiteY565" fmla="*/ 195751 h 248214"/>
                <a:gd name="connsiteX566" fmla="*/ 58951 w 180519"/>
                <a:gd name="connsiteY566" fmla="*/ 196315 h 248214"/>
                <a:gd name="connsiteX567" fmla="*/ 59515 w 180519"/>
                <a:gd name="connsiteY567" fmla="*/ 196879 h 248214"/>
                <a:gd name="connsiteX568" fmla="*/ 58669 w 180519"/>
                <a:gd name="connsiteY568" fmla="*/ 197443 h 248214"/>
                <a:gd name="connsiteX569" fmla="*/ 58669 w 180519"/>
                <a:gd name="connsiteY569" fmla="*/ 198007 h 248214"/>
                <a:gd name="connsiteX570" fmla="*/ 60079 w 180519"/>
                <a:gd name="connsiteY570" fmla="*/ 198571 h 248214"/>
                <a:gd name="connsiteX571" fmla="*/ 60925 w 180519"/>
                <a:gd name="connsiteY571" fmla="*/ 198571 h 248214"/>
                <a:gd name="connsiteX572" fmla="*/ 62054 w 180519"/>
                <a:gd name="connsiteY572" fmla="*/ 198853 h 248214"/>
                <a:gd name="connsiteX573" fmla="*/ 61772 w 180519"/>
                <a:gd name="connsiteY573" fmla="*/ 199982 h 248214"/>
                <a:gd name="connsiteX574" fmla="*/ 62054 w 180519"/>
                <a:gd name="connsiteY574" fmla="*/ 204777 h 248214"/>
                <a:gd name="connsiteX575" fmla="*/ 62054 w 180519"/>
                <a:gd name="connsiteY575" fmla="*/ 205905 h 248214"/>
                <a:gd name="connsiteX576" fmla="*/ 61489 w 180519"/>
                <a:gd name="connsiteY576" fmla="*/ 206187 h 248214"/>
                <a:gd name="connsiteX577" fmla="*/ 61772 w 180519"/>
                <a:gd name="connsiteY577" fmla="*/ 207033 h 248214"/>
                <a:gd name="connsiteX578" fmla="*/ 62054 w 180519"/>
                <a:gd name="connsiteY578" fmla="*/ 209290 h 248214"/>
                <a:gd name="connsiteX579" fmla="*/ 61772 w 180519"/>
                <a:gd name="connsiteY579" fmla="*/ 209854 h 248214"/>
                <a:gd name="connsiteX580" fmla="*/ 61208 w 180519"/>
                <a:gd name="connsiteY580" fmla="*/ 210700 h 248214"/>
                <a:gd name="connsiteX581" fmla="*/ 61208 w 180519"/>
                <a:gd name="connsiteY581" fmla="*/ 212392 h 248214"/>
                <a:gd name="connsiteX582" fmla="*/ 61772 w 180519"/>
                <a:gd name="connsiteY582" fmla="*/ 212674 h 248214"/>
                <a:gd name="connsiteX583" fmla="*/ 61489 w 180519"/>
                <a:gd name="connsiteY583" fmla="*/ 212956 h 248214"/>
                <a:gd name="connsiteX584" fmla="*/ 62054 w 180519"/>
                <a:gd name="connsiteY584" fmla="*/ 213803 h 248214"/>
                <a:gd name="connsiteX585" fmla="*/ 62054 w 180519"/>
                <a:gd name="connsiteY585" fmla="*/ 214085 h 248214"/>
                <a:gd name="connsiteX586" fmla="*/ 61489 w 180519"/>
                <a:gd name="connsiteY586" fmla="*/ 214649 h 248214"/>
                <a:gd name="connsiteX587" fmla="*/ 61772 w 180519"/>
                <a:gd name="connsiteY587" fmla="*/ 215213 h 248214"/>
                <a:gd name="connsiteX588" fmla="*/ 61489 w 180519"/>
                <a:gd name="connsiteY588" fmla="*/ 215495 h 248214"/>
                <a:gd name="connsiteX589" fmla="*/ 61208 w 180519"/>
                <a:gd name="connsiteY589" fmla="*/ 215777 h 248214"/>
                <a:gd name="connsiteX590" fmla="*/ 60925 w 180519"/>
                <a:gd name="connsiteY590" fmla="*/ 215495 h 248214"/>
                <a:gd name="connsiteX591" fmla="*/ 60925 w 180519"/>
                <a:gd name="connsiteY591" fmla="*/ 214649 h 248214"/>
                <a:gd name="connsiteX592" fmla="*/ 60079 w 180519"/>
                <a:gd name="connsiteY592" fmla="*/ 214085 h 248214"/>
                <a:gd name="connsiteX593" fmla="*/ 59797 w 180519"/>
                <a:gd name="connsiteY593" fmla="*/ 214649 h 248214"/>
                <a:gd name="connsiteX594" fmla="*/ 59515 w 180519"/>
                <a:gd name="connsiteY594" fmla="*/ 217751 h 248214"/>
                <a:gd name="connsiteX595" fmla="*/ 60361 w 180519"/>
                <a:gd name="connsiteY595" fmla="*/ 218033 h 248214"/>
                <a:gd name="connsiteX596" fmla="*/ 60925 w 180519"/>
                <a:gd name="connsiteY596" fmla="*/ 217469 h 248214"/>
                <a:gd name="connsiteX597" fmla="*/ 61772 w 180519"/>
                <a:gd name="connsiteY597" fmla="*/ 217751 h 248214"/>
                <a:gd name="connsiteX598" fmla="*/ 62054 w 180519"/>
                <a:gd name="connsiteY598" fmla="*/ 218598 h 248214"/>
                <a:gd name="connsiteX599" fmla="*/ 62054 w 180519"/>
                <a:gd name="connsiteY599" fmla="*/ 219726 h 248214"/>
                <a:gd name="connsiteX600" fmla="*/ 62618 w 180519"/>
                <a:gd name="connsiteY600" fmla="*/ 220854 h 248214"/>
                <a:gd name="connsiteX601" fmla="*/ 62618 w 180519"/>
                <a:gd name="connsiteY601" fmla="*/ 221982 h 248214"/>
                <a:gd name="connsiteX602" fmla="*/ 62336 w 180519"/>
                <a:gd name="connsiteY602" fmla="*/ 222828 h 248214"/>
                <a:gd name="connsiteX603" fmla="*/ 62900 w 180519"/>
                <a:gd name="connsiteY603" fmla="*/ 223957 h 248214"/>
                <a:gd name="connsiteX604" fmla="*/ 62900 w 180519"/>
                <a:gd name="connsiteY604" fmla="*/ 224803 h 248214"/>
                <a:gd name="connsiteX605" fmla="*/ 63182 w 180519"/>
                <a:gd name="connsiteY605" fmla="*/ 225367 h 248214"/>
                <a:gd name="connsiteX606" fmla="*/ 63182 w 180519"/>
                <a:gd name="connsiteY606" fmla="*/ 225649 h 248214"/>
                <a:gd name="connsiteX607" fmla="*/ 63182 w 180519"/>
                <a:gd name="connsiteY607" fmla="*/ 227624 h 248214"/>
                <a:gd name="connsiteX608" fmla="*/ 64028 w 180519"/>
                <a:gd name="connsiteY608" fmla="*/ 229034 h 248214"/>
                <a:gd name="connsiteX609" fmla="*/ 64028 w 180519"/>
                <a:gd name="connsiteY609" fmla="*/ 229880 h 248214"/>
                <a:gd name="connsiteX610" fmla="*/ 64874 w 180519"/>
                <a:gd name="connsiteY610" fmla="*/ 230726 h 248214"/>
                <a:gd name="connsiteX611" fmla="*/ 64874 w 180519"/>
                <a:gd name="connsiteY611" fmla="*/ 231290 h 248214"/>
                <a:gd name="connsiteX612" fmla="*/ 66566 w 180519"/>
                <a:gd name="connsiteY612" fmla="*/ 231008 h 248214"/>
                <a:gd name="connsiteX613" fmla="*/ 68259 w 180519"/>
                <a:gd name="connsiteY613" fmla="*/ 230162 h 248214"/>
                <a:gd name="connsiteX614" fmla="*/ 69669 w 180519"/>
                <a:gd name="connsiteY614" fmla="*/ 229034 h 248214"/>
                <a:gd name="connsiteX615" fmla="*/ 70516 w 180519"/>
                <a:gd name="connsiteY615" fmla="*/ 227624 h 248214"/>
                <a:gd name="connsiteX616" fmla="*/ 70516 w 180519"/>
                <a:gd name="connsiteY616" fmla="*/ 227341 h 248214"/>
                <a:gd name="connsiteX617" fmla="*/ 72490 w 180519"/>
                <a:gd name="connsiteY617" fmla="*/ 225367 h 248214"/>
                <a:gd name="connsiteX618" fmla="*/ 73618 w 180519"/>
                <a:gd name="connsiteY618" fmla="*/ 224239 h 248214"/>
                <a:gd name="connsiteX619" fmla="*/ 73618 w 180519"/>
                <a:gd name="connsiteY619" fmla="*/ 223393 h 248214"/>
                <a:gd name="connsiteX620" fmla="*/ 73900 w 180519"/>
                <a:gd name="connsiteY620" fmla="*/ 222828 h 248214"/>
                <a:gd name="connsiteX621" fmla="*/ 74464 w 180519"/>
                <a:gd name="connsiteY621" fmla="*/ 222264 h 248214"/>
                <a:gd name="connsiteX622" fmla="*/ 74747 w 180519"/>
                <a:gd name="connsiteY622" fmla="*/ 221136 h 248214"/>
                <a:gd name="connsiteX623" fmla="*/ 75875 w 180519"/>
                <a:gd name="connsiteY623" fmla="*/ 220290 h 248214"/>
                <a:gd name="connsiteX624" fmla="*/ 76721 w 180519"/>
                <a:gd name="connsiteY624" fmla="*/ 218880 h 248214"/>
                <a:gd name="connsiteX625" fmla="*/ 76721 w 180519"/>
                <a:gd name="connsiteY625" fmla="*/ 218315 h 248214"/>
                <a:gd name="connsiteX626" fmla="*/ 77285 w 180519"/>
                <a:gd name="connsiteY626" fmla="*/ 216623 h 248214"/>
                <a:gd name="connsiteX627" fmla="*/ 79259 w 180519"/>
                <a:gd name="connsiteY627" fmla="*/ 214931 h 248214"/>
                <a:gd name="connsiteX628" fmla="*/ 79823 w 180519"/>
                <a:gd name="connsiteY628" fmla="*/ 213520 h 248214"/>
                <a:gd name="connsiteX629" fmla="*/ 80388 w 180519"/>
                <a:gd name="connsiteY629" fmla="*/ 212392 h 248214"/>
                <a:gd name="connsiteX630" fmla="*/ 80106 w 180519"/>
                <a:gd name="connsiteY630" fmla="*/ 212110 h 248214"/>
                <a:gd name="connsiteX631" fmla="*/ 80670 w 180519"/>
                <a:gd name="connsiteY631" fmla="*/ 210982 h 248214"/>
                <a:gd name="connsiteX632" fmla="*/ 81516 w 180519"/>
                <a:gd name="connsiteY632" fmla="*/ 209290 h 248214"/>
                <a:gd name="connsiteX633" fmla="*/ 82926 w 180519"/>
                <a:gd name="connsiteY633" fmla="*/ 207033 h 248214"/>
                <a:gd name="connsiteX634" fmla="*/ 82926 w 180519"/>
                <a:gd name="connsiteY634" fmla="*/ 206751 h 248214"/>
                <a:gd name="connsiteX635" fmla="*/ 83772 w 180519"/>
                <a:gd name="connsiteY635" fmla="*/ 206187 h 248214"/>
                <a:gd name="connsiteX636" fmla="*/ 83490 w 180519"/>
                <a:gd name="connsiteY636" fmla="*/ 206187 h 248214"/>
                <a:gd name="connsiteX637" fmla="*/ 84336 w 180519"/>
                <a:gd name="connsiteY637" fmla="*/ 204495 h 248214"/>
                <a:gd name="connsiteX638" fmla="*/ 84619 w 180519"/>
                <a:gd name="connsiteY638" fmla="*/ 203366 h 248214"/>
                <a:gd name="connsiteX639" fmla="*/ 85747 w 180519"/>
                <a:gd name="connsiteY639" fmla="*/ 202238 h 248214"/>
                <a:gd name="connsiteX640" fmla="*/ 85464 w 180519"/>
                <a:gd name="connsiteY640" fmla="*/ 201392 h 248214"/>
                <a:gd name="connsiteX641" fmla="*/ 85747 w 180519"/>
                <a:gd name="connsiteY641" fmla="*/ 200828 h 248214"/>
                <a:gd name="connsiteX642" fmla="*/ 86593 w 180519"/>
                <a:gd name="connsiteY642" fmla="*/ 199982 h 248214"/>
                <a:gd name="connsiteX643" fmla="*/ 87157 w 180519"/>
                <a:gd name="connsiteY643" fmla="*/ 198571 h 248214"/>
                <a:gd name="connsiteX644" fmla="*/ 88567 w 180519"/>
                <a:gd name="connsiteY644" fmla="*/ 196879 h 248214"/>
                <a:gd name="connsiteX645" fmla="*/ 89978 w 180519"/>
                <a:gd name="connsiteY645" fmla="*/ 194058 h 248214"/>
                <a:gd name="connsiteX646" fmla="*/ 90542 w 180519"/>
                <a:gd name="connsiteY646" fmla="*/ 193212 h 248214"/>
                <a:gd name="connsiteX647" fmla="*/ 91388 w 180519"/>
                <a:gd name="connsiteY647" fmla="*/ 190956 h 248214"/>
                <a:gd name="connsiteX648" fmla="*/ 92516 w 180519"/>
                <a:gd name="connsiteY648" fmla="*/ 189263 h 248214"/>
                <a:gd name="connsiteX649" fmla="*/ 92234 w 180519"/>
                <a:gd name="connsiteY649" fmla="*/ 188981 h 248214"/>
                <a:gd name="connsiteX650" fmla="*/ 92798 w 180519"/>
                <a:gd name="connsiteY650" fmla="*/ 187853 h 248214"/>
                <a:gd name="connsiteX651" fmla="*/ 94209 w 180519"/>
                <a:gd name="connsiteY651" fmla="*/ 185878 h 248214"/>
                <a:gd name="connsiteX652" fmla="*/ 93926 w 180519"/>
                <a:gd name="connsiteY652" fmla="*/ 185314 h 248214"/>
                <a:gd name="connsiteX653" fmla="*/ 94209 w 180519"/>
                <a:gd name="connsiteY653" fmla="*/ 184468 h 248214"/>
                <a:gd name="connsiteX654" fmla="*/ 95619 w 180519"/>
                <a:gd name="connsiteY654" fmla="*/ 183058 h 248214"/>
                <a:gd name="connsiteX655" fmla="*/ 96183 w 180519"/>
                <a:gd name="connsiteY655" fmla="*/ 181648 h 248214"/>
                <a:gd name="connsiteX656" fmla="*/ 96465 w 180519"/>
                <a:gd name="connsiteY656" fmla="*/ 180519 h 248214"/>
                <a:gd name="connsiteX657" fmla="*/ 96183 w 180519"/>
                <a:gd name="connsiteY657" fmla="*/ 180237 h 248214"/>
                <a:gd name="connsiteX658" fmla="*/ 96747 w 180519"/>
                <a:gd name="connsiteY658" fmla="*/ 179391 h 248214"/>
                <a:gd name="connsiteX659" fmla="*/ 97876 w 180519"/>
                <a:gd name="connsiteY659" fmla="*/ 178263 h 248214"/>
                <a:gd name="connsiteX660" fmla="*/ 98157 w 180519"/>
                <a:gd name="connsiteY660" fmla="*/ 177417 h 248214"/>
                <a:gd name="connsiteX661" fmla="*/ 98722 w 180519"/>
                <a:gd name="connsiteY661" fmla="*/ 176288 h 248214"/>
                <a:gd name="connsiteX662" fmla="*/ 99850 w 180519"/>
                <a:gd name="connsiteY662" fmla="*/ 175160 h 248214"/>
                <a:gd name="connsiteX663" fmla="*/ 99568 w 180519"/>
                <a:gd name="connsiteY663" fmla="*/ 174314 h 248214"/>
                <a:gd name="connsiteX664" fmla="*/ 99850 w 180519"/>
                <a:gd name="connsiteY664" fmla="*/ 173186 h 248214"/>
                <a:gd name="connsiteX665" fmla="*/ 100414 w 180519"/>
                <a:gd name="connsiteY665" fmla="*/ 172622 h 248214"/>
                <a:gd name="connsiteX666" fmla="*/ 100414 w 180519"/>
                <a:gd name="connsiteY666" fmla="*/ 172340 h 248214"/>
                <a:gd name="connsiteX667" fmla="*/ 100978 w 180519"/>
                <a:gd name="connsiteY667" fmla="*/ 171775 h 248214"/>
                <a:gd name="connsiteX668" fmla="*/ 101260 w 180519"/>
                <a:gd name="connsiteY668" fmla="*/ 171211 h 248214"/>
                <a:gd name="connsiteX669" fmla="*/ 101824 w 180519"/>
                <a:gd name="connsiteY669" fmla="*/ 170365 h 248214"/>
                <a:gd name="connsiteX670" fmla="*/ 101824 w 180519"/>
                <a:gd name="connsiteY670" fmla="*/ 169801 h 248214"/>
                <a:gd name="connsiteX671" fmla="*/ 102106 w 180519"/>
                <a:gd name="connsiteY671" fmla="*/ 169519 h 248214"/>
                <a:gd name="connsiteX672" fmla="*/ 103517 w 180519"/>
                <a:gd name="connsiteY672" fmla="*/ 166416 h 248214"/>
                <a:gd name="connsiteX673" fmla="*/ 103798 w 180519"/>
                <a:gd name="connsiteY673" fmla="*/ 165006 h 248214"/>
                <a:gd name="connsiteX674" fmla="*/ 104645 w 180519"/>
                <a:gd name="connsiteY674" fmla="*/ 163596 h 248214"/>
                <a:gd name="connsiteX675" fmla="*/ 105491 w 180519"/>
                <a:gd name="connsiteY675" fmla="*/ 162467 h 248214"/>
                <a:gd name="connsiteX676" fmla="*/ 106619 w 180519"/>
                <a:gd name="connsiteY676" fmla="*/ 160211 h 248214"/>
                <a:gd name="connsiteX677" fmla="*/ 106619 w 180519"/>
                <a:gd name="connsiteY677" fmla="*/ 159083 h 248214"/>
                <a:gd name="connsiteX678" fmla="*/ 106901 w 180519"/>
                <a:gd name="connsiteY678" fmla="*/ 158801 h 248214"/>
                <a:gd name="connsiteX679" fmla="*/ 107748 w 180519"/>
                <a:gd name="connsiteY679" fmla="*/ 157108 h 248214"/>
                <a:gd name="connsiteX680" fmla="*/ 108312 w 180519"/>
                <a:gd name="connsiteY680" fmla="*/ 156262 h 248214"/>
                <a:gd name="connsiteX681" fmla="*/ 107748 w 180519"/>
                <a:gd name="connsiteY681" fmla="*/ 155980 h 248214"/>
                <a:gd name="connsiteX682" fmla="*/ 108594 w 180519"/>
                <a:gd name="connsiteY682" fmla="*/ 155134 h 248214"/>
                <a:gd name="connsiteX683" fmla="*/ 109440 w 180519"/>
                <a:gd name="connsiteY683" fmla="*/ 154006 h 248214"/>
                <a:gd name="connsiteX684" fmla="*/ 109158 w 180519"/>
                <a:gd name="connsiteY684" fmla="*/ 154006 h 248214"/>
                <a:gd name="connsiteX685" fmla="*/ 109158 w 180519"/>
                <a:gd name="connsiteY685" fmla="*/ 153723 h 248214"/>
                <a:gd name="connsiteX686" fmla="*/ 109722 w 180519"/>
                <a:gd name="connsiteY686" fmla="*/ 153159 h 248214"/>
                <a:gd name="connsiteX687" fmla="*/ 109440 w 180519"/>
                <a:gd name="connsiteY687" fmla="*/ 152595 h 248214"/>
                <a:gd name="connsiteX688" fmla="*/ 110004 w 180519"/>
                <a:gd name="connsiteY688" fmla="*/ 151467 h 248214"/>
                <a:gd name="connsiteX689" fmla="*/ 110850 w 180519"/>
                <a:gd name="connsiteY689" fmla="*/ 150621 h 248214"/>
                <a:gd name="connsiteX690" fmla="*/ 112260 w 180519"/>
                <a:gd name="connsiteY690" fmla="*/ 148646 h 248214"/>
                <a:gd name="connsiteX691" fmla="*/ 126363 w 180519"/>
                <a:gd name="connsiteY691" fmla="*/ 130594 h 248214"/>
                <a:gd name="connsiteX692" fmla="*/ 118466 w 180519"/>
                <a:gd name="connsiteY692" fmla="*/ 148364 h 248214"/>
                <a:gd name="connsiteX693" fmla="*/ 118748 w 180519"/>
                <a:gd name="connsiteY693" fmla="*/ 148364 h 248214"/>
                <a:gd name="connsiteX694" fmla="*/ 118748 w 180519"/>
                <a:gd name="connsiteY694" fmla="*/ 148646 h 248214"/>
                <a:gd name="connsiteX695" fmla="*/ 118466 w 180519"/>
                <a:gd name="connsiteY695" fmla="*/ 149493 h 248214"/>
                <a:gd name="connsiteX696" fmla="*/ 119030 w 180519"/>
                <a:gd name="connsiteY696" fmla="*/ 149493 h 248214"/>
                <a:gd name="connsiteX697" fmla="*/ 120440 w 180519"/>
                <a:gd name="connsiteY697" fmla="*/ 148928 h 248214"/>
                <a:gd name="connsiteX698" fmla="*/ 120440 w 180519"/>
                <a:gd name="connsiteY698" fmla="*/ 149493 h 248214"/>
                <a:gd name="connsiteX699" fmla="*/ 119594 w 180519"/>
                <a:gd name="connsiteY699" fmla="*/ 151467 h 248214"/>
                <a:gd name="connsiteX700" fmla="*/ 119594 w 180519"/>
                <a:gd name="connsiteY700" fmla="*/ 151749 h 248214"/>
                <a:gd name="connsiteX701" fmla="*/ 118466 w 180519"/>
                <a:gd name="connsiteY701" fmla="*/ 152595 h 248214"/>
                <a:gd name="connsiteX702" fmla="*/ 118184 w 180519"/>
                <a:gd name="connsiteY702" fmla="*/ 153441 h 248214"/>
                <a:gd name="connsiteX703" fmla="*/ 118184 w 180519"/>
                <a:gd name="connsiteY703" fmla="*/ 154006 h 248214"/>
                <a:gd name="connsiteX704" fmla="*/ 117902 w 180519"/>
                <a:gd name="connsiteY704" fmla="*/ 154570 h 248214"/>
                <a:gd name="connsiteX705" fmla="*/ 117338 w 180519"/>
                <a:gd name="connsiteY705" fmla="*/ 155416 h 248214"/>
                <a:gd name="connsiteX706" fmla="*/ 117902 w 180519"/>
                <a:gd name="connsiteY706" fmla="*/ 156262 h 248214"/>
                <a:gd name="connsiteX707" fmla="*/ 118184 w 180519"/>
                <a:gd name="connsiteY707" fmla="*/ 156544 h 248214"/>
                <a:gd name="connsiteX708" fmla="*/ 117620 w 180519"/>
                <a:gd name="connsiteY708" fmla="*/ 156826 h 248214"/>
                <a:gd name="connsiteX709" fmla="*/ 117056 w 180519"/>
                <a:gd name="connsiteY709" fmla="*/ 157108 h 248214"/>
                <a:gd name="connsiteX710" fmla="*/ 114799 w 180519"/>
                <a:gd name="connsiteY710" fmla="*/ 158236 h 248214"/>
                <a:gd name="connsiteX711" fmla="*/ 114799 w 180519"/>
                <a:gd name="connsiteY711" fmla="*/ 158801 h 248214"/>
                <a:gd name="connsiteX712" fmla="*/ 115927 w 180519"/>
                <a:gd name="connsiteY712" fmla="*/ 159365 h 248214"/>
                <a:gd name="connsiteX713" fmla="*/ 114517 w 180519"/>
                <a:gd name="connsiteY713" fmla="*/ 159929 h 248214"/>
                <a:gd name="connsiteX714" fmla="*/ 113389 w 180519"/>
                <a:gd name="connsiteY714" fmla="*/ 160493 h 248214"/>
                <a:gd name="connsiteX715" fmla="*/ 113107 w 180519"/>
                <a:gd name="connsiteY715" fmla="*/ 161057 h 248214"/>
                <a:gd name="connsiteX716" fmla="*/ 113107 w 180519"/>
                <a:gd name="connsiteY716" fmla="*/ 161339 h 248214"/>
                <a:gd name="connsiteX717" fmla="*/ 114235 w 180519"/>
                <a:gd name="connsiteY717" fmla="*/ 161339 h 248214"/>
                <a:gd name="connsiteX718" fmla="*/ 114235 w 180519"/>
                <a:gd name="connsiteY718" fmla="*/ 161903 h 248214"/>
                <a:gd name="connsiteX719" fmla="*/ 114517 w 180519"/>
                <a:gd name="connsiteY719" fmla="*/ 162467 h 248214"/>
                <a:gd name="connsiteX720" fmla="*/ 114799 w 180519"/>
                <a:gd name="connsiteY720" fmla="*/ 163031 h 248214"/>
                <a:gd name="connsiteX721" fmla="*/ 114517 w 180519"/>
                <a:gd name="connsiteY721" fmla="*/ 163314 h 248214"/>
                <a:gd name="connsiteX722" fmla="*/ 113389 w 180519"/>
                <a:gd name="connsiteY722" fmla="*/ 164160 h 248214"/>
                <a:gd name="connsiteX723" fmla="*/ 113389 w 180519"/>
                <a:gd name="connsiteY723" fmla="*/ 166416 h 248214"/>
                <a:gd name="connsiteX724" fmla="*/ 113107 w 180519"/>
                <a:gd name="connsiteY724" fmla="*/ 166980 h 248214"/>
                <a:gd name="connsiteX725" fmla="*/ 112825 w 180519"/>
                <a:gd name="connsiteY725" fmla="*/ 167827 h 248214"/>
                <a:gd name="connsiteX726" fmla="*/ 112543 w 180519"/>
                <a:gd name="connsiteY726" fmla="*/ 168109 h 248214"/>
                <a:gd name="connsiteX727" fmla="*/ 111696 w 180519"/>
                <a:gd name="connsiteY727" fmla="*/ 169237 h 248214"/>
                <a:gd name="connsiteX728" fmla="*/ 112260 w 180519"/>
                <a:gd name="connsiteY728" fmla="*/ 170365 h 248214"/>
                <a:gd name="connsiteX729" fmla="*/ 110850 w 180519"/>
                <a:gd name="connsiteY729" fmla="*/ 170929 h 248214"/>
                <a:gd name="connsiteX730" fmla="*/ 110568 w 180519"/>
                <a:gd name="connsiteY730" fmla="*/ 171211 h 248214"/>
                <a:gd name="connsiteX731" fmla="*/ 110568 w 180519"/>
                <a:gd name="connsiteY731" fmla="*/ 171775 h 248214"/>
                <a:gd name="connsiteX732" fmla="*/ 110850 w 180519"/>
                <a:gd name="connsiteY732" fmla="*/ 172622 h 248214"/>
                <a:gd name="connsiteX733" fmla="*/ 109440 w 180519"/>
                <a:gd name="connsiteY733" fmla="*/ 174032 h 248214"/>
                <a:gd name="connsiteX734" fmla="*/ 109440 w 180519"/>
                <a:gd name="connsiteY734" fmla="*/ 174596 h 248214"/>
                <a:gd name="connsiteX735" fmla="*/ 110568 w 180519"/>
                <a:gd name="connsiteY735" fmla="*/ 174596 h 248214"/>
                <a:gd name="connsiteX736" fmla="*/ 111132 w 180519"/>
                <a:gd name="connsiteY736" fmla="*/ 174314 h 248214"/>
                <a:gd name="connsiteX737" fmla="*/ 111696 w 180519"/>
                <a:gd name="connsiteY737" fmla="*/ 174596 h 248214"/>
                <a:gd name="connsiteX738" fmla="*/ 111415 w 180519"/>
                <a:gd name="connsiteY738" fmla="*/ 175160 h 248214"/>
                <a:gd name="connsiteX739" fmla="*/ 111132 w 180519"/>
                <a:gd name="connsiteY739" fmla="*/ 175724 h 248214"/>
                <a:gd name="connsiteX740" fmla="*/ 110568 w 180519"/>
                <a:gd name="connsiteY740" fmla="*/ 177699 h 248214"/>
                <a:gd name="connsiteX741" fmla="*/ 110568 w 180519"/>
                <a:gd name="connsiteY741" fmla="*/ 178545 h 248214"/>
                <a:gd name="connsiteX742" fmla="*/ 110850 w 180519"/>
                <a:gd name="connsiteY742" fmla="*/ 179109 h 248214"/>
                <a:gd name="connsiteX743" fmla="*/ 110568 w 180519"/>
                <a:gd name="connsiteY743" fmla="*/ 179955 h 248214"/>
                <a:gd name="connsiteX744" fmla="*/ 110286 w 180519"/>
                <a:gd name="connsiteY744" fmla="*/ 180237 h 248214"/>
                <a:gd name="connsiteX745" fmla="*/ 110286 w 180519"/>
                <a:gd name="connsiteY745" fmla="*/ 180519 h 248214"/>
                <a:gd name="connsiteX746" fmla="*/ 109722 w 180519"/>
                <a:gd name="connsiteY746" fmla="*/ 181083 h 248214"/>
                <a:gd name="connsiteX747" fmla="*/ 109158 w 180519"/>
                <a:gd name="connsiteY747" fmla="*/ 182212 h 248214"/>
                <a:gd name="connsiteX748" fmla="*/ 108876 w 180519"/>
                <a:gd name="connsiteY748" fmla="*/ 183058 h 248214"/>
                <a:gd name="connsiteX749" fmla="*/ 106901 w 180519"/>
                <a:gd name="connsiteY749" fmla="*/ 183904 h 248214"/>
                <a:gd name="connsiteX750" fmla="*/ 106901 w 180519"/>
                <a:gd name="connsiteY750" fmla="*/ 184750 h 248214"/>
                <a:gd name="connsiteX751" fmla="*/ 104927 w 180519"/>
                <a:gd name="connsiteY751" fmla="*/ 186725 h 248214"/>
                <a:gd name="connsiteX752" fmla="*/ 105209 w 180519"/>
                <a:gd name="connsiteY752" fmla="*/ 186725 h 248214"/>
                <a:gd name="connsiteX753" fmla="*/ 105773 w 180519"/>
                <a:gd name="connsiteY753" fmla="*/ 187571 h 248214"/>
                <a:gd name="connsiteX754" fmla="*/ 105773 w 180519"/>
                <a:gd name="connsiteY754" fmla="*/ 187853 h 248214"/>
                <a:gd name="connsiteX755" fmla="*/ 105491 w 180519"/>
                <a:gd name="connsiteY755" fmla="*/ 188981 h 248214"/>
                <a:gd name="connsiteX756" fmla="*/ 105209 w 180519"/>
                <a:gd name="connsiteY756" fmla="*/ 189545 h 248214"/>
                <a:gd name="connsiteX757" fmla="*/ 104363 w 180519"/>
                <a:gd name="connsiteY757" fmla="*/ 190956 h 248214"/>
                <a:gd name="connsiteX758" fmla="*/ 104927 w 180519"/>
                <a:gd name="connsiteY758" fmla="*/ 191238 h 248214"/>
                <a:gd name="connsiteX759" fmla="*/ 103517 w 180519"/>
                <a:gd name="connsiteY759" fmla="*/ 192366 h 248214"/>
                <a:gd name="connsiteX760" fmla="*/ 102953 w 180519"/>
                <a:gd name="connsiteY760" fmla="*/ 192084 h 248214"/>
                <a:gd name="connsiteX761" fmla="*/ 102670 w 180519"/>
                <a:gd name="connsiteY761" fmla="*/ 190956 h 248214"/>
                <a:gd name="connsiteX762" fmla="*/ 103234 w 180519"/>
                <a:gd name="connsiteY762" fmla="*/ 190673 h 248214"/>
                <a:gd name="connsiteX763" fmla="*/ 103798 w 180519"/>
                <a:gd name="connsiteY763" fmla="*/ 189827 h 248214"/>
                <a:gd name="connsiteX764" fmla="*/ 103517 w 180519"/>
                <a:gd name="connsiteY764" fmla="*/ 189545 h 248214"/>
                <a:gd name="connsiteX765" fmla="*/ 101542 w 180519"/>
                <a:gd name="connsiteY765" fmla="*/ 190673 h 248214"/>
                <a:gd name="connsiteX766" fmla="*/ 101542 w 180519"/>
                <a:gd name="connsiteY766" fmla="*/ 190956 h 248214"/>
                <a:gd name="connsiteX767" fmla="*/ 100696 w 180519"/>
                <a:gd name="connsiteY767" fmla="*/ 192930 h 248214"/>
                <a:gd name="connsiteX768" fmla="*/ 100696 w 180519"/>
                <a:gd name="connsiteY768" fmla="*/ 193212 h 248214"/>
                <a:gd name="connsiteX769" fmla="*/ 100132 w 180519"/>
                <a:gd name="connsiteY769" fmla="*/ 194340 h 248214"/>
                <a:gd name="connsiteX770" fmla="*/ 100132 w 180519"/>
                <a:gd name="connsiteY770" fmla="*/ 195469 h 248214"/>
                <a:gd name="connsiteX771" fmla="*/ 100696 w 180519"/>
                <a:gd name="connsiteY771" fmla="*/ 195751 h 248214"/>
                <a:gd name="connsiteX772" fmla="*/ 100132 w 180519"/>
                <a:gd name="connsiteY772" fmla="*/ 196315 h 248214"/>
                <a:gd name="connsiteX773" fmla="*/ 99850 w 180519"/>
                <a:gd name="connsiteY773" fmla="*/ 198007 h 248214"/>
                <a:gd name="connsiteX774" fmla="*/ 99850 w 180519"/>
                <a:gd name="connsiteY774" fmla="*/ 199417 h 248214"/>
                <a:gd name="connsiteX775" fmla="*/ 99004 w 180519"/>
                <a:gd name="connsiteY775" fmla="*/ 200264 h 248214"/>
                <a:gd name="connsiteX776" fmla="*/ 99004 w 180519"/>
                <a:gd name="connsiteY776" fmla="*/ 201392 h 248214"/>
                <a:gd name="connsiteX777" fmla="*/ 98440 w 180519"/>
                <a:gd name="connsiteY777" fmla="*/ 202520 h 248214"/>
                <a:gd name="connsiteX778" fmla="*/ 97876 w 180519"/>
                <a:gd name="connsiteY778" fmla="*/ 202520 h 248214"/>
                <a:gd name="connsiteX779" fmla="*/ 97029 w 180519"/>
                <a:gd name="connsiteY779" fmla="*/ 202802 h 248214"/>
                <a:gd name="connsiteX780" fmla="*/ 96747 w 180519"/>
                <a:gd name="connsiteY780" fmla="*/ 203366 h 248214"/>
                <a:gd name="connsiteX781" fmla="*/ 97593 w 180519"/>
                <a:gd name="connsiteY781" fmla="*/ 203930 h 248214"/>
                <a:gd name="connsiteX782" fmla="*/ 97029 w 180519"/>
                <a:gd name="connsiteY782" fmla="*/ 204777 h 248214"/>
                <a:gd name="connsiteX783" fmla="*/ 95055 w 180519"/>
                <a:gd name="connsiteY783" fmla="*/ 205623 h 248214"/>
                <a:gd name="connsiteX784" fmla="*/ 94491 w 180519"/>
                <a:gd name="connsiteY784" fmla="*/ 205905 h 248214"/>
                <a:gd name="connsiteX785" fmla="*/ 94209 w 180519"/>
                <a:gd name="connsiteY785" fmla="*/ 206469 h 248214"/>
                <a:gd name="connsiteX786" fmla="*/ 94209 w 180519"/>
                <a:gd name="connsiteY786" fmla="*/ 207597 h 248214"/>
                <a:gd name="connsiteX787" fmla="*/ 93362 w 180519"/>
                <a:gd name="connsiteY787" fmla="*/ 209007 h 248214"/>
                <a:gd name="connsiteX788" fmla="*/ 92798 w 180519"/>
                <a:gd name="connsiteY788" fmla="*/ 209572 h 248214"/>
                <a:gd name="connsiteX789" fmla="*/ 92798 w 180519"/>
                <a:gd name="connsiteY789" fmla="*/ 210136 h 248214"/>
                <a:gd name="connsiteX790" fmla="*/ 92516 w 180519"/>
                <a:gd name="connsiteY790" fmla="*/ 210700 h 248214"/>
                <a:gd name="connsiteX791" fmla="*/ 91670 w 180519"/>
                <a:gd name="connsiteY791" fmla="*/ 210418 h 248214"/>
                <a:gd name="connsiteX792" fmla="*/ 91670 w 180519"/>
                <a:gd name="connsiteY792" fmla="*/ 210136 h 248214"/>
                <a:gd name="connsiteX793" fmla="*/ 91388 w 180519"/>
                <a:gd name="connsiteY793" fmla="*/ 210418 h 248214"/>
                <a:gd name="connsiteX794" fmla="*/ 90542 w 180519"/>
                <a:gd name="connsiteY794" fmla="*/ 210982 h 248214"/>
                <a:gd name="connsiteX795" fmla="*/ 90260 w 180519"/>
                <a:gd name="connsiteY795" fmla="*/ 211546 h 248214"/>
                <a:gd name="connsiteX796" fmla="*/ 90260 w 180519"/>
                <a:gd name="connsiteY796" fmla="*/ 212110 h 248214"/>
                <a:gd name="connsiteX797" fmla="*/ 90542 w 180519"/>
                <a:gd name="connsiteY797" fmla="*/ 212392 h 248214"/>
                <a:gd name="connsiteX798" fmla="*/ 91670 w 180519"/>
                <a:gd name="connsiteY798" fmla="*/ 211264 h 248214"/>
                <a:gd name="connsiteX799" fmla="*/ 91952 w 180519"/>
                <a:gd name="connsiteY799" fmla="*/ 210982 h 248214"/>
                <a:gd name="connsiteX800" fmla="*/ 92516 w 180519"/>
                <a:gd name="connsiteY800" fmla="*/ 211264 h 248214"/>
                <a:gd name="connsiteX801" fmla="*/ 93081 w 180519"/>
                <a:gd name="connsiteY801" fmla="*/ 212110 h 248214"/>
                <a:gd name="connsiteX802" fmla="*/ 94209 w 180519"/>
                <a:gd name="connsiteY802" fmla="*/ 212674 h 248214"/>
                <a:gd name="connsiteX803" fmla="*/ 95055 w 180519"/>
                <a:gd name="connsiteY803" fmla="*/ 212674 h 248214"/>
                <a:gd name="connsiteX804" fmla="*/ 94773 w 180519"/>
                <a:gd name="connsiteY804" fmla="*/ 212392 h 248214"/>
                <a:gd name="connsiteX805" fmla="*/ 94773 w 180519"/>
                <a:gd name="connsiteY805" fmla="*/ 211264 h 248214"/>
                <a:gd name="connsiteX806" fmla="*/ 95337 w 180519"/>
                <a:gd name="connsiteY806" fmla="*/ 210982 h 248214"/>
                <a:gd name="connsiteX807" fmla="*/ 95337 w 180519"/>
                <a:gd name="connsiteY807" fmla="*/ 211264 h 248214"/>
                <a:gd name="connsiteX808" fmla="*/ 95619 w 180519"/>
                <a:gd name="connsiteY808" fmla="*/ 213238 h 248214"/>
                <a:gd name="connsiteX809" fmla="*/ 95619 w 180519"/>
                <a:gd name="connsiteY809" fmla="*/ 213803 h 248214"/>
                <a:gd name="connsiteX810" fmla="*/ 94209 w 180519"/>
                <a:gd name="connsiteY810" fmla="*/ 214931 h 248214"/>
                <a:gd name="connsiteX811" fmla="*/ 93081 w 180519"/>
                <a:gd name="connsiteY811" fmla="*/ 215777 h 248214"/>
                <a:gd name="connsiteX812" fmla="*/ 91952 w 180519"/>
                <a:gd name="connsiteY812" fmla="*/ 215213 h 248214"/>
                <a:gd name="connsiteX813" fmla="*/ 91388 w 180519"/>
                <a:gd name="connsiteY813" fmla="*/ 214931 h 248214"/>
                <a:gd name="connsiteX814" fmla="*/ 90824 w 180519"/>
                <a:gd name="connsiteY814" fmla="*/ 215495 h 248214"/>
                <a:gd name="connsiteX815" fmla="*/ 89978 w 180519"/>
                <a:gd name="connsiteY815" fmla="*/ 216059 h 248214"/>
                <a:gd name="connsiteX816" fmla="*/ 89414 w 180519"/>
                <a:gd name="connsiteY816" fmla="*/ 216341 h 248214"/>
                <a:gd name="connsiteX817" fmla="*/ 90260 w 180519"/>
                <a:gd name="connsiteY817" fmla="*/ 217187 h 248214"/>
                <a:gd name="connsiteX818" fmla="*/ 90260 w 180519"/>
                <a:gd name="connsiteY818" fmla="*/ 217751 h 248214"/>
                <a:gd name="connsiteX819" fmla="*/ 90824 w 180519"/>
                <a:gd name="connsiteY819" fmla="*/ 218315 h 248214"/>
                <a:gd name="connsiteX820" fmla="*/ 91106 w 180519"/>
                <a:gd name="connsiteY820" fmla="*/ 218880 h 248214"/>
                <a:gd name="connsiteX821" fmla="*/ 90260 w 180519"/>
                <a:gd name="connsiteY821" fmla="*/ 219444 h 248214"/>
                <a:gd name="connsiteX822" fmla="*/ 88285 w 180519"/>
                <a:gd name="connsiteY822" fmla="*/ 221418 h 248214"/>
                <a:gd name="connsiteX823" fmla="*/ 87721 w 180519"/>
                <a:gd name="connsiteY823" fmla="*/ 221982 h 248214"/>
                <a:gd name="connsiteX824" fmla="*/ 88285 w 180519"/>
                <a:gd name="connsiteY824" fmla="*/ 222828 h 248214"/>
                <a:gd name="connsiteX825" fmla="*/ 88567 w 180519"/>
                <a:gd name="connsiteY825" fmla="*/ 222546 h 248214"/>
                <a:gd name="connsiteX826" fmla="*/ 89131 w 180519"/>
                <a:gd name="connsiteY826" fmla="*/ 222264 h 248214"/>
                <a:gd name="connsiteX827" fmla="*/ 89131 w 180519"/>
                <a:gd name="connsiteY827" fmla="*/ 222546 h 248214"/>
                <a:gd name="connsiteX828" fmla="*/ 89414 w 180519"/>
                <a:gd name="connsiteY828" fmla="*/ 222546 h 248214"/>
                <a:gd name="connsiteX829" fmla="*/ 89131 w 180519"/>
                <a:gd name="connsiteY829" fmla="*/ 222828 h 248214"/>
                <a:gd name="connsiteX830" fmla="*/ 88850 w 180519"/>
                <a:gd name="connsiteY830" fmla="*/ 223393 h 248214"/>
                <a:gd name="connsiteX831" fmla="*/ 89131 w 180519"/>
                <a:gd name="connsiteY831" fmla="*/ 223675 h 248214"/>
                <a:gd name="connsiteX832" fmla="*/ 88850 w 180519"/>
                <a:gd name="connsiteY832" fmla="*/ 223957 h 248214"/>
                <a:gd name="connsiteX833" fmla="*/ 88285 w 180519"/>
                <a:gd name="connsiteY833" fmla="*/ 224803 h 248214"/>
                <a:gd name="connsiteX834" fmla="*/ 87721 w 180519"/>
                <a:gd name="connsiteY834" fmla="*/ 225085 h 248214"/>
                <a:gd name="connsiteX835" fmla="*/ 86875 w 180519"/>
                <a:gd name="connsiteY835" fmla="*/ 226495 h 248214"/>
                <a:gd name="connsiteX836" fmla="*/ 86875 w 180519"/>
                <a:gd name="connsiteY836" fmla="*/ 227059 h 248214"/>
                <a:gd name="connsiteX837" fmla="*/ 85747 w 180519"/>
                <a:gd name="connsiteY837" fmla="*/ 228752 h 248214"/>
                <a:gd name="connsiteX838" fmla="*/ 85747 w 180519"/>
                <a:gd name="connsiteY838" fmla="*/ 230162 h 248214"/>
                <a:gd name="connsiteX839" fmla="*/ 84619 w 180519"/>
                <a:gd name="connsiteY839" fmla="*/ 231572 h 248214"/>
                <a:gd name="connsiteX840" fmla="*/ 83772 w 180519"/>
                <a:gd name="connsiteY840" fmla="*/ 232983 h 248214"/>
                <a:gd name="connsiteX841" fmla="*/ 83208 w 180519"/>
                <a:gd name="connsiteY841" fmla="*/ 233547 h 248214"/>
                <a:gd name="connsiteX842" fmla="*/ 82926 w 180519"/>
                <a:gd name="connsiteY842" fmla="*/ 234111 h 248214"/>
                <a:gd name="connsiteX843" fmla="*/ 82926 w 180519"/>
                <a:gd name="connsiteY843" fmla="*/ 234675 h 248214"/>
                <a:gd name="connsiteX844" fmla="*/ 81234 w 180519"/>
                <a:gd name="connsiteY844" fmla="*/ 235803 h 248214"/>
                <a:gd name="connsiteX845" fmla="*/ 80952 w 180519"/>
                <a:gd name="connsiteY845" fmla="*/ 236367 h 248214"/>
                <a:gd name="connsiteX846" fmla="*/ 81516 w 180519"/>
                <a:gd name="connsiteY846" fmla="*/ 236932 h 248214"/>
                <a:gd name="connsiteX847" fmla="*/ 81798 w 180519"/>
                <a:gd name="connsiteY847" fmla="*/ 237496 h 248214"/>
                <a:gd name="connsiteX848" fmla="*/ 81516 w 180519"/>
                <a:gd name="connsiteY848" fmla="*/ 237778 h 248214"/>
                <a:gd name="connsiteX849" fmla="*/ 80952 w 180519"/>
                <a:gd name="connsiteY849" fmla="*/ 238624 h 248214"/>
                <a:gd name="connsiteX850" fmla="*/ 81234 w 180519"/>
                <a:gd name="connsiteY850" fmla="*/ 239188 h 248214"/>
                <a:gd name="connsiteX851" fmla="*/ 81516 w 180519"/>
                <a:gd name="connsiteY851" fmla="*/ 239752 h 248214"/>
                <a:gd name="connsiteX852" fmla="*/ 81516 w 180519"/>
                <a:gd name="connsiteY852" fmla="*/ 240034 h 248214"/>
                <a:gd name="connsiteX853" fmla="*/ 81234 w 180519"/>
                <a:gd name="connsiteY853" fmla="*/ 240316 h 248214"/>
                <a:gd name="connsiteX854" fmla="*/ 80388 w 180519"/>
                <a:gd name="connsiteY854" fmla="*/ 240316 h 248214"/>
                <a:gd name="connsiteX855" fmla="*/ 79823 w 180519"/>
                <a:gd name="connsiteY855" fmla="*/ 240880 h 248214"/>
                <a:gd name="connsiteX856" fmla="*/ 78413 w 180519"/>
                <a:gd name="connsiteY856" fmla="*/ 242855 h 248214"/>
                <a:gd name="connsiteX857" fmla="*/ 77285 w 180519"/>
                <a:gd name="connsiteY857" fmla="*/ 243983 h 248214"/>
                <a:gd name="connsiteX858" fmla="*/ 77003 w 180519"/>
                <a:gd name="connsiteY858" fmla="*/ 244547 h 248214"/>
                <a:gd name="connsiteX859" fmla="*/ 75875 w 180519"/>
                <a:gd name="connsiteY859" fmla="*/ 244547 h 248214"/>
                <a:gd name="connsiteX860" fmla="*/ 74747 w 180519"/>
                <a:gd name="connsiteY860" fmla="*/ 245111 h 248214"/>
                <a:gd name="connsiteX861" fmla="*/ 73900 w 180519"/>
                <a:gd name="connsiteY861" fmla="*/ 245675 h 248214"/>
                <a:gd name="connsiteX862" fmla="*/ 73618 w 180519"/>
                <a:gd name="connsiteY862" fmla="*/ 245958 h 248214"/>
                <a:gd name="connsiteX863" fmla="*/ 73336 w 180519"/>
                <a:gd name="connsiteY863" fmla="*/ 246522 h 248214"/>
                <a:gd name="connsiteX864" fmla="*/ 72490 w 180519"/>
                <a:gd name="connsiteY864" fmla="*/ 246240 h 248214"/>
                <a:gd name="connsiteX865" fmla="*/ 69951 w 180519"/>
                <a:gd name="connsiteY865" fmla="*/ 249342 h 248214"/>
                <a:gd name="connsiteX866" fmla="*/ 69387 w 180519"/>
                <a:gd name="connsiteY866" fmla="*/ 249906 h 248214"/>
                <a:gd name="connsiteX867" fmla="*/ 66849 w 180519"/>
                <a:gd name="connsiteY867" fmla="*/ 249906 h 248214"/>
                <a:gd name="connsiteX868" fmla="*/ 66002 w 180519"/>
                <a:gd name="connsiteY868" fmla="*/ 249342 h 248214"/>
                <a:gd name="connsiteX869" fmla="*/ 64028 w 180519"/>
                <a:gd name="connsiteY869" fmla="*/ 249624 h 248214"/>
                <a:gd name="connsiteX870" fmla="*/ 62900 w 180519"/>
                <a:gd name="connsiteY870" fmla="*/ 249342 h 248214"/>
                <a:gd name="connsiteX871" fmla="*/ 61772 w 180519"/>
                <a:gd name="connsiteY871" fmla="*/ 249624 h 248214"/>
                <a:gd name="connsiteX872" fmla="*/ 60925 w 180519"/>
                <a:gd name="connsiteY872" fmla="*/ 249906 h 248214"/>
                <a:gd name="connsiteX873" fmla="*/ 56977 w 180519"/>
                <a:gd name="connsiteY873" fmla="*/ 247650 h 248214"/>
                <a:gd name="connsiteX874" fmla="*/ 56130 w 180519"/>
                <a:gd name="connsiteY874" fmla="*/ 247932 h 248214"/>
                <a:gd name="connsiteX875" fmla="*/ 55566 w 180519"/>
                <a:gd name="connsiteY875" fmla="*/ 248214 h 248214"/>
                <a:gd name="connsiteX876" fmla="*/ 54720 w 180519"/>
                <a:gd name="connsiteY876" fmla="*/ 247932 h 248214"/>
                <a:gd name="connsiteX877" fmla="*/ 52746 w 180519"/>
                <a:gd name="connsiteY877" fmla="*/ 246240 h 248214"/>
                <a:gd name="connsiteX878" fmla="*/ 51053 w 180519"/>
                <a:gd name="connsiteY878" fmla="*/ 245675 h 248214"/>
                <a:gd name="connsiteX879" fmla="*/ 50489 w 180519"/>
                <a:gd name="connsiteY879" fmla="*/ 244829 h 248214"/>
                <a:gd name="connsiteX880" fmla="*/ 49643 w 180519"/>
                <a:gd name="connsiteY880" fmla="*/ 243983 h 248214"/>
                <a:gd name="connsiteX881" fmla="*/ 48232 w 180519"/>
                <a:gd name="connsiteY881" fmla="*/ 243137 h 248214"/>
                <a:gd name="connsiteX882" fmla="*/ 47951 w 180519"/>
                <a:gd name="connsiteY882" fmla="*/ 242573 h 248214"/>
                <a:gd name="connsiteX883" fmla="*/ 48515 w 180519"/>
                <a:gd name="connsiteY883" fmla="*/ 242291 h 248214"/>
                <a:gd name="connsiteX884" fmla="*/ 48796 w 180519"/>
                <a:gd name="connsiteY884" fmla="*/ 242291 h 248214"/>
                <a:gd name="connsiteX885" fmla="*/ 48515 w 180519"/>
                <a:gd name="connsiteY885" fmla="*/ 242009 h 248214"/>
                <a:gd name="connsiteX886" fmla="*/ 48515 w 180519"/>
                <a:gd name="connsiteY886" fmla="*/ 241162 h 248214"/>
                <a:gd name="connsiteX887" fmla="*/ 48232 w 180519"/>
                <a:gd name="connsiteY887" fmla="*/ 240880 h 248214"/>
                <a:gd name="connsiteX888" fmla="*/ 47104 w 180519"/>
                <a:gd name="connsiteY888" fmla="*/ 240316 h 248214"/>
                <a:gd name="connsiteX889" fmla="*/ 47386 w 180519"/>
                <a:gd name="connsiteY889" fmla="*/ 240034 h 248214"/>
                <a:gd name="connsiteX890" fmla="*/ 47668 w 180519"/>
                <a:gd name="connsiteY890" fmla="*/ 239752 h 248214"/>
                <a:gd name="connsiteX891" fmla="*/ 47668 w 180519"/>
                <a:gd name="connsiteY891" fmla="*/ 239470 h 248214"/>
                <a:gd name="connsiteX892" fmla="*/ 47386 w 180519"/>
                <a:gd name="connsiteY892" fmla="*/ 238906 h 248214"/>
                <a:gd name="connsiteX893" fmla="*/ 47104 w 180519"/>
                <a:gd name="connsiteY893" fmla="*/ 238624 h 248214"/>
                <a:gd name="connsiteX894" fmla="*/ 47386 w 180519"/>
                <a:gd name="connsiteY894" fmla="*/ 237778 h 248214"/>
                <a:gd name="connsiteX895" fmla="*/ 46822 w 180519"/>
                <a:gd name="connsiteY895" fmla="*/ 237214 h 248214"/>
                <a:gd name="connsiteX896" fmla="*/ 46822 w 180519"/>
                <a:gd name="connsiteY896" fmla="*/ 236932 h 248214"/>
                <a:gd name="connsiteX897" fmla="*/ 46540 w 180519"/>
                <a:gd name="connsiteY897" fmla="*/ 236085 h 248214"/>
                <a:gd name="connsiteX898" fmla="*/ 46258 w 180519"/>
                <a:gd name="connsiteY898" fmla="*/ 234675 h 248214"/>
                <a:gd name="connsiteX899" fmla="*/ 45976 w 180519"/>
                <a:gd name="connsiteY899" fmla="*/ 233547 h 248214"/>
                <a:gd name="connsiteX900" fmla="*/ 44848 w 180519"/>
                <a:gd name="connsiteY900" fmla="*/ 233265 h 248214"/>
                <a:gd name="connsiteX901" fmla="*/ 44284 w 180519"/>
                <a:gd name="connsiteY901" fmla="*/ 233265 h 248214"/>
                <a:gd name="connsiteX902" fmla="*/ 43720 w 180519"/>
                <a:gd name="connsiteY902" fmla="*/ 232983 h 248214"/>
                <a:gd name="connsiteX903" fmla="*/ 43720 w 180519"/>
                <a:gd name="connsiteY903" fmla="*/ 232137 h 248214"/>
                <a:gd name="connsiteX904" fmla="*/ 44002 w 180519"/>
                <a:gd name="connsiteY904" fmla="*/ 231854 h 248214"/>
                <a:gd name="connsiteX905" fmla="*/ 44566 w 180519"/>
                <a:gd name="connsiteY905" fmla="*/ 231008 h 248214"/>
                <a:gd name="connsiteX906" fmla="*/ 44566 w 180519"/>
                <a:gd name="connsiteY906" fmla="*/ 230162 h 248214"/>
                <a:gd name="connsiteX907" fmla="*/ 44284 w 180519"/>
                <a:gd name="connsiteY907" fmla="*/ 227906 h 248214"/>
                <a:gd name="connsiteX908" fmla="*/ 43720 w 180519"/>
                <a:gd name="connsiteY908" fmla="*/ 226777 h 248214"/>
                <a:gd name="connsiteX909" fmla="*/ 43720 w 180519"/>
                <a:gd name="connsiteY909" fmla="*/ 226495 h 248214"/>
                <a:gd name="connsiteX910" fmla="*/ 43438 w 180519"/>
                <a:gd name="connsiteY910" fmla="*/ 226213 h 248214"/>
                <a:gd name="connsiteX911" fmla="*/ 43438 w 180519"/>
                <a:gd name="connsiteY911" fmla="*/ 226495 h 248214"/>
                <a:gd name="connsiteX912" fmla="*/ 42874 w 180519"/>
                <a:gd name="connsiteY912" fmla="*/ 226495 h 248214"/>
                <a:gd name="connsiteX913" fmla="*/ 42874 w 180519"/>
                <a:gd name="connsiteY913" fmla="*/ 225649 h 248214"/>
                <a:gd name="connsiteX914" fmla="*/ 42591 w 180519"/>
                <a:gd name="connsiteY914" fmla="*/ 225085 h 248214"/>
                <a:gd name="connsiteX915" fmla="*/ 42310 w 180519"/>
                <a:gd name="connsiteY915" fmla="*/ 224803 h 248214"/>
                <a:gd name="connsiteX916" fmla="*/ 43155 w 180519"/>
                <a:gd name="connsiteY916" fmla="*/ 223957 h 248214"/>
                <a:gd name="connsiteX917" fmla="*/ 42874 w 180519"/>
                <a:gd name="connsiteY917" fmla="*/ 223111 h 248214"/>
                <a:gd name="connsiteX918" fmla="*/ 42310 w 180519"/>
                <a:gd name="connsiteY918" fmla="*/ 222828 h 248214"/>
                <a:gd name="connsiteX919" fmla="*/ 42310 w 180519"/>
                <a:gd name="connsiteY919" fmla="*/ 220854 h 248214"/>
                <a:gd name="connsiteX920" fmla="*/ 42591 w 180519"/>
                <a:gd name="connsiteY920" fmla="*/ 218880 h 248214"/>
                <a:gd name="connsiteX921" fmla="*/ 43155 w 180519"/>
                <a:gd name="connsiteY921" fmla="*/ 218880 h 248214"/>
                <a:gd name="connsiteX922" fmla="*/ 43720 w 180519"/>
                <a:gd name="connsiteY922" fmla="*/ 218315 h 248214"/>
                <a:gd name="connsiteX923" fmla="*/ 43438 w 180519"/>
                <a:gd name="connsiteY923" fmla="*/ 216623 h 248214"/>
                <a:gd name="connsiteX924" fmla="*/ 43155 w 180519"/>
                <a:gd name="connsiteY924" fmla="*/ 216059 h 248214"/>
                <a:gd name="connsiteX925" fmla="*/ 43155 w 180519"/>
                <a:gd name="connsiteY925" fmla="*/ 215495 h 248214"/>
                <a:gd name="connsiteX926" fmla="*/ 43438 w 180519"/>
                <a:gd name="connsiteY926" fmla="*/ 214367 h 248214"/>
                <a:gd name="connsiteX927" fmla="*/ 43155 w 180519"/>
                <a:gd name="connsiteY927" fmla="*/ 212956 h 248214"/>
                <a:gd name="connsiteX928" fmla="*/ 43438 w 180519"/>
                <a:gd name="connsiteY928" fmla="*/ 212674 h 248214"/>
                <a:gd name="connsiteX929" fmla="*/ 42027 w 180519"/>
                <a:gd name="connsiteY929" fmla="*/ 211264 h 248214"/>
                <a:gd name="connsiteX930" fmla="*/ 42310 w 180519"/>
                <a:gd name="connsiteY930" fmla="*/ 210700 h 248214"/>
                <a:gd name="connsiteX931" fmla="*/ 41463 w 180519"/>
                <a:gd name="connsiteY931" fmla="*/ 210136 h 248214"/>
                <a:gd name="connsiteX932" fmla="*/ 41745 w 180519"/>
                <a:gd name="connsiteY932" fmla="*/ 209854 h 248214"/>
                <a:gd name="connsiteX933" fmla="*/ 43155 w 180519"/>
                <a:gd name="connsiteY933" fmla="*/ 208725 h 248214"/>
                <a:gd name="connsiteX934" fmla="*/ 42310 w 180519"/>
                <a:gd name="connsiteY934" fmla="*/ 207033 h 248214"/>
                <a:gd name="connsiteX935" fmla="*/ 42027 w 180519"/>
                <a:gd name="connsiteY935" fmla="*/ 206751 h 248214"/>
                <a:gd name="connsiteX936" fmla="*/ 42310 w 180519"/>
                <a:gd name="connsiteY936" fmla="*/ 206187 h 248214"/>
                <a:gd name="connsiteX937" fmla="*/ 41745 w 180519"/>
                <a:gd name="connsiteY937" fmla="*/ 205905 h 248214"/>
                <a:gd name="connsiteX938" fmla="*/ 41745 w 180519"/>
                <a:gd name="connsiteY938" fmla="*/ 205341 h 248214"/>
                <a:gd name="connsiteX939" fmla="*/ 41463 w 180519"/>
                <a:gd name="connsiteY939" fmla="*/ 203084 h 248214"/>
                <a:gd name="connsiteX940" fmla="*/ 41463 w 180519"/>
                <a:gd name="connsiteY940" fmla="*/ 201110 h 248214"/>
                <a:gd name="connsiteX941" fmla="*/ 41745 w 180519"/>
                <a:gd name="connsiteY941" fmla="*/ 199982 h 248214"/>
                <a:gd name="connsiteX942" fmla="*/ 42874 w 180519"/>
                <a:gd name="connsiteY942" fmla="*/ 199699 h 248214"/>
                <a:gd name="connsiteX943" fmla="*/ 42027 w 180519"/>
                <a:gd name="connsiteY943" fmla="*/ 198571 h 248214"/>
                <a:gd name="connsiteX944" fmla="*/ 41745 w 180519"/>
                <a:gd name="connsiteY944" fmla="*/ 198007 h 248214"/>
                <a:gd name="connsiteX945" fmla="*/ 42591 w 180519"/>
                <a:gd name="connsiteY945" fmla="*/ 196879 h 248214"/>
                <a:gd name="connsiteX946" fmla="*/ 42310 w 180519"/>
                <a:gd name="connsiteY946" fmla="*/ 195751 h 248214"/>
                <a:gd name="connsiteX947" fmla="*/ 42310 w 180519"/>
                <a:gd name="connsiteY947" fmla="*/ 194058 h 248214"/>
                <a:gd name="connsiteX948" fmla="*/ 43438 w 180519"/>
                <a:gd name="connsiteY948" fmla="*/ 192366 h 248214"/>
                <a:gd name="connsiteX949" fmla="*/ 43155 w 180519"/>
                <a:gd name="connsiteY949" fmla="*/ 192084 h 248214"/>
                <a:gd name="connsiteX950" fmla="*/ 43155 w 180519"/>
                <a:gd name="connsiteY950" fmla="*/ 190673 h 248214"/>
                <a:gd name="connsiteX951" fmla="*/ 42874 w 180519"/>
                <a:gd name="connsiteY951" fmla="*/ 190391 h 248214"/>
                <a:gd name="connsiteX952" fmla="*/ 43155 w 180519"/>
                <a:gd name="connsiteY952" fmla="*/ 189827 h 248214"/>
                <a:gd name="connsiteX953" fmla="*/ 44002 w 180519"/>
                <a:gd name="connsiteY953" fmla="*/ 188981 h 248214"/>
                <a:gd name="connsiteX954" fmla="*/ 43720 w 180519"/>
                <a:gd name="connsiteY954" fmla="*/ 187289 h 248214"/>
                <a:gd name="connsiteX955" fmla="*/ 44002 w 180519"/>
                <a:gd name="connsiteY955" fmla="*/ 186443 h 248214"/>
                <a:gd name="connsiteX956" fmla="*/ 43720 w 180519"/>
                <a:gd name="connsiteY956" fmla="*/ 185314 h 248214"/>
                <a:gd name="connsiteX957" fmla="*/ 43720 w 180519"/>
                <a:gd name="connsiteY957" fmla="*/ 184750 h 248214"/>
                <a:gd name="connsiteX958" fmla="*/ 44566 w 180519"/>
                <a:gd name="connsiteY958" fmla="*/ 183622 h 248214"/>
                <a:gd name="connsiteX959" fmla="*/ 44566 w 180519"/>
                <a:gd name="connsiteY959" fmla="*/ 180519 h 248214"/>
                <a:gd name="connsiteX960" fmla="*/ 44848 w 180519"/>
                <a:gd name="connsiteY960" fmla="*/ 180237 h 248214"/>
                <a:gd name="connsiteX961" fmla="*/ 44284 w 180519"/>
                <a:gd name="connsiteY961" fmla="*/ 179109 h 248214"/>
                <a:gd name="connsiteX962" fmla="*/ 44284 w 180519"/>
                <a:gd name="connsiteY962" fmla="*/ 178545 h 248214"/>
                <a:gd name="connsiteX963" fmla="*/ 45130 w 180519"/>
                <a:gd name="connsiteY963" fmla="*/ 177135 h 248214"/>
                <a:gd name="connsiteX964" fmla="*/ 44848 w 180519"/>
                <a:gd name="connsiteY964" fmla="*/ 176288 h 248214"/>
                <a:gd name="connsiteX965" fmla="*/ 44566 w 180519"/>
                <a:gd name="connsiteY965" fmla="*/ 175724 h 248214"/>
                <a:gd name="connsiteX966" fmla="*/ 44848 w 180519"/>
                <a:gd name="connsiteY966" fmla="*/ 175442 h 248214"/>
                <a:gd name="connsiteX967" fmla="*/ 45130 w 180519"/>
                <a:gd name="connsiteY967" fmla="*/ 175160 h 248214"/>
                <a:gd name="connsiteX968" fmla="*/ 44566 w 180519"/>
                <a:gd name="connsiteY968" fmla="*/ 174596 h 248214"/>
                <a:gd name="connsiteX969" fmla="*/ 44002 w 180519"/>
                <a:gd name="connsiteY969" fmla="*/ 173750 h 248214"/>
                <a:gd name="connsiteX970" fmla="*/ 44002 w 180519"/>
                <a:gd name="connsiteY970" fmla="*/ 172340 h 248214"/>
                <a:gd name="connsiteX971" fmla="*/ 44284 w 180519"/>
                <a:gd name="connsiteY971" fmla="*/ 170929 h 248214"/>
                <a:gd name="connsiteX972" fmla="*/ 44566 w 180519"/>
                <a:gd name="connsiteY972" fmla="*/ 170365 h 248214"/>
                <a:gd name="connsiteX973" fmla="*/ 44284 w 180519"/>
                <a:gd name="connsiteY973" fmla="*/ 169519 h 248214"/>
                <a:gd name="connsiteX974" fmla="*/ 45130 w 180519"/>
                <a:gd name="connsiteY974" fmla="*/ 168673 h 248214"/>
                <a:gd name="connsiteX975" fmla="*/ 45412 w 180519"/>
                <a:gd name="connsiteY975" fmla="*/ 168391 h 248214"/>
                <a:gd name="connsiteX976" fmla="*/ 45412 w 180519"/>
                <a:gd name="connsiteY976" fmla="*/ 167262 h 248214"/>
                <a:gd name="connsiteX977" fmla="*/ 45130 w 180519"/>
                <a:gd name="connsiteY977" fmla="*/ 166980 h 248214"/>
                <a:gd name="connsiteX978" fmla="*/ 45412 w 180519"/>
                <a:gd name="connsiteY978" fmla="*/ 166698 h 248214"/>
                <a:gd name="connsiteX979" fmla="*/ 46258 w 180519"/>
                <a:gd name="connsiteY979" fmla="*/ 165288 h 248214"/>
                <a:gd name="connsiteX980" fmla="*/ 45412 w 180519"/>
                <a:gd name="connsiteY980" fmla="*/ 163878 h 248214"/>
                <a:gd name="connsiteX981" fmla="*/ 45976 w 180519"/>
                <a:gd name="connsiteY981" fmla="*/ 162749 h 248214"/>
                <a:gd name="connsiteX982" fmla="*/ 45976 w 180519"/>
                <a:gd name="connsiteY982" fmla="*/ 162185 h 248214"/>
                <a:gd name="connsiteX983" fmla="*/ 46540 w 180519"/>
                <a:gd name="connsiteY983" fmla="*/ 161339 h 248214"/>
                <a:gd name="connsiteX984" fmla="*/ 46822 w 180519"/>
                <a:gd name="connsiteY984" fmla="*/ 159929 h 248214"/>
                <a:gd name="connsiteX985" fmla="*/ 46822 w 180519"/>
                <a:gd name="connsiteY985" fmla="*/ 159083 h 248214"/>
                <a:gd name="connsiteX986" fmla="*/ 46822 w 180519"/>
                <a:gd name="connsiteY986" fmla="*/ 158801 h 248214"/>
                <a:gd name="connsiteX987" fmla="*/ 46540 w 180519"/>
                <a:gd name="connsiteY987" fmla="*/ 158801 h 248214"/>
                <a:gd name="connsiteX988" fmla="*/ 46540 w 180519"/>
                <a:gd name="connsiteY988" fmla="*/ 157954 h 248214"/>
                <a:gd name="connsiteX989" fmla="*/ 46822 w 180519"/>
                <a:gd name="connsiteY989" fmla="*/ 157672 h 248214"/>
                <a:gd name="connsiteX990" fmla="*/ 47951 w 180519"/>
                <a:gd name="connsiteY990" fmla="*/ 156262 h 248214"/>
                <a:gd name="connsiteX991" fmla="*/ 47668 w 180519"/>
                <a:gd name="connsiteY991" fmla="*/ 155416 h 248214"/>
                <a:gd name="connsiteX992" fmla="*/ 48232 w 180519"/>
                <a:gd name="connsiteY992" fmla="*/ 154288 h 248214"/>
                <a:gd name="connsiteX993" fmla="*/ 48232 w 180519"/>
                <a:gd name="connsiteY993" fmla="*/ 154006 h 248214"/>
                <a:gd name="connsiteX994" fmla="*/ 47668 w 180519"/>
                <a:gd name="connsiteY994" fmla="*/ 152877 h 248214"/>
                <a:gd name="connsiteX995" fmla="*/ 47668 w 180519"/>
                <a:gd name="connsiteY995" fmla="*/ 151749 h 248214"/>
                <a:gd name="connsiteX996" fmla="*/ 47951 w 180519"/>
                <a:gd name="connsiteY996" fmla="*/ 151185 h 248214"/>
                <a:gd name="connsiteX997" fmla="*/ 48232 w 180519"/>
                <a:gd name="connsiteY997" fmla="*/ 150903 h 248214"/>
                <a:gd name="connsiteX998" fmla="*/ 48515 w 180519"/>
                <a:gd name="connsiteY998" fmla="*/ 150903 h 248214"/>
                <a:gd name="connsiteX999" fmla="*/ 48796 w 180519"/>
                <a:gd name="connsiteY999" fmla="*/ 150621 h 248214"/>
                <a:gd name="connsiteX1000" fmla="*/ 48515 w 180519"/>
                <a:gd name="connsiteY1000" fmla="*/ 150057 h 248214"/>
                <a:gd name="connsiteX1001" fmla="*/ 48232 w 180519"/>
                <a:gd name="connsiteY1001" fmla="*/ 149493 h 248214"/>
                <a:gd name="connsiteX1002" fmla="*/ 48232 w 180519"/>
                <a:gd name="connsiteY1002" fmla="*/ 149210 h 248214"/>
                <a:gd name="connsiteX1003" fmla="*/ 48796 w 180519"/>
                <a:gd name="connsiteY1003" fmla="*/ 148082 h 248214"/>
                <a:gd name="connsiteX1004" fmla="*/ 48796 w 180519"/>
                <a:gd name="connsiteY1004" fmla="*/ 147800 h 248214"/>
                <a:gd name="connsiteX1005" fmla="*/ 49079 w 180519"/>
                <a:gd name="connsiteY1005" fmla="*/ 147236 h 248214"/>
                <a:gd name="connsiteX1006" fmla="*/ 48796 w 180519"/>
                <a:gd name="connsiteY1006" fmla="*/ 146390 h 248214"/>
                <a:gd name="connsiteX1007" fmla="*/ 48232 w 180519"/>
                <a:gd name="connsiteY1007" fmla="*/ 145544 h 248214"/>
                <a:gd name="connsiteX1008" fmla="*/ 48796 w 180519"/>
                <a:gd name="connsiteY1008" fmla="*/ 144980 h 248214"/>
                <a:gd name="connsiteX1009" fmla="*/ 50771 w 180519"/>
                <a:gd name="connsiteY1009" fmla="*/ 143287 h 248214"/>
                <a:gd name="connsiteX1010" fmla="*/ 50771 w 180519"/>
                <a:gd name="connsiteY1010" fmla="*/ 142441 h 248214"/>
                <a:gd name="connsiteX1011" fmla="*/ 50489 w 180519"/>
                <a:gd name="connsiteY1011" fmla="*/ 141313 h 248214"/>
                <a:gd name="connsiteX1012" fmla="*/ 50489 w 180519"/>
                <a:gd name="connsiteY1012" fmla="*/ 140185 h 248214"/>
                <a:gd name="connsiteX1013" fmla="*/ 51053 w 180519"/>
                <a:gd name="connsiteY1013" fmla="*/ 137646 h 248214"/>
                <a:gd name="connsiteX1014" fmla="*/ 50771 w 180519"/>
                <a:gd name="connsiteY1014" fmla="*/ 136800 h 248214"/>
                <a:gd name="connsiteX1015" fmla="*/ 51053 w 180519"/>
                <a:gd name="connsiteY1015" fmla="*/ 135954 h 248214"/>
                <a:gd name="connsiteX1016" fmla="*/ 51335 w 180519"/>
                <a:gd name="connsiteY1016" fmla="*/ 134825 h 248214"/>
                <a:gd name="connsiteX1017" fmla="*/ 51335 w 180519"/>
                <a:gd name="connsiteY1017" fmla="*/ 132851 h 248214"/>
                <a:gd name="connsiteX1018" fmla="*/ 51899 w 180519"/>
                <a:gd name="connsiteY1018" fmla="*/ 132569 h 248214"/>
                <a:gd name="connsiteX1019" fmla="*/ 51899 w 180519"/>
                <a:gd name="connsiteY1019" fmla="*/ 131159 h 248214"/>
                <a:gd name="connsiteX1020" fmla="*/ 52182 w 180519"/>
                <a:gd name="connsiteY1020" fmla="*/ 129748 h 248214"/>
                <a:gd name="connsiteX1021" fmla="*/ 51617 w 180519"/>
                <a:gd name="connsiteY1021" fmla="*/ 129466 h 248214"/>
                <a:gd name="connsiteX1022" fmla="*/ 52463 w 180519"/>
                <a:gd name="connsiteY1022" fmla="*/ 128056 h 248214"/>
                <a:gd name="connsiteX1023" fmla="*/ 52746 w 180519"/>
                <a:gd name="connsiteY1023" fmla="*/ 127492 h 248214"/>
                <a:gd name="connsiteX1024" fmla="*/ 52463 w 180519"/>
                <a:gd name="connsiteY1024" fmla="*/ 126363 h 248214"/>
                <a:gd name="connsiteX1025" fmla="*/ 53310 w 180519"/>
                <a:gd name="connsiteY1025" fmla="*/ 125235 h 248214"/>
                <a:gd name="connsiteX1026" fmla="*/ 53592 w 180519"/>
                <a:gd name="connsiteY1026" fmla="*/ 124671 h 248214"/>
                <a:gd name="connsiteX1027" fmla="*/ 53310 w 180519"/>
                <a:gd name="connsiteY1027" fmla="*/ 123543 h 248214"/>
                <a:gd name="connsiteX1028" fmla="*/ 54438 w 180519"/>
                <a:gd name="connsiteY1028" fmla="*/ 122133 h 248214"/>
                <a:gd name="connsiteX1029" fmla="*/ 54156 w 180519"/>
                <a:gd name="connsiteY1029" fmla="*/ 121568 h 248214"/>
                <a:gd name="connsiteX1030" fmla="*/ 54438 w 180519"/>
                <a:gd name="connsiteY1030" fmla="*/ 120158 h 248214"/>
                <a:gd name="connsiteX1031" fmla="*/ 54720 w 180519"/>
                <a:gd name="connsiteY1031" fmla="*/ 119312 h 248214"/>
                <a:gd name="connsiteX1032" fmla="*/ 55566 w 180519"/>
                <a:gd name="connsiteY1032" fmla="*/ 118466 h 248214"/>
                <a:gd name="connsiteX1033" fmla="*/ 55566 w 180519"/>
                <a:gd name="connsiteY1033" fmla="*/ 116209 h 248214"/>
                <a:gd name="connsiteX1034" fmla="*/ 54720 w 180519"/>
                <a:gd name="connsiteY1034" fmla="*/ 115363 h 248214"/>
                <a:gd name="connsiteX1035" fmla="*/ 55284 w 180519"/>
                <a:gd name="connsiteY1035" fmla="*/ 114235 h 248214"/>
                <a:gd name="connsiteX1036" fmla="*/ 56413 w 180519"/>
                <a:gd name="connsiteY1036" fmla="*/ 112542 h 248214"/>
                <a:gd name="connsiteX1037" fmla="*/ 56413 w 180519"/>
                <a:gd name="connsiteY1037" fmla="*/ 110850 h 248214"/>
                <a:gd name="connsiteX1038" fmla="*/ 56977 w 180519"/>
                <a:gd name="connsiteY1038" fmla="*/ 110286 h 248214"/>
                <a:gd name="connsiteX1039" fmla="*/ 56977 w 180519"/>
                <a:gd name="connsiteY1039" fmla="*/ 109722 h 248214"/>
                <a:gd name="connsiteX1040" fmla="*/ 57258 w 180519"/>
                <a:gd name="connsiteY1040" fmla="*/ 109440 h 248214"/>
                <a:gd name="connsiteX1041" fmla="*/ 57258 w 180519"/>
                <a:gd name="connsiteY1041" fmla="*/ 109158 h 248214"/>
                <a:gd name="connsiteX1042" fmla="*/ 57823 w 180519"/>
                <a:gd name="connsiteY1042" fmla="*/ 107747 h 248214"/>
                <a:gd name="connsiteX1043" fmla="*/ 57823 w 180519"/>
                <a:gd name="connsiteY1043" fmla="*/ 105491 h 248214"/>
                <a:gd name="connsiteX1044" fmla="*/ 58105 w 180519"/>
                <a:gd name="connsiteY1044" fmla="*/ 104927 h 248214"/>
                <a:gd name="connsiteX1045" fmla="*/ 58105 w 180519"/>
                <a:gd name="connsiteY1045" fmla="*/ 103517 h 248214"/>
                <a:gd name="connsiteX1046" fmla="*/ 58951 w 180519"/>
                <a:gd name="connsiteY1046" fmla="*/ 101824 h 248214"/>
                <a:gd name="connsiteX1047" fmla="*/ 58669 w 180519"/>
                <a:gd name="connsiteY1047" fmla="*/ 101260 h 248214"/>
                <a:gd name="connsiteX1048" fmla="*/ 59515 w 180519"/>
                <a:gd name="connsiteY1048" fmla="*/ 99850 h 248214"/>
                <a:gd name="connsiteX1049" fmla="*/ 59233 w 180519"/>
                <a:gd name="connsiteY1049" fmla="*/ 99286 h 248214"/>
                <a:gd name="connsiteX1050" fmla="*/ 59233 w 180519"/>
                <a:gd name="connsiteY1050" fmla="*/ 98721 h 248214"/>
                <a:gd name="connsiteX1051" fmla="*/ 59797 w 180519"/>
                <a:gd name="connsiteY1051" fmla="*/ 96747 h 248214"/>
                <a:gd name="connsiteX1052" fmla="*/ 60079 w 180519"/>
                <a:gd name="connsiteY1052" fmla="*/ 96183 h 248214"/>
                <a:gd name="connsiteX1053" fmla="*/ 64592 w 180519"/>
                <a:gd name="connsiteY1053" fmla="*/ 77849 h 248214"/>
                <a:gd name="connsiteX1054" fmla="*/ 65720 w 180519"/>
                <a:gd name="connsiteY1054" fmla="*/ 76721 h 248214"/>
                <a:gd name="connsiteX1055" fmla="*/ 65720 w 180519"/>
                <a:gd name="connsiteY1055" fmla="*/ 76439 h 248214"/>
                <a:gd name="connsiteX1056" fmla="*/ 65156 w 180519"/>
                <a:gd name="connsiteY1056" fmla="*/ 75028 h 248214"/>
                <a:gd name="connsiteX1057" fmla="*/ 64592 w 180519"/>
                <a:gd name="connsiteY1057" fmla="*/ 74464 h 248214"/>
                <a:gd name="connsiteX1058" fmla="*/ 65720 w 180519"/>
                <a:gd name="connsiteY1058" fmla="*/ 74182 h 248214"/>
                <a:gd name="connsiteX1059" fmla="*/ 66849 w 180519"/>
                <a:gd name="connsiteY1059" fmla="*/ 73054 h 248214"/>
                <a:gd name="connsiteX1060" fmla="*/ 66566 w 180519"/>
                <a:gd name="connsiteY1060" fmla="*/ 71926 h 248214"/>
                <a:gd name="connsiteX1061" fmla="*/ 67130 w 180519"/>
                <a:gd name="connsiteY1061" fmla="*/ 71079 h 248214"/>
                <a:gd name="connsiteX1062" fmla="*/ 70797 w 180519"/>
                <a:gd name="connsiteY1062" fmla="*/ 58669 h 248214"/>
                <a:gd name="connsiteX1063" fmla="*/ 69105 w 180519"/>
                <a:gd name="connsiteY1063" fmla="*/ 58669 h 248214"/>
                <a:gd name="connsiteX1064" fmla="*/ 67977 w 180519"/>
                <a:gd name="connsiteY1064" fmla="*/ 59233 h 248214"/>
                <a:gd name="connsiteX1065" fmla="*/ 63182 w 180519"/>
                <a:gd name="connsiteY1065" fmla="*/ 60643 h 248214"/>
                <a:gd name="connsiteX1066" fmla="*/ 62618 w 180519"/>
                <a:gd name="connsiteY1066" fmla="*/ 60643 h 248214"/>
                <a:gd name="connsiteX1067" fmla="*/ 61208 w 180519"/>
                <a:gd name="connsiteY1067" fmla="*/ 59797 h 248214"/>
                <a:gd name="connsiteX1068" fmla="*/ 60361 w 180519"/>
                <a:gd name="connsiteY1068" fmla="*/ 59797 h 248214"/>
                <a:gd name="connsiteX1069" fmla="*/ 58951 w 180519"/>
                <a:gd name="connsiteY1069" fmla="*/ 60079 h 248214"/>
                <a:gd name="connsiteX1070" fmla="*/ 58105 w 180519"/>
                <a:gd name="connsiteY1070" fmla="*/ 60925 h 248214"/>
                <a:gd name="connsiteX1071" fmla="*/ 56694 w 180519"/>
                <a:gd name="connsiteY1071" fmla="*/ 60925 h 248214"/>
                <a:gd name="connsiteX1072" fmla="*/ 55566 w 180519"/>
                <a:gd name="connsiteY1072" fmla="*/ 61207 h 248214"/>
                <a:gd name="connsiteX1073" fmla="*/ 54720 w 180519"/>
                <a:gd name="connsiteY1073" fmla="*/ 61771 h 248214"/>
                <a:gd name="connsiteX1074" fmla="*/ 54156 w 180519"/>
                <a:gd name="connsiteY1074" fmla="*/ 61771 h 248214"/>
                <a:gd name="connsiteX1075" fmla="*/ 51053 w 180519"/>
                <a:gd name="connsiteY1075" fmla="*/ 62618 h 248214"/>
                <a:gd name="connsiteX1076" fmla="*/ 47386 w 180519"/>
                <a:gd name="connsiteY1076" fmla="*/ 63182 h 248214"/>
                <a:gd name="connsiteX1077" fmla="*/ 46540 w 180519"/>
                <a:gd name="connsiteY1077" fmla="*/ 63182 h 248214"/>
                <a:gd name="connsiteX1078" fmla="*/ 45130 w 180519"/>
                <a:gd name="connsiteY1078" fmla="*/ 63746 h 248214"/>
                <a:gd name="connsiteX1079" fmla="*/ 44566 w 180519"/>
                <a:gd name="connsiteY1079" fmla="*/ 64028 h 248214"/>
                <a:gd name="connsiteX1080" fmla="*/ 44284 w 180519"/>
                <a:gd name="connsiteY1080" fmla="*/ 63746 h 248214"/>
                <a:gd name="connsiteX1081" fmla="*/ 44284 w 180519"/>
                <a:gd name="connsiteY1081" fmla="*/ 63464 h 248214"/>
                <a:gd name="connsiteX1082" fmla="*/ 44566 w 180519"/>
                <a:gd name="connsiteY1082" fmla="*/ 63182 h 248214"/>
                <a:gd name="connsiteX1083" fmla="*/ 44284 w 180519"/>
                <a:gd name="connsiteY1083" fmla="*/ 63182 h 248214"/>
                <a:gd name="connsiteX1084" fmla="*/ 44284 w 180519"/>
                <a:gd name="connsiteY1084" fmla="*/ 62618 h 248214"/>
                <a:gd name="connsiteX1085" fmla="*/ 43438 w 180519"/>
                <a:gd name="connsiteY1085" fmla="*/ 62900 h 248214"/>
                <a:gd name="connsiteX1086" fmla="*/ 43438 w 180519"/>
                <a:gd name="connsiteY1086" fmla="*/ 63182 h 248214"/>
                <a:gd name="connsiteX1087" fmla="*/ 44002 w 180519"/>
                <a:gd name="connsiteY1087" fmla="*/ 63464 h 248214"/>
                <a:gd name="connsiteX1088" fmla="*/ 42874 w 180519"/>
                <a:gd name="connsiteY1088" fmla="*/ 64310 h 248214"/>
                <a:gd name="connsiteX1089" fmla="*/ 42591 w 180519"/>
                <a:gd name="connsiteY1089" fmla="*/ 64310 h 248214"/>
                <a:gd name="connsiteX1090" fmla="*/ 42310 w 180519"/>
                <a:gd name="connsiteY1090" fmla="*/ 64592 h 248214"/>
                <a:gd name="connsiteX1091" fmla="*/ 42027 w 180519"/>
                <a:gd name="connsiteY1091" fmla="*/ 64592 h 248214"/>
                <a:gd name="connsiteX1092" fmla="*/ 41463 w 180519"/>
                <a:gd name="connsiteY1092" fmla="*/ 64310 h 248214"/>
                <a:gd name="connsiteX1093" fmla="*/ 41745 w 180519"/>
                <a:gd name="connsiteY1093" fmla="*/ 64028 h 248214"/>
                <a:gd name="connsiteX1094" fmla="*/ 41463 w 180519"/>
                <a:gd name="connsiteY1094" fmla="*/ 64028 h 248214"/>
                <a:gd name="connsiteX1095" fmla="*/ 40899 w 180519"/>
                <a:gd name="connsiteY1095" fmla="*/ 63746 h 248214"/>
                <a:gd name="connsiteX1096" fmla="*/ 40899 w 180519"/>
                <a:gd name="connsiteY1096" fmla="*/ 64028 h 248214"/>
                <a:gd name="connsiteX1097" fmla="*/ 39771 w 180519"/>
                <a:gd name="connsiteY1097" fmla="*/ 65438 h 248214"/>
                <a:gd name="connsiteX1098" fmla="*/ 38924 w 180519"/>
                <a:gd name="connsiteY1098" fmla="*/ 65720 h 248214"/>
                <a:gd name="connsiteX1099" fmla="*/ 38360 w 180519"/>
                <a:gd name="connsiteY1099" fmla="*/ 64874 h 248214"/>
                <a:gd name="connsiteX1100" fmla="*/ 36668 w 180519"/>
                <a:gd name="connsiteY1100" fmla="*/ 65720 h 248214"/>
                <a:gd name="connsiteX1101" fmla="*/ 34129 w 180519"/>
                <a:gd name="connsiteY1101" fmla="*/ 66284 h 248214"/>
                <a:gd name="connsiteX1102" fmla="*/ 33001 w 180519"/>
                <a:gd name="connsiteY1102" fmla="*/ 66284 h 248214"/>
                <a:gd name="connsiteX1103" fmla="*/ 32437 w 180519"/>
                <a:gd name="connsiteY1103" fmla="*/ 66849 h 248214"/>
                <a:gd name="connsiteX1104" fmla="*/ 31873 w 180519"/>
                <a:gd name="connsiteY1104" fmla="*/ 66566 h 248214"/>
                <a:gd name="connsiteX1105" fmla="*/ 30462 w 180519"/>
                <a:gd name="connsiteY1105" fmla="*/ 67131 h 248214"/>
                <a:gd name="connsiteX1106" fmla="*/ 27078 w 180519"/>
                <a:gd name="connsiteY1106" fmla="*/ 67977 h 248214"/>
                <a:gd name="connsiteX1107" fmla="*/ 26514 w 180519"/>
                <a:gd name="connsiteY1107" fmla="*/ 67977 h 248214"/>
                <a:gd name="connsiteX1108" fmla="*/ 25104 w 180519"/>
                <a:gd name="connsiteY1108" fmla="*/ 69105 h 248214"/>
                <a:gd name="connsiteX1109" fmla="*/ 23411 w 180519"/>
                <a:gd name="connsiteY1109" fmla="*/ 69105 h 248214"/>
                <a:gd name="connsiteX1110" fmla="*/ 22565 w 180519"/>
                <a:gd name="connsiteY1110" fmla="*/ 68823 h 248214"/>
                <a:gd name="connsiteX1111" fmla="*/ 21719 w 180519"/>
                <a:gd name="connsiteY1111" fmla="*/ 69105 h 248214"/>
                <a:gd name="connsiteX1112" fmla="*/ 19744 w 180519"/>
                <a:gd name="connsiteY1112" fmla="*/ 70515 h 248214"/>
                <a:gd name="connsiteX1113" fmla="*/ 18616 w 180519"/>
                <a:gd name="connsiteY1113" fmla="*/ 70797 h 248214"/>
                <a:gd name="connsiteX1114" fmla="*/ 18052 w 180519"/>
                <a:gd name="connsiteY1114" fmla="*/ 70515 h 248214"/>
                <a:gd name="connsiteX1115" fmla="*/ 16360 w 180519"/>
                <a:gd name="connsiteY1115" fmla="*/ 70515 h 248214"/>
                <a:gd name="connsiteX1116" fmla="*/ 13257 w 180519"/>
                <a:gd name="connsiteY1116" fmla="*/ 72208 h 248214"/>
                <a:gd name="connsiteX1117" fmla="*/ 11000 w 180519"/>
                <a:gd name="connsiteY1117" fmla="*/ 72208 h 248214"/>
                <a:gd name="connsiteX1118" fmla="*/ 2821 w 180519"/>
                <a:gd name="connsiteY1118" fmla="*/ 74746 h 248214"/>
                <a:gd name="connsiteX1119" fmla="*/ 1410 w 180519"/>
                <a:gd name="connsiteY1119" fmla="*/ 75592 h 248214"/>
                <a:gd name="connsiteX1120" fmla="*/ 282 w 180519"/>
                <a:gd name="connsiteY1120" fmla="*/ 76157 h 248214"/>
                <a:gd name="connsiteX1121" fmla="*/ 0 w 180519"/>
                <a:gd name="connsiteY1121" fmla="*/ 75028 h 248214"/>
                <a:gd name="connsiteX1122" fmla="*/ 7898 w 180519"/>
                <a:gd name="connsiteY1122" fmla="*/ 62900 h 248214"/>
                <a:gd name="connsiteX1123" fmla="*/ 8744 w 180519"/>
                <a:gd name="connsiteY1123" fmla="*/ 62900 h 248214"/>
                <a:gd name="connsiteX1124" fmla="*/ 8744 w 180519"/>
                <a:gd name="connsiteY1124" fmla="*/ 63182 h 248214"/>
                <a:gd name="connsiteX1125" fmla="*/ 9872 w 180519"/>
                <a:gd name="connsiteY1125" fmla="*/ 63182 h 248214"/>
                <a:gd name="connsiteX1126" fmla="*/ 9308 w 180519"/>
                <a:gd name="connsiteY1126" fmla="*/ 64028 h 248214"/>
                <a:gd name="connsiteX1127" fmla="*/ 8744 w 180519"/>
                <a:gd name="connsiteY1127" fmla="*/ 65156 h 248214"/>
                <a:gd name="connsiteX1128" fmla="*/ 8744 w 180519"/>
                <a:gd name="connsiteY1128" fmla="*/ 66566 h 248214"/>
                <a:gd name="connsiteX1129" fmla="*/ 9308 w 180519"/>
                <a:gd name="connsiteY1129" fmla="*/ 66566 h 248214"/>
                <a:gd name="connsiteX1130" fmla="*/ 9308 w 180519"/>
                <a:gd name="connsiteY1130" fmla="*/ 66002 h 248214"/>
                <a:gd name="connsiteX1131" fmla="*/ 11000 w 180519"/>
                <a:gd name="connsiteY1131" fmla="*/ 65156 h 248214"/>
                <a:gd name="connsiteX1132" fmla="*/ 11282 w 180519"/>
                <a:gd name="connsiteY1132" fmla="*/ 65156 h 248214"/>
                <a:gd name="connsiteX1133" fmla="*/ 11282 w 180519"/>
                <a:gd name="connsiteY1133" fmla="*/ 65438 h 248214"/>
                <a:gd name="connsiteX1134" fmla="*/ 11000 w 180519"/>
                <a:gd name="connsiteY1134" fmla="*/ 66002 h 248214"/>
                <a:gd name="connsiteX1135" fmla="*/ 11847 w 180519"/>
                <a:gd name="connsiteY1135" fmla="*/ 66284 h 248214"/>
                <a:gd name="connsiteX1136" fmla="*/ 12693 w 180519"/>
                <a:gd name="connsiteY1136" fmla="*/ 66002 h 248214"/>
                <a:gd name="connsiteX1137" fmla="*/ 13257 w 180519"/>
                <a:gd name="connsiteY1137" fmla="*/ 65720 h 248214"/>
                <a:gd name="connsiteX1138" fmla="*/ 13821 w 180519"/>
                <a:gd name="connsiteY1138" fmla="*/ 65720 h 248214"/>
                <a:gd name="connsiteX1139" fmla="*/ 14103 w 180519"/>
                <a:gd name="connsiteY1139" fmla="*/ 66002 h 248214"/>
                <a:gd name="connsiteX1140" fmla="*/ 15513 w 180519"/>
                <a:gd name="connsiteY1140" fmla="*/ 65438 h 248214"/>
                <a:gd name="connsiteX1141" fmla="*/ 16078 w 180519"/>
                <a:gd name="connsiteY1141" fmla="*/ 64874 h 248214"/>
                <a:gd name="connsiteX1142" fmla="*/ 16078 w 180519"/>
                <a:gd name="connsiteY1142" fmla="*/ 64028 h 248214"/>
                <a:gd name="connsiteX1143" fmla="*/ 15513 w 180519"/>
                <a:gd name="connsiteY1143" fmla="*/ 63746 h 248214"/>
                <a:gd name="connsiteX1144" fmla="*/ 15796 w 180519"/>
                <a:gd name="connsiteY1144" fmla="*/ 62618 h 248214"/>
                <a:gd name="connsiteX1145" fmla="*/ 14949 w 180519"/>
                <a:gd name="connsiteY1145" fmla="*/ 62336 h 248214"/>
                <a:gd name="connsiteX1146" fmla="*/ 17206 w 180519"/>
                <a:gd name="connsiteY1146" fmla="*/ 60643 h 248214"/>
                <a:gd name="connsiteX1147" fmla="*/ 21155 w 180519"/>
                <a:gd name="connsiteY1147" fmla="*/ 59515 h 248214"/>
                <a:gd name="connsiteX1148" fmla="*/ 23129 w 180519"/>
                <a:gd name="connsiteY1148" fmla="*/ 59233 h 248214"/>
                <a:gd name="connsiteX1149" fmla="*/ 25668 w 180519"/>
                <a:gd name="connsiteY1149" fmla="*/ 58951 h 248214"/>
                <a:gd name="connsiteX1150" fmla="*/ 26514 w 180519"/>
                <a:gd name="connsiteY1150" fmla="*/ 58951 h 248214"/>
                <a:gd name="connsiteX1151" fmla="*/ 30462 w 180519"/>
                <a:gd name="connsiteY1151" fmla="*/ 57258 h 248214"/>
                <a:gd name="connsiteX1152" fmla="*/ 33001 w 180519"/>
                <a:gd name="connsiteY1152" fmla="*/ 57258 h 248214"/>
                <a:gd name="connsiteX1153" fmla="*/ 34129 w 180519"/>
                <a:gd name="connsiteY1153" fmla="*/ 57541 h 248214"/>
                <a:gd name="connsiteX1154" fmla="*/ 34129 w 180519"/>
                <a:gd name="connsiteY1154" fmla="*/ 57823 h 248214"/>
                <a:gd name="connsiteX1155" fmla="*/ 33283 w 180519"/>
                <a:gd name="connsiteY1155" fmla="*/ 58669 h 248214"/>
                <a:gd name="connsiteX1156" fmla="*/ 31309 w 180519"/>
                <a:gd name="connsiteY1156" fmla="*/ 60079 h 248214"/>
                <a:gd name="connsiteX1157" fmla="*/ 30745 w 180519"/>
                <a:gd name="connsiteY1157" fmla="*/ 60643 h 248214"/>
                <a:gd name="connsiteX1158" fmla="*/ 29898 w 180519"/>
                <a:gd name="connsiteY1158" fmla="*/ 61207 h 248214"/>
                <a:gd name="connsiteX1159" fmla="*/ 29898 w 180519"/>
                <a:gd name="connsiteY1159" fmla="*/ 61489 h 248214"/>
                <a:gd name="connsiteX1160" fmla="*/ 31027 w 180519"/>
                <a:gd name="connsiteY1160" fmla="*/ 61489 h 248214"/>
                <a:gd name="connsiteX1161" fmla="*/ 31873 w 180519"/>
                <a:gd name="connsiteY1161" fmla="*/ 60925 h 248214"/>
                <a:gd name="connsiteX1162" fmla="*/ 32437 w 180519"/>
                <a:gd name="connsiteY1162" fmla="*/ 60079 h 248214"/>
                <a:gd name="connsiteX1163" fmla="*/ 33001 w 180519"/>
                <a:gd name="connsiteY1163" fmla="*/ 59797 h 248214"/>
                <a:gd name="connsiteX1164" fmla="*/ 33283 w 180519"/>
                <a:gd name="connsiteY1164" fmla="*/ 59797 h 248214"/>
                <a:gd name="connsiteX1165" fmla="*/ 33848 w 180519"/>
                <a:gd name="connsiteY1165" fmla="*/ 60925 h 248214"/>
                <a:gd name="connsiteX1166" fmla="*/ 34693 w 180519"/>
                <a:gd name="connsiteY1166" fmla="*/ 61207 h 248214"/>
                <a:gd name="connsiteX1167" fmla="*/ 36104 w 180519"/>
                <a:gd name="connsiteY1167" fmla="*/ 61207 h 248214"/>
                <a:gd name="connsiteX1168" fmla="*/ 37514 w 180519"/>
                <a:gd name="connsiteY1168" fmla="*/ 60643 h 248214"/>
                <a:gd name="connsiteX1169" fmla="*/ 38360 w 180519"/>
                <a:gd name="connsiteY1169" fmla="*/ 60643 h 248214"/>
                <a:gd name="connsiteX1170" fmla="*/ 38360 w 180519"/>
                <a:gd name="connsiteY1170" fmla="*/ 60361 h 248214"/>
                <a:gd name="connsiteX1171" fmla="*/ 39207 w 180519"/>
                <a:gd name="connsiteY1171" fmla="*/ 58669 h 248214"/>
                <a:gd name="connsiteX1172" fmla="*/ 40053 w 180519"/>
                <a:gd name="connsiteY1172" fmla="*/ 58387 h 248214"/>
                <a:gd name="connsiteX1173" fmla="*/ 39771 w 180519"/>
                <a:gd name="connsiteY1173" fmla="*/ 58951 h 248214"/>
                <a:gd name="connsiteX1174" fmla="*/ 39207 w 180519"/>
                <a:gd name="connsiteY1174" fmla="*/ 60361 h 248214"/>
                <a:gd name="connsiteX1175" fmla="*/ 39207 w 180519"/>
                <a:gd name="connsiteY1175" fmla="*/ 60925 h 248214"/>
                <a:gd name="connsiteX1176" fmla="*/ 39771 w 180519"/>
                <a:gd name="connsiteY1176" fmla="*/ 60925 h 248214"/>
                <a:gd name="connsiteX1177" fmla="*/ 41181 w 180519"/>
                <a:gd name="connsiteY1177" fmla="*/ 59515 h 248214"/>
                <a:gd name="connsiteX1178" fmla="*/ 40899 w 180519"/>
                <a:gd name="connsiteY1178" fmla="*/ 58669 h 248214"/>
                <a:gd name="connsiteX1179" fmla="*/ 40899 w 180519"/>
                <a:gd name="connsiteY1179" fmla="*/ 58387 h 248214"/>
                <a:gd name="connsiteX1180" fmla="*/ 41181 w 180519"/>
                <a:gd name="connsiteY1180" fmla="*/ 58105 h 248214"/>
                <a:gd name="connsiteX1181" fmla="*/ 42310 w 180519"/>
                <a:gd name="connsiteY1181" fmla="*/ 56694 h 248214"/>
                <a:gd name="connsiteX1182" fmla="*/ 40899 w 180519"/>
                <a:gd name="connsiteY1182" fmla="*/ 56412 h 248214"/>
                <a:gd name="connsiteX1183" fmla="*/ 40899 w 180519"/>
                <a:gd name="connsiteY1183" fmla="*/ 56130 h 248214"/>
                <a:gd name="connsiteX1184" fmla="*/ 40617 w 180519"/>
                <a:gd name="connsiteY1184" fmla="*/ 56130 h 248214"/>
                <a:gd name="connsiteX1185" fmla="*/ 39771 w 180519"/>
                <a:gd name="connsiteY1185" fmla="*/ 56412 h 248214"/>
                <a:gd name="connsiteX1186" fmla="*/ 38360 w 180519"/>
                <a:gd name="connsiteY1186" fmla="*/ 58105 h 248214"/>
                <a:gd name="connsiteX1187" fmla="*/ 38079 w 180519"/>
                <a:gd name="connsiteY1187" fmla="*/ 57258 h 248214"/>
                <a:gd name="connsiteX1188" fmla="*/ 36668 w 180519"/>
                <a:gd name="connsiteY1188" fmla="*/ 57258 h 248214"/>
                <a:gd name="connsiteX1189" fmla="*/ 18052 w 180519"/>
                <a:gd name="connsiteY1189" fmla="*/ 62053 h 248214"/>
                <a:gd name="connsiteX1190" fmla="*/ 16078 w 180519"/>
                <a:gd name="connsiteY1190" fmla="*/ 64028 h 248214"/>
                <a:gd name="connsiteX1191" fmla="*/ 18052 w 180519"/>
                <a:gd name="connsiteY1191" fmla="*/ 62336 h 248214"/>
                <a:gd name="connsiteX1192" fmla="*/ 18052 w 180519"/>
                <a:gd name="connsiteY1192" fmla="*/ 62053 h 248214"/>
                <a:gd name="connsiteX1193" fmla="*/ 17206 w 180519"/>
                <a:gd name="connsiteY1193" fmla="*/ 66849 h 248214"/>
                <a:gd name="connsiteX1194" fmla="*/ 16360 w 180519"/>
                <a:gd name="connsiteY1194" fmla="*/ 66849 h 248214"/>
                <a:gd name="connsiteX1195" fmla="*/ 16360 w 180519"/>
                <a:gd name="connsiteY1195" fmla="*/ 67977 h 248214"/>
                <a:gd name="connsiteX1196" fmla="*/ 16924 w 180519"/>
                <a:gd name="connsiteY1196" fmla="*/ 67413 h 248214"/>
                <a:gd name="connsiteX1197" fmla="*/ 17206 w 180519"/>
                <a:gd name="connsiteY1197" fmla="*/ 66849 h 248214"/>
                <a:gd name="connsiteX1198" fmla="*/ 20027 w 180519"/>
                <a:gd name="connsiteY1198" fmla="*/ 65720 h 248214"/>
                <a:gd name="connsiteX1199" fmla="*/ 20309 w 180519"/>
                <a:gd name="connsiteY1199" fmla="*/ 65720 h 248214"/>
                <a:gd name="connsiteX1200" fmla="*/ 20591 w 180519"/>
                <a:gd name="connsiteY1200" fmla="*/ 65156 h 248214"/>
                <a:gd name="connsiteX1201" fmla="*/ 21155 w 180519"/>
                <a:gd name="connsiteY1201" fmla="*/ 64592 h 248214"/>
                <a:gd name="connsiteX1202" fmla="*/ 21155 w 180519"/>
                <a:gd name="connsiteY1202" fmla="*/ 64310 h 248214"/>
                <a:gd name="connsiteX1203" fmla="*/ 20873 w 180519"/>
                <a:gd name="connsiteY1203" fmla="*/ 64310 h 248214"/>
                <a:gd name="connsiteX1204" fmla="*/ 19180 w 180519"/>
                <a:gd name="connsiteY1204" fmla="*/ 65156 h 248214"/>
                <a:gd name="connsiteX1205" fmla="*/ 20027 w 180519"/>
                <a:gd name="connsiteY1205" fmla="*/ 65720 h 248214"/>
                <a:gd name="connsiteX1206" fmla="*/ 28206 w 180519"/>
                <a:gd name="connsiteY1206" fmla="*/ 60079 h 248214"/>
                <a:gd name="connsiteX1207" fmla="*/ 26514 w 180519"/>
                <a:gd name="connsiteY1207" fmla="*/ 61489 h 248214"/>
                <a:gd name="connsiteX1208" fmla="*/ 26514 w 180519"/>
                <a:gd name="connsiteY1208" fmla="*/ 61771 h 248214"/>
                <a:gd name="connsiteX1209" fmla="*/ 27078 w 180519"/>
                <a:gd name="connsiteY1209" fmla="*/ 61771 h 248214"/>
                <a:gd name="connsiteX1210" fmla="*/ 27924 w 180519"/>
                <a:gd name="connsiteY1210" fmla="*/ 61207 h 248214"/>
                <a:gd name="connsiteX1211" fmla="*/ 28206 w 180519"/>
                <a:gd name="connsiteY1211" fmla="*/ 60361 h 248214"/>
                <a:gd name="connsiteX1212" fmla="*/ 28206 w 180519"/>
                <a:gd name="connsiteY1212" fmla="*/ 60079 h 248214"/>
                <a:gd name="connsiteX1213" fmla="*/ 38360 w 180519"/>
                <a:gd name="connsiteY1213" fmla="*/ 58669 h 248214"/>
                <a:gd name="connsiteX1214" fmla="*/ 38079 w 180519"/>
                <a:gd name="connsiteY1214" fmla="*/ 59233 h 248214"/>
                <a:gd name="connsiteX1215" fmla="*/ 37796 w 180519"/>
                <a:gd name="connsiteY1215" fmla="*/ 59515 h 248214"/>
                <a:gd name="connsiteX1216" fmla="*/ 37514 w 180519"/>
                <a:gd name="connsiteY1216" fmla="*/ 58951 h 248214"/>
                <a:gd name="connsiteX1217" fmla="*/ 38360 w 180519"/>
                <a:gd name="connsiteY1217" fmla="*/ 58387 h 248214"/>
                <a:gd name="connsiteX1218" fmla="*/ 38360 w 180519"/>
                <a:gd name="connsiteY1218" fmla="*/ 58669 h 248214"/>
                <a:gd name="connsiteX1219" fmla="*/ 45130 w 180519"/>
                <a:gd name="connsiteY1219" fmla="*/ 236649 h 248214"/>
                <a:gd name="connsiteX1220" fmla="*/ 44848 w 180519"/>
                <a:gd name="connsiteY1220" fmla="*/ 236367 h 248214"/>
                <a:gd name="connsiteX1221" fmla="*/ 45130 w 180519"/>
                <a:gd name="connsiteY1221" fmla="*/ 236085 h 248214"/>
                <a:gd name="connsiteX1222" fmla="*/ 45130 w 180519"/>
                <a:gd name="connsiteY1222" fmla="*/ 236649 h 248214"/>
                <a:gd name="connsiteX1223" fmla="*/ 59233 w 180519"/>
                <a:gd name="connsiteY1223" fmla="*/ 203366 h 248214"/>
                <a:gd name="connsiteX1224" fmla="*/ 60079 w 180519"/>
                <a:gd name="connsiteY1224" fmla="*/ 202520 h 248214"/>
                <a:gd name="connsiteX1225" fmla="*/ 59797 w 180519"/>
                <a:gd name="connsiteY1225" fmla="*/ 201674 h 248214"/>
                <a:gd name="connsiteX1226" fmla="*/ 60361 w 180519"/>
                <a:gd name="connsiteY1226" fmla="*/ 201110 h 248214"/>
                <a:gd name="connsiteX1227" fmla="*/ 59233 w 180519"/>
                <a:gd name="connsiteY1227" fmla="*/ 200264 h 248214"/>
                <a:gd name="connsiteX1228" fmla="*/ 59515 w 180519"/>
                <a:gd name="connsiteY1228" fmla="*/ 202520 h 248214"/>
                <a:gd name="connsiteX1229" fmla="*/ 58951 w 180519"/>
                <a:gd name="connsiteY1229" fmla="*/ 203084 h 248214"/>
                <a:gd name="connsiteX1230" fmla="*/ 58669 w 180519"/>
                <a:gd name="connsiteY1230" fmla="*/ 203084 h 248214"/>
                <a:gd name="connsiteX1231" fmla="*/ 58951 w 180519"/>
                <a:gd name="connsiteY1231" fmla="*/ 203366 h 248214"/>
                <a:gd name="connsiteX1232" fmla="*/ 59233 w 180519"/>
                <a:gd name="connsiteY1232" fmla="*/ 203366 h 248214"/>
                <a:gd name="connsiteX1233" fmla="*/ 59515 w 180519"/>
                <a:gd name="connsiteY1233" fmla="*/ 210700 h 248214"/>
                <a:gd name="connsiteX1234" fmla="*/ 59515 w 180519"/>
                <a:gd name="connsiteY1234" fmla="*/ 212392 h 248214"/>
                <a:gd name="connsiteX1235" fmla="*/ 60361 w 180519"/>
                <a:gd name="connsiteY1235" fmla="*/ 212674 h 248214"/>
                <a:gd name="connsiteX1236" fmla="*/ 60925 w 180519"/>
                <a:gd name="connsiteY1236" fmla="*/ 212674 h 248214"/>
                <a:gd name="connsiteX1237" fmla="*/ 60644 w 180519"/>
                <a:gd name="connsiteY1237" fmla="*/ 212392 h 248214"/>
                <a:gd name="connsiteX1238" fmla="*/ 60644 w 180519"/>
                <a:gd name="connsiteY1238" fmla="*/ 210700 h 248214"/>
                <a:gd name="connsiteX1239" fmla="*/ 59515 w 180519"/>
                <a:gd name="connsiteY1239" fmla="*/ 210700 h 248214"/>
                <a:gd name="connsiteX1240" fmla="*/ 59515 w 180519"/>
                <a:gd name="connsiteY1240" fmla="*/ 220008 h 248214"/>
                <a:gd name="connsiteX1241" fmla="*/ 59797 w 180519"/>
                <a:gd name="connsiteY1241" fmla="*/ 220854 h 248214"/>
                <a:gd name="connsiteX1242" fmla="*/ 60079 w 180519"/>
                <a:gd name="connsiteY1242" fmla="*/ 221136 h 248214"/>
                <a:gd name="connsiteX1243" fmla="*/ 60079 w 180519"/>
                <a:gd name="connsiteY1243" fmla="*/ 220854 h 248214"/>
                <a:gd name="connsiteX1244" fmla="*/ 60644 w 180519"/>
                <a:gd name="connsiteY1244" fmla="*/ 219726 h 248214"/>
                <a:gd name="connsiteX1245" fmla="*/ 59797 w 180519"/>
                <a:gd name="connsiteY1245" fmla="*/ 219162 h 248214"/>
                <a:gd name="connsiteX1246" fmla="*/ 59515 w 180519"/>
                <a:gd name="connsiteY1246" fmla="*/ 219726 h 248214"/>
                <a:gd name="connsiteX1247" fmla="*/ 59515 w 180519"/>
                <a:gd name="connsiteY1247" fmla="*/ 220008 h 248214"/>
                <a:gd name="connsiteX1248" fmla="*/ 59797 w 180519"/>
                <a:gd name="connsiteY1248" fmla="*/ 187007 h 248214"/>
                <a:gd name="connsiteX1249" fmla="*/ 60079 w 180519"/>
                <a:gd name="connsiteY1249" fmla="*/ 186725 h 248214"/>
                <a:gd name="connsiteX1250" fmla="*/ 62336 w 180519"/>
                <a:gd name="connsiteY1250" fmla="*/ 185878 h 248214"/>
                <a:gd name="connsiteX1251" fmla="*/ 62618 w 180519"/>
                <a:gd name="connsiteY1251" fmla="*/ 186725 h 248214"/>
                <a:gd name="connsiteX1252" fmla="*/ 60644 w 180519"/>
                <a:gd name="connsiteY1252" fmla="*/ 187289 h 248214"/>
                <a:gd name="connsiteX1253" fmla="*/ 59797 w 180519"/>
                <a:gd name="connsiteY1253" fmla="*/ 187007 h 248214"/>
                <a:gd name="connsiteX1254" fmla="*/ 60079 w 180519"/>
                <a:gd name="connsiteY1254" fmla="*/ 205059 h 248214"/>
                <a:gd name="connsiteX1255" fmla="*/ 59797 w 180519"/>
                <a:gd name="connsiteY1255" fmla="*/ 205341 h 248214"/>
                <a:gd name="connsiteX1256" fmla="*/ 60079 w 180519"/>
                <a:gd name="connsiteY1256" fmla="*/ 205623 h 248214"/>
                <a:gd name="connsiteX1257" fmla="*/ 60079 w 180519"/>
                <a:gd name="connsiteY1257" fmla="*/ 205059 h 248214"/>
                <a:gd name="connsiteX1258" fmla="*/ 60644 w 180519"/>
                <a:gd name="connsiteY1258" fmla="*/ 188417 h 248214"/>
                <a:gd name="connsiteX1259" fmla="*/ 60925 w 180519"/>
                <a:gd name="connsiteY1259" fmla="*/ 188135 h 248214"/>
                <a:gd name="connsiteX1260" fmla="*/ 61208 w 180519"/>
                <a:gd name="connsiteY1260" fmla="*/ 188417 h 248214"/>
                <a:gd name="connsiteX1261" fmla="*/ 60644 w 180519"/>
                <a:gd name="connsiteY1261" fmla="*/ 188417 h 248214"/>
                <a:gd name="connsiteX1262" fmla="*/ 61208 w 180519"/>
                <a:gd name="connsiteY1262" fmla="*/ 176288 h 248214"/>
                <a:gd name="connsiteX1263" fmla="*/ 60925 w 180519"/>
                <a:gd name="connsiteY1263" fmla="*/ 176006 h 248214"/>
                <a:gd name="connsiteX1264" fmla="*/ 61489 w 180519"/>
                <a:gd name="connsiteY1264" fmla="*/ 175724 h 248214"/>
                <a:gd name="connsiteX1265" fmla="*/ 62054 w 180519"/>
                <a:gd name="connsiteY1265" fmla="*/ 176006 h 248214"/>
                <a:gd name="connsiteX1266" fmla="*/ 61489 w 180519"/>
                <a:gd name="connsiteY1266" fmla="*/ 176288 h 248214"/>
                <a:gd name="connsiteX1267" fmla="*/ 61208 w 180519"/>
                <a:gd name="connsiteY1267" fmla="*/ 176288 h 248214"/>
                <a:gd name="connsiteX1268" fmla="*/ 61208 w 180519"/>
                <a:gd name="connsiteY1268" fmla="*/ 184750 h 248214"/>
                <a:gd name="connsiteX1269" fmla="*/ 61208 w 180519"/>
                <a:gd name="connsiteY1269" fmla="*/ 183904 h 248214"/>
                <a:gd name="connsiteX1270" fmla="*/ 62054 w 180519"/>
                <a:gd name="connsiteY1270" fmla="*/ 183340 h 248214"/>
                <a:gd name="connsiteX1271" fmla="*/ 62618 w 180519"/>
                <a:gd name="connsiteY1271" fmla="*/ 183622 h 248214"/>
                <a:gd name="connsiteX1272" fmla="*/ 62336 w 180519"/>
                <a:gd name="connsiteY1272" fmla="*/ 184186 h 248214"/>
                <a:gd name="connsiteX1273" fmla="*/ 61772 w 180519"/>
                <a:gd name="connsiteY1273" fmla="*/ 184750 h 248214"/>
                <a:gd name="connsiteX1274" fmla="*/ 61208 w 180519"/>
                <a:gd name="connsiteY1274" fmla="*/ 184750 h 248214"/>
                <a:gd name="connsiteX1275" fmla="*/ 62054 w 180519"/>
                <a:gd name="connsiteY1275" fmla="*/ 188981 h 248214"/>
                <a:gd name="connsiteX1276" fmla="*/ 62054 w 180519"/>
                <a:gd name="connsiteY1276" fmla="*/ 189263 h 248214"/>
                <a:gd name="connsiteX1277" fmla="*/ 61489 w 180519"/>
                <a:gd name="connsiteY1277" fmla="*/ 188981 h 248214"/>
                <a:gd name="connsiteX1278" fmla="*/ 61489 w 180519"/>
                <a:gd name="connsiteY1278" fmla="*/ 188699 h 248214"/>
                <a:gd name="connsiteX1279" fmla="*/ 61208 w 180519"/>
                <a:gd name="connsiteY1279" fmla="*/ 188417 h 248214"/>
                <a:gd name="connsiteX1280" fmla="*/ 61772 w 180519"/>
                <a:gd name="connsiteY1280" fmla="*/ 188417 h 248214"/>
                <a:gd name="connsiteX1281" fmla="*/ 62054 w 180519"/>
                <a:gd name="connsiteY1281" fmla="*/ 188981 h 248214"/>
                <a:gd name="connsiteX1282" fmla="*/ 61489 w 180519"/>
                <a:gd name="connsiteY1282" fmla="*/ 181648 h 248214"/>
                <a:gd name="connsiteX1283" fmla="*/ 62336 w 180519"/>
                <a:gd name="connsiteY1283" fmla="*/ 181648 h 248214"/>
                <a:gd name="connsiteX1284" fmla="*/ 62618 w 180519"/>
                <a:gd name="connsiteY1284" fmla="*/ 182212 h 248214"/>
                <a:gd name="connsiteX1285" fmla="*/ 62336 w 180519"/>
                <a:gd name="connsiteY1285" fmla="*/ 183058 h 248214"/>
                <a:gd name="connsiteX1286" fmla="*/ 61489 w 180519"/>
                <a:gd name="connsiteY1286" fmla="*/ 182494 h 248214"/>
                <a:gd name="connsiteX1287" fmla="*/ 61489 w 180519"/>
                <a:gd name="connsiteY1287" fmla="*/ 181648 h 248214"/>
                <a:gd name="connsiteX1288" fmla="*/ 62336 w 180519"/>
                <a:gd name="connsiteY1288" fmla="*/ 178545 h 248214"/>
                <a:gd name="connsiteX1289" fmla="*/ 61772 w 180519"/>
                <a:gd name="connsiteY1289" fmla="*/ 178545 h 248214"/>
                <a:gd name="connsiteX1290" fmla="*/ 62054 w 180519"/>
                <a:gd name="connsiteY1290" fmla="*/ 178263 h 248214"/>
                <a:gd name="connsiteX1291" fmla="*/ 62336 w 180519"/>
                <a:gd name="connsiteY1291" fmla="*/ 178545 h 248214"/>
                <a:gd name="connsiteX1292" fmla="*/ 63182 w 180519"/>
                <a:gd name="connsiteY1292" fmla="*/ 168109 h 248214"/>
                <a:gd name="connsiteX1293" fmla="*/ 63746 w 180519"/>
                <a:gd name="connsiteY1293" fmla="*/ 168673 h 248214"/>
                <a:gd name="connsiteX1294" fmla="*/ 63182 w 180519"/>
                <a:gd name="connsiteY1294" fmla="*/ 169237 h 248214"/>
                <a:gd name="connsiteX1295" fmla="*/ 62618 w 180519"/>
                <a:gd name="connsiteY1295" fmla="*/ 168955 h 248214"/>
                <a:gd name="connsiteX1296" fmla="*/ 63182 w 180519"/>
                <a:gd name="connsiteY1296" fmla="*/ 168109 h 248214"/>
                <a:gd name="connsiteX1297" fmla="*/ 65438 w 180519"/>
                <a:gd name="connsiteY1297" fmla="*/ 136800 h 248214"/>
                <a:gd name="connsiteX1298" fmla="*/ 66566 w 180519"/>
                <a:gd name="connsiteY1298" fmla="*/ 136518 h 248214"/>
                <a:gd name="connsiteX1299" fmla="*/ 65720 w 180519"/>
                <a:gd name="connsiteY1299" fmla="*/ 135954 h 248214"/>
                <a:gd name="connsiteX1300" fmla="*/ 65438 w 180519"/>
                <a:gd name="connsiteY1300" fmla="*/ 136518 h 248214"/>
                <a:gd name="connsiteX1301" fmla="*/ 65438 w 180519"/>
                <a:gd name="connsiteY1301" fmla="*/ 136800 h 248214"/>
                <a:gd name="connsiteX1302" fmla="*/ 65438 w 180519"/>
                <a:gd name="connsiteY1302" fmla="*/ 153159 h 248214"/>
                <a:gd name="connsiteX1303" fmla="*/ 65438 w 180519"/>
                <a:gd name="connsiteY1303" fmla="*/ 151467 h 248214"/>
                <a:gd name="connsiteX1304" fmla="*/ 66002 w 180519"/>
                <a:gd name="connsiteY1304" fmla="*/ 151185 h 248214"/>
                <a:gd name="connsiteX1305" fmla="*/ 66566 w 180519"/>
                <a:gd name="connsiteY1305" fmla="*/ 151467 h 248214"/>
                <a:gd name="connsiteX1306" fmla="*/ 65720 w 180519"/>
                <a:gd name="connsiteY1306" fmla="*/ 152877 h 248214"/>
                <a:gd name="connsiteX1307" fmla="*/ 65438 w 180519"/>
                <a:gd name="connsiteY1307" fmla="*/ 153159 h 248214"/>
                <a:gd name="connsiteX1308" fmla="*/ 69387 w 180519"/>
                <a:gd name="connsiteY1308" fmla="*/ 132569 h 248214"/>
                <a:gd name="connsiteX1309" fmla="*/ 67977 w 180519"/>
                <a:gd name="connsiteY1309" fmla="*/ 131441 h 248214"/>
                <a:gd name="connsiteX1310" fmla="*/ 67977 w 180519"/>
                <a:gd name="connsiteY1310" fmla="*/ 131159 h 248214"/>
                <a:gd name="connsiteX1311" fmla="*/ 69387 w 180519"/>
                <a:gd name="connsiteY1311" fmla="*/ 130594 h 248214"/>
                <a:gd name="connsiteX1312" fmla="*/ 70516 w 180519"/>
                <a:gd name="connsiteY1312" fmla="*/ 131159 h 248214"/>
                <a:gd name="connsiteX1313" fmla="*/ 70516 w 180519"/>
                <a:gd name="connsiteY1313" fmla="*/ 131723 h 248214"/>
                <a:gd name="connsiteX1314" fmla="*/ 69669 w 180519"/>
                <a:gd name="connsiteY1314" fmla="*/ 132569 h 248214"/>
                <a:gd name="connsiteX1315" fmla="*/ 69387 w 180519"/>
                <a:gd name="connsiteY1315" fmla="*/ 132569 h 248214"/>
                <a:gd name="connsiteX1316" fmla="*/ 72490 w 180519"/>
                <a:gd name="connsiteY1316" fmla="*/ 49361 h 248214"/>
                <a:gd name="connsiteX1317" fmla="*/ 71926 w 180519"/>
                <a:gd name="connsiteY1317" fmla="*/ 49643 h 248214"/>
                <a:gd name="connsiteX1318" fmla="*/ 72490 w 180519"/>
                <a:gd name="connsiteY1318" fmla="*/ 49361 h 248214"/>
                <a:gd name="connsiteX1319" fmla="*/ 83490 w 180519"/>
                <a:gd name="connsiteY1319" fmla="*/ 237778 h 248214"/>
                <a:gd name="connsiteX1320" fmla="*/ 83208 w 180519"/>
                <a:gd name="connsiteY1320" fmla="*/ 237496 h 248214"/>
                <a:gd name="connsiteX1321" fmla="*/ 83490 w 180519"/>
                <a:gd name="connsiteY1321" fmla="*/ 236932 h 248214"/>
                <a:gd name="connsiteX1322" fmla="*/ 83490 w 180519"/>
                <a:gd name="connsiteY1322" fmla="*/ 237778 h 248214"/>
                <a:gd name="connsiteX1323" fmla="*/ 89131 w 180519"/>
                <a:gd name="connsiteY1323" fmla="*/ 218598 h 248214"/>
                <a:gd name="connsiteX1324" fmla="*/ 88850 w 180519"/>
                <a:gd name="connsiteY1324" fmla="*/ 218315 h 248214"/>
                <a:gd name="connsiteX1325" fmla="*/ 88003 w 180519"/>
                <a:gd name="connsiteY1325" fmla="*/ 219444 h 248214"/>
                <a:gd name="connsiteX1326" fmla="*/ 88285 w 180519"/>
                <a:gd name="connsiteY1326" fmla="*/ 219726 h 248214"/>
                <a:gd name="connsiteX1327" fmla="*/ 89131 w 180519"/>
                <a:gd name="connsiteY1327" fmla="*/ 218598 h 248214"/>
                <a:gd name="connsiteX1328" fmla="*/ 94773 w 180519"/>
                <a:gd name="connsiteY1328" fmla="*/ 205059 h 248214"/>
                <a:gd name="connsiteX1329" fmla="*/ 95619 w 180519"/>
                <a:gd name="connsiteY1329" fmla="*/ 204777 h 248214"/>
                <a:gd name="connsiteX1330" fmla="*/ 95337 w 180519"/>
                <a:gd name="connsiteY1330" fmla="*/ 204495 h 248214"/>
                <a:gd name="connsiteX1331" fmla="*/ 94773 w 180519"/>
                <a:gd name="connsiteY1331" fmla="*/ 203930 h 248214"/>
                <a:gd name="connsiteX1332" fmla="*/ 94209 w 180519"/>
                <a:gd name="connsiteY1332" fmla="*/ 204495 h 248214"/>
                <a:gd name="connsiteX1333" fmla="*/ 94773 w 180519"/>
                <a:gd name="connsiteY1333" fmla="*/ 205059 h 248214"/>
                <a:gd name="connsiteX1334" fmla="*/ 101542 w 180519"/>
                <a:gd name="connsiteY1334" fmla="*/ 202802 h 248214"/>
                <a:gd name="connsiteX1335" fmla="*/ 101260 w 180519"/>
                <a:gd name="connsiteY1335" fmla="*/ 203084 h 248214"/>
                <a:gd name="connsiteX1336" fmla="*/ 101260 w 180519"/>
                <a:gd name="connsiteY1336" fmla="*/ 203366 h 248214"/>
                <a:gd name="connsiteX1337" fmla="*/ 100132 w 180519"/>
                <a:gd name="connsiteY1337" fmla="*/ 203366 h 248214"/>
                <a:gd name="connsiteX1338" fmla="*/ 100132 w 180519"/>
                <a:gd name="connsiteY1338" fmla="*/ 203084 h 248214"/>
                <a:gd name="connsiteX1339" fmla="*/ 100696 w 180519"/>
                <a:gd name="connsiteY1339" fmla="*/ 202520 h 248214"/>
                <a:gd name="connsiteX1340" fmla="*/ 100132 w 180519"/>
                <a:gd name="connsiteY1340" fmla="*/ 201674 h 248214"/>
                <a:gd name="connsiteX1341" fmla="*/ 100132 w 180519"/>
                <a:gd name="connsiteY1341" fmla="*/ 201392 h 248214"/>
                <a:gd name="connsiteX1342" fmla="*/ 100414 w 180519"/>
                <a:gd name="connsiteY1342" fmla="*/ 200828 h 248214"/>
                <a:gd name="connsiteX1343" fmla="*/ 100978 w 180519"/>
                <a:gd name="connsiteY1343" fmla="*/ 200264 h 248214"/>
                <a:gd name="connsiteX1344" fmla="*/ 101542 w 180519"/>
                <a:gd name="connsiteY1344" fmla="*/ 200828 h 248214"/>
                <a:gd name="connsiteX1345" fmla="*/ 101542 w 180519"/>
                <a:gd name="connsiteY1345" fmla="*/ 202802 h 248214"/>
                <a:gd name="connsiteX1346" fmla="*/ 104363 w 180519"/>
                <a:gd name="connsiteY1346" fmla="*/ 49079 h 248214"/>
                <a:gd name="connsiteX1347" fmla="*/ 105773 w 180519"/>
                <a:gd name="connsiteY1347" fmla="*/ 48515 h 248214"/>
                <a:gd name="connsiteX1348" fmla="*/ 106055 w 180519"/>
                <a:gd name="connsiteY1348" fmla="*/ 47668 h 248214"/>
                <a:gd name="connsiteX1349" fmla="*/ 105773 w 180519"/>
                <a:gd name="connsiteY1349" fmla="*/ 47386 h 248214"/>
                <a:gd name="connsiteX1350" fmla="*/ 104081 w 180519"/>
                <a:gd name="connsiteY1350" fmla="*/ 48515 h 248214"/>
                <a:gd name="connsiteX1351" fmla="*/ 103798 w 180519"/>
                <a:gd name="connsiteY1351" fmla="*/ 49079 h 248214"/>
                <a:gd name="connsiteX1352" fmla="*/ 103798 w 180519"/>
                <a:gd name="connsiteY1352" fmla="*/ 49361 h 248214"/>
                <a:gd name="connsiteX1353" fmla="*/ 104363 w 180519"/>
                <a:gd name="connsiteY1353" fmla="*/ 49079 h 248214"/>
                <a:gd name="connsiteX1354" fmla="*/ 108876 w 180519"/>
                <a:gd name="connsiteY1354" fmla="*/ 176288 h 248214"/>
                <a:gd name="connsiteX1355" fmla="*/ 109158 w 180519"/>
                <a:gd name="connsiteY1355" fmla="*/ 177135 h 248214"/>
                <a:gd name="connsiteX1356" fmla="*/ 109440 w 180519"/>
                <a:gd name="connsiteY1356" fmla="*/ 177417 h 248214"/>
                <a:gd name="connsiteX1357" fmla="*/ 110286 w 180519"/>
                <a:gd name="connsiteY1357" fmla="*/ 176288 h 248214"/>
                <a:gd name="connsiteX1358" fmla="*/ 108876 w 180519"/>
                <a:gd name="connsiteY1358" fmla="*/ 176288 h 248214"/>
                <a:gd name="connsiteX1359" fmla="*/ 109722 w 180519"/>
                <a:gd name="connsiteY1359" fmla="*/ 45694 h 248214"/>
                <a:gd name="connsiteX1360" fmla="*/ 110004 w 180519"/>
                <a:gd name="connsiteY1360" fmla="*/ 45130 h 248214"/>
                <a:gd name="connsiteX1361" fmla="*/ 110004 w 180519"/>
                <a:gd name="connsiteY1361" fmla="*/ 44848 h 248214"/>
                <a:gd name="connsiteX1362" fmla="*/ 109722 w 180519"/>
                <a:gd name="connsiteY1362" fmla="*/ 45130 h 248214"/>
                <a:gd name="connsiteX1363" fmla="*/ 109722 w 180519"/>
                <a:gd name="connsiteY1363" fmla="*/ 45694 h 248214"/>
                <a:gd name="connsiteX1364" fmla="*/ 111979 w 180519"/>
                <a:gd name="connsiteY1364" fmla="*/ 155980 h 248214"/>
                <a:gd name="connsiteX1365" fmla="*/ 110568 w 180519"/>
                <a:gd name="connsiteY1365" fmla="*/ 155416 h 248214"/>
                <a:gd name="connsiteX1366" fmla="*/ 110568 w 180519"/>
                <a:gd name="connsiteY1366" fmla="*/ 155980 h 248214"/>
                <a:gd name="connsiteX1367" fmla="*/ 111415 w 180519"/>
                <a:gd name="connsiteY1367" fmla="*/ 156544 h 248214"/>
                <a:gd name="connsiteX1368" fmla="*/ 111979 w 180519"/>
                <a:gd name="connsiteY1368" fmla="*/ 155980 h 248214"/>
                <a:gd name="connsiteX1369" fmla="*/ 113107 w 180519"/>
                <a:gd name="connsiteY1369" fmla="*/ 153723 h 248214"/>
                <a:gd name="connsiteX1370" fmla="*/ 113107 w 180519"/>
                <a:gd name="connsiteY1370" fmla="*/ 152313 h 248214"/>
                <a:gd name="connsiteX1371" fmla="*/ 112260 w 180519"/>
                <a:gd name="connsiteY1371" fmla="*/ 152313 h 248214"/>
                <a:gd name="connsiteX1372" fmla="*/ 112260 w 180519"/>
                <a:gd name="connsiteY1372" fmla="*/ 152595 h 248214"/>
                <a:gd name="connsiteX1373" fmla="*/ 111979 w 180519"/>
                <a:gd name="connsiteY1373" fmla="*/ 153441 h 248214"/>
                <a:gd name="connsiteX1374" fmla="*/ 112260 w 180519"/>
                <a:gd name="connsiteY1374" fmla="*/ 154006 h 248214"/>
                <a:gd name="connsiteX1375" fmla="*/ 113107 w 180519"/>
                <a:gd name="connsiteY1375" fmla="*/ 153723 h 248214"/>
                <a:gd name="connsiteX1376" fmla="*/ 114799 w 180519"/>
                <a:gd name="connsiteY1376" fmla="*/ 49361 h 248214"/>
                <a:gd name="connsiteX1377" fmla="*/ 115927 w 180519"/>
                <a:gd name="connsiteY1377" fmla="*/ 48797 h 248214"/>
                <a:gd name="connsiteX1378" fmla="*/ 115363 w 180519"/>
                <a:gd name="connsiteY1378" fmla="*/ 48797 h 248214"/>
                <a:gd name="connsiteX1379" fmla="*/ 114799 w 180519"/>
                <a:gd name="connsiteY1379" fmla="*/ 48515 h 248214"/>
                <a:gd name="connsiteX1380" fmla="*/ 113953 w 180519"/>
                <a:gd name="connsiteY1380" fmla="*/ 48797 h 248214"/>
                <a:gd name="connsiteX1381" fmla="*/ 113671 w 180519"/>
                <a:gd name="connsiteY1381" fmla="*/ 48797 h 248214"/>
                <a:gd name="connsiteX1382" fmla="*/ 113389 w 180519"/>
                <a:gd name="connsiteY1382" fmla="*/ 49079 h 248214"/>
                <a:gd name="connsiteX1383" fmla="*/ 113953 w 180519"/>
                <a:gd name="connsiteY1383" fmla="*/ 49361 h 248214"/>
                <a:gd name="connsiteX1384" fmla="*/ 114799 w 180519"/>
                <a:gd name="connsiteY1384" fmla="*/ 49361 h 248214"/>
                <a:gd name="connsiteX1385" fmla="*/ 115646 w 180519"/>
                <a:gd name="connsiteY1385" fmla="*/ 167827 h 248214"/>
                <a:gd name="connsiteX1386" fmla="*/ 115646 w 180519"/>
                <a:gd name="connsiteY1386" fmla="*/ 168109 h 248214"/>
                <a:gd name="connsiteX1387" fmla="*/ 114799 w 180519"/>
                <a:gd name="connsiteY1387" fmla="*/ 168673 h 248214"/>
                <a:gd name="connsiteX1388" fmla="*/ 114799 w 180519"/>
                <a:gd name="connsiteY1388" fmla="*/ 168391 h 248214"/>
                <a:gd name="connsiteX1389" fmla="*/ 114235 w 180519"/>
                <a:gd name="connsiteY1389" fmla="*/ 167827 h 248214"/>
                <a:gd name="connsiteX1390" fmla="*/ 115081 w 180519"/>
                <a:gd name="connsiteY1390" fmla="*/ 167262 h 248214"/>
                <a:gd name="connsiteX1391" fmla="*/ 115927 w 180519"/>
                <a:gd name="connsiteY1391" fmla="*/ 167262 h 248214"/>
                <a:gd name="connsiteX1392" fmla="*/ 115646 w 180519"/>
                <a:gd name="connsiteY1392" fmla="*/ 167827 h 248214"/>
                <a:gd name="connsiteX1393" fmla="*/ 115646 w 180519"/>
                <a:gd name="connsiteY1393" fmla="*/ 169519 h 248214"/>
                <a:gd name="connsiteX1394" fmla="*/ 115927 w 180519"/>
                <a:gd name="connsiteY1394" fmla="*/ 169801 h 248214"/>
                <a:gd name="connsiteX1395" fmla="*/ 115081 w 180519"/>
                <a:gd name="connsiteY1395" fmla="*/ 170365 h 248214"/>
                <a:gd name="connsiteX1396" fmla="*/ 115081 w 180519"/>
                <a:gd name="connsiteY1396" fmla="*/ 170083 h 248214"/>
                <a:gd name="connsiteX1397" fmla="*/ 114799 w 180519"/>
                <a:gd name="connsiteY1397" fmla="*/ 169801 h 248214"/>
                <a:gd name="connsiteX1398" fmla="*/ 114235 w 180519"/>
                <a:gd name="connsiteY1398" fmla="*/ 169519 h 248214"/>
                <a:gd name="connsiteX1399" fmla="*/ 115646 w 180519"/>
                <a:gd name="connsiteY1399" fmla="*/ 169519 h 248214"/>
                <a:gd name="connsiteX1400" fmla="*/ 116210 w 180519"/>
                <a:gd name="connsiteY1400" fmla="*/ 47386 h 248214"/>
                <a:gd name="connsiteX1401" fmla="*/ 116774 w 180519"/>
                <a:gd name="connsiteY1401" fmla="*/ 46540 h 248214"/>
                <a:gd name="connsiteX1402" fmla="*/ 116774 w 180519"/>
                <a:gd name="connsiteY1402" fmla="*/ 46258 h 248214"/>
                <a:gd name="connsiteX1403" fmla="*/ 115363 w 180519"/>
                <a:gd name="connsiteY1403" fmla="*/ 46540 h 248214"/>
                <a:gd name="connsiteX1404" fmla="*/ 115081 w 180519"/>
                <a:gd name="connsiteY1404" fmla="*/ 48232 h 248214"/>
                <a:gd name="connsiteX1405" fmla="*/ 116210 w 180519"/>
                <a:gd name="connsiteY1405" fmla="*/ 47386 h 248214"/>
                <a:gd name="connsiteX1406" fmla="*/ 117338 w 180519"/>
                <a:gd name="connsiteY1406" fmla="*/ 162749 h 248214"/>
                <a:gd name="connsiteX1407" fmla="*/ 117056 w 180519"/>
                <a:gd name="connsiteY1407" fmla="*/ 162467 h 248214"/>
                <a:gd name="connsiteX1408" fmla="*/ 117338 w 180519"/>
                <a:gd name="connsiteY1408" fmla="*/ 162185 h 248214"/>
                <a:gd name="connsiteX1409" fmla="*/ 117620 w 180519"/>
                <a:gd name="connsiteY1409" fmla="*/ 162185 h 248214"/>
                <a:gd name="connsiteX1410" fmla="*/ 117902 w 180519"/>
                <a:gd name="connsiteY1410" fmla="*/ 162467 h 248214"/>
                <a:gd name="connsiteX1411" fmla="*/ 118466 w 180519"/>
                <a:gd name="connsiteY1411" fmla="*/ 162749 h 248214"/>
                <a:gd name="connsiteX1412" fmla="*/ 117620 w 180519"/>
                <a:gd name="connsiteY1412" fmla="*/ 163314 h 248214"/>
                <a:gd name="connsiteX1413" fmla="*/ 117338 w 180519"/>
                <a:gd name="connsiteY1413" fmla="*/ 162749 h 248214"/>
                <a:gd name="connsiteX1414" fmla="*/ 120440 w 180519"/>
                <a:gd name="connsiteY1414" fmla="*/ 51335 h 248214"/>
                <a:gd name="connsiteX1415" fmla="*/ 120158 w 180519"/>
                <a:gd name="connsiteY1415" fmla="*/ 51053 h 248214"/>
                <a:gd name="connsiteX1416" fmla="*/ 119594 w 180519"/>
                <a:gd name="connsiteY1416" fmla="*/ 51335 h 248214"/>
                <a:gd name="connsiteX1417" fmla="*/ 120440 w 180519"/>
                <a:gd name="connsiteY1417" fmla="*/ 51335 h 248214"/>
                <a:gd name="connsiteX1418" fmla="*/ 121568 w 180519"/>
                <a:gd name="connsiteY1418" fmla="*/ 45976 h 248214"/>
                <a:gd name="connsiteX1419" fmla="*/ 121568 w 180519"/>
                <a:gd name="connsiteY1419" fmla="*/ 45694 h 248214"/>
                <a:gd name="connsiteX1420" fmla="*/ 121287 w 180519"/>
                <a:gd name="connsiteY1420" fmla="*/ 45694 h 248214"/>
                <a:gd name="connsiteX1421" fmla="*/ 121004 w 180519"/>
                <a:gd name="connsiteY1421" fmla="*/ 46258 h 248214"/>
                <a:gd name="connsiteX1422" fmla="*/ 121568 w 180519"/>
                <a:gd name="connsiteY1422" fmla="*/ 45976 h 248214"/>
                <a:gd name="connsiteX1423" fmla="*/ 121851 w 180519"/>
                <a:gd name="connsiteY1423" fmla="*/ 152313 h 248214"/>
                <a:gd name="connsiteX1424" fmla="*/ 121568 w 180519"/>
                <a:gd name="connsiteY1424" fmla="*/ 151467 h 248214"/>
                <a:gd name="connsiteX1425" fmla="*/ 121568 w 180519"/>
                <a:gd name="connsiteY1425" fmla="*/ 150903 h 248214"/>
                <a:gd name="connsiteX1426" fmla="*/ 121287 w 180519"/>
                <a:gd name="connsiteY1426" fmla="*/ 150903 h 248214"/>
                <a:gd name="connsiteX1427" fmla="*/ 121568 w 180519"/>
                <a:gd name="connsiteY1427" fmla="*/ 150339 h 248214"/>
                <a:gd name="connsiteX1428" fmla="*/ 121851 w 180519"/>
                <a:gd name="connsiteY1428" fmla="*/ 150057 h 248214"/>
                <a:gd name="connsiteX1429" fmla="*/ 123261 w 180519"/>
                <a:gd name="connsiteY1429" fmla="*/ 150621 h 248214"/>
                <a:gd name="connsiteX1430" fmla="*/ 123543 w 180519"/>
                <a:gd name="connsiteY1430" fmla="*/ 150903 h 248214"/>
                <a:gd name="connsiteX1431" fmla="*/ 123261 w 180519"/>
                <a:gd name="connsiteY1431" fmla="*/ 151467 h 248214"/>
                <a:gd name="connsiteX1432" fmla="*/ 122132 w 180519"/>
                <a:gd name="connsiteY1432" fmla="*/ 152313 h 248214"/>
                <a:gd name="connsiteX1433" fmla="*/ 121851 w 180519"/>
                <a:gd name="connsiteY1433" fmla="*/ 152313 h 248214"/>
                <a:gd name="connsiteX1434" fmla="*/ 123543 w 180519"/>
                <a:gd name="connsiteY1434" fmla="*/ 148646 h 248214"/>
                <a:gd name="connsiteX1435" fmla="*/ 124107 w 180519"/>
                <a:gd name="connsiteY1435" fmla="*/ 148646 h 248214"/>
                <a:gd name="connsiteX1436" fmla="*/ 124671 w 180519"/>
                <a:gd name="connsiteY1436" fmla="*/ 149775 h 248214"/>
                <a:gd name="connsiteX1437" fmla="*/ 124389 w 180519"/>
                <a:gd name="connsiteY1437" fmla="*/ 150057 h 248214"/>
                <a:gd name="connsiteX1438" fmla="*/ 123543 w 180519"/>
                <a:gd name="connsiteY1438" fmla="*/ 149775 h 248214"/>
                <a:gd name="connsiteX1439" fmla="*/ 123543 w 180519"/>
                <a:gd name="connsiteY1439" fmla="*/ 148646 h 248214"/>
                <a:gd name="connsiteX1440" fmla="*/ 128620 w 180519"/>
                <a:gd name="connsiteY1440" fmla="*/ 48797 h 248214"/>
                <a:gd name="connsiteX1441" fmla="*/ 129749 w 180519"/>
                <a:gd name="connsiteY1441" fmla="*/ 48515 h 248214"/>
                <a:gd name="connsiteX1442" fmla="*/ 129749 w 180519"/>
                <a:gd name="connsiteY1442" fmla="*/ 48232 h 248214"/>
                <a:gd name="connsiteX1443" fmla="*/ 129749 w 180519"/>
                <a:gd name="connsiteY1443" fmla="*/ 47950 h 248214"/>
                <a:gd name="connsiteX1444" fmla="*/ 128902 w 180519"/>
                <a:gd name="connsiteY1444" fmla="*/ 47950 h 248214"/>
                <a:gd name="connsiteX1445" fmla="*/ 128620 w 180519"/>
                <a:gd name="connsiteY1445" fmla="*/ 48515 h 248214"/>
                <a:gd name="connsiteX1446" fmla="*/ 128620 w 180519"/>
                <a:gd name="connsiteY1446" fmla="*/ 48797 h 248214"/>
                <a:gd name="connsiteX1447" fmla="*/ 133697 w 180519"/>
                <a:gd name="connsiteY1447" fmla="*/ 46540 h 248214"/>
                <a:gd name="connsiteX1448" fmla="*/ 134261 w 180519"/>
                <a:gd name="connsiteY1448" fmla="*/ 45694 h 248214"/>
                <a:gd name="connsiteX1449" fmla="*/ 134261 w 180519"/>
                <a:gd name="connsiteY1449" fmla="*/ 45130 h 248214"/>
                <a:gd name="connsiteX1450" fmla="*/ 134261 w 180519"/>
                <a:gd name="connsiteY1450" fmla="*/ 44848 h 248214"/>
                <a:gd name="connsiteX1451" fmla="*/ 133980 w 180519"/>
                <a:gd name="connsiteY1451" fmla="*/ 44848 h 248214"/>
                <a:gd name="connsiteX1452" fmla="*/ 133133 w 180519"/>
                <a:gd name="connsiteY1452" fmla="*/ 45412 h 248214"/>
                <a:gd name="connsiteX1453" fmla="*/ 133697 w 180519"/>
                <a:gd name="connsiteY1453" fmla="*/ 46258 h 248214"/>
                <a:gd name="connsiteX1454" fmla="*/ 133697 w 180519"/>
                <a:gd name="connsiteY1454" fmla="*/ 46540 h 248214"/>
                <a:gd name="connsiteX1455" fmla="*/ 142441 w 180519"/>
                <a:gd name="connsiteY1455" fmla="*/ 48232 h 248214"/>
                <a:gd name="connsiteX1456" fmla="*/ 143852 w 180519"/>
                <a:gd name="connsiteY1456" fmla="*/ 47104 h 248214"/>
                <a:gd name="connsiteX1457" fmla="*/ 141877 w 180519"/>
                <a:gd name="connsiteY1457" fmla="*/ 48232 h 248214"/>
                <a:gd name="connsiteX1458" fmla="*/ 142441 w 180519"/>
                <a:gd name="connsiteY1458" fmla="*/ 48232 h 248214"/>
                <a:gd name="connsiteX1459" fmla="*/ 167262 w 180519"/>
                <a:gd name="connsiteY1459" fmla="*/ 54156 h 248214"/>
                <a:gd name="connsiteX1460" fmla="*/ 167262 w 180519"/>
                <a:gd name="connsiteY1460" fmla="*/ 53874 h 248214"/>
                <a:gd name="connsiteX1461" fmla="*/ 166698 w 180519"/>
                <a:gd name="connsiteY1461" fmla="*/ 54156 h 248214"/>
                <a:gd name="connsiteX1462" fmla="*/ 167262 w 180519"/>
                <a:gd name="connsiteY1462" fmla="*/ 54156 h 248214"/>
                <a:gd name="connsiteX1463" fmla="*/ 171493 w 180519"/>
                <a:gd name="connsiteY1463" fmla="*/ 41463 h 248214"/>
                <a:gd name="connsiteX1464" fmla="*/ 171776 w 180519"/>
                <a:gd name="connsiteY1464" fmla="*/ 40617 h 248214"/>
                <a:gd name="connsiteX1465" fmla="*/ 171212 w 180519"/>
                <a:gd name="connsiteY1465" fmla="*/ 41181 h 248214"/>
                <a:gd name="connsiteX1466" fmla="*/ 171493 w 180519"/>
                <a:gd name="connsiteY1466" fmla="*/ 41745 h 248214"/>
                <a:gd name="connsiteX1467" fmla="*/ 171493 w 180519"/>
                <a:gd name="connsiteY1467" fmla="*/ 41463 h 24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</a:cxnLst>
              <a:rect l="l" t="t" r="r" b="b"/>
              <a:pathLst>
                <a:path w="180519" h="248214">
                  <a:moveTo>
                    <a:pt x="36668" y="57258"/>
                  </a:moveTo>
                  <a:cubicBezTo>
                    <a:pt x="36386" y="57258"/>
                    <a:pt x="36386" y="57258"/>
                    <a:pt x="36386" y="56976"/>
                  </a:cubicBezTo>
                  <a:lnTo>
                    <a:pt x="36386" y="56694"/>
                  </a:lnTo>
                  <a:cubicBezTo>
                    <a:pt x="37514" y="56412"/>
                    <a:pt x="37796" y="56130"/>
                    <a:pt x="38079" y="55566"/>
                  </a:cubicBezTo>
                  <a:lnTo>
                    <a:pt x="38643" y="55566"/>
                  </a:lnTo>
                  <a:cubicBezTo>
                    <a:pt x="38924" y="55566"/>
                    <a:pt x="39771" y="55284"/>
                    <a:pt x="40617" y="55284"/>
                  </a:cubicBezTo>
                  <a:cubicBezTo>
                    <a:pt x="40899" y="55002"/>
                    <a:pt x="41463" y="55284"/>
                    <a:pt x="41745" y="54720"/>
                  </a:cubicBezTo>
                  <a:cubicBezTo>
                    <a:pt x="42027" y="54720"/>
                    <a:pt x="43155" y="54156"/>
                    <a:pt x="43155" y="54156"/>
                  </a:cubicBezTo>
                  <a:cubicBezTo>
                    <a:pt x="43720" y="53592"/>
                    <a:pt x="44002" y="53310"/>
                    <a:pt x="44848" y="53310"/>
                  </a:cubicBezTo>
                  <a:lnTo>
                    <a:pt x="45976" y="53310"/>
                  </a:lnTo>
                  <a:lnTo>
                    <a:pt x="49925" y="52463"/>
                  </a:lnTo>
                  <a:lnTo>
                    <a:pt x="50771" y="52463"/>
                  </a:lnTo>
                  <a:lnTo>
                    <a:pt x="51335" y="53028"/>
                  </a:lnTo>
                  <a:cubicBezTo>
                    <a:pt x="51053" y="53592"/>
                    <a:pt x="50771" y="54156"/>
                    <a:pt x="49925" y="54720"/>
                  </a:cubicBezTo>
                  <a:cubicBezTo>
                    <a:pt x="49643" y="54720"/>
                    <a:pt x="49643" y="54720"/>
                    <a:pt x="49079" y="55002"/>
                  </a:cubicBezTo>
                  <a:cubicBezTo>
                    <a:pt x="49079" y="55002"/>
                    <a:pt x="48796" y="55002"/>
                    <a:pt x="48796" y="55284"/>
                  </a:cubicBezTo>
                  <a:lnTo>
                    <a:pt x="48796" y="55566"/>
                  </a:lnTo>
                  <a:cubicBezTo>
                    <a:pt x="48796" y="55848"/>
                    <a:pt x="49079" y="56130"/>
                    <a:pt x="49361" y="56130"/>
                  </a:cubicBezTo>
                  <a:cubicBezTo>
                    <a:pt x="49361" y="56130"/>
                    <a:pt x="49643" y="56412"/>
                    <a:pt x="49925" y="56412"/>
                  </a:cubicBezTo>
                  <a:lnTo>
                    <a:pt x="50489" y="56412"/>
                  </a:lnTo>
                  <a:cubicBezTo>
                    <a:pt x="51053" y="56412"/>
                    <a:pt x="50771" y="56976"/>
                    <a:pt x="51053" y="56976"/>
                  </a:cubicBezTo>
                  <a:lnTo>
                    <a:pt x="51617" y="56976"/>
                  </a:lnTo>
                  <a:cubicBezTo>
                    <a:pt x="52746" y="56412"/>
                    <a:pt x="52746" y="56130"/>
                    <a:pt x="52746" y="55566"/>
                  </a:cubicBezTo>
                  <a:cubicBezTo>
                    <a:pt x="53310" y="55002"/>
                    <a:pt x="53592" y="54720"/>
                    <a:pt x="54720" y="54156"/>
                  </a:cubicBezTo>
                  <a:lnTo>
                    <a:pt x="55284" y="52463"/>
                  </a:lnTo>
                  <a:cubicBezTo>
                    <a:pt x="56130" y="51899"/>
                    <a:pt x="56130" y="51617"/>
                    <a:pt x="56977" y="51335"/>
                  </a:cubicBezTo>
                  <a:lnTo>
                    <a:pt x="57541" y="51335"/>
                  </a:lnTo>
                  <a:cubicBezTo>
                    <a:pt x="58105" y="51335"/>
                    <a:pt x="58387" y="51335"/>
                    <a:pt x="58951" y="51053"/>
                  </a:cubicBezTo>
                  <a:cubicBezTo>
                    <a:pt x="59515" y="50489"/>
                    <a:pt x="60079" y="50489"/>
                    <a:pt x="60361" y="50489"/>
                  </a:cubicBezTo>
                  <a:cubicBezTo>
                    <a:pt x="60644" y="50489"/>
                    <a:pt x="60925" y="50489"/>
                    <a:pt x="61208" y="51053"/>
                  </a:cubicBezTo>
                  <a:cubicBezTo>
                    <a:pt x="61489" y="51053"/>
                    <a:pt x="61489" y="51335"/>
                    <a:pt x="61489" y="51617"/>
                  </a:cubicBezTo>
                  <a:cubicBezTo>
                    <a:pt x="61772" y="51617"/>
                    <a:pt x="62336" y="51335"/>
                    <a:pt x="62618" y="51335"/>
                  </a:cubicBezTo>
                  <a:lnTo>
                    <a:pt x="62900" y="51335"/>
                  </a:lnTo>
                  <a:cubicBezTo>
                    <a:pt x="62900" y="51053"/>
                    <a:pt x="62900" y="51053"/>
                    <a:pt x="63182" y="51053"/>
                  </a:cubicBezTo>
                  <a:cubicBezTo>
                    <a:pt x="64310" y="49643"/>
                    <a:pt x="65438" y="49079"/>
                    <a:pt x="66002" y="49079"/>
                  </a:cubicBezTo>
                  <a:lnTo>
                    <a:pt x="68823" y="49079"/>
                  </a:lnTo>
                  <a:cubicBezTo>
                    <a:pt x="69105" y="49079"/>
                    <a:pt x="69105" y="49079"/>
                    <a:pt x="69105" y="49361"/>
                  </a:cubicBezTo>
                  <a:lnTo>
                    <a:pt x="69105" y="49643"/>
                  </a:lnTo>
                  <a:lnTo>
                    <a:pt x="68259" y="50771"/>
                  </a:lnTo>
                  <a:lnTo>
                    <a:pt x="68259" y="51053"/>
                  </a:lnTo>
                  <a:lnTo>
                    <a:pt x="69105" y="51053"/>
                  </a:lnTo>
                  <a:cubicBezTo>
                    <a:pt x="69387" y="51053"/>
                    <a:pt x="69951" y="51053"/>
                    <a:pt x="70797" y="50489"/>
                  </a:cubicBezTo>
                  <a:cubicBezTo>
                    <a:pt x="70797" y="49925"/>
                    <a:pt x="71361" y="49925"/>
                    <a:pt x="71926" y="49643"/>
                  </a:cubicBezTo>
                  <a:cubicBezTo>
                    <a:pt x="71644" y="49925"/>
                    <a:pt x="71361" y="50771"/>
                    <a:pt x="71080" y="50771"/>
                  </a:cubicBezTo>
                  <a:cubicBezTo>
                    <a:pt x="70797" y="51899"/>
                    <a:pt x="70797" y="51899"/>
                    <a:pt x="69387" y="51899"/>
                  </a:cubicBezTo>
                  <a:lnTo>
                    <a:pt x="68823" y="51899"/>
                  </a:lnTo>
                  <a:cubicBezTo>
                    <a:pt x="68541" y="52181"/>
                    <a:pt x="68259" y="52181"/>
                    <a:pt x="68259" y="52463"/>
                  </a:cubicBezTo>
                  <a:lnTo>
                    <a:pt x="68259" y="53028"/>
                  </a:lnTo>
                  <a:cubicBezTo>
                    <a:pt x="69387" y="52463"/>
                    <a:pt x="70233" y="52463"/>
                    <a:pt x="71080" y="52463"/>
                  </a:cubicBezTo>
                  <a:lnTo>
                    <a:pt x="71644" y="52463"/>
                  </a:lnTo>
                  <a:cubicBezTo>
                    <a:pt x="71926" y="52463"/>
                    <a:pt x="72490" y="51899"/>
                    <a:pt x="73054" y="51899"/>
                  </a:cubicBezTo>
                  <a:cubicBezTo>
                    <a:pt x="73054" y="51899"/>
                    <a:pt x="73336" y="51617"/>
                    <a:pt x="73618" y="51617"/>
                  </a:cubicBezTo>
                  <a:cubicBezTo>
                    <a:pt x="73336" y="51335"/>
                    <a:pt x="73054" y="51335"/>
                    <a:pt x="73054" y="51335"/>
                  </a:cubicBezTo>
                  <a:lnTo>
                    <a:pt x="72772" y="51053"/>
                  </a:lnTo>
                  <a:cubicBezTo>
                    <a:pt x="72772" y="50771"/>
                    <a:pt x="72772" y="50771"/>
                    <a:pt x="72490" y="50489"/>
                  </a:cubicBezTo>
                  <a:cubicBezTo>
                    <a:pt x="72490" y="50489"/>
                    <a:pt x="72772" y="49925"/>
                    <a:pt x="73054" y="49643"/>
                  </a:cubicBezTo>
                  <a:cubicBezTo>
                    <a:pt x="73618" y="49643"/>
                    <a:pt x="73900" y="49361"/>
                    <a:pt x="73900" y="49079"/>
                  </a:cubicBezTo>
                  <a:cubicBezTo>
                    <a:pt x="73900" y="48797"/>
                    <a:pt x="74182" y="48232"/>
                    <a:pt x="74464" y="47950"/>
                  </a:cubicBezTo>
                  <a:cubicBezTo>
                    <a:pt x="75028" y="47104"/>
                    <a:pt x="77567" y="36950"/>
                    <a:pt x="77567" y="36668"/>
                  </a:cubicBezTo>
                  <a:cubicBezTo>
                    <a:pt x="77567" y="36104"/>
                    <a:pt x="77567" y="32155"/>
                    <a:pt x="77849" y="31873"/>
                  </a:cubicBezTo>
                  <a:cubicBezTo>
                    <a:pt x="78978" y="31591"/>
                    <a:pt x="79542" y="31591"/>
                    <a:pt x="79823" y="30463"/>
                  </a:cubicBezTo>
                  <a:cubicBezTo>
                    <a:pt x="80106" y="30181"/>
                    <a:pt x="80388" y="30181"/>
                    <a:pt x="80388" y="29899"/>
                  </a:cubicBezTo>
                  <a:lnTo>
                    <a:pt x="80106" y="29616"/>
                  </a:lnTo>
                  <a:cubicBezTo>
                    <a:pt x="80106" y="29334"/>
                    <a:pt x="80106" y="29052"/>
                    <a:pt x="80388" y="28770"/>
                  </a:cubicBezTo>
                  <a:cubicBezTo>
                    <a:pt x="79259" y="28770"/>
                    <a:pt x="79259" y="28770"/>
                    <a:pt x="79259" y="28206"/>
                  </a:cubicBezTo>
                  <a:cubicBezTo>
                    <a:pt x="79259" y="27642"/>
                    <a:pt x="79259" y="27078"/>
                    <a:pt x="78978" y="26796"/>
                  </a:cubicBezTo>
                  <a:lnTo>
                    <a:pt x="78978" y="26232"/>
                  </a:lnTo>
                  <a:cubicBezTo>
                    <a:pt x="79259" y="25668"/>
                    <a:pt x="79542" y="25668"/>
                    <a:pt x="79823" y="25386"/>
                  </a:cubicBezTo>
                  <a:cubicBezTo>
                    <a:pt x="80106" y="25103"/>
                    <a:pt x="80106" y="24821"/>
                    <a:pt x="80106" y="24539"/>
                  </a:cubicBezTo>
                  <a:lnTo>
                    <a:pt x="80106" y="23975"/>
                  </a:lnTo>
                  <a:cubicBezTo>
                    <a:pt x="80106" y="23411"/>
                    <a:pt x="80670" y="23129"/>
                    <a:pt x="80670" y="22565"/>
                  </a:cubicBezTo>
                  <a:cubicBezTo>
                    <a:pt x="80952" y="22283"/>
                    <a:pt x="81516" y="21719"/>
                    <a:pt x="81516" y="21155"/>
                  </a:cubicBezTo>
                  <a:lnTo>
                    <a:pt x="81516" y="20873"/>
                  </a:lnTo>
                  <a:cubicBezTo>
                    <a:pt x="82080" y="20873"/>
                    <a:pt x="82080" y="20308"/>
                    <a:pt x="82080" y="19462"/>
                  </a:cubicBezTo>
                  <a:lnTo>
                    <a:pt x="82362" y="19180"/>
                  </a:lnTo>
                  <a:lnTo>
                    <a:pt x="82362" y="18898"/>
                  </a:lnTo>
                  <a:lnTo>
                    <a:pt x="82080" y="18616"/>
                  </a:lnTo>
                  <a:lnTo>
                    <a:pt x="82080" y="17206"/>
                  </a:lnTo>
                  <a:cubicBezTo>
                    <a:pt x="82080" y="16924"/>
                    <a:pt x="82362" y="16924"/>
                    <a:pt x="82362" y="16642"/>
                  </a:cubicBezTo>
                  <a:cubicBezTo>
                    <a:pt x="82926" y="16360"/>
                    <a:pt x="83490" y="16077"/>
                    <a:pt x="83772" y="15513"/>
                  </a:cubicBezTo>
                  <a:lnTo>
                    <a:pt x="83490" y="15231"/>
                  </a:lnTo>
                  <a:cubicBezTo>
                    <a:pt x="84336" y="14949"/>
                    <a:pt x="84336" y="13821"/>
                    <a:pt x="84336" y="13539"/>
                  </a:cubicBezTo>
                  <a:lnTo>
                    <a:pt x="84054" y="13257"/>
                  </a:lnTo>
                  <a:cubicBezTo>
                    <a:pt x="84054" y="13257"/>
                    <a:pt x="84336" y="12975"/>
                    <a:pt x="85183" y="12693"/>
                  </a:cubicBezTo>
                  <a:lnTo>
                    <a:pt x="86311" y="11847"/>
                  </a:lnTo>
                  <a:lnTo>
                    <a:pt x="86311" y="10436"/>
                  </a:lnTo>
                  <a:cubicBezTo>
                    <a:pt x="86593" y="10154"/>
                    <a:pt x="86875" y="9590"/>
                    <a:pt x="88003" y="9026"/>
                  </a:cubicBezTo>
                  <a:cubicBezTo>
                    <a:pt x="88003" y="9026"/>
                    <a:pt x="88285" y="7052"/>
                    <a:pt x="88850" y="6487"/>
                  </a:cubicBezTo>
                  <a:cubicBezTo>
                    <a:pt x="89131" y="6487"/>
                    <a:pt x="89131" y="6487"/>
                    <a:pt x="89414" y="6205"/>
                  </a:cubicBezTo>
                  <a:cubicBezTo>
                    <a:pt x="89695" y="5923"/>
                    <a:pt x="89695" y="5641"/>
                    <a:pt x="89695" y="5359"/>
                  </a:cubicBezTo>
                  <a:cubicBezTo>
                    <a:pt x="89695" y="4513"/>
                    <a:pt x="89695" y="4513"/>
                    <a:pt x="90542" y="3949"/>
                  </a:cubicBezTo>
                  <a:lnTo>
                    <a:pt x="91952" y="2821"/>
                  </a:lnTo>
                  <a:cubicBezTo>
                    <a:pt x="91670" y="2539"/>
                    <a:pt x="91670" y="2539"/>
                    <a:pt x="91670" y="2256"/>
                  </a:cubicBezTo>
                  <a:cubicBezTo>
                    <a:pt x="91670" y="1974"/>
                    <a:pt x="91952" y="1692"/>
                    <a:pt x="92798" y="1692"/>
                  </a:cubicBezTo>
                  <a:cubicBezTo>
                    <a:pt x="92798" y="1692"/>
                    <a:pt x="93081" y="1410"/>
                    <a:pt x="93362" y="1410"/>
                  </a:cubicBezTo>
                  <a:cubicBezTo>
                    <a:pt x="93645" y="1410"/>
                    <a:pt x="93645" y="1128"/>
                    <a:pt x="93926" y="1128"/>
                  </a:cubicBezTo>
                  <a:lnTo>
                    <a:pt x="94209" y="1128"/>
                  </a:lnTo>
                  <a:cubicBezTo>
                    <a:pt x="94209" y="1128"/>
                    <a:pt x="94209" y="1410"/>
                    <a:pt x="94491" y="1410"/>
                  </a:cubicBezTo>
                  <a:cubicBezTo>
                    <a:pt x="94491" y="1410"/>
                    <a:pt x="94773" y="1410"/>
                    <a:pt x="95055" y="1128"/>
                  </a:cubicBezTo>
                  <a:cubicBezTo>
                    <a:pt x="95619" y="846"/>
                    <a:pt x="95901" y="846"/>
                    <a:pt x="96465" y="282"/>
                  </a:cubicBezTo>
                  <a:cubicBezTo>
                    <a:pt x="96747" y="282"/>
                    <a:pt x="97029" y="0"/>
                    <a:pt x="97312" y="0"/>
                  </a:cubicBezTo>
                  <a:cubicBezTo>
                    <a:pt x="97593" y="0"/>
                    <a:pt x="97876" y="282"/>
                    <a:pt x="98440" y="564"/>
                  </a:cubicBezTo>
                  <a:cubicBezTo>
                    <a:pt x="98440" y="846"/>
                    <a:pt x="98722" y="846"/>
                    <a:pt x="98722" y="846"/>
                  </a:cubicBezTo>
                  <a:cubicBezTo>
                    <a:pt x="98722" y="1692"/>
                    <a:pt x="98722" y="2256"/>
                    <a:pt x="98440" y="2821"/>
                  </a:cubicBezTo>
                  <a:lnTo>
                    <a:pt x="99004" y="3103"/>
                  </a:lnTo>
                  <a:lnTo>
                    <a:pt x="99568" y="3103"/>
                  </a:lnTo>
                  <a:lnTo>
                    <a:pt x="100414" y="1692"/>
                  </a:lnTo>
                  <a:lnTo>
                    <a:pt x="100696" y="1692"/>
                  </a:lnTo>
                  <a:cubicBezTo>
                    <a:pt x="100978" y="1692"/>
                    <a:pt x="100978" y="1974"/>
                    <a:pt x="100978" y="2256"/>
                  </a:cubicBezTo>
                  <a:lnTo>
                    <a:pt x="101542" y="2821"/>
                  </a:lnTo>
                  <a:cubicBezTo>
                    <a:pt x="101542" y="2821"/>
                    <a:pt x="101824" y="3103"/>
                    <a:pt x="102106" y="3103"/>
                  </a:cubicBezTo>
                  <a:lnTo>
                    <a:pt x="104363" y="3103"/>
                  </a:lnTo>
                  <a:cubicBezTo>
                    <a:pt x="104363" y="3103"/>
                    <a:pt x="104081" y="3385"/>
                    <a:pt x="104081" y="3667"/>
                  </a:cubicBezTo>
                  <a:lnTo>
                    <a:pt x="104081" y="4231"/>
                  </a:lnTo>
                  <a:lnTo>
                    <a:pt x="105209" y="4231"/>
                  </a:lnTo>
                  <a:lnTo>
                    <a:pt x="105491" y="3949"/>
                  </a:lnTo>
                  <a:cubicBezTo>
                    <a:pt x="106055" y="3949"/>
                    <a:pt x="106337" y="3667"/>
                    <a:pt x="106619" y="3667"/>
                  </a:cubicBezTo>
                  <a:cubicBezTo>
                    <a:pt x="106619" y="3667"/>
                    <a:pt x="106901" y="3949"/>
                    <a:pt x="107184" y="3949"/>
                  </a:cubicBezTo>
                  <a:cubicBezTo>
                    <a:pt x="107748" y="3949"/>
                    <a:pt x="108312" y="4231"/>
                    <a:pt x="108876" y="4231"/>
                  </a:cubicBezTo>
                  <a:cubicBezTo>
                    <a:pt x="109722" y="4231"/>
                    <a:pt x="110004" y="4795"/>
                    <a:pt x="110004" y="5077"/>
                  </a:cubicBezTo>
                  <a:cubicBezTo>
                    <a:pt x="110004" y="5923"/>
                    <a:pt x="109722" y="6487"/>
                    <a:pt x="109722" y="7052"/>
                  </a:cubicBezTo>
                  <a:cubicBezTo>
                    <a:pt x="109722" y="7334"/>
                    <a:pt x="109722" y="7616"/>
                    <a:pt x="110286" y="7898"/>
                  </a:cubicBezTo>
                  <a:lnTo>
                    <a:pt x="110568" y="8462"/>
                  </a:lnTo>
                  <a:cubicBezTo>
                    <a:pt x="110004" y="9026"/>
                    <a:pt x="109722" y="9590"/>
                    <a:pt x="109722" y="9872"/>
                  </a:cubicBezTo>
                  <a:cubicBezTo>
                    <a:pt x="109722" y="10154"/>
                    <a:pt x="109440" y="10154"/>
                    <a:pt x="109440" y="10718"/>
                  </a:cubicBezTo>
                  <a:cubicBezTo>
                    <a:pt x="108594" y="10718"/>
                    <a:pt x="108876" y="11565"/>
                    <a:pt x="108312" y="11847"/>
                  </a:cubicBezTo>
                  <a:cubicBezTo>
                    <a:pt x="108029" y="11847"/>
                    <a:pt x="108029" y="12129"/>
                    <a:pt x="108029" y="12411"/>
                  </a:cubicBezTo>
                  <a:cubicBezTo>
                    <a:pt x="108029" y="12693"/>
                    <a:pt x="107748" y="12975"/>
                    <a:pt x="107748" y="13257"/>
                  </a:cubicBezTo>
                  <a:cubicBezTo>
                    <a:pt x="107465" y="13257"/>
                    <a:pt x="107465" y="13539"/>
                    <a:pt x="107465" y="13539"/>
                  </a:cubicBezTo>
                  <a:cubicBezTo>
                    <a:pt x="107465" y="13539"/>
                    <a:pt x="107465" y="13821"/>
                    <a:pt x="107184" y="13821"/>
                  </a:cubicBezTo>
                  <a:lnTo>
                    <a:pt x="107184" y="15231"/>
                  </a:lnTo>
                  <a:cubicBezTo>
                    <a:pt x="107184" y="15795"/>
                    <a:pt x="106337" y="16360"/>
                    <a:pt x="106337" y="16642"/>
                  </a:cubicBezTo>
                  <a:lnTo>
                    <a:pt x="106337" y="16924"/>
                  </a:lnTo>
                  <a:cubicBezTo>
                    <a:pt x="105773" y="17770"/>
                    <a:pt x="106337" y="18616"/>
                    <a:pt x="105491" y="18898"/>
                  </a:cubicBezTo>
                  <a:cubicBezTo>
                    <a:pt x="105491" y="19462"/>
                    <a:pt x="105209" y="19744"/>
                    <a:pt x="105209" y="20026"/>
                  </a:cubicBezTo>
                  <a:lnTo>
                    <a:pt x="105209" y="20308"/>
                  </a:lnTo>
                  <a:cubicBezTo>
                    <a:pt x="104927" y="20873"/>
                    <a:pt x="104363" y="21155"/>
                    <a:pt x="104363" y="21437"/>
                  </a:cubicBezTo>
                  <a:lnTo>
                    <a:pt x="104645" y="21719"/>
                  </a:lnTo>
                  <a:lnTo>
                    <a:pt x="104645" y="22283"/>
                  </a:lnTo>
                  <a:cubicBezTo>
                    <a:pt x="103798" y="22565"/>
                    <a:pt x="103517" y="23411"/>
                    <a:pt x="103234" y="23975"/>
                  </a:cubicBezTo>
                  <a:cubicBezTo>
                    <a:pt x="103517" y="23975"/>
                    <a:pt x="103517" y="24257"/>
                    <a:pt x="103517" y="24257"/>
                  </a:cubicBezTo>
                  <a:lnTo>
                    <a:pt x="103517" y="24539"/>
                  </a:lnTo>
                  <a:cubicBezTo>
                    <a:pt x="103517" y="24821"/>
                    <a:pt x="103234" y="24821"/>
                    <a:pt x="103234" y="25103"/>
                  </a:cubicBezTo>
                  <a:lnTo>
                    <a:pt x="103234" y="25386"/>
                  </a:lnTo>
                  <a:cubicBezTo>
                    <a:pt x="102670" y="25668"/>
                    <a:pt x="102388" y="25950"/>
                    <a:pt x="102388" y="26232"/>
                  </a:cubicBezTo>
                  <a:lnTo>
                    <a:pt x="102388" y="26514"/>
                  </a:lnTo>
                  <a:cubicBezTo>
                    <a:pt x="102388" y="27078"/>
                    <a:pt x="101824" y="27078"/>
                    <a:pt x="101824" y="27360"/>
                  </a:cubicBezTo>
                  <a:cubicBezTo>
                    <a:pt x="101824" y="27642"/>
                    <a:pt x="101542" y="28206"/>
                    <a:pt x="101260" y="28770"/>
                  </a:cubicBezTo>
                  <a:lnTo>
                    <a:pt x="100978" y="29052"/>
                  </a:lnTo>
                  <a:lnTo>
                    <a:pt x="100978" y="29616"/>
                  </a:lnTo>
                  <a:lnTo>
                    <a:pt x="101260" y="29899"/>
                  </a:lnTo>
                  <a:cubicBezTo>
                    <a:pt x="100978" y="30463"/>
                    <a:pt x="100414" y="30745"/>
                    <a:pt x="100414" y="31591"/>
                  </a:cubicBezTo>
                  <a:lnTo>
                    <a:pt x="99004" y="45130"/>
                  </a:lnTo>
                  <a:cubicBezTo>
                    <a:pt x="99286" y="45130"/>
                    <a:pt x="99568" y="44848"/>
                    <a:pt x="99850" y="44566"/>
                  </a:cubicBezTo>
                  <a:cubicBezTo>
                    <a:pt x="100132" y="44284"/>
                    <a:pt x="100132" y="44284"/>
                    <a:pt x="100414" y="44284"/>
                  </a:cubicBezTo>
                  <a:cubicBezTo>
                    <a:pt x="100978" y="44284"/>
                    <a:pt x="101542" y="44848"/>
                    <a:pt x="101542" y="45412"/>
                  </a:cubicBezTo>
                  <a:cubicBezTo>
                    <a:pt x="101542" y="46540"/>
                    <a:pt x="102106" y="46540"/>
                    <a:pt x="102953" y="46540"/>
                  </a:cubicBezTo>
                  <a:cubicBezTo>
                    <a:pt x="104081" y="46540"/>
                    <a:pt x="104927" y="46540"/>
                    <a:pt x="105773" y="45130"/>
                  </a:cubicBezTo>
                  <a:lnTo>
                    <a:pt x="102953" y="45694"/>
                  </a:lnTo>
                  <a:cubicBezTo>
                    <a:pt x="102953" y="45694"/>
                    <a:pt x="102388" y="45694"/>
                    <a:pt x="102388" y="45412"/>
                  </a:cubicBezTo>
                  <a:lnTo>
                    <a:pt x="102388" y="45130"/>
                  </a:lnTo>
                  <a:cubicBezTo>
                    <a:pt x="103517" y="44284"/>
                    <a:pt x="104081" y="44284"/>
                    <a:pt x="104927" y="44284"/>
                  </a:cubicBezTo>
                  <a:cubicBezTo>
                    <a:pt x="105209" y="44002"/>
                    <a:pt x="105209" y="44002"/>
                    <a:pt x="105491" y="44002"/>
                  </a:cubicBezTo>
                  <a:cubicBezTo>
                    <a:pt x="105773" y="44002"/>
                    <a:pt x="106055" y="44002"/>
                    <a:pt x="106055" y="44566"/>
                  </a:cubicBezTo>
                  <a:cubicBezTo>
                    <a:pt x="105773" y="44848"/>
                    <a:pt x="105773" y="45130"/>
                    <a:pt x="105773" y="45130"/>
                  </a:cubicBezTo>
                  <a:cubicBezTo>
                    <a:pt x="106055" y="45130"/>
                    <a:pt x="106055" y="45130"/>
                    <a:pt x="106337" y="44848"/>
                  </a:cubicBezTo>
                  <a:cubicBezTo>
                    <a:pt x="106901" y="44848"/>
                    <a:pt x="107748" y="44566"/>
                    <a:pt x="107748" y="44284"/>
                  </a:cubicBezTo>
                  <a:cubicBezTo>
                    <a:pt x="109158" y="43720"/>
                    <a:pt x="110004" y="43720"/>
                    <a:pt x="110568" y="43720"/>
                  </a:cubicBezTo>
                  <a:cubicBezTo>
                    <a:pt x="111132" y="43720"/>
                    <a:pt x="111415" y="43720"/>
                    <a:pt x="112260" y="43437"/>
                  </a:cubicBezTo>
                  <a:lnTo>
                    <a:pt x="113107" y="43437"/>
                  </a:lnTo>
                  <a:lnTo>
                    <a:pt x="112825" y="44002"/>
                  </a:lnTo>
                  <a:cubicBezTo>
                    <a:pt x="112825" y="44284"/>
                    <a:pt x="112543" y="44284"/>
                    <a:pt x="112260" y="44566"/>
                  </a:cubicBezTo>
                  <a:lnTo>
                    <a:pt x="111696" y="45412"/>
                  </a:lnTo>
                  <a:cubicBezTo>
                    <a:pt x="111696" y="45694"/>
                    <a:pt x="111979" y="45694"/>
                    <a:pt x="111979" y="45694"/>
                  </a:cubicBezTo>
                  <a:lnTo>
                    <a:pt x="111696" y="45976"/>
                  </a:lnTo>
                  <a:cubicBezTo>
                    <a:pt x="111696" y="46258"/>
                    <a:pt x="111415" y="46540"/>
                    <a:pt x="110568" y="47386"/>
                  </a:cubicBezTo>
                  <a:cubicBezTo>
                    <a:pt x="109440" y="47950"/>
                    <a:pt x="108594" y="49079"/>
                    <a:pt x="108029" y="49361"/>
                  </a:cubicBezTo>
                  <a:cubicBezTo>
                    <a:pt x="107465" y="49643"/>
                    <a:pt x="107184" y="49925"/>
                    <a:pt x="107184" y="49925"/>
                  </a:cubicBezTo>
                  <a:cubicBezTo>
                    <a:pt x="107184" y="50207"/>
                    <a:pt x="107465" y="50489"/>
                    <a:pt x="108029" y="50489"/>
                  </a:cubicBezTo>
                  <a:cubicBezTo>
                    <a:pt x="108312" y="50489"/>
                    <a:pt x="108594" y="49925"/>
                    <a:pt x="108594" y="49925"/>
                  </a:cubicBezTo>
                  <a:cubicBezTo>
                    <a:pt x="108594" y="49925"/>
                    <a:pt x="108876" y="49643"/>
                    <a:pt x="109440" y="49361"/>
                  </a:cubicBezTo>
                  <a:cubicBezTo>
                    <a:pt x="109440" y="49079"/>
                    <a:pt x="109722" y="48797"/>
                    <a:pt x="110568" y="48515"/>
                  </a:cubicBezTo>
                  <a:lnTo>
                    <a:pt x="111696" y="48515"/>
                  </a:lnTo>
                  <a:cubicBezTo>
                    <a:pt x="111979" y="48515"/>
                    <a:pt x="112543" y="48232"/>
                    <a:pt x="113389" y="47386"/>
                  </a:cubicBezTo>
                  <a:cubicBezTo>
                    <a:pt x="113671" y="47104"/>
                    <a:pt x="113671" y="46822"/>
                    <a:pt x="113671" y="46822"/>
                  </a:cubicBezTo>
                  <a:lnTo>
                    <a:pt x="113953" y="46540"/>
                  </a:lnTo>
                  <a:cubicBezTo>
                    <a:pt x="113953" y="46540"/>
                    <a:pt x="113671" y="46540"/>
                    <a:pt x="113389" y="46258"/>
                  </a:cubicBezTo>
                  <a:lnTo>
                    <a:pt x="112825" y="46258"/>
                  </a:lnTo>
                  <a:cubicBezTo>
                    <a:pt x="112543" y="46258"/>
                    <a:pt x="112825" y="45976"/>
                    <a:pt x="113107" y="45694"/>
                  </a:cubicBezTo>
                  <a:cubicBezTo>
                    <a:pt x="113107" y="45694"/>
                    <a:pt x="113107" y="45412"/>
                    <a:pt x="113389" y="45412"/>
                  </a:cubicBezTo>
                  <a:cubicBezTo>
                    <a:pt x="115081" y="45412"/>
                    <a:pt x="115927" y="44566"/>
                    <a:pt x="117056" y="43437"/>
                  </a:cubicBezTo>
                  <a:cubicBezTo>
                    <a:pt x="117338" y="43155"/>
                    <a:pt x="117338" y="43155"/>
                    <a:pt x="117620" y="43155"/>
                  </a:cubicBezTo>
                  <a:lnTo>
                    <a:pt x="117902" y="43437"/>
                  </a:lnTo>
                  <a:lnTo>
                    <a:pt x="117902" y="44002"/>
                  </a:lnTo>
                  <a:cubicBezTo>
                    <a:pt x="117902" y="44284"/>
                    <a:pt x="117902" y="44566"/>
                    <a:pt x="118184" y="45130"/>
                  </a:cubicBezTo>
                  <a:lnTo>
                    <a:pt x="118748" y="45130"/>
                  </a:lnTo>
                  <a:cubicBezTo>
                    <a:pt x="118748" y="44284"/>
                    <a:pt x="119312" y="43155"/>
                    <a:pt x="119594" y="42873"/>
                  </a:cubicBezTo>
                  <a:cubicBezTo>
                    <a:pt x="119876" y="42309"/>
                    <a:pt x="121004" y="41745"/>
                    <a:pt x="121568" y="41745"/>
                  </a:cubicBezTo>
                  <a:lnTo>
                    <a:pt x="124107" y="41745"/>
                  </a:lnTo>
                  <a:cubicBezTo>
                    <a:pt x="124389" y="41745"/>
                    <a:pt x="124107" y="42309"/>
                    <a:pt x="123825" y="42873"/>
                  </a:cubicBezTo>
                  <a:lnTo>
                    <a:pt x="123543" y="43155"/>
                  </a:lnTo>
                  <a:lnTo>
                    <a:pt x="123543" y="43720"/>
                  </a:lnTo>
                  <a:cubicBezTo>
                    <a:pt x="124107" y="43720"/>
                    <a:pt x="124389" y="44002"/>
                    <a:pt x="125235" y="44002"/>
                  </a:cubicBezTo>
                  <a:lnTo>
                    <a:pt x="125518" y="44002"/>
                  </a:lnTo>
                  <a:lnTo>
                    <a:pt x="125518" y="44848"/>
                  </a:lnTo>
                  <a:cubicBezTo>
                    <a:pt x="125518" y="44848"/>
                    <a:pt x="124671" y="45130"/>
                    <a:pt x="124389" y="45130"/>
                  </a:cubicBezTo>
                  <a:cubicBezTo>
                    <a:pt x="123825" y="45130"/>
                    <a:pt x="123261" y="45412"/>
                    <a:pt x="122979" y="45694"/>
                  </a:cubicBezTo>
                  <a:lnTo>
                    <a:pt x="122697" y="45976"/>
                  </a:lnTo>
                  <a:lnTo>
                    <a:pt x="122697" y="46540"/>
                  </a:lnTo>
                  <a:lnTo>
                    <a:pt x="123543" y="46540"/>
                  </a:lnTo>
                  <a:cubicBezTo>
                    <a:pt x="124953" y="45976"/>
                    <a:pt x="125518" y="45976"/>
                    <a:pt x="126646" y="45976"/>
                  </a:cubicBezTo>
                  <a:cubicBezTo>
                    <a:pt x="127210" y="46258"/>
                    <a:pt x="127492" y="46258"/>
                    <a:pt x="127492" y="47104"/>
                  </a:cubicBezTo>
                  <a:cubicBezTo>
                    <a:pt x="127774" y="47386"/>
                    <a:pt x="127774" y="47386"/>
                    <a:pt x="128056" y="47386"/>
                  </a:cubicBezTo>
                  <a:cubicBezTo>
                    <a:pt x="128338" y="47386"/>
                    <a:pt x="128338" y="47386"/>
                    <a:pt x="128620" y="47104"/>
                  </a:cubicBezTo>
                  <a:cubicBezTo>
                    <a:pt x="129466" y="46822"/>
                    <a:pt x="129466" y="46540"/>
                    <a:pt x="129749" y="45694"/>
                  </a:cubicBezTo>
                  <a:lnTo>
                    <a:pt x="129749" y="45412"/>
                  </a:lnTo>
                  <a:lnTo>
                    <a:pt x="129466" y="45412"/>
                  </a:lnTo>
                  <a:lnTo>
                    <a:pt x="129184" y="45694"/>
                  </a:lnTo>
                  <a:lnTo>
                    <a:pt x="128902" y="45694"/>
                  </a:lnTo>
                  <a:lnTo>
                    <a:pt x="129184" y="45412"/>
                  </a:lnTo>
                  <a:lnTo>
                    <a:pt x="129184" y="45130"/>
                  </a:lnTo>
                  <a:cubicBezTo>
                    <a:pt x="129749" y="44848"/>
                    <a:pt x="129749" y="44284"/>
                    <a:pt x="130030" y="44002"/>
                  </a:cubicBezTo>
                  <a:cubicBezTo>
                    <a:pt x="130030" y="43720"/>
                    <a:pt x="130030" y="43437"/>
                    <a:pt x="130594" y="42873"/>
                  </a:cubicBezTo>
                  <a:cubicBezTo>
                    <a:pt x="130030" y="43155"/>
                    <a:pt x="129749" y="43155"/>
                    <a:pt x="129184" y="43155"/>
                  </a:cubicBezTo>
                  <a:cubicBezTo>
                    <a:pt x="128620" y="43155"/>
                    <a:pt x="128056" y="43155"/>
                    <a:pt x="127774" y="42873"/>
                  </a:cubicBezTo>
                  <a:lnTo>
                    <a:pt x="128056" y="42591"/>
                  </a:lnTo>
                  <a:lnTo>
                    <a:pt x="128056" y="42309"/>
                  </a:lnTo>
                  <a:cubicBezTo>
                    <a:pt x="128056" y="42027"/>
                    <a:pt x="128338" y="41463"/>
                    <a:pt x="128338" y="41463"/>
                  </a:cubicBezTo>
                  <a:cubicBezTo>
                    <a:pt x="128620" y="41745"/>
                    <a:pt x="128902" y="41745"/>
                    <a:pt x="129184" y="41745"/>
                  </a:cubicBezTo>
                  <a:cubicBezTo>
                    <a:pt x="129184" y="42309"/>
                    <a:pt x="129749" y="42591"/>
                    <a:pt x="130030" y="42591"/>
                  </a:cubicBezTo>
                  <a:cubicBezTo>
                    <a:pt x="130313" y="42309"/>
                    <a:pt x="130877" y="42027"/>
                    <a:pt x="131159" y="41181"/>
                  </a:cubicBezTo>
                  <a:lnTo>
                    <a:pt x="134261" y="41181"/>
                  </a:lnTo>
                  <a:cubicBezTo>
                    <a:pt x="135390" y="41181"/>
                    <a:pt x="136800" y="40899"/>
                    <a:pt x="138774" y="40053"/>
                  </a:cubicBezTo>
                  <a:lnTo>
                    <a:pt x="140749" y="40053"/>
                  </a:lnTo>
                  <a:cubicBezTo>
                    <a:pt x="141313" y="40335"/>
                    <a:pt x="141313" y="40899"/>
                    <a:pt x="141313" y="41745"/>
                  </a:cubicBezTo>
                  <a:cubicBezTo>
                    <a:pt x="141313" y="42309"/>
                    <a:pt x="141877" y="42309"/>
                    <a:pt x="141877" y="42309"/>
                  </a:cubicBezTo>
                  <a:cubicBezTo>
                    <a:pt x="143005" y="42027"/>
                    <a:pt x="143005" y="42027"/>
                    <a:pt x="143287" y="42027"/>
                  </a:cubicBezTo>
                  <a:lnTo>
                    <a:pt x="144416" y="42027"/>
                  </a:lnTo>
                  <a:cubicBezTo>
                    <a:pt x="144416" y="42027"/>
                    <a:pt x="144133" y="42873"/>
                    <a:pt x="143852" y="43437"/>
                  </a:cubicBezTo>
                  <a:cubicBezTo>
                    <a:pt x="143852" y="44002"/>
                    <a:pt x="144133" y="44284"/>
                    <a:pt x="144416" y="44848"/>
                  </a:cubicBezTo>
                  <a:cubicBezTo>
                    <a:pt x="144980" y="44848"/>
                    <a:pt x="145262" y="44848"/>
                    <a:pt x="145262" y="45130"/>
                  </a:cubicBezTo>
                  <a:lnTo>
                    <a:pt x="144980" y="45412"/>
                  </a:lnTo>
                  <a:cubicBezTo>
                    <a:pt x="144980" y="45694"/>
                    <a:pt x="144697" y="45976"/>
                    <a:pt x="144416" y="46258"/>
                  </a:cubicBezTo>
                  <a:cubicBezTo>
                    <a:pt x="144416" y="46822"/>
                    <a:pt x="144133" y="47104"/>
                    <a:pt x="143852" y="47104"/>
                  </a:cubicBezTo>
                  <a:cubicBezTo>
                    <a:pt x="144416" y="47104"/>
                    <a:pt x="144980" y="46822"/>
                    <a:pt x="144980" y="46258"/>
                  </a:cubicBezTo>
                  <a:cubicBezTo>
                    <a:pt x="145826" y="45976"/>
                    <a:pt x="146390" y="45412"/>
                    <a:pt x="146672" y="45412"/>
                  </a:cubicBezTo>
                  <a:cubicBezTo>
                    <a:pt x="146954" y="45412"/>
                    <a:pt x="146954" y="45130"/>
                    <a:pt x="147236" y="45130"/>
                  </a:cubicBezTo>
                  <a:lnTo>
                    <a:pt x="147518" y="45412"/>
                  </a:lnTo>
                  <a:lnTo>
                    <a:pt x="148364" y="44848"/>
                  </a:lnTo>
                  <a:cubicBezTo>
                    <a:pt x="148928" y="43720"/>
                    <a:pt x="148928" y="43437"/>
                    <a:pt x="148928" y="43155"/>
                  </a:cubicBezTo>
                  <a:cubicBezTo>
                    <a:pt x="148928" y="42873"/>
                    <a:pt x="148928" y="42873"/>
                    <a:pt x="148928" y="42873"/>
                  </a:cubicBezTo>
                  <a:cubicBezTo>
                    <a:pt x="149211" y="42309"/>
                    <a:pt x="149775" y="41745"/>
                    <a:pt x="149775" y="41463"/>
                  </a:cubicBezTo>
                  <a:cubicBezTo>
                    <a:pt x="150339" y="40335"/>
                    <a:pt x="150903" y="40335"/>
                    <a:pt x="151467" y="39771"/>
                  </a:cubicBezTo>
                  <a:cubicBezTo>
                    <a:pt x="151467" y="39489"/>
                    <a:pt x="151467" y="39771"/>
                    <a:pt x="152314" y="39771"/>
                  </a:cubicBezTo>
                  <a:cubicBezTo>
                    <a:pt x="152595" y="39771"/>
                    <a:pt x="152878" y="40053"/>
                    <a:pt x="153159" y="40053"/>
                  </a:cubicBezTo>
                  <a:cubicBezTo>
                    <a:pt x="154288" y="40053"/>
                    <a:pt x="154852" y="39489"/>
                    <a:pt x="155980" y="38924"/>
                  </a:cubicBezTo>
                  <a:lnTo>
                    <a:pt x="156544" y="38924"/>
                  </a:lnTo>
                  <a:cubicBezTo>
                    <a:pt x="156826" y="39207"/>
                    <a:pt x="156826" y="39207"/>
                    <a:pt x="157390" y="39207"/>
                  </a:cubicBezTo>
                  <a:cubicBezTo>
                    <a:pt x="158236" y="39207"/>
                    <a:pt x="158519" y="39207"/>
                    <a:pt x="159083" y="38924"/>
                  </a:cubicBezTo>
                  <a:cubicBezTo>
                    <a:pt x="160211" y="38924"/>
                    <a:pt x="161057" y="39489"/>
                    <a:pt x="161621" y="39489"/>
                  </a:cubicBezTo>
                  <a:cubicBezTo>
                    <a:pt x="162750" y="39489"/>
                    <a:pt x="163878" y="38924"/>
                    <a:pt x="164724" y="38924"/>
                  </a:cubicBezTo>
                  <a:lnTo>
                    <a:pt x="165852" y="38924"/>
                  </a:lnTo>
                  <a:lnTo>
                    <a:pt x="165852" y="39207"/>
                  </a:lnTo>
                  <a:cubicBezTo>
                    <a:pt x="165852" y="39489"/>
                    <a:pt x="165852" y="39489"/>
                    <a:pt x="166134" y="39489"/>
                  </a:cubicBezTo>
                  <a:cubicBezTo>
                    <a:pt x="166417" y="39489"/>
                    <a:pt x="166417" y="39489"/>
                    <a:pt x="166698" y="39207"/>
                  </a:cubicBezTo>
                  <a:lnTo>
                    <a:pt x="167827" y="39207"/>
                  </a:lnTo>
                  <a:cubicBezTo>
                    <a:pt x="168391" y="39207"/>
                    <a:pt x="169801" y="39207"/>
                    <a:pt x="169801" y="40053"/>
                  </a:cubicBezTo>
                  <a:cubicBezTo>
                    <a:pt x="169801" y="40335"/>
                    <a:pt x="169801" y="40617"/>
                    <a:pt x="170365" y="40617"/>
                  </a:cubicBezTo>
                  <a:cubicBezTo>
                    <a:pt x="170365" y="40617"/>
                    <a:pt x="170929" y="40335"/>
                    <a:pt x="171493" y="40335"/>
                  </a:cubicBezTo>
                  <a:lnTo>
                    <a:pt x="172058" y="40335"/>
                  </a:lnTo>
                  <a:cubicBezTo>
                    <a:pt x="172622" y="40053"/>
                    <a:pt x="173468" y="39771"/>
                    <a:pt x="174314" y="39771"/>
                  </a:cubicBezTo>
                  <a:cubicBezTo>
                    <a:pt x="174878" y="39771"/>
                    <a:pt x="175442" y="40053"/>
                    <a:pt x="175724" y="40617"/>
                  </a:cubicBezTo>
                  <a:lnTo>
                    <a:pt x="177981" y="40617"/>
                  </a:lnTo>
                  <a:cubicBezTo>
                    <a:pt x="178263" y="40335"/>
                    <a:pt x="178827" y="40335"/>
                    <a:pt x="179109" y="40335"/>
                  </a:cubicBezTo>
                  <a:cubicBezTo>
                    <a:pt x="179673" y="40335"/>
                    <a:pt x="179955" y="40899"/>
                    <a:pt x="180520" y="41181"/>
                  </a:cubicBezTo>
                  <a:cubicBezTo>
                    <a:pt x="180801" y="41181"/>
                    <a:pt x="181084" y="41463"/>
                    <a:pt x="181084" y="42027"/>
                  </a:cubicBezTo>
                  <a:lnTo>
                    <a:pt x="181084" y="42309"/>
                  </a:lnTo>
                  <a:cubicBezTo>
                    <a:pt x="181084" y="43155"/>
                    <a:pt x="181648" y="43720"/>
                    <a:pt x="181648" y="44566"/>
                  </a:cubicBezTo>
                  <a:lnTo>
                    <a:pt x="181648" y="45130"/>
                  </a:lnTo>
                  <a:cubicBezTo>
                    <a:pt x="181930" y="45412"/>
                    <a:pt x="182494" y="45976"/>
                    <a:pt x="182494" y="46258"/>
                  </a:cubicBezTo>
                  <a:cubicBezTo>
                    <a:pt x="181930" y="47104"/>
                    <a:pt x="181648" y="47668"/>
                    <a:pt x="181930" y="47668"/>
                  </a:cubicBezTo>
                  <a:lnTo>
                    <a:pt x="181930" y="50771"/>
                  </a:lnTo>
                  <a:cubicBezTo>
                    <a:pt x="181930" y="51335"/>
                    <a:pt x="181084" y="51617"/>
                    <a:pt x="180801" y="51899"/>
                  </a:cubicBezTo>
                  <a:cubicBezTo>
                    <a:pt x="180520" y="51899"/>
                    <a:pt x="180237" y="52181"/>
                    <a:pt x="179955" y="52745"/>
                  </a:cubicBezTo>
                  <a:lnTo>
                    <a:pt x="177981" y="54156"/>
                  </a:lnTo>
                  <a:cubicBezTo>
                    <a:pt x="177699" y="54720"/>
                    <a:pt x="177417" y="54720"/>
                    <a:pt x="177417" y="54720"/>
                  </a:cubicBezTo>
                  <a:lnTo>
                    <a:pt x="176570" y="54720"/>
                  </a:lnTo>
                  <a:cubicBezTo>
                    <a:pt x="175724" y="54720"/>
                    <a:pt x="175160" y="55002"/>
                    <a:pt x="174314" y="55566"/>
                  </a:cubicBezTo>
                  <a:cubicBezTo>
                    <a:pt x="173186" y="56130"/>
                    <a:pt x="171776" y="56694"/>
                    <a:pt x="170648" y="56694"/>
                  </a:cubicBezTo>
                  <a:cubicBezTo>
                    <a:pt x="170083" y="56694"/>
                    <a:pt x="169801" y="56694"/>
                    <a:pt x="169519" y="56976"/>
                  </a:cubicBezTo>
                  <a:cubicBezTo>
                    <a:pt x="168673" y="57541"/>
                    <a:pt x="167827" y="57541"/>
                    <a:pt x="166698" y="57541"/>
                  </a:cubicBezTo>
                  <a:lnTo>
                    <a:pt x="165852" y="57541"/>
                  </a:lnTo>
                  <a:cubicBezTo>
                    <a:pt x="165570" y="57541"/>
                    <a:pt x="165288" y="57823"/>
                    <a:pt x="165288" y="57823"/>
                  </a:cubicBezTo>
                  <a:lnTo>
                    <a:pt x="165288" y="57541"/>
                  </a:lnTo>
                  <a:cubicBezTo>
                    <a:pt x="164724" y="57258"/>
                    <a:pt x="165006" y="56412"/>
                    <a:pt x="164160" y="56130"/>
                  </a:cubicBezTo>
                  <a:lnTo>
                    <a:pt x="164724" y="55566"/>
                  </a:lnTo>
                  <a:lnTo>
                    <a:pt x="166134" y="54438"/>
                  </a:lnTo>
                  <a:lnTo>
                    <a:pt x="164160" y="54438"/>
                  </a:lnTo>
                  <a:cubicBezTo>
                    <a:pt x="163878" y="54438"/>
                    <a:pt x="163878" y="54438"/>
                    <a:pt x="163878" y="54156"/>
                  </a:cubicBezTo>
                  <a:lnTo>
                    <a:pt x="165288" y="52745"/>
                  </a:lnTo>
                  <a:lnTo>
                    <a:pt x="165852" y="52745"/>
                  </a:lnTo>
                  <a:cubicBezTo>
                    <a:pt x="165852" y="52463"/>
                    <a:pt x="166417" y="52181"/>
                    <a:pt x="166698" y="51899"/>
                  </a:cubicBezTo>
                  <a:lnTo>
                    <a:pt x="166698" y="51617"/>
                  </a:lnTo>
                  <a:cubicBezTo>
                    <a:pt x="166417" y="51335"/>
                    <a:pt x="166417" y="51335"/>
                    <a:pt x="165852" y="51335"/>
                  </a:cubicBezTo>
                  <a:lnTo>
                    <a:pt x="165288" y="51617"/>
                  </a:lnTo>
                  <a:lnTo>
                    <a:pt x="165006" y="51617"/>
                  </a:lnTo>
                  <a:lnTo>
                    <a:pt x="165288" y="51335"/>
                  </a:lnTo>
                  <a:cubicBezTo>
                    <a:pt x="165288" y="51053"/>
                    <a:pt x="165570" y="51053"/>
                    <a:pt x="165570" y="50771"/>
                  </a:cubicBezTo>
                  <a:cubicBezTo>
                    <a:pt x="165570" y="50489"/>
                    <a:pt x="165006" y="50207"/>
                    <a:pt x="164160" y="50207"/>
                  </a:cubicBezTo>
                  <a:lnTo>
                    <a:pt x="163314" y="50207"/>
                  </a:lnTo>
                  <a:cubicBezTo>
                    <a:pt x="163031" y="50207"/>
                    <a:pt x="162750" y="50207"/>
                    <a:pt x="162467" y="50771"/>
                  </a:cubicBezTo>
                  <a:cubicBezTo>
                    <a:pt x="161903" y="51335"/>
                    <a:pt x="161339" y="51335"/>
                    <a:pt x="161057" y="51335"/>
                  </a:cubicBezTo>
                  <a:lnTo>
                    <a:pt x="159647" y="51335"/>
                  </a:lnTo>
                  <a:cubicBezTo>
                    <a:pt x="158800" y="51053"/>
                    <a:pt x="157672" y="50771"/>
                    <a:pt x="156544" y="50771"/>
                  </a:cubicBezTo>
                  <a:lnTo>
                    <a:pt x="152595" y="50771"/>
                  </a:lnTo>
                  <a:cubicBezTo>
                    <a:pt x="152314" y="50771"/>
                    <a:pt x="152031" y="50489"/>
                    <a:pt x="152031" y="50489"/>
                  </a:cubicBezTo>
                  <a:cubicBezTo>
                    <a:pt x="151749" y="50489"/>
                    <a:pt x="151749" y="50207"/>
                    <a:pt x="151749" y="49925"/>
                  </a:cubicBezTo>
                  <a:lnTo>
                    <a:pt x="151749" y="49361"/>
                  </a:lnTo>
                  <a:cubicBezTo>
                    <a:pt x="152031" y="48797"/>
                    <a:pt x="152314" y="48515"/>
                    <a:pt x="152314" y="48232"/>
                  </a:cubicBezTo>
                  <a:cubicBezTo>
                    <a:pt x="152314" y="47950"/>
                    <a:pt x="152314" y="47950"/>
                    <a:pt x="152031" y="47950"/>
                  </a:cubicBezTo>
                  <a:cubicBezTo>
                    <a:pt x="151467" y="48515"/>
                    <a:pt x="151185" y="48515"/>
                    <a:pt x="150903" y="49079"/>
                  </a:cubicBezTo>
                  <a:cubicBezTo>
                    <a:pt x="150057" y="49643"/>
                    <a:pt x="149775" y="49643"/>
                    <a:pt x="149493" y="49643"/>
                  </a:cubicBezTo>
                  <a:lnTo>
                    <a:pt x="149211" y="49643"/>
                  </a:lnTo>
                  <a:cubicBezTo>
                    <a:pt x="149211" y="49643"/>
                    <a:pt x="149211" y="49361"/>
                    <a:pt x="149493" y="49079"/>
                  </a:cubicBezTo>
                  <a:lnTo>
                    <a:pt x="149211" y="49079"/>
                  </a:lnTo>
                  <a:cubicBezTo>
                    <a:pt x="148928" y="49079"/>
                    <a:pt x="148364" y="49643"/>
                    <a:pt x="148364" y="49925"/>
                  </a:cubicBezTo>
                  <a:cubicBezTo>
                    <a:pt x="148083" y="50489"/>
                    <a:pt x="147236" y="51053"/>
                    <a:pt x="146954" y="51053"/>
                  </a:cubicBezTo>
                  <a:cubicBezTo>
                    <a:pt x="146108" y="51053"/>
                    <a:pt x="145544" y="51053"/>
                    <a:pt x="145262" y="50771"/>
                  </a:cubicBezTo>
                  <a:lnTo>
                    <a:pt x="143852" y="51335"/>
                  </a:lnTo>
                  <a:cubicBezTo>
                    <a:pt x="143005" y="51617"/>
                    <a:pt x="143005" y="51617"/>
                    <a:pt x="142723" y="51617"/>
                  </a:cubicBezTo>
                  <a:cubicBezTo>
                    <a:pt x="142441" y="51617"/>
                    <a:pt x="141877" y="51617"/>
                    <a:pt x="141313" y="51335"/>
                  </a:cubicBezTo>
                  <a:lnTo>
                    <a:pt x="140749" y="51335"/>
                  </a:lnTo>
                  <a:cubicBezTo>
                    <a:pt x="140466" y="51335"/>
                    <a:pt x="139902" y="51335"/>
                    <a:pt x="140185" y="51053"/>
                  </a:cubicBezTo>
                  <a:cubicBezTo>
                    <a:pt x="140185" y="50771"/>
                    <a:pt x="139902" y="51053"/>
                    <a:pt x="139621" y="51053"/>
                  </a:cubicBezTo>
                  <a:cubicBezTo>
                    <a:pt x="138492" y="51335"/>
                    <a:pt x="138492" y="51335"/>
                    <a:pt x="137928" y="51335"/>
                  </a:cubicBezTo>
                  <a:cubicBezTo>
                    <a:pt x="137082" y="51335"/>
                    <a:pt x="136518" y="51335"/>
                    <a:pt x="136236" y="50771"/>
                  </a:cubicBezTo>
                  <a:cubicBezTo>
                    <a:pt x="135954" y="51053"/>
                    <a:pt x="135954" y="51053"/>
                    <a:pt x="135672" y="51053"/>
                  </a:cubicBezTo>
                  <a:cubicBezTo>
                    <a:pt x="135390" y="51053"/>
                    <a:pt x="135108" y="50489"/>
                    <a:pt x="134544" y="50489"/>
                  </a:cubicBezTo>
                  <a:cubicBezTo>
                    <a:pt x="134544" y="50489"/>
                    <a:pt x="134261" y="50207"/>
                    <a:pt x="133980" y="50207"/>
                  </a:cubicBezTo>
                  <a:cubicBezTo>
                    <a:pt x="133697" y="50207"/>
                    <a:pt x="133415" y="50489"/>
                    <a:pt x="133133" y="50489"/>
                  </a:cubicBezTo>
                  <a:cubicBezTo>
                    <a:pt x="133133" y="50771"/>
                    <a:pt x="133133" y="51053"/>
                    <a:pt x="132287" y="51335"/>
                  </a:cubicBezTo>
                  <a:lnTo>
                    <a:pt x="132005" y="51335"/>
                  </a:lnTo>
                  <a:lnTo>
                    <a:pt x="132005" y="51053"/>
                  </a:lnTo>
                  <a:cubicBezTo>
                    <a:pt x="131723" y="51053"/>
                    <a:pt x="131441" y="50771"/>
                    <a:pt x="131441" y="50771"/>
                  </a:cubicBezTo>
                  <a:cubicBezTo>
                    <a:pt x="131159" y="50771"/>
                    <a:pt x="130877" y="51335"/>
                    <a:pt x="129749" y="51899"/>
                  </a:cubicBezTo>
                  <a:lnTo>
                    <a:pt x="129749" y="51335"/>
                  </a:lnTo>
                  <a:lnTo>
                    <a:pt x="129466" y="51053"/>
                  </a:lnTo>
                  <a:cubicBezTo>
                    <a:pt x="128902" y="51335"/>
                    <a:pt x="128902" y="51617"/>
                    <a:pt x="128902" y="51617"/>
                  </a:cubicBezTo>
                  <a:cubicBezTo>
                    <a:pt x="128338" y="51899"/>
                    <a:pt x="128056" y="51899"/>
                    <a:pt x="127774" y="51899"/>
                  </a:cubicBezTo>
                  <a:lnTo>
                    <a:pt x="127492" y="51899"/>
                  </a:lnTo>
                  <a:lnTo>
                    <a:pt x="127492" y="51335"/>
                  </a:lnTo>
                  <a:lnTo>
                    <a:pt x="127210" y="51335"/>
                  </a:lnTo>
                  <a:cubicBezTo>
                    <a:pt x="126646" y="51899"/>
                    <a:pt x="126363" y="52181"/>
                    <a:pt x="125799" y="52181"/>
                  </a:cubicBezTo>
                  <a:lnTo>
                    <a:pt x="125235" y="52181"/>
                  </a:lnTo>
                  <a:cubicBezTo>
                    <a:pt x="124107" y="51899"/>
                    <a:pt x="123261" y="51617"/>
                    <a:pt x="122415" y="51617"/>
                  </a:cubicBezTo>
                  <a:cubicBezTo>
                    <a:pt x="122415" y="51617"/>
                    <a:pt x="122132" y="51617"/>
                    <a:pt x="122132" y="51335"/>
                  </a:cubicBezTo>
                  <a:cubicBezTo>
                    <a:pt x="121851" y="51053"/>
                    <a:pt x="121851" y="50771"/>
                    <a:pt x="121568" y="50771"/>
                  </a:cubicBezTo>
                  <a:cubicBezTo>
                    <a:pt x="121287" y="50771"/>
                    <a:pt x="120722" y="51335"/>
                    <a:pt x="120440" y="51335"/>
                  </a:cubicBezTo>
                  <a:lnTo>
                    <a:pt x="120158" y="51617"/>
                  </a:lnTo>
                  <a:lnTo>
                    <a:pt x="119594" y="51335"/>
                  </a:lnTo>
                  <a:cubicBezTo>
                    <a:pt x="118466" y="51899"/>
                    <a:pt x="117338" y="52463"/>
                    <a:pt x="115927" y="52463"/>
                  </a:cubicBezTo>
                  <a:cubicBezTo>
                    <a:pt x="115646" y="52745"/>
                    <a:pt x="115363" y="52745"/>
                    <a:pt x="114799" y="52745"/>
                  </a:cubicBezTo>
                  <a:lnTo>
                    <a:pt x="113671" y="52745"/>
                  </a:lnTo>
                  <a:cubicBezTo>
                    <a:pt x="113389" y="52745"/>
                    <a:pt x="113389" y="52745"/>
                    <a:pt x="112825" y="53028"/>
                  </a:cubicBezTo>
                  <a:cubicBezTo>
                    <a:pt x="110850" y="53874"/>
                    <a:pt x="109158" y="54156"/>
                    <a:pt x="108029" y="54156"/>
                  </a:cubicBezTo>
                  <a:cubicBezTo>
                    <a:pt x="107184" y="54438"/>
                    <a:pt x="106619" y="54438"/>
                    <a:pt x="106055" y="54438"/>
                  </a:cubicBezTo>
                  <a:lnTo>
                    <a:pt x="104927" y="54438"/>
                  </a:lnTo>
                  <a:cubicBezTo>
                    <a:pt x="103798" y="54438"/>
                    <a:pt x="102388" y="54720"/>
                    <a:pt x="100978" y="55284"/>
                  </a:cubicBezTo>
                  <a:cubicBezTo>
                    <a:pt x="100696" y="55284"/>
                    <a:pt x="100696" y="55002"/>
                    <a:pt x="100414" y="55002"/>
                  </a:cubicBezTo>
                  <a:lnTo>
                    <a:pt x="100414" y="53310"/>
                  </a:lnTo>
                  <a:cubicBezTo>
                    <a:pt x="100414" y="53028"/>
                    <a:pt x="100414" y="53028"/>
                    <a:pt x="100978" y="52745"/>
                  </a:cubicBezTo>
                  <a:cubicBezTo>
                    <a:pt x="100696" y="52745"/>
                    <a:pt x="100696" y="52463"/>
                    <a:pt x="100696" y="52463"/>
                  </a:cubicBezTo>
                  <a:cubicBezTo>
                    <a:pt x="100696" y="52463"/>
                    <a:pt x="100414" y="52463"/>
                    <a:pt x="100414" y="52745"/>
                  </a:cubicBezTo>
                  <a:cubicBezTo>
                    <a:pt x="100132" y="52745"/>
                    <a:pt x="99850" y="53028"/>
                    <a:pt x="99850" y="53028"/>
                  </a:cubicBezTo>
                  <a:lnTo>
                    <a:pt x="97876" y="54438"/>
                  </a:lnTo>
                  <a:lnTo>
                    <a:pt x="97029" y="54438"/>
                  </a:lnTo>
                  <a:cubicBezTo>
                    <a:pt x="96465" y="55002"/>
                    <a:pt x="95901" y="55284"/>
                    <a:pt x="95055" y="55284"/>
                  </a:cubicBezTo>
                  <a:cubicBezTo>
                    <a:pt x="89978" y="64874"/>
                    <a:pt x="87721" y="66849"/>
                    <a:pt x="86875" y="66849"/>
                  </a:cubicBezTo>
                  <a:cubicBezTo>
                    <a:pt x="86311" y="66849"/>
                    <a:pt x="86311" y="66284"/>
                    <a:pt x="86311" y="65720"/>
                  </a:cubicBezTo>
                  <a:lnTo>
                    <a:pt x="86311" y="65438"/>
                  </a:lnTo>
                  <a:cubicBezTo>
                    <a:pt x="86311" y="65438"/>
                    <a:pt x="86029" y="65720"/>
                    <a:pt x="85747" y="65720"/>
                  </a:cubicBezTo>
                  <a:cubicBezTo>
                    <a:pt x="85464" y="65720"/>
                    <a:pt x="85464" y="65720"/>
                    <a:pt x="85464" y="66002"/>
                  </a:cubicBezTo>
                  <a:cubicBezTo>
                    <a:pt x="85464" y="66284"/>
                    <a:pt x="86593" y="68541"/>
                    <a:pt x="86593" y="68823"/>
                  </a:cubicBezTo>
                  <a:lnTo>
                    <a:pt x="86593" y="69105"/>
                  </a:lnTo>
                  <a:cubicBezTo>
                    <a:pt x="86311" y="69387"/>
                    <a:pt x="86311" y="69669"/>
                    <a:pt x="86029" y="70515"/>
                  </a:cubicBezTo>
                  <a:lnTo>
                    <a:pt x="85183" y="71079"/>
                  </a:lnTo>
                  <a:cubicBezTo>
                    <a:pt x="85183" y="71362"/>
                    <a:pt x="85464" y="71362"/>
                    <a:pt x="85747" y="71644"/>
                  </a:cubicBezTo>
                  <a:cubicBezTo>
                    <a:pt x="85747" y="71644"/>
                    <a:pt x="86029" y="71926"/>
                    <a:pt x="86029" y="72208"/>
                  </a:cubicBezTo>
                  <a:cubicBezTo>
                    <a:pt x="86029" y="72490"/>
                    <a:pt x="86029" y="73054"/>
                    <a:pt x="85747" y="73618"/>
                  </a:cubicBezTo>
                  <a:cubicBezTo>
                    <a:pt x="85183" y="73900"/>
                    <a:pt x="84900" y="74182"/>
                    <a:pt x="84900" y="74182"/>
                  </a:cubicBezTo>
                  <a:cubicBezTo>
                    <a:pt x="84619" y="74464"/>
                    <a:pt x="84336" y="74746"/>
                    <a:pt x="84054" y="74746"/>
                  </a:cubicBezTo>
                  <a:cubicBezTo>
                    <a:pt x="83490" y="75028"/>
                    <a:pt x="83208" y="75028"/>
                    <a:pt x="83208" y="75310"/>
                  </a:cubicBezTo>
                  <a:cubicBezTo>
                    <a:pt x="83208" y="75310"/>
                    <a:pt x="83772" y="75592"/>
                    <a:pt x="84054" y="75875"/>
                  </a:cubicBezTo>
                  <a:cubicBezTo>
                    <a:pt x="84336" y="75875"/>
                    <a:pt x="84619" y="76439"/>
                    <a:pt x="84336" y="76439"/>
                  </a:cubicBezTo>
                  <a:cubicBezTo>
                    <a:pt x="83490" y="77003"/>
                    <a:pt x="83490" y="77003"/>
                    <a:pt x="83208" y="77567"/>
                  </a:cubicBezTo>
                  <a:lnTo>
                    <a:pt x="83208" y="77849"/>
                  </a:lnTo>
                  <a:cubicBezTo>
                    <a:pt x="83490" y="78977"/>
                    <a:pt x="78978" y="92516"/>
                    <a:pt x="78978" y="94491"/>
                  </a:cubicBezTo>
                  <a:cubicBezTo>
                    <a:pt x="78978" y="95619"/>
                    <a:pt x="78978" y="96465"/>
                    <a:pt x="78131" y="96747"/>
                  </a:cubicBezTo>
                  <a:lnTo>
                    <a:pt x="78131" y="98721"/>
                  </a:lnTo>
                  <a:cubicBezTo>
                    <a:pt x="78131" y="99004"/>
                    <a:pt x="77285" y="99004"/>
                    <a:pt x="77285" y="99568"/>
                  </a:cubicBezTo>
                  <a:lnTo>
                    <a:pt x="77567" y="99850"/>
                  </a:lnTo>
                  <a:cubicBezTo>
                    <a:pt x="77567" y="100132"/>
                    <a:pt x="77567" y="100978"/>
                    <a:pt x="77285" y="100978"/>
                  </a:cubicBezTo>
                  <a:lnTo>
                    <a:pt x="77285" y="101542"/>
                  </a:lnTo>
                  <a:cubicBezTo>
                    <a:pt x="77285" y="102106"/>
                    <a:pt x="76721" y="104081"/>
                    <a:pt x="75875" y="104081"/>
                  </a:cubicBezTo>
                  <a:cubicBezTo>
                    <a:pt x="75311" y="104081"/>
                    <a:pt x="75311" y="104927"/>
                    <a:pt x="75311" y="104927"/>
                  </a:cubicBezTo>
                  <a:cubicBezTo>
                    <a:pt x="75592" y="104927"/>
                    <a:pt x="76157" y="105209"/>
                    <a:pt x="76157" y="105491"/>
                  </a:cubicBezTo>
                  <a:cubicBezTo>
                    <a:pt x="76157" y="105773"/>
                    <a:pt x="76157" y="105773"/>
                    <a:pt x="75592" y="106055"/>
                  </a:cubicBezTo>
                  <a:lnTo>
                    <a:pt x="75875" y="106337"/>
                  </a:lnTo>
                  <a:lnTo>
                    <a:pt x="75875" y="107183"/>
                  </a:lnTo>
                  <a:lnTo>
                    <a:pt x="75311" y="107183"/>
                  </a:lnTo>
                  <a:cubicBezTo>
                    <a:pt x="75592" y="107747"/>
                    <a:pt x="75592" y="108312"/>
                    <a:pt x="75592" y="108594"/>
                  </a:cubicBezTo>
                  <a:lnTo>
                    <a:pt x="74747" y="109722"/>
                  </a:lnTo>
                  <a:cubicBezTo>
                    <a:pt x="74747" y="110004"/>
                    <a:pt x="75028" y="110004"/>
                    <a:pt x="75028" y="110286"/>
                  </a:cubicBezTo>
                  <a:lnTo>
                    <a:pt x="75028" y="110568"/>
                  </a:lnTo>
                  <a:cubicBezTo>
                    <a:pt x="75028" y="110850"/>
                    <a:pt x="74747" y="110850"/>
                    <a:pt x="74464" y="111132"/>
                  </a:cubicBezTo>
                  <a:cubicBezTo>
                    <a:pt x="74464" y="111978"/>
                    <a:pt x="74464" y="112542"/>
                    <a:pt x="74182" y="113107"/>
                  </a:cubicBezTo>
                  <a:cubicBezTo>
                    <a:pt x="74182" y="113389"/>
                    <a:pt x="73900" y="113671"/>
                    <a:pt x="73900" y="113953"/>
                  </a:cubicBezTo>
                  <a:cubicBezTo>
                    <a:pt x="73618" y="113953"/>
                    <a:pt x="73336" y="114517"/>
                    <a:pt x="73336" y="115363"/>
                  </a:cubicBezTo>
                  <a:cubicBezTo>
                    <a:pt x="73336" y="115645"/>
                    <a:pt x="73618" y="115645"/>
                    <a:pt x="73618" y="115927"/>
                  </a:cubicBezTo>
                  <a:lnTo>
                    <a:pt x="73618" y="116491"/>
                  </a:lnTo>
                  <a:cubicBezTo>
                    <a:pt x="73618" y="117055"/>
                    <a:pt x="73054" y="117055"/>
                    <a:pt x="73054" y="118184"/>
                  </a:cubicBezTo>
                  <a:cubicBezTo>
                    <a:pt x="73054" y="118466"/>
                    <a:pt x="72490" y="119030"/>
                    <a:pt x="72490" y="119030"/>
                  </a:cubicBezTo>
                  <a:cubicBezTo>
                    <a:pt x="71644" y="119594"/>
                    <a:pt x="71080" y="119594"/>
                    <a:pt x="71080" y="119876"/>
                  </a:cubicBezTo>
                  <a:cubicBezTo>
                    <a:pt x="71080" y="119876"/>
                    <a:pt x="71361" y="120158"/>
                    <a:pt x="71644" y="120158"/>
                  </a:cubicBezTo>
                  <a:cubicBezTo>
                    <a:pt x="71644" y="120440"/>
                    <a:pt x="71926" y="120440"/>
                    <a:pt x="71926" y="120722"/>
                  </a:cubicBezTo>
                  <a:lnTo>
                    <a:pt x="71926" y="121286"/>
                  </a:lnTo>
                  <a:cubicBezTo>
                    <a:pt x="71926" y="122133"/>
                    <a:pt x="71361" y="122697"/>
                    <a:pt x="70516" y="123261"/>
                  </a:cubicBezTo>
                  <a:cubicBezTo>
                    <a:pt x="70233" y="123543"/>
                    <a:pt x="69951" y="123543"/>
                    <a:pt x="69951" y="123825"/>
                  </a:cubicBezTo>
                  <a:lnTo>
                    <a:pt x="70233" y="124107"/>
                  </a:lnTo>
                  <a:cubicBezTo>
                    <a:pt x="70233" y="124389"/>
                    <a:pt x="70233" y="124671"/>
                    <a:pt x="70516" y="124953"/>
                  </a:cubicBezTo>
                  <a:cubicBezTo>
                    <a:pt x="70516" y="125235"/>
                    <a:pt x="70797" y="125517"/>
                    <a:pt x="70797" y="125517"/>
                  </a:cubicBezTo>
                  <a:cubicBezTo>
                    <a:pt x="70797" y="125799"/>
                    <a:pt x="70516" y="125799"/>
                    <a:pt x="70516" y="125799"/>
                  </a:cubicBezTo>
                  <a:cubicBezTo>
                    <a:pt x="70516" y="126081"/>
                    <a:pt x="70516" y="126363"/>
                    <a:pt x="70797" y="126363"/>
                  </a:cubicBezTo>
                  <a:lnTo>
                    <a:pt x="71361" y="126363"/>
                  </a:lnTo>
                  <a:lnTo>
                    <a:pt x="71361" y="126646"/>
                  </a:lnTo>
                  <a:lnTo>
                    <a:pt x="71080" y="126928"/>
                  </a:lnTo>
                  <a:lnTo>
                    <a:pt x="70516" y="126928"/>
                  </a:lnTo>
                  <a:cubicBezTo>
                    <a:pt x="70233" y="126928"/>
                    <a:pt x="70233" y="126646"/>
                    <a:pt x="69951" y="126363"/>
                  </a:cubicBezTo>
                  <a:lnTo>
                    <a:pt x="69669" y="126363"/>
                  </a:lnTo>
                  <a:cubicBezTo>
                    <a:pt x="69387" y="126363"/>
                    <a:pt x="68823" y="126928"/>
                    <a:pt x="68823" y="127774"/>
                  </a:cubicBezTo>
                  <a:cubicBezTo>
                    <a:pt x="68823" y="128056"/>
                    <a:pt x="68541" y="128056"/>
                    <a:pt x="68541" y="128056"/>
                  </a:cubicBezTo>
                  <a:lnTo>
                    <a:pt x="67977" y="128056"/>
                  </a:lnTo>
                  <a:cubicBezTo>
                    <a:pt x="67977" y="127774"/>
                    <a:pt x="67130" y="128338"/>
                    <a:pt x="67130" y="128338"/>
                  </a:cubicBezTo>
                  <a:cubicBezTo>
                    <a:pt x="66849" y="128902"/>
                    <a:pt x="66849" y="129184"/>
                    <a:pt x="66849" y="129466"/>
                  </a:cubicBezTo>
                  <a:lnTo>
                    <a:pt x="66849" y="130030"/>
                  </a:lnTo>
                  <a:cubicBezTo>
                    <a:pt x="66849" y="130312"/>
                    <a:pt x="66849" y="130594"/>
                    <a:pt x="66566" y="130594"/>
                  </a:cubicBezTo>
                  <a:lnTo>
                    <a:pt x="66566" y="131723"/>
                  </a:lnTo>
                  <a:lnTo>
                    <a:pt x="67130" y="132851"/>
                  </a:lnTo>
                  <a:lnTo>
                    <a:pt x="67130" y="133133"/>
                  </a:lnTo>
                  <a:cubicBezTo>
                    <a:pt x="67130" y="133415"/>
                    <a:pt x="67130" y="133415"/>
                    <a:pt x="66849" y="133415"/>
                  </a:cubicBezTo>
                  <a:cubicBezTo>
                    <a:pt x="66849" y="133979"/>
                    <a:pt x="66566" y="134261"/>
                    <a:pt x="66002" y="134825"/>
                  </a:cubicBezTo>
                  <a:cubicBezTo>
                    <a:pt x="66002" y="134825"/>
                    <a:pt x="66002" y="135107"/>
                    <a:pt x="66285" y="135389"/>
                  </a:cubicBezTo>
                  <a:lnTo>
                    <a:pt x="66566" y="135389"/>
                  </a:lnTo>
                  <a:lnTo>
                    <a:pt x="67413" y="134825"/>
                  </a:lnTo>
                  <a:cubicBezTo>
                    <a:pt x="67695" y="134825"/>
                    <a:pt x="67977" y="134261"/>
                    <a:pt x="68541" y="134261"/>
                  </a:cubicBezTo>
                  <a:cubicBezTo>
                    <a:pt x="68823" y="134261"/>
                    <a:pt x="69387" y="133979"/>
                    <a:pt x="69387" y="133697"/>
                  </a:cubicBezTo>
                  <a:lnTo>
                    <a:pt x="69951" y="133697"/>
                  </a:lnTo>
                  <a:lnTo>
                    <a:pt x="69951" y="134261"/>
                  </a:lnTo>
                  <a:cubicBezTo>
                    <a:pt x="69669" y="134261"/>
                    <a:pt x="69387" y="134825"/>
                    <a:pt x="69105" y="135389"/>
                  </a:cubicBezTo>
                  <a:lnTo>
                    <a:pt x="69105" y="135954"/>
                  </a:lnTo>
                  <a:cubicBezTo>
                    <a:pt x="69105" y="136800"/>
                    <a:pt x="69105" y="137082"/>
                    <a:pt x="67413" y="137082"/>
                  </a:cubicBezTo>
                  <a:cubicBezTo>
                    <a:pt x="67130" y="137082"/>
                    <a:pt x="67130" y="137646"/>
                    <a:pt x="67130" y="137928"/>
                  </a:cubicBezTo>
                  <a:lnTo>
                    <a:pt x="67130" y="138774"/>
                  </a:lnTo>
                  <a:cubicBezTo>
                    <a:pt x="67130" y="139056"/>
                    <a:pt x="67130" y="139056"/>
                    <a:pt x="67413" y="139338"/>
                  </a:cubicBezTo>
                  <a:cubicBezTo>
                    <a:pt x="67695" y="139620"/>
                    <a:pt x="68541" y="139338"/>
                    <a:pt x="68541" y="139902"/>
                  </a:cubicBezTo>
                  <a:lnTo>
                    <a:pt x="68541" y="140185"/>
                  </a:lnTo>
                  <a:cubicBezTo>
                    <a:pt x="68541" y="140467"/>
                    <a:pt x="68259" y="140467"/>
                    <a:pt x="68259" y="141031"/>
                  </a:cubicBezTo>
                  <a:cubicBezTo>
                    <a:pt x="68259" y="141595"/>
                    <a:pt x="67695" y="141595"/>
                    <a:pt x="67695" y="141595"/>
                  </a:cubicBezTo>
                  <a:lnTo>
                    <a:pt x="67413" y="141877"/>
                  </a:lnTo>
                  <a:cubicBezTo>
                    <a:pt x="67413" y="142441"/>
                    <a:pt x="67413" y="142441"/>
                    <a:pt x="67695" y="143005"/>
                  </a:cubicBezTo>
                  <a:cubicBezTo>
                    <a:pt x="67695" y="143287"/>
                    <a:pt x="67695" y="143287"/>
                    <a:pt x="67413" y="143287"/>
                  </a:cubicBezTo>
                  <a:cubicBezTo>
                    <a:pt x="67413" y="143287"/>
                    <a:pt x="67130" y="143287"/>
                    <a:pt x="66849" y="143005"/>
                  </a:cubicBezTo>
                  <a:lnTo>
                    <a:pt x="66849" y="142723"/>
                  </a:lnTo>
                  <a:lnTo>
                    <a:pt x="66566" y="142441"/>
                  </a:lnTo>
                  <a:cubicBezTo>
                    <a:pt x="66849" y="141877"/>
                    <a:pt x="67130" y="141595"/>
                    <a:pt x="67130" y="140749"/>
                  </a:cubicBezTo>
                  <a:lnTo>
                    <a:pt x="66849" y="140185"/>
                  </a:lnTo>
                  <a:cubicBezTo>
                    <a:pt x="65720" y="140749"/>
                    <a:pt x="65438" y="141313"/>
                    <a:pt x="65156" y="141595"/>
                  </a:cubicBezTo>
                  <a:lnTo>
                    <a:pt x="64874" y="141877"/>
                  </a:lnTo>
                  <a:cubicBezTo>
                    <a:pt x="64874" y="141877"/>
                    <a:pt x="64874" y="142159"/>
                    <a:pt x="65156" y="142159"/>
                  </a:cubicBezTo>
                  <a:cubicBezTo>
                    <a:pt x="65438" y="142441"/>
                    <a:pt x="65720" y="142441"/>
                    <a:pt x="65720" y="142441"/>
                  </a:cubicBezTo>
                  <a:lnTo>
                    <a:pt x="65720" y="142723"/>
                  </a:lnTo>
                  <a:cubicBezTo>
                    <a:pt x="65438" y="143005"/>
                    <a:pt x="65156" y="143287"/>
                    <a:pt x="65156" y="144133"/>
                  </a:cubicBezTo>
                  <a:cubicBezTo>
                    <a:pt x="65156" y="144415"/>
                    <a:pt x="65156" y="144415"/>
                    <a:pt x="64310" y="144697"/>
                  </a:cubicBezTo>
                  <a:cubicBezTo>
                    <a:pt x="63746" y="144980"/>
                    <a:pt x="63464" y="144980"/>
                    <a:pt x="63464" y="145262"/>
                  </a:cubicBezTo>
                  <a:cubicBezTo>
                    <a:pt x="63464" y="145544"/>
                    <a:pt x="63746" y="145544"/>
                    <a:pt x="64028" y="145826"/>
                  </a:cubicBezTo>
                  <a:cubicBezTo>
                    <a:pt x="64592" y="146108"/>
                    <a:pt x="64592" y="146954"/>
                    <a:pt x="64592" y="146954"/>
                  </a:cubicBezTo>
                  <a:cubicBezTo>
                    <a:pt x="63746" y="147236"/>
                    <a:pt x="63746" y="147518"/>
                    <a:pt x="63746" y="147800"/>
                  </a:cubicBezTo>
                  <a:lnTo>
                    <a:pt x="64028" y="148082"/>
                  </a:lnTo>
                  <a:cubicBezTo>
                    <a:pt x="64028" y="148646"/>
                    <a:pt x="64028" y="148646"/>
                    <a:pt x="63746" y="149210"/>
                  </a:cubicBezTo>
                  <a:cubicBezTo>
                    <a:pt x="63464" y="149493"/>
                    <a:pt x="63182" y="149493"/>
                    <a:pt x="63182" y="149775"/>
                  </a:cubicBezTo>
                  <a:cubicBezTo>
                    <a:pt x="63182" y="150057"/>
                    <a:pt x="63464" y="150339"/>
                    <a:pt x="63746" y="150621"/>
                  </a:cubicBezTo>
                  <a:lnTo>
                    <a:pt x="64028" y="150903"/>
                  </a:lnTo>
                  <a:cubicBezTo>
                    <a:pt x="64028" y="151185"/>
                    <a:pt x="63746" y="151467"/>
                    <a:pt x="63464" y="151467"/>
                  </a:cubicBezTo>
                  <a:lnTo>
                    <a:pt x="62618" y="153159"/>
                  </a:lnTo>
                  <a:lnTo>
                    <a:pt x="62618" y="153441"/>
                  </a:lnTo>
                  <a:cubicBezTo>
                    <a:pt x="62900" y="153723"/>
                    <a:pt x="62900" y="154006"/>
                    <a:pt x="62900" y="154570"/>
                  </a:cubicBezTo>
                  <a:cubicBezTo>
                    <a:pt x="62618" y="154852"/>
                    <a:pt x="62618" y="155134"/>
                    <a:pt x="62618" y="155416"/>
                  </a:cubicBezTo>
                  <a:lnTo>
                    <a:pt x="62618" y="156544"/>
                  </a:lnTo>
                  <a:cubicBezTo>
                    <a:pt x="62618" y="156826"/>
                    <a:pt x="62900" y="156826"/>
                    <a:pt x="62900" y="157108"/>
                  </a:cubicBezTo>
                  <a:cubicBezTo>
                    <a:pt x="63182" y="157108"/>
                    <a:pt x="63182" y="157108"/>
                    <a:pt x="63182" y="157390"/>
                  </a:cubicBezTo>
                  <a:cubicBezTo>
                    <a:pt x="63182" y="157672"/>
                    <a:pt x="62900" y="157954"/>
                    <a:pt x="62618" y="157954"/>
                  </a:cubicBezTo>
                  <a:cubicBezTo>
                    <a:pt x="62618" y="158236"/>
                    <a:pt x="62618" y="159083"/>
                    <a:pt x="62336" y="159647"/>
                  </a:cubicBezTo>
                  <a:cubicBezTo>
                    <a:pt x="62054" y="159929"/>
                    <a:pt x="62054" y="160211"/>
                    <a:pt x="62054" y="160211"/>
                  </a:cubicBezTo>
                  <a:cubicBezTo>
                    <a:pt x="62054" y="160493"/>
                    <a:pt x="62054" y="160775"/>
                    <a:pt x="62336" y="160775"/>
                  </a:cubicBezTo>
                  <a:lnTo>
                    <a:pt x="62336" y="161621"/>
                  </a:lnTo>
                  <a:cubicBezTo>
                    <a:pt x="62336" y="161903"/>
                    <a:pt x="62054" y="162185"/>
                    <a:pt x="61208" y="162467"/>
                  </a:cubicBezTo>
                  <a:cubicBezTo>
                    <a:pt x="60925" y="162749"/>
                    <a:pt x="60644" y="162749"/>
                    <a:pt x="60644" y="162749"/>
                  </a:cubicBezTo>
                  <a:cubicBezTo>
                    <a:pt x="60644" y="163314"/>
                    <a:pt x="60644" y="163596"/>
                    <a:pt x="60925" y="163596"/>
                  </a:cubicBezTo>
                  <a:cubicBezTo>
                    <a:pt x="61772" y="163596"/>
                    <a:pt x="61772" y="163878"/>
                    <a:pt x="62054" y="164724"/>
                  </a:cubicBezTo>
                  <a:cubicBezTo>
                    <a:pt x="62054" y="165006"/>
                    <a:pt x="61772" y="165006"/>
                    <a:pt x="61772" y="165288"/>
                  </a:cubicBezTo>
                  <a:lnTo>
                    <a:pt x="62054" y="165570"/>
                  </a:lnTo>
                  <a:lnTo>
                    <a:pt x="62054" y="166698"/>
                  </a:lnTo>
                  <a:cubicBezTo>
                    <a:pt x="62054" y="166980"/>
                    <a:pt x="61772" y="167544"/>
                    <a:pt x="61208" y="167827"/>
                  </a:cubicBezTo>
                  <a:lnTo>
                    <a:pt x="61208" y="169519"/>
                  </a:lnTo>
                  <a:cubicBezTo>
                    <a:pt x="60925" y="169801"/>
                    <a:pt x="60925" y="170083"/>
                    <a:pt x="60925" y="170365"/>
                  </a:cubicBezTo>
                  <a:cubicBezTo>
                    <a:pt x="60925" y="170647"/>
                    <a:pt x="60925" y="170647"/>
                    <a:pt x="60644" y="170929"/>
                  </a:cubicBezTo>
                  <a:cubicBezTo>
                    <a:pt x="60644" y="171211"/>
                    <a:pt x="60644" y="171493"/>
                    <a:pt x="60925" y="171493"/>
                  </a:cubicBezTo>
                  <a:lnTo>
                    <a:pt x="62054" y="171493"/>
                  </a:lnTo>
                  <a:cubicBezTo>
                    <a:pt x="62336" y="171493"/>
                    <a:pt x="62618" y="171211"/>
                    <a:pt x="62618" y="170929"/>
                  </a:cubicBezTo>
                  <a:lnTo>
                    <a:pt x="62900" y="170929"/>
                  </a:lnTo>
                  <a:cubicBezTo>
                    <a:pt x="62900" y="170929"/>
                    <a:pt x="63182" y="170929"/>
                    <a:pt x="63182" y="171211"/>
                  </a:cubicBezTo>
                  <a:cubicBezTo>
                    <a:pt x="63182" y="171493"/>
                    <a:pt x="63182" y="171775"/>
                    <a:pt x="63464" y="172340"/>
                  </a:cubicBezTo>
                  <a:cubicBezTo>
                    <a:pt x="63464" y="172340"/>
                    <a:pt x="63464" y="172622"/>
                    <a:pt x="63746" y="172622"/>
                  </a:cubicBezTo>
                  <a:cubicBezTo>
                    <a:pt x="64028" y="172904"/>
                    <a:pt x="64028" y="173186"/>
                    <a:pt x="64028" y="173186"/>
                  </a:cubicBezTo>
                  <a:cubicBezTo>
                    <a:pt x="64028" y="173468"/>
                    <a:pt x="63746" y="173468"/>
                    <a:pt x="63182" y="174032"/>
                  </a:cubicBezTo>
                  <a:cubicBezTo>
                    <a:pt x="62900" y="174314"/>
                    <a:pt x="62900" y="174314"/>
                    <a:pt x="62618" y="174314"/>
                  </a:cubicBezTo>
                  <a:cubicBezTo>
                    <a:pt x="62336" y="174032"/>
                    <a:pt x="62054" y="173186"/>
                    <a:pt x="61489" y="172904"/>
                  </a:cubicBezTo>
                  <a:lnTo>
                    <a:pt x="61208" y="172622"/>
                  </a:lnTo>
                  <a:cubicBezTo>
                    <a:pt x="61208" y="172622"/>
                    <a:pt x="61208" y="172904"/>
                    <a:pt x="60925" y="173186"/>
                  </a:cubicBezTo>
                  <a:cubicBezTo>
                    <a:pt x="60644" y="173750"/>
                    <a:pt x="60079" y="174314"/>
                    <a:pt x="60079" y="174878"/>
                  </a:cubicBezTo>
                  <a:lnTo>
                    <a:pt x="60079" y="175160"/>
                  </a:lnTo>
                  <a:cubicBezTo>
                    <a:pt x="60079" y="176006"/>
                    <a:pt x="60079" y="177135"/>
                    <a:pt x="59797" y="178263"/>
                  </a:cubicBezTo>
                  <a:lnTo>
                    <a:pt x="59797" y="179391"/>
                  </a:lnTo>
                  <a:cubicBezTo>
                    <a:pt x="59515" y="179673"/>
                    <a:pt x="59515" y="179955"/>
                    <a:pt x="59515" y="180237"/>
                  </a:cubicBezTo>
                  <a:lnTo>
                    <a:pt x="59515" y="181365"/>
                  </a:lnTo>
                  <a:cubicBezTo>
                    <a:pt x="59797" y="181648"/>
                    <a:pt x="59797" y="181648"/>
                    <a:pt x="59797" y="181930"/>
                  </a:cubicBezTo>
                  <a:lnTo>
                    <a:pt x="59797" y="183058"/>
                  </a:lnTo>
                  <a:cubicBezTo>
                    <a:pt x="59797" y="183058"/>
                    <a:pt x="59797" y="183622"/>
                    <a:pt x="59233" y="183904"/>
                  </a:cubicBezTo>
                  <a:lnTo>
                    <a:pt x="59233" y="184750"/>
                  </a:lnTo>
                  <a:cubicBezTo>
                    <a:pt x="59233" y="185314"/>
                    <a:pt x="59515" y="185878"/>
                    <a:pt x="59515" y="186443"/>
                  </a:cubicBezTo>
                  <a:cubicBezTo>
                    <a:pt x="59515" y="187007"/>
                    <a:pt x="59233" y="187289"/>
                    <a:pt x="59233" y="187853"/>
                  </a:cubicBezTo>
                  <a:lnTo>
                    <a:pt x="59233" y="188135"/>
                  </a:lnTo>
                  <a:cubicBezTo>
                    <a:pt x="59233" y="188417"/>
                    <a:pt x="59233" y="188417"/>
                    <a:pt x="59515" y="188417"/>
                  </a:cubicBezTo>
                  <a:lnTo>
                    <a:pt x="59797" y="188417"/>
                  </a:lnTo>
                  <a:lnTo>
                    <a:pt x="60079" y="188981"/>
                  </a:lnTo>
                  <a:cubicBezTo>
                    <a:pt x="59515" y="189263"/>
                    <a:pt x="59797" y="189545"/>
                    <a:pt x="59515" y="189827"/>
                  </a:cubicBezTo>
                  <a:lnTo>
                    <a:pt x="59515" y="192084"/>
                  </a:lnTo>
                  <a:cubicBezTo>
                    <a:pt x="59515" y="192366"/>
                    <a:pt x="59515" y="192366"/>
                    <a:pt x="59797" y="192366"/>
                  </a:cubicBezTo>
                  <a:lnTo>
                    <a:pt x="60079" y="192366"/>
                  </a:lnTo>
                  <a:cubicBezTo>
                    <a:pt x="60079" y="191802"/>
                    <a:pt x="60644" y="191238"/>
                    <a:pt x="60644" y="190956"/>
                  </a:cubicBezTo>
                  <a:lnTo>
                    <a:pt x="60925" y="190673"/>
                  </a:lnTo>
                  <a:cubicBezTo>
                    <a:pt x="60925" y="190673"/>
                    <a:pt x="60925" y="190956"/>
                    <a:pt x="61208" y="190956"/>
                  </a:cubicBezTo>
                  <a:cubicBezTo>
                    <a:pt x="62054" y="191238"/>
                    <a:pt x="62054" y="191238"/>
                    <a:pt x="62054" y="192084"/>
                  </a:cubicBezTo>
                  <a:cubicBezTo>
                    <a:pt x="61489" y="192084"/>
                    <a:pt x="61489" y="192366"/>
                    <a:pt x="61489" y="192648"/>
                  </a:cubicBezTo>
                  <a:cubicBezTo>
                    <a:pt x="61489" y="192648"/>
                    <a:pt x="62054" y="192648"/>
                    <a:pt x="62054" y="192930"/>
                  </a:cubicBezTo>
                  <a:cubicBezTo>
                    <a:pt x="61772" y="194058"/>
                    <a:pt x="61772" y="194904"/>
                    <a:pt x="61772" y="195751"/>
                  </a:cubicBezTo>
                  <a:lnTo>
                    <a:pt x="61208" y="195751"/>
                  </a:lnTo>
                  <a:cubicBezTo>
                    <a:pt x="60925" y="195751"/>
                    <a:pt x="60925" y="195469"/>
                    <a:pt x="60644" y="195186"/>
                  </a:cubicBezTo>
                  <a:cubicBezTo>
                    <a:pt x="60079" y="194622"/>
                    <a:pt x="60079" y="194340"/>
                    <a:pt x="60079" y="194058"/>
                  </a:cubicBezTo>
                  <a:cubicBezTo>
                    <a:pt x="60079" y="194058"/>
                    <a:pt x="60079" y="193776"/>
                    <a:pt x="60644" y="193212"/>
                  </a:cubicBezTo>
                  <a:lnTo>
                    <a:pt x="60925" y="192930"/>
                  </a:lnTo>
                  <a:lnTo>
                    <a:pt x="60644" y="192930"/>
                  </a:lnTo>
                  <a:cubicBezTo>
                    <a:pt x="60644" y="192648"/>
                    <a:pt x="60079" y="192648"/>
                    <a:pt x="60079" y="192648"/>
                  </a:cubicBezTo>
                  <a:cubicBezTo>
                    <a:pt x="59797" y="192930"/>
                    <a:pt x="59515" y="193212"/>
                    <a:pt x="59233" y="194058"/>
                  </a:cubicBezTo>
                  <a:lnTo>
                    <a:pt x="59233" y="194904"/>
                  </a:lnTo>
                  <a:cubicBezTo>
                    <a:pt x="59233" y="195186"/>
                    <a:pt x="58951" y="195469"/>
                    <a:pt x="58387" y="195751"/>
                  </a:cubicBezTo>
                  <a:cubicBezTo>
                    <a:pt x="58105" y="195751"/>
                    <a:pt x="58387" y="196033"/>
                    <a:pt x="58951" y="196315"/>
                  </a:cubicBezTo>
                  <a:lnTo>
                    <a:pt x="59515" y="196879"/>
                  </a:lnTo>
                  <a:cubicBezTo>
                    <a:pt x="58669" y="197161"/>
                    <a:pt x="58669" y="197161"/>
                    <a:pt x="58669" y="197443"/>
                  </a:cubicBezTo>
                  <a:lnTo>
                    <a:pt x="58669" y="198007"/>
                  </a:lnTo>
                  <a:cubicBezTo>
                    <a:pt x="58669" y="198289"/>
                    <a:pt x="59515" y="198571"/>
                    <a:pt x="60079" y="198571"/>
                  </a:cubicBezTo>
                  <a:lnTo>
                    <a:pt x="60925" y="198571"/>
                  </a:lnTo>
                  <a:cubicBezTo>
                    <a:pt x="61772" y="198571"/>
                    <a:pt x="62054" y="198571"/>
                    <a:pt x="62054" y="198853"/>
                  </a:cubicBezTo>
                  <a:cubicBezTo>
                    <a:pt x="62054" y="199135"/>
                    <a:pt x="61772" y="199417"/>
                    <a:pt x="61772" y="199982"/>
                  </a:cubicBezTo>
                  <a:cubicBezTo>
                    <a:pt x="61772" y="201392"/>
                    <a:pt x="61772" y="203084"/>
                    <a:pt x="62054" y="204777"/>
                  </a:cubicBezTo>
                  <a:lnTo>
                    <a:pt x="62054" y="205905"/>
                  </a:lnTo>
                  <a:cubicBezTo>
                    <a:pt x="61489" y="205905"/>
                    <a:pt x="61489" y="206187"/>
                    <a:pt x="61489" y="206187"/>
                  </a:cubicBezTo>
                  <a:cubicBezTo>
                    <a:pt x="61772" y="206469"/>
                    <a:pt x="61772" y="206469"/>
                    <a:pt x="61772" y="207033"/>
                  </a:cubicBezTo>
                  <a:cubicBezTo>
                    <a:pt x="62054" y="207879"/>
                    <a:pt x="62054" y="208725"/>
                    <a:pt x="62054" y="209290"/>
                  </a:cubicBezTo>
                  <a:cubicBezTo>
                    <a:pt x="62054" y="209290"/>
                    <a:pt x="61772" y="209572"/>
                    <a:pt x="61772" y="209854"/>
                  </a:cubicBezTo>
                  <a:cubicBezTo>
                    <a:pt x="61772" y="210136"/>
                    <a:pt x="61772" y="210418"/>
                    <a:pt x="61208" y="210700"/>
                  </a:cubicBezTo>
                  <a:lnTo>
                    <a:pt x="61208" y="212392"/>
                  </a:lnTo>
                  <a:cubicBezTo>
                    <a:pt x="61489" y="212674"/>
                    <a:pt x="61772" y="212674"/>
                    <a:pt x="61772" y="212674"/>
                  </a:cubicBezTo>
                  <a:lnTo>
                    <a:pt x="61489" y="212956"/>
                  </a:lnTo>
                  <a:cubicBezTo>
                    <a:pt x="61489" y="213238"/>
                    <a:pt x="61489" y="213520"/>
                    <a:pt x="62054" y="213803"/>
                  </a:cubicBezTo>
                  <a:lnTo>
                    <a:pt x="62054" y="214085"/>
                  </a:lnTo>
                  <a:cubicBezTo>
                    <a:pt x="61489" y="214367"/>
                    <a:pt x="61489" y="214367"/>
                    <a:pt x="61489" y="214649"/>
                  </a:cubicBezTo>
                  <a:cubicBezTo>
                    <a:pt x="61772" y="214931"/>
                    <a:pt x="61772" y="215213"/>
                    <a:pt x="61772" y="215213"/>
                  </a:cubicBezTo>
                  <a:cubicBezTo>
                    <a:pt x="61772" y="215495"/>
                    <a:pt x="61772" y="215495"/>
                    <a:pt x="61489" y="215495"/>
                  </a:cubicBezTo>
                  <a:lnTo>
                    <a:pt x="61208" y="215777"/>
                  </a:lnTo>
                  <a:lnTo>
                    <a:pt x="60925" y="215495"/>
                  </a:lnTo>
                  <a:lnTo>
                    <a:pt x="60925" y="214649"/>
                  </a:lnTo>
                  <a:cubicBezTo>
                    <a:pt x="60925" y="214367"/>
                    <a:pt x="60644" y="214085"/>
                    <a:pt x="60079" y="214085"/>
                  </a:cubicBezTo>
                  <a:cubicBezTo>
                    <a:pt x="60079" y="214085"/>
                    <a:pt x="59797" y="214367"/>
                    <a:pt x="59797" y="214649"/>
                  </a:cubicBezTo>
                  <a:cubicBezTo>
                    <a:pt x="59797" y="215495"/>
                    <a:pt x="59515" y="216623"/>
                    <a:pt x="59515" y="217751"/>
                  </a:cubicBezTo>
                  <a:cubicBezTo>
                    <a:pt x="59515" y="218033"/>
                    <a:pt x="59797" y="218033"/>
                    <a:pt x="60361" y="218033"/>
                  </a:cubicBezTo>
                  <a:cubicBezTo>
                    <a:pt x="60644" y="218033"/>
                    <a:pt x="60644" y="217469"/>
                    <a:pt x="60925" y="217469"/>
                  </a:cubicBezTo>
                  <a:cubicBezTo>
                    <a:pt x="61208" y="217469"/>
                    <a:pt x="61772" y="217751"/>
                    <a:pt x="61772" y="217751"/>
                  </a:cubicBezTo>
                  <a:cubicBezTo>
                    <a:pt x="61772" y="218033"/>
                    <a:pt x="62054" y="218598"/>
                    <a:pt x="62054" y="218598"/>
                  </a:cubicBezTo>
                  <a:lnTo>
                    <a:pt x="62054" y="219726"/>
                  </a:lnTo>
                  <a:lnTo>
                    <a:pt x="62618" y="220854"/>
                  </a:lnTo>
                  <a:lnTo>
                    <a:pt x="62618" y="221982"/>
                  </a:lnTo>
                  <a:cubicBezTo>
                    <a:pt x="62618" y="222264"/>
                    <a:pt x="62336" y="222546"/>
                    <a:pt x="62336" y="222828"/>
                  </a:cubicBezTo>
                  <a:cubicBezTo>
                    <a:pt x="62336" y="223111"/>
                    <a:pt x="62618" y="223675"/>
                    <a:pt x="62900" y="223957"/>
                  </a:cubicBezTo>
                  <a:lnTo>
                    <a:pt x="62900" y="224803"/>
                  </a:lnTo>
                  <a:cubicBezTo>
                    <a:pt x="62900" y="225085"/>
                    <a:pt x="62900" y="225367"/>
                    <a:pt x="63182" y="225367"/>
                  </a:cubicBezTo>
                  <a:cubicBezTo>
                    <a:pt x="63464" y="225367"/>
                    <a:pt x="63182" y="225649"/>
                    <a:pt x="63182" y="225649"/>
                  </a:cubicBezTo>
                  <a:lnTo>
                    <a:pt x="63182" y="227624"/>
                  </a:lnTo>
                  <a:cubicBezTo>
                    <a:pt x="63182" y="227906"/>
                    <a:pt x="63182" y="228470"/>
                    <a:pt x="64028" y="229034"/>
                  </a:cubicBezTo>
                  <a:lnTo>
                    <a:pt x="64028" y="229880"/>
                  </a:lnTo>
                  <a:cubicBezTo>
                    <a:pt x="64028" y="230162"/>
                    <a:pt x="64310" y="230444"/>
                    <a:pt x="64874" y="230726"/>
                  </a:cubicBezTo>
                  <a:cubicBezTo>
                    <a:pt x="64874" y="231008"/>
                    <a:pt x="64592" y="231290"/>
                    <a:pt x="64874" y="231290"/>
                  </a:cubicBezTo>
                  <a:cubicBezTo>
                    <a:pt x="65438" y="231290"/>
                    <a:pt x="65438" y="231290"/>
                    <a:pt x="66566" y="231008"/>
                  </a:cubicBezTo>
                  <a:cubicBezTo>
                    <a:pt x="66849" y="230726"/>
                    <a:pt x="67413" y="230162"/>
                    <a:pt x="68259" y="230162"/>
                  </a:cubicBezTo>
                  <a:lnTo>
                    <a:pt x="69669" y="229034"/>
                  </a:lnTo>
                  <a:cubicBezTo>
                    <a:pt x="69951" y="228752"/>
                    <a:pt x="69951" y="227906"/>
                    <a:pt x="70516" y="227624"/>
                  </a:cubicBezTo>
                  <a:lnTo>
                    <a:pt x="70516" y="227341"/>
                  </a:lnTo>
                  <a:cubicBezTo>
                    <a:pt x="71644" y="226777"/>
                    <a:pt x="71926" y="225649"/>
                    <a:pt x="72490" y="225367"/>
                  </a:cubicBezTo>
                  <a:cubicBezTo>
                    <a:pt x="73054" y="225085"/>
                    <a:pt x="73054" y="224803"/>
                    <a:pt x="73618" y="224239"/>
                  </a:cubicBezTo>
                  <a:lnTo>
                    <a:pt x="73618" y="223393"/>
                  </a:lnTo>
                  <a:cubicBezTo>
                    <a:pt x="73618" y="223111"/>
                    <a:pt x="73618" y="223111"/>
                    <a:pt x="73900" y="222828"/>
                  </a:cubicBezTo>
                  <a:lnTo>
                    <a:pt x="74464" y="222264"/>
                  </a:lnTo>
                  <a:cubicBezTo>
                    <a:pt x="74464" y="221982"/>
                    <a:pt x="74747" y="221700"/>
                    <a:pt x="74747" y="221136"/>
                  </a:cubicBezTo>
                  <a:lnTo>
                    <a:pt x="75875" y="220290"/>
                  </a:lnTo>
                  <a:cubicBezTo>
                    <a:pt x="75875" y="219726"/>
                    <a:pt x="75875" y="219162"/>
                    <a:pt x="76721" y="218880"/>
                  </a:cubicBezTo>
                  <a:lnTo>
                    <a:pt x="76721" y="218315"/>
                  </a:lnTo>
                  <a:cubicBezTo>
                    <a:pt x="76721" y="217751"/>
                    <a:pt x="77003" y="217187"/>
                    <a:pt x="77285" y="216623"/>
                  </a:cubicBezTo>
                  <a:lnTo>
                    <a:pt x="79259" y="214931"/>
                  </a:lnTo>
                  <a:cubicBezTo>
                    <a:pt x="79542" y="214367"/>
                    <a:pt x="79542" y="213803"/>
                    <a:pt x="79823" y="213520"/>
                  </a:cubicBezTo>
                  <a:cubicBezTo>
                    <a:pt x="80106" y="212956"/>
                    <a:pt x="80388" y="212674"/>
                    <a:pt x="80388" y="212392"/>
                  </a:cubicBezTo>
                  <a:lnTo>
                    <a:pt x="80106" y="212110"/>
                  </a:lnTo>
                  <a:cubicBezTo>
                    <a:pt x="80106" y="211828"/>
                    <a:pt x="80106" y="211264"/>
                    <a:pt x="80670" y="210982"/>
                  </a:cubicBezTo>
                  <a:lnTo>
                    <a:pt x="81516" y="209290"/>
                  </a:lnTo>
                  <a:cubicBezTo>
                    <a:pt x="82080" y="209007"/>
                    <a:pt x="82080" y="207879"/>
                    <a:pt x="82926" y="207033"/>
                  </a:cubicBezTo>
                  <a:lnTo>
                    <a:pt x="82926" y="206751"/>
                  </a:lnTo>
                  <a:cubicBezTo>
                    <a:pt x="82926" y="206469"/>
                    <a:pt x="83490" y="206469"/>
                    <a:pt x="83772" y="206187"/>
                  </a:cubicBezTo>
                  <a:lnTo>
                    <a:pt x="83490" y="206187"/>
                  </a:lnTo>
                  <a:cubicBezTo>
                    <a:pt x="84054" y="205905"/>
                    <a:pt x="84336" y="205341"/>
                    <a:pt x="84336" y="204495"/>
                  </a:cubicBezTo>
                  <a:cubicBezTo>
                    <a:pt x="84336" y="203930"/>
                    <a:pt x="84619" y="203366"/>
                    <a:pt x="84619" y="203366"/>
                  </a:cubicBezTo>
                  <a:cubicBezTo>
                    <a:pt x="84619" y="203084"/>
                    <a:pt x="85747" y="202802"/>
                    <a:pt x="85747" y="202238"/>
                  </a:cubicBezTo>
                  <a:cubicBezTo>
                    <a:pt x="85747" y="201956"/>
                    <a:pt x="85464" y="201674"/>
                    <a:pt x="85464" y="201392"/>
                  </a:cubicBezTo>
                  <a:cubicBezTo>
                    <a:pt x="85464" y="201110"/>
                    <a:pt x="85464" y="201110"/>
                    <a:pt x="85747" y="200828"/>
                  </a:cubicBezTo>
                  <a:cubicBezTo>
                    <a:pt x="86593" y="200264"/>
                    <a:pt x="86593" y="200264"/>
                    <a:pt x="86593" y="199982"/>
                  </a:cubicBezTo>
                  <a:cubicBezTo>
                    <a:pt x="86875" y="199417"/>
                    <a:pt x="87157" y="198853"/>
                    <a:pt x="87157" y="198571"/>
                  </a:cubicBezTo>
                  <a:cubicBezTo>
                    <a:pt x="87439" y="198007"/>
                    <a:pt x="88285" y="197161"/>
                    <a:pt x="88567" y="196879"/>
                  </a:cubicBezTo>
                  <a:cubicBezTo>
                    <a:pt x="88567" y="195469"/>
                    <a:pt x="89131" y="194340"/>
                    <a:pt x="89978" y="194058"/>
                  </a:cubicBezTo>
                  <a:cubicBezTo>
                    <a:pt x="89978" y="193494"/>
                    <a:pt x="90542" y="193212"/>
                    <a:pt x="90542" y="193212"/>
                  </a:cubicBezTo>
                  <a:cubicBezTo>
                    <a:pt x="90824" y="192648"/>
                    <a:pt x="91388" y="191802"/>
                    <a:pt x="91388" y="190956"/>
                  </a:cubicBezTo>
                  <a:cubicBezTo>
                    <a:pt x="91670" y="190956"/>
                    <a:pt x="92516" y="189545"/>
                    <a:pt x="92516" y="189263"/>
                  </a:cubicBezTo>
                  <a:lnTo>
                    <a:pt x="92234" y="188981"/>
                  </a:lnTo>
                  <a:cubicBezTo>
                    <a:pt x="92234" y="188699"/>
                    <a:pt x="92798" y="188135"/>
                    <a:pt x="92798" y="187853"/>
                  </a:cubicBezTo>
                  <a:cubicBezTo>
                    <a:pt x="92798" y="187007"/>
                    <a:pt x="93926" y="186725"/>
                    <a:pt x="94209" y="185878"/>
                  </a:cubicBezTo>
                  <a:cubicBezTo>
                    <a:pt x="93926" y="185596"/>
                    <a:pt x="93926" y="185314"/>
                    <a:pt x="93926" y="185314"/>
                  </a:cubicBezTo>
                  <a:cubicBezTo>
                    <a:pt x="93926" y="184750"/>
                    <a:pt x="94209" y="184750"/>
                    <a:pt x="94209" y="184468"/>
                  </a:cubicBezTo>
                  <a:cubicBezTo>
                    <a:pt x="95337" y="184186"/>
                    <a:pt x="94773" y="183340"/>
                    <a:pt x="95619" y="183058"/>
                  </a:cubicBezTo>
                  <a:cubicBezTo>
                    <a:pt x="95619" y="182494"/>
                    <a:pt x="95901" y="181930"/>
                    <a:pt x="96183" y="181648"/>
                  </a:cubicBezTo>
                  <a:cubicBezTo>
                    <a:pt x="96183" y="181365"/>
                    <a:pt x="96465" y="180801"/>
                    <a:pt x="96465" y="180519"/>
                  </a:cubicBezTo>
                  <a:lnTo>
                    <a:pt x="96183" y="180237"/>
                  </a:lnTo>
                  <a:cubicBezTo>
                    <a:pt x="96183" y="180237"/>
                    <a:pt x="96465" y="179391"/>
                    <a:pt x="96747" y="179391"/>
                  </a:cubicBezTo>
                  <a:lnTo>
                    <a:pt x="97876" y="178263"/>
                  </a:lnTo>
                  <a:cubicBezTo>
                    <a:pt x="98157" y="177981"/>
                    <a:pt x="98157" y="177699"/>
                    <a:pt x="98157" y="177417"/>
                  </a:cubicBezTo>
                  <a:lnTo>
                    <a:pt x="98722" y="176288"/>
                  </a:lnTo>
                  <a:cubicBezTo>
                    <a:pt x="98722" y="175724"/>
                    <a:pt x="99850" y="175724"/>
                    <a:pt x="99850" y="175160"/>
                  </a:cubicBezTo>
                  <a:cubicBezTo>
                    <a:pt x="99568" y="174878"/>
                    <a:pt x="99568" y="174596"/>
                    <a:pt x="99568" y="174314"/>
                  </a:cubicBezTo>
                  <a:cubicBezTo>
                    <a:pt x="99568" y="174032"/>
                    <a:pt x="99568" y="173750"/>
                    <a:pt x="99850" y="173186"/>
                  </a:cubicBezTo>
                  <a:cubicBezTo>
                    <a:pt x="99850" y="173186"/>
                    <a:pt x="100414" y="172904"/>
                    <a:pt x="100414" y="172622"/>
                  </a:cubicBezTo>
                  <a:lnTo>
                    <a:pt x="100414" y="172340"/>
                  </a:lnTo>
                  <a:cubicBezTo>
                    <a:pt x="100414" y="172057"/>
                    <a:pt x="100414" y="172057"/>
                    <a:pt x="100978" y="171775"/>
                  </a:cubicBezTo>
                  <a:cubicBezTo>
                    <a:pt x="101260" y="171775"/>
                    <a:pt x="101260" y="171493"/>
                    <a:pt x="101260" y="171211"/>
                  </a:cubicBezTo>
                  <a:cubicBezTo>
                    <a:pt x="101260" y="170929"/>
                    <a:pt x="101542" y="170647"/>
                    <a:pt x="101824" y="170365"/>
                  </a:cubicBezTo>
                  <a:lnTo>
                    <a:pt x="101824" y="169801"/>
                  </a:lnTo>
                  <a:cubicBezTo>
                    <a:pt x="101824" y="169519"/>
                    <a:pt x="101824" y="169519"/>
                    <a:pt x="102106" y="169519"/>
                  </a:cubicBezTo>
                  <a:cubicBezTo>
                    <a:pt x="102106" y="168391"/>
                    <a:pt x="102670" y="167262"/>
                    <a:pt x="103517" y="166416"/>
                  </a:cubicBezTo>
                  <a:cubicBezTo>
                    <a:pt x="103517" y="165852"/>
                    <a:pt x="103798" y="165288"/>
                    <a:pt x="103798" y="165006"/>
                  </a:cubicBezTo>
                  <a:cubicBezTo>
                    <a:pt x="103798" y="164724"/>
                    <a:pt x="104645" y="164160"/>
                    <a:pt x="104645" y="163596"/>
                  </a:cubicBezTo>
                  <a:cubicBezTo>
                    <a:pt x="104645" y="163314"/>
                    <a:pt x="104927" y="162749"/>
                    <a:pt x="105491" y="162467"/>
                  </a:cubicBezTo>
                  <a:cubicBezTo>
                    <a:pt x="106055" y="161903"/>
                    <a:pt x="106619" y="161057"/>
                    <a:pt x="106619" y="160211"/>
                  </a:cubicBezTo>
                  <a:lnTo>
                    <a:pt x="106619" y="159083"/>
                  </a:lnTo>
                  <a:cubicBezTo>
                    <a:pt x="106337" y="158801"/>
                    <a:pt x="106901" y="158801"/>
                    <a:pt x="106901" y="158801"/>
                  </a:cubicBezTo>
                  <a:lnTo>
                    <a:pt x="107748" y="157108"/>
                  </a:lnTo>
                  <a:cubicBezTo>
                    <a:pt x="107748" y="156826"/>
                    <a:pt x="108594" y="156544"/>
                    <a:pt x="108312" y="156262"/>
                  </a:cubicBezTo>
                  <a:lnTo>
                    <a:pt x="107748" y="155980"/>
                  </a:lnTo>
                  <a:cubicBezTo>
                    <a:pt x="107748" y="155698"/>
                    <a:pt x="108594" y="155416"/>
                    <a:pt x="108594" y="155134"/>
                  </a:cubicBezTo>
                  <a:cubicBezTo>
                    <a:pt x="108594" y="154852"/>
                    <a:pt x="109440" y="154288"/>
                    <a:pt x="109440" y="154006"/>
                  </a:cubicBezTo>
                  <a:lnTo>
                    <a:pt x="109158" y="154006"/>
                  </a:lnTo>
                  <a:lnTo>
                    <a:pt x="109158" y="153723"/>
                  </a:lnTo>
                  <a:cubicBezTo>
                    <a:pt x="109158" y="153441"/>
                    <a:pt x="109722" y="153441"/>
                    <a:pt x="109722" y="153159"/>
                  </a:cubicBezTo>
                  <a:cubicBezTo>
                    <a:pt x="109722" y="153159"/>
                    <a:pt x="109722" y="152877"/>
                    <a:pt x="109440" y="152595"/>
                  </a:cubicBezTo>
                  <a:cubicBezTo>
                    <a:pt x="109440" y="152313"/>
                    <a:pt x="110286" y="151749"/>
                    <a:pt x="110004" y="151467"/>
                  </a:cubicBezTo>
                  <a:cubicBezTo>
                    <a:pt x="110286" y="150903"/>
                    <a:pt x="110568" y="150621"/>
                    <a:pt x="110850" y="150621"/>
                  </a:cubicBezTo>
                  <a:cubicBezTo>
                    <a:pt x="111415" y="150057"/>
                    <a:pt x="110850" y="149210"/>
                    <a:pt x="112260" y="148646"/>
                  </a:cubicBezTo>
                  <a:cubicBezTo>
                    <a:pt x="122132" y="135389"/>
                    <a:pt x="125799" y="130594"/>
                    <a:pt x="126363" y="130594"/>
                  </a:cubicBezTo>
                  <a:cubicBezTo>
                    <a:pt x="127210" y="130594"/>
                    <a:pt x="118748" y="144415"/>
                    <a:pt x="118466" y="148364"/>
                  </a:cubicBezTo>
                  <a:lnTo>
                    <a:pt x="118748" y="148364"/>
                  </a:lnTo>
                  <a:lnTo>
                    <a:pt x="118748" y="148646"/>
                  </a:lnTo>
                  <a:cubicBezTo>
                    <a:pt x="118748" y="149210"/>
                    <a:pt x="118748" y="149210"/>
                    <a:pt x="118466" y="149493"/>
                  </a:cubicBezTo>
                  <a:lnTo>
                    <a:pt x="119030" y="149493"/>
                  </a:lnTo>
                  <a:cubicBezTo>
                    <a:pt x="119312" y="149493"/>
                    <a:pt x="119594" y="149493"/>
                    <a:pt x="120440" y="148928"/>
                  </a:cubicBezTo>
                  <a:lnTo>
                    <a:pt x="120440" y="149493"/>
                  </a:lnTo>
                  <a:cubicBezTo>
                    <a:pt x="120440" y="150339"/>
                    <a:pt x="119876" y="150903"/>
                    <a:pt x="119594" y="151467"/>
                  </a:cubicBezTo>
                  <a:lnTo>
                    <a:pt x="119594" y="151749"/>
                  </a:lnTo>
                  <a:cubicBezTo>
                    <a:pt x="119312" y="152313"/>
                    <a:pt x="119312" y="152313"/>
                    <a:pt x="118466" y="152595"/>
                  </a:cubicBezTo>
                  <a:cubicBezTo>
                    <a:pt x="118184" y="152877"/>
                    <a:pt x="118184" y="153159"/>
                    <a:pt x="118184" y="153441"/>
                  </a:cubicBezTo>
                  <a:lnTo>
                    <a:pt x="118184" y="154006"/>
                  </a:lnTo>
                  <a:cubicBezTo>
                    <a:pt x="118184" y="154006"/>
                    <a:pt x="118184" y="154288"/>
                    <a:pt x="117902" y="154570"/>
                  </a:cubicBezTo>
                  <a:cubicBezTo>
                    <a:pt x="117338" y="154852"/>
                    <a:pt x="117338" y="155134"/>
                    <a:pt x="117338" y="155416"/>
                  </a:cubicBezTo>
                  <a:cubicBezTo>
                    <a:pt x="117338" y="155698"/>
                    <a:pt x="117338" y="155980"/>
                    <a:pt x="117902" y="156262"/>
                  </a:cubicBezTo>
                  <a:lnTo>
                    <a:pt x="118184" y="156544"/>
                  </a:lnTo>
                  <a:cubicBezTo>
                    <a:pt x="118184" y="156544"/>
                    <a:pt x="117902" y="156544"/>
                    <a:pt x="117620" y="156826"/>
                  </a:cubicBezTo>
                  <a:cubicBezTo>
                    <a:pt x="117620" y="156826"/>
                    <a:pt x="117338" y="157108"/>
                    <a:pt x="117056" y="157108"/>
                  </a:cubicBezTo>
                  <a:cubicBezTo>
                    <a:pt x="116491" y="157672"/>
                    <a:pt x="115927" y="158236"/>
                    <a:pt x="114799" y="158236"/>
                  </a:cubicBezTo>
                  <a:lnTo>
                    <a:pt x="114799" y="158801"/>
                  </a:lnTo>
                  <a:cubicBezTo>
                    <a:pt x="115081" y="159083"/>
                    <a:pt x="115081" y="159365"/>
                    <a:pt x="115927" y="159365"/>
                  </a:cubicBezTo>
                  <a:cubicBezTo>
                    <a:pt x="115081" y="159647"/>
                    <a:pt x="115081" y="159929"/>
                    <a:pt x="114517" y="159929"/>
                  </a:cubicBezTo>
                  <a:cubicBezTo>
                    <a:pt x="113953" y="159929"/>
                    <a:pt x="113389" y="159929"/>
                    <a:pt x="113389" y="160493"/>
                  </a:cubicBezTo>
                  <a:cubicBezTo>
                    <a:pt x="113107" y="160493"/>
                    <a:pt x="113107" y="160775"/>
                    <a:pt x="113107" y="161057"/>
                  </a:cubicBezTo>
                  <a:lnTo>
                    <a:pt x="113107" y="161339"/>
                  </a:lnTo>
                  <a:lnTo>
                    <a:pt x="114235" y="161339"/>
                  </a:lnTo>
                  <a:lnTo>
                    <a:pt x="114235" y="161903"/>
                  </a:lnTo>
                  <a:cubicBezTo>
                    <a:pt x="114235" y="162185"/>
                    <a:pt x="114235" y="162467"/>
                    <a:pt x="114517" y="162467"/>
                  </a:cubicBezTo>
                  <a:cubicBezTo>
                    <a:pt x="114517" y="162749"/>
                    <a:pt x="114799" y="162749"/>
                    <a:pt x="114799" y="163031"/>
                  </a:cubicBezTo>
                  <a:cubicBezTo>
                    <a:pt x="114799" y="163314"/>
                    <a:pt x="114517" y="163314"/>
                    <a:pt x="114517" y="163314"/>
                  </a:cubicBezTo>
                  <a:lnTo>
                    <a:pt x="113389" y="164160"/>
                  </a:lnTo>
                  <a:lnTo>
                    <a:pt x="113389" y="166416"/>
                  </a:lnTo>
                  <a:cubicBezTo>
                    <a:pt x="113107" y="166416"/>
                    <a:pt x="113107" y="166698"/>
                    <a:pt x="113107" y="166980"/>
                  </a:cubicBezTo>
                  <a:cubicBezTo>
                    <a:pt x="113107" y="167262"/>
                    <a:pt x="112825" y="167544"/>
                    <a:pt x="112825" y="167827"/>
                  </a:cubicBezTo>
                  <a:lnTo>
                    <a:pt x="112543" y="168109"/>
                  </a:lnTo>
                  <a:cubicBezTo>
                    <a:pt x="111979" y="168391"/>
                    <a:pt x="111696" y="168955"/>
                    <a:pt x="111696" y="169237"/>
                  </a:cubicBezTo>
                  <a:cubicBezTo>
                    <a:pt x="111696" y="169519"/>
                    <a:pt x="112260" y="169801"/>
                    <a:pt x="112260" y="170365"/>
                  </a:cubicBezTo>
                  <a:cubicBezTo>
                    <a:pt x="112260" y="170365"/>
                    <a:pt x="111132" y="170929"/>
                    <a:pt x="110850" y="170929"/>
                  </a:cubicBezTo>
                  <a:cubicBezTo>
                    <a:pt x="110568" y="170929"/>
                    <a:pt x="110568" y="170929"/>
                    <a:pt x="110568" y="171211"/>
                  </a:cubicBezTo>
                  <a:lnTo>
                    <a:pt x="110568" y="171775"/>
                  </a:lnTo>
                  <a:cubicBezTo>
                    <a:pt x="110568" y="172057"/>
                    <a:pt x="110850" y="172340"/>
                    <a:pt x="110850" y="172622"/>
                  </a:cubicBezTo>
                  <a:cubicBezTo>
                    <a:pt x="110850" y="173186"/>
                    <a:pt x="110286" y="173468"/>
                    <a:pt x="109440" y="174032"/>
                  </a:cubicBezTo>
                  <a:lnTo>
                    <a:pt x="109440" y="174596"/>
                  </a:lnTo>
                  <a:lnTo>
                    <a:pt x="110568" y="174596"/>
                  </a:lnTo>
                  <a:cubicBezTo>
                    <a:pt x="110568" y="174314"/>
                    <a:pt x="110850" y="174314"/>
                    <a:pt x="111132" y="174314"/>
                  </a:cubicBezTo>
                  <a:cubicBezTo>
                    <a:pt x="111415" y="174596"/>
                    <a:pt x="111696" y="174596"/>
                    <a:pt x="111696" y="174596"/>
                  </a:cubicBezTo>
                  <a:cubicBezTo>
                    <a:pt x="111696" y="174596"/>
                    <a:pt x="111415" y="174878"/>
                    <a:pt x="111415" y="175160"/>
                  </a:cubicBezTo>
                  <a:cubicBezTo>
                    <a:pt x="111132" y="175442"/>
                    <a:pt x="111132" y="175442"/>
                    <a:pt x="111132" y="175724"/>
                  </a:cubicBezTo>
                  <a:cubicBezTo>
                    <a:pt x="111132" y="176288"/>
                    <a:pt x="111132" y="177135"/>
                    <a:pt x="110568" y="177699"/>
                  </a:cubicBezTo>
                  <a:lnTo>
                    <a:pt x="110568" y="178545"/>
                  </a:lnTo>
                  <a:cubicBezTo>
                    <a:pt x="110850" y="178545"/>
                    <a:pt x="110850" y="178827"/>
                    <a:pt x="110850" y="179109"/>
                  </a:cubicBezTo>
                  <a:cubicBezTo>
                    <a:pt x="110850" y="179391"/>
                    <a:pt x="110850" y="179673"/>
                    <a:pt x="110568" y="179955"/>
                  </a:cubicBezTo>
                  <a:cubicBezTo>
                    <a:pt x="110286" y="179955"/>
                    <a:pt x="110286" y="179955"/>
                    <a:pt x="110286" y="180237"/>
                  </a:cubicBezTo>
                  <a:lnTo>
                    <a:pt x="110286" y="180519"/>
                  </a:lnTo>
                  <a:cubicBezTo>
                    <a:pt x="109722" y="180519"/>
                    <a:pt x="109722" y="180519"/>
                    <a:pt x="109722" y="181083"/>
                  </a:cubicBezTo>
                  <a:cubicBezTo>
                    <a:pt x="109722" y="181648"/>
                    <a:pt x="109158" y="181648"/>
                    <a:pt x="109158" y="182212"/>
                  </a:cubicBezTo>
                  <a:cubicBezTo>
                    <a:pt x="109158" y="182494"/>
                    <a:pt x="109158" y="183058"/>
                    <a:pt x="108876" y="183058"/>
                  </a:cubicBezTo>
                  <a:cubicBezTo>
                    <a:pt x="107748" y="183058"/>
                    <a:pt x="107748" y="183622"/>
                    <a:pt x="106901" y="183904"/>
                  </a:cubicBezTo>
                  <a:lnTo>
                    <a:pt x="106901" y="184750"/>
                  </a:lnTo>
                  <a:cubicBezTo>
                    <a:pt x="105773" y="185314"/>
                    <a:pt x="105491" y="185878"/>
                    <a:pt x="104927" y="186725"/>
                  </a:cubicBezTo>
                  <a:lnTo>
                    <a:pt x="105209" y="186725"/>
                  </a:lnTo>
                  <a:cubicBezTo>
                    <a:pt x="105773" y="186725"/>
                    <a:pt x="105491" y="187289"/>
                    <a:pt x="105773" y="187571"/>
                  </a:cubicBezTo>
                  <a:lnTo>
                    <a:pt x="105773" y="187853"/>
                  </a:lnTo>
                  <a:cubicBezTo>
                    <a:pt x="105491" y="188135"/>
                    <a:pt x="105491" y="188699"/>
                    <a:pt x="105491" y="188981"/>
                  </a:cubicBezTo>
                  <a:cubicBezTo>
                    <a:pt x="105491" y="189263"/>
                    <a:pt x="105491" y="189545"/>
                    <a:pt x="105209" y="189545"/>
                  </a:cubicBezTo>
                  <a:cubicBezTo>
                    <a:pt x="104927" y="190109"/>
                    <a:pt x="104363" y="190391"/>
                    <a:pt x="104363" y="190956"/>
                  </a:cubicBezTo>
                  <a:lnTo>
                    <a:pt x="104927" y="191238"/>
                  </a:lnTo>
                  <a:cubicBezTo>
                    <a:pt x="104927" y="192084"/>
                    <a:pt x="103798" y="192084"/>
                    <a:pt x="103517" y="192366"/>
                  </a:cubicBezTo>
                  <a:cubicBezTo>
                    <a:pt x="103517" y="192366"/>
                    <a:pt x="102953" y="192366"/>
                    <a:pt x="102953" y="192084"/>
                  </a:cubicBezTo>
                  <a:cubicBezTo>
                    <a:pt x="102953" y="191802"/>
                    <a:pt x="102953" y="191238"/>
                    <a:pt x="102670" y="190956"/>
                  </a:cubicBezTo>
                  <a:cubicBezTo>
                    <a:pt x="102670" y="190956"/>
                    <a:pt x="102953" y="190673"/>
                    <a:pt x="103234" y="190673"/>
                  </a:cubicBezTo>
                  <a:cubicBezTo>
                    <a:pt x="103517" y="190673"/>
                    <a:pt x="103517" y="190391"/>
                    <a:pt x="103798" y="189827"/>
                  </a:cubicBezTo>
                  <a:cubicBezTo>
                    <a:pt x="103798" y="189545"/>
                    <a:pt x="103517" y="189545"/>
                    <a:pt x="103517" y="189545"/>
                  </a:cubicBezTo>
                  <a:cubicBezTo>
                    <a:pt x="102670" y="189545"/>
                    <a:pt x="102106" y="189827"/>
                    <a:pt x="101542" y="190673"/>
                  </a:cubicBezTo>
                  <a:lnTo>
                    <a:pt x="101542" y="190956"/>
                  </a:lnTo>
                  <a:cubicBezTo>
                    <a:pt x="101542" y="191520"/>
                    <a:pt x="100696" y="192084"/>
                    <a:pt x="100696" y="192930"/>
                  </a:cubicBezTo>
                  <a:lnTo>
                    <a:pt x="100696" y="193212"/>
                  </a:lnTo>
                  <a:cubicBezTo>
                    <a:pt x="100132" y="193776"/>
                    <a:pt x="100132" y="194058"/>
                    <a:pt x="100132" y="194340"/>
                  </a:cubicBezTo>
                  <a:lnTo>
                    <a:pt x="100132" y="195469"/>
                  </a:lnTo>
                  <a:cubicBezTo>
                    <a:pt x="100414" y="195469"/>
                    <a:pt x="100696" y="195751"/>
                    <a:pt x="100696" y="195751"/>
                  </a:cubicBezTo>
                  <a:cubicBezTo>
                    <a:pt x="100696" y="196033"/>
                    <a:pt x="100414" y="196033"/>
                    <a:pt x="100132" y="196315"/>
                  </a:cubicBezTo>
                  <a:cubicBezTo>
                    <a:pt x="99850" y="196879"/>
                    <a:pt x="99850" y="197161"/>
                    <a:pt x="99850" y="198007"/>
                  </a:cubicBezTo>
                  <a:lnTo>
                    <a:pt x="99850" y="199417"/>
                  </a:lnTo>
                  <a:cubicBezTo>
                    <a:pt x="99568" y="199982"/>
                    <a:pt x="99004" y="199982"/>
                    <a:pt x="99004" y="200264"/>
                  </a:cubicBezTo>
                  <a:lnTo>
                    <a:pt x="99004" y="201392"/>
                  </a:lnTo>
                  <a:cubicBezTo>
                    <a:pt x="99004" y="201674"/>
                    <a:pt x="98722" y="202520"/>
                    <a:pt x="98440" y="202520"/>
                  </a:cubicBezTo>
                  <a:lnTo>
                    <a:pt x="97876" y="202520"/>
                  </a:lnTo>
                  <a:cubicBezTo>
                    <a:pt x="97593" y="202520"/>
                    <a:pt x="97312" y="202520"/>
                    <a:pt x="97029" y="202802"/>
                  </a:cubicBezTo>
                  <a:cubicBezTo>
                    <a:pt x="96747" y="203084"/>
                    <a:pt x="96747" y="203366"/>
                    <a:pt x="96747" y="203366"/>
                  </a:cubicBezTo>
                  <a:cubicBezTo>
                    <a:pt x="97312" y="203648"/>
                    <a:pt x="97593" y="203648"/>
                    <a:pt x="97593" y="203930"/>
                  </a:cubicBezTo>
                  <a:cubicBezTo>
                    <a:pt x="97593" y="204212"/>
                    <a:pt x="97312" y="204495"/>
                    <a:pt x="97029" y="204777"/>
                  </a:cubicBezTo>
                  <a:cubicBezTo>
                    <a:pt x="96465" y="205623"/>
                    <a:pt x="95901" y="205623"/>
                    <a:pt x="95055" y="205623"/>
                  </a:cubicBezTo>
                  <a:cubicBezTo>
                    <a:pt x="94773" y="205623"/>
                    <a:pt x="94491" y="205905"/>
                    <a:pt x="94491" y="205905"/>
                  </a:cubicBezTo>
                  <a:cubicBezTo>
                    <a:pt x="94491" y="206187"/>
                    <a:pt x="94209" y="206469"/>
                    <a:pt x="94209" y="206469"/>
                  </a:cubicBezTo>
                  <a:lnTo>
                    <a:pt x="94209" y="207597"/>
                  </a:lnTo>
                  <a:cubicBezTo>
                    <a:pt x="93362" y="207879"/>
                    <a:pt x="93362" y="208443"/>
                    <a:pt x="93362" y="209007"/>
                  </a:cubicBezTo>
                  <a:cubicBezTo>
                    <a:pt x="93362" y="209290"/>
                    <a:pt x="93081" y="209290"/>
                    <a:pt x="92798" y="209572"/>
                  </a:cubicBezTo>
                  <a:lnTo>
                    <a:pt x="92798" y="210136"/>
                  </a:lnTo>
                  <a:cubicBezTo>
                    <a:pt x="92798" y="210418"/>
                    <a:pt x="92798" y="210700"/>
                    <a:pt x="92516" y="210700"/>
                  </a:cubicBezTo>
                  <a:cubicBezTo>
                    <a:pt x="92234" y="210700"/>
                    <a:pt x="91952" y="210418"/>
                    <a:pt x="91670" y="210418"/>
                  </a:cubicBezTo>
                  <a:lnTo>
                    <a:pt x="91670" y="210136"/>
                  </a:lnTo>
                  <a:cubicBezTo>
                    <a:pt x="91388" y="210136"/>
                    <a:pt x="91388" y="210418"/>
                    <a:pt x="91388" y="210418"/>
                  </a:cubicBezTo>
                  <a:cubicBezTo>
                    <a:pt x="91106" y="210418"/>
                    <a:pt x="90824" y="210700"/>
                    <a:pt x="90542" y="210982"/>
                  </a:cubicBezTo>
                  <a:cubicBezTo>
                    <a:pt x="90260" y="211264"/>
                    <a:pt x="90260" y="211264"/>
                    <a:pt x="90260" y="211546"/>
                  </a:cubicBezTo>
                  <a:lnTo>
                    <a:pt x="90260" y="212110"/>
                  </a:lnTo>
                  <a:lnTo>
                    <a:pt x="90542" y="212392"/>
                  </a:lnTo>
                  <a:lnTo>
                    <a:pt x="91670" y="211264"/>
                  </a:lnTo>
                  <a:cubicBezTo>
                    <a:pt x="91670" y="211264"/>
                    <a:pt x="91670" y="210982"/>
                    <a:pt x="91952" y="210982"/>
                  </a:cubicBezTo>
                  <a:cubicBezTo>
                    <a:pt x="92234" y="210982"/>
                    <a:pt x="92516" y="211264"/>
                    <a:pt x="92516" y="211264"/>
                  </a:cubicBezTo>
                  <a:cubicBezTo>
                    <a:pt x="92798" y="211546"/>
                    <a:pt x="93081" y="211828"/>
                    <a:pt x="93081" y="212110"/>
                  </a:cubicBezTo>
                  <a:cubicBezTo>
                    <a:pt x="93081" y="212392"/>
                    <a:pt x="93645" y="212674"/>
                    <a:pt x="94209" y="212674"/>
                  </a:cubicBezTo>
                  <a:lnTo>
                    <a:pt x="95055" y="212674"/>
                  </a:lnTo>
                  <a:lnTo>
                    <a:pt x="94773" y="212392"/>
                  </a:lnTo>
                  <a:lnTo>
                    <a:pt x="94773" y="211264"/>
                  </a:lnTo>
                  <a:lnTo>
                    <a:pt x="95337" y="210982"/>
                  </a:lnTo>
                  <a:lnTo>
                    <a:pt x="95337" y="211264"/>
                  </a:lnTo>
                  <a:cubicBezTo>
                    <a:pt x="95337" y="211828"/>
                    <a:pt x="95337" y="212392"/>
                    <a:pt x="95619" y="213238"/>
                  </a:cubicBezTo>
                  <a:lnTo>
                    <a:pt x="95619" y="213803"/>
                  </a:lnTo>
                  <a:cubicBezTo>
                    <a:pt x="94773" y="214085"/>
                    <a:pt x="94491" y="214649"/>
                    <a:pt x="94209" y="214931"/>
                  </a:cubicBezTo>
                  <a:cubicBezTo>
                    <a:pt x="93645" y="215495"/>
                    <a:pt x="93362" y="215777"/>
                    <a:pt x="93081" y="215777"/>
                  </a:cubicBezTo>
                  <a:cubicBezTo>
                    <a:pt x="92798" y="215777"/>
                    <a:pt x="92516" y="215495"/>
                    <a:pt x="91952" y="215213"/>
                  </a:cubicBezTo>
                  <a:cubicBezTo>
                    <a:pt x="91952" y="215213"/>
                    <a:pt x="91670" y="214931"/>
                    <a:pt x="91388" y="214931"/>
                  </a:cubicBezTo>
                  <a:cubicBezTo>
                    <a:pt x="91106" y="214931"/>
                    <a:pt x="91106" y="215213"/>
                    <a:pt x="90824" y="215495"/>
                  </a:cubicBezTo>
                  <a:cubicBezTo>
                    <a:pt x="90542" y="215495"/>
                    <a:pt x="90260" y="215495"/>
                    <a:pt x="89978" y="216059"/>
                  </a:cubicBezTo>
                  <a:cubicBezTo>
                    <a:pt x="89414" y="216059"/>
                    <a:pt x="89414" y="216341"/>
                    <a:pt x="89414" y="216341"/>
                  </a:cubicBezTo>
                  <a:cubicBezTo>
                    <a:pt x="90260" y="216623"/>
                    <a:pt x="90260" y="216905"/>
                    <a:pt x="90260" y="217187"/>
                  </a:cubicBezTo>
                  <a:lnTo>
                    <a:pt x="90260" y="217751"/>
                  </a:lnTo>
                  <a:cubicBezTo>
                    <a:pt x="90260" y="218033"/>
                    <a:pt x="90260" y="218033"/>
                    <a:pt x="90824" y="218315"/>
                  </a:cubicBezTo>
                  <a:cubicBezTo>
                    <a:pt x="90824" y="218598"/>
                    <a:pt x="91106" y="218598"/>
                    <a:pt x="91106" y="218880"/>
                  </a:cubicBezTo>
                  <a:lnTo>
                    <a:pt x="90260" y="219444"/>
                  </a:lnTo>
                  <a:cubicBezTo>
                    <a:pt x="89131" y="220008"/>
                    <a:pt x="88850" y="220854"/>
                    <a:pt x="88285" y="221418"/>
                  </a:cubicBezTo>
                  <a:cubicBezTo>
                    <a:pt x="88003" y="221700"/>
                    <a:pt x="87721" y="221700"/>
                    <a:pt x="87721" y="221982"/>
                  </a:cubicBezTo>
                  <a:cubicBezTo>
                    <a:pt x="87721" y="222264"/>
                    <a:pt x="88003" y="222546"/>
                    <a:pt x="88285" y="222828"/>
                  </a:cubicBezTo>
                  <a:lnTo>
                    <a:pt x="88567" y="222546"/>
                  </a:lnTo>
                  <a:cubicBezTo>
                    <a:pt x="88567" y="222546"/>
                    <a:pt x="88850" y="222264"/>
                    <a:pt x="89131" y="222264"/>
                  </a:cubicBezTo>
                  <a:cubicBezTo>
                    <a:pt x="89131" y="222264"/>
                    <a:pt x="89414" y="222264"/>
                    <a:pt x="89131" y="222546"/>
                  </a:cubicBezTo>
                  <a:lnTo>
                    <a:pt x="89414" y="222546"/>
                  </a:lnTo>
                  <a:lnTo>
                    <a:pt x="89131" y="222828"/>
                  </a:lnTo>
                  <a:cubicBezTo>
                    <a:pt x="88850" y="222828"/>
                    <a:pt x="88850" y="223111"/>
                    <a:pt x="88850" y="223393"/>
                  </a:cubicBezTo>
                  <a:cubicBezTo>
                    <a:pt x="88850" y="223675"/>
                    <a:pt x="89131" y="223675"/>
                    <a:pt x="89131" y="223675"/>
                  </a:cubicBezTo>
                  <a:lnTo>
                    <a:pt x="88850" y="223957"/>
                  </a:lnTo>
                  <a:cubicBezTo>
                    <a:pt x="88567" y="224239"/>
                    <a:pt x="88285" y="224803"/>
                    <a:pt x="88285" y="224803"/>
                  </a:cubicBezTo>
                  <a:lnTo>
                    <a:pt x="87721" y="225085"/>
                  </a:lnTo>
                  <a:cubicBezTo>
                    <a:pt x="87439" y="225649"/>
                    <a:pt x="87439" y="225931"/>
                    <a:pt x="86875" y="226495"/>
                  </a:cubicBezTo>
                  <a:lnTo>
                    <a:pt x="86875" y="227059"/>
                  </a:lnTo>
                  <a:cubicBezTo>
                    <a:pt x="86875" y="227906"/>
                    <a:pt x="86311" y="228188"/>
                    <a:pt x="85747" y="228752"/>
                  </a:cubicBezTo>
                  <a:lnTo>
                    <a:pt x="85747" y="230162"/>
                  </a:lnTo>
                  <a:cubicBezTo>
                    <a:pt x="85747" y="230726"/>
                    <a:pt x="85183" y="231008"/>
                    <a:pt x="84619" y="231572"/>
                  </a:cubicBezTo>
                  <a:cubicBezTo>
                    <a:pt x="84054" y="231854"/>
                    <a:pt x="83772" y="232137"/>
                    <a:pt x="83772" y="232983"/>
                  </a:cubicBezTo>
                  <a:cubicBezTo>
                    <a:pt x="83772" y="233265"/>
                    <a:pt x="83772" y="233547"/>
                    <a:pt x="83208" y="233547"/>
                  </a:cubicBezTo>
                  <a:cubicBezTo>
                    <a:pt x="82926" y="233829"/>
                    <a:pt x="82926" y="233829"/>
                    <a:pt x="82926" y="234111"/>
                  </a:cubicBezTo>
                  <a:lnTo>
                    <a:pt x="82926" y="234675"/>
                  </a:lnTo>
                  <a:cubicBezTo>
                    <a:pt x="82362" y="234675"/>
                    <a:pt x="82080" y="234957"/>
                    <a:pt x="81234" y="235803"/>
                  </a:cubicBezTo>
                  <a:cubicBezTo>
                    <a:pt x="80952" y="236085"/>
                    <a:pt x="80952" y="236085"/>
                    <a:pt x="80952" y="236367"/>
                  </a:cubicBezTo>
                  <a:cubicBezTo>
                    <a:pt x="80952" y="236649"/>
                    <a:pt x="81234" y="236932"/>
                    <a:pt x="81516" y="236932"/>
                  </a:cubicBezTo>
                  <a:cubicBezTo>
                    <a:pt x="81516" y="237214"/>
                    <a:pt x="81798" y="237496"/>
                    <a:pt x="81798" y="237496"/>
                  </a:cubicBezTo>
                  <a:cubicBezTo>
                    <a:pt x="81798" y="237778"/>
                    <a:pt x="81516" y="237778"/>
                    <a:pt x="81516" y="237778"/>
                  </a:cubicBezTo>
                  <a:lnTo>
                    <a:pt x="80952" y="238624"/>
                  </a:lnTo>
                  <a:cubicBezTo>
                    <a:pt x="80952" y="238906"/>
                    <a:pt x="80952" y="239188"/>
                    <a:pt x="81234" y="239188"/>
                  </a:cubicBezTo>
                  <a:cubicBezTo>
                    <a:pt x="81234" y="239188"/>
                    <a:pt x="81234" y="239470"/>
                    <a:pt x="81516" y="239752"/>
                  </a:cubicBezTo>
                  <a:lnTo>
                    <a:pt x="81516" y="240034"/>
                  </a:lnTo>
                  <a:lnTo>
                    <a:pt x="81234" y="240316"/>
                  </a:lnTo>
                  <a:lnTo>
                    <a:pt x="80388" y="240316"/>
                  </a:lnTo>
                  <a:cubicBezTo>
                    <a:pt x="80106" y="240316"/>
                    <a:pt x="79823" y="240316"/>
                    <a:pt x="79823" y="240880"/>
                  </a:cubicBezTo>
                  <a:cubicBezTo>
                    <a:pt x="79542" y="242009"/>
                    <a:pt x="79542" y="242009"/>
                    <a:pt x="78413" y="242855"/>
                  </a:cubicBezTo>
                  <a:cubicBezTo>
                    <a:pt x="78413" y="243137"/>
                    <a:pt x="78131" y="243419"/>
                    <a:pt x="77285" y="243983"/>
                  </a:cubicBezTo>
                  <a:lnTo>
                    <a:pt x="77003" y="244547"/>
                  </a:lnTo>
                  <a:lnTo>
                    <a:pt x="75875" y="244547"/>
                  </a:lnTo>
                  <a:cubicBezTo>
                    <a:pt x="75875" y="244829"/>
                    <a:pt x="75592" y="245111"/>
                    <a:pt x="74747" y="245111"/>
                  </a:cubicBezTo>
                  <a:cubicBezTo>
                    <a:pt x="74464" y="245111"/>
                    <a:pt x="74182" y="245958"/>
                    <a:pt x="73900" y="245675"/>
                  </a:cubicBezTo>
                  <a:lnTo>
                    <a:pt x="73618" y="245958"/>
                  </a:lnTo>
                  <a:cubicBezTo>
                    <a:pt x="73618" y="246240"/>
                    <a:pt x="73618" y="246522"/>
                    <a:pt x="73336" y="246522"/>
                  </a:cubicBezTo>
                  <a:cubicBezTo>
                    <a:pt x="73054" y="246522"/>
                    <a:pt x="72490" y="246240"/>
                    <a:pt x="72490" y="246240"/>
                  </a:cubicBezTo>
                  <a:lnTo>
                    <a:pt x="69951" y="249342"/>
                  </a:lnTo>
                  <a:cubicBezTo>
                    <a:pt x="69951" y="249906"/>
                    <a:pt x="69669" y="249906"/>
                    <a:pt x="69387" y="249906"/>
                  </a:cubicBezTo>
                  <a:lnTo>
                    <a:pt x="66849" y="249906"/>
                  </a:lnTo>
                  <a:cubicBezTo>
                    <a:pt x="66849" y="249342"/>
                    <a:pt x="66566" y="249342"/>
                    <a:pt x="66002" y="249342"/>
                  </a:cubicBezTo>
                  <a:cubicBezTo>
                    <a:pt x="65438" y="249342"/>
                    <a:pt x="64592" y="249624"/>
                    <a:pt x="64028" y="249624"/>
                  </a:cubicBezTo>
                  <a:cubicBezTo>
                    <a:pt x="63464" y="249624"/>
                    <a:pt x="63182" y="249342"/>
                    <a:pt x="62900" y="249342"/>
                  </a:cubicBezTo>
                  <a:cubicBezTo>
                    <a:pt x="62336" y="249624"/>
                    <a:pt x="62054" y="249624"/>
                    <a:pt x="61772" y="249624"/>
                  </a:cubicBezTo>
                  <a:cubicBezTo>
                    <a:pt x="61489" y="249624"/>
                    <a:pt x="61208" y="249624"/>
                    <a:pt x="60925" y="249906"/>
                  </a:cubicBezTo>
                  <a:lnTo>
                    <a:pt x="56977" y="247650"/>
                  </a:lnTo>
                  <a:cubicBezTo>
                    <a:pt x="56413" y="247650"/>
                    <a:pt x="56413" y="247932"/>
                    <a:pt x="56130" y="247932"/>
                  </a:cubicBezTo>
                  <a:cubicBezTo>
                    <a:pt x="55848" y="248214"/>
                    <a:pt x="55566" y="248214"/>
                    <a:pt x="55566" y="248214"/>
                  </a:cubicBezTo>
                  <a:cubicBezTo>
                    <a:pt x="55284" y="248214"/>
                    <a:pt x="55002" y="248214"/>
                    <a:pt x="54720" y="247932"/>
                  </a:cubicBezTo>
                  <a:cubicBezTo>
                    <a:pt x="54156" y="247650"/>
                    <a:pt x="53592" y="246804"/>
                    <a:pt x="52746" y="246240"/>
                  </a:cubicBezTo>
                  <a:cubicBezTo>
                    <a:pt x="52182" y="246240"/>
                    <a:pt x="52182" y="245675"/>
                    <a:pt x="51053" y="245675"/>
                  </a:cubicBezTo>
                  <a:cubicBezTo>
                    <a:pt x="51053" y="245393"/>
                    <a:pt x="51053" y="245111"/>
                    <a:pt x="50489" y="244829"/>
                  </a:cubicBezTo>
                  <a:cubicBezTo>
                    <a:pt x="50207" y="244547"/>
                    <a:pt x="49643" y="244547"/>
                    <a:pt x="49643" y="243983"/>
                  </a:cubicBezTo>
                  <a:cubicBezTo>
                    <a:pt x="49643" y="243137"/>
                    <a:pt x="48796" y="243137"/>
                    <a:pt x="48232" y="243137"/>
                  </a:cubicBezTo>
                  <a:cubicBezTo>
                    <a:pt x="47951" y="243137"/>
                    <a:pt x="47951" y="242855"/>
                    <a:pt x="47951" y="242573"/>
                  </a:cubicBezTo>
                  <a:cubicBezTo>
                    <a:pt x="47951" y="242573"/>
                    <a:pt x="48232" y="242291"/>
                    <a:pt x="48515" y="242291"/>
                  </a:cubicBezTo>
                  <a:lnTo>
                    <a:pt x="48796" y="242291"/>
                  </a:lnTo>
                  <a:lnTo>
                    <a:pt x="48515" y="242009"/>
                  </a:lnTo>
                  <a:lnTo>
                    <a:pt x="48515" y="241162"/>
                  </a:lnTo>
                  <a:cubicBezTo>
                    <a:pt x="48515" y="240880"/>
                    <a:pt x="48515" y="240880"/>
                    <a:pt x="48232" y="240880"/>
                  </a:cubicBezTo>
                  <a:cubicBezTo>
                    <a:pt x="47668" y="240880"/>
                    <a:pt x="47104" y="240598"/>
                    <a:pt x="47104" y="240316"/>
                  </a:cubicBezTo>
                  <a:lnTo>
                    <a:pt x="47386" y="240034"/>
                  </a:lnTo>
                  <a:cubicBezTo>
                    <a:pt x="47668" y="240034"/>
                    <a:pt x="47668" y="240034"/>
                    <a:pt x="47668" y="239752"/>
                  </a:cubicBezTo>
                  <a:lnTo>
                    <a:pt x="47668" y="239470"/>
                  </a:lnTo>
                  <a:cubicBezTo>
                    <a:pt x="47668" y="239188"/>
                    <a:pt x="47386" y="239188"/>
                    <a:pt x="47386" y="238906"/>
                  </a:cubicBezTo>
                  <a:lnTo>
                    <a:pt x="47104" y="238624"/>
                  </a:lnTo>
                  <a:cubicBezTo>
                    <a:pt x="47386" y="238342"/>
                    <a:pt x="47386" y="238060"/>
                    <a:pt x="47386" y="237778"/>
                  </a:cubicBezTo>
                  <a:cubicBezTo>
                    <a:pt x="47386" y="237496"/>
                    <a:pt x="47386" y="237214"/>
                    <a:pt x="46822" y="237214"/>
                  </a:cubicBezTo>
                  <a:lnTo>
                    <a:pt x="46822" y="236932"/>
                  </a:lnTo>
                  <a:cubicBezTo>
                    <a:pt x="46540" y="236649"/>
                    <a:pt x="46540" y="236367"/>
                    <a:pt x="46540" y="236085"/>
                  </a:cubicBezTo>
                  <a:cubicBezTo>
                    <a:pt x="46540" y="235521"/>
                    <a:pt x="46258" y="234957"/>
                    <a:pt x="46258" y="234675"/>
                  </a:cubicBezTo>
                  <a:cubicBezTo>
                    <a:pt x="45976" y="234111"/>
                    <a:pt x="45976" y="234111"/>
                    <a:pt x="45976" y="233547"/>
                  </a:cubicBezTo>
                  <a:cubicBezTo>
                    <a:pt x="45694" y="233547"/>
                    <a:pt x="45130" y="233265"/>
                    <a:pt x="44848" y="233265"/>
                  </a:cubicBezTo>
                  <a:lnTo>
                    <a:pt x="44284" y="233265"/>
                  </a:lnTo>
                  <a:cubicBezTo>
                    <a:pt x="44284" y="233265"/>
                    <a:pt x="44002" y="233265"/>
                    <a:pt x="43720" y="232983"/>
                  </a:cubicBezTo>
                  <a:lnTo>
                    <a:pt x="43720" y="232137"/>
                  </a:lnTo>
                  <a:lnTo>
                    <a:pt x="44002" y="231854"/>
                  </a:lnTo>
                  <a:cubicBezTo>
                    <a:pt x="44002" y="231290"/>
                    <a:pt x="44566" y="231290"/>
                    <a:pt x="44566" y="231008"/>
                  </a:cubicBezTo>
                  <a:lnTo>
                    <a:pt x="44566" y="230162"/>
                  </a:lnTo>
                  <a:cubicBezTo>
                    <a:pt x="44566" y="229034"/>
                    <a:pt x="44284" y="228470"/>
                    <a:pt x="44284" y="227906"/>
                  </a:cubicBezTo>
                  <a:cubicBezTo>
                    <a:pt x="44284" y="227624"/>
                    <a:pt x="43720" y="227341"/>
                    <a:pt x="43720" y="226777"/>
                  </a:cubicBezTo>
                  <a:lnTo>
                    <a:pt x="43720" y="226495"/>
                  </a:lnTo>
                  <a:cubicBezTo>
                    <a:pt x="43720" y="226213"/>
                    <a:pt x="43438" y="226213"/>
                    <a:pt x="43438" y="226213"/>
                  </a:cubicBezTo>
                  <a:lnTo>
                    <a:pt x="43438" y="226495"/>
                  </a:lnTo>
                  <a:lnTo>
                    <a:pt x="42874" y="226495"/>
                  </a:lnTo>
                  <a:lnTo>
                    <a:pt x="42874" y="225649"/>
                  </a:lnTo>
                  <a:cubicBezTo>
                    <a:pt x="42874" y="225367"/>
                    <a:pt x="42874" y="225367"/>
                    <a:pt x="42591" y="225085"/>
                  </a:cubicBezTo>
                  <a:cubicBezTo>
                    <a:pt x="42310" y="225085"/>
                    <a:pt x="42310" y="225085"/>
                    <a:pt x="42310" y="224803"/>
                  </a:cubicBezTo>
                  <a:lnTo>
                    <a:pt x="43155" y="223957"/>
                  </a:lnTo>
                  <a:cubicBezTo>
                    <a:pt x="43155" y="223957"/>
                    <a:pt x="42874" y="223393"/>
                    <a:pt x="42874" y="223111"/>
                  </a:cubicBezTo>
                  <a:cubicBezTo>
                    <a:pt x="42310" y="223111"/>
                    <a:pt x="42310" y="222828"/>
                    <a:pt x="42310" y="222828"/>
                  </a:cubicBezTo>
                  <a:lnTo>
                    <a:pt x="42310" y="220854"/>
                  </a:lnTo>
                  <a:cubicBezTo>
                    <a:pt x="42310" y="220290"/>
                    <a:pt x="42310" y="219726"/>
                    <a:pt x="42591" y="218880"/>
                  </a:cubicBezTo>
                  <a:lnTo>
                    <a:pt x="43155" y="218880"/>
                  </a:lnTo>
                  <a:cubicBezTo>
                    <a:pt x="43438" y="218880"/>
                    <a:pt x="43720" y="218880"/>
                    <a:pt x="43720" y="218315"/>
                  </a:cubicBezTo>
                  <a:cubicBezTo>
                    <a:pt x="43438" y="217751"/>
                    <a:pt x="43438" y="217469"/>
                    <a:pt x="43438" y="216623"/>
                  </a:cubicBezTo>
                  <a:cubicBezTo>
                    <a:pt x="43438" y="216341"/>
                    <a:pt x="43155" y="216341"/>
                    <a:pt x="43155" y="216059"/>
                  </a:cubicBezTo>
                  <a:cubicBezTo>
                    <a:pt x="42874" y="216059"/>
                    <a:pt x="43155" y="215777"/>
                    <a:pt x="43155" y="215495"/>
                  </a:cubicBezTo>
                  <a:cubicBezTo>
                    <a:pt x="43438" y="215213"/>
                    <a:pt x="43438" y="214649"/>
                    <a:pt x="43438" y="214367"/>
                  </a:cubicBezTo>
                  <a:cubicBezTo>
                    <a:pt x="43438" y="214085"/>
                    <a:pt x="43438" y="213803"/>
                    <a:pt x="43155" y="212956"/>
                  </a:cubicBezTo>
                  <a:lnTo>
                    <a:pt x="43438" y="212674"/>
                  </a:lnTo>
                  <a:cubicBezTo>
                    <a:pt x="42874" y="212392"/>
                    <a:pt x="42027" y="211828"/>
                    <a:pt x="42027" y="211264"/>
                  </a:cubicBezTo>
                  <a:cubicBezTo>
                    <a:pt x="42027" y="210982"/>
                    <a:pt x="42310" y="210982"/>
                    <a:pt x="42310" y="210700"/>
                  </a:cubicBezTo>
                  <a:cubicBezTo>
                    <a:pt x="42310" y="210700"/>
                    <a:pt x="41463" y="210418"/>
                    <a:pt x="41463" y="210136"/>
                  </a:cubicBezTo>
                  <a:cubicBezTo>
                    <a:pt x="41463" y="210136"/>
                    <a:pt x="41463" y="209854"/>
                    <a:pt x="41745" y="209854"/>
                  </a:cubicBezTo>
                  <a:cubicBezTo>
                    <a:pt x="43155" y="209290"/>
                    <a:pt x="43155" y="209290"/>
                    <a:pt x="43155" y="208725"/>
                  </a:cubicBezTo>
                  <a:cubicBezTo>
                    <a:pt x="43155" y="207879"/>
                    <a:pt x="43155" y="207315"/>
                    <a:pt x="42310" y="207033"/>
                  </a:cubicBezTo>
                  <a:lnTo>
                    <a:pt x="42027" y="206751"/>
                  </a:lnTo>
                  <a:cubicBezTo>
                    <a:pt x="42027" y="206751"/>
                    <a:pt x="42027" y="206469"/>
                    <a:pt x="42310" y="206187"/>
                  </a:cubicBezTo>
                  <a:lnTo>
                    <a:pt x="41745" y="205905"/>
                  </a:lnTo>
                  <a:lnTo>
                    <a:pt x="41745" y="205341"/>
                  </a:lnTo>
                  <a:cubicBezTo>
                    <a:pt x="41463" y="204495"/>
                    <a:pt x="41463" y="203648"/>
                    <a:pt x="41463" y="203084"/>
                  </a:cubicBezTo>
                  <a:lnTo>
                    <a:pt x="41463" y="201110"/>
                  </a:lnTo>
                  <a:cubicBezTo>
                    <a:pt x="41463" y="200264"/>
                    <a:pt x="41463" y="200264"/>
                    <a:pt x="41745" y="199982"/>
                  </a:cubicBezTo>
                  <a:cubicBezTo>
                    <a:pt x="42310" y="199982"/>
                    <a:pt x="42591" y="199982"/>
                    <a:pt x="42874" y="199699"/>
                  </a:cubicBezTo>
                  <a:cubicBezTo>
                    <a:pt x="42874" y="199417"/>
                    <a:pt x="42591" y="199135"/>
                    <a:pt x="42027" y="198571"/>
                  </a:cubicBezTo>
                  <a:cubicBezTo>
                    <a:pt x="41745" y="198571"/>
                    <a:pt x="41745" y="198007"/>
                    <a:pt x="41745" y="198007"/>
                  </a:cubicBezTo>
                  <a:cubicBezTo>
                    <a:pt x="42310" y="197725"/>
                    <a:pt x="42591" y="197443"/>
                    <a:pt x="42591" y="196879"/>
                  </a:cubicBezTo>
                  <a:cubicBezTo>
                    <a:pt x="42591" y="196597"/>
                    <a:pt x="42310" y="196033"/>
                    <a:pt x="42310" y="195751"/>
                  </a:cubicBezTo>
                  <a:lnTo>
                    <a:pt x="42310" y="194058"/>
                  </a:lnTo>
                  <a:cubicBezTo>
                    <a:pt x="42591" y="193212"/>
                    <a:pt x="43155" y="192648"/>
                    <a:pt x="43438" y="192366"/>
                  </a:cubicBezTo>
                  <a:lnTo>
                    <a:pt x="43155" y="192084"/>
                  </a:lnTo>
                  <a:lnTo>
                    <a:pt x="43155" y="190673"/>
                  </a:lnTo>
                  <a:cubicBezTo>
                    <a:pt x="42874" y="190673"/>
                    <a:pt x="42874" y="190391"/>
                    <a:pt x="42874" y="190391"/>
                  </a:cubicBezTo>
                  <a:cubicBezTo>
                    <a:pt x="42874" y="190391"/>
                    <a:pt x="42874" y="190109"/>
                    <a:pt x="43155" y="189827"/>
                  </a:cubicBezTo>
                  <a:cubicBezTo>
                    <a:pt x="43720" y="189545"/>
                    <a:pt x="43720" y="188981"/>
                    <a:pt x="44002" y="188981"/>
                  </a:cubicBezTo>
                  <a:cubicBezTo>
                    <a:pt x="43720" y="188417"/>
                    <a:pt x="43720" y="187853"/>
                    <a:pt x="43720" y="187289"/>
                  </a:cubicBezTo>
                  <a:cubicBezTo>
                    <a:pt x="43720" y="187007"/>
                    <a:pt x="44002" y="186725"/>
                    <a:pt x="44002" y="186443"/>
                  </a:cubicBezTo>
                  <a:cubicBezTo>
                    <a:pt x="44002" y="186161"/>
                    <a:pt x="43720" y="185878"/>
                    <a:pt x="43720" y="185314"/>
                  </a:cubicBezTo>
                  <a:lnTo>
                    <a:pt x="43720" y="184750"/>
                  </a:lnTo>
                  <a:cubicBezTo>
                    <a:pt x="43720" y="184750"/>
                    <a:pt x="43720" y="184186"/>
                    <a:pt x="44566" y="183622"/>
                  </a:cubicBezTo>
                  <a:lnTo>
                    <a:pt x="44566" y="180519"/>
                  </a:lnTo>
                  <a:lnTo>
                    <a:pt x="44848" y="180237"/>
                  </a:lnTo>
                  <a:cubicBezTo>
                    <a:pt x="44284" y="179955"/>
                    <a:pt x="44284" y="179391"/>
                    <a:pt x="44284" y="179109"/>
                  </a:cubicBezTo>
                  <a:lnTo>
                    <a:pt x="44284" y="178545"/>
                  </a:lnTo>
                  <a:cubicBezTo>
                    <a:pt x="44284" y="177981"/>
                    <a:pt x="44284" y="177699"/>
                    <a:pt x="45130" y="177135"/>
                  </a:cubicBezTo>
                  <a:cubicBezTo>
                    <a:pt x="45130" y="177135"/>
                    <a:pt x="45130" y="176288"/>
                    <a:pt x="44848" y="176288"/>
                  </a:cubicBezTo>
                  <a:cubicBezTo>
                    <a:pt x="44566" y="176006"/>
                    <a:pt x="44566" y="176006"/>
                    <a:pt x="44566" y="175724"/>
                  </a:cubicBezTo>
                  <a:cubicBezTo>
                    <a:pt x="44566" y="175724"/>
                    <a:pt x="44566" y="175442"/>
                    <a:pt x="44848" y="175442"/>
                  </a:cubicBezTo>
                  <a:cubicBezTo>
                    <a:pt x="44848" y="175442"/>
                    <a:pt x="45130" y="175442"/>
                    <a:pt x="45130" y="175160"/>
                  </a:cubicBezTo>
                  <a:cubicBezTo>
                    <a:pt x="44848" y="174878"/>
                    <a:pt x="44566" y="174878"/>
                    <a:pt x="44566" y="174596"/>
                  </a:cubicBezTo>
                  <a:cubicBezTo>
                    <a:pt x="44002" y="174314"/>
                    <a:pt x="44002" y="174032"/>
                    <a:pt x="44002" y="173750"/>
                  </a:cubicBezTo>
                  <a:lnTo>
                    <a:pt x="44002" y="172340"/>
                  </a:lnTo>
                  <a:cubicBezTo>
                    <a:pt x="44284" y="172057"/>
                    <a:pt x="44284" y="171493"/>
                    <a:pt x="44284" y="170929"/>
                  </a:cubicBezTo>
                  <a:cubicBezTo>
                    <a:pt x="44566" y="170647"/>
                    <a:pt x="44566" y="170647"/>
                    <a:pt x="44566" y="170365"/>
                  </a:cubicBezTo>
                  <a:cubicBezTo>
                    <a:pt x="44566" y="170083"/>
                    <a:pt x="44284" y="169801"/>
                    <a:pt x="44284" y="169519"/>
                  </a:cubicBezTo>
                  <a:cubicBezTo>
                    <a:pt x="44284" y="169237"/>
                    <a:pt x="44566" y="168955"/>
                    <a:pt x="45130" y="168673"/>
                  </a:cubicBezTo>
                  <a:cubicBezTo>
                    <a:pt x="45412" y="168673"/>
                    <a:pt x="45412" y="168673"/>
                    <a:pt x="45412" y="168391"/>
                  </a:cubicBezTo>
                  <a:lnTo>
                    <a:pt x="45412" y="167262"/>
                  </a:lnTo>
                  <a:cubicBezTo>
                    <a:pt x="45412" y="167262"/>
                    <a:pt x="45130" y="167262"/>
                    <a:pt x="45130" y="166980"/>
                  </a:cubicBezTo>
                  <a:lnTo>
                    <a:pt x="45412" y="166698"/>
                  </a:lnTo>
                  <a:cubicBezTo>
                    <a:pt x="45412" y="166698"/>
                    <a:pt x="46258" y="165852"/>
                    <a:pt x="46258" y="165288"/>
                  </a:cubicBezTo>
                  <a:cubicBezTo>
                    <a:pt x="45694" y="164724"/>
                    <a:pt x="45412" y="164160"/>
                    <a:pt x="45412" y="163878"/>
                  </a:cubicBezTo>
                  <a:cubicBezTo>
                    <a:pt x="45412" y="163596"/>
                    <a:pt x="45412" y="163314"/>
                    <a:pt x="45976" y="162749"/>
                  </a:cubicBezTo>
                  <a:lnTo>
                    <a:pt x="45976" y="162185"/>
                  </a:lnTo>
                  <a:cubicBezTo>
                    <a:pt x="45976" y="161903"/>
                    <a:pt x="45976" y="161621"/>
                    <a:pt x="46540" y="161339"/>
                  </a:cubicBezTo>
                  <a:cubicBezTo>
                    <a:pt x="46822" y="161057"/>
                    <a:pt x="46822" y="160493"/>
                    <a:pt x="46822" y="159929"/>
                  </a:cubicBezTo>
                  <a:lnTo>
                    <a:pt x="46822" y="159083"/>
                  </a:lnTo>
                  <a:cubicBezTo>
                    <a:pt x="47104" y="159083"/>
                    <a:pt x="46822" y="158801"/>
                    <a:pt x="46822" y="158801"/>
                  </a:cubicBezTo>
                  <a:lnTo>
                    <a:pt x="46540" y="158801"/>
                  </a:lnTo>
                  <a:lnTo>
                    <a:pt x="46540" y="157954"/>
                  </a:lnTo>
                  <a:lnTo>
                    <a:pt x="46822" y="157672"/>
                  </a:lnTo>
                  <a:cubicBezTo>
                    <a:pt x="47668" y="157108"/>
                    <a:pt x="47951" y="156826"/>
                    <a:pt x="47951" y="156262"/>
                  </a:cubicBezTo>
                  <a:cubicBezTo>
                    <a:pt x="47668" y="155980"/>
                    <a:pt x="47668" y="155698"/>
                    <a:pt x="47668" y="155416"/>
                  </a:cubicBezTo>
                  <a:cubicBezTo>
                    <a:pt x="47668" y="155134"/>
                    <a:pt x="47951" y="154570"/>
                    <a:pt x="48232" y="154288"/>
                  </a:cubicBezTo>
                  <a:lnTo>
                    <a:pt x="48232" y="154006"/>
                  </a:lnTo>
                  <a:cubicBezTo>
                    <a:pt x="47951" y="153723"/>
                    <a:pt x="47668" y="153159"/>
                    <a:pt x="47668" y="152877"/>
                  </a:cubicBezTo>
                  <a:lnTo>
                    <a:pt x="47668" y="151749"/>
                  </a:lnTo>
                  <a:cubicBezTo>
                    <a:pt x="47668" y="151467"/>
                    <a:pt x="47668" y="151467"/>
                    <a:pt x="47951" y="151185"/>
                  </a:cubicBezTo>
                  <a:cubicBezTo>
                    <a:pt x="47951" y="150903"/>
                    <a:pt x="48232" y="150903"/>
                    <a:pt x="48232" y="150903"/>
                  </a:cubicBezTo>
                  <a:lnTo>
                    <a:pt x="48515" y="150903"/>
                  </a:lnTo>
                  <a:cubicBezTo>
                    <a:pt x="48515" y="150903"/>
                    <a:pt x="48796" y="150903"/>
                    <a:pt x="48796" y="150621"/>
                  </a:cubicBezTo>
                  <a:cubicBezTo>
                    <a:pt x="48796" y="150621"/>
                    <a:pt x="48515" y="150339"/>
                    <a:pt x="48515" y="150057"/>
                  </a:cubicBezTo>
                  <a:cubicBezTo>
                    <a:pt x="48515" y="150057"/>
                    <a:pt x="48232" y="149775"/>
                    <a:pt x="48232" y="149493"/>
                  </a:cubicBezTo>
                  <a:lnTo>
                    <a:pt x="48232" y="149210"/>
                  </a:lnTo>
                  <a:cubicBezTo>
                    <a:pt x="48796" y="148928"/>
                    <a:pt x="48796" y="148364"/>
                    <a:pt x="48796" y="148082"/>
                  </a:cubicBezTo>
                  <a:lnTo>
                    <a:pt x="48796" y="147800"/>
                  </a:lnTo>
                  <a:cubicBezTo>
                    <a:pt x="49079" y="147518"/>
                    <a:pt x="49079" y="147236"/>
                    <a:pt x="49079" y="147236"/>
                  </a:cubicBezTo>
                  <a:cubicBezTo>
                    <a:pt x="49079" y="146954"/>
                    <a:pt x="48796" y="146954"/>
                    <a:pt x="48796" y="146390"/>
                  </a:cubicBezTo>
                  <a:cubicBezTo>
                    <a:pt x="48515" y="146108"/>
                    <a:pt x="48232" y="145826"/>
                    <a:pt x="48232" y="145544"/>
                  </a:cubicBezTo>
                  <a:cubicBezTo>
                    <a:pt x="48232" y="145262"/>
                    <a:pt x="48515" y="145262"/>
                    <a:pt x="48796" y="144980"/>
                  </a:cubicBezTo>
                  <a:cubicBezTo>
                    <a:pt x="50489" y="144697"/>
                    <a:pt x="50489" y="144133"/>
                    <a:pt x="50771" y="143287"/>
                  </a:cubicBezTo>
                  <a:lnTo>
                    <a:pt x="50771" y="142441"/>
                  </a:lnTo>
                  <a:cubicBezTo>
                    <a:pt x="50489" y="142159"/>
                    <a:pt x="50489" y="141595"/>
                    <a:pt x="50489" y="141313"/>
                  </a:cubicBezTo>
                  <a:lnTo>
                    <a:pt x="50489" y="140185"/>
                  </a:lnTo>
                  <a:cubicBezTo>
                    <a:pt x="50771" y="139620"/>
                    <a:pt x="50771" y="138492"/>
                    <a:pt x="51053" y="137646"/>
                  </a:cubicBezTo>
                  <a:cubicBezTo>
                    <a:pt x="51053" y="137364"/>
                    <a:pt x="50771" y="137082"/>
                    <a:pt x="50771" y="136800"/>
                  </a:cubicBezTo>
                  <a:cubicBezTo>
                    <a:pt x="50771" y="136518"/>
                    <a:pt x="50771" y="136236"/>
                    <a:pt x="51053" y="135954"/>
                  </a:cubicBezTo>
                  <a:cubicBezTo>
                    <a:pt x="51053" y="135672"/>
                    <a:pt x="51335" y="135107"/>
                    <a:pt x="51335" y="134825"/>
                  </a:cubicBezTo>
                  <a:lnTo>
                    <a:pt x="51335" y="132851"/>
                  </a:lnTo>
                  <a:cubicBezTo>
                    <a:pt x="51899" y="132851"/>
                    <a:pt x="51899" y="132569"/>
                    <a:pt x="51899" y="132569"/>
                  </a:cubicBezTo>
                  <a:lnTo>
                    <a:pt x="51899" y="131159"/>
                  </a:lnTo>
                  <a:cubicBezTo>
                    <a:pt x="52182" y="130594"/>
                    <a:pt x="52182" y="130312"/>
                    <a:pt x="52182" y="129748"/>
                  </a:cubicBezTo>
                  <a:lnTo>
                    <a:pt x="51617" y="129466"/>
                  </a:lnTo>
                  <a:cubicBezTo>
                    <a:pt x="51617" y="129184"/>
                    <a:pt x="52182" y="128620"/>
                    <a:pt x="52463" y="128056"/>
                  </a:cubicBezTo>
                  <a:cubicBezTo>
                    <a:pt x="52463" y="128056"/>
                    <a:pt x="52746" y="127774"/>
                    <a:pt x="52746" y="127492"/>
                  </a:cubicBezTo>
                  <a:cubicBezTo>
                    <a:pt x="52746" y="127210"/>
                    <a:pt x="52463" y="126928"/>
                    <a:pt x="52463" y="126363"/>
                  </a:cubicBezTo>
                  <a:cubicBezTo>
                    <a:pt x="52463" y="126363"/>
                    <a:pt x="52463" y="125799"/>
                    <a:pt x="53310" y="125235"/>
                  </a:cubicBezTo>
                  <a:cubicBezTo>
                    <a:pt x="53592" y="125235"/>
                    <a:pt x="53592" y="124953"/>
                    <a:pt x="53592" y="124671"/>
                  </a:cubicBezTo>
                  <a:cubicBezTo>
                    <a:pt x="53592" y="124389"/>
                    <a:pt x="53592" y="124107"/>
                    <a:pt x="53310" y="123543"/>
                  </a:cubicBezTo>
                  <a:cubicBezTo>
                    <a:pt x="54156" y="123261"/>
                    <a:pt x="53592" y="122697"/>
                    <a:pt x="54438" y="122133"/>
                  </a:cubicBezTo>
                  <a:cubicBezTo>
                    <a:pt x="54720" y="122133"/>
                    <a:pt x="54438" y="121851"/>
                    <a:pt x="54156" y="121568"/>
                  </a:cubicBezTo>
                  <a:cubicBezTo>
                    <a:pt x="54156" y="121568"/>
                    <a:pt x="54438" y="120722"/>
                    <a:pt x="54438" y="120158"/>
                  </a:cubicBezTo>
                  <a:cubicBezTo>
                    <a:pt x="54438" y="120158"/>
                    <a:pt x="54438" y="119876"/>
                    <a:pt x="54720" y="119312"/>
                  </a:cubicBezTo>
                  <a:cubicBezTo>
                    <a:pt x="55284" y="119030"/>
                    <a:pt x="55284" y="118748"/>
                    <a:pt x="55566" y="118466"/>
                  </a:cubicBezTo>
                  <a:lnTo>
                    <a:pt x="55566" y="116209"/>
                  </a:lnTo>
                  <a:cubicBezTo>
                    <a:pt x="55566" y="115927"/>
                    <a:pt x="54720" y="115645"/>
                    <a:pt x="54720" y="115363"/>
                  </a:cubicBezTo>
                  <a:cubicBezTo>
                    <a:pt x="54720" y="115081"/>
                    <a:pt x="55002" y="114799"/>
                    <a:pt x="55284" y="114235"/>
                  </a:cubicBezTo>
                  <a:cubicBezTo>
                    <a:pt x="55566" y="113953"/>
                    <a:pt x="55284" y="113107"/>
                    <a:pt x="56413" y="112542"/>
                  </a:cubicBezTo>
                  <a:lnTo>
                    <a:pt x="56413" y="110850"/>
                  </a:lnTo>
                  <a:cubicBezTo>
                    <a:pt x="56977" y="110568"/>
                    <a:pt x="56977" y="110568"/>
                    <a:pt x="56977" y="110286"/>
                  </a:cubicBezTo>
                  <a:lnTo>
                    <a:pt x="56977" y="109722"/>
                  </a:lnTo>
                  <a:lnTo>
                    <a:pt x="57258" y="109440"/>
                  </a:lnTo>
                  <a:lnTo>
                    <a:pt x="57258" y="109158"/>
                  </a:lnTo>
                  <a:cubicBezTo>
                    <a:pt x="57258" y="108594"/>
                    <a:pt x="57823" y="108312"/>
                    <a:pt x="57823" y="107747"/>
                  </a:cubicBezTo>
                  <a:lnTo>
                    <a:pt x="57823" y="105491"/>
                  </a:lnTo>
                  <a:cubicBezTo>
                    <a:pt x="58105" y="105491"/>
                    <a:pt x="58105" y="105209"/>
                    <a:pt x="58105" y="104927"/>
                  </a:cubicBezTo>
                  <a:lnTo>
                    <a:pt x="58105" y="103517"/>
                  </a:lnTo>
                  <a:cubicBezTo>
                    <a:pt x="58105" y="103234"/>
                    <a:pt x="58951" y="102388"/>
                    <a:pt x="58951" y="101824"/>
                  </a:cubicBezTo>
                  <a:cubicBezTo>
                    <a:pt x="58951" y="101542"/>
                    <a:pt x="58951" y="101542"/>
                    <a:pt x="58669" y="101260"/>
                  </a:cubicBezTo>
                  <a:cubicBezTo>
                    <a:pt x="59233" y="100696"/>
                    <a:pt x="59515" y="100132"/>
                    <a:pt x="59515" y="99850"/>
                  </a:cubicBezTo>
                  <a:cubicBezTo>
                    <a:pt x="59515" y="99568"/>
                    <a:pt x="59233" y="99568"/>
                    <a:pt x="59233" y="99286"/>
                  </a:cubicBezTo>
                  <a:lnTo>
                    <a:pt x="59233" y="98721"/>
                  </a:lnTo>
                  <a:cubicBezTo>
                    <a:pt x="59233" y="98157"/>
                    <a:pt x="59515" y="97311"/>
                    <a:pt x="59797" y="96747"/>
                  </a:cubicBezTo>
                  <a:cubicBezTo>
                    <a:pt x="60079" y="96465"/>
                    <a:pt x="60079" y="96465"/>
                    <a:pt x="60079" y="96183"/>
                  </a:cubicBezTo>
                  <a:cubicBezTo>
                    <a:pt x="60079" y="95619"/>
                    <a:pt x="64874" y="78413"/>
                    <a:pt x="64592" y="77849"/>
                  </a:cubicBezTo>
                  <a:cubicBezTo>
                    <a:pt x="64874" y="77003"/>
                    <a:pt x="65720" y="77003"/>
                    <a:pt x="65720" y="76721"/>
                  </a:cubicBezTo>
                  <a:lnTo>
                    <a:pt x="65720" y="76439"/>
                  </a:lnTo>
                  <a:cubicBezTo>
                    <a:pt x="65720" y="75875"/>
                    <a:pt x="65438" y="75310"/>
                    <a:pt x="65156" y="75028"/>
                  </a:cubicBezTo>
                  <a:cubicBezTo>
                    <a:pt x="64592" y="75028"/>
                    <a:pt x="64592" y="74746"/>
                    <a:pt x="64592" y="74464"/>
                  </a:cubicBezTo>
                  <a:cubicBezTo>
                    <a:pt x="64592" y="74182"/>
                    <a:pt x="65438" y="74182"/>
                    <a:pt x="65720" y="74182"/>
                  </a:cubicBezTo>
                  <a:cubicBezTo>
                    <a:pt x="66566" y="74182"/>
                    <a:pt x="66849" y="73618"/>
                    <a:pt x="66849" y="73054"/>
                  </a:cubicBezTo>
                  <a:cubicBezTo>
                    <a:pt x="66566" y="72490"/>
                    <a:pt x="66566" y="72208"/>
                    <a:pt x="66566" y="71926"/>
                  </a:cubicBezTo>
                  <a:cubicBezTo>
                    <a:pt x="66566" y="71644"/>
                    <a:pt x="67130" y="71362"/>
                    <a:pt x="67130" y="71079"/>
                  </a:cubicBezTo>
                  <a:cubicBezTo>
                    <a:pt x="70516" y="59515"/>
                    <a:pt x="69669" y="63182"/>
                    <a:pt x="70797" y="58669"/>
                  </a:cubicBezTo>
                  <a:lnTo>
                    <a:pt x="69105" y="58669"/>
                  </a:lnTo>
                  <a:cubicBezTo>
                    <a:pt x="68823" y="58669"/>
                    <a:pt x="68259" y="59233"/>
                    <a:pt x="67977" y="59233"/>
                  </a:cubicBezTo>
                  <a:cubicBezTo>
                    <a:pt x="66285" y="59515"/>
                    <a:pt x="65156" y="59515"/>
                    <a:pt x="63182" y="60643"/>
                  </a:cubicBezTo>
                  <a:lnTo>
                    <a:pt x="62618" y="60643"/>
                  </a:lnTo>
                  <a:cubicBezTo>
                    <a:pt x="61772" y="60643"/>
                    <a:pt x="61489" y="60079"/>
                    <a:pt x="61208" y="59797"/>
                  </a:cubicBezTo>
                  <a:lnTo>
                    <a:pt x="60361" y="59797"/>
                  </a:lnTo>
                  <a:cubicBezTo>
                    <a:pt x="59797" y="59797"/>
                    <a:pt x="59233" y="59797"/>
                    <a:pt x="58951" y="60079"/>
                  </a:cubicBezTo>
                  <a:cubicBezTo>
                    <a:pt x="58669" y="60643"/>
                    <a:pt x="58105" y="60925"/>
                    <a:pt x="58105" y="60925"/>
                  </a:cubicBezTo>
                  <a:lnTo>
                    <a:pt x="56694" y="60925"/>
                  </a:lnTo>
                  <a:cubicBezTo>
                    <a:pt x="56130" y="60925"/>
                    <a:pt x="56130" y="60925"/>
                    <a:pt x="55566" y="61207"/>
                  </a:cubicBezTo>
                  <a:cubicBezTo>
                    <a:pt x="55284" y="61771"/>
                    <a:pt x="54720" y="61771"/>
                    <a:pt x="54720" y="61771"/>
                  </a:cubicBezTo>
                  <a:lnTo>
                    <a:pt x="54156" y="61771"/>
                  </a:lnTo>
                  <a:cubicBezTo>
                    <a:pt x="53310" y="61771"/>
                    <a:pt x="52182" y="62053"/>
                    <a:pt x="51053" y="62618"/>
                  </a:cubicBezTo>
                  <a:lnTo>
                    <a:pt x="47386" y="63182"/>
                  </a:lnTo>
                  <a:lnTo>
                    <a:pt x="46540" y="63182"/>
                  </a:lnTo>
                  <a:cubicBezTo>
                    <a:pt x="45412" y="63464"/>
                    <a:pt x="45130" y="63746"/>
                    <a:pt x="45130" y="63746"/>
                  </a:cubicBezTo>
                  <a:cubicBezTo>
                    <a:pt x="44848" y="64028"/>
                    <a:pt x="44848" y="64028"/>
                    <a:pt x="44566" y="64028"/>
                  </a:cubicBezTo>
                  <a:cubicBezTo>
                    <a:pt x="44284" y="64028"/>
                    <a:pt x="44284" y="64028"/>
                    <a:pt x="44284" y="63746"/>
                  </a:cubicBezTo>
                  <a:lnTo>
                    <a:pt x="44284" y="63464"/>
                  </a:lnTo>
                  <a:lnTo>
                    <a:pt x="44566" y="63182"/>
                  </a:lnTo>
                  <a:lnTo>
                    <a:pt x="44284" y="63182"/>
                  </a:lnTo>
                  <a:lnTo>
                    <a:pt x="44284" y="62618"/>
                  </a:lnTo>
                  <a:cubicBezTo>
                    <a:pt x="44002" y="62618"/>
                    <a:pt x="43438" y="62900"/>
                    <a:pt x="43438" y="62900"/>
                  </a:cubicBezTo>
                  <a:lnTo>
                    <a:pt x="43438" y="63182"/>
                  </a:lnTo>
                  <a:cubicBezTo>
                    <a:pt x="43438" y="63182"/>
                    <a:pt x="44002" y="63182"/>
                    <a:pt x="44002" y="63464"/>
                  </a:cubicBezTo>
                  <a:cubicBezTo>
                    <a:pt x="43720" y="63746"/>
                    <a:pt x="43438" y="64310"/>
                    <a:pt x="42874" y="64310"/>
                  </a:cubicBezTo>
                  <a:lnTo>
                    <a:pt x="42591" y="64310"/>
                  </a:lnTo>
                  <a:lnTo>
                    <a:pt x="42310" y="64592"/>
                  </a:lnTo>
                  <a:lnTo>
                    <a:pt x="42027" y="64592"/>
                  </a:lnTo>
                  <a:cubicBezTo>
                    <a:pt x="41745" y="64592"/>
                    <a:pt x="41463" y="64310"/>
                    <a:pt x="41463" y="64310"/>
                  </a:cubicBezTo>
                  <a:lnTo>
                    <a:pt x="41745" y="64028"/>
                  </a:lnTo>
                  <a:lnTo>
                    <a:pt x="41463" y="64028"/>
                  </a:lnTo>
                  <a:cubicBezTo>
                    <a:pt x="41181" y="64028"/>
                    <a:pt x="40899" y="63746"/>
                    <a:pt x="40899" y="63746"/>
                  </a:cubicBezTo>
                  <a:lnTo>
                    <a:pt x="40899" y="64028"/>
                  </a:lnTo>
                  <a:cubicBezTo>
                    <a:pt x="40335" y="64310"/>
                    <a:pt x="40335" y="64874"/>
                    <a:pt x="39771" y="65438"/>
                  </a:cubicBezTo>
                  <a:cubicBezTo>
                    <a:pt x="39489" y="65720"/>
                    <a:pt x="39207" y="65720"/>
                    <a:pt x="38924" y="65720"/>
                  </a:cubicBezTo>
                  <a:cubicBezTo>
                    <a:pt x="38360" y="65438"/>
                    <a:pt x="38643" y="64874"/>
                    <a:pt x="38360" y="64874"/>
                  </a:cubicBezTo>
                  <a:cubicBezTo>
                    <a:pt x="38079" y="64874"/>
                    <a:pt x="37232" y="65438"/>
                    <a:pt x="36668" y="65720"/>
                  </a:cubicBezTo>
                  <a:lnTo>
                    <a:pt x="34129" y="66284"/>
                  </a:lnTo>
                  <a:lnTo>
                    <a:pt x="33001" y="66284"/>
                  </a:lnTo>
                  <a:cubicBezTo>
                    <a:pt x="33001" y="66849"/>
                    <a:pt x="32719" y="66849"/>
                    <a:pt x="32437" y="66849"/>
                  </a:cubicBezTo>
                  <a:cubicBezTo>
                    <a:pt x="32155" y="66849"/>
                    <a:pt x="31873" y="66849"/>
                    <a:pt x="31873" y="66566"/>
                  </a:cubicBezTo>
                  <a:cubicBezTo>
                    <a:pt x="31309" y="66566"/>
                    <a:pt x="30745" y="66849"/>
                    <a:pt x="30462" y="67131"/>
                  </a:cubicBezTo>
                  <a:cubicBezTo>
                    <a:pt x="29052" y="67413"/>
                    <a:pt x="28206" y="67977"/>
                    <a:pt x="27078" y="67977"/>
                  </a:cubicBezTo>
                  <a:lnTo>
                    <a:pt x="26514" y="67977"/>
                  </a:lnTo>
                  <a:cubicBezTo>
                    <a:pt x="25668" y="68541"/>
                    <a:pt x="25104" y="69105"/>
                    <a:pt x="25104" y="69105"/>
                  </a:cubicBezTo>
                  <a:lnTo>
                    <a:pt x="23411" y="69105"/>
                  </a:lnTo>
                  <a:cubicBezTo>
                    <a:pt x="23129" y="69105"/>
                    <a:pt x="22847" y="69105"/>
                    <a:pt x="22565" y="68823"/>
                  </a:cubicBezTo>
                  <a:cubicBezTo>
                    <a:pt x="22001" y="68823"/>
                    <a:pt x="21719" y="69105"/>
                    <a:pt x="21719" y="69105"/>
                  </a:cubicBezTo>
                  <a:cubicBezTo>
                    <a:pt x="21155" y="69669"/>
                    <a:pt x="20309" y="69387"/>
                    <a:pt x="19744" y="70515"/>
                  </a:cubicBezTo>
                  <a:cubicBezTo>
                    <a:pt x="18898" y="70797"/>
                    <a:pt x="18616" y="70797"/>
                    <a:pt x="18616" y="70797"/>
                  </a:cubicBezTo>
                  <a:cubicBezTo>
                    <a:pt x="18616" y="70515"/>
                    <a:pt x="18616" y="70515"/>
                    <a:pt x="18052" y="70515"/>
                  </a:cubicBezTo>
                  <a:lnTo>
                    <a:pt x="16360" y="70515"/>
                  </a:lnTo>
                  <a:cubicBezTo>
                    <a:pt x="15513" y="70515"/>
                    <a:pt x="14949" y="70797"/>
                    <a:pt x="13257" y="72208"/>
                  </a:cubicBezTo>
                  <a:lnTo>
                    <a:pt x="11000" y="72208"/>
                  </a:lnTo>
                  <a:cubicBezTo>
                    <a:pt x="9308" y="73336"/>
                    <a:pt x="4795" y="74746"/>
                    <a:pt x="2821" y="74746"/>
                  </a:cubicBezTo>
                  <a:cubicBezTo>
                    <a:pt x="2257" y="74746"/>
                    <a:pt x="1975" y="75310"/>
                    <a:pt x="1410" y="75592"/>
                  </a:cubicBezTo>
                  <a:cubicBezTo>
                    <a:pt x="1128" y="76157"/>
                    <a:pt x="564" y="76157"/>
                    <a:pt x="282" y="76157"/>
                  </a:cubicBezTo>
                  <a:cubicBezTo>
                    <a:pt x="0" y="76157"/>
                    <a:pt x="0" y="75592"/>
                    <a:pt x="0" y="75028"/>
                  </a:cubicBezTo>
                  <a:cubicBezTo>
                    <a:pt x="0" y="72208"/>
                    <a:pt x="4231" y="62900"/>
                    <a:pt x="7898" y="62900"/>
                  </a:cubicBezTo>
                  <a:lnTo>
                    <a:pt x="8744" y="62900"/>
                  </a:lnTo>
                  <a:lnTo>
                    <a:pt x="8744" y="63182"/>
                  </a:lnTo>
                  <a:lnTo>
                    <a:pt x="9872" y="63182"/>
                  </a:lnTo>
                  <a:cubicBezTo>
                    <a:pt x="10154" y="63182"/>
                    <a:pt x="9590" y="63746"/>
                    <a:pt x="9308" y="64028"/>
                  </a:cubicBezTo>
                  <a:lnTo>
                    <a:pt x="8744" y="65156"/>
                  </a:lnTo>
                  <a:lnTo>
                    <a:pt x="8744" y="66566"/>
                  </a:lnTo>
                  <a:cubicBezTo>
                    <a:pt x="8744" y="66849"/>
                    <a:pt x="9026" y="66566"/>
                    <a:pt x="9308" y="66566"/>
                  </a:cubicBezTo>
                  <a:lnTo>
                    <a:pt x="9308" y="66002"/>
                  </a:lnTo>
                  <a:cubicBezTo>
                    <a:pt x="9590" y="65156"/>
                    <a:pt x="10436" y="65156"/>
                    <a:pt x="11000" y="65156"/>
                  </a:cubicBezTo>
                  <a:lnTo>
                    <a:pt x="11282" y="65156"/>
                  </a:lnTo>
                  <a:lnTo>
                    <a:pt x="11282" y="65438"/>
                  </a:lnTo>
                  <a:cubicBezTo>
                    <a:pt x="11282" y="65720"/>
                    <a:pt x="11000" y="66002"/>
                    <a:pt x="11000" y="66002"/>
                  </a:cubicBezTo>
                  <a:cubicBezTo>
                    <a:pt x="11565" y="66002"/>
                    <a:pt x="11847" y="66284"/>
                    <a:pt x="11847" y="66284"/>
                  </a:cubicBezTo>
                  <a:cubicBezTo>
                    <a:pt x="12411" y="66284"/>
                    <a:pt x="12411" y="66284"/>
                    <a:pt x="12693" y="66002"/>
                  </a:cubicBezTo>
                  <a:lnTo>
                    <a:pt x="13257" y="65720"/>
                  </a:lnTo>
                  <a:lnTo>
                    <a:pt x="13821" y="65720"/>
                  </a:lnTo>
                  <a:cubicBezTo>
                    <a:pt x="13821" y="66002"/>
                    <a:pt x="14103" y="66002"/>
                    <a:pt x="14103" y="66002"/>
                  </a:cubicBezTo>
                  <a:cubicBezTo>
                    <a:pt x="14385" y="66002"/>
                    <a:pt x="14949" y="65438"/>
                    <a:pt x="15513" y="65438"/>
                  </a:cubicBezTo>
                  <a:cubicBezTo>
                    <a:pt x="15513" y="65438"/>
                    <a:pt x="15513" y="65156"/>
                    <a:pt x="16078" y="64874"/>
                  </a:cubicBezTo>
                  <a:lnTo>
                    <a:pt x="16078" y="64028"/>
                  </a:lnTo>
                  <a:cubicBezTo>
                    <a:pt x="15513" y="64028"/>
                    <a:pt x="15513" y="64028"/>
                    <a:pt x="15513" y="63746"/>
                  </a:cubicBezTo>
                  <a:cubicBezTo>
                    <a:pt x="15513" y="63464"/>
                    <a:pt x="15513" y="63182"/>
                    <a:pt x="15796" y="62618"/>
                  </a:cubicBezTo>
                  <a:cubicBezTo>
                    <a:pt x="15796" y="62336"/>
                    <a:pt x="15513" y="62336"/>
                    <a:pt x="14949" y="62336"/>
                  </a:cubicBezTo>
                  <a:cubicBezTo>
                    <a:pt x="15513" y="61771"/>
                    <a:pt x="16642" y="60643"/>
                    <a:pt x="17206" y="60643"/>
                  </a:cubicBezTo>
                  <a:cubicBezTo>
                    <a:pt x="18616" y="60079"/>
                    <a:pt x="20309" y="60079"/>
                    <a:pt x="21155" y="59515"/>
                  </a:cubicBezTo>
                  <a:cubicBezTo>
                    <a:pt x="22001" y="59233"/>
                    <a:pt x="22565" y="59233"/>
                    <a:pt x="23129" y="59233"/>
                  </a:cubicBezTo>
                  <a:cubicBezTo>
                    <a:pt x="23976" y="58951"/>
                    <a:pt x="24821" y="58951"/>
                    <a:pt x="25668" y="58951"/>
                  </a:cubicBezTo>
                  <a:lnTo>
                    <a:pt x="26514" y="58951"/>
                  </a:lnTo>
                  <a:cubicBezTo>
                    <a:pt x="27642" y="57823"/>
                    <a:pt x="29334" y="57823"/>
                    <a:pt x="30462" y="57258"/>
                  </a:cubicBezTo>
                  <a:lnTo>
                    <a:pt x="33001" y="57258"/>
                  </a:lnTo>
                  <a:cubicBezTo>
                    <a:pt x="33001" y="57258"/>
                    <a:pt x="33848" y="57541"/>
                    <a:pt x="34129" y="57541"/>
                  </a:cubicBezTo>
                  <a:lnTo>
                    <a:pt x="34129" y="57823"/>
                  </a:lnTo>
                  <a:cubicBezTo>
                    <a:pt x="34129" y="58387"/>
                    <a:pt x="33848" y="58387"/>
                    <a:pt x="33283" y="58669"/>
                  </a:cubicBezTo>
                  <a:cubicBezTo>
                    <a:pt x="32437" y="58669"/>
                    <a:pt x="31591" y="58951"/>
                    <a:pt x="31309" y="60079"/>
                  </a:cubicBezTo>
                  <a:cubicBezTo>
                    <a:pt x="31309" y="60079"/>
                    <a:pt x="31027" y="60079"/>
                    <a:pt x="30745" y="60643"/>
                  </a:cubicBezTo>
                  <a:lnTo>
                    <a:pt x="29898" y="61207"/>
                  </a:lnTo>
                  <a:lnTo>
                    <a:pt x="29898" y="61489"/>
                  </a:lnTo>
                  <a:lnTo>
                    <a:pt x="31027" y="61489"/>
                  </a:lnTo>
                  <a:lnTo>
                    <a:pt x="31873" y="60925"/>
                  </a:lnTo>
                  <a:cubicBezTo>
                    <a:pt x="31873" y="60925"/>
                    <a:pt x="32155" y="60643"/>
                    <a:pt x="32437" y="60079"/>
                  </a:cubicBezTo>
                  <a:cubicBezTo>
                    <a:pt x="32437" y="60079"/>
                    <a:pt x="32437" y="59797"/>
                    <a:pt x="33001" y="59797"/>
                  </a:cubicBezTo>
                  <a:lnTo>
                    <a:pt x="33283" y="59797"/>
                  </a:lnTo>
                  <a:cubicBezTo>
                    <a:pt x="33283" y="60079"/>
                    <a:pt x="33848" y="60361"/>
                    <a:pt x="33848" y="60925"/>
                  </a:cubicBezTo>
                  <a:cubicBezTo>
                    <a:pt x="34129" y="61207"/>
                    <a:pt x="34412" y="61207"/>
                    <a:pt x="34693" y="61207"/>
                  </a:cubicBezTo>
                  <a:lnTo>
                    <a:pt x="36104" y="61207"/>
                  </a:lnTo>
                  <a:cubicBezTo>
                    <a:pt x="36386" y="60643"/>
                    <a:pt x="36950" y="60643"/>
                    <a:pt x="37514" y="60643"/>
                  </a:cubicBezTo>
                  <a:lnTo>
                    <a:pt x="38360" y="60643"/>
                  </a:lnTo>
                  <a:lnTo>
                    <a:pt x="38360" y="60361"/>
                  </a:lnTo>
                  <a:lnTo>
                    <a:pt x="39207" y="58669"/>
                  </a:lnTo>
                  <a:cubicBezTo>
                    <a:pt x="39207" y="58669"/>
                    <a:pt x="40053" y="58105"/>
                    <a:pt x="40053" y="58387"/>
                  </a:cubicBezTo>
                  <a:cubicBezTo>
                    <a:pt x="40053" y="58387"/>
                    <a:pt x="40053" y="58669"/>
                    <a:pt x="39771" y="58951"/>
                  </a:cubicBezTo>
                  <a:cubicBezTo>
                    <a:pt x="39771" y="59515"/>
                    <a:pt x="39489" y="59797"/>
                    <a:pt x="39207" y="60361"/>
                  </a:cubicBezTo>
                  <a:lnTo>
                    <a:pt x="39207" y="60925"/>
                  </a:lnTo>
                  <a:lnTo>
                    <a:pt x="39771" y="60925"/>
                  </a:lnTo>
                  <a:cubicBezTo>
                    <a:pt x="40617" y="60925"/>
                    <a:pt x="40899" y="59797"/>
                    <a:pt x="41181" y="59515"/>
                  </a:cubicBezTo>
                  <a:cubicBezTo>
                    <a:pt x="41181" y="59233"/>
                    <a:pt x="40899" y="58951"/>
                    <a:pt x="40899" y="58669"/>
                  </a:cubicBezTo>
                  <a:lnTo>
                    <a:pt x="40899" y="58387"/>
                  </a:lnTo>
                  <a:cubicBezTo>
                    <a:pt x="40899" y="58387"/>
                    <a:pt x="40899" y="58105"/>
                    <a:pt x="41181" y="58105"/>
                  </a:cubicBezTo>
                  <a:lnTo>
                    <a:pt x="42310" y="56694"/>
                  </a:lnTo>
                  <a:lnTo>
                    <a:pt x="40899" y="56412"/>
                  </a:lnTo>
                  <a:lnTo>
                    <a:pt x="40899" y="56130"/>
                  </a:lnTo>
                  <a:lnTo>
                    <a:pt x="40617" y="56130"/>
                  </a:lnTo>
                  <a:lnTo>
                    <a:pt x="39771" y="56412"/>
                  </a:lnTo>
                  <a:cubicBezTo>
                    <a:pt x="38924" y="56694"/>
                    <a:pt x="38643" y="56976"/>
                    <a:pt x="38360" y="58105"/>
                  </a:cubicBezTo>
                  <a:cubicBezTo>
                    <a:pt x="38360" y="57823"/>
                    <a:pt x="38360" y="57258"/>
                    <a:pt x="38079" y="57258"/>
                  </a:cubicBezTo>
                  <a:lnTo>
                    <a:pt x="36668" y="57258"/>
                  </a:lnTo>
                  <a:close/>
                  <a:moveTo>
                    <a:pt x="18052" y="62053"/>
                  </a:moveTo>
                  <a:cubicBezTo>
                    <a:pt x="17488" y="62336"/>
                    <a:pt x="16924" y="63182"/>
                    <a:pt x="16078" y="64028"/>
                  </a:cubicBezTo>
                  <a:cubicBezTo>
                    <a:pt x="16642" y="64028"/>
                    <a:pt x="17488" y="63182"/>
                    <a:pt x="18052" y="62336"/>
                  </a:cubicBezTo>
                  <a:cubicBezTo>
                    <a:pt x="18334" y="62336"/>
                    <a:pt x="18052" y="62053"/>
                    <a:pt x="18052" y="62053"/>
                  </a:cubicBezTo>
                  <a:close/>
                  <a:moveTo>
                    <a:pt x="17206" y="66849"/>
                  </a:moveTo>
                  <a:lnTo>
                    <a:pt x="16360" y="66849"/>
                  </a:lnTo>
                  <a:lnTo>
                    <a:pt x="16360" y="67977"/>
                  </a:lnTo>
                  <a:cubicBezTo>
                    <a:pt x="16360" y="67695"/>
                    <a:pt x="16642" y="67695"/>
                    <a:pt x="16924" y="67413"/>
                  </a:cubicBezTo>
                  <a:lnTo>
                    <a:pt x="17206" y="66849"/>
                  </a:lnTo>
                  <a:close/>
                  <a:moveTo>
                    <a:pt x="20027" y="65720"/>
                  </a:moveTo>
                  <a:lnTo>
                    <a:pt x="20309" y="65720"/>
                  </a:lnTo>
                  <a:cubicBezTo>
                    <a:pt x="20591" y="65438"/>
                    <a:pt x="20591" y="65156"/>
                    <a:pt x="20591" y="65156"/>
                  </a:cubicBezTo>
                  <a:cubicBezTo>
                    <a:pt x="20591" y="65156"/>
                    <a:pt x="21155" y="64874"/>
                    <a:pt x="21155" y="64592"/>
                  </a:cubicBezTo>
                  <a:lnTo>
                    <a:pt x="21155" y="64310"/>
                  </a:lnTo>
                  <a:lnTo>
                    <a:pt x="20873" y="64310"/>
                  </a:lnTo>
                  <a:cubicBezTo>
                    <a:pt x="20309" y="64310"/>
                    <a:pt x="19744" y="64310"/>
                    <a:pt x="19180" y="65156"/>
                  </a:cubicBezTo>
                  <a:cubicBezTo>
                    <a:pt x="19180" y="65438"/>
                    <a:pt x="19744" y="65720"/>
                    <a:pt x="20027" y="65720"/>
                  </a:cubicBezTo>
                  <a:close/>
                  <a:moveTo>
                    <a:pt x="28206" y="60079"/>
                  </a:moveTo>
                  <a:lnTo>
                    <a:pt x="26514" y="61489"/>
                  </a:lnTo>
                  <a:lnTo>
                    <a:pt x="26514" y="61771"/>
                  </a:lnTo>
                  <a:lnTo>
                    <a:pt x="27078" y="61771"/>
                  </a:lnTo>
                  <a:cubicBezTo>
                    <a:pt x="27642" y="61771"/>
                    <a:pt x="27924" y="61771"/>
                    <a:pt x="27924" y="61207"/>
                  </a:cubicBezTo>
                  <a:cubicBezTo>
                    <a:pt x="27924" y="61207"/>
                    <a:pt x="28206" y="60925"/>
                    <a:pt x="28206" y="60361"/>
                  </a:cubicBezTo>
                  <a:lnTo>
                    <a:pt x="28206" y="60079"/>
                  </a:lnTo>
                  <a:close/>
                  <a:moveTo>
                    <a:pt x="38360" y="58669"/>
                  </a:moveTo>
                  <a:cubicBezTo>
                    <a:pt x="38360" y="58951"/>
                    <a:pt x="38079" y="59233"/>
                    <a:pt x="38079" y="59233"/>
                  </a:cubicBezTo>
                  <a:cubicBezTo>
                    <a:pt x="38079" y="59515"/>
                    <a:pt x="38079" y="59515"/>
                    <a:pt x="37796" y="59515"/>
                  </a:cubicBezTo>
                  <a:cubicBezTo>
                    <a:pt x="37796" y="59515"/>
                    <a:pt x="37514" y="59233"/>
                    <a:pt x="37514" y="58951"/>
                  </a:cubicBezTo>
                  <a:cubicBezTo>
                    <a:pt x="38079" y="58387"/>
                    <a:pt x="38360" y="58387"/>
                    <a:pt x="38360" y="58387"/>
                  </a:cubicBezTo>
                  <a:lnTo>
                    <a:pt x="38360" y="58669"/>
                  </a:lnTo>
                  <a:close/>
                  <a:moveTo>
                    <a:pt x="45130" y="236649"/>
                  </a:moveTo>
                  <a:cubicBezTo>
                    <a:pt x="45130" y="236649"/>
                    <a:pt x="44848" y="236649"/>
                    <a:pt x="44848" y="236367"/>
                  </a:cubicBezTo>
                  <a:cubicBezTo>
                    <a:pt x="44848" y="236367"/>
                    <a:pt x="45130" y="236367"/>
                    <a:pt x="45130" y="236085"/>
                  </a:cubicBezTo>
                  <a:lnTo>
                    <a:pt x="45130" y="236649"/>
                  </a:lnTo>
                  <a:close/>
                  <a:moveTo>
                    <a:pt x="59233" y="203366"/>
                  </a:moveTo>
                  <a:cubicBezTo>
                    <a:pt x="59515" y="203366"/>
                    <a:pt x="59797" y="203084"/>
                    <a:pt x="60079" y="202520"/>
                  </a:cubicBezTo>
                  <a:cubicBezTo>
                    <a:pt x="60079" y="202238"/>
                    <a:pt x="59797" y="201674"/>
                    <a:pt x="59797" y="201674"/>
                  </a:cubicBezTo>
                  <a:cubicBezTo>
                    <a:pt x="59797" y="201674"/>
                    <a:pt x="60361" y="201392"/>
                    <a:pt x="60361" y="201110"/>
                  </a:cubicBezTo>
                  <a:cubicBezTo>
                    <a:pt x="59797" y="200828"/>
                    <a:pt x="59797" y="200264"/>
                    <a:pt x="59233" y="200264"/>
                  </a:cubicBezTo>
                  <a:lnTo>
                    <a:pt x="59515" y="202520"/>
                  </a:lnTo>
                  <a:cubicBezTo>
                    <a:pt x="59515" y="202802"/>
                    <a:pt x="58951" y="203084"/>
                    <a:pt x="58951" y="203084"/>
                  </a:cubicBezTo>
                  <a:lnTo>
                    <a:pt x="58669" y="203084"/>
                  </a:lnTo>
                  <a:cubicBezTo>
                    <a:pt x="58669" y="203084"/>
                    <a:pt x="58669" y="203366"/>
                    <a:pt x="58951" y="203366"/>
                  </a:cubicBezTo>
                  <a:lnTo>
                    <a:pt x="59233" y="203366"/>
                  </a:lnTo>
                  <a:close/>
                  <a:moveTo>
                    <a:pt x="59515" y="210700"/>
                  </a:moveTo>
                  <a:lnTo>
                    <a:pt x="59515" y="212392"/>
                  </a:lnTo>
                  <a:cubicBezTo>
                    <a:pt x="60079" y="212674"/>
                    <a:pt x="60361" y="212674"/>
                    <a:pt x="60361" y="212674"/>
                  </a:cubicBezTo>
                  <a:lnTo>
                    <a:pt x="60925" y="212674"/>
                  </a:lnTo>
                  <a:lnTo>
                    <a:pt x="60644" y="212392"/>
                  </a:lnTo>
                  <a:lnTo>
                    <a:pt x="60644" y="210700"/>
                  </a:lnTo>
                  <a:lnTo>
                    <a:pt x="59515" y="210700"/>
                  </a:lnTo>
                  <a:close/>
                  <a:moveTo>
                    <a:pt x="59515" y="220008"/>
                  </a:moveTo>
                  <a:cubicBezTo>
                    <a:pt x="59515" y="220290"/>
                    <a:pt x="59515" y="220572"/>
                    <a:pt x="59797" y="220854"/>
                  </a:cubicBezTo>
                  <a:cubicBezTo>
                    <a:pt x="59797" y="220854"/>
                    <a:pt x="59797" y="221136"/>
                    <a:pt x="60079" y="221136"/>
                  </a:cubicBezTo>
                  <a:lnTo>
                    <a:pt x="60079" y="220854"/>
                  </a:lnTo>
                  <a:cubicBezTo>
                    <a:pt x="60644" y="220572"/>
                    <a:pt x="60644" y="220008"/>
                    <a:pt x="60644" y="219726"/>
                  </a:cubicBezTo>
                  <a:cubicBezTo>
                    <a:pt x="60644" y="219444"/>
                    <a:pt x="60361" y="219162"/>
                    <a:pt x="59797" y="219162"/>
                  </a:cubicBezTo>
                  <a:cubicBezTo>
                    <a:pt x="59515" y="219162"/>
                    <a:pt x="59515" y="219444"/>
                    <a:pt x="59515" y="219726"/>
                  </a:cubicBezTo>
                  <a:lnTo>
                    <a:pt x="59515" y="220008"/>
                  </a:lnTo>
                  <a:close/>
                  <a:moveTo>
                    <a:pt x="59797" y="187007"/>
                  </a:moveTo>
                  <a:lnTo>
                    <a:pt x="60079" y="186725"/>
                  </a:lnTo>
                  <a:cubicBezTo>
                    <a:pt x="60925" y="186161"/>
                    <a:pt x="62054" y="185878"/>
                    <a:pt x="62336" y="185878"/>
                  </a:cubicBezTo>
                  <a:cubicBezTo>
                    <a:pt x="62336" y="185878"/>
                    <a:pt x="62618" y="186443"/>
                    <a:pt x="62618" y="186725"/>
                  </a:cubicBezTo>
                  <a:cubicBezTo>
                    <a:pt x="62054" y="187007"/>
                    <a:pt x="61772" y="187289"/>
                    <a:pt x="60644" y="187289"/>
                  </a:cubicBezTo>
                  <a:cubicBezTo>
                    <a:pt x="60361" y="187289"/>
                    <a:pt x="59797" y="187289"/>
                    <a:pt x="59797" y="187007"/>
                  </a:cubicBezTo>
                  <a:close/>
                  <a:moveTo>
                    <a:pt x="60079" y="205059"/>
                  </a:moveTo>
                  <a:cubicBezTo>
                    <a:pt x="60079" y="205341"/>
                    <a:pt x="59797" y="205341"/>
                    <a:pt x="59797" y="205341"/>
                  </a:cubicBezTo>
                  <a:cubicBezTo>
                    <a:pt x="59797" y="205341"/>
                    <a:pt x="59797" y="205623"/>
                    <a:pt x="60079" y="205623"/>
                  </a:cubicBezTo>
                  <a:lnTo>
                    <a:pt x="60079" y="205059"/>
                  </a:lnTo>
                  <a:close/>
                  <a:moveTo>
                    <a:pt x="60644" y="188417"/>
                  </a:moveTo>
                  <a:cubicBezTo>
                    <a:pt x="60644" y="188135"/>
                    <a:pt x="60925" y="188135"/>
                    <a:pt x="60925" y="188135"/>
                  </a:cubicBezTo>
                  <a:cubicBezTo>
                    <a:pt x="60925" y="188135"/>
                    <a:pt x="60925" y="188417"/>
                    <a:pt x="61208" y="188417"/>
                  </a:cubicBezTo>
                  <a:lnTo>
                    <a:pt x="60644" y="188417"/>
                  </a:lnTo>
                  <a:close/>
                  <a:moveTo>
                    <a:pt x="61208" y="176288"/>
                  </a:moveTo>
                  <a:lnTo>
                    <a:pt x="60925" y="176006"/>
                  </a:lnTo>
                  <a:cubicBezTo>
                    <a:pt x="61208" y="176006"/>
                    <a:pt x="61489" y="175724"/>
                    <a:pt x="61489" y="175724"/>
                  </a:cubicBezTo>
                  <a:cubicBezTo>
                    <a:pt x="62054" y="175724"/>
                    <a:pt x="62054" y="176006"/>
                    <a:pt x="62054" y="176006"/>
                  </a:cubicBezTo>
                  <a:cubicBezTo>
                    <a:pt x="62054" y="176006"/>
                    <a:pt x="62054" y="176288"/>
                    <a:pt x="61489" y="176288"/>
                  </a:cubicBezTo>
                  <a:lnTo>
                    <a:pt x="61208" y="176288"/>
                  </a:lnTo>
                  <a:close/>
                  <a:moveTo>
                    <a:pt x="61208" y="184750"/>
                  </a:moveTo>
                  <a:lnTo>
                    <a:pt x="61208" y="183904"/>
                  </a:lnTo>
                  <a:cubicBezTo>
                    <a:pt x="61489" y="183622"/>
                    <a:pt x="62054" y="183340"/>
                    <a:pt x="62054" y="183340"/>
                  </a:cubicBezTo>
                  <a:cubicBezTo>
                    <a:pt x="62336" y="183340"/>
                    <a:pt x="62618" y="183340"/>
                    <a:pt x="62618" y="183622"/>
                  </a:cubicBezTo>
                  <a:cubicBezTo>
                    <a:pt x="62618" y="183622"/>
                    <a:pt x="62336" y="183904"/>
                    <a:pt x="62336" y="184186"/>
                  </a:cubicBezTo>
                  <a:cubicBezTo>
                    <a:pt x="62336" y="184750"/>
                    <a:pt x="61772" y="184750"/>
                    <a:pt x="61772" y="184750"/>
                  </a:cubicBezTo>
                  <a:lnTo>
                    <a:pt x="61208" y="184750"/>
                  </a:lnTo>
                  <a:close/>
                  <a:moveTo>
                    <a:pt x="62054" y="188981"/>
                  </a:moveTo>
                  <a:lnTo>
                    <a:pt x="62054" y="189263"/>
                  </a:lnTo>
                  <a:cubicBezTo>
                    <a:pt x="62054" y="189263"/>
                    <a:pt x="61489" y="189263"/>
                    <a:pt x="61489" y="188981"/>
                  </a:cubicBezTo>
                  <a:lnTo>
                    <a:pt x="61489" y="188699"/>
                  </a:lnTo>
                  <a:lnTo>
                    <a:pt x="61208" y="188417"/>
                  </a:lnTo>
                  <a:lnTo>
                    <a:pt x="61772" y="188417"/>
                  </a:lnTo>
                  <a:lnTo>
                    <a:pt x="62054" y="188981"/>
                  </a:lnTo>
                  <a:close/>
                  <a:moveTo>
                    <a:pt x="61489" y="181648"/>
                  </a:moveTo>
                  <a:lnTo>
                    <a:pt x="62336" y="181648"/>
                  </a:lnTo>
                  <a:cubicBezTo>
                    <a:pt x="62618" y="181648"/>
                    <a:pt x="62618" y="181930"/>
                    <a:pt x="62618" y="182212"/>
                  </a:cubicBezTo>
                  <a:cubicBezTo>
                    <a:pt x="62618" y="182494"/>
                    <a:pt x="62618" y="182776"/>
                    <a:pt x="62336" y="183058"/>
                  </a:cubicBezTo>
                  <a:cubicBezTo>
                    <a:pt x="62054" y="183058"/>
                    <a:pt x="62054" y="183058"/>
                    <a:pt x="61489" y="182494"/>
                  </a:cubicBezTo>
                  <a:lnTo>
                    <a:pt x="61489" y="181648"/>
                  </a:lnTo>
                  <a:close/>
                  <a:moveTo>
                    <a:pt x="62336" y="178545"/>
                  </a:moveTo>
                  <a:lnTo>
                    <a:pt x="61772" y="178545"/>
                  </a:lnTo>
                  <a:cubicBezTo>
                    <a:pt x="61772" y="178545"/>
                    <a:pt x="62054" y="178545"/>
                    <a:pt x="62054" y="178263"/>
                  </a:cubicBezTo>
                  <a:lnTo>
                    <a:pt x="62336" y="178545"/>
                  </a:lnTo>
                  <a:close/>
                  <a:moveTo>
                    <a:pt x="63182" y="168109"/>
                  </a:moveTo>
                  <a:cubicBezTo>
                    <a:pt x="63464" y="168109"/>
                    <a:pt x="63746" y="168391"/>
                    <a:pt x="63746" y="168673"/>
                  </a:cubicBezTo>
                  <a:cubicBezTo>
                    <a:pt x="63746" y="168955"/>
                    <a:pt x="63464" y="169237"/>
                    <a:pt x="63182" y="169237"/>
                  </a:cubicBezTo>
                  <a:cubicBezTo>
                    <a:pt x="62900" y="169237"/>
                    <a:pt x="62618" y="168955"/>
                    <a:pt x="62618" y="168955"/>
                  </a:cubicBezTo>
                  <a:cubicBezTo>
                    <a:pt x="62618" y="168391"/>
                    <a:pt x="62618" y="168109"/>
                    <a:pt x="63182" y="168109"/>
                  </a:cubicBezTo>
                  <a:close/>
                  <a:moveTo>
                    <a:pt x="65438" y="136800"/>
                  </a:moveTo>
                  <a:cubicBezTo>
                    <a:pt x="66285" y="136800"/>
                    <a:pt x="66566" y="136800"/>
                    <a:pt x="66566" y="136518"/>
                  </a:cubicBezTo>
                  <a:cubicBezTo>
                    <a:pt x="66566" y="136236"/>
                    <a:pt x="66285" y="135954"/>
                    <a:pt x="65720" y="135954"/>
                  </a:cubicBezTo>
                  <a:cubicBezTo>
                    <a:pt x="65438" y="135954"/>
                    <a:pt x="65438" y="136236"/>
                    <a:pt x="65438" y="136518"/>
                  </a:cubicBezTo>
                  <a:lnTo>
                    <a:pt x="65438" y="136800"/>
                  </a:lnTo>
                  <a:close/>
                  <a:moveTo>
                    <a:pt x="65438" y="153159"/>
                  </a:moveTo>
                  <a:lnTo>
                    <a:pt x="65438" y="151467"/>
                  </a:lnTo>
                  <a:cubicBezTo>
                    <a:pt x="65720" y="151185"/>
                    <a:pt x="65720" y="151185"/>
                    <a:pt x="66002" y="151185"/>
                  </a:cubicBezTo>
                  <a:cubicBezTo>
                    <a:pt x="66566" y="151185"/>
                    <a:pt x="66566" y="151185"/>
                    <a:pt x="66566" y="151467"/>
                  </a:cubicBezTo>
                  <a:cubicBezTo>
                    <a:pt x="66566" y="151749"/>
                    <a:pt x="66566" y="152313"/>
                    <a:pt x="65720" y="152877"/>
                  </a:cubicBezTo>
                  <a:lnTo>
                    <a:pt x="65438" y="153159"/>
                  </a:lnTo>
                  <a:close/>
                  <a:moveTo>
                    <a:pt x="69387" y="132569"/>
                  </a:moveTo>
                  <a:cubicBezTo>
                    <a:pt x="68823" y="132569"/>
                    <a:pt x="68541" y="132005"/>
                    <a:pt x="67977" y="131441"/>
                  </a:cubicBezTo>
                  <a:lnTo>
                    <a:pt x="67977" y="131159"/>
                  </a:lnTo>
                  <a:cubicBezTo>
                    <a:pt x="68259" y="130876"/>
                    <a:pt x="69105" y="130594"/>
                    <a:pt x="69387" y="130594"/>
                  </a:cubicBezTo>
                  <a:cubicBezTo>
                    <a:pt x="69951" y="130594"/>
                    <a:pt x="70233" y="130876"/>
                    <a:pt x="70516" y="131159"/>
                  </a:cubicBezTo>
                  <a:lnTo>
                    <a:pt x="70516" y="131723"/>
                  </a:lnTo>
                  <a:cubicBezTo>
                    <a:pt x="70516" y="132005"/>
                    <a:pt x="69951" y="132287"/>
                    <a:pt x="69669" y="132569"/>
                  </a:cubicBezTo>
                  <a:lnTo>
                    <a:pt x="69387" y="132569"/>
                  </a:lnTo>
                  <a:close/>
                  <a:moveTo>
                    <a:pt x="72490" y="49361"/>
                  </a:moveTo>
                  <a:cubicBezTo>
                    <a:pt x="72208" y="49643"/>
                    <a:pt x="71926" y="49643"/>
                    <a:pt x="71926" y="49643"/>
                  </a:cubicBezTo>
                  <a:lnTo>
                    <a:pt x="72490" y="49361"/>
                  </a:lnTo>
                  <a:close/>
                  <a:moveTo>
                    <a:pt x="83490" y="237778"/>
                  </a:moveTo>
                  <a:lnTo>
                    <a:pt x="83208" y="237496"/>
                  </a:lnTo>
                  <a:cubicBezTo>
                    <a:pt x="83208" y="237214"/>
                    <a:pt x="83490" y="237214"/>
                    <a:pt x="83490" y="236932"/>
                  </a:cubicBezTo>
                  <a:lnTo>
                    <a:pt x="83490" y="237778"/>
                  </a:lnTo>
                  <a:close/>
                  <a:moveTo>
                    <a:pt x="89131" y="218598"/>
                  </a:moveTo>
                  <a:lnTo>
                    <a:pt x="88850" y="218315"/>
                  </a:lnTo>
                  <a:cubicBezTo>
                    <a:pt x="88850" y="218315"/>
                    <a:pt x="88285" y="218880"/>
                    <a:pt x="88003" y="219444"/>
                  </a:cubicBezTo>
                  <a:cubicBezTo>
                    <a:pt x="88003" y="219444"/>
                    <a:pt x="88003" y="219726"/>
                    <a:pt x="88285" y="219726"/>
                  </a:cubicBezTo>
                  <a:cubicBezTo>
                    <a:pt x="88567" y="219726"/>
                    <a:pt x="89131" y="218880"/>
                    <a:pt x="89131" y="218598"/>
                  </a:cubicBezTo>
                  <a:close/>
                  <a:moveTo>
                    <a:pt x="94773" y="205059"/>
                  </a:moveTo>
                  <a:cubicBezTo>
                    <a:pt x="95337" y="205059"/>
                    <a:pt x="95619" y="205059"/>
                    <a:pt x="95619" y="204777"/>
                  </a:cubicBezTo>
                  <a:cubicBezTo>
                    <a:pt x="95619" y="204777"/>
                    <a:pt x="95337" y="204777"/>
                    <a:pt x="95337" y="204495"/>
                  </a:cubicBezTo>
                  <a:cubicBezTo>
                    <a:pt x="95337" y="204212"/>
                    <a:pt x="95337" y="203930"/>
                    <a:pt x="94773" y="203930"/>
                  </a:cubicBezTo>
                  <a:cubicBezTo>
                    <a:pt x="94491" y="203930"/>
                    <a:pt x="94209" y="204212"/>
                    <a:pt x="94209" y="204495"/>
                  </a:cubicBezTo>
                  <a:lnTo>
                    <a:pt x="94773" y="205059"/>
                  </a:lnTo>
                  <a:close/>
                  <a:moveTo>
                    <a:pt x="101542" y="202802"/>
                  </a:moveTo>
                  <a:lnTo>
                    <a:pt x="101260" y="203084"/>
                  </a:lnTo>
                  <a:lnTo>
                    <a:pt x="101260" y="203366"/>
                  </a:lnTo>
                  <a:lnTo>
                    <a:pt x="100132" y="203366"/>
                  </a:lnTo>
                  <a:lnTo>
                    <a:pt x="100132" y="203084"/>
                  </a:lnTo>
                  <a:cubicBezTo>
                    <a:pt x="100132" y="203084"/>
                    <a:pt x="100696" y="202802"/>
                    <a:pt x="100696" y="202520"/>
                  </a:cubicBezTo>
                  <a:cubicBezTo>
                    <a:pt x="100696" y="202238"/>
                    <a:pt x="100414" y="202238"/>
                    <a:pt x="100132" y="201674"/>
                  </a:cubicBezTo>
                  <a:lnTo>
                    <a:pt x="100132" y="201392"/>
                  </a:lnTo>
                  <a:cubicBezTo>
                    <a:pt x="100132" y="201110"/>
                    <a:pt x="100132" y="201110"/>
                    <a:pt x="100414" y="200828"/>
                  </a:cubicBezTo>
                  <a:lnTo>
                    <a:pt x="100978" y="200264"/>
                  </a:lnTo>
                  <a:cubicBezTo>
                    <a:pt x="101260" y="200264"/>
                    <a:pt x="101542" y="200828"/>
                    <a:pt x="101542" y="200828"/>
                  </a:cubicBezTo>
                  <a:lnTo>
                    <a:pt x="101542" y="202802"/>
                  </a:lnTo>
                  <a:close/>
                  <a:moveTo>
                    <a:pt x="104363" y="49079"/>
                  </a:moveTo>
                  <a:cubicBezTo>
                    <a:pt x="105209" y="48797"/>
                    <a:pt x="105773" y="48797"/>
                    <a:pt x="105773" y="48515"/>
                  </a:cubicBezTo>
                  <a:cubicBezTo>
                    <a:pt x="105773" y="47950"/>
                    <a:pt x="105773" y="47950"/>
                    <a:pt x="106055" y="47668"/>
                  </a:cubicBezTo>
                  <a:cubicBezTo>
                    <a:pt x="106055" y="47668"/>
                    <a:pt x="106055" y="47386"/>
                    <a:pt x="105773" y="47386"/>
                  </a:cubicBezTo>
                  <a:cubicBezTo>
                    <a:pt x="105209" y="47386"/>
                    <a:pt x="104645" y="47950"/>
                    <a:pt x="104081" y="48515"/>
                  </a:cubicBezTo>
                  <a:lnTo>
                    <a:pt x="103798" y="49079"/>
                  </a:lnTo>
                  <a:lnTo>
                    <a:pt x="103798" y="49361"/>
                  </a:lnTo>
                  <a:lnTo>
                    <a:pt x="104363" y="49079"/>
                  </a:lnTo>
                  <a:close/>
                  <a:moveTo>
                    <a:pt x="108876" y="176288"/>
                  </a:moveTo>
                  <a:lnTo>
                    <a:pt x="109158" y="177135"/>
                  </a:lnTo>
                  <a:lnTo>
                    <a:pt x="109440" y="177417"/>
                  </a:lnTo>
                  <a:cubicBezTo>
                    <a:pt x="109722" y="177135"/>
                    <a:pt x="110286" y="176852"/>
                    <a:pt x="110286" y="176288"/>
                  </a:cubicBezTo>
                  <a:lnTo>
                    <a:pt x="108876" y="176288"/>
                  </a:lnTo>
                  <a:close/>
                  <a:moveTo>
                    <a:pt x="109722" y="45694"/>
                  </a:moveTo>
                  <a:cubicBezTo>
                    <a:pt x="110004" y="45694"/>
                    <a:pt x="110004" y="45412"/>
                    <a:pt x="110004" y="45130"/>
                  </a:cubicBezTo>
                  <a:lnTo>
                    <a:pt x="110004" y="44848"/>
                  </a:lnTo>
                  <a:cubicBezTo>
                    <a:pt x="109722" y="44848"/>
                    <a:pt x="110004" y="45130"/>
                    <a:pt x="109722" y="45130"/>
                  </a:cubicBezTo>
                  <a:lnTo>
                    <a:pt x="109722" y="45694"/>
                  </a:lnTo>
                  <a:close/>
                  <a:moveTo>
                    <a:pt x="111979" y="155980"/>
                  </a:moveTo>
                  <a:cubicBezTo>
                    <a:pt x="111979" y="155980"/>
                    <a:pt x="111132" y="155416"/>
                    <a:pt x="110568" y="155416"/>
                  </a:cubicBezTo>
                  <a:lnTo>
                    <a:pt x="110568" y="155980"/>
                  </a:lnTo>
                  <a:cubicBezTo>
                    <a:pt x="110850" y="156544"/>
                    <a:pt x="110850" y="156544"/>
                    <a:pt x="111415" y="156544"/>
                  </a:cubicBezTo>
                  <a:cubicBezTo>
                    <a:pt x="111415" y="156544"/>
                    <a:pt x="112260" y="156262"/>
                    <a:pt x="111979" y="155980"/>
                  </a:cubicBezTo>
                  <a:close/>
                  <a:moveTo>
                    <a:pt x="113107" y="153723"/>
                  </a:moveTo>
                  <a:lnTo>
                    <a:pt x="113107" y="152313"/>
                  </a:lnTo>
                  <a:lnTo>
                    <a:pt x="112260" y="152313"/>
                  </a:lnTo>
                  <a:lnTo>
                    <a:pt x="112260" y="152595"/>
                  </a:lnTo>
                  <a:cubicBezTo>
                    <a:pt x="112260" y="152877"/>
                    <a:pt x="111979" y="153159"/>
                    <a:pt x="111979" y="153441"/>
                  </a:cubicBezTo>
                  <a:cubicBezTo>
                    <a:pt x="112260" y="153723"/>
                    <a:pt x="112260" y="154006"/>
                    <a:pt x="112260" y="154006"/>
                  </a:cubicBezTo>
                  <a:cubicBezTo>
                    <a:pt x="112543" y="154006"/>
                    <a:pt x="113107" y="153723"/>
                    <a:pt x="113107" y="153723"/>
                  </a:cubicBezTo>
                  <a:close/>
                  <a:moveTo>
                    <a:pt x="114799" y="49361"/>
                  </a:moveTo>
                  <a:cubicBezTo>
                    <a:pt x="115646" y="49361"/>
                    <a:pt x="115646" y="49079"/>
                    <a:pt x="115927" y="48797"/>
                  </a:cubicBezTo>
                  <a:lnTo>
                    <a:pt x="115363" y="48797"/>
                  </a:lnTo>
                  <a:cubicBezTo>
                    <a:pt x="115081" y="48797"/>
                    <a:pt x="115081" y="48515"/>
                    <a:pt x="114799" y="48515"/>
                  </a:cubicBezTo>
                  <a:cubicBezTo>
                    <a:pt x="114517" y="48515"/>
                    <a:pt x="113953" y="48797"/>
                    <a:pt x="113953" y="48797"/>
                  </a:cubicBezTo>
                  <a:lnTo>
                    <a:pt x="113671" y="48797"/>
                  </a:lnTo>
                  <a:lnTo>
                    <a:pt x="113389" y="49079"/>
                  </a:lnTo>
                  <a:cubicBezTo>
                    <a:pt x="113671" y="49361"/>
                    <a:pt x="113953" y="49361"/>
                    <a:pt x="113953" y="49361"/>
                  </a:cubicBezTo>
                  <a:lnTo>
                    <a:pt x="114799" y="49361"/>
                  </a:lnTo>
                  <a:close/>
                  <a:moveTo>
                    <a:pt x="115646" y="167827"/>
                  </a:moveTo>
                  <a:lnTo>
                    <a:pt x="115646" y="168109"/>
                  </a:lnTo>
                  <a:cubicBezTo>
                    <a:pt x="115646" y="168391"/>
                    <a:pt x="114799" y="168391"/>
                    <a:pt x="114799" y="168673"/>
                  </a:cubicBezTo>
                  <a:lnTo>
                    <a:pt x="114799" y="168391"/>
                  </a:lnTo>
                  <a:lnTo>
                    <a:pt x="114235" y="167827"/>
                  </a:lnTo>
                  <a:cubicBezTo>
                    <a:pt x="114517" y="167827"/>
                    <a:pt x="115081" y="167262"/>
                    <a:pt x="115081" y="167262"/>
                  </a:cubicBezTo>
                  <a:lnTo>
                    <a:pt x="115927" y="167262"/>
                  </a:lnTo>
                  <a:lnTo>
                    <a:pt x="115646" y="167827"/>
                  </a:lnTo>
                  <a:close/>
                  <a:moveTo>
                    <a:pt x="115646" y="169519"/>
                  </a:moveTo>
                  <a:lnTo>
                    <a:pt x="115927" y="169801"/>
                  </a:lnTo>
                  <a:cubicBezTo>
                    <a:pt x="115927" y="170083"/>
                    <a:pt x="115646" y="170083"/>
                    <a:pt x="115081" y="170365"/>
                  </a:cubicBezTo>
                  <a:lnTo>
                    <a:pt x="115081" y="170083"/>
                  </a:lnTo>
                  <a:cubicBezTo>
                    <a:pt x="114799" y="170083"/>
                    <a:pt x="114799" y="169801"/>
                    <a:pt x="114799" y="169801"/>
                  </a:cubicBezTo>
                  <a:cubicBezTo>
                    <a:pt x="114517" y="169801"/>
                    <a:pt x="114235" y="169519"/>
                    <a:pt x="114235" y="169519"/>
                  </a:cubicBezTo>
                  <a:lnTo>
                    <a:pt x="115646" y="169519"/>
                  </a:lnTo>
                  <a:close/>
                  <a:moveTo>
                    <a:pt x="116210" y="47386"/>
                  </a:moveTo>
                  <a:cubicBezTo>
                    <a:pt x="116210" y="47386"/>
                    <a:pt x="116491" y="47104"/>
                    <a:pt x="116774" y="46540"/>
                  </a:cubicBezTo>
                  <a:lnTo>
                    <a:pt x="116774" y="46258"/>
                  </a:lnTo>
                  <a:cubicBezTo>
                    <a:pt x="115927" y="46258"/>
                    <a:pt x="115927" y="46258"/>
                    <a:pt x="115363" y="46540"/>
                  </a:cubicBezTo>
                  <a:cubicBezTo>
                    <a:pt x="115363" y="47104"/>
                    <a:pt x="115363" y="47668"/>
                    <a:pt x="115081" y="48232"/>
                  </a:cubicBezTo>
                  <a:cubicBezTo>
                    <a:pt x="115646" y="47668"/>
                    <a:pt x="116210" y="47668"/>
                    <a:pt x="116210" y="47386"/>
                  </a:cubicBezTo>
                  <a:close/>
                  <a:moveTo>
                    <a:pt x="117338" y="162749"/>
                  </a:moveTo>
                  <a:cubicBezTo>
                    <a:pt x="117056" y="162749"/>
                    <a:pt x="117056" y="162467"/>
                    <a:pt x="117056" y="162467"/>
                  </a:cubicBezTo>
                  <a:lnTo>
                    <a:pt x="117338" y="162185"/>
                  </a:lnTo>
                  <a:lnTo>
                    <a:pt x="117620" y="162185"/>
                  </a:lnTo>
                  <a:lnTo>
                    <a:pt x="117902" y="162467"/>
                  </a:lnTo>
                  <a:lnTo>
                    <a:pt x="118466" y="162749"/>
                  </a:lnTo>
                  <a:cubicBezTo>
                    <a:pt x="117902" y="162749"/>
                    <a:pt x="117902" y="163314"/>
                    <a:pt x="117620" y="163314"/>
                  </a:cubicBezTo>
                  <a:cubicBezTo>
                    <a:pt x="117338" y="163314"/>
                    <a:pt x="117338" y="163314"/>
                    <a:pt x="117338" y="162749"/>
                  </a:cubicBezTo>
                  <a:close/>
                  <a:moveTo>
                    <a:pt x="120440" y="51335"/>
                  </a:moveTo>
                  <a:cubicBezTo>
                    <a:pt x="120158" y="51335"/>
                    <a:pt x="120158" y="51053"/>
                    <a:pt x="120158" y="51053"/>
                  </a:cubicBezTo>
                  <a:cubicBezTo>
                    <a:pt x="120158" y="51053"/>
                    <a:pt x="119876" y="51335"/>
                    <a:pt x="119594" y="51335"/>
                  </a:cubicBezTo>
                  <a:lnTo>
                    <a:pt x="120440" y="51335"/>
                  </a:lnTo>
                  <a:close/>
                  <a:moveTo>
                    <a:pt x="121568" y="45976"/>
                  </a:moveTo>
                  <a:cubicBezTo>
                    <a:pt x="121568" y="45976"/>
                    <a:pt x="121851" y="45694"/>
                    <a:pt x="121568" y="45694"/>
                  </a:cubicBezTo>
                  <a:lnTo>
                    <a:pt x="121287" y="45694"/>
                  </a:lnTo>
                  <a:cubicBezTo>
                    <a:pt x="121004" y="45976"/>
                    <a:pt x="121004" y="45976"/>
                    <a:pt x="121004" y="46258"/>
                  </a:cubicBezTo>
                  <a:cubicBezTo>
                    <a:pt x="121287" y="45976"/>
                    <a:pt x="121568" y="45976"/>
                    <a:pt x="121568" y="45976"/>
                  </a:cubicBezTo>
                  <a:close/>
                  <a:moveTo>
                    <a:pt x="121851" y="152313"/>
                  </a:moveTo>
                  <a:cubicBezTo>
                    <a:pt x="121568" y="152031"/>
                    <a:pt x="121568" y="151749"/>
                    <a:pt x="121568" y="151467"/>
                  </a:cubicBezTo>
                  <a:lnTo>
                    <a:pt x="121568" y="150903"/>
                  </a:lnTo>
                  <a:lnTo>
                    <a:pt x="121287" y="150903"/>
                  </a:lnTo>
                  <a:cubicBezTo>
                    <a:pt x="121287" y="150621"/>
                    <a:pt x="121568" y="150621"/>
                    <a:pt x="121568" y="150339"/>
                  </a:cubicBezTo>
                  <a:lnTo>
                    <a:pt x="121851" y="150057"/>
                  </a:lnTo>
                  <a:cubicBezTo>
                    <a:pt x="122132" y="150339"/>
                    <a:pt x="122415" y="150621"/>
                    <a:pt x="123261" y="150621"/>
                  </a:cubicBezTo>
                  <a:cubicBezTo>
                    <a:pt x="123543" y="150621"/>
                    <a:pt x="123543" y="150903"/>
                    <a:pt x="123543" y="150903"/>
                  </a:cubicBezTo>
                  <a:cubicBezTo>
                    <a:pt x="123543" y="150903"/>
                    <a:pt x="123543" y="151185"/>
                    <a:pt x="123261" y="151467"/>
                  </a:cubicBezTo>
                  <a:cubicBezTo>
                    <a:pt x="123261" y="152313"/>
                    <a:pt x="123261" y="152313"/>
                    <a:pt x="122132" y="152313"/>
                  </a:cubicBezTo>
                  <a:lnTo>
                    <a:pt x="121851" y="152313"/>
                  </a:lnTo>
                  <a:close/>
                  <a:moveTo>
                    <a:pt x="123543" y="148646"/>
                  </a:moveTo>
                  <a:lnTo>
                    <a:pt x="124107" y="148646"/>
                  </a:lnTo>
                  <a:cubicBezTo>
                    <a:pt x="124107" y="148928"/>
                    <a:pt x="124107" y="149493"/>
                    <a:pt x="124671" y="149775"/>
                  </a:cubicBezTo>
                  <a:lnTo>
                    <a:pt x="124389" y="150057"/>
                  </a:lnTo>
                  <a:cubicBezTo>
                    <a:pt x="124107" y="150057"/>
                    <a:pt x="123825" y="150057"/>
                    <a:pt x="123543" y="149775"/>
                  </a:cubicBezTo>
                  <a:lnTo>
                    <a:pt x="123543" y="148646"/>
                  </a:lnTo>
                  <a:close/>
                  <a:moveTo>
                    <a:pt x="128620" y="48797"/>
                  </a:moveTo>
                  <a:cubicBezTo>
                    <a:pt x="128902" y="48797"/>
                    <a:pt x="129466" y="48797"/>
                    <a:pt x="129749" y="48515"/>
                  </a:cubicBezTo>
                  <a:lnTo>
                    <a:pt x="129749" y="48232"/>
                  </a:lnTo>
                  <a:cubicBezTo>
                    <a:pt x="130030" y="47950"/>
                    <a:pt x="129749" y="47950"/>
                    <a:pt x="129749" y="47950"/>
                  </a:cubicBezTo>
                  <a:lnTo>
                    <a:pt x="128902" y="47950"/>
                  </a:lnTo>
                  <a:cubicBezTo>
                    <a:pt x="128902" y="47950"/>
                    <a:pt x="128620" y="48232"/>
                    <a:pt x="128620" y="48515"/>
                  </a:cubicBezTo>
                  <a:lnTo>
                    <a:pt x="128620" y="48797"/>
                  </a:lnTo>
                  <a:close/>
                  <a:moveTo>
                    <a:pt x="133697" y="46540"/>
                  </a:moveTo>
                  <a:lnTo>
                    <a:pt x="134261" y="45694"/>
                  </a:lnTo>
                  <a:lnTo>
                    <a:pt x="134261" y="45130"/>
                  </a:lnTo>
                  <a:cubicBezTo>
                    <a:pt x="134544" y="44848"/>
                    <a:pt x="134261" y="44848"/>
                    <a:pt x="134261" y="44848"/>
                  </a:cubicBezTo>
                  <a:lnTo>
                    <a:pt x="133980" y="44848"/>
                  </a:lnTo>
                  <a:cubicBezTo>
                    <a:pt x="133697" y="44848"/>
                    <a:pt x="133415" y="45130"/>
                    <a:pt x="133133" y="45412"/>
                  </a:cubicBezTo>
                  <a:cubicBezTo>
                    <a:pt x="133133" y="45694"/>
                    <a:pt x="133697" y="45694"/>
                    <a:pt x="133697" y="46258"/>
                  </a:cubicBezTo>
                  <a:lnTo>
                    <a:pt x="133697" y="46540"/>
                  </a:lnTo>
                  <a:close/>
                  <a:moveTo>
                    <a:pt x="142441" y="48232"/>
                  </a:moveTo>
                  <a:cubicBezTo>
                    <a:pt x="143569" y="47950"/>
                    <a:pt x="143569" y="47386"/>
                    <a:pt x="143852" y="47104"/>
                  </a:cubicBezTo>
                  <a:cubicBezTo>
                    <a:pt x="142723" y="47104"/>
                    <a:pt x="142441" y="47668"/>
                    <a:pt x="141877" y="48232"/>
                  </a:cubicBezTo>
                  <a:lnTo>
                    <a:pt x="142441" y="48232"/>
                  </a:lnTo>
                  <a:close/>
                  <a:moveTo>
                    <a:pt x="167262" y="54156"/>
                  </a:moveTo>
                  <a:cubicBezTo>
                    <a:pt x="167262" y="54156"/>
                    <a:pt x="167545" y="53874"/>
                    <a:pt x="167262" y="53874"/>
                  </a:cubicBezTo>
                  <a:cubicBezTo>
                    <a:pt x="166981" y="54156"/>
                    <a:pt x="166981" y="54156"/>
                    <a:pt x="166698" y="54156"/>
                  </a:cubicBezTo>
                  <a:lnTo>
                    <a:pt x="167262" y="54156"/>
                  </a:lnTo>
                  <a:close/>
                  <a:moveTo>
                    <a:pt x="171493" y="41463"/>
                  </a:moveTo>
                  <a:cubicBezTo>
                    <a:pt x="171493" y="41181"/>
                    <a:pt x="171493" y="41181"/>
                    <a:pt x="171776" y="40617"/>
                  </a:cubicBezTo>
                  <a:lnTo>
                    <a:pt x="171212" y="41181"/>
                  </a:lnTo>
                  <a:cubicBezTo>
                    <a:pt x="171212" y="41463"/>
                    <a:pt x="171493" y="41463"/>
                    <a:pt x="171493" y="41745"/>
                  </a:cubicBezTo>
                  <a:lnTo>
                    <a:pt x="171493" y="41463"/>
                  </a:lnTo>
                  <a:close/>
                </a:path>
              </a:pathLst>
            </a:custGeom>
            <a:solidFill>
              <a:srgbClr val="000000"/>
            </a:solidFill>
            <a:ln w="5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61858D43-53BA-4C6A-AFC1-B9009CECA636}"/>
                </a:ext>
              </a:extLst>
            </p:cNvPr>
            <p:cNvSpPr/>
            <p:nvPr/>
          </p:nvSpPr>
          <p:spPr>
            <a:xfrm>
              <a:off x="5861182" y="3362151"/>
              <a:ext cx="118466" cy="124107"/>
            </a:xfrm>
            <a:custGeom>
              <a:avLst/>
              <a:gdLst>
                <a:gd name="connsiteX0" fmla="*/ 45412 w 118465"/>
                <a:gd name="connsiteY0" fmla="*/ 118748 h 124107"/>
                <a:gd name="connsiteX1" fmla="*/ 44848 w 118465"/>
                <a:gd name="connsiteY1" fmla="*/ 118466 h 124107"/>
                <a:gd name="connsiteX2" fmla="*/ 44848 w 118465"/>
                <a:gd name="connsiteY2" fmla="*/ 118748 h 124107"/>
                <a:gd name="connsiteX3" fmla="*/ 45412 w 118465"/>
                <a:gd name="connsiteY3" fmla="*/ 119312 h 124107"/>
                <a:gd name="connsiteX4" fmla="*/ 45976 w 118465"/>
                <a:gd name="connsiteY4" fmla="*/ 120158 h 124107"/>
                <a:gd name="connsiteX5" fmla="*/ 45976 w 118465"/>
                <a:gd name="connsiteY5" fmla="*/ 120722 h 124107"/>
                <a:gd name="connsiteX6" fmla="*/ 44002 w 118465"/>
                <a:gd name="connsiteY6" fmla="*/ 121286 h 124107"/>
                <a:gd name="connsiteX7" fmla="*/ 43720 w 118465"/>
                <a:gd name="connsiteY7" fmla="*/ 121286 h 124107"/>
                <a:gd name="connsiteX8" fmla="*/ 42592 w 118465"/>
                <a:gd name="connsiteY8" fmla="*/ 121851 h 124107"/>
                <a:gd name="connsiteX9" fmla="*/ 41463 w 118465"/>
                <a:gd name="connsiteY9" fmla="*/ 122133 h 124107"/>
                <a:gd name="connsiteX10" fmla="*/ 40899 w 118465"/>
                <a:gd name="connsiteY10" fmla="*/ 122133 h 124107"/>
                <a:gd name="connsiteX11" fmla="*/ 39771 w 118465"/>
                <a:gd name="connsiteY11" fmla="*/ 121286 h 124107"/>
                <a:gd name="connsiteX12" fmla="*/ 39206 w 118465"/>
                <a:gd name="connsiteY12" fmla="*/ 121568 h 124107"/>
                <a:gd name="connsiteX13" fmla="*/ 39206 w 118465"/>
                <a:gd name="connsiteY13" fmla="*/ 121851 h 124107"/>
                <a:gd name="connsiteX14" fmla="*/ 40053 w 118465"/>
                <a:gd name="connsiteY14" fmla="*/ 122697 h 124107"/>
                <a:gd name="connsiteX15" fmla="*/ 40053 w 118465"/>
                <a:gd name="connsiteY15" fmla="*/ 123825 h 124107"/>
                <a:gd name="connsiteX16" fmla="*/ 39771 w 118465"/>
                <a:gd name="connsiteY16" fmla="*/ 124107 h 124107"/>
                <a:gd name="connsiteX17" fmla="*/ 40617 w 118465"/>
                <a:gd name="connsiteY17" fmla="*/ 124107 h 124107"/>
                <a:gd name="connsiteX18" fmla="*/ 41745 w 118465"/>
                <a:gd name="connsiteY18" fmla="*/ 123261 h 124107"/>
                <a:gd name="connsiteX19" fmla="*/ 42592 w 118465"/>
                <a:gd name="connsiteY19" fmla="*/ 123543 h 124107"/>
                <a:gd name="connsiteX20" fmla="*/ 42309 w 118465"/>
                <a:gd name="connsiteY20" fmla="*/ 124107 h 124107"/>
                <a:gd name="connsiteX21" fmla="*/ 39489 w 118465"/>
                <a:gd name="connsiteY21" fmla="*/ 126081 h 124107"/>
                <a:gd name="connsiteX22" fmla="*/ 38361 w 118465"/>
                <a:gd name="connsiteY22" fmla="*/ 126646 h 124107"/>
                <a:gd name="connsiteX23" fmla="*/ 37796 w 118465"/>
                <a:gd name="connsiteY23" fmla="*/ 127210 h 124107"/>
                <a:gd name="connsiteX24" fmla="*/ 36668 w 118465"/>
                <a:gd name="connsiteY24" fmla="*/ 127492 h 124107"/>
                <a:gd name="connsiteX25" fmla="*/ 34694 w 118465"/>
                <a:gd name="connsiteY25" fmla="*/ 127492 h 124107"/>
                <a:gd name="connsiteX26" fmla="*/ 33847 w 118465"/>
                <a:gd name="connsiteY26" fmla="*/ 127210 h 124107"/>
                <a:gd name="connsiteX27" fmla="*/ 32437 w 118465"/>
                <a:gd name="connsiteY27" fmla="*/ 127210 h 124107"/>
                <a:gd name="connsiteX28" fmla="*/ 31873 w 118465"/>
                <a:gd name="connsiteY28" fmla="*/ 127492 h 124107"/>
                <a:gd name="connsiteX29" fmla="*/ 31591 w 118465"/>
                <a:gd name="connsiteY29" fmla="*/ 127492 h 124107"/>
                <a:gd name="connsiteX30" fmla="*/ 30180 w 118465"/>
                <a:gd name="connsiteY30" fmla="*/ 126928 h 124107"/>
                <a:gd name="connsiteX31" fmla="*/ 27924 w 118465"/>
                <a:gd name="connsiteY31" fmla="*/ 126081 h 124107"/>
                <a:gd name="connsiteX32" fmla="*/ 25950 w 118465"/>
                <a:gd name="connsiteY32" fmla="*/ 126081 h 124107"/>
                <a:gd name="connsiteX33" fmla="*/ 25386 w 118465"/>
                <a:gd name="connsiteY33" fmla="*/ 125799 h 124107"/>
                <a:gd name="connsiteX34" fmla="*/ 24822 w 118465"/>
                <a:gd name="connsiteY34" fmla="*/ 125517 h 124107"/>
                <a:gd name="connsiteX35" fmla="*/ 24539 w 118465"/>
                <a:gd name="connsiteY35" fmla="*/ 125799 h 124107"/>
                <a:gd name="connsiteX36" fmla="*/ 23129 w 118465"/>
                <a:gd name="connsiteY36" fmla="*/ 126646 h 124107"/>
                <a:gd name="connsiteX37" fmla="*/ 19462 w 118465"/>
                <a:gd name="connsiteY37" fmla="*/ 126646 h 124107"/>
                <a:gd name="connsiteX38" fmla="*/ 18334 w 118465"/>
                <a:gd name="connsiteY38" fmla="*/ 127210 h 124107"/>
                <a:gd name="connsiteX39" fmla="*/ 14667 w 118465"/>
                <a:gd name="connsiteY39" fmla="*/ 127210 h 124107"/>
                <a:gd name="connsiteX40" fmla="*/ 13539 w 118465"/>
                <a:gd name="connsiteY40" fmla="*/ 126928 h 124107"/>
                <a:gd name="connsiteX41" fmla="*/ 12693 w 118465"/>
                <a:gd name="connsiteY41" fmla="*/ 126363 h 124107"/>
                <a:gd name="connsiteX42" fmla="*/ 11565 w 118465"/>
                <a:gd name="connsiteY42" fmla="*/ 125799 h 124107"/>
                <a:gd name="connsiteX43" fmla="*/ 9872 w 118465"/>
                <a:gd name="connsiteY43" fmla="*/ 124107 h 124107"/>
                <a:gd name="connsiteX44" fmla="*/ 8744 w 118465"/>
                <a:gd name="connsiteY44" fmla="*/ 122415 h 124107"/>
                <a:gd name="connsiteX45" fmla="*/ 8462 w 118465"/>
                <a:gd name="connsiteY45" fmla="*/ 122415 h 124107"/>
                <a:gd name="connsiteX46" fmla="*/ 7052 w 118465"/>
                <a:gd name="connsiteY46" fmla="*/ 121851 h 124107"/>
                <a:gd name="connsiteX47" fmla="*/ 6488 w 118465"/>
                <a:gd name="connsiteY47" fmla="*/ 120440 h 124107"/>
                <a:gd name="connsiteX48" fmla="*/ 5077 w 118465"/>
                <a:gd name="connsiteY48" fmla="*/ 119312 h 124107"/>
                <a:gd name="connsiteX49" fmla="*/ 3103 w 118465"/>
                <a:gd name="connsiteY49" fmla="*/ 116209 h 124107"/>
                <a:gd name="connsiteX50" fmla="*/ 3103 w 118465"/>
                <a:gd name="connsiteY50" fmla="*/ 115363 h 124107"/>
                <a:gd name="connsiteX51" fmla="*/ 2821 w 118465"/>
                <a:gd name="connsiteY51" fmla="*/ 114799 h 124107"/>
                <a:gd name="connsiteX52" fmla="*/ 2257 w 118465"/>
                <a:gd name="connsiteY52" fmla="*/ 113953 h 124107"/>
                <a:gd name="connsiteX53" fmla="*/ 2257 w 118465"/>
                <a:gd name="connsiteY53" fmla="*/ 113389 h 124107"/>
                <a:gd name="connsiteX54" fmla="*/ 1974 w 118465"/>
                <a:gd name="connsiteY54" fmla="*/ 112542 h 124107"/>
                <a:gd name="connsiteX55" fmla="*/ 1974 w 118465"/>
                <a:gd name="connsiteY55" fmla="*/ 111414 h 124107"/>
                <a:gd name="connsiteX56" fmla="*/ 1410 w 118465"/>
                <a:gd name="connsiteY56" fmla="*/ 110850 h 124107"/>
                <a:gd name="connsiteX57" fmla="*/ 1410 w 118465"/>
                <a:gd name="connsiteY57" fmla="*/ 110286 h 124107"/>
                <a:gd name="connsiteX58" fmla="*/ 846 w 118465"/>
                <a:gd name="connsiteY58" fmla="*/ 108594 h 124107"/>
                <a:gd name="connsiteX59" fmla="*/ 846 w 118465"/>
                <a:gd name="connsiteY59" fmla="*/ 107465 h 124107"/>
                <a:gd name="connsiteX60" fmla="*/ 0 w 118465"/>
                <a:gd name="connsiteY60" fmla="*/ 98721 h 124107"/>
                <a:gd name="connsiteX61" fmla="*/ 282 w 118465"/>
                <a:gd name="connsiteY61" fmla="*/ 97029 h 124107"/>
                <a:gd name="connsiteX62" fmla="*/ 564 w 118465"/>
                <a:gd name="connsiteY62" fmla="*/ 96465 h 124107"/>
                <a:gd name="connsiteX63" fmla="*/ 282 w 118465"/>
                <a:gd name="connsiteY63" fmla="*/ 95055 h 124107"/>
                <a:gd name="connsiteX64" fmla="*/ 282 w 118465"/>
                <a:gd name="connsiteY64" fmla="*/ 91670 h 124107"/>
                <a:gd name="connsiteX65" fmla="*/ 846 w 118465"/>
                <a:gd name="connsiteY65" fmla="*/ 90260 h 124107"/>
                <a:gd name="connsiteX66" fmla="*/ 282 w 118465"/>
                <a:gd name="connsiteY66" fmla="*/ 89131 h 124107"/>
                <a:gd name="connsiteX67" fmla="*/ 1693 w 118465"/>
                <a:gd name="connsiteY67" fmla="*/ 87157 h 124107"/>
                <a:gd name="connsiteX68" fmla="*/ 1693 w 118465"/>
                <a:gd name="connsiteY68" fmla="*/ 85747 h 124107"/>
                <a:gd name="connsiteX69" fmla="*/ 1974 w 118465"/>
                <a:gd name="connsiteY69" fmla="*/ 84618 h 124107"/>
                <a:gd name="connsiteX70" fmla="*/ 1693 w 118465"/>
                <a:gd name="connsiteY70" fmla="*/ 84054 h 124107"/>
                <a:gd name="connsiteX71" fmla="*/ 1974 w 118465"/>
                <a:gd name="connsiteY71" fmla="*/ 83208 h 124107"/>
                <a:gd name="connsiteX72" fmla="*/ 2821 w 118465"/>
                <a:gd name="connsiteY72" fmla="*/ 83208 h 124107"/>
                <a:gd name="connsiteX73" fmla="*/ 3103 w 118465"/>
                <a:gd name="connsiteY73" fmla="*/ 83772 h 124107"/>
                <a:gd name="connsiteX74" fmla="*/ 3103 w 118465"/>
                <a:gd name="connsiteY74" fmla="*/ 84054 h 124107"/>
                <a:gd name="connsiteX75" fmla="*/ 2821 w 118465"/>
                <a:gd name="connsiteY75" fmla="*/ 84336 h 124107"/>
                <a:gd name="connsiteX76" fmla="*/ 3103 w 118465"/>
                <a:gd name="connsiteY76" fmla="*/ 84618 h 124107"/>
                <a:gd name="connsiteX77" fmla="*/ 3385 w 118465"/>
                <a:gd name="connsiteY77" fmla="*/ 84618 h 124107"/>
                <a:gd name="connsiteX78" fmla="*/ 3667 w 118465"/>
                <a:gd name="connsiteY78" fmla="*/ 84336 h 124107"/>
                <a:gd name="connsiteX79" fmla="*/ 3385 w 118465"/>
                <a:gd name="connsiteY79" fmla="*/ 83490 h 124107"/>
                <a:gd name="connsiteX80" fmla="*/ 3949 w 118465"/>
                <a:gd name="connsiteY80" fmla="*/ 82644 h 124107"/>
                <a:gd name="connsiteX81" fmla="*/ 4513 w 118465"/>
                <a:gd name="connsiteY81" fmla="*/ 82644 h 124107"/>
                <a:gd name="connsiteX82" fmla="*/ 4795 w 118465"/>
                <a:gd name="connsiteY82" fmla="*/ 82362 h 124107"/>
                <a:gd name="connsiteX83" fmla="*/ 5077 w 118465"/>
                <a:gd name="connsiteY83" fmla="*/ 81798 h 124107"/>
                <a:gd name="connsiteX84" fmla="*/ 5359 w 118465"/>
                <a:gd name="connsiteY84" fmla="*/ 79823 h 124107"/>
                <a:gd name="connsiteX85" fmla="*/ 4795 w 118465"/>
                <a:gd name="connsiteY85" fmla="*/ 79259 h 124107"/>
                <a:gd name="connsiteX86" fmla="*/ 3385 w 118465"/>
                <a:gd name="connsiteY86" fmla="*/ 80670 h 124107"/>
                <a:gd name="connsiteX87" fmla="*/ 3667 w 118465"/>
                <a:gd name="connsiteY87" fmla="*/ 80952 h 124107"/>
                <a:gd name="connsiteX88" fmla="*/ 4231 w 118465"/>
                <a:gd name="connsiteY88" fmla="*/ 81516 h 124107"/>
                <a:gd name="connsiteX89" fmla="*/ 3385 w 118465"/>
                <a:gd name="connsiteY89" fmla="*/ 81798 h 124107"/>
                <a:gd name="connsiteX90" fmla="*/ 2538 w 118465"/>
                <a:gd name="connsiteY90" fmla="*/ 81234 h 124107"/>
                <a:gd name="connsiteX91" fmla="*/ 2538 w 118465"/>
                <a:gd name="connsiteY91" fmla="*/ 80952 h 124107"/>
                <a:gd name="connsiteX92" fmla="*/ 2821 w 118465"/>
                <a:gd name="connsiteY92" fmla="*/ 80388 h 124107"/>
                <a:gd name="connsiteX93" fmla="*/ 3103 w 118465"/>
                <a:gd name="connsiteY93" fmla="*/ 80105 h 124107"/>
                <a:gd name="connsiteX94" fmla="*/ 2538 w 118465"/>
                <a:gd name="connsiteY94" fmla="*/ 78695 h 124107"/>
                <a:gd name="connsiteX95" fmla="*/ 2821 w 118465"/>
                <a:gd name="connsiteY95" fmla="*/ 77285 h 124107"/>
                <a:gd name="connsiteX96" fmla="*/ 2821 w 118465"/>
                <a:gd name="connsiteY96" fmla="*/ 77003 h 124107"/>
                <a:gd name="connsiteX97" fmla="*/ 3103 w 118465"/>
                <a:gd name="connsiteY97" fmla="*/ 76439 h 124107"/>
                <a:gd name="connsiteX98" fmla="*/ 3103 w 118465"/>
                <a:gd name="connsiteY98" fmla="*/ 76157 h 124107"/>
                <a:gd name="connsiteX99" fmla="*/ 3949 w 118465"/>
                <a:gd name="connsiteY99" fmla="*/ 74746 h 124107"/>
                <a:gd name="connsiteX100" fmla="*/ 3385 w 118465"/>
                <a:gd name="connsiteY100" fmla="*/ 73054 h 124107"/>
                <a:gd name="connsiteX101" fmla="*/ 3667 w 118465"/>
                <a:gd name="connsiteY101" fmla="*/ 72490 h 124107"/>
                <a:gd name="connsiteX102" fmla="*/ 4795 w 118465"/>
                <a:gd name="connsiteY102" fmla="*/ 71362 h 124107"/>
                <a:gd name="connsiteX103" fmla="*/ 4513 w 118465"/>
                <a:gd name="connsiteY103" fmla="*/ 70515 h 124107"/>
                <a:gd name="connsiteX104" fmla="*/ 4231 w 118465"/>
                <a:gd name="connsiteY104" fmla="*/ 69951 h 124107"/>
                <a:gd name="connsiteX105" fmla="*/ 4513 w 118465"/>
                <a:gd name="connsiteY105" fmla="*/ 69669 h 124107"/>
                <a:gd name="connsiteX106" fmla="*/ 5924 w 118465"/>
                <a:gd name="connsiteY106" fmla="*/ 68823 h 124107"/>
                <a:gd name="connsiteX107" fmla="*/ 6205 w 118465"/>
                <a:gd name="connsiteY107" fmla="*/ 68823 h 124107"/>
                <a:gd name="connsiteX108" fmla="*/ 6769 w 118465"/>
                <a:gd name="connsiteY108" fmla="*/ 68541 h 124107"/>
                <a:gd name="connsiteX109" fmla="*/ 6769 w 118465"/>
                <a:gd name="connsiteY109" fmla="*/ 67413 h 124107"/>
                <a:gd name="connsiteX110" fmla="*/ 6488 w 118465"/>
                <a:gd name="connsiteY110" fmla="*/ 67131 h 124107"/>
                <a:gd name="connsiteX111" fmla="*/ 6488 w 118465"/>
                <a:gd name="connsiteY111" fmla="*/ 64310 h 124107"/>
                <a:gd name="connsiteX112" fmla="*/ 6769 w 118465"/>
                <a:gd name="connsiteY112" fmla="*/ 63464 h 124107"/>
                <a:gd name="connsiteX113" fmla="*/ 7052 w 118465"/>
                <a:gd name="connsiteY113" fmla="*/ 63182 h 124107"/>
                <a:gd name="connsiteX114" fmla="*/ 6769 w 118465"/>
                <a:gd name="connsiteY114" fmla="*/ 62054 h 124107"/>
                <a:gd name="connsiteX115" fmla="*/ 7616 w 118465"/>
                <a:gd name="connsiteY115" fmla="*/ 60925 h 124107"/>
                <a:gd name="connsiteX116" fmla="*/ 9026 w 118465"/>
                <a:gd name="connsiteY116" fmla="*/ 58105 h 124107"/>
                <a:gd name="connsiteX117" fmla="*/ 8744 w 118465"/>
                <a:gd name="connsiteY117" fmla="*/ 57541 h 124107"/>
                <a:gd name="connsiteX118" fmla="*/ 8744 w 118465"/>
                <a:gd name="connsiteY118" fmla="*/ 56694 h 124107"/>
                <a:gd name="connsiteX119" fmla="*/ 9026 w 118465"/>
                <a:gd name="connsiteY119" fmla="*/ 55848 h 124107"/>
                <a:gd name="connsiteX120" fmla="*/ 9872 w 118465"/>
                <a:gd name="connsiteY120" fmla="*/ 55002 h 124107"/>
                <a:gd name="connsiteX121" fmla="*/ 9872 w 118465"/>
                <a:gd name="connsiteY121" fmla="*/ 53310 h 124107"/>
                <a:gd name="connsiteX122" fmla="*/ 10154 w 118465"/>
                <a:gd name="connsiteY122" fmla="*/ 52745 h 124107"/>
                <a:gd name="connsiteX123" fmla="*/ 9872 w 118465"/>
                <a:gd name="connsiteY123" fmla="*/ 51899 h 124107"/>
                <a:gd name="connsiteX124" fmla="*/ 10154 w 118465"/>
                <a:gd name="connsiteY124" fmla="*/ 51053 h 124107"/>
                <a:gd name="connsiteX125" fmla="*/ 11846 w 118465"/>
                <a:gd name="connsiteY125" fmla="*/ 49643 h 124107"/>
                <a:gd name="connsiteX126" fmla="*/ 11846 w 118465"/>
                <a:gd name="connsiteY126" fmla="*/ 49079 h 124107"/>
                <a:gd name="connsiteX127" fmla="*/ 12410 w 118465"/>
                <a:gd name="connsiteY127" fmla="*/ 47386 h 124107"/>
                <a:gd name="connsiteX128" fmla="*/ 12410 w 118465"/>
                <a:gd name="connsiteY128" fmla="*/ 46822 h 124107"/>
                <a:gd name="connsiteX129" fmla="*/ 12693 w 118465"/>
                <a:gd name="connsiteY129" fmla="*/ 46540 h 124107"/>
                <a:gd name="connsiteX130" fmla="*/ 12693 w 118465"/>
                <a:gd name="connsiteY130" fmla="*/ 45130 h 124107"/>
                <a:gd name="connsiteX131" fmla="*/ 13821 w 118465"/>
                <a:gd name="connsiteY131" fmla="*/ 43720 h 124107"/>
                <a:gd name="connsiteX132" fmla="*/ 14103 w 118465"/>
                <a:gd name="connsiteY132" fmla="*/ 42309 h 124107"/>
                <a:gd name="connsiteX133" fmla="*/ 14667 w 118465"/>
                <a:gd name="connsiteY133" fmla="*/ 41181 h 124107"/>
                <a:gd name="connsiteX134" fmla="*/ 14385 w 118465"/>
                <a:gd name="connsiteY134" fmla="*/ 40617 h 124107"/>
                <a:gd name="connsiteX135" fmla="*/ 14949 w 118465"/>
                <a:gd name="connsiteY135" fmla="*/ 39771 h 124107"/>
                <a:gd name="connsiteX136" fmla="*/ 15796 w 118465"/>
                <a:gd name="connsiteY136" fmla="*/ 38924 h 124107"/>
                <a:gd name="connsiteX137" fmla="*/ 15796 w 118465"/>
                <a:gd name="connsiteY137" fmla="*/ 37796 h 124107"/>
                <a:gd name="connsiteX138" fmla="*/ 16360 w 118465"/>
                <a:gd name="connsiteY138" fmla="*/ 36950 h 124107"/>
                <a:gd name="connsiteX139" fmla="*/ 17206 w 118465"/>
                <a:gd name="connsiteY139" fmla="*/ 35822 h 124107"/>
                <a:gd name="connsiteX140" fmla="*/ 16924 w 118465"/>
                <a:gd name="connsiteY140" fmla="*/ 35540 h 124107"/>
                <a:gd name="connsiteX141" fmla="*/ 17488 w 118465"/>
                <a:gd name="connsiteY141" fmla="*/ 34411 h 124107"/>
                <a:gd name="connsiteX142" fmla="*/ 18052 w 118465"/>
                <a:gd name="connsiteY142" fmla="*/ 33283 h 124107"/>
                <a:gd name="connsiteX143" fmla="*/ 18898 w 118465"/>
                <a:gd name="connsiteY143" fmla="*/ 32437 h 124107"/>
                <a:gd name="connsiteX144" fmla="*/ 19744 w 118465"/>
                <a:gd name="connsiteY144" fmla="*/ 31309 h 124107"/>
                <a:gd name="connsiteX145" fmla="*/ 20308 w 118465"/>
                <a:gd name="connsiteY145" fmla="*/ 30463 h 124107"/>
                <a:gd name="connsiteX146" fmla="*/ 20027 w 118465"/>
                <a:gd name="connsiteY146" fmla="*/ 29899 h 124107"/>
                <a:gd name="connsiteX147" fmla="*/ 20872 w 118465"/>
                <a:gd name="connsiteY147" fmla="*/ 28488 h 124107"/>
                <a:gd name="connsiteX148" fmla="*/ 21437 w 118465"/>
                <a:gd name="connsiteY148" fmla="*/ 27360 h 124107"/>
                <a:gd name="connsiteX149" fmla="*/ 22283 w 118465"/>
                <a:gd name="connsiteY149" fmla="*/ 25950 h 124107"/>
                <a:gd name="connsiteX150" fmla="*/ 23129 w 118465"/>
                <a:gd name="connsiteY150" fmla="*/ 24821 h 124107"/>
                <a:gd name="connsiteX151" fmla="*/ 23129 w 118465"/>
                <a:gd name="connsiteY151" fmla="*/ 24539 h 124107"/>
                <a:gd name="connsiteX152" fmla="*/ 23693 w 118465"/>
                <a:gd name="connsiteY152" fmla="*/ 23975 h 124107"/>
                <a:gd name="connsiteX153" fmla="*/ 24539 w 118465"/>
                <a:gd name="connsiteY153" fmla="*/ 23693 h 124107"/>
                <a:gd name="connsiteX154" fmla="*/ 25103 w 118465"/>
                <a:gd name="connsiteY154" fmla="*/ 22847 h 124107"/>
                <a:gd name="connsiteX155" fmla="*/ 27360 w 118465"/>
                <a:gd name="connsiteY155" fmla="*/ 20308 h 124107"/>
                <a:gd name="connsiteX156" fmla="*/ 28770 w 118465"/>
                <a:gd name="connsiteY156" fmla="*/ 18052 h 124107"/>
                <a:gd name="connsiteX157" fmla="*/ 30744 w 118465"/>
                <a:gd name="connsiteY157" fmla="*/ 16360 h 124107"/>
                <a:gd name="connsiteX158" fmla="*/ 31591 w 118465"/>
                <a:gd name="connsiteY158" fmla="*/ 15795 h 124107"/>
                <a:gd name="connsiteX159" fmla="*/ 33001 w 118465"/>
                <a:gd name="connsiteY159" fmla="*/ 14385 h 124107"/>
                <a:gd name="connsiteX160" fmla="*/ 35540 w 118465"/>
                <a:gd name="connsiteY160" fmla="*/ 14385 h 124107"/>
                <a:gd name="connsiteX161" fmla="*/ 36104 w 118465"/>
                <a:gd name="connsiteY161" fmla="*/ 15231 h 124107"/>
                <a:gd name="connsiteX162" fmla="*/ 36950 w 118465"/>
                <a:gd name="connsiteY162" fmla="*/ 15231 h 124107"/>
                <a:gd name="connsiteX163" fmla="*/ 38078 w 118465"/>
                <a:gd name="connsiteY163" fmla="*/ 14385 h 124107"/>
                <a:gd name="connsiteX164" fmla="*/ 39489 w 118465"/>
                <a:gd name="connsiteY164" fmla="*/ 15231 h 124107"/>
                <a:gd name="connsiteX165" fmla="*/ 40053 w 118465"/>
                <a:gd name="connsiteY165" fmla="*/ 15513 h 124107"/>
                <a:gd name="connsiteX166" fmla="*/ 42027 w 118465"/>
                <a:gd name="connsiteY166" fmla="*/ 16642 h 124107"/>
                <a:gd name="connsiteX167" fmla="*/ 42873 w 118465"/>
                <a:gd name="connsiteY167" fmla="*/ 17488 h 124107"/>
                <a:gd name="connsiteX168" fmla="*/ 43156 w 118465"/>
                <a:gd name="connsiteY168" fmla="*/ 17488 h 124107"/>
                <a:gd name="connsiteX169" fmla="*/ 43156 w 118465"/>
                <a:gd name="connsiteY169" fmla="*/ 16642 h 124107"/>
                <a:gd name="connsiteX170" fmla="*/ 42873 w 118465"/>
                <a:gd name="connsiteY170" fmla="*/ 16078 h 124107"/>
                <a:gd name="connsiteX171" fmla="*/ 42873 w 118465"/>
                <a:gd name="connsiteY171" fmla="*/ 15513 h 124107"/>
                <a:gd name="connsiteX172" fmla="*/ 44002 w 118465"/>
                <a:gd name="connsiteY172" fmla="*/ 15513 h 124107"/>
                <a:gd name="connsiteX173" fmla="*/ 43437 w 118465"/>
                <a:gd name="connsiteY173" fmla="*/ 14103 h 124107"/>
                <a:gd name="connsiteX174" fmla="*/ 42309 w 118465"/>
                <a:gd name="connsiteY174" fmla="*/ 12693 h 124107"/>
                <a:gd name="connsiteX175" fmla="*/ 42027 w 118465"/>
                <a:gd name="connsiteY175" fmla="*/ 12411 h 124107"/>
                <a:gd name="connsiteX176" fmla="*/ 41463 w 118465"/>
                <a:gd name="connsiteY176" fmla="*/ 10154 h 124107"/>
                <a:gd name="connsiteX177" fmla="*/ 41181 w 118465"/>
                <a:gd name="connsiteY177" fmla="*/ 9590 h 124107"/>
                <a:gd name="connsiteX178" fmla="*/ 41463 w 118465"/>
                <a:gd name="connsiteY178" fmla="*/ 9026 h 124107"/>
                <a:gd name="connsiteX179" fmla="*/ 41463 w 118465"/>
                <a:gd name="connsiteY179" fmla="*/ 8744 h 124107"/>
                <a:gd name="connsiteX180" fmla="*/ 42027 w 118465"/>
                <a:gd name="connsiteY180" fmla="*/ 7898 h 124107"/>
                <a:gd name="connsiteX181" fmla="*/ 44284 w 118465"/>
                <a:gd name="connsiteY181" fmla="*/ 6487 h 124107"/>
                <a:gd name="connsiteX182" fmla="*/ 46258 w 118465"/>
                <a:gd name="connsiteY182" fmla="*/ 4231 h 124107"/>
                <a:gd name="connsiteX183" fmla="*/ 47104 w 118465"/>
                <a:gd name="connsiteY183" fmla="*/ 3385 h 124107"/>
                <a:gd name="connsiteX184" fmla="*/ 47668 w 118465"/>
                <a:gd name="connsiteY184" fmla="*/ 2539 h 124107"/>
                <a:gd name="connsiteX185" fmla="*/ 49361 w 118465"/>
                <a:gd name="connsiteY185" fmla="*/ 1410 h 124107"/>
                <a:gd name="connsiteX186" fmla="*/ 50489 w 118465"/>
                <a:gd name="connsiteY186" fmla="*/ 846 h 124107"/>
                <a:gd name="connsiteX187" fmla="*/ 51617 w 118465"/>
                <a:gd name="connsiteY187" fmla="*/ 846 h 124107"/>
                <a:gd name="connsiteX188" fmla="*/ 52745 w 118465"/>
                <a:gd name="connsiteY188" fmla="*/ 282 h 124107"/>
                <a:gd name="connsiteX189" fmla="*/ 55002 w 118465"/>
                <a:gd name="connsiteY189" fmla="*/ 282 h 124107"/>
                <a:gd name="connsiteX190" fmla="*/ 56130 w 118465"/>
                <a:gd name="connsiteY190" fmla="*/ 0 h 124107"/>
                <a:gd name="connsiteX191" fmla="*/ 56976 w 118465"/>
                <a:gd name="connsiteY191" fmla="*/ 0 h 124107"/>
                <a:gd name="connsiteX192" fmla="*/ 59233 w 118465"/>
                <a:gd name="connsiteY192" fmla="*/ 846 h 124107"/>
                <a:gd name="connsiteX193" fmla="*/ 60361 w 118465"/>
                <a:gd name="connsiteY193" fmla="*/ 1974 h 124107"/>
                <a:gd name="connsiteX194" fmla="*/ 60361 w 118465"/>
                <a:gd name="connsiteY194" fmla="*/ 2256 h 124107"/>
                <a:gd name="connsiteX195" fmla="*/ 60926 w 118465"/>
                <a:gd name="connsiteY195" fmla="*/ 2539 h 124107"/>
                <a:gd name="connsiteX196" fmla="*/ 63182 w 118465"/>
                <a:gd name="connsiteY196" fmla="*/ 3667 h 124107"/>
                <a:gd name="connsiteX197" fmla="*/ 64874 w 118465"/>
                <a:gd name="connsiteY197" fmla="*/ 4795 h 124107"/>
                <a:gd name="connsiteX198" fmla="*/ 66567 w 118465"/>
                <a:gd name="connsiteY198" fmla="*/ 6205 h 124107"/>
                <a:gd name="connsiteX199" fmla="*/ 67131 w 118465"/>
                <a:gd name="connsiteY199" fmla="*/ 7898 h 124107"/>
                <a:gd name="connsiteX200" fmla="*/ 66848 w 118465"/>
                <a:gd name="connsiteY200" fmla="*/ 8744 h 124107"/>
                <a:gd name="connsiteX201" fmla="*/ 67131 w 118465"/>
                <a:gd name="connsiteY201" fmla="*/ 9308 h 124107"/>
                <a:gd name="connsiteX202" fmla="*/ 66567 w 118465"/>
                <a:gd name="connsiteY202" fmla="*/ 9590 h 124107"/>
                <a:gd name="connsiteX203" fmla="*/ 66567 w 118465"/>
                <a:gd name="connsiteY203" fmla="*/ 10718 h 124107"/>
                <a:gd name="connsiteX204" fmla="*/ 66848 w 118465"/>
                <a:gd name="connsiteY204" fmla="*/ 11000 h 124107"/>
                <a:gd name="connsiteX205" fmla="*/ 67977 w 118465"/>
                <a:gd name="connsiteY205" fmla="*/ 11000 h 124107"/>
                <a:gd name="connsiteX206" fmla="*/ 68259 w 118465"/>
                <a:gd name="connsiteY206" fmla="*/ 11282 h 124107"/>
                <a:gd name="connsiteX207" fmla="*/ 67977 w 118465"/>
                <a:gd name="connsiteY207" fmla="*/ 11847 h 124107"/>
                <a:gd name="connsiteX208" fmla="*/ 67131 w 118465"/>
                <a:gd name="connsiteY208" fmla="*/ 12693 h 124107"/>
                <a:gd name="connsiteX209" fmla="*/ 66284 w 118465"/>
                <a:gd name="connsiteY209" fmla="*/ 12693 h 124107"/>
                <a:gd name="connsiteX210" fmla="*/ 66567 w 118465"/>
                <a:gd name="connsiteY210" fmla="*/ 13539 h 124107"/>
                <a:gd name="connsiteX211" fmla="*/ 68823 w 118465"/>
                <a:gd name="connsiteY211" fmla="*/ 15513 h 124107"/>
                <a:gd name="connsiteX212" fmla="*/ 69105 w 118465"/>
                <a:gd name="connsiteY212" fmla="*/ 16078 h 124107"/>
                <a:gd name="connsiteX213" fmla="*/ 71079 w 118465"/>
                <a:gd name="connsiteY213" fmla="*/ 17488 h 124107"/>
                <a:gd name="connsiteX214" fmla="*/ 71362 w 118465"/>
                <a:gd name="connsiteY214" fmla="*/ 17488 h 124107"/>
                <a:gd name="connsiteX215" fmla="*/ 72772 w 118465"/>
                <a:gd name="connsiteY215" fmla="*/ 18334 h 124107"/>
                <a:gd name="connsiteX216" fmla="*/ 74182 w 118465"/>
                <a:gd name="connsiteY216" fmla="*/ 19180 h 124107"/>
                <a:gd name="connsiteX217" fmla="*/ 75029 w 118465"/>
                <a:gd name="connsiteY217" fmla="*/ 19462 h 124107"/>
                <a:gd name="connsiteX218" fmla="*/ 75874 w 118465"/>
                <a:gd name="connsiteY218" fmla="*/ 20026 h 124107"/>
                <a:gd name="connsiteX219" fmla="*/ 78695 w 118465"/>
                <a:gd name="connsiteY219" fmla="*/ 21155 h 124107"/>
                <a:gd name="connsiteX220" fmla="*/ 79260 w 118465"/>
                <a:gd name="connsiteY220" fmla="*/ 21437 h 124107"/>
                <a:gd name="connsiteX221" fmla="*/ 80952 w 118465"/>
                <a:gd name="connsiteY221" fmla="*/ 21719 h 124107"/>
                <a:gd name="connsiteX222" fmla="*/ 81234 w 118465"/>
                <a:gd name="connsiteY222" fmla="*/ 22001 h 124107"/>
                <a:gd name="connsiteX223" fmla="*/ 84054 w 118465"/>
                <a:gd name="connsiteY223" fmla="*/ 22001 h 124107"/>
                <a:gd name="connsiteX224" fmla="*/ 85746 w 118465"/>
                <a:gd name="connsiteY224" fmla="*/ 22565 h 124107"/>
                <a:gd name="connsiteX225" fmla="*/ 87157 w 118465"/>
                <a:gd name="connsiteY225" fmla="*/ 23129 h 124107"/>
                <a:gd name="connsiteX226" fmla="*/ 87721 w 118465"/>
                <a:gd name="connsiteY226" fmla="*/ 22847 h 124107"/>
                <a:gd name="connsiteX227" fmla="*/ 89132 w 118465"/>
                <a:gd name="connsiteY227" fmla="*/ 22847 h 124107"/>
                <a:gd name="connsiteX228" fmla="*/ 90542 w 118465"/>
                <a:gd name="connsiteY228" fmla="*/ 23411 h 124107"/>
                <a:gd name="connsiteX229" fmla="*/ 95337 w 118465"/>
                <a:gd name="connsiteY229" fmla="*/ 23411 h 124107"/>
                <a:gd name="connsiteX230" fmla="*/ 96465 w 118465"/>
                <a:gd name="connsiteY230" fmla="*/ 22847 h 124107"/>
                <a:gd name="connsiteX231" fmla="*/ 99850 w 118465"/>
                <a:gd name="connsiteY231" fmla="*/ 22847 h 124107"/>
                <a:gd name="connsiteX232" fmla="*/ 100414 w 118465"/>
                <a:gd name="connsiteY232" fmla="*/ 23129 h 124107"/>
                <a:gd name="connsiteX233" fmla="*/ 101260 w 118465"/>
                <a:gd name="connsiteY233" fmla="*/ 22565 h 124107"/>
                <a:gd name="connsiteX234" fmla="*/ 102670 w 118465"/>
                <a:gd name="connsiteY234" fmla="*/ 22565 h 124107"/>
                <a:gd name="connsiteX235" fmla="*/ 103799 w 118465"/>
                <a:gd name="connsiteY235" fmla="*/ 22283 h 124107"/>
                <a:gd name="connsiteX236" fmla="*/ 105491 w 118465"/>
                <a:gd name="connsiteY236" fmla="*/ 22001 h 124107"/>
                <a:gd name="connsiteX237" fmla="*/ 106337 w 118465"/>
                <a:gd name="connsiteY237" fmla="*/ 21719 h 124107"/>
                <a:gd name="connsiteX238" fmla="*/ 107466 w 118465"/>
                <a:gd name="connsiteY238" fmla="*/ 21719 h 124107"/>
                <a:gd name="connsiteX239" fmla="*/ 108876 w 118465"/>
                <a:gd name="connsiteY239" fmla="*/ 21437 h 124107"/>
                <a:gd name="connsiteX240" fmla="*/ 110286 w 118465"/>
                <a:gd name="connsiteY240" fmla="*/ 21437 h 124107"/>
                <a:gd name="connsiteX241" fmla="*/ 111978 w 118465"/>
                <a:gd name="connsiteY241" fmla="*/ 20590 h 124107"/>
                <a:gd name="connsiteX242" fmla="*/ 113953 w 118465"/>
                <a:gd name="connsiteY242" fmla="*/ 20026 h 124107"/>
                <a:gd name="connsiteX243" fmla="*/ 115081 w 118465"/>
                <a:gd name="connsiteY243" fmla="*/ 19462 h 124107"/>
                <a:gd name="connsiteX244" fmla="*/ 115645 w 118465"/>
                <a:gd name="connsiteY244" fmla="*/ 19462 h 124107"/>
                <a:gd name="connsiteX245" fmla="*/ 116209 w 118465"/>
                <a:gd name="connsiteY245" fmla="*/ 19180 h 124107"/>
                <a:gd name="connsiteX246" fmla="*/ 117620 w 118465"/>
                <a:gd name="connsiteY246" fmla="*/ 18616 h 124107"/>
                <a:gd name="connsiteX247" fmla="*/ 117902 w 118465"/>
                <a:gd name="connsiteY247" fmla="*/ 18616 h 124107"/>
                <a:gd name="connsiteX248" fmla="*/ 119312 w 118465"/>
                <a:gd name="connsiteY248" fmla="*/ 18052 h 124107"/>
                <a:gd name="connsiteX249" fmla="*/ 120440 w 118465"/>
                <a:gd name="connsiteY249" fmla="*/ 17770 h 124107"/>
                <a:gd name="connsiteX250" fmla="*/ 121569 w 118465"/>
                <a:gd name="connsiteY250" fmla="*/ 17770 h 124107"/>
                <a:gd name="connsiteX251" fmla="*/ 121850 w 118465"/>
                <a:gd name="connsiteY251" fmla="*/ 18052 h 124107"/>
                <a:gd name="connsiteX252" fmla="*/ 121850 w 118465"/>
                <a:gd name="connsiteY252" fmla="*/ 18334 h 124107"/>
                <a:gd name="connsiteX253" fmla="*/ 122979 w 118465"/>
                <a:gd name="connsiteY253" fmla="*/ 19744 h 124107"/>
                <a:gd name="connsiteX254" fmla="*/ 121850 w 118465"/>
                <a:gd name="connsiteY254" fmla="*/ 21155 h 124107"/>
                <a:gd name="connsiteX255" fmla="*/ 120440 w 118465"/>
                <a:gd name="connsiteY255" fmla="*/ 22847 h 124107"/>
                <a:gd name="connsiteX256" fmla="*/ 120440 w 118465"/>
                <a:gd name="connsiteY256" fmla="*/ 23411 h 124107"/>
                <a:gd name="connsiteX257" fmla="*/ 119312 w 118465"/>
                <a:gd name="connsiteY257" fmla="*/ 23693 h 124107"/>
                <a:gd name="connsiteX258" fmla="*/ 118748 w 118465"/>
                <a:gd name="connsiteY258" fmla="*/ 24539 h 124107"/>
                <a:gd name="connsiteX259" fmla="*/ 119312 w 118465"/>
                <a:gd name="connsiteY259" fmla="*/ 25103 h 124107"/>
                <a:gd name="connsiteX260" fmla="*/ 119312 w 118465"/>
                <a:gd name="connsiteY260" fmla="*/ 25386 h 124107"/>
                <a:gd name="connsiteX261" fmla="*/ 117902 w 118465"/>
                <a:gd name="connsiteY261" fmla="*/ 27360 h 124107"/>
                <a:gd name="connsiteX262" fmla="*/ 118466 w 118465"/>
                <a:gd name="connsiteY262" fmla="*/ 27924 h 124107"/>
                <a:gd name="connsiteX263" fmla="*/ 118183 w 118465"/>
                <a:gd name="connsiteY263" fmla="*/ 27924 h 124107"/>
                <a:gd name="connsiteX264" fmla="*/ 117620 w 118465"/>
                <a:gd name="connsiteY264" fmla="*/ 28488 h 124107"/>
                <a:gd name="connsiteX265" fmla="*/ 116492 w 118465"/>
                <a:gd name="connsiteY265" fmla="*/ 29334 h 124107"/>
                <a:gd name="connsiteX266" fmla="*/ 115645 w 118465"/>
                <a:gd name="connsiteY266" fmla="*/ 29334 h 124107"/>
                <a:gd name="connsiteX267" fmla="*/ 114517 w 118465"/>
                <a:gd name="connsiteY267" fmla="*/ 30181 h 124107"/>
                <a:gd name="connsiteX268" fmla="*/ 113953 w 118465"/>
                <a:gd name="connsiteY268" fmla="*/ 29899 h 124107"/>
                <a:gd name="connsiteX269" fmla="*/ 113671 w 118465"/>
                <a:gd name="connsiteY269" fmla="*/ 29899 h 124107"/>
                <a:gd name="connsiteX270" fmla="*/ 113671 w 118465"/>
                <a:gd name="connsiteY270" fmla="*/ 30181 h 124107"/>
                <a:gd name="connsiteX271" fmla="*/ 112261 w 118465"/>
                <a:gd name="connsiteY271" fmla="*/ 31591 h 124107"/>
                <a:gd name="connsiteX272" fmla="*/ 111697 w 118465"/>
                <a:gd name="connsiteY272" fmla="*/ 32719 h 124107"/>
                <a:gd name="connsiteX273" fmla="*/ 110004 w 118465"/>
                <a:gd name="connsiteY273" fmla="*/ 32719 h 124107"/>
                <a:gd name="connsiteX274" fmla="*/ 110004 w 118465"/>
                <a:gd name="connsiteY274" fmla="*/ 33283 h 124107"/>
                <a:gd name="connsiteX275" fmla="*/ 109722 w 118465"/>
                <a:gd name="connsiteY275" fmla="*/ 34129 h 124107"/>
                <a:gd name="connsiteX276" fmla="*/ 109722 w 118465"/>
                <a:gd name="connsiteY276" fmla="*/ 34694 h 124107"/>
                <a:gd name="connsiteX277" fmla="*/ 111132 w 118465"/>
                <a:gd name="connsiteY277" fmla="*/ 35258 h 124107"/>
                <a:gd name="connsiteX278" fmla="*/ 112261 w 118465"/>
                <a:gd name="connsiteY278" fmla="*/ 35540 h 124107"/>
                <a:gd name="connsiteX279" fmla="*/ 112542 w 118465"/>
                <a:gd name="connsiteY279" fmla="*/ 35822 h 124107"/>
                <a:gd name="connsiteX280" fmla="*/ 112542 w 118465"/>
                <a:gd name="connsiteY280" fmla="*/ 36104 h 124107"/>
                <a:gd name="connsiteX281" fmla="*/ 111132 w 118465"/>
                <a:gd name="connsiteY281" fmla="*/ 36950 h 124107"/>
                <a:gd name="connsiteX282" fmla="*/ 109722 w 118465"/>
                <a:gd name="connsiteY282" fmla="*/ 36950 h 124107"/>
                <a:gd name="connsiteX283" fmla="*/ 109158 w 118465"/>
                <a:gd name="connsiteY283" fmla="*/ 36668 h 124107"/>
                <a:gd name="connsiteX284" fmla="*/ 108876 w 118465"/>
                <a:gd name="connsiteY284" fmla="*/ 36950 h 124107"/>
                <a:gd name="connsiteX285" fmla="*/ 107747 w 118465"/>
                <a:gd name="connsiteY285" fmla="*/ 36950 h 124107"/>
                <a:gd name="connsiteX286" fmla="*/ 106337 w 118465"/>
                <a:gd name="connsiteY286" fmla="*/ 37232 h 124107"/>
                <a:gd name="connsiteX287" fmla="*/ 106055 w 118465"/>
                <a:gd name="connsiteY287" fmla="*/ 37514 h 124107"/>
                <a:gd name="connsiteX288" fmla="*/ 104927 w 118465"/>
                <a:gd name="connsiteY288" fmla="*/ 37232 h 124107"/>
                <a:gd name="connsiteX289" fmla="*/ 104363 w 118465"/>
                <a:gd name="connsiteY289" fmla="*/ 36950 h 124107"/>
                <a:gd name="connsiteX290" fmla="*/ 103235 w 118465"/>
                <a:gd name="connsiteY290" fmla="*/ 37232 h 124107"/>
                <a:gd name="connsiteX291" fmla="*/ 102388 w 118465"/>
                <a:gd name="connsiteY291" fmla="*/ 37796 h 124107"/>
                <a:gd name="connsiteX292" fmla="*/ 102106 w 118465"/>
                <a:gd name="connsiteY292" fmla="*/ 37796 h 124107"/>
                <a:gd name="connsiteX293" fmla="*/ 100414 w 118465"/>
                <a:gd name="connsiteY293" fmla="*/ 37232 h 124107"/>
                <a:gd name="connsiteX294" fmla="*/ 98439 w 118465"/>
                <a:gd name="connsiteY294" fmla="*/ 37232 h 124107"/>
                <a:gd name="connsiteX295" fmla="*/ 97875 w 118465"/>
                <a:gd name="connsiteY295" fmla="*/ 36950 h 124107"/>
                <a:gd name="connsiteX296" fmla="*/ 96465 w 118465"/>
                <a:gd name="connsiteY296" fmla="*/ 37232 h 124107"/>
                <a:gd name="connsiteX297" fmla="*/ 96183 w 118465"/>
                <a:gd name="connsiteY297" fmla="*/ 37232 h 124107"/>
                <a:gd name="connsiteX298" fmla="*/ 94491 w 118465"/>
                <a:gd name="connsiteY298" fmla="*/ 38360 h 124107"/>
                <a:gd name="connsiteX299" fmla="*/ 93363 w 118465"/>
                <a:gd name="connsiteY299" fmla="*/ 38924 h 124107"/>
                <a:gd name="connsiteX300" fmla="*/ 92798 w 118465"/>
                <a:gd name="connsiteY300" fmla="*/ 38924 h 124107"/>
                <a:gd name="connsiteX301" fmla="*/ 89132 w 118465"/>
                <a:gd name="connsiteY301" fmla="*/ 37232 h 124107"/>
                <a:gd name="connsiteX302" fmla="*/ 88849 w 118465"/>
                <a:gd name="connsiteY302" fmla="*/ 36950 h 124107"/>
                <a:gd name="connsiteX303" fmla="*/ 88567 w 118465"/>
                <a:gd name="connsiteY303" fmla="*/ 37232 h 124107"/>
                <a:gd name="connsiteX304" fmla="*/ 87157 w 118465"/>
                <a:gd name="connsiteY304" fmla="*/ 38078 h 124107"/>
                <a:gd name="connsiteX305" fmla="*/ 86593 w 118465"/>
                <a:gd name="connsiteY305" fmla="*/ 37796 h 124107"/>
                <a:gd name="connsiteX306" fmla="*/ 85182 w 118465"/>
                <a:gd name="connsiteY306" fmla="*/ 38078 h 124107"/>
                <a:gd name="connsiteX307" fmla="*/ 84054 w 118465"/>
                <a:gd name="connsiteY307" fmla="*/ 37232 h 124107"/>
                <a:gd name="connsiteX308" fmla="*/ 81234 w 118465"/>
                <a:gd name="connsiteY308" fmla="*/ 37232 h 124107"/>
                <a:gd name="connsiteX309" fmla="*/ 79541 w 118465"/>
                <a:gd name="connsiteY309" fmla="*/ 36668 h 124107"/>
                <a:gd name="connsiteX310" fmla="*/ 78413 w 118465"/>
                <a:gd name="connsiteY310" fmla="*/ 36668 h 124107"/>
                <a:gd name="connsiteX311" fmla="*/ 77567 w 118465"/>
                <a:gd name="connsiteY311" fmla="*/ 36386 h 124107"/>
                <a:gd name="connsiteX312" fmla="*/ 76157 w 118465"/>
                <a:gd name="connsiteY312" fmla="*/ 36386 h 124107"/>
                <a:gd name="connsiteX313" fmla="*/ 75029 w 118465"/>
                <a:gd name="connsiteY313" fmla="*/ 36104 h 124107"/>
                <a:gd name="connsiteX314" fmla="*/ 74464 w 118465"/>
                <a:gd name="connsiteY314" fmla="*/ 36386 h 124107"/>
                <a:gd name="connsiteX315" fmla="*/ 74182 w 118465"/>
                <a:gd name="connsiteY315" fmla="*/ 36668 h 124107"/>
                <a:gd name="connsiteX316" fmla="*/ 74182 w 118465"/>
                <a:gd name="connsiteY316" fmla="*/ 36386 h 124107"/>
                <a:gd name="connsiteX317" fmla="*/ 71643 w 118465"/>
                <a:gd name="connsiteY317" fmla="*/ 35258 h 124107"/>
                <a:gd name="connsiteX318" fmla="*/ 71362 w 118465"/>
                <a:gd name="connsiteY318" fmla="*/ 34976 h 124107"/>
                <a:gd name="connsiteX319" fmla="*/ 69387 w 118465"/>
                <a:gd name="connsiteY319" fmla="*/ 34976 h 124107"/>
                <a:gd name="connsiteX320" fmla="*/ 67977 w 118465"/>
                <a:gd name="connsiteY320" fmla="*/ 34411 h 124107"/>
                <a:gd name="connsiteX321" fmla="*/ 67695 w 118465"/>
                <a:gd name="connsiteY321" fmla="*/ 34411 h 124107"/>
                <a:gd name="connsiteX322" fmla="*/ 67131 w 118465"/>
                <a:gd name="connsiteY322" fmla="*/ 34976 h 124107"/>
                <a:gd name="connsiteX323" fmla="*/ 67695 w 118465"/>
                <a:gd name="connsiteY323" fmla="*/ 36950 h 124107"/>
                <a:gd name="connsiteX324" fmla="*/ 67977 w 118465"/>
                <a:gd name="connsiteY324" fmla="*/ 37514 h 124107"/>
                <a:gd name="connsiteX325" fmla="*/ 67977 w 118465"/>
                <a:gd name="connsiteY325" fmla="*/ 37796 h 124107"/>
                <a:gd name="connsiteX326" fmla="*/ 67695 w 118465"/>
                <a:gd name="connsiteY326" fmla="*/ 39771 h 124107"/>
                <a:gd name="connsiteX327" fmla="*/ 67412 w 118465"/>
                <a:gd name="connsiteY327" fmla="*/ 40899 h 124107"/>
                <a:gd name="connsiteX328" fmla="*/ 67695 w 118465"/>
                <a:gd name="connsiteY328" fmla="*/ 41745 h 124107"/>
                <a:gd name="connsiteX329" fmla="*/ 67131 w 118465"/>
                <a:gd name="connsiteY329" fmla="*/ 43155 h 124107"/>
                <a:gd name="connsiteX330" fmla="*/ 66848 w 118465"/>
                <a:gd name="connsiteY330" fmla="*/ 43155 h 124107"/>
                <a:gd name="connsiteX331" fmla="*/ 66567 w 118465"/>
                <a:gd name="connsiteY331" fmla="*/ 42309 h 124107"/>
                <a:gd name="connsiteX332" fmla="*/ 66567 w 118465"/>
                <a:gd name="connsiteY332" fmla="*/ 41745 h 124107"/>
                <a:gd name="connsiteX333" fmla="*/ 66284 w 118465"/>
                <a:gd name="connsiteY333" fmla="*/ 40617 h 124107"/>
                <a:gd name="connsiteX334" fmla="*/ 66284 w 118465"/>
                <a:gd name="connsiteY334" fmla="*/ 40335 h 124107"/>
                <a:gd name="connsiteX335" fmla="*/ 66002 w 118465"/>
                <a:gd name="connsiteY335" fmla="*/ 39771 h 124107"/>
                <a:gd name="connsiteX336" fmla="*/ 66567 w 118465"/>
                <a:gd name="connsiteY336" fmla="*/ 38642 h 124107"/>
                <a:gd name="connsiteX337" fmla="*/ 66002 w 118465"/>
                <a:gd name="connsiteY337" fmla="*/ 37796 h 124107"/>
                <a:gd name="connsiteX338" fmla="*/ 66284 w 118465"/>
                <a:gd name="connsiteY338" fmla="*/ 37514 h 124107"/>
                <a:gd name="connsiteX339" fmla="*/ 66567 w 118465"/>
                <a:gd name="connsiteY339" fmla="*/ 35822 h 124107"/>
                <a:gd name="connsiteX340" fmla="*/ 65720 w 118465"/>
                <a:gd name="connsiteY340" fmla="*/ 34976 h 124107"/>
                <a:gd name="connsiteX341" fmla="*/ 66002 w 118465"/>
                <a:gd name="connsiteY341" fmla="*/ 34129 h 124107"/>
                <a:gd name="connsiteX342" fmla="*/ 66848 w 118465"/>
                <a:gd name="connsiteY342" fmla="*/ 33565 h 124107"/>
                <a:gd name="connsiteX343" fmla="*/ 66002 w 118465"/>
                <a:gd name="connsiteY343" fmla="*/ 33283 h 124107"/>
                <a:gd name="connsiteX344" fmla="*/ 64874 w 118465"/>
                <a:gd name="connsiteY344" fmla="*/ 33001 h 124107"/>
                <a:gd name="connsiteX345" fmla="*/ 63746 w 118465"/>
                <a:gd name="connsiteY345" fmla="*/ 32437 h 124107"/>
                <a:gd name="connsiteX346" fmla="*/ 63182 w 118465"/>
                <a:gd name="connsiteY346" fmla="*/ 32719 h 124107"/>
                <a:gd name="connsiteX347" fmla="*/ 63182 w 118465"/>
                <a:gd name="connsiteY347" fmla="*/ 33847 h 124107"/>
                <a:gd name="connsiteX348" fmla="*/ 63464 w 118465"/>
                <a:gd name="connsiteY348" fmla="*/ 36668 h 124107"/>
                <a:gd name="connsiteX349" fmla="*/ 63464 w 118465"/>
                <a:gd name="connsiteY349" fmla="*/ 37232 h 124107"/>
                <a:gd name="connsiteX350" fmla="*/ 63464 w 118465"/>
                <a:gd name="connsiteY350" fmla="*/ 38078 h 124107"/>
                <a:gd name="connsiteX351" fmla="*/ 63746 w 118465"/>
                <a:gd name="connsiteY351" fmla="*/ 39207 h 124107"/>
                <a:gd name="connsiteX352" fmla="*/ 64028 w 118465"/>
                <a:gd name="connsiteY352" fmla="*/ 39771 h 124107"/>
                <a:gd name="connsiteX353" fmla="*/ 63746 w 118465"/>
                <a:gd name="connsiteY353" fmla="*/ 40335 h 124107"/>
                <a:gd name="connsiteX354" fmla="*/ 64310 w 118465"/>
                <a:gd name="connsiteY354" fmla="*/ 41463 h 124107"/>
                <a:gd name="connsiteX355" fmla="*/ 64874 w 118465"/>
                <a:gd name="connsiteY355" fmla="*/ 42309 h 124107"/>
                <a:gd name="connsiteX356" fmla="*/ 64592 w 118465"/>
                <a:gd name="connsiteY356" fmla="*/ 42873 h 124107"/>
                <a:gd name="connsiteX357" fmla="*/ 64592 w 118465"/>
                <a:gd name="connsiteY357" fmla="*/ 43155 h 124107"/>
                <a:gd name="connsiteX358" fmla="*/ 64028 w 118465"/>
                <a:gd name="connsiteY358" fmla="*/ 43155 h 124107"/>
                <a:gd name="connsiteX359" fmla="*/ 63746 w 118465"/>
                <a:gd name="connsiteY359" fmla="*/ 42873 h 124107"/>
                <a:gd name="connsiteX360" fmla="*/ 63182 w 118465"/>
                <a:gd name="connsiteY360" fmla="*/ 43155 h 124107"/>
                <a:gd name="connsiteX361" fmla="*/ 62900 w 118465"/>
                <a:gd name="connsiteY361" fmla="*/ 43720 h 124107"/>
                <a:gd name="connsiteX362" fmla="*/ 62900 w 118465"/>
                <a:gd name="connsiteY362" fmla="*/ 44002 h 124107"/>
                <a:gd name="connsiteX363" fmla="*/ 63746 w 118465"/>
                <a:gd name="connsiteY363" fmla="*/ 45694 h 124107"/>
                <a:gd name="connsiteX364" fmla="*/ 64592 w 118465"/>
                <a:gd name="connsiteY364" fmla="*/ 47386 h 124107"/>
                <a:gd name="connsiteX365" fmla="*/ 65156 w 118465"/>
                <a:gd name="connsiteY365" fmla="*/ 47950 h 124107"/>
                <a:gd name="connsiteX366" fmla="*/ 65720 w 118465"/>
                <a:gd name="connsiteY366" fmla="*/ 47668 h 124107"/>
                <a:gd name="connsiteX367" fmla="*/ 66284 w 118465"/>
                <a:gd name="connsiteY367" fmla="*/ 47104 h 124107"/>
                <a:gd name="connsiteX368" fmla="*/ 66002 w 118465"/>
                <a:gd name="connsiteY368" fmla="*/ 45694 h 124107"/>
                <a:gd name="connsiteX369" fmla="*/ 66284 w 118465"/>
                <a:gd name="connsiteY369" fmla="*/ 45130 h 124107"/>
                <a:gd name="connsiteX370" fmla="*/ 67131 w 118465"/>
                <a:gd name="connsiteY370" fmla="*/ 45694 h 124107"/>
                <a:gd name="connsiteX371" fmla="*/ 67131 w 118465"/>
                <a:gd name="connsiteY371" fmla="*/ 45976 h 124107"/>
                <a:gd name="connsiteX372" fmla="*/ 67412 w 118465"/>
                <a:gd name="connsiteY372" fmla="*/ 47104 h 124107"/>
                <a:gd name="connsiteX373" fmla="*/ 67131 w 118465"/>
                <a:gd name="connsiteY373" fmla="*/ 47668 h 124107"/>
                <a:gd name="connsiteX374" fmla="*/ 67131 w 118465"/>
                <a:gd name="connsiteY374" fmla="*/ 49643 h 124107"/>
                <a:gd name="connsiteX375" fmla="*/ 66567 w 118465"/>
                <a:gd name="connsiteY375" fmla="*/ 50771 h 124107"/>
                <a:gd name="connsiteX376" fmla="*/ 66848 w 118465"/>
                <a:gd name="connsiteY376" fmla="*/ 51617 h 124107"/>
                <a:gd name="connsiteX377" fmla="*/ 67131 w 118465"/>
                <a:gd name="connsiteY377" fmla="*/ 54156 h 124107"/>
                <a:gd name="connsiteX378" fmla="*/ 67131 w 118465"/>
                <a:gd name="connsiteY378" fmla="*/ 55002 h 124107"/>
                <a:gd name="connsiteX379" fmla="*/ 66002 w 118465"/>
                <a:gd name="connsiteY379" fmla="*/ 56694 h 124107"/>
                <a:gd name="connsiteX380" fmla="*/ 66284 w 118465"/>
                <a:gd name="connsiteY380" fmla="*/ 57258 h 124107"/>
                <a:gd name="connsiteX381" fmla="*/ 66848 w 118465"/>
                <a:gd name="connsiteY381" fmla="*/ 58951 h 124107"/>
                <a:gd name="connsiteX382" fmla="*/ 66567 w 118465"/>
                <a:gd name="connsiteY382" fmla="*/ 60079 h 124107"/>
                <a:gd name="connsiteX383" fmla="*/ 67412 w 118465"/>
                <a:gd name="connsiteY383" fmla="*/ 62336 h 124107"/>
                <a:gd name="connsiteX384" fmla="*/ 68541 w 118465"/>
                <a:gd name="connsiteY384" fmla="*/ 62900 h 124107"/>
                <a:gd name="connsiteX385" fmla="*/ 68541 w 118465"/>
                <a:gd name="connsiteY385" fmla="*/ 63464 h 124107"/>
                <a:gd name="connsiteX386" fmla="*/ 65720 w 118465"/>
                <a:gd name="connsiteY386" fmla="*/ 63464 h 124107"/>
                <a:gd name="connsiteX387" fmla="*/ 64874 w 118465"/>
                <a:gd name="connsiteY387" fmla="*/ 65156 h 124107"/>
                <a:gd name="connsiteX388" fmla="*/ 64592 w 118465"/>
                <a:gd name="connsiteY388" fmla="*/ 66002 h 124107"/>
                <a:gd name="connsiteX389" fmla="*/ 65156 w 118465"/>
                <a:gd name="connsiteY389" fmla="*/ 66849 h 124107"/>
                <a:gd name="connsiteX390" fmla="*/ 64874 w 118465"/>
                <a:gd name="connsiteY390" fmla="*/ 67413 h 124107"/>
                <a:gd name="connsiteX391" fmla="*/ 64874 w 118465"/>
                <a:gd name="connsiteY391" fmla="*/ 67977 h 124107"/>
                <a:gd name="connsiteX392" fmla="*/ 65720 w 118465"/>
                <a:gd name="connsiteY392" fmla="*/ 69105 h 124107"/>
                <a:gd name="connsiteX393" fmla="*/ 65438 w 118465"/>
                <a:gd name="connsiteY393" fmla="*/ 69669 h 124107"/>
                <a:gd name="connsiteX394" fmla="*/ 65438 w 118465"/>
                <a:gd name="connsiteY394" fmla="*/ 71079 h 124107"/>
                <a:gd name="connsiteX395" fmla="*/ 64874 w 118465"/>
                <a:gd name="connsiteY395" fmla="*/ 72490 h 124107"/>
                <a:gd name="connsiteX396" fmla="*/ 64592 w 118465"/>
                <a:gd name="connsiteY396" fmla="*/ 72772 h 124107"/>
                <a:gd name="connsiteX397" fmla="*/ 65156 w 118465"/>
                <a:gd name="connsiteY397" fmla="*/ 73900 h 124107"/>
                <a:gd name="connsiteX398" fmla="*/ 65156 w 118465"/>
                <a:gd name="connsiteY398" fmla="*/ 74464 h 124107"/>
                <a:gd name="connsiteX399" fmla="*/ 66002 w 118465"/>
                <a:gd name="connsiteY399" fmla="*/ 74182 h 124107"/>
                <a:gd name="connsiteX400" fmla="*/ 66284 w 118465"/>
                <a:gd name="connsiteY400" fmla="*/ 73618 h 124107"/>
                <a:gd name="connsiteX401" fmla="*/ 66284 w 118465"/>
                <a:gd name="connsiteY401" fmla="*/ 73336 h 124107"/>
                <a:gd name="connsiteX402" fmla="*/ 66567 w 118465"/>
                <a:gd name="connsiteY402" fmla="*/ 73054 h 124107"/>
                <a:gd name="connsiteX403" fmla="*/ 66848 w 118465"/>
                <a:gd name="connsiteY403" fmla="*/ 73336 h 124107"/>
                <a:gd name="connsiteX404" fmla="*/ 67131 w 118465"/>
                <a:gd name="connsiteY404" fmla="*/ 74182 h 124107"/>
                <a:gd name="connsiteX405" fmla="*/ 68259 w 118465"/>
                <a:gd name="connsiteY405" fmla="*/ 74464 h 124107"/>
                <a:gd name="connsiteX406" fmla="*/ 68541 w 118465"/>
                <a:gd name="connsiteY406" fmla="*/ 73618 h 124107"/>
                <a:gd name="connsiteX407" fmla="*/ 68823 w 118465"/>
                <a:gd name="connsiteY407" fmla="*/ 73618 h 124107"/>
                <a:gd name="connsiteX408" fmla="*/ 69105 w 118465"/>
                <a:gd name="connsiteY408" fmla="*/ 73900 h 124107"/>
                <a:gd name="connsiteX409" fmla="*/ 69387 w 118465"/>
                <a:gd name="connsiteY409" fmla="*/ 74464 h 124107"/>
                <a:gd name="connsiteX410" fmla="*/ 69105 w 118465"/>
                <a:gd name="connsiteY410" fmla="*/ 75310 h 124107"/>
                <a:gd name="connsiteX411" fmla="*/ 68259 w 118465"/>
                <a:gd name="connsiteY411" fmla="*/ 76439 h 124107"/>
                <a:gd name="connsiteX412" fmla="*/ 67412 w 118465"/>
                <a:gd name="connsiteY412" fmla="*/ 76439 h 124107"/>
                <a:gd name="connsiteX413" fmla="*/ 67412 w 118465"/>
                <a:gd name="connsiteY413" fmla="*/ 76157 h 124107"/>
                <a:gd name="connsiteX414" fmla="*/ 66848 w 118465"/>
                <a:gd name="connsiteY414" fmla="*/ 77567 h 124107"/>
                <a:gd name="connsiteX415" fmla="*/ 66848 w 118465"/>
                <a:gd name="connsiteY415" fmla="*/ 78695 h 124107"/>
                <a:gd name="connsiteX416" fmla="*/ 67695 w 118465"/>
                <a:gd name="connsiteY416" fmla="*/ 80105 h 124107"/>
                <a:gd name="connsiteX417" fmla="*/ 67412 w 118465"/>
                <a:gd name="connsiteY417" fmla="*/ 80670 h 124107"/>
                <a:gd name="connsiteX418" fmla="*/ 66848 w 118465"/>
                <a:gd name="connsiteY418" fmla="*/ 79823 h 124107"/>
                <a:gd name="connsiteX419" fmla="*/ 66567 w 118465"/>
                <a:gd name="connsiteY419" fmla="*/ 80105 h 124107"/>
                <a:gd name="connsiteX420" fmla="*/ 65720 w 118465"/>
                <a:gd name="connsiteY420" fmla="*/ 81234 h 124107"/>
                <a:gd name="connsiteX421" fmla="*/ 65156 w 118465"/>
                <a:gd name="connsiteY421" fmla="*/ 81798 h 124107"/>
                <a:gd name="connsiteX422" fmla="*/ 65438 w 118465"/>
                <a:gd name="connsiteY422" fmla="*/ 82926 h 124107"/>
                <a:gd name="connsiteX423" fmla="*/ 65438 w 118465"/>
                <a:gd name="connsiteY423" fmla="*/ 83208 h 124107"/>
                <a:gd name="connsiteX424" fmla="*/ 65156 w 118465"/>
                <a:gd name="connsiteY424" fmla="*/ 84054 h 124107"/>
                <a:gd name="connsiteX425" fmla="*/ 65438 w 118465"/>
                <a:gd name="connsiteY425" fmla="*/ 85183 h 124107"/>
                <a:gd name="connsiteX426" fmla="*/ 64592 w 118465"/>
                <a:gd name="connsiteY426" fmla="*/ 86875 h 124107"/>
                <a:gd name="connsiteX427" fmla="*/ 64592 w 118465"/>
                <a:gd name="connsiteY427" fmla="*/ 87721 h 124107"/>
                <a:gd name="connsiteX428" fmla="*/ 64874 w 118465"/>
                <a:gd name="connsiteY428" fmla="*/ 89131 h 124107"/>
                <a:gd name="connsiteX429" fmla="*/ 66002 w 118465"/>
                <a:gd name="connsiteY429" fmla="*/ 90542 h 124107"/>
                <a:gd name="connsiteX430" fmla="*/ 66284 w 118465"/>
                <a:gd name="connsiteY430" fmla="*/ 90824 h 124107"/>
                <a:gd name="connsiteX431" fmla="*/ 66848 w 118465"/>
                <a:gd name="connsiteY431" fmla="*/ 90542 h 124107"/>
                <a:gd name="connsiteX432" fmla="*/ 67412 w 118465"/>
                <a:gd name="connsiteY432" fmla="*/ 89413 h 124107"/>
                <a:gd name="connsiteX433" fmla="*/ 67977 w 118465"/>
                <a:gd name="connsiteY433" fmla="*/ 88567 h 124107"/>
                <a:gd name="connsiteX434" fmla="*/ 69105 w 118465"/>
                <a:gd name="connsiteY434" fmla="*/ 87721 h 124107"/>
                <a:gd name="connsiteX435" fmla="*/ 68823 w 118465"/>
                <a:gd name="connsiteY435" fmla="*/ 87157 h 124107"/>
                <a:gd name="connsiteX436" fmla="*/ 69105 w 118465"/>
                <a:gd name="connsiteY436" fmla="*/ 86593 h 124107"/>
                <a:gd name="connsiteX437" fmla="*/ 69105 w 118465"/>
                <a:gd name="connsiteY437" fmla="*/ 86311 h 124107"/>
                <a:gd name="connsiteX438" fmla="*/ 69669 w 118465"/>
                <a:gd name="connsiteY438" fmla="*/ 85465 h 124107"/>
                <a:gd name="connsiteX439" fmla="*/ 70233 w 118465"/>
                <a:gd name="connsiteY439" fmla="*/ 87157 h 124107"/>
                <a:gd name="connsiteX440" fmla="*/ 69669 w 118465"/>
                <a:gd name="connsiteY440" fmla="*/ 88003 h 124107"/>
                <a:gd name="connsiteX441" fmla="*/ 69105 w 118465"/>
                <a:gd name="connsiteY441" fmla="*/ 88849 h 124107"/>
                <a:gd name="connsiteX442" fmla="*/ 69387 w 118465"/>
                <a:gd name="connsiteY442" fmla="*/ 89131 h 124107"/>
                <a:gd name="connsiteX443" fmla="*/ 69669 w 118465"/>
                <a:gd name="connsiteY443" fmla="*/ 89978 h 124107"/>
                <a:gd name="connsiteX444" fmla="*/ 69105 w 118465"/>
                <a:gd name="connsiteY444" fmla="*/ 90542 h 124107"/>
                <a:gd name="connsiteX445" fmla="*/ 68259 w 118465"/>
                <a:gd name="connsiteY445" fmla="*/ 92798 h 124107"/>
                <a:gd name="connsiteX446" fmla="*/ 68259 w 118465"/>
                <a:gd name="connsiteY446" fmla="*/ 94773 h 124107"/>
                <a:gd name="connsiteX447" fmla="*/ 67695 w 118465"/>
                <a:gd name="connsiteY447" fmla="*/ 95337 h 124107"/>
                <a:gd name="connsiteX448" fmla="*/ 66848 w 118465"/>
                <a:gd name="connsiteY448" fmla="*/ 97593 h 124107"/>
                <a:gd name="connsiteX449" fmla="*/ 65720 w 118465"/>
                <a:gd name="connsiteY449" fmla="*/ 98439 h 124107"/>
                <a:gd name="connsiteX450" fmla="*/ 65438 w 118465"/>
                <a:gd name="connsiteY450" fmla="*/ 99004 h 124107"/>
                <a:gd name="connsiteX451" fmla="*/ 65720 w 118465"/>
                <a:gd name="connsiteY451" fmla="*/ 101260 h 124107"/>
                <a:gd name="connsiteX452" fmla="*/ 65438 w 118465"/>
                <a:gd name="connsiteY452" fmla="*/ 101542 h 124107"/>
                <a:gd name="connsiteX453" fmla="*/ 64874 w 118465"/>
                <a:gd name="connsiteY453" fmla="*/ 101542 h 124107"/>
                <a:gd name="connsiteX454" fmla="*/ 64310 w 118465"/>
                <a:gd name="connsiteY454" fmla="*/ 100696 h 124107"/>
                <a:gd name="connsiteX455" fmla="*/ 64310 w 118465"/>
                <a:gd name="connsiteY455" fmla="*/ 97311 h 124107"/>
                <a:gd name="connsiteX456" fmla="*/ 64028 w 118465"/>
                <a:gd name="connsiteY456" fmla="*/ 97311 h 124107"/>
                <a:gd name="connsiteX457" fmla="*/ 63746 w 118465"/>
                <a:gd name="connsiteY457" fmla="*/ 96747 h 124107"/>
                <a:gd name="connsiteX458" fmla="*/ 62618 w 118465"/>
                <a:gd name="connsiteY458" fmla="*/ 97593 h 124107"/>
                <a:gd name="connsiteX459" fmla="*/ 62054 w 118465"/>
                <a:gd name="connsiteY459" fmla="*/ 99286 h 124107"/>
                <a:gd name="connsiteX460" fmla="*/ 62054 w 118465"/>
                <a:gd name="connsiteY460" fmla="*/ 99568 h 124107"/>
                <a:gd name="connsiteX461" fmla="*/ 62336 w 118465"/>
                <a:gd name="connsiteY461" fmla="*/ 100696 h 124107"/>
                <a:gd name="connsiteX462" fmla="*/ 62054 w 118465"/>
                <a:gd name="connsiteY462" fmla="*/ 100978 h 124107"/>
                <a:gd name="connsiteX463" fmla="*/ 60926 w 118465"/>
                <a:gd name="connsiteY463" fmla="*/ 102388 h 124107"/>
                <a:gd name="connsiteX464" fmla="*/ 60643 w 118465"/>
                <a:gd name="connsiteY464" fmla="*/ 102670 h 124107"/>
                <a:gd name="connsiteX465" fmla="*/ 59797 w 118465"/>
                <a:gd name="connsiteY465" fmla="*/ 104645 h 124107"/>
                <a:gd name="connsiteX466" fmla="*/ 58105 w 118465"/>
                <a:gd name="connsiteY466" fmla="*/ 106337 h 124107"/>
                <a:gd name="connsiteX467" fmla="*/ 57259 w 118465"/>
                <a:gd name="connsiteY467" fmla="*/ 107465 h 124107"/>
                <a:gd name="connsiteX468" fmla="*/ 57259 w 118465"/>
                <a:gd name="connsiteY468" fmla="*/ 107747 h 124107"/>
                <a:gd name="connsiteX469" fmla="*/ 56412 w 118465"/>
                <a:gd name="connsiteY469" fmla="*/ 108312 h 124107"/>
                <a:gd name="connsiteX470" fmla="*/ 55566 w 118465"/>
                <a:gd name="connsiteY470" fmla="*/ 108876 h 124107"/>
                <a:gd name="connsiteX471" fmla="*/ 54156 w 118465"/>
                <a:gd name="connsiteY471" fmla="*/ 111414 h 124107"/>
                <a:gd name="connsiteX472" fmla="*/ 53874 w 118465"/>
                <a:gd name="connsiteY472" fmla="*/ 111978 h 124107"/>
                <a:gd name="connsiteX473" fmla="*/ 53028 w 118465"/>
                <a:gd name="connsiteY473" fmla="*/ 112825 h 124107"/>
                <a:gd name="connsiteX474" fmla="*/ 51899 w 118465"/>
                <a:gd name="connsiteY474" fmla="*/ 113107 h 124107"/>
                <a:gd name="connsiteX475" fmla="*/ 51899 w 118465"/>
                <a:gd name="connsiteY475" fmla="*/ 113953 h 124107"/>
                <a:gd name="connsiteX476" fmla="*/ 49925 w 118465"/>
                <a:gd name="connsiteY476" fmla="*/ 115363 h 124107"/>
                <a:gd name="connsiteX477" fmla="*/ 49361 w 118465"/>
                <a:gd name="connsiteY477" fmla="*/ 115363 h 124107"/>
                <a:gd name="connsiteX478" fmla="*/ 49361 w 118465"/>
                <a:gd name="connsiteY478" fmla="*/ 114235 h 124107"/>
                <a:gd name="connsiteX479" fmla="*/ 48797 w 118465"/>
                <a:gd name="connsiteY479" fmla="*/ 114517 h 124107"/>
                <a:gd name="connsiteX480" fmla="*/ 48514 w 118465"/>
                <a:gd name="connsiteY480" fmla="*/ 115081 h 124107"/>
                <a:gd name="connsiteX481" fmla="*/ 48514 w 118465"/>
                <a:gd name="connsiteY481" fmla="*/ 115363 h 124107"/>
                <a:gd name="connsiteX482" fmla="*/ 47950 w 118465"/>
                <a:gd name="connsiteY482" fmla="*/ 117055 h 124107"/>
                <a:gd name="connsiteX483" fmla="*/ 47104 w 118465"/>
                <a:gd name="connsiteY483" fmla="*/ 117620 h 124107"/>
                <a:gd name="connsiteX484" fmla="*/ 45694 w 118465"/>
                <a:gd name="connsiteY484" fmla="*/ 119312 h 124107"/>
                <a:gd name="connsiteX485" fmla="*/ 45412 w 118465"/>
                <a:gd name="connsiteY485" fmla="*/ 118748 h 124107"/>
                <a:gd name="connsiteX486" fmla="*/ 2538 w 118465"/>
                <a:gd name="connsiteY486" fmla="*/ 85747 h 124107"/>
                <a:gd name="connsiteX487" fmla="*/ 2821 w 118465"/>
                <a:gd name="connsiteY487" fmla="*/ 85747 h 124107"/>
                <a:gd name="connsiteX488" fmla="*/ 2821 w 118465"/>
                <a:gd name="connsiteY488" fmla="*/ 85465 h 124107"/>
                <a:gd name="connsiteX489" fmla="*/ 2538 w 118465"/>
                <a:gd name="connsiteY489" fmla="*/ 85747 h 124107"/>
                <a:gd name="connsiteX490" fmla="*/ 7052 w 118465"/>
                <a:gd name="connsiteY490" fmla="*/ 114235 h 124107"/>
                <a:gd name="connsiteX491" fmla="*/ 6205 w 118465"/>
                <a:gd name="connsiteY491" fmla="*/ 112260 h 124107"/>
                <a:gd name="connsiteX492" fmla="*/ 5359 w 118465"/>
                <a:gd name="connsiteY492" fmla="*/ 111132 h 124107"/>
                <a:gd name="connsiteX493" fmla="*/ 4513 w 118465"/>
                <a:gd name="connsiteY493" fmla="*/ 109440 h 124107"/>
                <a:gd name="connsiteX494" fmla="*/ 3949 w 118465"/>
                <a:gd name="connsiteY494" fmla="*/ 109158 h 124107"/>
                <a:gd name="connsiteX495" fmla="*/ 3667 w 118465"/>
                <a:gd name="connsiteY495" fmla="*/ 109158 h 124107"/>
                <a:gd name="connsiteX496" fmla="*/ 3385 w 118465"/>
                <a:gd name="connsiteY496" fmla="*/ 108876 h 124107"/>
                <a:gd name="connsiteX497" fmla="*/ 3103 w 118465"/>
                <a:gd name="connsiteY497" fmla="*/ 108876 h 124107"/>
                <a:gd name="connsiteX498" fmla="*/ 3103 w 118465"/>
                <a:gd name="connsiteY498" fmla="*/ 110286 h 124107"/>
                <a:gd name="connsiteX499" fmla="*/ 4231 w 118465"/>
                <a:gd name="connsiteY499" fmla="*/ 111414 h 124107"/>
                <a:gd name="connsiteX500" fmla="*/ 4231 w 118465"/>
                <a:gd name="connsiteY500" fmla="*/ 112825 h 124107"/>
                <a:gd name="connsiteX501" fmla="*/ 4513 w 118465"/>
                <a:gd name="connsiteY501" fmla="*/ 114235 h 124107"/>
                <a:gd name="connsiteX502" fmla="*/ 4795 w 118465"/>
                <a:gd name="connsiteY502" fmla="*/ 114517 h 124107"/>
                <a:gd name="connsiteX503" fmla="*/ 5924 w 118465"/>
                <a:gd name="connsiteY503" fmla="*/ 115645 h 124107"/>
                <a:gd name="connsiteX504" fmla="*/ 5924 w 118465"/>
                <a:gd name="connsiteY504" fmla="*/ 116209 h 124107"/>
                <a:gd name="connsiteX505" fmla="*/ 6769 w 118465"/>
                <a:gd name="connsiteY505" fmla="*/ 117055 h 124107"/>
                <a:gd name="connsiteX506" fmla="*/ 6769 w 118465"/>
                <a:gd name="connsiteY506" fmla="*/ 117338 h 124107"/>
                <a:gd name="connsiteX507" fmla="*/ 7052 w 118465"/>
                <a:gd name="connsiteY507" fmla="*/ 117055 h 124107"/>
                <a:gd name="connsiteX508" fmla="*/ 6769 w 118465"/>
                <a:gd name="connsiteY508" fmla="*/ 115645 h 124107"/>
                <a:gd name="connsiteX509" fmla="*/ 7334 w 118465"/>
                <a:gd name="connsiteY509" fmla="*/ 114799 h 124107"/>
                <a:gd name="connsiteX510" fmla="*/ 7052 w 118465"/>
                <a:gd name="connsiteY510" fmla="*/ 114235 h 124107"/>
                <a:gd name="connsiteX511" fmla="*/ 4795 w 118465"/>
                <a:gd name="connsiteY511" fmla="*/ 77849 h 124107"/>
                <a:gd name="connsiteX512" fmla="*/ 4513 w 118465"/>
                <a:gd name="connsiteY512" fmla="*/ 76439 h 124107"/>
                <a:gd name="connsiteX513" fmla="*/ 4231 w 118465"/>
                <a:gd name="connsiteY513" fmla="*/ 76157 h 124107"/>
                <a:gd name="connsiteX514" fmla="*/ 3667 w 118465"/>
                <a:gd name="connsiteY514" fmla="*/ 76157 h 124107"/>
                <a:gd name="connsiteX515" fmla="*/ 3949 w 118465"/>
                <a:gd name="connsiteY515" fmla="*/ 76721 h 124107"/>
                <a:gd name="connsiteX516" fmla="*/ 4513 w 118465"/>
                <a:gd name="connsiteY516" fmla="*/ 78413 h 124107"/>
                <a:gd name="connsiteX517" fmla="*/ 4513 w 118465"/>
                <a:gd name="connsiteY517" fmla="*/ 78695 h 124107"/>
                <a:gd name="connsiteX518" fmla="*/ 4795 w 118465"/>
                <a:gd name="connsiteY518" fmla="*/ 78413 h 124107"/>
                <a:gd name="connsiteX519" fmla="*/ 4795 w 118465"/>
                <a:gd name="connsiteY519" fmla="*/ 77849 h 124107"/>
                <a:gd name="connsiteX520" fmla="*/ 5641 w 118465"/>
                <a:gd name="connsiteY520" fmla="*/ 69951 h 124107"/>
                <a:gd name="connsiteX521" fmla="*/ 5924 w 118465"/>
                <a:gd name="connsiteY521" fmla="*/ 69951 h 124107"/>
                <a:gd name="connsiteX522" fmla="*/ 5924 w 118465"/>
                <a:gd name="connsiteY522" fmla="*/ 69669 h 124107"/>
                <a:gd name="connsiteX523" fmla="*/ 5641 w 118465"/>
                <a:gd name="connsiteY523" fmla="*/ 69951 h 124107"/>
                <a:gd name="connsiteX524" fmla="*/ 7898 w 118465"/>
                <a:gd name="connsiteY524" fmla="*/ 116491 h 124107"/>
                <a:gd name="connsiteX525" fmla="*/ 8180 w 118465"/>
                <a:gd name="connsiteY525" fmla="*/ 117055 h 124107"/>
                <a:gd name="connsiteX526" fmla="*/ 8462 w 118465"/>
                <a:gd name="connsiteY526" fmla="*/ 117338 h 124107"/>
                <a:gd name="connsiteX527" fmla="*/ 8744 w 118465"/>
                <a:gd name="connsiteY527" fmla="*/ 116773 h 124107"/>
                <a:gd name="connsiteX528" fmla="*/ 8180 w 118465"/>
                <a:gd name="connsiteY528" fmla="*/ 116209 h 124107"/>
                <a:gd name="connsiteX529" fmla="*/ 7898 w 118465"/>
                <a:gd name="connsiteY529" fmla="*/ 116491 h 124107"/>
                <a:gd name="connsiteX530" fmla="*/ 9308 w 118465"/>
                <a:gd name="connsiteY530" fmla="*/ 119876 h 124107"/>
                <a:gd name="connsiteX531" fmla="*/ 8462 w 118465"/>
                <a:gd name="connsiteY531" fmla="*/ 119030 h 124107"/>
                <a:gd name="connsiteX532" fmla="*/ 7898 w 118465"/>
                <a:gd name="connsiteY532" fmla="*/ 119030 h 124107"/>
                <a:gd name="connsiteX533" fmla="*/ 8180 w 118465"/>
                <a:gd name="connsiteY533" fmla="*/ 119312 h 124107"/>
                <a:gd name="connsiteX534" fmla="*/ 8744 w 118465"/>
                <a:gd name="connsiteY534" fmla="*/ 120722 h 124107"/>
                <a:gd name="connsiteX535" fmla="*/ 8744 w 118465"/>
                <a:gd name="connsiteY535" fmla="*/ 121004 h 124107"/>
                <a:gd name="connsiteX536" fmla="*/ 9026 w 118465"/>
                <a:gd name="connsiteY536" fmla="*/ 121286 h 124107"/>
                <a:gd name="connsiteX537" fmla="*/ 9590 w 118465"/>
                <a:gd name="connsiteY537" fmla="*/ 120722 h 124107"/>
                <a:gd name="connsiteX538" fmla="*/ 9308 w 118465"/>
                <a:gd name="connsiteY538" fmla="*/ 119876 h 124107"/>
                <a:gd name="connsiteX539" fmla="*/ 9872 w 118465"/>
                <a:gd name="connsiteY539" fmla="*/ 121568 h 124107"/>
                <a:gd name="connsiteX540" fmla="*/ 9872 w 118465"/>
                <a:gd name="connsiteY540" fmla="*/ 122133 h 124107"/>
                <a:gd name="connsiteX541" fmla="*/ 10436 w 118465"/>
                <a:gd name="connsiteY541" fmla="*/ 122979 h 124107"/>
                <a:gd name="connsiteX542" fmla="*/ 10718 w 118465"/>
                <a:gd name="connsiteY542" fmla="*/ 122697 h 124107"/>
                <a:gd name="connsiteX543" fmla="*/ 9872 w 118465"/>
                <a:gd name="connsiteY543" fmla="*/ 121568 h 124107"/>
                <a:gd name="connsiteX544" fmla="*/ 58387 w 118465"/>
                <a:gd name="connsiteY544" fmla="*/ 45694 h 124107"/>
                <a:gd name="connsiteX545" fmla="*/ 58951 w 118465"/>
                <a:gd name="connsiteY545" fmla="*/ 45130 h 124107"/>
                <a:gd name="connsiteX546" fmla="*/ 58387 w 118465"/>
                <a:gd name="connsiteY546" fmla="*/ 44002 h 124107"/>
                <a:gd name="connsiteX547" fmla="*/ 58105 w 118465"/>
                <a:gd name="connsiteY547" fmla="*/ 43720 h 124107"/>
                <a:gd name="connsiteX548" fmla="*/ 58951 w 118465"/>
                <a:gd name="connsiteY548" fmla="*/ 42591 h 124107"/>
                <a:gd name="connsiteX549" fmla="*/ 58105 w 118465"/>
                <a:gd name="connsiteY549" fmla="*/ 41463 h 124107"/>
                <a:gd name="connsiteX550" fmla="*/ 58105 w 118465"/>
                <a:gd name="connsiteY550" fmla="*/ 41181 h 124107"/>
                <a:gd name="connsiteX551" fmla="*/ 58669 w 118465"/>
                <a:gd name="connsiteY551" fmla="*/ 40053 h 124107"/>
                <a:gd name="connsiteX552" fmla="*/ 58669 w 118465"/>
                <a:gd name="connsiteY552" fmla="*/ 38642 h 124107"/>
                <a:gd name="connsiteX553" fmla="*/ 58387 w 118465"/>
                <a:gd name="connsiteY553" fmla="*/ 37514 h 124107"/>
                <a:gd name="connsiteX554" fmla="*/ 58669 w 118465"/>
                <a:gd name="connsiteY554" fmla="*/ 36386 h 124107"/>
                <a:gd name="connsiteX555" fmla="*/ 57259 w 118465"/>
                <a:gd name="connsiteY555" fmla="*/ 36386 h 124107"/>
                <a:gd name="connsiteX556" fmla="*/ 56976 w 118465"/>
                <a:gd name="connsiteY556" fmla="*/ 36668 h 124107"/>
                <a:gd name="connsiteX557" fmla="*/ 56976 w 118465"/>
                <a:gd name="connsiteY557" fmla="*/ 36104 h 124107"/>
                <a:gd name="connsiteX558" fmla="*/ 56130 w 118465"/>
                <a:gd name="connsiteY558" fmla="*/ 34976 h 124107"/>
                <a:gd name="connsiteX559" fmla="*/ 56130 w 118465"/>
                <a:gd name="connsiteY559" fmla="*/ 31027 h 124107"/>
                <a:gd name="connsiteX560" fmla="*/ 56976 w 118465"/>
                <a:gd name="connsiteY560" fmla="*/ 30463 h 124107"/>
                <a:gd name="connsiteX561" fmla="*/ 57540 w 118465"/>
                <a:gd name="connsiteY561" fmla="*/ 31027 h 124107"/>
                <a:gd name="connsiteX562" fmla="*/ 57823 w 118465"/>
                <a:gd name="connsiteY562" fmla="*/ 31027 h 124107"/>
                <a:gd name="connsiteX563" fmla="*/ 58951 w 118465"/>
                <a:gd name="connsiteY563" fmla="*/ 30463 h 124107"/>
                <a:gd name="connsiteX564" fmla="*/ 57823 w 118465"/>
                <a:gd name="connsiteY564" fmla="*/ 29334 h 124107"/>
                <a:gd name="connsiteX565" fmla="*/ 56695 w 118465"/>
                <a:gd name="connsiteY565" fmla="*/ 28488 h 124107"/>
                <a:gd name="connsiteX566" fmla="*/ 56412 w 118465"/>
                <a:gd name="connsiteY566" fmla="*/ 28488 h 124107"/>
                <a:gd name="connsiteX567" fmla="*/ 55284 w 118465"/>
                <a:gd name="connsiteY567" fmla="*/ 27360 h 124107"/>
                <a:gd name="connsiteX568" fmla="*/ 55284 w 118465"/>
                <a:gd name="connsiteY568" fmla="*/ 27078 h 124107"/>
                <a:gd name="connsiteX569" fmla="*/ 54720 w 118465"/>
                <a:gd name="connsiteY569" fmla="*/ 25386 h 124107"/>
                <a:gd name="connsiteX570" fmla="*/ 53592 w 118465"/>
                <a:gd name="connsiteY570" fmla="*/ 23975 h 124107"/>
                <a:gd name="connsiteX571" fmla="*/ 51899 w 118465"/>
                <a:gd name="connsiteY571" fmla="*/ 22565 h 124107"/>
                <a:gd name="connsiteX572" fmla="*/ 49643 w 118465"/>
                <a:gd name="connsiteY572" fmla="*/ 21155 h 124107"/>
                <a:gd name="connsiteX573" fmla="*/ 49643 w 118465"/>
                <a:gd name="connsiteY573" fmla="*/ 20873 h 124107"/>
                <a:gd name="connsiteX574" fmla="*/ 49361 w 118465"/>
                <a:gd name="connsiteY574" fmla="*/ 21155 h 124107"/>
                <a:gd name="connsiteX575" fmla="*/ 49078 w 118465"/>
                <a:gd name="connsiteY575" fmla="*/ 21719 h 124107"/>
                <a:gd name="connsiteX576" fmla="*/ 48233 w 118465"/>
                <a:gd name="connsiteY576" fmla="*/ 22001 h 124107"/>
                <a:gd name="connsiteX577" fmla="*/ 47668 w 118465"/>
                <a:gd name="connsiteY577" fmla="*/ 22001 h 124107"/>
                <a:gd name="connsiteX578" fmla="*/ 47668 w 118465"/>
                <a:gd name="connsiteY578" fmla="*/ 21719 h 124107"/>
                <a:gd name="connsiteX579" fmla="*/ 46822 w 118465"/>
                <a:gd name="connsiteY579" fmla="*/ 22565 h 124107"/>
                <a:gd name="connsiteX580" fmla="*/ 46822 w 118465"/>
                <a:gd name="connsiteY580" fmla="*/ 23693 h 124107"/>
                <a:gd name="connsiteX581" fmla="*/ 47104 w 118465"/>
                <a:gd name="connsiteY581" fmla="*/ 24539 h 124107"/>
                <a:gd name="connsiteX582" fmla="*/ 47668 w 118465"/>
                <a:gd name="connsiteY582" fmla="*/ 25668 h 124107"/>
                <a:gd name="connsiteX583" fmla="*/ 47386 w 118465"/>
                <a:gd name="connsiteY583" fmla="*/ 26514 h 124107"/>
                <a:gd name="connsiteX584" fmla="*/ 47386 w 118465"/>
                <a:gd name="connsiteY584" fmla="*/ 27078 h 124107"/>
                <a:gd name="connsiteX585" fmla="*/ 48233 w 118465"/>
                <a:gd name="connsiteY585" fmla="*/ 29334 h 124107"/>
                <a:gd name="connsiteX586" fmla="*/ 47668 w 118465"/>
                <a:gd name="connsiteY586" fmla="*/ 29334 h 124107"/>
                <a:gd name="connsiteX587" fmla="*/ 46540 w 118465"/>
                <a:gd name="connsiteY587" fmla="*/ 27360 h 124107"/>
                <a:gd name="connsiteX588" fmla="*/ 46258 w 118465"/>
                <a:gd name="connsiteY588" fmla="*/ 27078 h 124107"/>
                <a:gd name="connsiteX589" fmla="*/ 45130 w 118465"/>
                <a:gd name="connsiteY589" fmla="*/ 27360 h 124107"/>
                <a:gd name="connsiteX590" fmla="*/ 44002 w 118465"/>
                <a:gd name="connsiteY590" fmla="*/ 28488 h 124107"/>
                <a:gd name="connsiteX591" fmla="*/ 43720 w 118465"/>
                <a:gd name="connsiteY591" fmla="*/ 29616 h 124107"/>
                <a:gd name="connsiteX592" fmla="*/ 44284 w 118465"/>
                <a:gd name="connsiteY592" fmla="*/ 30463 h 124107"/>
                <a:gd name="connsiteX593" fmla="*/ 44002 w 118465"/>
                <a:gd name="connsiteY593" fmla="*/ 32437 h 124107"/>
                <a:gd name="connsiteX594" fmla="*/ 43437 w 118465"/>
                <a:gd name="connsiteY594" fmla="*/ 32719 h 124107"/>
                <a:gd name="connsiteX595" fmla="*/ 42309 w 118465"/>
                <a:gd name="connsiteY595" fmla="*/ 33001 h 124107"/>
                <a:gd name="connsiteX596" fmla="*/ 41745 w 118465"/>
                <a:gd name="connsiteY596" fmla="*/ 33847 h 124107"/>
                <a:gd name="connsiteX597" fmla="*/ 40335 w 118465"/>
                <a:gd name="connsiteY597" fmla="*/ 35258 h 124107"/>
                <a:gd name="connsiteX598" fmla="*/ 39771 w 118465"/>
                <a:gd name="connsiteY598" fmla="*/ 36950 h 124107"/>
                <a:gd name="connsiteX599" fmla="*/ 39206 w 118465"/>
                <a:gd name="connsiteY599" fmla="*/ 38078 h 124107"/>
                <a:gd name="connsiteX600" fmla="*/ 38078 w 118465"/>
                <a:gd name="connsiteY600" fmla="*/ 39207 h 124107"/>
                <a:gd name="connsiteX601" fmla="*/ 37232 w 118465"/>
                <a:gd name="connsiteY601" fmla="*/ 40335 h 124107"/>
                <a:gd name="connsiteX602" fmla="*/ 37232 w 118465"/>
                <a:gd name="connsiteY602" fmla="*/ 40617 h 124107"/>
                <a:gd name="connsiteX603" fmla="*/ 36950 w 118465"/>
                <a:gd name="connsiteY603" fmla="*/ 41463 h 124107"/>
                <a:gd name="connsiteX604" fmla="*/ 36950 w 118465"/>
                <a:gd name="connsiteY604" fmla="*/ 41745 h 124107"/>
                <a:gd name="connsiteX605" fmla="*/ 35540 w 118465"/>
                <a:gd name="connsiteY605" fmla="*/ 43155 h 124107"/>
                <a:gd name="connsiteX606" fmla="*/ 34975 w 118465"/>
                <a:gd name="connsiteY606" fmla="*/ 43437 h 124107"/>
                <a:gd name="connsiteX607" fmla="*/ 34411 w 118465"/>
                <a:gd name="connsiteY607" fmla="*/ 44848 h 124107"/>
                <a:gd name="connsiteX608" fmla="*/ 34130 w 118465"/>
                <a:gd name="connsiteY608" fmla="*/ 45976 h 124107"/>
                <a:gd name="connsiteX609" fmla="*/ 34130 w 118465"/>
                <a:gd name="connsiteY609" fmla="*/ 47386 h 124107"/>
                <a:gd name="connsiteX610" fmla="*/ 33565 w 118465"/>
                <a:gd name="connsiteY610" fmla="*/ 48233 h 124107"/>
                <a:gd name="connsiteX611" fmla="*/ 31873 w 118465"/>
                <a:gd name="connsiteY611" fmla="*/ 50207 h 124107"/>
                <a:gd name="connsiteX612" fmla="*/ 31591 w 118465"/>
                <a:gd name="connsiteY612" fmla="*/ 50771 h 124107"/>
                <a:gd name="connsiteX613" fmla="*/ 31309 w 118465"/>
                <a:gd name="connsiteY613" fmla="*/ 51617 h 124107"/>
                <a:gd name="connsiteX614" fmla="*/ 31591 w 118465"/>
                <a:gd name="connsiteY614" fmla="*/ 51899 h 124107"/>
                <a:gd name="connsiteX615" fmla="*/ 31873 w 118465"/>
                <a:gd name="connsiteY615" fmla="*/ 52463 h 124107"/>
                <a:gd name="connsiteX616" fmla="*/ 31591 w 118465"/>
                <a:gd name="connsiteY616" fmla="*/ 53028 h 124107"/>
                <a:gd name="connsiteX617" fmla="*/ 31027 w 118465"/>
                <a:gd name="connsiteY617" fmla="*/ 53028 h 124107"/>
                <a:gd name="connsiteX618" fmla="*/ 30463 w 118465"/>
                <a:gd name="connsiteY618" fmla="*/ 54438 h 124107"/>
                <a:gd name="connsiteX619" fmla="*/ 30463 w 118465"/>
                <a:gd name="connsiteY619" fmla="*/ 54720 h 124107"/>
                <a:gd name="connsiteX620" fmla="*/ 29616 w 118465"/>
                <a:gd name="connsiteY620" fmla="*/ 55566 h 124107"/>
                <a:gd name="connsiteX621" fmla="*/ 29616 w 118465"/>
                <a:gd name="connsiteY621" fmla="*/ 56412 h 124107"/>
                <a:gd name="connsiteX622" fmla="*/ 29899 w 118465"/>
                <a:gd name="connsiteY622" fmla="*/ 56976 h 124107"/>
                <a:gd name="connsiteX623" fmla="*/ 29616 w 118465"/>
                <a:gd name="connsiteY623" fmla="*/ 57258 h 124107"/>
                <a:gd name="connsiteX624" fmla="*/ 29616 w 118465"/>
                <a:gd name="connsiteY624" fmla="*/ 57823 h 124107"/>
                <a:gd name="connsiteX625" fmla="*/ 29052 w 118465"/>
                <a:gd name="connsiteY625" fmla="*/ 58951 h 124107"/>
                <a:gd name="connsiteX626" fmla="*/ 29052 w 118465"/>
                <a:gd name="connsiteY626" fmla="*/ 59233 h 124107"/>
                <a:gd name="connsiteX627" fmla="*/ 28770 w 118465"/>
                <a:gd name="connsiteY627" fmla="*/ 59515 h 124107"/>
                <a:gd name="connsiteX628" fmla="*/ 27642 w 118465"/>
                <a:gd name="connsiteY628" fmla="*/ 60643 h 124107"/>
                <a:gd name="connsiteX629" fmla="*/ 27078 w 118465"/>
                <a:gd name="connsiteY629" fmla="*/ 62336 h 124107"/>
                <a:gd name="connsiteX630" fmla="*/ 27642 w 118465"/>
                <a:gd name="connsiteY630" fmla="*/ 63182 h 124107"/>
                <a:gd name="connsiteX631" fmla="*/ 27924 w 118465"/>
                <a:gd name="connsiteY631" fmla="*/ 63746 h 124107"/>
                <a:gd name="connsiteX632" fmla="*/ 27078 w 118465"/>
                <a:gd name="connsiteY632" fmla="*/ 64874 h 124107"/>
                <a:gd name="connsiteX633" fmla="*/ 25668 w 118465"/>
                <a:gd name="connsiteY633" fmla="*/ 66002 h 124107"/>
                <a:gd name="connsiteX634" fmla="*/ 25950 w 118465"/>
                <a:gd name="connsiteY634" fmla="*/ 66849 h 124107"/>
                <a:gd name="connsiteX635" fmla="*/ 26232 w 118465"/>
                <a:gd name="connsiteY635" fmla="*/ 67131 h 124107"/>
                <a:gd name="connsiteX636" fmla="*/ 25668 w 118465"/>
                <a:gd name="connsiteY636" fmla="*/ 68541 h 124107"/>
                <a:gd name="connsiteX637" fmla="*/ 25103 w 118465"/>
                <a:gd name="connsiteY637" fmla="*/ 69105 h 124107"/>
                <a:gd name="connsiteX638" fmla="*/ 24539 w 118465"/>
                <a:gd name="connsiteY638" fmla="*/ 71079 h 124107"/>
                <a:gd name="connsiteX639" fmla="*/ 24258 w 118465"/>
                <a:gd name="connsiteY639" fmla="*/ 71362 h 124107"/>
                <a:gd name="connsiteX640" fmla="*/ 23411 w 118465"/>
                <a:gd name="connsiteY640" fmla="*/ 72490 h 124107"/>
                <a:gd name="connsiteX641" fmla="*/ 23975 w 118465"/>
                <a:gd name="connsiteY641" fmla="*/ 73900 h 124107"/>
                <a:gd name="connsiteX642" fmla="*/ 23693 w 118465"/>
                <a:gd name="connsiteY642" fmla="*/ 74746 h 124107"/>
                <a:gd name="connsiteX643" fmla="*/ 22847 w 118465"/>
                <a:gd name="connsiteY643" fmla="*/ 75875 h 124107"/>
                <a:gd name="connsiteX644" fmla="*/ 22847 w 118465"/>
                <a:gd name="connsiteY644" fmla="*/ 77003 h 124107"/>
                <a:gd name="connsiteX645" fmla="*/ 22001 w 118465"/>
                <a:gd name="connsiteY645" fmla="*/ 78695 h 124107"/>
                <a:gd name="connsiteX646" fmla="*/ 22283 w 118465"/>
                <a:gd name="connsiteY646" fmla="*/ 80105 h 124107"/>
                <a:gd name="connsiteX647" fmla="*/ 22283 w 118465"/>
                <a:gd name="connsiteY647" fmla="*/ 81234 h 124107"/>
                <a:gd name="connsiteX648" fmla="*/ 22001 w 118465"/>
                <a:gd name="connsiteY648" fmla="*/ 81516 h 124107"/>
                <a:gd name="connsiteX649" fmla="*/ 21719 w 118465"/>
                <a:gd name="connsiteY649" fmla="*/ 82644 h 124107"/>
                <a:gd name="connsiteX650" fmla="*/ 21719 w 118465"/>
                <a:gd name="connsiteY650" fmla="*/ 82926 h 124107"/>
                <a:gd name="connsiteX651" fmla="*/ 21437 w 118465"/>
                <a:gd name="connsiteY651" fmla="*/ 83208 h 124107"/>
                <a:gd name="connsiteX652" fmla="*/ 21155 w 118465"/>
                <a:gd name="connsiteY652" fmla="*/ 83490 h 124107"/>
                <a:gd name="connsiteX653" fmla="*/ 21437 w 118465"/>
                <a:gd name="connsiteY653" fmla="*/ 84618 h 124107"/>
                <a:gd name="connsiteX654" fmla="*/ 21437 w 118465"/>
                <a:gd name="connsiteY654" fmla="*/ 84900 h 124107"/>
                <a:gd name="connsiteX655" fmla="*/ 20872 w 118465"/>
                <a:gd name="connsiteY655" fmla="*/ 85747 h 124107"/>
                <a:gd name="connsiteX656" fmla="*/ 21155 w 118465"/>
                <a:gd name="connsiteY656" fmla="*/ 86593 h 124107"/>
                <a:gd name="connsiteX657" fmla="*/ 20872 w 118465"/>
                <a:gd name="connsiteY657" fmla="*/ 87721 h 124107"/>
                <a:gd name="connsiteX658" fmla="*/ 20027 w 118465"/>
                <a:gd name="connsiteY658" fmla="*/ 89131 h 124107"/>
                <a:gd name="connsiteX659" fmla="*/ 20308 w 118465"/>
                <a:gd name="connsiteY659" fmla="*/ 89978 h 124107"/>
                <a:gd name="connsiteX660" fmla="*/ 20308 w 118465"/>
                <a:gd name="connsiteY660" fmla="*/ 90824 h 124107"/>
                <a:gd name="connsiteX661" fmla="*/ 20027 w 118465"/>
                <a:gd name="connsiteY661" fmla="*/ 91952 h 124107"/>
                <a:gd name="connsiteX662" fmla="*/ 20027 w 118465"/>
                <a:gd name="connsiteY662" fmla="*/ 93080 h 124107"/>
                <a:gd name="connsiteX663" fmla="*/ 19744 w 118465"/>
                <a:gd name="connsiteY663" fmla="*/ 93644 h 124107"/>
                <a:gd name="connsiteX664" fmla="*/ 20308 w 118465"/>
                <a:gd name="connsiteY664" fmla="*/ 95337 h 124107"/>
                <a:gd name="connsiteX665" fmla="*/ 20308 w 118465"/>
                <a:gd name="connsiteY665" fmla="*/ 95619 h 124107"/>
                <a:gd name="connsiteX666" fmla="*/ 19744 w 118465"/>
                <a:gd name="connsiteY666" fmla="*/ 96465 h 124107"/>
                <a:gd name="connsiteX667" fmla="*/ 19744 w 118465"/>
                <a:gd name="connsiteY667" fmla="*/ 97311 h 124107"/>
                <a:gd name="connsiteX668" fmla="*/ 19462 w 118465"/>
                <a:gd name="connsiteY668" fmla="*/ 99004 h 124107"/>
                <a:gd name="connsiteX669" fmla="*/ 20308 w 118465"/>
                <a:gd name="connsiteY669" fmla="*/ 100132 h 124107"/>
                <a:gd name="connsiteX670" fmla="*/ 19744 w 118465"/>
                <a:gd name="connsiteY670" fmla="*/ 100978 h 124107"/>
                <a:gd name="connsiteX671" fmla="*/ 19462 w 118465"/>
                <a:gd name="connsiteY671" fmla="*/ 102388 h 124107"/>
                <a:gd name="connsiteX672" fmla="*/ 20027 w 118465"/>
                <a:gd name="connsiteY672" fmla="*/ 104081 h 124107"/>
                <a:gd name="connsiteX673" fmla="*/ 19744 w 118465"/>
                <a:gd name="connsiteY673" fmla="*/ 104645 h 124107"/>
                <a:gd name="connsiteX674" fmla="*/ 19180 w 118465"/>
                <a:gd name="connsiteY674" fmla="*/ 104645 h 124107"/>
                <a:gd name="connsiteX675" fmla="*/ 18898 w 118465"/>
                <a:gd name="connsiteY675" fmla="*/ 104927 h 124107"/>
                <a:gd name="connsiteX676" fmla="*/ 19180 w 118465"/>
                <a:gd name="connsiteY676" fmla="*/ 106055 h 124107"/>
                <a:gd name="connsiteX677" fmla="*/ 21155 w 118465"/>
                <a:gd name="connsiteY677" fmla="*/ 108876 h 124107"/>
                <a:gd name="connsiteX678" fmla="*/ 21155 w 118465"/>
                <a:gd name="connsiteY678" fmla="*/ 109158 h 124107"/>
                <a:gd name="connsiteX679" fmla="*/ 21437 w 118465"/>
                <a:gd name="connsiteY679" fmla="*/ 110850 h 124107"/>
                <a:gd name="connsiteX680" fmla="*/ 22283 w 118465"/>
                <a:gd name="connsiteY680" fmla="*/ 112260 h 124107"/>
                <a:gd name="connsiteX681" fmla="*/ 23411 w 118465"/>
                <a:gd name="connsiteY681" fmla="*/ 114517 h 124107"/>
                <a:gd name="connsiteX682" fmla="*/ 25103 w 118465"/>
                <a:gd name="connsiteY682" fmla="*/ 114799 h 124107"/>
                <a:gd name="connsiteX683" fmla="*/ 26232 w 118465"/>
                <a:gd name="connsiteY683" fmla="*/ 114799 h 124107"/>
                <a:gd name="connsiteX684" fmla="*/ 28206 w 118465"/>
                <a:gd name="connsiteY684" fmla="*/ 114235 h 124107"/>
                <a:gd name="connsiteX685" fmla="*/ 29052 w 118465"/>
                <a:gd name="connsiteY685" fmla="*/ 113671 h 124107"/>
                <a:gd name="connsiteX686" fmla="*/ 30463 w 118465"/>
                <a:gd name="connsiteY686" fmla="*/ 112825 h 124107"/>
                <a:gd name="connsiteX687" fmla="*/ 31591 w 118465"/>
                <a:gd name="connsiteY687" fmla="*/ 112260 h 124107"/>
                <a:gd name="connsiteX688" fmla="*/ 33001 w 118465"/>
                <a:gd name="connsiteY688" fmla="*/ 111414 h 124107"/>
                <a:gd name="connsiteX689" fmla="*/ 34694 w 118465"/>
                <a:gd name="connsiteY689" fmla="*/ 110004 h 124107"/>
                <a:gd name="connsiteX690" fmla="*/ 35822 w 118465"/>
                <a:gd name="connsiteY690" fmla="*/ 108876 h 124107"/>
                <a:gd name="connsiteX691" fmla="*/ 37514 w 118465"/>
                <a:gd name="connsiteY691" fmla="*/ 107747 h 124107"/>
                <a:gd name="connsiteX692" fmla="*/ 38642 w 118465"/>
                <a:gd name="connsiteY692" fmla="*/ 106337 h 124107"/>
                <a:gd name="connsiteX693" fmla="*/ 40053 w 118465"/>
                <a:gd name="connsiteY693" fmla="*/ 104645 h 124107"/>
                <a:gd name="connsiteX694" fmla="*/ 41745 w 118465"/>
                <a:gd name="connsiteY694" fmla="*/ 102388 h 124107"/>
                <a:gd name="connsiteX695" fmla="*/ 41745 w 118465"/>
                <a:gd name="connsiteY695" fmla="*/ 101824 h 124107"/>
                <a:gd name="connsiteX696" fmla="*/ 42309 w 118465"/>
                <a:gd name="connsiteY696" fmla="*/ 100978 h 124107"/>
                <a:gd name="connsiteX697" fmla="*/ 42592 w 118465"/>
                <a:gd name="connsiteY697" fmla="*/ 100132 h 124107"/>
                <a:gd name="connsiteX698" fmla="*/ 42592 w 118465"/>
                <a:gd name="connsiteY698" fmla="*/ 99850 h 124107"/>
                <a:gd name="connsiteX699" fmla="*/ 43437 w 118465"/>
                <a:gd name="connsiteY699" fmla="*/ 99568 h 124107"/>
                <a:gd name="connsiteX700" fmla="*/ 43437 w 118465"/>
                <a:gd name="connsiteY700" fmla="*/ 99286 h 124107"/>
                <a:gd name="connsiteX701" fmla="*/ 44566 w 118465"/>
                <a:gd name="connsiteY701" fmla="*/ 97593 h 124107"/>
                <a:gd name="connsiteX702" fmla="*/ 44848 w 118465"/>
                <a:gd name="connsiteY702" fmla="*/ 96465 h 124107"/>
                <a:gd name="connsiteX703" fmla="*/ 45412 w 118465"/>
                <a:gd name="connsiteY703" fmla="*/ 95337 h 124107"/>
                <a:gd name="connsiteX704" fmla="*/ 46540 w 118465"/>
                <a:gd name="connsiteY704" fmla="*/ 93644 h 124107"/>
                <a:gd name="connsiteX705" fmla="*/ 46258 w 118465"/>
                <a:gd name="connsiteY705" fmla="*/ 93080 h 124107"/>
                <a:gd name="connsiteX706" fmla="*/ 46540 w 118465"/>
                <a:gd name="connsiteY706" fmla="*/ 92234 h 124107"/>
                <a:gd name="connsiteX707" fmla="*/ 46540 w 118465"/>
                <a:gd name="connsiteY707" fmla="*/ 91952 h 124107"/>
                <a:gd name="connsiteX708" fmla="*/ 47668 w 118465"/>
                <a:gd name="connsiteY708" fmla="*/ 91388 h 124107"/>
                <a:gd name="connsiteX709" fmla="*/ 47950 w 118465"/>
                <a:gd name="connsiteY709" fmla="*/ 90824 h 124107"/>
                <a:gd name="connsiteX710" fmla="*/ 47950 w 118465"/>
                <a:gd name="connsiteY710" fmla="*/ 89978 h 124107"/>
                <a:gd name="connsiteX711" fmla="*/ 48233 w 118465"/>
                <a:gd name="connsiteY711" fmla="*/ 89131 h 124107"/>
                <a:gd name="connsiteX712" fmla="*/ 48233 w 118465"/>
                <a:gd name="connsiteY712" fmla="*/ 88849 h 124107"/>
                <a:gd name="connsiteX713" fmla="*/ 48797 w 118465"/>
                <a:gd name="connsiteY713" fmla="*/ 87721 h 124107"/>
                <a:gd name="connsiteX714" fmla="*/ 49078 w 118465"/>
                <a:gd name="connsiteY714" fmla="*/ 86875 h 124107"/>
                <a:gd name="connsiteX715" fmla="*/ 49361 w 118465"/>
                <a:gd name="connsiteY715" fmla="*/ 86311 h 124107"/>
                <a:gd name="connsiteX716" fmla="*/ 49361 w 118465"/>
                <a:gd name="connsiteY716" fmla="*/ 85747 h 124107"/>
                <a:gd name="connsiteX717" fmla="*/ 49925 w 118465"/>
                <a:gd name="connsiteY717" fmla="*/ 84336 h 124107"/>
                <a:gd name="connsiteX718" fmla="*/ 49643 w 118465"/>
                <a:gd name="connsiteY718" fmla="*/ 83490 h 124107"/>
                <a:gd name="connsiteX719" fmla="*/ 50207 w 118465"/>
                <a:gd name="connsiteY719" fmla="*/ 83208 h 124107"/>
                <a:gd name="connsiteX720" fmla="*/ 50489 w 118465"/>
                <a:gd name="connsiteY720" fmla="*/ 82644 h 124107"/>
                <a:gd name="connsiteX721" fmla="*/ 50771 w 118465"/>
                <a:gd name="connsiteY721" fmla="*/ 81798 h 124107"/>
                <a:gd name="connsiteX722" fmla="*/ 51335 w 118465"/>
                <a:gd name="connsiteY722" fmla="*/ 81234 h 124107"/>
                <a:gd name="connsiteX723" fmla="*/ 51335 w 118465"/>
                <a:gd name="connsiteY723" fmla="*/ 79823 h 124107"/>
                <a:gd name="connsiteX724" fmla="*/ 51053 w 118465"/>
                <a:gd name="connsiteY724" fmla="*/ 78695 h 124107"/>
                <a:gd name="connsiteX725" fmla="*/ 51053 w 118465"/>
                <a:gd name="connsiteY725" fmla="*/ 78413 h 124107"/>
                <a:gd name="connsiteX726" fmla="*/ 51335 w 118465"/>
                <a:gd name="connsiteY726" fmla="*/ 78131 h 124107"/>
                <a:gd name="connsiteX727" fmla="*/ 51617 w 118465"/>
                <a:gd name="connsiteY727" fmla="*/ 77567 h 124107"/>
                <a:gd name="connsiteX728" fmla="*/ 51899 w 118465"/>
                <a:gd name="connsiteY728" fmla="*/ 77003 h 124107"/>
                <a:gd name="connsiteX729" fmla="*/ 51617 w 118465"/>
                <a:gd name="connsiteY729" fmla="*/ 75875 h 124107"/>
                <a:gd name="connsiteX730" fmla="*/ 51899 w 118465"/>
                <a:gd name="connsiteY730" fmla="*/ 75028 h 124107"/>
                <a:gd name="connsiteX731" fmla="*/ 52464 w 118465"/>
                <a:gd name="connsiteY731" fmla="*/ 74464 h 124107"/>
                <a:gd name="connsiteX732" fmla="*/ 52464 w 118465"/>
                <a:gd name="connsiteY732" fmla="*/ 74182 h 124107"/>
                <a:gd name="connsiteX733" fmla="*/ 52745 w 118465"/>
                <a:gd name="connsiteY733" fmla="*/ 73336 h 124107"/>
                <a:gd name="connsiteX734" fmla="*/ 52745 w 118465"/>
                <a:gd name="connsiteY734" fmla="*/ 73054 h 124107"/>
                <a:gd name="connsiteX735" fmla="*/ 53309 w 118465"/>
                <a:gd name="connsiteY735" fmla="*/ 71079 h 124107"/>
                <a:gd name="connsiteX736" fmla="*/ 53028 w 118465"/>
                <a:gd name="connsiteY736" fmla="*/ 69951 h 124107"/>
                <a:gd name="connsiteX737" fmla="*/ 53309 w 118465"/>
                <a:gd name="connsiteY737" fmla="*/ 69105 h 124107"/>
                <a:gd name="connsiteX738" fmla="*/ 53592 w 118465"/>
                <a:gd name="connsiteY738" fmla="*/ 68259 h 124107"/>
                <a:gd name="connsiteX739" fmla="*/ 53592 w 118465"/>
                <a:gd name="connsiteY739" fmla="*/ 67977 h 124107"/>
                <a:gd name="connsiteX740" fmla="*/ 53309 w 118465"/>
                <a:gd name="connsiteY740" fmla="*/ 66849 h 124107"/>
                <a:gd name="connsiteX741" fmla="*/ 53874 w 118465"/>
                <a:gd name="connsiteY741" fmla="*/ 66002 h 124107"/>
                <a:gd name="connsiteX742" fmla="*/ 53874 w 118465"/>
                <a:gd name="connsiteY742" fmla="*/ 65156 h 124107"/>
                <a:gd name="connsiteX743" fmla="*/ 54156 w 118465"/>
                <a:gd name="connsiteY743" fmla="*/ 64874 h 124107"/>
                <a:gd name="connsiteX744" fmla="*/ 54438 w 118465"/>
                <a:gd name="connsiteY744" fmla="*/ 64028 h 124107"/>
                <a:gd name="connsiteX745" fmla="*/ 54438 w 118465"/>
                <a:gd name="connsiteY745" fmla="*/ 62054 h 124107"/>
                <a:gd name="connsiteX746" fmla="*/ 55002 w 118465"/>
                <a:gd name="connsiteY746" fmla="*/ 61771 h 124107"/>
                <a:gd name="connsiteX747" fmla="*/ 55848 w 118465"/>
                <a:gd name="connsiteY747" fmla="*/ 61207 h 124107"/>
                <a:gd name="connsiteX748" fmla="*/ 55566 w 118465"/>
                <a:gd name="connsiteY748" fmla="*/ 60079 h 124107"/>
                <a:gd name="connsiteX749" fmla="*/ 55848 w 118465"/>
                <a:gd name="connsiteY749" fmla="*/ 59233 h 124107"/>
                <a:gd name="connsiteX750" fmla="*/ 56695 w 118465"/>
                <a:gd name="connsiteY750" fmla="*/ 58105 h 124107"/>
                <a:gd name="connsiteX751" fmla="*/ 56976 w 118465"/>
                <a:gd name="connsiteY751" fmla="*/ 57258 h 124107"/>
                <a:gd name="connsiteX752" fmla="*/ 56976 w 118465"/>
                <a:gd name="connsiteY752" fmla="*/ 56412 h 124107"/>
                <a:gd name="connsiteX753" fmla="*/ 57540 w 118465"/>
                <a:gd name="connsiteY753" fmla="*/ 54720 h 124107"/>
                <a:gd name="connsiteX754" fmla="*/ 56976 w 118465"/>
                <a:gd name="connsiteY754" fmla="*/ 53592 h 124107"/>
                <a:gd name="connsiteX755" fmla="*/ 57823 w 118465"/>
                <a:gd name="connsiteY755" fmla="*/ 52463 h 124107"/>
                <a:gd name="connsiteX756" fmla="*/ 57259 w 118465"/>
                <a:gd name="connsiteY756" fmla="*/ 51617 h 124107"/>
                <a:gd name="connsiteX757" fmla="*/ 57540 w 118465"/>
                <a:gd name="connsiteY757" fmla="*/ 50489 h 124107"/>
                <a:gd name="connsiteX758" fmla="*/ 57540 w 118465"/>
                <a:gd name="connsiteY758" fmla="*/ 50207 h 124107"/>
                <a:gd name="connsiteX759" fmla="*/ 58387 w 118465"/>
                <a:gd name="connsiteY759" fmla="*/ 49361 h 124107"/>
                <a:gd name="connsiteX760" fmla="*/ 58387 w 118465"/>
                <a:gd name="connsiteY760" fmla="*/ 47950 h 124107"/>
                <a:gd name="connsiteX761" fmla="*/ 58105 w 118465"/>
                <a:gd name="connsiteY761" fmla="*/ 47386 h 124107"/>
                <a:gd name="connsiteX762" fmla="*/ 58387 w 118465"/>
                <a:gd name="connsiteY762" fmla="*/ 46258 h 124107"/>
                <a:gd name="connsiteX763" fmla="*/ 58387 w 118465"/>
                <a:gd name="connsiteY763" fmla="*/ 45694 h 124107"/>
                <a:gd name="connsiteX764" fmla="*/ 19180 w 118465"/>
                <a:gd name="connsiteY764" fmla="*/ 85747 h 124107"/>
                <a:gd name="connsiteX765" fmla="*/ 19462 w 118465"/>
                <a:gd name="connsiteY765" fmla="*/ 86311 h 124107"/>
                <a:gd name="connsiteX766" fmla="*/ 20591 w 118465"/>
                <a:gd name="connsiteY766" fmla="*/ 85183 h 124107"/>
                <a:gd name="connsiteX767" fmla="*/ 20308 w 118465"/>
                <a:gd name="connsiteY767" fmla="*/ 84900 h 124107"/>
                <a:gd name="connsiteX768" fmla="*/ 20027 w 118465"/>
                <a:gd name="connsiteY768" fmla="*/ 84618 h 124107"/>
                <a:gd name="connsiteX769" fmla="*/ 19462 w 118465"/>
                <a:gd name="connsiteY769" fmla="*/ 85183 h 124107"/>
                <a:gd name="connsiteX770" fmla="*/ 19180 w 118465"/>
                <a:gd name="connsiteY770" fmla="*/ 85747 h 124107"/>
                <a:gd name="connsiteX771" fmla="*/ 37232 w 118465"/>
                <a:gd name="connsiteY771" fmla="*/ 124953 h 124107"/>
                <a:gd name="connsiteX772" fmla="*/ 36668 w 118465"/>
                <a:gd name="connsiteY772" fmla="*/ 124671 h 124107"/>
                <a:gd name="connsiteX773" fmla="*/ 35822 w 118465"/>
                <a:gd name="connsiteY773" fmla="*/ 125235 h 124107"/>
                <a:gd name="connsiteX774" fmla="*/ 35822 w 118465"/>
                <a:gd name="connsiteY774" fmla="*/ 125517 h 124107"/>
                <a:gd name="connsiteX775" fmla="*/ 37232 w 118465"/>
                <a:gd name="connsiteY775" fmla="*/ 124953 h 124107"/>
                <a:gd name="connsiteX776" fmla="*/ 54156 w 118465"/>
                <a:gd name="connsiteY776" fmla="*/ 113953 h 124107"/>
                <a:gd name="connsiteX777" fmla="*/ 54720 w 118465"/>
                <a:gd name="connsiteY777" fmla="*/ 114235 h 124107"/>
                <a:gd name="connsiteX778" fmla="*/ 54438 w 118465"/>
                <a:gd name="connsiteY778" fmla="*/ 114517 h 124107"/>
                <a:gd name="connsiteX779" fmla="*/ 54156 w 118465"/>
                <a:gd name="connsiteY779" fmla="*/ 114517 h 124107"/>
                <a:gd name="connsiteX780" fmla="*/ 52745 w 118465"/>
                <a:gd name="connsiteY780" fmla="*/ 116491 h 124107"/>
                <a:gd name="connsiteX781" fmla="*/ 52464 w 118465"/>
                <a:gd name="connsiteY781" fmla="*/ 116491 h 124107"/>
                <a:gd name="connsiteX782" fmla="*/ 51617 w 118465"/>
                <a:gd name="connsiteY782" fmla="*/ 115645 h 124107"/>
                <a:gd name="connsiteX783" fmla="*/ 51617 w 118465"/>
                <a:gd name="connsiteY783" fmla="*/ 115363 h 124107"/>
                <a:gd name="connsiteX784" fmla="*/ 53874 w 118465"/>
                <a:gd name="connsiteY784" fmla="*/ 113671 h 124107"/>
                <a:gd name="connsiteX785" fmla="*/ 54156 w 118465"/>
                <a:gd name="connsiteY785" fmla="*/ 113953 h 124107"/>
                <a:gd name="connsiteX786" fmla="*/ 58105 w 118465"/>
                <a:gd name="connsiteY786" fmla="*/ 33565 h 124107"/>
                <a:gd name="connsiteX787" fmla="*/ 57540 w 118465"/>
                <a:gd name="connsiteY787" fmla="*/ 33283 h 124107"/>
                <a:gd name="connsiteX788" fmla="*/ 56976 w 118465"/>
                <a:gd name="connsiteY788" fmla="*/ 33847 h 124107"/>
                <a:gd name="connsiteX789" fmla="*/ 56976 w 118465"/>
                <a:gd name="connsiteY789" fmla="*/ 34976 h 124107"/>
                <a:gd name="connsiteX790" fmla="*/ 58105 w 118465"/>
                <a:gd name="connsiteY790" fmla="*/ 34411 h 124107"/>
                <a:gd name="connsiteX791" fmla="*/ 58105 w 118465"/>
                <a:gd name="connsiteY791" fmla="*/ 33565 h 124107"/>
                <a:gd name="connsiteX792" fmla="*/ 61771 w 118465"/>
                <a:gd name="connsiteY792" fmla="*/ 104927 h 124107"/>
                <a:gd name="connsiteX793" fmla="*/ 62336 w 118465"/>
                <a:gd name="connsiteY793" fmla="*/ 105491 h 124107"/>
                <a:gd name="connsiteX794" fmla="*/ 62618 w 118465"/>
                <a:gd name="connsiteY794" fmla="*/ 105773 h 124107"/>
                <a:gd name="connsiteX795" fmla="*/ 60643 w 118465"/>
                <a:gd name="connsiteY795" fmla="*/ 108030 h 124107"/>
                <a:gd name="connsiteX796" fmla="*/ 60079 w 118465"/>
                <a:gd name="connsiteY796" fmla="*/ 108312 h 124107"/>
                <a:gd name="connsiteX797" fmla="*/ 60079 w 118465"/>
                <a:gd name="connsiteY797" fmla="*/ 108876 h 124107"/>
                <a:gd name="connsiteX798" fmla="*/ 59515 w 118465"/>
                <a:gd name="connsiteY798" fmla="*/ 110286 h 124107"/>
                <a:gd name="connsiteX799" fmla="*/ 58669 w 118465"/>
                <a:gd name="connsiteY799" fmla="*/ 110850 h 124107"/>
                <a:gd name="connsiteX800" fmla="*/ 58669 w 118465"/>
                <a:gd name="connsiteY800" fmla="*/ 111132 h 124107"/>
                <a:gd name="connsiteX801" fmla="*/ 57540 w 118465"/>
                <a:gd name="connsiteY801" fmla="*/ 110850 h 124107"/>
                <a:gd name="connsiteX802" fmla="*/ 57823 w 118465"/>
                <a:gd name="connsiteY802" fmla="*/ 110850 h 124107"/>
                <a:gd name="connsiteX803" fmla="*/ 58387 w 118465"/>
                <a:gd name="connsiteY803" fmla="*/ 109722 h 124107"/>
                <a:gd name="connsiteX804" fmla="*/ 58387 w 118465"/>
                <a:gd name="connsiteY804" fmla="*/ 108312 h 124107"/>
                <a:gd name="connsiteX805" fmla="*/ 59515 w 118465"/>
                <a:gd name="connsiteY805" fmla="*/ 106055 h 124107"/>
                <a:gd name="connsiteX806" fmla="*/ 60079 w 118465"/>
                <a:gd name="connsiteY806" fmla="*/ 105773 h 124107"/>
                <a:gd name="connsiteX807" fmla="*/ 60643 w 118465"/>
                <a:gd name="connsiteY807" fmla="*/ 106055 h 124107"/>
                <a:gd name="connsiteX808" fmla="*/ 61207 w 118465"/>
                <a:gd name="connsiteY808" fmla="*/ 105773 h 124107"/>
                <a:gd name="connsiteX809" fmla="*/ 60926 w 118465"/>
                <a:gd name="connsiteY809" fmla="*/ 105491 h 124107"/>
                <a:gd name="connsiteX810" fmla="*/ 61771 w 118465"/>
                <a:gd name="connsiteY810" fmla="*/ 104927 h 124107"/>
                <a:gd name="connsiteX811" fmla="*/ 59515 w 118465"/>
                <a:gd name="connsiteY811" fmla="*/ 49925 h 124107"/>
                <a:gd name="connsiteX812" fmla="*/ 59515 w 118465"/>
                <a:gd name="connsiteY812" fmla="*/ 50207 h 124107"/>
                <a:gd name="connsiteX813" fmla="*/ 60079 w 118465"/>
                <a:gd name="connsiteY813" fmla="*/ 49925 h 124107"/>
                <a:gd name="connsiteX814" fmla="*/ 59515 w 118465"/>
                <a:gd name="connsiteY814" fmla="*/ 49925 h 124107"/>
                <a:gd name="connsiteX815" fmla="*/ 60079 w 118465"/>
                <a:gd name="connsiteY815" fmla="*/ 43720 h 124107"/>
                <a:gd name="connsiteX816" fmla="*/ 60079 w 118465"/>
                <a:gd name="connsiteY816" fmla="*/ 44284 h 124107"/>
                <a:gd name="connsiteX817" fmla="*/ 60361 w 118465"/>
                <a:gd name="connsiteY817" fmla="*/ 44566 h 124107"/>
                <a:gd name="connsiteX818" fmla="*/ 60926 w 118465"/>
                <a:gd name="connsiteY818" fmla="*/ 44284 h 124107"/>
                <a:gd name="connsiteX819" fmla="*/ 60643 w 118465"/>
                <a:gd name="connsiteY819" fmla="*/ 43155 h 124107"/>
                <a:gd name="connsiteX820" fmla="*/ 60079 w 118465"/>
                <a:gd name="connsiteY820" fmla="*/ 43720 h 124107"/>
                <a:gd name="connsiteX821" fmla="*/ 60079 w 118465"/>
                <a:gd name="connsiteY821" fmla="*/ 47668 h 124107"/>
                <a:gd name="connsiteX822" fmla="*/ 60643 w 118465"/>
                <a:gd name="connsiteY822" fmla="*/ 47950 h 124107"/>
                <a:gd name="connsiteX823" fmla="*/ 60361 w 118465"/>
                <a:gd name="connsiteY823" fmla="*/ 47668 h 124107"/>
                <a:gd name="connsiteX824" fmla="*/ 60361 w 118465"/>
                <a:gd name="connsiteY824" fmla="*/ 47386 h 124107"/>
                <a:gd name="connsiteX825" fmla="*/ 60079 w 118465"/>
                <a:gd name="connsiteY825" fmla="*/ 47668 h 124107"/>
                <a:gd name="connsiteX826" fmla="*/ 61490 w 118465"/>
                <a:gd name="connsiteY826" fmla="*/ 29899 h 124107"/>
                <a:gd name="connsiteX827" fmla="*/ 60361 w 118465"/>
                <a:gd name="connsiteY827" fmla="*/ 28770 h 124107"/>
                <a:gd name="connsiteX828" fmla="*/ 60361 w 118465"/>
                <a:gd name="connsiteY828" fmla="*/ 29899 h 124107"/>
                <a:gd name="connsiteX829" fmla="*/ 60926 w 118465"/>
                <a:gd name="connsiteY829" fmla="*/ 30181 h 124107"/>
                <a:gd name="connsiteX830" fmla="*/ 61490 w 118465"/>
                <a:gd name="connsiteY830" fmla="*/ 29899 h 124107"/>
                <a:gd name="connsiteX831" fmla="*/ 62054 w 118465"/>
                <a:gd name="connsiteY831" fmla="*/ 96183 h 124107"/>
                <a:gd name="connsiteX832" fmla="*/ 61771 w 118465"/>
                <a:gd name="connsiteY832" fmla="*/ 95619 h 124107"/>
                <a:gd name="connsiteX833" fmla="*/ 61207 w 118465"/>
                <a:gd name="connsiteY833" fmla="*/ 95901 h 124107"/>
                <a:gd name="connsiteX834" fmla="*/ 60643 w 118465"/>
                <a:gd name="connsiteY834" fmla="*/ 97311 h 124107"/>
                <a:gd name="connsiteX835" fmla="*/ 60361 w 118465"/>
                <a:gd name="connsiteY835" fmla="*/ 97593 h 124107"/>
                <a:gd name="connsiteX836" fmla="*/ 60926 w 118465"/>
                <a:gd name="connsiteY836" fmla="*/ 98157 h 124107"/>
                <a:gd name="connsiteX837" fmla="*/ 61771 w 118465"/>
                <a:gd name="connsiteY837" fmla="*/ 97593 h 124107"/>
                <a:gd name="connsiteX838" fmla="*/ 62054 w 118465"/>
                <a:gd name="connsiteY838" fmla="*/ 96183 h 124107"/>
                <a:gd name="connsiteX839" fmla="*/ 64310 w 118465"/>
                <a:gd name="connsiteY839" fmla="*/ 94773 h 124107"/>
                <a:gd name="connsiteX840" fmla="*/ 64028 w 118465"/>
                <a:gd name="connsiteY840" fmla="*/ 94491 h 124107"/>
                <a:gd name="connsiteX841" fmla="*/ 64028 w 118465"/>
                <a:gd name="connsiteY841" fmla="*/ 93644 h 124107"/>
                <a:gd name="connsiteX842" fmla="*/ 64310 w 118465"/>
                <a:gd name="connsiteY842" fmla="*/ 92516 h 124107"/>
                <a:gd name="connsiteX843" fmla="*/ 64310 w 118465"/>
                <a:gd name="connsiteY843" fmla="*/ 91670 h 124107"/>
                <a:gd name="connsiteX844" fmla="*/ 63746 w 118465"/>
                <a:gd name="connsiteY844" fmla="*/ 91106 h 124107"/>
                <a:gd name="connsiteX845" fmla="*/ 63746 w 118465"/>
                <a:gd name="connsiteY845" fmla="*/ 90824 h 124107"/>
                <a:gd name="connsiteX846" fmla="*/ 63464 w 118465"/>
                <a:gd name="connsiteY846" fmla="*/ 91106 h 124107"/>
                <a:gd name="connsiteX847" fmla="*/ 63182 w 118465"/>
                <a:gd name="connsiteY847" fmla="*/ 91670 h 124107"/>
                <a:gd name="connsiteX848" fmla="*/ 62618 w 118465"/>
                <a:gd name="connsiteY848" fmla="*/ 93080 h 124107"/>
                <a:gd name="connsiteX849" fmla="*/ 62336 w 118465"/>
                <a:gd name="connsiteY849" fmla="*/ 93644 h 124107"/>
                <a:gd name="connsiteX850" fmla="*/ 62900 w 118465"/>
                <a:gd name="connsiteY850" fmla="*/ 94491 h 124107"/>
                <a:gd name="connsiteX851" fmla="*/ 64310 w 118465"/>
                <a:gd name="connsiteY851" fmla="*/ 95337 h 124107"/>
                <a:gd name="connsiteX852" fmla="*/ 64874 w 118465"/>
                <a:gd name="connsiteY852" fmla="*/ 95619 h 124107"/>
                <a:gd name="connsiteX853" fmla="*/ 65438 w 118465"/>
                <a:gd name="connsiteY853" fmla="*/ 95619 h 124107"/>
                <a:gd name="connsiteX854" fmla="*/ 64310 w 118465"/>
                <a:gd name="connsiteY854" fmla="*/ 94773 h 124107"/>
                <a:gd name="connsiteX855" fmla="*/ 65438 w 118465"/>
                <a:gd name="connsiteY855" fmla="*/ 35822 h 124107"/>
                <a:gd name="connsiteX856" fmla="*/ 65156 w 118465"/>
                <a:gd name="connsiteY856" fmla="*/ 36386 h 124107"/>
                <a:gd name="connsiteX857" fmla="*/ 64592 w 118465"/>
                <a:gd name="connsiteY857" fmla="*/ 36668 h 124107"/>
                <a:gd name="connsiteX858" fmla="*/ 64310 w 118465"/>
                <a:gd name="connsiteY858" fmla="*/ 36386 h 124107"/>
                <a:gd name="connsiteX859" fmla="*/ 64874 w 118465"/>
                <a:gd name="connsiteY859" fmla="*/ 35822 h 124107"/>
                <a:gd name="connsiteX860" fmla="*/ 64592 w 118465"/>
                <a:gd name="connsiteY860" fmla="*/ 35258 h 124107"/>
                <a:gd name="connsiteX861" fmla="*/ 64874 w 118465"/>
                <a:gd name="connsiteY861" fmla="*/ 34976 h 124107"/>
                <a:gd name="connsiteX862" fmla="*/ 64874 w 118465"/>
                <a:gd name="connsiteY862" fmla="*/ 35258 h 124107"/>
                <a:gd name="connsiteX863" fmla="*/ 65438 w 118465"/>
                <a:gd name="connsiteY863" fmla="*/ 35822 h 124107"/>
                <a:gd name="connsiteX864" fmla="*/ 67695 w 118465"/>
                <a:gd name="connsiteY864" fmla="*/ 87157 h 124107"/>
                <a:gd name="connsiteX865" fmla="*/ 67695 w 118465"/>
                <a:gd name="connsiteY865" fmla="*/ 88003 h 124107"/>
                <a:gd name="connsiteX866" fmla="*/ 66848 w 118465"/>
                <a:gd name="connsiteY866" fmla="*/ 88003 h 124107"/>
                <a:gd name="connsiteX867" fmla="*/ 65720 w 118465"/>
                <a:gd name="connsiteY867" fmla="*/ 86875 h 124107"/>
                <a:gd name="connsiteX868" fmla="*/ 66567 w 118465"/>
                <a:gd name="connsiteY868" fmla="*/ 85183 h 124107"/>
                <a:gd name="connsiteX869" fmla="*/ 66567 w 118465"/>
                <a:gd name="connsiteY869" fmla="*/ 85465 h 124107"/>
                <a:gd name="connsiteX870" fmla="*/ 66848 w 118465"/>
                <a:gd name="connsiteY870" fmla="*/ 85747 h 124107"/>
                <a:gd name="connsiteX871" fmla="*/ 67695 w 118465"/>
                <a:gd name="connsiteY871" fmla="*/ 87157 h 124107"/>
                <a:gd name="connsiteX872" fmla="*/ 66002 w 118465"/>
                <a:gd name="connsiteY872" fmla="*/ 93080 h 124107"/>
                <a:gd name="connsiteX873" fmla="*/ 66284 w 118465"/>
                <a:gd name="connsiteY873" fmla="*/ 93362 h 124107"/>
                <a:gd name="connsiteX874" fmla="*/ 66567 w 118465"/>
                <a:gd name="connsiteY874" fmla="*/ 93362 h 124107"/>
                <a:gd name="connsiteX875" fmla="*/ 66848 w 118465"/>
                <a:gd name="connsiteY875" fmla="*/ 93080 h 124107"/>
                <a:gd name="connsiteX876" fmla="*/ 66284 w 118465"/>
                <a:gd name="connsiteY876" fmla="*/ 92516 h 124107"/>
                <a:gd name="connsiteX877" fmla="*/ 66002 w 118465"/>
                <a:gd name="connsiteY877" fmla="*/ 93080 h 124107"/>
                <a:gd name="connsiteX878" fmla="*/ 66567 w 118465"/>
                <a:gd name="connsiteY878" fmla="*/ 69669 h 124107"/>
                <a:gd name="connsiteX879" fmla="*/ 66848 w 118465"/>
                <a:gd name="connsiteY879" fmla="*/ 68823 h 124107"/>
                <a:gd name="connsiteX880" fmla="*/ 67412 w 118465"/>
                <a:gd name="connsiteY880" fmla="*/ 67977 h 124107"/>
                <a:gd name="connsiteX881" fmla="*/ 68259 w 118465"/>
                <a:gd name="connsiteY881" fmla="*/ 68259 h 124107"/>
                <a:gd name="connsiteX882" fmla="*/ 68259 w 118465"/>
                <a:gd name="connsiteY882" fmla="*/ 69669 h 124107"/>
                <a:gd name="connsiteX883" fmla="*/ 67977 w 118465"/>
                <a:gd name="connsiteY883" fmla="*/ 71362 h 124107"/>
                <a:gd name="connsiteX884" fmla="*/ 67131 w 118465"/>
                <a:gd name="connsiteY884" fmla="*/ 71362 h 124107"/>
                <a:gd name="connsiteX885" fmla="*/ 67131 w 118465"/>
                <a:gd name="connsiteY885" fmla="*/ 71079 h 124107"/>
                <a:gd name="connsiteX886" fmla="*/ 66567 w 118465"/>
                <a:gd name="connsiteY886" fmla="*/ 69669 h 124107"/>
                <a:gd name="connsiteX887" fmla="*/ 67412 w 118465"/>
                <a:gd name="connsiteY887" fmla="*/ 58105 h 124107"/>
                <a:gd name="connsiteX888" fmla="*/ 67131 w 118465"/>
                <a:gd name="connsiteY888" fmla="*/ 57258 h 124107"/>
                <a:gd name="connsiteX889" fmla="*/ 67412 w 118465"/>
                <a:gd name="connsiteY889" fmla="*/ 56976 h 124107"/>
                <a:gd name="connsiteX890" fmla="*/ 68259 w 118465"/>
                <a:gd name="connsiteY890" fmla="*/ 55566 h 124107"/>
                <a:gd name="connsiteX891" fmla="*/ 68823 w 118465"/>
                <a:gd name="connsiteY891" fmla="*/ 55284 h 124107"/>
                <a:gd name="connsiteX892" fmla="*/ 69105 w 118465"/>
                <a:gd name="connsiteY892" fmla="*/ 55566 h 124107"/>
                <a:gd name="connsiteX893" fmla="*/ 68823 w 118465"/>
                <a:gd name="connsiteY893" fmla="*/ 56694 h 124107"/>
                <a:gd name="connsiteX894" fmla="*/ 68823 w 118465"/>
                <a:gd name="connsiteY894" fmla="*/ 57258 h 124107"/>
                <a:gd name="connsiteX895" fmla="*/ 69105 w 118465"/>
                <a:gd name="connsiteY895" fmla="*/ 58105 h 124107"/>
                <a:gd name="connsiteX896" fmla="*/ 69105 w 118465"/>
                <a:gd name="connsiteY896" fmla="*/ 58387 h 124107"/>
                <a:gd name="connsiteX897" fmla="*/ 67412 w 118465"/>
                <a:gd name="connsiteY897" fmla="*/ 59233 h 124107"/>
                <a:gd name="connsiteX898" fmla="*/ 67131 w 118465"/>
                <a:gd name="connsiteY898" fmla="*/ 59515 h 124107"/>
                <a:gd name="connsiteX899" fmla="*/ 67131 w 118465"/>
                <a:gd name="connsiteY899" fmla="*/ 59233 h 124107"/>
                <a:gd name="connsiteX900" fmla="*/ 67412 w 118465"/>
                <a:gd name="connsiteY900" fmla="*/ 58105 h 124107"/>
                <a:gd name="connsiteX901" fmla="*/ 70515 w 118465"/>
                <a:gd name="connsiteY901" fmla="*/ 53028 h 124107"/>
                <a:gd name="connsiteX902" fmla="*/ 69387 w 118465"/>
                <a:gd name="connsiteY902" fmla="*/ 53592 h 124107"/>
                <a:gd name="connsiteX903" fmla="*/ 69105 w 118465"/>
                <a:gd name="connsiteY903" fmla="*/ 53592 h 124107"/>
                <a:gd name="connsiteX904" fmla="*/ 68541 w 118465"/>
                <a:gd name="connsiteY904" fmla="*/ 53028 h 124107"/>
                <a:gd name="connsiteX905" fmla="*/ 67695 w 118465"/>
                <a:gd name="connsiteY905" fmla="*/ 52463 h 124107"/>
                <a:gd name="connsiteX906" fmla="*/ 68541 w 118465"/>
                <a:gd name="connsiteY906" fmla="*/ 51617 h 124107"/>
                <a:gd name="connsiteX907" fmla="*/ 70515 w 118465"/>
                <a:gd name="connsiteY907" fmla="*/ 53028 h 124107"/>
                <a:gd name="connsiteX908" fmla="*/ 73054 w 118465"/>
                <a:gd name="connsiteY908" fmla="*/ 69387 h 124107"/>
                <a:gd name="connsiteX909" fmla="*/ 73618 w 118465"/>
                <a:gd name="connsiteY909" fmla="*/ 71362 h 124107"/>
                <a:gd name="connsiteX910" fmla="*/ 73054 w 118465"/>
                <a:gd name="connsiteY910" fmla="*/ 71644 h 124107"/>
                <a:gd name="connsiteX911" fmla="*/ 72490 w 118465"/>
                <a:gd name="connsiteY911" fmla="*/ 72490 h 124107"/>
                <a:gd name="connsiteX912" fmla="*/ 73054 w 118465"/>
                <a:gd name="connsiteY912" fmla="*/ 74182 h 124107"/>
                <a:gd name="connsiteX913" fmla="*/ 73336 w 118465"/>
                <a:gd name="connsiteY913" fmla="*/ 74464 h 124107"/>
                <a:gd name="connsiteX914" fmla="*/ 73054 w 118465"/>
                <a:gd name="connsiteY914" fmla="*/ 74746 h 124107"/>
                <a:gd name="connsiteX915" fmla="*/ 73054 w 118465"/>
                <a:gd name="connsiteY915" fmla="*/ 75592 h 124107"/>
                <a:gd name="connsiteX916" fmla="*/ 72772 w 118465"/>
                <a:gd name="connsiteY916" fmla="*/ 75875 h 124107"/>
                <a:gd name="connsiteX917" fmla="*/ 72490 w 118465"/>
                <a:gd name="connsiteY917" fmla="*/ 76439 h 124107"/>
                <a:gd name="connsiteX918" fmla="*/ 72490 w 118465"/>
                <a:gd name="connsiteY918" fmla="*/ 76721 h 124107"/>
                <a:gd name="connsiteX919" fmla="*/ 71643 w 118465"/>
                <a:gd name="connsiteY919" fmla="*/ 78131 h 124107"/>
                <a:gd name="connsiteX920" fmla="*/ 71362 w 118465"/>
                <a:gd name="connsiteY920" fmla="*/ 78413 h 124107"/>
                <a:gd name="connsiteX921" fmla="*/ 71643 w 118465"/>
                <a:gd name="connsiteY921" fmla="*/ 78695 h 124107"/>
                <a:gd name="connsiteX922" fmla="*/ 72772 w 118465"/>
                <a:gd name="connsiteY922" fmla="*/ 79259 h 124107"/>
                <a:gd name="connsiteX923" fmla="*/ 73054 w 118465"/>
                <a:gd name="connsiteY923" fmla="*/ 79823 h 124107"/>
                <a:gd name="connsiteX924" fmla="*/ 72772 w 118465"/>
                <a:gd name="connsiteY924" fmla="*/ 80388 h 124107"/>
                <a:gd name="connsiteX925" fmla="*/ 72772 w 118465"/>
                <a:gd name="connsiteY925" fmla="*/ 80670 h 124107"/>
                <a:gd name="connsiteX926" fmla="*/ 72490 w 118465"/>
                <a:gd name="connsiteY926" fmla="*/ 81798 h 124107"/>
                <a:gd name="connsiteX927" fmla="*/ 71643 w 118465"/>
                <a:gd name="connsiteY927" fmla="*/ 82926 h 124107"/>
                <a:gd name="connsiteX928" fmla="*/ 70233 w 118465"/>
                <a:gd name="connsiteY928" fmla="*/ 85183 h 124107"/>
                <a:gd name="connsiteX929" fmla="*/ 69951 w 118465"/>
                <a:gd name="connsiteY929" fmla="*/ 85465 h 124107"/>
                <a:gd name="connsiteX930" fmla="*/ 69669 w 118465"/>
                <a:gd name="connsiteY930" fmla="*/ 85465 h 124107"/>
                <a:gd name="connsiteX931" fmla="*/ 69951 w 118465"/>
                <a:gd name="connsiteY931" fmla="*/ 85183 h 124107"/>
                <a:gd name="connsiteX932" fmla="*/ 69951 w 118465"/>
                <a:gd name="connsiteY932" fmla="*/ 84618 h 124107"/>
                <a:gd name="connsiteX933" fmla="*/ 69669 w 118465"/>
                <a:gd name="connsiteY933" fmla="*/ 83772 h 124107"/>
                <a:gd name="connsiteX934" fmla="*/ 70233 w 118465"/>
                <a:gd name="connsiteY934" fmla="*/ 82926 h 124107"/>
                <a:gd name="connsiteX935" fmla="*/ 69951 w 118465"/>
                <a:gd name="connsiteY935" fmla="*/ 81798 h 124107"/>
                <a:gd name="connsiteX936" fmla="*/ 69669 w 118465"/>
                <a:gd name="connsiteY936" fmla="*/ 81234 h 124107"/>
                <a:gd name="connsiteX937" fmla="*/ 69951 w 118465"/>
                <a:gd name="connsiteY937" fmla="*/ 80670 h 124107"/>
                <a:gd name="connsiteX938" fmla="*/ 70233 w 118465"/>
                <a:gd name="connsiteY938" fmla="*/ 80670 h 124107"/>
                <a:gd name="connsiteX939" fmla="*/ 70515 w 118465"/>
                <a:gd name="connsiteY939" fmla="*/ 80105 h 124107"/>
                <a:gd name="connsiteX940" fmla="*/ 69387 w 118465"/>
                <a:gd name="connsiteY940" fmla="*/ 78695 h 124107"/>
                <a:gd name="connsiteX941" fmla="*/ 69105 w 118465"/>
                <a:gd name="connsiteY941" fmla="*/ 78413 h 124107"/>
                <a:gd name="connsiteX942" fmla="*/ 69387 w 118465"/>
                <a:gd name="connsiteY942" fmla="*/ 77849 h 124107"/>
                <a:gd name="connsiteX943" fmla="*/ 70515 w 118465"/>
                <a:gd name="connsiteY943" fmla="*/ 76721 h 124107"/>
                <a:gd name="connsiteX944" fmla="*/ 70233 w 118465"/>
                <a:gd name="connsiteY944" fmla="*/ 76157 h 124107"/>
                <a:gd name="connsiteX945" fmla="*/ 69951 w 118465"/>
                <a:gd name="connsiteY945" fmla="*/ 75592 h 124107"/>
                <a:gd name="connsiteX946" fmla="*/ 70233 w 118465"/>
                <a:gd name="connsiteY946" fmla="*/ 75592 h 124107"/>
                <a:gd name="connsiteX947" fmla="*/ 70515 w 118465"/>
                <a:gd name="connsiteY947" fmla="*/ 75310 h 124107"/>
                <a:gd name="connsiteX948" fmla="*/ 71079 w 118465"/>
                <a:gd name="connsiteY948" fmla="*/ 74746 h 124107"/>
                <a:gd name="connsiteX949" fmla="*/ 70515 w 118465"/>
                <a:gd name="connsiteY949" fmla="*/ 74182 h 124107"/>
                <a:gd name="connsiteX950" fmla="*/ 70233 w 118465"/>
                <a:gd name="connsiteY950" fmla="*/ 73336 h 124107"/>
                <a:gd name="connsiteX951" fmla="*/ 70515 w 118465"/>
                <a:gd name="connsiteY951" fmla="*/ 72208 h 124107"/>
                <a:gd name="connsiteX952" fmla="*/ 70798 w 118465"/>
                <a:gd name="connsiteY952" fmla="*/ 71926 h 124107"/>
                <a:gd name="connsiteX953" fmla="*/ 71079 w 118465"/>
                <a:gd name="connsiteY953" fmla="*/ 71362 h 124107"/>
                <a:gd name="connsiteX954" fmla="*/ 71362 w 118465"/>
                <a:gd name="connsiteY954" fmla="*/ 71644 h 124107"/>
                <a:gd name="connsiteX955" fmla="*/ 72490 w 118465"/>
                <a:gd name="connsiteY955" fmla="*/ 70797 h 124107"/>
                <a:gd name="connsiteX956" fmla="*/ 72208 w 118465"/>
                <a:gd name="connsiteY956" fmla="*/ 69951 h 124107"/>
                <a:gd name="connsiteX957" fmla="*/ 72208 w 118465"/>
                <a:gd name="connsiteY957" fmla="*/ 69105 h 124107"/>
                <a:gd name="connsiteX958" fmla="*/ 72772 w 118465"/>
                <a:gd name="connsiteY958" fmla="*/ 69387 h 124107"/>
                <a:gd name="connsiteX959" fmla="*/ 73054 w 118465"/>
                <a:gd name="connsiteY959" fmla="*/ 69387 h 124107"/>
                <a:gd name="connsiteX960" fmla="*/ 69951 w 118465"/>
                <a:gd name="connsiteY960" fmla="*/ 41745 h 124107"/>
                <a:gd name="connsiteX961" fmla="*/ 70233 w 118465"/>
                <a:gd name="connsiteY961" fmla="*/ 42309 h 124107"/>
                <a:gd name="connsiteX962" fmla="*/ 69669 w 118465"/>
                <a:gd name="connsiteY962" fmla="*/ 42873 h 124107"/>
                <a:gd name="connsiteX963" fmla="*/ 69669 w 118465"/>
                <a:gd name="connsiteY963" fmla="*/ 41463 h 124107"/>
                <a:gd name="connsiteX964" fmla="*/ 69951 w 118465"/>
                <a:gd name="connsiteY964" fmla="*/ 41745 h 124107"/>
                <a:gd name="connsiteX965" fmla="*/ 74746 w 118465"/>
                <a:gd name="connsiteY965" fmla="*/ 51617 h 124107"/>
                <a:gd name="connsiteX966" fmla="*/ 74746 w 118465"/>
                <a:gd name="connsiteY966" fmla="*/ 52181 h 124107"/>
                <a:gd name="connsiteX967" fmla="*/ 74182 w 118465"/>
                <a:gd name="connsiteY967" fmla="*/ 53592 h 124107"/>
                <a:gd name="connsiteX968" fmla="*/ 74464 w 118465"/>
                <a:gd name="connsiteY968" fmla="*/ 54720 h 124107"/>
                <a:gd name="connsiteX969" fmla="*/ 73900 w 118465"/>
                <a:gd name="connsiteY969" fmla="*/ 56130 h 124107"/>
                <a:gd name="connsiteX970" fmla="*/ 73618 w 118465"/>
                <a:gd name="connsiteY970" fmla="*/ 56694 h 124107"/>
                <a:gd name="connsiteX971" fmla="*/ 74182 w 118465"/>
                <a:gd name="connsiteY971" fmla="*/ 57541 h 124107"/>
                <a:gd name="connsiteX972" fmla="*/ 74182 w 118465"/>
                <a:gd name="connsiteY972" fmla="*/ 58669 h 124107"/>
                <a:gd name="connsiteX973" fmla="*/ 73618 w 118465"/>
                <a:gd name="connsiteY973" fmla="*/ 59515 h 124107"/>
                <a:gd name="connsiteX974" fmla="*/ 72490 w 118465"/>
                <a:gd name="connsiteY974" fmla="*/ 58951 h 124107"/>
                <a:gd name="connsiteX975" fmla="*/ 73336 w 118465"/>
                <a:gd name="connsiteY975" fmla="*/ 58105 h 124107"/>
                <a:gd name="connsiteX976" fmla="*/ 73618 w 118465"/>
                <a:gd name="connsiteY976" fmla="*/ 57541 h 124107"/>
                <a:gd name="connsiteX977" fmla="*/ 72772 w 118465"/>
                <a:gd name="connsiteY977" fmla="*/ 56694 h 124107"/>
                <a:gd name="connsiteX978" fmla="*/ 73336 w 118465"/>
                <a:gd name="connsiteY978" fmla="*/ 56130 h 124107"/>
                <a:gd name="connsiteX979" fmla="*/ 73054 w 118465"/>
                <a:gd name="connsiteY979" fmla="*/ 55284 h 124107"/>
                <a:gd name="connsiteX980" fmla="*/ 73054 w 118465"/>
                <a:gd name="connsiteY980" fmla="*/ 55002 h 124107"/>
                <a:gd name="connsiteX981" fmla="*/ 72490 w 118465"/>
                <a:gd name="connsiteY981" fmla="*/ 53592 h 124107"/>
                <a:gd name="connsiteX982" fmla="*/ 73054 w 118465"/>
                <a:gd name="connsiteY982" fmla="*/ 52745 h 124107"/>
                <a:gd name="connsiteX983" fmla="*/ 73336 w 118465"/>
                <a:gd name="connsiteY983" fmla="*/ 52181 h 124107"/>
                <a:gd name="connsiteX984" fmla="*/ 72772 w 118465"/>
                <a:gd name="connsiteY984" fmla="*/ 51617 h 124107"/>
                <a:gd name="connsiteX985" fmla="*/ 72772 w 118465"/>
                <a:gd name="connsiteY985" fmla="*/ 51053 h 124107"/>
                <a:gd name="connsiteX986" fmla="*/ 73336 w 118465"/>
                <a:gd name="connsiteY986" fmla="*/ 49925 h 124107"/>
                <a:gd name="connsiteX987" fmla="*/ 74182 w 118465"/>
                <a:gd name="connsiteY987" fmla="*/ 49643 h 124107"/>
                <a:gd name="connsiteX988" fmla="*/ 74464 w 118465"/>
                <a:gd name="connsiteY988" fmla="*/ 50207 h 124107"/>
                <a:gd name="connsiteX989" fmla="*/ 74746 w 118465"/>
                <a:gd name="connsiteY989" fmla="*/ 51617 h 124107"/>
                <a:gd name="connsiteX990" fmla="*/ 73618 w 118465"/>
                <a:gd name="connsiteY990" fmla="*/ 60643 h 124107"/>
                <a:gd name="connsiteX991" fmla="*/ 73618 w 118465"/>
                <a:gd name="connsiteY991" fmla="*/ 61207 h 124107"/>
                <a:gd name="connsiteX992" fmla="*/ 73336 w 118465"/>
                <a:gd name="connsiteY992" fmla="*/ 61489 h 124107"/>
                <a:gd name="connsiteX993" fmla="*/ 72490 w 118465"/>
                <a:gd name="connsiteY993" fmla="*/ 61771 h 124107"/>
                <a:gd name="connsiteX994" fmla="*/ 72490 w 118465"/>
                <a:gd name="connsiteY994" fmla="*/ 60643 h 124107"/>
                <a:gd name="connsiteX995" fmla="*/ 72772 w 118465"/>
                <a:gd name="connsiteY995" fmla="*/ 60361 h 124107"/>
                <a:gd name="connsiteX996" fmla="*/ 73618 w 118465"/>
                <a:gd name="connsiteY996" fmla="*/ 60643 h 124107"/>
                <a:gd name="connsiteX997" fmla="*/ 108594 w 118465"/>
                <a:gd name="connsiteY997" fmla="*/ 33565 h 124107"/>
                <a:gd name="connsiteX998" fmla="*/ 108311 w 118465"/>
                <a:gd name="connsiteY998" fmla="*/ 33283 h 124107"/>
                <a:gd name="connsiteX999" fmla="*/ 108030 w 118465"/>
                <a:gd name="connsiteY999" fmla="*/ 33283 h 124107"/>
                <a:gd name="connsiteX1000" fmla="*/ 106619 w 118465"/>
                <a:gd name="connsiteY1000" fmla="*/ 34129 h 124107"/>
                <a:gd name="connsiteX1001" fmla="*/ 106619 w 118465"/>
                <a:gd name="connsiteY1001" fmla="*/ 34411 h 124107"/>
                <a:gd name="connsiteX1002" fmla="*/ 107183 w 118465"/>
                <a:gd name="connsiteY1002" fmla="*/ 34694 h 124107"/>
                <a:gd name="connsiteX1003" fmla="*/ 108594 w 118465"/>
                <a:gd name="connsiteY1003" fmla="*/ 33565 h 124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</a:cxnLst>
              <a:rect l="l" t="t" r="r" b="b"/>
              <a:pathLst>
                <a:path w="118465" h="124107">
                  <a:moveTo>
                    <a:pt x="45412" y="118748"/>
                  </a:moveTo>
                  <a:cubicBezTo>
                    <a:pt x="45412" y="118748"/>
                    <a:pt x="45130" y="118748"/>
                    <a:pt x="44848" y="118466"/>
                  </a:cubicBezTo>
                  <a:lnTo>
                    <a:pt x="44848" y="118748"/>
                  </a:lnTo>
                  <a:cubicBezTo>
                    <a:pt x="44566" y="118748"/>
                    <a:pt x="44848" y="119030"/>
                    <a:pt x="45412" y="119312"/>
                  </a:cubicBezTo>
                  <a:cubicBezTo>
                    <a:pt x="45694" y="119312"/>
                    <a:pt x="45976" y="119876"/>
                    <a:pt x="45976" y="120158"/>
                  </a:cubicBezTo>
                  <a:lnTo>
                    <a:pt x="45976" y="120722"/>
                  </a:lnTo>
                  <a:cubicBezTo>
                    <a:pt x="44848" y="120722"/>
                    <a:pt x="44566" y="121004"/>
                    <a:pt x="44002" y="121286"/>
                  </a:cubicBezTo>
                  <a:lnTo>
                    <a:pt x="43720" y="121286"/>
                  </a:lnTo>
                  <a:cubicBezTo>
                    <a:pt x="43156" y="121286"/>
                    <a:pt x="42873" y="121851"/>
                    <a:pt x="42592" y="121851"/>
                  </a:cubicBezTo>
                  <a:cubicBezTo>
                    <a:pt x="41745" y="121851"/>
                    <a:pt x="41745" y="122133"/>
                    <a:pt x="41463" y="122133"/>
                  </a:cubicBezTo>
                  <a:lnTo>
                    <a:pt x="40899" y="122133"/>
                  </a:lnTo>
                  <a:cubicBezTo>
                    <a:pt x="40053" y="121851"/>
                    <a:pt x="39771" y="121568"/>
                    <a:pt x="39771" y="121286"/>
                  </a:cubicBezTo>
                  <a:cubicBezTo>
                    <a:pt x="39771" y="121286"/>
                    <a:pt x="39489" y="121286"/>
                    <a:pt x="39206" y="121568"/>
                  </a:cubicBezTo>
                  <a:lnTo>
                    <a:pt x="39206" y="121851"/>
                  </a:lnTo>
                  <a:cubicBezTo>
                    <a:pt x="39489" y="122133"/>
                    <a:pt x="39771" y="122697"/>
                    <a:pt x="40053" y="122697"/>
                  </a:cubicBezTo>
                  <a:lnTo>
                    <a:pt x="40053" y="123825"/>
                  </a:lnTo>
                  <a:lnTo>
                    <a:pt x="39771" y="124107"/>
                  </a:lnTo>
                  <a:lnTo>
                    <a:pt x="40617" y="124107"/>
                  </a:lnTo>
                  <a:lnTo>
                    <a:pt x="41745" y="123261"/>
                  </a:lnTo>
                  <a:cubicBezTo>
                    <a:pt x="42027" y="123261"/>
                    <a:pt x="42309" y="123543"/>
                    <a:pt x="42592" y="123543"/>
                  </a:cubicBezTo>
                  <a:lnTo>
                    <a:pt x="42309" y="124107"/>
                  </a:lnTo>
                  <a:cubicBezTo>
                    <a:pt x="41181" y="124671"/>
                    <a:pt x="40617" y="125799"/>
                    <a:pt x="39489" y="126081"/>
                  </a:cubicBezTo>
                  <a:cubicBezTo>
                    <a:pt x="39206" y="126646"/>
                    <a:pt x="38642" y="126646"/>
                    <a:pt x="38361" y="126646"/>
                  </a:cubicBezTo>
                  <a:cubicBezTo>
                    <a:pt x="38078" y="126646"/>
                    <a:pt x="37796" y="127210"/>
                    <a:pt x="37796" y="127210"/>
                  </a:cubicBezTo>
                  <a:cubicBezTo>
                    <a:pt x="37232" y="127210"/>
                    <a:pt x="36668" y="127210"/>
                    <a:pt x="36668" y="127492"/>
                  </a:cubicBezTo>
                  <a:lnTo>
                    <a:pt x="34694" y="127492"/>
                  </a:lnTo>
                  <a:cubicBezTo>
                    <a:pt x="34411" y="127492"/>
                    <a:pt x="33847" y="127210"/>
                    <a:pt x="33847" y="127210"/>
                  </a:cubicBezTo>
                  <a:lnTo>
                    <a:pt x="32437" y="127210"/>
                  </a:lnTo>
                  <a:cubicBezTo>
                    <a:pt x="32155" y="127492"/>
                    <a:pt x="31873" y="127492"/>
                    <a:pt x="31873" y="127492"/>
                  </a:cubicBezTo>
                  <a:lnTo>
                    <a:pt x="31591" y="127492"/>
                  </a:lnTo>
                  <a:cubicBezTo>
                    <a:pt x="31309" y="127210"/>
                    <a:pt x="30463" y="127210"/>
                    <a:pt x="30180" y="126928"/>
                  </a:cubicBezTo>
                  <a:cubicBezTo>
                    <a:pt x="29616" y="126081"/>
                    <a:pt x="29052" y="126081"/>
                    <a:pt x="27924" y="126081"/>
                  </a:cubicBezTo>
                  <a:lnTo>
                    <a:pt x="25950" y="126081"/>
                  </a:lnTo>
                  <a:cubicBezTo>
                    <a:pt x="25668" y="126081"/>
                    <a:pt x="25386" y="126081"/>
                    <a:pt x="25386" y="125799"/>
                  </a:cubicBezTo>
                  <a:cubicBezTo>
                    <a:pt x="25103" y="125799"/>
                    <a:pt x="24822" y="125517"/>
                    <a:pt x="24822" y="125517"/>
                  </a:cubicBezTo>
                  <a:lnTo>
                    <a:pt x="24539" y="125799"/>
                  </a:lnTo>
                  <a:cubicBezTo>
                    <a:pt x="24258" y="126646"/>
                    <a:pt x="23693" y="126646"/>
                    <a:pt x="23129" y="126646"/>
                  </a:cubicBezTo>
                  <a:lnTo>
                    <a:pt x="19462" y="126646"/>
                  </a:lnTo>
                  <a:cubicBezTo>
                    <a:pt x="18898" y="126646"/>
                    <a:pt x="18898" y="127210"/>
                    <a:pt x="18334" y="127210"/>
                  </a:cubicBezTo>
                  <a:lnTo>
                    <a:pt x="14667" y="127210"/>
                  </a:lnTo>
                  <a:cubicBezTo>
                    <a:pt x="14385" y="126928"/>
                    <a:pt x="13821" y="126928"/>
                    <a:pt x="13539" y="126928"/>
                  </a:cubicBezTo>
                  <a:cubicBezTo>
                    <a:pt x="13257" y="126928"/>
                    <a:pt x="12975" y="126928"/>
                    <a:pt x="12693" y="126363"/>
                  </a:cubicBezTo>
                  <a:lnTo>
                    <a:pt x="11565" y="125799"/>
                  </a:lnTo>
                  <a:cubicBezTo>
                    <a:pt x="11000" y="125235"/>
                    <a:pt x="10436" y="124389"/>
                    <a:pt x="9872" y="124107"/>
                  </a:cubicBezTo>
                  <a:cubicBezTo>
                    <a:pt x="9872" y="123543"/>
                    <a:pt x="9026" y="123261"/>
                    <a:pt x="8744" y="122415"/>
                  </a:cubicBezTo>
                  <a:lnTo>
                    <a:pt x="8462" y="122415"/>
                  </a:lnTo>
                  <a:cubicBezTo>
                    <a:pt x="8180" y="122415"/>
                    <a:pt x="7616" y="122133"/>
                    <a:pt x="7052" y="121851"/>
                  </a:cubicBezTo>
                  <a:cubicBezTo>
                    <a:pt x="6488" y="121286"/>
                    <a:pt x="6488" y="121004"/>
                    <a:pt x="6488" y="120440"/>
                  </a:cubicBezTo>
                  <a:cubicBezTo>
                    <a:pt x="6205" y="119876"/>
                    <a:pt x="5359" y="119876"/>
                    <a:pt x="5077" y="119312"/>
                  </a:cubicBezTo>
                  <a:cubicBezTo>
                    <a:pt x="4513" y="118184"/>
                    <a:pt x="4231" y="117338"/>
                    <a:pt x="3103" y="116209"/>
                  </a:cubicBezTo>
                  <a:lnTo>
                    <a:pt x="3103" y="115363"/>
                  </a:lnTo>
                  <a:cubicBezTo>
                    <a:pt x="3103" y="115081"/>
                    <a:pt x="3103" y="115081"/>
                    <a:pt x="2821" y="114799"/>
                  </a:cubicBezTo>
                  <a:cubicBezTo>
                    <a:pt x="2257" y="114799"/>
                    <a:pt x="2538" y="114235"/>
                    <a:pt x="2257" y="113953"/>
                  </a:cubicBezTo>
                  <a:lnTo>
                    <a:pt x="2257" y="113389"/>
                  </a:lnTo>
                  <a:cubicBezTo>
                    <a:pt x="1974" y="113107"/>
                    <a:pt x="1974" y="112825"/>
                    <a:pt x="1974" y="112542"/>
                  </a:cubicBezTo>
                  <a:lnTo>
                    <a:pt x="1974" y="111414"/>
                  </a:lnTo>
                  <a:cubicBezTo>
                    <a:pt x="1410" y="111132"/>
                    <a:pt x="1410" y="111132"/>
                    <a:pt x="1410" y="110850"/>
                  </a:cubicBezTo>
                  <a:lnTo>
                    <a:pt x="1410" y="110286"/>
                  </a:lnTo>
                  <a:cubicBezTo>
                    <a:pt x="846" y="109722"/>
                    <a:pt x="846" y="109158"/>
                    <a:pt x="846" y="108594"/>
                  </a:cubicBezTo>
                  <a:lnTo>
                    <a:pt x="846" y="107465"/>
                  </a:lnTo>
                  <a:lnTo>
                    <a:pt x="0" y="98721"/>
                  </a:lnTo>
                  <a:cubicBezTo>
                    <a:pt x="0" y="98439"/>
                    <a:pt x="282" y="97593"/>
                    <a:pt x="282" y="97029"/>
                  </a:cubicBezTo>
                  <a:cubicBezTo>
                    <a:pt x="564" y="96747"/>
                    <a:pt x="564" y="96747"/>
                    <a:pt x="564" y="96465"/>
                  </a:cubicBezTo>
                  <a:cubicBezTo>
                    <a:pt x="564" y="95901"/>
                    <a:pt x="282" y="95337"/>
                    <a:pt x="282" y="95055"/>
                  </a:cubicBezTo>
                  <a:lnTo>
                    <a:pt x="282" y="91670"/>
                  </a:lnTo>
                  <a:cubicBezTo>
                    <a:pt x="846" y="91388"/>
                    <a:pt x="846" y="91106"/>
                    <a:pt x="846" y="90260"/>
                  </a:cubicBezTo>
                  <a:cubicBezTo>
                    <a:pt x="846" y="89696"/>
                    <a:pt x="564" y="89413"/>
                    <a:pt x="282" y="89131"/>
                  </a:cubicBezTo>
                  <a:cubicBezTo>
                    <a:pt x="1410" y="88849"/>
                    <a:pt x="846" y="87721"/>
                    <a:pt x="1693" y="87157"/>
                  </a:cubicBezTo>
                  <a:lnTo>
                    <a:pt x="1693" y="85747"/>
                  </a:lnTo>
                  <a:cubicBezTo>
                    <a:pt x="1693" y="85465"/>
                    <a:pt x="1974" y="85183"/>
                    <a:pt x="1974" y="84618"/>
                  </a:cubicBezTo>
                  <a:cubicBezTo>
                    <a:pt x="1693" y="84336"/>
                    <a:pt x="1693" y="84336"/>
                    <a:pt x="1693" y="84054"/>
                  </a:cubicBezTo>
                  <a:cubicBezTo>
                    <a:pt x="1693" y="83772"/>
                    <a:pt x="1974" y="83490"/>
                    <a:pt x="1974" y="83208"/>
                  </a:cubicBezTo>
                  <a:lnTo>
                    <a:pt x="2821" y="83208"/>
                  </a:lnTo>
                  <a:cubicBezTo>
                    <a:pt x="3103" y="83208"/>
                    <a:pt x="3103" y="83490"/>
                    <a:pt x="3103" y="83772"/>
                  </a:cubicBezTo>
                  <a:lnTo>
                    <a:pt x="3103" y="84054"/>
                  </a:lnTo>
                  <a:cubicBezTo>
                    <a:pt x="3103" y="84336"/>
                    <a:pt x="3103" y="84336"/>
                    <a:pt x="2821" y="84336"/>
                  </a:cubicBezTo>
                  <a:cubicBezTo>
                    <a:pt x="2821" y="84618"/>
                    <a:pt x="2821" y="84618"/>
                    <a:pt x="3103" y="84618"/>
                  </a:cubicBezTo>
                  <a:lnTo>
                    <a:pt x="3385" y="84618"/>
                  </a:lnTo>
                  <a:cubicBezTo>
                    <a:pt x="3667" y="84618"/>
                    <a:pt x="3667" y="84336"/>
                    <a:pt x="3667" y="84336"/>
                  </a:cubicBezTo>
                  <a:cubicBezTo>
                    <a:pt x="3385" y="84054"/>
                    <a:pt x="3385" y="83772"/>
                    <a:pt x="3385" y="83490"/>
                  </a:cubicBezTo>
                  <a:cubicBezTo>
                    <a:pt x="3385" y="83208"/>
                    <a:pt x="3667" y="82926"/>
                    <a:pt x="3949" y="82644"/>
                  </a:cubicBezTo>
                  <a:lnTo>
                    <a:pt x="4513" y="82644"/>
                  </a:lnTo>
                  <a:cubicBezTo>
                    <a:pt x="4795" y="82644"/>
                    <a:pt x="4795" y="82644"/>
                    <a:pt x="4795" y="82362"/>
                  </a:cubicBezTo>
                  <a:cubicBezTo>
                    <a:pt x="4795" y="82362"/>
                    <a:pt x="4795" y="82080"/>
                    <a:pt x="5077" y="81798"/>
                  </a:cubicBezTo>
                  <a:cubicBezTo>
                    <a:pt x="5359" y="81234"/>
                    <a:pt x="5359" y="80670"/>
                    <a:pt x="5359" y="79823"/>
                  </a:cubicBezTo>
                  <a:lnTo>
                    <a:pt x="4795" y="79259"/>
                  </a:lnTo>
                  <a:cubicBezTo>
                    <a:pt x="4513" y="79823"/>
                    <a:pt x="4231" y="80388"/>
                    <a:pt x="3385" y="80670"/>
                  </a:cubicBezTo>
                  <a:cubicBezTo>
                    <a:pt x="3385" y="80670"/>
                    <a:pt x="3385" y="80952"/>
                    <a:pt x="3667" y="80952"/>
                  </a:cubicBezTo>
                  <a:cubicBezTo>
                    <a:pt x="3667" y="81234"/>
                    <a:pt x="3667" y="81234"/>
                    <a:pt x="4231" y="81516"/>
                  </a:cubicBezTo>
                  <a:lnTo>
                    <a:pt x="3385" y="81798"/>
                  </a:lnTo>
                  <a:cubicBezTo>
                    <a:pt x="3103" y="81798"/>
                    <a:pt x="2821" y="81234"/>
                    <a:pt x="2538" y="81234"/>
                  </a:cubicBezTo>
                  <a:lnTo>
                    <a:pt x="2538" y="80952"/>
                  </a:lnTo>
                  <a:cubicBezTo>
                    <a:pt x="2538" y="80670"/>
                    <a:pt x="2538" y="80670"/>
                    <a:pt x="2821" y="80388"/>
                  </a:cubicBezTo>
                  <a:lnTo>
                    <a:pt x="3103" y="80105"/>
                  </a:lnTo>
                  <a:cubicBezTo>
                    <a:pt x="2821" y="79823"/>
                    <a:pt x="2538" y="78977"/>
                    <a:pt x="2538" y="78695"/>
                  </a:cubicBezTo>
                  <a:cubicBezTo>
                    <a:pt x="2821" y="78413"/>
                    <a:pt x="2821" y="77849"/>
                    <a:pt x="2821" y="77285"/>
                  </a:cubicBezTo>
                  <a:lnTo>
                    <a:pt x="2821" y="77003"/>
                  </a:lnTo>
                  <a:cubicBezTo>
                    <a:pt x="2821" y="76721"/>
                    <a:pt x="3103" y="76721"/>
                    <a:pt x="3103" y="76439"/>
                  </a:cubicBezTo>
                  <a:lnTo>
                    <a:pt x="3103" y="76157"/>
                  </a:lnTo>
                  <a:cubicBezTo>
                    <a:pt x="3103" y="75592"/>
                    <a:pt x="3949" y="75310"/>
                    <a:pt x="3949" y="74746"/>
                  </a:cubicBezTo>
                  <a:cubicBezTo>
                    <a:pt x="3949" y="73900"/>
                    <a:pt x="3949" y="73618"/>
                    <a:pt x="3385" y="73054"/>
                  </a:cubicBezTo>
                  <a:cubicBezTo>
                    <a:pt x="3385" y="72772"/>
                    <a:pt x="3385" y="72490"/>
                    <a:pt x="3667" y="72490"/>
                  </a:cubicBezTo>
                  <a:cubicBezTo>
                    <a:pt x="4513" y="72208"/>
                    <a:pt x="4795" y="71926"/>
                    <a:pt x="4795" y="71362"/>
                  </a:cubicBezTo>
                  <a:cubicBezTo>
                    <a:pt x="4795" y="71079"/>
                    <a:pt x="4513" y="70797"/>
                    <a:pt x="4513" y="70515"/>
                  </a:cubicBezTo>
                  <a:cubicBezTo>
                    <a:pt x="4513" y="70233"/>
                    <a:pt x="4231" y="70233"/>
                    <a:pt x="4231" y="69951"/>
                  </a:cubicBezTo>
                  <a:cubicBezTo>
                    <a:pt x="4231" y="69951"/>
                    <a:pt x="4231" y="69669"/>
                    <a:pt x="4513" y="69669"/>
                  </a:cubicBezTo>
                  <a:cubicBezTo>
                    <a:pt x="4795" y="69387"/>
                    <a:pt x="5359" y="68823"/>
                    <a:pt x="5924" y="68823"/>
                  </a:cubicBezTo>
                  <a:lnTo>
                    <a:pt x="6205" y="68823"/>
                  </a:lnTo>
                  <a:cubicBezTo>
                    <a:pt x="6769" y="68823"/>
                    <a:pt x="6769" y="68541"/>
                    <a:pt x="6769" y="68541"/>
                  </a:cubicBezTo>
                  <a:lnTo>
                    <a:pt x="6769" y="67413"/>
                  </a:lnTo>
                  <a:cubicBezTo>
                    <a:pt x="6769" y="67131"/>
                    <a:pt x="6769" y="67131"/>
                    <a:pt x="6488" y="67131"/>
                  </a:cubicBezTo>
                  <a:lnTo>
                    <a:pt x="6488" y="64310"/>
                  </a:lnTo>
                  <a:cubicBezTo>
                    <a:pt x="6488" y="64028"/>
                    <a:pt x="6488" y="63746"/>
                    <a:pt x="6769" y="63464"/>
                  </a:cubicBezTo>
                  <a:cubicBezTo>
                    <a:pt x="7052" y="63464"/>
                    <a:pt x="7052" y="63182"/>
                    <a:pt x="7052" y="63182"/>
                  </a:cubicBezTo>
                  <a:cubicBezTo>
                    <a:pt x="7052" y="62900"/>
                    <a:pt x="6769" y="62618"/>
                    <a:pt x="6769" y="62054"/>
                  </a:cubicBezTo>
                  <a:cubicBezTo>
                    <a:pt x="7334" y="62054"/>
                    <a:pt x="7334" y="61489"/>
                    <a:pt x="7616" y="60925"/>
                  </a:cubicBezTo>
                  <a:cubicBezTo>
                    <a:pt x="7898" y="60079"/>
                    <a:pt x="8180" y="58951"/>
                    <a:pt x="9026" y="58105"/>
                  </a:cubicBezTo>
                  <a:cubicBezTo>
                    <a:pt x="8744" y="57823"/>
                    <a:pt x="8744" y="57541"/>
                    <a:pt x="8744" y="57541"/>
                  </a:cubicBezTo>
                  <a:lnTo>
                    <a:pt x="8744" y="56694"/>
                  </a:lnTo>
                  <a:cubicBezTo>
                    <a:pt x="8744" y="56412"/>
                    <a:pt x="8744" y="56130"/>
                    <a:pt x="9026" y="55848"/>
                  </a:cubicBezTo>
                  <a:lnTo>
                    <a:pt x="9872" y="55002"/>
                  </a:lnTo>
                  <a:lnTo>
                    <a:pt x="9872" y="53310"/>
                  </a:lnTo>
                  <a:cubicBezTo>
                    <a:pt x="9872" y="53310"/>
                    <a:pt x="10154" y="53028"/>
                    <a:pt x="10154" y="52745"/>
                  </a:cubicBezTo>
                  <a:cubicBezTo>
                    <a:pt x="10154" y="52463"/>
                    <a:pt x="9872" y="52181"/>
                    <a:pt x="9872" y="51899"/>
                  </a:cubicBezTo>
                  <a:cubicBezTo>
                    <a:pt x="9872" y="51617"/>
                    <a:pt x="9872" y="51053"/>
                    <a:pt x="10154" y="51053"/>
                  </a:cubicBezTo>
                  <a:lnTo>
                    <a:pt x="11846" y="49643"/>
                  </a:lnTo>
                  <a:lnTo>
                    <a:pt x="11846" y="49079"/>
                  </a:lnTo>
                  <a:cubicBezTo>
                    <a:pt x="11846" y="48233"/>
                    <a:pt x="11846" y="47668"/>
                    <a:pt x="12410" y="47386"/>
                  </a:cubicBezTo>
                  <a:lnTo>
                    <a:pt x="12410" y="46822"/>
                  </a:lnTo>
                  <a:cubicBezTo>
                    <a:pt x="12410" y="46540"/>
                    <a:pt x="12410" y="46540"/>
                    <a:pt x="12693" y="46540"/>
                  </a:cubicBezTo>
                  <a:lnTo>
                    <a:pt x="12693" y="45130"/>
                  </a:lnTo>
                  <a:cubicBezTo>
                    <a:pt x="13257" y="44848"/>
                    <a:pt x="13257" y="44002"/>
                    <a:pt x="13821" y="43720"/>
                  </a:cubicBezTo>
                  <a:cubicBezTo>
                    <a:pt x="13821" y="43437"/>
                    <a:pt x="14103" y="42591"/>
                    <a:pt x="14103" y="42309"/>
                  </a:cubicBezTo>
                  <a:cubicBezTo>
                    <a:pt x="14385" y="42027"/>
                    <a:pt x="14103" y="41745"/>
                    <a:pt x="14667" y="41181"/>
                  </a:cubicBezTo>
                  <a:cubicBezTo>
                    <a:pt x="14667" y="40899"/>
                    <a:pt x="14385" y="40899"/>
                    <a:pt x="14385" y="40617"/>
                  </a:cubicBezTo>
                  <a:cubicBezTo>
                    <a:pt x="14385" y="40335"/>
                    <a:pt x="14667" y="40053"/>
                    <a:pt x="14949" y="39771"/>
                  </a:cubicBezTo>
                  <a:cubicBezTo>
                    <a:pt x="15513" y="39771"/>
                    <a:pt x="15796" y="39489"/>
                    <a:pt x="15796" y="38924"/>
                  </a:cubicBezTo>
                  <a:lnTo>
                    <a:pt x="15796" y="37796"/>
                  </a:lnTo>
                  <a:lnTo>
                    <a:pt x="16360" y="36950"/>
                  </a:lnTo>
                  <a:cubicBezTo>
                    <a:pt x="16641" y="36386"/>
                    <a:pt x="17206" y="36104"/>
                    <a:pt x="17206" y="35822"/>
                  </a:cubicBezTo>
                  <a:lnTo>
                    <a:pt x="16924" y="35540"/>
                  </a:lnTo>
                  <a:cubicBezTo>
                    <a:pt x="16924" y="35258"/>
                    <a:pt x="17488" y="34976"/>
                    <a:pt x="17488" y="34411"/>
                  </a:cubicBezTo>
                  <a:cubicBezTo>
                    <a:pt x="17488" y="33847"/>
                    <a:pt x="17770" y="33565"/>
                    <a:pt x="18052" y="33283"/>
                  </a:cubicBezTo>
                  <a:cubicBezTo>
                    <a:pt x="18334" y="33001"/>
                    <a:pt x="18334" y="32719"/>
                    <a:pt x="18898" y="32437"/>
                  </a:cubicBezTo>
                  <a:cubicBezTo>
                    <a:pt x="19462" y="32437"/>
                    <a:pt x="19180" y="31591"/>
                    <a:pt x="19744" y="31309"/>
                  </a:cubicBezTo>
                  <a:cubicBezTo>
                    <a:pt x="20027" y="31027"/>
                    <a:pt x="20308" y="30745"/>
                    <a:pt x="20308" y="30463"/>
                  </a:cubicBezTo>
                  <a:cubicBezTo>
                    <a:pt x="20308" y="30463"/>
                    <a:pt x="20308" y="30181"/>
                    <a:pt x="20027" y="29899"/>
                  </a:cubicBezTo>
                  <a:cubicBezTo>
                    <a:pt x="20308" y="29334"/>
                    <a:pt x="20308" y="28770"/>
                    <a:pt x="20872" y="28488"/>
                  </a:cubicBezTo>
                  <a:cubicBezTo>
                    <a:pt x="21437" y="28206"/>
                    <a:pt x="21437" y="27360"/>
                    <a:pt x="21437" y="27360"/>
                  </a:cubicBezTo>
                  <a:cubicBezTo>
                    <a:pt x="22283" y="26796"/>
                    <a:pt x="22283" y="26232"/>
                    <a:pt x="22283" y="25950"/>
                  </a:cubicBezTo>
                  <a:cubicBezTo>
                    <a:pt x="22847" y="25668"/>
                    <a:pt x="23129" y="25103"/>
                    <a:pt x="23129" y="24821"/>
                  </a:cubicBezTo>
                  <a:lnTo>
                    <a:pt x="23129" y="24539"/>
                  </a:lnTo>
                  <a:cubicBezTo>
                    <a:pt x="23129" y="24257"/>
                    <a:pt x="23693" y="23975"/>
                    <a:pt x="23693" y="23975"/>
                  </a:cubicBezTo>
                  <a:cubicBezTo>
                    <a:pt x="23975" y="23975"/>
                    <a:pt x="24539" y="23975"/>
                    <a:pt x="24539" y="23693"/>
                  </a:cubicBezTo>
                  <a:lnTo>
                    <a:pt x="25103" y="22847"/>
                  </a:lnTo>
                  <a:cubicBezTo>
                    <a:pt x="25386" y="22001"/>
                    <a:pt x="25950" y="21437"/>
                    <a:pt x="27360" y="20308"/>
                  </a:cubicBezTo>
                  <a:cubicBezTo>
                    <a:pt x="27924" y="19744"/>
                    <a:pt x="28488" y="18898"/>
                    <a:pt x="28770" y="18052"/>
                  </a:cubicBezTo>
                  <a:cubicBezTo>
                    <a:pt x="29616" y="17488"/>
                    <a:pt x="29616" y="16642"/>
                    <a:pt x="30744" y="16360"/>
                  </a:cubicBezTo>
                  <a:cubicBezTo>
                    <a:pt x="31027" y="16360"/>
                    <a:pt x="31309" y="16078"/>
                    <a:pt x="31591" y="15795"/>
                  </a:cubicBezTo>
                  <a:cubicBezTo>
                    <a:pt x="31873" y="15513"/>
                    <a:pt x="32155" y="14667"/>
                    <a:pt x="33001" y="14385"/>
                  </a:cubicBezTo>
                  <a:lnTo>
                    <a:pt x="35540" y="14385"/>
                  </a:lnTo>
                  <a:cubicBezTo>
                    <a:pt x="35822" y="14385"/>
                    <a:pt x="35540" y="14385"/>
                    <a:pt x="36104" y="15231"/>
                  </a:cubicBezTo>
                  <a:lnTo>
                    <a:pt x="36950" y="15231"/>
                  </a:lnTo>
                  <a:cubicBezTo>
                    <a:pt x="37232" y="14667"/>
                    <a:pt x="37514" y="14385"/>
                    <a:pt x="38078" y="14385"/>
                  </a:cubicBezTo>
                  <a:cubicBezTo>
                    <a:pt x="38642" y="14385"/>
                    <a:pt x="39206" y="14667"/>
                    <a:pt x="39489" y="15231"/>
                  </a:cubicBezTo>
                  <a:cubicBezTo>
                    <a:pt x="39489" y="15231"/>
                    <a:pt x="39771" y="15513"/>
                    <a:pt x="40053" y="15513"/>
                  </a:cubicBezTo>
                  <a:cubicBezTo>
                    <a:pt x="40053" y="16360"/>
                    <a:pt x="41181" y="16642"/>
                    <a:pt x="42027" y="16642"/>
                  </a:cubicBezTo>
                  <a:cubicBezTo>
                    <a:pt x="42309" y="17206"/>
                    <a:pt x="42592" y="16642"/>
                    <a:pt x="42873" y="17488"/>
                  </a:cubicBezTo>
                  <a:lnTo>
                    <a:pt x="43156" y="17488"/>
                  </a:lnTo>
                  <a:lnTo>
                    <a:pt x="43156" y="16642"/>
                  </a:lnTo>
                  <a:cubicBezTo>
                    <a:pt x="42873" y="16360"/>
                    <a:pt x="42873" y="16360"/>
                    <a:pt x="42873" y="16078"/>
                  </a:cubicBezTo>
                  <a:lnTo>
                    <a:pt x="42873" y="15513"/>
                  </a:lnTo>
                  <a:lnTo>
                    <a:pt x="44002" y="15513"/>
                  </a:lnTo>
                  <a:cubicBezTo>
                    <a:pt x="44002" y="15231"/>
                    <a:pt x="43437" y="14667"/>
                    <a:pt x="43437" y="14103"/>
                  </a:cubicBezTo>
                  <a:cubicBezTo>
                    <a:pt x="43156" y="13539"/>
                    <a:pt x="43156" y="13257"/>
                    <a:pt x="42309" y="12693"/>
                  </a:cubicBezTo>
                  <a:cubicBezTo>
                    <a:pt x="42027" y="12693"/>
                    <a:pt x="42027" y="12411"/>
                    <a:pt x="42027" y="12411"/>
                  </a:cubicBezTo>
                  <a:cubicBezTo>
                    <a:pt x="42027" y="11565"/>
                    <a:pt x="42027" y="10718"/>
                    <a:pt x="41463" y="10154"/>
                  </a:cubicBezTo>
                  <a:cubicBezTo>
                    <a:pt x="41181" y="10154"/>
                    <a:pt x="41181" y="9872"/>
                    <a:pt x="41181" y="9590"/>
                  </a:cubicBezTo>
                  <a:cubicBezTo>
                    <a:pt x="41181" y="9308"/>
                    <a:pt x="41181" y="9308"/>
                    <a:pt x="41463" y="9026"/>
                  </a:cubicBezTo>
                  <a:lnTo>
                    <a:pt x="41463" y="8744"/>
                  </a:lnTo>
                  <a:cubicBezTo>
                    <a:pt x="41463" y="8462"/>
                    <a:pt x="41745" y="8180"/>
                    <a:pt x="42027" y="7898"/>
                  </a:cubicBezTo>
                  <a:cubicBezTo>
                    <a:pt x="42873" y="7616"/>
                    <a:pt x="43720" y="7052"/>
                    <a:pt x="44284" y="6487"/>
                  </a:cubicBezTo>
                  <a:cubicBezTo>
                    <a:pt x="44566" y="5641"/>
                    <a:pt x="45412" y="4795"/>
                    <a:pt x="46258" y="4231"/>
                  </a:cubicBezTo>
                  <a:cubicBezTo>
                    <a:pt x="46540" y="4231"/>
                    <a:pt x="46822" y="3667"/>
                    <a:pt x="47104" y="3385"/>
                  </a:cubicBezTo>
                  <a:cubicBezTo>
                    <a:pt x="47386" y="3103"/>
                    <a:pt x="47668" y="2821"/>
                    <a:pt x="47668" y="2539"/>
                  </a:cubicBezTo>
                  <a:lnTo>
                    <a:pt x="49361" y="1410"/>
                  </a:lnTo>
                  <a:cubicBezTo>
                    <a:pt x="49925" y="1128"/>
                    <a:pt x="49925" y="846"/>
                    <a:pt x="50489" y="846"/>
                  </a:cubicBezTo>
                  <a:lnTo>
                    <a:pt x="51617" y="846"/>
                  </a:lnTo>
                  <a:cubicBezTo>
                    <a:pt x="52181" y="846"/>
                    <a:pt x="52745" y="846"/>
                    <a:pt x="52745" y="282"/>
                  </a:cubicBezTo>
                  <a:lnTo>
                    <a:pt x="55002" y="282"/>
                  </a:lnTo>
                  <a:cubicBezTo>
                    <a:pt x="55284" y="0"/>
                    <a:pt x="55848" y="0"/>
                    <a:pt x="56130" y="0"/>
                  </a:cubicBezTo>
                  <a:lnTo>
                    <a:pt x="56976" y="0"/>
                  </a:lnTo>
                  <a:cubicBezTo>
                    <a:pt x="57823" y="0"/>
                    <a:pt x="58669" y="282"/>
                    <a:pt x="59233" y="846"/>
                  </a:cubicBezTo>
                  <a:cubicBezTo>
                    <a:pt x="59797" y="1128"/>
                    <a:pt x="60361" y="1410"/>
                    <a:pt x="60361" y="1974"/>
                  </a:cubicBezTo>
                  <a:lnTo>
                    <a:pt x="60361" y="2256"/>
                  </a:lnTo>
                  <a:cubicBezTo>
                    <a:pt x="60361" y="2256"/>
                    <a:pt x="60926" y="2256"/>
                    <a:pt x="60926" y="2539"/>
                  </a:cubicBezTo>
                  <a:cubicBezTo>
                    <a:pt x="61490" y="3103"/>
                    <a:pt x="62336" y="3103"/>
                    <a:pt x="63182" y="3667"/>
                  </a:cubicBezTo>
                  <a:cubicBezTo>
                    <a:pt x="64028" y="4231"/>
                    <a:pt x="64874" y="4231"/>
                    <a:pt x="64874" y="4795"/>
                  </a:cubicBezTo>
                  <a:lnTo>
                    <a:pt x="66567" y="6205"/>
                  </a:lnTo>
                  <a:cubicBezTo>
                    <a:pt x="66848" y="6769"/>
                    <a:pt x="67131" y="7334"/>
                    <a:pt x="67131" y="7898"/>
                  </a:cubicBezTo>
                  <a:cubicBezTo>
                    <a:pt x="66848" y="8462"/>
                    <a:pt x="66848" y="8744"/>
                    <a:pt x="66848" y="8744"/>
                  </a:cubicBezTo>
                  <a:cubicBezTo>
                    <a:pt x="67412" y="9308"/>
                    <a:pt x="67131" y="9308"/>
                    <a:pt x="67131" y="9308"/>
                  </a:cubicBezTo>
                  <a:cubicBezTo>
                    <a:pt x="66567" y="9308"/>
                    <a:pt x="66567" y="9308"/>
                    <a:pt x="66567" y="9590"/>
                  </a:cubicBezTo>
                  <a:lnTo>
                    <a:pt x="66567" y="10718"/>
                  </a:lnTo>
                  <a:cubicBezTo>
                    <a:pt x="66567" y="10718"/>
                    <a:pt x="66567" y="11000"/>
                    <a:pt x="66848" y="11000"/>
                  </a:cubicBezTo>
                  <a:lnTo>
                    <a:pt x="67977" y="11000"/>
                  </a:lnTo>
                  <a:cubicBezTo>
                    <a:pt x="67977" y="11000"/>
                    <a:pt x="68259" y="11000"/>
                    <a:pt x="68259" y="11282"/>
                  </a:cubicBezTo>
                  <a:cubicBezTo>
                    <a:pt x="68259" y="11565"/>
                    <a:pt x="67977" y="11847"/>
                    <a:pt x="67977" y="11847"/>
                  </a:cubicBezTo>
                  <a:cubicBezTo>
                    <a:pt x="67695" y="12129"/>
                    <a:pt x="67412" y="12693"/>
                    <a:pt x="67131" y="12693"/>
                  </a:cubicBezTo>
                  <a:lnTo>
                    <a:pt x="66284" y="12693"/>
                  </a:lnTo>
                  <a:cubicBezTo>
                    <a:pt x="66284" y="12975"/>
                    <a:pt x="66284" y="13539"/>
                    <a:pt x="66567" y="13539"/>
                  </a:cubicBezTo>
                  <a:cubicBezTo>
                    <a:pt x="67412" y="14103"/>
                    <a:pt x="67977" y="15513"/>
                    <a:pt x="68823" y="15513"/>
                  </a:cubicBezTo>
                  <a:cubicBezTo>
                    <a:pt x="69105" y="15513"/>
                    <a:pt x="69105" y="15795"/>
                    <a:pt x="69105" y="16078"/>
                  </a:cubicBezTo>
                  <a:cubicBezTo>
                    <a:pt x="69951" y="16360"/>
                    <a:pt x="70515" y="16924"/>
                    <a:pt x="71079" y="17488"/>
                  </a:cubicBezTo>
                  <a:lnTo>
                    <a:pt x="71362" y="17488"/>
                  </a:lnTo>
                  <a:cubicBezTo>
                    <a:pt x="72208" y="17488"/>
                    <a:pt x="72490" y="17770"/>
                    <a:pt x="72772" y="18334"/>
                  </a:cubicBezTo>
                  <a:cubicBezTo>
                    <a:pt x="73336" y="18616"/>
                    <a:pt x="74182" y="18616"/>
                    <a:pt x="74182" y="19180"/>
                  </a:cubicBezTo>
                  <a:cubicBezTo>
                    <a:pt x="74746" y="19180"/>
                    <a:pt x="74746" y="19462"/>
                    <a:pt x="75029" y="19462"/>
                  </a:cubicBezTo>
                  <a:cubicBezTo>
                    <a:pt x="75593" y="19744"/>
                    <a:pt x="75593" y="20026"/>
                    <a:pt x="75874" y="20026"/>
                  </a:cubicBezTo>
                  <a:cubicBezTo>
                    <a:pt x="77285" y="20026"/>
                    <a:pt x="78131" y="20590"/>
                    <a:pt x="78695" y="21155"/>
                  </a:cubicBezTo>
                  <a:cubicBezTo>
                    <a:pt x="78977" y="21437"/>
                    <a:pt x="79260" y="21437"/>
                    <a:pt x="79260" y="21437"/>
                  </a:cubicBezTo>
                  <a:cubicBezTo>
                    <a:pt x="80105" y="21437"/>
                    <a:pt x="80670" y="21437"/>
                    <a:pt x="80952" y="21719"/>
                  </a:cubicBezTo>
                  <a:cubicBezTo>
                    <a:pt x="80952" y="22001"/>
                    <a:pt x="80952" y="22001"/>
                    <a:pt x="81234" y="22001"/>
                  </a:cubicBezTo>
                  <a:lnTo>
                    <a:pt x="84054" y="22001"/>
                  </a:lnTo>
                  <a:cubicBezTo>
                    <a:pt x="84901" y="22565"/>
                    <a:pt x="85465" y="22565"/>
                    <a:pt x="85746" y="22565"/>
                  </a:cubicBezTo>
                  <a:cubicBezTo>
                    <a:pt x="86029" y="22565"/>
                    <a:pt x="86593" y="23129"/>
                    <a:pt x="87157" y="23129"/>
                  </a:cubicBezTo>
                  <a:cubicBezTo>
                    <a:pt x="87439" y="23129"/>
                    <a:pt x="87439" y="23129"/>
                    <a:pt x="87721" y="22847"/>
                  </a:cubicBezTo>
                  <a:lnTo>
                    <a:pt x="89132" y="22847"/>
                  </a:lnTo>
                  <a:cubicBezTo>
                    <a:pt x="89977" y="22847"/>
                    <a:pt x="89977" y="23411"/>
                    <a:pt x="90542" y="23411"/>
                  </a:cubicBezTo>
                  <a:lnTo>
                    <a:pt x="95337" y="23411"/>
                  </a:lnTo>
                  <a:cubicBezTo>
                    <a:pt x="95619" y="23411"/>
                    <a:pt x="96183" y="23411"/>
                    <a:pt x="96465" y="22847"/>
                  </a:cubicBezTo>
                  <a:lnTo>
                    <a:pt x="99850" y="22847"/>
                  </a:lnTo>
                  <a:cubicBezTo>
                    <a:pt x="100132" y="23129"/>
                    <a:pt x="100414" y="23129"/>
                    <a:pt x="100414" y="23129"/>
                  </a:cubicBezTo>
                  <a:cubicBezTo>
                    <a:pt x="100696" y="23129"/>
                    <a:pt x="100696" y="22565"/>
                    <a:pt x="101260" y="22565"/>
                  </a:cubicBezTo>
                  <a:lnTo>
                    <a:pt x="102670" y="22565"/>
                  </a:lnTo>
                  <a:cubicBezTo>
                    <a:pt x="103235" y="22565"/>
                    <a:pt x="104080" y="22565"/>
                    <a:pt x="103799" y="22283"/>
                  </a:cubicBezTo>
                  <a:cubicBezTo>
                    <a:pt x="104363" y="22001"/>
                    <a:pt x="104927" y="22001"/>
                    <a:pt x="105491" y="22001"/>
                  </a:cubicBezTo>
                  <a:cubicBezTo>
                    <a:pt x="105491" y="21719"/>
                    <a:pt x="106055" y="21719"/>
                    <a:pt x="106337" y="21719"/>
                  </a:cubicBezTo>
                  <a:lnTo>
                    <a:pt x="107466" y="21719"/>
                  </a:lnTo>
                  <a:cubicBezTo>
                    <a:pt x="107747" y="21719"/>
                    <a:pt x="108311" y="21437"/>
                    <a:pt x="108876" y="21437"/>
                  </a:cubicBezTo>
                  <a:lnTo>
                    <a:pt x="110286" y="21437"/>
                  </a:lnTo>
                  <a:cubicBezTo>
                    <a:pt x="110850" y="20873"/>
                    <a:pt x="111697" y="20590"/>
                    <a:pt x="111978" y="20590"/>
                  </a:cubicBezTo>
                  <a:cubicBezTo>
                    <a:pt x="112542" y="20026"/>
                    <a:pt x="113389" y="20026"/>
                    <a:pt x="113953" y="20026"/>
                  </a:cubicBezTo>
                  <a:cubicBezTo>
                    <a:pt x="114517" y="20026"/>
                    <a:pt x="114235" y="19462"/>
                    <a:pt x="115081" y="19462"/>
                  </a:cubicBezTo>
                  <a:lnTo>
                    <a:pt x="115645" y="19462"/>
                  </a:lnTo>
                  <a:cubicBezTo>
                    <a:pt x="115928" y="19462"/>
                    <a:pt x="115928" y="19462"/>
                    <a:pt x="116209" y="19180"/>
                  </a:cubicBezTo>
                  <a:cubicBezTo>
                    <a:pt x="116492" y="19180"/>
                    <a:pt x="117056" y="19180"/>
                    <a:pt x="117620" y="18616"/>
                  </a:cubicBezTo>
                  <a:lnTo>
                    <a:pt x="117902" y="18616"/>
                  </a:lnTo>
                  <a:cubicBezTo>
                    <a:pt x="118183" y="18616"/>
                    <a:pt x="118748" y="18334"/>
                    <a:pt x="119312" y="18052"/>
                  </a:cubicBezTo>
                  <a:cubicBezTo>
                    <a:pt x="119594" y="17770"/>
                    <a:pt x="120158" y="17770"/>
                    <a:pt x="120440" y="17770"/>
                  </a:cubicBezTo>
                  <a:lnTo>
                    <a:pt x="121569" y="17770"/>
                  </a:lnTo>
                  <a:lnTo>
                    <a:pt x="121850" y="18052"/>
                  </a:lnTo>
                  <a:lnTo>
                    <a:pt x="121850" y="18334"/>
                  </a:lnTo>
                  <a:lnTo>
                    <a:pt x="122979" y="19744"/>
                  </a:lnTo>
                  <a:cubicBezTo>
                    <a:pt x="122979" y="20026"/>
                    <a:pt x="122414" y="20308"/>
                    <a:pt x="121850" y="21155"/>
                  </a:cubicBezTo>
                  <a:cubicBezTo>
                    <a:pt x="121004" y="21719"/>
                    <a:pt x="120440" y="22001"/>
                    <a:pt x="120440" y="22847"/>
                  </a:cubicBezTo>
                  <a:lnTo>
                    <a:pt x="120440" y="23411"/>
                  </a:lnTo>
                  <a:cubicBezTo>
                    <a:pt x="120440" y="23411"/>
                    <a:pt x="120158" y="23693"/>
                    <a:pt x="119312" y="23693"/>
                  </a:cubicBezTo>
                  <a:lnTo>
                    <a:pt x="118748" y="24539"/>
                  </a:lnTo>
                  <a:cubicBezTo>
                    <a:pt x="119030" y="24539"/>
                    <a:pt x="119312" y="24821"/>
                    <a:pt x="119312" y="25103"/>
                  </a:cubicBezTo>
                  <a:lnTo>
                    <a:pt x="119312" y="25386"/>
                  </a:lnTo>
                  <a:cubicBezTo>
                    <a:pt x="119030" y="25668"/>
                    <a:pt x="118748" y="26514"/>
                    <a:pt x="117902" y="27360"/>
                  </a:cubicBezTo>
                  <a:cubicBezTo>
                    <a:pt x="117902" y="27360"/>
                    <a:pt x="118466" y="27642"/>
                    <a:pt x="118466" y="27924"/>
                  </a:cubicBezTo>
                  <a:lnTo>
                    <a:pt x="118183" y="27924"/>
                  </a:lnTo>
                  <a:lnTo>
                    <a:pt x="117620" y="28488"/>
                  </a:lnTo>
                  <a:cubicBezTo>
                    <a:pt x="117338" y="29052"/>
                    <a:pt x="116773" y="29334"/>
                    <a:pt x="116492" y="29334"/>
                  </a:cubicBezTo>
                  <a:lnTo>
                    <a:pt x="115645" y="29334"/>
                  </a:lnTo>
                  <a:cubicBezTo>
                    <a:pt x="115081" y="29899"/>
                    <a:pt x="114799" y="30181"/>
                    <a:pt x="114517" y="30181"/>
                  </a:cubicBezTo>
                  <a:cubicBezTo>
                    <a:pt x="114235" y="30181"/>
                    <a:pt x="114235" y="29899"/>
                    <a:pt x="113953" y="29899"/>
                  </a:cubicBezTo>
                  <a:cubicBezTo>
                    <a:pt x="113953" y="29616"/>
                    <a:pt x="113671" y="29899"/>
                    <a:pt x="113671" y="29899"/>
                  </a:cubicBezTo>
                  <a:lnTo>
                    <a:pt x="113671" y="30181"/>
                  </a:lnTo>
                  <a:cubicBezTo>
                    <a:pt x="113671" y="30745"/>
                    <a:pt x="112542" y="30745"/>
                    <a:pt x="112261" y="31591"/>
                  </a:cubicBezTo>
                  <a:cubicBezTo>
                    <a:pt x="112261" y="32155"/>
                    <a:pt x="112261" y="32437"/>
                    <a:pt x="111697" y="32719"/>
                  </a:cubicBezTo>
                  <a:lnTo>
                    <a:pt x="110004" y="32719"/>
                  </a:lnTo>
                  <a:lnTo>
                    <a:pt x="110004" y="33283"/>
                  </a:lnTo>
                  <a:cubicBezTo>
                    <a:pt x="110004" y="33283"/>
                    <a:pt x="109722" y="33847"/>
                    <a:pt x="109722" y="34129"/>
                  </a:cubicBezTo>
                  <a:lnTo>
                    <a:pt x="109722" y="34694"/>
                  </a:lnTo>
                  <a:cubicBezTo>
                    <a:pt x="110568" y="34694"/>
                    <a:pt x="110850" y="35258"/>
                    <a:pt x="111132" y="35258"/>
                  </a:cubicBezTo>
                  <a:cubicBezTo>
                    <a:pt x="111697" y="35258"/>
                    <a:pt x="112261" y="35258"/>
                    <a:pt x="112261" y="35540"/>
                  </a:cubicBezTo>
                  <a:cubicBezTo>
                    <a:pt x="112261" y="35540"/>
                    <a:pt x="112542" y="35540"/>
                    <a:pt x="112542" y="35822"/>
                  </a:cubicBezTo>
                  <a:lnTo>
                    <a:pt x="112542" y="36104"/>
                  </a:lnTo>
                  <a:cubicBezTo>
                    <a:pt x="112261" y="36386"/>
                    <a:pt x="111414" y="36386"/>
                    <a:pt x="111132" y="36950"/>
                  </a:cubicBezTo>
                  <a:lnTo>
                    <a:pt x="109722" y="36950"/>
                  </a:lnTo>
                  <a:cubicBezTo>
                    <a:pt x="109440" y="36668"/>
                    <a:pt x="109158" y="36668"/>
                    <a:pt x="109158" y="36668"/>
                  </a:cubicBezTo>
                  <a:cubicBezTo>
                    <a:pt x="109158" y="36668"/>
                    <a:pt x="108876" y="36668"/>
                    <a:pt x="108876" y="36950"/>
                  </a:cubicBezTo>
                  <a:lnTo>
                    <a:pt x="107747" y="36950"/>
                  </a:lnTo>
                  <a:cubicBezTo>
                    <a:pt x="107183" y="36950"/>
                    <a:pt x="106901" y="36950"/>
                    <a:pt x="106337" y="37232"/>
                  </a:cubicBezTo>
                  <a:cubicBezTo>
                    <a:pt x="106337" y="37514"/>
                    <a:pt x="106055" y="37514"/>
                    <a:pt x="106055" y="37514"/>
                  </a:cubicBezTo>
                  <a:cubicBezTo>
                    <a:pt x="105773" y="37514"/>
                    <a:pt x="105491" y="37232"/>
                    <a:pt x="104927" y="37232"/>
                  </a:cubicBezTo>
                  <a:cubicBezTo>
                    <a:pt x="104645" y="37232"/>
                    <a:pt x="104363" y="37232"/>
                    <a:pt x="104363" y="36950"/>
                  </a:cubicBezTo>
                  <a:cubicBezTo>
                    <a:pt x="104080" y="36950"/>
                    <a:pt x="103799" y="36950"/>
                    <a:pt x="103235" y="37232"/>
                  </a:cubicBezTo>
                  <a:cubicBezTo>
                    <a:pt x="102952" y="37232"/>
                    <a:pt x="102670" y="37796"/>
                    <a:pt x="102388" y="37796"/>
                  </a:cubicBezTo>
                  <a:lnTo>
                    <a:pt x="102106" y="37796"/>
                  </a:lnTo>
                  <a:cubicBezTo>
                    <a:pt x="101824" y="37232"/>
                    <a:pt x="101260" y="37232"/>
                    <a:pt x="100414" y="37232"/>
                  </a:cubicBezTo>
                  <a:lnTo>
                    <a:pt x="98439" y="37232"/>
                  </a:lnTo>
                  <a:cubicBezTo>
                    <a:pt x="98158" y="37232"/>
                    <a:pt x="97875" y="37232"/>
                    <a:pt x="97875" y="36950"/>
                  </a:cubicBezTo>
                  <a:cubicBezTo>
                    <a:pt x="97311" y="36950"/>
                    <a:pt x="97311" y="36950"/>
                    <a:pt x="96465" y="37232"/>
                  </a:cubicBezTo>
                  <a:lnTo>
                    <a:pt x="96183" y="37232"/>
                  </a:lnTo>
                  <a:cubicBezTo>
                    <a:pt x="95337" y="37232"/>
                    <a:pt x="94773" y="37796"/>
                    <a:pt x="94491" y="38360"/>
                  </a:cubicBezTo>
                  <a:cubicBezTo>
                    <a:pt x="94208" y="38642"/>
                    <a:pt x="93927" y="38924"/>
                    <a:pt x="93363" y="38924"/>
                  </a:cubicBezTo>
                  <a:lnTo>
                    <a:pt x="92798" y="38924"/>
                  </a:lnTo>
                  <a:cubicBezTo>
                    <a:pt x="91670" y="38924"/>
                    <a:pt x="90260" y="38360"/>
                    <a:pt x="89132" y="37232"/>
                  </a:cubicBezTo>
                  <a:lnTo>
                    <a:pt x="88849" y="36950"/>
                  </a:lnTo>
                  <a:lnTo>
                    <a:pt x="88567" y="37232"/>
                  </a:lnTo>
                  <a:cubicBezTo>
                    <a:pt x="88285" y="37514"/>
                    <a:pt x="87721" y="38078"/>
                    <a:pt x="87157" y="38078"/>
                  </a:cubicBezTo>
                  <a:cubicBezTo>
                    <a:pt x="86875" y="38078"/>
                    <a:pt x="86875" y="38078"/>
                    <a:pt x="86593" y="37796"/>
                  </a:cubicBezTo>
                  <a:cubicBezTo>
                    <a:pt x="86029" y="37796"/>
                    <a:pt x="85465" y="38078"/>
                    <a:pt x="85182" y="38078"/>
                  </a:cubicBezTo>
                  <a:cubicBezTo>
                    <a:pt x="84618" y="38078"/>
                    <a:pt x="84336" y="37796"/>
                    <a:pt x="84054" y="37232"/>
                  </a:cubicBezTo>
                  <a:lnTo>
                    <a:pt x="81234" y="37232"/>
                  </a:lnTo>
                  <a:cubicBezTo>
                    <a:pt x="80952" y="36950"/>
                    <a:pt x="80105" y="37232"/>
                    <a:pt x="79541" y="36668"/>
                  </a:cubicBezTo>
                  <a:lnTo>
                    <a:pt x="78413" y="36668"/>
                  </a:lnTo>
                  <a:cubicBezTo>
                    <a:pt x="78131" y="36668"/>
                    <a:pt x="77849" y="36668"/>
                    <a:pt x="77567" y="36386"/>
                  </a:cubicBezTo>
                  <a:lnTo>
                    <a:pt x="76157" y="36386"/>
                  </a:lnTo>
                  <a:cubicBezTo>
                    <a:pt x="75874" y="36386"/>
                    <a:pt x="75310" y="36104"/>
                    <a:pt x="75029" y="36104"/>
                  </a:cubicBezTo>
                  <a:cubicBezTo>
                    <a:pt x="74746" y="36104"/>
                    <a:pt x="74746" y="36104"/>
                    <a:pt x="74464" y="36386"/>
                  </a:cubicBezTo>
                  <a:cubicBezTo>
                    <a:pt x="74464" y="36668"/>
                    <a:pt x="74182" y="36668"/>
                    <a:pt x="74182" y="36668"/>
                  </a:cubicBezTo>
                  <a:lnTo>
                    <a:pt x="74182" y="36386"/>
                  </a:lnTo>
                  <a:cubicBezTo>
                    <a:pt x="73618" y="35822"/>
                    <a:pt x="72772" y="35822"/>
                    <a:pt x="71643" y="35258"/>
                  </a:cubicBezTo>
                  <a:cubicBezTo>
                    <a:pt x="71643" y="34976"/>
                    <a:pt x="71362" y="34976"/>
                    <a:pt x="71362" y="34976"/>
                  </a:cubicBezTo>
                  <a:lnTo>
                    <a:pt x="69387" y="34976"/>
                  </a:lnTo>
                  <a:cubicBezTo>
                    <a:pt x="68823" y="34694"/>
                    <a:pt x="68259" y="34411"/>
                    <a:pt x="67977" y="34411"/>
                  </a:cubicBezTo>
                  <a:lnTo>
                    <a:pt x="67695" y="34411"/>
                  </a:lnTo>
                  <a:cubicBezTo>
                    <a:pt x="67131" y="34411"/>
                    <a:pt x="67131" y="34694"/>
                    <a:pt x="67131" y="34976"/>
                  </a:cubicBezTo>
                  <a:cubicBezTo>
                    <a:pt x="67412" y="35540"/>
                    <a:pt x="67695" y="36386"/>
                    <a:pt x="67695" y="36950"/>
                  </a:cubicBezTo>
                  <a:cubicBezTo>
                    <a:pt x="67412" y="37232"/>
                    <a:pt x="67977" y="37232"/>
                    <a:pt x="67977" y="37514"/>
                  </a:cubicBezTo>
                  <a:lnTo>
                    <a:pt x="67977" y="37796"/>
                  </a:lnTo>
                  <a:cubicBezTo>
                    <a:pt x="67695" y="38642"/>
                    <a:pt x="67695" y="39207"/>
                    <a:pt x="67695" y="39771"/>
                  </a:cubicBezTo>
                  <a:cubicBezTo>
                    <a:pt x="67412" y="40053"/>
                    <a:pt x="67412" y="40617"/>
                    <a:pt x="67412" y="40899"/>
                  </a:cubicBezTo>
                  <a:cubicBezTo>
                    <a:pt x="67412" y="41181"/>
                    <a:pt x="67412" y="41463"/>
                    <a:pt x="67695" y="41745"/>
                  </a:cubicBezTo>
                  <a:cubicBezTo>
                    <a:pt x="67131" y="42027"/>
                    <a:pt x="67131" y="42309"/>
                    <a:pt x="67131" y="43155"/>
                  </a:cubicBezTo>
                  <a:lnTo>
                    <a:pt x="66848" y="43155"/>
                  </a:lnTo>
                  <a:cubicBezTo>
                    <a:pt x="66567" y="42873"/>
                    <a:pt x="66567" y="42591"/>
                    <a:pt x="66567" y="42309"/>
                  </a:cubicBezTo>
                  <a:lnTo>
                    <a:pt x="66567" y="41745"/>
                  </a:lnTo>
                  <a:cubicBezTo>
                    <a:pt x="66567" y="41463"/>
                    <a:pt x="66567" y="41181"/>
                    <a:pt x="66284" y="40617"/>
                  </a:cubicBezTo>
                  <a:lnTo>
                    <a:pt x="66284" y="40335"/>
                  </a:lnTo>
                  <a:cubicBezTo>
                    <a:pt x="66284" y="40053"/>
                    <a:pt x="65720" y="39771"/>
                    <a:pt x="66002" y="39771"/>
                  </a:cubicBezTo>
                  <a:cubicBezTo>
                    <a:pt x="66567" y="39207"/>
                    <a:pt x="66567" y="39207"/>
                    <a:pt x="66567" y="38642"/>
                  </a:cubicBezTo>
                  <a:cubicBezTo>
                    <a:pt x="66284" y="38360"/>
                    <a:pt x="66002" y="38078"/>
                    <a:pt x="66002" y="37796"/>
                  </a:cubicBezTo>
                  <a:lnTo>
                    <a:pt x="66284" y="37514"/>
                  </a:lnTo>
                  <a:cubicBezTo>
                    <a:pt x="66284" y="37232"/>
                    <a:pt x="66567" y="36386"/>
                    <a:pt x="66567" y="35822"/>
                  </a:cubicBezTo>
                  <a:cubicBezTo>
                    <a:pt x="66002" y="35540"/>
                    <a:pt x="65720" y="35258"/>
                    <a:pt x="65720" y="34976"/>
                  </a:cubicBezTo>
                  <a:cubicBezTo>
                    <a:pt x="65720" y="34694"/>
                    <a:pt x="65720" y="34411"/>
                    <a:pt x="66002" y="34129"/>
                  </a:cubicBezTo>
                  <a:cubicBezTo>
                    <a:pt x="66284" y="34129"/>
                    <a:pt x="66848" y="33847"/>
                    <a:pt x="66848" y="33565"/>
                  </a:cubicBezTo>
                  <a:cubicBezTo>
                    <a:pt x="66848" y="33283"/>
                    <a:pt x="66284" y="33283"/>
                    <a:pt x="66002" y="33283"/>
                  </a:cubicBezTo>
                  <a:cubicBezTo>
                    <a:pt x="65720" y="33283"/>
                    <a:pt x="65156" y="33283"/>
                    <a:pt x="64874" y="33001"/>
                  </a:cubicBezTo>
                  <a:cubicBezTo>
                    <a:pt x="64310" y="32437"/>
                    <a:pt x="64028" y="32437"/>
                    <a:pt x="63746" y="32437"/>
                  </a:cubicBezTo>
                  <a:cubicBezTo>
                    <a:pt x="63464" y="32437"/>
                    <a:pt x="63182" y="32719"/>
                    <a:pt x="63182" y="32719"/>
                  </a:cubicBezTo>
                  <a:lnTo>
                    <a:pt x="63182" y="33847"/>
                  </a:lnTo>
                  <a:cubicBezTo>
                    <a:pt x="63182" y="34694"/>
                    <a:pt x="63182" y="35822"/>
                    <a:pt x="63464" y="36668"/>
                  </a:cubicBezTo>
                  <a:cubicBezTo>
                    <a:pt x="63464" y="36950"/>
                    <a:pt x="63182" y="37232"/>
                    <a:pt x="63464" y="37232"/>
                  </a:cubicBezTo>
                  <a:lnTo>
                    <a:pt x="63464" y="38078"/>
                  </a:lnTo>
                  <a:cubicBezTo>
                    <a:pt x="63464" y="38642"/>
                    <a:pt x="63464" y="39207"/>
                    <a:pt x="63746" y="39207"/>
                  </a:cubicBezTo>
                  <a:cubicBezTo>
                    <a:pt x="63746" y="39489"/>
                    <a:pt x="64028" y="39771"/>
                    <a:pt x="64028" y="39771"/>
                  </a:cubicBezTo>
                  <a:cubicBezTo>
                    <a:pt x="64028" y="40053"/>
                    <a:pt x="63746" y="40053"/>
                    <a:pt x="63746" y="40335"/>
                  </a:cubicBezTo>
                  <a:cubicBezTo>
                    <a:pt x="63746" y="40617"/>
                    <a:pt x="64028" y="41181"/>
                    <a:pt x="64310" y="41463"/>
                  </a:cubicBezTo>
                  <a:cubicBezTo>
                    <a:pt x="64310" y="41745"/>
                    <a:pt x="64592" y="42027"/>
                    <a:pt x="64874" y="42309"/>
                  </a:cubicBezTo>
                  <a:cubicBezTo>
                    <a:pt x="64592" y="42591"/>
                    <a:pt x="64592" y="42873"/>
                    <a:pt x="64592" y="42873"/>
                  </a:cubicBezTo>
                  <a:lnTo>
                    <a:pt x="64592" y="43155"/>
                  </a:lnTo>
                  <a:lnTo>
                    <a:pt x="64028" y="43155"/>
                  </a:lnTo>
                  <a:cubicBezTo>
                    <a:pt x="63746" y="43155"/>
                    <a:pt x="63746" y="42873"/>
                    <a:pt x="63746" y="42873"/>
                  </a:cubicBezTo>
                  <a:cubicBezTo>
                    <a:pt x="63464" y="42873"/>
                    <a:pt x="63182" y="43155"/>
                    <a:pt x="63182" y="43155"/>
                  </a:cubicBezTo>
                  <a:cubicBezTo>
                    <a:pt x="62900" y="43155"/>
                    <a:pt x="62900" y="43437"/>
                    <a:pt x="62900" y="43720"/>
                  </a:cubicBezTo>
                  <a:lnTo>
                    <a:pt x="62900" y="44002"/>
                  </a:lnTo>
                  <a:cubicBezTo>
                    <a:pt x="62900" y="44566"/>
                    <a:pt x="63182" y="45130"/>
                    <a:pt x="63746" y="45694"/>
                  </a:cubicBezTo>
                  <a:cubicBezTo>
                    <a:pt x="64310" y="45976"/>
                    <a:pt x="64592" y="46540"/>
                    <a:pt x="64592" y="47386"/>
                  </a:cubicBezTo>
                  <a:cubicBezTo>
                    <a:pt x="64592" y="47668"/>
                    <a:pt x="64874" y="47950"/>
                    <a:pt x="65156" y="47950"/>
                  </a:cubicBezTo>
                  <a:cubicBezTo>
                    <a:pt x="65156" y="47950"/>
                    <a:pt x="65438" y="47950"/>
                    <a:pt x="65720" y="47668"/>
                  </a:cubicBezTo>
                  <a:cubicBezTo>
                    <a:pt x="65720" y="47386"/>
                    <a:pt x="66284" y="47386"/>
                    <a:pt x="66284" y="47104"/>
                  </a:cubicBezTo>
                  <a:cubicBezTo>
                    <a:pt x="66002" y="46258"/>
                    <a:pt x="66002" y="45976"/>
                    <a:pt x="66002" y="45694"/>
                  </a:cubicBezTo>
                  <a:cubicBezTo>
                    <a:pt x="66002" y="45130"/>
                    <a:pt x="66284" y="45130"/>
                    <a:pt x="66284" y="45130"/>
                  </a:cubicBezTo>
                  <a:cubicBezTo>
                    <a:pt x="66848" y="45130"/>
                    <a:pt x="67131" y="45130"/>
                    <a:pt x="67131" y="45694"/>
                  </a:cubicBezTo>
                  <a:lnTo>
                    <a:pt x="67131" y="45976"/>
                  </a:lnTo>
                  <a:cubicBezTo>
                    <a:pt x="67131" y="46258"/>
                    <a:pt x="67412" y="46540"/>
                    <a:pt x="67412" y="47104"/>
                  </a:cubicBezTo>
                  <a:cubicBezTo>
                    <a:pt x="67412" y="47386"/>
                    <a:pt x="67412" y="47386"/>
                    <a:pt x="67131" y="47668"/>
                  </a:cubicBezTo>
                  <a:lnTo>
                    <a:pt x="67131" y="49643"/>
                  </a:lnTo>
                  <a:cubicBezTo>
                    <a:pt x="66848" y="49925"/>
                    <a:pt x="66567" y="50207"/>
                    <a:pt x="66567" y="50771"/>
                  </a:cubicBezTo>
                  <a:cubicBezTo>
                    <a:pt x="66567" y="51053"/>
                    <a:pt x="66567" y="51335"/>
                    <a:pt x="66848" y="51617"/>
                  </a:cubicBezTo>
                  <a:cubicBezTo>
                    <a:pt x="67131" y="52181"/>
                    <a:pt x="67131" y="53028"/>
                    <a:pt x="67131" y="54156"/>
                  </a:cubicBezTo>
                  <a:lnTo>
                    <a:pt x="67131" y="55002"/>
                  </a:lnTo>
                  <a:cubicBezTo>
                    <a:pt x="66848" y="55566"/>
                    <a:pt x="66002" y="56130"/>
                    <a:pt x="66002" y="56694"/>
                  </a:cubicBezTo>
                  <a:cubicBezTo>
                    <a:pt x="66002" y="56976"/>
                    <a:pt x="66284" y="56976"/>
                    <a:pt x="66284" y="57258"/>
                  </a:cubicBezTo>
                  <a:cubicBezTo>
                    <a:pt x="66567" y="57823"/>
                    <a:pt x="66848" y="58387"/>
                    <a:pt x="66848" y="58951"/>
                  </a:cubicBezTo>
                  <a:cubicBezTo>
                    <a:pt x="66848" y="59233"/>
                    <a:pt x="66567" y="59797"/>
                    <a:pt x="66567" y="60079"/>
                  </a:cubicBezTo>
                  <a:lnTo>
                    <a:pt x="67412" y="62336"/>
                  </a:lnTo>
                  <a:cubicBezTo>
                    <a:pt x="67695" y="62618"/>
                    <a:pt x="68259" y="62900"/>
                    <a:pt x="68541" y="62900"/>
                  </a:cubicBezTo>
                  <a:lnTo>
                    <a:pt x="68541" y="63464"/>
                  </a:lnTo>
                  <a:lnTo>
                    <a:pt x="65720" y="63464"/>
                  </a:lnTo>
                  <a:cubicBezTo>
                    <a:pt x="65720" y="64592"/>
                    <a:pt x="65156" y="64874"/>
                    <a:pt x="64874" y="65156"/>
                  </a:cubicBezTo>
                  <a:cubicBezTo>
                    <a:pt x="64592" y="65438"/>
                    <a:pt x="64592" y="65438"/>
                    <a:pt x="64592" y="66002"/>
                  </a:cubicBezTo>
                  <a:cubicBezTo>
                    <a:pt x="64874" y="66002"/>
                    <a:pt x="65156" y="66566"/>
                    <a:pt x="65156" y="66849"/>
                  </a:cubicBezTo>
                  <a:cubicBezTo>
                    <a:pt x="64874" y="67131"/>
                    <a:pt x="64874" y="67131"/>
                    <a:pt x="64874" y="67413"/>
                  </a:cubicBezTo>
                  <a:lnTo>
                    <a:pt x="64874" y="67977"/>
                  </a:lnTo>
                  <a:cubicBezTo>
                    <a:pt x="65438" y="68541"/>
                    <a:pt x="65720" y="68823"/>
                    <a:pt x="65720" y="69105"/>
                  </a:cubicBezTo>
                  <a:cubicBezTo>
                    <a:pt x="65720" y="69387"/>
                    <a:pt x="65438" y="69387"/>
                    <a:pt x="65438" y="69669"/>
                  </a:cubicBezTo>
                  <a:lnTo>
                    <a:pt x="65438" y="71079"/>
                  </a:lnTo>
                  <a:cubicBezTo>
                    <a:pt x="65156" y="71362"/>
                    <a:pt x="65156" y="71926"/>
                    <a:pt x="64874" y="72490"/>
                  </a:cubicBezTo>
                  <a:cubicBezTo>
                    <a:pt x="64592" y="72490"/>
                    <a:pt x="64592" y="72772"/>
                    <a:pt x="64592" y="72772"/>
                  </a:cubicBezTo>
                  <a:cubicBezTo>
                    <a:pt x="64592" y="73054"/>
                    <a:pt x="64874" y="73618"/>
                    <a:pt x="65156" y="73900"/>
                  </a:cubicBezTo>
                  <a:lnTo>
                    <a:pt x="65156" y="74464"/>
                  </a:lnTo>
                  <a:cubicBezTo>
                    <a:pt x="65720" y="74464"/>
                    <a:pt x="65720" y="74464"/>
                    <a:pt x="66002" y="74182"/>
                  </a:cubicBezTo>
                  <a:cubicBezTo>
                    <a:pt x="66284" y="73900"/>
                    <a:pt x="66284" y="73900"/>
                    <a:pt x="66284" y="73618"/>
                  </a:cubicBezTo>
                  <a:lnTo>
                    <a:pt x="66284" y="73336"/>
                  </a:lnTo>
                  <a:cubicBezTo>
                    <a:pt x="66284" y="73054"/>
                    <a:pt x="66284" y="73054"/>
                    <a:pt x="66567" y="73054"/>
                  </a:cubicBezTo>
                  <a:cubicBezTo>
                    <a:pt x="66848" y="73054"/>
                    <a:pt x="66848" y="73336"/>
                    <a:pt x="66848" y="73336"/>
                  </a:cubicBezTo>
                  <a:cubicBezTo>
                    <a:pt x="67131" y="73618"/>
                    <a:pt x="67131" y="74182"/>
                    <a:pt x="67131" y="74182"/>
                  </a:cubicBezTo>
                  <a:cubicBezTo>
                    <a:pt x="67131" y="74464"/>
                    <a:pt x="67977" y="74464"/>
                    <a:pt x="68259" y="74464"/>
                  </a:cubicBezTo>
                  <a:cubicBezTo>
                    <a:pt x="68541" y="74182"/>
                    <a:pt x="68541" y="73900"/>
                    <a:pt x="68541" y="73618"/>
                  </a:cubicBezTo>
                  <a:lnTo>
                    <a:pt x="68823" y="73618"/>
                  </a:lnTo>
                  <a:cubicBezTo>
                    <a:pt x="69105" y="73618"/>
                    <a:pt x="69105" y="73618"/>
                    <a:pt x="69105" y="73900"/>
                  </a:cubicBezTo>
                  <a:cubicBezTo>
                    <a:pt x="69387" y="74182"/>
                    <a:pt x="69387" y="74182"/>
                    <a:pt x="69387" y="74464"/>
                  </a:cubicBezTo>
                  <a:cubicBezTo>
                    <a:pt x="69387" y="74746"/>
                    <a:pt x="69387" y="75028"/>
                    <a:pt x="69105" y="75310"/>
                  </a:cubicBezTo>
                  <a:cubicBezTo>
                    <a:pt x="69105" y="75310"/>
                    <a:pt x="68259" y="75875"/>
                    <a:pt x="68259" y="76439"/>
                  </a:cubicBezTo>
                  <a:cubicBezTo>
                    <a:pt x="68259" y="76721"/>
                    <a:pt x="67977" y="76439"/>
                    <a:pt x="67412" y="76439"/>
                  </a:cubicBezTo>
                  <a:lnTo>
                    <a:pt x="67412" y="76157"/>
                  </a:lnTo>
                  <a:cubicBezTo>
                    <a:pt x="66848" y="76721"/>
                    <a:pt x="67131" y="77285"/>
                    <a:pt x="66848" y="77567"/>
                  </a:cubicBezTo>
                  <a:lnTo>
                    <a:pt x="66848" y="78695"/>
                  </a:lnTo>
                  <a:cubicBezTo>
                    <a:pt x="67695" y="78977"/>
                    <a:pt x="67412" y="79823"/>
                    <a:pt x="67695" y="80105"/>
                  </a:cubicBezTo>
                  <a:cubicBezTo>
                    <a:pt x="67695" y="80670"/>
                    <a:pt x="67695" y="80670"/>
                    <a:pt x="67412" y="80670"/>
                  </a:cubicBezTo>
                  <a:cubicBezTo>
                    <a:pt x="67131" y="80105"/>
                    <a:pt x="67131" y="79823"/>
                    <a:pt x="66848" y="79823"/>
                  </a:cubicBezTo>
                  <a:lnTo>
                    <a:pt x="66567" y="80105"/>
                  </a:lnTo>
                  <a:cubicBezTo>
                    <a:pt x="66284" y="80670"/>
                    <a:pt x="65720" y="80952"/>
                    <a:pt x="65720" y="81234"/>
                  </a:cubicBezTo>
                  <a:cubicBezTo>
                    <a:pt x="65156" y="81516"/>
                    <a:pt x="65156" y="81516"/>
                    <a:pt x="65156" y="81798"/>
                  </a:cubicBezTo>
                  <a:cubicBezTo>
                    <a:pt x="65156" y="82080"/>
                    <a:pt x="65156" y="82362"/>
                    <a:pt x="65438" y="82926"/>
                  </a:cubicBezTo>
                  <a:lnTo>
                    <a:pt x="65438" y="83208"/>
                  </a:lnTo>
                  <a:cubicBezTo>
                    <a:pt x="65156" y="83490"/>
                    <a:pt x="65156" y="83772"/>
                    <a:pt x="65156" y="84054"/>
                  </a:cubicBezTo>
                  <a:cubicBezTo>
                    <a:pt x="65156" y="84618"/>
                    <a:pt x="65438" y="84900"/>
                    <a:pt x="65438" y="85183"/>
                  </a:cubicBezTo>
                  <a:cubicBezTo>
                    <a:pt x="65438" y="86029"/>
                    <a:pt x="64874" y="86593"/>
                    <a:pt x="64592" y="86875"/>
                  </a:cubicBezTo>
                  <a:lnTo>
                    <a:pt x="64592" y="87721"/>
                  </a:lnTo>
                  <a:cubicBezTo>
                    <a:pt x="64874" y="88285"/>
                    <a:pt x="64874" y="88567"/>
                    <a:pt x="64874" y="89131"/>
                  </a:cubicBezTo>
                  <a:cubicBezTo>
                    <a:pt x="65438" y="89131"/>
                    <a:pt x="65438" y="89696"/>
                    <a:pt x="66002" y="90542"/>
                  </a:cubicBezTo>
                  <a:cubicBezTo>
                    <a:pt x="66002" y="90824"/>
                    <a:pt x="66002" y="90824"/>
                    <a:pt x="66284" y="90824"/>
                  </a:cubicBezTo>
                  <a:cubicBezTo>
                    <a:pt x="66284" y="90824"/>
                    <a:pt x="66567" y="90824"/>
                    <a:pt x="66848" y="90542"/>
                  </a:cubicBezTo>
                  <a:cubicBezTo>
                    <a:pt x="67131" y="89696"/>
                    <a:pt x="67695" y="89696"/>
                    <a:pt x="67412" y="89413"/>
                  </a:cubicBezTo>
                  <a:cubicBezTo>
                    <a:pt x="67412" y="89131"/>
                    <a:pt x="67977" y="88849"/>
                    <a:pt x="67977" y="88567"/>
                  </a:cubicBezTo>
                  <a:cubicBezTo>
                    <a:pt x="68259" y="88567"/>
                    <a:pt x="69105" y="88003"/>
                    <a:pt x="69105" y="87721"/>
                  </a:cubicBezTo>
                  <a:cubicBezTo>
                    <a:pt x="68823" y="87439"/>
                    <a:pt x="68823" y="87439"/>
                    <a:pt x="68823" y="87157"/>
                  </a:cubicBezTo>
                  <a:cubicBezTo>
                    <a:pt x="68823" y="86875"/>
                    <a:pt x="69105" y="86875"/>
                    <a:pt x="69105" y="86593"/>
                  </a:cubicBezTo>
                  <a:lnTo>
                    <a:pt x="69105" y="86311"/>
                  </a:lnTo>
                  <a:cubicBezTo>
                    <a:pt x="69387" y="86029"/>
                    <a:pt x="69387" y="85465"/>
                    <a:pt x="69669" y="85465"/>
                  </a:cubicBezTo>
                  <a:lnTo>
                    <a:pt x="70233" y="87157"/>
                  </a:lnTo>
                  <a:cubicBezTo>
                    <a:pt x="70233" y="87439"/>
                    <a:pt x="69951" y="88003"/>
                    <a:pt x="69669" y="88003"/>
                  </a:cubicBezTo>
                  <a:cubicBezTo>
                    <a:pt x="69387" y="88285"/>
                    <a:pt x="69105" y="88567"/>
                    <a:pt x="69105" y="88849"/>
                  </a:cubicBezTo>
                  <a:lnTo>
                    <a:pt x="69387" y="89131"/>
                  </a:lnTo>
                  <a:cubicBezTo>
                    <a:pt x="69387" y="89413"/>
                    <a:pt x="69669" y="89696"/>
                    <a:pt x="69669" y="89978"/>
                  </a:cubicBezTo>
                  <a:cubicBezTo>
                    <a:pt x="69669" y="90260"/>
                    <a:pt x="69387" y="90542"/>
                    <a:pt x="69105" y="90542"/>
                  </a:cubicBezTo>
                  <a:cubicBezTo>
                    <a:pt x="69105" y="91106"/>
                    <a:pt x="68541" y="91670"/>
                    <a:pt x="68259" y="92798"/>
                  </a:cubicBezTo>
                  <a:lnTo>
                    <a:pt x="68259" y="94773"/>
                  </a:lnTo>
                  <a:cubicBezTo>
                    <a:pt x="68259" y="95055"/>
                    <a:pt x="67977" y="95055"/>
                    <a:pt x="67695" y="95337"/>
                  </a:cubicBezTo>
                  <a:cubicBezTo>
                    <a:pt x="67412" y="95901"/>
                    <a:pt x="66848" y="97029"/>
                    <a:pt x="66848" y="97593"/>
                  </a:cubicBezTo>
                  <a:cubicBezTo>
                    <a:pt x="66567" y="98439"/>
                    <a:pt x="66567" y="98439"/>
                    <a:pt x="65720" y="98439"/>
                  </a:cubicBezTo>
                  <a:cubicBezTo>
                    <a:pt x="65438" y="98439"/>
                    <a:pt x="65438" y="99004"/>
                    <a:pt x="65438" y="99004"/>
                  </a:cubicBezTo>
                  <a:cubicBezTo>
                    <a:pt x="65438" y="99568"/>
                    <a:pt x="65720" y="100414"/>
                    <a:pt x="65720" y="101260"/>
                  </a:cubicBezTo>
                  <a:lnTo>
                    <a:pt x="65438" y="101542"/>
                  </a:lnTo>
                  <a:lnTo>
                    <a:pt x="64874" y="101542"/>
                  </a:lnTo>
                  <a:cubicBezTo>
                    <a:pt x="64874" y="101260"/>
                    <a:pt x="64592" y="100978"/>
                    <a:pt x="64310" y="100696"/>
                  </a:cubicBezTo>
                  <a:lnTo>
                    <a:pt x="64310" y="97311"/>
                  </a:lnTo>
                  <a:lnTo>
                    <a:pt x="64028" y="97311"/>
                  </a:lnTo>
                  <a:cubicBezTo>
                    <a:pt x="64028" y="97029"/>
                    <a:pt x="64028" y="96747"/>
                    <a:pt x="63746" y="96747"/>
                  </a:cubicBezTo>
                  <a:cubicBezTo>
                    <a:pt x="63464" y="96747"/>
                    <a:pt x="62900" y="97311"/>
                    <a:pt x="62618" y="97593"/>
                  </a:cubicBezTo>
                  <a:cubicBezTo>
                    <a:pt x="62618" y="98439"/>
                    <a:pt x="62054" y="98721"/>
                    <a:pt x="62054" y="99286"/>
                  </a:cubicBezTo>
                  <a:lnTo>
                    <a:pt x="62054" y="99568"/>
                  </a:lnTo>
                  <a:cubicBezTo>
                    <a:pt x="62054" y="99568"/>
                    <a:pt x="62336" y="100414"/>
                    <a:pt x="62336" y="100696"/>
                  </a:cubicBezTo>
                  <a:lnTo>
                    <a:pt x="62054" y="100978"/>
                  </a:lnTo>
                  <a:cubicBezTo>
                    <a:pt x="61207" y="100978"/>
                    <a:pt x="60926" y="101542"/>
                    <a:pt x="60926" y="102388"/>
                  </a:cubicBezTo>
                  <a:cubicBezTo>
                    <a:pt x="60926" y="102388"/>
                    <a:pt x="60643" y="102388"/>
                    <a:pt x="60643" y="102670"/>
                  </a:cubicBezTo>
                  <a:cubicBezTo>
                    <a:pt x="60643" y="103234"/>
                    <a:pt x="59797" y="104081"/>
                    <a:pt x="59797" y="104645"/>
                  </a:cubicBezTo>
                  <a:lnTo>
                    <a:pt x="58105" y="106337"/>
                  </a:lnTo>
                  <a:cubicBezTo>
                    <a:pt x="57823" y="106901"/>
                    <a:pt x="57259" y="106901"/>
                    <a:pt x="57259" y="107465"/>
                  </a:cubicBezTo>
                  <a:lnTo>
                    <a:pt x="57259" y="107747"/>
                  </a:lnTo>
                  <a:cubicBezTo>
                    <a:pt x="56695" y="108030"/>
                    <a:pt x="56695" y="108312"/>
                    <a:pt x="56412" y="108312"/>
                  </a:cubicBezTo>
                  <a:cubicBezTo>
                    <a:pt x="55848" y="108312"/>
                    <a:pt x="55566" y="108594"/>
                    <a:pt x="55566" y="108876"/>
                  </a:cubicBezTo>
                  <a:cubicBezTo>
                    <a:pt x="55284" y="110004"/>
                    <a:pt x="54438" y="110850"/>
                    <a:pt x="54156" y="111414"/>
                  </a:cubicBezTo>
                  <a:cubicBezTo>
                    <a:pt x="53874" y="111414"/>
                    <a:pt x="53874" y="111978"/>
                    <a:pt x="53874" y="111978"/>
                  </a:cubicBezTo>
                  <a:cubicBezTo>
                    <a:pt x="53309" y="112260"/>
                    <a:pt x="53874" y="112825"/>
                    <a:pt x="53028" y="112825"/>
                  </a:cubicBezTo>
                  <a:cubicBezTo>
                    <a:pt x="52745" y="112825"/>
                    <a:pt x="52464" y="113107"/>
                    <a:pt x="51899" y="113107"/>
                  </a:cubicBezTo>
                  <a:lnTo>
                    <a:pt x="51899" y="113953"/>
                  </a:lnTo>
                  <a:lnTo>
                    <a:pt x="49925" y="115363"/>
                  </a:lnTo>
                  <a:lnTo>
                    <a:pt x="49361" y="115363"/>
                  </a:lnTo>
                  <a:lnTo>
                    <a:pt x="49361" y="114235"/>
                  </a:lnTo>
                  <a:cubicBezTo>
                    <a:pt x="49078" y="114235"/>
                    <a:pt x="48797" y="114517"/>
                    <a:pt x="48797" y="114517"/>
                  </a:cubicBezTo>
                  <a:cubicBezTo>
                    <a:pt x="48514" y="114799"/>
                    <a:pt x="48514" y="114799"/>
                    <a:pt x="48514" y="115081"/>
                  </a:cubicBezTo>
                  <a:lnTo>
                    <a:pt x="48514" y="115363"/>
                  </a:lnTo>
                  <a:cubicBezTo>
                    <a:pt x="48514" y="116209"/>
                    <a:pt x="48514" y="116773"/>
                    <a:pt x="47950" y="117055"/>
                  </a:cubicBezTo>
                  <a:cubicBezTo>
                    <a:pt x="47386" y="117055"/>
                    <a:pt x="47386" y="117338"/>
                    <a:pt x="47104" y="117620"/>
                  </a:cubicBezTo>
                  <a:cubicBezTo>
                    <a:pt x="46822" y="118748"/>
                    <a:pt x="46540" y="119312"/>
                    <a:pt x="45694" y="119312"/>
                  </a:cubicBezTo>
                  <a:cubicBezTo>
                    <a:pt x="45412" y="119030"/>
                    <a:pt x="45412" y="118748"/>
                    <a:pt x="45412" y="118748"/>
                  </a:cubicBezTo>
                  <a:close/>
                  <a:moveTo>
                    <a:pt x="2538" y="85747"/>
                  </a:moveTo>
                  <a:lnTo>
                    <a:pt x="2821" y="85747"/>
                  </a:lnTo>
                  <a:lnTo>
                    <a:pt x="2821" y="85465"/>
                  </a:lnTo>
                  <a:cubicBezTo>
                    <a:pt x="2538" y="85465"/>
                    <a:pt x="2538" y="85747"/>
                    <a:pt x="2538" y="85747"/>
                  </a:cubicBezTo>
                  <a:close/>
                  <a:moveTo>
                    <a:pt x="7052" y="114235"/>
                  </a:moveTo>
                  <a:cubicBezTo>
                    <a:pt x="6769" y="113389"/>
                    <a:pt x="6769" y="112825"/>
                    <a:pt x="6205" y="112260"/>
                  </a:cubicBezTo>
                  <a:lnTo>
                    <a:pt x="5359" y="111132"/>
                  </a:lnTo>
                  <a:cubicBezTo>
                    <a:pt x="5359" y="110568"/>
                    <a:pt x="5077" y="110004"/>
                    <a:pt x="4513" y="109440"/>
                  </a:cubicBezTo>
                  <a:cubicBezTo>
                    <a:pt x="4231" y="109440"/>
                    <a:pt x="3949" y="109440"/>
                    <a:pt x="3949" y="109158"/>
                  </a:cubicBezTo>
                  <a:lnTo>
                    <a:pt x="3667" y="109158"/>
                  </a:lnTo>
                  <a:lnTo>
                    <a:pt x="3385" y="108876"/>
                  </a:lnTo>
                  <a:lnTo>
                    <a:pt x="3103" y="108876"/>
                  </a:lnTo>
                  <a:lnTo>
                    <a:pt x="3103" y="110286"/>
                  </a:lnTo>
                  <a:cubicBezTo>
                    <a:pt x="3103" y="110568"/>
                    <a:pt x="3385" y="110850"/>
                    <a:pt x="4231" y="111414"/>
                  </a:cubicBezTo>
                  <a:lnTo>
                    <a:pt x="4231" y="112825"/>
                  </a:lnTo>
                  <a:cubicBezTo>
                    <a:pt x="4231" y="113107"/>
                    <a:pt x="4513" y="113389"/>
                    <a:pt x="4513" y="114235"/>
                  </a:cubicBezTo>
                  <a:cubicBezTo>
                    <a:pt x="4513" y="114235"/>
                    <a:pt x="4513" y="114517"/>
                    <a:pt x="4795" y="114517"/>
                  </a:cubicBezTo>
                  <a:cubicBezTo>
                    <a:pt x="5641" y="114799"/>
                    <a:pt x="5924" y="115081"/>
                    <a:pt x="5924" y="115645"/>
                  </a:cubicBezTo>
                  <a:lnTo>
                    <a:pt x="5924" y="116209"/>
                  </a:lnTo>
                  <a:cubicBezTo>
                    <a:pt x="5924" y="116491"/>
                    <a:pt x="6205" y="116773"/>
                    <a:pt x="6769" y="117055"/>
                  </a:cubicBezTo>
                  <a:lnTo>
                    <a:pt x="6769" y="117338"/>
                  </a:lnTo>
                  <a:cubicBezTo>
                    <a:pt x="7052" y="117338"/>
                    <a:pt x="7052" y="117055"/>
                    <a:pt x="7052" y="117055"/>
                  </a:cubicBezTo>
                  <a:cubicBezTo>
                    <a:pt x="6769" y="116491"/>
                    <a:pt x="6769" y="115927"/>
                    <a:pt x="6769" y="115645"/>
                  </a:cubicBezTo>
                  <a:cubicBezTo>
                    <a:pt x="6769" y="115363"/>
                    <a:pt x="6769" y="115081"/>
                    <a:pt x="7334" y="114799"/>
                  </a:cubicBezTo>
                  <a:cubicBezTo>
                    <a:pt x="7334" y="114517"/>
                    <a:pt x="7334" y="114235"/>
                    <a:pt x="7052" y="114235"/>
                  </a:cubicBezTo>
                  <a:close/>
                  <a:moveTo>
                    <a:pt x="4795" y="77849"/>
                  </a:moveTo>
                  <a:cubicBezTo>
                    <a:pt x="4795" y="77003"/>
                    <a:pt x="4795" y="76721"/>
                    <a:pt x="4513" y="76439"/>
                  </a:cubicBezTo>
                  <a:cubicBezTo>
                    <a:pt x="4513" y="76439"/>
                    <a:pt x="4513" y="76157"/>
                    <a:pt x="4231" y="76157"/>
                  </a:cubicBezTo>
                  <a:lnTo>
                    <a:pt x="3667" y="76157"/>
                  </a:lnTo>
                  <a:cubicBezTo>
                    <a:pt x="3667" y="76439"/>
                    <a:pt x="3667" y="76721"/>
                    <a:pt x="3949" y="76721"/>
                  </a:cubicBezTo>
                  <a:cubicBezTo>
                    <a:pt x="4513" y="77285"/>
                    <a:pt x="4513" y="77849"/>
                    <a:pt x="4513" y="78413"/>
                  </a:cubicBezTo>
                  <a:lnTo>
                    <a:pt x="4513" y="78695"/>
                  </a:lnTo>
                  <a:lnTo>
                    <a:pt x="4795" y="78413"/>
                  </a:lnTo>
                  <a:lnTo>
                    <a:pt x="4795" y="77849"/>
                  </a:lnTo>
                  <a:close/>
                  <a:moveTo>
                    <a:pt x="5641" y="69951"/>
                  </a:moveTo>
                  <a:lnTo>
                    <a:pt x="5924" y="69951"/>
                  </a:lnTo>
                  <a:lnTo>
                    <a:pt x="5924" y="69669"/>
                  </a:lnTo>
                  <a:cubicBezTo>
                    <a:pt x="5924" y="69951"/>
                    <a:pt x="5641" y="69951"/>
                    <a:pt x="5641" y="69951"/>
                  </a:cubicBezTo>
                  <a:close/>
                  <a:moveTo>
                    <a:pt x="7898" y="116491"/>
                  </a:moveTo>
                  <a:cubicBezTo>
                    <a:pt x="7898" y="116491"/>
                    <a:pt x="7898" y="116773"/>
                    <a:pt x="8180" y="117055"/>
                  </a:cubicBezTo>
                  <a:lnTo>
                    <a:pt x="8462" y="117338"/>
                  </a:lnTo>
                  <a:cubicBezTo>
                    <a:pt x="8744" y="117338"/>
                    <a:pt x="8744" y="117055"/>
                    <a:pt x="8744" y="116773"/>
                  </a:cubicBezTo>
                  <a:cubicBezTo>
                    <a:pt x="8462" y="116491"/>
                    <a:pt x="8462" y="116209"/>
                    <a:pt x="8180" y="116209"/>
                  </a:cubicBezTo>
                  <a:cubicBezTo>
                    <a:pt x="7898" y="116209"/>
                    <a:pt x="7898" y="116209"/>
                    <a:pt x="7898" y="116491"/>
                  </a:cubicBezTo>
                  <a:close/>
                  <a:moveTo>
                    <a:pt x="9308" y="119876"/>
                  </a:moveTo>
                  <a:cubicBezTo>
                    <a:pt x="9308" y="119312"/>
                    <a:pt x="9026" y="119312"/>
                    <a:pt x="8462" y="119030"/>
                  </a:cubicBezTo>
                  <a:lnTo>
                    <a:pt x="7898" y="119030"/>
                  </a:lnTo>
                  <a:lnTo>
                    <a:pt x="8180" y="119312"/>
                  </a:lnTo>
                  <a:cubicBezTo>
                    <a:pt x="8462" y="119876"/>
                    <a:pt x="8744" y="120158"/>
                    <a:pt x="8744" y="120722"/>
                  </a:cubicBezTo>
                  <a:lnTo>
                    <a:pt x="8744" y="121004"/>
                  </a:lnTo>
                  <a:cubicBezTo>
                    <a:pt x="9026" y="121004"/>
                    <a:pt x="9026" y="121004"/>
                    <a:pt x="9026" y="121286"/>
                  </a:cubicBezTo>
                  <a:lnTo>
                    <a:pt x="9590" y="120722"/>
                  </a:lnTo>
                  <a:cubicBezTo>
                    <a:pt x="9590" y="120440"/>
                    <a:pt x="9590" y="120440"/>
                    <a:pt x="9308" y="119876"/>
                  </a:cubicBezTo>
                  <a:close/>
                  <a:moveTo>
                    <a:pt x="9872" y="121568"/>
                  </a:moveTo>
                  <a:cubicBezTo>
                    <a:pt x="9872" y="121286"/>
                    <a:pt x="9590" y="121568"/>
                    <a:pt x="9872" y="122133"/>
                  </a:cubicBezTo>
                  <a:cubicBezTo>
                    <a:pt x="9872" y="122415"/>
                    <a:pt x="10436" y="122697"/>
                    <a:pt x="10436" y="122979"/>
                  </a:cubicBezTo>
                  <a:cubicBezTo>
                    <a:pt x="10436" y="122979"/>
                    <a:pt x="10718" y="122979"/>
                    <a:pt x="10718" y="122697"/>
                  </a:cubicBezTo>
                  <a:lnTo>
                    <a:pt x="9872" y="121568"/>
                  </a:lnTo>
                  <a:close/>
                  <a:moveTo>
                    <a:pt x="58387" y="45694"/>
                  </a:moveTo>
                  <a:cubicBezTo>
                    <a:pt x="58387" y="45412"/>
                    <a:pt x="58387" y="45412"/>
                    <a:pt x="58951" y="45130"/>
                  </a:cubicBezTo>
                  <a:cubicBezTo>
                    <a:pt x="58951" y="45130"/>
                    <a:pt x="58387" y="44284"/>
                    <a:pt x="58387" y="44002"/>
                  </a:cubicBezTo>
                  <a:lnTo>
                    <a:pt x="58105" y="43720"/>
                  </a:lnTo>
                  <a:cubicBezTo>
                    <a:pt x="58669" y="43437"/>
                    <a:pt x="58951" y="42873"/>
                    <a:pt x="58951" y="42591"/>
                  </a:cubicBezTo>
                  <a:cubicBezTo>
                    <a:pt x="58951" y="42309"/>
                    <a:pt x="58669" y="42027"/>
                    <a:pt x="58105" y="41463"/>
                  </a:cubicBezTo>
                  <a:cubicBezTo>
                    <a:pt x="57823" y="41463"/>
                    <a:pt x="58105" y="41181"/>
                    <a:pt x="58105" y="41181"/>
                  </a:cubicBezTo>
                  <a:cubicBezTo>
                    <a:pt x="58105" y="40899"/>
                    <a:pt x="58669" y="40617"/>
                    <a:pt x="58669" y="40053"/>
                  </a:cubicBezTo>
                  <a:lnTo>
                    <a:pt x="58669" y="38642"/>
                  </a:lnTo>
                  <a:cubicBezTo>
                    <a:pt x="58387" y="38360"/>
                    <a:pt x="58387" y="37796"/>
                    <a:pt x="58387" y="37514"/>
                  </a:cubicBezTo>
                  <a:cubicBezTo>
                    <a:pt x="58387" y="37232"/>
                    <a:pt x="58387" y="36950"/>
                    <a:pt x="58669" y="36386"/>
                  </a:cubicBezTo>
                  <a:lnTo>
                    <a:pt x="57259" y="36386"/>
                  </a:lnTo>
                  <a:cubicBezTo>
                    <a:pt x="57259" y="36668"/>
                    <a:pt x="56976" y="36668"/>
                    <a:pt x="56976" y="36668"/>
                  </a:cubicBezTo>
                  <a:lnTo>
                    <a:pt x="56976" y="36104"/>
                  </a:lnTo>
                  <a:cubicBezTo>
                    <a:pt x="56976" y="35540"/>
                    <a:pt x="56130" y="35258"/>
                    <a:pt x="56130" y="34976"/>
                  </a:cubicBezTo>
                  <a:lnTo>
                    <a:pt x="56130" y="31027"/>
                  </a:lnTo>
                  <a:cubicBezTo>
                    <a:pt x="56412" y="30463"/>
                    <a:pt x="56412" y="30463"/>
                    <a:pt x="56976" y="30463"/>
                  </a:cubicBezTo>
                  <a:cubicBezTo>
                    <a:pt x="57540" y="30463"/>
                    <a:pt x="57259" y="30745"/>
                    <a:pt x="57540" y="31027"/>
                  </a:cubicBezTo>
                  <a:lnTo>
                    <a:pt x="57823" y="31027"/>
                  </a:lnTo>
                  <a:cubicBezTo>
                    <a:pt x="58105" y="31027"/>
                    <a:pt x="58669" y="30745"/>
                    <a:pt x="58951" y="30463"/>
                  </a:cubicBezTo>
                  <a:cubicBezTo>
                    <a:pt x="58387" y="30181"/>
                    <a:pt x="57823" y="29899"/>
                    <a:pt x="57823" y="29334"/>
                  </a:cubicBezTo>
                  <a:lnTo>
                    <a:pt x="56695" y="28488"/>
                  </a:lnTo>
                  <a:lnTo>
                    <a:pt x="56412" y="28488"/>
                  </a:lnTo>
                  <a:cubicBezTo>
                    <a:pt x="55848" y="28206"/>
                    <a:pt x="55284" y="27924"/>
                    <a:pt x="55284" y="27360"/>
                  </a:cubicBezTo>
                  <a:lnTo>
                    <a:pt x="55284" y="27078"/>
                  </a:lnTo>
                  <a:cubicBezTo>
                    <a:pt x="55284" y="26514"/>
                    <a:pt x="55002" y="25950"/>
                    <a:pt x="54720" y="25386"/>
                  </a:cubicBezTo>
                  <a:lnTo>
                    <a:pt x="53592" y="23975"/>
                  </a:lnTo>
                  <a:cubicBezTo>
                    <a:pt x="53309" y="23411"/>
                    <a:pt x="52464" y="22847"/>
                    <a:pt x="51899" y="22565"/>
                  </a:cubicBezTo>
                  <a:cubicBezTo>
                    <a:pt x="51053" y="22001"/>
                    <a:pt x="50489" y="22001"/>
                    <a:pt x="49643" y="21155"/>
                  </a:cubicBezTo>
                  <a:lnTo>
                    <a:pt x="49643" y="20873"/>
                  </a:lnTo>
                  <a:cubicBezTo>
                    <a:pt x="49643" y="20873"/>
                    <a:pt x="49361" y="20873"/>
                    <a:pt x="49361" y="21155"/>
                  </a:cubicBezTo>
                  <a:cubicBezTo>
                    <a:pt x="49078" y="21437"/>
                    <a:pt x="49078" y="21437"/>
                    <a:pt x="49078" y="21719"/>
                  </a:cubicBezTo>
                  <a:cubicBezTo>
                    <a:pt x="48797" y="22001"/>
                    <a:pt x="48514" y="22001"/>
                    <a:pt x="48233" y="22001"/>
                  </a:cubicBezTo>
                  <a:lnTo>
                    <a:pt x="47668" y="22001"/>
                  </a:lnTo>
                  <a:lnTo>
                    <a:pt x="47668" y="21719"/>
                  </a:lnTo>
                  <a:cubicBezTo>
                    <a:pt x="47386" y="22001"/>
                    <a:pt x="46822" y="22283"/>
                    <a:pt x="46822" y="22565"/>
                  </a:cubicBezTo>
                  <a:lnTo>
                    <a:pt x="46822" y="23693"/>
                  </a:lnTo>
                  <a:cubicBezTo>
                    <a:pt x="46822" y="23975"/>
                    <a:pt x="46822" y="24257"/>
                    <a:pt x="47104" y="24539"/>
                  </a:cubicBezTo>
                  <a:cubicBezTo>
                    <a:pt x="47386" y="25103"/>
                    <a:pt x="47668" y="25386"/>
                    <a:pt x="47668" y="25668"/>
                  </a:cubicBezTo>
                  <a:cubicBezTo>
                    <a:pt x="47668" y="25950"/>
                    <a:pt x="47386" y="26232"/>
                    <a:pt x="47386" y="26514"/>
                  </a:cubicBezTo>
                  <a:lnTo>
                    <a:pt x="47386" y="27078"/>
                  </a:lnTo>
                  <a:cubicBezTo>
                    <a:pt x="48233" y="27360"/>
                    <a:pt x="48233" y="28488"/>
                    <a:pt x="48233" y="29334"/>
                  </a:cubicBezTo>
                  <a:lnTo>
                    <a:pt x="47668" y="29334"/>
                  </a:lnTo>
                  <a:cubicBezTo>
                    <a:pt x="47104" y="28770"/>
                    <a:pt x="46540" y="28488"/>
                    <a:pt x="46540" y="27360"/>
                  </a:cubicBezTo>
                  <a:cubicBezTo>
                    <a:pt x="46540" y="27360"/>
                    <a:pt x="46540" y="27078"/>
                    <a:pt x="46258" y="27078"/>
                  </a:cubicBezTo>
                  <a:cubicBezTo>
                    <a:pt x="45976" y="27078"/>
                    <a:pt x="45694" y="27078"/>
                    <a:pt x="45130" y="27360"/>
                  </a:cubicBezTo>
                  <a:cubicBezTo>
                    <a:pt x="45130" y="27924"/>
                    <a:pt x="44566" y="28206"/>
                    <a:pt x="44002" y="28488"/>
                  </a:cubicBezTo>
                  <a:cubicBezTo>
                    <a:pt x="43720" y="29052"/>
                    <a:pt x="43720" y="29334"/>
                    <a:pt x="43720" y="29616"/>
                  </a:cubicBezTo>
                  <a:cubicBezTo>
                    <a:pt x="43720" y="29899"/>
                    <a:pt x="43720" y="30181"/>
                    <a:pt x="44284" y="30463"/>
                  </a:cubicBezTo>
                  <a:cubicBezTo>
                    <a:pt x="44002" y="31027"/>
                    <a:pt x="44002" y="31591"/>
                    <a:pt x="44002" y="32437"/>
                  </a:cubicBezTo>
                  <a:cubicBezTo>
                    <a:pt x="44002" y="32719"/>
                    <a:pt x="44002" y="32719"/>
                    <a:pt x="43437" y="32719"/>
                  </a:cubicBezTo>
                  <a:cubicBezTo>
                    <a:pt x="43437" y="32719"/>
                    <a:pt x="42873" y="32719"/>
                    <a:pt x="42309" y="33001"/>
                  </a:cubicBezTo>
                  <a:cubicBezTo>
                    <a:pt x="42027" y="33001"/>
                    <a:pt x="42309" y="33283"/>
                    <a:pt x="41745" y="33847"/>
                  </a:cubicBezTo>
                  <a:cubicBezTo>
                    <a:pt x="41181" y="33847"/>
                    <a:pt x="40617" y="34411"/>
                    <a:pt x="40335" y="35258"/>
                  </a:cubicBezTo>
                  <a:cubicBezTo>
                    <a:pt x="40335" y="35822"/>
                    <a:pt x="40053" y="36386"/>
                    <a:pt x="39771" y="36950"/>
                  </a:cubicBezTo>
                  <a:cubicBezTo>
                    <a:pt x="39206" y="37232"/>
                    <a:pt x="39206" y="37796"/>
                    <a:pt x="39206" y="38078"/>
                  </a:cubicBezTo>
                  <a:cubicBezTo>
                    <a:pt x="38925" y="38642"/>
                    <a:pt x="38361" y="39207"/>
                    <a:pt x="38078" y="39207"/>
                  </a:cubicBezTo>
                  <a:lnTo>
                    <a:pt x="37232" y="40335"/>
                  </a:lnTo>
                  <a:lnTo>
                    <a:pt x="37232" y="40617"/>
                  </a:lnTo>
                  <a:cubicBezTo>
                    <a:pt x="37232" y="41181"/>
                    <a:pt x="36950" y="41181"/>
                    <a:pt x="36950" y="41463"/>
                  </a:cubicBezTo>
                  <a:lnTo>
                    <a:pt x="36950" y="41745"/>
                  </a:lnTo>
                  <a:cubicBezTo>
                    <a:pt x="36386" y="42309"/>
                    <a:pt x="36386" y="43155"/>
                    <a:pt x="35540" y="43155"/>
                  </a:cubicBezTo>
                  <a:cubicBezTo>
                    <a:pt x="35258" y="43155"/>
                    <a:pt x="34975" y="43155"/>
                    <a:pt x="34975" y="43437"/>
                  </a:cubicBezTo>
                  <a:cubicBezTo>
                    <a:pt x="34975" y="43720"/>
                    <a:pt x="34411" y="44284"/>
                    <a:pt x="34411" y="44848"/>
                  </a:cubicBezTo>
                  <a:cubicBezTo>
                    <a:pt x="34411" y="45412"/>
                    <a:pt x="34130" y="45694"/>
                    <a:pt x="34130" y="45976"/>
                  </a:cubicBezTo>
                  <a:lnTo>
                    <a:pt x="34130" y="47386"/>
                  </a:lnTo>
                  <a:cubicBezTo>
                    <a:pt x="33847" y="47668"/>
                    <a:pt x="33565" y="47950"/>
                    <a:pt x="33565" y="48233"/>
                  </a:cubicBezTo>
                  <a:cubicBezTo>
                    <a:pt x="32719" y="48797"/>
                    <a:pt x="32437" y="49079"/>
                    <a:pt x="31873" y="50207"/>
                  </a:cubicBezTo>
                  <a:cubicBezTo>
                    <a:pt x="31873" y="50489"/>
                    <a:pt x="31873" y="50771"/>
                    <a:pt x="31591" y="50771"/>
                  </a:cubicBezTo>
                  <a:cubicBezTo>
                    <a:pt x="31591" y="51053"/>
                    <a:pt x="31591" y="51335"/>
                    <a:pt x="31309" y="51617"/>
                  </a:cubicBezTo>
                  <a:cubicBezTo>
                    <a:pt x="31309" y="51617"/>
                    <a:pt x="31309" y="51899"/>
                    <a:pt x="31591" y="51899"/>
                  </a:cubicBezTo>
                  <a:cubicBezTo>
                    <a:pt x="31873" y="52181"/>
                    <a:pt x="31873" y="52463"/>
                    <a:pt x="31873" y="52463"/>
                  </a:cubicBezTo>
                  <a:cubicBezTo>
                    <a:pt x="31873" y="52745"/>
                    <a:pt x="31873" y="52745"/>
                    <a:pt x="31591" y="53028"/>
                  </a:cubicBezTo>
                  <a:lnTo>
                    <a:pt x="31027" y="53028"/>
                  </a:lnTo>
                  <a:cubicBezTo>
                    <a:pt x="30463" y="53592"/>
                    <a:pt x="30463" y="54156"/>
                    <a:pt x="30463" y="54438"/>
                  </a:cubicBezTo>
                  <a:lnTo>
                    <a:pt x="30463" y="54720"/>
                  </a:lnTo>
                  <a:cubicBezTo>
                    <a:pt x="29899" y="55002"/>
                    <a:pt x="30180" y="55566"/>
                    <a:pt x="29616" y="55566"/>
                  </a:cubicBezTo>
                  <a:lnTo>
                    <a:pt x="29616" y="56412"/>
                  </a:lnTo>
                  <a:cubicBezTo>
                    <a:pt x="29616" y="56694"/>
                    <a:pt x="29899" y="56976"/>
                    <a:pt x="29899" y="56976"/>
                  </a:cubicBezTo>
                  <a:cubicBezTo>
                    <a:pt x="29899" y="57258"/>
                    <a:pt x="29616" y="57258"/>
                    <a:pt x="29616" y="57258"/>
                  </a:cubicBezTo>
                  <a:lnTo>
                    <a:pt x="29616" y="57823"/>
                  </a:lnTo>
                  <a:cubicBezTo>
                    <a:pt x="29334" y="58105"/>
                    <a:pt x="29052" y="58669"/>
                    <a:pt x="29052" y="58951"/>
                  </a:cubicBezTo>
                  <a:lnTo>
                    <a:pt x="29052" y="59233"/>
                  </a:lnTo>
                  <a:cubicBezTo>
                    <a:pt x="29052" y="59515"/>
                    <a:pt x="28770" y="59515"/>
                    <a:pt x="28770" y="59515"/>
                  </a:cubicBezTo>
                  <a:cubicBezTo>
                    <a:pt x="28206" y="59797"/>
                    <a:pt x="27924" y="60079"/>
                    <a:pt x="27642" y="60643"/>
                  </a:cubicBezTo>
                  <a:cubicBezTo>
                    <a:pt x="27360" y="61207"/>
                    <a:pt x="27078" y="61771"/>
                    <a:pt x="27078" y="62336"/>
                  </a:cubicBezTo>
                  <a:cubicBezTo>
                    <a:pt x="27078" y="62618"/>
                    <a:pt x="27078" y="62900"/>
                    <a:pt x="27642" y="63182"/>
                  </a:cubicBezTo>
                  <a:cubicBezTo>
                    <a:pt x="27924" y="63182"/>
                    <a:pt x="27924" y="63464"/>
                    <a:pt x="27924" y="63746"/>
                  </a:cubicBezTo>
                  <a:cubicBezTo>
                    <a:pt x="27924" y="64310"/>
                    <a:pt x="27360" y="64874"/>
                    <a:pt x="27078" y="64874"/>
                  </a:cubicBezTo>
                  <a:cubicBezTo>
                    <a:pt x="26232" y="65156"/>
                    <a:pt x="25668" y="65438"/>
                    <a:pt x="25668" y="66002"/>
                  </a:cubicBezTo>
                  <a:cubicBezTo>
                    <a:pt x="25668" y="66284"/>
                    <a:pt x="25950" y="66566"/>
                    <a:pt x="25950" y="66849"/>
                  </a:cubicBezTo>
                  <a:cubicBezTo>
                    <a:pt x="26232" y="66849"/>
                    <a:pt x="26232" y="67131"/>
                    <a:pt x="26232" y="67131"/>
                  </a:cubicBezTo>
                  <a:cubicBezTo>
                    <a:pt x="26232" y="67977"/>
                    <a:pt x="26232" y="68259"/>
                    <a:pt x="25668" y="68541"/>
                  </a:cubicBezTo>
                  <a:cubicBezTo>
                    <a:pt x="25103" y="68541"/>
                    <a:pt x="25103" y="68823"/>
                    <a:pt x="25103" y="69105"/>
                  </a:cubicBezTo>
                  <a:cubicBezTo>
                    <a:pt x="24822" y="69669"/>
                    <a:pt x="24539" y="69951"/>
                    <a:pt x="24539" y="71079"/>
                  </a:cubicBezTo>
                  <a:cubicBezTo>
                    <a:pt x="24539" y="71362"/>
                    <a:pt x="24258" y="71362"/>
                    <a:pt x="24258" y="71362"/>
                  </a:cubicBezTo>
                  <a:cubicBezTo>
                    <a:pt x="24258" y="71926"/>
                    <a:pt x="23975" y="72208"/>
                    <a:pt x="23411" y="72490"/>
                  </a:cubicBezTo>
                  <a:cubicBezTo>
                    <a:pt x="23411" y="72772"/>
                    <a:pt x="23693" y="73336"/>
                    <a:pt x="23975" y="73900"/>
                  </a:cubicBezTo>
                  <a:cubicBezTo>
                    <a:pt x="23975" y="74182"/>
                    <a:pt x="23693" y="74464"/>
                    <a:pt x="23693" y="74746"/>
                  </a:cubicBezTo>
                  <a:cubicBezTo>
                    <a:pt x="23693" y="75028"/>
                    <a:pt x="23129" y="75592"/>
                    <a:pt x="22847" y="75875"/>
                  </a:cubicBezTo>
                  <a:lnTo>
                    <a:pt x="22847" y="77003"/>
                  </a:lnTo>
                  <a:cubicBezTo>
                    <a:pt x="22565" y="77567"/>
                    <a:pt x="22847" y="78413"/>
                    <a:pt x="22001" y="78695"/>
                  </a:cubicBezTo>
                  <a:cubicBezTo>
                    <a:pt x="22283" y="79259"/>
                    <a:pt x="22283" y="79823"/>
                    <a:pt x="22283" y="80105"/>
                  </a:cubicBezTo>
                  <a:lnTo>
                    <a:pt x="22283" y="81234"/>
                  </a:lnTo>
                  <a:cubicBezTo>
                    <a:pt x="22283" y="81516"/>
                    <a:pt x="22283" y="81516"/>
                    <a:pt x="22001" y="81516"/>
                  </a:cubicBezTo>
                  <a:cubicBezTo>
                    <a:pt x="21719" y="81798"/>
                    <a:pt x="21719" y="82362"/>
                    <a:pt x="21719" y="82644"/>
                  </a:cubicBezTo>
                  <a:lnTo>
                    <a:pt x="21719" y="82926"/>
                  </a:lnTo>
                  <a:cubicBezTo>
                    <a:pt x="21719" y="83208"/>
                    <a:pt x="21437" y="83208"/>
                    <a:pt x="21437" y="83208"/>
                  </a:cubicBezTo>
                  <a:cubicBezTo>
                    <a:pt x="21155" y="83208"/>
                    <a:pt x="21155" y="83208"/>
                    <a:pt x="21155" y="83490"/>
                  </a:cubicBezTo>
                  <a:cubicBezTo>
                    <a:pt x="21155" y="83772"/>
                    <a:pt x="21437" y="84336"/>
                    <a:pt x="21437" y="84618"/>
                  </a:cubicBezTo>
                  <a:lnTo>
                    <a:pt x="21437" y="84900"/>
                  </a:lnTo>
                  <a:cubicBezTo>
                    <a:pt x="20872" y="85183"/>
                    <a:pt x="20872" y="85465"/>
                    <a:pt x="20872" y="85747"/>
                  </a:cubicBezTo>
                  <a:cubicBezTo>
                    <a:pt x="20872" y="86029"/>
                    <a:pt x="20872" y="86311"/>
                    <a:pt x="21155" y="86593"/>
                  </a:cubicBezTo>
                  <a:cubicBezTo>
                    <a:pt x="21155" y="86593"/>
                    <a:pt x="21155" y="87157"/>
                    <a:pt x="20872" y="87721"/>
                  </a:cubicBezTo>
                  <a:cubicBezTo>
                    <a:pt x="21155" y="88003"/>
                    <a:pt x="20027" y="88567"/>
                    <a:pt x="20027" y="89131"/>
                  </a:cubicBezTo>
                  <a:cubicBezTo>
                    <a:pt x="20308" y="89413"/>
                    <a:pt x="20308" y="89696"/>
                    <a:pt x="20308" y="89978"/>
                  </a:cubicBezTo>
                  <a:lnTo>
                    <a:pt x="20308" y="90824"/>
                  </a:lnTo>
                  <a:cubicBezTo>
                    <a:pt x="20027" y="91106"/>
                    <a:pt x="20027" y="91670"/>
                    <a:pt x="20027" y="91952"/>
                  </a:cubicBezTo>
                  <a:lnTo>
                    <a:pt x="20027" y="93080"/>
                  </a:lnTo>
                  <a:cubicBezTo>
                    <a:pt x="19744" y="93362"/>
                    <a:pt x="19744" y="93362"/>
                    <a:pt x="19744" y="93644"/>
                  </a:cubicBezTo>
                  <a:cubicBezTo>
                    <a:pt x="19744" y="94208"/>
                    <a:pt x="20027" y="94773"/>
                    <a:pt x="20308" y="95337"/>
                  </a:cubicBezTo>
                  <a:lnTo>
                    <a:pt x="20308" y="95619"/>
                  </a:lnTo>
                  <a:cubicBezTo>
                    <a:pt x="19744" y="95901"/>
                    <a:pt x="19744" y="96183"/>
                    <a:pt x="19744" y="96465"/>
                  </a:cubicBezTo>
                  <a:lnTo>
                    <a:pt x="19744" y="97311"/>
                  </a:lnTo>
                  <a:cubicBezTo>
                    <a:pt x="19744" y="97875"/>
                    <a:pt x="19462" y="98439"/>
                    <a:pt x="19462" y="99004"/>
                  </a:cubicBezTo>
                  <a:cubicBezTo>
                    <a:pt x="19462" y="99568"/>
                    <a:pt x="20027" y="99568"/>
                    <a:pt x="20308" y="100132"/>
                  </a:cubicBezTo>
                  <a:cubicBezTo>
                    <a:pt x="20591" y="100414"/>
                    <a:pt x="19744" y="100696"/>
                    <a:pt x="19744" y="100978"/>
                  </a:cubicBezTo>
                  <a:cubicBezTo>
                    <a:pt x="19462" y="101542"/>
                    <a:pt x="19462" y="102106"/>
                    <a:pt x="19462" y="102388"/>
                  </a:cubicBezTo>
                  <a:cubicBezTo>
                    <a:pt x="19462" y="102952"/>
                    <a:pt x="19462" y="103234"/>
                    <a:pt x="20027" y="104081"/>
                  </a:cubicBezTo>
                  <a:cubicBezTo>
                    <a:pt x="20027" y="104363"/>
                    <a:pt x="19744" y="104645"/>
                    <a:pt x="19744" y="104645"/>
                  </a:cubicBezTo>
                  <a:lnTo>
                    <a:pt x="19180" y="104645"/>
                  </a:lnTo>
                  <a:lnTo>
                    <a:pt x="18898" y="104927"/>
                  </a:lnTo>
                  <a:cubicBezTo>
                    <a:pt x="18616" y="104927"/>
                    <a:pt x="19180" y="105773"/>
                    <a:pt x="19180" y="106055"/>
                  </a:cubicBezTo>
                  <a:cubicBezTo>
                    <a:pt x="20872" y="107183"/>
                    <a:pt x="21155" y="107465"/>
                    <a:pt x="21155" y="108876"/>
                  </a:cubicBezTo>
                  <a:lnTo>
                    <a:pt x="21155" y="109158"/>
                  </a:lnTo>
                  <a:cubicBezTo>
                    <a:pt x="21155" y="109722"/>
                    <a:pt x="21437" y="110286"/>
                    <a:pt x="21437" y="110850"/>
                  </a:cubicBezTo>
                  <a:cubicBezTo>
                    <a:pt x="22001" y="111414"/>
                    <a:pt x="22283" y="111414"/>
                    <a:pt x="22283" y="112260"/>
                  </a:cubicBezTo>
                  <a:cubicBezTo>
                    <a:pt x="22283" y="112825"/>
                    <a:pt x="22847" y="113389"/>
                    <a:pt x="23411" y="114517"/>
                  </a:cubicBezTo>
                  <a:cubicBezTo>
                    <a:pt x="23975" y="114799"/>
                    <a:pt x="24539" y="114799"/>
                    <a:pt x="25103" y="114799"/>
                  </a:cubicBezTo>
                  <a:lnTo>
                    <a:pt x="26232" y="114799"/>
                  </a:lnTo>
                  <a:cubicBezTo>
                    <a:pt x="26796" y="114799"/>
                    <a:pt x="27360" y="114517"/>
                    <a:pt x="28206" y="114235"/>
                  </a:cubicBezTo>
                  <a:cubicBezTo>
                    <a:pt x="28770" y="114235"/>
                    <a:pt x="28770" y="113671"/>
                    <a:pt x="29052" y="113671"/>
                  </a:cubicBezTo>
                  <a:cubicBezTo>
                    <a:pt x="29616" y="113389"/>
                    <a:pt x="30180" y="112825"/>
                    <a:pt x="30463" y="112825"/>
                  </a:cubicBezTo>
                  <a:cubicBezTo>
                    <a:pt x="31027" y="112825"/>
                    <a:pt x="31027" y="112260"/>
                    <a:pt x="31591" y="112260"/>
                  </a:cubicBezTo>
                  <a:cubicBezTo>
                    <a:pt x="32155" y="112260"/>
                    <a:pt x="32437" y="111414"/>
                    <a:pt x="33001" y="111414"/>
                  </a:cubicBezTo>
                  <a:cubicBezTo>
                    <a:pt x="34130" y="111414"/>
                    <a:pt x="33847" y="110004"/>
                    <a:pt x="34694" y="110004"/>
                  </a:cubicBezTo>
                  <a:cubicBezTo>
                    <a:pt x="35258" y="109440"/>
                    <a:pt x="35258" y="108876"/>
                    <a:pt x="35822" y="108876"/>
                  </a:cubicBezTo>
                  <a:cubicBezTo>
                    <a:pt x="36386" y="108312"/>
                    <a:pt x="36668" y="108030"/>
                    <a:pt x="37514" y="107747"/>
                  </a:cubicBezTo>
                  <a:lnTo>
                    <a:pt x="38642" y="106337"/>
                  </a:lnTo>
                  <a:cubicBezTo>
                    <a:pt x="38925" y="106055"/>
                    <a:pt x="39771" y="105491"/>
                    <a:pt x="40053" y="104645"/>
                  </a:cubicBezTo>
                  <a:cubicBezTo>
                    <a:pt x="40617" y="103799"/>
                    <a:pt x="41463" y="103234"/>
                    <a:pt x="41745" y="102388"/>
                  </a:cubicBezTo>
                  <a:lnTo>
                    <a:pt x="41745" y="101824"/>
                  </a:lnTo>
                  <a:cubicBezTo>
                    <a:pt x="42027" y="101542"/>
                    <a:pt x="42309" y="101542"/>
                    <a:pt x="42309" y="100978"/>
                  </a:cubicBezTo>
                  <a:cubicBezTo>
                    <a:pt x="42309" y="100696"/>
                    <a:pt x="42592" y="100414"/>
                    <a:pt x="42592" y="100132"/>
                  </a:cubicBezTo>
                  <a:lnTo>
                    <a:pt x="42592" y="99850"/>
                  </a:lnTo>
                  <a:cubicBezTo>
                    <a:pt x="42873" y="99850"/>
                    <a:pt x="43437" y="99568"/>
                    <a:pt x="43437" y="99568"/>
                  </a:cubicBezTo>
                  <a:lnTo>
                    <a:pt x="43437" y="99286"/>
                  </a:lnTo>
                  <a:cubicBezTo>
                    <a:pt x="43437" y="98439"/>
                    <a:pt x="44002" y="98157"/>
                    <a:pt x="44566" y="97593"/>
                  </a:cubicBezTo>
                  <a:cubicBezTo>
                    <a:pt x="44848" y="97593"/>
                    <a:pt x="44848" y="97029"/>
                    <a:pt x="44848" y="96465"/>
                  </a:cubicBezTo>
                  <a:cubicBezTo>
                    <a:pt x="45412" y="95901"/>
                    <a:pt x="45412" y="95619"/>
                    <a:pt x="45412" y="95337"/>
                  </a:cubicBezTo>
                  <a:cubicBezTo>
                    <a:pt x="45412" y="94491"/>
                    <a:pt x="46540" y="94491"/>
                    <a:pt x="46540" y="93644"/>
                  </a:cubicBezTo>
                  <a:cubicBezTo>
                    <a:pt x="46258" y="93362"/>
                    <a:pt x="46258" y="93362"/>
                    <a:pt x="46258" y="93080"/>
                  </a:cubicBezTo>
                  <a:cubicBezTo>
                    <a:pt x="46258" y="92798"/>
                    <a:pt x="46540" y="92516"/>
                    <a:pt x="46540" y="92234"/>
                  </a:cubicBezTo>
                  <a:lnTo>
                    <a:pt x="46540" y="91952"/>
                  </a:lnTo>
                  <a:cubicBezTo>
                    <a:pt x="46822" y="91670"/>
                    <a:pt x="47104" y="91388"/>
                    <a:pt x="47668" y="91388"/>
                  </a:cubicBezTo>
                  <a:cubicBezTo>
                    <a:pt x="47950" y="91388"/>
                    <a:pt x="47950" y="91106"/>
                    <a:pt x="47950" y="90824"/>
                  </a:cubicBezTo>
                  <a:lnTo>
                    <a:pt x="47950" y="89978"/>
                  </a:lnTo>
                  <a:cubicBezTo>
                    <a:pt x="47950" y="89696"/>
                    <a:pt x="48233" y="89413"/>
                    <a:pt x="48233" y="89131"/>
                  </a:cubicBezTo>
                  <a:lnTo>
                    <a:pt x="48233" y="88849"/>
                  </a:lnTo>
                  <a:cubicBezTo>
                    <a:pt x="48233" y="88567"/>
                    <a:pt x="48514" y="88285"/>
                    <a:pt x="48797" y="87721"/>
                  </a:cubicBezTo>
                  <a:cubicBezTo>
                    <a:pt x="48514" y="87721"/>
                    <a:pt x="48797" y="87157"/>
                    <a:pt x="49078" y="86875"/>
                  </a:cubicBezTo>
                  <a:cubicBezTo>
                    <a:pt x="49361" y="86593"/>
                    <a:pt x="49361" y="86593"/>
                    <a:pt x="49361" y="86311"/>
                  </a:cubicBezTo>
                  <a:lnTo>
                    <a:pt x="49361" y="85747"/>
                  </a:lnTo>
                  <a:cubicBezTo>
                    <a:pt x="49361" y="85465"/>
                    <a:pt x="49925" y="84900"/>
                    <a:pt x="49925" y="84336"/>
                  </a:cubicBezTo>
                  <a:cubicBezTo>
                    <a:pt x="49925" y="84054"/>
                    <a:pt x="49643" y="83772"/>
                    <a:pt x="49643" y="83490"/>
                  </a:cubicBezTo>
                  <a:cubicBezTo>
                    <a:pt x="49643" y="83490"/>
                    <a:pt x="49925" y="83208"/>
                    <a:pt x="50207" y="83208"/>
                  </a:cubicBezTo>
                  <a:cubicBezTo>
                    <a:pt x="50489" y="82926"/>
                    <a:pt x="50489" y="82644"/>
                    <a:pt x="50489" y="82644"/>
                  </a:cubicBezTo>
                  <a:cubicBezTo>
                    <a:pt x="50489" y="82362"/>
                    <a:pt x="50771" y="82080"/>
                    <a:pt x="50771" y="81798"/>
                  </a:cubicBezTo>
                  <a:cubicBezTo>
                    <a:pt x="50771" y="81516"/>
                    <a:pt x="50771" y="81234"/>
                    <a:pt x="51335" y="81234"/>
                  </a:cubicBezTo>
                  <a:lnTo>
                    <a:pt x="51335" y="79823"/>
                  </a:lnTo>
                  <a:cubicBezTo>
                    <a:pt x="51335" y="79541"/>
                    <a:pt x="51335" y="79259"/>
                    <a:pt x="51053" y="78695"/>
                  </a:cubicBezTo>
                  <a:lnTo>
                    <a:pt x="51053" y="78413"/>
                  </a:lnTo>
                  <a:cubicBezTo>
                    <a:pt x="51335" y="78413"/>
                    <a:pt x="51335" y="78413"/>
                    <a:pt x="51335" y="78131"/>
                  </a:cubicBezTo>
                  <a:cubicBezTo>
                    <a:pt x="51335" y="78131"/>
                    <a:pt x="51335" y="77849"/>
                    <a:pt x="51617" y="77567"/>
                  </a:cubicBezTo>
                  <a:cubicBezTo>
                    <a:pt x="51899" y="77285"/>
                    <a:pt x="51899" y="77285"/>
                    <a:pt x="51899" y="77003"/>
                  </a:cubicBezTo>
                  <a:cubicBezTo>
                    <a:pt x="51899" y="76721"/>
                    <a:pt x="51617" y="76157"/>
                    <a:pt x="51617" y="75875"/>
                  </a:cubicBezTo>
                  <a:cubicBezTo>
                    <a:pt x="51617" y="75875"/>
                    <a:pt x="51899" y="75310"/>
                    <a:pt x="51899" y="75028"/>
                  </a:cubicBezTo>
                  <a:cubicBezTo>
                    <a:pt x="52464" y="74746"/>
                    <a:pt x="52464" y="74746"/>
                    <a:pt x="52464" y="74464"/>
                  </a:cubicBezTo>
                  <a:lnTo>
                    <a:pt x="52464" y="74182"/>
                  </a:lnTo>
                  <a:cubicBezTo>
                    <a:pt x="52464" y="73618"/>
                    <a:pt x="52745" y="73336"/>
                    <a:pt x="52745" y="73336"/>
                  </a:cubicBezTo>
                  <a:lnTo>
                    <a:pt x="52745" y="73054"/>
                  </a:lnTo>
                  <a:cubicBezTo>
                    <a:pt x="52745" y="72490"/>
                    <a:pt x="53309" y="71926"/>
                    <a:pt x="53309" y="71079"/>
                  </a:cubicBezTo>
                  <a:cubicBezTo>
                    <a:pt x="53028" y="70515"/>
                    <a:pt x="53028" y="70233"/>
                    <a:pt x="53028" y="69951"/>
                  </a:cubicBezTo>
                  <a:cubicBezTo>
                    <a:pt x="53028" y="69669"/>
                    <a:pt x="53028" y="69387"/>
                    <a:pt x="53309" y="69105"/>
                  </a:cubicBezTo>
                  <a:cubicBezTo>
                    <a:pt x="53309" y="68823"/>
                    <a:pt x="53592" y="68541"/>
                    <a:pt x="53592" y="68259"/>
                  </a:cubicBezTo>
                  <a:lnTo>
                    <a:pt x="53592" y="67977"/>
                  </a:lnTo>
                  <a:cubicBezTo>
                    <a:pt x="53592" y="67695"/>
                    <a:pt x="53309" y="67131"/>
                    <a:pt x="53309" y="66849"/>
                  </a:cubicBezTo>
                  <a:cubicBezTo>
                    <a:pt x="53309" y="66566"/>
                    <a:pt x="53592" y="66284"/>
                    <a:pt x="53874" y="66002"/>
                  </a:cubicBezTo>
                  <a:lnTo>
                    <a:pt x="53874" y="65156"/>
                  </a:lnTo>
                  <a:cubicBezTo>
                    <a:pt x="53874" y="64874"/>
                    <a:pt x="53874" y="64874"/>
                    <a:pt x="54156" y="64874"/>
                  </a:cubicBezTo>
                  <a:cubicBezTo>
                    <a:pt x="54438" y="64592"/>
                    <a:pt x="54438" y="64310"/>
                    <a:pt x="54438" y="64028"/>
                  </a:cubicBezTo>
                  <a:lnTo>
                    <a:pt x="54438" y="62054"/>
                  </a:lnTo>
                  <a:cubicBezTo>
                    <a:pt x="54720" y="61771"/>
                    <a:pt x="55002" y="61771"/>
                    <a:pt x="55002" y="61771"/>
                  </a:cubicBezTo>
                  <a:cubicBezTo>
                    <a:pt x="55848" y="61771"/>
                    <a:pt x="55848" y="61771"/>
                    <a:pt x="55848" y="61207"/>
                  </a:cubicBezTo>
                  <a:cubicBezTo>
                    <a:pt x="55848" y="60925"/>
                    <a:pt x="55566" y="60361"/>
                    <a:pt x="55566" y="60079"/>
                  </a:cubicBezTo>
                  <a:cubicBezTo>
                    <a:pt x="55848" y="59515"/>
                    <a:pt x="55848" y="59233"/>
                    <a:pt x="55848" y="59233"/>
                  </a:cubicBezTo>
                  <a:cubicBezTo>
                    <a:pt x="56412" y="58951"/>
                    <a:pt x="56130" y="58387"/>
                    <a:pt x="56695" y="58105"/>
                  </a:cubicBezTo>
                  <a:cubicBezTo>
                    <a:pt x="56976" y="57823"/>
                    <a:pt x="56976" y="57541"/>
                    <a:pt x="56976" y="57258"/>
                  </a:cubicBezTo>
                  <a:lnTo>
                    <a:pt x="56976" y="56412"/>
                  </a:lnTo>
                  <a:cubicBezTo>
                    <a:pt x="57259" y="55848"/>
                    <a:pt x="56976" y="55002"/>
                    <a:pt x="57540" y="54720"/>
                  </a:cubicBezTo>
                  <a:cubicBezTo>
                    <a:pt x="57259" y="54438"/>
                    <a:pt x="56976" y="53874"/>
                    <a:pt x="56976" y="53592"/>
                  </a:cubicBezTo>
                  <a:cubicBezTo>
                    <a:pt x="56976" y="53028"/>
                    <a:pt x="57540" y="52745"/>
                    <a:pt x="57823" y="52463"/>
                  </a:cubicBezTo>
                  <a:cubicBezTo>
                    <a:pt x="57540" y="52181"/>
                    <a:pt x="57259" y="51899"/>
                    <a:pt x="57259" y="51617"/>
                  </a:cubicBezTo>
                  <a:cubicBezTo>
                    <a:pt x="57259" y="51335"/>
                    <a:pt x="57540" y="50771"/>
                    <a:pt x="57540" y="50489"/>
                  </a:cubicBezTo>
                  <a:lnTo>
                    <a:pt x="57540" y="50207"/>
                  </a:lnTo>
                  <a:cubicBezTo>
                    <a:pt x="57540" y="49925"/>
                    <a:pt x="58105" y="49643"/>
                    <a:pt x="58387" y="49361"/>
                  </a:cubicBezTo>
                  <a:lnTo>
                    <a:pt x="58387" y="47950"/>
                  </a:lnTo>
                  <a:cubicBezTo>
                    <a:pt x="58105" y="47668"/>
                    <a:pt x="58105" y="47668"/>
                    <a:pt x="58105" y="47386"/>
                  </a:cubicBezTo>
                  <a:cubicBezTo>
                    <a:pt x="58105" y="47104"/>
                    <a:pt x="58387" y="46822"/>
                    <a:pt x="58387" y="46258"/>
                  </a:cubicBezTo>
                  <a:lnTo>
                    <a:pt x="58387" y="45694"/>
                  </a:lnTo>
                  <a:close/>
                  <a:moveTo>
                    <a:pt x="19180" y="85747"/>
                  </a:moveTo>
                  <a:cubicBezTo>
                    <a:pt x="19180" y="86029"/>
                    <a:pt x="19180" y="86029"/>
                    <a:pt x="19462" y="86311"/>
                  </a:cubicBezTo>
                  <a:cubicBezTo>
                    <a:pt x="19462" y="85747"/>
                    <a:pt x="20027" y="85465"/>
                    <a:pt x="20591" y="85183"/>
                  </a:cubicBezTo>
                  <a:cubicBezTo>
                    <a:pt x="20591" y="85183"/>
                    <a:pt x="20591" y="84900"/>
                    <a:pt x="20308" y="84900"/>
                  </a:cubicBezTo>
                  <a:cubicBezTo>
                    <a:pt x="20308" y="84618"/>
                    <a:pt x="20027" y="84618"/>
                    <a:pt x="20027" y="84618"/>
                  </a:cubicBezTo>
                  <a:lnTo>
                    <a:pt x="19462" y="85183"/>
                  </a:lnTo>
                  <a:cubicBezTo>
                    <a:pt x="19180" y="85465"/>
                    <a:pt x="19180" y="85465"/>
                    <a:pt x="19180" y="85747"/>
                  </a:cubicBezTo>
                  <a:close/>
                  <a:moveTo>
                    <a:pt x="37232" y="124953"/>
                  </a:moveTo>
                  <a:cubicBezTo>
                    <a:pt x="36668" y="124953"/>
                    <a:pt x="36668" y="124671"/>
                    <a:pt x="36668" y="124671"/>
                  </a:cubicBezTo>
                  <a:cubicBezTo>
                    <a:pt x="36104" y="124671"/>
                    <a:pt x="35822" y="125235"/>
                    <a:pt x="35822" y="125235"/>
                  </a:cubicBezTo>
                  <a:lnTo>
                    <a:pt x="35822" y="125517"/>
                  </a:lnTo>
                  <a:cubicBezTo>
                    <a:pt x="36668" y="125517"/>
                    <a:pt x="36668" y="125235"/>
                    <a:pt x="37232" y="124953"/>
                  </a:cubicBezTo>
                  <a:close/>
                  <a:moveTo>
                    <a:pt x="54156" y="113953"/>
                  </a:moveTo>
                  <a:cubicBezTo>
                    <a:pt x="54438" y="113953"/>
                    <a:pt x="54720" y="114235"/>
                    <a:pt x="54720" y="114235"/>
                  </a:cubicBezTo>
                  <a:lnTo>
                    <a:pt x="54438" y="114517"/>
                  </a:lnTo>
                  <a:lnTo>
                    <a:pt x="54156" y="114517"/>
                  </a:lnTo>
                  <a:cubicBezTo>
                    <a:pt x="53592" y="115081"/>
                    <a:pt x="53028" y="115363"/>
                    <a:pt x="52745" y="116491"/>
                  </a:cubicBezTo>
                  <a:lnTo>
                    <a:pt x="52464" y="116491"/>
                  </a:lnTo>
                  <a:lnTo>
                    <a:pt x="51617" y="115645"/>
                  </a:lnTo>
                  <a:lnTo>
                    <a:pt x="51617" y="115363"/>
                  </a:lnTo>
                  <a:lnTo>
                    <a:pt x="53874" y="113671"/>
                  </a:lnTo>
                  <a:cubicBezTo>
                    <a:pt x="53874" y="113671"/>
                    <a:pt x="54156" y="113671"/>
                    <a:pt x="54156" y="113953"/>
                  </a:cubicBezTo>
                  <a:close/>
                  <a:moveTo>
                    <a:pt x="58105" y="33565"/>
                  </a:moveTo>
                  <a:cubicBezTo>
                    <a:pt x="58105" y="33283"/>
                    <a:pt x="57823" y="33283"/>
                    <a:pt x="57540" y="33283"/>
                  </a:cubicBezTo>
                  <a:cubicBezTo>
                    <a:pt x="57259" y="33283"/>
                    <a:pt x="57259" y="33565"/>
                    <a:pt x="56976" y="33847"/>
                  </a:cubicBezTo>
                  <a:lnTo>
                    <a:pt x="56976" y="34976"/>
                  </a:lnTo>
                  <a:cubicBezTo>
                    <a:pt x="57540" y="34976"/>
                    <a:pt x="58105" y="34976"/>
                    <a:pt x="58105" y="34411"/>
                  </a:cubicBezTo>
                  <a:lnTo>
                    <a:pt x="58105" y="33565"/>
                  </a:lnTo>
                  <a:close/>
                  <a:moveTo>
                    <a:pt x="61771" y="104927"/>
                  </a:moveTo>
                  <a:cubicBezTo>
                    <a:pt x="62054" y="104927"/>
                    <a:pt x="62054" y="105209"/>
                    <a:pt x="62336" y="105491"/>
                  </a:cubicBezTo>
                  <a:lnTo>
                    <a:pt x="62618" y="105773"/>
                  </a:lnTo>
                  <a:cubicBezTo>
                    <a:pt x="62336" y="106337"/>
                    <a:pt x="61207" y="107183"/>
                    <a:pt x="60643" y="108030"/>
                  </a:cubicBezTo>
                  <a:cubicBezTo>
                    <a:pt x="60079" y="108030"/>
                    <a:pt x="60079" y="108030"/>
                    <a:pt x="60079" y="108312"/>
                  </a:cubicBezTo>
                  <a:lnTo>
                    <a:pt x="60079" y="108876"/>
                  </a:lnTo>
                  <a:cubicBezTo>
                    <a:pt x="60079" y="109158"/>
                    <a:pt x="60079" y="109722"/>
                    <a:pt x="59515" y="110286"/>
                  </a:cubicBezTo>
                  <a:cubicBezTo>
                    <a:pt x="58951" y="110286"/>
                    <a:pt x="58951" y="110850"/>
                    <a:pt x="58669" y="110850"/>
                  </a:cubicBezTo>
                  <a:lnTo>
                    <a:pt x="58669" y="111132"/>
                  </a:lnTo>
                  <a:cubicBezTo>
                    <a:pt x="58387" y="111132"/>
                    <a:pt x="58387" y="111132"/>
                    <a:pt x="57540" y="110850"/>
                  </a:cubicBezTo>
                  <a:lnTo>
                    <a:pt x="57823" y="110850"/>
                  </a:lnTo>
                  <a:cubicBezTo>
                    <a:pt x="57823" y="110568"/>
                    <a:pt x="58105" y="110286"/>
                    <a:pt x="58387" y="109722"/>
                  </a:cubicBezTo>
                  <a:lnTo>
                    <a:pt x="58387" y="108312"/>
                  </a:lnTo>
                  <a:cubicBezTo>
                    <a:pt x="58387" y="106901"/>
                    <a:pt x="58387" y="106901"/>
                    <a:pt x="59515" y="106055"/>
                  </a:cubicBezTo>
                  <a:cubicBezTo>
                    <a:pt x="59797" y="105773"/>
                    <a:pt x="59797" y="105773"/>
                    <a:pt x="60079" y="105773"/>
                  </a:cubicBezTo>
                  <a:cubicBezTo>
                    <a:pt x="60079" y="105773"/>
                    <a:pt x="60361" y="105773"/>
                    <a:pt x="60643" y="106055"/>
                  </a:cubicBezTo>
                  <a:cubicBezTo>
                    <a:pt x="60643" y="106055"/>
                    <a:pt x="61207" y="106055"/>
                    <a:pt x="61207" y="105773"/>
                  </a:cubicBezTo>
                  <a:lnTo>
                    <a:pt x="60926" y="105491"/>
                  </a:lnTo>
                  <a:cubicBezTo>
                    <a:pt x="61207" y="105209"/>
                    <a:pt x="61490" y="104927"/>
                    <a:pt x="61771" y="104927"/>
                  </a:cubicBezTo>
                  <a:close/>
                  <a:moveTo>
                    <a:pt x="59515" y="49925"/>
                  </a:moveTo>
                  <a:lnTo>
                    <a:pt x="59515" y="50207"/>
                  </a:lnTo>
                  <a:cubicBezTo>
                    <a:pt x="59797" y="50207"/>
                    <a:pt x="59797" y="49925"/>
                    <a:pt x="60079" y="49925"/>
                  </a:cubicBezTo>
                  <a:lnTo>
                    <a:pt x="59515" y="49925"/>
                  </a:lnTo>
                  <a:close/>
                  <a:moveTo>
                    <a:pt x="60079" y="43720"/>
                  </a:moveTo>
                  <a:lnTo>
                    <a:pt x="60079" y="44284"/>
                  </a:lnTo>
                  <a:cubicBezTo>
                    <a:pt x="60079" y="44566"/>
                    <a:pt x="60361" y="44566"/>
                    <a:pt x="60361" y="44566"/>
                  </a:cubicBezTo>
                  <a:cubicBezTo>
                    <a:pt x="60926" y="44566"/>
                    <a:pt x="60926" y="44566"/>
                    <a:pt x="60926" y="44284"/>
                  </a:cubicBezTo>
                  <a:cubicBezTo>
                    <a:pt x="60926" y="44002"/>
                    <a:pt x="60643" y="43155"/>
                    <a:pt x="60643" y="43155"/>
                  </a:cubicBezTo>
                  <a:cubicBezTo>
                    <a:pt x="60079" y="43437"/>
                    <a:pt x="60079" y="43720"/>
                    <a:pt x="60079" y="43720"/>
                  </a:cubicBezTo>
                  <a:close/>
                  <a:moveTo>
                    <a:pt x="60079" y="47668"/>
                  </a:moveTo>
                  <a:cubicBezTo>
                    <a:pt x="60079" y="47668"/>
                    <a:pt x="60361" y="47950"/>
                    <a:pt x="60643" y="47950"/>
                  </a:cubicBezTo>
                  <a:lnTo>
                    <a:pt x="60361" y="47668"/>
                  </a:lnTo>
                  <a:lnTo>
                    <a:pt x="60361" y="47386"/>
                  </a:lnTo>
                  <a:cubicBezTo>
                    <a:pt x="60079" y="47386"/>
                    <a:pt x="60079" y="47668"/>
                    <a:pt x="60079" y="47668"/>
                  </a:cubicBezTo>
                  <a:close/>
                  <a:moveTo>
                    <a:pt x="61490" y="29899"/>
                  </a:moveTo>
                  <a:cubicBezTo>
                    <a:pt x="61490" y="29334"/>
                    <a:pt x="60926" y="29334"/>
                    <a:pt x="60361" y="28770"/>
                  </a:cubicBezTo>
                  <a:lnTo>
                    <a:pt x="60361" y="29899"/>
                  </a:lnTo>
                  <a:cubicBezTo>
                    <a:pt x="60361" y="30181"/>
                    <a:pt x="60643" y="30181"/>
                    <a:pt x="60926" y="30181"/>
                  </a:cubicBezTo>
                  <a:cubicBezTo>
                    <a:pt x="61207" y="30181"/>
                    <a:pt x="61490" y="29899"/>
                    <a:pt x="61490" y="29899"/>
                  </a:cubicBezTo>
                  <a:close/>
                  <a:moveTo>
                    <a:pt x="62054" y="96183"/>
                  </a:moveTo>
                  <a:cubicBezTo>
                    <a:pt x="62054" y="95901"/>
                    <a:pt x="61771" y="95619"/>
                    <a:pt x="61771" y="95619"/>
                  </a:cubicBezTo>
                  <a:cubicBezTo>
                    <a:pt x="61490" y="95619"/>
                    <a:pt x="61207" y="95619"/>
                    <a:pt x="61207" y="95901"/>
                  </a:cubicBezTo>
                  <a:cubicBezTo>
                    <a:pt x="61207" y="96465"/>
                    <a:pt x="60643" y="97029"/>
                    <a:pt x="60643" y="97311"/>
                  </a:cubicBezTo>
                  <a:cubicBezTo>
                    <a:pt x="60361" y="97311"/>
                    <a:pt x="60361" y="97593"/>
                    <a:pt x="60361" y="97593"/>
                  </a:cubicBezTo>
                  <a:cubicBezTo>
                    <a:pt x="60643" y="97593"/>
                    <a:pt x="60643" y="97875"/>
                    <a:pt x="60926" y="98157"/>
                  </a:cubicBezTo>
                  <a:cubicBezTo>
                    <a:pt x="61490" y="98157"/>
                    <a:pt x="61490" y="97593"/>
                    <a:pt x="61771" y="97593"/>
                  </a:cubicBezTo>
                  <a:cubicBezTo>
                    <a:pt x="62054" y="97311"/>
                    <a:pt x="62054" y="97029"/>
                    <a:pt x="62054" y="96183"/>
                  </a:cubicBezTo>
                  <a:close/>
                  <a:moveTo>
                    <a:pt x="64310" y="94773"/>
                  </a:moveTo>
                  <a:lnTo>
                    <a:pt x="64028" y="94491"/>
                  </a:lnTo>
                  <a:lnTo>
                    <a:pt x="64028" y="93644"/>
                  </a:lnTo>
                  <a:cubicBezTo>
                    <a:pt x="64310" y="93362"/>
                    <a:pt x="64310" y="93080"/>
                    <a:pt x="64310" y="92516"/>
                  </a:cubicBezTo>
                  <a:cubicBezTo>
                    <a:pt x="64310" y="91952"/>
                    <a:pt x="64592" y="91670"/>
                    <a:pt x="64310" y="91670"/>
                  </a:cubicBezTo>
                  <a:lnTo>
                    <a:pt x="63746" y="91106"/>
                  </a:lnTo>
                  <a:lnTo>
                    <a:pt x="63746" y="90824"/>
                  </a:lnTo>
                  <a:lnTo>
                    <a:pt x="63464" y="91106"/>
                  </a:lnTo>
                  <a:cubicBezTo>
                    <a:pt x="63182" y="91106"/>
                    <a:pt x="63182" y="91388"/>
                    <a:pt x="63182" y="91670"/>
                  </a:cubicBezTo>
                  <a:cubicBezTo>
                    <a:pt x="62900" y="92516"/>
                    <a:pt x="62900" y="92798"/>
                    <a:pt x="62618" y="93080"/>
                  </a:cubicBezTo>
                  <a:cubicBezTo>
                    <a:pt x="62618" y="93080"/>
                    <a:pt x="62336" y="93362"/>
                    <a:pt x="62336" y="93644"/>
                  </a:cubicBezTo>
                  <a:cubicBezTo>
                    <a:pt x="62336" y="93926"/>
                    <a:pt x="62618" y="94208"/>
                    <a:pt x="62900" y="94491"/>
                  </a:cubicBezTo>
                  <a:lnTo>
                    <a:pt x="64310" y="95337"/>
                  </a:lnTo>
                  <a:cubicBezTo>
                    <a:pt x="64592" y="95619"/>
                    <a:pt x="64592" y="95619"/>
                    <a:pt x="64874" y="95619"/>
                  </a:cubicBezTo>
                  <a:lnTo>
                    <a:pt x="65438" y="95619"/>
                  </a:lnTo>
                  <a:cubicBezTo>
                    <a:pt x="65438" y="95619"/>
                    <a:pt x="65156" y="95055"/>
                    <a:pt x="64310" y="94773"/>
                  </a:cubicBezTo>
                  <a:close/>
                  <a:moveTo>
                    <a:pt x="65438" y="35822"/>
                  </a:moveTo>
                  <a:cubicBezTo>
                    <a:pt x="65438" y="36386"/>
                    <a:pt x="65438" y="36386"/>
                    <a:pt x="65156" y="36386"/>
                  </a:cubicBezTo>
                  <a:cubicBezTo>
                    <a:pt x="65156" y="36668"/>
                    <a:pt x="65156" y="36668"/>
                    <a:pt x="64592" y="36668"/>
                  </a:cubicBezTo>
                  <a:lnTo>
                    <a:pt x="64310" y="36386"/>
                  </a:lnTo>
                  <a:cubicBezTo>
                    <a:pt x="64592" y="36386"/>
                    <a:pt x="64874" y="36104"/>
                    <a:pt x="64874" y="35822"/>
                  </a:cubicBezTo>
                  <a:cubicBezTo>
                    <a:pt x="64874" y="35540"/>
                    <a:pt x="64592" y="35540"/>
                    <a:pt x="64592" y="35258"/>
                  </a:cubicBezTo>
                  <a:lnTo>
                    <a:pt x="64874" y="34976"/>
                  </a:lnTo>
                  <a:lnTo>
                    <a:pt x="64874" y="35258"/>
                  </a:lnTo>
                  <a:lnTo>
                    <a:pt x="65438" y="35822"/>
                  </a:lnTo>
                  <a:close/>
                  <a:moveTo>
                    <a:pt x="67695" y="87157"/>
                  </a:moveTo>
                  <a:lnTo>
                    <a:pt x="67695" y="88003"/>
                  </a:lnTo>
                  <a:lnTo>
                    <a:pt x="66848" y="88003"/>
                  </a:lnTo>
                  <a:lnTo>
                    <a:pt x="65720" y="86875"/>
                  </a:lnTo>
                  <a:cubicBezTo>
                    <a:pt x="66567" y="86593"/>
                    <a:pt x="66002" y="86029"/>
                    <a:pt x="66567" y="85183"/>
                  </a:cubicBezTo>
                  <a:lnTo>
                    <a:pt x="66567" y="85465"/>
                  </a:lnTo>
                  <a:cubicBezTo>
                    <a:pt x="66567" y="85465"/>
                    <a:pt x="66567" y="85747"/>
                    <a:pt x="66848" y="85747"/>
                  </a:cubicBezTo>
                  <a:cubicBezTo>
                    <a:pt x="67412" y="86029"/>
                    <a:pt x="67412" y="86593"/>
                    <a:pt x="67695" y="87157"/>
                  </a:cubicBezTo>
                  <a:close/>
                  <a:moveTo>
                    <a:pt x="66002" y="93080"/>
                  </a:moveTo>
                  <a:cubicBezTo>
                    <a:pt x="66002" y="93362"/>
                    <a:pt x="66002" y="93362"/>
                    <a:pt x="66284" y="93362"/>
                  </a:cubicBezTo>
                  <a:lnTo>
                    <a:pt x="66567" y="93362"/>
                  </a:lnTo>
                  <a:lnTo>
                    <a:pt x="66848" y="93080"/>
                  </a:lnTo>
                  <a:cubicBezTo>
                    <a:pt x="66848" y="92798"/>
                    <a:pt x="66567" y="92798"/>
                    <a:pt x="66284" y="92516"/>
                  </a:cubicBezTo>
                  <a:cubicBezTo>
                    <a:pt x="66002" y="92798"/>
                    <a:pt x="66002" y="93080"/>
                    <a:pt x="66002" y="93080"/>
                  </a:cubicBezTo>
                  <a:close/>
                  <a:moveTo>
                    <a:pt x="66567" y="69669"/>
                  </a:moveTo>
                  <a:cubicBezTo>
                    <a:pt x="66567" y="69387"/>
                    <a:pt x="66567" y="69387"/>
                    <a:pt x="66848" y="68823"/>
                  </a:cubicBezTo>
                  <a:cubicBezTo>
                    <a:pt x="67131" y="68259"/>
                    <a:pt x="67412" y="67977"/>
                    <a:pt x="67412" y="67977"/>
                  </a:cubicBezTo>
                  <a:cubicBezTo>
                    <a:pt x="67412" y="67977"/>
                    <a:pt x="67977" y="68259"/>
                    <a:pt x="68259" y="68259"/>
                  </a:cubicBezTo>
                  <a:lnTo>
                    <a:pt x="68259" y="69669"/>
                  </a:lnTo>
                  <a:cubicBezTo>
                    <a:pt x="68259" y="69951"/>
                    <a:pt x="68259" y="70797"/>
                    <a:pt x="67977" y="71362"/>
                  </a:cubicBezTo>
                  <a:lnTo>
                    <a:pt x="67131" y="71362"/>
                  </a:lnTo>
                  <a:lnTo>
                    <a:pt x="67131" y="71079"/>
                  </a:lnTo>
                  <a:cubicBezTo>
                    <a:pt x="66848" y="70233"/>
                    <a:pt x="66848" y="69951"/>
                    <a:pt x="66567" y="69669"/>
                  </a:cubicBezTo>
                  <a:close/>
                  <a:moveTo>
                    <a:pt x="67412" y="58105"/>
                  </a:moveTo>
                  <a:cubicBezTo>
                    <a:pt x="67412" y="57823"/>
                    <a:pt x="67412" y="57541"/>
                    <a:pt x="67131" y="57258"/>
                  </a:cubicBezTo>
                  <a:cubicBezTo>
                    <a:pt x="67131" y="57258"/>
                    <a:pt x="67131" y="56976"/>
                    <a:pt x="67412" y="56976"/>
                  </a:cubicBezTo>
                  <a:cubicBezTo>
                    <a:pt x="67695" y="56694"/>
                    <a:pt x="68259" y="56130"/>
                    <a:pt x="68259" y="55566"/>
                  </a:cubicBezTo>
                  <a:cubicBezTo>
                    <a:pt x="68259" y="55566"/>
                    <a:pt x="68541" y="55284"/>
                    <a:pt x="68823" y="55284"/>
                  </a:cubicBezTo>
                  <a:cubicBezTo>
                    <a:pt x="69105" y="55284"/>
                    <a:pt x="69105" y="55566"/>
                    <a:pt x="69105" y="55566"/>
                  </a:cubicBezTo>
                  <a:cubicBezTo>
                    <a:pt x="69105" y="56130"/>
                    <a:pt x="69105" y="56130"/>
                    <a:pt x="68823" y="56694"/>
                  </a:cubicBezTo>
                  <a:lnTo>
                    <a:pt x="68823" y="57258"/>
                  </a:lnTo>
                  <a:cubicBezTo>
                    <a:pt x="69105" y="57823"/>
                    <a:pt x="69105" y="58105"/>
                    <a:pt x="69105" y="58105"/>
                  </a:cubicBezTo>
                  <a:lnTo>
                    <a:pt x="69105" y="58387"/>
                  </a:lnTo>
                  <a:cubicBezTo>
                    <a:pt x="68541" y="58951"/>
                    <a:pt x="67977" y="58951"/>
                    <a:pt x="67412" y="59233"/>
                  </a:cubicBezTo>
                  <a:cubicBezTo>
                    <a:pt x="67412" y="59515"/>
                    <a:pt x="67131" y="59515"/>
                    <a:pt x="67131" y="59515"/>
                  </a:cubicBezTo>
                  <a:lnTo>
                    <a:pt x="67131" y="59233"/>
                  </a:lnTo>
                  <a:cubicBezTo>
                    <a:pt x="67131" y="58951"/>
                    <a:pt x="67412" y="58669"/>
                    <a:pt x="67412" y="58105"/>
                  </a:cubicBezTo>
                  <a:close/>
                  <a:moveTo>
                    <a:pt x="70515" y="53028"/>
                  </a:moveTo>
                  <a:cubicBezTo>
                    <a:pt x="70515" y="53028"/>
                    <a:pt x="69669" y="53592"/>
                    <a:pt x="69387" y="53592"/>
                  </a:cubicBezTo>
                  <a:lnTo>
                    <a:pt x="69105" y="53592"/>
                  </a:lnTo>
                  <a:cubicBezTo>
                    <a:pt x="69105" y="53028"/>
                    <a:pt x="69105" y="53028"/>
                    <a:pt x="68541" y="53028"/>
                  </a:cubicBezTo>
                  <a:cubicBezTo>
                    <a:pt x="68541" y="53028"/>
                    <a:pt x="67695" y="53028"/>
                    <a:pt x="67695" y="52463"/>
                  </a:cubicBezTo>
                  <a:cubicBezTo>
                    <a:pt x="67695" y="52181"/>
                    <a:pt x="68259" y="51617"/>
                    <a:pt x="68541" y="51617"/>
                  </a:cubicBezTo>
                  <a:cubicBezTo>
                    <a:pt x="69387" y="51617"/>
                    <a:pt x="70515" y="52181"/>
                    <a:pt x="70515" y="53028"/>
                  </a:cubicBezTo>
                  <a:close/>
                  <a:moveTo>
                    <a:pt x="73054" y="69387"/>
                  </a:moveTo>
                  <a:cubicBezTo>
                    <a:pt x="73336" y="69951"/>
                    <a:pt x="73618" y="70797"/>
                    <a:pt x="73618" y="71362"/>
                  </a:cubicBezTo>
                  <a:cubicBezTo>
                    <a:pt x="73618" y="71362"/>
                    <a:pt x="73336" y="71644"/>
                    <a:pt x="73054" y="71644"/>
                  </a:cubicBezTo>
                  <a:cubicBezTo>
                    <a:pt x="73054" y="71926"/>
                    <a:pt x="72490" y="71926"/>
                    <a:pt x="72490" y="72490"/>
                  </a:cubicBezTo>
                  <a:lnTo>
                    <a:pt x="73054" y="74182"/>
                  </a:lnTo>
                  <a:lnTo>
                    <a:pt x="73336" y="74464"/>
                  </a:lnTo>
                  <a:cubicBezTo>
                    <a:pt x="73336" y="74746"/>
                    <a:pt x="73054" y="74746"/>
                    <a:pt x="73054" y="74746"/>
                  </a:cubicBezTo>
                  <a:lnTo>
                    <a:pt x="73054" y="75592"/>
                  </a:lnTo>
                  <a:cubicBezTo>
                    <a:pt x="73336" y="75592"/>
                    <a:pt x="73054" y="75875"/>
                    <a:pt x="72772" y="75875"/>
                  </a:cubicBezTo>
                  <a:cubicBezTo>
                    <a:pt x="72772" y="76439"/>
                    <a:pt x="72490" y="76157"/>
                    <a:pt x="72490" y="76439"/>
                  </a:cubicBezTo>
                  <a:lnTo>
                    <a:pt x="72490" y="76721"/>
                  </a:lnTo>
                  <a:cubicBezTo>
                    <a:pt x="72208" y="77285"/>
                    <a:pt x="72208" y="77849"/>
                    <a:pt x="71643" y="78131"/>
                  </a:cubicBezTo>
                  <a:lnTo>
                    <a:pt x="71362" y="78413"/>
                  </a:lnTo>
                  <a:cubicBezTo>
                    <a:pt x="71362" y="78413"/>
                    <a:pt x="71362" y="78695"/>
                    <a:pt x="71643" y="78695"/>
                  </a:cubicBezTo>
                  <a:cubicBezTo>
                    <a:pt x="72208" y="78695"/>
                    <a:pt x="72490" y="78977"/>
                    <a:pt x="72772" y="79259"/>
                  </a:cubicBezTo>
                  <a:cubicBezTo>
                    <a:pt x="73054" y="79259"/>
                    <a:pt x="73054" y="79541"/>
                    <a:pt x="73054" y="79823"/>
                  </a:cubicBezTo>
                  <a:cubicBezTo>
                    <a:pt x="72772" y="79823"/>
                    <a:pt x="72772" y="80105"/>
                    <a:pt x="72772" y="80388"/>
                  </a:cubicBezTo>
                  <a:lnTo>
                    <a:pt x="72772" y="80670"/>
                  </a:lnTo>
                  <a:cubicBezTo>
                    <a:pt x="72772" y="80952"/>
                    <a:pt x="72772" y="81234"/>
                    <a:pt x="72490" y="81798"/>
                  </a:cubicBezTo>
                  <a:lnTo>
                    <a:pt x="71643" y="82926"/>
                  </a:lnTo>
                  <a:cubicBezTo>
                    <a:pt x="70798" y="83772"/>
                    <a:pt x="70798" y="84618"/>
                    <a:pt x="70233" y="85183"/>
                  </a:cubicBezTo>
                  <a:lnTo>
                    <a:pt x="69951" y="85465"/>
                  </a:lnTo>
                  <a:lnTo>
                    <a:pt x="69669" y="85465"/>
                  </a:lnTo>
                  <a:lnTo>
                    <a:pt x="69951" y="85183"/>
                  </a:lnTo>
                  <a:lnTo>
                    <a:pt x="69951" y="84618"/>
                  </a:lnTo>
                  <a:cubicBezTo>
                    <a:pt x="69669" y="84336"/>
                    <a:pt x="69669" y="84054"/>
                    <a:pt x="69669" y="83772"/>
                  </a:cubicBezTo>
                  <a:cubicBezTo>
                    <a:pt x="69669" y="83490"/>
                    <a:pt x="69669" y="83208"/>
                    <a:pt x="70233" y="82926"/>
                  </a:cubicBezTo>
                  <a:cubicBezTo>
                    <a:pt x="69951" y="82644"/>
                    <a:pt x="69951" y="82362"/>
                    <a:pt x="69951" y="81798"/>
                  </a:cubicBezTo>
                  <a:cubicBezTo>
                    <a:pt x="69669" y="81516"/>
                    <a:pt x="69669" y="81516"/>
                    <a:pt x="69669" y="81234"/>
                  </a:cubicBezTo>
                  <a:cubicBezTo>
                    <a:pt x="69669" y="81234"/>
                    <a:pt x="69669" y="80952"/>
                    <a:pt x="69951" y="80670"/>
                  </a:cubicBezTo>
                  <a:lnTo>
                    <a:pt x="70233" y="80670"/>
                  </a:lnTo>
                  <a:cubicBezTo>
                    <a:pt x="70233" y="80388"/>
                    <a:pt x="70515" y="80388"/>
                    <a:pt x="70515" y="80105"/>
                  </a:cubicBezTo>
                  <a:cubicBezTo>
                    <a:pt x="70515" y="79823"/>
                    <a:pt x="70233" y="79259"/>
                    <a:pt x="69387" y="78695"/>
                  </a:cubicBezTo>
                  <a:lnTo>
                    <a:pt x="69105" y="78413"/>
                  </a:lnTo>
                  <a:cubicBezTo>
                    <a:pt x="69105" y="78131"/>
                    <a:pt x="69387" y="77849"/>
                    <a:pt x="69387" y="77849"/>
                  </a:cubicBezTo>
                  <a:cubicBezTo>
                    <a:pt x="70233" y="77567"/>
                    <a:pt x="70515" y="77003"/>
                    <a:pt x="70515" y="76721"/>
                  </a:cubicBezTo>
                  <a:cubicBezTo>
                    <a:pt x="70515" y="76439"/>
                    <a:pt x="70233" y="76439"/>
                    <a:pt x="70233" y="76157"/>
                  </a:cubicBezTo>
                  <a:cubicBezTo>
                    <a:pt x="70233" y="75875"/>
                    <a:pt x="69951" y="75592"/>
                    <a:pt x="69951" y="75592"/>
                  </a:cubicBezTo>
                  <a:lnTo>
                    <a:pt x="70233" y="75592"/>
                  </a:lnTo>
                  <a:lnTo>
                    <a:pt x="70515" y="75310"/>
                  </a:lnTo>
                  <a:cubicBezTo>
                    <a:pt x="70798" y="75028"/>
                    <a:pt x="71079" y="75028"/>
                    <a:pt x="71079" y="74746"/>
                  </a:cubicBezTo>
                  <a:lnTo>
                    <a:pt x="70515" y="74182"/>
                  </a:lnTo>
                  <a:cubicBezTo>
                    <a:pt x="70233" y="73900"/>
                    <a:pt x="70233" y="73618"/>
                    <a:pt x="70233" y="73336"/>
                  </a:cubicBezTo>
                  <a:cubicBezTo>
                    <a:pt x="70233" y="73054"/>
                    <a:pt x="70233" y="72772"/>
                    <a:pt x="70515" y="72208"/>
                  </a:cubicBezTo>
                  <a:cubicBezTo>
                    <a:pt x="70798" y="72208"/>
                    <a:pt x="70798" y="72208"/>
                    <a:pt x="70798" y="71926"/>
                  </a:cubicBezTo>
                  <a:cubicBezTo>
                    <a:pt x="70798" y="71926"/>
                    <a:pt x="70798" y="71644"/>
                    <a:pt x="71079" y="71362"/>
                  </a:cubicBezTo>
                  <a:lnTo>
                    <a:pt x="71362" y="71644"/>
                  </a:lnTo>
                  <a:cubicBezTo>
                    <a:pt x="71926" y="71362"/>
                    <a:pt x="72208" y="71362"/>
                    <a:pt x="72490" y="70797"/>
                  </a:cubicBezTo>
                  <a:cubicBezTo>
                    <a:pt x="72208" y="70233"/>
                    <a:pt x="72208" y="69951"/>
                    <a:pt x="72208" y="69951"/>
                  </a:cubicBezTo>
                  <a:lnTo>
                    <a:pt x="72208" y="69105"/>
                  </a:lnTo>
                  <a:cubicBezTo>
                    <a:pt x="72208" y="69105"/>
                    <a:pt x="72490" y="69105"/>
                    <a:pt x="72772" y="69387"/>
                  </a:cubicBezTo>
                  <a:lnTo>
                    <a:pt x="73054" y="69387"/>
                  </a:lnTo>
                  <a:close/>
                  <a:moveTo>
                    <a:pt x="69951" y="41745"/>
                  </a:moveTo>
                  <a:cubicBezTo>
                    <a:pt x="70233" y="41745"/>
                    <a:pt x="70233" y="42309"/>
                    <a:pt x="70233" y="42309"/>
                  </a:cubicBezTo>
                  <a:cubicBezTo>
                    <a:pt x="70233" y="42309"/>
                    <a:pt x="69951" y="42873"/>
                    <a:pt x="69669" y="42873"/>
                  </a:cubicBezTo>
                  <a:lnTo>
                    <a:pt x="69669" y="41463"/>
                  </a:lnTo>
                  <a:lnTo>
                    <a:pt x="69951" y="41745"/>
                  </a:lnTo>
                  <a:close/>
                  <a:moveTo>
                    <a:pt x="74746" y="51617"/>
                  </a:moveTo>
                  <a:lnTo>
                    <a:pt x="74746" y="52181"/>
                  </a:lnTo>
                  <a:lnTo>
                    <a:pt x="74182" y="53592"/>
                  </a:lnTo>
                  <a:cubicBezTo>
                    <a:pt x="74182" y="53874"/>
                    <a:pt x="74182" y="54156"/>
                    <a:pt x="74464" y="54720"/>
                  </a:cubicBezTo>
                  <a:cubicBezTo>
                    <a:pt x="74182" y="55002"/>
                    <a:pt x="74464" y="55848"/>
                    <a:pt x="73900" y="56130"/>
                  </a:cubicBezTo>
                  <a:cubicBezTo>
                    <a:pt x="73900" y="56130"/>
                    <a:pt x="73618" y="56412"/>
                    <a:pt x="73618" y="56694"/>
                  </a:cubicBezTo>
                  <a:cubicBezTo>
                    <a:pt x="73618" y="56976"/>
                    <a:pt x="73900" y="57258"/>
                    <a:pt x="74182" y="57541"/>
                  </a:cubicBezTo>
                  <a:lnTo>
                    <a:pt x="74182" y="58669"/>
                  </a:lnTo>
                  <a:cubicBezTo>
                    <a:pt x="74182" y="58951"/>
                    <a:pt x="73618" y="59515"/>
                    <a:pt x="73618" y="59515"/>
                  </a:cubicBezTo>
                  <a:cubicBezTo>
                    <a:pt x="73336" y="59233"/>
                    <a:pt x="73054" y="58951"/>
                    <a:pt x="72490" y="58951"/>
                  </a:cubicBezTo>
                  <a:cubicBezTo>
                    <a:pt x="72490" y="58669"/>
                    <a:pt x="72490" y="58387"/>
                    <a:pt x="73336" y="58105"/>
                  </a:cubicBezTo>
                  <a:cubicBezTo>
                    <a:pt x="73618" y="58105"/>
                    <a:pt x="73618" y="58105"/>
                    <a:pt x="73618" y="57541"/>
                  </a:cubicBezTo>
                  <a:cubicBezTo>
                    <a:pt x="73336" y="57258"/>
                    <a:pt x="72772" y="56976"/>
                    <a:pt x="72772" y="56694"/>
                  </a:cubicBezTo>
                  <a:cubicBezTo>
                    <a:pt x="72772" y="56412"/>
                    <a:pt x="73054" y="56412"/>
                    <a:pt x="73336" y="56130"/>
                  </a:cubicBezTo>
                  <a:cubicBezTo>
                    <a:pt x="73054" y="55848"/>
                    <a:pt x="73054" y="55566"/>
                    <a:pt x="73054" y="55284"/>
                  </a:cubicBezTo>
                  <a:lnTo>
                    <a:pt x="73054" y="55002"/>
                  </a:lnTo>
                  <a:cubicBezTo>
                    <a:pt x="73054" y="54720"/>
                    <a:pt x="72490" y="54156"/>
                    <a:pt x="72490" y="53592"/>
                  </a:cubicBezTo>
                  <a:cubicBezTo>
                    <a:pt x="72490" y="53592"/>
                    <a:pt x="73054" y="53028"/>
                    <a:pt x="73054" y="52745"/>
                  </a:cubicBezTo>
                  <a:cubicBezTo>
                    <a:pt x="73054" y="52463"/>
                    <a:pt x="73336" y="52463"/>
                    <a:pt x="73336" y="52181"/>
                  </a:cubicBezTo>
                  <a:lnTo>
                    <a:pt x="72772" y="51617"/>
                  </a:lnTo>
                  <a:lnTo>
                    <a:pt x="72772" y="51053"/>
                  </a:lnTo>
                  <a:cubicBezTo>
                    <a:pt x="73054" y="50771"/>
                    <a:pt x="73336" y="50207"/>
                    <a:pt x="73336" y="49925"/>
                  </a:cubicBezTo>
                  <a:cubicBezTo>
                    <a:pt x="73336" y="49925"/>
                    <a:pt x="73900" y="49643"/>
                    <a:pt x="74182" y="49643"/>
                  </a:cubicBezTo>
                  <a:cubicBezTo>
                    <a:pt x="74464" y="49643"/>
                    <a:pt x="74464" y="49925"/>
                    <a:pt x="74464" y="50207"/>
                  </a:cubicBezTo>
                  <a:cubicBezTo>
                    <a:pt x="74464" y="50207"/>
                    <a:pt x="74464" y="50489"/>
                    <a:pt x="74746" y="51617"/>
                  </a:cubicBezTo>
                  <a:close/>
                  <a:moveTo>
                    <a:pt x="73618" y="60643"/>
                  </a:moveTo>
                  <a:lnTo>
                    <a:pt x="73618" y="61207"/>
                  </a:lnTo>
                  <a:lnTo>
                    <a:pt x="73336" y="61489"/>
                  </a:lnTo>
                  <a:cubicBezTo>
                    <a:pt x="72772" y="61489"/>
                    <a:pt x="72772" y="61771"/>
                    <a:pt x="72490" y="61771"/>
                  </a:cubicBezTo>
                  <a:lnTo>
                    <a:pt x="72490" y="60643"/>
                  </a:lnTo>
                  <a:lnTo>
                    <a:pt x="72772" y="60361"/>
                  </a:lnTo>
                  <a:cubicBezTo>
                    <a:pt x="73054" y="60361"/>
                    <a:pt x="73336" y="60643"/>
                    <a:pt x="73618" y="60643"/>
                  </a:cubicBezTo>
                  <a:close/>
                  <a:moveTo>
                    <a:pt x="108594" y="33565"/>
                  </a:moveTo>
                  <a:cubicBezTo>
                    <a:pt x="108594" y="33283"/>
                    <a:pt x="108311" y="33283"/>
                    <a:pt x="108311" y="33283"/>
                  </a:cubicBezTo>
                  <a:lnTo>
                    <a:pt x="108030" y="33283"/>
                  </a:lnTo>
                  <a:cubicBezTo>
                    <a:pt x="107747" y="33283"/>
                    <a:pt x="107183" y="33565"/>
                    <a:pt x="106619" y="34129"/>
                  </a:cubicBezTo>
                  <a:lnTo>
                    <a:pt x="106619" y="34411"/>
                  </a:lnTo>
                  <a:cubicBezTo>
                    <a:pt x="106619" y="34694"/>
                    <a:pt x="106901" y="34694"/>
                    <a:pt x="107183" y="34694"/>
                  </a:cubicBezTo>
                  <a:cubicBezTo>
                    <a:pt x="107747" y="34694"/>
                    <a:pt x="108311" y="34129"/>
                    <a:pt x="108594" y="33565"/>
                  </a:cubicBezTo>
                  <a:close/>
                </a:path>
              </a:pathLst>
            </a:custGeom>
            <a:solidFill>
              <a:srgbClr val="000000"/>
            </a:solidFill>
            <a:ln w="5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C9DDF20D-F124-4789-8EF3-5DEADEB4FA14}"/>
                </a:ext>
              </a:extLst>
            </p:cNvPr>
            <p:cNvSpPr/>
            <p:nvPr/>
          </p:nvSpPr>
          <p:spPr>
            <a:xfrm>
              <a:off x="5917537" y="3260609"/>
              <a:ext cx="180519" cy="248214"/>
            </a:xfrm>
            <a:custGeom>
              <a:avLst/>
              <a:gdLst>
                <a:gd name="connsiteX0" fmla="*/ 36668 w 180519"/>
                <a:gd name="connsiteY0" fmla="*/ 57258 h 248214"/>
                <a:gd name="connsiteX1" fmla="*/ 36386 w 180519"/>
                <a:gd name="connsiteY1" fmla="*/ 56976 h 248214"/>
                <a:gd name="connsiteX2" fmla="*/ 36386 w 180519"/>
                <a:gd name="connsiteY2" fmla="*/ 56694 h 248214"/>
                <a:gd name="connsiteX3" fmla="*/ 38078 w 180519"/>
                <a:gd name="connsiteY3" fmla="*/ 55566 h 248214"/>
                <a:gd name="connsiteX4" fmla="*/ 38642 w 180519"/>
                <a:gd name="connsiteY4" fmla="*/ 55566 h 248214"/>
                <a:gd name="connsiteX5" fmla="*/ 40617 w 180519"/>
                <a:gd name="connsiteY5" fmla="*/ 55284 h 248214"/>
                <a:gd name="connsiteX6" fmla="*/ 41745 w 180519"/>
                <a:gd name="connsiteY6" fmla="*/ 54720 h 248214"/>
                <a:gd name="connsiteX7" fmla="*/ 43156 w 180519"/>
                <a:gd name="connsiteY7" fmla="*/ 54156 h 248214"/>
                <a:gd name="connsiteX8" fmla="*/ 44848 w 180519"/>
                <a:gd name="connsiteY8" fmla="*/ 53310 h 248214"/>
                <a:gd name="connsiteX9" fmla="*/ 45976 w 180519"/>
                <a:gd name="connsiteY9" fmla="*/ 53310 h 248214"/>
                <a:gd name="connsiteX10" fmla="*/ 49925 w 180519"/>
                <a:gd name="connsiteY10" fmla="*/ 52463 h 248214"/>
                <a:gd name="connsiteX11" fmla="*/ 50771 w 180519"/>
                <a:gd name="connsiteY11" fmla="*/ 52463 h 248214"/>
                <a:gd name="connsiteX12" fmla="*/ 51335 w 180519"/>
                <a:gd name="connsiteY12" fmla="*/ 53028 h 248214"/>
                <a:gd name="connsiteX13" fmla="*/ 49925 w 180519"/>
                <a:gd name="connsiteY13" fmla="*/ 54720 h 248214"/>
                <a:gd name="connsiteX14" fmla="*/ 49079 w 180519"/>
                <a:gd name="connsiteY14" fmla="*/ 55002 h 248214"/>
                <a:gd name="connsiteX15" fmla="*/ 48797 w 180519"/>
                <a:gd name="connsiteY15" fmla="*/ 55284 h 248214"/>
                <a:gd name="connsiteX16" fmla="*/ 48797 w 180519"/>
                <a:gd name="connsiteY16" fmla="*/ 55566 h 248214"/>
                <a:gd name="connsiteX17" fmla="*/ 49361 w 180519"/>
                <a:gd name="connsiteY17" fmla="*/ 56130 h 248214"/>
                <a:gd name="connsiteX18" fmla="*/ 49925 w 180519"/>
                <a:gd name="connsiteY18" fmla="*/ 56412 h 248214"/>
                <a:gd name="connsiteX19" fmla="*/ 50489 w 180519"/>
                <a:gd name="connsiteY19" fmla="*/ 56412 h 248214"/>
                <a:gd name="connsiteX20" fmla="*/ 51053 w 180519"/>
                <a:gd name="connsiteY20" fmla="*/ 56976 h 248214"/>
                <a:gd name="connsiteX21" fmla="*/ 51617 w 180519"/>
                <a:gd name="connsiteY21" fmla="*/ 56976 h 248214"/>
                <a:gd name="connsiteX22" fmla="*/ 52745 w 180519"/>
                <a:gd name="connsiteY22" fmla="*/ 55566 h 248214"/>
                <a:gd name="connsiteX23" fmla="*/ 54720 w 180519"/>
                <a:gd name="connsiteY23" fmla="*/ 54156 h 248214"/>
                <a:gd name="connsiteX24" fmla="*/ 55284 w 180519"/>
                <a:gd name="connsiteY24" fmla="*/ 52463 h 248214"/>
                <a:gd name="connsiteX25" fmla="*/ 56976 w 180519"/>
                <a:gd name="connsiteY25" fmla="*/ 51335 h 248214"/>
                <a:gd name="connsiteX26" fmla="*/ 57541 w 180519"/>
                <a:gd name="connsiteY26" fmla="*/ 51335 h 248214"/>
                <a:gd name="connsiteX27" fmla="*/ 58951 w 180519"/>
                <a:gd name="connsiteY27" fmla="*/ 51053 h 248214"/>
                <a:gd name="connsiteX28" fmla="*/ 60362 w 180519"/>
                <a:gd name="connsiteY28" fmla="*/ 50489 h 248214"/>
                <a:gd name="connsiteX29" fmla="*/ 61207 w 180519"/>
                <a:gd name="connsiteY29" fmla="*/ 51053 h 248214"/>
                <a:gd name="connsiteX30" fmla="*/ 61490 w 180519"/>
                <a:gd name="connsiteY30" fmla="*/ 51617 h 248214"/>
                <a:gd name="connsiteX31" fmla="*/ 62618 w 180519"/>
                <a:gd name="connsiteY31" fmla="*/ 51335 h 248214"/>
                <a:gd name="connsiteX32" fmla="*/ 62900 w 180519"/>
                <a:gd name="connsiteY32" fmla="*/ 51335 h 248214"/>
                <a:gd name="connsiteX33" fmla="*/ 63182 w 180519"/>
                <a:gd name="connsiteY33" fmla="*/ 51053 h 248214"/>
                <a:gd name="connsiteX34" fmla="*/ 66003 w 180519"/>
                <a:gd name="connsiteY34" fmla="*/ 49079 h 248214"/>
                <a:gd name="connsiteX35" fmla="*/ 68823 w 180519"/>
                <a:gd name="connsiteY35" fmla="*/ 49079 h 248214"/>
                <a:gd name="connsiteX36" fmla="*/ 69105 w 180519"/>
                <a:gd name="connsiteY36" fmla="*/ 49361 h 248214"/>
                <a:gd name="connsiteX37" fmla="*/ 69105 w 180519"/>
                <a:gd name="connsiteY37" fmla="*/ 49643 h 248214"/>
                <a:gd name="connsiteX38" fmla="*/ 68259 w 180519"/>
                <a:gd name="connsiteY38" fmla="*/ 50771 h 248214"/>
                <a:gd name="connsiteX39" fmla="*/ 68259 w 180519"/>
                <a:gd name="connsiteY39" fmla="*/ 51053 h 248214"/>
                <a:gd name="connsiteX40" fmla="*/ 69105 w 180519"/>
                <a:gd name="connsiteY40" fmla="*/ 51053 h 248214"/>
                <a:gd name="connsiteX41" fmla="*/ 70798 w 180519"/>
                <a:gd name="connsiteY41" fmla="*/ 50489 h 248214"/>
                <a:gd name="connsiteX42" fmla="*/ 71926 w 180519"/>
                <a:gd name="connsiteY42" fmla="*/ 49643 h 248214"/>
                <a:gd name="connsiteX43" fmla="*/ 71079 w 180519"/>
                <a:gd name="connsiteY43" fmla="*/ 50771 h 248214"/>
                <a:gd name="connsiteX44" fmla="*/ 69387 w 180519"/>
                <a:gd name="connsiteY44" fmla="*/ 51899 h 248214"/>
                <a:gd name="connsiteX45" fmla="*/ 68823 w 180519"/>
                <a:gd name="connsiteY45" fmla="*/ 51899 h 248214"/>
                <a:gd name="connsiteX46" fmla="*/ 68259 w 180519"/>
                <a:gd name="connsiteY46" fmla="*/ 52463 h 248214"/>
                <a:gd name="connsiteX47" fmla="*/ 68259 w 180519"/>
                <a:gd name="connsiteY47" fmla="*/ 53028 h 248214"/>
                <a:gd name="connsiteX48" fmla="*/ 71079 w 180519"/>
                <a:gd name="connsiteY48" fmla="*/ 52463 h 248214"/>
                <a:gd name="connsiteX49" fmla="*/ 71644 w 180519"/>
                <a:gd name="connsiteY49" fmla="*/ 52463 h 248214"/>
                <a:gd name="connsiteX50" fmla="*/ 73054 w 180519"/>
                <a:gd name="connsiteY50" fmla="*/ 51899 h 248214"/>
                <a:gd name="connsiteX51" fmla="*/ 73618 w 180519"/>
                <a:gd name="connsiteY51" fmla="*/ 51617 h 248214"/>
                <a:gd name="connsiteX52" fmla="*/ 73054 w 180519"/>
                <a:gd name="connsiteY52" fmla="*/ 51335 h 248214"/>
                <a:gd name="connsiteX53" fmla="*/ 72772 w 180519"/>
                <a:gd name="connsiteY53" fmla="*/ 51053 h 248214"/>
                <a:gd name="connsiteX54" fmla="*/ 72490 w 180519"/>
                <a:gd name="connsiteY54" fmla="*/ 50489 h 248214"/>
                <a:gd name="connsiteX55" fmla="*/ 73054 w 180519"/>
                <a:gd name="connsiteY55" fmla="*/ 49643 h 248214"/>
                <a:gd name="connsiteX56" fmla="*/ 73900 w 180519"/>
                <a:gd name="connsiteY56" fmla="*/ 49079 h 248214"/>
                <a:gd name="connsiteX57" fmla="*/ 74465 w 180519"/>
                <a:gd name="connsiteY57" fmla="*/ 47950 h 248214"/>
                <a:gd name="connsiteX58" fmla="*/ 77567 w 180519"/>
                <a:gd name="connsiteY58" fmla="*/ 36668 h 248214"/>
                <a:gd name="connsiteX59" fmla="*/ 77849 w 180519"/>
                <a:gd name="connsiteY59" fmla="*/ 31873 h 248214"/>
                <a:gd name="connsiteX60" fmla="*/ 79824 w 180519"/>
                <a:gd name="connsiteY60" fmla="*/ 30463 h 248214"/>
                <a:gd name="connsiteX61" fmla="*/ 80388 w 180519"/>
                <a:gd name="connsiteY61" fmla="*/ 29899 h 248214"/>
                <a:gd name="connsiteX62" fmla="*/ 80106 w 180519"/>
                <a:gd name="connsiteY62" fmla="*/ 29616 h 248214"/>
                <a:gd name="connsiteX63" fmla="*/ 80388 w 180519"/>
                <a:gd name="connsiteY63" fmla="*/ 28770 h 248214"/>
                <a:gd name="connsiteX64" fmla="*/ 79260 w 180519"/>
                <a:gd name="connsiteY64" fmla="*/ 28206 h 248214"/>
                <a:gd name="connsiteX65" fmla="*/ 78977 w 180519"/>
                <a:gd name="connsiteY65" fmla="*/ 26796 h 248214"/>
                <a:gd name="connsiteX66" fmla="*/ 78977 w 180519"/>
                <a:gd name="connsiteY66" fmla="*/ 26232 h 248214"/>
                <a:gd name="connsiteX67" fmla="*/ 79824 w 180519"/>
                <a:gd name="connsiteY67" fmla="*/ 25386 h 248214"/>
                <a:gd name="connsiteX68" fmla="*/ 80106 w 180519"/>
                <a:gd name="connsiteY68" fmla="*/ 24539 h 248214"/>
                <a:gd name="connsiteX69" fmla="*/ 80106 w 180519"/>
                <a:gd name="connsiteY69" fmla="*/ 23975 h 248214"/>
                <a:gd name="connsiteX70" fmla="*/ 80670 w 180519"/>
                <a:gd name="connsiteY70" fmla="*/ 22565 h 248214"/>
                <a:gd name="connsiteX71" fmla="*/ 81516 w 180519"/>
                <a:gd name="connsiteY71" fmla="*/ 21155 h 248214"/>
                <a:gd name="connsiteX72" fmla="*/ 81516 w 180519"/>
                <a:gd name="connsiteY72" fmla="*/ 20873 h 248214"/>
                <a:gd name="connsiteX73" fmla="*/ 82080 w 180519"/>
                <a:gd name="connsiteY73" fmla="*/ 19462 h 248214"/>
                <a:gd name="connsiteX74" fmla="*/ 82362 w 180519"/>
                <a:gd name="connsiteY74" fmla="*/ 19180 h 248214"/>
                <a:gd name="connsiteX75" fmla="*/ 82362 w 180519"/>
                <a:gd name="connsiteY75" fmla="*/ 18898 h 248214"/>
                <a:gd name="connsiteX76" fmla="*/ 82080 w 180519"/>
                <a:gd name="connsiteY76" fmla="*/ 18616 h 248214"/>
                <a:gd name="connsiteX77" fmla="*/ 82080 w 180519"/>
                <a:gd name="connsiteY77" fmla="*/ 17206 h 248214"/>
                <a:gd name="connsiteX78" fmla="*/ 82362 w 180519"/>
                <a:gd name="connsiteY78" fmla="*/ 16642 h 248214"/>
                <a:gd name="connsiteX79" fmla="*/ 83772 w 180519"/>
                <a:gd name="connsiteY79" fmla="*/ 15513 h 248214"/>
                <a:gd name="connsiteX80" fmla="*/ 83490 w 180519"/>
                <a:gd name="connsiteY80" fmla="*/ 15231 h 248214"/>
                <a:gd name="connsiteX81" fmla="*/ 84337 w 180519"/>
                <a:gd name="connsiteY81" fmla="*/ 13539 h 248214"/>
                <a:gd name="connsiteX82" fmla="*/ 84054 w 180519"/>
                <a:gd name="connsiteY82" fmla="*/ 13257 h 248214"/>
                <a:gd name="connsiteX83" fmla="*/ 85182 w 180519"/>
                <a:gd name="connsiteY83" fmla="*/ 12693 h 248214"/>
                <a:gd name="connsiteX84" fmla="*/ 86311 w 180519"/>
                <a:gd name="connsiteY84" fmla="*/ 11847 h 248214"/>
                <a:gd name="connsiteX85" fmla="*/ 86311 w 180519"/>
                <a:gd name="connsiteY85" fmla="*/ 10436 h 248214"/>
                <a:gd name="connsiteX86" fmla="*/ 88003 w 180519"/>
                <a:gd name="connsiteY86" fmla="*/ 9026 h 248214"/>
                <a:gd name="connsiteX87" fmla="*/ 88849 w 180519"/>
                <a:gd name="connsiteY87" fmla="*/ 6487 h 248214"/>
                <a:gd name="connsiteX88" fmla="*/ 89413 w 180519"/>
                <a:gd name="connsiteY88" fmla="*/ 6205 h 248214"/>
                <a:gd name="connsiteX89" fmla="*/ 89696 w 180519"/>
                <a:gd name="connsiteY89" fmla="*/ 5359 h 248214"/>
                <a:gd name="connsiteX90" fmla="*/ 90542 w 180519"/>
                <a:gd name="connsiteY90" fmla="*/ 3949 h 248214"/>
                <a:gd name="connsiteX91" fmla="*/ 91952 w 180519"/>
                <a:gd name="connsiteY91" fmla="*/ 2821 h 248214"/>
                <a:gd name="connsiteX92" fmla="*/ 91670 w 180519"/>
                <a:gd name="connsiteY92" fmla="*/ 2256 h 248214"/>
                <a:gd name="connsiteX93" fmla="*/ 92799 w 180519"/>
                <a:gd name="connsiteY93" fmla="*/ 1692 h 248214"/>
                <a:gd name="connsiteX94" fmla="*/ 93363 w 180519"/>
                <a:gd name="connsiteY94" fmla="*/ 1410 h 248214"/>
                <a:gd name="connsiteX95" fmla="*/ 93927 w 180519"/>
                <a:gd name="connsiteY95" fmla="*/ 1128 h 248214"/>
                <a:gd name="connsiteX96" fmla="*/ 94209 w 180519"/>
                <a:gd name="connsiteY96" fmla="*/ 1128 h 248214"/>
                <a:gd name="connsiteX97" fmla="*/ 94491 w 180519"/>
                <a:gd name="connsiteY97" fmla="*/ 1410 h 248214"/>
                <a:gd name="connsiteX98" fmla="*/ 95055 w 180519"/>
                <a:gd name="connsiteY98" fmla="*/ 1128 h 248214"/>
                <a:gd name="connsiteX99" fmla="*/ 96465 w 180519"/>
                <a:gd name="connsiteY99" fmla="*/ 282 h 248214"/>
                <a:gd name="connsiteX100" fmla="*/ 97311 w 180519"/>
                <a:gd name="connsiteY100" fmla="*/ 0 h 248214"/>
                <a:gd name="connsiteX101" fmla="*/ 98440 w 180519"/>
                <a:gd name="connsiteY101" fmla="*/ 564 h 248214"/>
                <a:gd name="connsiteX102" fmla="*/ 98722 w 180519"/>
                <a:gd name="connsiteY102" fmla="*/ 846 h 248214"/>
                <a:gd name="connsiteX103" fmla="*/ 98440 w 180519"/>
                <a:gd name="connsiteY103" fmla="*/ 2821 h 248214"/>
                <a:gd name="connsiteX104" fmla="*/ 99004 w 180519"/>
                <a:gd name="connsiteY104" fmla="*/ 3103 h 248214"/>
                <a:gd name="connsiteX105" fmla="*/ 99568 w 180519"/>
                <a:gd name="connsiteY105" fmla="*/ 3103 h 248214"/>
                <a:gd name="connsiteX106" fmla="*/ 100414 w 180519"/>
                <a:gd name="connsiteY106" fmla="*/ 1692 h 248214"/>
                <a:gd name="connsiteX107" fmla="*/ 100696 w 180519"/>
                <a:gd name="connsiteY107" fmla="*/ 1692 h 248214"/>
                <a:gd name="connsiteX108" fmla="*/ 100978 w 180519"/>
                <a:gd name="connsiteY108" fmla="*/ 2256 h 248214"/>
                <a:gd name="connsiteX109" fmla="*/ 101542 w 180519"/>
                <a:gd name="connsiteY109" fmla="*/ 2821 h 248214"/>
                <a:gd name="connsiteX110" fmla="*/ 102106 w 180519"/>
                <a:gd name="connsiteY110" fmla="*/ 3103 h 248214"/>
                <a:gd name="connsiteX111" fmla="*/ 104363 w 180519"/>
                <a:gd name="connsiteY111" fmla="*/ 3103 h 248214"/>
                <a:gd name="connsiteX112" fmla="*/ 104081 w 180519"/>
                <a:gd name="connsiteY112" fmla="*/ 3667 h 248214"/>
                <a:gd name="connsiteX113" fmla="*/ 104081 w 180519"/>
                <a:gd name="connsiteY113" fmla="*/ 4231 h 248214"/>
                <a:gd name="connsiteX114" fmla="*/ 105209 w 180519"/>
                <a:gd name="connsiteY114" fmla="*/ 4231 h 248214"/>
                <a:gd name="connsiteX115" fmla="*/ 105491 w 180519"/>
                <a:gd name="connsiteY115" fmla="*/ 3949 h 248214"/>
                <a:gd name="connsiteX116" fmla="*/ 106619 w 180519"/>
                <a:gd name="connsiteY116" fmla="*/ 3667 h 248214"/>
                <a:gd name="connsiteX117" fmla="*/ 107183 w 180519"/>
                <a:gd name="connsiteY117" fmla="*/ 3949 h 248214"/>
                <a:gd name="connsiteX118" fmla="*/ 108876 w 180519"/>
                <a:gd name="connsiteY118" fmla="*/ 4231 h 248214"/>
                <a:gd name="connsiteX119" fmla="*/ 110004 w 180519"/>
                <a:gd name="connsiteY119" fmla="*/ 5077 h 248214"/>
                <a:gd name="connsiteX120" fmla="*/ 109722 w 180519"/>
                <a:gd name="connsiteY120" fmla="*/ 7052 h 248214"/>
                <a:gd name="connsiteX121" fmla="*/ 110286 w 180519"/>
                <a:gd name="connsiteY121" fmla="*/ 7898 h 248214"/>
                <a:gd name="connsiteX122" fmla="*/ 110568 w 180519"/>
                <a:gd name="connsiteY122" fmla="*/ 8462 h 248214"/>
                <a:gd name="connsiteX123" fmla="*/ 109722 w 180519"/>
                <a:gd name="connsiteY123" fmla="*/ 9872 h 248214"/>
                <a:gd name="connsiteX124" fmla="*/ 109440 w 180519"/>
                <a:gd name="connsiteY124" fmla="*/ 10718 h 248214"/>
                <a:gd name="connsiteX125" fmla="*/ 108312 w 180519"/>
                <a:gd name="connsiteY125" fmla="*/ 11847 h 248214"/>
                <a:gd name="connsiteX126" fmla="*/ 108030 w 180519"/>
                <a:gd name="connsiteY126" fmla="*/ 12411 h 248214"/>
                <a:gd name="connsiteX127" fmla="*/ 107747 w 180519"/>
                <a:gd name="connsiteY127" fmla="*/ 13257 h 248214"/>
                <a:gd name="connsiteX128" fmla="*/ 107466 w 180519"/>
                <a:gd name="connsiteY128" fmla="*/ 13539 h 248214"/>
                <a:gd name="connsiteX129" fmla="*/ 107183 w 180519"/>
                <a:gd name="connsiteY129" fmla="*/ 13821 h 248214"/>
                <a:gd name="connsiteX130" fmla="*/ 107183 w 180519"/>
                <a:gd name="connsiteY130" fmla="*/ 15231 h 248214"/>
                <a:gd name="connsiteX131" fmla="*/ 106337 w 180519"/>
                <a:gd name="connsiteY131" fmla="*/ 16642 h 248214"/>
                <a:gd name="connsiteX132" fmla="*/ 106337 w 180519"/>
                <a:gd name="connsiteY132" fmla="*/ 16924 h 248214"/>
                <a:gd name="connsiteX133" fmla="*/ 105491 w 180519"/>
                <a:gd name="connsiteY133" fmla="*/ 18898 h 248214"/>
                <a:gd name="connsiteX134" fmla="*/ 105209 w 180519"/>
                <a:gd name="connsiteY134" fmla="*/ 20026 h 248214"/>
                <a:gd name="connsiteX135" fmla="*/ 105209 w 180519"/>
                <a:gd name="connsiteY135" fmla="*/ 20308 h 248214"/>
                <a:gd name="connsiteX136" fmla="*/ 104363 w 180519"/>
                <a:gd name="connsiteY136" fmla="*/ 21437 h 248214"/>
                <a:gd name="connsiteX137" fmla="*/ 104645 w 180519"/>
                <a:gd name="connsiteY137" fmla="*/ 21719 h 248214"/>
                <a:gd name="connsiteX138" fmla="*/ 104645 w 180519"/>
                <a:gd name="connsiteY138" fmla="*/ 22283 h 248214"/>
                <a:gd name="connsiteX139" fmla="*/ 103235 w 180519"/>
                <a:gd name="connsiteY139" fmla="*/ 23975 h 248214"/>
                <a:gd name="connsiteX140" fmla="*/ 103516 w 180519"/>
                <a:gd name="connsiteY140" fmla="*/ 24257 h 248214"/>
                <a:gd name="connsiteX141" fmla="*/ 103516 w 180519"/>
                <a:gd name="connsiteY141" fmla="*/ 24539 h 248214"/>
                <a:gd name="connsiteX142" fmla="*/ 103235 w 180519"/>
                <a:gd name="connsiteY142" fmla="*/ 25103 h 248214"/>
                <a:gd name="connsiteX143" fmla="*/ 103235 w 180519"/>
                <a:gd name="connsiteY143" fmla="*/ 25386 h 248214"/>
                <a:gd name="connsiteX144" fmla="*/ 102388 w 180519"/>
                <a:gd name="connsiteY144" fmla="*/ 26232 h 248214"/>
                <a:gd name="connsiteX145" fmla="*/ 102388 w 180519"/>
                <a:gd name="connsiteY145" fmla="*/ 26514 h 248214"/>
                <a:gd name="connsiteX146" fmla="*/ 101824 w 180519"/>
                <a:gd name="connsiteY146" fmla="*/ 27360 h 248214"/>
                <a:gd name="connsiteX147" fmla="*/ 101260 w 180519"/>
                <a:gd name="connsiteY147" fmla="*/ 28770 h 248214"/>
                <a:gd name="connsiteX148" fmla="*/ 100978 w 180519"/>
                <a:gd name="connsiteY148" fmla="*/ 29052 h 248214"/>
                <a:gd name="connsiteX149" fmla="*/ 100978 w 180519"/>
                <a:gd name="connsiteY149" fmla="*/ 29616 h 248214"/>
                <a:gd name="connsiteX150" fmla="*/ 101260 w 180519"/>
                <a:gd name="connsiteY150" fmla="*/ 29899 h 248214"/>
                <a:gd name="connsiteX151" fmla="*/ 100414 w 180519"/>
                <a:gd name="connsiteY151" fmla="*/ 31591 h 248214"/>
                <a:gd name="connsiteX152" fmla="*/ 99004 w 180519"/>
                <a:gd name="connsiteY152" fmla="*/ 45130 h 248214"/>
                <a:gd name="connsiteX153" fmla="*/ 99850 w 180519"/>
                <a:gd name="connsiteY153" fmla="*/ 44566 h 248214"/>
                <a:gd name="connsiteX154" fmla="*/ 100414 w 180519"/>
                <a:gd name="connsiteY154" fmla="*/ 44284 h 248214"/>
                <a:gd name="connsiteX155" fmla="*/ 101542 w 180519"/>
                <a:gd name="connsiteY155" fmla="*/ 45412 h 248214"/>
                <a:gd name="connsiteX156" fmla="*/ 102952 w 180519"/>
                <a:gd name="connsiteY156" fmla="*/ 46540 h 248214"/>
                <a:gd name="connsiteX157" fmla="*/ 105773 w 180519"/>
                <a:gd name="connsiteY157" fmla="*/ 45130 h 248214"/>
                <a:gd name="connsiteX158" fmla="*/ 102952 w 180519"/>
                <a:gd name="connsiteY158" fmla="*/ 45694 h 248214"/>
                <a:gd name="connsiteX159" fmla="*/ 102388 w 180519"/>
                <a:gd name="connsiteY159" fmla="*/ 45412 h 248214"/>
                <a:gd name="connsiteX160" fmla="*/ 102388 w 180519"/>
                <a:gd name="connsiteY160" fmla="*/ 45130 h 248214"/>
                <a:gd name="connsiteX161" fmla="*/ 104927 w 180519"/>
                <a:gd name="connsiteY161" fmla="*/ 44284 h 248214"/>
                <a:gd name="connsiteX162" fmla="*/ 105491 w 180519"/>
                <a:gd name="connsiteY162" fmla="*/ 44002 h 248214"/>
                <a:gd name="connsiteX163" fmla="*/ 106055 w 180519"/>
                <a:gd name="connsiteY163" fmla="*/ 44566 h 248214"/>
                <a:gd name="connsiteX164" fmla="*/ 105773 w 180519"/>
                <a:gd name="connsiteY164" fmla="*/ 45130 h 248214"/>
                <a:gd name="connsiteX165" fmla="*/ 106337 w 180519"/>
                <a:gd name="connsiteY165" fmla="*/ 44848 h 248214"/>
                <a:gd name="connsiteX166" fmla="*/ 107747 w 180519"/>
                <a:gd name="connsiteY166" fmla="*/ 44284 h 248214"/>
                <a:gd name="connsiteX167" fmla="*/ 110568 w 180519"/>
                <a:gd name="connsiteY167" fmla="*/ 43720 h 248214"/>
                <a:gd name="connsiteX168" fmla="*/ 112261 w 180519"/>
                <a:gd name="connsiteY168" fmla="*/ 43437 h 248214"/>
                <a:gd name="connsiteX169" fmla="*/ 113107 w 180519"/>
                <a:gd name="connsiteY169" fmla="*/ 43437 h 248214"/>
                <a:gd name="connsiteX170" fmla="*/ 112825 w 180519"/>
                <a:gd name="connsiteY170" fmla="*/ 44002 h 248214"/>
                <a:gd name="connsiteX171" fmla="*/ 112261 w 180519"/>
                <a:gd name="connsiteY171" fmla="*/ 44566 h 248214"/>
                <a:gd name="connsiteX172" fmla="*/ 111697 w 180519"/>
                <a:gd name="connsiteY172" fmla="*/ 45412 h 248214"/>
                <a:gd name="connsiteX173" fmla="*/ 111978 w 180519"/>
                <a:gd name="connsiteY173" fmla="*/ 45694 h 248214"/>
                <a:gd name="connsiteX174" fmla="*/ 111697 w 180519"/>
                <a:gd name="connsiteY174" fmla="*/ 45976 h 248214"/>
                <a:gd name="connsiteX175" fmla="*/ 110568 w 180519"/>
                <a:gd name="connsiteY175" fmla="*/ 47386 h 248214"/>
                <a:gd name="connsiteX176" fmla="*/ 108030 w 180519"/>
                <a:gd name="connsiteY176" fmla="*/ 49361 h 248214"/>
                <a:gd name="connsiteX177" fmla="*/ 107183 w 180519"/>
                <a:gd name="connsiteY177" fmla="*/ 49925 h 248214"/>
                <a:gd name="connsiteX178" fmla="*/ 108030 w 180519"/>
                <a:gd name="connsiteY178" fmla="*/ 50489 h 248214"/>
                <a:gd name="connsiteX179" fmla="*/ 108594 w 180519"/>
                <a:gd name="connsiteY179" fmla="*/ 49925 h 248214"/>
                <a:gd name="connsiteX180" fmla="*/ 109440 w 180519"/>
                <a:gd name="connsiteY180" fmla="*/ 49361 h 248214"/>
                <a:gd name="connsiteX181" fmla="*/ 110568 w 180519"/>
                <a:gd name="connsiteY181" fmla="*/ 48515 h 248214"/>
                <a:gd name="connsiteX182" fmla="*/ 111697 w 180519"/>
                <a:gd name="connsiteY182" fmla="*/ 48515 h 248214"/>
                <a:gd name="connsiteX183" fmla="*/ 113389 w 180519"/>
                <a:gd name="connsiteY183" fmla="*/ 47386 h 248214"/>
                <a:gd name="connsiteX184" fmla="*/ 113671 w 180519"/>
                <a:gd name="connsiteY184" fmla="*/ 46822 h 248214"/>
                <a:gd name="connsiteX185" fmla="*/ 113953 w 180519"/>
                <a:gd name="connsiteY185" fmla="*/ 46540 h 248214"/>
                <a:gd name="connsiteX186" fmla="*/ 113389 w 180519"/>
                <a:gd name="connsiteY186" fmla="*/ 46258 h 248214"/>
                <a:gd name="connsiteX187" fmla="*/ 112825 w 180519"/>
                <a:gd name="connsiteY187" fmla="*/ 46258 h 248214"/>
                <a:gd name="connsiteX188" fmla="*/ 113107 w 180519"/>
                <a:gd name="connsiteY188" fmla="*/ 45694 h 248214"/>
                <a:gd name="connsiteX189" fmla="*/ 113389 w 180519"/>
                <a:gd name="connsiteY189" fmla="*/ 45412 h 248214"/>
                <a:gd name="connsiteX190" fmla="*/ 117056 w 180519"/>
                <a:gd name="connsiteY190" fmla="*/ 43437 h 248214"/>
                <a:gd name="connsiteX191" fmla="*/ 117620 w 180519"/>
                <a:gd name="connsiteY191" fmla="*/ 43155 h 248214"/>
                <a:gd name="connsiteX192" fmla="*/ 117902 w 180519"/>
                <a:gd name="connsiteY192" fmla="*/ 43437 h 248214"/>
                <a:gd name="connsiteX193" fmla="*/ 117902 w 180519"/>
                <a:gd name="connsiteY193" fmla="*/ 44002 h 248214"/>
                <a:gd name="connsiteX194" fmla="*/ 118184 w 180519"/>
                <a:gd name="connsiteY194" fmla="*/ 45130 h 248214"/>
                <a:gd name="connsiteX195" fmla="*/ 118748 w 180519"/>
                <a:gd name="connsiteY195" fmla="*/ 45130 h 248214"/>
                <a:gd name="connsiteX196" fmla="*/ 119594 w 180519"/>
                <a:gd name="connsiteY196" fmla="*/ 42873 h 248214"/>
                <a:gd name="connsiteX197" fmla="*/ 121569 w 180519"/>
                <a:gd name="connsiteY197" fmla="*/ 41745 h 248214"/>
                <a:gd name="connsiteX198" fmla="*/ 124107 w 180519"/>
                <a:gd name="connsiteY198" fmla="*/ 41745 h 248214"/>
                <a:gd name="connsiteX199" fmla="*/ 123825 w 180519"/>
                <a:gd name="connsiteY199" fmla="*/ 42873 h 248214"/>
                <a:gd name="connsiteX200" fmla="*/ 123543 w 180519"/>
                <a:gd name="connsiteY200" fmla="*/ 43155 h 248214"/>
                <a:gd name="connsiteX201" fmla="*/ 123543 w 180519"/>
                <a:gd name="connsiteY201" fmla="*/ 43720 h 248214"/>
                <a:gd name="connsiteX202" fmla="*/ 125236 w 180519"/>
                <a:gd name="connsiteY202" fmla="*/ 44002 h 248214"/>
                <a:gd name="connsiteX203" fmla="*/ 125517 w 180519"/>
                <a:gd name="connsiteY203" fmla="*/ 44002 h 248214"/>
                <a:gd name="connsiteX204" fmla="*/ 125517 w 180519"/>
                <a:gd name="connsiteY204" fmla="*/ 44848 h 248214"/>
                <a:gd name="connsiteX205" fmla="*/ 124389 w 180519"/>
                <a:gd name="connsiteY205" fmla="*/ 45130 h 248214"/>
                <a:gd name="connsiteX206" fmla="*/ 122979 w 180519"/>
                <a:gd name="connsiteY206" fmla="*/ 45694 h 248214"/>
                <a:gd name="connsiteX207" fmla="*/ 122697 w 180519"/>
                <a:gd name="connsiteY207" fmla="*/ 45976 h 248214"/>
                <a:gd name="connsiteX208" fmla="*/ 122697 w 180519"/>
                <a:gd name="connsiteY208" fmla="*/ 46540 h 248214"/>
                <a:gd name="connsiteX209" fmla="*/ 123543 w 180519"/>
                <a:gd name="connsiteY209" fmla="*/ 46540 h 248214"/>
                <a:gd name="connsiteX210" fmla="*/ 126646 w 180519"/>
                <a:gd name="connsiteY210" fmla="*/ 45976 h 248214"/>
                <a:gd name="connsiteX211" fmla="*/ 127492 w 180519"/>
                <a:gd name="connsiteY211" fmla="*/ 47104 h 248214"/>
                <a:gd name="connsiteX212" fmla="*/ 128056 w 180519"/>
                <a:gd name="connsiteY212" fmla="*/ 47386 h 248214"/>
                <a:gd name="connsiteX213" fmla="*/ 128620 w 180519"/>
                <a:gd name="connsiteY213" fmla="*/ 47104 h 248214"/>
                <a:gd name="connsiteX214" fmla="*/ 129748 w 180519"/>
                <a:gd name="connsiteY214" fmla="*/ 45694 h 248214"/>
                <a:gd name="connsiteX215" fmla="*/ 129748 w 180519"/>
                <a:gd name="connsiteY215" fmla="*/ 45412 h 248214"/>
                <a:gd name="connsiteX216" fmla="*/ 129467 w 180519"/>
                <a:gd name="connsiteY216" fmla="*/ 45412 h 248214"/>
                <a:gd name="connsiteX217" fmla="*/ 129184 w 180519"/>
                <a:gd name="connsiteY217" fmla="*/ 45694 h 248214"/>
                <a:gd name="connsiteX218" fmla="*/ 128902 w 180519"/>
                <a:gd name="connsiteY218" fmla="*/ 45694 h 248214"/>
                <a:gd name="connsiteX219" fmla="*/ 129184 w 180519"/>
                <a:gd name="connsiteY219" fmla="*/ 45412 h 248214"/>
                <a:gd name="connsiteX220" fmla="*/ 129184 w 180519"/>
                <a:gd name="connsiteY220" fmla="*/ 45130 h 248214"/>
                <a:gd name="connsiteX221" fmla="*/ 130031 w 180519"/>
                <a:gd name="connsiteY221" fmla="*/ 44002 h 248214"/>
                <a:gd name="connsiteX222" fmla="*/ 130595 w 180519"/>
                <a:gd name="connsiteY222" fmla="*/ 42873 h 248214"/>
                <a:gd name="connsiteX223" fmla="*/ 129184 w 180519"/>
                <a:gd name="connsiteY223" fmla="*/ 43155 h 248214"/>
                <a:gd name="connsiteX224" fmla="*/ 127774 w 180519"/>
                <a:gd name="connsiteY224" fmla="*/ 42873 h 248214"/>
                <a:gd name="connsiteX225" fmla="*/ 128056 w 180519"/>
                <a:gd name="connsiteY225" fmla="*/ 42591 h 248214"/>
                <a:gd name="connsiteX226" fmla="*/ 128056 w 180519"/>
                <a:gd name="connsiteY226" fmla="*/ 42309 h 248214"/>
                <a:gd name="connsiteX227" fmla="*/ 128338 w 180519"/>
                <a:gd name="connsiteY227" fmla="*/ 41463 h 248214"/>
                <a:gd name="connsiteX228" fmla="*/ 129184 w 180519"/>
                <a:gd name="connsiteY228" fmla="*/ 41745 h 248214"/>
                <a:gd name="connsiteX229" fmla="*/ 130031 w 180519"/>
                <a:gd name="connsiteY229" fmla="*/ 42591 h 248214"/>
                <a:gd name="connsiteX230" fmla="*/ 131159 w 180519"/>
                <a:gd name="connsiteY230" fmla="*/ 41181 h 248214"/>
                <a:gd name="connsiteX231" fmla="*/ 134262 w 180519"/>
                <a:gd name="connsiteY231" fmla="*/ 41181 h 248214"/>
                <a:gd name="connsiteX232" fmla="*/ 138774 w 180519"/>
                <a:gd name="connsiteY232" fmla="*/ 40053 h 248214"/>
                <a:gd name="connsiteX233" fmla="*/ 140749 w 180519"/>
                <a:gd name="connsiteY233" fmla="*/ 40053 h 248214"/>
                <a:gd name="connsiteX234" fmla="*/ 141313 w 180519"/>
                <a:gd name="connsiteY234" fmla="*/ 41745 h 248214"/>
                <a:gd name="connsiteX235" fmla="*/ 141877 w 180519"/>
                <a:gd name="connsiteY235" fmla="*/ 42309 h 248214"/>
                <a:gd name="connsiteX236" fmla="*/ 143287 w 180519"/>
                <a:gd name="connsiteY236" fmla="*/ 42027 h 248214"/>
                <a:gd name="connsiteX237" fmla="*/ 144415 w 180519"/>
                <a:gd name="connsiteY237" fmla="*/ 42027 h 248214"/>
                <a:gd name="connsiteX238" fmla="*/ 143851 w 180519"/>
                <a:gd name="connsiteY238" fmla="*/ 43437 h 248214"/>
                <a:gd name="connsiteX239" fmla="*/ 144415 w 180519"/>
                <a:gd name="connsiteY239" fmla="*/ 44848 h 248214"/>
                <a:gd name="connsiteX240" fmla="*/ 145262 w 180519"/>
                <a:gd name="connsiteY240" fmla="*/ 45130 h 248214"/>
                <a:gd name="connsiteX241" fmla="*/ 144980 w 180519"/>
                <a:gd name="connsiteY241" fmla="*/ 45412 h 248214"/>
                <a:gd name="connsiteX242" fmla="*/ 144415 w 180519"/>
                <a:gd name="connsiteY242" fmla="*/ 46258 h 248214"/>
                <a:gd name="connsiteX243" fmla="*/ 143851 w 180519"/>
                <a:gd name="connsiteY243" fmla="*/ 47104 h 248214"/>
                <a:gd name="connsiteX244" fmla="*/ 144980 w 180519"/>
                <a:gd name="connsiteY244" fmla="*/ 46258 h 248214"/>
                <a:gd name="connsiteX245" fmla="*/ 146672 w 180519"/>
                <a:gd name="connsiteY245" fmla="*/ 45412 h 248214"/>
                <a:gd name="connsiteX246" fmla="*/ 147236 w 180519"/>
                <a:gd name="connsiteY246" fmla="*/ 45130 h 248214"/>
                <a:gd name="connsiteX247" fmla="*/ 147518 w 180519"/>
                <a:gd name="connsiteY247" fmla="*/ 45412 h 248214"/>
                <a:gd name="connsiteX248" fmla="*/ 148365 w 180519"/>
                <a:gd name="connsiteY248" fmla="*/ 44848 h 248214"/>
                <a:gd name="connsiteX249" fmla="*/ 148929 w 180519"/>
                <a:gd name="connsiteY249" fmla="*/ 43155 h 248214"/>
                <a:gd name="connsiteX250" fmla="*/ 148929 w 180519"/>
                <a:gd name="connsiteY250" fmla="*/ 42873 h 248214"/>
                <a:gd name="connsiteX251" fmla="*/ 149775 w 180519"/>
                <a:gd name="connsiteY251" fmla="*/ 41463 h 248214"/>
                <a:gd name="connsiteX252" fmla="*/ 151467 w 180519"/>
                <a:gd name="connsiteY252" fmla="*/ 39771 h 248214"/>
                <a:gd name="connsiteX253" fmla="*/ 152313 w 180519"/>
                <a:gd name="connsiteY253" fmla="*/ 39771 h 248214"/>
                <a:gd name="connsiteX254" fmla="*/ 153160 w 180519"/>
                <a:gd name="connsiteY254" fmla="*/ 40053 h 248214"/>
                <a:gd name="connsiteX255" fmla="*/ 155980 w 180519"/>
                <a:gd name="connsiteY255" fmla="*/ 38924 h 248214"/>
                <a:gd name="connsiteX256" fmla="*/ 156544 w 180519"/>
                <a:gd name="connsiteY256" fmla="*/ 38924 h 248214"/>
                <a:gd name="connsiteX257" fmla="*/ 157390 w 180519"/>
                <a:gd name="connsiteY257" fmla="*/ 39207 h 248214"/>
                <a:gd name="connsiteX258" fmla="*/ 159083 w 180519"/>
                <a:gd name="connsiteY258" fmla="*/ 38924 h 248214"/>
                <a:gd name="connsiteX259" fmla="*/ 161621 w 180519"/>
                <a:gd name="connsiteY259" fmla="*/ 39489 h 248214"/>
                <a:gd name="connsiteX260" fmla="*/ 164724 w 180519"/>
                <a:gd name="connsiteY260" fmla="*/ 38924 h 248214"/>
                <a:gd name="connsiteX261" fmla="*/ 165852 w 180519"/>
                <a:gd name="connsiteY261" fmla="*/ 38924 h 248214"/>
                <a:gd name="connsiteX262" fmla="*/ 165852 w 180519"/>
                <a:gd name="connsiteY262" fmla="*/ 39207 h 248214"/>
                <a:gd name="connsiteX263" fmla="*/ 166135 w 180519"/>
                <a:gd name="connsiteY263" fmla="*/ 39489 h 248214"/>
                <a:gd name="connsiteX264" fmla="*/ 166699 w 180519"/>
                <a:gd name="connsiteY264" fmla="*/ 39207 h 248214"/>
                <a:gd name="connsiteX265" fmla="*/ 167827 w 180519"/>
                <a:gd name="connsiteY265" fmla="*/ 39207 h 248214"/>
                <a:gd name="connsiteX266" fmla="*/ 169801 w 180519"/>
                <a:gd name="connsiteY266" fmla="*/ 40053 h 248214"/>
                <a:gd name="connsiteX267" fmla="*/ 170366 w 180519"/>
                <a:gd name="connsiteY267" fmla="*/ 40617 h 248214"/>
                <a:gd name="connsiteX268" fmla="*/ 171494 w 180519"/>
                <a:gd name="connsiteY268" fmla="*/ 40335 h 248214"/>
                <a:gd name="connsiteX269" fmla="*/ 172058 w 180519"/>
                <a:gd name="connsiteY269" fmla="*/ 40335 h 248214"/>
                <a:gd name="connsiteX270" fmla="*/ 174314 w 180519"/>
                <a:gd name="connsiteY270" fmla="*/ 39771 h 248214"/>
                <a:gd name="connsiteX271" fmla="*/ 175724 w 180519"/>
                <a:gd name="connsiteY271" fmla="*/ 40617 h 248214"/>
                <a:gd name="connsiteX272" fmla="*/ 177981 w 180519"/>
                <a:gd name="connsiteY272" fmla="*/ 40617 h 248214"/>
                <a:gd name="connsiteX273" fmla="*/ 179109 w 180519"/>
                <a:gd name="connsiteY273" fmla="*/ 40335 h 248214"/>
                <a:gd name="connsiteX274" fmla="*/ 180519 w 180519"/>
                <a:gd name="connsiteY274" fmla="*/ 41181 h 248214"/>
                <a:gd name="connsiteX275" fmla="*/ 181083 w 180519"/>
                <a:gd name="connsiteY275" fmla="*/ 42027 h 248214"/>
                <a:gd name="connsiteX276" fmla="*/ 181083 w 180519"/>
                <a:gd name="connsiteY276" fmla="*/ 42309 h 248214"/>
                <a:gd name="connsiteX277" fmla="*/ 181648 w 180519"/>
                <a:gd name="connsiteY277" fmla="*/ 44566 h 248214"/>
                <a:gd name="connsiteX278" fmla="*/ 181648 w 180519"/>
                <a:gd name="connsiteY278" fmla="*/ 45130 h 248214"/>
                <a:gd name="connsiteX279" fmla="*/ 182494 w 180519"/>
                <a:gd name="connsiteY279" fmla="*/ 46258 h 248214"/>
                <a:gd name="connsiteX280" fmla="*/ 181930 w 180519"/>
                <a:gd name="connsiteY280" fmla="*/ 47668 h 248214"/>
                <a:gd name="connsiteX281" fmla="*/ 181930 w 180519"/>
                <a:gd name="connsiteY281" fmla="*/ 50771 h 248214"/>
                <a:gd name="connsiteX282" fmla="*/ 180802 w 180519"/>
                <a:gd name="connsiteY282" fmla="*/ 51899 h 248214"/>
                <a:gd name="connsiteX283" fmla="*/ 179955 w 180519"/>
                <a:gd name="connsiteY283" fmla="*/ 52745 h 248214"/>
                <a:gd name="connsiteX284" fmla="*/ 177981 w 180519"/>
                <a:gd name="connsiteY284" fmla="*/ 54156 h 248214"/>
                <a:gd name="connsiteX285" fmla="*/ 177417 w 180519"/>
                <a:gd name="connsiteY285" fmla="*/ 54720 h 248214"/>
                <a:gd name="connsiteX286" fmla="*/ 176571 w 180519"/>
                <a:gd name="connsiteY286" fmla="*/ 54720 h 248214"/>
                <a:gd name="connsiteX287" fmla="*/ 174314 w 180519"/>
                <a:gd name="connsiteY287" fmla="*/ 55566 h 248214"/>
                <a:gd name="connsiteX288" fmla="*/ 170647 w 180519"/>
                <a:gd name="connsiteY288" fmla="*/ 56694 h 248214"/>
                <a:gd name="connsiteX289" fmla="*/ 169519 w 180519"/>
                <a:gd name="connsiteY289" fmla="*/ 56976 h 248214"/>
                <a:gd name="connsiteX290" fmla="*/ 166699 w 180519"/>
                <a:gd name="connsiteY290" fmla="*/ 57541 h 248214"/>
                <a:gd name="connsiteX291" fmla="*/ 165852 w 180519"/>
                <a:gd name="connsiteY291" fmla="*/ 57541 h 248214"/>
                <a:gd name="connsiteX292" fmla="*/ 165288 w 180519"/>
                <a:gd name="connsiteY292" fmla="*/ 57823 h 248214"/>
                <a:gd name="connsiteX293" fmla="*/ 165288 w 180519"/>
                <a:gd name="connsiteY293" fmla="*/ 57541 h 248214"/>
                <a:gd name="connsiteX294" fmla="*/ 164160 w 180519"/>
                <a:gd name="connsiteY294" fmla="*/ 56130 h 248214"/>
                <a:gd name="connsiteX295" fmla="*/ 164724 w 180519"/>
                <a:gd name="connsiteY295" fmla="*/ 55566 h 248214"/>
                <a:gd name="connsiteX296" fmla="*/ 166135 w 180519"/>
                <a:gd name="connsiteY296" fmla="*/ 54438 h 248214"/>
                <a:gd name="connsiteX297" fmla="*/ 164160 w 180519"/>
                <a:gd name="connsiteY297" fmla="*/ 54438 h 248214"/>
                <a:gd name="connsiteX298" fmla="*/ 163878 w 180519"/>
                <a:gd name="connsiteY298" fmla="*/ 54156 h 248214"/>
                <a:gd name="connsiteX299" fmla="*/ 165288 w 180519"/>
                <a:gd name="connsiteY299" fmla="*/ 52745 h 248214"/>
                <a:gd name="connsiteX300" fmla="*/ 165852 w 180519"/>
                <a:gd name="connsiteY300" fmla="*/ 52745 h 248214"/>
                <a:gd name="connsiteX301" fmla="*/ 166699 w 180519"/>
                <a:gd name="connsiteY301" fmla="*/ 51899 h 248214"/>
                <a:gd name="connsiteX302" fmla="*/ 166699 w 180519"/>
                <a:gd name="connsiteY302" fmla="*/ 51617 h 248214"/>
                <a:gd name="connsiteX303" fmla="*/ 165852 w 180519"/>
                <a:gd name="connsiteY303" fmla="*/ 51335 h 248214"/>
                <a:gd name="connsiteX304" fmla="*/ 165288 w 180519"/>
                <a:gd name="connsiteY304" fmla="*/ 51617 h 248214"/>
                <a:gd name="connsiteX305" fmla="*/ 165006 w 180519"/>
                <a:gd name="connsiteY305" fmla="*/ 51617 h 248214"/>
                <a:gd name="connsiteX306" fmla="*/ 165288 w 180519"/>
                <a:gd name="connsiteY306" fmla="*/ 51335 h 248214"/>
                <a:gd name="connsiteX307" fmla="*/ 165570 w 180519"/>
                <a:gd name="connsiteY307" fmla="*/ 50771 h 248214"/>
                <a:gd name="connsiteX308" fmla="*/ 164160 w 180519"/>
                <a:gd name="connsiteY308" fmla="*/ 50207 h 248214"/>
                <a:gd name="connsiteX309" fmla="*/ 163314 w 180519"/>
                <a:gd name="connsiteY309" fmla="*/ 50207 h 248214"/>
                <a:gd name="connsiteX310" fmla="*/ 162468 w 180519"/>
                <a:gd name="connsiteY310" fmla="*/ 50771 h 248214"/>
                <a:gd name="connsiteX311" fmla="*/ 161057 w 180519"/>
                <a:gd name="connsiteY311" fmla="*/ 51335 h 248214"/>
                <a:gd name="connsiteX312" fmla="*/ 159647 w 180519"/>
                <a:gd name="connsiteY312" fmla="*/ 51335 h 248214"/>
                <a:gd name="connsiteX313" fmla="*/ 156544 w 180519"/>
                <a:gd name="connsiteY313" fmla="*/ 50771 h 248214"/>
                <a:gd name="connsiteX314" fmla="*/ 152596 w 180519"/>
                <a:gd name="connsiteY314" fmla="*/ 50771 h 248214"/>
                <a:gd name="connsiteX315" fmla="*/ 152032 w 180519"/>
                <a:gd name="connsiteY315" fmla="*/ 50489 h 248214"/>
                <a:gd name="connsiteX316" fmla="*/ 151749 w 180519"/>
                <a:gd name="connsiteY316" fmla="*/ 49925 h 248214"/>
                <a:gd name="connsiteX317" fmla="*/ 151749 w 180519"/>
                <a:gd name="connsiteY317" fmla="*/ 49361 h 248214"/>
                <a:gd name="connsiteX318" fmla="*/ 152313 w 180519"/>
                <a:gd name="connsiteY318" fmla="*/ 48232 h 248214"/>
                <a:gd name="connsiteX319" fmla="*/ 152032 w 180519"/>
                <a:gd name="connsiteY319" fmla="*/ 47950 h 248214"/>
                <a:gd name="connsiteX320" fmla="*/ 150903 w 180519"/>
                <a:gd name="connsiteY320" fmla="*/ 49079 h 248214"/>
                <a:gd name="connsiteX321" fmla="*/ 149493 w 180519"/>
                <a:gd name="connsiteY321" fmla="*/ 49643 h 248214"/>
                <a:gd name="connsiteX322" fmla="*/ 149211 w 180519"/>
                <a:gd name="connsiteY322" fmla="*/ 49643 h 248214"/>
                <a:gd name="connsiteX323" fmla="*/ 149493 w 180519"/>
                <a:gd name="connsiteY323" fmla="*/ 49079 h 248214"/>
                <a:gd name="connsiteX324" fmla="*/ 149211 w 180519"/>
                <a:gd name="connsiteY324" fmla="*/ 49079 h 248214"/>
                <a:gd name="connsiteX325" fmla="*/ 148365 w 180519"/>
                <a:gd name="connsiteY325" fmla="*/ 49925 h 248214"/>
                <a:gd name="connsiteX326" fmla="*/ 146954 w 180519"/>
                <a:gd name="connsiteY326" fmla="*/ 51053 h 248214"/>
                <a:gd name="connsiteX327" fmla="*/ 145262 w 180519"/>
                <a:gd name="connsiteY327" fmla="*/ 50771 h 248214"/>
                <a:gd name="connsiteX328" fmla="*/ 143851 w 180519"/>
                <a:gd name="connsiteY328" fmla="*/ 51335 h 248214"/>
                <a:gd name="connsiteX329" fmla="*/ 142723 w 180519"/>
                <a:gd name="connsiteY329" fmla="*/ 51617 h 248214"/>
                <a:gd name="connsiteX330" fmla="*/ 141313 w 180519"/>
                <a:gd name="connsiteY330" fmla="*/ 51335 h 248214"/>
                <a:gd name="connsiteX331" fmla="*/ 140749 w 180519"/>
                <a:gd name="connsiteY331" fmla="*/ 51335 h 248214"/>
                <a:gd name="connsiteX332" fmla="*/ 140184 w 180519"/>
                <a:gd name="connsiteY332" fmla="*/ 51053 h 248214"/>
                <a:gd name="connsiteX333" fmla="*/ 139620 w 180519"/>
                <a:gd name="connsiteY333" fmla="*/ 51053 h 248214"/>
                <a:gd name="connsiteX334" fmla="*/ 137928 w 180519"/>
                <a:gd name="connsiteY334" fmla="*/ 51335 h 248214"/>
                <a:gd name="connsiteX335" fmla="*/ 136236 w 180519"/>
                <a:gd name="connsiteY335" fmla="*/ 50771 h 248214"/>
                <a:gd name="connsiteX336" fmla="*/ 135672 w 180519"/>
                <a:gd name="connsiteY336" fmla="*/ 51053 h 248214"/>
                <a:gd name="connsiteX337" fmla="*/ 134543 w 180519"/>
                <a:gd name="connsiteY337" fmla="*/ 50489 h 248214"/>
                <a:gd name="connsiteX338" fmla="*/ 133979 w 180519"/>
                <a:gd name="connsiteY338" fmla="*/ 50207 h 248214"/>
                <a:gd name="connsiteX339" fmla="*/ 133133 w 180519"/>
                <a:gd name="connsiteY339" fmla="*/ 50489 h 248214"/>
                <a:gd name="connsiteX340" fmla="*/ 132287 w 180519"/>
                <a:gd name="connsiteY340" fmla="*/ 51335 h 248214"/>
                <a:gd name="connsiteX341" fmla="*/ 132005 w 180519"/>
                <a:gd name="connsiteY341" fmla="*/ 51335 h 248214"/>
                <a:gd name="connsiteX342" fmla="*/ 132005 w 180519"/>
                <a:gd name="connsiteY342" fmla="*/ 51053 h 248214"/>
                <a:gd name="connsiteX343" fmla="*/ 131441 w 180519"/>
                <a:gd name="connsiteY343" fmla="*/ 50771 h 248214"/>
                <a:gd name="connsiteX344" fmla="*/ 129748 w 180519"/>
                <a:gd name="connsiteY344" fmla="*/ 51899 h 248214"/>
                <a:gd name="connsiteX345" fmla="*/ 129748 w 180519"/>
                <a:gd name="connsiteY345" fmla="*/ 51335 h 248214"/>
                <a:gd name="connsiteX346" fmla="*/ 129467 w 180519"/>
                <a:gd name="connsiteY346" fmla="*/ 51053 h 248214"/>
                <a:gd name="connsiteX347" fmla="*/ 128902 w 180519"/>
                <a:gd name="connsiteY347" fmla="*/ 51617 h 248214"/>
                <a:gd name="connsiteX348" fmla="*/ 127774 w 180519"/>
                <a:gd name="connsiteY348" fmla="*/ 51899 h 248214"/>
                <a:gd name="connsiteX349" fmla="*/ 127492 w 180519"/>
                <a:gd name="connsiteY349" fmla="*/ 51899 h 248214"/>
                <a:gd name="connsiteX350" fmla="*/ 127492 w 180519"/>
                <a:gd name="connsiteY350" fmla="*/ 51335 h 248214"/>
                <a:gd name="connsiteX351" fmla="*/ 127210 w 180519"/>
                <a:gd name="connsiteY351" fmla="*/ 51335 h 248214"/>
                <a:gd name="connsiteX352" fmla="*/ 125800 w 180519"/>
                <a:gd name="connsiteY352" fmla="*/ 52181 h 248214"/>
                <a:gd name="connsiteX353" fmla="*/ 125236 w 180519"/>
                <a:gd name="connsiteY353" fmla="*/ 52181 h 248214"/>
                <a:gd name="connsiteX354" fmla="*/ 122415 w 180519"/>
                <a:gd name="connsiteY354" fmla="*/ 51617 h 248214"/>
                <a:gd name="connsiteX355" fmla="*/ 122133 w 180519"/>
                <a:gd name="connsiteY355" fmla="*/ 51335 h 248214"/>
                <a:gd name="connsiteX356" fmla="*/ 121569 w 180519"/>
                <a:gd name="connsiteY356" fmla="*/ 50771 h 248214"/>
                <a:gd name="connsiteX357" fmla="*/ 120440 w 180519"/>
                <a:gd name="connsiteY357" fmla="*/ 51335 h 248214"/>
                <a:gd name="connsiteX358" fmla="*/ 120158 w 180519"/>
                <a:gd name="connsiteY358" fmla="*/ 51617 h 248214"/>
                <a:gd name="connsiteX359" fmla="*/ 119594 w 180519"/>
                <a:gd name="connsiteY359" fmla="*/ 51335 h 248214"/>
                <a:gd name="connsiteX360" fmla="*/ 115928 w 180519"/>
                <a:gd name="connsiteY360" fmla="*/ 52463 h 248214"/>
                <a:gd name="connsiteX361" fmla="*/ 114799 w 180519"/>
                <a:gd name="connsiteY361" fmla="*/ 52745 h 248214"/>
                <a:gd name="connsiteX362" fmla="*/ 113671 w 180519"/>
                <a:gd name="connsiteY362" fmla="*/ 52745 h 248214"/>
                <a:gd name="connsiteX363" fmla="*/ 112825 w 180519"/>
                <a:gd name="connsiteY363" fmla="*/ 53028 h 248214"/>
                <a:gd name="connsiteX364" fmla="*/ 108030 w 180519"/>
                <a:gd name="connsiteY364" fmla="*/ 54156 h 248214"/>
                <a:gd name="connsiteX365" fmla="*/ 106055 w 180519"/>
                <a:gd name="connsiteY365" fmla="*/ 54438 h 248214"/>
                <a:gd name="connsiteX366" fmla="*/ 104927 w 180519"/>
                <a:gd name="connsiteY366" fmla="*/ 54438 h 248214"/>
                <a:gd name="connsiteX367" fmla="*/ 100978 w 180519"/>
                <a:gd name="connsiteY367" fmla="*/ 55284 h 248214"/>
                <a:gd name="connsiteX368" fmla="*/ 100414 w 180519"/>
                <a:gd name="connsiteY368" fmla="*/ 55002 h 248214"/>
                <a:gd name="connsiteX369" fmla="*/ 100414 w 180519"/>
                <a:gd name="connsiteY369" fmla="*/ 53310 h 248214"/>
                <a:gd name="connsiteX370" fmla="*/ 100978 w 180519"/>
                <a:gd name="connsiteY370" fmla="*/ 52745 h 248214"/>
                <a:gd name="connsiteX371" fmla="*/ 100696 w 180519"/>
                <a:gd name="connsiteY371" fmla="*/ 52463 h 248214"/>
                <a:gd name="connsiteX372" fmla="*/ 100414 w 180519"/>
                <a:gd name="connsiteY372" fmla="*/ 52745 h 248214"/>
                <a:gd name="connsiteX373" fmla="*/ 99850 w 180519"/>
                <a:gd name="connsiteY373" fmla="*/ 53028 h 248214"/>
                <a:gd name="connsiteX374" fmla="*/ 97875 w 180519"/>
                <a:gd name="connsiteY374" fmla="*/ 54438 h 248214"/>
                <a:gd name="connsiteX375" fmla="*/ 97030 w 180519"/>
                <a:gd name="connsiteY375" fmla="*/ 54438 h 248214"/>
                <a:gd name="connsiteX376" fmla="*/ 95055 w 180519"/>
                <a:gd name="connsiteY376" fmla="*/ 55284 h 248214"/>
                <a:gd name="connsiteX377" fmla="*/ 86875 w 180519"/>
                <a:gd name="connsiteY377" fmla="*/ 66849 h 248214"/>
                <a:gd name="connsiteX378" fmla="*/ 86311 w 180519"/>
                <a:gd name="connsiteY378" fmla="*/ 65720 h 248214"/>
                <a:gd name="connsiteX379" fmla="*/ 86311 w 180519"/>
                <a:gd name="connsiteY379" fmla="*/ 65438 h 248214"/>
                <a:gd name="connsiteX380" fmla="*/ 85747 w 180519"/>
                <a:gd name="connsiteY380" fmla="*/ 65720 h 248214"/>
                <a:gd name="connsiteX381" fmla="*/ 85465 w 180519"/>
                <a:gd name="connsiteY381" fmla="*/ 66002 h 248214"/>
                <a:gd name="connsiteX382" fmla="*/ 86593 w 180519"/>
                <a:gd name="connsiteY382" fmla="*/ 68823 h 248214"/>
                <a:gd name="connsiteX383" fmla="*/ 86593 w 180519"/>
                <a:gd name="connsiteY383" fmla="*/ 69105 h 248214"/>
                <a:gd name="connsiteX384" fmla="*/ 86029 w 180519"/>
                <a:gd name="connsiteY384" fmla="*/ 70515 h 248214"/>
                <a:gd name="connsiteX385" fmla="*/ 85182 w 180519"/>
                <a:gd name="connsiteY385" fmla="*/ 71079 h 248214"/>
                <a:gd name="connsiteX386" fmla="*/ 85747 w 180519"/>
                <a:gd name="connsiteY386" fmla="*/ 71644 h 248214"/>
                <a:gd name="connsiteX387" fmla="*/ 86029 w 180519"/>
                <a:gd name="connsiteY387" fmla="*/ 72208 h 248214"/>
                <a:gd name="connsiteX388" fmla="*/ 85747 w 180519"/>
                <a:gd name="connsiteY388" fmla="*/ 73618 h 248214"/>
                <a:gd name="connsiteX389" fmla="*/ 84901 w 180519"/>
                <a:gd name="connsiteY389" fmla="*/ 74182 h 248214"/>
                <a:gd name="connsiteX390" fmla="*/ 84054 w 180519"/>
                <a:gd name="connsiteY390" fmla="*/ 74746 h 248214"/>
                <a:gd name="connsiteX391" fmla="*/ 83208 w 180519"/>
                <a:gd name="connsiteY391" fmla="*/ 75310 h 248214"/>
                <a:gd name="connsiteX392" fmla="*/ 84054 w 180519"/>
                <a:gd name="connsiteY392" fmla="*/ 75875 h 248214"/>
                <a:gd name="connsiteX393" fmla="*/ 84337 w 180519"/>
                <a:gd name="connsiteY393" fmla="*/ 76439 h 248214"/>
                <a:gd name="connsiteX394" fmla="*/ 83208 w 180519"/>
                <a:gd name="connsiteY394" fmla="*/ 77567 h 248214"/>
                <a:gd name="connsiteX395" fmla="*/ 83208 w 180519"/>
                <a:gd name="connsiteY395" fmla="*/ 77849 h 248214"/>
                <a:gd name="connsiteX396" fmla="*/ 78977 w 180519"/>
                <a:gd name="connsiteY396" fmla="*/ 94491 h 248214"/>
                <a:gd name="connsiteX397" fmla="*/ 78131 w 180519"/>
                <a:gd name="connsiteY397" fmla="*/ 96747 h 248214"/>
                <a:gd name="connsiteX398" fmla="*/ 78131 w 180519"/>
                <a:gd name="connsiteY398" fmla="*/ 98721 h 248214"/>
                <a:gd name="connsiteX399" fmla="*/ 77285 w 180519"/>
                <a:gd name="connsiteY399" fmla="*/ 99568 h 248214"/>
                <a:gd name="connsiteX400" fmla="*/ 77567 w 180519"/>
                <a:gd name="connsiteY400" fmla="*/ 99850 h 248214"/>
                <a:gd name="connsiteX401" fmla="*/ 77285 w 180519"/>
                <a:gd name="connsiteY401" fmla="*/ 100978 h 248214"/>
                <a:gd name="connsiteX402" fmla="*/ 77285 w 180519"/>
                <a:gd name="connsiteY402" fmla="*/ 101542 h 248214"/>
                <a:gd name="connsiteX403" fmla="*/ 75875 w 180519"/>
                <a:gd name="connsiteY403" fmla="*/ 104081 h 248214"/>
                <a:gd name="connsiteX404" fmla="*/ 75310 w 180519"/>
                <a:gd name="connsiteY404" fmla="*/ 104927 h 248214"/>
                <a:gd name="connsiteX405" fmla="*/ 76157 w 180519"/>
                <a:gd name="connsiteY405" fmla="*/ 105491 h 248214"/>
                <a:gd name="connsiteX406" fmla="*/ 75593 w 180519"/>
                <a:gd name="connsiteY406" fmla="*/ 106055 h 248214"/>
                <a:gd name="connsiteX407" fmla="*/ 75875 w 180519"/>
                <a:gd name="connsiteY407" fmla="*/ 106337 h 248214"/>
                <a:gd name="connsiteX408" fmla="*/ 75875 w 180519"/>
                <a:gd name="connsiteY408" fmla="*/ 107183 h 248214"/>
                <a:gd name="connsiteX409" fmla="*/ 75310 w 180519"/>
                <a:gd name="connsiteY409" fmla="*/ 107183 h 248214"/>
                <a:gd name="connsiteX410" fmla="*/ 75593 w 180519"/>
                <a:gd name="connsiteY410" fmla="*/ 108594 h 248214"/>
                <a:gd name="connsiteX411" fmla="*/ 74746 w 180519"/>
                <a:gd name="connsiteY411" fmla="*/ 109722 h 248214"/>
                <a:gd name="connsiteX412" fmla="*/ 75029 w 180519"/>
                <a:gd name="connsiteY412" fmla="*/ 110286 h 248214"/>
                <a:gd name="connsiteX413" fmla="*/ 75029 w 180519"/>
                <a:gd name="connsiteY413" fmla="*/ 110568 h 248214"/>
                <a:gd name="connsiteX414" fmla="*/ 74465 w 180519"/>
                <a:gd name="connsiteY414" fmla="*/ 111132 h 248214"/>
                <a:gd name="connsiteX415" fmla="*/ 74182 w 180519"/>
                <a:gd name="connsiteY415" fmla="*/ 113107 h 248214"/>
                <a:gd name="connsiteX416" fmla="*/ 73900 w 180519"/>
                <a:gd name="connsiteY416" fmla="*/ 113953 h 248214"/>
                <a:gd name="connsiteX417" fmla="*/ 73336 w 180519"/>
                <a:gd name="connsiteY417" fmla="*/ 115363 h 248214"/>
                <a:gd name="connsiteX418" fmla="*/ 73618 w 180519"/>
                <a:gd name="connsiteY418" fmla="*/ 115927 h 248214"/>
                <a:gd name="connsiteX419" fmla="*/ 73618 w 180519"/>
                <a:gd name="connsiteY419" fmla="*/ 116491 h 248214"/>
                <a:gd name="connsiteX420" fmla="*/ 73054 w 180519"/>
                <a:gd name="connsiteY420" fmla="*/ 118184 h 248214"/>
                <a:gd name="connsiteX421" fmla="*/ 72490 w 180519"/>
                <a:gd name="connsiteY421" fmla="*/ 119030 h 248214"/>
                <a:gd name="connsiteX422" fmla="*/ 71079 w 180519"/>
                <a:gd name="connsiteY422" fmla="*/ 119876 h 248214"/>
                <a:gd name="connsiteX423" fmla="*/ 71644 w 180519"/>
                <a:gd name="connsiteY423" fmla="*/ 120158 h 248214"/>
                <a:gd name="connsiteX424" fmla="*/ 71926 w 180519"/>
                <a:gd name="connsiteY424" fmla="*/ 120722 h 248214"/>
                <a:gd name="connsiteX425" fmla="*/ 71926 w 180519"/>
                <a:gd name="connsiteY425" fmla="*/ 121286 h 248214"/>
                <a:gd name="connsiteX426" fmla="*/ 70515 w 180519"/>
                <a:gd name="connsiteY426" fmla="*/ 123261 h 248214"/>
                <a:gd name="connsiteX427" fmla="*/ 69951 w 180519"/>
                <a:gd name="connsiteY427" fmla="*/ 123825 h 248214"/>
                <a:gd name="connsiteX428" fmla="*/ 70234 w 180519"/>
                <a:gd name="connsiteY428" fmla="*/ 124107 h 248214"/>
                <a:gd name="connsiteX429" fmla="*/ 70515 w 180519"/>
                <a:gd name="connsiteY429" fmla="*/ 124953 h 248214"/>
                <a:gd name="connsiteX430" fmla="*/ 70798 w 180519"/>
                <a:gd name="connsiteY430" fmla="*/ 125517 h 248214"/>
                <a:gd name="connsiteX431" fmla="*/ 70515 w 180519"/>
                <a:gd name="connsiteY431" fmla="*/ 125799 h 248214"/>
                <a:gd name="connsiteX432" fmla="*/ 70798 w 180519"/>
                <a:gd name="connsiteY432" fmla="*/ 126363 h 248214"/>
                <a:gd name="connsiteX433" fmla="*/ 71362 w 180519"/>
                <a:gd name="connsiteY433" fmla="*/ 126363 h 248214"/>
                <a:gd name="connsiteX434" fmla="*/ 71362 w 180519"/>
                <a:gd name="connsiteY434" fmla="*/ 126646 h 248214"/>
                <a:gd name="connsiteX435" fmla="*/ 71079 w 180519"/>
                <a:gd name="connsiteY435" fmla="*/ 126928 h 248214"/>
                <a:gd name="connsiteX436" fmla="*/ 70515 w 180519"/>
                <a:gd name="connsiteY436" fmla="*/ 126928 h 248214"/>
                <a:gd name="connsiteX437" fmla="*/ 69951 w 180519"/>
                <a:gd name="connsiteY437" fmla="*/ 126363 h 248214"/>
                <a:gd name="connsiteX438" fmla="*/ 69669 w 180519"/>
                <a:gd name="connsiteY438" fmla="*/ 126363 h 248214"/>
                <a:gd name="connsiteX439" fmla="*/ 68823 w 180519"/>
                <a:gd name="connsiteY439" fmla="*/ 127774 h 248214"/>
                <a:gd name="connsiteX440" fmla="*/ 68541 w 180519"/>
                <a:gd name="connsiteY440" fmla="*/ 128056 h 248214"/>
                <a:gd name="connsiteX441" fmla="*/ 67977 w 180519"/>
                <a:gd name="connsiteY441" fmla="*/ 128056 h 248214"/>
                <a:gd name="connsiteX442" fmla="*/ 67131 w 180519"/>
                <a:gd name="connsiteY442" fmla="*/ 128338 h 248214"/>
                <a:gd name="connsiteX443" fmla="*/ 66848 w 180519"/>
                <a:gd name="connsiteY443" fmla="*/ 129466 h 248214"/>
                <a:gd name="connsiteX444" fmla="*/ 66848 w 180519"/>
                <a:gd name="connsiteY444" fmla="*/ 130030 h 248214"/>
                <a:gd name="connsiteX445" fmla="*/ 66567 w 180519"/>
                <a:gd name="connsiteY445" fmla="*/ 130594 h 248214"/>
                <a:gd name="connsiteX446" fmla="*/ 66567 w 180519"/>
                <a:gd name="connsiteY446" fmla="*/ 131723 h 248214"/>
                <a:gd name="connsiteX447" fmla="*/ 67131 w 180519"/>
                <a:gd name="connsiteY447" fmla="*/ 132851 h 248214"/>
                <a:gd name="connsiteX448" fmla="*/ 67131 w 180519"/>
                <a:gd name="connsiteY448" fmla="*/ 133133 h 248214"/>
                <a:gd name="connsiteX449" fmla="*/ 66848 w 180519"/>
                <a:gd name="connsiteY449" fmla="*/ 133415 h 248214"/>
                <a:gd name="connsiteX450" fmla="*/ 66003 w 180519"/>
                <a:gd name="connsiteY450" fmla="*/ 134825 h 248214"/>
                <a:gd name="connsiteX451" fmla="*/ 66284 w 180519"/>
                <a:gd name="connsiteY451" fmla="*/ 135389 h 248214"/>
                <a:gd name="connsiteX452" fmla="*/ 66567 w 180519"/>
                <a:gd name="connsiteY452" fmla="*/ 135389 h 248214"/>
                <a:gd name="connsiteX453" fmla="*/ 67413 w 180519"/>
                <a:gd name="connsiteY453" fmla="*/ 134825 h 248214"/>
                <a:gd name="connsiteX454" fmla="*/ 68541 w 180519"/>
                <a:gd name="connsiteY454" fmla="*/ 134261 h 248214"/>
                <a:gd name="connsiteX455" fmla="*/ 69387 w 180519"/>
                <a:gd name="connsiteY455" fmla="*/ 133697 h 248214"/>
                <a:gd name="connsiteX456" fmla="*/ 69951 w 180519"/>
                <a:gd name="connsiteY456" fmla="*/ 133697 h 248214"/>
                <a:gd name="connsiteX457" fmla="*/ 69951 w 180519"/>
                <a:gd name="connsiteY457" fmla="*/ 134261 h 248214"/>
                <a:gd name="connsiteX458" fmla="*/ 69105 w 180519"/>
                <a:gd name="connsiteY458" fmla="*/ 135389 h 248214"/>
                <a:gd name="connsiteX459" fmla="*/ 69105 w 180519"/>
                <a:gd name="connsiteY459" fmla="*/ 135954 h 248214"/>
                <a:gd name="connsiteX460" fmla="*/ 67413 w 180519"/>
                <a:gd name="connsiteY460" fmla="*/ 137082 h 248214"/>
                <a:gd name="connsiteX461" fmla="*/ 67131 w 180519"/>
                <a:gd name="connsiteY461" fmla="*/ 137928 h 248214"/>
                <a:gd name="connsiteX462" fmla="*/ 67131 w 180519"/>
                <a:gd name="connsiteY462" fmla="*/ 138774 h 248214"/>
                <a:gd name="connsiteX463" fmla="*/ 67413 w 180519"/>
                <a:gd name="connsiteY463" fmla="*/ 139338 h 248214"/>
                <a:gd name="connsiteX464" fmla="*/ 68541 w 180519"/>
                <a:gd name="connsiteY464" fmla="*/ 139902 h 248214"/>
                <a:gd name="connsiteX465" fmla="*/ 68541 w 180519"/>
                <a:gd name="connsiteY465" fmla="*/ 140185 h 248214"/>
                <a:gd name="connsiteX466" fmla="*/ 68259 w 180519"/>
                <a:gd name="connsiteY466" fmla="*/ 141031 h 248214"/>
                <a:gd name="connsiteX467" fmla="*/ 67695 w 180519"/>
                <a:gd name="connsiteY467" fmla="*/ 141595 h 248214"/>
                <a:gd name="connsiteX468" fmla="*/ 67413 w 180519"/>
                <a:gd name="connsiteY468" fmla="*/ 141877 h 248214"/>
                <a:gd name="connsiteX469" fmla="*/ 67695 w 180519"/>
                <a:gd name="connsiteY469" fmla="*/ 143005 h 248214"/>
                <a:gd name="connsiteX470" fmla="*/ 67413 w 180519"/>
                <a:gd name="connsiteY470" fmla="*/ 143287 h 248214"/>
                <a:gd name="connsiteX471" fmla="*/ 66848 w 180519"/>
                <a:gd name="connsiteY471" fmla="*/ 143005 h 248214"/>
                <a:gd name="connsiteX472" fmla="*/ 66848 w 180519"/>
                <a:gd name="connsiteY472" fmla="*/ 142723 h 248214"/>
                <a:gd name="connsiteX473" fmla="*/ 66567 w 180519"/>
                <a:gd name="connsiteY473" fmla="*/ 142441 h 248214"/>
                <a:gd name="connsiteX474" fmla="*/ 67131 w 180519"/>
                <a:gd name="connsiteY474" fmla="*/ 140749 h 248214"/>
                <a:gd name="connsiteX475" fmla="*/ 66848 w 180519"/>
                <a:gd name="connsiteY475" fmla="*/ 140185 h 248214"/>
                <a:gd name="connsiteX476" fmla="*/ 65156 w 180519"/>
                <a:gd name="connsiteY476" fmla="*/ 141595 h 248214"/>
                <a:gd name="connsiteX477" fmla="*/ 64874 w 180519"/>
                <a:gd name="connsiteY477" fmla="*/ 141877 h 248214"/>
                <a:gd name="connsiteX478" fmla="*/ 65156 w 180519"/>
                <a:gd name="connsiteY478" fmla="*/ 142159 h 248214"/>
                <a:gd name="connsiteX479" fmla="*/ 65720 w 180519"/>
                <a:gd name="connsiteY479" fmla="*/ 142441 h 248214"/>
                <a:gd name="connsiteX480" fmla="*/ 65720 w 180519"/>
                <a:gd name="connsiteY480" fmla="*/ 142723 h 248214"/>
                <a:gd name="connsiteX481" fmla="*/ 65156 w 180519"/>
                <a:gd name="connsiteY481" fmla="*/ 144133 h 248214"/>
                <a:gd name="connsiteX482" fmla="*/ 64310 w 180519"/>
                <a:gd name="connsiteY482" fmla="*/ 144697 h 248214"/>
                <a:gd name="connsiteX483" fmla="*/ 63464 w 180519"/>
                <a:gd name="connsiteY483" fmla="*/ 145262 h 248214"/>
                <a:gd name="connsiteX484" fmla="*/ 64028 w 180519"/>
                <a:gd name="connsiteY484" fmla="*/ 145826 h 248214"/>
                <a:gd name="connsiteX485" fmla="*/ 64592 w 180519"/>
                <a:gd name="connsiteY485" fmla="*/ 146954 h 248214"/>
                <a:gd name="connsiteX486" fmla="*/ 63746 w 180519"/>
                <a:gd name="connsiteY486" fmla="*/ 147800 h 248214"/>
                <a:gd name="connsiteX487" fmla="*/ 64028 w 180519"/>
                <a:gd name="connsiteY487" fmla="*/ 148082 h 248214"/>
                <a:gd name="connsiteX488" fmla="*/ 63746 w 180519"/>
                <a:gd name="connsiteY488" fmla="*/ 149210 h 248214"/>
                <a:gd name="connsiteX489" fmla="*/ 63182 w 180519"/>
                <a:gd name="connsiteY489" fmla="*/ 149775 h 248214"/>
                <a:gd name="connsiteX490" fmla="*/ 63746 w 180519"/>
                <a:gd name="connsiteY490" fmla="*/ 150621 h 248214"/>
                <a:gd name="connsiteX491" fmla="*/ 64028 w 180519"/>
                <a:gd name="connsiteY491" fmla="*/ 150903 h 248214"/>
                <a:gd name="connsiteX492" fmla="*/ 63464 w 180519"/>
                <a:gd name="connsiteY492" fmla="*/ 151467 h 248214"/>
                <a:gd name="connsiteX493" fmla="*/ 62618 w 180519"/>
                <a:gd name="connsiteY493" fmla="*/ 153159 h 248214"/>
                <a:gd name="connsiteX494" fmla="*/ 62618 w 180519"/>
                <a:gd name="connsiteY494" fmla="*/ 153441 h 248214"/>
                <a:gd name="connsiteX495" fmla="*/ 62900 w 180519"/>
                <a:gd name="connsiteY495" fmla="*/ 154570 h 248214"/>
                <a:gd name="connsiteX496" fmla="*/ 62618 w 180519"/>
                <a:gd name="connsiteY496" fmla="*/ 155416 h 248214"/>
                <a:gd name="connsiteX497" fmla="*/ 62618 w 180519"/>
                <a:gd name="connsiteY497" fmla="*/ 156544 h 248214"/>
                <a:gd name="connsiteX498" fmla="*/ 62900 w 180519"/>
                <a:gd name="connsiteY498" fmla="*/ 157108 h 248214"/>
                <a:gd name="connsiteX499" fmla="*/ 63182 w 180519"/>
                <a:gd name="connsiteY499" fmla="*/ 157390 h 248214"/>
                <a:gd name="connsiteX500" fmla="*/ 62618 w 180519"/>
                <a:gd name="connsiteY500" fmla="*/ 157954 h 248214"/>
                <a:gd name="connsiteX501" fmla="*/ 62336 w 180519"/>
                <a:gd name="connsiteY501" fmla="*/ 159647 h 248214"/>
                <a:gd name="connsiteX502" fmla="*/ 62054 w 180519"/>
                <a:gd name="connsiteY502" fmla="*/ 160211 h 248214"/>
                <a:gd name="connsiteX503" fmla="*/ 62336 w 180519"/>
                <a:gd name="connsiteY503" fmla="*/ 160775 h 248214"/>
                <a:gd name="connsiteX504" fmla="*/ 62336 w 180519"/>
                <a:gd name="connsiteY504" fmla="*/ 161621 h 248214"/>
                <a:gd name="connsiteX505" fmla="*/ 61207 w 180519"/>
                <a:gd name="connsiteY505" fmla="*/ 162467 h 248214"/>
                <a:gd name="connsiteX506" fmla="*/ 60643 w 180519"/>
                <a:gd name="connsiteY506" fmla="*/ 162749 h 248214"/>
                <a:gd name="connsiteX507" fmla="*/ 60926 w 180519"/>
                <a:gd name="connsiteY507" fmla="*/ 163596 h 248214"/>
                <a:gd name="connsiteX508" fmla="*/ 62054 w 180519"/>
                <a:gd name="connsiteY508" fmla="*/ 164724 h 248214"/>
                <a:gd name="connsiteX509" fmla="*/ 61772 w 180519"/>
                <a:gd name="connsiteY509" fmla="*/ 165288 h 248214"/>
                <a:gd name="connsiteX510" fmla="*/ 62054 w 180519"/>
                <a:gd name="connsiteY510" fmla="*/ 165570 h 248214"/>
                <a:gd name="connsiteX511" fmla="*/ 62054 w 180519"/>
                <a:gd name="connsiteY511" fmla="*/ 166698 h 248214"/>
                <a:gd name="connsiteX512" fmla="*/ 61207 w 180519"/>
                <a:gd name="connsiteY512" fmla="*/ 167827 h 248214"/>
                <a:gd name="connsiteX513" fmla="*/ 61207 w 180519"/>
                <a:gd name="connsiteY513" fmla="*/ 169519 h 248214"/>
                <a:gd name="connsiteX514" fmla="*/ 60926 w 180519"/>
                <a:gd name="connsiteY514" fmla="*/ 170365 h 248214"/>
                <a:gd name="connsiteX515" fmla="*/ 60643 w 180519"/>
                <a:gd name="connsiteY515" fmla="*/ 170929 h 248214"/>
                <a:gd name="connsiteX516" fmla="*/ 60926 w 180519"/>
                <a:gd name="connsiteY516" fmla="*/ 171493 h 248214"/>
                <a:gd name="connsiteX517" fmla="*/ 62054 w 180519"/>
                <a:gd name="connsiteY517" fmla="*/ 171493 h 248214"/>
                <a:gd name="connsiteX518" fmla="*/ 62618 w 180519"/>
                <a:gd name="connsiteY518" fmla="*/ 170929 h 248214"/>
                <a:gd name="connsiteX519" fmla="*/ 62900 w 180519"/>
                <a:gd name="connsiteY519" fmla="*/ 170929 h 248214"/>
                <a:gd name="connsiteX520" fmla="*/ 63182 w 180519"/>
                <a:gd name="connsiteY520" fmla="*/ 171211 h 248214"/>
                <a:gd name="connsiteX521" fmla="*/ 63464 w 180519"/>
                <a:gd name="connsiteY521" fmla="*/ 172340 h 248214"/>
                <a:gd name="connsiteX522" fmla="*/ 63746 w 180519"/>
                <a:gd name="connsiteY522" fmla="*/ 172622 h 248214"/>
                <a:gd name="connsiteX523" fmla="*/ 64028 w 180519"/>
                <a:gd name="connsiteY523" fmla="*/ 173186 h 248214"/>
                <a:gd name="connsiteX524" fmla="*/ 63182 w 180519"/>
                <a:gd name="connsiteY524" fmla="*/ 174032 h 248214"/>
                <a:gd name="connsiteX525" fmla="*/ 62618 w 180519"/>
                <a:gd name="connsiteY525" fmla="*/ 174314 h 248214"/>
                <a:gd name="connsiteX526" fmla="*/ 61490 w 180519"/>
                <a:gd name="connsiteY526" fmla="*/ 172904 h 248214"/>
                <a:gd name="connsiteX527" fmla="*/ 61207 w 180519"/>
                <a:gd name="connsiteY527" fmla="*/ 172622 h 248214"/>
                <a:gd name="connsiteX528" fmla="*/ 60926 w 180519"/>
                <a:gd name="connsiteY528" fmla="*/ 173186 h 248214"/>
                <a:gd name="connsiteX529" fmla="*/ 60079 w 180519"/>
                <a:gd name="connsiteY529" fmla="*/ 174878 h 248214"/>
                <a:gd name="connsiteX530" fmla="*/ 60079 w 180519"/>
                <a:gd name="connsiteY530" fmla="*/ 175160 h 248214"/>
                <a:gd name="connsiteX531" fmla="*/ 59797 w 180519"/>
                <a:gd name="connsiteY531" fmla="*/ 178263 h 248214"/>
                <a:gd name="connsiteX532" fmla="*/ 59797 w 180519"/>
                <a:gd name="connsiteY532" fmla="*/ 179391 h 248214"/>
                <a:gd name="connsiteX533" fmla="*/ 59515 w 180519"/>
                <a:gd name="connsiteY533" fmla="*/ 180237 h 248214"/>
                <a:gd name="connsiteX534" fmla="*/ 59515 w 180519"/>
                <a:gd name="connsiteY534" fmla="*/ 181365 h 248214"/>
                <a:gd name="connsiteX535" fmla="*/ 59797 w 180519"/>
                <a:gd name="connsiteY535" fmla="*/ 181930 h 248214"/>
                <a:gd name="connsiteX536" fmla="*/ 59797 w 180519"/>
                <a:gd name="connsiteY536" fmla="*/ 183058 h 248214"/>
                <a:gd name="connsiteX537" fmla="*/ 59233 w 180519"/>
                <a:gd name="connsiteY537" fmla="*/ 183904 h 248214"/>
                <a:gd name="connsiteX538" fmla="*/ 59233 w 180519"/>
                <a:gd name="connsiteY538" fmla="*/ 184750 h 248214"/>
                <a:gd name="connsiteX539" fmla="*/ 59515 w 180519"/>
                <a:gd name="connsiteY539" fmla="*/ 186443 h 248214"/>
                <a:gd name="connsiteX540" fmla="*/ 59233 w 180519"/>
                <a:gd name="connsiteY540" fmla="*/ 187853 h 248214"/>
                <a:gd name="connsiteX541" fmla="*/ 59233 w 180519"/>
                <a:gd name="connsiteY541" fmla="*/ 188135 h 248214"/>
                <a:gd name="connsiteX542" fmla="*/ 59515 w 180519"/>
                <a:gd name="connsiteY542" fmla="*/ 188417 h 248214"/>
                <a:gd name="connsiteX543" fmla="*/ 59797 w 180519"/>
                <a:gd name="connsiteY543" fmla="*/ 188417 h 248214"/>
                <a:gd name="connsiteX544" fmla="*/ 60079 w 180519"/>
                <a:gd name="connsiteY544" fmla="*/ 188981 h 248214"/>
                <a:gd name="connsiteX545" fmla="*/ 59515 w 180519"/>
                <a:gd name="connsiteY545" fmla="*/ 189827 h 248214"/>
                <a:gd name="connsiteX546" fmla="*/ 59515 w 180519"/>
                <a:gd name="connsiteY546" fmla="*/ 192084 h 248214"/>
                <a:gd name="connsiteX547" fmla="*/ 59797 w 180519"/>
                <a:gd name="connsiteY547" fmla="*/ 192366 h 248214"/>
                <a:gd name="connsiteX548" fmla="*/ 60079 w 180519"/>
                <a:gd name="connsiteY548" fmla="*/ 192366 h 248214"/>
                <a:gd name="connsiteX549" fmla="*/ 60643 w 180519"/>
                <a:gd name="connsiteY549" fmla="*/ 190956 h 248214"/>
                <a:gd name="connsiteX550" fmla="*/ 60926 w 180519"/>
                <a:gd name="connsiteY550" fmla="*/ 190673 h 248214"/>
                <a:gd name="connsiteX551" fmla="*/ 61207 w 180519"/>
                <a:gd name="connsiteY551" fmla="*/ 190956 h 248214"/>
                <a:gd name="connsiteX552" fmla="*/ 62054 w 180519"/>
                <a:gd name="connsiteY552" fmla="*/ 192084 h 248214"/>
                <a:gd name="connsiteX553" fmla="*/ 61490 w 180519"/>
                <a:gd name="connsiteY553" fmla="*/ 192648 h 248214"/>
                <a:gd name="connsiteX554" fmla="*/ 62054 w 180519"/>
                <a:gd name="connsiteY554" fmla="*/ 192930 h 248214"/>
                <a:gd name="connsiteX555" fmla="*/ 61772 w 180519"/>
                <a:gd name="connsiteY555" fmla="*/ 195751 h 248214"/>
                <a:gd name="connsiteX556" fmla="*/ 61207 w 180519"/>
                <a:gd name="connsiteY556" fmla="*/ 195751 h 248214"/>
                <a:gd name="connsiteX557" fmla="*/ 60643 w 180519"/>
                <a:gd name="connsiteY557" fmla="*/ 195186 h 248214"/>
                <a:gd name="connsiteX558" fmla="*/ 60079 w 180519"/>
                <a:gd name="connsiteY558" fmla="*/ 194058 h 248214"/>
                <a:gd name="connsiteX559" fmla="*/ 60643 w 180519"/>
                <a:gd name="connsiteY559" fmla="*/ 193212 h 248214"/>
                <a:gd name="connsiteX560" fmla="*/ 60926 w 180519"/>
                <a:gd name="connsiteY560" fmla="*/ 192930 h 248214"/>
                <a:gd name="connsiteX561" fmla="*/ 60643 w 180519"/>
                <a:gd name="connsiteY561" fmla="*/ 192930 h 248214"/>
                <a:gd name="connsiteX562" fmla="*/ 60079 w 180519"/>
                <a:gd name="connsiteY562" fmla="*/ 192648 h 248214"/>
                <a:gd name="connsiteX563" fmla="*/ 59233 w 180519"/>
                <a:gd name="connsiteY563" fmla="*/ 194058 h 248214"/>
                <a:gd name="connsiteX564" fmla="*/ 59233 w 180519"/>
                <a:gd name="connsiteY564" fmla="*/ 194904 h 248214"/>
                <a:gd name="connsiteX565" fmla="*/ 58387 w 180519"/>
                <a:gd name="connsiteY565" fmla="*/ 195751 h 248214"/>
                <a:gd name="connsiteX566" fmla="*/ 58951 w 180519"/>
                <a:gd name="connsiteY566" fmla="*/ 196315 h 248214"/>
                <a:gd name="connsiteX567" fmla="*/ 59515 w 180519"/>
                <a:gd name="connsiteY567" fmla="*/ 196879 h 248214"/>
                <a:gd name="connsiteX568" fmla="*/ 58669 w 180519"/>
                <a:gd name="connsiteY568" fmla="*/ 197443 h 248214"/>
                <a:gd name="connsiteX569" fmla="*/ 58669 w 180519"/>
                <a:gd name="connsiteY569" fmla="*/ 198007 h 248214"/>
                <a:gd name="connsiteX570" fmla="*/ 60079 w 180519"/>
                <a:gd name="connsiteY570" fmla="*/ 198571 h 248214"/>
                <a:gd name="connsiteX571" fmla="*/ 60926 w 180519"/>
                <a:gd name="connsiteY571" fmla="*/ 198571 h 248214"/>
                <a:gd name="connsiteX572" fmla="*/ 62054 w 180519"/>
                <a:gd name="connsiteY572" fmla="*/ 198853 h 248214"/>
                <a:gd name="connsiteX573" fmla="*/ 61772 w 180519"/>
                <a:gd name="connsiteY573" fmla="*/ 199982 h 248214"/>
                <a:gd name="connsiteX574" fmla="*/ 62054 w 180519"/>
                <a:gd name="connsiteY574" fmla="*/ 204777 h 248214"/>
                <a:gd name="connsiteX575" fmla="*/ 62054 w 180519"/>
                <a:gd name="connsiteY575" fmla="*/ 205905 h 248214"/>
                <a:gd name="connsiteX576" fmla="*/ 61490 w 180519"/>
                <a:gd name="connsiteY576" fmla="*/ 206187 h 248214"/>
                <a:gd name="connsiteX577" fmla="*/ 61772 w 180519"/>
                <a:gd name="connsiteY577" fmla="*/ 207033 h 248214"/>
                <a:gd name="connsiteX578" fmla="*/ 62054 w 180519"/>
                <a:gd name="connsiteY578" fmla="*/ 209290 h 248214"/>
                <a:gd name="connsiteX579" fmla="*/ 61772 w 180519"/>
                <a:gd name="connsiteY579" fmla="*/ 209854 h 248214"/>
                <a:gd name="connsiteX580" fmla="*/ 61207 w 180519"/>
                <a:gd name="connsiteY580" fmla="*/ 210700 h 248214"/>
                <a:gd name="connsiteX581" fmla="*/ 61207 w 180519"/>
                <a:gd name="connsiteY581" fmla="*/ 212392 h 248214"/>
                <a:gd name="connsiteX582" fmla="*/ 61772 w 180519"/>
                <a:gd name="connsiteY582" fmla="*/ 212674 h 248214"/>
                <a:gd name="connsiteX583" fmla="*/ 61490 w 180519"/>
                <a:gd name="connsiteY583" fmla="*/ 212956 h 248214"/>
                <a:gd name="connsiteX584" fmla="*/ 62054 w 180519"/>
                <a:gd name="connsiteY584" fmla="*/ 213803 h 248214"/>
                <a:gd name="connsiteX585" fmla="*/ 62054 w 180519"/>
                <a:gd name="connsiteY585" fmla="*/ 214085 h 248214"/>
                <a:gd name="connsiteX586" fmla="*/ 61490 w 180519"/>
                <a:gd name="connsiteY586" fmla="*/ 214649 h 248214"/>
                <a:gd name="connsiteX587" fmla="*/ 61772 w 180519"/>
                <a:gd name="connsiteY587" fmla="*/ 215213 h 248214"/>
                <a:gd name="connsiteX588" fmla="*/ 61490 w 180519"/>
                <a:gd name="connsiteY588" fmla="*/ 215495 h 248214"/>
                <a:gd name="connsiteX589" fmla="*/ 61207 w 180519"/>
                <a:gd name="connsiteY589" fmla="*/ 215777 h 248214"/>
                <a:gd name="connsiteX590" fmla="*/ 60926 w 180519"/>
                <a:gd name="connsiteY590" fmla="*/ 215495 h 248214"/>
                <a:gd name="connsiteX591" fmla="*/ 60926 w 180519"/>
                <a:gd name="connsiteY591" fmla="*/ 214649 h 248214"/>
                <a:gd name="connsiteX592" fmla="*/ 60079 w 180519"/>
                <a:gd name="connsiteY592" fmla="*/ 214085 h 248214"/>
                <a:gd name="connsiteX593" fmla="*/ 59797 w 180519"/>
                <a:gd name="connsiteY593" fmla="*/ 214649 h 248214"/>
                <a:gd name="connsiteX594" fmla="*/ 59515 w 180519"/>
                <a:gd name="connsiteY594" fmla="*/ 217751 h 248214"/>
                <a:gd name="connsiteX595" fmla="*/ 60362 w 180519"/>
                <a:gd name="connsiteY595" fmla="*/ 218033 h 248214"/>
                <a:gd name="connsiteX596" fmla="*/ 60926 w 180519"/>
                <a:gd name="connsiteY596" fmla="*/ 217469 h 248214"/>
                <a:gd name="connsiteX597" fmla="*/ 61772 w 180519"/>
                <a:gd name="connsiteY597" fmla="*/ 217751 h 248214"/>
                <a:gd name="connsiteX598" fmla="*/ 62054 w 180519"/>
                <a:gd name="connsiteY598" fmla="*/ 218598 h 248214"/>
                <a:gd name="connsiteX599" fmla="*/ 62054 w 180519"/>
                <a:gd name="connsiteY599" fmla="*/ 219726 h 248214"/>
                <a:gd name="connsiteX600" fmla="*/ 62618 w 180519"/>
                <a:gd name="connsiteY600" fmla="*/ 220854 h 248214"/>
                <a:gd name="connsiteX601" fmla="*/ 62618 w 180519"/>
                <a:gd name="connsiteY601" fmla="*/ 221982 h 248214"/>
                <a:gd name="connsiteX602" fmla="*/ 62336 w 180519"/>
                <a:gd name="connsiteY602" fmla="*/ 222828 h 248214"/>
                <a:gd name="connsiteX603" fmla="*/ 62900 w 180519"/>
                <a:gd name="connsiteY603" fmla="*/ 223957 h 248214"/>
                <a:gd name="connsiteX604" fmla="*/ 62900 w 180519"/>
                <a:gd name="connsiteY604" fmla="*/ 224803 h 248214"/>
                <a:gd name="connsiteX605" fmla="*/ 63182 w 180519"/>
                <a:gd name="connsiteY605" fmla="*/ 225367 h 248214"/>
                <a:gd name="connsiteX606" fmla="*/ 63182 w 180519"/>
                <a:gd name="connsiteY606" fmla="*/ 225649 h 248214"/>
                <a:gd name="connsiteX607" fmla="*/ 63182 w 180519"/>
                <a:gd name="connsiteY607" fmla="*/ 227624 h 248214"/>
                <a:gd name="connsiteX608" fmla="*/ 64028 w 180519"/>
                <a:gd name="connsiteY608" fmla="*/ 229034 h 248214"/>
                <a:gd name="connsiteX609" fmla="*/ 64028 w 180519"/>
                <a:gd name="connsiteY609" fmla="*/ 229880 h 248214"/>
                <a:gd name="connsiteX610" fmla="*/ 64874 w 180519"/>
                <a:gd name="connsiteY610" fmla="*/ 230726 h 248214"/>
                <a:gd name="connsiteX611" fmla="*/ 64874 w 180519"/>
                <a:gd name="connsiteY611" fmla="*/ 231290 h 248214"/>
                <a:gd name="connsiteX612" fmla="*/ 66567 w 180519"/>
                <a:gd name="connsiteY612" fmla="*/ 231008 h 248214"/>
                <a:gd name="connsiteX613" fmla="*/ 68259 w 180519"/>
                <a:gd name="connsiteY613" fmla="*/ 230162 h 248214"/>
                <a:gd name="connsiteX614" fmla="*/ 69669 w 180519"/>
                <a:gd name="connsiteY614" fmla="*/ 229034 h 248214"/>
                <a:gd name="connsiteX615" fmla="*/ 70515 w 180519"/>
                <a:gd name="connsiteY615" fmla="*/ 227624 h 248214"/>
                <a:gd name="connsiteX616" fmla="*/ 70515 w 180519"/>
                <a:gd name="connsiteY616" fmla="*/ 227341 h 248214"/>
                <a:gd name="connsiteX617" fmla="*/ 72490 w 180519"/>
                <a:gd name="connsiteY617" fmla="*/ 225367 h 248214"/>
                <a:gd name="connsiteX618" fmla="*/ 73618 w 180519"/>
                <a:gd name="connsiteY618" fmla="*/ 224239 h 248214"/>
                <a:gd name="connsiteX619" fmla="*/ 73618 w 180519"/>
                <a:gd name="connsiteY619" fmla="*/ 223393 h 248214"/>
                <a:gd name="connsiteX620" fmla="*/ 73900 w 180519"/>
                <a:gd name="connsiteY620" fmla="*/ 222828 h 248214"/>
                <a:gd name="connsiteX621" fmla="*/ 74465 w 180519"/>
                <a:gd name="connsiteY621" fmla="*/ 222264 h 248214"/>
                <a:gd name="connsiteX622" fmla="*/ 74746 w 180519"/>
                <a:gd name="connsiteY622" fmla="*/ 221136 h 248214"/>
                <a:gd name="connsiteX623" fmla="*/ 75875 w 180519"/>
                <a:gd name="connsiteY623" fmla="*/ 220290 h 248214"/>
                <a:gd name="connsiteX624" fmla="*/ 76721 w 180519"/>
                <a:gd name="connsiteY624" fmla="*/ 218880 h 248214"/>
                <a:gd name="connsiteX625" fmla="*/ 76721 w 180519"/>
                <a:gd name="connsiteY625" fmla="*/ 218315 h 248214"/>
                <a:gd name="connsiteX626" fmla="*/ 77285 w 180519"/>
                <a:gd name="connsiteY626" fmla="*/ 216623 h 248214"/>
                <a:gd name="connsiteX627" fmla="*/ 79260 w 180519"/>
                <a:gd name="connsiteY627" fmla="*/ 214931 h 248214"/>
                <a:gd name="connsiteX628" fmla="*/ 79824 w 180519"/>
                <a:gd name="connsiteY628" fmla="*/ 213520 h 248214"/>
                <a:gd name="connsiteX629" fmla="*/ 80388 w 180519"/>
                <a:gd name="connsiteY629" fmla="*/ 212392 h 248214"/>
                <a:gd name="connsiteX630" fmla="*/ 80106 w 180519"/>
                <a:gd name="connsiteY630" fmla="*/ 212110 h 248214"/>
                <a:gd name="connsiteX631" fmla="*/ 80670 w 180519"/>
                <a:gd name="connsiteY631" fmla="*/ 210982 h 248214"/>
                <a:gd name="connsiteX632" fmla="*/ 81516 w 180519"/>
                <a:gd name="connsiteY632" fmla="*/ 209290 h 248214"/>
                <a:gd name="connsiteX633" fmla="*/ 82926 w 180519"/>
                <a:gd name="connsiteY633" fmla="*/ 207033 h 248214"/>
                <a:gd name="connsiteX634" fmla="*/ 82926 w 180519"/>
                <a:gd name="connsiteY634" fmla="*/ 206751 h 248214"/>
                <a:gd name="connsiteX635" fmla="*/ 83772 w 180519"/>
                <a:gd name="connsiteY635" fmla="*/ 206187 h 248214"/>
                <a:gd name="connsiteX636" fmla="*/ 83490 w 180519"/>
                <a:gd name="connsiteY636" fmla="*/ 206187 h 248214"/>
                <a:gd name="connsiteX637" fmla="*/ 84337 w 180519"/>
                <a:gd name="connsiteY637" fmla="*/ 204495 h 248214"/>
                <a:gd name="connsiteX638" fmla="*/ 84618 w 180519"/>
                <a:gd name="connsiteY638" fmla="*/ 203366 h 248214"/>
                <a:gd name="connsiteX639" fmla="*/ 85747 w 180519"/>
                <a:gd name="connsiteY639" fmla="*/ 202238 h 248214"/>
                <a:gd name="connsiteX640" fmla="*/ 85465 w 180519"/>
                <a:gd name="connsiteY640" fmla="*/ 201392 h 248214"/>
                <a:gd name="connsiteX641" fmla="*/ 85747 w 180519"/>
                <a:gd name="connsiteY641" fmla="*/ 200828 h 248214"/>
                <a:gd name="connsiteX642" fmla="*/ 86593 w 180519"/>
                <a:gd name="connsiteY642" fmla="*/ 199982 h 248214"/>
                <a:gd name="connsiteX643" fmla="*/ 87157 w 180519"/>
                <a:gd name="connsiteY643" fmla="*/ 198571 h 248214"/>
                <a:gd name="connsiteX644" fmla="*/ 88568 w 180519"/>
                <a:gd name="connsiteY644" fmla="*/ 196879 h 248214"/>
                <a:gd name="connsiteX645" fmla="*/ 89978 w 180519"/>
                <a:gd name="connsiteY645" fmla="*/ 194058 h 248214"/>
                <a:gd name="connsiteX646" fmla="*/ 90542 w 180519"/>
                <a:gd name="connsiteY646" fmla="*/ 193212 h 248214"/>
                <a:gd name="connsiteX647" fmla="*/ 91388 w 180519"/>
                <a:gd name="connsiteY647" fmla="*/ 190956 h 248214"/>
                <a:gd name="connsiteX648" fmla="*/ 92516 w 180519"/>
                <a:gd name="connsiteY648" fmla="*/ 189263 h 248214"/>
                <a:gd name="connsiteX649" fmla="*/ 92234 w 180519"/>
                <a:gd name="connsiteY649" fmla="*/ 188981 h 248214"/>
                <a:gd name="connsiteX650" fmla="*/ 92799 w 180519"/>
                <a:gd name="connsiteY650" fmla="*/ 187853 h 248214"/>
                <a:gd name="connsiteX651" fmla="*/ 94209 w 180519"/>
                <a:gd name="connsiteY651" fmla="*/ 185878 h 248214"/>
                <a:gd name="connsiteX652" fmla="*/ 93927 w 180519"/>
                <a:gd name="connsiteY652" fmla="*/ 185314 h 248214"/>
                <a:gd name="connsiteX653" fmla="*/ 94209 w 180519"/>
                <a:gd name="connsiteY653" fmla="*/ 184468 h 248214"/>
                <a:gd name="connsiteX654" fmla="*/ 95619 w 180519"/>
                <a:gd name="connsiteY654" fmla="*/ 183058 h 248214"/>
                <a:gd name="connsiteX655" fmla="*/ 96183 w 180519"/>
                <a:gd name="connsiteY655" fmla="*/ 181648 h 248214"/>
                <a:gd name="connsiteX656" fmla="*/ 96465 w 180519"/>
                <a:gd name="connsiteY656" fmla="*/ 180519 h 248214"/>
                <a:gd name="connsiteX657" fmla="*/ 96183 w 180519"/>
                <a:gd name="connsiteY657" fmla="*/ 180237 h 248214"/>
                <a:gd name="connsiteX658" fmla="*/ 96747 w 180519"/>
                <a:gd name="connsiteY658" fmla="*/ 179391 h 248214"/>
                <a:gd name="connsiteX659" fmla="*/ 97875 w 180519"/>
                <a:gd name="connsiteY659" fmla="*/ 178263 h 248214"/>
                <a:gd name="connsiteX660" fmla="*/ 98158 w 180519"/>
                <a:gd name="connsiteY660" fmla="*/ 177417 h 248214"/>
                <a:gd name="connsiteX661" fmla="*/ 98722 w 180519"/>
                <a:gd name="connsiteY661" fmla="*/ 176288 h 248214"/>
                <a:gd name="connsiteX662" fmla="*/ 99850 w 180519"/>
                <a:gd name="connsiteY662" fmla="*/ 175160 h 248214"/>
                <a:gd name="connsiteX663" fmla="*/ 99568 w 180519"/>
                <a:gd name="connsiteY663" fmla="*/ 174314 h 248214"/>
                <a:gd name="connsiteX664" fmla="*/ 99850 w 180519"/>
                <a:gd name="connsiteY664" fmla="*/ 173186 h 248214"/>
                <a:gd name="connsiteX665" fmla="*/ 100414 w 180519"/>
                <a:gd name="connsiteY665" fmla="*/ 172622 h 248214"/>
                <a:gd name="connsiteX666" fmla="*/ 100414 w 180519"/>
                <a:gd name="connsiteY666" fmla="*/ 172340 h 248214"/>
                <a:gd name="connsiteX667" fmla="*/ 100978 w 180519"/>
                <a:gd name="connsiteY667" fmla="*/ 171775 h 248214"/>
                <a:gd name="connsiteX668" fmla="*/ 101260 w 180519"/>
                <a:gd name="connsiteY668" fmla="*/ 171211 h 248214"/>
                <a:gd name="connsiteX669" fmla="*/ 101824 w 180519"/>
                <a:gd name="connsiteY669" fmla="*/ 170365 h 248214"/>
                <a:gd name="connsiteX670" fmla="*/ 101824 w 180519"/>
                <a:gd name="connsiteY670" fmla="*/ 169801 h 248214"/>
                <a:gd name="connsiteX671" fmla="*/ 102106 w 180519"/>
                <a:gd name="connsiteY671" fmla="*/ 169519 h 248214"/>
                <a:gd name="connsiteX672" fmla="*/ 103516 w 180519"/>
                <a:gd name="connsiteY672" fmla="*/ 166416 h 248214"/>
                <a:gd name="connsiteX673" fmla="*/ 103799 w 180519"/>
                <a:gd name="connsiteY673" fmla="*/ 165006 h 248214"/>
                <a:gd name="connsiteX674" fmla="*/ 104645 w 180519"/>
                <a:gd name="connsiteY674" fmla="*/ 163596 h 248214"/>
                <a:gd name="connsiteX675" fmla="*/ 105491 w 180519"/>
                <a:gd name="connsiteY675" fmla="*/ 162467 h 248214"/>
                <a:gd name="connsiteX676" fmla="*/ 106619 w 180519"/>
                <a:gd name="connsiteY676" fmla="*/ 160211 h 248214"/>
                <a:gd name="connsiteX677" fmla="*/ 106619 w 180519"/>
                <a:gd name="connsiteY677" fmla="*/ 159083 h 248214"/>
                <a:gd name="connsiteX678" fmla="*/ 106902 w 180519"/>
                <a:gd name="connsiteY678" fmla="*/ 158801 h 248214"/>
                <a:gd name="connsiteX679" fmla="*/ 107747 w 180519"/>
                <a:gd name="connsiteY679" fmla="*/ 157108 h 248214"/>
                <a:gd name="connsiteX680" fmla="*/ 108312 w 180519"/>
                <a:gd name="connsiteY680" fmla="*/ 156262 h 248214"/>
                <a:gd name="connsiteX681" fmla="*/ 107747 w 180519"/>
                <a:gd name="connsiteY681" fmla="*/ 155980 h 248214"/>
                <a:gd name="connsiteX682" fmla="*/ 108594 w 180519"/>
                <a:gd name="connsiteY682" fmla="*/ 155134 h 248214"/>
                <a:gd name="connsiteX683" fmla="*/ 109440 w 180519"/>
                <a:gd name="connsiteY683" fmla="*/ 154006 h 248214"/>
                <a:gd name="connsiteX684" fmla="*/ 109158 w 180519"/>
                <a:gd name="connsiteY684" fmla="*/ 154006 h 248214"/>
                <a:gd name="connsiteX685" fmla="*/ 109158 w 180519"/>
                <a:gd name="connsiteY685" fmla="*/ 153723 h 248214"/>
                <a:gd name="connsiteX686" fmla="*/ 109722 w 180519"/>
                <a:gd name="connsiteY686" fmla="*/ 153159 h 248214"/>
                <a:gd name="connsiteX687" fmla="*/ 109440 w 180519"/>
                <a:gd name="connsiteY687" fmla="*/ 152595 h 248214"/>
                <a:gd name="connsiteX688" fmla="*/ 110004 w 180519"/>
                <a:gd name="connsiteY688" fmla="*/ 151467 h 248214"/>
                <a:gd name="connsiteX689" fmla="*/ 110850 w 180519"/>
                <a:gd name="connsiteY689" fmla="*/ 150621 h 248214"/>
                <a:gd name="connsiteX690" fmla="*/ 112261 w 180519"/>
                <a:gd name="connsiteY690" fmla="*/ 148646 h 248214"/>
                <a:gd name="connsiteX691" fmla="*/ 126364 w 180519"/>
                <a:gd name="connsiteY691" fmla="*/ 130594 h 248214"/>
                <a:gd name="connsiteX692" fmla="*/ 118466 w 180519"/>
                <a:gd name="connsiteY692" fmla="*/ 148364 h 248214"/>
                <a:gd name="connsiteX693" fmla="*/ 118748 w 180519"/>
                <a:gd name="connsiteY693" fmla="*/ 148364 h 248214"/>
                <a:gd name="connsiteX694" fmla="*/ 118748 w 180519"/>
                <a:gd name="connsiteY694" fmla="*/ 148646 h 248214"/>
                <a:gd name="connsiteX695" fmla="*/ 118466 w 180519"/>
                <a:gd name="connsiteY695" fmla="*/ 149493 h 248214"/>
                <a:gd name="connsiteX696" fmla="*/ 119030 w 180519"/>
                <a:gd name="connsiteY696" fmla="*/ 149493 h 248214"/>
                <a:gd name="connsiteX697" fmla="*/ 120440 w 180519"/>
                <a:gd name="connsiteY697" fmla="*/ 148928 h 248214"/>
                <a:gd name="connsiteX698" fmla="*/ 120440 w 180519"/>
                <a:gd name="connsiteY698" fmla="*/ 149493 h 248214"/>
                <a:gd name="connsiteX699" fmla="*/ 119594 w 180519"/>
                <a:gd name="connsiteY699" fmla="*/ 151467 h 248214"/>
                <a:gd name="connsiteX700" fmla="*/ 119594 w 180519"/>
                <a:gd name="connsiteY700" fmla="*/ 151749 h 248214"/>
                <a:gd name="connsiteX701" fmla="*/ 118466 w 180519"/>
                <a:gd name="connsiteY701" fmla="*/ 152595 h 248214"/>
                <a:gd name="connsiteX702" fmla="*/ 118184 w 180519"/>
                <a:gd name="connsiteY702" fmla="*/ 153441 h 248214"/>
                <a:gd name="connsiteX703" fmla="*/ 118184 w 180519"/>
                <a:gd name="connsiteY703" fmla="*/ 154006 h 248214"/>
                <a:gd name="connsiteX704" fmla="*/ 117902 w 180519"/>
                <a:gd name="connsiteY704" fmla="*/ 154570 h 248214"/>
                <a:gd name="connsiteX705" fmla="*/ 117338 w 180519"/>
                <a:gd name="connsiteY705" fmla="*/ 155416 h 248214"/>
                <a:gd name="connsiteX706" fmla="*/ 117902 w 180519"/>
                <a:gd name="connsiteY706" fmla="*/ 156262 h 248214"/>
                <a:gd name="connsiteX707" fmla="*/ 118184 w 180519"/>
                <a:gd name="connsiteY707" fmla="*/ 156544 h 248214"/>
                <a:gd name="connsiteX708" fmla="*/ 117620 w 180519"/>
                <a:gd name="connsiteY708" fmla="*/ 156826 h 248214"/>
                <a:gd name="connsiteX709" fmla="*/ 117056 w 180519"/>
                <a:gd name="connsiteY709" fmla="*/ 157108 h 248214"/>
                <a:gd name="connsiteX710" fmla="*/ 114799 w 180519"/>
                <a:gd name="connsiteY710" fmla="*/ 158236 h 248214"/>
                <a:gd name="connsiteX711" fmla="*/ 114799 w 180519"/>
                <a:gd name="connsiteY711" fmla="*/ 158801 h 248214"/>
                <a:gd name="connsiteX712" fmla="*/ 115928 w 180519"/>
                <a:gd name="connsiteY712" fmla="*/ 159365 h 248214"/>
                <a:gd name="connsiteX713" fmla="*/ 114517 w 180519"/>
                <a:gd name="connsiteY713" fmla="*/ 159929 h 248214"/>
                <a:gd name="connsiteX714" fmla="*/ 113389 w 180519"/>
                <a:gd name="connsiteY714" fmla="*/ 160493 h 248214"/>
                <a:gd name="connsiteX715" fmla="*/ 113107 w 180519"/>
                <a:gd name="connsiteY715" fmla="*/ 161057 h 248214"/>
                <a:gd name="connsiteX716" fmla="*/ 113107 w 180519"/>
                <a:gd name="connsiteY716" fmla="*/ 161339 h 248214"/>
                <a:gd name="connsiteX717" fmla="*/ 114235 w 180519"/>
                <a:gd name="connsiteY717" fmla="*/ 161339 h 248214"/>
                <a:gd name="connsiteX718" fmla="*/ 114235 w 180519"/>
                <a:gd name="connsiteY718" fmla="*/ 161903 h 248214"/>
                <a:gd name="connsiteX719" fmla="*/ 114517 w 180519"/>
                <a:gd name="connsiteY719" fmla="*/ 162467 h 248214"/>
                <a:gd name="connsiteX720" fmla="*/ 114799 w 180519"/>
                <a:gd name="connsiteY720" fmla="*/ 163031 h 248214"/>
                <a:gd name="connsiteX721" fmla="*/ 114517 w 180519"/>
                <a:gd name="connsiteY721" fmla="*/ 163314 h 248214"/>
                <a:gd name="connsiteX722" fmla="*/ 113389 w 180519"/>
                <a:gd name="connsiteY722" fmla="*/ 164160 h 248214"/>
                <a:gd name="connsiteX723" fmla="*/ 113389 w 180519"/>
                <a:gd name="connsiteY723" fmla="*/ 166416 h 248214"/>
                <a:gd name="connsiteX724" fmla="*/ 113107 w 180519"/>
                <a:gd name="connsiteY724" fmla="*/ 166980 h 248214"/>
                <a:gd name="connsiteX725" fmla="*/ 112825 w 180519"/>
                <a:gd name="connsiteY725" fmla="*/ 167827 h 248214"/>
                <a:gd name="connsiteX726" fmla="*/ 112543 w 180519"/>
                <a:gd name="connsiteY726" fmla="*/ 168109 h 248214"/>
                <a:gd name="connsiteX727" fmla="*/ 111697 w 180519"/>
                <a:gd name="connsiteY727" fmla="*/ 169237 h 248214"/>
                <a:gd name="connsiteX728" fmla="*/ 112261 w 180519"/>
                <a:gd name="connsiteY728" fmla="*/ 170365 h 248214"/>
                <a:gd name="connsiteX729" fmla="*/ 110850 w 180519"/>
                <a:gd name="connsiteY729" fmla="*/ 170929 h 248214"/>
                <a:gd name="connsiteX730" fmla="*/ 110568 w 180519"/>
                <a:gd name="connsiteY730" fmla="*/ 171211 h 248214"/>
                <a:gd name="connsiteX731" fmla="*/ 110568 w 180519"/>
                <a:gd name="connsiteY731" fmla="*/ 171775 h 248214"/>
                <a:gd name="connsiteX732" fmla="*/ 110850 w 180519"/>
                <a:gd name="connsiteY732" fmla="*/ 172622 h 248214"/>
                <a:gd name="connsiteX733" fmla="*/ 109440 w 180519"/>
                <a:gd name="connsiteY733" fmla="*/ 174032 h 248214"/>
                <a:gd name="connsiteX734" fmla="*/ 109440 w 180519"/>
                <a:gd name="connsiteY734" fmla="*/ 174596 h 248214"/>
                <a:gd name="connsiteX735" fmla="*/ 110568 w 180519"/>
                <a:gd name="connsiteY735" fmla="*/ 174596 h 248214"/>
                <a:gd name="connsiteX736" fmla="*/ 111133 w 180519"/>
                <a:gd name="connsiteY736" fmla="*/ 174314 h 248214"/>
                <a:gd name="connsiteX737" fmla="*/ 111697 w 180519"/>
                <a:gd name="connsiteY737" fmla="*/ 174596 h 248214"/>
                <a:gd name="connsiteX738" fmla="*/ 111414 w 180519"/>
                <a:gd name="connsiteY738" fmla="*/ 175160 h 248214"/>
                <a:gd name="connsiteX739" fmla="*/ 111133 w 180519"/>
                <a:gd name="connsiteY739" fmla="*/ 175724 h 248214"/>
                <a:gd name="connsiteX740" fmla="*/ 110568 w 180519"/>
                <a:gd name="connsiteY740" fmla="*/ 177699 h 248214"/>
                <a:gd name="connsiteX741" fmla="*/ 110568 w 180519"/>
                <a:gd name="connsiteY741" fmla="*/ 178545 h 248214"/>
                <a:gd name="connsiteX742" fmla="*/ 110850 w 180519"/>
                <a:gd name="connsiteY742" fmla="*/ 179109 h 248214"/>
                <a:gd name="connsiteX743" fmla="*/ 110568 w 180519"/>
                <a:gd name="connsiteY743" fmla="*/ 179955 h 248214"/>
                <a:gd name="connsiteX744" fmla="*/ 110286 w 180519"/>
                <a:gd name="connsiteY744" fmla="*/ 180237 h 248214"/>
                <a:gd name="connsiteX745" fmla="*/ 110286 w 180519"/>
                <a:gd name="connsiteY745" fmla="*/ 180519 h 248214"/>
                <a:gd name="connsiteX746" fmla="*/ 109722 w 180519"/>
                <a:gd name="connsiteY746" fmla="*/ 181083 h 248214"/>
                <a:gd name="connsiteX747" fmla="*/ 109158 w 180519"/>
                <a:gd name="connsiteY747" fmla="*/ 182212 h 248214"/>
                <a:gd name="connsiteX748" fmla="*/ 108876 w 180519"/>
                <a:gd name="connsiteY748" fmla="*/ 183058 h 248214"/>
                <a:gd name="connsiteX749" fmla="*/ 106902 w 180519"/>
                <a:gd name="connsiteY749" fmla="*/ 183904 h 248214"/>
                <a:gd name="connsiteX750" fmla="*/ 106902 w 180519"/>
                <a:gd name="connsiteY750" fmla="*/ 184750 h 248214"/>
                <a:gd name="connsiteX751" fmla="*/ 104927 w 180519"/>
                <a:gd name="connsiteY751" fmla="*/ 186725 h 248214"/>
                <a:gd name="connsiteX752" fmla="*/ 105209 w 180519"/>
                <a:gd name="connsiteY752" fmla="*/ 186725 h 248214"/>
                <a:gd name="connsiteX753" fmla="*/ 105773 w 180519"/>
                <a:gd name="connsiteY753" fmla="*/ 187571 h 248214"/>
                <a:gd name="connsiteX754" fmla="*/ 105773 w 180519"/>
                <a:gd name="connsiteY754" fmla="*/ 187853 h 248214"/>
                <a:gd name="connsiteX755" fmla="*/ 105491 w 180519"/>
                <a:gd name="connsiteY755" fmla="*/ 188981 h 248214"/>
                <a:gd name="connsiteX756" fmla="*/ 105209 w 180519"/>
                <a:gd name="connsiteY756" fmla="*/ 189545 h 248214"/>
                <a:gd name="connsiteX757" fmla="*/ 104363 w 180519"/>
                <a:gd name="connsiteY757" fmla="*/ 190956 h 248214"/>
                <a:gd name="connsiteX758" fmla="*/ 104927 w 180519"/>
                <a:gd name="connsiteY758" fmla="*/ 191238 h 248214"/>
                <a:gd name="connsiteX759" fmla="*/ 103516 w 180519"/>
                <a:gd name="connsiteY759" fmla="*/ 192366 h 248214"/>
                <a:gd name="connsiteX760" fmla="*/ 102952 w 180519"/>
                <a:gd name="connsiteY760" fmla="*/ 192084 h 248214"/>
                <a:gd name="connsiteX761" fmla="*/ 102671 w 180519"/>
                <a:gd name="connsiteY761" fmla="*/ 190956 h 248214"/>
                <a:gd name="connsiteX762" fmla="*/ 103235 w 180519"/>
                <a:gd name="connsiteY762" fmla="*/ 190673 h 248214"/>
                <a:gd name="connsiteX763" fmla="*/ 103799 w 180519"/>
                <a:gd name="connsiteY763" fmla="*/ 189827 h 248214"/>
                <a:gd name="connsiteX764" fmla="*/ 103516 w 180519"/>
                <a:gd name="connsiteY764" fmla="*/ 189545 h 248214"/>
                <a:gd name="connsiteX765" fmla="*/ 101542 w 180519"/>
                <a:gd name="connsiteY765" fmla="*/ 190673 h 248214"/>
                <a:gd name="connsiteX766" fmla="*/ 101542 w 180519"/>
                <a:gd name="connsiteY766" fmla="*/ 190956 h 248214"/>
                <a:gd name="connsiteX767" fmla="*/ 100696 w 180519"/>
                <a:gd name="connsiteY767" fmla="*/ 192930 h 248214"/>
                <a:gd name="connsiteX768" fmla="*/ 100696 w 180519"/>
                <a:gd name="connsiteY768" fmla="*/ 193212 h 248214"/>
                <a:gd name="connsiteX769" fmla="*/ 100132 w 180519"/>
                <a:gd name="connsiteY769" fmla="*/ 194340 h 248214"/>
                <a:gd name="connsiteX770" fmla="*/ 100132 w 180519"/>
                <a:gd name="connsiteY770" fmla="*/ 195469 h 248214"/>
                <a:gd name="connsiteX771" fmla="*/ 100696 w 180519"/>
                <a:gd name="connsiteY771" fmla="*/ 195751 h 248214"/>
                <a:gd name="connsiteX772" fmla="*/ 100132 w 180519"/>
                <a:gd name="connsiteY772" fmla="*/ 196315 h 248214"/>
                <a:gd name="connsiteX773" fmla="*/ 99850 w 180519"/>
                <a:gd name="connsiteY773" fmla="*/ 198007 h 248214"/>
                <a:gd name="connsiteX774" fmla="*/ 99850 w 180519"/>
                <a:gd name="connsiteY774" fmla="*/ 199417 h 248214"/>
                <a:gd name="connsiteX775" fmla="*/ 99004 w 180519"/>
                <a:gd name="connsiteY775" fmla="*/ 200264 h 248214"/>
                <a:gd name="connsiteX776" fmla="*/ 99004 w 180519"/>
                <a:gd name="connsiteY776" fmla="*/ 201392 h 248214"/>
                <a:gd name="connsiteX777" fmla="*/ 98440 w 180519"/>
                <a:gd name="connsiteY777" fmla="*/ 202520 h 248214"/>
                <a:gd name="connsiteX778" fmla="*/ 97875 w 180519"/>
                <a:gd name="connsiteY778" fmla="*/ 202520 h 248214"/>
                <a:gd name="connsiteX779" fmla="*/ 97030 w 180519"/>
                <a:gd name="connsiteY779" fmla="*/ 202802 h 248214"/>
                <a:gd name="connsiteX780" fmla="*/ 96747 w 180519"/>
                <a:gd name="connsiteY780" fmla="*/ 203366 h 248214"/>
                <a:gd name="connsiteX781" fmla="*/ 97594 w 180519"/>
                <a:gd name="connsiteY781" fmla="*/ 203930 h 248214"/>
                <a:gd name="connsiteX782" fmla="*/ 97030 w 180519"/>
                <a:gd name="connsiteY782" fmla="*/ 204777 h 248214"/>
                <a:gd name="connsiteX783" fmla="*/ 95055 w 180519"/>
                <a:gd name="connsiteY783" fmla="*/ 205623 h 248214"/>
                <a:gd name="connsiteX784" fmla="*/ 94491 w 180519"/>
                <a:gd name="connsiteY784" fmla="*/ 205905 h 248214"/>
                <a:gd name="connsiteX785" fmla="*/ 94209 w 180519"/>
                <a:gd name="connsiteY785" fmla="*/ 206469 h 248214"/>
                <a:gd name="connsiteX786" fmla="*/ 94209 w 180519"/>
                <a:gd name="connsiteY786" fmla="*/ 207597 h 248214"/>
                <a:gd name="connsiteX787" fmla="*/ 93363 w 180519"/>
                <a:gd name="connsiteY787" fmla="*/ 209007 h 248214"/>
                <a:gd name="connsiteX788" fmla="*/ 92799 w 180519"/>
                <a:gd name="connsiteY788" fmla="*/ 209572 h 248214"/>
                <a:gd name="connsiteX789" fmla="*/ 92799 w 180519"/>
                <a:gd name="connsiteY789" fmla="*/ 210136 h 248214"/>
                <a:gd name="connsiteX790" fmla="*/ 92516 w 180519"/>
                <a:gd name="connsiteY790" fmla="*/ 210700 h 248214"/>
                <a:gd name="connsiteX791" fmla="*/ 91670 w 180519"/>
                <a:gd name="connsiteY791" fmla="*/ 210418 h 248214"/>
                <a:gd name="connsiteX792" fmla="*/ 91670 w 180519"/>
                <a:gd name="connsiteY792" fmla="*/ 210136 h 248214"/>
                <a:gd name="connsiteX793" fmla="*/ 91388 w 180519"/>
                <a:gd name="connsiteY793" fmla="*/ 210418 h 248214"/>
                <a:gd name="connsiteX794" fmla="*/ 90542 w 180519"/>
                <a:gd name="connsiteY794" fmla="*/ 210982 h 248214"/>
                <a:gd name="connsiteX795" fmla="*/ 90260 w 180519"/>
                <a:gd name="connsiteY795" fmla="*/ 211546 h 248214"/>
                <a:gd name="connsiteX796" fmla="*/ 90260 w 180519"/>
                <a:gd name="connsiteY796" fmla="*/ 212110 h 248214"/>
                <a:gd name="connsiteX797" fmla="*/ 90542 w 180519"/>
                <a:gd name="connsiteY797" fmla="*/ 212392 h 248214"/>
                <a:gd name="connsiteX798" fmla="*/ 91670 w 180519"/>
                <a:gd name="connsiteY798" fmla="*/ 211264 h 248214"/>
                <a:gd name="connsiteX799" fmla="*/ 91952 w 180519"/>
                <a:gd name="connsiteY799" fmla="*/ 210982 h 248214"/>
                <a:gd name="connsiteX800" fmla="*/ 92516 w 180519"/>
                <a:gd name="connsiteY800" fmla="*/ 211264 h 248214"/>
                <a:gd name="connsiteX801" fmla="*/ 93080 w 180519"/>
                <a:gd name="connsiteY801" fmla="*/ 212110 h 248214"/>
                <a:gd name="connsiteX802" fmla="*/ 94209 w 180519"/>
                <a:gd name="connsiteY802" fmla="*/ 212674 h 248214"/>
                <a:gd name="connsiteX803" fmla="*/ 95055 w 180519"/>
                <a:gd name="connsiteY803" fmla="*/ 212674 h 248214"/>
                <a:gd name="connsiteX804" fmla="*/ 94773 w 180519"/>
                <a:gd name="connsiteY804" fmla="*/ 212392 h 248214"/>
                <a:gd name="connsiteX805" fmla="*/ 94773 w 180519"/>
                <a:gd name="connsiteY805" fmla="*/ 211264 h 248214"/>
                <a:gd name="connsiteX806" fmla="*/ 95337 w 180519"/>
                <a:gd name="connsiteY806" fmla="*/ 210982 h 248214"/>
                <a:gd name="connsiteX807" fmla="*/ 95337 w 180519"/>
                <a:gd name="connsiteY807" fmla="*/ 211264 h 248214"/>
                <a:gd name="connsiteX808" fmla="*/ 95619 w 180519"/>
                <a:gd name="connsiteY808" fmla="*/ 213238 h 248214"/>
                <a:gd name="connsiteX809" fmla="*/ 95619 w 180519"/>
                <a:gd name="connsiteY809" fmla="*/ 213803 h 248214"/>
                <a:gd name="connsiteX810" fmla="*/ 94209 w 180519"/>
                <a:gd name="connsiteY810" fmla="*/ 214931 h 248214"/>
                <a:gd name="connsiteX811" fmla="*/ 93080 w 180519"/>
                <a:gd name="connsiteY811" fmla="*/ 215777 h 248214"/>
                <a:gd name="connsiteX812" fmla="*/ 91952 w 180519"/>
                <a:gd name="connsiteY812" fmla="*/ 215213 h 248214"/>
                <a:gd name="connsiteX813" fmla="*/ 91388 w 180519"/>
                <a:gd name="connsiteY813" fmla="*/ 214931 h 248214"/>
                <a:gd name="connsiteX814" fmla="*/ 90824 w 180519"/>
                <a:gd name="connsiteY814" fmla="*/ 215495 h 248214"/>
                <a:gd name="connsiteX815" fmla="*/ 89978 w 180519"/>
                <a:gd name="connsiteY815" fmla="*/ 216059 h 248214"/>
                <a:gd name="connsiteX816" fmla="*/ 89413 w 180519"/>
                <a:gd name="connsiteY816" fmla="*/ 216341 h 248214"/>
                <a:gd name="connsiteX817" fmla="*/ 90260 w 180519"/>
                <a:gd name="connsiteY817" fmla="*/ 217187 h 248214"/>
                <a:gd name="connsiteX818" fmla="*/ 90260 w 180519"/>
                <a:gd name="connsiteY818" fmla="*/ 217751 h 248214"/>
                <a:gd name="connsiteX819" fmla="*/ 90824 w 180519"/>
                <a:gd name="connsiteY819" fmla="*/ 218315 h 248214"/>
                <a:gd name="connsiteX820" fmla="*/ 91106 w 180519"/>
                <a:gd name="connsiteY820" fmla="*/ 218880 h 248214"/>
                <a:gd name="connsiteX821" fmla="*/ 90260 w 180519"/>
                <a:gd name="connsiteY821" fmla="*/ 219444 h 248214"/>
                <a:gd name="connsiteX822" fmla="*/ 88285 w 180519"/>
                <a:gd name="connsiteY822" fmla="*/ 221418 h 248214"/>
                <a:gd name="connsiteX823" fmla="*/ 87721 w 180519"/>
                <a:gd name="connsiteY823" fmla="*/ 221982 h 248214"/>
                <a:gd name="connsiteX824" fmla="*/ 88285 w 180519"/>
                <a:gd name="connsiteY824" fmla="*/ 222828 h 248214"/>
                <a:gd name="connsiteX825" fmla="*/ 88568 w 180519"/>
                <a:gd name="connsiteY825" fmla="*/ 222546 h 248214"/>
                <a:gd name="connsiteX826" fmla="*/ 89132 w 180519"/>
                <a:gd name="connsiteY826" fmla="*/ 222264 h 248214"/>
                <a:gd name="connsiteX827" fmla="*/ 89132 w 180519"/>
                <a:gd name="connsiteY827" fmla="*/ 222546 h 248214"/>
                <a:gd name="connsiteX828" fmla="*/ 89413 w 180519"/>
                <a:gd name="connsiteY828" fmla="*/ 222546 h 248214"/>
                <a:gd name="connsiteX829" fmla="*/ 89132 w 180519"/>
                <a:gd name="connsiteY829" fmla="*/ 222828 h 248214"/>
                <a:gd name="connsiteX830" fmla="*/ 88849 w 180519"/>
                <a:gd name="connsiteY830" fmla="*/ 223393 h 248214"/>
                <a:gd name="connsiteX831" fmla="*/ 89132 w 180519"/>
                <a:gd name="connsiteY831" fmla="*/ 223675 h 248214"/>
                <a:gd name="connsiteX832" fmla="*/ 88849 w 180519"/>
                <a:gd name="connsiteY832" fmla="*/ 223957 h 248214"/>
                <a:gd name="connsiteX833" fmla="*/ 88285 w 180519"/>
                <a:gd name="connsiteY833" fmla="*/ 224803 h 248214"/>
                <a:gd name="connsiteX834" fmla="*/ 87721 w 180519"/>
                <a:gd name="connsiteY834" fmla="*/ 225085 h 248214"/>
                <a:gd name="connsiteX835" fmla="*/ 86875 w 180519"/>
                <a:gd name="connsiteY835" fmla="*/ 226495 h 248214"/>
                <a:gd name="connsiteX836" fmla="*/ 86875 w 180519"/>
                <a:gd name="connsiteY836" fmla="*/ 227059 h 248214"/>
                <a:gd name="connsiteX837" fmla="*/ 85747 w 180519"/>
                <a:gd name="connsiteY837" fmla="*/ 228752 h 248214"/>
                <a:gd name="connsiteX838" fmla="*/ 85747 w 180519"/>
                <a:gd name="connsiteY838" fmla="*/ 230162 h 248214"/>
                <a:gd name="connsiteX839" fmla="*/ 84618 w 180519"/>
                <a:gd name="connsiteY839" fmla="*/ 231572 h 248214"/>
                <a:gd name="connsiteX840" fmla="*/ 83772 w 180519"/>
                <a:gd name="connsiteY840" fmla="*/ 232983 h 248214"/>
                <a:gd name="connsiteX841" fmla="*/ 83208 w 180519"/>
                <a:gd name="connsiteY841" fmla="*/ 233547 h 248214"/>
                <a:gd name="connsiteX842" fmla="*/ 82926 w 180519"/>
                <a:gd name="connsiteY842" fmla="*/ 234111 h 248214"/>
                <a:gd name="connsiteX843" fmla="*/ 82926 w 180519"/>
                <a:gd name="connsiteY843" fmla="*/ 234675 h 248214"/>
                <a:gd name="connsiteX844" fmla="*/ 81234 w 180519"/>
                <a:gd name="connsiteY844" fmla="*/ 235803 h 248214"/>
                <a:gd name="connsiteX845" fmla="*/ 80952 w 180519"/>
                <a:gd name="connsiteY845" fmla="*/ 236367 h 248214"/>
                <a:gd name="connsiteX846" fmla="*/ 81516 w 180519"/>
                <a:gd name="connsiteY846" fmla="*/ 236932 h 248214"/>
                <a:gd name="connsiteX847" fmla="*/ 81798 w 180519"/>
                <a:gd name="connsiteY847" fmla="*/ 237496 h 248214"/>
                <a:gd name="connsiteX848" fmla="*/ 81516 w 180519"/>
                <a:gd name="connsiteY848" fmla="*/ 237778 h 248214"/>
                <a:gd name="connsiteX849" fmla="*/ 80952 w 180519"/>
                <a:gd name="connsiteY849" fmla="*/ 238624 h 248214"/>
                <a:gd name="connsiteX850" fmla="*/ 81234 w 180519"/>
                <a:gd name="connsiteY850" fmla="*/ 239188 h 248214"/>
                <a:gd name="connsiteX851" fmla="*/ 81516 w 180519"/>
                <a:gd name="connsiteY851" fmla="*/ 239752 h 248214"/>
                <a:gd name="connsiteX852" fmla="*/ 81516 w 180519"/>
                <a:gd name="connsiteY852" fmla="*/ 240034 h 248214"/>
                <a:gd name="connsiteX853" fmla="*/ 81234 w 180519"/>
                <a:gd name="connsiteY853" fmla="*/ 240316 h 248214"/>
                <a:gd name="connsiteX854" fmla="*/ 80388 w 180519"/>
                <a:gd name="connsiteY854" fmla="*/ 240316 h 248214"/>
                <a:gd name="connsiteX855" fmla="*/ 79824 w 180519"/>
                <a:gd name="connsiteY855" fmla="*/ 240880 h 248214"/>
                <a:gd name="connsiteX856" fmla="*/ 78413 w 180519"/>
                <a:gd name="connsiteY856" fmla="*/ 242855 h 248214"/>
                <a:gd name="connsiteX857" fmla="*/ 77285 w 180519"/>
                <a:gd name="connsiteY857" fmla="*/ 243983 h 248214"/>
                <a:gd name="connsiteX858" fmla="*/ 77003 w 180519"/>
                <a:gd name="connsiteY858" fmla="*/ 244547 h 248214"/>
                <a:gd name="connsiteX859" fmla="*/ 75875 w 180519"/>
                <a:gd name="connsiteY859" fmla="*/ 244547 h 248214"/>
                <a:gd name="connsiteX860" fmla="*/ 74746 w 180519"/>
                <a:gd name="connsiteY860" fmla="*/ 245111 h 248214"/>
                <a:gd name="connsiteX861" fmla="*/ 73900 w 180519"/>
                <a:gd name="connsiteY861" fmla="*/ 245675 h 248214"/>
                <a:gd name="connsiteX862" fmla="*/ 73618 w 180519"/>
                <a:gd name="connsiteY862" fmla="*/ 245958 h 248214"/>
                <a:gd name="connsiteX863" fmla="*/ 73336 w 180519"/>
                <a:gd name="connsiteY863" fmla="*/ 246522 h 248214"/>
                <a:gd name="connsiteX864" fmla="*/ 72490 w 180519"/>
                <a:gd name="connsiteY864" fmla="*/ 246240 h 248214"/>
                <a:gd name="connsiteX865" fmla="*/ 69951 w 180519"/>
                <a:gd name="connsiteY865" fmla="*/ 249342 h 248214"/>
                <a:gd name="connsiteX866" fmla="*/ 69387 w 180519"/>
                <a:gd name="connsiteY866" fmla="*/ 249906 h 248214"/>
                <a:gd name="connsiteX867" fmla="*/ 66848 w 180519"/>
                <a:gd name="connsiteY867" fmla="*/ 249906 h 248214"/>
                <a:gd name="connsiteX868" fmla="*/ 66003 w 180519"/>
                <a:gd name="connsiteY868" fmla="*/ 249342 h 248214"/>
                <a:gd name="connsiteX869" fmla="*/ 64028 w 180519"/>
                <a:gd name="connsiteY869" fmla="*/ 249624 h 248214"/>
                <a:gd name="connsiteX870" fmla="*/ 62900 w 180519"/>
                <a:gd name="connsiteY870" fmla="*/ 249342 h 248214"/>
                <a:gd name="connsiteX871" fmla="*/ 61772 w 180519"/>
                <a:gd name="connsiteY871" fmla="*/ 249624 h 248214"/>
                <a:gd name="connsiteX872" fmla="*/ 60926 w 180519"/>
                <a:gd name="connsiteY872" fmla="*/ 249906 h 248214"/>
                <a:gd name="connsiteX873" fmla="*/ 56976 w 180519"/>
                <a:gd name="connsiteY873" fmla="*/ 247650 h 248214"/>
                <a:gd name="connsiteX874" fmla="*/ 56131 w 180519"/>
                <a:gd name="connsiteY874" fmla="*/ 247932 h 248214"/>
                <a:gd name="connsiteX875" fmla="*/ 55566 w 180519"/>
                <a:gd name="connsiteY875" fmla="*/ 248214 h 248214"/>
                <a:gd name="connsiteX876" fmla="*/ 54720 w 180519"/>
                <a:gd name="connsiteY876" fmla="*/ 247932 h 248214"/>
                <a:gd name="connsiteX877" fmla="*/ 52745 w 180519"/>
                <a:gd name="connsiteY877" fmla="*/ 246240 h 248214"/>
                <a:gd name="connsiteX878" fmla="*/ 51053 w 180519"/>
                <a:gd name="connsiteY878" fmla="*/ 245675 h 248214"/>
                <a:gd name="connsiteX879" fmla="*/ 50489 w 180519"/>
                <a:gd name="connsiteY879" fmla="*/ 244829 h 248214"/>
                <a:gd name="connsiteX880" fmla="*/ 49643 w 180519"/>
                <a:gd name="connsiteY880" fmla="*/ 243983 h 248214"/>
                <a:gd name="connsiteX881" fmla="*/ 48233 w 180519"/>
                <a:gd name="connsiteY881" fmla="*/ 243137 h 248214"/>
                <a:gd name="connsiteX882" fmla="*/ 47950 w 180519"/>
                <a:gd name="connsiteY882" fmla="*/ 242573 h 248214"/>
                <a:gd name="connsiteX883" fmla="*/ 48514 w 180519"/>
                <a:gd name="connsiteY883" fmla="*/ 242291 h 248214"/>
                <a:gd name="connsiteX884" fmla="*/ 48797 w 180519"/>
                <a:gd name="connsiteY884" fmla="*/ 242291 h 248214"/>
                <a:gd name="connsiteX885" fmla="*/ 48514 w 180519"/>
                <a:gd name="connsiteY885" fmla="*/ 242009 h 248214"/>
                <a:gd name="connsiteX886" fmla="*/ 48514 w 180519"/>
                <a:gd name="connsiteY886" fmla="*/ 241162 h 248214"/>
                <a:gd name="connsiteX887" fmla="*/ 48233 w 180519"/>
                <a:gd name="connsiteY887" fmla="*/ 240880 h 248214"/>
                <a:gd name="connsiteX888" fmla="*/ 47104 w 180519"/>
                <a:gd name="connsiteY888" fmla="*/ 240316 h 248214"/>
                <a:gd name="connsiteX889" fmla="*/ 47386 w 180519"/>
                <a:gd name="connsiteY889" fmla="*/ 240034 h 248214"/>
                <a:gd name="connsiteX890" fmla="*/ 47669 w 180519"/>
                <a:gd name="connsiteY890" fmla="*/ 239752 h 248214"/>
                <a:gd name="connsiteX891" fmla="*/ 47669 w 180519"/>
                <a:gd name="connsiteY891" fmla="*/ 239470 h 248214"/>
                <a:gd name="connsiteX892" fmla="*/ 47386 w 180519"/>
                <a:gd name="connsiteY892" fmla="*/ 238906 h 248214"/>
                <a:gd name="connsiteX893" fmla="*/ 47104 w 180519"/>
                <a:gd name="connsiteY893" fmla="*/ 238624 h 248214"/>
                <a:gd name="connsiteX894" fmla="*/ 47386 w 180519"/>
                <a:gd name="connsiteY894" fmla="*/ 237778 h 248214"/>
                <a:gd name="connsiteX895" fmla="*/ 46822 w 180519"/>
                <a:gd name="connsiteY895" fmla="*/ 237214 h 248214"/>
                <a:gd name="connsiteX896" fmla="*/ 46822 w 180519"/>
                <a:gd name="connsiteY896" fmla="*/ 236932 h 248214"/>
                <a:gd name="connsiteX897" fmla="*/ 46540 w 180519"/>
                <a:gd name="connsiteY897" fmla="*/ 236085 h 248214"/>
                <a:gd name="connsiteX898" fmla="*/ 46259 w 180519"/>
                <a:gd name="connsiteY898" fmla="*/ 234675 h 248214"/>
                <a:gd name="connsiteX899" fmla="*/ 45976 w 180519"/>
                <a:gd name="connsiteY899" fmla="*/ 233547 h 248214"/>
                <a:gd name="connsiteX900" fmla="*/ 44848 w 180519"/>
                <a:gd name="connsiteY900" fmla="*/ 233265 h 248214"/>
                <a:gd name="connsiteX901" fmla="*/ 44284 w 180519"/>
                <a:gd name="connsiteY901" fmla="*/ 233265 h 248214"/>
                <a:gd name="connsiteX902" fmla="*/ 43720 w 180519"/>
                <a:gd name="connsiteY902" fmla="*/ 232983 h 248214"/>
                <a:gd name="connsiteX903" fmla="*/ 43720 w 180519"/>
                <a:gd name="connsiteY903" fmla="*/ 232137 h 248214"/>
                <a:gd name="connsiteX904" fmla="*/ 44002 w 180519"/>
                <a:gd name="connsiteY904" fmla="*/ 231854 h 248214"/>
                <a:gd name="connsiteX905" fmla="*/ 44566 w 180519"/>
                <a:gd name="connsiteY905" fmla="*/ 231008 h 248214"/>
                <a:gd name="connsiteX906" fmla="*/ 44566 w 180519"/>
                <a:gd name="connsiteY906" fmla="*/ 230162 h 248214"/>
                <a:gd name="connsiteX907" fmla="*/ 44284 w 180519"/>
                <a:gd name="connsiteY907" fmla="*/ 227906 h 248214"/>
                <a:gd name="connsiteX908" fmla="*/ 43720 w 180519"/>
                <a:gd name="connsiteY908" fmla="*/ 226777 h 248214"/>
                <a:gd name="connsiteX909" fmla="*/ 43720 w 180519"/>
                <a:gd name="connsiteY909" fmla="*/ 226495 h 248214"/>
                <a:gd name="connsiteX910" fmla="*/ 43438 w 180519"/>
                <a:gd name="connsiteY910" fmla="*/ 226213 h 248214"/>
                <a:gd name="connsiteX911" fmla="*/ 43438 w 180519"/>
                <a:gd name="connsiteY911" fmla="*/ 226495 h 248214"/>
                <a:gd name="connsiteX912" fmla="*/ 42873 w 180519"/>
                <a:gd name="connsiteY912" fmla="*/ 226495 h 248214"/>
                <a:gd name="connsiteX913" fmla="*/ 42873 w 180519"/>
                <a:gd name="connsiteY913" fmla="*/ 225649 h 248214"/>
                <a:gd name="connsiteX914" fmla="*/ 42592 w 180519"/>
                <a:gd name="connsiteY914" fmla="*/ 225085 h 248214"/>
                <a:gd name="connsiteX915" fmla="*/ 42309 w 180519"/>
                <a:gd name="connsiteY915" fmla="*/ 224803 h 248214"/>
                <a:gd name="connsiteX916" fmla="*/ 43156 w 180519"/>
                <a:gd name="connsiteY916" fmla="*/ 223957 h 248214"/>
                <a:gd name="connsiteX917" fmla="*/ 42873 w 180519"/>
                <a:gd name="connsiteY917" fmla="*/ 223111 h 248214"/>
                <a:gd name="connsiteX918" fmla="*/ 42309 w 180519"/>
                <a:gd name="connsiteY918" fmla="*/ 222828 h 248214"/>
                <a:gd name="connsiteX919" fmla="*/ 42309 w 180519"/>
                <a:gd name="connsiteY919" fmla="*/ 220854 h 248214"/>
                <a:gd name="connsiteX920" fmla="*/ 42592 w 180519"/>
                <a:gd name="connsiteY920" fmla="*/ 218880 h 248214"/>
                <a:gd name="connsiteX921" fmla="*/ 43156 w 180519"/>
                <a:gd name="connsiteY921" fmla="*/ 218880 h 248214"/>
                <a:gd name="connsiteX922" fmla="*/ 43720 w 180519"/>
                <a:gd name="connsiteY922" fmla="*/ 218315 h 248214"/>
                <a:gd name="connsiteX923" fmla="*/ 43438 w 180519"/>
                <a:gd name="connsiteY923" fmla="*/ 216623 h 248214"/>
                <a:gd name="connsiteX924" fmla="*/ 43156 w 180519"/>
                <a:gd name="connsiteY924" fmla="*/ 216059 h 248214"/>
                <a:gd name="connsiteX925" fmla="*/ 43156 w 180519"/>
                <a:gd name="connsiteY925" fmla="*/ 215495 h 248214"/>
                <a:gd name="connsiteX926" fmla="*/ 43438 w 180519"/>
                <a:gd name="connsiteY926" fmla="*/ 214367 h 248214"/>
                <a:gd name="connsiteX927" fmla="*/ 43156 w 180519"/>
                <a:gd name="connsiteY927" fmla="*/ 212956 h 248214"/>
                <a:gd name="connsiteX928" fmla="*/ 43438 w 180519"/>
                <a:gd name="connsiteY928" fmla="*/ 212674 h 248214"/>
                <a:gd name="connsiteX929" fmla="*/ 42028 w 180519"/>
                <a:gd name="connsiteY929" fmla="*/ 211264 h 248214"/>
                <a:gd name="connsiteX930" fmla="*/ 42309 w 180519"/>
                <a:gd name="connsiteY930" fmla="*/ 210700 h 248214"/>
                <a:gd name="connsiteX931" fmla="*/ 41463 w 180519"/>
                <a:gd name="connsiteY931" fmla="*/ 210136 h 248214"/>
                <a:gd name="connsiteX932" fmla="*/ 41745 w 180519"/>
                <a:gd name="connsiteY932" fmla="*/ 209854 h 248214"/>
                <a:gd name="connsiteX933" fmla="*/ 43156 w 180519"/>
                <a:gd name="connsiteY933" fmla="*/ 208725 h 248214"/>
                <a:gd name="connsiteX934" fmla="*/ 42309 w 180519"/>
                <a:gd name="connsiteY934" fmla="*/ 207033 h 248214"/>
                <a:gd name="connsiteX935" fmla="*/ 42028 w 180519"/>
                <a:gd name="connsiteY935" fmla="*/ 206751 h 248214"/>
                <a:gd name="connsiteX936" fmla="*/ 42309 w 180519"/>
                <a:gd name="connsiteY936" fmla="*/ 206187 h 248214"/>
                <a:gd name="connsiteX937" fmla="*/ 41745 w 180519"/>
                <a:gd name="connsiteY937" fmla="*/ 205905 h 248214"/>
                <a:gd name="connsiteX938" fmla="*/ 41745 w 180519"/>
                <a:gd name="connsiteY938" fmla="*/ 205341 h 248214"/>
                <a:gd name="connsiteX939" fmla="*/ 41463 w 180519"/>
                <a:gd name="connsiteY939" fmla="*/ 203084 h 248214"/>
                <a:gd name="connsiteX940" fmla="*/ 41463 w 180519"/>
                <a:gd name="connsiteY940" fmla="*/ 201110 h 248214"/>
                <a:gd name="connsiteX941" fmla="*/ 41745 w 180519"/>
                <a:gd name="connsiteY941" fmla="*/ 199982 h 248214"/>
                <a:gd name="connsiteX942" fmla="*/ 42873 w 180519"/>
                <a:gd name="connsiteY942" fmla="*/ 199699 h 248214"/>
                <a:gd name="connsiteX943" fmla="*/ 42028 w 180519"/>
                <a:gd name="connsiteY943" fmla="*/ 198571 h 248214"/>
                <a:gd name="connsiteX944" fmla="*/ 41745 w 180519"/>
                <a:gd name="connsiteY944" fmla="*/ 198007 h 248214"/>
                <a:gd name="connsiteX945" fmla="*/ 42592 w 180519"/>
                <a:gd name="connsiteY945" fmla="*/ 196879 h 248214"/>
                <a:gd name="connsiteX946" fmla="*/ 42309 w 180519"/>
                <a:gd name="connsiteY946" fmla="*/ 195751 h 248214"/>
                <a:gd name="connsiteX947" fmla="*/ 42309 w 180519"/>
                <a:gd name="connsiteY947" fmla="*/ 194058 h 248214"/>
                <a:gd name="connsiteX948" fmla="*/ 43438 w 180519"/>
                <a:gd name="connsiteY948" fmla="*/ 192366 h 248214"/>
                <a:gd name="connsiteX949" fmla="*/ 43156 w 180519"/>
                <a:gd name="connsiteY949" fmla="*/ 192084 h 248214"/>
                <a:gd name="connsiteX950" fmla="*/ 43156 w 180519"/>
                <a:gd name="connsiteY950" fmla="*/ 190673 h 248214"/>
                <a:gd name="connsiteX951" fmla="*/ 42873 w 180519"/>
                <a:gd name="connsiteY951" fmla="*/ 190391 h 248214"/>
                <a:gd name="connsiteX952" fmla="*/ 43156 w 180519"/>
                <a:gd name="connsiteY952" fmla="*/ 189827 h 248214"/>
                <a:gd name="connsiteX953" fmla="*/ 44002 w 180519"/>
                <a:gd name="connsiteY953" fmla="*/ 188981 h 248214"/>
                <a:gd name="connsiteX954" fmla="*/ 43720 w 180519"/>
                <a:gd name="connsiteY954" fmla="*/ 187289 h 248214"/>
                <a:gd name="connsiteX955" fmla="*/ 44002 w 180519"/>
                <a:gd name="connsiteY955" fmla="*/ 186443 h 248214"/>
                <a:gd name="connsiteX956" fmla="*/ 43720 w 180519"/>
                <a:gd name="connsiteY956" fmla="*/ 185314 h 248214"/>
                <a:gd name="connsiteX957" fmla="*/ 43720 w 180519"/>
                <a:gd name="connsiteY957" fmla="*/ 184750 h 248214"/>
                <a:gd name="connsiteX958" fmla="*/ 44566 w 180519"/>
                <a:gd name="connsiteY958" fmla="*/ 183622 h 248214"/>
                <a:gd name="connsiteX959" fmla="*/ 44566 w 180519"/>
                <a:gd name="connsiteY959" fmla="*/ 180519 h 248214"/>
                <a:gd name="connsiteX960" fmla="*/ 44848 w 180519"/>
                <a:gd name="connsiteY960" fmla="*/ 180237 h 248214"/>
                <a:gd name="connsiteX961" fmla="*/ 44284 w 180519"/>
                <a:gd name="connsiteY961" fmla="*/ 179109 h 248214"/>
                <a:gd name="connsiteX962" fmla="*/ 44284 w 180519"/>
                <a:gd name="connsiteY962" fmla="*/ 178545 h 248214"/>
                <a:gd name="connsiteX963" fmla="*/ 45130 w 180519"/>
                <a:gd name="connsiteY963" fmla="*/ 177135 h 248214"/>
                <a:gd name="connsiteX964" fmla="*/ 44848 w 180519"/>
                <a:gd name="connsiteY964" fmla="*/ 176288 h 248214"/>
                <a:gd name="connsiteX965" fmla="*/ 44566 w 180519"/>
                <a:gd name="connsiteY965" fmla="*/ 175724 h 248214"/>
                <a:gd name="connsiteX966" fmla="*/ 44848 w 180519"/>
                <a:gd name="connsiteY966" fmla="*/ 175442 h 248214"/>
                <a:gd name="connsiteX967" fmla="*/ 45130 w 180519"/>
                <a:gd name="connsiteY967" fmla="*/ 175160 h 248214"/>
                <a:gd name="connsiteX968" fmla="*/ 44566 w 180519"/>
                <a:gd name="connsiteY968" fmla="*/ 174596 h 248214"/>
                <a:gd name="connsiteX969" fmla="*/ 44002 w 180519"/>
                <a:gd name="connsiteY969" fmla="*/ 173750 h 248214"/>
                <a:gd name="connsiteX970" fmla="*/ 44002 w 180519"/>
                <a:gd name="connsiteY970" fmla="*/ 172340 h 248214"/>
                <a:gd name="connsiteX971" fmla="*/ 44284 w 180519"/>
                <a:gd name="connsiteY971" fmla="*/ 170929 h 248214"/>
                <a:gd name="connsiteX972" fmla="*/ 44566 w 180519"/>
                <a:gd name="connsiteY972" fmla="*/ 170365 h 248214"/>
                <a:gd name="connsiteX973" fmla="*/ 44284 w 180519"/>
                <a:gd name="connsiteY973" fmla="*/ 169519 h 248214"/>
                <a:gd name="connsiteX974" fmla="*/ 45130 w 180519"/>
                <a:gd name="connsiteY974" fmla="*/ 168673 h 248214"/>
                <a:gd name="connsiteX975" fmla="*/ 45412 w 180519"/>
                <a:gd name="connsiteY975" fmla="*/ 168391 h 248214"/>
                <a:gd name="connsiteX976" fmla="*/ 45412 w 180519"/>
                <a:gd name="connsiteY976" fmla="*/ 167262 h 248214"/>
                <a:gd name="connsiteX977" fmla="*/ 45130 w 180519"/>
                <a:gd name="connsiteY977" fmla="*/ 166980 h 248214"/>
                <a:gd name="connsiteX978" fmla="*/ 45412 w 180519"/>
                <a:gd name="connsiteY978" fmla="*/ 166698 h 248214"/>
                <a:gd name="connsiteX979" fmla="*/ 46259 w 180519"/>
                <a:gd name="connsiteY979" fmla="*/ 165288 h 248214"/>
                <a:gd name="connsiteX980" fmla="*/ 45412 w 180519"/>
                <a:gd name="connsiteY980" fmla="*/ 163878 h 248214"/>
                <a:gd name="connsiteX981" fmla="*/ 45976 w 180519"/>
                <a:gd name="connsiteY981" fmla="*/ 162749 h 248214"/>
                <a:gd name="connsiteX982" fmla="*/ 45976 w 180519"/>
                <a:gd name="connsiteY982" fmla="*/ 162185 h 248214"/>
                <a:gd name="connsiteX983" fmla="*/ 46540 w 180519"/>
                <a:gd name="connsiteY983" fmla="*/ 161339 h 248214"/>
                <a:gd name="connsiteX984" fmla="*/ 46822 w 180519"/>
                <a:gd name="connsiteY984" fmla="*/ 159929 h 248214"/>
                <a:gd name="connsiteX985" fmla="*/ 46822 w 180519"/>
                <a:gd name="connsiteY985" fmla="*/ 159083 h 248214"/>
                <a:gd name="connsiteX986" fmla="*/ 46822 w 180519"/>
                <a:gd name="connsiteY986" fmla="*/ 158801 h 248214"/>
                <a:gd name="connsiteX987" fmla="*/ 46540 w 180519"/>
                <a:gd name="connsiteY987" fmla="*/ 158801 h 248214"/>
                <a:gd name="connsiteX988" fmla="*/ 46540 w 180519"/>
                <a:gd name="connsiteY988" fmla="*/ 157954 h 248214"/>
                <a:gd name="connsiteX989" fmla="*/ 46822 w 180519"/>
                <a:gd name="connsiteY989" fmla="*/ 157672 h 248214"/>
                <a:gd name="connsiteX990" fmla="*/ 47950 w 180519"/>
                <a:gd name="connsiteY990" fmla="*/ 156262 h 248214"/>
                <a:gd name="connsiteX991" fmla="*/ 47669 w 180519"/>
                <a:gd name="connsiteY991" fmla="*/ 155416 h 248214"/>
                <a:gd name="connsiteX992" fmla="*/ 48233 w 180519"/>
                <a:gd name="connsiteY992" fmla="*/ 154288 h 248214"/>
                <a:gd name="connsiteX993" fmla="*/ 48233 w 180519"/>
                <a:gd name="connsiteY993" fmla="*/ 154006 h 248214"/>
                <a:gd name="connsiteX994" fmla="*/ 47669 w 180519"/>
                <a:gd name="connsiteY994" fmla="*/ 152877 h 248214"/>
                <a:gd name="connsiteX995" fmla="*/ 47669 w 180519"/>
                <a:gd name="connsiteY995" fmla="*/ 151749 h 248214"/>
                <a:gd name="connsiteX996" fmla="*/ 47950 w 180519"/>
                <a:gd name="connsiteY996" fmla="*/ 151185 h 248214"/>
                <a:gd name="connsiteX997" fmla="*/ 48233 w 180519"/>
                <a:gd name="connsiteY997" fmla="*/ 150903 h 248214"/>
                <a:gd name="connsiteX998" fmla="*/ 48514 w 180519"/>
                <a:gd name="connsiteY998" fmla="*/ 150903 h 248214"/>
                <a:gd name="connsiteX999" fmla="*/ 48797 w 180519"/>
                <a:gd name="connsiteY999" fmla="*/ 150621 h 248214"/>
                <a:gd name="connsiteX1000" fmla="*/ 48514 w 180519"/>
                <a:gd name="connsiteY1000" fmla="*/ 150057 h 248214"/>
                <a:gd name="connsiteX1001" fmla="*/ 48233 w 180519"/>
                <a:gd name="connsiteY1001" fmla="*/ 149493 h 248214"/>
                <a:gd name="connsiteX1002" fmla="*/ 48233 w 180519"/>
                <a:gd name="connsiteY1002" fmla="*/ 149210 h 248214"/>
                <a:gd name="connsiteX1003" fmla="*/ 48797 w 180519"/>
                <a:gd name="connsiteY1003" fmla="*/ 148082 h 248214"/>
                <a:gd name="connsiteX1004" fmla="*/ 48797 w 180519"/>
                <a:gd name="connsiteY1004" fmla="*/ 147800 h 248214"/>
                <a:gd name="connsiteX1005" fmla="*/ 49079 w 180519"/>
                <a:gd name="connsiteY1005" fmla="*/ 147236 h 248214"/>
                <a:gd name="connsiteX1006" fmla="*/ 48797 w 180519"/>
                <a:gd name="connsiteY1006" fmla="*/ 146390 h 248214"/>
                <a:gd name="connsiteX1007" fmla="*/ 48233 w 180519"/>
                <a:gd name="connsiteY1007" fmla="*/ 145544 h 248214"/>
                <a:gd name="connsiteX1008" fmla="*/ 48797 w 180519"/>
                <a:gd name="connsiteY1008" fmla="*/ 144980 h 248214"/>
                <a:gd name="connsiteX1009" fmla="*/ 50771 w 180519"/>
                <a:gd name="connsiteY1009" fmla="*/ 143287 h 248214"/>
                <a:gd name="connsiteX1010" fmla="*/ 50771 w 180519"/>
                <a:gd name="connsiteY1010" fmla="*/ 142441 h 248214"/>
                <a:gd name="connsiteX1011" fmla="*/ 50489 w 180519"/>
                <a:gd name="connsiteY1011" fmla="*/ 141313 h 248214"/>
                <a:gd name="connsiteX1012" fmla="*/ 50489 w 180519"/>
                <a:gd name="connsiteY1012" fmla="*/ 140185 h 248214"/>
                <a:gd name="connsiteX1013" fmla="*/ 51053 w 180519"/>
                <a:gd name="connsiteY1013" fmla="*/ 137646 h 248214"/>
                <a:gd name="connsiteX1014" fmla="*/ 50771 w 180519"/>
                <a:gd name="connsiteY1014" fmla="*/ 136800 h 248214"/>
                <a:gd name="connsiteX1015" fmla="*/ 51053 w 180519"/>
                <a:gd name="connsiteY1015" fmla="*/ 135954 h 248214"/>
                <a:gd name="connsiteX1016" fmla="*/ 51335 w 180519"/>
                <a:gd name="connsiteY1016" fmla="*/ 134825 h 248214"/>
                <a:gd name="connsiteX1017" fmla="*/ 51335 w 180519"/>
                <a:gd name="connsiteY1017" fmla="*/ 132851 h 248214"/>
                <a:gd name="connsiteX1018" fmla="*/ 51900 w 180519"/>
                <a:gd name="connsiteY1018" fmla="*/ 132569 h 248214"/>
                <a:gd name="connsiteX1019" fmla="*/ 51900 w 180519"/>
                <a:gd name="connsiteY1019" fmla="*/ 131159 h 248214"/>
                <a:gd name="connsiteX1020" fmla="*/ 52181 w 180519"/>
                <a:gd name="connsiteY1020" fmla="*/ 129748 h 248214"/>
                <a:gd name="connsiteX1021" fmla="*/ 51617 w 180519"/>
                <a:gd name="connsiteY1021" fmla="*/ 129466 h 248214"/>
                <a:gd name="connsiteX1022" fmla="*/ 52464 w 180519"/>
                <a:gd name="connsiteY1022" fmla="*/ 128056 h 248214"/>
                <a:gd name="connsiteX1023" fmla="*/ 52745 w 180519"/>
                <a:gd name="connsiteY1023" fmla="*/ 127492 h 248214"/>
                <a:gd name="connsiteX1024" fmla="*/ 52464 w 180519"/>
                <a:gd name="connsiteY1024" fmla="*/ 126363 h 248214"/>
                <a:gd name="connsiteX1025" fmla="*/ 53310 w 180519"/>
                <a:gd name="connsiteY1025" fmla="*/ 125235 h 248214"/>
                <a:gd name="connsiteX1026" fmla="*/ 53592 w 180519"/>
                <a:gd name="connsiteY1026" fmla="*/ 124671 h 248214"/>
                <a:gd name="connsiteX1027" fmla="*/ 53310 w 180519"/>
                <a:gd name="connsiteY1027" fmla="*/ 123543 h 248214"/>
                <a:gd name="connsiteX1028" fmla="*/ 54438 w 180519"/>
                <a:gd name="connsiteY1028" fmla="*/ 122133 h 248214"/>
                <a:gd name="connsiteX1029" fmla="*/ 54156 w 180519"/>
                <a:gd name="connsiteY1029" fmla="*/ 121568 h 248214"/>
                <a:gd name="connsiteX1030" fmla="*/ 54438 w 180519"/>
                <a:gd name="connsiteY1030" fmla="*/ 120158 h 248214"/>
                <a:gd name="connsiteX1031" fmla="*/ 54720 w 180519"/>
                <a:gd name="connsiteY1031" fmla="*/ 119312 h 248214"/>
                <a:gd name="connsiteX1032" fmla="*/ 55566 w 180519"/>
                <a:gd name="connsiteY1032" fmla="*/ 118466 h 248214"/>
                <a:gd name="connsiteX1033" fmla="*/ 55566 w 180519"/>
                <a:gd name="connsiteY1033" fmla="*/ 116209 h 248214"/>
                <a:gd name="connsiteX1034" fmla="*/ 54720 w 180519"/>
                <a:gd name="connsiteY1034" fmla="*/ 115363 h 248214"/>
                <a:gd name="connsiteX1035" fmla="*/ 55284 w 180519"/>
                <a:gd name="connsiteY1035" fmla="*/ 114235 h 248214"/>
                <a:gd name="connsiteX1036" fmla="*/ 56412 w 180519"/>
                <a:gd name="connsiteY1036" fmla="*/ 112542 h 248214"/>
                <a:gd name="connsiteX1037" fmla="*/ 56412 w 180519"/>
                <a:gd name="connsiteY1037" fmla="*/ 110850 h 248214"/>
                <a:gd name="connsiteX1038" fmla="*/ 56976 w 180519"/>
                <a:gd name="connsiteY1038" fmla="*/ 110286 h 248214"/>
                <a:gd name="connsiteX1039" fmla="*/ 56976 w 180519"/>
                <a:gd name="connsiteY1039" fmla="*/ 109722 h 248214"/>
                <a:gd name="connsiteX1040" fmla="*/ 57259 w 180519"/>
                <a:gd name="connsiteY1040" fmla="*/ 109440 h 248214"/>
                <a:gd name="connsiteX1041" fmla="*/ 57259 w 180519"/>
                <a:gd name="connsiteY1041" fmla="*/ 109158 h 248214"/>
                <a:gd name="connsiteX1042" fmla="*/ 57823 w 180519"/>
                <a:gd name="connsiteY1042" fmla="*/ 107747 h 248214"/>
                <a:gd name="connsiteX1043" fmla="*/ 57823 w 180519"/>
                <a:gd name="connsiteY1043" fmla="*/ 105491 h 248214"/>
                <a:gd name="connsiteX1044" fmla="*/ 58105 w 180519"/>
                <a:gd name="connsiteY1044" fmla="*/ 104927 h 248214"/>
                <a:gd name="connsiteX1045" fmla="*/ 58105 w 180519"/>
                <a:gd name="connsiteY1045" fmla="*/ 103517 h 248214"/>
                <a:gd name="connsiteX1046" fmla="*/ 58951 w 180519"/>
                <a:gd name="connsiteY1046" fmla="*/ 101824 h 248214"/>
                <a:gd name="connsiteX1047" fmla="*/ 58669 w 180519"/>
                <a:gd name="connsiteY1047" fmla="*/ 101260 h 248214"/>
                <a:gd name="connsiteX1048" fmla="*/ 59515 w 180519"/>
                <a:gd name="connsiteY1048" fmla="*/ 99850 h 248214"/>
                <a:gd name="connsiteX1049" fmla="*/ 59233 w 180519"/>
                <a:gd name="connsiteY1049" fmla="*/ 99286 h 248214"/>
                <a:gd name="connsiteX1050" fmla="*/ 59233 w 180519"/>
                <a:gd name="connsiteY1050" fmla="*/ 98721 h 248214"/>
                <a:gd name="connsiteX1051" fmla="*/ 59797 w 180519"/>
                <a:gd name="connsiteY1051" fmla="*/ 96747 h 248214"/>
                <a:gd name="connsiteX1052" fmla="*/ 60079 w 180519"/>
                <a:gd name="connsiteY1052" fmla="*/ 96183 h 248214"/>
                <a:gd name="connsiteX1053" fmla="*/ 64592 w 180519"/>
                <a:gd name="connsiteY1053" fmla="*/ 77849 h 248214"/>
                <a:gd name="connsiteX1054" fmla="*/ 65720 w 180519"/>
                <a:gd name="connsiteY1054" fmla="*/ 76721 h 248214"/>
                <a:gd name="connsiteX1055" fmla="*/ 65720 w 180519"/>
                <a:gd name="connsiteY1055" fmla="*/ 76439 h 248214"/>
                <a:gd name="connsiteX1056" fmla="*/ 65156 w 180519"/>
                <a:gd name="connsiteY1056" fmla="*/ 75028 h 248214"/>
                <a:gd name="connsiteX1057" fmla="*/ 64592 w 180519"/>
                <a:gd name="connsiteY1057" fmla="*/ 74464 h 248214"/>
                <a:gd name="connsiteX1058" fmla="*/ 65720 w 180519"/>
                <a:gd name="connsiteY1058" fmla="*/ 74182 h 248214"/>
                <a:gd name="connsiteX1059" fmla="*/ 66848 w 180519"/>
                <a:gd name="connsiteY1059" fmla="*/ 73054 h 248214"/>
                <a:gd name="connsiteX1060" fmla="*/ 66567 w 180519"/>
                <a:gd name="connsiteY1060" fmla="*/ 71926 h 248214"/>
                <a:gd name="connsiteX1061" fmla="*/ 67131 w 180519"/>
                <a:gd name="connsiteY1061" fmla="*/ 71079 h 248214"/>
                <a:gd name="connsiteX1062" fmla="*/ 70798 w 180519"/>
                <a:gd name="connsiteY1062" fmla="*/ 58669 h 248214"/>
                <a:gd name="connsiteX1063" fmla="*/ 69105 w 180519"/>
                <a:gd name="connsiteY1063" fmla="*/ 58669 h 248214"/>
                <a:gd name="connsiteX1064" fmla="*/ 67977 w 180519"/>
                <a:gd name="connsiteY1064" fmla="*/ 59233 h 248214"/>
                <a:gd name="connsiteX1065" fmla="*/ 63182 w 180519"/>
                <a:gd name="connsiteY1065" fmla="*/ 60643 h 248214"/>
                <a:gd name="connsiteX1066" fmla="*/ 62618 w 180519"/>
                <a:gd name="connsiteY1066" fmla="*/ 60643 h 248214"/>
                <a:gd name="connsiteX1067" fmla="*/ 61207 w 180519"/>
                <a:gd name="connsiteY1067" fmla="*/ 59797 h 248214"/>
                <a:gd name="connsiteX1068" fmla="*/ 60362 w 180519"/>
                <a:gd name="connsiteY1068" fmla="*/ 59797 h 248214"/>
                <a:gd name="connsiteX1069" fmla="*/ 58951 w 180519"/>
                <a:gd name="connsiteY1069" fmla="*/ 60079 h 248214"/>
                <a:gd name="connsiteX1070" fmla="*/ 58105 w 180519"/>
                <a:gd name="connsiteY1070" fmla="*/ 60925 h 248214"/>
                <a:gd name="connsiteX1071" fmla="*/ 56695 w 180519"/>
                <a:gd name="connsiteY1071" fmla="*/ 60925 h 248214"/>
                <a:gd name="connsiteX1072" fmla="*/ 55566 w 180519"/>
                <a:gd name="connsiteY1072" fmla="*/ 61207 h 248214"/>
                <a:gd name="connsiteX1073" fmla="*/ 54720 w 180519"/>
                <a:gd name="connsiteY1073" fmla="*/ 61771 h 248214"/>
                <a:gd name="connsiteX1074" fmla="*/ 54156 w 180519"/>
                <a:gd name="connsiteY1074" fmla="*/ 61771 h 248214"/>
                <a:gd name="connsiteX1075" fmla="*/ 51053 w 180519"/>
                <a:gd name="connsiteY1075" fmla="*/ 62618 h 248214"/>
                <a:gd name="connsiteX1076" fmla="*/ 47386 w 180519"/>
                <a:gd name="connsiteY1076" fmla="*/ 63182 h 248214"/>
                <a:gd name="connsiteX1077" fmla="*/ 46540 w 180519"/>
                <a:gd name="connsiteY1077" fmla="*/ 63182 h 248214"/>
                <a:gd name="connsiteX1078" fmla="*/ 45130 w 180519"/>
                <a:gd name="connsiteY1078" fmla="*/ 63746 h 248214"/>
                <a:gd name="connsiteX1079" fmla="*/ 44566 w 180519"/>
                <a:gd name="connsiteY1079" fmla="*/ 64028 h 248214"/>
                <a:gd name="connsiteX1080" fmla="*/ 44284 w 180519"/>
                <a:gd name="connsiteY1080" fmla="*/ 63746 h 248214"/>
                <a:gd name="connsiteX1081" fmla="*/ 44284 w 180519"/>
                <a:gd name="connsiteY1081" fmla="*/ 63464 h 248214"/>
                <a:gd name="connsiteX1082" fmla="*/ 44566 w 180519"/>
                <a:gd name="connsiteY1082" fmla="*/ 63182 h 248214"/>
                <a:gd name="connsiteX1083" fmla="*/ 44284 w 180519"/>
                <a:gd name="connsiteY1083" fmla="*/ 63182 h 248214"/>
                <a:gd name="connsiteX1084" fmla="*/ 44284 w 180519"/>
                <a:gd name="connsiteY1084" fmla="*/ 62618 h 248214"/>
                <a:gd name="connsiteX1085" fmla="*/ 43438 w 180519"/>
                <a:gd name="connsiteY1085" fmla="*/ 62900 h 248214"/>
                <a:gd name="connsiteX1086" fmla="*/ 43438 w 180519"/>
                <a:gd name="connsiteY1086" fmla="*/ 63182 h 248214"/>
                <a:gd name="connsiteX1087" fmla="*/ 44002 w 180519"/>
                <a:gd name="connsiteY1087" fmla="*/ 63464 h 248214"/>
                <a:gd name="connsiteX1088" fmla="*/ 42873 w 180519"/>
                <a:gd name="connsiteY1088" fmla="*/ 64310 h 248214"/>
                <a:gd name="connsiteX1089" fmla="*/ 42592 w 180519"/>
                <a:gd name="connsiteY1089" fmla="*/ 64310 h 248214"/>
                <a:gd name="connsiteX1090" fmla="*/ 42309 w 180519"/>
                <a:gd name="connsiteY1090" fmla="*/ 64592 h 248214"/>
                <a:gd name="connsiteX1091" fmla="*/ 42028 w 180519"/>
                <a:gd name="connsiteY1091" fmla="*/ 64592 h 248214"/>
                <a:gd name="connsiteX1092" fmla="*/ 41463 w 180519"/>
                <a:gd name="connsiteY1092" fmla="*/ 64310 h 248214"/>
                <a:gd name="connsiteX1093" fmla="*/ 41745 w 180519"/>
                <a:gd name="connsiteY1093" fmla="*/ 64028 h 248214"/>
                <a:gd name="connsiteX1094" fmla="*/ 41463 w 180519"/>
                <a:gd name="connsiteY1094" fmla="*/ 64028 h 248214"/>
                <a:gd name="connsiteX1095" fmla="*/ 40899 w 180519"/>
                <a:gd name="connsiteY1095" fmla="*/ 63746 h 248214"/>
                <a:gd name="connsiteX1096" fmla="*/ 40899 w 180519"/>
                <a:gd name="connsiteY1096" fmla="*/ 64028 h 248214"/>
                <a:gd name="connsiteX1097" fmla="*/ 39771 w 180519"/>
                <a:gd name="connsiteY1097" fmla="*/ 65438 h 248214"/>
                <a:gd name="connsiteX1098" fmla="*/ 38925 w 180519"/>
                <a:gd name="connsiteY1098" fmla="*/ 65720 h 248214"/>
                <a:gd name="connsiteX1099" fmla="*/ 38361 w 180519"/>
                <a:gd name="connsiteY1099" fmla="*/ 64874 h 248214"/>
                <a:gd name="connsiteX1100" fmla="*/ 36668 w 180519"/>
                <a:gd name="connsiteY1100" fmla="*/ 65720 h 248214"/>
                <a:gd name="connsiteX1101" fmla="*/ 34130 w 180519"/>
                <a:gd name="connsiteY1101" fmla="*/ 66284 h 248214"/>
                <a:gd name="connsiteX1102" fmla="*/ 33001 w 180519"/>
                <a:gd name="connsiteY1102" fmla="*/ 66284 h 248214"/>
                <a:gd name="connsiteX1103" fmla="*/ 32437 w 180519"/>
                <a:gd name="connsiteY1103" fmla="*/ 66849 h 248214"/>
                <a:gd name="connsiteX1104" fmla="*/ 31873 w 180519"/>
                <a:gd name="connsiteY1104" fmla="*/ 66566 h 248214"/>
                <a:gd name="connsiteX1105" fmla="*/ 30463 w 180519"/>
                <a:gd name="connsiteY1105" fmla="*/ 67131 h 248214"/>
                <a:gd name="connsiteX1106" fmla="*/ 27078 w 180519"/>
                <a:gd name="connsiteY1106" fmla="*/ 67977 h 248214"/>
                <a:gd name="connsiteX1107" fmla="*/ 26514 w 180519"/>
                <a:gd name="connsiteY1107" fmla="*/ 67977 h 248214"/>
                <a:gd name="connsiteX1108" fmla="*/ 25104 w 180519"/>
                <a:gd name="connsiteY1108" fmla="*/ 69105 h 248214"/>
                <a:gd name="connsiteX1109" fmla="*/ 23411 w 180519"/>
                <a:gd name="connsiteY1109" fmla="*/ 69105 h 248214"/>
                <a:gd name="connsiteX1110" fmla="*/ 22565 w 180519"/>
                <a:gd name="connsiteY1110" fmla="*/ 68823 h 248214"/>
                <a:gd name="connsiteX1111" fmla="*/ 21719 w 180519"/>
                <a:gd name="connsiteY1111" fmla="*/ 69105 h 248214"/>
                <a:gd name="connsiteX1112" fmla="*/ 19744 w 180519"/>
                <a:gd name="connsiteY1112" fmla="*/ 70515 h 248214"/>
                <a:gd name="connsiteX1113" fmla="*/ 18616 w 180519"/>
                <a:gd name="connsiteY1113" fmla="*/ 70797 h 248214"/>
                <a:gd name="connsiteX1114" fmla="*/ 18052 w 180519"/>
                <a:gd name="connsiteY1114" fmla="*/ 70515 h 248214"/>
                <a:gd name="connsiteX1115" fmla="*/ 16360 w 180519"/>
                <a:gd name="connsiteY1115" fmla="*/ 70515 h 248214"/>
                <a:gd name="connsiteX1116" fmla="*/ 13257 w 180519"/>
                <a:gd name="connsiteY1116" fmla="*/ 72208 h 248214"/>
                <a:gd name="connsiteX1117" fmla="*/ 11001 w 180519"/>
                <a:gd name="connsiteY1117" fmla="*/ 72208 h 248214"/>
                <a:gd name="connsiteX1118" fmla="*/ 2821 w 180519"/>
                <a:gd name="connsiteY1118" fmla="*/ 74746 h 248214"/>
                <a:gd name="connsiteX1119" fmla="*/ 1410 w 180519"/>
                <a:gd name="connsiteY1119" fmla="*/ 75592 h 248214"/>
                <a:gd name="connsiteX1120" fmla="*/ 282 w 180519"/>
                <a:gd name="connsiteY1120" fmla="*/ 76157 h 248214"/>
                <a:gd name="connsiteX1121" fmla="*/ 0 w 180519"/>
                <a:gd name="connsiteY1121" fmla="*/ 75028 h 248214"/>
                <a:gd name="connsiteX1122" fmla="*/ 7898 w 180519"/>
                <a:gd name="connsiteY1122" fmla="*/ 62900 h 248214"/>
                <a:gd name="connsiteX1123" fmla="*/ 8744 w 180519"/>
                <a:gd name="connsiteY1123" fmla="*/ 62900 h 248214"/>
                <a:gd name="connsiteX1124" fmla="*/ 8744 w 180519"/>
                <a:gd name="connsiteY1124" fmla="*/ 63182 h 248214"/>
                <a:gd name="connsiteX1125" fmla="*/ 9872 w 180519"/>
                <a:gd name="connsiteY1125" fmla="*/ 63182 h 248214"/>
                <a:gd name="connsiteX1126" fmla="*/ 9308 w 180519"/>
                <a:gd name="connsiteY1126" fmla="*/ 64028 h 248214"/>
                <a:gd name="connsiteX1127" fmla="*/ 8744 w 180519"/>
                <a:gd name="connsiteY1127" fmla="*/ 65156 h 248214"/>
                <a:gd name="connsiteX1128" fmla="*/ 8744 w 180519"/>
                <a:gd name="connsiteY1128" fmla="*/ 66566 h 248214"/>
                <a:gd name="connsiteX1129" fmla="*/ 9308 w 180519"/>
                <a:gd name="connsiteY1129" fmla="*/ 66566 h 248214"/>
                <a:gd name="connsiteX1130" fmla="*/ 9308 w 180519"/>
                <a:gd name="connsiteY1130" fmla="*/ 66002 h 248214"/>
                <a:gd name="connsiteX1131" fmla="*/ 11001 w 180519"/>
                <a:gd name="connsiteY1131" fmla="*/ 65156 h 248214"/>
                <a:gd name="connsiteX1132" fmla="*/ 11282 w 180519"/>
                <a:gd name="connsiteY1132" fmla="*/ 65156 h 248214"/>
                <a:gd name="connsiteX1133" fmla="*/ 11282 w 180519"/>
                <a:gd name="connsiteY1133" fmla="*/ 65438 h 248214"/>
                <a:gd name="connsiteX1134" fmla="*/ 11001 w 180519"/>
                <a:gd name="connsiteY1134" fmla="*/ 66002 h 248214"/>
                <a:gd name="connsiteX1135" fmla="*/ 11846 w 180519"/>
                <a:gd name="connsiteY1135" fmla="*/ 66284 h 248214"/>
                <a:gd name="connsiteX1136" fmla="*/ 12693 w 180519"/>
                <a:gd name="connsiteY1136" fmla="*/ 66002 h 248214"/>
                <a:gd name="connsiteX1137" fmla="*/ 13257 w 180519"/>
                <a:gd name="connsiteY1137" fmla="*/ 65720 h 248214"/>
                <a:gd name="connsiteX1138" fmla="*/ 13821 w 180519"/>
                <a:gd name="connsiteY1138" fmla="*/ 65720 h 248214"/>
                <a:gd name="connsiteX1139" fmla="*/ 14103 w 180519"/>
                <a:gd name="connsiteY1139" fmla="*/ 66002 h 248214"/>
                <a:gd name="connsiteX1140" fmla="*/ 15513 w 180519"/>
                <a:gd name="connsiteY1140" fmla="*/ 65438 h 248214"/>
                <a:gd name="connsiteX1141" fmla="*/ 16077 w 180519"/>
                <a:gd name="connsiteY1141" fmla="*/ 64874 h 248214"/>
                <a:gd name="connsiteX1142" fmla="*/ 16077 w 180519"/>
                <a:gd name="connsiteY1142" fmla="*/ 64028 h 248214"/>
                <a:gd name="connsiteX1143" fmla="*/ 15513 w 180519"/>
                <a:gd name="connsiteY1143" fmla="*/ 63746 h 248214"/>
                <a:gd name="connsiteX1144" fmla="*/ 15796 w 180519"/>
                <a:gd name="connsiteY1144" fmla="*/ 62618 h 248214"/>
                <a:gd name="connsiteX1145" fmla="*/ 14949 w 180519"/>
                <a:gd name="connsiteY1145" fmla="*/ 62336 h 248214"/>
                <a:gd name="connsiteX1146" fmla="*/ 17206 w 180519"/>
                <a:gd name="connsiteY1146" fmla="*/ 60643 h 248214"/>
                <a:gd name="connsiteX1147" fmla="*/ 21155 w 180519"/>
                <a:gd name="connsiteY1147" fmla="*/ 59515 h 248214"/>
                <a:gd name="connsiteX1148" fmla="*/ 23129 w 180519"/>
                <a:gd name="connsiteY1148" fmla="*/ 59233 h 248214"/>
                <a:gd name="connsiteX1149" fmla="*/ 25668 w 180519"/>
                <a:gd name="connsiteY1149" fmla="*/ 58951 h 248214"/>
                <a:gd name="connsiteX1150" fmla="*/ 26514 w 180519"/>
                <a:gd name="connsiteY1150" fmla="*/ 58951 h 248214"/>
                <a:gd name="connsiteX1151" fmla="*/ 30463 w 180519"/>
                <a:gd name="connsiteY1151" fmla="*/ 57258 h 248214"/>
                <a:gd name="connsiteX1152" fmla="*/ 33001 w 180519"/>
                <a:gd name="connsiteY1152" fmla="*/ 57258 h 248214"/>
                <a:gd name="connsiteX1153" fmla="*/ 34130 w 180519"/>
                <a:gd name="connsiteY1153" fmla="*/ 57541 h 248214"/>
                <a:gd name="connsiteX1154" fmla="*/ 34130 w 180519"/>
                <a:gd name="connsiteY1154" fmla="*/ 57823 h 248214"/>
                <a:gd name="connsiteX1155" fmla="*/ 33283 w 180519"/>
                <a:gd name="connsiteY1155" fmla="*/ 58669 h 248214"/>
                <a:gd name="connsiteX1156" fmla="*/ 31309 w 180519"/>
                <a:gd name="connsiteY1156" fmla="*/ 60079 h 248214"/>
                <a:gd name="connsiteX1157" fmla="*/ 30745 w 180519"/>
                <a:gd name="connsiteY1157" fmla="*/ 60643 h 248214"/>
                <a:gd name="connsiteX1158" fmla="*/ 29899 w 180519"/>
                <a:gd name="connsiteY1158" fmla="*/ 61207 h 248214"/>
                <a:gd name="connsiteX1159" fmla="*/ 29899 w 180519"/>
                <a:gd name="connsiteY1159" fmla="*/ 61489 h 248214"/>
                <a:gd name="connsiteX1160" fmla="*/ 31027 w 180519"/>
                <a:gd name="connsiteY1160" fmla="*/ 61489 h 248214"/>
                <a:gd name="connsiteX1161" fmla="*/ 31873 w 180519"/>
                <a:gd name="connsiteY1161" fmla="*/ 60925 h 248214"/>
                <a:gd name="connsiteX1162" fmla="*/ 32437 w 180519"/>
                <a:gd name="connsiteY1162" fmla="*/ 60079 h 248214"/>
                <a:gd name="connsiteX1163" fmla="*/ 33001 w 180519"/>
                <a:gd name="connsiteY1163" fmla="*/ 59797 h 248214"/>
                <a:gd name="connsiteX1164" fmla="*/ 33283 w 180519"/>
                <a:gd name="connsiteY1164" fmla="*/ 59797 h 248214"/>
                <a:gd name="connsiteX1165" fmla="*/ 33847 w 180519"/>
                <a:gd name="connsiteY1165" fmla="*/ 60925 h 248214"/>
                <a:gd name="connsiteX1166" fmla="*/ 34694 w 180519"/>
                <a:gd name="connsiteY1166" fmla="*/ 61207 h 248214"/>
                <a:gd name="connsiteX1167" fmla="*/ 36104 w 180519"/>
                <a:gd name="connsiteY1167" fmla="*/ 61207 h 248214"/>
                <a:gd name="connsiteX1168" fmla="*/ 37514 w 180519"/>
                <a:gd name="connsiteY1168" fmla="*/ 60643 h 248214"/>
                <a:gd name="connsiteX1169" fmla="*/ 38361 w 180519"/>
                <a:gd name="connsiteY1169" fmla="*/ 60643 h 248214"/>
                <a:gd name="connsiteX1170" fmla="*/ 38361 w 180519"/>
                <a:gd name="connsiteY1170" fmla="*/ 60361 h 248214"/>
                <a:gd name="connsiteX1171" fmla="*/ 39207 w 180519"/>
                <a:gd name="connsiteY1171" fmla="*/ 58669 h 248214"/>
                <a:gd name="connsiteX1172" fmla="*/ 40053 w 180519"/>
                <a:gd name="connsiteY1172" fmla="*/ 58387 h 248214"/>
                <a:gd name="connsiteX1173" fmla="*/ 39771 w 180519"/>
                <a:gd name="connsiteY1173" fmla="*/ 58951 h 248214"/>
                <a:gd name="connsiteX1174" fmla="*/ 39207 w 180519"/>
                <a:gd name="connsiteY1174" fmla="*/ 60361 h 248214"/>
                <a:gd name="connsiteX1175" fmla="*/ 39207 w 180519"/>
                <a:gd name="connsiteY1175" fmla="*/ 60925 h 248214"/>
                <a:gd name="connsiteX1176" fmla="*/ 39771 w 180519"/>
                <a:gd name="connsiteY1176" fmla="*/ 60925 h 248214"/>
                <a:gd name="connsiteX1177" fmla="*/ 41181 w 180519"/>
                <a:gd name="connsiteY1177" fmla="*/ 59515 h 248214"/>
                <a:gd name="connsiteX1178" fmla="*/ 40899 w 180519"/>
                <a:gd name="connsiteY1178" fmla="*/ 58669 h 248214"/>
                <a:gd name="connsiteX1179" fmla="*/ 40899 w 180519"/>
                <a:gd name="connsiteY1179" fmla="*/ 58387 h 248214"/>
                <a:gd name="connsiteX1180" fmla="*/ 41181 w 180519"/>
                <a:gd name="connsiteY1180" fmla="*/ 58105 h 248214"/>
                <a:gd name="connsiteX1181" fmla="*/ 42309 w 180519"/>
                <a:gd name="connsiteY1181" fmla="*/ 56694 h 248214"/>
                <a:gd name="connsiteX1182" fmla="*/ 40899 w 180519"/>
                <a:gd name="connsiteY1182" fmla="*/ 56412 h 248214"/>
                <a:gd name="connsiteX1183" fmla="*/ 40899 w 180519"/>
                <a:gd name="connsiteY1183" fmla="*/ 56130 h 248214"/>
                <a:gd name="connsiteX1184" fmla="*/ 40617 w 180519"/>
                <a:gd name="connsiteY1184" fmla="*/ 56130 h 248214"/>
                <a:gd name="connsiteX1185" fmla="*/ 39771 w 180519"/>
                <a:gd name="connsiteY1185" fmla="*/ 56412 h 248214"/>
                <a:gd name="connsiteX1186" fmla="*/ 38361 w 180519"/>
                <a:gd name="connsiteY1186" fmla="*/ 58105 h 248214"/>
                <a:gd name="connsiteX1187" fmla="*/ 38078 w 180519"/>
                <a:gd name="connsiteY1187" fmla="*/ 57258 h 248214"/>
                <a:gd name="connsiteX1188" fmla="*/ 36668 w 180519"/>
                <a:gd name="connsiteY1188" fmla="*/ 57258 h 248214"/>
                <a:gd name="connsiteX1189" fmla="*/ 18052 w 180519"/>
                <a:gd name="connsiteY1189" fmla="*/ 62053 h 248214"/>
                <a:gd name="connsiteX1190" fmla="*/ 16077 w 180519"/>
                <a:gd name="connsiteY1190" fmla="*/ 64028 h 248214"/>
                <a:gd name="connsiteX1191" fmla="*/ 18052 w 180519"/>
                <a:gd name="connsiteY1191" fmla="*/ 62336 h 248214"/>
                <a:gd name="connsiteX1192" fmla="*/ 18052 w 180519"/>
                <a:gd name="connsiteY1192" fmla="*/ 62053 h 248214"/>
                <a:gd name="connsiteX1193" fmla="*/ 17206 w 180519"/>
                <a:gd name="connsiteY1193" fmla="*/ 66849 h 248214"/>
                <a:gd name="connsiteX1194" fmla="*/ 16360 w 180519"/>
                <a:gd name="connsiteY1194" fmla="*/ 66849 h 248214"/>
                <a:gd name="connsiteX1195" fmla="*/ 16360 w 180519"/>
                <a:gd name="connsiteY1195" fmla="*/ 67977 h 248214"/>
                <a:gd name="connsiteX1196" fmla="*/ 16924 w 180519"/>
                <a:gd name="connsiteY1196" fmla="*/ 67413 h 248214"/>
                <a:gd name="connsiteX1197" fmla="*/ 17206 w 180519"/>
                <a:gd name="connsiteY1197" fmla="*/ 66849 h 248214"/>
                <a:gd name="connsiteX1198" fmla="*/ 20027 w 180519"/>
                <a:gd name="connsiteY1198" fmla="*/ 65720 h 248214"/>
                <a:gd name="connsiteX1199" fmla="*/ 20308 w 180519"/>
                <a:gd name="connsiteY1199" fmla="*/ 65720 h 248214"/>
                <a:gd name="connsiteX1200" fmla="*/ 20591 w 180519"/>
                <a:gd name="connsiteY1200" fmla="*/ 65156 h 248214"/>
                <a:gd name="connsiteX1201" fmla="*/ 21155 w 180519"/>
                <a:gd name="connsiteY1201" fmla="*/ 64592 h 248214"/>
                <a:gd name="connsiteX1202" fmla="*/ 21155 w 180519"/>
                <a:gd name="connsiteY1202" fmla="*/ 64310 h 248214"/>
                <a:gd name="connsiteX1203" fmla="*/ 20873 w 180519"/>
                <a:gd name="connsiteY1203" fmla="*/ 64310 h 248214"/>
                <a:gd name="connsiteX1204" fmla="*/ 19180 w 180519"/>
                <a:gd name="connsiteY1204" fmla="*/ 65156 h 248214"/>
                <a:gd name="connsiteX1205" fmla="*/ 20027 w 180519"/>
                <a:gd name="connsiteY1205" fmla="*/ 65720 h 248214"/>
                <a:gd name="connsiteX1206" fmla="*/ 28206 w 180519"/>
                <a:gd name="connsiteY1206" fmla="*/ 60079 h 248214"/>
                <a:gd name="connsiteX1207" fmla="*/ 26514 w 180519"/>
                <a:gd name="connsiteY1207" fmla="*/ 61489 h 248214"/>
                <a:gd name="connsiteX1208" fmla="*/ 26514 w 180519"/>
                <a:gd name="connsiteY1208" fmla="*/ 61771 h 248214"/>
                <a:gd name="connsiteX1209" fmla="*/ 27078 w 180519"/>
                <a:gd name="connsiteY1209" fmla="*/ 61771 h 248214"/>
                <a:gd name="connsiteX1210" fmla="*/ 27925 w 180519"/>
                <a:gd name="connsiteY1210" fmla="*/ 61207 h 248214"/>
                <a:gd name="connsiteX1211" fmla="*/ 28206 w 180519"/>
                <a:gd name="connsiteY1211" fmla="*/ 60361 h 248214"/>
                <a:gd name="connsiteX1212" fmla="*/ 28206 w 180519"/>
                <a:gd name="connsiteY1212" fmla="*/ 60079 h 248214"/>
                <a:gd name="connsiteX1213" fmla="*/ 38361 w 180519"/>
                <a:gd name="connsiteY1213" fmla="*/ 58669 h 248214"/>
                <a:gd name="connsiteX1214" fmla="*/ 38078 w 180519"/>
                <a:gd name="connsiteY1214" fmla="*/ 59233 h 248214"/>
                <a:gd name="connsiteX1215" fmla="*/ 37797 w 180519"/>
                <a:gd name="connsiteY1215" fmla="*/ 59515 h 248214"/>
                <a:gd name="connsiteX1216" fmla="*/ 37514 w 180519"/>
                <a:gd name="connsiteY1216" fmla="*/ 58951 h 248214"/>
                <a:gd name="connsiteX1217" fmla="*/ 38361 w 180519"/>
                <a:gd name="connsiteY1217" fmla="*/ 58387 h 248214"/>
                <a:gd name="connsiteX1218" fmla="*/ 38361 w 180519"/>
                <a:gd name="connsiteY1218" fmla="*/ 58669 h 248214"/>
                <a:gd name="connsiteX1219" fmla="*/ 45130 w 180519"/>
                <a:gd name="connsiteY1219" fmla="*/ 236649 h 248214"/>
                <a:gd name="connsiteX1220" fmla="*/ 44848 w 180519"/>
                <a:gd name="connsiteY1220" fmla="*/ 236367 h 248214"/>
                <a:gd name="connsiteX1221" fmla="*/ 45130 w 180519"/>
                <a:gd name="connsiteY1221" fmla="*/ 236085 h 248214"/>
                <a:gd name="connsiteX1222" fmla="*/ 45130 w 180519"/>
                <a:gd name="connsiteY1222" fmla="*/ 236649 h 248214"/>
                <a:gd name="connsiteX1223" fmla="*/ 59233 w 180519"/>
                <a:gd name="connsiteY1223" fmla="*/ 203366 h 248214"/>
                <a:gd name="connsiteX1224" fmla="*/ 60079 w 180519"/>
                <a:gd name="connsiteY1224" fmla="*/ 202520 h 248214"/>
                <a:gd name="connsiteX1225" fmla="*/ 59797 w 180519"/>
                <a:gd name="connsiteY1225" fmla="*/ 201674 h 248214"/>
                <a:gd name="connsiteX1226" fmla="*/ 60362 w 180519"/>
                <a:gd name="connsiteY1226" fmla="*/ 201110 h 248214"/>
                <a:gd name="connsiteX1227" fmla="*/ 59233 w 180519"/>
                <a:gd name="connsiteY1227" fmla="*/ 200264 h 248214"/>
                <a:gd name="connsiteX1228" fmla="*/ 59515 w 180519"/>
                <a:gd name="connsiteY1228" fmla="*/ 202520 h 248214"/>
                <a:gd name="connsiteX1229" fmla="*/ 58951 w 180519"/>
                <a:gd name="connsiteY1229" fmla="*/ 203084 h 248214"/>
                <a:gd name="connsiteX1230" fmla="*/ 58669 w 180519"/>
                <a:gd name="connsiteY1230" fmla="*/ 203084 h 248214"/>
                <a:gd name="connsiteX1231" fmla="*/ 58951 w 180519"/>
                <a:gd name="connsiteY1231" fmla="*/ 203366 h 248214"/>
                <a:gd name="connsiteX1232" fmla="*/ 59233 w 180519"/>
                <a:gd name="connsiteY1232" fmla="*/ 203366 h 248214"/>
                <a:gd name="connsiteX1233" fmla="*/ 59515 w 180519"/>
                <a:gd name="connsiteY1233" fmla="*/ 210700 h 248214"/>
                <a:gd name="connsiteX1234" fmla="*/ 59515 w 180519"/>
                <a:gd name="connsiteY1234" fmla="*/ 212392 h 248214"/>
                <a:gd name="connsiteX1235" fmla="*/ 60362 w 180519"/>
                <a:gd name="connsiteY1235" fmla="*/ 212674 h 248214"/>
                <a:gd name="connsiteX1236" fmla="*/ 60926 w 180519"/>
                <a:gd name="connsiteY1236" fmla="*/ 212674 h 248214"/>
                <a:gd name="connsiteX1237" fmla="*/ 60643 w 180519"/>
                <a:gd name="connsiteY1237" fmla="*/ 212392 h 248214"/>
                <a:gd name="connsiteX1238" fmla="*/ 60643 w 180519"/>
                <a:gd name="connsiteY1238" fmla="*/ 210700 h 248214"/>
                <a:gd name="connsiteX1239" fmla="*/ 59515 w 180519"/>
                <a:gd name="connsiteY1239" fmla="*/ 210700 h 248214"/>
                <a:gd name="connsiteX1240" fmla="*/ 59515 w 180519"/>
                <a:gd name="connsiteY1240" fmla="*/ 220008 h 248214"/>
                <a:gd name="connsiteX1241" fmla="*/ 59797 w 180519"/>
                <a:gd name="connsiteY1241" fmla="*/ 220854 h 248214"/>
                <a:gd name="connsiteX1242" fmla="*/ 60079 w 180519"/>
                <a:gd name="connsiteY1242" fmla="*/ 221136 h 248214"/>
                <a:gd name="connsiteX1243" fmla="*/ 60079 w 180519"/>
                <a:gd name="connsiteY1243" fmla="*/ 220854 h 248214"/>
                <a:gd name="connsiteX1244" fmla="*/ 60643 w 180519"/>
                <a:gd name="connsiteY1244" fmla="*/ 219726 h 248214"/>
                <a:gd name="connsiteX1245" fmla="*/ 59797 w 180519"/>
                <a:gd name="connsiteY1245" fmla="*/ 219162 h 248214"/>
                <a:gd name="connsiteX1246" fmla="*/ 59515 w 180519"/>
                <a:gd name="connsiteY1246" fmla="*/ 219726 h 248214"/>
                <a:gd name="connsiteX1247" fmla="*/ 59515 w 180519"/>
                <a:gd name="connsiteY1247" fmla="*/ 220008 h 248214"/>
                <a:gd name="connsiteX1248" fmla="*/ 59797 w 180519"/>
                <a:gd name="connsiteY1248" fmla="*/ 187007 h 248214"/>
                <a:gd name="connsiteX1249" fmla="*/ 60079 w 180519"/>
                <a:gd name="connsiteY1249" fmla="*/ 186725 h 248214"/>
                <a:gd name="connsiteX1250" fmla="*/ 62336 w 180519"/>
                <a:gd name="connsiteY1250" fmla="*/ 185878 h 248214"/>
                <a:gd name="connsiteX1251" fmla="*/ 62618 w 180519"/>
                <a:gd name="connsiteY1251" fmla="*/ 186725 h 248214"/>
                <a:gd name="connsiteX1252" fmla="*/ 60643 w 180519"/>
                <a:gd name="connsiteY1252" fmla="*/ 187289 h 248214"/>
                <a:gd name="connsiteX1253" fmla="*/ 59797 w 180519"/>
                <a:gd name="connsiteY1253" fmla="*/ 187007 h 248214"/>
                <a:gd name="connsiteX1254" fmla="*/ 60079 w 180519"/>
                <a:gd name="connsiteY1254" fmla="*/ 205059 h 248214"/>
                <a:gd name="connsiteX1255" fmla="*/ 59797 w 180519"/>
                <a:gd name="connsiteY1255" fmla="*/ 205341 h 248214"/>
                <a:gd name="connsiteX1256" fmla="*/ 60079 w 180519"/>
                <a:gd name="connsiteY1256" fmla="*/ 205623 h 248214"/>
                <a:gd name="connsiteX1257" fmla="*/ 60079 w 180519"/>
                <a:gd name="connsiteY1257" fmla="*/ 205059 h 248214"/>
                <a:gd name="connsiteX1258" fmla="*/ 60643 w 180519"/>
                <a:gd name="connsiteY1258" fmla="*/ 188417 h 248214"/>
                <a:gd name="connsiteX1259" fmla="*/ 60926 w 180519"/>
                <a:gd name="connsiteY1259" fmla="*/ 188135 h 248214"/>
                <a:gd name="connsiteX1260" fmla="*/ 61207 w 180519"/>
                <a:gd name="connsiteY1260" fmla="*/ 188417 h 248214"/>
                <a:gd name="connsiteX1261" fmla="*/ 60643 w 180519"/>
                <a:gd name="connsiteY1261" fmla="*/ 188417 h 248214"/>
                <a:gd name="connsiteX1262" fmla="*/ 61207 w 180519"/>
                <a:gd name="connsiteY1262" fmla="*/ 176288 h 248214"/>
                <a:gd name="connsiteX1263" fmla="*/ 60926 w 180519"/>
                <a:gd name="connsiteY1263" fmla="*/ 176006 h 248214"/>
                <a:gd name="connsiteX1264" fmla="*/ 61490 w 180519"/>
                <a:gd name="connsiteY1264" fmla="*/ 175724 h 248214"/>
                <a:gd name="connsiteX1265" fmla="*/ 62054 w 180519"/>
                <a:gd name="connsiteY1265" fmla="*/ 176006 h 248214"/>
                <a:gd name="connsiteX1266" fmla="*/ 61490 w 180519"/>
                <a:gd name="connsiteY1266" fmla="*/ 176288 h 248214"/>
                <a:gd name="connsiteX1267" fmla="*/ 61207 w 180519"/>
                <a:gd name="connsiteY1267" fmla="*/ 176288 h 248214"/>
                <a:gd name="connsiteX1268" fmla="*/ 61207 w 180519"/>
                <a:gd name="connsiteY1268" fmla="*/ 184750 h 248214"/>
                <a:gd name="connsiteX1269" fmla="*/ 61207 w 180519"/>
                <a:gd name="connsiteY1269" fmla="*/ 183904 h 248214"/>
                <a:gd name="connsiteX1270" fmla="*/ 62054 w 180519"/>
                <a:gd name="connsiteY1270" fmla="*/ 183340 h 248214"/>
                <a:gd name="connsiteX1271" fmla="*/ 62618 w 180519"/>
                <a:gd name="connsiteY1271" fmla="*/ 183622 h 248214"/>
                <a:gd name="connsiteX1272" fmla="*/ 62336 w 180519"/>
                <a:gd name="connsiteY1272" fmla="*/ 184186 h 248214"/>
                <a:gd name="connsiteX1273" fmla="*/ 61772 w 180519"/>
                <a:gd name="connsiteY1273" fmla="*/ 184750 h 248214"/>
                <a:gd name="connsiteX1274" fmla="*/ 61207 w 180519"/>
                <a:gd name="connsiteY1274" fmla="*/ 184750 h 248214"/>
                <a:gd name="connsiteX1275" fmla="*/ 62054 w 180519"/>
                <a:gd name="connsiteY1275" fmla="*/ 188981 h 248214"/>
                <a:gd name="connsiteX1276" fmla="*/ 62054 w 180519"/>
                <a:gd name="connsiteY1276" fmla="*/ 189263 h 248214"/>
                <a:gd name="connsiteX1277" fmla="*/ 61490 w 180519"/>
                <a:gd name="connsiteY1277" fmla="*/ 188981 h 248214"/>
                <a:gd name="connsiteX1278" fmla="*/ 61490 w 180519"/>
                <a:gd name="connsiteY1278" fmla="*/ 188699 h 248214"/>
                <a:gd name="connsiteX1279" fmla="*/ 61207 w 180519"/>
                <a:gd name="connsiteY1279" fmla="*/ 188417 h 248214"/>
                <a:gd name="connsiteX1280" fmla="*/ 61772 w 180519"/>
                <a:gd name="connsiteY1280" fmla="*/ 188417 h 248214"/>
                <a:gd name="connsiteX1281" fmla="*/ 62054 w 180519"/>
                <a:gd name="connsiteY1281" fmla="*/ 188981 h 248214"/>
                <a:gd name="connsiteX1282" fmla="*/ 61490 w 180519"/>
                <a:gd name="connsiteY1282" fmla="*/ 181648 h 248214"/>
                <a:gd name="connsiteX1283" fmla="*/ 62336 w 180519"/>
                <a:gd name="connsiteY1283" fmla="*/ 181648 h 248214"/>
                <a:gd name="connsiteX1284" fmla="*/ 62618 w 180519"/>
                <a:gd name="connsiteY1284" fmla="*/ 182212 h 248214"/>
                <a:gd name="connsiteX1285" fmla="*/ 62336 w 180519"/>
                <a:gd name="connsiteY1285" fmla="*/ 183058 h 248214"/>
                <a:gd name="connsiteX1286" fmla="*/ 61490 w 180519"/>
                <a:gd name="connsiteY1286" fmla="*/ 182494 h 248214"/>
                <a:gd name="connsiteX1287" fmla="*/ 61490 w 180519"/>
                <a:gd name="connsiteY1287" fmla="*/ 181648 h 248214"/>
                <a:gd name="connsiteX1288" fmla="*/ 62336 w 180519"/>
                <a:gd name="connsiteY1288" fmla="*/ 178545 h 248214"/>
                <a:gd name="connsiteX1289" fmla="*/ 61772 w 180519"/>
                <a:gd name="connsiteY1289" fmla="*/ 178545 h 248214"/>
                <a:gd name="connsiteX1290" fmla="*/ 62054 w 180519"/>
                <a:gd name="connsiteY1290" fmla="*/ 178263 h 248214"/>
                <a:gd name="connsiteX1291" fmla="*/ 62336 w 180519"/>
                <a:gd name="connsiteY1291" fmla="*/ 178545 h 248214"/>
                <a:gd name="connsiteX1292" fmla="*/ 63182 w 180519"/>
                <a:gd name="connsiteY1292" fmla="*/ 168109 h 248214"/>
                <a:gd name="connsiteX1293" fmla="*/ 63746 w 180519"/>
                <a:gd name="connsiteY1293" fmla="*/ 168673 h 248214"/>
                <a:gd name="connsiteX1294" fmla="*/ 63182 w 180519"/>
                <a:gd name="connsiteY1294" fmla="*/ 169237 h 248214"/>
                <a:gd name="connsiteX1295" fmla="*/ 62618 w 180519"/>
                <a:gd name="connsiteY1295" fmla="*/ 168955 h 248214"/>
                <a:gd name="connsiteX1296" fmla="*/ 63182 w 180519"/>
                <a:gd name="connsiteY1296" fmla="*/ 168109 h 248214"/>
                <a:gd name="connsiteX1297" fmla="*/ 65438 w 180519"/>
                <a:gd name="connsiteY1297" fmla="*/ 136800 h 248214"/>
                <a:gd name="connsiteX1298" fmla="*/ 66567 w 180519"/>
                <a:gd name="connsiteY1298" fmla="*/ 136518 h 248214"/>
                <a:gd name="connsiteX1299" fmla="*/ 65720 w 180519"/>
                <a:gd name="connsiteY1299" fmla="*/ 135954 h 248214"/>
                <a:gd name="connsiteX1300" fmla="*/ 65438 w 180519"/>
                <a:gd name="connsiteY1300" fmla="*/ 136518 h 248214"/>
                <a:gd name="connsiteX1301" fmla="*/ 65438 w 180519"/>
                <a:gd name="connsiteY1301" fmla="*/ 136800 h 248214"/>
                <a:gd name="connsiteX1302" fmla="*/ 65438 w 180519"/>
                <a:gd name="connsiteY1302" fmla="*/ 153159 h 248214"/>
                <a:gd name="connsiteX1303" fmla="*/ 65438 w 180519"/>
                <a:gd name="connsiteY1303" fmla="*/ 151467 h 248214"/>
                <a:gd name="connsiteX1304" fmla="*/ 66003 w 180519"/>
                <a:gd name="connsiteY1304" fmla="*/ 151185 h 248214"/>
                <a:gd name="connsiteX1305" fmla="*/ 66567 w 180519"/>
                <a:gd name="connsiteY1305" fmla="*/ 151467 h 248214"/>
                <a:gd name="connsiteX1306" fmla="*/ 65720 w 180519"/>
                <a:gd name="connsiteY1306" fmla="*/ 152877 h 248214"/>
                <a:gd name="connsiteX1307" fmla="*/ 65438 w 180519"/>
                <a:gd name="connsiteY1307" fmla="*/ 153159 h 248214"/>
                <a:gd name="connsiteX1308" fmla="*/ 69444 w 180519"/>
                <a:gd name="connsiteY1308" fmla="*/ 132569 h 248214"/>
                <a:gd name="connsiteX1309" fmla="*/ 68034 w 180519"/>
                <a:gd name="connsiteY1309" fmla="*/ 131441 h 248214"/>
                <a:gd name="connsiteX1310" fmla="*/ 68034 w 180519"/>
                <a:gd name="connsiteY1310" fmla="*/ 131159 h 248214"/>
                <a:gd name="connsiteX1311" fmla="*/ 69444 w 180519"/>
                <a:gd name="connsiteY1311" fmla="*/ 130594 h 248214"/>
                <a:gd name="connsiteX1312" fmla="*/ 70572 w 180519"/>
                <a:gd name="connsiteY1312" fmla="*/ 131159 h 248214"/>
                <a:gd name="connsiteX1313" fmla="*/ 70572 w 180519"/>
                <a:gd name="connsiteY1313" fmla="*/ 131723 h 248214"/>
                <a:gd name="connsiteX1314" fmla="*/ 69726 w 180519"/>
                <a:gd name="connsiteY1314" fmla="*/ 132569 h 248214"/>
                <a:gd name="connsiteX1315" fmla="*/ 69444 w 180519"/>
                <a:gd name="connsiteY1315" fmla="*/ 132569 h 248214"/>
                <a:gd name="connsiteX1316" fmla="*/ 72490 w 180519"/>
                <a:gd name="connsiteY1316" fmla="*/ 49361 h 248214"/>
                <a:gd name="connsiteX1317" fmla="*/ 71926 w 180519"/>
                <a:gd name="connsiteY1317" fmla="*/ 49643 h 248214"/>
                <a:gd name="connsiteX1318" fmla="*/ 72490 w 180519"/>
                <a:gd name="connsiteY1318" fmla="*/ 49361 h 248214"/>
                <a:gd name="connsiteX1319" fmla="*/ 83547 w 180519"/>
                <a:gd name="connsiteY1319" fmla="*/ 237778 h 248214"/>
                <a:gd name="connsiteX1320" fmla="*/ 83265 w 180519"/>
                <a:gd name="connsiteY1320" fmla="*/ 237496 h 248214"/>
                <a:gd name="connsiteX1321" fmla="*/ 83547 w 180519"/>
                <a:gd name="connsiteY1321" fmla="*/ 236932 h 248214"/>
                <a:gd name="connsiteX1322" fmla="*/ 83547 w 180519"/>
                <a:gd name="connsiteY1322" fmla="*/ 237778 h 248214"/>
                <a:gd name="connsiteX1323" fmla="*/ 89188 w 180519"/>
                <a:gd name="connsiteY1323" fmla="*/ 218598 h 248214"/>
                <a:gd name="connsiteX1324" fmla="*/ 88906 w 180519"/>
                <a:gd name="connsiteY1324" fmla="*/ 218315 h 248214"/>
                <a:gd name="connsiteX1325" fmla="*/ 88060 w 180519"/>
                <a:gd name="connsiteY1325" fmla="*/ 219444 h 248214"/>
                <a:gd name="connsiteX1326" fmla="*/ 88342 w 180519"/>
                <a:gd name="connsiteY1326" fmla="*/ 219726 h 248214"/>
                <a:gd name="connsiteX1327" fmla="*/ 89188 w 180519"/>
                <a:gd name="connsiteY1327" fmla="*/ 218598 h 248214"/>
                <a:gd name="connsiteX1328" fmla="*/ 94829 w 180519"/>
                <a:gd name="connsiteY1328" fmla="*/ 205059 h 248214"/>
                <a:gd name="connsiteX1329" fmla="*/ 95675 w 180519"/>
                <a:gd name="connsiteY1329" fmla="*/ 204777 h 248214"/>
                <a:gd name="connsiteX1330" fmla="*/ 95393 w 180519"/>
                <a:gd name="connsiteY1330" fmla="*/ 204495 h 248214"/>
                <a:gd name="connsiteX1331" fmla="*/ 94829 w 180519"/>
                <a:gd name="connsiteY1331" fmla="*/ 203930 h 248214"/>
                <a:gd name="connsiteX1332" fmla="*/ 94265 w 180519"/>
                <a:gd name="connsiteY1332" fmla="*/ 204495 h 248214"/>
                <a:gd name="connsiteX1333" fmla="*/ 94829 w 180519"/>
                <a:gd name="connsiteY1333" fmla="*/ 205059 h 248214"/>
                <a:gd name="connsiteX1334" fmla="*/ 101599 w 180519"/>
                <a:gd name="connsiteY1334" fmla="*/ 202802 h 248214"/>
                <a:gd name="connsiteX1335" fmla="*/ 101316 w 180519"/>
                <a:gd name="connsiteY1335" fmla="*/ 203084 h 248214"/>
                <a:gd name="connsiteX1336" fmla="*/ 101316 w 180519"/>
                <a:gd name="connsiteY1336" fmla="*/ 203366 h 248214"/>
                <a:gd name="connsiteX1337" fmla="*/ 100188 w 180519"/>
                <a:gd name="connsiteY1337" fmla="*/ 203366 h 248214"/>
                <a:gd name="connsiteX1338" fmla="*/ 100188 w 180519"/>
                <a:gd name="connsiteY1338" fmla="*/ 203084 h 248214"/>
                <a:gd name="connsiteX1339" fmla="*/ 100752 w 180519"/>
                <a:gd name="connsiteY1339" fmla="*/ 202520 h 248214"/>
                <a:gd name="connsiteX1340" fmla="*/ 100188 w 180519"/>
                <a:gd name="connsiteY1340" fmla="*/ 201674 h 248214"/>
                <a:gd name="connsiteX1341" fmla="*/ 100188 w 180519"/>
                <a:gd name="connsiteY1341" fmla="*/ 201392 h 248214"/>
                <a:gd name="connsiteX1342" fmla="*/ 100471 w 180519"/>
                <a:gd name="connsiteY1342" fmla="*/ 200828 h 248214"/>
                <a:gd name="connsiteX1343" fmla="*/ 101035 w 180519"/>
                <a:gd name="connsiteY1343" fmla="*/ 200264 h 248214"/>
                <a:gd name="connsiteX1344" fmla="*/ 101599 w 180519"/>
                <a:gd name="connsiteY1344" fmla="*/ 200828 h 248214"/>
                <a:gd name="connsiteX1345" fmla="*/ 101599 w 180519"/>
                <a:gd name="connsiteY1345" fmla="*/ 202802 h 248214"/>
                <a:gd name="connsiteX1346" fmla="*/ 104419 w 180519"/>
                <a:gd name="connsiteY1346" fmla="*/ 49079 h 248214"/>
                <a:gd name="connsiteX1347" fmla="*/ 105830 w 180519"/>
                <a:gd name="connsiteY1347" fmla="*/ 48515 h 248214"/>
                <a:gd name="connsiteX1348" fmla="*/ 106112 w 180519"/>
                <a:gd name="connsiteY1348" fmla="*/ 47668 h 248214"/>
                <a:gd name="connsiteX1349" fmla="*/ 105830 w 180519"/>
                <a:gd name="connsiteY1349" fmla="*/ 47386 h 248214"/>
                <a:gd name="connsiteX1350" fmla="*/ 104137 w 180519"/>
                <a:gd name="connsiteY1350" fmla="*/ 48515 h 248214"/>
                <a:gd name="connsiteX1351" fmla="*/ 103855 w 180519"/>
                <a:gd name="connsiteY1351" fmla="*/ 49079 h 248214"/>
                <a:gd name="connsiteX1352" fmla="*/ 103855 w 180519"/>
                <a:gd name="connsiteY1352" fmla="*/ 49361 h 248214"/>
                <a:gd name="connsiteX1353" fmla="*/ 104419 w 180519"/>
                <a:gd name="connsiteY1353" fmla="*/ 49079 h 248214"/>
                <a:gd name="connsiteX1354" fmla="*/ 108932 w 180519"/>
                <a:gd name="connsiteY1354" fmla="*/ 176288 h 248214"/>
                <a:gd name="connsiteX1355" fmla="*/ 109214 w 180519"/>
                <a:gd name="connsiteY1355" fmla="*/ 177135 h 248214"/>
                <a:gd name="connsiteX1356" fmla="*/ 109496 w 180519"/>
                <a:gd name="connsiteY1356" fmla="*/ 177417 h 248214"/>
                <a:gd name="connsiteX1357" fmla="*/ 110343 w 180519"/>
                <a:gd name="connsiteY1357" fmla="*/ 176288 h 248214"/>
                <a:gd name="connsiteX1358" fmla="*/ 108932 w 180519"/>
                <a:gd name="connsiteY1358" fmla="*/ 176288 h 248214"/>
                <a:gd name="connsiteX1359" fmla="*/ 109778 w 180519"/>
                <a:gd name="connsiteY1359" fmla="*/ 45694 h 248214"/>
                <a:gd name="connsiteX1360" fmla="*/ 110060 w 180519"/>
                <a:gd name="connsiteY1360" fmla="*/ 45130 h 248214"/>
                <a:gd name="connsiteX1361" fmla="*/ 110060 w 180519"/>
                <a:gd name="connsiteY1361" fmla="*/ 44848 h 248214"/>
                <a:gd name="connsiteX1362" fmla="*/ 109778 w 180519"/>
                <a:gd name="connsiteY1362" fmla="*/ 45130 h 248214"/>
                <a:gd name="connsiteX1363" fmla="*/ 109778 w 180519"/>
                <a:gd name="connsiteY1363" fmla="*/ 45694 h 248214"/>
                <a:gd name="connsiteX1364" fmla="*/ 111978 w 180519"/>
                <a:gd name="connsiteY1364" fmla="*/ 155980 h 248214"/>
                <a:gd name="connsiteX1365" fmla="*/ 110568 w 180519"/>
                <a:gd name="connsiteY1365" fmla="*/ 155416 h 248214"/>
                <a:gd name="connsiteX1366" fmla="*/ 110568 w 180519"/>
                <a:gd name="connsiteY1366" fmla="*/ 155980 h 248214"/>
                <a:gd name="connsiteX1367" fmla="*/ 111414 w 180519"/>
                <a:gd name="connsiteY1367" fmla="*/ 156544 h 248214"/>
                <a:gd name="connsiteX1368" fmla="*/ 111978 w 180519"/>
                <a:gd name="connsiteY1368" fmla="*/ 155980 h 248214"/>
                <a:gd name="connsiteX1369" fmla="*/ 113163 w 180519"/>
                <a:gd name="connsiteY1369" fmla="*/ 153723 h 248214"/>
                <a:gd name="connsiteX1370" fmla="*/ 113163 w 180519"/>
                <a:gd name="connsiteY1370" fmla="*/ 152313 h 248214"/>
                <a:gd name="connsiteX1371" fmla="*/ 112317 w 180519"/>
                <a:gd name="connsiteY1371" fmla="*/ 152313 h 248214"/>
                <a:gd name="connsiteX1372" fmla="*/ 112317 w 180519"/>
                <a:gd name="connsiteY1372" fmla="*/ 152595 h 248214"/>
                <a:gd name="connsiteX1373" fmla="*/ 112035 w 180519"/>
                <a:gd name="connsiteY1373" fmla="*/ 153441 h 248214"/>
                <a:gd name="connsiteX1374" fmla="*/ 112317 w 180519"/>
                <a:gd name="connsiteY1374" fmla="*/ 154006 h 248214"/>
                <a:gd name="connsiteX1375" fmla="*/ 113163 w 180519"/>
                <a:gd name="connsiteY1375" fmla="*/ 153723 h 248214"/>
                <a:gd name="connsiteX1376" fmla="*/ 114799 w 180519"/>
                <a:gd name="connsiteY1376" fmla="*/ 49361 h 248214"/>
                <a:gd name="connsiteX1377" fmla="*/ 115928 w 180519"/>
                <a:gd name="connsiteY1377" fmla="*/ 48797 h 248214"/>
                <a:gd name="connsiteX1378" fmla="*/ 115364 w 180519"/>
                <a:gd name="connsiteY1378" fmla="*/ 48797 h 248214"/>
                <a:gd name="connsiteX1379" fmla="*/ 114799 w 180519"/>
                <a:gd name="connsiteY1379" fmla="*/ 48515 h 248214"/>
                <a:gd name="connsiteX1380" fmla="*/ 113953 w 180519"/>
                <a:gd name="connsiteY1380" fmla="*/ 48797 h 248214"/>
                <a:gd name="connsiteX1381" fmla="*/ 113671 w 180519"/>
                <a:gd name="connsiteY1381" fmla="*/ 48797 h 248214"/>
                <a:gd name="connsiteX1382" fmla="*/ 113389 w 180519"/>
                <a:gd name="connsiteY1382" fmla="*/ 49079 h 248214"/>
                <a:gd name="connsiteX1383" fmla="*/ 113953 w 180519"/>
                <a:gd name="connsiteY1383" fmla="*/ 49361 h 248214"/>
                <a:gd name="connsiteX1384" fmla="*/ 114799 w 180519"/>
                <a:gd name="connsiteY1384" fmla="*/ 49361 h 248214"/>
                <a:gd name="connsiteX1385" fmla="*/ 115702 w 180519"/>
                <a:gd name="connsiteY1385" fmla="*/ 167827 h 248214"/>
                <a:gd name="connsiteX1386" fmla="*/ 115702 w 180519"/>
                <a:gd name="connsiteY1386" fmla="*/ 168109 h 248214"/>
                <a:gd name="connsiteX1387" fmla="*/ 114855 w 180519"/>
                <a:gd name="connsiteY1387" fmla="*/ 168673 h 248214"/>
                <a:gd name="connsiteX1388" fmla="*/ 114855 w 180519"/>
                <a:gd name="connsiteY1388" fmla="*/ 168391 h 248214"/>
                <a:gd name="connsiteX1389" fmla="*/ 114291 w 180519"/>
                <a:gd name="connsiteY1389" fmla="*/ 167827 h 248214"/>
                <a:gd name="connsiteX1390" fmla="*/ 115138 w 180519"/>
                <a:gd name="connsiteY1390" fmla="*/ 167262 h 248214"/>
                <a:gd name="connsiteX1391" fmla="*/ 115984 w 180519"/>
                <a:gd name="connsiteY1391" fmla="*/ 167262 h 248214"/>
                <a:gd name="connsiteX1392" fmla="*/ 115702 w 180519"/>
                <a:gd name="connsiteY1392" fmla="*/ 167827 h 248214"/>
                <a:gd name="connsiteX1393" fmla="*/ 115702 w 180519"/>
                <a:gd name="connsiteY1393" fmla="*/ 169519 h 248214"/>
                <a:gd name="connsiteX1394" fmla="*/ 115984 w 180519"/>
                <a:gd name="connsiteY1394" fmla="*/ 169801 h 248214"/>
                <a:gd name="connsiteX1395" fmla="*/ 115138 w 180519"/>
                <a:gd name="connsiteY1395" fmla="*/ 170365 h 248214"/>
                <a:gd name="connsiteX1396" fmla="*/ 115138 w 180519"/>
                <a:gd name="connsiteY1396" fmla="*/ 170083 h 248214"/>
                <a:gd name="connsiteX1397" fmla="*/ 114855 w 180519"/>
                <a:gd name="connsiteY1397" fmla="*/ 169801 h 248214"/>
                <a:gd name="connsiteX1398" fmla="*/ 114291 w 180519"/>
                <a:gd name="connsiteY1398" fmla="*/ 169519 h 248214"/>
                <a:gd name="connsiteX1399" fmla="*/ 115702 w 180519"/>
                <a:gd name="connsiteY1399" fmla="*/ 169519 h 248214"/>
                <a:gd name="connsiteX1400" fmla="*/ 116209 w 180519"/>
                <a:gd name="connsiteY1400" fmla="*/ 47386 h 248214"/>
                <a:gd name="connsiteX1401" fmla="*/ 116774 w 180519"/>
                <a:gd name="connsiteY1401" fmla="*/ 46540 h 248214"/>
                <a:gd name="connsiteX1402" fmla="*/ 116774 w 180519"/>
                <a:gd name="connsiteY1402" fmla="*/ 46258 h 248214"/>
                <a:gd name="connsiteX1403" fmla="*/ 115364 w 180519"/>
                <a:gd name="connsiteY1403" fmla="*/ 46540 h 248214"/>
                <a:gd name="connsiteX1404" fmla="*/ 115081 w 180519"/>
                <a:gd name="connsiteY1404" fmla="*/ 48232 h 248214"/>
                <a:gd name="connsiteX1405" fmla="*/ 116209 w 180519"/>
                <a:gd name="connsiteY1405" fmla="*/ 47386 h 248214"/>
                <a:gd name="connsiteX1406" fmla="*/ 117394 w 180519"/>
                <a:gd name="connsiteY1406" fmla="*/ 162749 h 248214"/>
                <a:gd name="connsiteX1407" fmla="*/ 117112 w 180519"/>
                <a:gd name="connsiteY1407" fmla="*/ 162467 h 248214"/>
                <a:gd name="connsiteX1408" fmla="*/ 117394 w 180519"/>
                <a:gd name="connsiteY1408" fmla="*/ 162185 h 248214"/>
                <a:gd name="connsiteX1409" fmla="*/ 117676 w 180519"/>
                <a:gd name="connsiteY1409" fmla="*/ 162185 h 248214"/>
                <a:gd name="connsiteX1410" fmla="*/ 117958 w 180519"/>
                <a:gd name="connsiteY1410" fmla="*/ 162467 h 248214"/>
                <a:gd name="connsiteX1411" fmla="*/ 118522 w 180519"/>
                <a:gd name="connsiteY1411" fmla="*/ 162749 h 248214"/>
                <a:gd name="connsiteX1412" fmla="*/ 117676 w 180519"/>
                <a:gd name="connsiteY1412" fmla="*/ 163314 h 248214"/>
                <a:gd name="connsiteX1413" fmla="*/ 117394 w 180519"/>
                <a:gd name="connsiteY1413" fmla="*/ 162749 h 248214"/>
                <a:gd name="connsiteX1414" fmla="*/ 120440 w 180519"/>
                <a:gd name="connsiteY1414" fmla="*/ 51335 h 248214"/>
                <a:gd name="connsiteX1415" fmla="*/ 120158 w 180519"/>
                <a:gd name="connsiteY1415" fmla="*/ 51053 h 248214"/>
                <a:gd name="connsiteX1416" fmla="*/ 119594 w 180519"/>
                <a:gd name="connsiteY1416" fmla="*/ 51335 h 248214"/>
                <a:gd name="connsiteX1417" fmla="*/ 120440 w 180519"/>
                <a:gd name="connsiteY1417" fmla="*/ 51335 h 248214"/>
                <a:gd name="connsiteX1418" fmla="*/ 121625 w 180519"/>
                <a:gd name="connsiteY1418" fmla="*/ 45976 h 248214"/>
                <a:gd name="connsiteX1419" fmla="*/ 121625 w 180519"/>
                <a:gd name="connsiteY1419" fmla="*/ 45694 h 248214"/>
                <a:gd name="connsiteX1420" fmla="*/ 121343 w 180519"/>
                <a:gd name="connsiteY1420" fmla="*/ 45694 h 248214"/>
                <a:gd name="connsiteX1421" fmla="*/ 121061 w 180519"/>
                <a:gd name="connsiteY1421" fmla="*/ 46258 h 248214"/>
                <a:gd name="connsiteX1422" fmla="*/ 121625 w 180519"/>
                <a:gd name="connsiteY1422" fmla="*/ 45976 h 248214"/>
                <a:gd name="connsiteX1423" fmla="*/ 121850 w 180519"/>
                <a:gd name="connsiteY1423" fmla="*/ 152313 h 248214"/>
                <a:gd name="connsiteX1424" fmla="*/ 121569 w 180519"/>
                <a:gd name="connsiteY1424" fmla="*/ 151467 h 248214"/>
                <a:gd name="connsiteX1425" fmla="*/ 121569 w 180519"/>
                <a:gd name="connsiteY1425" fmla="*/ 150903 h 248214"/>
                <a:gd name="connsiteX1426" fmla="*/ 121286 w 180519"/>
                <a:gd name="connsiteY1426" fmla="*/ 150903 h 248214"/>
                <a:gd name="connsiteX1427" fmla="*/ 121569 w 180519"/>
                <a:gd name="connsiteY1427" fmla="*/ 150339 h 248214"/>
                <a:gd name="connsiteX1428" fmla="*/ 121850 w 180519"/>
                <a:gd name="connsiteY1428" fmla="*/ 150057 h 248214"/>
                <a:gd name="connsiteX1429" fmla="*/ 123261 w 180519"/>
                <a:gd name="connsiteY1429" fmla="*/ 150621 h 248214"/>
                <a:gd name="connsiteX1430" fmla="*/ 123543 w 180519"/>
                <a:gd name="connsiteY1430" fmla="*/ 150903 h 248214"/>
                <a:gd name="connsiteX1431" fmla="*/ 123261 w 180519"/>
                <a:gd name="connsiteY1431" fmla="*/ 151467 h 248214"/>
                <a:gd name="connsiteX1432" fmla="*/ 122133 w 180519"/>
                <a:gd name="connsiteY1432" fmla="*/ 152313 h 248214"/>
                <a:gd name="connsiteX1433" fmla="*/ 121850 w 180519"/>
                <a:gd name="connsiteY1433" fmla="*/ 152313 h 248214"/>
                <a:gd name="connsiteX1434" fmla="*/ 123600 w 180519"/>
                <a:gd name="connsiteY1434" fmla="*/ 148646 h 248214"/>
                <a:gd name="connsiteX1435" fmla="*/ 124164 w 180519"/>
                <a:gd name="connsiteY1435" fmla="*/ 148646 h 248214"/>
                <a:gd name="connsiteX1436" fmla="*/ 124728 w 180519"/>
                <a:gd name="connsiteY1436" fmla="*/ 149775 h 248214"/>
                <a:gd name="connsiteX1437" fmla="*/ 124446 w 180519"/>
                <a:gd name="connsiteY1437" fmla="*/ 150057 h 248214"/>
                <a:gd name="connsiteX1438" fmla="*/ 123600 w 180519"/>
                <a:gd name="connsiteY1438" fmla="*/ 149775 h 248214"/>
                <a:gd name="connsiteX1439" fmla="*/ 123600 w 180519"/>
                <a:gd name="connsiteY1439" fmla="*/ 148646 h 248214"/>
                <a:gd name="connsiteX1440" fmla="*/ 128677 w 180519"/>
                <a:gd name="connsiteY1440" fmla="*/ 48797 h 248214"/>
                <a:gd name="connsiteX1441" fmla="*/ 129805 w 180519"/>
                <a:gd name="connsiteY1441" fmla="*/ 48515 h 248214"/>
                <a:gd name="connsiteX1442" fmla="*/ 129805 w 180519"/>
                <a:gd name="connsiteY1442" fmla="*/ 48232 h 248214"/>
                <a:gd name="connsiteX1443" fmla="*/ 129805 w 180519"/>
                <a:gd name="connsiteY1443" fmla="*/ 47950 h 248214"/>
                <a:gd name="connsiteX1444" fmla="*/ 128958 w 180519"/>
                <a:gd name="connsiteY1444" fmla="*/ 47950 h 248214"/>
                <a:gd name="connsiteX1445" fmla="*/ 128677 w 180519"/>
                <a:gd name="connsiteY1445" fmla="*/ 48515 h 248214"/>
                <a:gd name="connsiteX1446" fmla="*/ 128677 w 180519"/>
                <a:gd name="connsiteY1446" fmla="*/ 48797 h 248214"/>
                <a:gd name="connsiteX1447" fmla="*/ 133753 w 180519"/>
                <a:gd name="connsiteY1447" fmla="*/ 46540 h 248214"/>
                <a:gd name="connsiteX1448" fmla="*/ 134318 w 180519"/>
                <a:gd name="connsiteY1448" fmla="*/ 45694 h 248214"/>
                <a:gd name="connsiteX1449" fmla="*/ 134318 w 180519"/>
                <a:gd name="connsiteY1449" fmla="*/ 45130 h 248214"/>
                <a:gd name="connsiteX1450" fmla="*/ 134318 w 180519"/>
                <a:gd name="connsiteY1450" fmla="*/ 44848 h 248214"/>
                <a:gd name="connsiteX1451" fmla="*/ 134036 w 180519"/>
                <a:gd name="connsiteY1451" fmla="*/ 44848 h 248214"/>
                <a:gd name="connsiteX1452" fmla="*/ 133189 w 180519"/>
                <a:gd name="connsiteY1452" fmla="*/ 45412 h 248214"/>
                <a:gd name="connsiteX1453" fmla="*/ 133753 w 180519"/>
                <a:gd name="connsiteY1453" fmla="*/ 46258 h 248214"/>
                <a:gd name="connsiteX1454" fmla="*/ 133753 w 180519"/>
                <a:gd name="connsiteY1454" fmla="*/ 46540 h 248214"/>
                <a:gd name="connsiteX1455" fmla="*/ 142498 w 180519"/>
                <a:gd name="connsiteY1455" fmla="*/ 48232 h 248214"/>
                <a:gd name="connsiteX1456" fmla="*/ 143908 w 180519"/>
                <a:gd name="connsiteY1456" fmla="*/ 47104 h 248214"/>
                <a:gd name="connsiteX1457" fmla="*/ 141934 w 180519"/>
                <a:gd name="connsiteY1457" fmla="*/ 48232 h 248214"/>
                <a:gd name="connsiteX1458" fmla="*/ 142498 w 180519"/>
                <a:gd name="connsiteY1458" fmla="*/ 48232 h 248214"/>
                <a:gd name="connsiteX1459" fmla="*/ 167319 w 180519"/>
                <a:gd name="connsiteY1459" fmla="*/ 54156 h 248214"/>
                <a:gd name="connsiteX1460" fmla="*/ 167319 w 180519"/>
                <a:gd name="connsiteY1460" fmla="*/ 53874 h 248214"/>
                <a:gd name="connsiteX1461" fmla="*/ 166755 w 180519"/>
                <a:gd name="connsiteY1461" fmla="*/ 54156 h 248214"/>
                <a:gd name="connsiteX1462" fmla="*/ 167319 w 180519"/>
                <a:gd name="connsiteY1462" fmla="*/ 54156 h 248214"/>
                <a:gd name="connsiteX1463" fmla="*/ 171550 w 180519"/>
                <a:gd name="connsiteY1463" fmla="*/ 41463 h 248214"/>
                <a:gd name="connsiteX1464" fmla="*/ 171832 w 180519"/>
                <a:gd name="connsiteY1464" fmla="*/ 40617 h 248214"/>
                <a:gd name="connsiteX1465" fmla="*/ 171268 w 180519"/>
                <a:gd name="connsiteY1465" fmla="*/ 41181 h 248214"/>
                <a:gd name="connsiteX1466" fmla="*/ 171550 w 180519"/>
                <a:gd name="connsiteY1466" fmla="*/ 41745 h 248214"/>
                <a:gd name="connsiteX1467" fmla="*/ 171550 w 180519"/>
                <a:gd name="connsiteY1467" fmla="*/ 41463 h 24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</a:cxnLst>
              <a:rect l="l" t="t" r="r" b="b"/>
              <a:pathLst>
                <a:path w="180519" h="248214">
                  <a:moveTo>
                    <a:pt x="36668" y="57258"/>
                  </a:moveTo>
                  <a:cubicBezTo>
                    <a:pt x="36386" y="57258"/>
                    <a:pt x="36386" y="57258"/>
                    <a:pt x="36386" y="56976"/>
                  </a:cubicBezTo>
                  <a:lnTo>
                    <a:pt x="36386" y="56694"/>
                  </a:lnTo>
                  <a:cubicBezTo>
                    <a:pt x="37514" y="56412"/>
                    <a:pt x="37797" y="56130"/>
                    <a:pt x="38078" y="55566"/>
                  </a:cubicBezTo>
                  <a:lnTo>
                    <a:pt x="38642" y="55566"/>
                  </a:lnTo>
                  <a:cubicBezTo>
                    <a:pt x="38925" y="55566"/>
                    <a:pt x="39771" y="55284"/>
                    <a:pt x="40617" y="55284"/>
                  </a:cubicBezTo>
                  <a:cubicBezTo>
                    <a:pt x="40899" y="55002"/>
                    <a:pt x="41463" y="55284"/>
                    <a:pt x="41745" y="54720"/>
                  </a:cubicBezTo>
                  <a:cubicBezTo>
                    <a:pt x="42028" y="54720"/>
                    <a:pt x="43156" y="54156"/>
                    <a:pt x="43156" y="54156"/>
                  </a:cubicBezTo>
                  <a:cubicBezTo>
                    <a:pt x="43720" y="53592"/>
                    <a:pt x="44002" y="53310"/>
                    <a:pt x="44848" y="53310"/>
                  </a:cubicBezTo>
                  <a:lnTo>
                    <a:pt x="45976" y="53310"/>
                  </a:lnTo>
                  <a:lnTo>
                    <a:pt x="49925" y="52463"/>
                  </a:lnTo>
                  <a:lnTo>
                    <a:pt x="50771" y="52463"/>
                  </a:lnTo>
                  <a:lnTo>
                    <a:pt x="51335" y="53028"/>
                  </a:lnTo>
                  <a:cubicBezTo>
                    <a:pt x="51053" y="53592"/>
                    <a:pt x="50771" y="54156"/>
                    <a:pt x="49925" y="54720"/>
                  </a:cubicBezTo>
                  <a:cubicBezTo>
                    <a:pt x="49643" y="54720"/>
                    <a:pt x="49643" y="54720"/>
                    <a:pt x="49079" y="55002"/>
                  </a:cubicBezTo>
                  <a:cubicBezTo>
                    <a:pt x="49079" y="55002"/>
                    <a:pt x="48797" y="55002"/>
                    <a:pt x="48797" y="55284"/>
                  </a:cubicBezTo>
                  <a:lnTo>
                    <a:pt x="48797" y="55566"/>
                  </a:lnTo>
                  <a:cubicBezTo>
                    <a:pt x="48797" y="55848"/>
                    <a:pt x="49079" y="56130"/>
                    <a:pt x="49361" y="56130"/>
                  </a:cubicBezTo>
                  <a:cubicBezTo>
                    <a:pt x="49361" y="56130"/>
                    <a:pt x="49643" y="56412"/>
                    <a:pt x="49925" y="56412"/>
                  </a:cubicBezTo>
                  <a:lnTo>
                    <a:pt x="50489" y="56412"/>
                  </a:lnTo>
                  <a:cubicBezTo>
                    <a:pt x="51053" y="56412"/>
                    <a:pt x="50771" y="56976"/>
                    <a:pt x="51053" y="56976"/>
                  </a:cubicBezTo>
                  <a:lnTo>
                    <a:pt x="51617" y="56976"/>
                  </a:lnTo>
                  <a:cubicBezTo>
                    <a:pt x="52745" y="56412"/>
                    <a:pt x="52745" y="56130"/>
                    <a:pt x="52745" y="55566"/>
                  </a:cubicBezTo>
                  <a:cubicBezTo>
                    <a:pt x="53310" y="55002"/>
                    <a:pt x="53592" y="54720"/>
                    <a:pt x="54720" y="54156"/>
                  </a:cubicBezTo>
                  <a:lnTo>
                    <a:pt x="55284" y="52463"/>
                  </a:lnTo>
                  <a:cubicBezTo>
                    <a:pt x="56131" y="51899"/>
                    <a:pt x="56131" y="51617"/>
                    <a:pt x="56976" y="51335"/>
                  </a:cubicBezTo>
                  <a:lnTo>
                    <a:pt x="57541" y="51335"/>
                  </a:lnTo>
                  <a:cubicBezTo>
                    <a:pt x="58105" y="51335"/>
                    <a:pt x="58387" y="51335"/>
                    <a:pt x="58951" y="51053"/>
                  </a:cubicBezTo>
                  <a:cubicBezTo>
                    <a:pt x="59515" y="50489"/>
                    <a:pt x="60079" y="50489"/>
                    <a:pt x="60362" y="50489"/>
                  </a:cubicBezTo>
                  <a:cubicBezTo>
                    <a:pt x="60643" y="50489"/>
                    <a:pt x="60926" y="50489"/>
                    <a:pt x="61207" y="51053"/>
                  </a:cubicBezTo>
                  <a:cubicBezTo>
                    <a:pt x="61490" y="51053"/>
                    <a:pt x="61490" y="51335"/>
                    <a:pt x="61490" y="51617"/>
                  </a:cubicBezTo>
                  <a:cubicBezTo>
                    <a:pt x="61772" y="51617"/>
                    <a:pt x="62336" y="51335"/>
                    <a:pt x="62618" y="51335"/>
                  </a:cubicBezTo>
                  <a:lnTo>
                    <a:pt x="62900" y="51335"/>
                  </a:lnTo>
                  <a:cubicBezTo>
                    <a:pt x="62900" y="51053"/>
                    <a:pt x="62900" y="51053"/>
                    <a:pt x="63182" y="51053"/>
                  </a:cubicBezTo>
                  <a:cubicBezTo>
                    <a:pt x="64310" y="49643"/>
                    <a:pt x="65438" y="49079"/>
                    <a:pt x="66003" y="49079"/>
                  </a:cubicBezTo>
                  <a:lnTo>
                    <a:pt x="68823" y="49079"/>
                  </a:lnTo>
                  <a:cubicBezTo>
                    <a:pt x="69105" y="49079"/>
                    <a:pt x="69105" y="49079"/>
                    <a:pt x="69105" y="49361"/>
                  </a:cubicBezTo>
                  <a:lnTo>
                    <a:pt x="69105" y="49643"/>
                  </a:lnTo>
                  <a:lnTo>
                    <a:pt x="68259" y="50771"/>
                  </a:lnTo>
                  <a:lnTo>
                    <a:pt x="68259" y="51053"/>
                  </a:lnTo>
                  <a:lnTo>
                    <a:pt x="69105" y="51053"/>
                  </a:lnTo>
                  <a:cubicBezTo>
                    <a:pt x="69387" y="51053"/>
                    <a:pt x="69951" y="51053"/>
                    <a:pt x="70798" y="50489"/>
                  </a:cubicBezTo>
                  <a:cubicBezTo>
                    <a:pt x="70798" y="49925"/>
                    <a:pt x="71362" y="49925"/>
                    <a:pt x="71926" y="49643"/>
                  </a:cubicBezTo>
                  <a:cubicBezTo>
                    <a:pt x="71644" y="49925"/>
                    <a:pt x="71362" y="50771"/>
                    <a:pt x="71079" y="50771"/>
                  </a:cubicBezTo>
                  <a:cubicBezTo>
                    <a:pt x="70798" y="51899"/>
                    <a:pt x="70798" y="51899"/>
                    <a:pt x="69387" y="51899"/>
                  </a:cubicBezTo>
                  <a:lnTo>
                    <a:pt x="68823" y="51899"/>
                  </a:lnTo>
                  <a:cubicBezTo>
                    <a:pt x="68541" y="52181"/>
                    <a:pt x="68259" y="52181"/>
                    <a:pt x="68259" y="52463"/>
                  </a:cubicBezTo>
                  <a:lnTo>
                    <a:pt x="68259" y="53028"/>
                  </a:lnTo>
                  <a:cubicBezTo>
                    <a:pt x="69387" y="52463"/>
                    <a:pt x="70234" y="52463"/>
                    <a:pt x="71079" y="52463"/>
                  </a:cubicBezTo>
                  <a:lnTo>
                    <a:pt x="71644" y="52463"/>
                  </a:lnTo>
                  <a:cubicBezTo>
                    <a:pt x="71926" y="52463"/>
                    <a:pt x="72490" y="51899"/>
                    <a:pt x="73054" y="51899"/>
                  </a:cubicBezTo>
                  <a:cubicBezTo>
                    <a:pt x="73054" y="51899"/>
                    <a:pt x="73336" y="51617"/>
                    <a:pt x="73618" y="51617"/>
                  </a:cubicBezTo>
                  <a:cubicBezTo>
                    <a:pt x="73336" y="51335"/>
                    <a:pt x="73054" y="51335"/>
                    <a:pt x="73054" y="51335"/>
                  </a:cubicBezTo>
                  <a:lnTo>
                    <a:pt x="72772" y="51053"/>
                  </a:lnTo>
                  <a:cubicBezTo>
                    <a:pt x="72772" y="50771"/>
                    <a:pt x="72772" y="50771"/>
                    <a:pt x="72490" y="50489"/>
                  </a:cubicBezTo>
                  <a:cubicBezTo>
                    <a:pt x="72490" y="50489"/>
                    <a:pt x="72772" y="49925"/>
                    <a:pt x="73054" y="49643"/>
                  </a:cubicBezTo>
                  <a:cubicBezTo>
                    <a:pt x="73618" y="49643"/>
                    <a:pt x="73900" y="49361"/>
                    <a:pt x="73900" y="49079"/>
                  </a:cubicBezTo>
                  <a:cubicBezTo>
                    <a:pt x="73900" y="48797"/>
                    <a:pt x="74182" y="48232"/>
                    <a:pt x="74465" y="47950"/>
                  </a:cubicBezTo>
                  <a:cubicBezTo>
                    <a:pt x="75029" y="47104"/>
                    <a:pt x="77567" y="36950"/>
                    <a:pt x="77567" y="36668"/>
                  </a:cubicBezTo>
                  <a:cubicBezTo>
                    <a:pt x="77567" y="36104"/>
                    <a:pt x="77567" y="32155"/>
                    <a:pt x="77849" y="31873"/>
                  </a:cubicBezTo>
                  <a:cubicBezTo>
                    <a:pt x="78977" y="31591"/>
                    <a:pt x="79541" y="31591"/>
                    <a:pt x="79824" y="30463"/>
                  </a:cubicBezTo>
                  <a:cubicBezTo>
                    <a:pt x="80106" y="30181"/>
                    <a:pt x="80388" y="30181"/>
                    <a:pt x="80388" y="29899"/>
                  </a:cubicBezTo>
                  <a:lnTo>
                    <a:pt x="80106" y="29616"/>
                  </a:lnTo>
                  <a:cubicBezTo>
                    <a:pt x="80106" y="29334"/>
                    <a:pt x="80106" y="29052"/>
                    <a:pt x="80388" y="28770"/>
                  </a:cubicBezTo>
                  <a:cubicBezTo>
                    <a:pt x="79260" y="28770"/>
                    <a:pt x="79260" y="28770"/>
                    <a:pt x="79260" y="28206"/>
                  </a:cubicBezTo>
                  <a:cubicBezTo>
                    <a:pt x="79260" y="27642"/>
                    <a:pt x="79260" y="27078"/>
                    <a:pt x="78977" y="26796"/>
                  </a:cubicBezTo>
                  <a:lnTo>
                    <a:pt x="78977" y="26232"/>
                  </a:lnTo>
                  <a:cubicBezTo>
                    <a:pt x="79260" y="25668"/>
                    <a:pt x="79541" y="25668"/>
                    <a:pt x="79824" y="25386"/>
                  </a:cubicBezTo>
                  <a:cubicBezTo>
                    <a:pt x="80106" y="25103"/>
                    <a:pt x="80106" y="24821"/>
                    <a:pt x="80106" y="24539"/>
                  </a:cubicBezTo>
                  <a:lnTo>
                    <a:pt x="80106" y="23975"/>
                  </a:lnTo>
                  <a:cubicBezTo>
                    <a:pt x="80106" y="23411"/>
                    <a:pt x="80670" y="23129"/>
                    <a:pt x="80670" y="22565"/>
                  </a:cubicBezTo>
                  <a:cubicBezTo>
                    <a:pt x="80952" y="22283"/>
                    <a:pt x="81516" y="21719"/>
                    <a:pt x="81516" y="21155"/>
                  </a:cubicBezTo>
                  <a:lnTo>
                    <a:pt x="81516" y="20873"/>
                  </a:lnTo>
                  <a:cubicBezTo>
                    <a:pt x="82080" y="20873"/>
                    <a:pt x="82080" y="20308"/>
                    <a:pt x="82080" y="19462"/>
                  </a:cubicBezTo>
                  <a:lnTo>
                    <a:pt x="82362" y="19180"/>
                  </a:lnTo>
                  <a:lnTo>
                    <a:pt x="82362" y="18898"/>
                  </a:lnTo>
                  <a:lnTo>
                    <a:pt x="82080" y="18616"/>
                  </a:lnTo>
                  <a:lnTo>
                    <a:pt x="82080" y="17206"/>
                  </a:lnTo>
                  <a:cubicBezTo>
                    <a:pt x="82080" y="16924"/>
                    <a:pt x="82362" y="16924"/>
                    <a:pt x="82362" y="16642"/>
                  </a:cubicBezTo>
                  <a:cubicBezTo>
                    <a:pt x="82926" y="16360"/>
                    <a:pt x="83490" y="16077"/>
                    <a:pt x="83772" y="15513"/>
                  </a:cubicBezTo>
                  <a:lnTo>
                    <a:pt x="83490" y="15231"/>
                  </a:lnTo>
                  <a:cubicBezTo>
                    <a:pt x="84337" y="14949"/>
                    <a:pt x="84337" y="13821"/>
                    <a:pt x="84337" y="13539"/>
                  </a:cubicBezTo>
                  <a:lnTo>
                    <a:pt x="84054" y="13257"/>
                  </a:lnTo>
                  <a:cubicBezTo>
                    <a:pt x="84054" y="13257"/>
                    <a:pt x="84337" y="12975"/>
                    <a:pt x="85182" y="12693"/>
                  </a:cubicBezTo>
                  <a:lnTo>
                    <a:pt x="86311" y="11847"/>
                  </a:lnTo>
                  <a:lnTo>
                    <a:pt x="86311" y="10436"/>
                  </a:lnTo>
                  <a:cubicBezTo>
                    <a:pt x="86593" y="10154"/>
                    <a:pt x="86875" y="9590"/>
                    <a:pt x="88003" y="9026"/>
                  </a:cubicBezTo>
                  <a:cubicBezTo>
                    <a:pt x="88003" y="9026"/>
                    <a:pt x="88285" y="7052"/>
                    <a:pt x="88849" y="6487"/>
                  </a:cubicBezTo>
                  <a:cubicBezTo>
                    <a:pt x="89132" y="6487"/>
                    <a:pt x="89132" y="6487"/>
                    <a:pt x="89413" y="6205"/>
                  </a:cubicBezTo>
                  <a:cubicBezTo>
                    <a:pt x="89696" y="5923"/>
                    <a:pt x="89696" y="5641"/>
                    <a:pt x="89696" y="5359"/>
                  </a:cubicBezTo>
                  <a:cubicBezTo>
                    <a:pt x="89696" y="4513"/>
                    <a:pt x="89696" y="4513"/>
                    <a:pt x="90542" y="3949"/>
                  </a:cubicBezTo>
                  <a:lnTo>
                    <a:pt x="91952" y="2821"/>
                  </a:lnTo>
                  <a:cubicBezTo>
                    <a:pt x="91670" y="2539"/>
                    <a:pt x="91670" y="2539"/>
                    <a:pt x="91670" y="2256"/>
                  </a:cubicBezTo>
                  <a:cubicBezTo>
                    <a:pt x="91670" y="1974"/>
                    <a:pt x="91952" y="1692"/>
                    <a:pt x="92799" y="1692"/>
                  </a:cubicBezTo>
                  <a:cubicBezTo>
                    <a:pt x="92799" y="1692"/>
                    <a:pt x="93080" y="1410"/>
                    <a:pt x="93363" y="1410"/>
                  </a:cubicBezTo>
                  <a:cubicBezTo>
                    <a:pt x="93644" y="1410"/>
                    <a:pt x="93644" y="1128"/>
                    <a:pt x="93927" y="1128"/>
                  </a:cubicBezTo>
                  <a:lnTo>
                    <a:pt x="94209" y="1128"/>
                  </a:lnTo>
                  <a:cubicBezTo>
                    <a:pt x="94209" y="1128"/>
                    <a:pt x="94209" y="1410"/>
                    <a:pt x="94491" y="1410"/>
                  </a:cubicBezTo>
                  <a:cubicBezTo>
                    <a:pt x="94491" y="1410"/>
                    <a:pt x="94773" y="1410"/>
                    <a:pt x="95055" y="1128"/>
                  </a:cubicBezTo>
                  <a:cubicBezTo>
                    <a:pt x="95619" y="846"/>
                    <a:pt x="95901" y="846"/>
                    <a:pt x="96465" y="282"/>
                  </a:cubicBezTo>
                  <a:cubicBezTo>
                    <a:pt x="96747" y="282"/>
                    <a:pt x="97030" y="0"/>
                    <a:pt x="97311" y="0"/>
                  </a:cubicBezTo>
                  <a:cubicBezTo>
                    <a:pt x="97594" y="0"/>
                    <a:pt x="97875" y="282"/>
                    <a:pt x="98440" y="564"/>
                  </a:cubicBezTo>
                  <a:cubicBezTo>
                    <a:pt x="98440" y="846"/>
                    <a:pt x="98722" y="846"/>
                    <a:pt x="98722" y="846"/>
                  </a:cubicBezTo>
                  <a:cubicBezTo>
                    <a:pt x="98722" y="1692"/>
                    <a:pt x="98722" y="2256"/>
                    <a:pt x="98440" y="2821"/>
                  </a:cubicBezTo>
                  <a:lnTo>
                    <a:pt x="99004" y="3103"/>
                  </a:lnTo>
                  <a:lnTo>
                    <a:pt x="99568" y="3103"/>
                  </a:lnTo>
                  <a:lnTo>
                    <a:pt x="100414" y="1692"/>
                  </a:lnTo>
                  <a:lnTo>
                    <a:pt x="100696" y="1692"/>
                  </a:lnTo>
                  <a:cubicBezTo>
                    <a:pt x="100978" y="1692"/>
                    <a:pt x="100978" y="1974"/>
                    <a:pt x="100978" y="2256"/>
                  </a:cubicBezTo>
                  <a:lnTo>
                    <a:pt x="101542" y="2821"/>
                  </a:lnTo>
                  <a:cubicBezTo>
                    <a:pt x="101542" y="2821"/>
                    <a:pt x="101824" y="3103"/>
                    <a:pt x="102106" y="3103"/>
                  </a:cubicBezTo>
                  <a:lnTo>
                    <a:pt x="104363" y="3103"/>
                  </a:lnTo>
                  <a:cubicBezTo>
                    <a:pt x="104363" y="3103"/>
                    <a:pt x="104081" y="3385"/>
                    <a:pt x="104081" y="3667"/>
                  </a:cubicBezTo>
                  <a:lnTo>
                    <a:pt x="104081" y="4231"/>
                  </a:lnTo>
                  <a:lnTo>
                    <a:pt x="105209" y="4231"/>
                  </a:lnTo>
                  <a:lnTo>
                    <a:pt x="105491" y="3949"/>
                  </a:lnTo>
                  <a:cubicBezTo>
                    <a:pt x="106055" y="3949"/>
                    <a:pt x="106337" y="3667"/>
                    <a:pt x="106619" y="3667"/>
                  </a:cubicBezTo>
                  <a:cubicBezTo>
                    <a:pt x="106619" y="3667"/>
                    <a:pt x="106902" y="3949"/>
                    <a:pt x="107183" y="3949"/>
                  </a:cubicBezTo>
                  <a:cubicBezTo>
                    <a:pt x="107747" y="3949"/>
                    <a:pt x="108312" y="4231"/>
                    <a:pt x="108876" y="4231"/>
                  </a:cubicBezTo>
                  <a:cubicBezTo>
                    <a:pt x="109722" y="4231"/>
                    <a:pt x="110004" y="4795"/>
                    <a:pt x="110004" y="5077"/>
                  </a:cubicBezTo>
                  <a:cubicBezTo>
                    <a:pt x="110004" y="5923"/>
                    <a:pt x="109722" y="6487"/>
                    <a:pt x="109722" y="7052"/>
                  </a:cubicBezTo>
                  <a:cubicBezTo>
                    <a:pt x="109722" y="7334"/>
                    <a:pt x="109722" y="7616"/>
                    <a:pt x="110286" y="7898"/>
                  </a:cubicBezTo>
                  <a:lnTo>
                    <a:pt x="110568" y="8462"/>
                  </a:lnTo>
                  <a:cubicBezTo>
                    <a:pt x="110004" y="9026"/>
                    <a:pt x="109722" y="9590"/>
                    <a:pt x="109722" y="9872"/>
                  </a:cubicBezTo>
                  <a:cubicBezTo>
                    <a:pt x="109722" y="10154"/>
                    <a:pt x="109440" y="10154"/>
                    <a:pt x="109440" y="10718"/>
                  </a:cubicBezTo>
                  <a:cubicBezTo>
                    <a:pt x="108594" y="10718"/>
                    <a:pt x="108876" y="11565"/>
                    <a:pt x="108312" y="11847"/>
                  </a:cubicBezTo>
                  <a:cubicBezTo>
                    <a:pt x="108030" y="11847"/>
                    <a:pt x="108030" y="12129"/>
                    <a:pt x="108030" y="12411"/>
                  </a:cubicBezTo>
                  <a:cubicBezTo>
                    <a:pt x="108030" y="12693"/>
                    <a:pt x="107747" y="12975"/>
                    <a:pt x="107747" y="13257"/>
                  </a:cubicBezTo>
                  <a:cubicBezTo>
                    <a:pt x="107466" y="13257"/>
                    <a:pt x="107466" y="13539"/>
                    <a:pt x="107466" y="13539"/>
                  </a:cubicBezTo>
                  <a:cubicBezTo>
                    <a:pt x="107466" y="13539"/>
                    <a:pt x="107466" y="13821"/>
                    <a:pt x="107183" y="13821"/>
                  </a:cubicBezTo>
                  <a:lnTo>
                    <a:pt x="107183" y="15231"/>
                  </a:lnTo>
                  <a:cubicBezTo>
                    <a:pt x="107183" y="15795"/>
                    <a:pt x="106337" y="16360"/>
                    <a:pt x="106337" y="16642"/>
                  </a:cubicBezTo>
                  <a:lnTo>
                    <a:pt x="106337" y="16924"/>
                  </a:lnTo>
                  <a:cubicBezTo>
                    <a:pt x="105773" y="17770"/>
                    <a:pt x="106337" y="18616"/>
                    <a:pt x="105491" y="18898"/>
                  </a:cubicBezTo>
                  <a:cubicBezTo>
                    <a:pt x="105491" y="19462"/>
                    <a:pt x="105209" y="19744"/>
                    <a:pt x="105209" y="20026"/>
                  </a:cubicBezTo>
                  <a:lnTo>
                    <a:pt x="105209" y="20308"/>
                  </a:lnTo>
                  <a:cubicBezTo>
                    <a:pt x="104927" y="20873"/>
                    <a:pt x="104363" y="21155"/>
                    <a:pt x="104363" y="21437"/>
                  </a:cubicBezTo>
                  <a:lnTo>
                    <a:pt x="104645" y="21719"/>
                  </a:lnTo>
                  <a:lnTo>
                    <a:pt x="104645" y="22283"/>
                  </a:lnTo>
                  <a:cubicBezTo>
                    <a:pt x="103799" y="22565"/>
                    <a:pt x="103516" y="23411"/>
                    <a:pt x="103235" y="23975"/>
                  </a:cubicBezTo>
                  <a:cubicBezTo>
                    <a:pt x="103516" y="23975"/>
                    <a:pt x="103516" y="24257"/>
                    <a:pt x="103516" y="24257"/>
                  </a:cubicBezTo>
                  <a:lnTo>
                    <a:pt x="103516" y="24539"/>
                  </a:lnTo>
                  <a:cubicBezTo>
                    <a:pt x="103516" y="24821"/>
                    <a:pt x="103235" y="24821"/>
                    <a:pt x="103235" y="25103"/>
                  </a:cubicBezTo>
                  <a:lnTo>
                    <a:pt x="103235" y="25386"/>
                  </a:lnTo>
                  <a:cubicBezTo>
                    <a:pt x="102671" y="25668"/>
                    <a:pt x="102388" y="25950"/>
                    <a:pt x="102388" y="26232"/>
                  </a:cubicBezTo>
                  <a:lnTo>
                    <a:pt x="102388" y="26514"/>
                  </a:lnTo>
                  <a:cubicBezTo>
                    <a:pt x="102388" y="27078"/>
                    <a:pt x="101824" y="27078"/>
                    <a:pt x="101824" y="27360"/>
                  </a:cubicBezTo>
                  <a:cubicBezTo>
                    <a:pt x="101824" y="27642"/>
                    <a:pt x="101542" y="28206"/>
                    <a:pt x="101260" y="28770"/>
                  </a:cubicBezTo>
                  <a:lnTo>
                    <a:pt x="100978" y="29052"/>
                  </a:lnTo>
                  <a:lnTo>
                    <a:pt x="100978" y="29616"/>
                  </a:lnTo>
                  <a:lnTo>
                    <a:pt x="101260" y="29899"/>
                  </a:lnTo>
                  <a:cubicBezTo>
                    <a:pt x="100978" y="30463"/>
                    <a:pt x="100414" y="30745"/>
                    <a:pt x="100414" y="31591"/>
                  </a:cubicBezTo>
                  <a:lnTo>
                    <a:pt x="99004" y="45130"/>
                  </a:lnTo>
                  <a:cubicBezTo>
                    <a:pt x="99286" y="45130"/>
                    <a:pt x="99568" y="44848"/>
                    <a:pt x="99850" y="44566"/>
                  </a:cubicBezTo>
                  <a:cubicBezTo>
                    <a:pt x="100132" y="44284"/>
                    <a:pt x="100132" y="44284"/>
                    <a:pt x="100414" y="44284"/>
                  </a:cubicBezTo>
                  <a:cubicBezTo>
                    <a:pt x="100978" y="44284"/>
                    <a:pt x="101542" y="44848"/>
                    <a:pt x="101542" y="45412"/>
                  </a:cubicBezTo>
                  <a:cubicBezTo>
                    <a:pt x="101542" y="46540"/>
                    <a:pt x="102106" y="46540"/>
                    <a:pt x="102952" y="46540"/>
                  </a:cubicBezTo>
                  <a:cubicBezTo>
                    <a:pt x="104081" y="46540"/>
                    <a:pt x="104927" y="46540"/>
                    <a:pt x="105773" y="45130"/>
                  </a:cubicBezTo>
                  <a:lnTo>
                    <a:pt x="102952" y="45694"/>
                  </a:lnTo>
                  <a:cubicBezTo>
                    <a:pt x="102952" y="45694"/>
                    <a:pt x="102388" y="45694"/>
                    <a:pt x="102388" y="45412"/>
                  </a:cubicBezTo>
                  <a:lnTo>
                    <a:pt x="102388" y="45130"/>
                  </a:lnTo>
                  <a:cubicBezTo>
                    <a:pt x="103516" y="44284"/>
                    <a:pt x="104081" y="44284"/>
                    <a:pt x="104927" y="44284"/>
                  </a:cubicBezTo>
                  <a:cubicBezTo>
                    <a:pt x="105209" y="44002"/>
                    <a:pt x="105209" y="44002"/>
                    <a:pt x="105491" y="44002"/>
                  </a:cubicBezTo>
                  <a:cubicBezTo>
                    <a:pt x="105773" y="44002"/>
                    <a:pt x="106055" y="44002"/>
                    <a:pt x="106055" y="44566"/>
                  </a:cubicBezTo>
                  <a:cubicBezTo>
                    <a:pt x="105773" y="44848"/>
                    <a:pt x="105773" y="45130"/>
                    <a:pt x="105773" y="45130"/>
                  </a:cubicBezTo>
                  <a:cubicBezTo>
                    <a:pt x="106055" y="45130"/>
                    <a:pt x="106055" y="45130"/>
                    <a:pt x="106337" y="44848"/>
                  </a:cubicBezTo>
                  <a:cubicBezTo>
                    <a:pt x="106902" y="44848"/>
                    <a:pt x="107747" y="44566"/>
                    <a:pt x="107747" y="44284"/>
                  </a:cubicBezTo>
                  <a:cubicBezTo>
                    <a:pt x="109158" y="43720"/>
                    <a:pt x="110004" y="43720"/>
                    <a:pt x="110568" y="43720"/>
                  </a:cubicBezTo>
                  <a:cubicBezTo>
                    <a:pt x="111133" y="43720"/>
                    <a:pt x="111414" y="43720"/>
                    <a:pt x="112261" y="43437"/>
                  </a:cubicBezTo>
                  <a:lnTo>
                    <a:pt x="113107" y="43437"/>
                  </a:lnTo>
                  <a:lnTo>
                    <a:pt x="112825" y="44002"/>
                  </a:lnTo>
                  <a:cubicBezTo>
                    <a:pt x="112825" y="44284"/>
                    <a:pt x="112543" y="44284"/>
                    <a:pt x="112261" y="44566"/>
                  </a:cubicBezTo>
                  <a:lnTo>
                    <a:pt x="111697" y="45412"/>
                  </a:lnTo>
                  <a:cubicBezTo>
                    <a:pt x="111697" y="45694"/>
                    <a:pt x="111978" y="45694"/>
                    <a:pt x="111978" y="45694"/>
                  </a:cubicBezTo>
                  <a:lnTo>
                    <a:pt x="111697" y="45976"/>
                  </a:lnTo>
                  <a:cubicBezTo>
                    <a:pt x="111697" y="46258"/>
                    <a:pt x="111414" y="46540"/>
                    <a:pt x="110568" y="47386"/>
                  </a:cubicBezTo>
                  <a:cubicBezTo>
                    <a:pt x="109440" y="47950"/>
                    <a:pt x="108594" y="49079"/>
                    <a:pt x="108030" y="49361"/>
                  </a:cubicBezTo>
                  <a:cubicBezTo>
                    <a:pt x="107466" y="49643"/>
                    <a:pt x="107183" y="49925"/>
                    <a:pt x="107183" y="49925"/>
                  </a:cubicBezTo>
                  <a:cubicBezTo>
                    <a:pt x="107183" y="50207"/>
                    <a:pt x="107466" y="50489"/>
                    <a:pt x="108030" y="50489"/>
                  </a:cubicBezTo>
                  <a:cubicBezTo>
                    <a:pt x="108312" y="50489"/>
                    <a:pt x="108594" y="49925"/>
                    <a:pt x="108594" y="49925"/>
                  </a:cubicBezTo>
                  <a:cubicBezTo>
                    <a:pt x="108594" y="49925"/>
                    <a:pt x="108876" y="49643"/>
                    <a:pt x="109440" y="49361"/>
                  </a:cubicBezTo>
                  <a:cubicBezTo>
                    <a:pt x="109440" y="49079"/>
                    <a:pt x="109722" y="48797"/>
                    <a:pt x="110568" y="48515"/>
                  </a:cubicBezTo>
                  <a:lnTo>
                    <a:pt x="111697" y="48515"/>
                  </a:lnTo>
                  <a:cubicBezTo>
                    <a:pt x="111978" y="48515"/>
                    <a:pt x="112543" y="48232"/>
                    <a:pt x="113389" y="47386"/>
                  </a:cubicBezTo>
                  <a:cubicBezTo>
                    <a:pt x="113671" y="47104"/>
                    <a:pt x="113671" y="46822"/>
                    <a:pt x="113671" y="46822"/>
                  </a:cubicBezTo>
                  <a:lnTo>
                    <a:pt x="113953" y="46540"/>
                  </a:lnTo>
                  <a:cubicBezTo>
                    <a:pt x="113953" y="46540"/>
                    <a:pt x="113671" y="46540"/>
                    <a:pt x="113389" y="46258"/>
                  </a:cubicBezTo>
                  <a:lnTo>
                    <a:pt x="112825" y="46258"/>
                  </a:lnTo>
                  <a:cubicBezTo>
                    <a:pt x="112543" y="46258"/>
                    <a:pt x="112825" y="45976"/>
                    <a:pt x="113107" y="45694"/>
                  </a:cubicBezTo>
                  <a:cubicBezTo>
                    <a:pt x="113107" y="45694"/>
                    <a:pt x="113107" y="45412"/>
                    <a:pt x="113389" y="45412"/>
                  </a:cubicBezTo>
                  <a:cubicBezTo>
                    <a:pt x="115081" y="45412"/>
                    <a:pt x="115928" y="44566"/>
                    <a:pt x="117056" y="43437"/>
                  </a:cubicBezTo>
                  <a:cubicBezTo>
                    <a:pt x="117338" y="43155"/>
                    <a:pt x="117338" y="43155"/>
                    <a:pt x="117620" y="43155"/>
                  </a:cubicBezTo>
                  <a:lnTo>
                    <a:pt x="117902" y="43437"/>
                  </a:lnTo>
                  <a:lnTo>
                    <a:pt x="117902" y="44002"/>
                  </a:lnTo>
                  <a:cubicBezTo>
                    <a:pt x="117902" y="44284"/>
                    <a:pt x="117902" y="44566"/>
                    <a:pt x="118184" y="45130"/>
                  </a:cubicBezTo>
                  <a:lnTo>
                    <a:pt x="118748" y="45130"/>
                  </a:lnTo>
                  <a:cubicBezTo>
                    <a:pt x="118748" y="44284"/>
                    <a:pt x="119312" y="43155"/>
                    <a:pt x="119594" y="42873"/>
                  </a:cubicBezTo>
                  <a:cubicBezTo>
                    <a:pt x="119876" y="42309"/>
                    <a:pt x="121005" y="41745"/>
                    <a:pt x="121569" y="41745"/>
                  </a:cubicBezTo>
                  <a:lnTo>
                    <a:pt x="124107" y="41745"/>
                  </a:lnTo>
                  <a:cubicBezTo>
                    <a:pt x="124389" y="41745"/>
                    <a:pt x="124107" y="42309"/>
                    <a:pt x="123825" y="42873"/>
                  </a:cubicBezTo>
                  <a:lnTo>
                    <a:pt x="123543" y="43155"/>
                  </a:lnTo>
                  <a:lnTo>
                    <a:pt x="123543" y="43720"/>
                  </a:lnTo>
                  <a:cubicBezTo>
                    <a:pt x="124107" y="43720"/>
                    <a:pt x="124389" y="44002"/>
                    <a:pt x="125236" y="44002"/>
                  </a:cubicBezTo>
                  <a:lnTo>
                    <a:pt x="125517" y="44002"/>
                  </a:lnTo>
                  <a:lnTo>
                    <a:pt x="125517" y="44848"/>
                  </a:lnTo>
                  <a:cubicBezTo>
                    <a:pt x="125517" y="44848"/>
                    <a:pt x="124671" y="45130"/>
                    <a:pt x="124389" y="45130"/>
                  </a:cubicBezTo>
                  <a:cubicBezTo>
                    <a:pt x="123825" y="45130"/>
                    <a:pt x="123261" y="45412"/>
                    <a:pt x="122979" y="45694"/>
                  </a:cubicBezTo>
                  <a:lnTo>
                    <a:pt x="122697" y="45976"/>
                  </a:lnTo>
                  <a:lnTo>
                    <a:pt x="122697" y="46540"/>
                  </a:lnTo>
                  <a:lnTo>
                    <a:pt x="123543" y="46540"/>
                  </a:lnTo>
                  <a:cubicBezTo>
                    <a:pt x="124953" y="45976"/>
                    <a:pt x="125517" y="45976"/>
                    <a:pt x="126646" y="45976"/>
                  </a:cubicBezTo>
                  <a:cubicBezTo>
                    <a:pt x="127210" y="46258"/>
                    <a:pt x="127492" y="46258"/>
                    <a:pt x="127492" y="47104"/>
                  </a:cubicBezTo>
                  <a:cubicBezTo>
                    <a:pt x="127774" y="47386"/>
                    <a:pt x="127774" y="47386"/>
                    <a:pt x="128056" y="47386"/>
                  </a:cubicBezTo>
                  <a:cubicBezTo>
                    <a:pt x="128338" y="47386"/>
                    <a:pt x="128338" y="47386"/>
                    <a:pt x="128620" y="47104"/>
                  </a:cubicBezTo>
                  <a:cubicBezTo>
                    <a:pt x="129467" y="46822"/>
                    <a:pt x="129467" y="46540"/>
                    <a:pt x="129748" y="45694"/>
                  </a:cubicBezTo>
                  <a:lnTo>
                    <a:pt x="129748" y="45412"/>
                  </a:lnTo>
                  <a:lnTo>
                    <a:pt x="129467" y="45412"/>
                  </a:lnTo>
                  <a:lnTo>
                    <a:pt x="129184" y="45694"/>
                  </a:lnTo>
                  <a:lnTo>
                    <a:pt x="128902" y="45694"/>
                  </a:lnTo>
                  <a:lnTo>
                    <a:pt x="129184" y="45412"/>
                  </a:lnTo>
                  <a:lnTo>
                    <a:pt x="129184" y="45130"/>
                  </a:lnTo>
                  <a:cubicBezTo>
                    <a:pt x="129748" y="44848"/>
                    <a:pt x="129748" y="44284"/>
                    <a:pt x="130031" y="44002"/>
                  </a:cubicBezTo>
                  <a:cubicBezTo>
                    <a:pt x="130031" y="43720"/>
                    <a:pt x="130031" y="43437"/>
                    <a:pt x="130595" y="42873"/>
                  </a:cubicBezTo>
                  <a:cubicBezTo>
                    <a:pt x="130031" y="43155"/>
                    <a:pt x="129748" y="43155"/>
                    <a:pt x="129184" y="43155"/>
                  </a:cubicBezTo>
                  <a:cubicBezTo>
                    <a:pt x="128620" y="43155"/>
                    <a:pt x="128056" y="43155"/>
                    <a:pt x="127774" y="42873"/>
                  </a:cubicBezTo>
                  <a:lnTo>
                    <a:pt x="128056" y="42591"/>
                  </a:lnTo>
                  <a:lnTo>
                    <a:pt x="128056" y="42309"/>
                  </a:lnTo>
                  <a:cubicBezTo>
                    <a:pt x="128056" y="42027"/>
                    <a:pt x="128338" y="41463"/>
                    <a:pt x="128338" y="41463"/>
                  </a:cubicBezTo>
                  <a:cubicBezTo>
                    <a:pt x="128620" y="41745"/>
                    <a:pt x="128902" y="41745"/>
                    <a:pt x="129184" y="41745"/>
                  </a:cubicBezTo>
                  <a:cubicBezTo>
                    <a:pt x="129184" y="42309"/>
                    <a:pt x="129748" y="42591"/>
                    <a:pt x="130031" y="42591"/>
                  </a:cubicBezTo>
                  <a:cubicBezTo>
                    <a:pt x="130312" y="42309"/>
                    <a:pt x="130877" y="42027"/>
                    <a:pt x="131159" y="41181"/>
                  </a:cubicBezTo>
                  <a:lnTo>
                    <a:pt x="134262" y="41181"/>
                  </a:lnTo>
                  <a:cubicBezTo>
                    <a:pt x="135390" y="41181"/>
                    <a:pt x="136800" y="40899"/>
                    <a:pt x="138774" y="40053"/>
                  </a:cubicBezTo>
                  <a:lnTo>
                    <a:pt x="140749" y="40053"/>
                  </a:lnTo>
                  <a:cubicBezTo>
                    <a:pt x="141313" y="40335"/>
                    <a:pt x="141313" y="40899"/>
                    <a:pt x="141313" y="41745"/>
                  </a:cubicBezTo>
                  <a:cubicBezTo>
                    <a:pt x="141313" y="42309"/>
                    <a:pt x="141877" y="42309"/>
                    <a:pt x="141877" y="42309"/>
                  </a:cubicBezTo>
                  <a:cubicBezTo>
                    <a:pt x="143005" y="42027"/>
                    <a:pt x="143005" y="42027"/>
                    <a:pt x="143287" y="42027"/>
                  </a:cubicBezTo>
                  <a:lnTo>
                    <a:pt x="144415" y="42027"/>
                  </a:lnTo>
                  <a:cubicBezTo>
                    <a:pt x="144415" y="42027"/>
                    <a:pt x="144134" y="42873"/>
                    <a:pt x="143851" y="43437"/>
                  </a:cubicBezTo>
                  <a:cubicBezTo>
                    <a:pt x="143851" y="44002"/>
                    <a:pt x="144134" y="44284"/>
                    <a:pt x="144415" y="44848"/>
                  </a:cubicBezTo>
                  <a:cubicBezTo>
                    <a:pt x="144980" y="44848"/>
                    <a:pt x="145262" y="44848"/>
                    <a:pt x="145262" y="45130"/>
                  </a:cubicBezTo>
                  <a:lnTo>
                    <a:pt x="144980" y="45412"/>
                  </a:lnTo>
                  <a:cubicBezTo>
                    <a:pt x="144980" y="45694"/>
                    <a:pt x="144698" y="45976"/>
                    <a:pt x="144415" y="46258"/>
                  </a:cubicBezTo>
                  <a:cubicBezTo>
                    <a:pt x="144415" y="46822"/>
                    <a:pt x="144134" y="47104"/>
                    <a:pt x="143851" y="47104"/>
                  </a:cubicBezTo>
                  <a:cubicBezTo>
                    <a:pt x="144415" y="47104"/>
                    <a:pt x="144980" y="46822"/>
                    <a:pt x="144980" y="46258"/>
                  </a:cubicBezTo>
                  <a:cubicBezTo>
                    <a:pt x="145826" y="45976"/>
                    <a:pt x="146390" y="45412"/>
                    <a:pt x="146672" y="45412"/>
                  </a:cubicBezTo>
                  <a:cubicBezTo>
                    <a:pt x="146954" y="45412"/>
                    <a:pt x="146954" y="45130"/>
                    <a:pt x="147236" y="45130"/>
                  </a:cubicBezTo>
                  <a:lnTo>
                    <a:pt x="147518" y="45412"/>
                  </a:lnTo>
                  <a:lnTo>
                    <a:pt x="148365" y="44848"/>
                  </a:lnTo>
                  <a:cubicBezTo>
                    <a:pt x="148929" y="43720"/>
                    <a:pt x="148929" y="43437"/>
                    <a:pt x="148929" y="43155"/>
                  </a:cubicBezTo>
                  <a:cubicBezTo>
                    <a:pt x="148929" y="42873"/>
                    <a:pt x="148929" y="42873"/>
                    <a:pt x="148929" y="42873"/>
                  </a:cubicBezTo>
                  <a:cubicBezTo>
                    <a:pt x="149211" y="42309"/>
                    <a:pt x="149775" y="41745"/>
                    <a:pt x="149775" y="41463"/>
                  </a:cubicBezTo>
                  <a:cubicBezTo>
                    <a:pt x="150339" y="40335"/>
                    <a:pt x="150903" y="40335"/>
                    <a:pt x="151467" y="39771"/>
                  </a:cubicBezTo>
                  <a:cubicBezTo>
                    <a:pt x="151467" y="39489"/>
                    <a:pt x="151467" y="39771"/>
                    <a:pt x="152313" y="39771"/>
                  </a:cubicBezTo>
                  <a:cubicBezTo>
                    <a:pt x="152596" y="39771"/>
                    <a:pt x="152877" y="40053"/>
                    <a:pt x="153160" y="40053"/>
                  </a:cubicBezTo>
                  <a:cubicBezTo>
                    <a:pt x="154288" y="40053"/>
                    <a:pt x="154852" y="39489"/>
                    <a:pt x="155980" y="38924"/>
                  </a:cubicBezTo>
                  <a:lnTo>
                    <a:pt x="156544" y="38924"/>
                  </a:lnTo>
                  <a:cubicBezTo>
                    <a:pt x="156826" y="39207"/>
                    <a:pt x="156826" y="39207"/>
                    <a:pt x="157390" y="39207"/>
                  </a:cubicBezTo>
                  <a:cubicBezTo>
                    <a:pt x="158237" y="39207"/>
                    <a:pt x="158518" y="39207"/>
                    <a:pt x="159083" y="38924"/>
                  </a:cubicBezTo>
                  <a:cubicBezTo>
                    <a:pt x="160211" y="38924"/>
                    <a:pt x="161057" y="39489"/>
                    <a:pt x="161621" y="39489"/>
                  </a:cubicBezTo>
                  <a:cubicBezTo>
                    <a:pt x="162749" y="39489"/>
                    <a:pt x="163878" y="38924"/>
                    <a:pt x="164724" y="38924"/>
                  </a:cubicBezTo>
                  <a:lnTo>
                    <a:pt x="165852" y="38924"/>
                  </a:lnTo>
                  <a:lnTo>
                    <a:pt x="165852" y="39207"/>
                  </a:lnTo>
                  <a:cubicBezTo>
                    <a:pt x="165852" y="39489"/>
                    <a:pt x="165852" y="39489"/>
                    <a:pt x="166135" y="39489"/>
                  </a:cubicBezTo>
                  <a:cubicBezTo>
                    <a:pt x="166416" y="39489"/>
                    <a:pt x="166416" y="39489"/>
                    <a:pt x="166699" y="39207"/>
                  </a:cubicBezTo>
                  <a:lnTo>
                    <a:pt x="167827" y="39207"/>
                  </a:lnTo>
                  <a:cubicBezTo>
                    <a:pt x="168391" y="39207"/>
                    <a:pt x="169801" y="39207"/>
                    <a:pt x="169801" y="40053"/>
                  </a:cubicBezTo>
                  <a:cubicBezTo>
                    <a:pt x="169801" y="40335"/>
                    <a:pt x="169801" y="40617"/>
                    <a:pt x="170366" y="40617"/>
                  </a:cubicBezTo>
                  <a:cubicBezTo>
                    <a:pt x="170366" y="40617"/>
                    <a:pt x="170930" y="40335"/>
                    <a:pt x="171494" y="40335"/>
                  </a:cubicBezTo>
                  <a:lnTo>
                    <a:pt x="172058" y="40335"/>
                  </a:lnTo>
                  <a:cubicBezTo>
                    <a:pt x="172622" y="40053"/>
                    <a:pt x="173468" y="39771"/>
                    <a:pt x="174314" y="39771"/>
                  </a:cubicBezTo>
                  <a:cubicBezTo>
                    <a:pt x="174878" y="39771"/>
                    <a:pt x="175442" y="40053"/>
                    <a:pt x="175724" y="40617"/>
                  </a:cubicBezTo>
                  <a:lnTo>
                    <a:pt x="177981" y="40617"/>
                  </a:lnTo>
                  <a:cubicBezTo>
                    <a:pt x="178263" y="40335"/>
                    <a:pt x="178827" y="40335"/>
                    <a:pt x="179109" y="40335"/>
                  </a:cubicBezTo>
                  <a:cubicBezTo>
                    <a:pt x="179673" y="40335"/>
                    <a:pt x="179955" y="40899"/>
                    <a:pt x="180519" y="41181"/>
                  </a:cubicBezTo>
                  <a:cubicBezTo>
                    <a:pt x="180802" y="41181"/>
                    <a:pt x="181083" y="41463"/>
                    <a:pt x="181083" y="42027"/>
                  </a:cubicBezTo>
                  <a:lnTo>
                    <a:pt x="181083" y="42309"/>
                  </a:lnTo>
                  <a:cubicBezTo>
                    <a:pt x="181083" y="43155"/>
                    <a:pt x="181648" y="43720"/>
                    <a:pt x="181648" y="44566"/>
                  </a:cubicBezTo>
                  <a:lnTo>
                    <a:pt x="181648" y="45130"/>
                  </a:lnTo>
                  <a:cubicBezTo>
                    <a:pt x="181930" y="45412"/>
                    <a:pt x="182494" y="45976"/>
                    <a:pt x="182494" y="46258"/>
                  </a:cubicBezTo>
                  <a:cubicBezTo>
                    <a:pt x="181930" y="47104"/>
                    <a:pt x="181648" y="47668"/>
                    <a:pt x="181930" y="47668"/>
                  </a:cubicBezTo>
                  <a:lnTo>
                    <a:pt x="181930" y="50771"/>
                  </a:lnTo>
                  <a:cubicBezTo>
                    <a:pt x="181930" y="51335"/>
                    <a:pt x="181083" y="51617"/>
                    <a:pt x="180802" y="51899"/>
                  </a:cubicBezTo>
                  <a:cubicBezTo>
                    <a:pt x="180519" y="51899"/>
                    <a:pt x="180238" y="52181"/>
                    <a:pt x="179955" y="52745"/>
                  </a:cubicBezTo>
                  <a:lnTo>
                    <a:pt x="177981" y="54156"/>
                  </a:lnTo>
                  <a:cubicBezTo>
                    <a:pt x="177699" y="54720"/>
                    <a:pt x="177417" y="54720"/>
                    <a:pt x="177417" y="54720"/>
                  </a:cubicBezTo>
                  <a:lnTo>
                    <a:pt x="176571" y="54720"/>
                  </a:lnTo>
                  <a:cubicBezTo>
                    <a:pt x="175724" y="54720"/>
                    <a:pt x="175160" y="55002"/>
                    <a:pt x="174314" y="55566"/>
                  </a:cubicBezTo>
                  <a:cubicBezTo>
                    <a:pt x="173186" y="56130"/>
                    <a:pt x="171776" y="56694"/>
                    <a:pt x="170647" y="56694"/>
                  </a:cubicBezTo>
                  <a:cubicBezTo>
                    <a:pt x="170083" y="56694"/>
                    <a:pt x="169801" y="56694"/>
                    <a:pt x="169519" y="56976"/>
                  </a:cubicBezTo>
                  <a:cubicBezTo>
                    <a:pt x="168673" y="57541"/>
                    <a:pt x="167827" y="57541"/>
                    <a:pt x="166699" y="57541"/>
                  </a:cubicBezTo>
                  <a:lnTo>
                    <a:pt x="165852" y="57541"/>
                  </a:lnTo>
                  <a:cubicBezTo>
                    <a:pt x="165570" y="57541"/>
                    <a:pt x="165288" y="57823"/>
                    <a:pt x="165288" y="57823"/>
                  </a:cubicBezTo>
                  <a:lnTo>
                    <a:pt x="165288" y="57541"/>
                  </a:lnTo>
                  <a:cubicBezTo>
                    <a:pt x="164724" y="57258"/>
                    <a:pt x="165006" y="56412"/>
                    <a:pt x="164160" y="56130"/>
                  </a:cubicBezTo>
                  <a:lnTo>
                    <a:pt x="164724" y="55566"/>
                  </a:lnTo>
                  <a:lnTo>
                    <a:pt x="166135" y="54438"/>
                  </a:lnTo>
                  <a:lnTo>
                    <a:pt x="164160" y="54438"/>
                  </a:lnTo>
                  <a:cubicBezTo>
                    <a:pt x="163878" y="54438"/>
                    <a:pt x="163878" y="54438"/>
                    <a:pt x="163878" y="54156"/>
                  </a:cubicBezTo>
                  <a:lnTo>
                    <a:pt x="165288" y="52745"/>
                  </a:lnTo>
                  <a:lnTo>
                    <a:pt x="165852" y="52745"/>
                  </a:lnTo>
                  <a:cubicBezTo>
                    <a:pt x="165852" y="52463"/>
                    <a:pt x="166416" y="52181"/>
                    <a:pt x="166699" y="51899"/>
                  </a:cubicBezTo>
                  <a:lnTo>
                    <a:pt x="166699" y="51617"/>
                  </a:lnTo>
                  <a:cubicBezTo>
                    <a:pt x="166416" y="51335"/>
                    <a:pt x="166416" y="51335"/>
                    <a:pt x="165852" y="51335"/>
                  </a:cubicBezTo>
                  <a:lnTo>
                    <a:pt x="165288" y="51617"/>
                  </a:lnTo>
                  <a:lnTo>
                    <a:pt x="165006" y="51617"/>
                  </a:lnTo>
                  <a:lnTo>
                    <a:pt x="165288" y="51335"/>
                  </a:lnTo>
                  <a:cubicBezTo>
                    <a:pt x="165288" y="51053"/>
                    <a:pt x="165570" y="51053"/>
                    <a:pt x="165570" y="50771"/>
                  </a:cubicBezTo>
                  <a:cubicBezTo>
                    <a:pt x="165570" y="50489"/>
                    <a:pt x="165006" y="50207"/>
                    <a:pt x="164160" y="50207"/>
                  </a:cubicBezTo>
                  <a:lnTo>
                    <a:pt x="163314" y="50207"/>
                  </a:lnTo>
                  <a:cubicBezTo>
                    <a:pt x="163032" y="50207"/>
                    <a:pt x="162749" y="50207"/>
                    <a:pt x="162468" y="50771"/>
                  </a:cubicBezTo>
                  <a:cubicBezTo>
                    <a:pt x="161904" y="51335"/>
                    <a:pt x="161339" y="51335"/>
                    <a:pt x="161057" y="51335"/>
                  </a:cubicBezTo>
                  <a:lnTo>
                    <a:pt x="159647" y="51335"/>
                  </a:lnTo>
                  <a:cubicBezTo>
                    <a:pt x="158801" y="51053"/>
                    <a:pt x="157673" y="50771"/>
                    <a:pt x="156544" y="50771"/>
                  </a:cubicBezTo>
                  <a:lnTo>
                    <a:pt x="152596" y="50771"/>
                  </a:lnTo>
                  <a:cubicBezTo>
                    <a:pt x="152313" y="50771"/>
                    <a:pt x="152032" y="50489"/>
                    <a:pt x="152032" y="50489"/>
                  </a:cubicBezTo>
                  <a:cubicBezTo>
                    <a:pt x="151749" y="50489"/>
                    <a:pt x="151749" y="50207"/>
                    <a:pt x="151749" y="49925"/>
                  </a:cubicBezTo>
                  <a:lnTo>
                    <a:pt x="151749" y="49361"/>
                  </a:lnTo>
                  <a:cubicBezTo>
                    <a:pt x="152032" y="48797"/>
                    <a:pt x="152313" y="48515"/>
                    <a:pt x="152313" y="48232"/>
                  </a:cubicBezTo>
                  <a:cubicBezTo>
                    <a:pt x="152313" y="47950"/>
                    <a:pt x="152313" y="47950"/>
                    <a:pt x="152032" y="47950"/>
                  </a:cubicBezTo>
                  <a:cubicBezTo>
                    <a:pt x="151467" y="48515"/>
                    <a:pt x="151185" y="48515"/>
                    <a:pt x="150903" y="49079"/>
                  </a:cubicBezTo>
                  <a:cubicBezTo>
                    <a:pt x="150057" y="49643"/>
                    <a:pt x="149775" y="49643"/>
                    <a:pt x="149493" y="49643"/>
                  </a:cubicBezTo>
                  <a:lnTo>
                    <a:pt x="149211" y="49643"/>
                  </a:lnTo>
                  <a:cubicBezTo>
                    <a:pt x="149211" y="49643"/>
                    <a:pt x="149211" y="49361"/>
                    <a:pt x="149493" y="49079"/>
                  </a:cubicBezTo>
                  <a:lnTo>
                    <a:pt x="149211" y="49079"/>
                  </a:lnTo>
                  <a:cubicBezTo>
                    <a:pt x="148929" y="49079"/>
                    <a:pt x="148365" y="49643"/>
                    <a:pt x="148365" y="49925"/>
                  </a:cubicBezTo>
                  <a:cubicBezTo>
                    <a:pt x="148082" y="50489"/>
                    <a:pt x="147236" y="51053"/>
                    <a:pt x="146954" y="51053"/>
                  </a:cubicBezTo>
                  <a:cubicBezTo>
                    <a:pt x="146108" y="51053"/>
                    <a:pt x="145544" y="51053"/>
                    <a:pt x="145262" y="50771"/>
                  </a:cubicBezTo>
                  <a:lnTo>
                    <a:pt x="143851" y="51335"/>
                  </a:lnTo>
                  <a:cubicBezTo>
                    <a:pt x="143005" y="51617"/>
                    <a:pt x="143005" y="51617"/>
                    <a:pt x="142723" y="51617"/>
                  </a:cubicBezTo>
                  <a:cubicBezTo>
                    <a:pt x="142441" y="51617"/>
                    <a:pt x="141877" y="51617"/>
                    <a:pt x="141313" y="51335"/>
                  </a:cubicBezTo>
                  <a:lnTo>
                    <a:pt x="140749" y="51335"/>
                  </a:lnTo>
                  <a:cubicBezTo>
                    <a:pt x="140467" y="51335"/>
                    <a:pt x="139903" y="51335"/>
                    <a:pt x="140184" y="51053"/>
                  </a:cubicBezTo>
                  <a:cubicBezTo>
                    <a:pt x="140184" y="50771"/>
                    <a:pt x="139903" y="51053"/>
                    <a:pt x="139620" y="51053"/>
                  </a:cubicBezTo>
                  <a:cubicBezTo>
                    <a:pt x="138492" y="51335"/>
                    <a:pt x="138492" y="51335"/>
                    <a:pt x="137928" y="51335"/>
                  </a:cubicBezTo>
                  <a:cubicBezTo>
                    <a:pt x="137082" y="51335"/>
                    <a:pt x="136518" y="51335"/>
                    <a:pt x="136236" y="50771"/>
                  </a:cubicBezTo>
                  <a:cubicBezTo>
                    <a:pt x="135954" y="51053"/>
                    <a:pt x="135954" y="51053"/>
                    <a:pt x="135672" y="51053"/>
                  </a:cubicBezTo>
                  <a:cubicBezTo>
                    <a:pt x="135390" y="51053"/>
                    <a:pt x="135108" y="50489"/>
                    <a:pt x="134543" y="50489"/>
                  </a:cubicBezTo>
                  <a:cubicBezTo>
                    <a:pt x="134543" y="50489"/>
                    <a:pt x="134262" y="50207"/>
                    <a:pt x="133979" y="50207"/>
                  </a:cubicBezTo>
                  <a:cubicBezTo>
                    <a:pt x="133698" y="50207"/>
                    <a:pt x="133415" y="50489"/>
                    <a:pt x="133133" y="50489"/>
                  </a:cubicBezTo>
                  <a:cubicBezTo>
                    <a:pt x="133133" y="50771"/>
                    <a:pt x="133133" y="51053"/>
                    <a:pt x="132287" y="51335"/>
                  </a:cubicBezTo>
                  <a:lnTo>
                    <a:pt x="132005" y="51335"/>
                  </a:lnTo>
                  <a:lnTo>
                    <a:pt x="132005" y="51053"/>
                  </a:lnTo>
                  <a:cubicBezTo>
                    <a:pt x="131723" y="51053"/>
                    <a:pt x="131441" y="50771"/>
                    <a:pt x="131441" y="50771"/>
                  </a:cubicBezTo>
                  <a:cubicBezTo>
                    <a:pt x="131159" y="50771"/>
                    <a:pt x="130877" y="51335"/>
                    <a:pt x="129748" y="51899"/>
                  </a:cubicBezTo>
                  <a:lnTo>
                    <a:pt x="129748" y="51335"/>
                  </a:lnTo>
                  <a:lnTo>
                    <a:pt x="129467" y="51053"/>
                  </a:lnTo>
                  <a:cubicBezTo>
                    <a:pt x="128902" y="51335"/>
                    <a:pt x="128902" y="51617"/>
                    <a:pt x="128902" y="51617"/>
                  </a:cubicBezTo>
                  <a:cubicBezTo>
                    <a:pt x="128338" y="51899"/>
                    <a:pt x="128056" y="51899"/>
                    <a:pt x="127774" y="51899"/>
                  </a:cubicBezTo>
                  <a:lnTo>
                    <a:pt x="127492" y="51899"/>
                  </a:lnTo>
                  <a:lnTo>
                    <a:pt x="127492" y="51335"/>
                  </a:lnTo>
                  <a:lnTo>
                    <a:pt x="127210" y="51335"/>
                  </a:lnTo>
                  <a:cubicBezTo>
                    <a:pt x="126646" y="51899"/>
                    <a:pt x="126364" y="52181"/>
                    <a:pt x="125800" y="52181"/>
                  </a:cubicBezTo>
                  <a:lnTo>
                    <a:pt x="125236" y="52181"/>
                  </a:lnTo>
                  <a:cubicBezTo>
                    <a:pt x="124107" y="51899"/>
                    <a:pt x="123261" y="51617"/>
                    <a:pt x="122415" y="51617"/>
                  </a:cubicBezTo>
                  <a:cubicBezTo>
                    <a:pt x="122415" y="51617"/>
                    <a:pt x="122133" y="51617"/>
                    <a:pt x="122133" y="51335"/>
                  </a:cubicBezTo>
                  <a:cubicBezTo>
                    <a:pt x="121850" y="51053"/>
                    <a:pt x="121850" y="50771"/>
                    <a:pt x="121569" y="50771"/>
                  </a:cubicBezTo>
                  <a:cubicBezTo>
                    <a:pt x="121286" y="50771"/>
                    <a:pt x="120722" y="51335"/>
                    <a:pt x="120440" y="51335"/>
                  </a:cubicBezTo>
                  <a:lnTo>
                    <a:pt x="120158" y="51617"/>
                  </a:lnTo>
                  <a:lnTo>
                    <a:pt x="119594" y="51335"/>
                  </a:lnTo>
                  <a:cubicBezTo>
                    <a:pt x="118466" y="51899"/>
                    <a:pt x="117338" y="52463"/>
                    <a:pt x="115928" y="52463"/>
                  </a:cubicBezTo>
                  <a:cubicBezTo>
                    <a:pt x="115645" y="52745"/>
                    <a:pt x="115364" y="52745"/>
                    <a:pt x="114799" y="52745"/>
                  </a:cubicBezTo>
                  <a:lnTo>
                    <a:pt x="113671" y="52745"/>
                  </a:lnTo>
                  <a:cubicBezTo>
                    <a:pt x="113389" y="52745"/>
                    <a:pt x="113389" y="52745"/>
                    <a:pt x="112825" y="53028"/>
                  </a:cubicBezTo>
                  <a:cubicBezTo>
                    <a:pt x="110850" y="53874"/>
                    <a:pt x="109158" y="54156"/>
                    <a:pt x="108030" y="54156"/>
                  </a:cubicBezTo>
                  <a:cubicBezTo>
                    <a:pt x="107183" y="54438"/>
                    <a:pt x="106619" y="54438"/>
                    <a:pt x="106055" y="54438"/>
                  </a:cubicBezTo>
                  <a:lnTo>
                    <a:pt x="104927" y="54438"/>
                  </a:lnTo>
                  <a:cubicBezTo>
                    <a:pt x="103799" y="54438"/>
                    <a:pt x="102388" y="54720"/>
                    <a:pt x="100978" y="55284"/>
                  </a:cubicBezTo>
                  <a:cubicBezTo>
                    <a:pt x="100696" y="55284"/>
                    <a:pt x="100696" y="55002"/>
                    <a:pt x="100414" y="55002"/>
                  </a:cubicBezTo>
                  <a:lnTo>
                    <a:pt x="100414" y="53310"/>
                  </a:lnTo>
                  <a:cubicBezTo>
                    <a:pt x="100414" y="53028"/>
                    <a:pt x="100414" y="53028"/>
                    <a:pt x="100978" y="52745"/>
                  </a:cubicBezTo>
                  <a:cubicBezTo>
                    <a:pt x="100696" y="52745"/>
                    <a:pt x="100696" y="52463"/>
                    <a:pt x="100696" y="52463"/>
                  </a:cubicBezTo>
                  <a:cubicBezTo>
                    <a:pt x="100696" y="52463"/>
                    <a:pt x="100414" y="52463"/>
                    <a:pt x="100414" y="52745"/>
                  </a:cubicBezTo>
                  <a:cubicBezTo>
                    <a:pt x="100132" y="52745"/>
                    <a:pt x="99850" y="53028"/>
                    <a:pt x="99850" y="53028"/>
                  </a:cubicBezTo>
                  <a:lnTo>
                    <a:pt x="97875" y="54438"/>
                  </a:lnTo>
                  <a:lnTo>
                    <a:pt x="97030" y="54438"/>
                  </a:lnTo>
                  <a:cubicBezTo>
                    <a:pt x="96465" y="55002"/>
                    <a:pt x="95901" y="55284"/>
                    <a:pt x="95055" y="55284"/>
                  </a:cubicBezTo>
                  <a:cubicBezTo>
                    <a:pt x="89978" y="64874"/>
                    <a:pt x="87721" y="66849"/>
                    <a:pt x="86875" y="66849"/>
                  </a:cubicBezTo>
                  <a:cubicBezTo>
                    <a:pt x="86311" y="66849"/>
                    <a:pt x="86311" y="66284"/>
                    <a:pt x="86311" y="65720"/>
                  </a:cubicBezTo>
                  <a:lnTo>
                    <a:pt x="86311" y="65438"/>
                  </a:lnTo>
                  <a:cubicBezTo>
                    <a:pt x="86311" y="65438"/>
                    <a:pt x="86029" y="65720"/>
                    <a:pt x="85747" y="65720"/>
                  </a:cubicBezTo>
                  <a:cubicBezTo>
                    <a:pt x="85465" y="65720"/>
                    <a:pt x="85465" y="65720"/>
                    <a:pt x="85465" y="66002"/>
                  </a:cubicBezTo>
                  <a:cubicBezTo>
                    <a:pt x="85465" y="66284"/>
                    <a:pt x="86593" y="68541"/>
                    <a:pt x="86593" y="68823"/>
                  </a:cubicBezTo>
                  <a:lnTo>
                    <a:pt x="86593" y="69105"/>
                  </a:lnTo>
                  <a:cubicBezTo>
                    <a:pt x="86311" y="69387"/>
                    <a:pt x="86311" y="69669"/>
                    <a:pt x="86029" y="70515"/>
                  </a:cubicBezTo>
                  <a:lnTo>
                    <a:pt x="85182" y="71079"/>
                  </a:lnTo>
                  <a:cubicBezTo>
                    <a:pt x="85182" y="71362"/>
                    <a:pt x="85465" y="71362"/>
                    <a:pt x="85747" y="71644"/>
                  </a:cubicBezTo>
                  <a:cubicBezTo>
                    <a:pt x="85747" y="71644"/>
                    <a:pt x="86029" y="71926"/>
                    <a:pt x="86029" y="72208"/>
                  </a:cubicBezTo>
                  <a:cubicBezTo>
                    <a:pt x="86029" y="72490"/>
                    <a:pt x="86029" y="73054"/>
                    <a:pt x="85747" y="73618"/>
                  </a:cubicBezTo>
                  <a:cubicBezTo>
                    <a:pt x="85182" y="73900"/>
                    <a:pt x="84901" y="74182"/>
                    <a:pt x="84901" y="74182"/>
                  </a:cubicBezTo>
                  <a:cubicBezTo>
                    <a:pt x="84618" y="74464"/>
                    <a:pt x="84337" y="74746"/>
                    <a:pt x="84054" y="74746"/>
                  </a:cubicBezTo>
                  <a:cubicBezTo>
                    <a:pt x="83490" y="75028"/>
                    <a:pt x="83208" y="75028"/>
                    <a:pt x="83208" y="75310"/>
                  </a:cubicBezTo>
                  <a:cubicBezTo>
                    <a:pt x="83208" y="75310"/>
                    <a:pt x="83772" y="75592"/>
                    <a:pt x="84054" y="75875"/>
                  </a:cubicBezTo>
                  <a:cubicBezTo>
                    <a:pt x="84337" y="75875"/>
                    <a:pt x="84618" y="76439"/>
                    <a:pt x="84337" y="76439"/>
                  </a:cubicBezTo>
                  <a:cubicBezTo>
                    <a:pt x="83490" y="77003"/>
                    <a:pt x="83490" y="77003"/>
                    <a:pt x="83208" y="77567"/>
                  </a:cubicBezTo>
                  <a:lnTo>
                    <a:pt x="83208" y="77849"/>
                  </a:lnTo>
                  <a:cubicBezTo>
                    <a:pt x="83490" y="78977"/>
                    <a:pt x="78977" y="92516"/>
                    <a:pt x="78977" y="94491"/>
                  </a:cubicBezTo>
                  <a:cubicBezTo>
                    <a:pt x="78977" y="95619"/>
                    <a:pt x="78977" y="96465"/>
                    <a:pt x="78131" y="96747"/>
                  </a:cubicBezTo>
                  <a:lnTo>
                    <a:pt x="78131" y="98721"/>
                  </a:lnTo>
                  <a:cubicBezTo>
                    <a:pt x="78131" y="99004"/>
                    <a:pt x="77285" y="99004"/>
                    <a:pt x="77285" y="99568"/>
                  </a:cubicBezTo>
                  <a:lnTo>
                    <a:pt x="77567" y="99850"/>
                  </a:lnTo>
                  <a:cubicBezTo>
                    <a:pt x="77567" y="100132"/>
                    <a:pt x="77567" y="100978"/>
                    <a:pt x="77285" y="100978"/>
                  </a:cubicBezTo>
                  <a:lnTo>
                    <a:pt x="77285" y="101542"/>
                  </a:lnTo>
                  <a:cubicBezTo>
                    <a:pt x="77285" y="102106"/>
                    <a:pt x="76721" y="104081"/>
                    <a:pt x="75875" y="104081"/>
                  </a:cubicBezTo>
                  <a:cubicBezTo>
                    <a:pt x="75310" y="104081"/>
                    <a:pt x="75310" y="104927"/>
                    <a:pt x="75310" y="104927"/>
                  </a:cubicBezTo>
                  <a:cubicBezTo>
                    <a:pt x="75593" y="104927"/>
                    <a:pt x="76157" y="105209"/>
                    <a:pt x="76157" y="105491"/>
                  </a:cubicBezTo>
                  <a:cubicBezTo>
                    <a:pt x="76157" y="105773"/>
                    <a:pt x="76157" y="105773"/>
                    <a:pt x="75593" y="106055"/>
                  </a:cubicBezTo>
                  <a:lnTo>
                    <a:pt x="75875" y="106337"/>
                  </a:lnTo>
                  <a:lnTo>
                    <a:pt x="75875" y="107183"/>
                  </a:lnTo>
                  <a:lnTo>
                    <a:pt x="75310" y="107183"/>
                  </a:lnTo>
                  <a:cubicBezTo>
                    <a:pt x="75593" y="107747"/>
                    <a:pt x="75593" y="108312"/>
                    <a:pt x="75593" y="108594"/>
                  </a:cubicBezTo>
                  <a:lnTo>
                    <a:pt x="74746" y="109722"/>
                  </a:lnTo>
                  <a:cubicBezTo>
                    <a:pt x="74746" y="110004"/>
                    <a:pt x="75029" y="110004"/>
                    <a:pt x="75029" y="110286"/>
                  </a:cubicBezTo>
                  <a:lnTo>
                    <a:pt x="75029" y="110568"/>
                  </a:lnTo>
                  <a:cubicBezTo>
                    <a:pt x="75029" y="110850"/>
                    <a:pt x="74746" y="110850"/>
                    <a:pt x="74465" y="111132"/>
                  </a:cubicBezTo>
                  <a:cubicBezTo>
                    <a:pt x="74465" y="111978"/>
                    <a:pt x="74465" y="112542"/>
                    <a:pt x="74182" y="113107"/>
                  </a:cubicBezTo>
                  <a:cubicBezTo>
                    <a:pt x="74182" y="113389"/>
                    <a:pt x="73900" y="113671"/>
                    <a:pt x="73900" y="113953"/>
                  </a:cubicBezTo>
                  <a:cubicBezTo>
                    <a:pt x="73618" y="113953"/>
                    <a:pt x="73336" y="114517"/>
                    <a:pt x="73336" y="115363"/>
                  </a:cubicBezTo>
                  <a:cubicBezTo>
                    <a:pt x="73336" y="115645"/>
                    <a:pt x="73618" y="115645"/>
                    <a:pt x="73618" y="115927"/>
                  </a:cubicBezTo>
                  <a:lnTo>
                    <a:pt x="73618" y="116491"/>
                  </a:lnTo>
                  <a:cubicBezTo>
                    <a:pt x="73618" y="117055"/>
                    <a:pt x="73054" y="117055"/>
                    <a:pt x="73054" y="118184"/>
                  </a:cubicBezTo>
                  <a:cubicBezTo>
                    <a:pt x="73054" y="118466"/>
                    <a:pt x="72490" y="119030"/>
                    <a:pt x="72490" y="119030"/>
                  </a:cubicBezTo>
                  <a:cubicBezTo>
                    <a:pt x="71644" y="119594"/>
                    <a:pt x="71079" y="119594"/>
                    <a:pt x="71079" y="119876"/>
                  </a:cubicBezTo>
                  <a:cubicBezTo>
                    <a:pt x="71079" y="119876"/>
                    <a:pt x="71362" y="120158"/>
                    <a:pt x="71644" y="120158"/>
                  </a:cubicBezTo>
                  <a:cubicBezTo>
                    <a:pt x="71644" y="120440"/>
                    <a:pt x="71926" y="120440"/>
                    <a:pt x="71926" y="120722"/>
                  </a:cubicBezTo>
                  <a:lnTo>
                    <a:pt x="71926" y="121286"/>
                  </a:lnTo>
                  <a:cubicBezTo>
                    <a:pt x="71926" y="122133"/>
                    <a:pt x="71362" y="122697"/>
                    <a:pt x="70515" y="123261"/>
                  </a:cubicBezTo>
                  <a:cubicBezTo>
                    <a:pt x="70234" y="123543"/>
                    <a:pt x="69951" y="123543"/>
                    <a:pt x="69951" y="123825"/>
                  </a:cubicBezTo>
                  <a:lnTo>
                    <a:pt x="70234" y="124107"/>
                  </a:lnTo>
                  <a:cubicBezTo>
                    <a:pt x="70234" y="124389"/>
                    <a:pt x="70234" y="124671"/>
                    <a:pt x="70515" y="124953"/>
                  </a:cubicBezTo>
                  <a:cubicBezTo>
                    <a:pt x="70515" y="125235"/>
                    <a:pt x="70798" y="125517"/>
                    <a:pt x="70798" y="125517"/>
                  </a:cubicBezTo>
                  <a:cubicBezTo>
                    <a:pt x="70798" y="125799"/>
                    <a:pt x="70515" y="125799"/>
                    <a:pt x="70515" y="125799"/>
                  </a:cubicBezTo>
                  <a:cubicBezTo>
                    <a:pt x="70515" y="126081"/>
                    <a:pt x="70515" y="126363"/>
                    <a:pt x="70798" y="126363"/>
                  </a:cubicBezTo>
                  <a:lnTo>
                    <a:pt x="71362" y="126363"/>
                  </a:lnTo>
                  <a:lnTo>
                    <a:pt x="71362" y="126646"/>
                  </a:lnTo>
                  <a:lnTo>
                    <a:pt x="71079" y="126928"/>
                  </a:lnTo>
                  <a:lnTo>
                    <a:pt x="70515" y="126928"/>
                  </a:lnTo>
                  <a:cubicBezTo>
                    <a:pt x="70234" y="126928"/>
                    <a:pt x="70234" y="126646"/>
                    <a:pt x="69951" y="126363"/>
                  </a:cubicBezTo>
                  <a:lnTo>
                    <a:pt x="69669" y="126363"/>
                  </a:lnTo>
                  <a:cubicBezTo>
                    <a:pt x="69387" y="126363"/>
                    <a:pt x="68823" y="126928"/>
                    <a:pt x="68823" y="127774"/>
                  </a:cubicBezTo>
                  <a:cubicBezTo>
                    <a:pt x="68823" y="128056"/>
                    <a:pt x="68541" y="128056"/>
                    <a:pt x="68541" y="128056"/>
                  </a:cubicBezTo>
                  <a:lnTo>
                    <a:pt x="67977" y="128056"/>
                  </a:lnTo>
                  <a:cubicBezTo>
                    <a:pt x="67977" y="127774"/>
                    <a:pt x="67131" y="128338"/>
                    <a:pt x="67131" y="128338"/>
                  </a:cubicBezTo>
                  <a:cubicBezTo>
                    <a:pt x="66848" y="128902"/>
                    <a:pt x="66848" y="129184"/>
                    <a:pt x="66848" y="129466"/>
                  </a:cubicBezTo>
                  <a:lnTo>
                    <a:pt x="66848" y="130030"/>
                  </a:lnTo>
                  <a:cubicBezTo>
                    <a:pt x="66848" y="130312"/>
                    <a:pt x="66848" y="130594"/>
                    <a:pt x="66567" y="130594"/>
                  </a:cubicBezTo>
                  <a:lnTo>
                    <a:pt x="66567" y="131723"/>
                  </a:lnTo>
                  <a:lnTo>
                    <a:pt x="67131" y="132851"/>
                  </a:lnTo>
                  <a:lnTo>
                    <a:pt x="67131" y="133133"/>
                  </a:lnTo>
                  <a:cubicBezTo>
                    <a:pt x="67131" y="133415"/>
                    <a:pt x="67131" y="133415"/>
                    <a:pt x="66848" y="133415"/>
                  </a:cubicBezTo>
                  <a:cubicBezTo>
                    <a:pt x="66848" y="133979"/>
                    <a:pt x="66567" y="134261"/>
                    <a:pt x="66003" y="134825"/>
                  </a:cubicBezTo>
                  <a:cubicBezTo>
                    <a:pt x="66003" y="134825"/>
                    <a:pt x="66003" y="135107"/>
                    <a:pt x="66284" y="135389"/>
                  </a:cubicBezTo>
                  <a:lnTo>
                    <a:pt x="66567" y="135389"/>
                  </a:lnTo>
                  <a:lnTo>
                    <a:pt x="67413" y="134825"/>
                  </a:lnTo>
                  <a:cubicBezTo>
                    <a:pt x="67695" y="134825"/>
                    <a:pt x="67977" y="134261"/>
                    <a:pt x="68541" y="134261"/>
                  </a:cubicBezTo>
                  <a:cubicBezTo>
                    <a:pt x="68823" y="134261"/>
                    <a:pt x="69387" y="133979"/>
                    <a:pt x="69387" y="133697"/>
                  </a:cubicBezTo>
                  <a:lnTo>
                    <a:pt x="69951" y="133697"/>
                  </a:lnTo>
                  <a:lnTo>
                    <a:pt x="69951" y="134261"/>
                  </a:lnTo>
                  <a:cubicBezTo>
                    <a:pt x="69669" y="134261"/>
                    <a:pt x="69387" y="134825"/>
                    <a:pt x="69105" y="135389"/>
                  </a:cubicBezTo>
                  <a:lnTo>
                    <a:pt x="69105" y="135954"/>
                  </a:lnTo>
                  <a:cubicBezTo>
                    <a:pt x="69105" y="136800"/>
                    <a:pt x="69105" y="137082"/>
                    <a:pt x="67413" y="137082"/>
                  </a:cubicBezTo>
                  <a:cubicBezTo>
                    <a:pt x="67131" y="137082"/>
                    <a:pt x="67131" y="137646"/>
                    <a:pt x="67131" y="137928"/>
                  </a:cubicBezTo>
                  <a:lnTo>
                    <a:pt x="67131" y="138774"/>
                  </a:lnTo>
                  <a:cubicBezTo>
                    <a:pt x="67131" y="139056"/>
                    <a:pt x="67131" y="139056"/>
                    <a:pt x="67413" y="139338"/>
                  </a:cubicBezTo>
                  <a:cubicBezTo>
                    <a:pt x="67695" y="139620"/>
                    <a:pt x="68541" y="139338"/>
                    <a:pt x="68541" y="139902"/>
                  </a:cubicBezTo>
                  <a:lnTo>
                    <a:pt x="68541" y="140185"/>
                  </a:lnTo>
                  <a:cubicBezTo>
                    <a:pt x="68541" y="140467"/>
                    <a:pt x="68259" y="140467"/>
                    <a:pt x="68259" y="141031"/>
                  </a:cubicBezTo>
                  <a:cubicBezTo>
                    <a:pt x="68259" y="141595"/>
                    <a:pt x="67695" y="141595"/>
                    <a:pt x="67695" y="141595"/>
                  </a:cubicBezTo>
                  <a:lnTo>
                    <a:pt x="67413" y="141877"/>
                  </a:lnTo>
                  <a:cubicBezTo>
                    <a:pt x="67413" y="142441"/>
                    <a:pt x="67413" y="142441"/>
                    <a:pt x="67695" y="143005"/>
                  </a:cubicBezTo>
                  <a:cubicBezTo>
                    <a:pt x="67695" y="143287"/>
                    <a:pt x="67695" y="143287"/>
                    <a:pt x="67413" y="143287"/>
                  </a:cubicBezTo>
                  <a:cubicBezTo>
                    <a:pt x="67413" y="143287"/>
                    <a:pt x="67131" y="143287"/>
                    <a:pt x="66848" y="143005"/>
                  </a:cubicBezTo>
                  <a:lnTo>
                    <a:pt x="66848" y="142723"/>
                  </a:lnTo>
                  <a:lnTo>
                    <a:pt x="66567" y="142441"/>
                  </a:lnTo>
                  <a:cubicBezTo>
                    <a:pt x="66848" y="141877"/>
                    <a:pt x="67131" y="141595"/>
                    <a:pt x="67131" y="140749"/>
                  </a:cubicBezTo>
                  <a:lnTo>
                    <a:pt x="66848" y="140185"/>
                  </a:lnTo>
                  <a:cubicBezTo>
                    <a:pt x="65720" y="140749"/>
                    <a:pt x="65438" y="141313"/>
                    <a:pt x="65156" y="141595"/>
                  </a:cubicBezTo>
                  <a:lnTo>
                    <a:pt x="64874" y="141877"/>
                  </a:lnTo>
                  <a:cubicBezTo>
                    <a:pt x="64874" y="141877"/>
                    <a:pt x="64874" y="142159"/>
                    <a:pt x="65156" y="142159"/>
                  </a:cubicBezTo>
                  <a:cubicBezTo>
                    <a:pt x="65438" y="142441"/>
                    <a:pt x="65720" y="142441"/>
                    <a:pt x="65720" y="142441"/>
                  </a:cubicBezTo>
                  <a:lnTo>
                    <a:pt x="65720" y="142723"/>
                  </a:lnTo>
                  <a:cubicBezTo>
                    <a:pt x="65438" y="143005"/>
                    <a:pt x="65156" y="143287"/>
                    <a:pt x="65156" y="144133"/>
                  </a:cubicBezTo>
                  <a:cubicBezTo>
                    <a:pt x="65156" y="144415"/>
                    <a:pt x="65156" y="144415"/>
                    <a:pt x="64310" y="144697"/>
                  </a:cubicBezTo>
                  <a:cubicBezTo>
                    <a:pt x="63746" y="144980"/>
                    <a:pt x="63464" y="144980"/>
                    <a:pt x="63464" y="145262"/>
                  </a:cubicBezTo>
                  <a:cubicBezTo>
                    <a:pt x="63464" y="145544"/>
                    <a:pt x="63746" y="145544"/>
                    <a:pt x="64028" y="145826"/>
                  </a:cubicBezTo>
                  <a:cubicBezTo>
                    <a:pt x="64592" y="146108"/>
                    <a:pt x="64592" y="146954"/>
                    <a:pt x="64592" y="146954"/>
                  </a:cubicBezTo>
                  <a:cubicBezTo>
                    <a:pt x="63746" y="147236"/>
                    <a:pt x="63746" y="147518"/>
                    <a:pt x="63746" y="147800"/>
                  </a:cubicBezTo>
                  <a:lnTo>
                    <a:pt x="64028" y="148082"/>
                  </a:lnTo>
                  <a:cubicBezTo>
                    <a:pt x="64028" y="148646"/>
                    <a:pt x="64028" y="148646"/>
                    <a:pt x="63746" y="149210"/>
                  </a:cubicBezTo>
                  <a:cubicBezTo>
                    <a:pt x="63464" y="149493"/>
                    <a:pt x="63182" y="149493"/>
                    <a:pt x="63182" y="149775"/>
                  </a:cubicBezTo>
                  <a:cubicBezTo>
                    <a:pt x="63182" y="150057"/>
                    <a:pt x="63464" y="150339"/>
                    <a:pt x="63746" y="150621"/>
                  </a:cubicBezTo>
                  <a:lnTo>
                    <a:pt x="64028" y="150903"/>
                  </a:lnTo>
                  <a:cubicBezTo>
                    <a:pt x="64028" y="151185"/>
                    <a:pt x="63746" y="151467"/>
                    <a:pt x="63464" y="151467"/>
                  </a:cubicBezTo>
                  <a:lnTo>
                    <a:pt x="62618" y="153159"/>
                  </a:lnTo>
                  <a:lnTo>
                    <a:pt x="62618" y="153441"/>
                  </a:lnTo>
                  <a:cubicBezTo>
                    <a:pt x="62900" y="153723"/>
                    <a:pt x="62900" y="154006"/>
                    <a:pt x="62900" y="154570"/>
                  </a:cubicBezTo>
                  <a:cubicBezTo>
                    <a:pt x="62618" y="154852"/>
                    <a:pt x="62618" y="155134"/>
                    <a:pt x="62618" y="155416"/>
                  </a:cubicBezTo>
                  <a:lnTo>
                    <a:pt x="62618" y="156544"/>
                  </a:lnTo>
                  <a:cubicBezTo>
                    <a:pt x="62618" y="156826"/>
                    <a:pt x="62900" y="156826"/>
                    <a:pt x="62900" y="157108"/>
                  </a:cubicBezTo>
                  <a:cubicBezTo>
                    <a:pt x="63182" y="157108"/>
                    <a:pt x="63182" y="157108"/>
                    <a:pt x="63182" y="157390"/>
                  </a:cubicBezTo>
                  <a:cubicBezTo>
                    <a:pt x="63182" y="157672"/>
                    <a:pt x="62900" y="157954"/>
                    <a:pt x="62618" y="157954"/>
                  </a:cubicBezTo>
                  <a:cubicBezTo>
                    <a:pt x="62618" y="158236"/>
                    <a:pt x="62618" y="159083"/>
                    <a:pt x="62336" y="159647"/>
                  </a:cubicBezTo>
                  <a:cubicBezTo>
                    <a:pt x="62054" y="159929"/>
                    <a:pt x="62054" y="160211"/>
                    <a:pt x="62054" y="160211"/>
                  </a:cubicBezTo>
                  <a:cubicBezTo>
                    <a:pt x="62054" y="160493"/>
                    <a:pt x="62054" y="160775"/>
                    <a:pt x="62336" y="160775"/>
                  </a:cubicBezTo>
                  <a:lnTo>
                    <a:pt x="62336" y="161621"/>
                  </a:lnTo>
                  <a:cubicBezTo>
                    <a:pt x="62336" y="161903"/>
                    <a:pt x="62054" y="162185"/>
                    <a:pt x="61207" y="162467"/>
                  </a:cubicBezTo>
                  <a:cubicBezTo>
                    <a:pt x="60926" y="162749"/>
                    <a:pt x="60643" y="162749"/>
                    <a:pt x="60643" y="162749"/>
                  </a:cubicBezTo>
                  <a:cubicBezTo>
                    <a:pt x="60643" y="163314"/>
                    <a:pt x="60643" y="163596"/>
                    <a:pt x="60926" y="163596"/>
                  </a:cubicBezTo>
                  <a:cubicBezTo>
                    <a:pt x="61772" y="163596"/>
                    <a:pt x="61772" y="163878"/>
                    <a:pt x="62054" y="164724"/>
                  </a:cubicBezTo>
                  <a:cubicBezTo>
                    <a:pt x="62054" y="165006"/>
                    <a:pt x="61772" y="165006"/>
                    <a:pt x="61772" y="165288"/>
                  </a:cubicBezTo>
                  <a:lnTo>
                    <a:pt x="62054" y="165570"/>
                  </a:lnTo>
                  <a:lnTo>
                    <a:pt x="62054" y="166698"/>
                  </a:lnTo>
                  <a:cubicBezTo>
                    <a:pt x="62054" y="166980"/>
                    <a:pt x="61772" y="167544"/>
                    <a:pt x="61207" y="167827"/>
                  </a:cubicBezTo>
                  <a:lnTo>
                    <a:pt x="61207" y="169519"/>
                  </a:lnTo>
                  <a:cubicBezTo>
                    <a:pt x="60926" y="169801"/>
                    <a:pt x="60926" y="170083"/>
                    <a:pt x="60926" y="170365"/>
                  </a:cubicBezTo>
                  <a:cubicBezTo>
                    <a:pt x="60926" y="170647"/>
                    <a:pt x="60926" y="170647"/>
                    <a:pt x="60643" y="170929"/>
                  </a:cubicBezTo>
                  <a:cubicBezTo>
                    <a:pt x="60643" y="171211"/>
                    <a:pt x="60643" y="171493"/>
                    <a:pt x="60926" y="171493"/>
                  </a:cubicBezTo>
                  <a:lnTo>
                    <a:pt x="62054" y="171493"/>
                  </a:lnTo>
                  <a:cubicBezTo>
                    <a:pt x="62336" y="171493"/>
                    <a:pt x="62618" y="171211"/>
                    <a:pt x="62618" y="170929"/>
                  </a:cubicBezTo>
                  <a:lnTo>
                    <a:pt x="62900" y="170929"/>
                  </a:lnTo>
                  <a:cubicBezTo>
                    <a:pt x="62900" y="170929"/>
                    <a:pt x="63182" y="170929"/>
                    <a:pt x="63182" y="171211"/>
                  </a:cubicBezTo>
                  <a:cubicBezTo>
                    <a:pt x="63182" y="171493"/>
                    <a:pt x="63182" y="171775"/>
                    <a:pt x="63464" y="172340"/>
                  </a:cubicBezTo>
                  <a:cubicBezTo>
                    <a:pt x="63464" y="172340"/>
                    <a:pt x="63464" y="172622"/>
                    <a:pt x="63746" y="172622"/>
                  </a:cubicBezTo>
                  <a:cubicBezTo>
                    <a:pt x="64028" y="172904"/>
                    <a:pt x="64028" y="173186"/>
                    <a:pt x="64028" y="173186"/>
                  </a:cubicBezTo>
                  <a:cubicBezTo>
                    <a:pt x="64028" y="173468"/>
                    <a:pt x="63746" y="173468"/>
                    <a:pt x="63182" y="174032"/>
                  </a:cubicBezTo>
                  <a:cubicBezTo>
                    <a:pt x="62900" y="174314"/>
                    <a:pt x="62900" y="174314"/>
                    <a:pt x="62618" y="174314"/>
                  </a:cubicBezTo>
                  <a:cubicBezTo>
                    <a:pt x="62336" y="174032"/>
                    <a:pt x="62054" y="173186"/>
                    <a:pt x="61490" y="172904"/>
                  </a:cubicBezTo>
                  <a:lnTo>
                    <a:pt x="61207" y="172622"/>
                  </a:lnTo>
                  <a:cubicBezTo>
                    <a:pt x="61207" y="172622"/>
                    <a:pt x="61207" y="172904"/>
                    <a:pt x="60926" y="173186"/>
                  </a:cubicBezTo>
                  <a:cubicBezTo>
                    <a:pt x="60643" y="173750"/>
                    <a:pt x="60079" y="174314"/>
                    <a:pt x="60079" y="174878"/>
                  </a:cubicBezTo>
                  <a:lnTo>
                    <a:pt x="60079" y="175160"/>
                  </a:lnTo>
                  <a:cubicBezTo>
                    <a:pt x="60079" y="176006"/>
                    <a:pt x="60079" y="177135"/>
                    <a:pt x="59797" y="178263"/>
                  </a:cubicBezTo>
                  <a:lnTo>
                    <a:pt x="59797" y="179391"/>
                  </a:lnTo>
                  <a:cubicBezTo>
                    <a:pt x="59515" y="179673"/>
                    <a:pt x="59515" y="179955"/>
                    <a:pt x="59515" y="180237"/>
                  </a:cubicBezTo>
                  <a:lnTo>
                    <a:pt x="59515" y="181365"/>
                  </a:lnTo>
                  <a:cubicBezTo>
                    <a:pt x="59797" y="181648"/>
                    <a:pt x="59797" y="181648"/>
                    <a:pt x="59797" y="181930"/>
                  </a:cubicBezTo>
                  <a:lnTo>
                    <a:pt x="59797" y="183058"/>
                  </a:lnTo>
                  <a:cubicBezTo>
                    <a:pt x="59797" y="183058"/>
                    <a:pt x="59797" y="183622"/>
                    <a:pt x="59233" y="183904"/>
                  </a:cubicBezTo>
                  <a:lnTo>
                    <a:pt x="59233" y="184750"/>
                  </a:lnTo>
                  <a:cubicBezTo>
                    <a:pt x="59233" y="185314"/>
                    <a:pt x="59515" y="185878"/>
                    <a:pt x="59515" y="186443"/>
                  </a:cubicBezTo>
                  <a:cubicBezTo>
                    <a:pt x="59515" y="187007"/>
                    <a:pt x="59233" y="187289"/>
                    <a:pt x="59233" y="187853"/>
                  </a:cubicBezTo>
                  <a:lnTo>
                    <a:pt x="59233" y="188135"/>
                  </a:lnTo>
                  <a:cubicBezTo>
                    <a:pt x="59233" y="188417"/>
                    <a:pt x="59233" y="188417"/>
                    <a:pt x="59515" y="188417"/>
                  </a:cubicBezTo>
                  <a:lnTo>
                    <a:pt x="59797" y="188417"/>
                  </a:lnTo>
                  <a:lnTo>
                    <a:pt x="60079" y="188981"/>
                  </a:lnTo>
                  <a:cubicBezTo>
                    <a:pt x="59515" y="189263"/>
                    <a:pt x="59797" y="189545"/>
                    <a:pt x="59515" y="189827"/>
                  </a:cubicBezTo>
                  <a:lnTo>
                    <a:pt x="59515" y="192084"/>
                  </a:lnTo>
                  <a:cubicBezTo>
                    <a:pt x="59515" y="192366"/>
                    <a:pt x="59515" y="192366"/>
                    <a:pt x="59797" y="192366"/>
                  </a:cubicBezTo>
                  <a:lnTo>
                    <a:pt x="60079" y="192366"/>
                  </a:lnTo>
                  <a:cubicBezTo>
                    <a:pt x="60079" y="191802"/>
                    <a:pt x="60643" y="191238"/>
                    <a:pt x="60643" y="190956"/>
                  </a:cubicBezTo>
                  <a:lnTo>
                    <a:pt x="60926" y="190673"/>
                  </a:lnTo>
                  <a:cubicBezTo>
                    <a:pt x="60926" y="190673"/>
                    <a:pt x="60926" y="190956"/>
                    <a:pt x="61207" y="190956"/>
                  </a:cubicBezTo>
                  <a:cubicBezTo>
                    <a:pt x="62054" y="191238"/>
                    <a:pt x="62054" y="191238"/>
                    <a:pt x="62054" y="192084"/>
                  </a:cubicBezTo>
                  <a:cubicBezTo>
                    <a:pt x="61490" y="192084"/>
                    <a:pt x="61490" y="192366"/>
                    <a:pt x="61490" y="192648"/>
                  </a:cubicBezTo>
                  <a:cubicBezTo>
                    <a:pt x="61490" y="192648"/>
                    <a:pt x="62054" y="192648"/>
                    <a:pt x="62054" y="192930"/>
                  </a:cubicBezTo>
                  <a:cubicBezTo>
                    <a:pt x="61772" y="194058"/>
                    <a:pt x="61772" y="194904"/>
                    <a:pt x="61772" y="195751"/>
                  </a:cubicBezTo>
                  <a:lnTo>
                    <a:pt x="61207" y="195751"/>
                  </a:lnTo>
                  <a:cubicBezTo>
                    <a:pt x="60926" y="195751"/>
                    <a:pt x="60926" y="195469"/>
                    <a:pt x="60643" y="195186"/>
                  </a:cubicBezTo>
                  <a:cubicBezTo>
                    <a:pt x="60079" y="194622"/>
                    <a:pt x="60079" y="194340"/>
                    <a:pt x="60079" y="194058"/>
                  </a:cubicBezTo>
                  <a:cubicBezTo>
                    <a:pt x="60079" y="194058"/>
                    <a:pt x="60079" y="193776"/>
                    <a:pt x="60643" y="193212"/>
                  </a:cubicBezTo>
                  <a:lnTo>
                    <a:pt x="60926" y="192930"/>
                  </a:lnTo>
                  <a:lnTo>
                    <a:pt x="60643" y="192930"/>
                  </a:lnTo>
                  <a:cubicBezTo>
                    <a:pt x="60643" y="192648"/>
                    <a:pt x="60079" y="192648"/>
                    <a:pt x="60079" y="192648"/>
                  </a:cubicBezTo>
                  <a:cubicBezTo>
                    <a:pt x="59797" y="192930"/>
                    <a:pt x="59515" y="193212"/>
                    <a:pt x="59233" y="194058"/>
                  </a:cubicBezTo>
                  <a:lnTo>
                    <a:pt x="59233" y="194904"/>
                  </a:lnTo>
                  <a:cubicBezTo>
                    <a:pt x="59233" y="195186"/>
                    <a:pt x="58951" y="195469"/>
                    <a:pt x="58387" y="195751"/>
                  </a:cubicBezTo>
                  <a:cubicBezTo>
                    <a:pt x="58105" y="195751"/>
                    <a:pt x="58387" y="196033"/>
                    <a:pt x="58951" y="196315"/>
                  </a:cubicBezTo>
                  <a:lnTo>
                    <a:pt x="59515" y="196879"/>
                  </a:lnTo>
                  <a:cubicBezTo>
                    <a:pt x="58669" y="197161"/>
                    <a:pt x="58669" y="197161"/>
                    <a:pt x="58669" y="197443"/>
                  </a:cubicBezTo>
                  <a:lnTo>
                    <a:pt x="58669" y="198007"/>
                  </a:lnTo>
                  <a:cubicBezTo>
                    <a:pt x="58669" y="198289"/>
                    <a:pt x="59515" y="198571"/>
                    <a:pt x="60079" y="198571"/>
                  </a:cubicBezTo>
                  <a:lnTo>
                    <a:pt x="60926" y="198571"/>
                  </a:lnTo>
                  <a:cubicBezTo>
                    <a:pt x="61772" y="198571"/>
                    <a:pt x="62054" y="198571"/>
                    <a:pt x="62054" y="198853"/>
                  </a:cubicBezTo>
                  <a:cubicBezTo>
                    <a:pt x="62054" y="199135"/>
                    <a:pt x="61772" y="199417"/>
                    <a:pt x="61772" y="199982"/>
                  </a:cubicBezTo>
                  <a:cubicBezTo>
                    <a:pt x="61772" y="201392"/>
                    <a:pt x="61772" y="203084"/>
                    <a:pt x="62054" y="204777"/>
                  </a:cubicBezTo>
                  <a:lnTo>
                    <a:pt x="62054" y="205905"/>
                  </a:lnTo>
                  <a:cubicBezTo>
                    <a:pt x="61490" y="205905"/>
                    <a:pt x="61490" y="206187"/>
                    <a:pt x="61490" y="206187"/>
                  </a:cubicBezTo>
                  <a:cubicBezTo>
                    <a:pt x="61772" y="206469"/>
                    <a:pt x="61772" y="206469"/>
                    <a:pt x="61772" y="207033"/>
                  </a:cubicBezTo>
                  <a:cubicBezTo>
                    <a:pt x="62054" y="207879"/>
                    <a:pt x="62054" y="208725"/>
                    <a:pt x="62054" y="209290"/>
                  </a:cubicBezTo>
                  <a:cubicBezTo>
                    <a:pt x="62054" y="209290"/>
                    <a:pt x="61772" y="209572"/>
                    <a:pt x="61772" y="209854"/>
                  </a:cubicBezTo>
                  <a:cubicBezTo>
                    <a:pt x="61772" y="210136"/>
                    <a:pt x="61772" y="210418"/>
                    <a:pt x="61207" y="210700"/>
                  </a:cubicBezTo>
                  <a:lnTo>
                    <a:pt x="61207" y="212392"/>
                  </a:lnTo>
                  <a:cubicBezTo>
                    <a:pt x="61490" y="212674"/>
                    <a:pt x="61772" y="212674"/>
                    <a:pt x="61772" y="212674"/>
                  </a:cubicBezTo>
                  <a:lnTo>
                    <a:pt x="61490" y="212956"/>
                  </a:lnTo>
                  <a:cubicBezTo>
                    <a:pt x="61490" y="213238"/>
                    <a:pt x="61490" y="213520"/>
                    <a:pt x="62054" y="213803"/>
                  </a:cubicBezTo>
                  <a:lnTo>
                    <a:pt x="62054" y="214085"/>
                  </a:lnTo>
                  <a:cubicBezTo>
                    <a:pt x="61490" y="214367"/>
                    <a:pt x="61490" y="214367"/>
                    <a:pt x="61490" y="214649"/>
                  </a:cubicBezTo>
                  <a:cubicBezTo>
                    <a:pt x="61772" y="214931"/>
                    <a:pt x="61772" y="215213"/>
                    <a:pt x="61772" y="215213"/>
                  </a:cubicBezTo>
                  <a:cubicBezTo>
                    <a:pt x="61772" y="215495"/>
                    <a:pt x="61772" y="215495"/>
                    <a:pt x="61490" y="215495"/>
                  </a:cubicBezTo>
                  <a:lnTo>
                    <a:pt x="61207" y="215777"/>
                  </a:lnTo>
                  <a:lnTo>
                    <a:pt x="60926" y="215495"/>
                  </a:lnTo>
                  <a:lnTo>
                    <a:pt x="60926" y="214649"/>
                  </a:lnTo>
                  <a:cubicBezTo>
                    <a:pt x="60926" y="214367"/>
                    <a:pt x="60643" y="214085"/>
                    <a:pt x="60079" y="214085"/>
                  </a:cubicBezTo>
                  <a:cubicBezTo>
                    <a:pt x="60079" y="214085"/>
                    <a:pt x="59797" y="214367"/>
                    <a:pt x="59797" y="214649"/>
                  </a:cubicBezTo>
                  <a:cubicBezTo>
                    <a:pt x="59797" y="215495"/>
                    <a:pt x="59515" y="216623"/>
                    <a:pt x="59515" y="217751"/>
                  </a:cubicBezTo>
                  <a:cubicBezTo>
                    <a:pt x="59515" y="218033"/>
                    <a:pt x="59797" y="218033"/>
                    <a:pt x="60362" y="218033"/>
                  </a:cubicBezTo>
                  <a:cubicBezTo>
                    <a:pt x="60643" y="218033"/>
                    <a:pt x="60643" y="217469"/>
                    <a:pt x="60926" y="217469"/>
                  </a:cubicBezTo>
                  <a:cubicBezTo>
                    <a:pt x="61207" y="217469"/>
                    <a:pt x="61772" y="217751"/>
                    <a:pt x="61772" y="217751"/>
                  </a:cubicBezTo>
                  <a:cubicBezTo>
                    <a:pt x="61772" y="218033"/>
                    <a:pt x="62054" y="218598"/>
                    <a:pt x="62054" y="218598"/>
                  </a:cubicBezTo>
                  <a:lnTo>
                    <a:pt x="62054" y="219726"/>
                  </a:lnTo>
                  <a:lnTo>
                    <a:pt x="62618" y="220854"/>
                  </a:lnTo>
                  <a:lnTo>
                    <a:pt x="62618" y="221982"/>
                  </a:lnTo>
                  <a:cubicBezTo>
                    <a:pt x="62618" y="222264"/>
                    <a:pt x="62336" y="222546"/>
                    <a:pt x="62336" y="222828"/>
                  </a:cubicBezTo>
                  <a:cubicBezTo>
                    <a:pt x="62336" y="223111"/>
                    <a:pt x="62618" y="223675"/>
                    <a:pt x="62900" y="223957"/>
                  </a:cubicBezTo>
                  <a:lnTo>
                    <a:pt x="62900" y="224803"/>
                  </a:lnTo>
                  <a:cubicBezTo>
                    <a:pt x="62900" y="225085"/>
                    <a:pt x="62900" y="225367"/>
                    <a:pt x="63182" y="225367"/>
                  </a:cubicBezTo>
                  <a:cubicBezTo>
                    <a:pt x="63464" y="225367"/>
                    <a:pt x="63182" y="225649"/>
                    <a:pt x="63182" y="225649"/>
                  </a:cubicBezTo>
                  <a:lnTo>
                    <a:pt x="63182" y="227624"/>
                  </a:lnTo>
                  <a:cubicBezTo>
                    <a:pt x="63182" y="227906"/>
                    <a:pt x="63182" y="228470"/>
                    <a:pt x="64028" y="229034"/>
                  </a:cubicBezTo>
                  <a:lnTo>
                    <a:pt x="64028" y="229880"/>
                  </a:lnTo>
                  <a:cubicBezTo>
                    <a:pt x="64028" y="230162"/>
                    <a:pt x="64310" y="230444"/>
                    <a:pt x="64874" y="230726"/>
                  </a:cubicBezTo>
                  <a:cubicBezTo>
                    <a:pt x="64874" y="231008"/>
                    <a:pt x="64592" y="231290"/>
                    <a:pt x="64874" y="231290"/>
                  </a:cubicBezTo>
                  <a:cubicBezTo>
                    <a:pt x="65438" y="231290"/>
                    <a:pt x="65438" y="231290"/>
                    <a:pt x="66567" y="231008"/>
                  </a:cubicBezTo>
                  <a:cubicBezTo>
                    <a:pt x="66848" y="230726"/>
                    <a:pt x="67413" y="230162"/>
                    <a:pt x="68259" y="230162"/>
                  </a:cubicBezTo>
                  <a:lnTo>
                    <a:pt x="69669" y="229034"/>
                  </a:lnTo>
                  <a:cubicBezTo>
                    <a:pt x="69951" y="228752"/>
                    <a:pt x="69951" y="227906"/>
                    <a:pt x="70515" y="227624"/>
                  </a:cubicBezTo>
                  <a:lnTo>
                    <a:pt x="70515" y="227341"/>
                  </a:lnTo>
                  <a:cubicBezTo>
                    <a:pt x="71644" y="226777"/>
                    <a:pt x="71926" y="225649"/>
                    <a:pt x="72490" y="225367"/>
                  </a:cubicBezTo>
                  <a:cubicBezTo>
                    <a:pt x="73054" y="225085"/>
                    <a:pt x="73054" y="224803"/>
                    <a:pt x="73618" y="224239"/>
                  </a:cubicBezTo>
                  <a:lnTo>
                    <a:pt x="73618" y="223393"/>
                  </a:lnTo>
                  <a:cubicBezTo>
                    <a:pt x="73618" y="223111"/>
                    <a:pt x="73618" y="223111"/>
                    <a:pt x="73900" y="222828"/>
                  </a:cubicBezTo>
                  <a:lnTo>
                    <a:pt x="74465" y="222264"/>
                  </a:lnTo>
                  <a:cubicBezTo>
                    <a:pt x="74465" y="221982"/>
                    <a:pt x="74746" y="221700"/>
                    <a:pt x="74746" y="221136"/>
                  </a:cubicBezTo>
                  <a:lnTo>
                    <a:pt x="75875" y="220290"/>
                  </a:lnTo>
                  <a:cubicBezTo>
                    <a:pt x="75875" y="219726"/>
                    <a:pt x="75875" y="219162"/>
                    <a:pt x="76721" y="218880"/>
                  </a:cubicBezTo>
                  <a:lnTo>
                    <a:pt x="76721" y="218315"/>
                  </a:lnTo>
                  <a:cubicBezTo>
                    <a:pt x="76721" y="217751"/>
                    <a:pt x="77003" y="217187"/>
                    <a:pt x="77285" y="216623"/>
                  </a:cubicBezTo>
                  <a:lnTo>
                    <a:pt x="79260" y="214931"/>
                  </a:lnTo>
                  <a:cubicBezTo>
                    <a:pt x="79541" y="214367"/>
                    <a:pt x="79541" y="213803"/>
                    <a:pt x="79824" y="213520"/>
                  </a:cubicBezTo>
                  <a:cubicBezTo>
                    <a:pt x="80106" y="212956"/>
                    <a:pt x="80388" y="212674"/>
                    <a:pt x="80388" y="212392"/>
                  </a:cubicBezTo>
                  <a:lnTo>
                    <a:pt x="80106" y="212110"/>
                  </a:lnTo>
                  <a:cubicBezTo>
                    <a:pt x="80106" y="211828"/>
                    <a:pt x="80106" y="211264"/>
                    <a:pt x="80670" y="210982"/>
                  </a:cubicBezTo>
                  <a:lnTo>
                    <a:pt x="81516" y="209290"/>
                  </a:lnTo>
                  <a:cubicBezTo>
                    <a:pt x="82080" y="209007"/>
                    <a:pt x="82080" y="207879"/>
                    <a:pt x="82926" y="207033"/>
                  </a:cubicBezTo>
                  <a:lnTo>
                    <a:pt x="82926" y="206751"/>
                  </a:lnTo>
                  <a:cubicBezTo>
                    <a:pt x="82926" y="206469"/>
                    <a:pt x="83490" y="206469"/>
                    <a:pt x="83772" y="206187"/>
                  </a:cubicBezTo>
                  <a:lnTo>
                    <a:pt x="83490" y="206187"/>
                  </a:lnTo>
                  <a:cubicBezTo>
                    <a:pt x="84054" y="205905"/>
                    <a:pt x="84337" y="205341"/>
                    <a:pt x="84337" y="204495"/>
                  </a:cubicBezTo>
                  <a:cubicBezTo>
                    <a:pt x="84337" y="203930"/>
                    <a:pt x="84618" y="203366"/>
                    <a:pt x="84618" y="203366"/>
                  </a:cubicBezTo>
                  <a:cubicBezTo>
                    <a:pt x="84618" y="203084"/>
                    <a:pt x="85747" y="202802"/>
                    <a:pt x="85747" y="202238"/>
                  </a:cubicBezTo>
                  <a:cubicBezTo>
                    <a:pt x="85747" y="201956"/>
                    <a:pt x="85465" y="201674"/>
                    <a:pt x="85465" y="201392"/>
                  </a:cubicBezTo>
                  <a:cubicBezTo>
                    <a:pt x="85465" y="201110"/>
                    <a:pt x="85465" y="201110"/>
                    <a:pt x="85747" y="200828"/>
                  </a:cubicBezTo>
                  <a:cubicBezTo>
                    <a:pt x="86593" y="200264"/>
                    <a:pt x="86593" y="200264"/>
                    <a:pt x="86593" y="199982"/>
                  </a:cubicBezTo>
                  <a:cubicBezTo>
                    <a:pt x="86875" y="199417"/>
                    <a:pt x="87157" y="198853"/>
                    <a:pt x="87157" y="198571"/>
                  </a:cubicBezTo>
                  <a:cubicBezTo>
                    <a:pt x="87439" y="198007"/>
                    <a:pt x="88285" y="197161"/>
                    <a:pt x="88568" y="196879"/>
                  </a:cubicBezTo>
                  <a:cubicBezTo>
                    <a:pt x="88568" y="195469"/>
                    <a:pt x="89132" y="194340"/>
                    <a:pt x="89978" y="194058"/>
                  </a:cubicBezTo>
                  <a:cubicBezTo>
                    <a:pt x="89978" y="193494"/>
                    <a:pt x="90542" y="193212"/>
                    <a:pt x="90542" y="193212"/>
                  </a:cubicBezTo>
                  <a:cubicBezTo>
                    <a:pt x="90824" y="192648"/>
                    <a:pt x="91388" y="191802"/>
                    <a:pt x="91388" y="190956"/>
                  </a:cubicBezTo>
                  <a:cubicBezTo>
                    <a:pt x="91670" y="190956"/>
                    <a:pt x="92516" y="189545"/>
                    <a:pt x="92516" y="189263"/>
                  </a:cubicBezTo>
                  <a:lnTo>
                    <a:pt x="92234" y="188981"/>
                  </a:lnTo>
                  <a:cubicBezTo>
                    <a:pt x="92234" y="188699"/>
                    <a:pt x="92799" y="188135"/>
                    <a:pt x="92799" y="187853"/>
                  </a:cubicBezTo>
                  <a:cubicBezTo>
                    <a:pt x="92799" y="187007"/>
                    <a:pt x="93927" y="186725"/>
                    <a:pt x="94209" y="185878"/>
                  </a:cubicBezTo>
                  <a:cubicBezTo>
                    <a:pt x="93927" y="185596"/>
                    <a:pt x="93927" y="185314"/>
                    <a:pt x="93927" y="185314"/>
                  </a:cubicBezTo>
                  <a:cubicBezTo>
                    <a:pt x="93927" y="184750"/>
                    <a:pt x="94209" y="184750"/>
                    <a:pt x="94209" y="184468"/>
                  </a:cubicBezTo>
                  <a:cubicBezTo>
                    <a:pt x="95337" y="184186"/>
                    <a:pt x="94773" y="183340"/>
                    <a:pt x="95619" y="183058"/>
                  </a:cubicBezTo>
                  <a:cubicBezTo>
                    <a:pt x="95619" y="182494"/>
                    <a:pt x="95901" y="181930"/>
                    <a:pt x="96183" y="181648"/>
                  </a:cubicBezTo>
                  <a:cubicBezTo>
                    <a:pt x="96183" y="181365"/>
                    <a:pt x="96465" y="180801"/>
                    <a:pt x="96465" y="180519"/>
                  </a:cubicBezTo>
                  <a:lnTo>
                    <a:pt x="96183" y="180237"/>
                  </a:lnTo>
                  <a:cubicBezTo>
                    <a:pt x="96183" y="180237"/>
                    <a:pt x="96465" y="179391"/>
                    <a:pt x="96747" y="179391"/>
                  </a:cubicBezTo>
                  <a:lnTo>
                    <a:pt x="97875" y="178263"/>
                  </a:lnTo>
                  <a:cubicBezTo>
                    <a:pt x="98158" y="177981"/>
                    <a:pt x="98158" y="177699"/>
                    <a:pt x="98158" y="177417"/>
                  </a:cubicBezTo>
                  <a:lnTo>
                    <a:pt x="98722" y="176288"/>
                  </a:lnTo>
                  <a:cubicBezTo>
                    <a:pt x="98722" y="175724"/>
                    <a:pt x="99850" y="175724"/>
                    <a:pt x="99850" y="175160"/>
                  </a:cubicBezTo>
                  <a:cubicBezTo>
                    <a:pt x="99568" y="174878"/>
                    <a:pt x="99568" y="174596"/>
                    <a:pt x="99568" y="174314"/>
                  </a:cubicBezTo>
                  <a:cubicBezTo>
                    <a:pt x="99568" y="174032"/>
                    <a:pt x="99568" y="173750"/>
                    <a:pt x="99850" y="173186"/>
                  </a:cubicBezTo>
                  <a:cubicBezTo>
                    <a:pt x="99850" y="173186"/>
                    <a:pt x="100414" y="172904"/>
                    <a:pt x="100414" y="172622"/>
                  </a:cubicBezTo>
                  <a:lnTo>
                    <a:pt x="100414" y="172340"/>
                  </a:lnTo>
                  <a:cubicBezTo>
                    <a:pt x="100414" y="172057"/>
                    <a:pt x="100414" y="172057"/>
                    <a:pt x="100978" y="171775"/>
                  </a:cubicBezTo>
                  <a:cubicBezTo>
                    <a:pt x="101260" y="171775"/>
                    <a:pt x="101260" y="171493"/>
                    <a:pt x="101260" y="171211"/>
                  </a:cubicBezTo>
                  <a:cubicBezTo>
                    <a:pt x="101260" y="170929"/>
                    <a:pt x="101542" y="170647"/>
                    <a:pt x="101824" y="170365"/>
                  </a:cubicBezTo>
                  <a:lnTo>
                    <a:pt x="101824" y="169801"/>
                  </a:lnTo>
                  <a:cubicBezTo>
                    <a:pt x="101824" y="169519"/>
                    <a:pt x="101824" y="169519"/>
                    <a:pt x="102106" y="169519"/>
                  </a:cubicBezTo>
                  <a:cubicBezTo>
                    <a:pt x="102106" y="168391"/>
                    <a:pt x="102671" y="167262"/>
                    <a:pt x="103516" y="166416"/>
                  </a:cubicBezTo>
                  <a:cubicBezTo>
                    <a:pt x="103516" y="165852"/>
                    <a:pt x="103799" y="165288"/>
                    <a:pt x="103799" y="165006"/>
                  </a:cubicBezTo>
                  <a:cubicBezTo>
                    <a:pt x="103799" y="164724"/>
                    <a:pt x="104645" y="164160"/>
                    <a:pt x="104645" y="163596"/>
                  </a:cubicBezTo>
                  <a:cubicBezTo>
                    <a:pt x="104645" y="163314"/>
                    <a:pt x="104927" y="162749"/>
                    <a:pt x="105491" y="162467"/>
                  </a:cubicBezTo>
                  <a:cubicBezTo>
                    <a:pt x="106055" y="161903"/>
                    <a:pt x="106619" y="161057"/>
                    <a:pt x="106619" y="160211"/>
                  </a:cubicBezTo>
                  <a:lnTo>
                    <a:pt x="106619" y="159083"/>
                  </a:lnTo>
                  <a:cubicBezTo>
                    <a:pt x="106337" y="158801"/>
                    <a:pt x="106902" y="158801"/>
                    <a:pt x="106902" y="158801"/>
                  </a:cubicBezTo>
                  <a:lnTo>
                    <a:pt x="107747" y="157108"/>
                  </a:lnTo>
                  <a:cubicBezTo>
                    <a:pt x="107747" y="156826"/>
                    <a:pt x="108594" y="156544"/>
                    <a:pt x="108312" y="156262"/>
                  </a:cubicBezTo>
                  <a:lnTo>
                    <a:pt x="107747" y="155980"/>
                  </a:lnTo>
                  <a:cubicBezTo>
                    <a:pt x="107747" y="155698"/>
                    <a:pt x="108594" y="155416"/>
                    <a:pt x="108594" y="155134"/>
                  </a:cubicBezTo>
                  <a:cubicBezTo>
                    <a:pt x="108594" y="154852"/>
                    <a:pt x="109440" y="154288"/>
                    <a:pt x="109440" y="154006"/>
                  </a:cubicBezTo>
                  <a:lnTo>
                    <a:pt x="109158" y="154006"/>
                  </a:lnTo>
                  <a:lnTo>
                    <a:pt x="109158" y="153723"/>
                  </a:lnTo>
                  <a:cubicBezTo>
                    <a:pt x="109158" y="153441"/>
                    <a:pt x="109722" y="153441"/>
                    <a:pt x="109722" y="153159"/>
                  </a:cubicBezTo>
                  <a:cubicBezTo>
                    <a:pt x="109722" y="153159"/>
                    <a:pt x="109722" y="152877"/>
                    <a:pt x="109440" y="152595"/>
                  </a:cubicBezTo>
                  <a:cubicBezTo>
                    <a:pt x="109440" y="152313"/>
                    <a:pt x="110286" y="151749"/>
                    <a:pt x="110004" y="151467"/>
                  </a:cubicBezTo>
                  <a:cubicBezTo>
                    <a:pt x="110286" y="150903"/>
                    <a:pt x="110568" y="150621"/>
                    <a:pt x="110850" y="150621"/>
                  </a:cubicBezTo>
                  <a:cubicBezTo>
                    <a:pt x="111414" y="150057"/>
                    <a:pt x="110850" y="149210"/>
                    <a:pt x="112261" y="148646"/>
                  </a:cubicBezTo>
                  <a:cubicBezTo>
                    <a:pt x="122133" y="135389"/>
                    <a:pt x="125800" y="130594"/>
                    <a:pt x="126364" y="130594"/>
                  </a:cubicBezTo>
                  <a:cubicBezTo>
                    <a:pt x="127210" y="130594"/>
                    <a:pt x="118748" y="144415"/>
                    <a:pt x="118466" y="148364"/>
                  </a:cubicBezTo>
                  <a:lnTo>
                    <a:pt x="118748" y="148364"/>
                  </a:lnTo>
                  <a:lnTo>
                    <a:pt x="118748" y="148646"/>
                  </a:lnTo>
                  <a:cubicBezTo>
                    <a:pt x="118748" y="149210"/>
                    <a:pt x="118748" y="149210"/>
                    <a:pt x="118466" y="149493"/>
                  </a:cubicBezTo>
                  <a:lnTo>
                    <a:pt x="119030" y="149493"/>
                  </a:lnTo>
                  <a:cubicBezTo>
                    <a:pt x="119312" y="149493"/>
                    <a:pt x="119594" y="149493"/>
                    <a:pt x="120440" y="148928"/>
                  </a:cubicBezTo>
                  <a:lnTo>
                    <a:pt x="120440" y="149493"/>
                  </a:lnTo>
                  <a:cubicBezTo>
                    <a:pt x="120440" y="150339"/>
                    <a:pt x="119876" y="150903"/>
                    <a:pt x="119594" y="151467"/>
                  </a:cubicBezTo>
                  <a:lnTo>
                    <a:pt x="119594" y="151749"/>
                  </a:lnTo>
                  <a:cubicBezTo>
                    <a:pt x="119312" y="152313"/>
                    <a:pt x="119312" y="152313"/>
                    <a:pt x="118466" y="152595"/>
                  </a:cubicBezTo>
                  <a:cubicBezTo>
                    <a:pt x="118184" y="152877"/>
                    <a:pt x="118184" y="153159"/>
                    <a:pt x="118184" y="153441"/>
                  </a:cubicBezTo>
                  <a:lnTo>
                    <a:pt x="118184" y="154006"/>
                  </a:lnTo>
                  <a:cubicBezTo>
                    <a:pt x="118184" y="154006"/>
                    <a:pt x="118184" y="154288"/>
                    <a:pt x="117902" y="154570"/>
                  </a:cubicBezTo>
                  <a:cubicBezTo>
                    <a:pt x="117338" y="154852"/>
                    <a:pt x="117338" y="155134"/>
                    <a:pt x="117338" y="155416"/>
                  </a:cubicBezTo>
                  <a:cubicBezTo>
                    <a:pt x="117338" y="155698"/>
                    <a:pt x="117338" y="155980"/>
                    <a:pt x="117902" y="156262"/>
                  </a:cubicBezTo>
                  <a:lnTo>
                    <a:pt x="118184" y="156544"/>
                  </a:lnTo>
                  <a:cubicBezTo>
                    <a:pt x="118184" y="156544"/>
                    <a:pt x="117902" y="156544"/>
                    <a:pt x="117620" y="156826"/>
                  </a:cubicBezTo>
                  <a:cubicBezTo>
                    <a:pt x="117620" y="156826"/>
                    <a:pt x="117338" y="157108"/>
                    <a:pt x="117056" y="157108"/>
                  </a:cubicBezTo>
                  <a:cubicBezTo>
                    <a:pt x="116492" y="157672"/>
                    <a:pt x="115928" y="158236"/>
                    <a:pt x="114799" y="158236"/>
                  </a:cubicBezTo>
                  <a:lnTo>
                    <a:pt x="114799" y="158801"/>
                  </a:lnTo>
                  <a:cubicBezTo>
                    <a:pt x="115081" y="159083"/>
                    <a:pt x="115081" y="159365"/>
                    <a:pt x="115928" y="159365"/>
                  </a:cubicBezTo>
                  <a:cubicBezTo>
                    <a:pt x="115081" y="159647"/>
                    <a:pt x="115081" y="159929"/>
                    <a:pt x="114517" y="159929"/>
                  </a:cubicBezTo>
                  <a:cubicBezTo>
                    <a:pt x="113953" y="159929"/>
                    <a:pt x="113389" y="159929"/>
                    <a:pt x="113389" y="160493"/>
                  </a:cubicBezTo>
                  <a:cubicBezTo>
                    <a:pt x="113107" y="160493"/>
                    <a:pt x="113107" y="160775"/>
                    <a:pt x="113107" y="161057"/>
                  </a:cubicBezTo>
                  <a:lnTo>
                    <a:pt x="113107" y="161339"/>
                  </a:lnTo>
                  <a:lnTo>
                    <a:pt x="114235" y="161339"/>
                  </a:lnTo>
                  <a:lnTo>
                    <a:pt x="114235" y="161903"/>
                  </a:lnTo>
                  <a:cubicBezTo>
                    <a:pt x="114235" y="162185"/>
                    <a:pt x="114235" y="162467"/>
                    <a:pt x="114517" y="162467"/>
                  </a:cubicBezTo>
                  <a:cubicBezTo>
                    <a:pt x="114517" y="162749"/>
                    <a:pt x="114799" y="162749"/>
                    <a:pt x="114799" y="163031"/>
                  </a:cubicBezTo>
                  <a:cubicBezTo>
                    <a:pt x="114799" y="163314"/>
                    <a:pt x="114517" y="163314"/>
                    <a:pt x="114517" y="163314"/>
                  </a:cubicBezTo>
                  <a:lnTo>
                    <a:pt x="113389" y="164160"/>
                  </a:lnTo>
                  <a:lnTo>
                    <a:pt x="113389" y="166416"/>
                  </a:lnTo>
                  <a:cubicBezTo>
                    <a:pt x="113107" y="166416"/>
                    <a:pt x="113107" y="166698"/>
                    <a:pt x="113107" y="166980"/>
                  </a:cubicBezTo>
                  <a:cubicBezTo>
                    <a:pt x="113107" y="167262"/>
                    <a:pt x="112825" y="167544"/>
                    <a:pt x="112825" y="167827"/>
                  </a:cubicBezTo>
                  <a:lnTo>
                    <a:pt x="112543" y="168109"/>
                  </a:lnTo>
                  <a:cubicBezTo>
                    <a:pt x="111978" y="168391"/>
                    <a:pt x="111697" y="168955"/>
                    <a:pt x="111697" y="169237"/>
                  </a:cubicBezTo>
                  <a:cubicBezTo>
                    <a:pt x="111697" y="169519"/>
                    <a:pt x="112261" y="169801"/>
                    <a:pt x="112261" y="170365"/>
                  </a:cubicBezTo>
                  <a:cubicBezTo>
                    <a:pt x="112261" y="170365"/>
                    <a:pt x="111133" y="170929"/>
                    <a:pt x="110850" y="170929"/>
                  </a:cubicBezTo>
                  <a:cubicBezTo>
                    <a:pt x="110568" y="170929"/>
                    <a:pt x="110568" y="170929"/>
                    <a:pt x="110568" y="171211"/>
                  </a:cubicBezTo>
                  <a:lnTo>
                    <a:pt x="110568" y="171775"/>
                  </a:lnTo>
                  <a:cubicBezTo>
                    <a:pt x="110568" y="172057"/>
                    <a:pt x="110850" y="172340"/>
                    <a:pt x="110850" y="172622"/>
                  </a:cubicBezTo>
                  <a:cubicBezTo>
                    <a:pt x="110850" y="173186"/>
                    <a:pt x="110286" y="173468"/>
                    <a:pt x="109440" y="174032"/>
                  </a:cubicBezTo>
                  <a:lnTo>
                    <a:pt x="109440" y="174596"/>
                  </a:lnTo>
                  <a:lnTo>
                    <a:pt x="110568" y="174596"/>
                  </a:lnTo>
                  <a:cubicBezTo>
                    <a:pt x="110568" y="174314"/>
                    <a:pt x="110850" y="174314"/>
                    <a:pt x="111133" y="174314"/>
                  </a:cubicBezTo>
                  <a:cubicBezTo>
                    <a:pt x="111414" y="174596"/>
                    <a:pt x="111697" y="174596"/>
                    <a:pt x="111697" y="174596"/>
                  </a:cubicBezTo>
                  <a:cubicBezTo>
                    <a:pt x="111697" y="174596"/>
                    <a:pt x="111414" y="174878"/>
                    <a:pt x="111414" y="175160"/>
                  </a:cubicBezTo>
                  <a:cubicBezTo>
                    <a:pt x="111133" y="175442"/>
                    <a:pt x="111133" y="175442"/>
                    <a:pt x="111133" y="175724"/>
                  </a:cubicBezTo>
                  <a:cubicBezTo>
                    <a:pt x="111133" y="176288"/>
                    <a:pt x="111133" y="177135"/>
                    <a:pt x="110568" y="177699"/>
                  </a:cubicBezTo>
                  <a:lnTo>
                    <a:pt x="110568" y="178545"/>
                  </a:lnTo>
                  <a:cubicBezTo>
                    <a:pt x="110850" y="178545"/>
                    <a:pt x="110850" y="178827"/>
                    <a:pt x="110850" y="179109"/>
                  </a:cubicBezTo>
                  <a:cubicBezTo>
                    <a:pt x="110850" y="179391"/>
                    <a:pt x="110850" y="179673"/>
                    <a:pt x="110568" y="179955"/>
                  </a:cubicBezTo>
                  <a:cubicBezTo>
                    <a:pt x="110286" y="179955"/>
                    <a:pt x="110286" y="179955"/>
                    <a:pt x="110286" y="180237"/>
                  </a:cubicBezTo>
                  <a:lnTo>
                    <a:pt x="110286" y="180519"/>
                  </a:lnTo>
                  <a:cubicBezTo>
                    <a:pt x="109722" y="180519"/>
                    <a:pt x="109722" y="180519"/>
                    <a:pt x="109722" y="181083"/>
                  </a:cubicBezTo>
                  <a:cubicBezTo>
                    <a:pt x="109722" y="181648"/>
                    <a:pt x="109158" y="181648"/>
                    <a:pt x="109158" y="182212"/>
                  </a:cubicBezTo>
                  <a:cubicBezTo>
                    <a:pt x="109158" y="182494"/>
                    <a:pt x="109158" y="183058"/>
                    <a:pt x="108876" y="183058"/>
                  </a:cubicBezTo>
                  <a:cubicBezTo>
                    <a:pt x="107747" y="183058"/>
                    <a:pt x="107747" y="183622"/>
                    <a:pt x="106902" y="183904"/>
                  </a:cubicBezTo>
                  <a:lnTo>
                    <a:pt x="106902" y="184750"/>
                  </a:lnTo>
                  <a:cubicBezTo>
                    <a:pt x="105773" y="185314"/>
                    <a:pt x="105491" y="185878"/>
                    <a:pt x="104927" y="186725"/>
                  </a:cubicBezTo>
                  <a:lnTo>
                    <a:pt x="105209" y="186725"/>
                  </a:lnTo>
                  <a:cubicBezTo>
                    <a:pt x="105773" y="186725"/>
                    <a:pt x="105491" y="187289"/>
                    <a:pt x="105773" y="187571"/>
                  </a:cubicBezTo>
                  <a:lnTo>
                    <a:pt x="105773" y="187853"/>
                  </a:lnTo>
                  <a:cubicBezTo>
                    <a:pt x="105491" y="188135"/>
                    <a:pt x="105491" y="188699"/>
                    <a:pt x="105491" y="188981"/>
                  </a:cubicBezTo>
                  <a:cubicBezTo>
                    <a:pt x="105491" y="189263"/>
                    <a:pt x="105491" y="189545"/>
                    <a:pt x="105209" y="189545"/>
                  </a:cubicBezTo>
                  <a:cubicBezTo>
                    <a:pt x="104927" y="190109"/>
                    <a:pt x="104363" y="190391"/>
                    <a:pt x="104363" y="190956"/>
                  </a:cubicBezTo>
                  <a:lnTo>
                    <a:pt x="104927" y="191238"/>
                  </a:lnTo>
                  <a:cubicBezTo>
                    <a:pt x="104927" y="192084"/>
                    <a:pt x="103799" y="192084"/>
                    <a:pt x="103516" y="192366"/>
                  </a:cubicBezTo>
                  <a:cubicBezTo>
                    <a:pt x="103516" y="192366"/>
                    <a:pt x="102952" y="192366"/>
                    <a:pt x="102952" y="192084"/>
                  </a:cubicBezTo>
                  <a:cubicBezTo>
                    <a:pt x="102952" y="191802"/>
                    <a:pt x="102952" y="191238"/>
                    <a:pt x="102671" y="190956"/>
                  </a:cubicBezTo>
                  <a:cubicBezTo>
                    <a:pt x="102671" y="190956"/>
                    <a:pt x="102952" y="190673"/>
                    <a:pt x="103235" y="190673"/>
                  </a:cubicBezTo>
                  <a:cubicBezTo>
                    <a:pt x="103516" y="190673"/>
                    <a:pt x="103516" y="190391"/>
                    <a:pt x="103799" y="189827"/>
                  </a:cubicBezTo>
                  <a:cubicBezTo>
                    <a:pt x="103799" y="189545"/>
                    <a:pt x="103516" y="189545"/>
                    <a:pt x="103516" y="189545"/>
                  </a:cubicBezTo>
                  <a:cubicBezTo>
                    <a:pt x="102671" y="189545"/>
                    <a:pt x="102106" y="189827"/>
                    <a:pt x="101542" y="190673"/>
                  </a:cubicBezTo>
                  <a:lnTo>
                    <a:pt x="101542" y="190956"/>
                  </a:lnTo>
                  <a:cubicBezTo>
                    <a:pt x="101542" y="191520"/>
                    <a:pt x="100696" y="192084"/>
                    <a:pt x="100696" y="192930"/>
                  </a:cubicBezTo>
                  <a:lnTo>
                    <a:pt x="100696" y="193212"/>
                  </a:lnTo>
                  <a:cubicBezTo>
                    <a:pt x="100132" y="193776"/>
                    <a:pt x="100132" y="194058"/>
                    <a:pt x="100132" y="194340"/>
                  </a:cubicBezTo>
                  <a:lnTo>
                    <a:pt x="100132" y="195469"/>
                  </a:lnTo>
                  <a:cubicBezTo>
                    <a:pt x="100414" y="195469"/>
                    <a:pt x="100696" y="195751"/>
                    <a:pt x="100696" y="195751"/>
                  </a:cubicBezTo>
                  <a:cubicBezTo>
                    <a:pt x="100696" y="196033"/>
                    <a:pt x="100414" y="196033"/>
                    <a:pt x="100132" y="196315"/>
                  </a:cubicBezTo>
                  <a:cubicBezTo>
                    <a:pt x="99850" y="196879"/>
                    <a:pt x="99850" y="197161"/>
                    <a:pt x="99850" y="198007"/>
                  </a:cubicBezTo>
                  <a:lnTo>
                    <a:pt x="99850" y="199417"/>
                  </a:lnTo>
                  <a:cubicBezTo>
                    <a:pt x="99568" y="199982"/>
                    <a:pt x="99004" y="199982"/>
                    <a:pt x="99004" y="200264"/>
                  </a:cubicBezTo>
                  <a:lnTo>
                    <a:pt x="99004" y="201392"/>
                  </a:lnTo>
                  <a:cubicBezTo>
                    <a:pt x="99004" y="201674"/>
                    <a:pt x="98722" y="202520"/>
                    <a:pt x="98440" y="202520"/>
                  </a:cubicBezTo>
                  <a:lnTo>
                    <a:pt x="97875" y="202520"/>
                  </a:lnTo>
                  <a:cubicBezTo>
                    <a:pt x="97594" y="202520"/>
                    <a:pt x="97311" y="202520"/>
                    <a:pt x="97030" y="202802"/>
                  </a:cubicBezTo>
                  <a:cubicBezTo>
                    <a:pt x="96747" y="203084"/>
                    <a:pt x="96747" y="203366"/>
                    <a:pt x="96747" y="203366"/>
                  </a:cubicBezTo>
                  <a:cubicBezTo>
                    <a:pt x="97311" y="203648"/>
                    <a:pt x="97594" y="203648"/>
                    <a:pt x="97594" y="203930"/>
                  </a:cubicBezTo>
                  <a:cubicBezTo>
                    <a:pt x="97594" y="204212"/>
                    <a:pt x="97311" y="204495"/>
                    <a:pt x="97030" y="204777"/>
                  </a:cubicBezTo>
                  <a:cubicBezTo>
                    <a:pt x="96465" y="205623"/>
                    <a:pt x="95901" y="205623"/>
                    <a:pt x="95055" y="205623"/>
                  </a:cubicBezTo>
                  <a:cubicBezTo>
                    <a:pt x="94773" y="205623"/>
                    <a:pt x="94491" y="205905"/>
                    <a:pt x="94491" y="205905"/>
                  </a:cubicBezTo>
                  <a:cubicBezTo>
                    <a:pt x="94491" y="206187"/>
                    <a:pt x="94209" y="206469"/>
                    <a:pt x="94209" y="206469"/>
                  </a:cubicBezTo>
                  <a:lnTo>
                    <a:pt x="94209" y="207597"/>
                  </a:lnTo>
                  <a:cubicBezTo>
                    <a:pt x="93363" y="207879"/>
                    <a:pt x="93363" y="208443"/>
                    <a:pt x="93363" y="209007"/>
                  </a:cubicBezTo>
                  <a:cubicBezTo>
                    <a:pt x="93363" y="209290"/>
                    <a:pt x="93080" y="209290"/>
                    <a:pt x="92799" y="209572"/>
                  </a:cubicBezTo>
                  <a:lnTo>
                    <a:pt x="92799" y="210136"/>
                  </a:lnTo>
                  <a:cubicBezTo>
                    <a:pt x="92799" y="210418"/>
                    <a:pt x="92799" y="210700"/>
                    <a:pt x="92516" y="210700"/>
                  </a:cubicBezTo>
                  <a:cubicBezTo>
                    <a:pt x="92234" y="210700"/>
                    <a:pt x="91952" y="210418"/>
                    <a:pt x="91670" y="210418"/>
                  </a:cubicBezTo>
                  <a:lnTo>
                    <a:pt x="91670" y="210136"/>
                  </a:lnTo>
                  <a:cubicBezTo>
                    <a:pt x="91388" y="210136"/>
                    <a:pt x="91388" y="210418"/>
                    <a:pt x="91388" y="210418"/>
                  </a:cubicBezTo>
                  <a:cubicBezTo>
                    <a:pt x="91106" y="210418"/>
                    <a:pt x="90824" y="210700"/>
                    <a:pt x="90542" y="210982"/>
                  </a:cubicBezTo>
                  <a:cubicBezTo>
                    <a:pt x="90260" y="211264"/>
                    <a:pt x="90260" y="211264"/>
                    <a:pt x="90260" y="211546"/>
                  </a:cubicBezTo>
                  <a:lnTo>
                    <a:pt x="90260" y="212110"/>
                  </a:lnTo>
                  <a:lnTo>
                    <a:pt x="90542" y="212392"/>
                  </a:lnTo>
                  <a:lnTo>
                    <a:pt x="91670" y="211264"/>
                  </a:lnTo>
                  <a:cubicBezTo>
                    <a:pt x="91670" y="211264"/>
                    <a:pt x="91670" y="210982"/>
                    <a:pt x="91952" y="210982"/>
                  </a:cubicBezTo>
                  <a:cubicBezTo>
                    <a:pt x="92234" y="210982"/>
                    <a:pt x="92516" y="211264"/>
                    <a:pt x="92516" y="211264"/>
                  </a:cubicBezTo>
                  <a:cubicBezTo>
                    <a:pt x="92799" y="211546"/>
                    <a:pt x="93080" y="211828"/>
                    <a:pt x="93080" y="212110"/>
                  </a:cubicBezTo>
                  <a:cubicBezTo>
                    <a:pt x="93080" y="212392"/>
                    <a:pt x="93644" y="212674"/>
                    <a:pt x="94209" y="212674"/>
                  </a:cubicBezTo>
                  <a:lnTo>
                    <a:pt x="95055" y="212674"/>
                  </a:lnTo>
                  <a:lnTo>
                    <a:pt x="94773" y="212392"/>
                  </a:lnTo>
                  <a:lnTo>
                    <a:pt x="94773" y="211264"/>
                  </a:lnTo>
                  <a:lnTo>
                    <a:pt x="95337" y="210982"/>
                  </a:lnTo>
                  <a:lnTo>
                    <a:pt x="95337" y="211264"/>
                  </a:lnTo>
                  <a:cubicBezTo>
                    <a:pt x="95337" y="211828"/>
                    <a:pt x="95337" y="212392"/>
                    <a:pt x="95619" y="213238"/>
                  </a:cubicBezTo>
                  <a:lnTo>
                    <a:pt x="95619" y="213803"/>
                  </a:lnTo>
                  <a:cubicBezTo>
                    <a:pt x="94773" y="214085"/>
                    <a:pt x="94491" y="214649"/>
                    <a:pt x="94209" y="214931"/>
                  </a:cubicBezTo>
                  <a:cubicBezTo>
                    <a:pt x="93644" y="215495"/>
                    <a:pt x="93363" y="215777"/>
                    <a:pt x="93080" y="215777"/>
                  </a:cubicBezTo>
                  <a:cubicBezTo>
                    <a:pt x="92799" y="215777"/>
                    <a:pt x="92516" y="215495"/>
                    <a:pt x="91952" y="215213"/>
                  </a:cubicBezTo>
                  <a:cubicBezTo>
                    <a:pt x="91952" y="215213"/>
                    <a:pt x="91670" y="214931"/>
                    <a:pt x="91388" y="214931"/>
                  </a:cubicBezTo>
                  <a:cubicBezTo>
                    <a:pt x="91106" y="214931"/>
                    <a:pt x="91106" y="215213"/>
                    <a:pt x="90824" y="215495"/>
                  </a:cubicBezTo>
                  <a:cubicBezTo>
                    <a:pt x="90542" y="215495"/>
                    <a:pt x="90260" y="215495"/>
                    <a:pt x="89978" y="216059"/>
                  </a:cubicBezTo>
                  <a:cubicBezTo>
                    <a:pt x="89413" y="216059"/>
                    <a:pt x="89413" y="216341"/>
                    <a:pt x="89413" y="216341"/>
                  </a:cubicBezTo>
                  <a:cubicBezTo>
                    <a:pt x="90260" y="216623"/>
                    <a:pt x="90260" y="216905"/>
                    <a:pt x="90260" y="217187"/>
                  </a:cubicBezTo>
                  <a:lnTo>
                    <a:pt x="90260" y="217751"/>
                  </a:lnTo>
                  <a:cubicBezTo>
                    <a:pt x="90260" y="218033"/>
                    <a:pt x="90260" y="218033"/>
                    <a:pt x="90824" y="218315"/>
                  </a:cubicBezTo>
                  <a:cubicBezTo>
                    <a:pt x="90824" y="218598"/>
                    <a:pt x="91106" y="218598"/>
                    <a:pt x="91106" y="218880"/>
                  </a:cubicBezTo>
                  <a:lnTo>
                    <a:pt x="90260" y="219444"/>
                  </a:lnTo>
                  <a:cubicBezTo>
                    <a:pt x="89132" y="220008"/>
                    <a:pt x="88849" y="220854"/>
                    <a:pt x="88285" y="221418"/>
                  </a:cubicBezTo>
                  <a:cubicBezTo>
                    <a:pt x="88003" y="221700"/>
                    <a:pt x="87721" y="221700"/>
                    <a:pt x="87721" y="221982"/>
                  </a:cubicBezTo>
                  <a:cubicBezTo>
                    <a:pt x="87721" y="222264"/>
                    <a:pt x="88003" y="222546"/>
                    <a:pt x="88285" y="222828"/>
                  </a:cubicBezTo>
                  <a:lnTo>
                    <a:pt x="88568" y="222546"/>
                  </a:lnTo>
                  <a:cubicBezTo>
                    <a:pt x="88568" y="222546"/>
                    <a:pt x="88849" y="222264"/>
                    <a:pt x="89132" y="222264"/>
                  </a:cubicBezTo>
                  <a:cubicBezTo>
                    <a:pt x="89132" y="222264"/>
                    <a:pt x="89413" y="222264"/>
                    <a:pt x="89132" y="222546"/>
                  </a:cubicBezTo>
                  <a:lnTo>
                    <a:pt x="89413" y="222546"/>
                  </a:lnTo>
                  <a:lnTo>
                    <a:pt x="89132" y="222828"/>
                  </a:lnTo>
                  <a:cubicBezTo>
                    <a:pt x="88849" y="222828"/>
                    <a:pt x="88849" y="223111"/>
                    <a:pt x="88849" y="223393"/>
                  </a:cubicBezTo>
                  <a:cubicBezTo>
                    <a:pt x="88849" y="223675"/>
                    <a:pt x="89132" y="223675"/>
                    <a:pt x="89132" y="223675"/>
                  </a:cubicBezTo>
                  <a:lnTo>
                    <a:pt x="88849" y="223957"/>
                  </a:lnTo>
                  <a:cubicBezTo>
                    <a:pt x="88568" y="224239"/>
                    <a:pt x="88285" y="224803"/>
                    <a:pt x="88285" y="224803"/>
                  </a:cubicBezTo>
                  <a:lnTo>
                    <a:pt x="87721" y="225085"/>
                  </a:lnTo>
                  <a:cubicBezTo>
                    <a:pt x="87439" y="225649"/>
                    <a:pt x="87439" y="225931"/>
                    <a:pt x="86875" y="226495"/>
                  </a:cubicBezTo>
                  <a:lnTo>
                    <a:pt x="86875" y="227059"/>
                  </a:lnTo>
                  <a:cubicBezTo>
                    <a:pt x="86875" y="227906"/>
                    <a:pt x="86311" y="228188"/>
                    <a:pt x="85747" y="228752"/>
                  </a:cubicBezTo>
                  <a:lnTo>
                    <a:pt x="85747" y="230162"/>
                  </a:lnTo>
                  <a:cubicBezTo>
                    <a:pt x="85747" y="230726"/>
                    <a:pt x="85182" y="231008"/>
                    <a:pt x="84618" y="231572"/>
                  </a:cubicBezTo>
                  <a:cubicBezTo>
                    <a:pt x="84054" y="231854"/>
                    <a:pt x="83772" y="232137"/>
                    <a:pt x="83772" y="232983"/>
                  </a:cubicBezTo>
                  <a:cubicBezTo>
                    <a:pt x="83772" y="233265"/>
                    <a:pt x="83772" y="233547"/>
                    <a:pt x="83208" y="233547"/>
                  </a:cubicBezTo>
                  <a:cubicBezTo>
                    <a:pt x="82926" y="233829"/>
                    <a:pt x="82926" y="233829"/>
                    <a:pt x="82926" y="234111"/>
                  </a:cubicBezTo>
                  <a:lnTo>
                    <a:pt x="82926" y="234675"/>
                  </a:lnTo>
                  <a:cubicBezTo>
                    <a:pt x="82362" y="234675"/>
                    <a:pt x="82080" y="234957"/>
                    <a:pt x="81234" y="235803"/>
                  </a:cubicBezTo>
                  <a:cubicBezTo>
                    <a:pt x="80952" y="236085"/>
                    <a:pt x="80952" y="236085"/>
                    <a:pt x="80952" y="236367"/>
                  </a:cubicBezTo>
                  <a:cubicBezTo>
                    <a:pt x="80952" y="236649"/>
                    <a:pt x="81234" y="236932"/>
                    <a:pt x="81516" y="236932"/>
                  </a:cubicBezTo>
                  <a:cubicBezTo>
                    <a:pt x="81516" y="237214"/>
                    <a:pt x="81798" y="237496"/>
                    <a:pt x="81798" y="237496"/>
                  </a:cubicBezTo>
                  <a:cubicBezTo>
                    <a:pt x="81798" y="237778"/>
                    <a:pt x="81516" y="237778"/>
                    <a:pt x="81516" y="237778"/>
                  </a:cubicBezTo>
                  <a:lnTo>
                    <a:pt x="80952" y="238624"/>
                  </a:lnTo>
                  <a:cubicBezTo>
                    <a:pt x="80952" y="238906"/>
                    <a:pt x="80952" y="239188"/>
                    <a:pt x="81234" y="239188"/>
                  </a:cubicBezTo>
                  <a:cubicBezTo>
                    <a:pt x="81234" y="239188"/>
                    <a:pt x="81234" y="239470"/>
                    <a:pt x="81516" y="239752"/>
                  </a:cubicBezTo>
                  <a:lnTo>
                    <a:pt x="81516" y="240034"/>
                  </a:lnTo>
                  <a:lnTo>
                    <a:pt x="81234" y="240316"/>
                  </a:lnTo>
                  <a:lnTo>
                    <a:pt x="80388" y="240316"/>
                  </a:lnTo>
                  <a:cubicBezTo>
                    <a:pt x="80106" y="240316"/>
                    <a:pt x="79824" y="240316"/>
                    <a:pt x="79824" y="240880"/>
                  </a:cubicBezTo>
                  <a:cubicBezTo>
                    <a:pt x="79541" y="242009"/>
                    <a:pt x="79541" y="242009"/>
                    <a:pt x="78413" y="242855"/>
                  </a:cubicBezTo>
                  <a:cubicBezTo>
                    <a:pt x="78413" y="243137"/>
                    <a:pt x="78131" y="243419"/>
                    <a:pt x="77285" y="243983"/>
                  </a:cubicBezTo>
                  <a:lnTo>
                    <a:pt x="77003" y="244547"/>
                  </a:lnTo>
                  <a:lnTo>
                    <a:pt x="75875" y="244547"/>
                  </a:lnTo>
                  <a:cubicBezTo>
                    <a:pt x="75875" y="244829"/>
                    <a:pt x="75593" y="245111"/>
                    <a:pt x="74746" y="245111"/>
                  </a:cubicBezTo>
                  <a:cubicBezTo>
                    <a:pt x="74465" y="245111"/>
                    <a:pt x="74182" y="245958"/>
                    <a:pt x="73900" y="245675"/>
                  </a:cubicBezTo>
                  <a:lnTo>
                    <a:pt x="73618" y="245958"/>
                  </a:lnTo>
                  <a:cubicBezTo>
                    <a:pt x="73618" y="246240"/>
                    <a:pt x="73618" y="246522"/>
                    <a:pt x="73336" y="246522"/>
                  </a:cubicBezTo>
                  <a:cubicBezTo>
                    <a:pt x="73054" y="246522"/>
                    <a:pt x="72490" y="246240"/>
                    <a:pt x="72490" y="246240"/>
                  </a:cubicBezTo>
                  <a:lnTo>
                    <a:pt x="69951" y="249342"/>
                  </a:lnTo>
                  <a:cubicBezTo>
                    <a:pt x="69951" y="249906"/>
                    <a:pt x="69669" y="249906"/>
                    <a:pt x="69387" y="249906"/>
                  </a:cubicBezTo>
                  <a:lnTo>
                    <a:pt x="66848" y="249906"/>
                  </a:lnTo>
                  <a:cubicBezTo>
                    <a:pt x="66848" y="249342"/>
                    <a:pt x="66567" y="249342"/>
                    <a:pt x="66003" y="249342"/>
                  </a:cubicBezTo>
                  <a:cubicBezTo>
                    <a:pt x="65438" y="249342"/>
                    <a:pt x="64592" y="249624"/>
                    <a:pt x="64028" y="249624"/>
                  </a:cubicBezTo>
                  <a:cubicBezTo>
                    <a:pt x="63464" y="249624"/>
                    <a:pt x="63182" y="249342"/>
                    <a:pt x="62900" y="249342"/>
                  </a:cubicBezTo>
                  <a:cubicBezTo>
                    <a:pt x="62336" y="249624"/>
                    <a:pt x="62054" y="249624"/>
                    <a:pt x="61772" y="249624"/>
                  </a:cubicBezTo>
                  <a:cubicBezTo>
                    <a:pt x="61490" y="249624"/>
                    <a:pt x="61207" y="249624"/>
                    <a:pt x="60926" y="249906"/>
                  </a:cubicBezTo>
                  <a:lnTo>
                    <a:pt x="56976" y="247650"/>
                  </a:lnTo>
                  <a:cubicBezTo>
                    <a:pt x="56412" y="247650"/>
                    <a:pt x="56412" y="247932"/>
                    <a:pt x="56131" y="247932"/>
                  </a:cubicBezTo>
                  <a:cubicBezTo>
                    <a:pt x="55848" y="248214"/>
                    <a:pt x="55566" y="248214"/>
                    <a:pt x="55566" y="248214"/>
                  </a:cubicBezTo>
                  <a:cubicBezTo>
                    <a:pt x="55284" y="248214"/>
                    <a:pt x="55002" y="248214"/>
                    <a:pt x="54720" y="247932"/>
                  </a:cubicBezTo>
                  <a:cubicBezTo>
                    <a:pt x="54156" y="247650"/>
                    <a:pt x="53592" y="246804"/>
                    <a:pt x="52745" y="246240"/>
                  </a:cubicBezTo>
                  <a:cubicBezTo>
                    <a:pt x="52181" y="246240"/>
                    <a:pt x="52181" y="245675"/>
                    <a:pt x="51053" y="245675"/>
                  </a:cubicBezTo>
                  <a:cubicBezTo>
                    <a:pt x="51053" y="245393"/>
                    <a:pt x="51053" y="245111"/>
                    <a:pt x="50489" y="244829"/>
                  </a:cubicBezTo>
                  <a:cubicBezTo>
                    <a:pt x="50207" y="244547"/>
                    <a:pt x="49643" y="244547"/>
                    <a:pt x="49643" y="243983"/>
                  </a:cubicBezTo>
                  <a:cubicBezTo>
                    <a:pt x="49643" y="243137"/>
                    <a:pt x="48797" y="243137"/>
                    <a:pt x="48233" y="243137"/>
                  </a:cubicBezTo>
                  <a:cubicBezTo>
                    <a:pt x="47950" y="243137"/>
                    <a:pt x="47950" y="242855"/>
                    <a:pt x="47950" y="242573"/>
                  </a:cubicBezTo>
                  <a:cubicBezTo>
                    <a:pt x="47950" y="242573"/>
                    <a:pt x="48233" y="242291"/>
                    <a:pt x="48514" y="242291"/>
                  </a:cubicBezTo>
                  <a:lnTo>
                    <a:pt x="48797" y="242291"/>
                  </a:lnTo>
                  <a:lnTo>
                    <a:pt x="48514" y="242009"/>
                  </a:lnTo>
                  <a:lnTo>
                    <a:pt x="48514" y="241162"/>
                  </a:lnTo>
                  <a:cubicBezTo>
                    <a:pt x="48514" y="240880"/>
                    <a:pt x="48514" y="240880"/>
                    <a:pt x="48233" y="240880"/>
                  </a:cubicBezTo>
                  <a:cubicBezTo>
                    <a:pt x="47669" y="240880"/>
                    <a:pt x="47104" y="240598"/>
                    <a:pt x="47104" y="240316"/>
                  </a:cubicBezTo>
                  <a:lnTo>
                    <a:pt x="47386" y="240034"/>
                  </a:lnTo>
                  <a:cubicBezTo>
                    <a:pt x="47669" y="240034"/>
                    <a:pt x="47669" y="240034"/>
                    <a:pt x="47669" y="239752"/>
                  </a:cubicBezTo>
                  <a:lnTo>
                    <a:pt x="47669" y="239470"/>
                  </a:lnTo>
                  <a:cubicBezTo>
                    <a:pt x="47669" y="239188"/>
                    <a:pt x="47386" y="239188"/>
                    <a:pt x="47386" y="238906"/>
                  </a:cubicBezTo>
                  <a:lnTo>
                    <a:pt x="47104" y="238624"/>
                  </a:lnTo>
                  <a:cubicBezTo>
                    <a:pt x="47386" y="238342"/>
                    <a:pt x="47386" y="238060"/>
                    <a:pt x="47386" y="237778"/>
                  </a:cubicBezTo>
                  <a:cubicBezTo>
                    <a:pt x="47386" y="237496"/>
                    <a:pt x="47386" y="237214"/>
                    <a:pt x="46822" y="237214"/>
                  </a:cubicBezTo>
                  <a:lnTo>
                    <a:pt x="46822" y="236932"/>
                  </a:lnTo>
                  <a:cubicBezTo>
                    <a:pt x="46540" y="236649"/>
                    <a:pt x="46540" y="236367"/>
                    <a:pt x="46540" y="236085"/>
                  </a:cubicBezTo>
                  <a:cubicBezTo>
                    <a:pt x="46540" y="235521"/>
                    <a:pt x="46259" y="234957"/>
                    <a:pt x="46259" y="234675"/>
                  </a:cubicBezTo>
                  <a:cubicBezTo>
                    <a:pt x="45976" y="234111"/>
                    <a:pt x="45976" y="234111"/>
                    <a:pt x="45976" y="233547"/>
                  </a:cubicBezTo>
                  <a:cubicBezTo>
                    <a:pt x="45694" y="233547"/>
                    <a:pt x="45130" y="233265"/>
                    <a:pt x="44848" y="233265"/>
                  </a:cubicBezTo>
                  <a:lnTo>
                    <a:pt x="44284" y="233265"/>
                  </a:lnTo>
                  <a:cubicBezTo>
                    <a:pt x="44284" y="233265"/>
                    <a:pt x="44002" y="233265"/>
                    <a:pt x="43720" y="232983"/>
                  </a:cubicBezTo>
                  <a:lnTo>
                    <a:pt x="43720" y="232137"/>
                  </a:lnTo>
                  <a:lnTo>
                    <a:pt x="44002" y="231854"/>
                  </a:lnTo>
                  <a:cubicBezTo>
                    <a:pt x="44002" y="231290"/>
                    <a:pt x="44566" y="231290"/>
                    <a:pt x="44566" y="231008"/>
                  </a:cubicBezTo>
                  <a:lnTo>
                    <a:pt x="44566" y="230162"/>
                  </a:lnTo>
                  <a:cubicBezTo>
                    <a:pt x="44566" y="229034"/>
                    <a:pt x="44284" y="228470"/>
                    <a:pt x="44284" y="227906"/>
                  </a:cubicBezTo>
                  <a:cubicBezTo>
                    <a:pt x="44284" y="227624"/>
                    <a:pt x="43720" y="227341"/>
                    <a:pt x="43720" y="226777"/>
                  </a:cubicBezTo>
                  <a:lnTo>
                    <a:pt x="43720" y="226495"/>
                  </a:lnTo>
                  <a:cubicBezTo>
                    <a:pt x="43720" y="226213"/>
                    <a:pt x="43438" y="226213"/>
                    <a:pt x="43438" y="226213"/>
                  </a:cubicBezTo>
                  <a:lnTo>
                    <a:pt x="43438" y="226495"/>
                  </a:lnTo>
                  <a:lnTo>
                    <a:pt x="42873" y="226495"/>
                  </a:lnTo>
                  <a:lnTo>
                    <a:pt x="42873" y="225649"/>
                  </a:lnTo>
                  <a:cubicBezTo>
                    <a:pt x="42873" y="225367"/>
                    <a:pt x="42873" y="225367"/>
                    <a:pt x="42592" y="225085"/>
                  </a:cubicBezTo>
                  <a:cubicBezTo>
                    <a:pt x="42309" y="225085"/>
                    <a:pt x="42309" y="225085"/>
                    <a:pt x="42309" y="224803"/>
                  </a:cubicBezTo>
                  <a:lnTo>
                    <a:pt x="43156" y="223957"/>
                  </a:lnTo>
                  <a:cubicBezTo>
                    <a:pt x="43156" y="223957"/>
                    <a:pt x="42873" y="223393"/>
                    <a:pt x="42873" y="223111"/>
                  </a:cubicBezTo>
                  <a:cubicBezTo>
                    <a:pt x="42309" y="223111"/>
                    <a:pt x="42309" y="222828"/>
                    <a:pt x="42309" y="222828"/>
                  </a:cubicBezTo>
                  <a:lnTo>
                    <a:pt x="42309" y="220854"/>
                  </a:lnTo>
                  <a:cubicBezTo>
                    <a:pt x="42309" y="220290"/>
                    <a:pt x="42309" y="219726"/>
                    <a:pt x="42592" y="218880"/>
                  </a:cubicBezTo>
                  <a:lnTo>
                    <a:pt x="43156" y="218880"/>
                  </a:lnTo>
                  <a:cubicBezTo>
                    <a:pt x="43438" y="218880"/>
                    <a:pt x="43720" y="218880"/>
                    <a:pt x="43720" y="218315"/>
                  </a:cubicBezTo>
                  <a:cubicBezTo>
                    <a:pt x="43438" y="217751"/>
                    <a:pt x="43438" y="217469"/>
                    <a:pt x="43438" y="216623"/>
                  </a:cubicBezTo>
                  <a:cubicBezTo>
                    <a:pt x="43438" y="216341"/>
                    <a:pt x="43156" y="216341"/>
                    <a:pt x="43156" y="216059"/>
                  </a:cubicBezTo>
                  <a:cubicBezTo>
                    <a:pt x="42873" y="216059"/>
                    <a:pt x="43156" y="215777"/>
                    <a:pt x="43156" y="215495"/>
                  </a:cubicBezTo>
                  <a:cubicBezTo>
                    <a:pt x="43438" y="215213"/>
                    <a:pt x="43438" y="214649"/>
                    <a:pt x="43438" y="214367"/>
                  </a:cubicBezTo>
                  <a:cubicBezTo>
                    <a:pt x="43438" y="214085"/>
                    <a:pt x="43438" y="213803"/>
                    <a:pt x="43156" y="212956"/>
                  </a:cubicBezTo>
                  <a:lnTo>
                    <a:pt x="43438" y="212674"/>
                  </a:lnTo>
                  <a:cubicBezTo>
                    <a:pt x="42873" y="212392"/>
                    <a:pt x="42028" y="211828"/>
                    <a:pt x="42028" y="211264"/>
                  </a:cubicBezTo>
                  <a:cubicBezTo>
                    <a:pt x="42028" y="210982"/>
                    <a:pt x="42309" y="210982"/>
                    <a:pt x="42309" y="210700"/>
                  </a:cubicBezTo>
                  <a:cubicBezTo>
                    <a:pt x="42309" y="210700"/>
                    <a:pt x="41463" y="210418"/>
                    <a:pt x="41463" y="210136"/>
                  </a:cubicBezTo>
                  <a:cubicBezTo>
                    <a:pt x="41463" y="210136"/>
                    <a:pt x="41463" y="209854"/>
                    <a:pt x="41745" y="209854"/>
                  </a:cubicBezTo>
                  <a:cubicBezTo>
                    <a:pt x="43156" y="209290"/>
                    <a:pt x="43156" y="209290"/>
                    <a:pt x="43156" y="208725"/>
                  </a:cubicBezTo>
                  <a:cubicBezTo>
                    <a:pt x="43156" y="207879"/>
                    <a:pt x="43156" y="207315"/>
                    <a:pt x="42309" y="207033"/>
                  </a:cubicBezTo>
                  <a:lnTo>
                    <a:pt x="42028" y="206751"/>
                  </a:lnTo>
                  <a:cubicBezTo>
                    <a:pt x="42028" y="206751"/>
                    <a:pt x="42028" y="206469"/>
                    <a:pt x="42309" y="206187"/>
                  </a:cubicBezTo>
                  <a:lnTo>
                    <a:pt x="41745" y="205905"/>
                  </a:lnTo>
                  <a:lnTo>
                    <a:pt x="41745" y="205341"/>
                  </a:lnTo>
                  <a:cubicBezTo>
                    <a:pt x="41463" y="204495"/>
                    <a:pt x="41463" y="203648"/>
                    <a:pt x="41463" y="203084"/>
                  </a:cubicBezTo>
                  <a:lnTo>
                    <a:pt x="41463" y="201110"/>
                  </a:lnTo>
                  <a:cubicBezTo>
                    <a:pt x="41463" y="200264"/>
                    <a:pt x="41463" y="200264"/>
                    <a:pt x="41745" y="199982"/>
                  </a:cubicBezTo>
                  <a:cubicBezTo>
                    <a:pt x="42309" y="199982"/>
                    <a:pt x="42592" y="199982"/>
                    <a:pt x="42873" y="199699"/>
                  </a:cubicBezTo>
                  <a:cubicBezTo>
                    <a:pt x="42873" y="199417"/>
                    <a:pt x="42592" y="199135"/>
                    <a:pt x="42028" y="198571"/>
                  </a:cubicBezTo>
                  <a:cubicBezTo>
                    <a:pt x="41745" y="198571"/>
                    <a:pt x="41745" y="198007"/>
                    <a:pt x="41745" y="198007"/>
                  </a:cubicBezTo>
                  <a:cubicBezTo>
                    <a:pt x="42309" y="197725"/>
                    <a:pt x="42592" y="197443"/>
                    <a:pt x="42592" y="196879"/>
                  </a:cubicBezTo>
                  <a:cubicBezTo>
                    <a:pt x="42592" y="196597"/>
                    <a:pt x="42309" y="196033"/>
                    <a:pt x="42309" y="195751"/>
                  </a:cubicBezTo>
                  <a:lnTo>
                    <a:pt x="42309" y="194058"/>
                  </a:lnTo>
                  <a:cubicBezTo>
                    <a:pt x="42592" y="193212"/>
                    <a:pt x="43156" y="192648"/>
                    <a:pt x="43438" y="192366"/>
                  </a:cubicBezTo>
                  <a:lnTo>
                    <a:pt x="43156" y="192084"/>
                  </a:lnTo>
                  <a:lnTo>
                    <a:pt x="43156" y="190673"/>
                  </a:lnTo>
                  <a:cubicBezTo>
                    <a:pt x="42873" y="190673"/>
                    <a:pt x="42873" y="190391"/>
                    <a:pt x="42873" y="190391"/>
                  </a:cubicBezTo>
                  <a:cubicBezTo>
                    <a:pt x="42873" y="190391"/>
                    <a:pt x="42873" y="190109"/>
                    <a:pt x="43156" y="189827"/>
                  </a:cubicBezTo>
                  <a:cubicBezTo>
                    <a:pt x="43720" y="189545"/>
                    <a:pt x="43720" y="188981"/>
                    <a:pt x="44002" y="188981"/>
                  </a:cubicBezTo>
                  <a:cubicBezTo>
                    <a:pt x="43720" y="188417"/>
                    <a:pt x="43720" y="187853"/>
                    <a:pt x="43720" y="187289"/>
                  </a:cubicBezTo>
                  <a:cubicBezTo>
                    <a:pt x="43720" y="187007"/>
                    <a:pt x="44002" y="186725"/>
                    <a:pt x="44002" y="186443"/>
                  </a:cubicBezTo>
                  <a:cubicBezTo>
                    <a:pt x="44002" y="186161"/>
                    <a:pt x="43720" y="185878"/>
                    <a:pt x="43720" y="185314"/>
                  </a:cubicBezTo>
                  <a:lnTo>
                    <a:pt x="43720" y="184750"/>
                  </a:lnTo>
                  <a:cubicBezTo>
                    <a:pt x="43720" y="184750"/>
                    <a:pt x="43720" y="184186"/>
                    <a:pt x="44566" y="183622"/>
                  </a:cubicBezTo>
                  <a:lnTo>
                    <a:pt x="44566" y="180519"/>
                  </a:lnTo>
                  <a:lnTo>
                    <a:pt x="44848" y="180237"/>
                  </a:lnTo>
                  <a:cubicBezTo>
                    <a:pt x="44284" y="179955"/>
                    <a:pt x="44284" y="179391"/>
                    <a:pt x="44284" y="179109"/>
                  </a:cubicBezTo>
                  <a:lnTo>
                    <a:pt x="44284" y="178545"/>
                  </a:lnTo>
                  <a:cubicBezTo>
                    <a:pt x="44284" y="177981"/>
                    <a:pt x="44284" y="177699"/>
                    <a:pt x="45130" y="177135"/>
                  </a:cubicBezTo>
                  <a:cubicBezTo>
                    <a:pt x="45130" y="177135"/>
                    <a:pt x="45130" y="176288"/>
                    <a:pt x="44848" y="176288"/>
                  </a:cubicBezTo>
                  <a:cubicBezTo>
                    <a:pt x="44566" y="176006"/>
                    <a:pt x="44566" y="176006"/>
                    <a:pt x="44566" y="175724"/>
                  </a:cubicBezTo>
                  <a:cubicBezTo>
                    <a:pt x="44566" y="175724"/>
                    <a:pt x="44566" y="175442"/>
                    <a:pt x="44848" y="175442"/>
                  </a:cubicBezTo>
                  <a:cubicBezTo>
                    <a:pt x="44848" y="175442"/>
                    <a:pt x="45130" y="175442"/>
                    <a:pt x="45130" y="175160"/>
                  </a:cubicBezTo>
                  <a:cubicBezTo>
                    <a:pt x="44848" y="174878"/>
                    <a:pt x="44566" y="174878"/>
                    <a:pt x="44566" y="174596"/>
                  </a:cubicBezTo>
                  <a:cubicBezTo>
                    <a:pt x="44002" y="174314"/>
                    <a:pt x="44002" y="174032"/>
                    <a:pt x="44002" y="173750"/>
                  </a:cubicBezTo>
                  <a:lnTo>
                    <a:pt x="44002" y="172340"/>
                  </a:lnTo>
                  <a:cubicBezTo>
                    <a:pt x="44284" y="172057"/>
                    <a:pt x="44284" y="171493"/>
                    <a:pt x="44284" y="170929"/>
                  </a:cubicBezTo>
                  <a:cubicBezTo>
                    <a:pt x="44566" y="170647"/>
                    <a:pt x="44566" y="170647"/>
                    <a:pt x="44566" y="170365"/>
                  </a:cubicBezTo>
                  <a:cubicBezTo>
                    <a:pt x="44566" y="170083"/>
                    <a:pt x="44284" y="169801"/>
                    <a:pt x="44284" y="169519"/>
                  </a:cubicBezTo>
                  <a:cubicBezTo>
                    <a:pt x="44284" y="169237"/>
                    <a:pt x="44566" y="168955"/>
                    <a:pt x="45130" y="168673"/>
                  </a:cubicBezTo>
                  <a:cubicBezTo>
                    <a:pt x="45412" y="168673"/>
                    <a:pt x="45412" y="168673"/>
                    <a:pt x="45412" y="168391"/>
                  </a:cubicBezTo>
                  <a:lnTo>
                    <a:pt x="45412" y="167262"/>
                  </a:lnTo>
                  <a:cubicBezTo>
                    <a:pt x="45412" y="167262"/>
                    <a:pt x="45130" y="167262"/>
                    <a:pt x="45130" y="166980"/>
                  </a:cubicBezTo>
                  <a:lnTo>
                    <a:pt x="45412" y="166698"/>
                  </a:lnTo>
                  <a:cubicBezTo>
                    <a:pt x="45412" y="166698"/>
                    <a:pt x="46259" y="165852"/>
                    <a:pt x="46259" y="165288"/>
                  </a:cubicBezTo>
                  <a:cubicBezTo>
                    <a:pt x="45694" y="164724"/>
                    <a:pt x="45412" y="164160"/>
                    <a:pt x="45412" y="163878"/>
                  </a:cubicBezTo>
                  <a:cubicBezTo>
                    <a:pt x="45412" y="163596"/>
                    <a:pt x="45412" y="163314"/>
                    <a:pt x="45976" y="162749"/>
                  </a:cubicBezTo>
                  <a:lnTo>
                    <a:pt x="45976" y="162185"/>
                  </a:lnTo>
                  <a:cubicBezTo>
                    <a:pt x="45976" y="161903"/>
                    <a:pt x="45976" y="161621"/>
                    <a:pt x="46540" y="161339"/>
                  </a:cubicBezTo>
                  <a:cubicBezTo>
                    <a:pt x="46822" y="161057"/>
                    <a:pt x="46822" y="160493"/>
                    <a:pt x="46822" y="159929"/>
                  </a:cubicBezTo>
                  <a:lnTo>
                    <a:pt x="46822" y="159083"/>
                  </a:lnTo>
                  <a:cubicBezTo>
                    <a:pt x="47104" y="159083"/>
                    <a:pt x="46822" y="158801"/>
                    <a:pt x="46822" y="158801"/>
                  </a:cubicBezTo>
                  <a:lnTo>
                    <a:pt x="46540" y="158801"/>
                  </a:lnTo>
                  <a:lnTo>
                    <a:pt x="46540" y="157954"/>
                  </a:lnTo>
                  <a:lnTo>
                    <a:pt x="46822" y="157672"/>
                  </a:lnTo>
                  <a:cubicBezTo>
                    <a:pt x="47669" y="157108"/>
                    <a:pt x="47950" y="156826"/>
                    <a:pt x="47950" y="156262"/>
                  </a:cubicBezTo>
                  <a:cubicBezTo>
                    <a:pt x="47669" y="155980"/>
                    <a:pt x="47669" y="155698"/>
                    <a:pt x="47669" y="155416"/>
                  </a:cubicBezTo>
                  <a:cubicBezTo>
                    <a:pt x="47669" y="155134"/>
                    <a:pt x="47950" y="154570"/>
                    <a:pt x="48233" y="154288"/>
                  </a:cubicBezTo>
                  <a:lnTo>
                    <a:pt x="48233" y="154006"/>
                  </a:lnTo>
                  <a:cubicBezTo>
                    <a:pt x="47950" y="153723"/>
                    <a:pt x="47669" y="153159"/>
                    <a:pt x="47669" y="152877"/>
                  </a:cubicBezTo>
                  <a:lnTo>
                    <a:pt x="47669" y="151749"/>
                  </a:lnTo>
                  <a:cubicBezTo>
                    <a:pt x="47669" y="151467"/>
                    <a:pt x="47669" y="151467"/>
                    <a:pt x="47950" y="151185"/>
                  </a:cubicBezTo>
                  <a:cubicBezTo>
                    <a:pt x="47950" y="150903"/>
                    <a:pt x="48233" y="150903"/>
                    <a:pt x="48233" y="150903"/>
                  </a:cubicBezTo>
                  <a:lnTo>
                    <a:pt x="48514" y="150903"/>
                  </a:lnTo>
                  <a:cubicBezTo>
                    <a:pt x="48514" y="150903"/>
                    <a:pt x="48797" y="150903"/>
                    <a:pt x="48797" y="150621"/>
                  </a:cubicBezTo>
                  <a:cubicBezTo>
                    <a:pt x="48797" y="150621"/>
                    <a:pt x="48514" y="150339"/>
                    <a:pt x="48514" y="150057"/>
                  </a:cubicBezTo>
                  <a:cubicBezTo>
                    <a:pt x="48514" y="150057"/>
                    <a:pt x="48233" y="149775"/>
                    <a:pt x="48233" y="149493"/>
                  </a:cubicBezTo>
                  <a:lnTo>
                    <a:pt x="48233" y="149210"/>
                  </a:lnTo>
                  <a:cubicBezTo>
                    <a:pt x="48797" y="148928"/>
                    <a:pt x="48797" y="148364"/>
                    <a:pt x="48797" y="148082"/>
                  </a:cubicBezTo>
                  <a:lnTo>
                    <a:pt x="48797" y="147800"/>
                  </a:lnTo>
                  <a:cubicBezTo>
                    <a:pt x="49079" y="147518"/>
                    <a:pt x="49079" y="147236"/>
                    <a:pt x="49079" y="147236"/>
                  </a:cubicBezTo>
                  <a:cubicBezTo>
                    <a:pt x="49079" y="146954"/>
                    <a:pt x="48797" y="146954"/>
                    <a:pt x="48797" y="146390"/>
                  </a:cubicBezTo>
                  <a:cubicBezTo>
                    <a:pt x="48514" y="146108"/>
                    <a:pt x="48233" y="145826"/>
                    <a:pt x="48233" y="145544"/>
                  </a:cubicBezTo>
                  <a:cubicBezTo>
                    <a:pt x="48233" y="145262"/>
                    <a:pt x="48514" y="145262"/>
                    <a:pt x="48797" y="144980"/>
                  </a:cubicBezTo>
                  <a:cubicBezTo>
                    <a:pt x="50489" y="144697"/>
                    <a:pt x="50489" y="144133"/>
                    <a:pt x="50771" y="143287"/>
                  </a:cubicBezTo>
                  <a:lnTo>
                    <a:pt x="50771" y="142441"/>
                  </a:lnTo>
                  <a:cubicBezTo>
                    <a:pt x="50489" y="142159"/>
                    <a:pt x="50489" y="141595"/>
                    <a:pt x="50489" y="141313"/>
                  </a:cubicBezTo>
                  <a:lnTo>
                    <a:pt x="50489" y="140185"/>
                  </a:lnTo>
                  <a:cubicBezTo>
                    <a:pt x="50771" y="139620"/>
                    <a:pt x="50771" y="138492"/>
                    <a:pt x="51053" y="137646"/>
                  </a:cubicBezTo>
                  <a:cubicBezTo>
                    <a:pt x="51053" y="137364"/>
                    <a:pt x="50771" y="137082"/>
                    <a:pt x="50771" y="136800"/>
                  </a:cubicBezTo>
                  <a:cubicBezTo>
                    <a:pt x="50771" y="136518"/>
                    <a:pt x="50771" y="136236"/>
                    <a:pt x="51053" y="135954"/>
                  </a:cubicBezTo>
                  <a:cubicBezTo>
                    <a:pt x="51053" y="135672"/>
                    <a:pt x="51335" y="135107"/>
                    <a:pt x="51335" y="134825"/>
                  </a:cubicBezTo>
                  <a:lnTo>
                    <a:pt x="51335" y="132851"/>
                  </a:lnTo>
                  <a:cubicBezTo>
                    <a:pt x="51900" y="132851"/>
                    <a:pt x="51900" y="132569"/>
                    <a:pt x="51900" y="132569"/>
                  </a:cubicBezTo>
                  <a:lnTo>
                    <a:pt x="51900" y="131159"/>
                  </a:lnTo>
                  <a:cubicBezTo>
                    <a:pt x="52181" y="130594"/>
                    <a:pt x="52181" y="130312"/>
                    <a:pt x="52181" y="129748"/>
                  </a:cubicBezTo>
                  <a:lnTo>
                    <a:pt x="51617" y="129466"/>
                  </a:lnTo>
                  <a:cubicBezTo>
                    <a:pt x="51617" y="129184"/>
                    <a:pt x="52181" y="128620"/>
                    <a:pt x="52464" y="128056"/>
                  </a:cubicBezTo>
                  <a:cubicBezTo>
                    <a:pt x="52464" y="128056"/>
                    <a:pt x="52745" y="127774"/>
                    <a:pt x="52745" y="127492"/>
                  </a:cubicBezTo>
                  <a:cubicBezTo>
                    <a:pt x="52745" y="127210"/>
                    <a:pt x="52464" y="126928"/>
                    <a:pt x="52464" y="126363"/>
                  </a:cubicBezTo>
                  <a:cubicBezTo>
                    <a:pt x="52464" y="126363"/>
                    <a:pt x="52464" y="125799"/>
                    <a:pt x="53310" y="125235"/>
                  </a:cubicBezTo>
                  <a:cubicBezTo>
                    <a:pt x="53592" y="125235"/>
                    <a:pt x="53592" y="124953"/>
                    <a:pt x="53592" y="124671"/>
                  </a:cubicBezTo>
                  <a:cubicBezTo>
                    <a:pt x="53592" y="124389"/>
                    <a:pt x="53592" y="124107"/>
                    <a:pt x="53310" y="123543"/>
                  </a:cubicBezTo>
                  <a:cubicBezTo>
                    <a:pt x="54156" y="123261"/>
                    <a:pt x="53592" y="122697"/>
                    <a:pt x="54438" y="122133"/>
                  </a:cubicBezTo>
                  <a:cubicBezTo>
                    <a:pt x="54720" y="122133"/>
                    <a:pt x="54438" y="121851"/>
                    <a:pt x="54156" y="121568"/>
                  </a:cubicBezTo>
                  <a:cubicBezTo>
                    <a:pt x="54156" y="121568"/>
                    <a:pt x="54438" y="120722"/>
                    <a:pt x="54438" y="120158"/>
                  </a:cubicBezTo>
                  <a:cubicBezTo>
                    <a:pt x="54438" y="120158"/>
                    <a:pt x="54438" y="119876"/>
                    <a:pt x="54720" y="119312"/>
                  </a:cubicBezTo>
                  <a:cubicBezTo>
                    <a:pt x="55284" y="119030"/>
                    <a:pt x="55284" y="118748"/>
                    <a:pt x="55566" y="118466"/>
                  </a:cubicBezTo>
                  <a:lnTo>
                    <a:pt x="55566" y="116209"/>
                  </a:lnTo>
                  <a:cubicBezTo>
                    <a:pt x="55566" y="115927"/>
                    <a:pt x="54720" y="115645"/>
                    <a:pt x="54720" y="115363"/>
                  </a:cubicBezTo>
                  <a:cubicBezTo>
                    <a:pt x="54720" y="115081"/>
                    <a:pt x="55002" y="114799"/>
                    <a:pt x="55284" y="114235"/>
                  </a:cubicBezTo>
                  <a:cubicBezTo>
                    <a:pt x="55566" y="113953"/>
                    <a:pt x="55284" y="113107"/>
                    <a:pt x="56412" y="112542"/>
                  </a:cubicBezTo>
                  <a:lnTo>
                    <a:pt x="56412" y="110850"/>
                  </a:lnTo>
                  <a:cubicBezTo>
                    <a:pt x="56976" y="110568"/>
                    <a:pt x="56976" y="110568"/>
                    <a:pt x="56976" y="110286"/>
                  </a:cubicBezTo>
                  <a:lnTo>
                    <a:pt x="56976" y="109722"/>
                  </a:lnTo>
                  <a:lnTo>
                    <a:pt x="57259" y="109440"/>
                  </a:lnTo>
                  <a:lnTo>
                    <a:pt x="57259" y="109158"/>
                  </a:lnTo>
                  <a:cubicBezTo>
                    <a:pt x="57259" y="108594"/>
                    <a:pt x="57823" y="108312"/>
                    <a:pt x="57823" y="107747"/>
                  </a:cubicBezTo>
                  <a:lnTo>
                    <a:pt x="57823" y="105491"/>
                  </a:lnTo>
                  <a:cubicBezTo>
                    <a:pt x="58105" y="105491"/>
                    <a:pt x="58105" y="105209"/>
                    <a:pt x="58105" y="104927"/>
                  </a:cubicBezTo>
                  <a:lnTo>
                    <a:pt x="58105" y="103517"/>
                  </a:lnTo>
                  <a:cubicBezTo>
                    <a:pt x="58105" y="103234"/>
                    <a:pt x="58951" y="102388"/>
                    <a:pt x="58951" y="101824"/>
                  </a:cubicBezTo>
                  <a:cubicBezTo>
                    <a:pt x="58951" y="101542"/>
                    <a:pt x="58951" y="101542"/>
                    <a:pt x="58669" y="101260"/>
                  </a:cubicBezTo>
                  <a:cubicBezTo>
                    <a:pt x="59233" y="100696"/>
                    <a:pt x="59515" y="100132"/>
                    <a:pt x="59515" y="99850"/>
                  </a:cubicBezTo>
                  <a:cubicBezTo>
                    <a:pt x="59515" y="99568"/>
                    <a:pt x="59233" y="99568"/>
                    <a:pt x="59233" y="99286"/>
                  </a:cubicBezTo>
                  <a:lnTo>
                    <a:pt x="59233" y="98721"/>
                  </a:lnTo>
                  <a:cubicBezTo>
                    <a:pt x="59233" y="98157"/>
                    <a:pt x="59515" y="97311"/>
                    <a:pt x="59797" y="96747"/>
                  </a:cubicBezTo>
                  <a:cubicBezTo>
                    <a:pt x="60079" y="96465"/>
                    <a:pt x="60079" y="96465"/>
                    <a:pt x="60079" y="96183"/>
                  </a:cubicBezTo>
                  <a:cubicBezTo>
                    <a:pt x="60079" y="95619"/>
                    <a:pt x="64874" y="78413"/>
                    <a:pt x="64592" y="77849"/>
                  </a:cubicBezTo>
                  <a:cubicBezTo>
                    <a:pt x="64874" y="77003"/>
                    <a:pt x="65720" y="77003"/>
                    <a:pt x="65720" y="76721"/>
                  </a:cubicBezTo>
                  <a:lnTo>
                    <a:pt x="65720" y="76439"/>
                  </a:lnTo>
                  <a:cubicBezTo>
                    <a:pt x="65720" y="75875"/>
                    <a:pt x="65438" y="75310"/>
                    <a:pt x="65156" y="75028"/>
                  </a:cubicBezTo>
                  <a:cubicBezTo>
                    <a:pt x="64592" y="75028"/>
                    <a:pt x="64592" y="74746"/>
                    <a:pt x="64592" y="74464"/>
                  </a:cubicBezTo>
                  <a:cubicBezTo>
                    <a:pt x="64592" y="74182"/>
                    <a:pt x="65438" y="74182"/>
                    <a:pt x="65720" y="74182"/>
                  </a:cubicBezTo>
                  <a:cubicBezTo>
                    <a:pt x="66567" y="74182"/>
                    <a:pt x="66848" y="73618"/>
                    <a:pt x="66848" y="73054"/>
                  </a:cubicBezTo>
                  <a:cubicBezTo>
                    <a:pt x="66567" y="72490"/>
                    <a:pt x="66567" y="72208"/>
                    <a:pt x="66567" y="71926"/>
                  </a:cubicBezTo>
                  <a:cubicBezTo>
                    <a:pt x="66567" y="71644"/>
                    <a:pt x="67131" y="71362"/>
                    <a:pt x="67131" y="71079"/>
                  </a:cubicBezTo>
                  <a:cubicBezTo>
                    <a:pt x="70515" y="59515"/>
                    <a:pt x="69669" y="63182"/>
                    <a:pt x="70798" y="58669"/>
                  </a:cubicBezTo>
                  <a:lnTo>
                    <a:pt x="69105" y="58669"/>
                  </a:lnTo>
                  <a:cubicBezTo>
                    <a:pt x="68823" y="58669"/>
                    <a:pt x="68259" y="59233"/>
                    <a:pt x="67977" y="59233"/>
                  </a:cubicBezTo>
                  <a:cubicBezTo>
                    <a:pt x="66284" y="59515"/>
                    <a:pt x="65156" y="59515"/>
                    <a:pt x="63182" y="60643"/>
                  </a:cubicBezTo>
                  <a:lnTo>
                    <a:pt x="62618" y="60643"/>
                  </a:lnTo>
                  <a:cubicBezTo>
                    <a:pt x="61772" y="60643"/>
                    <a:pt x="61490" y="60079"/>
                    <a:pt x="61207" y="59797"/>
                  </a:cubicBezTo>
                  <a:lnTo>
                    <a:pt x="60362" y="59797"/>
                  </a:lnTo>
                  <a:cubicBezTo>
                    <a:pt x="59797" y="59797"/>
                    <a:pt x="59233" y="59797"/>
                    <a:pt x="58951" y="60079"/>
                  </a:cubicBezTo>
                  <a:cubicBezTo>
                    <a:pt x="58669" y="60643"/>
                    <a:pt x="58105" y="60925"/>
                    <a:pt x="58105" y="60925"/>
                  </a:cubicBezTo>
                  <a:lnTo>
                    <a:pt x="56695" y="60925"/>
                  </a:lnTo>
                  <a:cubicBezTo>
                    <a:pt x="56131" y="60925"/>
                    <a:pt x="56131" y="60925"/>
                    <a:pt x="55566" y="61207"/>
                  </a:cubicBezTo>
                  <a:cubicBezTo>
                    <a:pt x="55284" y="61771"/>
                    <a:pt x="54720" y="61771"/>
                    <a:pt x="54720" y="61771"/>
                  </a:cubicBezTo>
                  <a:lnTo>
                    <a:pt x="54156" y="61771"/>
                  </a:lnTo>
                  <a:cubicBezTo>
                    <a:pt x="53310" y="61771"/>
                    <a:pt x="52181" y="62053"/>
                    <a:pt x="51053" y="62618"/>
                  </a:cubicBezTo>
                  <a:lnTo>
                    <a:pt x="47386" y="63182"/>
                  </a:lnTo>
                  <a:lnTo>
                    <a:pt x="46540" y="63182"/>
                  </a:lnTo>
                  <a:cubicBezTo>
                    <a:pt x="45412" y="63464"/>
                    <a:pt x="45130" y="63746"/>
                    <a:pt x="45130" y="63746"/>
                  </a:cubicBezTo>
                  <a:cubicBezTo>
                    <a:pt x="44848" y="64028"/>
                    <a:pt x="44848" y="64028"/>
                    <a:pt x="44566" y="64028"/>
                  </a:cubicBezTo>
                  <a:cubicBezTo>
                    <a:pt x="44284" y="64028"/>
                    <a:pt x="44284" y="64028"/>
                    <a:pt x="44284" y="63746"/>
                  </a:cubicBezTo>
                  <a:lnTo>
                    <a:pt x="44284" y="63464"/>
                  </a:lnTo>
                  <a:lnTo>
                    <a:pt x="44566" y="63182"/>
                  </a:lnTo>
                  <a:lnTo>
                    <a:pt x="44284" y="63182"/>
                  </a:lnTo>
                  <a:lnTo>
                    <a:pt x="44284" y="62618"/>
                  </a:lnTo>
                  <a:cubicBezTo>
                    <a:pt x="44002" y="62618"/>
                    <a:pt x="43438" y="62900"/>
                    <a:pt x="43438" y="62900"/>
                  </a:cubicBezTo>
                  <a:lnTo>
                    <a:pt x="43438" y="63182"/>
                  </a:lnTo>
                  <a:cubicBezTo>
                    <a:pt x="43438" y="63182"/>
                    <a:pt x="44002" y="63182"/>
                    <a:pt x="44002" y="63464"/>
                  </a:cubicBezTo>
                  <a:cubicBezTo>
                    <a:pt x="43720" y="63746"/>
                    <a:pt x="43438" y="64310"/>
                    <a:pt x="42873" y="64310"/>
                  </a:cubicBezTo>
                  <a:lnTo>
                    <a:pt x="42592" y="64310"/>
                  </a:lnTo>
                  <a:lnTo>
                    <a:pt x="42309" y="64592"/>
                  </a:lnTo>
                  <a:lnTo>
                    <a:pt x="42028" y="64592"/>
                  </a:lnTo>
                  <a:cubicBezTo>
                    <a:pt x="41745" y="64592"/>
                    <a:pt x="41463" y="64310"/>
                    <a:pt x="41463" y="64310"/>
                  </a:cubicBezTo>
                  <a:lnTo>
                    <a:pt x="41745" y="64028"/>
                  </a:lnTo>
                  <a:lnTo>
                    <a:pt x="41463" y="64028"/>
                  </a:lnTo>
                  <a:cubicBezTo>
                    <a:pt x="41181" y="64028"/>
                    <a:pt x="40899" y="63746"/>
                    <a:pt x="40899" y="63746"/>
                  </a:cubicBezTo>
                  <a:lnTo>
                    <a:pt x="40899" y="64028"/>
                  </a:lnTo>
                  <a:cubicBezTo>
                    <a:pt x="40335" y="64310"/>
                    <a:pt x="40335" y="64874"/>
                    <a:pt x="39771" y="65438"/>
                  </a:cubicBezTo>
                  <a:cubicBezTo>
                    <a:pt x="39489" y="65720"/>
                    <a:pt x="39207" y="65720"/>
                    <a:pt x="38925" y="65720"/>
                  </a:cubicBezTo>
                  <a:cubicBezTo>
                    <a:pt x="38361" y="65438"/>
                    <a:pt x="38642" y="64874"/>
                    <a:pt x="38361" y="64874"/>
                  </a:cubicBezTo>
                  <a:cubicBezTo>
                    <a:pt x="38078" y="64874"/>
                    <a:pt x="37232" y="65438"/>
                    <a:pt x="36668" y="65720"/>
                  </a:cubicBezTo>
                  <a:lnTo>
                    <a:pt x="34130" y="66284"/>
                  </a:lnTo>
                  <a:lnTo>
                    <a:pt x="33001" y="66284"/>
                  </a:lnTo>
                  <a:cubicBezTo>
                    <a:pt x="33001" y="66849"/>
                    <a:pt x="32719" y="66849"/>
                    <a:pt x="32437" y="66849"/>
                  </a:cubicBezTo>
                  <a:cubicBezTo>
                    <a:pt x="32155" y="66849"/>
                    <a:pt x="31873" y="66849"/>
                    <a:pt x="31873" y="66566"/>
                  </a:cubicBezTo>
                  <a:cubicBezTo>
                    <a:pt x="31309" y="66566"/>
                    <a:pt x="30745" y="66849"/>
                    <a:pt x="30463" y="67131"/>
                  </a:cubicBezTo>
                  <a:cubicBezTo>
                    <a:pt x="29052" y="67413"/>
                    <a:pt x="28206" y="67977"/>
                    <a:pt x="27078" y="67977"/>
                  </a:cubicBezTo>
                  <a:lnTo>
                    <a:pt x="26514" y="67977"/>
                  </a:lnTo>
                  <a:cubicBezTo>
                    <a:pt x="25668" y="68541"/>
                    <a:pt x="25104" y="69105"/>
                    <a:pt x="25104" y="69105"/>
                  </a:cubicBezTo>
                  <a:lnTo>
                    <a:pt x="23411" y="69105"/>
                  </a:lnTo>
                  <a:cubicBezTo>
                    <a:pt x="23129" y="69105"/>
                    <a:pt x="22847" y="69105"/>
                    <a:pt x="22565" y="68823"/>
                  </a:cubicBezTo>
                  <a:cubicBezTo>
                    <a:pt x="22001" y="68823"/>
                    <a:pt x="21719" y="69105"/>
                    <a:pt x="21719" y="69105"/>
                  </a:cubicBezTo>
                  <a:cubicBezTo>
                    <a:pt x="21155" y="69669"/>
                    <a:pt x="20308" y="69387"/>
                    <a:pt x="19744" y="70515"/>
                  </a:cubicBezTo>
                  <a:cubicBezTo>
                    <a:pt x="18898" y="70797"/>
                    <a:pt x="18616" y="70797"/>
                    <a:pt x="18616" y="70797"/>
                  </a:cubicBezTo>
                  <a:cubicBezTo>
                    <a:pt x="18616" y="70515"/>
                    <a:pt x="18616" y="70515"/>
                    <a:pt x="18052" y="70515"/>
                  </a:cubicBezTo>
                  <a:lnTo>
                    <a:pt x="16360" y="70515"/>
                  </a:lnTo>
                  <a:cubicBezTo>
                    <a:pt x="15513" y="70515"/>
                    <a:pt x="14949" y="70797"/>
                    <a:pt x="13257" y="72208"/>
                  </a:cubicBezTo>
                  <a:lnTo>
                    <a:pt x="11001" y="72208"/>
                  </a:lnTo>
                  <a:cubicBezTo>
                    <a:pt x="9308" y="73336"/>
                    <a:pt x="4795" y="74746"/>
                    <a:pt x="2821" y="74746"/>
                  </a:cubicBezTo>
                  <a:cubicBezTo>
                    <a:pt x="2257" y="74746"/>
                    <a:pt x="1974" y="75310"/>
                    <a:pt x="1410" y="75592"/>
                  </a:cubicBezTo>
                  <a:cubicBezTo>
                    <a:pt x="1129" y="76157"/>
                    <a:pt x="564" y="76157"/>
                    <a:pt x="282" y="76157"/>
                  </a:cubicBezTo>
                  <a:cubicBezTo>
                    <a:pt x="0" y="76157"/>
                    <a:pt x="0" y="75592"/>
                    <a:pt x="0" y="75028"/>
                  </a:cubicBezTo>
                  <a:cubicBezTo>
                    <a:pt x="0" y="72208"/>
                    <a:pt x="4231" y="62900"/>
                    <a:pt x="7898" y="62900"/>
                  </a:cubicBezTo>
                  <a:lnTo>
                    <a:pt x="8744" y="62900"/>
                  </a:lnTo>
                  <a:lnTo>
                    <a:pt x="8744" y="63182"/>
                  </a:lnTo>
                  <a:lnTo>
                    <a:pt x="9872" y="63182"/>
                  </a:lnTo>
                  <a:cubicBezTo>
                    <a:pt x="10154" y="63182"/>
                    <a:pt x="9591" y="63746"/>
                    <a:pt x="9308" y="64028"/>
                  </a:cubicBezTo>
                  <a:lnTo>
                    <a:pt x="8744" y="65156"/>
                  </a:lnTo>
                  <a:lnTo>
                    <a:pt x="8744" y="66566"/>
                  </a:lnTo>
                  <a:cubicBezTo>
                    <a:pt x="8744" y="66849"/>
                    <a:pt x="9026" y="66566"/>
                    <a:pt x="9308" y="66566"/>
                  </a:cubicBezTo>
                  <a:lnTo>
                    <a:pt x="9308" y="66002"/>
                  </a:lnTo>
                  <a:cubicBezTo>
                    <a:pt x="9591" y="65156"/>
                    <a:pt x="10436" y="65156"/>
                    <a:pt x="11001" y="65156"/>
                  </a:cubicBezTo>
                  <a:lnTo>
                    <a:pt x="11282" y="65156"/>
                  </a:lnTo>
                  <a:lnTo>
                    <a:pt x="11282" y="65438"/>
                  </a:lnTo>
                  <a:cubicBezTo>
                    <a:pt x="11282" y="65720"/>
                    <a:pt x="11001" y="66002"/>
                    <a:pt x="11001" y="66002"/>
                  </a:cubicBezTo>
                  <a:cubicBezTo>
                    <a:pt x="11565" y="66002"/>
                    <a:pt x="11846" y="66284"/>
                    <a:pt x="11846" y="66284"/>
                  </a:cubicBezTo>
                  <a:cubicBezTo>
                    <a:pt x="12411" y="66284"/>
                    <a:pt x="12411" y="66284"/>
                    <a:pt x="12693" y="66002"/>
                  </a:cubicBezTo>
                  <a:lnTo>
                    <a:pt x="13257" y="65720"/>
                  </a:lnTo>
                  <a:lnTo>
                    <a:pt x="13821" y="65720"/>
                  </a:lnTo>
                  <a:cubicBezTo>
                    <a:pt x="13821" y="66002"/>
                    <a:pt x="14103" y="66002"/>
                    <a:pt x="14103" y="66002"/>
                  </a:cubicBezTo>
                  <a:cubicBezTo>
                    <a:pt x="14385" y="66002"/>
                    <a:pt x="14949" y="65438"/>
                    <a:pt x="15513" y="65438"/>
                  </a:cubicBezTo>
                  <a:cubicBezTo>
                    <a:pt x="15513" y="65438"/>
                    <a:pt x="15513" y="65156"/>
                    <a:pt x="16077" y="64874"/>
                  </a:cubicBezTo>
                  <a:lnTo>
                    <a:pt x="16077" y="64028"/>
                  </a:lnTo>
                  <a:cubicBezTo>
                    <a:pt x="15513" y="64028"/>
                    <a:pt x="15513" y="64028"/>
                    <a:pt x="15513" y="63746"/>
                  </a:cubicBezTo>
                  <a:cubicBezTo>
                    <a:pt x="15513" y="63464"/>
                    <a:pt x="15513" y="63182"/>
                    <a:pt x="15796" y="62618"/>
                  </a:cubicBezTo>
                  <a:cubicBezTo>
                    <a:pt x="15796" y="62336"/>
                    <a:pt x="15513" y="62336"/>
                    <a:pt x="14949" y="62336"/>
                  </a:cubicBezTo>
                  <a:cubicBezTo>
                    <a:pt x="15513" y="61771"/>
                    <a:pt x="16642" y="60643"/>
                    <a:pt x="17206" y="60643"/>
                  </a:cubicBezTo>
                  <a:cubicBezTo>
                    <a:pt x="18616" y="60079"/>
                    <a:pt x="20308" y="60079"/>
                    <a:pt x="21155" y="59515"/>
                  </a:cubicBezTo>
                  <a:cubicBezTo>
                    <a:pt x="22001" y="59233"/>
                    <a:pt x="22565" y="59233"/>
                    <a:pt x="23129" y="59233"/>
                  </a:cubicBezTo>
                  <a:cubicBezTo>
                    <a:pt x="23975" y="58951"/>
                    <a:pt x="24822" y="58951"/>
                    <a:pt x="25668" y="58951"/>
                  </a:cubicBezTo>
                  <a:lnTo>
                    <a:pt x="26514" y="58951"/>
                  </a:lnTo>
                  <a:cubicBezTo>
                    <a:pt x="27642" y="57823"/>
                    <a:pt x="29335" y="57823"/>
                    <a:pt x="30463" y="57258"/>
                  </a:cubicBezTo>
                  <a:lnTo>
                    <a:pt x="33001" y="57258"/>
                  </a:lnTo>
                  <a:cubicBezTo>
                    <a:pt x="33001" y="57258"/>
                    <a:pt x="33847" y="57541"/>
                    <a:pt x="34130" y="57541"/>
                  </a:cubicBezTo>
                  <a:lnTo>
                    <a:pt x="34130" y="57823"/>
                  </a:lnTo>
                  <a:cubicBezTo>
                    <a:pt x="34130" y="58387"/>
                    <a:pt x="33847" y="58387"/>
                    <a:pt x="33283" y="58669"/>
                  </a:cubicBezTo>
                  <a:cubicBezTo>
                    <a:pt x="32437" y="58669"/>
                    <a:pt x="31591" y="58951"/>
                    <a:pt x="31309" y="60079"/>
                  </a:cubicBezTo>
                  <a:cubicBezTo>
                    <a:pt x="31309" y="60079"/>
                    <a:pt x="31027" y="60079"/>
                    <a:pt x="30745" y="60643"/>
                  </a:cubicBezTo>
                  <a:lnTo>
                    <a:pt x="29899" y="61207"/>
                  </a:lnTo>
                  <a:lnTo>
                    <a:pt x="29899" y="61489"/>
                  </a:lnTo>
                  <a:lnTo>
                    <a:pt x="31027" y="61489"/>
                  </a:lnTo>
                  <a:lnTo>
                    <a:pt x="31873" y="60925"/>
                  </a:lnTo>
                  <a:cubicBezTo>
                    <a:pt x="31873" y="60925"/>
                    <a:pt x="32155" y="60643"/>
                    <a:pt x="32437" y="60079"/>
                  </a:cubicBezTo>
                  <a:cubicBezTo>
                    <a:pt x="32437" y="60079"/>
                    <a:pt x="32437" y="59797"/>
                    <a:pt x="33001" y="59797"/>
                  </a:cubicBezTo>
                  <a:lnTo>
                    <a:pt x="33283" y="59797"/>
                  </a:lnTo>
                  <a:cubicBezTo>
                    <a:pt x="33283" y="60079"/>
                    <a:pt x="33847" y="60361"/>
                    <a:pt x="33847" y="60925"/>
                  </a:cubicBezTo>
                  <a:cubicBezTo>
                    <a:pt x="34130" y="61207"/>
                    <a:pt x="34411" y="61207"/>
                    <a:pt x="34694" y="61207"/>
                  </a:cubicBezTo>
                  <a:lnTo>
                    <a:pt x="36104" y="61207"/>
                  </a:lnTo>
                  <a:cubicBezTo>
                    <a:pt x="36386" y="60643"/>
                    <a:pt x="36950" y="60643"/>
                    <a:pt x="37514" y="60643"/>
                  </a:cubicBezTo>
                  <a:lnTo>
                    <a:pt x="38361" y="60643"/>
                  </a:lnTo>
                  <a:lnTo>
                    <a:pt x="38361" y="60361"/>
                  </a:lnTo>
                  <a:lnTo>
                    <a:pt x="39207" y="58669"/>
                  </a:lnTo>
                  <a:cubicBezTo>
                    <a:pt x="39207" y="58669"/>
                    <a:pt x="40053" y="58105"/>
                    <a:pt x="40053" y="58387"/>
                  </a:cubicBezTo>
                  <a:cubicBezTo>
                    <a:pt x="40053" y="58387"/>
                    <a:pt x="40053" y="58669"/>
                    <a:pt x="39771" y="58951"/>
                  </a:cubicBezTo>
                  <a:cubicBezTo>
                    <a:pt x="39771" y="59515"/>
                    <a:pt x="39489" y="59797"/>
                    <a:pt x="39207" y="60361"/>
                  </a:cubicBezTo>
                  <a:lnTo>
                    <a:pt x="39207" y="60925"/>
                  </a:lnTo>
                  <a:lnTo>
                    <a:pt x="39771" y="60925"/>
                  </a:lnTo>
                  <a:cubicBezTo>
                    <a:pt x="40617" y="60925"/>
                    <a:pt x="40899" y="59797"/>
                    <a:pt x="41181" y="59515"/>
                  </a:cubicBezTo>
                  <a:cubicBezTo>
                    <a:pt x="41181" y="59233"/>
                    <a:pt x="40899" y="58951"/>
                    <a:pt x="40899" y="58669"/>
                  </a:cubicBezTo>
                  <a:lnTo>
                    <a:pt x="40899" y="58387"/>
                  </a:lnTo>
                  <a:cubicBezTo>
                    <a:pt x="40899" y="58387"/>
                    <a:pt x="40899" y="58105"/>
                    <a:pt x="41181" y="58105"/>
                  </a:cubicBezTo>
                  <a:lnTo>
                    <a:pt x="42309" y="56694"/>
                  </a:lnTo>
                  <a:lnTo>
                    <a:pt x="40899" y="56412"/>
                  </a:lnTo>
                  <a:lnTo>
                    <a:pt x="40899" y="56130"/>
                  </a:lnTo>
                  <a:lnTo>
                    <a:pt x="40617" y="56130"/>
                  </a:lnTo>
                  <a:lnTo>
                    <a:pt x="39771" y="56412"/>
                  </a:lnTo>
                  <a:cubicBezTo>
                    <a:pt x="38925" y="56694"/>
                    <a:pt x="38642" y="56976"/>
                    <a:pt x="38361" y="58105"/>
                  </a:cubicBezTo>
                  <a:cubicBezTo>
                    <a:pt x="38361" y="57823"/>
                    <a:pt x="38361" y="57258"/>
                    <a:pt x="38078" y="57258"/>
                  </a:cubicBezTo>
                  <a:lnTo>
                    <a:pt x="36668" y="57258"/>
                  </a:lnTo>
                  <a:close/>
                  <a:moveTo>
                    <a:pt x="18052" y="62053"/>
                  </a:moveTo>
                  <a:cubicBezTo>
                    <a:pt x="17488" y="62336"/>
                    <a:pt x="16924" y="63182"/>
                    <a:pt x="16077" y="64028"/>
                  </a:cubicBezTo>
                  <a:cubicBezTo>
                    <a:pt x="16642" y="64028"/>
                    <a:pt x="17488" y="63182"/>
                    <a:pt x="18052" y="62336"/>
                  </a:cubicBezTo>
                  <a:cubicBezTo>
                    <a:pt x="18334" y="62336"/>
                    <a:pt x="18052" y="62053"/>
                    <a:pt x="18052" y="62053"/>
                  </a:cubicBezTo>
                  <a:close/>
                  <a:moveTo>
                    <a:pt x="17206" y="66849"/>
                  </a:moveTo>
                  <a:lnTo>
                    <a:pt x="16360" y="66849"/>
                  </a:lnTo>
                  <a:lnTo>
                    <a:pt x="16360" y="67977"/>
                  </a:lnTo>
                  <a:cubicBezTo>
                    <a:pt x="16360" y="67695"/>
                    <a:pt x="16642" y="67695"/>
                    <a:pt x="16924" y="67413"/>
                  </a:cubicBezTo>
                  <a:lnTo>
                    <a:pt x="17206" y="66849"/>
                  </a:lnTo>
                  <a:close/>
                  <a:moveTo>
                    <a:pt x="20027" y="65720"/>
                  </a:moveTo>
                  <a:lnTo>
                    <a:pt x="20308" y="65720"/>
                  </a:lnTo>
                  <a:cubicBezTo>
                    <a:pt x="20591" y="65438"/>
                    <a:pt x="20591" y="65156"/>
                    <a:pt x="20591" y="65156"/>
                  </a:cubicBezTo>
                  <a:cubicBezTo>
                    <a:pt x="20591" y="65156"/>
                    <a:pt x="21155" y="64874"/>
                    <a:pt x="21155" y="64592"/>
                  </a:cubicBezTo>
                  <a:lnTo>
                    <a:pt x="21155" y="64310"/>
                  </a:lnTo>
                  <a:lnTo>
                    <a:pt x="20873" y="64310"/>
                  </a:lnTo>
                  <a:cubicBezTo>
                    <a:pt x="20308" y="64310"/>
                    <a:pt x="19744" y="64310"/>
                    <a:pt x="19180" y="65156"/>
                  </a:cubicBezTo>
                  <a:cubicBezTo>
                    <a:pt x="19180" y="65438"/>
                    <a:pt x="19744" y="65720"/>
                    <a:pt x="20027" y="65720"/>
                  </a:cubicBezTo>
                  <a:close/>
                  <a:moveTo>
                    <a:pt x="28206" y="60079"/>
                  </a:moveTo>
                  <a:lnTo>
                    <a:pt x="26514" y="61489"/>
                  </a:lnTo>
                  <a:lnTo>
                    <a:pt x="26514" y="61771"/>
                  </a:lnTo>
                  <a:lnTo>
                    <a:pt x="27078" y="61771"/>
                  </a:lnTo>
                  <a:cubicBezTo>
                    <a:pt x="27642" y="61771"/>
                    <a:pt x="27925" y="61771"/>
                    <a:pt x="27925" y="61207"/>
                  </a:cubicBezTo>
                  <a:cubicBezTo>
                    <a:pt x="27925" y="61207"/>
                    <a:pt x="28206" y="60925"/>
                    <a:pt x="28206" y="60361"/>
                  </a:cubicBezTo>
                  <a:lnTo>
                    <a:pt x="28206" y="60079"/>
                  </a:lnTo>
                  <a:close/>
                  <a:moveTo>
                    <a:pt x="38361" y="58669"/>
                  </a:moveTo>
                  <a:cubicBezTo>
                    <a:pt x="38361" y="58951"/>
                    <a:pt x="38078" y="59233"/>
                    <a:pt x="38078" y="59233"/>
                  </a:cubicBezTo>
                  <a:cubicBezTo>
                    <a:pt x="38078" y="59515"/>
                    <a:pt x="38078" y="59515"/>
                    <a:pt x="37797" y="59515"/>
                  </a:cubicBezTo>
                  <a:cubicBezTo>
                    <a:pt x="37797" y="59515"/>
                    <a:pt x="37514" y="59233"/>
                    <a:pt x="37514" y="58951"/>
                  </a:cubicBezTo>
                  <a:cubicBezTo>
                    <a:pt x="38078" y="58387"/>
                    <a:pt x="38361" y="58387"/>
                    <a:pt x="38361" y="58387"/>
                  </a:cubicBezTo>
                  <a:lnTo>
                    <a:pt x="38361" y="58669"/>
                  </a:lnTo>
                  <a:close/>
                  <a:moveTo>
                    <a:pt x="45130" y="236649"/>
                  </a:moveTo>
                  <a:cubicBezTo>
                    <a:pt x="45130" y="236649"/>
                    <a:pt x="44848" y="236649"/>
                    <a:pt x="44848" y="236367"/>
                  </a:cubicBezTo>
                  <a:cubicBezTo>
                    <a:pt x="44848" y="236367"/>
                    <a:pt x="45130" y="236367"/>
                    <a:pt x="45130" y="236085"/>
                  </a:cubicBezTo>
                  <a:lnTo>
                    <a:pt x="45130" y="236649"/>
                  </a:lnTo>
                  <a:close/>
                  <a:moveTo>
                    <a:pt x="59233" y="203366"/>
                  </a:moveTo>
                  <a:cubicBezTo>
                    <a:pt x="59515" y="203366"/>
                    <a:pt x="59797" y="203084"/>
                    <a:pt x="60079" y="202520"/>
                  </a:cubicBezTo>
                  <a:cubicBezTo>
                    <a:pt x="60079" y="202238"/>
                    <a:pt x="59797" y="201674"/>
                    <a:pt x="59797" y="201674"/>
                  </a:cubicBezTo>
                  <a:cubicBezTo>
                    <a:pt x="59797" y="201674"/>
                    <a:pt x="60362" y="201392"/>
                    <a:pt x="60362" y="201110"/>
                  </a:cubicBezTo>
                  <a:cubicBezTo>
                    <a:pt x="59797" y="200828"/>
                    <a:pt x="59797" y="200264"/>
                    <a:pt x="59233" y="200264"/>
                  </a:cubicBezTo>
                  <a:lnTo>
                    <a:pt x="59515" y="202520"/>
                  </a:lnTo>
                  <a:cubicBezTo>
                    <a:pt x="59515" y="202802"/>
                    <a:pt x="58951" y="203084"/>
                    <a:pt x="58951" y="203084"/>
                  </a:cubicBezTo>
                  <a:lnTo>
                    <a:pt x="58669" y="203084"/>
                  </a:lnTo>
                  <a:cubicBezTo>
                    <a:pt x="58669" y="203084"/>
                    <a:pt x="58669" y="203366"/>
                    <a:pt x="58951" y="203366"/>
                  </a:cubicBezTo>
                  <a:lnTo>
                    <a:pt x="59233" y="203366"/>
                  </a:lnTo>
                  <a:close/>
                  <a:moveTo>
                    <a:pt x="59515" y="210700"/>
                  </a:moveTo>
                  <a:lnTo>
                    <a:pt x="59515" y="212392"/>
                  </a:lnTo>
                  <a:cubicBezTo>
                    <a:pt x="60079" y="212674"/>
                    <a:pt x="60362" y="212674"/>
                    <a:pt x="60362" y="212674"/>
                  </a:cubicBezTo>
                  <a:lnTo>
                    <a:pt x="60926" y="212674"/>
                  </a:lnTo>
                  <a:lnTo>
                    <a:pt x="60643" y="212392"/>
                  </a:lnTo>
                  <a:lnTo>
                    <a:pt x="60643" y="210700"/>
                  </a:lnTo>
                  <a:lnTo>
                    <a:pt x="59515" y="210700"/>
                  </a:lnTo>
                  <a:close/>
                  <a:moveTo>
                    <a:pt x="59515" y="220008"/>
                  </a:moveTo>
                  <a:cubicBezTo>
                    <a:pt x="59515" y="220290"/>
                    <a:pt x="59515" y="220572"/>
                    <a:pt x="59797" y="220854"/>
                  </a:cubicBezTo>
                  <a:cubicBezTo>
                    <a:pt x="59797" y="220854"/>
                    <a:pt x="59797" y="221136"/>
                    <a:pt x="60079" y="221136"/>
                  </a:cubicBezTo>
                  <a:lnTo>
                    <a:pt x="60079" y="220854"/>
                  </a:lnTo>
                  <a:cubicBezTo>
                    <a:pt x="60643" y="220572"/>
                    <a:pt x="60643" y="220008"/>
                    <a:pt x="60643" y="219726"/>
                  </a:cubicBezTo>
                  <a:cubicBezTo>
                    <a:pt x="60643" y="219444"/>
                    <a:pt x="60362" y="219162"/>
                    <a:pt x="59797" y="219162"/>
                  </a:cubicBezTo>
                  <a:cubicBezTo>
                    <a:pt x="59515" y="219162"/>
                    <a:pt x="59515" y="219444"/>
                    <a:pt x="59515" y="219726"/>
                  </a:cubicBezTo>
                  <a:lnTo>
                    <a:pt x="59515" y="220008"/>
                  </a:lnTo>
                  <a:close/>
                  <a:moveTo>
                    <a:pt x="59797" y="187007"/>
                  </a:moveTo>
                  <a:lnTo>
                    <a:pt x="60079" y="186725"/>
                  </a:lnTo>
                  <a:cubicBezTo>
                    <a:pt x="60926" y="186161"/>
                    <a:pt x="62054" y="185878"/>
                    <a:pt x="62336" y="185878"/>
                  </a:cubicBezTo>
                  <a:cubicBezTo>
                    <a:pt x="62336" y="185878"/>
                    <a:pt x="62618" y="186443"/>
                    <a:pt x="62618" y="186725"/>
                  </a:cubicBezTo>
                  <a:cubicBezTo>
                    <a:pt x="62054" y="187007"/>
                    <a:pt x="61772" y="187289"/>
                    <a:pt x="60643" y="187289"/>
                  </a:cubicBezTo>
                  <a:cubicBezTo>
                    <a:pt x="60362" y="187289"/>
                    <a:pt x="59797" y="187289"/>
                    <a:pt x="59797" y="187007"/>
                  </a:cubicBezTo>
                  <a:close/>
                  <a:moveTo>
                    <a:pt x="60079" y="205059"/>
                  </a:moveTo>
                  <a:cubicBezTo>
                    <a:pt x="60079" y="205341"/>
                    <a:pt x="59797" y="205341"/>
                    <a:pt x="59797" y="205341"/>
                  </a:cubicBezTo>
                  <a:cubicBezTo>
                    <a:pt x="59797" y="205341"/>
                    <a:pt x="59797" y="205623"/>
                    <a:pt x="60079" y="205623"/>
                  </a:cubicBezTo>
                  <a:lnTo>
                    <a:pt x="60079" y="205059"/>
                  </a:lnTo>
                  <a:close/>
                  <a:moveTo>
                    <a:pt x="60643" y="188417"/>
                  </a:moveTo>
                  <a:cubicBezTo>
                    <a:pt x="60643" y="188135"/>
                    <a:pt x="60926" y="188135"/>
                    <a:pt x="60926" y="188135"/>
                  </a:cubicBezTo>
                  <a:cubicBezTo>
                    <a:pt x="60926" y="188135"/>
                    <a:pt x="60926" y="188417"/>
                    <a:pt x="61207" y="188417"/>
                  </a:cubicBezTo>
                  <a:lnTo>
                    <a:pt x="60643" y="188417"/>
                  </a:lnTo>
                  <a:close/>
                  <a:moveTo>
                    <a:pt x="61207" y="176288"/>
                  </a:moveTo>
                  <a:lnTo>
                    <a:pt x="60926" y="176006"/>
                  </a:lnTo>
                  <a:cubicBezTo>
                    <a:pt x="61207" y="176006"/>
                    <a:pt x="61490" y="175724"/>
                    <a:pt x="61490" y="175724"/>
                  </a:cubicBezTo>
                  <a:cubicBezTo>
                    <a:pt x="62054" y="175724"/>
                    <a:pt x="62054" y="176006"/>
                    <a:pt x="62054" y="176006"/>
                  </a:cubicBezTo>
                  <a:cubicBezTo>
                    <a:pt x="62054" y="176006"/>
                    <a:pt x="62054" y="176288"/>
                    <a:pt x="61490" y="176288"/>
                  </a:cubicBezTo>
                  <a:lnTo>
                    <a:pt x="61207" y="176288"/>
                  </a:lnTo>
                  <a:close/>
                  <a:moveTo>
                    <a:pt x="61207" y="184750"/>
                  </a:moveTo>
                  <a:lnTo>
                    <a:pt x="61207" y="183904"/>
                  </a:lnTo>
                  <a:cubicBezTo>
                    <a:pt x="61490" y="183622"/>
                    <a:pt x="62054" y="183340"/>
                    <a:pt x="62054" y="183340"/>
                  </a:cubicBezTo>
                  <a:cubicBezTo>
                    <a:pt x="62336" y="183340"/>
                    <a:pt x="62618" y="183340"/>
                    <a:pt x="62618" y="183622"/>
                  </a:cubicBezTo>
                  <a:cubicBezTo>
                    <a:pt x="62618" y="183622"/>
                    <a:pt x="62336" y="183904"/>
                    <a:pt x="62336" y="184186"/>
                  </a:cubicBezTo>
                  <a:cubicBezTo>
                    <a:pt x="62336" y="184750"/>
                    <a:pt x="61772" y="184750"/>
                    <a:pt x="61772" y="184750"/>
                  </a:cubicBezTo>
                  <a:lnTo>
                    <a:pt x="61207" y="184750"/>
                  </a:lnTo>
                  <a:close/>
                  <a:moveTo>
                    <a:pt x="62054" y="188981"/>
                  </a:moveTo>
                  <a:lnTo>
                    <a:pt x="62054" y="189263"/>
                  </a:lnTo>
                  <a:cubicBezTo>
                    <a:pt x="62054" y="189263"/>
                    <a:pt x="61490" y="189263"/>
                    <a:pt x="61490" y="188981"/>
                  </a:cubicBezTo>
                  <a:lnTo>
                    <a:pt x="61490" y="188699"/>
                  </a:lnTo>
                  <a:lnTo>
                    <a:pt x="61207" y="188417"/>
                  </a:lnTo>
                  <a:lnTo>
                    <a:pt x="61772" y="188417"/>
                  </a:lnTo>
                  <a:lnTo>
                    <a:pt x="62054" y="188981"/>
                  </a:lnTo>
                  <a:close/>
                  <a:moveTo>
                    <a:pt x="61490" y="181648"/>
                  </a:moveTo>
                  <a:lnTo>
                    <a:pt x="62336" y="181648"/>
                  </a:lnTo>
                  <a:cubicBezTo>
                    <a:pt x="62618" y="181648"/>
                    <a:pt x="62618" y="181930"/>
                    <a:pt x="62618" y="182212"/>
                  </a:cubicBezTo>
                  <a:cubicBezTo>
                    <a:pt x="62618" y="182494"/>
                    <a:pt x="62618" y="182776"/>
                    <a:pt x="62336" y="183058"/>
                  </a:cubicBezTo>
                  <a:cubicBezTo>
                    <a:pt x="62054" y="183058"/>
                    <a:pt x="62054" y="183058"/>
                    <a:pt x="61490" y="182494"/>
                  </a:cubicBezTo>
                  <a:lnTo>
                    <a:pt x="61490" y="181648"/>
                  </a:lnTo>
                  <a:close/>
                  <a:moveTo>
                    <a:pt x="62336" y="178545"/>
                  </a:moveTo>
                  <a:lnTo>
                    <a:pt x="61772" y="178545"/>
                  </a:lnTo>
                  <a:cubicBezTo>
                    <a:pt x="61772" y="178545"/>
                    <a:pt x="62054" y="178545"/>
                    <a:pt x="62054" y="178263"/>
                  </a:cubicBezTo>
                  <a:lnTo>
                    <a:pt x="62336" y="178545"/>
                  </a:lnTo>
                  <a:close/>
                  <a:moveTo>
                    <a:pt x="63182" y="168109"/>
                  </a:moveTo>
                  <a:cubicBezTo>
                    <a:pt x="63464" y="168109"/>
                    <a:pt x="63746" y="168391"/>
                    <a:pt x="63746" y="168673"/>
                  </a:cubicBezTo>
                  <a:cubicBezTo>
                    <a:pt x="63746" y="168955"/>
                    <a:pt x="63464" y="169237"/>
                    <a:pt x="63182" y="169237"/>
                  </a:cubicBezTo>
                  <a:cubicBezTo>
                    <a:pt x="62900" y="169237"/>
                    <a:pt x="62618" y="168955"/>
                    <a:pt x="62618" y="168955"/>
                  </a:cubicBezTo>
                  <a:cubicBezTo>
                    <a:pt x="62618" y="168391"/>
                    <a:pt x="62618" y="168109"/>
                    <a:pt x="63182" y="168109"/>
                  </a:cubicBezTo>
                  <a:close/>
                  <a:moveTo>
                    <a:pt x="65438" y="136800"/>
                  </a:moveTo>
                  <a:cubicBezTo>
                    <a:pt x="66284" y="136800"/>
                    <a:pt x="66567" y="136800"/>
                    <a:pt x="66567" y="136518"/>
                  </a:cubicBezTo>
                  <a:cubicBezTo>
                    <a:pt x="66567" y="136236"/>
                    <a:pt x="66284" y="135954"/>
                    <a:pt x="65720" y="135954"/>
                  </a:cubicBezTo>
                  <a:cubicBezTo>
                    <a:pt x="65438" y="135954"/>
                    <a:pt x="65438" y="136236"/>
                    <a:pt x="65438" y="136518"/>
                  </a:cubicBezTo>
                  <a:lnTo>
                    <a:pt x="65438" y="136800"/>
                  </a:lnTo>
                  <a:close/>
                  <a:moveTo>
                    <a:pt x="65438" y="153159"/>
                  </a:moveTo>
                  <a:lnTo>
                    <a:pt x="65438" y="151467"/>
                  </a:lnTo>
                  <a:cubicBezTo>
                    <a:pt x="65720" y="151185"/>
                    <a:pt x="65720" y="151185"/>
                    <a:pt x="66003" y="151185"/>
                  </a:cubicBezTo>
                  <a:cubicBezTo>
                    <a:pt x="66567" y="151185"/>
                    <a:pt x="66567" y="151185"/>
                    <a:pt x="66567" y="151467"/>
                  </a:cubicBezTo>
                  <a:cubicBezTo>
                    <a:pt x="66567" y="151749"/>
                    <a:pt x="66567" y="152313"/>
                    <a:pt x="65720" y="152877"/>
                  </a:cubicBezTo>
                  <a:lnTo>
                    <a:pt x="65438" y="153159"/>
                  </a:lnTo>
                  <a:close/>
                  <a:moveTo>
                    <a:pt x="69444" y="132569"/>
                  </a:moveTo>
                  <a:cubicBezTo>
                    <a:pt x="68879" y="132569"/>
                    <a:pt x="68598" y="132005"/>
                    <a:pt x="68034" y="131441"/>
                  </a:cubicBezTo>
                  <a:lnTo>
                    <a:pt x="68034" y="131159"/>
                  </a:lnTo>
                  <a:cubicBezTo>
                    <a:pt x="68315" y="130876"/>
                    <a:pt x="69162" y="130594"/>
                    <a:pt x="69444" y="130594"/>
                  </a:cubicBezTo>
                  <a:cubicBezTo>
                    <a:pt x="70008" y="130594"/>
                    <a:pt x="70290" y="130876"/>
                    <a:pt x="70572" y="131159"/>
                  </a:cubicBezTo>
                  <a:lnTo>
                    <a:pt x="70572" y="131723"/>
                  </a:lnTo>
                  <a:cubicBezTo>
                    <a:pt x="70572" y="132005"/>
                    <a:pt x="70008" y="132287"/>
                    <a:pt x="69726" y="132569"/>
                  </a:cubicBezTo>
                  <a:lnTo>
                    <a:pt x="69444" y="132569"/>
                  </a:lnTo>
                  <a:close/>
                  <a:moveTo>
                    <a:pt x="72490" y="49361"/>
                  </a:moveTo>
                  <a:cubicBezTo>
                    <a:pt x="72208" y="49643"/>
                    <a:pt x="71926" y="49643"/>
                    <a:pt x="71926" y="49643"/>
                  </a:cubicBezTo>
                  <a:lnTo>
                    <a:pt x="72490" y="49361"/>
                  </a:lnTo>
                  <a:close/>
                  <a:moveTo>
                    <a:pt x="83547" y="237778"/>
                  </a:moveTo>
                  <a:lnTo>
                    <a:pt x="83265" y="237496"/>
                  </a:lnTo>
                  <a:cubicBezTo>
                    <a:pt x="83265" y="237214"/>
                    <a:pt x="83547" y="237214"/>
                    <a:pt x="83547" y="236932"/>
                  </a:cubicBezTo>
                  <a:lnTo>
                    <a:pt x="83547" y="237778"/>
                  </a:lnTo>
                  <a:close/>
                  <a:moveTo>
                    <a:pt x="89188" y="218598"/>
                  </a:moveTo>
                  <a:lnTo>
                    <a:pt x="88906" y="218315"/>
                  </a:lnTo>
                  <a:cubicBezTo>
                    <a:pt x="88906" y="218315"/>
                    <a:pt x="88342" y="218880"/>
                    <a:pt x="88060" y="219444"/>
                  </a:cubicBezTo>
                  <a:cubicBezTo>
                    <a:pt x="88060" y="219444"/>
                    <a:pt x="88060" y="219726"/>
                    <a:pt x="88342" y="219726"/>
                  </a:cubicBezTo>
                  <a:cubicBezTo>
                    <a:pt x="88624" y="219726"/>
                    <a:pt x="89188" y="218880"/>
                    <a:pt x="89188" y="218598"/>
                  </a:cubicBezTo>
                  <a:close/>
                  <a:moveTo>
                    <a:pt x="94829" y="205059"/>
                  </a:moveTo>
                  <a:cubicBezTo>
                    <a:pt x="95393" y="205059"/>
                    <a:pt x="95675" y="205059"/>
                    <a:pt x="95675" y="204777"/>
                  </a:cubicBezTo>
                  <a:cubicBezTo>
                    <a:pt x="95675" y="204777"/>
                    <a:pt x="95393" y="204777"/>
                    <a:pt x="95393" y="204495"/>
                  </a:cubicBezTo>
                  <a:cubicBezTo>
                    <a:pt x="95393" y="204212"/>
                    <a:pt x="95393" y="203930"/>
                    <a:pt x="94829" y="203930"/>
                  </a:cubicBezTo>
                  <a:cubicBezTo>
                    <a:pt x="94547" y="203930"/>
                    <a:pt x="94265" y="204212"/>
                    <a:pt x="94265" y="204495"/>
                  </a:cubicBezTo>
                  <a:lnTo>
                    <a:pt x="94829" y="205059"/>
                  </a:lnTo>
                  <a:close/>
                  <a:moveTo>
                    <a:pt x="101599" y="202802"/>
                  </a:moveTo>
                  <a:lnTo>
                    <a:pt x="101316" y="203084"/>
                  </a:lnTo>
                  <a:lnTo>
                    <a:pt x="101316" y="203366"/>
                  </a:lnTo>
                  <a:lnTo>
                    <a:pt x="100188" y="203366"/>
                  </a:lnTo>
                  <a:lnTo>
                    <a:pt x="100188" y="203084"/>
                  </a:lnTo>
                  <a:cubicBezTo>
                    <a:pt x="100188" y="203084"/>
                    <a:pt x="100752" y="202802"/>
                    <a:pt x="100752" y="202520"/>
                  </a:cubicBezTo>
                  <a:cubicBezTo>
                    <a:pt x="100752" y="202238"/>
                    <a:pt x="100471" y="202238"/>
                    <a:pt x="100188" y="201674"/>
                  </a:cubicBezTo>
                  <a:lnTo>
                    <a:pt x="100188" y="201392"/>
                  </a:lnTo>
                  <a:cubicBezTo>
                    <a:pt x="100188" y="201110"/>
                    <a:pt x="100188" y="201110"/>
                    <a:pt x="100471" y="200828"/>
                  </a:cubicBezTo>
                  <a:lnTo>
                    <a:pt x="101035" y="200264"/>
                  </a:lnTo>
                  <a:cubicBezTo>
                    <a:pt x="101316" y="200264"/>
                    <a:pt x="101599" y="200828"/>
                    <a:pt x="101599" y="200828"/>
                  </a:cubicBezTo>
                  <a:lnTo>
                    <a:pt x="101599" y="202802"/>
                  </a:lnTo>
                  <a:close/>
                  <a:moveTo>
                    <a:pt x="104419" y="49079"/>
                  </a:moveTo>
                  <a:cubicBezTo>
                    <a:pt x="105266" y="48797"/>
                    <a:pt x="105830" y="48797"/>
                    <a:pt x="105830" y="48515"/>
                  </a:cubicBezTo>
                  <a:cubicBezTo>
                    <a:pt x="105830" y="47950"/>
                    <a:pt x="105830" y="47950"/>
                    <a:pt x="106112" y="47668"/>
                  </a:cubicBezTo>
                  <a:cubicBezTo>
                    <a:pt x="106112" y="47668"/>
                    <a:pt x="106112" y="47386"/>
                    <a:pt x="105830" y="47386"/>
                  </a:cubicBezTo>
                  <a:cubicBezTo>
                    <a:pt x="105266" y="47386"/>
                    <a:pt x="104702" y="47950"/>
                    <a:pt x="104137" y="48515"/>
                  </a:cubicBezTo>
                  <a:lnTo>
                    <a:pt x="103855" y="49079"/>
                  </a:lnTo>
                  <a:lnTo>
                    <a:pt x="103855" y="49361"/>
                  </a:lnTo>
                  <a:lnTo>
                    <a:pt x="104419" y="49079"/>
                  </a:lnTo>
                  <a:close/>
                  <a:moveTo>
                    <a:pt x="108932" y="176288"/>
                  </a:moveTo>
                  <a:lnTo>
                    <a:pt x="109214" y="177135"/>
                  </a:lnTo>
                  <a:lnTo>
                    <a:pt x="109496" y="177417"/>
                  </a:lnTo>
                  <a:cubicBezTo>
                    <a:pt x="109778" y="177135"/>
                    <a:pt x="110343" y="176852"/>
                    <a:pt x="110343" y="176288"/>
                  </a:cubicBezTo>
                  <a:lnTo>
                    <a:pt x="108932" y="176288"/>
                  </a:lnTo>
                  <a:close/>
                  <a:moveTo>
                    <a:pt x="109778" y="45694"/>
                  </a:moveTo>
                  <a:cubicBezTo>
                    <a:pt x="110060" y="45694"/>
                    <a:pt x="110060" y="45412"/>
                    <a:pt x="110060" y="45130"/>
                  </a:cubicBezTo>
                  <a:lnTo>
                    <a:pt x="110060" y="44848"/>
                  </a:lnTo>
                  <a:cubicBezTo>
                    <a:pt x="109778" y="44848"/>
                    <a:pt x="110060" y="45130"/>
                    <a:pt x="109778" y="45130"/>
                  </a:cubicBezTo>
                  <a:lnTo>
                    <a:pt x="109778" y="45694"/>
                  </a:lnTo>
                  <a:close/>
                  <a:moveTo>
                    <a:pt x="111978" y="155980"/>
                  </a:moveTo>
                  <a:cubicBezTo>
                    <a:pt x="111978" y="155980"/>
                    <a:pt x="111133" y="155416"/>
                    <a:pt x="110568" y="155416"/>
                  </a:cubicBezTo>
                  <a:lnTo>
                    <a:pt x="110568" y="155980"/>
                  </a:lnTo>
                  <a:cubicBezTo>
                    <a:pt x="110850" y="156544"/>
                    <a:pt x="110850" y="156544"/>
                    <a:pt x="111414" y="156544"/>
                  </a:cubicBezTo>
                  <a:cubicBezTo>
                    <a:pt x="111471" y="156544"/>
                    <a:pt x="112261" y="156262"/>
                    <a:pt x="111978" y="155980"/>
                  </a:cubicBezTo>
                  <a:close/>
                  <a:moveTo>
                    <a:pt x="113163" y="153723"/>
                  </a:moveTo>
                  <a:lnTo>
                    <a:pt x="113163" y="152313"/>
                  </a:lnTo>
                  <a:lnTo>
                    <a:pt x="112317" y="152313"/>
                  </a:lnTo>
                  <a:lnTo>
                    <a:pt x="112317" y="152595"/>
                  </a:lnTo>
                  <a:cubicBezTo>
                    <a:pt x="112317" y="152877"/>
                    <a:pt x="112035" y="153159"/>
                    <a:pt x="112035" y="153441"/>
                  </a:cubicBezTo>
                  <a:cubicBezTo>
                    <a:pt x="112317" y="153723"/>
                    <a:pt x="112317" y="154006"/>
                    <a:pt x="112317" y="154006"/>
                  </a:cubicBezTo>
                  <a:cubicBezTo>
                    <a:pt x="112599" y="154006"/>
                    <a:pt x="113163" y="153723"/>
                    <a:pt x="113163" y="153723"/>
                  </a:cubicBezTo>
                  <a:close/>
                  <a:moveTo>
                    <a:pt x="114799" y="49361"/>
                  </a:moveTo>
                  <a:cubicBezTo>
                    <a:pt x="115645" y="49361"/>
                    <a:pt x="115645" y="49079"/>
                    <a:pt x="115928" y="48797"/>
                  </a:cubicBezTo>
                  <a:lnTo>
                    <a:pt x="115364" y="48797"/>
                  </a:lnTo>
                  <a:cubicBezTo>
                    <a:pt x="115081" y="48797"/>
                    <a:pt x="115081" y="48515"/>
                    <a:pt x="114799" y="48515"/>
                  </a:cubicBezTo>
                  <a:cubicBezTo>
                    <a:pt x="114517" y="48515"/>
                    <a:pt x="113953" y="48797"/>
                    <a:pt x="113953" y="48797"/>
                  </a:cubicBezTo>
                  <a:lnTo>
                    <a:pt x="113671" y="48797"/>
                  </a:lnTo>
                  <a:lnTo>
                    <a:pt x="113389" y="49079"/>
                  </a:lnTo>
                  <a:cubicBezTo>
                    <a:pt x="113671" y="49361"/>
                    <a:pt x="113953" y="49361"/>
                    <a:pt x="113953" y="49361"/>
                  </a:cubicBezTo>
                  <a:lnTo>
                    <a:pt x="114799" y="49361"/>
                  </a:lnTo>
                  <a:close/>
                  <a:moveTo>
                    <a:pt x="115702" y="167827"/>
                  </a:moveTo>
                  <a:lnTo>
                    <a:pt x="115702" y="168109"/>
                  </a:lnTo>
                  <a:cubicBezTo>
                    <a:pt x="115702" y="168391"/>
                    <a:pt x="114855" y="168391"/>
                    <a:pt x="114855" y="168673"/>
                  </a:cubicBezTo>
                  <a:lnTo>
                    <a:pt x="114855" y="168391"/>
                  </a:lnTo>
                  <a:lnTo>
                    <a:pt x="114291" y="167827"/>
                  </a:lnTo>
                  <a:cubicBezTo>
                    <a:pt x="114574" y="167827"/>
                    <a:pt x="115138" y="167262"/>
                    <a:pt x="115138" y="167262"/>
                  </a:cubicBezTo>
                  <a:lnTo>
                    <a:pt x="115984" y="167262"/>
                  </a:lnTo>
                  <a:lnTo>
                    <a:pt x="115702" y="167827"/>
                  </a:lnTo>
                  <a:close/>
                  <a:moveTo>
                    <a:pt x="115702" y="169519"/>
                  </a:moveTo>
                  <a:lnTo>
                    <a:pt x="115984" y="169801"/>
                  </a:lnTo>
                  <a:cubicBezTo>
                    <a:pt x="115984" y="170083"/>
                    <a:pt x="115702" y="170083"/>
                    <a:pt x="115138" y="170365"/>
                  </a:cubicBezTo>
                  <a:lnTo>
                    <a:pt x="115138" y="170083"/>
                  </a:lnTo>
                  <a:cubicBezTo>
                    <a:pt x="114855" y="170083"/>
                    <a:pt x="114855" y="169801"/>
                    <a:pt x="114855" y="169801"/>
                  </a:cubicBezTo>
                  <a:cubicBezTo>
                    <a:pt x="114574" y="169801"/>
                    <a:pt x="114291" y="169519"/>
                    <a:pt x="114291" y="169519"/>
                  </a:cubicBezTo>
                  <a:lnTo>
                    <a:pt x="115702" y="169519"/>
                  </a:lnTo>
                  <a:close/>
                  <a:moveTo>
                    <a:pt x="116209" y="47386"/>
                  </a:moveTo>
                  <a:cubicBezTo>
                    <a:pt x="116209" y="47386"/>
                    <a:pt x="116492" y="47104"/>
                    <a:pt x="116774" y="46540"/>
                  </a:cubicBezTo>
                  <a:lnTo>
                    <a:pt x="116774" y="46258"/>
                  </a:lnTo>
                  <a:cubicBezTo>
                    <a:pt x="115928" y="46258"/>
                    <a:pt x="115928" y="46258"/>
                    <a:pt x="115364" y="46540"/>
                  </a:cubicBezTo>
                  <a:cubicBezTo>
                    <a:pt x="115364" y="47104"/>
                    <a:pt x="115364" y="47668"/>
                    <a:pt x="115081" y="48232"/>
                  </a:cubicBezTo>
                  <a:cubicBezTo>
                    <a:pt x="115702" y="47668"/>
                    <a:pt x="116209" y="47668"/>
                    <a:pt x="116209" y="47386"/>
                  </a:cubicBezTo>
                  <a:close/>
                  <a:moveTo>
                    <a:pt x="117394" y="162749"/>
                  </a:moveTo>
                  <a:cubicBezTo>
                    <a:pt x="117112" y="162749"/>
                    <a:pt x="117112" y="162467"/>
                    <a:pt x="117112" y="162467"/>
                  </a:cubicBezTo>
                  <a:lnTo>
                    <a:pt x="117394" y="162185"/>
                  </a:lnTo>
                  <a:lnTo>
                    <a:pt x="117676" y="162185"/>
                  </a:lnTo>
                  <a:lnTo>
                    <a:pt x="117958" y="162467"/>
                  </a:lnTo>
                  <a:lnTo>
                    <a:pt x="118522" y="162749"/>
                  </a:lnTo>
                  <a:cubicBezTo>
                    <a:pt x="117958" y="162749"/>
                    <a:pt x="117958" y="163314"/>
                    <a:pt x="117676" y="163314"/>
                  </a:cubicBezTo>
                  <a:cubicBezTo>
                    <a:pt x="117394" y="163314"/>
                    <a:pt x="117394" y="163314"/>
                    <a:pt x="117394" y="162749"/>
                  </a:cubicBezTo>
                  <a:close/>
                  <a:moveTo>
                    <a:pt x="120440" y="51335"/>
                  </a:moveTo>
                  <a:cubicBezTo>
                    <a:pt x="120158" y="51335"/>
                    <a:pt x="120158" y="51053"/>
                    <a:pt x="120158" y="51053"/>
                  </a:cubicBezTo>
                  <a:cubicBezTo>
                    <a:pt x="120158" y="51053"/>
                    <a:pt x="119876" y="51335"/>
                    <a:pt x="119594" y="51335"/>
                  </a:cubicBezTo>
                  <a:lnTo>
                    <a:pt x="120440" y="51335"/>
                  </a:lnTo>
                  <a:close/>
                  <a:moveTo>
                    <a:pt x="121625" y="45976"/>
                  </a:moveTo>
                  <a:cubicBezTo>
                    <a:pt x="121625" y="45976"/>
                    <a:pt x="121907" y="45694"/>
                    <a:pt x="121625" y="45694"/>
                  </a:cubicBezTo>
                  <a:lnTo>
                    <a:pt x="121343" y="45694"/>
                  </a:lnTo>
                  <a:cubicBezTo>
                    <a:pt x="121061" y="45976"/>
                    <a:pt x="121061" y="45976"/>
                    <a:pt x="121061" y="46258"/>
                  </a:cubicBezTo>
                  <a:cubicBezTo>
                    <a:pt x="121343" y="45976"/>
                    <a:pt x="121625" y="45976"/>
                    <a:pt x="121625" y="45976"/>
                  </a:cubicBezTo>
                  <a:close/>
                  <a:moveTo>
                    <a:pt x="121850" y="152313"/>
                  </a:moveTo>
                  <a:cubicBezTo>
                    <a:pt x="121569" y="152031"/>
                    <a:pt x="121569" y="151749"/>
                    <a:pt x="121569" y="151467"/>
                  </a:cubicBezTo>
                  <a:lnTo>
                    <a:pt x="121569" y="150903"/>
                  </a:lnTo>
                  <a:lnTo>
                    <a:pt x="121286" y="150903"/>
                  </a:lnTo>
                  <a:cubicBezTo>
                    <a:pt x="121286" y="150621"/>
                    <a:pt x="121569" y="150621"/>
                    <a:pt x="121569" y="150339"/>
                  </a:cubicBezTo>
                  <a:lnTo>
                    <a:pt x="121850" y="150057"/>
                  </a:lnTo>
                  <a:cubicBezTo>
                    <a:pt x="122133" y="150339"/>
                    <a:pt x="122415" y="150621"/>
                    <a:pt x="123261" y="150621"/>
                  </a:cubicBezTo>
                  <a:cubicBezTo>
                    <a:pt x="123543" y="150621"/>
                    <a:pt x="123543" y="150903"/>
                    <a:pt x="123543" y="150903"/>
                  </a:cubicBezTo>
                  <a:cubicBezTo>
                    <a:pt x="123543" y="150903"/>
                    <a:pt x="123543" y="151185"/>
                    <a:pt x="123261" y="151467"/>
                  </a:cubicBezTo>
                  <a:cubicBezTo>
                    <a:pt x="123261" y="152313"/>
                    <a:pt x="123261" y="152313"/>
                    <a:pt x="122133" y="152313"/>
                  </a:cubicBezTo>
                  <a:lnTo>
                    <a:pt x="121850" y="152313"/>
                  </a:lnTo>
                  <a:close/>
                  <a:moveTo>
                    <a:pt x="123600" y="148646"/>
                  </a:moveTo>
                  <a:lnTo>
                    <a:pt x="124164" y="148646"/>
                  </a:lnTo>
                  <a:cubicBezTo>
                    <a:pt x="124164" y="148928"/>
                    <a:pt x="124164" y="149493"/>
                    <a:pt x="124728" y="149775"/>
                  </a:cubicBezTo>
                  <a:lnTo>
                    <a:pt x="124446" y="150057"/>
                  </a:lnTo>
                  <a:cubicBezTo>
                    <a:pt x="124164" y="150057"/>
                    <a:pt x="123881" y="150057"/>
                    <a:pt x="123600" y="149775"/>
                  </a:cubicBezTo>
                  <a:lnTo>
                    <a:pt x="123600" y="148646"/>
                  </a:lnTo>
                  <a:close/>
                  <a:moveTo>
                    <a:pt x="128677" y="48797"/>
                  </a:moveTo>
                  <a:cubicBezTo>
                    <a:pt x="128958" y="48797"/>
                    <a:pt x="129522" y="48797"/>
                    <a:pt x="129805" y="48515"/>
                  </a:cubicBezTo>
                  <a:lnTo>
                    <a:pt x="129805" y="48232"/>
                  </a:lnTo>
                  <a:cubicBezTo>
                    <a:pt x="130087" y="47950"/>
                    <a:pt x="129805" y="47950"/>
                    <a:pt x="129805" y="47950"/>
                  </a:cubicBezTo>
                  <a:lnTo>
                    <a:pt x="128958" y="47950"/>
                  </a:lnTo>
                  <a:cubicBezTo>
                    <a:pt x="128958" y="47950"/>
                    <a:pt x="128677" y="48232"/>
                    <a:pt x="128677" y="48515"/>
                  </a:cubicBezTo>
                  <a:lnTo>
                    <a:pt x="128677" y="48797"/>
                  </a:lnTo>
                  <a:close/>
                  <a:moveTo>
                    <a:pt x="133753" y="46540"/>
                  </a:moveTo>
                  <a:lnTo>
                    <a:pt x="134318" y="45694"/>
                  </a:lnTo>
                  <a:lnTo>
                    <a:pt x="134318" y="45130"/>
                  </a:lnTo>
                  <a:cubicBezTo>
                    <a:pt x="134600" y="44848"/>
                    <a:pt x="134318" y="44848"/>
                    <a:pt x="134318" y="44848"/>
                  </a:cubicBezTo>
                  <a:lnTo>
                    <a:pt x="134036" y="44848"/>
                  </a:lnTo>
                  <a:cubicBezTo>
                    <a:pt x="133753" y="44848"/>
                    <a:pt x="133472" y="45130"/>
                    <a:pt x="133189" y="45412"/>
                  </a:cubicBezTo>
                  <a:cubicBezTo>
                    <a:pt x="133189" y="45694"/>
                    <a:pt x="133753" y="45694"/>
                    <a:pt x="133753" y="46258"/>
                  </a:cubicBezTo>
                  <a:lnTo>
                    <a:pt x="133753" y="46540"/>
                  </a:lnTo>
                  <a:close/>
                  <a:moveTo>
                    <a:pt x="142498" y="48232"/>
                  </a:moveTo>
                  <a:cubicBezTo>
                    <a:pt x="143626" y="47950"/>
                    <a:pt x="143626" y="47386"/>
                    <a:pt x="143908" y="47104"/>
                  </a:cubicBezTo>
                  <a:cubicBezTo>
                    <a:pt x="142780" y="47104"/>
                    <a:pt x="142498" y="47668"/>
                    <a:pt x="141934" y="48232"/>
                  </a:cubicBezTo>
                  <a:lnTo>
                    <a:pt x="142498" y="48232"/>
                  </a:lnTo>
                  <a:close/>
                  <a:moveTo>
                    <a:pt x="167319" y="54156"/>
                  </a:moveTo>
                  <a:cubicBezTo>
                    <a:pt x="167319" y="54156"/>
                    <a:pt x="167601" y="53874"/>
                    <a:pt x="167319" y="53874"/>
                  </a:cubicBezTo>
                  <a:cubicBezTo>
                    <a:pt x="167037" y="54156"/>
                    <a:pt x="167037" y="54156"/>
                    <a:pt x="166755" y="54156"/>
                  </a:cubicBezTo>
                  <a:lnTo>
                    <a:pt x="167319" y="54156"/>
                  </a:lnTo>
                  <a:close/>
                  <a:moveTo>
                    <a:pt x="171550" y="41463"/>
                  </a:moveTo>
                  <a:cubicBezTo>
                    <a:pt x="171550" y="41181"/>
                    <a:pt x="171550" y="41181"/>
                    <a:pt x="171832" y="40617"/>
                  </a:cubicBezTo>
                  <a:lnTo>
                    <a:pt x="171268" y="41181"/>
                  </a:lnTo>
                  <a:cubicBezTo>
                    <a:pt x="171268" y="41463"/>
                    <a:pt x="171550" y="41463"/>
                    <a:pt x="171550" y="41745"/>
                  </a:cubicBezTo>
                  <a:lnTo>
                    <a:pt x="171550" y="41463"/>
                  </a:lnTo>
                  <a:close/>
                </a:path>
              </a:pathLst>
            </a:custGeom>
            <a:solidFill>
              <a:srgbClr val="000000"/>
            </a:solidFill>
            <a:ln w="5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5738D0CB-C73F-4DDF-9448-D633E7352471}"/>
                </a:ext>
              </a:extLst>
            </p:cNvPr>
            <p:cNvSpPr/>
            <p:nvPr/>
          </p:nvSpPr>
          <p:spPr>
            <a:xfrm>
              <a:off x="6003285" y="3358484"/>
              <a:ext cx="124107" cy="253855"/>
            </a:xfrm>
            <a:custGeom>
              <a:avLst/>
              <a:gdLst>
                <a:gd name="connsiteX0" fmla="*/ 118747 w 124107"/>
                <a:gd name="connsiteY0" fmla="*/ 92798 h 253855"/>
                <a:gd name="connsiteX1" fmla="*/ 118466 w 124107"/>
                <a:gd name="connsiteY1" fmla="*/ 92798 h 253855"/>
                <a:gd name="connsiteX2" fmla="*/ 118183 w 124107"/>
                <a:gd name="connsiteY2" fmla="*/ 93080 h 253855"/>
                <a:gd name="connsiteX3" fmla="*/ 118183 w 124107"/>
                <a:gd name="connsiteY3" fmla="*/ 92798 h 253855"/>
                <a:gd name="connsiteX4" fmla="*/ 117337 w 124107"/>
                <a:gd name="connsiteY4" fmla="*/ 93362 h 253855"/>
                <a:gd name="connsiteX5" fmla="*/ 117620 w 124107"/>
                <a:gd name="connsiteY5" fmla="*/ 96183 h 253855"/>
                <a:gd name="connsiteX6" fmla="*/ 118747 w 124107"/>
                <a:gd name="connsiteY6" fmla="*/ 97311 h 253855"/>
                <a:gd name="connsiteX7" fmla="*/ 119311 w 124107"/>
                <a:gd name="connsiteY7" fmla="*/ 97311 h 253855"/>
                <a:gd name="connsiteX8" fmla="*/ 119594 w 124107"/>
                <a:gd name="connsiteY8" fmla="*/ 96747 h 253855"/>
                <a:gd name="connsiteX9" fmla="*/ 119594 w 124107"/>
                <a:gd name="connsiteY9" fmla="*/ 97311 h 253855"/>
                <a:gd name="connsiteX10" fmla="*/ 119311 w 124107"/>
                <a:gd name="connsiteY10" fmla="*/ 97875 h 253855"/>
                <a:gd name="connsiteX11" fmla="*/ 119311 w 124107"/>
                <a:gd name="connsiteY11" fmla="*/ 98439 h 253855"/>
                <a:gd name="connsiteX12" fmla="*/ 120158 w 124107"/>
                <a:gd name="connsiteY12" fmla="*/ 99286 h 253855"/>
                <a:gd name="connsiteX13" fmla="*/ 120440 w 124107"/>
                <a:gd name="connsiteY13" fmla="*/ 99286 h 253855"/>
                <a:gd name="connsiteX14" fmla="*/ 120158 w 124107"/>
                <a:gd name="connsiteY14" fmla="*/ 98721 h 253855"/>
                <a:gd name="connsiteX15" fmla="*/ 120440 w 124107"/>
                <a:gd name="connsiteY15" fmla="*/ 98157 h 253855"/>
                <a:gd name="connsiteX16" fmla="*/ 120722 w 124107"/>
                <a:gd name="connsiteY16" fmla="*/ 97029 h 253855"/>
                <a:gd name="connsiteX17" fmla="*/ 121286 w 124107"/>
                <a:gd name="connsiteY17" fmla="*/ 96465 h 253855"/>
                <a:gd name="connsiteX18" fmla="*/ 121568 w 124107"/>
                <a:gd name="connsiteY18" fmla="*/ 97029 h 253855"/>
                <a:gd name="connsiteX19" fmla="*/ 121850 w 124107"/>
                <a:gd name="connsiteY19" fmla="*/ 97311 h 253855"/>
                <a:gd name="connsiteX20" fmla="*/ 121850 w 124107"/>
                <a:gd name="connsiteY20" fmla="*/ 105491 h 253855"/>
                <a:gd name="connsiteX21" fmla="*/ 122414 w 124107"/>
                <a:gd name="connsiteY21" fmla="*/ 106055 h 253855"/>
                <a:gd name="connsiteX22" fmla="*/ 122414 w 124107"/>
                <a:gd name="connsiteY22" fmla="*/ 108030 h 253855"/>
                <a:gd name="connsiteX23" fmla="*/ 122132 w 124107"/>
                <a:gd name="connsiteY23" fmla="*/ 108030 h 253855"/>
                <a:gd name="connsiteX24" fmla="*/ 121568 w 124107"/>
                <a:gd name="connsiteY24" fmla="*/ 108030 h 253855"/>
                <a:gd name="connsiteX25" fmla="*/ 121286 w 124107"/>
                <a:gd name="connsiteY25" fmla="*/ 111132 h 253855"/>
                <a:gd name="connsiteX26" fmla="*/ 121286 w 124107"/>
                <a:gd name="connsiteY26" fmla="*/ 111978 h 253855"/>
                <a:gd name="connsiteX27" fmla="*/ 121568 w 124107"/>
                <a:gd name="connsiteY27" fmla="*/ 114799 h 253855"/>
                <a:gd name="connsiteX28" fmla="*/ 121286 w 124107"/>
                <a:gd name="connsiteY28" fmla="*/ 115363 h 253855"/>
                <a:gd name="connsiteX29" fmla="*/ 120440 w 124107"/>
                <a:gd name="connsiteY29" fmla="*/ 116773 h 253855"/>
                <a:gd name="connsiteX30" fmla="*/ 119876 w 124107"/>
                <a:gd name="connsiteY30" fmla="*/ 115363 h 253855"/>
                <a:gd name="connsiteX31" fmla="*/ 119030 w 124107"/>
                <a:gd name="connsiteY31" fmla="*/ 114799 h 253855"/>
                <a:gd name="connsiteX32" fmla="*/ 118183 w 124107"/>
                <a:gd name="connsiteY32" fmla="*/ 115363 h 253855"/>
                <a:gd name="connsiteX33" fmla="*/ 118747 w 124107"/>
                <a:gd name="connsiteY33" fmla="*/ 115645 h 253855"/>
                <a:gd name="connsiteX34" fmla="*/ 119311 w 124107"/>
                <a:gd name="connsiteY34" fmla="*/ 116491 h 253855"/>
                <a:gd name="connsiteX35" fmla="*/ 119030 w 124107"/>
                <a:gd name="connsiteY35" fmla="*/ 117338 h 253855"/>
                <a:gd name="connsiteX36" fmla="*/ 119594 w 124107"/>
                <a:gd name="connsiteY36" fmla="*/ 119312 h 253855"/>
                <a:gd name="connsiteX37" fmla="*/ 120440 w 124107"/>
                <a:gd name="connsiteY37" fmla="*/ 121286 h 253855"/>
                <a:gd name="connsiteX38" fmla="*/ 120158 w 124107"/>
                <a:gd name="connsiteY38" fmla="*/ 122697 h 253855"/>
                <a:gd name="connsiteX39" fmla="*/ 120158 w 124107"/>
                <a:gd name="connsiteY39" fmla="*/ 129184 h 253855"/>
                <a:gd name="connsiteX40" fmla="*/ 119311 w 124107"/>
                <a:gd name="connsiteY40" fmla="*/ 131441 h 253855"/>
                <a:gd name="connsiteX41" fmla="*/ 119030 w 124107"/>
                <a:gd name="connsiteY41" fmla="*/ 133415 h 253855"/>
                <a:gd name="connsiteX42" fmla="*/ 118747 w 124107"/>
                <a:gd name="connsiteY42" fmla="*/ 135389 h 253855"/>
                <a:gd name="connsiteX43" fmla="*/ 118747 w 124107"/>
                <a:gd name="connsiteY43" fmla="*/ 137364 h 253855"/>
                <a:gd name="connsiteX44" fmla="*/ 119030 w 124107"/>
                <a:gd name="connsiteY44" fmla="*/ 137646 h 253855"/>
                <a:gd name="connsiteX45" fmla="*/ 119311 w 124107"/>
                <a:gd name="connsiteY45" fmla="*/ 137928 h 253855"/>
                <a:gd name="connsiteX46" fmla="*/ 119030 w 124107"/>
                <a:gd name="connsiteY46" fmla="*/ 139902 h 253855"/>
                <a:gd name="connsiteX47" fmla="*/ 118747 w 124107"/>
                <a:gd name="connsiteY47" fmla="*/ 140749 h 253855"/>
                <a:gd name="connsiteX48" fmla="*/ 118466 w 124107"/>
                <a:gd name="connsiteY48" fmla="*/ 141595 h 253855"/>
                <a:gd name="connsiteX49" fmla="*/ 117620 w 124107"/>
                <a:gd name="connsiteY49" fmla="*/ 144697 h 253855"/>
                <a:gd name="connsiteX50" fmla="*/ 115927 w 124107"/>
                <a:gd name="connsiteY50" fmla="*/ 149493 h 253855"/>
                <a:gd name="connsiteX51" fmla="*/ 115645 w 124107"/>
                <a:gd name="connsiteY51" fmla="*/ 151185 h 253855"/>
                <a:gd name="connsiteX52" fmla="*/ 114517 w 124107"/>
                <a:gd name="connsiteY52" fmla="*/ 154006 h 253855"/>
                <a:gd name="connsiteX53" fmla="*/ 113953 w 124107"/>
                <a:gd name="connsiteY53" fmla="*/ 155134 h 253855"/>
                <a:gd name="connsiteX54" fmla="*/ 113953 w 124107"/>
                <a:gd name="connsiteY54" fmla="*/ 157672 h 253855"/>
                <a:gd name="connsiteX55" fmla="*/ 113670 w 124107"/>
                <a:gd name="connsiteY55" fmla="*/ 160493 h 253855"/>
                <a:gd name="connsiteX56" fmla="*/ 113953 w 124107"/>
                <a:gd name="connsiteY56" fmla="*/ 161339 h 253855"/>
                <a:gd name="connsiteX57" fmla="*/ 113389 w 124107"/>
                <a:gd name="connsiteY57" fmla="*/ 162185 h 253855"/>
                <a:gd name="connsiteX58" fmla="*/ 113389 w 124107"/>
                <a:gd name="connsiteY58" fmla="*/ 163596 h 253855"/>
                <a:gd name="connsiteX59" fmla="*/ 112825 w 124107"/>
                <a:gd name="connsiteY59" fmla="*/ 165288 h 253855"/>
                <a:gd name="connsiteX60" fmla="*/ 112825 w 124107"/>
                <a:gd name="connsiteY60" fmla="*/ 165570 h 253855"/>
                <a:gd name="connsiteX61" fmla="*/ 111696 w 124107"/>
                <a:gd name="connsiteY61" fmla="*/ 167827 h 253855"/>
                <a:gd name="connsiteX62" fmla="*/ 111414 w 124107"/>
                <a:gd name="connsiteY62" fmla="*/ 168955 h 253855"/>
                <a:gd name="connsiteX63" fmla="*/ 109722 w 124107"/>
                <a:gd name="connsiteY63" fmla="*/ 171775 h 253855"/>
                <a:gd name="connsiteX64" fmla="*/ 110004 w 124107"/>
                <a:gd name="connsiteY64" fmla="*/ 172339 h 253855"/>
                <a:gd name="connsiteX65" fmla="*/ 109722 w 124107"/>
                <a:gd name="connsiteY65" fmla="*/ 173186 h 253855"/>
                <a:gd name="connsiteX66" fmla="*/ 109158 w 124107"/>
                <a:gd name="connsiteY66" fmla="*/ 174032 h 253855"/>
                <a:gd name="connsiteX67" fmla="*/ 109439 w 124107"/>
                <a:gd name="connsiteY67" fmla="*/ 174878 h 253855"/>
                <a:gd name="connsiteX68" fmla="*/ 109439 w 124107"/>
                <a:gd name="connsiteY68" fmla="*/ 175160 h 253855"/>
                <a:gd name="connsiteX69" fmla="*/ 108594 w 124107"/>
                <a:gd name="connsiteY69" fmla="*/ 176006 h 253855"/>
                <a:gd name="connsiteX70" fmla="*/ 107747 w 124107"/>
                <a:gd name="connsiteY70" fmla="*/ 177699 h 253855"/>
                <a:gd name="connsiteX71" fmla="*/ 107465 w 124107"/>
                <a:gd name="connsiteY71" fmla="*/ 178545 h 253855"/>
                <a:gd name="connsiteX72" fmla="*/ 107465 w 124107"/>
                <a:gd name="connsiteY72" fmla="*/ 179109 h 253855"/>
                <a:gd name="connsiteX73" fmla="*/ 106901 w 124107"/>
                <a:gd name="connsiteY73" fmla="*/ 181930 h 253855"/>
                <a:gd name="connsiteX74" fmla="*/ 104644 w 124107"/>
                <a:gd name="connsiteY74" fmla="*/ 186443 h 253855"/>
                <a:gd name="connsiteX75" fmla="*/ 102952 w 124107"/>
                <a:gd name="connsiteY75" fmla="*/ 190673 h 253855"/>
                <a:gd name="connsiteX76" fmla="*/ 102670 w 124107"/>
                <a:gd name="connsiteY76" fmla="*/ 190956 h 253855"/>
                <a:gd name="connsiteX77" fmla="*/ 101260 w 124107"/>
                <a:gd name="connsiteY77" fmla="*/ 193494 h 253855"/>
                <a:gd name="connsiteX78" fmla="*/ 100132 w 124107"/>
                <a:gd name="connsiteY78" fmla="*/ 195469 h 253855"/>
                <a:gd name="connsiteX79" fmla="*/ 98722 w 124107"/>
                <a:gd name="connsiteY79" fmla="*/ 198289 h 253855"/>
                <a:gd name="connsiteX80" fmla="*/ 97593 w 124107"/>
                <a:gd name="connsiteY80" fmla="*/ 200828 h 253855"/>
                <a:gd name="connsiteX81" fmla="*/ 97311 w 124107"/>
                <a:gd name="connsiteY81" fmla="*/ 201392 h 253855"/>
                <a:gd name="connsiteX82" fmla="*/ 91952 w 124107"/>
                <a:gd name="connsiteY82" fmla="*/ 210982 h 253855"/>
                <a:gd name="connsiteX83" fmla="*/ 90260 w 124107"/>
                <a:gd name="connsiteY83" fmla="*/ 212674 h 253855"/>
                <a:gd name="connsiteX84" fmla="*/ 88567 w 124107"/>
                <a:gd name="connsiteY84" fmla="*/ 214367 h 253855"/>
                <a:gd name="connsiteX85" fmla="*/ 86874 w 124107"/>
                <a:gd name="connsiteY85" fmla="*/ 216341 h 253855"/>
                <a:gd name="connsiteX86" fmla="*/ 86593 w 124107"/>
                <a:gd name="connsiteY86" fmla="*/ 217469 h 253855"/>
                <a:gd name="connsiteX87" fmla="*/ 86029 w 124107"/>
                <a:gd name="connsiteY87" fmla="*/ 217751 h 253855"/>
                <a:gd name="connsiteX88" fmla="*/ 85746 w 124107"/>
                <a:gd name="connsiteY88" fmla="*/ 217469 h 253855"/>
                <a:gd name="connsiteX89" fmla="*/ 85464 w 124107"/>
                <a:gd name="connsiteY89" fmla="*/ 217187 h 253855"/>
                <a:gd name="connsiteX90" fmla="*/ 85746 w 124107"/>
                <a:gd name="connsiteY90" fmla="*/ 216905 h 253855"/>
                <a:gd name="connsiteX91" fmla="*/ 85746 w 124107"/>
                <a:gd name="connsiteY91" fmla="*/ 215777 h 253855"/>
                <a:gd name="connsiteX92" fmla="*/ 85182 w 124107"/>
                <a:gd name="connsiteY92" fmla="*/ 215495 h 253855"/>
                <a:gd name="connsiteX93" fmla="*/ 84618 w 124107"/>
                <a:gd name="connsiteY93" fmla="*/ 215777 h 253855"/>
                <a:gd name="connsiteX94" fmla="*/ 84054 w 124107"/>
                <a:gd name="connsiteY94" fmla="*/ 216623 h 253855"/>
                <a:gd name="connsiteX95" fmla="*/ 84618 w 124107"/>
                <a:gd name="connsiteY95" fmla="*/ 217469 h 253855"/>
                <a:gd name="connsiteX96" fmla="*/ 83772 w 124107"/>
                <a:gd name="connsiteY96" fmla="*/ 219162 h 253855"/>
                <a:gd name="connsiteX97" fmla="*/ 82079 w 124107"/>
                <a:gd name="connsiteY97" fmla="*/ 219162 h 253855"/>
                <a:gd name="connsiteX98" fmla="*/ 81516 w 124107"/>
                <a:gd name="connsiteY98" fmla="*/ 220290 h 253855"/>
                <a:gd name="connsiteX99" fmla="*/ 80952 w 124107"/>
                <a:gd name="connsiteY99" fmla="*/ 220854 h 253855"/>
                <a:gd name="connsiteX100" fmla="*/ 79823 w 124107"/>
                <a:gd name="connsiteY100" fmla="*/ 223111 h 253855"/>
                <a:gd name="connsiteX101" fmla="*/ 80105 w 124107"/>
                <a:gd name="connsiteY101" fmla="*/ 224521 h 253855"/>
                <a:gd name="connsiteX102" fmla="*/ 80105 w 124107"/>
                <a:gd name="connsiteY102" fmla="*/ 225085 h 253855"/>
                <a:gd name="connsiteX103" fmla="*/ 78977 w 124107"/>
                <a:gd name="connsiteY103" fmla="*/ 223675 h 253855"/>
                <a:gd name="connsiteX104" fmla="*/ 78977 w 124107"/>
                <a:gd name="connsiteY104" fmla="*/ 223393 h 253855"/>
                <a:gd name="connsiteX105" fmla="*/ 78413 w 124107"/>
                <a:gd name="connsiteY105" fmla="*/ 223957 h 253855"/>
                <a:gd name="connsiteX106" fmla="*/ 78413 w 124107"/>
                <a:gd name="connsiteY106" fmla="*/ 225085 h 253855"/>
                <a:gd name="connsiteX107" fmla="*/ 78695 w 124107"/>
                <a:gd name="connsiteY107" fmla="*/ 226213 h 253855"/>
                <a:gd name="connsiteX108" fmla="*/ 78413 w 124107"/>
                <a:gd name="connsiteY108" fmla="*/ 226777 h 253855"/>
                <a:gd name="connsiteX109" fmla="*/ 78695 w 124107"/>
                <a:gd name="connsiteY109" fmla="*/ 227059 h 253855"/>
                <a:gd name="connsiteX110" fmla="*/ 79541 w 124107"/>
                <a:gd name="connsiteY110" fmla="*/ 227341 h 253855"/>
                <a:gd name="connsiteX111" fmla="*/ 78695 w 124107"/>
                <a:gd name="connsiteY111" fmla="*/ 227906 h 253855"/>
                <a:gd name="connsiteX112" fmla="*/ 77285 w 124107"/>
                <a:gd name="connsiteY112" fmla="*/ 229880 h 253855"/>
                <a:gd name="connsiteX113" fmla="*/ 74746 w 124107"/>
                <a:gd name="connsiteY113" fmla="*/ 231572 h 253855"/>
                <a:gd name="connsiteX114" fmla="*/ 73336 w 124107"/>
                <a:gd name="connsiteY114" fmla="*/ 232701 h 253855"/>
                <a:gd name="connsiteX115" fmla="*/ 71361 w 124107"/>
                <a:gd name="connsiteY115" fmla="*/ 234957 h 253855"/>
                <a:gd name="connsiteX116" fmla="*/ 71361 w 124107"/>
                <a:gd name="connsiteY116" fmla="*/ 235239 h 253855"/>
                <a:gd name="connsiteX117" fmla="*/ 70797 w 124107"/>
                <a:gd name="connsiteY117" fmla="*/ 235521 h 253855"/>
                <a:gd name="connsiteX118" fmla="*/ 70515 w 124107"/>
                <a:gd name="connsiteY118" fmla="*/ 235521 h 253855"/>
                <a:gd name="connsiteX119" fmla="*/ 69951 w 124107"/>
                <a:gd name="connsiteY119" fmla="*/ 236367 h 253855"/>
                <a:gd name="connsiteX120" fmla="*/ 69105 w 124107"/>
                <a:gd name="connsiteY120" fmla="*/ 237778 h 253855"/>
                <a:gd name="connsiteX121" fmla="*/ 66566 w 124107"/>
                <a:gd name="connsiteY121" fmla="*/ 239188 h 253855"/>
                <a:gd name="connsiteX122" fmla="*/ 65438 w 124107"/>
                <a:gd name="connsiteY122" fmla="*/ 239470 h 253855"/>
                <a:gd name="connsiteX123" fmla="*/ 62899 w 124107"/>
                <a:gd name="connsiteY123" fmla="*/ 241445 h 253855"/>
                <a:gd name="connsiteX124" fmla="*/ 62618 w 124107"/>
                <a:gd name="connsiteY124" fmla="*/ 241445 h 253855"/>
                <a:gd name="connsiteX125" fmla="*/ 63182 w 124107"/>
                <a:gd name="connsiteY125" fmla="*/ 241727 h 253855"/>
                <a:gd name="connsiteX126" fmla="*/ 63464 w 124107"/>
                <a:gd name="connsiteY126" fmla="*/ 241727 h 253855"/>
                <a:gd name="connsiteX127" fmla="*/ 63464 w 124107"/>
                <a:gd name="connsiteY127" fmla="*/ 242291 h 253855"/>
                <a:gd name="connsiteX128" fmla="*/ 62335 w 124107"/>
                <a:gd name="connsiteY128" fmla="*/ 243137 h 253855"/>
                <a:gd name="connsiteX129" fmla="*/ 61489 w 124107"/>
                <a:gd name="connsiteY129" fmla="*/ 244265 h 253855"/>
                <a:gd name="connsiteX130" fmla="*/ 60361 w 124107"/>
                <a:gd name="connsiteY130" fmla="*/ 245111 h 253855"/>
                <a:gd name="connsiteX131" fmla="*/ 53873 w 124107"/>
                <a:gd name="connsiteY131" fmla="*/ 247932 h 253855"/>
                <a:gd name="connsiteX132" fmla="*/ 53592 w 124107"/>
                <a:gd name="connsiteY132" fmla="*/ 247932 h 253855"/>
                <a:gd name="connsiteX133" fmla="*/ 52463 w 124107"/>
                <a:gd name="connsiteY133" fmla="*/ 247086 h 253855"/>
                <a:gd name="connsiteX134" fmla="*/ 51617 w 124107"/>
                <a:gd name="connsiteY134" fmla="*/ 247086 h 253855"/>
                <a:gd name="connsiteX135" fmla="*/ 51335 w 124107"/>
                <a:gd name="connsiteY135" fmla="*/ 247650 h 253855"/>
                <a:gd name="connsiteX136" fmla="*/ 51335 w 124107"/>
                <a:gd name="connsiteY136" fmla="*/ 248214 h 253855"/>
                <a:gd name="connsiteX137" fmla="*/ 51617 w 124107"/>
                <a:gd name="connsiteY137" fmla="*/ 249060 h 253855"/>
                <a:gd name="connsiteX138" fmla="*/ 50771 w 124107"/>
                <a:gd name="connsiteY138" fmla="*/ 249624 h 253855"/>
                <a:gd name="connsiteX139" fmla="*/ 49078 w 124107"/>
                <a:gd name="connsiteY139" fmla="*/ 250753 h 253855"/>
                <a:gd name="connsiteX140" fmla="*/ 47950 w 124107"/>
                <a:gd name="connsiteY140" fmla="*/ 250753 h 253855"/>
                <a:gd name="connsiteX141" fmla="*/ 47104 w 124107"/>
                <a:gd name="connsiteY141" fmla="*/ 251317 h 253855"/>
                <a:gd name="connsiteX142" fmla="*/ 45411 w 124107"/>
                <a:gd name="connsiteY142" fmla="*/ 252163 h 253855"/>
                <a:gd name="connsiteX143" fmla="*/ 44565 w 124107"/>
                <a:gd name="connsiteY143" fmla="*/ 252163 h 253855"/>
                <a:gd name="connsiteX144" fmla="*/ 42873 w 124107"/>
                <a:gd name="connsiteY144" fmla="*/ 252445 h 253855"/>
                <a:gd name="connsiteX145" fmla="*/ 42309 w 124107"/>
                <a:gd name="connsiteY145" fmla="*/ 252445 h 253855"/>
                <a:gd name="connsiteX146" fmla="*/ 42027 w 124107"/>
                <a:gd name="connsiteY146" fmla="*/ 252727 h 253855"/>
                <a:gd name="connsiteX147" fmla="*/ 40899 w 124107"/>
                <a:gd name="connsiteY147" fmla="*/ 253573 h 253855"/>
                <a:gd name="connsiteX148" fmla="*/ 36386 w 124107"/>
                <a:gd name="connsiteY148" fmla="*/ 255548 h 253855"/>
                <a:gd name="connsiteX149" fmla="*/ 34693 w 124107"/>
                <a:gd name="connsiteY149" fmla="*/ 256676 h 253855"/>
                <a:gd name="connsiteX150" fmla="*/ 33847 w 124107"/>
                <a:gd name="connsiteY150" fmla="*/ 257522 h 253855"/>
                <a:gd name="connsiteX151" fmla="*/ 33283 w 124107"/>
                <a:gd name="connsiteY151" fmla="*/ 256958 h 253855"/>
                <a:gd name="connsiteX152" fmla="*/ 33001 w 124107"/>
                <a:gd name="connsiteY152" fmla="*/ 256676 h 253855"/>
                <a:gd name="connsiteX153" fmla="*/ 31027 w 124107"/>
                <a:gd name="connsiteY153" fmla="*/ 257804 h 253855"/>
                <a:gd name="connsiteX154" fmla="*/ 30180 w 124107"/>
                <a:gd name="connsiteY154" fmla="*/ 257522 h 253855"/>
                <a:gd name="connsiteX155" fmla="*/ 29334 w 124107"/>
                <a:gd name="connsiteY155" fmla="*/ 256958 h 253855"/>
                <a:gd name="connsiteX156" fmla="*/ 28770 w 124107"/>
                <a:gd name="connsiteY156" fmla="*/ 257240 h 253855"/>
                <a:gd name="connsiteX157" fmla="*/ 25386 w 124107"/>
                <a:gd name="connsiteY157" fmla="*/ 258086 h 253855"/>
                <a:gd name="connsiteX158" fmla="*/ 23975 w 124107"/>
                <a:gd name="connsiteY158" fmla="*/ 258368 h 253855"/>
                <a:gd name="connsiteX159" fmla="*/ 22565 w 124107"/>
                <a:gd name="connsiteY159" fmla="*/ 258650 h 253855"/>
                <a:gd name="connsiteX160" fmla="*/ 21436 w 124107"/>
                <a:gd name="connsiteY160" fmla="*/ 258932 h 253855"/>
                <a:gd name="connsiteX161" fmla="*/ 20590 w 124107"/>
                <a:gd name="connsiteY161" fmla="*/ 258650 h 253855"/>
                <a:gd name="connsiteX162" fmla="*/ 20026 w 124107"/>
                <a:gd name="connsiteY162" fmla="*/ 258086 h 253855"/>
                <a:gd name="connsiteX163" fmla="*/ 18334 w 124107"/>
                <a:gd name="connsiteY163" fmla="*/ 257522 h 253855"/>
                <a:gd name="connsiteX164" fmla="*/ 17488 w 124107"/>
                <a:gd name="connsiteY164" fmla="*/ 258086 h 253855"/>
                <a:gd name="connsiteX165" fmla="*/ 16924 w 124107"/>
                <a:gd name="connsiteY165" fmla="*/ 257804 h 253855"/>
                <a:gd name="connsiteX166" fmla="*/ 16359 w 124107"/>
                <a:gd name="connsiteY166" fmla="*/ 258086 h 253855"/>
                <a:gd name="connsiteX167" fmla="*/ 14949 w 124107"/>
                <a:gd name="connsiteY167" fmla="*/ 258932 h 253855"/>
                <a:gd name="connsiteX168" fmla="*/ 12693 w 124107"/>
                <a:gd name="connsiteY168" fmla="*/ 258086 h 253855"/>
                <a:gd name="connsiteX169" fmla="*/ 10154 w 124107"/>
                <a:gd name="connsiteY169" fmla="*/ 257804 h 253855"/>
                <a:gd name="connsiteX170" fmla="*/ 5359 w 124107"/>
                <a:gd name="connsiteY170" fmla="*/ 254419 h 253855"/>
                <a:gd name="connsiteX171" fmla="*/ 4795 w 124107"/>
                <a:gd name="connsiteY171" fmla="*/ 253291 h 253855"/>
                <a:gd name="connsiteX172" fmla="*/ 3666 w 124107"/>
                <a:gd name="connsiteY172" fmla="*/ 251599 h 253855"/>
                <a:gd name="connsiteX173" fmla="*/ 3385 w 124107"/>
                <a:gd name="connsiteY173" fmla="*/ 251317 h 253855"/>
                <a:gd name="connsiteX174" fmla="*/ 2256 w 124107"/>
                <a:gd name="connsiteY174" fmla="*/ 248214 h 253855"/>
                <a:gd name="connsiteX175" fmla="*/ 2256 w 124107"/>
                <a:gd name="connsiteY175" fmla="*/ 247650 h 253855"/>
                <a:gd name="connsiteX176" fmla="*/ 1692 w 124107"/>
                <a:gd name="connsiteY176" fmla="*/ 247086 h 253855"/>
                <a:gd name="connsiteX177" fmla="*/ 564 w 124107"/>
                <a:gd name="connsiteY177" fmla="*/ 244265 h 253855"/>
                <a:gd name="connsiteX178" fmla="*/ 282 w 124107"/>
                <a:gd name="connsiteY178" fmla="*/ 242855 h 253855"/>
                <a:gd name="connsiteX179" fmla="*/ 282 w 124107"/>
                <a:gd name="connsiteY179" fmla="*/ 241162 h 253855"/>
                <a:gd name="connsiteX180" fmla="*/ 564 w 124107"/>
                <a:gd name="connsiteY180" fmla="*/ 240316 h 253855"/>
                <a:gd name="connsiteX181" fmla="*/ 846 w 124107"/>
                <a:gd name="connsiteY181" fmla="*/ 240316 h 253855"/>
                <a:gd name="connsiteX182" fmla="*/ 1128 w 124107"/>
                <a:gd name="connsiteY182" fmla="*/ 240034 h 253855"/>
                <a:gd name="connsiteX183" fmla="*/ 846 w 124107"/>
                <a:gd name="connsiteY183" fmla="*/ 239470 h 253855"/>
                <a:gd name="connsiteX184" fmla="*/ 1128 w 124107"/>
                <a:gd name="connsiteY184" fmla="*/ 238906 h 253855"/>
                <a:gd name="connsiteX185" fmla="*/ 846 w 124107"/>
                <a:gd name="connsiteY185" fmla="*/ 238906 h 253855"/>
                <a:gd name="connsiteX186" fmla="*/ 564 w 124107"/>
                <a:gd name="connsiteY186" fmla="*/ 237778 h 253855"/>
                <a:gd name="connsiteX187" fmla="*/ 846 w 124107"/>
                <a:gd name="connsiteY187" fmla="*/ 236367 h 253855"/>
                <a:gd name="connsiteX188" fmla="*/ 282 w 124107"/>
                <a:gd name="connsiteY188" fmla="*/ 235521 h 253855"/>
                <a:gd name="connsiteX189" fmla="*/ 0 w 124107"/>
                <a:gd name="connsiteY189" fmla="*/ 235239 h 253855"/>
                <a:gd name="connsiteX190" fmla="*/ 0 w 124107"/>
                <a:gd name="connsiteY190" fmla="*/ 231854 h 253855"/>
                <a:gd name="connsiteX191" fmla="*/ 564 w 124107"/>
                <a:gd name="connsiteY191" fmla="*/ 228752 h 253855"/>
                <a:gd name="connsiteX192" fmla="*/ 846 w 124107"/>
                <a:gd name="connsiteY192" fmla="*/ 226777 h 253855"/>
                <a:gd name="connsiteX193" fmla="*/ 1128 w 124107"/>
                <a:gd name="connsiteY193" fmla="*/ 226495 h 253855"/>
                <a:gd name="connsiteX194" fmla="*/ 1410 w 124107"/>
                <a:gd name="connsiteY194" fmla="*/ 223393 h 253855"/>
                <a:gd name="connsiteX195" fmla="*/ 1692 w 124107"/>
                <a:gd name="connsiteY195" fmla="*/ 221982 h 253855"/>
                <a:gd name="connsiteX196" fmla="*/ 1692 w 124107"/>
                <a:gd name="connsiteY196" fmla="*/ 221418 h 253855"/>
                <a:gd name="connsiteX197" fmla="*/ 1410 w 124107"/>
                <a:gd name="connsiteY197" fmla="*/ 220008 h 253855"/>
                <a:gd name="connsiteX198" fmla="*/ 1410 w 124107"/>
                <a:gd name="connsiteY198" fmla="*/ 217751 h 253855"/>
                <a:gd name="connsiteX199" fmla="*/ 1128 w 124107"/>
                <a:gd name="connsiteY199" fmla="*/ 217469 h 253855"/>
                <a:gd name="connsiteX200" fmla="*/ 1974 w 124107"/>
                <a:gd name="connsiteY200" fmla="*/ 214649 h 253855"/>
                <a:gd name="connsiteX201" fmla="*/ 2256 w 124107"/>
                <a:gd name="connsiteY201" fmla="*/ 214367 h 253855"/>
                <a:gd name="connsiteX202" fmla="*/ 2538 w 124107"/>
                <a:gd name="connsiteY202" fmla="*/ 214649 h 253855"/>
                <a:gd name="connsiteX203" fmla="*/ 2821 w 124107"/>
                <a:gd name="connsiteY203" fmla="*/ 214649 h 253855"/>
                <a:gd name="connsiteX204" fmla="*/ 2821 w 124107"/>
                <a:gd name="connsiteY204" fmla="*/ 211828 h 253855"/>
                <a:gd name="connsiteX205" fmla="*/ 4513 w 124107"/>
                <a:gd name="connsiteY205" fmla="*/ 207033 h 253855"/>
                <a:gd name="connsiteX206" fmla="*/ 4513 w 124107"/>
                <a:gd name="connsiteY206" fmla="*/ 205623 h 253855"/>
                <a:gd name="connsiteX207" fmla="*/ 4231 w 124107"/>
                <a:gd name="connsiteY207" fmla="*/ 204777 h 253855"/>
                <a:gd name="connsiteX208" fmla="*/ 4513 w 124107"/>
                <a:gd name="connsiteY208" fmla="*/ 203648 h 253855"/>
                <a:gd name="connsiteX209" fmla="*/ 4795 w 124107"/>
                <a:gd name="connsiteY209" fmla="*/ 202802 h 253855"/>
                <a:gd name="connsiteX210" fmla="*/ 4795 w 124107"/>
                <a:gd name="connsiteY210" fmla="*/ 202238 h 253855"/>
                <a:gd name="connsiteX211" fmla="*/ 5641 w 124107"/>
                <a:gd name="connsiteY211" fmla="*/ 202238 h 253855"/>
                <a:gd name="connsiteX212" fmla="*/ 5923 w 124107"/>
                <a:gd name="connsiteY212" fmla="*/ 202520 h 253855"/>
                <a:gd name="connsiteX213" fmla="*/ 6487 w 124107"/>
                <a:gd name="connsiteY213" fmla="*/ 201392 h 253855"/>
                <a:gd name="connsiteX214" fmla="*/ 6205 w 124107"/>
                <a:gd name="connsiteY214" fmla="*/ 200546 h 253855"/>
                <a:gd name="connsiteX215" fmla="*/ 6769 w 124107"/>
                <a:gd name="connsiteY215" fmla="*/ 199135 h 253855"/>
                <a:gd name="connsiteX216" fmla="*/ 7616 w 124107"/>
                <a:gd name="connsiteY216" fmla="*/ 197161 h 253855"/>
                <a:gd name="connsiteX217" fmla="*/ 7333 w 124107"/>
                <a:gd name="connsiteY217" fmla="*/ 196315 h 253855"/>
                <a:gd name="connsiteX218" fmla="*/ 7333 w 124107"/>
                <a:gd name="connsiteY218" fmla="*/ 196033 h 253855"/>
                <a:gd name="connsiteX219" fmla="*/ 7616 w 124107"/>
                <a:gd name="connsiteY219" fmla="*/ 195469 h 253855"/>
                <a:gd name="connsiteX220" fmla="*/ 8180 w 124107"/>
                <a:gd name="connsiteY220" fmla="*/ 195469 h 253855"/>
                <a:gd name="connsiteX221" fmla="*/ 8462 w 124107"/>
                <a:gd name="connsiteY221" fmla="*/ 195751 h 253855"/>
                <a:gd name="connsiteX222" fmla="*/ 8462 w 124107"/>
                <a:gd name="connsiteY222" fmla="*/ 195469 h 253855"/>
                <a:gd name="connsiteX223" fmla="*/ 8743 w 124107"/>
                <a:gd name="connsiteY223" fmla="*/ 194622 h 253855"/>
                <a:gd name="connsiteX224" fmla="*/ 9307 w 124107"/>
                <a:gd name="connsiteY224" fmla="*/ 193494 h 253855"/>
                <a:gd name="connsiteX225" fmla="*/ 10436 w 124107"/>
                <a:gd name="connsiteY225" fmla="*/ 191520 h 253855"/>
                <a:gd name="connsiteX226" fmla="*/ 11000 w 124107"/>
                <a:gd name="connsiteY226" fmla="*/ 190391 h 253855"/>
                <a:gd name="connsiteX227" fmla="*/ 10436 w 124107"/>
                <a:gd name="connsiteY227" fmla="*/ 188699 h 253855"/>
                <a:gd name="connsiteX228" fmla="*/ 11000 w 124107"/>
                <a:gd name="connsiteY228" fmla="*/ 188135 h 253855"/>
                <a:gd name="connsiteX229" fmla="*/ 11564 w 124107"/>
                <a:gd name="connsiteY229" fmla="*/ 187571 h 253855"/>
                <a:gd name="connsiteX230" fmla="*/ 11564 w 124107"/>
                <a:gd name="connsiteY230" fmla="*/ 187007 h 253855"/>
                <a:gd name="connsiteX231" fmla="*/ 12410 w 124107"/>
                <a:gd name="connsiteY231" fmla="*/ 185596 h 253855"/>
                <a:gd name="connsiteX232" fmla="*/ 12693 w 124107"/>
                <a:gd name="connsiteY232" fmla="*/ 184750 h 253855"/>
                <a:gd name="connsiteX233" fmla="*/ 12693 w 124107"/>
                <a:gd name="connsiteY233" fmla="*/ 184468 h 253855"/>
                <a:gd name="connsiteX234" fmla="*/ 14385 w 124107"/>
                <a:gd name="connsiteY234" fmla="*/ 184468 h 253855"/>
                <a:gd name="connsiteX235" fmla="*/ 14667 w 124107"/>
                <a:gd name="connsiteY235" fmla="*/ 184186 h 253855"/>
                <a:gd name="connsiteX236" fmla="*/ 14385 w 124107"/>
                <a:gd name="connsiteY236" fmla="*/ 183904 h 253855"/>
                <a:gd name="connsiteX237" fmla="*/ 13821 w 124107"/>
                <a:gd name="connsiteY237" fmla="*/ 183340 h 253855"/>
                <a:gd name="connsiteX238" fmla="*/ 14103 w 124107"/>
                <a:gd name="connsiteY238" fmla="*/ 182776 h 253855"/>
                <a:gd name="connsiteX239" fmla="*/ 14949 w 124107"/>
                <a:gd name="connsiteY239" fmla="*/ 180801 h 253855"/>
                <a:gd name="connsiteX240" fmla="*/ 15231 w 124107"/>
                <a:gd name="connsiteY240" fmla="*/ 180801 h 253855"/>
                <a:gd name="connsiteX241" fmla="*/ 14949 w 124107"/>
                <a:gd name="connsiteY241" fmla="*/ 180519 h 253855"/>
                <a:gd name="connsiteX242" fmla="*/ 15795 w 124107"/>
                <a:gd name="connsiteY242" fmla="*/ 180237 h 253855"/>
                <a:gd name="connsiteX243" fmla="*/ 16641 w 124107"/>
                <a:gd name="connsiteY243" fmla="*/ 181083 h 253855"/>
                <a:gd name="connsiteX244" fmla="*/ 16641 w 124107"/>
                <a:gd name="connsiteY244" fmla="*/ 181648 h 253855"/>
                <a:gd name="connsiteX245" fmla="*/ 15795 w 124107"/>
                <a:gd name="connsiteY245" fmla="*/ 183058 h 253855"/>
                <a:gd name="connsiteX246" fmla="*/ 15795 w 124107"/>
                <a:gd name="connsiteY246" fmla="*/ 184750 h 253855"/>
                <a:gd name="connsiteX247" fmla="*/ 14949 w 124107"/>
                <a:gd name="connsiteY247" fmla="*/ 185032 h 253855"/>
                <a:gd name="connsiteX248" fmla="*/ 14103 w 124107"/>
                <a:gd name="connsiteY248" fmla="*/ 185314 h 253855"/>
                <a:gd name="connsiteX249" fmla="*/ 13257 w 124107"/>
                <a:gd name="connsiteY249" fmla="*/ 186443 h 253855"/>
                <a:gd name="connsiteX250" fmla="*/ 13257 w 124107"/>
                <a:gd name="connsiteY250" fmla="*/ 187007 h 253855"/>
                <a:gd name="connsiteX251" fmla="*/ 13821 w 124107"/>
                <a:gd name="connsiteY251" fmla="*/ 187007 h 253855"/>
                <a:gd name="connsiteX252" fmla="*/ 14949 w 124107"/>
                <a:gd name="connsiteY252" fmla="*/ 185878 h 253855"/>
                <a:gd name="connsiteX253" fmla="*/ 14949 w 124107"/>
                <a:gd name="connsiteY253" fmla="*/ 186161 h 253855"/>
                <a:gd name="connsiteX254" fmla="*/ 14385 w 124107"/>
                <a:gd name="connsiteY254" fmla="*/ 187289 h 253855"/>
                <a:gd name="connsiteX255" fmla="*/ 13538 w 124107"/>
                <a:gd name="connsiteY255" fmla="*/ 188135 h 253855"/>
                <a:gd name="connsiteX256" fmla="*/ 12974 w 124107"/>
                <a:gd name="connsiteY256" fmla="*/ 188417 h 253855"/>
                <a:gd name="connsiteX257" fmla="*/ 12974 w 124107"/>
                <a:gd name="connsiteY257" fmla="*/ 188699 h 253855"/>
                <a:gd name="connsiteX258" fmla="*/ 13538 w 124107"/>
                <a:gd name="connsiteY258" fmla="*/ 189263 h 253855"/>
                <a:gd name="connsiteX259" fmla="*/ 12974 w 124107"/>
                <a:gd name="connsiteY259" fmla="*/ 190109 h 253855"/>
                <a:gd name="connsiteX260" fmla="*/ 11846 w 124107"/>
                <a:gd name="connsiteY260" fmla="*/ 190673 h 253855"/>
                <a:gd name="connsiteX261" fmla="*/ 11564 w 124107"/>
                <a:gd name="connsiteY261" fmla="*/ 191520 h 253855"/>
                <a:gd name="connsiteX262" fmla="*/ 11564 w 124107"/>
                <a:gd name="connsiteY262" fmla="*/ 192930 h 253855"/>
                <a:gd name="connsiteX263" fmla="*/ 11846 w 124107"/>
                <a:gd name="connsiteY263" fmla="*/ 193494 h 253855"/>
                <a:gd name="connsiteX264" fmla="*/ 11564 w 124107"/>
                <a:gd name="connsiteY264" fmla="*/ 194340 h 253855"/>
                <a:gd name="connsiteX265" fmla="*/ 11000 w 124107"/>
                <a:gd name="connsiteY265" fmla="*/ 195469 h 253855"/>
                <a:gd name="connsiteX266" fmla="*/ 11000 w 124107"/>
                <a:gd name="connsiteY266" fmla="*/ 196033 h 253855"/>
                <a:gd name="connsiteX267" fmla="*/ 9872 w 124107"/>
                <a:gd name="connsiteY267" fmla="*/ 197161 h 253855"/>
                <a:gd name="connsiteX268" fmla="*/ 9590 w 124107"/>
                <a:gd name="connsiteY268" fmla="*/ 197725 h 253855"/>
                <a:gd name="connsiteX269" fmla="*/ 9590 w 124107"/>
                <a:gd name="connsiteY269" fmla="*/ 199135 h 253855"/>
                <a:gd name="connsiteX270" fmla="*/ 9026 w 124107"/>
                <a:gd name="connsiteY270" fmla="*/ 199982 h 253855"/>
                <a:gd name="connsiteX271" fmla="*/ 9026 w 124107"/>
                <a:gd name="connsiteY271" fmla="*/ 200546 h 253855"/>
                <a:gd name="connsiteX272" fmla="*/ 8743 w 124107"/>
                <a:gd name="connsiteY272" fmla="*/ 201392 h 253855"/>
                <a:gd name="connsiteX273" fmla="*/ 8462 w 124107"/>
                <a:gd name="connsiteY273" fmla="*/ 203084 h 253855"/>
                <a:gd name="connsiteX274" fmla="*/ 9307 w 124107"/>
                <a:gd name="connsiteY274" fmla="*/ 203930 h 253855"/>
                <a:gd name="connsiteX275" fmla="*/ 11846 w 124107"/>
                <a:gd name="connsiteY275" fmla="*/ 203930 h 253855"/>
                <a:gd name="connsiteX276" fmla="*/ 11846 w 124107"/>
                <a:gd name="connsiteY276" fmla="*/ 204494 h 253855"/>
                <a:gd name="connsiteX277" fmla="*/ 10154 w 124107"/>
                <a:gd name="connsiteY277" fmla="*/ 208725 h 253855"/>
                <a:gd name="connsiteX278" fmla="*/ 9872 w 124107"/>
                <a:gd name="connsiteY278" fmla="*/ 209007 h 253855"/>
                <a:gd name="connsiteX279" fmla="*/ 9307 w 124107"/>
                <a:gd name="connsiteY279" fmla="*/ 209290 h 253855"/>
                <a:gd name="connsiteX280" fmla="*/ 9307 w 124107"/>
                <a:gd name="connsiteY280" fmla="*/ 209007 h 253855"/>
                <a:gd name="connsiteX281" fmla="*/ 9872 w 124107"/>
                <a:gd name="connsiteY281" fmla="*/ 207879 h 253855"/>
                <a:gd name="connsiteX282" fmla="*/ 10154 w 124107"/>
                <a:gd name="connsiteY282" fmla="*/ 207597 h 253855"/>
                <a:gd name="connsiteX283" fmla="*/ 9590 w 124107"/>
                <a:gd name="connsiteY283" fmla="*/ 207033 h 253855"/>
                <a:gd name="connsiteX284" fmla="*/ 9307 w 124107"/>
                <a:gd name="connsiteY284" fmla="*/ 207033 h 253855"/>
                <a:gd name="connsiteX285" fmla="*/ 8743 w 124107"/>
                <a:gd name="connsiteY285" fmla="*/ 205905 h 253855"/>
                <a:gd name="connsiteX286" fmla="*/ 9026 w 124107"/>
                <a:gd name="connsiteY286" fmla="*/ 205623 h 253855"/>
                <a:gd name="connsiteX287" fmla="*/ 8462 w 124107"/>
                <a:gd name="connsiteY287" fmla="*/ 205059 h 253855"/>
                <a:gd name="connsiteX288" fmla="*/ 7616 w 124107"/>
                <a:gd name="connsiteY288" fmla="*/ 207033 h 253855"/>
                <a:gd name="connsiteX289" fmla="*/ 6487 w 124107"/>
                <a:gd name="connsiteY289" fmla="*/ 209007 h 253855"/>
                <a:gd name="connsiteX290" fmla="*/ 7052 w 124107"/>
                <a:gd name="connsiteY290" fmla="*/ 210700 h 253855"/>
                <a:gd name="connsiteX291" fmla="*/ 7052 w 124107"/>
                <a:gd name="connsiteY291" fmla="*/ 210982 h 253855"/>
                <a:gd name="connsiteX292" fmla="*/ 6487 w 124107"/>
                <a:gd name="connsiteY292" fmla="*/ 211264 h 253855"/>
                <a:gd name="connsiteX293" fmla="*/ 6205 w 124107"/>
                <a:gd name="connsiteY293" fmla="*/ 211264 h 253855"/>
                <a:gd name="connsiteX294" fmla="*/ 5923 w 124107"/>
                <a:gd name="connsiteY294" fmla="*/ 211546 h 253855"/>
                <a:gd name="connsiteX295" fmla="*/ 5359 w 124107"/>
                <a:gd name="connsiteY295" fmla="*/ 214367 h 253855"/>
                <a:gd name="connsiteX296" fmla="*/ 4795 w 124107"/>
                <a:gd name="connsiteY296" fmla="*/ 218033 h 253855"/>
                <a:gd name="connsiteX297" fmla="*/ 5359 w 124107"/>
                <a:gd name="connsiteY297" fmla="*/ 221136 h 253855"/>
                <a:gd name="connsiteX298" fmla="*/ 5641 w 124107"/>
                <a:gd name="connsiteY298" fmla="*/ 221700 h 253855"/>
                <a:gd name="connsiteX299" fmla="*/ 5359 w 124107"/>
                <a:gd name="connsiteY299" fmla="*/ 222264 h 253855"/>
                <a:gd name="connsiteX300" fmla="*/ 4795 w 124107"/>
                <a:gd name="connsiteY300" fmla="*/ 224239 h 253855"/>
                <a:gd name="connsiteX301" fmla="*/ 5641 w 124107"/>
                <a:gd name="connsiteY301" fmla="*/ 225649 h 253855"/>
                <a:gd name="connsiteX302" fmla="*/ 6205 w 124107"/>
                <a:gd name="connsiteY302" fmla="*/ 226777 h 253855"/>
                <a:gd name="connsiteX303" fmla="*/ 6769 w 124107"/>
                <a:gd name="connsiteY303" fmla="*/ 226495 h 253855"/>
                <a:gd name="connsiteX304" fmla="*/ 7052 w 124107"/>
                <a:gd name="connsiteY304" fmla="*/ 226777 h 253855"/>
                <a:gd name="connsiteX305" fmla="*/ 7052 w 124107"/>
                <a:gd name="connsiteY305" fmla="*/ 227624 h 253855"/>
                <a:gd name="connsiteX306" fmla="*/ 7616 w 124107"/>
                <a:gd name="connsiteY306" fmla="*/ 229598 h 253855"/>
                <a:gd name="connsiteX307" fmla="*/ 7333 w 124107"/>
                <a:gd name="connsiteY307" fmla="*/ 231008 h 253855"/>
                <a:gd name="connsiteX308" fmla="*/ 7333 w 124107"/>
                <a:gd name="connsiteY308" fmla="*/ 231572 h 253855"/>
                <a:gd name="connsiteX309" fmla="*/ 7897 w 124107"/>
                <a:gd name="connsiteY309" fmla="*/ 237214 h 253855"/>
                <a:gd name="connsiteX310" fmla="*/ 8180 w 124107"/>
                <a:gd name="connsiteY310" fmla="*/ 239470 h 253855"/>
                <a:gd name="connsiteX311" fmla="*/ 9307 w 124107"/>
                <a:gd name="connsiteY311" fmla="*/ 240880 h 253855"/>
                <a:gd name="connsiteX312" fmla="*/ 9590 w 124107"/>
                <a:gd name="connsiteY312" fmla="*/ 241162 h 253855"/>
                <a:gd name="connsiteX313" fmla="*/ 11000 w 124107"/>
                <a:gd name="connsiteY313" fmla="*/ 243983 h 253855"/>
                <a:gd name="connsiteX314" fmla="*/ 13821 w 124107"/>
                <a:gd name="connsiteY314" fmla="*/ 246522 h 253855"/>
                <a:gd name="connsiteX315" fmla="*/ 14103 w 124107"/>
                <a:gd name="connsiteY315" fmla="*/ 246522 h 253855"/>
                <a:gd name="connsiteX316" fmla="*/ 14667 w 124107"/>
                <a:gd name="connsiteY316" fmla="*/ 246240 h 253855"/>
                <a:gd name="connsiteX317" fmla="*/ 15231 w 124107"/>
                <a:gd name="connsiteY317" fmla="*/ 245958 h 253855"/>
                <a:gd name="connsiteX318" fmla="*/ 15513 w 124107"/>
                <a:gd name="connsiteY318" fmla="*/ 246240 h 253855"/>
                <a:gd name="connsiteX319" fmla="*/ 15795 w 124107"/>
                <a:gd name="connsiteY319" fmla="*/ 247086 h 253855"/>
                <a:gd name="connsiteX320" fmla="*/ 17769 w 124107"/>
                <a:gd name="connsiteY320" fmla="*/ 248778 h 253855"/>
                <a:gd name="connsiteX321" fmla="*/ 18052 w 124107"/>
                <a:gd name="connsiteY321" fmla="*/ 248778 h 253855"/>
                <a:gd name="connsiteX322" fmla="*/ 22000 w 124107"/>
                <a:gd name="connsiteY322" fmla="*/ 249060 h 253855"/>
                <a:gd name="connsiteX323" fmla="*/ 23129 w 124107"/>
                <a:gd name="connsiteY323" fmla="*/ 249060 h 253855"/>
                <a:gd name="connsiteX324" fmla="*/ 27077 w 124107"/>
                <a:gd name="connsiteY324" fmla="*/ 247650 h 253855"/>
                <a:gd name="connsiteX325" fmla="*/ 28206 w 124107"/>
                <a:gd name="connsiteY325" fmla="*/ 247932 h 253855"/>
                <a:gd name="connsiteX326" fmla="*/ 30462 w 124107"/>
                <a:gd name="connsiteY326" fmla="*/ 247086 h 253855"/>
                <a:gd name="connsiteX327" fmla="*/ 32155 w 124107"/>
                <a:gd name="connsiteY327" fmla="*/ 245958 h 253855"/>
                <a:gd name="connsiteX328" fmla="*/ 32719 w 124107"/>
                <a:gd name="connsiteY328" fmla="*/ 245958 h 253855"/>
                <a:gd name="connsiteX329" fmla="*/ 33001 w 124107"/>
                <a:gd name="connsiteY329" fmla="*/ 245675 h 253855"/>
                <a:gd name="connsiteX330" fmla="*/ 34975 w 124107"/>
                <a:gd name="connsiteY330" fmla="*/ 244829 h 253855"/>
                <a:gd name="connsiteX331" fmla="*/ 36386 w 124107"/>
                <a:gd name="connsiteY331" fmla="*/ 244265 h 253855"/>
                <a:gd name="connsiteX332" fmla="*/ 39206 w 124107"/>
                <a:gd name="connsiteY332" fmla="*/ 243701 h 253855"/>
                <a:gd name="connsiteX333" fmla="*/ 43155 w 124107"/>
                <a:gd name="connsiteY333" fmla="*/ 241162 h 253855"/>
                <a:gd name="connsiteX334" fmla="*/ 47950 w 124107"/>
                <a:gd name="connsiteY334" fmla="*/ 238060 h 253855"/>
                <a:gd name="connsiteX335" fmla="*/ 48514 w 124107"/>
                <a:gd name="connsiteY335" fmla="*/ 237496 h 253855"/>
                <a:gd name="connsiteX336" fmla="*/ 50206 w 124107"/>
                <a:gd name="connsiteY336" fmla="*/ 235803 h 253855"/>
                <a:gd name="connsiteX337" fmla="*/ 52463 w 124107"/>
                <a:gd name="connsiteY337" fmla="*/ 233547 h 253855"/>
                <a:gd name="connsiteX338" fmla="*/ 52745 w 124107"/>
                <a:gd name="connsiteY338" fmla="*/ 233265 h 253855"/>
                <a:gd name="connsiteX339" fmla="*/ 53027 w 124107"/>
                <a:gd name="connsiteY339" fmla="*/ 233265 h 253855"/>
                <a:gd name="connsiteX340" fmla="*/ 54156 w 124107"/>
                <a:gd name="connsiteY340" fmla="*/ 232137 h 253855"/>
                <a:gd name="connsiteX341" fmla="*/ 55566 w 124107"/>
                <a:gd name="connsiteY341" fmla="*/ 230444 h 253855"/>
                <a:gd name="connsiteX342" fmla="*/ 57258 w 124107"/>
                <a:gd name="connsiteY342" fmla="*/ 228470 h 253855"/>
                <a:gd name="connsiteX343" fmla="*/ 59797 w 124107"/>
                <a:gd name="connsiteY343" fmla="*/ 225367 h 253855"/>
                <a:gd name="connsiteX344" fmla="*/ 60925 w 124107"/>
                <a:gd name="connsiteY344" fmla="*/ 223957 h 253855"/>
                <a:gd name="connsiteX345" fmla="*/ 63745 w 124107"/>
                <a:gd name="connsiteY345" fmla="*/ 220290 h 253855"/>
                <a:gd name="connsiteX346" fmla="*/ 66002 w 124107"/>
                <a:gd name="connsiteY346" fmla="*/ 218033 h 253855"/>
                <a:gd name="connsiteX347" fmla="*/ 66848 w 124107"/>
                <a:gd name="connsiteY347" fmla="*/ 216341 h 253855"/>
                <a:gd name="connsiteX348" fmla="*/ 68540 w 124107"/>
                <a:gd name="connsiteY348" fmla="*/ 214085 h 253855"/>
                <a:gd name="connsiteX349" fmla="*/ 71361 w 124107"/>
                <a:gd name="connsiteY349" fmla="*/ 210700 h 253855"/>
                <a:gd name="connsiteX350" fmla="*/ 74182 w 124107"/>
                <a:gd name="connsiteY350" fmla="*/ 204777 h 253855"/>
                <a:gd name="connsiteX351" fmla="*/ 76157 w 124107"/>
                <a:gd name="connsiteY351" fmla="*/ 202238 h 253855"/>
                <a:gd name="connsiteX352" fmla="*/ 76721 w 124107"/>
                <a:gd name="connsiteY352" fmla="*/ 201110 h 253855"/>
                <a:gd name="connsiteX353" fmla="*/ 77002 w 124107"/>
                <a:gd name="connsiteY353" fmla="*/ 200264 h 253855"/>
                <a:gd name="connsiteX354" fmla="*/ 78977 w 124107"/>
                <a:gd name="connsiteY354" fmla="*/ 197161 h 253855"/>
                <a:gd name="connsiteX355" fmla="*/ 80388 w 124107"/>
                <a:gd name="connsiteY355" fmla="*/ 194340 h 253855"/>
                <a:gd name="connsiteX356" fmla="*/ 80388 w 124107"/>
                <a:gd name="connsiteY356" fmla="*/ 194058 h 253855"/>
                <a:gd name="connsiteX357" fmla="*/ 83208 w 124107"/>
                <a:gd name="connsiteY357" fmla="*/ 189263 h 253855"/>
                <a:gd name="connsiteX358" fmla="*/ 85464 w 124107"/>
                <a:gd name="connsiteY358" fmla="*/ 184186 h 253855"/>
                <a:gd name="connsiteX359" fmla="*/ 86029 w 124107"/>
                <a:gd name="connsiteY359" fmla="*/ 182212 h 253855"/>
                <a:gd name="connsiteX360" fmla="*/ 86874 w 124107"/>
                <a:gd name="connsiteY360" fmla="*/ 178827 h 253855"/>
                <a:gd name="connsiteX361" fmla="*/ 88849 w 124107"/>
                <a:gd name="connsiteY361" fmla="*/ 174596 h 253855"/>
                <a:gd name="connsiteX362" fmla="*/ 89695 w 124107"/>
                <a:gd name="connsiteY362" fmla="*/ 172339 h 253855"/>
                <a:gd name="connsiteX363" fmla="*/ 90824 w 124107"/>
                <a:gd name="connsiteY363" fmla="*/ 168673 h 253855"/>
                <a:gd name="connsiteX364" fmla="*/ 92798 w 124107"/>
                <a:gd name="connsiteY364" fmla="*/ 163314 h 253855"/>
                <a:gd name="connsiteX365" fmla="*/ 93644 w 124107"/>
                <a:gd name="connsiteY365" fmla="*/ 161903 h 253855"/>
                <a:gd name="connsiteX366" fmla="*/ 94772 w 124107"/>
                <a:gd name="connsiteY366" fmla="*/ 157108 h 253855"/>
                <a:gd name="connsiteX367" fmla="*/ 96183 w 124107"/>
                <a:gd name="connsiteY367" fmla="*/ 150057 h 253855"/>
                <a:gd name="connsiteX368" fmla="*/ 96465 w 124107"/>
                <a:gd name="connsiteY368" fmla="*/ 149210 h 253855"/>
                <a:gd name="connsiteX369" fmla="*/ 96747 w 124107"/>
                <a:gd name="connsiteY369" fmla="*/ 147800 h 253855"/>
                <a:gd name="connsiteX370" fmla="*/ 99850 w 124107"/>
                <a:gd name="connsiteY370" fmla="*/ 130594 h 253855"/>
                <a:gd name="connsiteX371" fmla="*/ 100696 w 124107"/>
                <a:gd name="connsiteY371" fmla="*/ 126364 h 253855"/>
                <a:gd name="connsiteX372" fmla="*/ 101260 w 124107"/>
                <a:gd name="connsiteY372" fmla="*/ 119030 h 253855"/>
                <a:gd name="connsiteX373" fmla="*/ 101824 w 124107"/>
                <a:gd name="connsiteY373" fmla="*/ 111978 h 253855"/>
                <a:gd name="connsiteX374" fmla="*/ 102106 w 124107"/>
                <a:gd name="connsiteY374" fmla="*/ 107183 h 253855"/>
                <a:gd name="connsiteX375" fmla="*/ 101824 w 124107"/>
                <a:gd name="connsiteY375" fmla="*/ 103234 h 253855"/>
                <a:gd name="connsiteX376" fmla="*/ 100977 w 124107"/>
                <a:gd name="connsiteY376" fmla="*/ 102670 h 253855"/>
                <a:gd name="connsiteX377" fmla="*/ 100696 w 124107"/>
                <a:gd name="connsiteY377" fmla="*/ 102670 h 253855"/>
                <a:gd name="connsiteX378" fmla="*/ 97875 w 124107"/>
                <a:gd name="connsiteY378" fmla="*/ 104927 h 253855"/>
                <a:gd name="connsiteX379" fmla="*/ 97593 w 124107"/>
                <a:gd name="connsiteY379" fmla="*/ 105491 h 253855"/>
                <a:gd name="connsiteX380" fmla="*/ 97029 w 124107"/>
                <a:gd name="connsiteY380" fmla="*/ 106337 h 253855"/>
                <a:gd name="connsiteX381" fmla="*/ 96465 w 124107"/>
                <a:gd name="connsiteY381" fmla="*/ 106055 h 253855"/>
                <a:gd name="connsiteX382" fmla="*/ 95901 w 124107"/>
                <a:gd name="connsiteY382" fmla="*/ 105773 h 253855"/>
                <a:gd name="connsiteX383" fmla="*/ 95055 w 124107"/>
                <a:gd name="connsiteY383" fmla="*/ 106055 h 253855"/>
                <a:gd name="connsiteX384" fmla="*/ 94491 w 124107"/>
                <a:gd name="connsiteY384" fmla="*/ 105773 h 253855"/>
                <a:gd name="connsiteX385" fmla="*/ 93926 w 124107"/>
                <a:gd name="connsiteY385" fmla="*/ 105491 h 253855"/>
                <a:gd name="connsiteX386" fmla="*/ 93644 w 124107"/>
                <a:gd name="connsiteY386" fmla="*/ 106055 h 253855"/>
                <a:gd name="connsiteX387" fmla="*/ 94208 w 124107"/>
                <a:gd name="connsiteY387" fmla="*/ 107183 h 253855"/>
                <a:gd name="connsiteX388" fmla="*/ 94208 w 124107"/>
                <a:gd name="connsiteY388" fmla="*/ 108030 h 253855"/>
                <a:gd name="connsiteX389" fmla="*/ 92516 w 124107"/>
                <a:gd name="connsiteY389" fmla="*/ 109158 h 253855"/>
                <a:gd name="connsiteX390" fmla="*/ 91670 w 124107"/>
                <a:gd name="connsiteY390" fmla="*/ 109722 h 253855"/>
                <a:gd name="connsiteX391" fmla="*/ 91670 w 124107"/>
                <a:gd name="connsiteY391" fmla="*/ 110004 h 253855"/>
                <a:gd name="connsiteX392" fmla="*/ 90824 w 124107"/>
                <a:gd name="connsiteY392" fmla="*/ 110850 h 253855"/>
                <a:gd name="connsiteX393" fmla="*/ 89977 w 124107"/>
                <a:gd name="connsiteY393" fmla="*/ 111696 h 253855"/>
                <a:gd name="connsiteX394" fmla="*/ 89413 w 124107"/>
                <a:gd name="connsiteY394" fmla="*/ 112542 h 253855"/>
                <a:gd name="connsiteX395" fmla="*/ 89131 w 124107"/>
                <a:gd name="connsiteY395" fmla="*/ 112260 h 253855"/>
                <a:gd name="connsiteX396" fmla="*/ 88285 w 124107"/>
                <a:gd name="connsiteY396" fmla="*/ 112260 h 253855"/>
                <a:gd name="connsiteX397" fmla="*/ 87721 w 124107"/>
                <a:gd name="connsiteY397" fmla="*/ 112825 h 253855"/>
                <a:gd name="connsiteX398" fmla="*/ 86029 w 124107"/>
                <a:gd name="connsiteY398" fmla="*/ 114799 h 253855"/>
                <a:gd name="connsiteX399" fmla="*/ 84618 w 124107"/>
                <a:gd name="connsiteY399" fmla="*/ 115363 h 253855"/>
                <a:gd name="connsiteX400" fmla="*/ 81798 w 124107"/>
                <a:gd name="connsiteY400" fmla="*/ 117055 h 253855"/>
                <a:gd name="connsiteX401" fmla="*/ 79823 w 124107"/>
                <a:gd name="connsiteY401" fmla="*/ 118748 h 253855"/>
                <a:gd name="connsiteX402" fmla="*/ 78977 w 124107"/>
                <a:gd name="connsiteY402" fmla="*/ 119876 h 253855"/>
                <a:gd name="connsiteX403" fmla="*/ 78695 w 124107"/>
                <a:gd name="connsiteY403" fmla="*/ 120440 h 253855"/>
                <a:gd name="connsiteX404" fmla="*/ 77567 w 124107"/>
                <a:gd name="connsiteY404" fmla="*/ 121851 h 253855"/>
                <a:gd name="connsiteX405" fmla="*/ 76721 w 124107"/>
                <a:gd name="connsiteY405" fmla="*/ 122133 h 253855"/>
                <a:gd name="connsiteX406" fmla="*/ 76157 w 124107"/>
                <a:gd name="connsiteY406" fmla="*/ 122133 h 253855"/>
                <a:gd name="connsiteX407" fmla="*/ 75310 w 124107"/>
                <a:gd name="connsiteY407" fmla="*/ 121568 h 253855"/>
                <a:gd name="connsiteX408" fmla="*/ 75028 w 124107"/>
                <a:gd name="connsiteY408" fmla="*/ 122133 h 253855"/>
                <a:gd name="connsiteX409" fmla="*/ 75028 w 124107"/>
                <a:gd name="connsiteY409" fmla="*/ 124107 h 253855"/>
                <a:gd name="connsiteX410" fmla="*/ 74182 w 124107"/>
                <a:gd name="connsiteY410" fmla="*/ 124107 h 253855"/>
                <a:gd name="connsiteX411" fmla="*/ 73618 w 124107"/>
                <a:gd name="connsiteY411" fmla="*/ 123543 h 253855"/>
                <a:gd name="connsiteX412" fmla="*/ 73618 w 124107"/>
                <a:gd name="connsiteY412" fmla="*/ 125235 h 253855"/>
                <a:gd name="connsiteX413" fmla="*/ 73336 w 124107"/>
                <a:gd name="connsiteY413" fmla="*/ 125517 h 253855"/>
                <a:gd name="connsiteX414" fmla="*/ 73054 w 124107"/>
                <a:gd name="connsiteY414" fmla="*/ 125517 h 253855"/>
                <a:gd name="connsiteX415" fmla="*/ 72490 w 124107"/>
                <a:gd name="connsiteY415" fmla="*/ 125235 h 253855"/>
                <a:gd name="connsiteX416" fmla="*/ 72207 w 124107"/>
                <a:gd name="connsiteY416" fmla="*/ 125235 h 253855"/>
                <a:gd name="connsiteX417" fmla="*/ 72207 w 124107"/>
                <a:gd name="connsiteY417" fmla="*/ 127210 h 253855"/>
                <a:gd name="connsiteX418" fmla="*/ 71926 w 124107"/>
                <a:gd name="connsiteY418" fmla="*/ 128056 h 253855"/>
                <a:gd name="connsiteX419" fmla="*/ 70797 w 124107"/>
                <a:gd name="connsiteY419" fmla="*/ 129184 h 253855"/>
                <a:gd name="connsiteX420" fmla="*/ 68540 w 124107"/>
                <a:gd name="connsiteY420" fmla="*/ 130876 h 253855"/>
                <a:gd name="connsiteX421" fmla="*/ 67695 w 124107"/>
                <a:gd name="connsiteY421" fmla="*/ 131159 h 253855"/>
                <a:gd name="connsiteX422" fmla="*/ 66848 w 124107"/>
                <a:gd name="connsiteY422" fmla="*/ 130030 h 253855"/>
                <a:gd name="connsiteX423" fmla="*/ 66002 w 124107"/>
                <a:gd name="connsiteY423" fmla="*/ 129184 h 253855"/>
                <a:gd name="connsiteX424" fmla="*/ 65720 w 124107"/>
                <a:gd name="connsiteY424" fmla="*/ 129184 h 253855"/>
                <a:gd name="connsiteX425" fmla="*/ 65438 w 124107"/>
                <a:gd name="connsiteY425" fmla="*/ 128620 h 253855"/>
                <a:gd name="connsiteX426" fmla="*/ 64592 w 124107"/>
                <a:gd name="connsiteY426" fmla="*/ 126081 h 253855"/>
                <a:gd name="connsiteX427" fmla="*/ 65720 w 124107"/>
                <a:gd name="connsiteY427" fmla="*/ 124671 h 253855"/>
                <a:gd name="connsiteX428" fmla="*/ 66002 w 124107"/>
                <a:gd name="connsiteY428" fmla="*/ 123261 h 253855"/>
                <a:gd name="connsiteX429" fmla="*/ 65720 w 124107"/>
                <a:gd name="connsiteY429" fmla="*/ 123261 h 253855"/>
                <a:gd name="connsiteX430" fmla="*/ 65156 w 124107"/>
                <a:gd name="connsiteY430" fmla="*/ 123825 h 253855"/>
                <a:gd name="connsiteX431" fmla="*/ 63745 w 124107"/>
                <a:gd name="connsiteY431" fmla="*/ 124671 h 253855"/>
                <a:gd name="connsiteX432" fmla="*/ 63745 w 124107"/>
                <a:gd name="connsiteY432" fmla="*/ 124953 h 253855"/>
                <a:gd name="connsiteX433" fmla="*/ 63182 w 124107"/>
                <a:gd name="connsiteY433" fmla="*/ 124953 h 253855"/>
                <a:gd name="connsiteX434" fmla="*/ 62618 w 124107"/>
                <a:gd name="connsiteY434" fmla="*/ 124671 h 253855"/>
                <a:gd name="connsiteX435" fmla="*/ 62054 w 124107"/>
                <a:gd name="connsiteY435" fmla="*/ 125517 h 253855"/>
                <a:gd name="connsiteX436" fmla="*/ 62335 w 124107"/>
                <a:gd name="connsiteY436" fmla="*/ 126364 h 253855"/>
                <a:gd name="connsiteX437" fmla="*/ 63464 w 124107"/>
                <a:gd name="connsiteY437" fmla="*/ 126646 h 253855"/>
                <a:gd name="connsiteX438" fmla="*/ 64028 w 124107"/>
                <a:gd name="connsiteY438" fmla="*/ 127210 h 253855"/>
                <a:gd name="connsiteX439" fmla="*/ 63745 w 124107"/>
                <a:gd name="connsiteY439" fmla="*/ 127774 h 253855"/>
                <a:gd name="connsiteX440" fmla="*/ 63745 w 124107"/>
                <a:gd name="connsiteY440" fmla="*/ 128338 h 253855"/>
                <a:gd name="connsiteX441" fmla="*/ 64309 w 124107"/>
                <a:gd name="connsiteY441" fmla="*/ 128620 h 253855"/>
                <a:gd name="connsiteX442" fmla="*/ 64309 w 124107"/>
                <a:gd name="connsiteY442" fmla="*/ 128902 h 253855"/>
                <a:gd name="connsiteX443" fmla="*/ 64592 w 124107"/>
                <a:gd name="connsiteY443" fmla="*/ 129466 h 253855"/>
                <a:gd name="connsiteX444" fmla="*/ 64874 w 124107"/>
                <a:gd name="connsiteY444" fmla="*/ 130312 h 253855"/>
                <a:gd name="connsiteX445" fmla="*/ 64874 w 124107"/>
                <a:gd name="connsiteY445" fmla="*/ 130876 h 253855"/>
                <a:gd name="connsiteX446" fmla="*/ 64592 w 124107"/>
                <a:gd name="connsiteY446" fmla="*/ 131441 h 253855"/>
                <a:gd name="connsiteX447" fmla="*/ 64874 w 124107"/>
                <a:gd name="connsiteY447" fmla="*/ 133133 h 253855"/>
                <a:gd name="connsiteX448" fmla="*/ 64309 w 124107"/>
                <a:gd name="connsiteY448" fmla="*/ 134261 h 253855"/>
                <a:gd name="connsiteX449" fmla="*/ 63464 w 124107"/>
                <a:gd name="connsiteY449" fmla="*/ 135954 h 253855"/>
                <a:gd name="connsiteX450" fmla="*/ 61489 w 124107"/>
                <a:gd name="connsiteY450" fmla="*/ 137928 h 253855"/>
                <a:gd name="connsiteX451" fmla="*/ 60643 w 124107"/>
                <a:gd name="connsiteY451" fmla="*/ 139056 h 253855"/>
                <a:gd name="connsiteX452" fmla="*/ 58951 w 124107"/>
                <a:gd name="connsiteY452" fmla="*/ 141877 h 253855"/>
                <a:gd name="connsiteX453" fmla="*/ 55002 w 124107"/>
                <a:gd name="connsiteY453" fmla="*/ 146108 h 253855"/>
                <a:gd name="connsiteX454" fmla="*/ 51053 w 124107"/>
                <a:gd name="connsiteY454" fmla="*/ 150339 h 253855"/>
                <a:gd name="connsiteX455" fmla="*/ 50771 w 124107"/>
                <a:gd name="connsiteY455" fmla="*/ 150903 h 253855"/>
                <a:gd name="connsiteX456" fmla="*/ 50771 w 124107"/>
                <a:gd name="connsiteY456" fmla="*/ 151185 h 253855"/>
                <a:gd name="connsiteX457" fmla="*/ 49361 w 124107"/>
                <a:gd name="connsiteY457" fmla="*/ 152877 h 253855"/>
                <a:gd name="connsiteX458" fmla="*/ 47950 w 124107"/>
                <a:gd name="connsiteY458" fmla="*/ 155416 h 253855"/>
                <a:gd name="connsiteX459" fmla="*/ 46540 w 124107"/>
                <a:gd name="connsiteY459" fmla="*/ 156826 h 253855"/>
                <a:gd name="connsiteX460" fmla="*/ 45411 w 124107"/>
                <a:gd name="connsiteY460" fmla="*/ 157954 h 253855"/>
                <a:gd name="connsiteX461" fmla="*/ 44284 w 124107"/>
                <a:gd name="connsiteY461" fmla="*/ 159083 h 253855"/>
                <a:gd name="connsiteX462" fmla="*/ 43437 w 124107"/>
                <a:gd name="connsiteY462" fmla="*/ 160493 h 253855"/>
                <a:gd name="connsiteX463" fmla="*/ 42873 w 124107"/>
                <a:gd name="connsiteY463" fmla="*/ 160775 h 253855"/>
                <a:gd name="connsiteX464" fmla="*/ 42591 w 124107"/>
                <a:gd name="connsiteY464" fmla="*/ 161057 h 253855"/>
                <a:gd name="connsiteX465" fmla="*/ 42027 w 124107"/>
                <a:gd name="connsiteY465" fmla="*/ 160493 h 253855"/>
                <a:gd name="connsiteX466" fmla="*/ 42027 w 124107"/>
                <a:gd name="connsiteY466" fmla="*/ 159647 h 253855"/>
                <a:gd name="connsiteX467" fmla="*/ 41181 w 124107"/>
                <a:gd name="connsiteY467" fmla="*/ 158801 h 253855"/>
                <a:gd name="connsiteX468" fmla="*/ 40053 w 124107"/>
                <a:gd name="connsiteY468" fmla="*/ 159647 h 253855"/>
                <a:gd name="connsiteX469" fmla="*/ 39206 w 124107"/>
                <a:gd name="connsiteY469" fmla="*/ 161339 h 253855"/>
                <a:gd name="connsiteX470" fmla="*/ 39206 w 124107"/>
                <a:gd name="connsiteY470" fmla="*/ 163314 h 253855"/>
                <a:gd name="connsiteX471" fmla="*/ 39489 w 124107"/>
                <a:gd name="connsiteY471" fmla="*/ 165006 h 253855"/>
                <a:gd name="connsiteX472" fmla="*/ 39770 w 124107"/>
                <a:gd name="connsiteY472" fmla="*/ 165852 h 253855"/>
                <a:gd name="connsiteX473" fmla="*/ 39206 w 124107"/>
                <a:gd name="connsiteY473" fmla="*/ 166698 h 253855"/>
                <a:gd name="connsiteX474" fmla="*/ 37796 w 124107"/>
                <a:gd name="connsiteY474" fmla="*/ 168673 h 253855"/>
                <a:gd name="connsiteX475" fmla="*/ 36668 w 124107"/>
                <a:gd name="connsiteY475" fmla="*/ 170647 h 253855"/>
                <a:gd name="connsiteX476" fmla="*/ 36386 w 124107"/>
                <a:gd name="connsiteY476" fmla="*/ 170929 h 253855"/>
                <a:gd name="connsiteX477" fmla="*/ 36103 w 124107"/>
                <a:gd name="connsiteY477" fmla="*/ 170365 h 253855"/>
                <a:gd name="connsiteX478" fmla="*/ 35822 w 124107"/>
                <a:gd name="connsiteY478" fmla="*/ 170083 h 253855"/>
                <a:gd name="connsiteX479" fmla="*/ 34975 w 124107"/>
                <a:gd name="connsiteY479" fmla="*/ 170365 h 253855"/>
                <a:gd name="connsiteX480" fmla="*/ 34693 w 124107"/>
                <a:gd name="connsiteY480" fmla="*/ 170647 h 253855"/>
                <a:gd name="connsiteX481" fmla="*/ 34411 w 124107"/>
                <a:gd name="connsiteY481" fmla="*/ 170083 h 253855"/>
                <a:gd name="connsiteX482" fmla="*/ 36386 w 124107"/>
                <a:gd name="connsiteY482" fmla="*/ 168109 h 253855"/>
                <a:gd name="connsiteX483" fmla="*/ 36668 w 124107"/>
                <a:gd name="connsiteY483" fmla="*/ 167544 h 253855"/>
                <a:gd name="connsiteX484" fmla="*/ 36386 w 124107"/>
                <a:gd name="connsiteY484" fmla="*/ 166980 h 253855"/>
                <a:gd name="connsiteX485" fmla="*/ 36386 w 124107"/>
                <a:gd name="connsiteY485" fmla="*/ 166416 h 253855"/>
                <a:gd name="connsiteX486" fmla="*/ 35539 w 124107"/>
                <a:gd name="connsiteY486" fmla="*/ 166134 h 253855"/>
                <a:gd name="connsiteX487" fmla="*/ 34693 w 124107"/>
                <a:gd name="connsiteY487" fmla="*/ 166416 h 253855"/>
                <a:gd name="connsiteX488" fmla="*/ 34693 w 124107"/>
                <a:gd name="connsiteY488" fmla="*/ 167262 h 253855"/>
                <a:gd name="connsiteX489" fmla="*/ 34411 w 124107"/>
                <a:gd name="connsiteY489" fmla="*/ 167544 h 253855"/>
                <a:gd name="connsiteX490" fmla="*/ 33847 w 124107"/>
                <a:gd name="connsiteY490" fmla="*/ 168391 h 253855"/>
                <a:gd name="connsiteX491" fmla="*/ 32719 w 124107"/>
                <a:gd name="connsiteY491" fmla="*/ 168955 h 253855"/>
                <a:gd name="connsiteX492" fmla="*/ 31308 w 124107"/>
                <a:gd name="connsiteY492" fmla="*/ 170647 h 253855"/>
                <a:gd name="connsiteX493" fmla="*/ 31308 w 124107"/>
                <a:gd name="connsiteY493" fmla="*/ 170929 h 253855"/>
                <a:gd name="connsiteX494" fmla="*/ 31591 w 124107"/>
                <a:gd name="connsiteY494" fmla="*/ 171211 h 253855"/>
                <a:gd name="connsiteX495" fmla="*/ 32719 w 124107"/>
                <a:gd name="connsiteY495" fmla="*/ 171775 h 253855"/>
                <a:gd name="connsiteX496" fmla="*/ 33001 w 124107"/>
                <a:gd name="connsiteY496" fmla="*/ 172622 h 253855"/>
                <a:gd name="connsiteX497" fmla="*/ 32719 w 124107"/>
                <a:gd name="connsiteY497" fmla="*/ 172622 h 253855"/>
                <a:gd name="connsiteX498" fmla="*/ 31027 w 124107"/>
                <a:gd name="connsiteY498" fmla="*/ 173468 h 253855"/>
                <a:gd name="connsiteX499" fmla="*/ 30462 w 124107"/>
                <a:gd name="connsiteY499" fmla="*/ 174878 h 253855"/>
                <a:gd name="connsiteX500" fmla="*/ 29898 w 124107"/>
                <a:gd name="connsiteY500" fmla="*/ 175442 h 253855"/>
                <a:gd name="connsiteX501" fmla="*/ 30462 w 124107"/>
                <a:gd name="connsiteY501" fmla="*/ 176288 h 253855"/>
                <a:gd name="connsiteX502" fmla="*/ 31308 w 124107"/>
                <a:gd name="connsiteY502" fmla="*/ 176570 h 253855"/>
                <a:gd name="connsiteX503" fmla="*/ 31872 w 124107"/>
                <a:gd name="connsiteY503" fmla="*/ 175724 h 253855"/>
                <a:gd name="connsiteX504" fmla="*/ 31872 w 124107"/>
                <a:gd name="connsiteY504" fmla="*/ 175160 h 253855"/>
                <a:gd name="connsiteX505" fmla="*/ 33283 w 124107"/>
                <a:gd name="connsiteY505" fmla="*/ 173186 h 253855"/>
                <a:gd name="connsiteX506" fmla="*/ 34129 w 124107"/>
                <a:gd name="connsiteY506" fmla="*/ 173468 h 253855"/>
                <a:gd name="connsiteX507" fmla="*/ 34129 w 124107"/>
                <a:gd name="connsiteY507" fmla="*/ 174878 h 253855"/>
                <a:gd name="connsiteX508" fmla="*/ 33565 w 124107"/>
                <a:gd name="connsiteY508" fmla="*/ 176288 h 253855"/>
                <a:gd name="connsiteX509" fmla="*/ 32437 w 124107"/>
                <a:gd name="connsiteY509" fmla="*/ 177135 h 253855"/>
                <a:gd name="connsiteX510" fmla="*/ 31027 w 124107"/>
                <a:gd name="connsiteY510" fmla="*/ 179391 h 253855"/>
                <a:gd name="connsiteX511" fmla="*/ 30462 w 124107"/>
                <a:gd name="connsiteY511" fmla="*/ 180801 h 253855"/>
                <a:gd name="connsiteX512" fmla="*/ 30462 w 124107"/>
                <a:gd name="connsiteY512" fmla="*/ 181365 h 253855"/>
                <a:gd name="connsiteX513" fmla="*/ 29898 w 124107"/>
                <a:gd name="connsiteY513" fmla="*/ 183340 h 253855"/>
                <a:gd name="connsiteX514" fmla="*/ 29616 w 124107"/>
                <a:gd name="connsiteY514" fmla="*/ 183622 h 253855"/>
                <a:gd name="connsiteX515" fmla="*/ 29052 w 124107"/>
                <a:gd name="connsiteY515" fmla="*/ 183340 h 253855"/>
                <a:gd name="connsiteX516" fmla="*/ 27924 w 124107"/>
                <a:gd name="connsiteY516" fmla="*/ 182776 h 253855"/>
                <a:gd name="connsiteX517" fmla="*/ 27077 w 124107"/>
                <a:gd name="connsiteY517" fmla="*/ 182776 h 253855"/>
                <a:gd name="connsiteX518" fmla="*/ 27360 w 124107"/>
                <a:gd name="connsiteY518" fmla="*/ 182494 h 253855"/>
                <a:gd name="connsiteX519" fmla="*/ 27924 w 124107"/>
                <a:gd name="connsiteY519" fmla="*/ 180801 h 253855"/>
                <a:gd name="connsiteX520" fmla="*/ 27641 w 124107"/>
                <a:gd name="connsiteY520" fmla="*/ 180237 h 253855"/>
                <a:gd name="connsiteX521" fmla="*/ 28206 w 124107"/>
                <a:gd name="connsiteY521" fmla="*/ 179109 h 253855"/>
                <a:gd name="connsiteX522" fmla="*/ 29616 w 124107"/>
                <a:gd name="connsiteY522" fmla="*/ 177699 h 253855"/>
                <a:gd name="connsiteX523" fmla="*/ 29898 w 124107"/>
                <a:gd name="connsiteY523" fmla="*/ 176852 h 253855"/>
                <a:gd name="connsiteX524" fmla="*/ 29898 w 124107"/>
                <a:gd name="connsiteY524" fmla="*/ 176570 h 253855"/>
                <a:gd name="connsiteX525" fmla="*/ 28488 w 124107"/>
                <a:gd name="connsiteY525" fmla="*/ 176570 h 253855"/>
                <a:gd name="connsiteX526" fmla="*/ 27641 w 124107"/>
                <a:gd name="connsiteY526" fmla="*/ 178545 h 253855"/>
                <a:gd name="connsiteX527" fmla="*/ 27641 w 124107"/>
                <a:gd name="connsiteY527" fmla="*/ 179109 h 253855"/>
                <a:gd name="connsiteX528" fmla="*/ 26231 w 124107"/>
                <a:gd name="connsiteY528" fmla="*/ 181365 h 253855"/>
                <a:gd name="connsiteX529" fmla="*/ 25950 w 124107"/>
                <a:gd name="connsiteY529" fmla="*/ 182212 h 253855"/>
                <a:gd name="connsiteX530" fmla="*/ 24821 w 124107"/>
                <a:gd name="connsiteY530" fmla="*/ 184750 h 253855"/>
                <a:gd name="connsiteX531" fmla="*/ 24257 w 124107"/>
                <a:gd name="connsiteY531" fmla="*/ 185596 h 253855"/>
                <a:gd name="connsiteX532" fmla="*/ 23411 w 124107"/>
                <a:gd name="connsiteY532" fmla="*/ 187007 h 253855"/>
                <a:gd name="connsiteX533" fmla="*/ 22565 w 124107"/>
                <a:gd name="connsiteY533" fmla="*/ 188417 h 253855"/>
                <a:gd name="connsiteX534" fmla="*/ 21719 w 124107"/>
                <a:gd name="connsiteY534" fmla="*/ 188135 h 253855"/>
                <a:gd name="connsiteX535" fmla="*/ 21155 w 124107"/>
                <a:gd name="connsiteY535" fmla="*/ 187853 h 253855"/>
                <a:gd name="connsiteX536" fmla="*/ 20026 w 124107"/>
                <a:gd name="connsiteY536" fmla="*/ 187853 h 253855"/>
                <a:gd name="connsiteX537" fmla="*/ 20026 w 124107"/>
                <a:gd name="connsiteY537" fmla="*/ 188135 h 253855"/>
                <a:gd name="connsiteX538" fmla="*/ 18898 w 124107"/>
                <a:gd name="connsiteY538" fmla="*/ 187853 h 253855"/>
                <a:gd name="connsiteX539" fmla="*/ 18898 w 124107"/>
                <a:gd name="connsiteY539" fmla="*/ 187571 h 253855"/>
                <a:gd name="connsiteX540" fmla="*/ 18052 w 124107"/>
                <a:gd name="connsiteY540" fmla="*/ 187571 h 253855"/>
                <a:gd name="connsiteX541" fmla="*/ 18052 w 124107"/>
                <a:gd name="connsiteY541" fmla="*/ 188699 h 253855"/>
                <a:gd name="connsiteX542" fmla="*/ 18898 w 124107"/>
                <a:gd name="connsiteY542" fmla="*/ 189263 h 253855"/>
                <a:gd name="connsiteX543" fmla="*/ 20026 w 124107"/>
                <a:gd name="connsiteY543" fmla="*/ 189545 h 253855"/>
                <a:gd name="connsiteX544" fmla="*/ 20590 w 124107"/>
                <a:gd name="connsiteY544" fmla="*/ 189545 h 253855"/>
                <a:gd name="connsiteX545" fmla="*/ 21155 w 124107"/>
                <a:gd name="connsiteY545" fmla="*/ 190109 h 253855"/>
                <a:gd name="connsiteX546" fmla="*/ 21155 w 124107"/>
                <a:gd name="connsiteY546" fmla="*/ 190391 h 253855"/>
                <a:gd name="connsiteX547" fmla="*/ 20308 w 124107"/>
                <a:gd name="connsiteY547" fmla="*/ 192366 h 253855"/>
                <a:gd name="connsiteX548" fmla="*/ 19744 w 124107"/>
                <a:gd name="connsiteY548" fmla="*/ 192648 h 253855"/>
                <a:gd name="connsiteX549" fmla="*/ 19462 w 124107"/>
                <a:gd name="connsiteY549" fmla="*/ 192366 h 253855"/>
                <a:gd name="connsiteX550" fmla="*/ 18898 w 124107"/>
                <a:gd name="connsiteY550" fmla="*/ 191238 h 253855"/>
                <a:gd name="connsiteX551" fmla="*/ 17488 w 124107"/>
                <a:gd name="connsiteY551" fmla="*/ 190109 h 253855"/>
                <a:gd name="connsiteX552" fmla="*/ 17488 w 124107"/>
                <a:gd name="connsiteY552" fmla="*/ 190673 h 253855"/>
                <a:gd name="connsiteX553" fmla="*/ 16077 w 124107"/>
                <a:gd name="connsiteY553" fmla="*/ 192930 h 253855"/>
                <a:gd name="connsiteX554" fmla="*/ 15795 w 124107"/>
                <a:gd name="connsiteY554" fmla="*/ 193212 h 253855"/>
                <a:gd name="connsiteX555" fmla="*/ 14667 w 124107"/>
                <a:gd name="connsiteY555" fmla="*/ 193776 h 253855"/>
                <a:gd name="connsiteX556" fmla="*/ 14949 w 124107"/>
                <a:gd name="connsiteY556" fmla="*/ 194622 h 253855"/>
                <a:gd name="connsiteX557" fmla="*/ 15231 w 124107"/>
                <a:gd name="connsiteY557" fmla="*/ 195186 h 253855"/>
                <a:gd name="connsiteX558" fmla="*/ 15513 w 124107"/>
                <a:gd name="connsiteY558" fmla="*/ 195751 h 253855"/>
                <a:gd name="connsiteX559" fmla="*/ 15231 w 124107"/>
                <a:gd name="connsiteY559" fmla="*/ 196033 h 253855"/>
                <a:gd name="connsiteX560" fmla="*/ 13821 w 124107"/>
                <a:gd name="connsiteY560" fmla="*/ 197161 h 253855"/>
                <a:gd name="connsiteX561" fmla="*/ 12974 w 124107"/>
                <a:gd name="connsiteY561" fmla="*/ 197725 h 253855"/>
                <a:gd name="connsiteX562" fmla="*/ 13257 w 124107"/>
                <a:gd name="connsiteY562" fmla="*/ 199135 h 253855"/>
                <a:gd name="connsiteX563" fmla="*/ 13538 w 124107"/>
                <a:gd name="connsiteY563" fmla="*/ 200264 h 253855"/>
                <a:gd name="connsiteX564" fmla="*/ 13257 w 124107"/>
                <a:gd name="connsiteY564" fmla="*/ 200828 h 253855"/>
                <a:gd name="connsiteX565" fmla="*/ 12410 w 124107"/>
                <a:gd name="connsiteY565" fmla="*/ 202238 h 253855"/>
                <a:gd name="connsiteX566" fmla="*/ 12410 w 124107"/>
                <a:gd name="connsiteY566" fmla="*/ 202802 h 253855"/>
                <a:gd name="connsiteX567" fmla="*/ 11846 w 124107"/>
                <a:gd name="connsiteY567" fmla="*/ 203930 h 253855"/>
                <a:gd name="connsiteX568" fmla="*/ 11564 w 124107"/>
                <a:gd name="connsiteY568" fmla="*/ 202802 h 253855"/>
                <a:gd name="connsiteX569" fmla="*/ 11282 w 124107"/>
                <a:gd name="connsiteY569" fmla="*/ 202238 h 253855"/>
                <a:gd name="connsiteX570" fmla="*/ 10718 w 124107"/>
                <a:gd name="connsiteY570" fmla="*/ 202520 h 253855"/>
                <a:gd name="connsiteX571" fmla="*/ 10436 w 124107"/>
                <a:gd name="connsiteY571" fmla="*/ 202238 h 253855"/>
                <a:gd name="connsiteX572" fmla="*/ 10436 w 124107"/>
                <a:gd name="connsiteY572" fmla="*/ 201956 h 253855"/>
                <a:gd name="connsiteX573" fmla="*/ 11000 w 124107"/>
                <a:gd name="connsiteY573" fmla="*/ 201392 h 253855"/>
                <a:gd name="connsiteX574" fmla="*/ 11564 w 124107"/>
                <a:gd name="connsiteY574" fmla="*/ 200828 h 253855"/>
                <a:gd name="connsiteX575" fmla="*/ 11282 w 124107"/>
                <a:gd name="connsiteY575" fmla="*/ 200546 h 253855"/>
                <a:gd name="connsiteX576" fmla="*/ 11000 w 124107"/>
                <a:gd name="connsiteY576" fmla="*/ 199982 h 253855"/>
                <a:gd name="connsiteX577" fmla="*/ 11282 w 124107"/>
                <a:gd name="connsiteY577" fmla="*/ 198853 h 253855"/>
                <a:gd name="connsiteX578" fmla="*/ 12128 w 124107"/>
                <a:gd name="connsiteY578" fmla="*/ 197161 h 253855"/>
                <a:gd name="connsiteX579" fmla="*/ 12128 w 124107"/>
                <a:gd name="connsiteY579" fmla="*/ 195751 h 253855"/>
                <a:gd name="connsiteX580" fmla="*/ 12693 w 124107"/>
                <a:gd name="connsiteY580" fmla="*/ 195186 h 253855"/>
                <a:gd name="connsiteX581" fmla="*/ 13538 w 124107"/>
                <a:gd name="connsiteY581" fmla="*/ 194058 h 253855"/>
                <a:gd name="connsiteX582" fmla="*/ 13538 w 124107"/>
                <a:gd name="connsiteY582" fmla="*/ 192648 h 253855"/>
                <a:gd name="connsiteX583" fmla="*/ 14385 w 124107"/>
                <a:gd name="connsiteY583" fmla="*/ 190673 h 253855"/>
                <a:gd name="connsiteX584" fmla="*/ 14949 w 124107"/>
                <a:gd name="connsiteY584" fmla="*/ 190391 h 253855"/>
                <a:gd name="connsiteX585" fmla="*/ 15513 w 124107"/>
                <a:gd name="connsiteY585" fmla="*/ 190391 h 253855"/>
                <a:gd name="connsiteX586" fmla="*/ 16077 w 124107"/>
                <a:gd name="connsiteY586" fmla="*/ 188699 h 253855"/>
                <a:gd name="connsiteX587" fmla="*/ 15513 w 124107"/>
                <a:gd name="connsiteY587" fmla="*/ 187571 h 253855"/>
                <a:gd name="connsiteX588" fmla="*/ 16924 w 124107"/>
                <a:gd name="connsiteY588" fmla="*/ 185314 h 253855"/>
                <a:gd name="connsiteX589" fmla="*/ 17488 w 124107"/>
                <a:gd name="connsiteY589" fmla="*/ 183622 h 253855"/>
                <a:gd name="connsiteX590" fmla="*/ 18616 w 124107"/>
                <a:gd name="connsiteY590" fmla="*/ 182776 h 253855"/>
                <a:gd name="connsiteX591" fmla="*/ 18898 w 124107"/>
                <a:gd name="connsiteY591" fmla="*/ 182212 h 253855"/>
                <a:gd name="connsiteX592" fmla="*/ 18616 w 124107"/>
                <a:gd name="connsiteY592" fmla="*/ 181648 h 253855"/>
                <a:gd name="connsiteX593" fmla="*/ 18616 w 124107"/>
                <a:gd name="connsiteY593" fmla="*/ 181083 h 253855"/>
                <a:gd name="connsiteX594" fmla="*/ 19744 w 124107"/>
                <a:gd name="connsiteY594" fmla="*/ 177981 h 253855"/>
                <a:gd name="connsiteX595" fmla="*/ 21155 w 124107"/>
                <a:gd name="connsiteY595" fmla="*/ 176288 h 253855"/>
                <a:gd name="connsiteX596" fmla="*/ 21719 w 124107"/>
                <a:gd name="connsiteY596" fmla="*/ 176288 h 253855"/>
                <a:gd name="connsiteX597" fmla="*/ 21719 w 124107"/>
                <a:gd name="connsiteY597" fmla="*/ 176852 h 253855"/>
                <a:gd name="connsiteX598" fmla="*/ 21155 w 124107"/>
                <a:gd name="connsiteY598" fmla="*/ 178263 h 253855"/>
                <a:gd name="connsiteX599" fmla="*/ 21436 w 124107"/>
                <a:gd name="connsiteY599" fmla="*/ 178827 h 253855"/>
                <a:gd name="connsiteX600" fmla="*/ 21436 w 124107"/>
                <a:gd name="connsiteY600" fmla="*/ 179109 h 253855"/>
                <a:gd name="connsiteX601" fmla="*/ 21155 w 124107"/>
                <a:gd name="connsiteY601" fmla="*/ 179673 h 253855"/>
                <a:gd name="connsiteX602" fmla="*/ 20026 w 124107"/>
                <a:gd name="connsiteY602" fmla="*/ 182212 h 253855"/>
                <a:gd name="connsiteX603" fmla="*/ 19744 w 124107"/>
                <a:gd name="connsiteY603" fmla="*/ 182776 h 253855"/>
                <a:gd name="connsiteX604" fmla="*/ 20026 w 124107"/>
                <a:gd name="connsiteY604" fmla="*/ 183058 h 253855"/>
                <a:gd name="connsiteX605" fmla="*/ 20308 w 124107"/>
                <a:gd name="connsiteY605" fmla="*/ 183058 h 253855"/>
                <a:gd name="connsiteX606" fmla="*/ 20872 w 124107"/>
                <a:gd name="connsiteY606" fmla="*/ 183340 h 253855"/>
                <a:gd name="connsiteX607" fmla="*/ 20590 w 124107"/>
                <a:gd name="connsiteY607" fmla="*/ 183904 h 253855"/>
                <a:gd name="connsiteX608" fmla="*/ 20590 w 124107"/>
                <a:gd name="connsiteY608" fmla="*/ 184468 h 253855"/>
                <a:gd name="connsiteX609" fmla="*/ 22283 w 124107"/>
                <a:gd name="connsiteY609" fmla="*/ 183622 h 253855"/>
                <a:gd name="connsiteX610" fmla="*/ 25103 w 124107"/>
                <a:gd name="connsiteY610" fmla="*/ 180519 h 253855"/>
                <a:gd name="connsiteX611" fmla="*/ 24821 w 124107"/>
                <a:gd name="connsiteY611" fmla="*/ 179673 h 253855"/>
                <a:gd name="connsiteX612" fmla="*/ 24257 w 124107"/>
                <a:gd name="connsiteY612" fmla="*/ 178827 h 253855"/>
                <a:gd name="connsiteX613" fmla="*/ 24257 w 124107"/>
                <a:gd name="connsiteY613" fmla="*/ 177981 h 253855"/>
                <a:gd name="connsiteX614" fmla="*/ 23411 w 124107"/>
                <a:gd name="connsiteY614" fmla="*/ 177699 h 253855"/>
                <a:gd name="connsiteX615" fmla="*/ 21719 w 124107"/>
                <a:gd name="connsiteY615" fmla="*/ 176288 h 253855"/>
                <a:gd name="connsiteX616" fmla="*/ 23129 w 124107"/>
                <a:gd name="connsiteY616" fmla="*/ 174596 h 253855"/>
                <a:gd name="connsiteX617" fmla="*/ 23129 w 124107"/>
                <a:gd name="connsiteY617" fmla="*/ 173750 h 253855"/>
                <a:gd name="connsiteX618" fmla="*/ 22847 w 124107"/>
                <a:gd name="connsiteY618" fmla="*/ 173468 h 253855"/>
                <a:gd name="connsiteX619" fmla="*/ 22565 w 124107"/>
                <a:gd name="connsiteY619" fmla="*/ 172904 h 253855"/>
                <a:gd name="connsiteX620" fmla="*/ 22565 w 124107"/>
                <a:gd name="connsiteY620" fmla="*/ 172622 h 253855"/>
                <a:gd name="connsiteX621" fmla="*/ 23411 w 124107"/>
                <a:gd name="connsiteY621" fmla="*/ 172904 h 253855"/>
                <a:gd name="connsiteX622" fmla="*/ 23975 w 124107"/>
                <a:gd name="connsiteY622" fmla="*/ 173468 h 253855"/>
                <a:gd name="connsiteX623" fmla="*/ 24257 w 124107"/>
                <a:gd name="connsiteY623" fmla="*/ 173186 h 253855"/>
                <a:gd name="connsiteX624" fmla="*/ 24821 w 124107"/>
                <a:gd name="connsiteY624" fmla="*/ 171775 h 253855"/>
                <a:gd name="connsiteX625" fmla="*/ 26231 w 124107"/>
                <a:gd name="connsiteY625" fmla="*/ 168391 h 253855"/>
                <a:gd name="connsiteX626" fmla="*/ 26796 w 124107"/>
                <a:gd name="connsiteY626" fmla="*/ 167827 h 253855"/>
                <a:gd name="connsiteX627" fmla="*/ 27360 w 124107"/>
                <a:gd name="connsiteY627" fmla="*/ 166980 h 253855"/>
                <a:gd name="connsiteX628" fmla="*/ 27641 w 124107"/>
                <a:gd name="connsiteY628" fmla="*/ 166416 h 253855"/>
                <a:gd name="connsiteX629" fmla="*/ 27077 w 124107"/>
                <a:gd name="connsiteY629" fmla="*/ 165852 h 253855"/>
                <a:gd name="connsiteX630" fmla="*/ 25667 w 124107"/>
                <a:gd name="connsiteY630" fmla="*/ 165006 h 253855"/>
                <a:gd name="connsiteX631" fmla="*/ 25386 w 124107"/>
                <a:gd name="connsiteY631" fmla="*/ 165006 h 253855"/>
                <a:gd name="connsiteX632" fmla="*/ 25386 w 124107"/>
                <a:gd name="connsiteY632" fmla="*/ 165288 h 253855"/>
                <a:gd name="connsiteX633" fmla="*/ 25950 w 124107"/>
                <a:gd name="connsiteY633" fmla="*/ 166980 h 253855"/>
                <a:gd name="connsiteX634" fmla="*/ 25667 w 124107"/>
                <a:gd name="connsiteY634" fmla="*/ 168391 h 253855"/>
                <a:gd name="connsiteX635" fmla="*/ 25103 w 124107"/>
                <a:gd name="connsiteY635" fmla="*/ 168955 h 253855"/>
                <a:gd name="connsiteX636" fmla="*/ 24257 w 124107"/>
                <a:gd name="connsiteY636" fmla="*/ 170083 h 253855"/>
                <a:gd name="connsiteX637" fmla="*/ 23129 w 124107"/>
                <a:gd name="connsiteY637" fmla="*/ 169801 h 253855"/>
                <a:gd name="connsiteX638" fmla="*/ 22565 w 124107"/>
                <a:gd name="connsiteY638" fmla="*/ 169519 h 253855"/>
                <a:gd name="connsiteX639" fmla="*/ 21719 w 124107"/>
                <a:gd name="connsiteY639" fmla="*/ 170365 h 253855"/>
                <a:gd name="connsiteX640" fmla="*/ 21719 w 124107"/>
                <a:gd name="connsiteY640" fmla="*/ 170929 h 253855"/>
                <a:gd name="connsiteX641" fmla="*/ 21719 w 124107"/>
                <a:gd name="connsiteY641" fmla="*/ 171493 h 253855"/>
                <a:gd name="connsiteX642" fmla="*/ 21155 w 124107"/>
                <a:gd name="connsiteY642" fmla="*/ 172622 h 253855"/>
                <a:gd name="connsiteX643" fmla="*/ 21155 w 124107"/>
                <a:gd name="connsiteY643" fmla="*/ 173468 h 253855"/>
                <a:gd name="connsiteX644" fmla="*/ 20590 w 124107"/>
                <a:gd name="connsiteY644" fmla="*/ 174596 h 253855"/>
                <a:gd name="connsiteX645" fmla="*/ 20308 w 124107"/>
                <a:gd name="connsiteY645" fmla="*/ 175160 h 253855"/>
                <a:gd name="connsiteX646" fmla="*/ 20590 w 124107"/>
                <a:gd name="connsiteY646" fmla="*/ 175442 h 253855"/>
                <a:gd name="connsiteX647" fmla="*/ 20872 w 124107"/>
                <a:gd name="connsiteY647" fmla="*/ 175724 h 253855"/>
                <a:gd name="connsiteX648" fmla="*/ 20590 w 124107"/>
                <a:gd name="connsiteY648" fmla="*/ 176288 h 253855"/>
                <a:gd name="connsiteX649" fmla="*/ 19462 w 124107"/>
                <a:gd name="connsiteY649" fmla="*/ 176288 h 253855"/>
                <a:gd name="connsiteX650" fmla="*/ 17488 w 124107"/>
                <a:gd name="connsiteY650" fmla="*/ 175724 h 253855"/>
                <a:gd name="connsiteX651" fmla="*/ 17488 w 124107"/>
                <a:gd name="connsiteY651" fmla="*/ 175442 h 253855"/>
                <a:gd name="connsiteX652" fmla="*/ 17769 w 124107"/>
                <a:gd name="connsiteY652" fmla="*/ 174596 h 253855"/>
                <a:gd name="connsiteX653" fmla="*/ 17488 w 124107"/>
                <a:gd name="connsiteY653" fmla="*/ 173468 h 253855"/>
                <a:gd name="connsiteX654" fmla="*/ 17769 w 124107"/>
                <a:gd name="connsiteY654" fmla="*/ 172904 h 253855"/>
                <a:gd name="connsiteX655" fmla="*/ 18334 w 124107"/>
                <a:gd name="connsiteY655" fmla="*/ 173186 h 253855"/>
                <a:gd name="connsiteX656" fmla="*/ 18616 w 124107"/>
                <a:gd name="connsiteY656" fmla="*/ 173186 h 253855"/>
                <a:gd name="connsiteX657" fmla="*/ 19462 w 124107"/>
                <a:gd name="connsiteY657" fmla="*/ 173468 h 253855"/>
                <a:gd name="connsiteX658" fmla="*/ 20308 w 124107"/>
                <a:gd name="connsiteY658" fmla="*/ 173750 h 253855"/>
                <a:gd name="connsiteX659" fmla="*/ 20308 w 124107"/>
                <a:gd name="connsiteY659" fmla="*/ 173468 h 253855"/>
                <a:gd name="connsiteX660" fmla="*/ 20026 w 124107"/>
                <a:gd name="connsiteY660" fmla="*/ 172904 h 253855"/>
                <a:gd name="connsiteX661" fmla="*/ 19744 w 124107"/>
                <a:gd name="connsiteY661" fmla="*/ 172904 h 253855"/>
                <a:gd name="connsiteX662" fmla="*/ 19462 w 124107"/>
                <a:gd name="connsiteY662" fmla="*/ 171775 h 253855"/>
                <a:gd name="connsiteX663" fmla="*/ 19180 w 124107"/>
                <a:gd name="connsiteY663" fmla="*/ 171775 h 253855"/>
                <a:gd name="connsiteX664" fmla="*/ 18052 w 124107"/>
                <a:gd name="connsiteY664" fmla="*/ 172339 h 253855"/>
                <a:gd name="connsiteX665" fmla="*/ 18334 w 124107"/>
                <a:gd name="connsiteY665" fmla="*/ 170929 h 253855"/>
                <a:gd name="connsiteX666" fmla="*/ 20308 w 124107"/>
                <a:gd name="connsiteY666" fmla="*/ 168109 h 253855"/>
                <a:gd name="connsiteX667" fmla="*/ 20590 w 124107"/>
                <a:gd name="connsiteY667" fmla="*/ 167827 h 253855"/>
                <a:gd name="connsiteX668" fmla="*/ 19462 w 124107"/>
                <a:gd name="connsiteY668" fmla="*/ 170647 h 253855"/>
                <a:gd name="connsiteX669" fmla="*/ 19744 w 124107"/>
                <a:gd name="connsiteY669" fmla="*/ 170929 h 253855"/>
                <a:gd name="connsiteX670" fmla="*/ 20590 w 124107"/>
                <a:gd name="connsiteY670" fmla="*/ 170083 h 253855"/>
                <a:gd name="connsiteX671" fmla="*/ 22283 w 124107"/>
                <a:gd name="connsiteY671" fmla="*/ 167827 h 253855"/>
                <a:gd name="connsiteX672" fmla="*/ 22283 w 124107"/>
                <a:gd name="connsiteY672" fmla="*/ 166980 h 253855"/>
                <a:gd name="connsiteX673" fmla="*/ 21719 w 124107"/>
                <a:gd name="connsiteY673" fmla="*/ 166134 h 253855"/>
                <a:gd name="connsiteX674" fmla="*/ 21719 w 124107"/>
                <a:gd name="connsiteY674" fmla="*/ 165852 h 253855"/>
                <a:gd name="connsiteX675" fmla="*/ 23411 w 124107"/>
                <a:gd name="connsiteY675" fmla="*/ 163596 h 253855"/>
                <a:gd name="connsiteX676" fmla="*/ 24257 w 124107"/>
                <a:gd name="connsiteY676" fmla="*/ 161903 h 253855"/>
                <a:gd name="connsiteX677" fmla="*/ 24257 w 124107"/>
                <a:gd name="connsiteY677" fmla="*/ 161621 h 253855"/>
                <a:gd name="connsiteX678" fmla="*/ 25950 w 124107"/>
                <a:gd name="connsiteY678" fmla="*/ 159365 h 253855"/>
                <a:gd name="connsiteX679" fmla="*/ 26514 w 124107"/>
                <a:gd name="connsiteY679" fmla="*/ 158801 h 253855"/>
                <a:gd name="connsiteX680" fmla="*/ 26796 w 124107"/>
                <a:gd name="connsiteY680" fmla="*/ 157954 h 253855"/>
                <a:gd name="connsiteX681" fmla="*/ 28206 w 124107"/>
                <a:gd name="connsiteY681" fmla="*/ 155698 h 253855"/>
                <a:gd name="connsiteX682" fmla="*/ 28488 w 124107"/>
                <a:gd name="connsiteY682" fmla="*/ 154852 h 253855"/>
                <a:gd name="connsiteX683" fmla="*/ 28488 w 124107"/>
                <a:gd name="connsiteY683" fmla="*/ 154570 h 253855"/>
                <a:gd name="connsiteX684" fmla="*/ 30744 w 124107"/>
                <a:gd name="connsiteY684" fmla="*/ 152031 h 253855"/>
                <a:gd name="connsiteX685" fmla="*/ 32437 w 124107"/>
                <a:gd name="connsiteY685" fmla="*/ 150621 h 253855"/>
                <a:gd name="connsiteX686" fmla="*/ 33001 w 124107"/>
                <a:gd name="connsiteY686" fmla="*/ 150621 h 253855"/>
                <a:gd name="connsiteX687" fmla="*/ 33001 w 124107"/>
                <a:gd name="connsiteY687" fmla="*/ 150903 h 253855"/>
                <a:gd name="connsiteX688" fmla="*/ 32437 w 124107"/>
                <a:gd name="connsiteY688" fmla="*/ 152031 h 253855"/>
                <a:gd name="connsiteX689" fmla="*/ 34411 w 124107"/>
                <a:gd name="connsiteY689" fmla="*/ 151467 h 253855"/>
                <a:gd name="connsiteX690" fmla="*/ 34693 w 124107"/>
                <a:gd name="connsiteY690" fmla="*/ 150621 h 253855"/>
                <a:gd name="connsiteX691" fmla="*/ 34129 w 124107"/>
                <a:gd name="connsiteY691" fmla="*/ 148646 h 253855"/>
                <a:gd name="connsiteX692" fmla="*/ 34129 w 124107"/>
                <a:gd name="connsiteY692" fmla="*/ 148082 h 253855"/>
                <a:gd name="connsiteX693" fmla="*/ 35539 w 124107"/>
                <a:gd name="connsiteY693" fmla="*/ 146108 h 253855"/>
                <a:gd name="connsiteX694" fmla="*/ 37796 w 124107"/>
                <a:gd name="connsiteY694" fmla="*/ 144133 h 253855"/>
                <a:gd name="connsiteX695" fmla="*/ 38078 w 124107"/>
                <a:gd name="connsiteY695" fmla="*/ 143851 h 253855"/>
                <a:gd name="connsiteX696" fmla="*/ 38360 w 124107"/>
                <a:gd name="connsiteY696" fmla="*/ 144133 h 253855"/>
                <a:gd name="connsiteX697" fmla="*/ 38642 w 124107"/>
                <a:gd name="connsiteY697" fmla="*/ 144415 h 253855"/>
                <a:gd name="connsiteX698" fmla="*/ 39206 w 124107"/>
                <a:gd name="connsiteY698" fmla="*/ 144415 h 253855"/>
                <a:gd name="connsiteX699" fmla="*/ 39770 w 124107"/>
                <a:gd name="connsiteY699" fmla="*/ 143569 h 253855"/>
                <a:gd name="connsiteX700" fmla="*/ 39770 w 124107"/>
                <a:gd name="connsiteY700" fmla="*/ 143005 h 253855"/>
                <a:gd name="connsiteX701" fmla="*/ 39489 w 124107"/>
                <a:gd name="connsiteY701" fmla="*/ 142723 h 253855"/>
                <a:gd name="connsiteX702" fmla="*/ 39770 w 124107"/>
                <a:gd name="connsiteY702" fmla="*/ 142159 h 253855"/>
                <a:gd name="connsiteX703" fmla="*/ 40334 w 124107"/>
                <a:gd name="connsiteY703" fmla="*/ 142159 h 253855"/>
                <a:gd name="connsiteX704" fmla="*/ 39770 w 124107"/>
                <a:gd name="connsiteY704" fmla="*/ 143005 h 253855"/>
                <a:gd name="connsiteX705" fmla="*/ 41181 w 124107"/>
                <a:gd name="connsiteY705" fmla="*/ 142723 h 253855"/>
                <a:gd name="connsiteX706" fmla="*/ 41181 w 124107"/>
                <a:gd name="connsiteY706" fmla="*/ 142159 h 253855"/>
                <a:gd name="connsiteX707" fmla="*/ 40617 w 124107"/>
                <a:gd name="connsiteY707" fmla="*/ 141031 h 253855"/>
                <a:gd name="connsiteX708" fmla="*/ 40899 w 124107"/>
                <a:gd name="connsiteY708" fmla="*/ 139902 h 253855"/>
                <a:gd name="connsiteX709" fmla="*/ 42309 w 124107"/>
                <a:gd name="connsiteY709" fmla="*/ 137646 h 253855"/>
                <a:gd name="connsiteX710" fmla="*/ 43155 w 124107"/>
                <a:gd name="connsiteY710" fmla="*/ 136236 h 253855"/>
                <a:gd name="connsiteX711" fmla="*/ 44284 w 124107"/>
                <a:gd name="connsiteY711" fmla="*/ 135954 h 253855"/>
                <a:gd name="connsiteX712" fmla="*/ 44565 w 124107"/>
                <a:gd name="connsiteY712" fmla="*/ 136800 h 253855"/>
                <a:gd name="connsiteX713" fmla="*/ 44284 w 124107"/>
                <a:gd name="connsiteY713" fmla="*/ 137082 h 253855"/>
                <a:gd name="connsiteX714" fmla="*/ 44284 w 124107"/>
                <a:gd name="connsiteY714" fmla="*/ 137646 h 253855"/>
                <a:gd name="connsiteX715" fmla="*/ 44565 w 124107"/>
                <a:gd name="connsiteY715" fmla="*/ 137646 h 253855"/>
                <a:gd name="connsiteX716" fmla="*/ 45130 w 124107"/>
                <a:gd name="connsiteY716" fmla="*/ 137364 h 253855"/>
                <a:gd name="connsiteX717" fmla="*/ 45975 w 124107"/>
                <a:gd name="connsiteY717" fmla="*/ 136236 h 253855"/>
                <a:gd name="connsiteX718" fmla="*/ 46540 w 124107"/>
                <a:gd name="connsiteY718" fmla="*/ 135954 h 253855"/>
                <a:gd name="connsiteX719" fmla="*/ 46258 w 124107"/>
                <a:gd name="connsiteY719" fmla="*/ 135107 h 253855"/>
                <a:gd name="connsiteX720" fmla="*/ 45975 w 124107"/>
                <a:gd name="connsiteY720" fmla="*/ 134825 h 253855"/>
                <a:gd name="connsiteX721" fmla="*/ 46258 w 124107"/>
                <a:gd name="connsiteY721" fmla="*/ 134261 h 253855"/>
                <a:gd name="connsiteX722" fmla="*/ 47668 w 124107"/>
                <a:gd name="connsiteY722" fmla="*/ 133415 h 253855"/>
                <a:gd name="connsiteX723" fmla="*/ 47668 w 124107"/>
                <a:gd name="connsiteY723" fmla="*/ 132287 h 253855"/>
                <a:gd name="connsiteX724" fmla="*/ 47950 w 124107"/>
                <a:gd name="connsiteY724" fmla="*/ 131723 h 253855"/>
                <a:gd name="connsiteX725" fmla="*/ 48514 w 124107"/>
                <a:gd name="connsiteY725" fmla="*/ 132287 h 253855"/>
                <a:gd name="connsiteX726" fmla="*/ 49078 w 124107"/>
                <a:gd name="connsiteY726" fmla="*/ 132005 h 253855"/>
                <a:gd name="connsiteX727" fmla="*/ 50206 w 124107"/>
                <a:gd name="connsiteY727" fmla="*/ 129184 h 253855"/>
                <a:gd name="connsiteX728" fmla="*/ 50771 w 124107"/>
                <a:gd name="connsiteY728" fmla="*/ 128056 h 253855"/>
                <a:gd name="connsiteX729" fmla="*/ 52463 w 124107"/>
                <a:gd name="connsiteY729" fmla="*/ 127210 h 253855"/>
                <a:gd name="connsiteX730" fmla="*/ 53592 w 124107"/>
                <a:gd name="connsiteY730" fmla="*/ 126364 h 253855"/>
                <a:gd name="connsiteX731" fmla="*/ 53873 w 124107"/>
                <a:gd name="connsiteY731" fmla="*/ 125517 h 253855"/>
                <a:gd name="connsiteX732" fmla="*/ 55284 w 124107"/>
                <a:gd name="connsiteY732" fmla="*/ 124389 h 253855"/>
                <a:gd name="connsiteX733" fmla="*/ 56694 w 124107"/>
                <a:gd name="connsiteY733" fmla="*/ 122979 h 253855"/>
                <a:gd name="connsiteX734" fmla="*/ 57823 w 124107"/>
                <a:gd name="connsiteY734" fmla="*/ 121851 h 253855"/>
                <a:gd name="connsiteX735" fmla="*/ 59233 w 124107"/>
                <a:gd name="connsiteY735" fmla="*/ 120440 h 253855"/>
                <a:gd name="connsiteX736" fmla="*/ 60079 w 124107"/>
                <a:gd name="connsiteY736" fmla="*/ 119876 h 253855"/>
                <a:gd name="connsiteX737" fmla="*/ 61771 w 124107"/>
                <a:gd name="connsiteY737" fmla="*/ 119594 h 253855"/>
                <a:gd name="connsiteX738" fmla="*/ 62618 w 124107"/>
                <a:gd name="connsiteY738" fmla="*/ 117338 h 253855"/>
                <a:gd name="connsiteX739" fmla="*/ 64028 w 124107"/>
                <a:gd name="connsiteY739" fmla="*/ 116209 h 253855"/>
                <a:gd name="connsiteX740" fmla="*/ 65438 w 124107"/>
                <a:gd name="connsiteY740" fmla="*/ 115927 h 253855"/>
                <a:gd name="connsiteX741" fmla="*/ 66284 w 124107"/>
                <a:gd name="connsiteY741" fmla="*/ 115363 h 253855"/>
                <a:gd name="connsiteX742" fmla="*/ 67130 w 124107"/>
                <a:gd name="connsiteY742" fmla="*/ 114799 h 253855"/>
                <a:gd name="connsiteX743" fmla="*/ 66848 w 124107"/>
                <a:gd name="connsiteY743" fmla="*/ 113953 h 253855"/>
                <a:gd name="connsiteX744" fmla="*/ 67695 w 124107"/>
                <a:gd name="connsiteY744" fmla="*/ 112542 h 253855"/>
                <a:gd name="connsiteX745" fmla="*/ 70233 w 124107"/>
                <a:gd name="connsiteY745" fmla="*/ 111132 h 253855"/>
                <a:gd name="connsiteX746" fmla="*/ 72490 w 124107"/>
                <a:gd name="connsiteY746" fmla="*/ 109722 h 253855"/>
                <a:gd name="connsiteX747" fmla="*/ 73900 w 124107"/>
                <a:gd name="connsiteY747" fmla="*/ 108594 h 253855"/>
                <a:gd name="connsiteX748" fmla="*/ 74182 w 124107"/>
                <a:gd name="connsiteY748" fmla="*/ 108030 h 253855"/>
                <a:gd name="connsiteX749" fmla="*/ 75028 w 124107"/>
                <a:gd name="connsiteY749" fmla="*/ 106901 h 253855"/>
                <a:gd name="connsiteX750" fmla="*/ 75874 w 124107"/>
                <a:gd name="connsiteY750" fmla="*/ 106901 h 253855"/>
                <a:gd name="connsiteX751" fmla="*/ 76721 w 124107"/>
                <a:gd name="connsiteY751" fmla="*/ 106337 h 253855"/>
                <a:gd name="connsiteX752" fmla="*/ 77567 w 124107"/>
                <a:gd name="connsiteY752" fmla="*/ 106619 h 253855"/>
                <a:gd name="connsiteX753" fmla="*/ 78413 w 124107"/>
                <a:gd name="connsiteY753" fmla="*/ 105773 h 253855"/>
                <a:gd name="connsiteX754" fmla="*/ 79823 w 124107"/>
                <a:gd name="connsiteY754" fmla="*/ 104081 h 253855"/>
                <a:gd name="connsiteX755" fmla="*/ 80669 w 124107"/>
                <a:gd name="connsiteY755" fmla="*/ 102106 h 253855"/>
                <a:gd name="connsiteX756" fmla="*/ 83490 w 124107"/>
                <a:gd name="connsiteY756" fmla="*/ 100978 h 253855"/>
                <a:gd name="connsiteX757" fmla="*/ 85182 w 124107"/>
                <a:gd name="connsiteY757" fmla="*/ 100414 h 253855"/>
                <a:gd name="connsiteX758" fmla="*/ 84900 w 124107"/>
                <a:gd name="connsiteY758" fmla="*/ 101542 h 253855"/>
                <a:gd name="connsiteX759" fmla="*/ 85182 w 124107"/>
                <a:gd name="connsiteY759" fmla="*/ 101542 h 253855"/>
                <a:gd name="connsiteX760" fmla="*/ 86593 w 124107"/>
                <a:gd name="connsiteY760" fmla="*/ 99568 h 253855"/>
                <a:gd name="connsiteX761" fmla="*/ 86593 w 124107"/>
                <a:gd name="connsiteY761" fmla="*/ 99286 h 253855"/>
                <a:gd name="connsiteX762" fmla="*/ 87439 w 124107"/>
                <a:gd name="connsiteY762" fmla="*/ 97593 h 253855"/>
                <a:gd name="connsiteX763" fmla="*/ 89131 w 124107"/>
                <a:gd name="connsiteY763" fmla="*/ 97029 h 253855"/>
                <a:gd name="connsiteX764" fmla="*/ 90260 w 124107"/>
                <a:gd name="connsiteY764" fmla="*/ 95901 h 253855"/>
                <a:gd name="connsiteX765" fmla="*/ 91670 w 124107"/>
                <a:gd name="connsiteY765" fmla="*/ 94491 h 253855"/>
                <a:gd name="connsiteX766" fmla="*/ 92234 w 124107"/>
                <a:gd name="connsiteY766" fmla="*/ 94491 h 253855"/>
                <a:gd name="connsiteX767" fmla="*/ 92798 w 124107"/>
                <a:gd name="connsiteY767" fmla="*/ 94773 h 253855"/>
                <a:gd name="connsiteX768" fmla="*/ 93362 w 124107"/>
                <a:gd name="connsiteY768" fmla="*/ 93926 h 253855"/>
                <a:gd name="connsiteX769" fmla="*/ 93926 w 124107"/>
                <a:gd name="connsiteY769" fmla="*/ 92798 h 253855"/>
                <a:gd name="connsiteX770" fmla="*/ 95619 w 124107"/>
                <a:gd name="connsiteY770" fmla="*/ 92234 h 253855"/>
                <a:gd name="connsiteX771" fmla="*/ 96183 w 124107"/>
                <a:gd name="connsiteY771" fmla="*/ 92234 h 253855"/>
                <a:gd name="connsiteX772" fmla="*/ 96747 w 124107"/>
                <a:gd name="connsiteY772" fmla="*/ 91952 h 253855"/>
                <a:gd name="connsiteX773" fmla="*/ 96747 w 124107"/>
                <a:gd name="connsiteY773" fmla="*/ 91106 h 253855"/>
                <a:gd name="connsiteX774" fmla="*/ 100977 w 124107"/>
                <a:gd name="connsiteY774" fmla="*/ 89131 h 253855"/>
                <a:gd name="connsiteX775" fmla="*/ 102952 w 124107"/>
                <a:gd name="connsiteY775" fmla="*/ 88285 h 253855"/>
                <a:gd name="connsiteX776" fmla="*/ 103798 w 124107"/>
                <a:gd name="connsiteY776" fmla="*/ 86029 h 253855"/>
                <a:gd name="connsiteX777" fmla="*/ 103798 w 124107"/>
                <a:gd name="connsiteY777" fmla="*/ 83772 h 253855"/>
                <a:gd name="connsiteX778" fmla="*/ 104080 w 124107"/>
                <a:gd name="connsiteY778" fmla="*/ 81516 h 253855"/>
                <a:gd name="connsiteX779" fmla="*/ 103516 w 124107"/>
                <a:gd name="connsiteY779" fmla="*/ 75028 h 253855"/>
                <a:gd name="connsiteX780" fmla="*/ 103516 w 124107"/>
                <a:gd name="connsiteY780" fmla="*/ 72490 h 253855"/>
                <a:gd name="connsiteX781" fmla="*/ 103798 w 124107"/>
                <a:gd name="connsiteY781" fmla="*/ 71362 h 253855"/>
                <a:gd name="connsiteX782" fmla="*/ 103798 w 124107"/>
                <a:gd name="connsiteY782" fmla="*/ 66849 h 253855"/>
                <a:gd name="connsiteX783" fmla="*/ 103516 w 124107"/>
                <a:gd name="connsiteY783" fmla="*/ 61489 h 253855"/>
                <a:gd name="connsiteX784" fmla="*/ 103516 w 124107"/>
                <a:gd name="connsiteY784" fmla="*/ 59515 h 253855"/>
                <a:gd name="connsiteX785" fmla="*/ 103234 w 124107"/>
                <a:gd name="connsiteY785" fmla="*/ 57541 h 253855"/>
                <a:gd name="connsiteX786" fmla="*/ 103234 w 124107"/>
                <a:gd name="connsiteY786" fmla="*/ 56130 h 253855"/>
                <a:gd name="connsiteX787" fmla="*/ 103798 w 124107"/>
                <a:gd name="connsiteY787" fmla="*/ 53592 h 253855"/>
                <a:gd name="connsiteX788" fmla="*/ 103234 w 124107"/>
                <a:gd name="connsiteY788" fmla="*/ 47386 h 253855"/>
                <a:gd name="connsiteX789" fmla="*/ 103234 w 124107"/>
                <a:gd name="connsiteY789" fmla="*/ 41463 h 253855"/>
                <a:gd name="connsiteX790" fmla="*/ 102952 w 124107"/>
                <a:gd name="connsiteY790" fmla="*/ 40335 h 253855"/>
                <a:gd name="connsiteX791" fmla="*/ 102106 w 124107"/>
                <a:gd name="connsiteY791" fmla="*/ 39771 h 253855"/>
                <a:gd name="connsiteX792" fmla="*/ 99003 w 124107"/>
                <a:gd name="connsiteY792" fmla="*/ 39771 h 253855"/>
                <a:gd name="connsiteX793" fmla="*/ 98157 w 124107"/>
                <a:gd name="connsiteY793" fmla="*/ 41181 h 253855"/>
                <a:gd name="connsiteX794" fmla="*/ 96747 w 124107"/>
                <a:gd name="connsiteY794" fmla="*/ 42873 h 253855"/>
                <a:gd name="connsiteX795" fmla="*/ 96747 w 124107"/>
                <a:gd name="connsiteY795" fmla="*/ 43720 h 253855"/>
                <a:gd name="connsiteX796" fmla="*/ 95336 w 124107"/>
                <a:gd name="connsiteY796" fmla="*/ 46822 h 253855"/>
                <a:gd name="connsiteX797" fmla="*/ 94491 w 124107"/>
                <a:gd name="connsiteY797" fmla="*/ 47668 h 253855"/>
                <a:gd name="connsiteX798" fmla="*/ 94491 w 124107"/>
                <a:gd name="connsiteY798" fmla="*/ 48232 h 253855"/>
                <a:gd name="connsiteX799" fmla="*/ 92798 w 124107"/>
                <a:gd name="connsiteY799" fmla="*/ 49925 h 253855"/>
                <a:gd name="connsiteX800" fmla="*/ 92234 w 124107"/>
                <a:gd name="connsiteY800" fmla="*/ 49925 h 253855"/>
                <a:gd name="connsiteX801" fmla="*/ 91952 w 124107"/>
                <a:gd name="connsiteY801" fmla="*/ 50207 h 253855"/>
                <a:gd name="connsiteX802" fmla="*/ 90260 w 124107"/>
                <a:gd name="connsiteY802" fmla="*/ 53310 h 253855"/>
                <a:gd name="connsiteX803" fmla="*/ 88849 w 124107"/>
                <a:gd name="connsiteY803" fmla="*/ 55284 h 253855"/>
                <a:gd name="connsiteX804" fmla="*/ 87439 w 124107"/>
                <a:gd name="connsiteY804" fmla="*/ 56694 h 253855"/>
                <a:gd name="connsiteX805" fmla="*/ 86593 w 124107"/>
                <a:gd name="connsiteY805" fmla="*/ 59797 h 253855"/>
                <a:gd name="connsiteX806" fmla="*/ 85182 w 124107"/>
                <a:gd name="connsiteY806" fmla="*/ 61207 h 253855"/>
                <a:gd name="connsiteX807" fmla="*/ 84336 w 124107"/>
                <a:gd name="connsiteY807" fmla="*/ 61771 h 253855"/>
                <a:gd name="connsiteX808" fmla="*/ 83208 w 124107"/>
                <a:gd name="connsiteY808" fmla="*/ 63182 h 253855"/>
                <a:gd name="connsiteX809" fmla="*/ 82643 w 124107"/>
                <a:gd name="connsiteY809" fmla="*/ 64592 h 253855"/>
                <a:gd name="connsiteX810" fmla="*/ 82079 w 124107"/>
                <a:gd name="connsiteY810" fmla="*/ 66566 h 253855"/>
                <a:gd name="connsiteX811" fmla="*/ 81516 w 124107"/>
                <a:gd name="connsiteY811" fmla="*/ 66566 h 253855"/>
                <a:gd name="connsiteX812" fmla="*/ 79259 w 124107"/>
                <a:gd name="connsiteY812" fmla="*/ 69387 h 253855"/>
                <a:gd name="connsiteX813" fmla="*/ 78131 w 124107"/>
                <a:gd name="connsiteY813" fmla="*/ 70515 h 253855"/>
                <a:gd name="connsiteX814" fmla="*/ 76438 w 124107"/>
                <a:gd name="connsiteY814" fmla="*/ 72208 h 253855"/>
                <a:gd name="connsiteX815" fmla="*/ 75874 w 124107"/>
                <a:gd name="connsiteY815" fmla="*/ 72772 h 253855"/>
                <a:gd name="connsiteX816" fmla="*/ 75310 w 124107"/>
                <a:gd name="connsiteY816" fmla="*/ 73336 h 253855"/>
                <a:gd name="connsiteX817" fmla="*/ 73900 w 124107"/>
                <a:gd name="connsiteY817" fmla="*/ 77003 h 253855"/>
                <a:gd name="connsiteX818" fmla="*/ 72771 w 124107"/>
                <a:gd name="connsiteY818" fmla="*/ 79541 h 253855"/>
                <a:gd name="connsiteX819" fmla="*/ 71079 w 124107"/>
                <a:gd name="connsiteY819" fmla="*/ 80670 h 253855"/>
                <a:gd name="connsiteX820" fmla="*/ 69387 w 124107"/>
                <a:gd name="connsiteY820" fmla="*/ 82926 h 253855"/>
                <a:gd name="connsiteX821" fmla="*/ 67412 w 124107"/>
                <a:gd name="connsiteY821" fmla="*/ 84900 h 253855"/>
                <a:gd name="connsiteX822" fmla="*/ 66848 w 124107"/>
                <a:gd name="connsiteY822" fmla="*/ 85747 h 253855"/>
                <a:gd name="connsiteX823" fmla="*/ 66002 w 124107"/>
                <a:gd name="connsiteY823" fmla="*/ 87439 h 253855"/>
                <a:gd name="connsiteX824" fmla="*/ 65438 w 124107"/>
                <a:gd name="connsiteY824" fmla="*/ 87721 h 253855"/>
                <a:gd name="connsiteX825" fmla="*/ 61771 w 124107"/>
                <a:gd name="connsiteY825" fmla="*/ 91670 h 253855"/>
                <a:gd name="connsiteX826" fmla="*/ 61489 w 124107"/>
                <a:gd name="connsiteY826" fmla="*/ 92516 h 253855"/>
                <a:gd name="connsiteX827" fmla="*/ 61207 w 124107"/>
                <a:gd name="connsiteY827" fmla="*/ 93080 h 253855"/>
                <a:gd name="connsiteX828" fmla="*/ 59515 w 124107"/>
                <a:gd name="connsiteY828" fmla="*/ 93926 h 253855"/>
                <a:gd name="connsiteX829" fmla="*/ 56976 w 124107"/>
                <a:gd name="connsiteY829" fmla="*/ 97029 h 253855"/>
                <a:gd name="connsiteX830" fmla="*/ 55002 w 124107"/>
                <a:gd name="connsiteY830" fmla="*/ 98721 h 253855"/>
                <a:gd name="connsiteX831" fmla="*/ 54437 w 124107"/>
                <a:gd name="connsiteY831" fmla="*/ 99286 h 253855"/>
                <a:gd name="connsiteX832" fmla="*/ 53309 w 124107"/>
                <a:gd name="connsiteY832" fmla="*/ 99850 h 253855"/>
                <a:gd name="connsiteX833" fmla="*/ 53027 w 124107"/>
                <a:gd name="connsiteY833" fmla="*/ 100414 h 253855"/>
                <a:gd name="connsiteX834" fmla="*/ 52181 w 124107"/>
                <a:gd name="connsiteY834" fmla="*/ 101260 h 253855"/>
                <a:gd name="connsiteX835" fmla="*/ 50206 w 124107"/>
                <a:gd name="connsiteY835" fmla="*/ 102952 h 253855"/>
                <a:gd name="connsiteX836" fmla="*/ 48796 w 124107"/>
                <a:gd name="connsiteY836" fmla="*/ 103799 h 253855"/>
                <a:gd name="connsiteX837" fmla="*/ 47950 w 124107"/>
                <a:gd name="connsiteY837" fmla="*/ 105209 h 253855"/>
                <a:gd name="connsiteX838" fmla="*/ 46540 w 124107"/>
                <a:gd name="connsiteY838" fmla="*/ 106055 h 253855"/>
                <a:gd name="connsiteX839" fmla="*/ 44848 w 124107"/>
                <a:gd name="connsiteY839" fmla="*/ 106619 h 253855"/>
                <a:gd name="connsiteX840" fmla="*/ 42309 w 124107"/>
                <a:gd name="connsiteY840" fmla="*/ 107747 h 253855"/>
                <a:gd name="connsiteX841" fmla="*/ 40334 w 124107"/>
                <a:gd name="connsiteY841" fmla="*/ 108594 h 253855"/>
                <a:gd name="connsiteX842" fmla="*/ 38078 w 124107"/>
                <a:gd name="connsiteY842" fmla="*/ 109158 h 253855"/>
                <a:gd name="connsiteX843" fmla="*/ 37796 w 124107"/>
                <a:gd name="connsiteY843" fmla="*/ 109158 h 253855"/>
                <a:gd name="connsiteX844" fmla="*/ 36386 w 124107"/>
                <a:gd name="connsiteY844" fmla="*/ 109722 h 253855"/>
                <a:gd name="connsiteX845" fmla="*/ 34411 w 124107"/>
                <a:gd name="connsiteY845" fmla="*/ 109158 h 253855"/>
                <a:gd name="connsiteX846" fmla="*/ 33847 w 124107"/>
                <a:gd name="connsiteY846" fmla="*/ 109158 h 253855"/>
                <a:gd name="connsiteX847" fmla="*/ 31027 w 124107"/>
                <a:gd name="connsiteY847" fmla="*/ 107747 h 253855"/>
                <a:gd name="connsiteX848" fmla="*/ 29898 w 124107"/>
                <a:gd name="connsiteY848" fmla="*/ 107465 h 253855"/>
                <a:gd name="connsiteX849" fmla="*/ 27641 w 124107"/>
                <a:gd name="connsiteY849" fmla="*/ 105773 h 253855"/>
                <a:gd name="connsiteX850" fmla="*/ 23693 w 124107"/>
                <a:gd name="connsiteY850" fmla="*/ 102106 h 253855"/>
                <a:gd name="connsiteX851" fmla="*/ 22000 w 124107"/>
                <a:gd name="connsiteY851" fmla="*/ 99850 h 253855"/>
                <a:gd name="connsiteX852" fmla="*/ 21155 w 124107"/>
                <a:gd name="connsiteY852" fmla="*/ 97311 h 253855"/>
                <a:gd name="connsiteX853" fmla="*/ 21155 w 124107"/>
                <a:gd name="connsiteY853" fmla="*/ 96465 h 253855"/>
                <a:gd name="connsiteX854" fmla="*/ 20872 w 124107"/>
                <a:gd name="connsiteY854" fmla="*/ 93080 h 253855"/>
                <a:gd name="connsiteX855" fmla="*/ 20590 w 124107"/>
                <a:gd name="connsiteY855" fmla="*/ 90542 h 253855"/>
                <a:gd name="connsiteX856" fmla="*/ 20872 w 124107"/>
                <a:gd name="connsiteY856" fmla="*/ 89131 h 253855"/>
                <a:gd name="connsiteX857" fmla="*/ 20872 w 124107"/>
                <a:gd name="connsiteY857" fmla="*/ 86311 h 253855"/>
                <a:gd name="connsiteX858" fmla="*/ 21155 w 124107"/>
                <a:gd name="connsiteY858" fmla="*/ 82926 h 253855"/>
                <a:gd name="connsiteX859" fmla="*/ 21719 w 124107"/>
                <a:gd name="connsiteY859" fmla="*/ 79541 h 253855"/>
                <a:gd name="connsiteX860" fmla="*/ 22847 w 124107"/>
                <a:gd name="connsiteY860" fmla="*/ 75592 h 253855"/>
                <a:gd name="connsiteX861" fmla="*/ 25667 w 124107"/>
                <a:gd name="connsiteY861" fmla="*/ 67131 h 253855"/>
                <a:gd name="connsiteX862" fmla="*/ 26514 w 124107"/>
                <a:gd name="connsiteY862" fmla="*/ 63182 h 253855"/>
                <a:gd name="connsiteX863" fmla="*/ 28488 w 124107"/>
                <a:gd name="connsiteY863" fmla="*/ 56130 h 253855"/>
                <a:gd name="connsiteX864" fmla="*/ 28770 w 124107"/>
                <a:gd name="connsiteY864" fmla="*/ 55002 h 253855"/>
                <a:gd name="connsiteX865" fmla="*/ 29616 w 124107"/>
                <a:gd name="connsiteY865" fmla="*/ 52463 h 253855"/>
                <a:gd name="connsiteX866" fmla="*/ 31027 w 124107"/>
                <a:gd name="connsiteY866" fmla="*/ 49079 h 253855"/>
                <a:gd name="connsiteX867" fmla="*/ 31027 w 124107"/>
                <a:gd name="connsiteY867" fmla="*/ 48232 h 253855"/>
                <a:gd name="connsiteX868" fmla="*/ 31308 w 124107"/>
                <a:gd name="connsiteY868" fmla="*/ 47104 h 253855"/>
                <a:gd name="connsiteX869" fmla="*/ 34975 w 124107"/>
                <a:gd name="connsiteY869" fmla="*/ 38642 h 253855"/>
                <a:gd name="connsiteX870" fmla="*/ 36103 w 124107"/>
                <a:gd name="connsiteY870" fmla="*/ 35822 h 253855"/>
                <a:gd name="connsiteX871" fmla="*/ 38360 w 124107"/>
                <a:gd name="connsiteY871" fmla="*/ 30463 h 253855"/>
                <a:gd name="connsiteX872" fmla="*/ 39770 w 124107"/>
                <a:gd name="connsiteY872" fmla="*/ 27642 h 253855"/>
                <a:gd name="connsiteX873" fmla="*/ 40334 w 124107"/>
                <a:gd name="connsiteY873" fmla="*/ 25668 h 253855"/>
                <a:gd name="connsiteX874" fmla="*/ 41463 w 124107"/>
                <a:gd name="connsiteY874" fmla="*/ 22847 h 253855"/>
                <a:gd name="connsiteX875" fmla="*/ 42873 w 124107"/>
                <a:gd name="connsiteY875" fmla="*/ 20308 h 253855"/>
                <a:gd name="connsiteX876" fmla="*/ 44565 w 124107"/>
                <a:gd name="connsiteY876" fmla="*/ 14949 h 253855"/>
                <a:gd name="connsiteX877" fmla="*/ 46540 w 124107"/>
                <a:gd name="connsiteY877" fmla="*/ 11847 h 253855"/>
                <a:gd name="connsiteX878" fmla="*/ 46822 w 124107"/>
                <a:gd name="connsiteY878" fmla="*/ 11000 h 253855"/>
                <a:gd name="connsiteX879" fmla="*/ 46822 w 124107"/>
                <a:gd name="connsiteY879" fmla="*/ 10718 h 253855"/>
                <a:gd name="connsiteX880" fmla="*/ 50489 w 124107"/>
                <a:gd name="connsiteY880" fmla="*/ 5359 h 253855"/>
                <a:gd name="connsiteX881" fmla="*/ 52181 w 124107"/>
                <a:gd name="connsiteY881" fmla="*/ 2539 h 253855"/>
                <a:gd name="connsiteX882" fmla="*/ 52745 w 124107"/>
                <a:gd name="connsiteY882" fmla="*/ 846 h 253855"/>
                <a:gd name="connsiteX883" fmla="*/ 53592 w 124107"/>
                <a:gd name="connsiteY883" fmla="*/ 564 h 253855"/>
                <a:gd name="connsiteX884" fmla="*/ 54156 w 124107"/>
                <a:gd name="connsiteY884" fmla="*/ 564 h 253855"/>
                <a:gd name="connsiteX885" fmla="*/ 54720 w 124107"/>
                <a:gd name="connsiteY885" fmla="*/ 0 h 253855"/>
                <a:gd name="connsiteX886" fmla="*/ 55284 w 124107"/>
                <a:gd name="connsiteY886" fmla="*/ 282 h 253855"/>
                <a:gd name="connsiteX887" fmla="*/ 55284 w 124107"/>
                <a:gd name="connsiteY887" fmla="*/ 564 h 253855"/>
                <a:gd name="connsiteX888" fmla="*/ 55002 w 124107"/>
                <a:gd name="connsiteY888" fmla="*/ 846 h 253855"/>
                <a:gd name="connsiteX889" fmla="*/ 55566 w 124107"/>
                <a:gd name="connsiteY889" fmla="*/ 1692 h 253855"/>
                <a:gd name="connsiteX890" fmla="*/ 55848 w 124107"/>
                <a:gd name="connsiteY890" fmla="*/ 2256 h 253855"/>
                <a:gd name="connsiteX891" fmla="*/ 56976 w 124107"/>
                <a:gd name="connsiteY891" fmla="*/ 3103 h 253855"/>
                <a:gd name="connsiteX892" fmla="*/ 57823 w 124107"/>
                <a:gd name="connsiteY892" fmla="*/ 2821 h 253855"/>
                <a:gd name="connsiteX893" fmla="*/ 58951 w 124107"/>
                <a:gd name="connsiteY893" fmla="*/ 3385 h 253855"/>
                <a:gd name="connsiteX894" fmla="*/ 59515 w 124107"/>
                <a:gd name="connsiteY894" fmla="*/ 3385 h 253855"/>
                <a:gd name="connsiteX895" fmla="*/ 60361 w 124107"/>
                <a:gd name="connsiteY895" fmla="*/ 3103 h 253855"/>
                <a:gd name="connsiteX896" fmla="*/ 62899 w 124107"/>
                <a:gd name="connsiteY896" fmla="*/ 4231 h 253855"/>
                <a:gd name="connsiteX897" fmla="*/ 63745 w 124107"/>
                <a:gd name="connsiteY897" fmla="*/ 4231 h 253855"/>
                <a:gd name="connsiteX898" fmla="*/ 64309 w 124107"/>
                <a:gd name="connsiteY898" fmla="*/ 3385 h 253855"/>
                <a:gd name="connsiteX899" fmla="*/ 65720 w 124107"/>
                <a:gd name="connsiteY899" fmla="*/ 4513 h 253855"/>
                <a:gd name="connsiteX900" fmla="*/ 66002 w 124107"/>
                <a:gd name="connsiteY900" fmla="*/ 4795 h 253855"/>
                <a:gd name="connsiteX901" fmla="*/ 66566 w 124107"/>
                <a:gd name="connsiteY901" fmla="*/ 5077 h 253855"/>
                <a:gd name="connsiteX902" fmla="*/ 67976 w 124107"/>
                <a:gd name="connsiteY902" fmla="*/ 3949 h 253855"/>
                <a:gd name="connsiteX903" fmla="*/ 67976 w 124107"/>
                <a:gd name="connsiteY903" fmla="*/ 3667 h 253855"/>
                <a:gd name="connsiteX904" fmla="*/ 68259 w 124107"/>
                <a:gd name="connsiteY904" fmla="*/ 4231 h 253855"/>
                <a:gd name="connsiteX905" fmla="*/ 67130 w 124107"/>
                <a:gd name="connsiteY905" fmla="*/ 7052 h 253855"/>
                <a:gd name="connsiteX906" fmla="*/ 64592 w 124107"/>
                <a:gd name="connsiteY906" fmla="*/ 11847 h 253855"/>
                <a:gd name="connsiteX907" fmla="*/ 63464 w 124107"/>
                <a:gd name="connsiteY907" fmla="*/ 14385 h 253855"/>
                <a:gd name="connsiteX908" fmla="*/ 61489 w 124107"/>
                <a:gd name="connsiteY908" fmla="*/ 18334 h 253855"/>
                <a:gd name="connsiteX909" fmla="*/ 61489 w 124107"/>
                <a:gd name="connsiteY909" fmla="*/ 18616 h 253855"/>
                <a:gd name="connsiteX910" fmla="*/ 60925 w 124107"/>
                <a:gd name="connsiteY910" fmla="*/ 20026 h 253855"/>
                <a:gd name="connsiteX911" fmla="*/ 59797 w 124107"/>
                <a:gd name="connsiteY911" fmla="*/ 22001 h 253855"/>
                <a:gd name="connsiteX912" fmla="*/ 60079 w 124107"/>
                <a:gd name="connsiteY912" fmla="*/ 22565 h 253855"/>
                <a:gd name="connsiteX913" fmla="*/ 59233 w 124107"/>
                <a:gd name="connsiteY913" fmla="*/ 23693 h 253855"/>
                <a:gd name="connsiteX914" fmla="*/ 58951 w 124107"/>
                <a:gd name="connsiteY914" fmla="*/ 24539 h 253855"/>
                <a:gd name="connsiteX915" fmla="*/ 58668 w 124107"/>
                <a:gd name="connsiteY915" fmla="*/ 26232 h 253855"/>
                <a:gd name="connsiteX916" fmla="*/ 58104 w 124107"/>
                <a:gd name="connsiteY916" fmla="*/ 27078 h 253855"/>
                <a:gd name="connsiteX917" fmla="*/ 56694 w 124107"/>
                <a:gd name="connsiteY917" fmla="*/ 30745 h 253855"/>
                <a:gd name="connsiteX918" fmla="*/ 56130 w 124107"/>
                <a:gd name="connsiteY918" fmla="*/ 32437 h 253855"/>
                <a:gd name="connsiteX919" fmla="*/ 53592 w 124107"/>
                <a:gd name="connsiteY919" fmla="*/ 38360 h 253855"/>
                <a:gd name="connsiteX920" fmla="*/ 53027 w 124107"/>
                <a:gd name="connsiteY920" fmla="*/ 40053 h 253855"/>
                <a:gd name="connsiteX921" fmla="*/ 52181 w 124107"/>
                <a:gd name="connsiteY921" fmla="*/ 41745 h 253855"/>
                <a:gd name="connsiteX922" fmla="*/ 51617 w 124107"/>
                <a:gd name="connsiteY922" fmla="*/ 42591 h 253855"/>
                <a:gd name="connsiteX923" fmla="*/ 51053 w 124107"/>
                <a:gd name="connsiteY923" fmla="*/ 44284 h 253855"/>
                <a:gd name="connsiteX924" fmla="*/ 51053 w 124107"/>
                <a:gd name="connsiteY924" fmla="*/ 45694 h 253855"/>
                <a:gd name="connsiteX925" fmla="*/ 49925 w 124107"/>
                <a:gd name="connsiteY925" fmla="*/ 47950 h 253855"/>
                <a:gd name="connsiteX926" fmla="*/ 49361 w 124107"/>
                <a:gd name="connsiteY926" fmla="*/ 48232 h 253855"/>
                <a:gd name="connsiteX927" fmla="*/ 48796 w 124107"/>
                <a:gd name="connsiteY927" fmla="*/ 48232 h 253855"/>
                <a:gd name="connsiteX928" fmla="*/ 49078 w 124107"/>
                <a:gd name="connsiteY928" fmla="*/ 48797 h 253855"/>
                <a:gd name="connsiteX929" fmla="*/ 49361 w 124107"/>
                <a:gd name="connsiteY929" fmla="*/ 50207 h 253855"/>
                <a:gd name="connsiteX930" fmla="*/ 49078 w 124107"/>
                <a:gd name="connsiteY930" fmla="*/ 50771 h 253855"/>
                <a:gd name="connsiteX931" fmla="*/ 49078 w 124107"/>
                <a:gd name="connsiteY931" fmla="*/ 51899 h 253855"/>
                <a:gd name="connsiteX932" fmla="*/ 48514 w 124107"/>
                <a:gd name="connsiteY932" fmla="*/ 52745 h 253855"/>
                <a:gd name="connsiteX933" fmla="*/ 46540 w 124107"/>
                <a:gd name="connsiteY933" fmla="*/ 55002 h 253855"/>
                <a:gd name="connsiteX934" fmla="*/ 46258 w 124107"/>
                <a:gd name="connsiteY934" fmla="*/ 55284 h 253855"/>
                <a:gd name="connsiteX935" fmla="*/ 46540 w 124107"/>
                <a:gd name="connsiteY935" fmla="*/ 55848 h 253855"/>
                <a:gd name="connsiteX936" fmla="*/ 46822 w 124107"/>
                <a:gd name="connsiteY936" fmla="*/ 56694 h 253855"/>
                <a:gd name="connsiteX937" fmla="*/ 46540 w 124107"/>
                <a:gd name="connsiteY937" fmla="*/ 56976 h 253855"/>
                <a:gd name="connsiteX938" fmla="*/ 44565 w 124107"/>
                <a:gd name="connsiteY938" fmla="*/ 62900 h 253855"/>
                <a:gd name="connsiteX939" fmla="*/ 42591 w 124107"/>
                <a:gd name="connsiteY939" fmla="*/ 70233 h 253855"/>
                <a:gd name="connsiteX940" fmla="*/ 41463 w 124107"/>
                <a:gd name="connsiteY940" fmla="*/ 73900 h 253855"/>
                <a:gd name="connsiteX941" fmla="*/ 41463 w 124107"/>
                <a:gd name="connsiteY941" fmla="*/ 75310 h 253855"/>
                <a:gd name="connsiteX942" fmla="*/ 41181 w 124107"/>
                <a:gd name="connsiteY942" fmla="*/ 76439 h 253855"/>
                <a:gd name="connsiteX943" fmla="*/ 40899 w 124107"/>
                <a:gd name="connsiteY943" fmla="*/ 78977 h 253855"/>
                <a:gd name="connsiteX944" fmla="*/ 40617 w 124107"/>
                <a:gd name="connsiteY944" fmla="*/ 82362 h 253855"/>
                <a:gd name="connsiteX945" fmla="*/ 40053 w 124107"/>
                <a:gd name="connsiteY945" fmla="*/ 83772 h 253855"/>
                <a:gd name="connsiteX946" fmla="*/ 40053 w 124107"/>
                <a:gd name="connsiteY946" fmla="*/ 87157 h 253855"/>
                <a:gd name="connsiteX947" fmla="*/ 40617 w 124107"/>
                <a:gd name="connsiteY947" fmla="*/ 88849 h 253855"/>
                <a:gd name="connsiteX948" fmla="*/ 41181 w 124107"/>
                <a:gd name="connsiteY948" fmla="*/ 89978 h 253855"/>
                <a:gd name="connsiteX949" fmla="*/ 42027 w 124107"/>
                <a:gd name="connsiteY949" fmla="*/ 89978 h 253855"/>
                <a:gd name="connsiteX950" fmla="*/ 43437 w 124107"/>
                <a:gd name="connsiteY950" fmla="*/ 88003 h 253855"/>
                <a:gd name="connsiteX951" fmla="*/ 48232 w 124107"/>
                <a:gd name="connsiteY951" fmla="*/ 84054 h 253855"/>
                <a:gd name="connsiteX952" fmla="*/ 48514 w 124107"/>
                <a:gd name="connsiteY952" fmla="*/ 84054 h 253855"/>
                <a:gd name="connsiteX953" fmla="*/ 50771 w 124107"/>
                <a:gd name="connsiteY953" fmla="*/ 81234 h 253855"/>
                <a:gd name="connsiteX954" fmla="*/ 51335 w 124107"/>
                <a:gd name="connsiteY954" fmla="*/ 80105 h 253855"/>
                <a:gd name="connsiteX955" fmla="*/ 53027 w 124107"/>
                <a:gd name="connsiteY955" fmla="*/ 78413 h 253855"/>
                <a:gd name="connsiteX956" fmla="*/ 53592 w 124107"/>
                <a:gd name="connsiteY956" fmla="*/ 77849 h 253855"/>
                <a:gd name="connsiteX957" fmla="*/ 56694 w 124107"/>
                <a:gd name="connsiteY957" fmla="*/ 73336 h 253855"/>
                <a:gd name="connsiteX958" fmla="*/ 58668 w 124107"/>
                <a:gd name="connsiteY958" fmla="*/ 70797 h 253855"/>
                <a:gd name="connsiteX959" fmla="*/ 59797 w 124107"/>
                <a:gd name="connsiteY959" fmla="*/ 70233 h 253855"/>
                <a:gd name="connsiteX960" fmla="*/ 60361 w 124107"/>
                <a:gd name="connsiteY960" fmla="*/ 69387 h 253855"/>
                <a:gd name="connsiteX961" fmla="*/ 60643 w 124107"/>
                <a:gd name="connsiteY961" fmla="*/ 69387 h 253855"/>
                <a:gd name="connsiteX962" fmla="*/ 61771 w 124107"/>
                <a:gd name="connsiteY962" fmla="*/ 67977 h 253855"/>
                <a:gd name="connsiteX963" fmla="*/ 62335 w 124107"/>
                <a:gd name="connsiteY963" fmla="*/ 66566 h 253855"/>
                <a:gd name="connsiteX964" fmla="*/ 65156 w 124107"/>
                <a:gd name="connsiteY964" fmla="*/ 62900 h 253855"/>
                <a:gd name="connsiteX965" fmla="*/ 66848 w 124107"/>
                <a:gd name="connsiteY965" fmla="*/ 60079 h 253855"/>
                <a:gd name="connsiteX966" fmla="*/ 69105 w 124107"/>
                <a:gd name="connsiteY966" fmla="*/ 56976 h 253855"/>
                <a:gd name="connsiteX967" fmla="*/ 71079 w 124107"/>
                <a:gd name="connsiteY967" fmla="*/ 53874 h 253855"/>
                <a:gd name="connsiteX968" fmla="*/ 75028 w 124107"/>
                <a:gd name="connsiteY968" fmla="*/ 48797 h 253855"/>
                <a:gd name="connsiteX969" fmla="*/ 78413 w 124107"/>
                <a:gd name="connsiteY969" fmla="*/ 44284 h 253855"/>
                <a:gd name="connsiteX970" fmla="*/ 78695 w 124107"/>
                <a:gd name="connsiteY970" fmla="*/ 43720 h 253855"/>
                <a:gd name="connsiteX971" fmla="*/ 80669 w 124107"/>
                <a:gd name="connsiteY971" fmla="*/ 41463 h 253855"/>
                <a:gd name="connsiteX972" fmla="*/ 81233 w 124107"/>
                <a:gd name="connsiteY972" fmla="*/ 39489 h 253855"/>
                <a:gd name="connsiteX973" fmla="*/ 83208 w 124107"/>
                <a:gd name="connsiteY973" fmla="*/ 37514 h 253855"/>
                <a:gd name="connsiteX974" fmla="*/ 84336 w 124107"/>
                <a:gd name="connsiteY974" fmla="*/ 36950 h 253855"/>
                <a:gd name="connsiteX975" fmla="*/ 88003 w 124107"/>
                <a:gd name="connsiteY975" fmla="*/ 31591 h 253855"/>
                <a:gd name="connsiteX976" fmla="*/ 90260 w 124107"/>
                <a:gd name="connsiteY976" fmla="*/ 28770 h 253855"/>
                <a:gd name="connsiteX977" fmla="*/ 92798 w 124107"/>
                <a:gd name="connsiteY977" fmla="*/ 25668 h 253855"/>
                <a:gd name="connsiteX978" fmla="*/ 93926 w 124107"/>
                <a:gd name="connsiteY978" fmla="*/ 23975 h 253855"/>
                <a:gd name="connsiteX979" fmla="*/ 99286 w 124107"/>
                <a:gd name="connsiteY979" fmla="*/ 18334 h 253855"/>
                <a:gd name="connsiteX980" fmla="*/ 100696 w 124107"/>
                <a:gd name="connsiteY980" fmla="*/ 15795 h 253855"/>
                <a:gd name="connsiteX981" fmla="*/ 101542 w 124107"/>
                <a:gd name="connsiteY981" fmla="*/ 13821 h 253855"/>
                <a:gd name="connsiteX982" fmla="*/ 104363 w 124107"/>
                <a:gd name="connsiteY982" fmla="*/ 11565 h 253855"/>
                <a:gd name="connsiteX983" fmla="*/ 104927 w 124107"/>
                <a:gd name="connsiteY983" fmla="*/ 11282 h 253855"/>
                <a:gd name="connsiteX984" fmla="*/ 105208 w 124107"/>
                <a:gd name="connsiteY984" fmla="*/ 10436 h 253855"/>
                <a:gd name="connsiteX985" fmla="*/ 106055 w 124107"/>
                <a:gd name="connsiteY985" fmla="*/ 11282 h 253855"/>
                <a:gd name="connsiteX986" fmla="*/ 106055 w 124107"/>
                <a:gd name="connsiteY986" fmla="*/ 11565 h 253855"/>
                <a:gd name="connsiteX987" fmla="*/ 106337 w 124107"/>
                <a:gd name="connsiteY987" fmla="*/ 11847 h 253855"/>
                <a:gd name="connsiteX988" fmla="*/ 106619 w 124107"/>
                <a:gd name="connsiteY988" fmla="*/ 11282 h 253855"/>
                <a:gd name="connsiteX989" fmla="*/ 106901 w 124107"/>
                <a:gd name="connsiteY989" fmla="*/ 10718 h 253855"/>
                <a:gd name="connsiteX990" fmla="*/ 106901 w 124107"/>
                <a:gd name="connsiteY990" fmla="*/ 10436 h 253855"/>
                <a:gd name="connsiteX991" fmla="*/ 108594 w 124107"/>
                <a:gd name="connsiteY991" fmla="*/ 11565 h 253855"/>
                <a:gd name="connsiteX992" fmla="*/ 108875 w 124107"/>
                <a:gd name="connsiteY992" fmla="*/ 13257 h 253855"/>
                <a:gd name="connsiteX993" fmla="*/ 109439 w 124107"/>
                <a:gd name="connsiteY993" fmla="*/ 13539 h 253855"/>
                <a:gd name="connsiteX994" fmla="*/ 109722 w 124107"/>
                <a:gd name="connsiteY994" fmla="*/ 13539 h 253855"/>
                <a:gd name="connsiteX995" fmla="*/ 110004 w 124107"/>
                <a:gd name="connsiteY995" fmla="*/ 13821 h 253855"/>
                <a:gd name="connsiteX996" fmla="*/ 110286 w 124107"/>
                <a:gd name="connsiteY996" fmla="*/ 14103 h 253855"/>
                <a:gd name="connsiteX997" fmla="*/ 111414 w 124107"/>
                <a:gd name="connsiteY997" fmla="*/ 14103 h 253855"/>
                <a:gd name="connsiteX998" fmla="*/ 112825 w 124107"/>
                <a:gd name="connsiteY998" fmla="*/ 14667 h 253855"/>
                <a:gd name="connsiteX999" fmla="*/ 113106 w 124107"/>
                <a:gd name="connsiteY999" fmla="*/ 14667 h 253855"/>
                <a:gd name="connsiteX1000" fmla="*/ 113106 w 124107"/>
                <a:gd name="connsiteY1000" fmla="*/ 14103 h 253855"/>
                <a:gd name="connsiteX1001" fmla="*/ 113670 w 124107"/>
                <a:gd name="connsiteY1001" fmla="*/ 13821 h 253855"/>
                <a:gd name="connsiteX1002" fmla="*/ 114799 w 124107"/>
                <a:gd name="connsiteY1002" fmla="*/ 13539 h 253855"/>
                <a:gd name="connsiteX1003" fmla="*/ 115645 w 124107"/>
                <a:gd name="connsiteY1003" fmla="*/ 14667 h 253855"/>
                <a:gd name="connsiteX1004" fmla="*/ 115645 w 124107"/>
                <a:gd name="connsiteY1004" fmla="*/ 15231 h 253855"/>
                <a:gd name="connsiteX1005" fmla="*/ 115927 w 124107"/>
                <a:gd name="connsiteY1005" fmla="*/ 15513 h 253855"/>
                <a:gd name="connsiteX1006" fmla="*/ 116491 w 124107"/>
                <a:gd name="connsiteY1006" fmla="*/ 15231 h 253855"/>
                <a:gd name="connsiteX1007" fmla="*/ 117337 w 124107"/>
                <a:gd name="connsiteY1007" fmla="*/ 15231 h 253855"/>
                <a:gd name="connsiteX1008" fmla="*/ 117620 w 124107"/>
                <a:gd name="connsiteY1008" fmla="*/ 15513 h 253855"/>
                <a:gd name="connsiteX1009" fmla="*/ 118183 w 124107"/>
                <a:gd name="connsiteY1009" fmla="*/ 14949 h 253855"/>
                <a:gd name="connsiteX1010" fmla="*/ 118183 w 124107"/>
                <a:gd name="connsiteY1010" fmla="*/ 14385 h 253855"/>
                <a:gd name="connsiteX1011" fmla="*/ 118466 w 124107"/>
                <a:gd name="connsiteY1011" fmla="*/ 14103 h 253855"/>
                <a:gd name="connsiteX1012" fmla="*/ 118747 w 124107"/>
                <a:gd name="connsiteY1012" fmla="*/ 14385 h 253855"/>
                <a:gd name="connsiteX1013" fmla="*/ 120722 w 124107"/>
                <a:gd name="connsiteY1013" fmla="*/ 16642 h 253855"/>
                <a:gd name="connsiteX1014" fmla="*/ 121004 w 124107"/>
                <a:gd name="connsiteY1014" fmla="*/ 16924 h 253855"/>
                <a:gd name="connsiteX1015" fmla="*/ 121286 w 124107"/>
                <a:gd name="connsiteY1015" fmla="*/ 19462 h 253855"/>
                <a:gd name="connsiteX1016" fmla="*/ 121004 w 124107"/>
                <a:gd name="connsiteY1016" fmla="*/ 21155 h 253855"/>
                <a:gd name="connsiteX1017" fmla="*/ 120722 w 124107"/>
                <a:gd name="connsiteY1017" fmla="*/ 23693 h 253855"/>
                <a:gd name="connsiteX1018" fmla="*/ 120722 w 124107"/>
                <a:gd name="connsiteY1018" fmla="*/ 26796 h 253855"/>
                <a:gd name="connsiteX1019" fmla="*/ 120158 w 124107"/>
                <a:gd name="connsiteY1019" fmla="*/ 27642 h 253855"/>
                <a:gd name="connsiteX1020" fmla="*/ 119594 w 124107"/>
                <a:gd name="connsiteY1020" fmla="*/ 27642 h 253855"/>
                <a:gd name="connsiteX1021" fmla="*/ 119311 w 124107"/>
                <a:gd name="connsiteY1021" fmla="*/ 27924 h 253855"/>
                <a:gd name="connsiteX1022" fmla="*/ 119594 w 124107"/>
                <a:gd name="connsiteY1022" fmla="*/ 31027 h 253855"/>
                <a:gd name="connsiteX1023" fmla="*/ 119594 w 124107"/>
                <a:gd name="connsiteY1023" fmla="*/ 32155 h 253855"/>
                <a:gd name="connsiteX1024" fmla="*/ 119876 w 124107"/>
                <a:gd name="connsiteY1024" fmla="*/ 33001 h 253855"/>
                <a:gd name="connsiteX1025" fmla="*/ 120440 w 124107"/>
                <a:gd name="connsiteY1025" fmla="*/ 32437 h 253855"/>
                <a:gd name="connsiteX1026" fmla="*/ 120722 w 124107"/>
                <a:gd name="connsiteY1026" fmla="*/ 32155 h 253855"/>
                <a:gd name="connsiteX1027" fmla="*/ 121286 w 124107"/>
                <a:gd name="connsiteY1027" fmla="*/ 33283 h 253855"/>
                <a:gd name="connsiteX1028" fmla="*/ 120722 w 124107"/>
                <a:gd name="connsiteY1028" fmla="*/ 35258 h 253855"/>
                <a:gd name="connsiteX1029" fmla="*/ 120722 w 124107"/>
                <a:gd name="connsiteY1029" fmla="*/ 37514 h 253855"/>
                <a:gd name="connsiteX1030" fmla="*/ 120440 w 124107"/>
                <a:gd name="connsiteY1030" fmla="*/ 39489 h 253855"/>
                <a:gd name="connsiteX1031" fmla="*/ 120440 w 124107"/>
                <a:gd name="connsiteY1031" fmla="*/ 40053 h 253855"/>
                <a:gd name="connsiteX1032" fmla="*/ 121004 w 124107"/>
                <a:gd name="connsiteY1032" fmla="*/ 42309 h 253855"/>
                <a:gd name="connsiteX1033" fmla="*/ 120722 w 124107"/>
                <a:gd name="connsiteY1033" fmla="*/ 43155 h 253855"/>
                <a:gd name="connsiteX1034" fmla="*/ 121004 w 124107"/>
                <a:gd name="connsiteY1034" fmla="*/ 44848 h 253855"/>
                <a:gd name="connsiteX1035" fmla="*/ 121004 w 124107"/>
                <a:gd name="connsiteY1035" fmla="*/ 46540 h 253855"/>
                <a:gd name="connsiteX1036" fmla="*/ 121568 w 124107"/>
                <a:gd name="connsiteY1036" fmla="*/ 48797 h 253855"/>
                <a:gd name="connsiteX1037" fmla="*/ 121568 w 124107"/>
                <a:gd name="connsiteY1037" fmla="*/ 53592 h 253855"/>
                <a:gd name="connsiteX1038" fmla="*/ 121286 w 124107"/>
                <a:gd name="connsiteY1038" fmla="*/ 55002 h 253855"/>
                <a:gd name="connsiteX1039" fmla="*/ 121568 w 124107"/>
                <a:gd name="connsiteY1039" fmla="*/ 56412 h 253855"/>
                <a:gd name="connsiteX1040" fmla="*/ 121850 w 124107"/>
                <a:gd name="connsiteY1040" fmla="*/ 56694 h 253855"/>
                <a:gd name="connsiteX1041" fmla="*/ 121568 w 124107"/>
                <a:gd name="connsiteY1041" fmla="*/ 56976 h 253855"/>
                <a:gd name="connsiteX1042" fmla="*/ 121850 w 124107"/>
                <a:gd name="connsiteY1042" fmla="*/ 59233 h 253855"/>
                <a:gd name="connsiteX1043" fmla="*/ 122132 w 124107"/>
                <a:gd name="connsiteY1043" fmla="*/ 60361 h 253855"/>
                <a:gd name="connsiteX1044" fmla="*/ 121850 w 124107"/>
                <a:gd name="connsiteY1044" fmla="*/ 62054 h 253855"/>
                <a:gd name="connsiteX1045" fmla="*/ 122132 w 124107"/>
                <a:gd name="connsiteY1045" fmla="*/ 63464 h 253855"/>
                <a:gd name="connsiteX1046" fmla="*/ 121850 w 124107"/>
                <a:gd name="connsiteY1046" fmla="*/ 64592 h 253855"/>
                <a:gd name="connsiteX1047" fmla="*/ 121850 w 124107"/>
                <a:gd name="connsiteY1047" fmla="*/ 66002 h 253855"/>
                <a:gd name="connsiteX1048" fmla="*/ 122414 w 124107"/>
                <a:gd name="connsiteY1048" fmla="*/ 68823 h 253855"/>
                <a:gd name="connsiteX1049" fmla="*/ 122978 w 124107"/>
                <a:gd name="connsiteY1049" fmla="*/ 69951 h 253855"/>
                <a:gd name="connsiteX1050" fmla="*/ 122697 w 124107"/>
                <a:gd name="connsiteY1050" fmla="*/ 71362 h 253855"/>
                <a:gd name="connsiteX1051" fmla="*/ 122414 w 124107"/>
                <a:gd name="connsiteY1051" fmla="*/ 73054 h 253855"/>
                <a:gd name="connsiteX1052" fmla="*/ 122132 w 124107"/>
                <a:gd name="connsiteY1052" fmla="*/ 74746 h 253855"/>
                <a:gd name="connsiteX1053" fmla="*/ 123542 w 124107"/>
                <a:gd name="connsiteY1053" fmla="*/ 77003 h 253855"/>
                <a:gd name="connsiteX1054" fmla="*/ 124953 w 124107"/>
                <a:gd name="connsiteY1054" fmla="*/ 77003 h 253855"/>
                <a:gd name="connsiteX1055" fmla="*/ 125235 w 124107"/>
                <a:gd name="connsiteY1055" fmla="*/ 77849 h 253855"/>
                <a:gd name="connsiteX1056" fmla="*/ 124953 w 124107"/>
                <a:gd name="connsiteY1056" fmla="*/ 78413 h 253855"/>
                <a:gd name="connsiteX1057" fmla="*/ 124389 w 124107"/>
                <a:gd name="connsiteY1057" fmla="*/ 78131 h 253855"/>
                <a:gd name="connsiteX1058" fmla="*/ 124107 w 124107"/>
                <a:gd name="connsiteY1058" fmla="*/ 77849 h 253855"/>
                <a:gd name="connsiteX1059" fmla="*/ 124107 w 124107"/>
                <a:gd name="connsiteY1059" fmla="*/ 78131 h 253855"/>
                <a:gd name="connsiteX1060" fmla="*/ 123542 w 124107"/>
                <a:gd name="connsiteY1060" fmla="*/ 79823 h 253855"/>
                <a:gd name="connsiteX1061" fmla="*/ 123825 w 124107"/>
                <a:gd name="connsiteY1061" fmla="*/ 80952 h 253855"/>
                <a:gd name="connsiteX1062" fmla="*/ 124389 w 124107"/>
                <a:gd name="connsiteY1062" fmla="*/ 81516 h 253855"/>
                <a:gd name="connsiteX1063" fmla="*/ 125235 w 124107"/>
                <a:gd name="connsiteY1063" fmla="*/ 81234 h 253855"/>
                <a:gd name="connsiteX1064" fmla="*/ 126081 w 124107"/>
                <a:gd name="connsiteY1064" fmla="*/ 80952 h 253855"/>
                <a:gd name="connsiteX1065" fmla="*/ 126363 w 124107"/>
                <a:gd name="connsiteY1065" fmla="*/ 81234 h 253855"/>
                <a:gd name="connsiteX1066" fmla="*/ 125517 w 124107"/>
                <a:gd name="connsiteY1066" fmla="*/ 82080 h 253855"/>
                <a:gd name="connsiteX1067" fmla="*/ 123825 w 124107"/>
                <a:gd name="connsiteY1067" fmla="*/ 83772 h 253855"/>
                <a:gd name="connsiteX1068" fmla="*/ 123542 w 124107"/>
                <a:gd name="connsiteY1068" fmla="*/ 84336 h 253855"/>
                <a:gd name="connsiteX1069" fmla="*/ 122978 w 124107"/>
                <a:gd name="connsiteY1069" fmla="*/ 86029 h 253855"/>
                <a:gd name="connsiteX1070" fmla="*/ 122978 w 124107"/>
                <a:gd name="connsiteY1070" fmla="*/ 86311 h 253855"/>
                <a:gd name="connsiteX1071" fmla="*/ 123261 w 124107"/>
                <a:gd name="connsiteY1071" fmla="*/ 88567 h 253855"/>
                <a:gd name="connsiteX1072" fmla="*/ 122697 w 124107"/>
                <a:gd name="connsiteY1072" fmla="*/ 89413 h 253855"/>
                <a:gd name="connsiteX1073" fmla="*/ 121568 w 124107"/>
                <a:gd name="connsiteY1073" fmla="*/ 92798 h 253855"/>
                <a:gd name="connsiteX1074" fmla="*/ 121004 w 124107"/>
                <a:gd name="connsiteY1074" fmla="*/ 92798 h 253855"/>
                <a:gd name="connsiteX1075" fmla="*/ 121004 w 124107"/>
                <a:gd name="connsiteY1075" fmla="*/ 92516 h 253855"/>
                <a:gd name="connsiteX1076" fmla="*/ 119030 w 124107"/>
                <a:gd name="connsiteY1076" fmla="*/ 94491 h 253855"/>
                <a:gd name="connsiteX1077" fmla="*/ 119594 w 124107"/>
                <a:gd name="connsiteY1077" fmla="*/ 94209 h 253855"/>
                <a:gd name="connsiteX1078" fmla="*/ 119594 w 124107"/>
                <a:gd name="connsiteY1078" fmla="*/ 95619 h 253855"/>
                <a:gd name="connsiteX1079" fmla="*/ 119311 w 124107"/>
                <a:gd name="connsiteY1079" fmla="*/ 95337 h 253855"/>
                <a:gd name="connsiteX1080" fmla="*/ 119030 w 124107"/>
                <a:gd name="connsiteY1080" fmla="*/ 94491 h 253855"/>
                <a:gd name="connsiteX1081" fmla="*/ 118183 w 124107"/>
                <a:gd name="connsiteY1081" fmla="*/ 93080 h 253855"/>
                <a:gd name="connsiteX1082" fmla="*/ 118747 w 124107"/>
                <a:gd name="connsiteY1082" fmla="*/ 93080 h 253855"/>
                <a:gd name="connsiteX1083" fmla="*/ 118747 w 124107"/>
                <a:gd name="connsiteY1083" fmla="*/ 92798 h 253855"/>
                <a:gd name="connsiteX1084" fmla="*/ 3385 w 124107"/>
                <a:gd name="connsiteY1084" fmla="*/ 221136 h 253855"/>
                <a:gd name="connsiteX1085" fmla="*/ 3385 w 124107"/>
                <a:gd name="connsiteY1085" fmla="*/ 220854 h 253855"/>
                <a:gd name="connsiteX1086" fmla="*/ 3102 w 124107"/>
                <a:gd name="connsiteY1086" fmla="*/ 221136 h 253855"/>
                <a:gd name="connsiteX1087" fmla="*/ 3102 w 124107"/>
                <a:gd name="connsiteY1087" fmla="*/ 221700 h 253855"/>
                <a:gd name="connsiteX1088" fmla="*/ 2821 w 124107"/>
                <a:gd name="connsiteY1088" fmla="*/ 223111 h 253855"/>
                <a:gd name="connsiteX1089" fmla="*/ 3102 w 124107"/>
                <a:gd name="connsiteY1089" fmla="*/ 223393 h 253855"/>
                <a:gd name="connsiteX1090" fmla="*/ 3666 w 124107"/>
                <a:gd name="connsiteY1090" fmla="*/ 223111 h 253855"/>
                <a:gd name="connsiteX1091" fmla="*/ 3666 w 124107"/>
                <a:gd name="connsiteY1091" fmla="*/ 222264 h 253855"/>
                <a:gd name="connsiteX1092" fmla="*/ 3385 w 124107"/>
                <a:gd name="connsiteY1092" fmla="*/ 221136 h 253855"/>
                <a:gd name="connsiteX1093" fmla="*/ 3385 w 124107"/>
                <a:gd name="connsiteY1093" fmla="*/ 226495 h 253855"/>
                <a:gd name="connsiteX1094" fmla="*/ 3102 w 124107"/>
                <a:gd name="connsiteY1094" fmla="*/ 226213 h 253855"/>
                <a:gd name="connsiteX1095" fmla="*/ 2821 w 124107"/>
                <a:gd name="connsiteY1095" fmla="*/ 226495 h 253855"/>
                <a:gd name="connsiteX1096" fmla="*/ 2821 w 124107"/>
                <a:gd name="connsiteY1096" fmla="*/ 227059 h 253855"/>
                <a:gd name="connsiteX1097" fmla="*/ 3102 w 124107"/>
                <a:gd name="connsiteY1097" fmla="*/ 227341 h 253855"/>
                <a:gd name="connsiteX1098" fmla="*/ 3385 w 124107"/>
                <a:gd name="connsiteY1098" fmla="*/ 227059 h 253855"/>
                <a:gd name="connsiteX1099" fmla="*/ 3385 w 124107"/>
                <a:gd name="connsiteY1099" fmla="*/ 226495 h 253855"/>
                <a:gd name="connsiteX1100" fmla="*/ 4231 w 124107"/>
                <a:gd name="connsiteY1100" fmla="*/ 214931 h 253855"/>
                <a:gd name="connsiteX1101" fmla="*/ 4513 w 124107"/>
                <a:gd name="connsiteY1101" fmla="*/ 214367 h 253855"/>
                <a:gd name="connsiteX1102" fmla="*/ 4795 w 124107"/>
                <a:gd name="connsiteY1102" fmla="*/ 212674 h 253855"/>
                <a:gd name="connsiteX1103" fmla="*/ 5077 w 124107"/>
                <a:gd name="connsiteY1103" fmla="*/ 210700 h 253855"/>
                <a:gd name="connsiteX1104" fmla="*/ 4513 w 124107"/>
                <a:gd name="connsiteY1104" fmla="*/ 210700 h 253855"/>
                <a:gd name="connsiteX1105" fmla="*/ 3949 w 124107"/>
                <a:gd name="connsiteY1105" fmla="*/ 212392 h 253855"/>
                <a:gd name="connsiteX1106" fmla="*/ 3666 w 124107"/>
                <a:gd name="connsiteY1106" fmla="*/ 213803 h 253855"/>
                <a:gd name="connsiteX1107" fmla="*/ 3949 w 124107"/>
                <a:gd name="connsiteY1107" fmla="*/ 214649 h 253855"/>
                <a:gd name="connsiteX1108" fmla="*/ 4231 w 124107"/>
                <a:gd name="connsiteY1108" fmla="*/ 214931 h 253855"/>
                <a:gd name="connsiteX1109" fmla="*/ 5077 w 124107"/>
                <a:gd name="connsiteY1109" fmla="*/ 209290 h 253855"/>
                <a:gd name="connsiteX1110" fmla="*/ 4795 w 124107"/>
                <a:gd name="connsiteY1110" fmla="*/ 209572 h 253855"/>
                <a:gd name="connsiteX1111" fmla="*/ 5077 w 124107"/>
                <a:gd name="connsiteY1111" fmla="*/ 209290 h 253855"/>
                <a:gd name="connsiteX1112" fmla="*/ 6487 w 124107"/>
                <a:gd name="connsiteY1112" fmla="*/ 232983 h 253855"/>
                <a:gd name="connsiteX1113" fmla="*/ 5359 w 124107"/>
                <a:gd name="connsiteY1113" fmla="*/ 232137 h 253855"/>
                <a:gd name="connsiteX1114" fmla="*/ 5641 w 124107"/>
                <a:gd name="connsiteY1114" fmla="*/ 233265 h 253855"/>
                <a:gd name="connsiteX1115" fmla="*/ 6205 w 124107"/>
                <a:gd name="connsiteY1115" fmla="*/ 233265 h 253855"/>
                <a:gd name="connsiteX1116" fmla="*/ 6487 w 124107"/>
                <a:gd name="connsiteY1116" fmla="*/ 232983 h 253855"/>
                <a:gd name="connsiteX1117" fmla="*/ 6487 w 124107"/>
                <a:gd name="connsiteY1117" fmla="*/ 215495 h 253855"/>
                <a:gd name="connsiteX1118" fmla="*/ 6487 w 124107"/>
                <a:gd name="connsiteY1118" fmla="*/ 216341 h 253855"/>
                <a:gd name="connsiteX1119" fmla="*/ 6205 w 124107"/>
                <a:gd name="connsiteY1119" fmla="*/ 216623 h 253855"/>
                <a:gd name="connsiteX1120" fmla="*/ 5641 w 124107"/>
                <a:gd name="connsiteY1120" fmla="*/ 216341 h 253855"/>
                <a:gd name="connsiteX1121" fmla="*/ 6205 w 124107"/>
                <a:gd name="connsiteY1121" fmla="*/ 215495 h 253855"/>
                <a:gd name="connsiteX1122" fmla="*/ 6487 w 124107"/>
                <a:gd name="connsiteY1122" fmla="*/ 215495 h 253855"/>
                <a:gd name="connsiteX1123" fmla="*/ 8743 w 124107"/>
                <a:gd name="connsiteY1123" fmla="*/ 192366 h 253855"/>
                <a:gd name="connsiteX1124" fmla="*/ 8743 w 124107"/>
                <a:gd name="connsiteY1124" fmla="*/ 192648 h 253855"/>
                <a:gd name="connsiteX1125" fmla="*/ 9026 w 124107"/>
                <a:gd name="connsiteY1125" fmla="*/ 192648 h 253855"/>
                <a:gd name="connsiteX1126" fmla="*/ 8462 w 124107"/>
                <a:gd name="connsiteY1126" fmla="*/ 193494 h 253855"/>
                <a:gd name="connsiteX1127" fmla="*/ 8180 w 124107"/>
                <a:gd name="connsiteY1127" fmla="*/ 193494 h 253855"/>
                <a:gd name="connsiteX1128" fmla="*/ 8743 w 124107"/>
                <a:gd name="connsiteY1128" fmla="*/ 192366 h 253855"/>
                <a:gd name="connsiteX1129" fmla="*/ 8743 w 124107"/>
                <a:gd name="connsiteY1129" fmla="*/ 230444 h 253855"/>
                <a:gd name="connsiteX1130" fmla="*/ 9307 w 124107"/>
                <a:gd name="connsiteY1130" fmla="*/ 231854 h 253855"/>
                <a:gd name="connsiteX1131" fmla="*/ 9590 w 124107"/>
                <a:gd name="connsiteY1131" fmla="*/ 232137 h 253855"/>
                <a:gd name="connsiteX1132" fmla="*/ 9026 w 124107"/>
                <a:gd name="connsiteY1132" fmla="*/ 233265 h 253855"/>
                <a:gd name="connsiteX1133" fmla="*/ 8743 w 124107"/>
                <a:gd name="connsiteY1133" fmla="*/ 233265 h 253855"/>
                <a:gd name="connsiteX1134" fmla="*/ 8462 w 124107"/>
                <a:gd name="connsiteY1134" fmla="*/ 232983 h 253855"/>
                <a:gd name="connsiteX1135" fmla="*/ 8462 w 124107"/>
                <a:gd name="connsiteY1135" fmla="*/ 228188 h 253855"/>
                <a:gd name="connsiteX1136" fmla="*/ 8743 w 124107"/>
                <a:gd name="connsiteY1136" fmla="*/ 228470 h 253855"/>
                <a:gd name="connsiteX1137" fmla="*/ 9026 w 124107"/>
                <a:gd name="connsiteY1137" fmla="*/ 229034 h 253855"/>
                <a:gd name="connsiteX1138" fmla="*/ 9026 w 124107"/>
                <a:gd name="connsiteY1138" fmla="*/ 229316 h 253855"/>
                <a:gd name="connsiteX1139" fmla="*/ 8743 w 124107"/>
                <a:gd name="connsiteY1139" fmla="*/ 230444 h 253855"/>
                <a:gd name="connsiteX1140" fmla="*/ 9307 w 124107"/>
                <a:gd name="connsiteY1140" fmla="*/ 210982 h 253855"/>
                <a:gd name="connsiteX1141" fmla="*/ 9307 w 124107"/>
                <a:gd name="connsiteY1141" fmla="*/ 212110 h 253855"/>
                <a:gd name="connsiteX1142" fmla="*/ 8743 w 124107"/>
                <a:gd name="connsiteY1142" fmla="*/ 212110 h 253855"/>
                <a:gd name="connsiteX1143" fmla="*/ 8743 w 124107"/>
                <a:gd name="connsiteY1143" fmla="*/ 211546 h 253855"/>
                <a:gd name="connsiteX1144" fmla="*/ 9307 w 124107"/>
                <a:gd name="connsiteY1144" fmla="*/ 210982 h 253855"/>
                <a:gd name="connsiteX1145" fmla="*/ 11846 w 124107"/>
                <a:gd name="connsiteY1145" fmla="*/ 210418 h 253855"/>
                <a:gd name="connsiteX1146" fmla="*/ 11846 w 124107"/>
                <a:gd name="connsiteY1146" fmla="*/ 210982 h 253855"/>
                <a:gd name="connsiteX1147" fmla="*/ 11564 w 124107"/>
                <a:gd name="connsiteY1147" fmla="*/ 212674 h 253855"/>
                <a:gd name="connsiteX1148" fmla="*/ 11282 w 124107"/>
                <a:gd name="connsiteY1148" fmla="*/ 213520 h 253855"/>
                <a:gd name="connsiteX1149" fmla="*/ 11564 w 124107"/>
                <a:gd name="connsiteY1149" fmla="*/ 214367 h 253855"/>
                <a:gd name="connsiteX1150" fmla="*/ 10718 w 124107"/>
                <a:gd name="connsiteY1150" fmla="*/ 216059 h 253855"/>
                <a:gd name="connsiteX1151" fmla="*/ 10436 w 124107"/>
                <a:gd name="connsiteY1151" fmla="*/ 216341 h 253855"/>
                <a:gd name="connsiteX1152" fmla="*/ 10154 w 124107"/>
                <a:gd name="connsiteY1152" fmla="*/ 215495 h 253855"/>
                <a:gd name="connsiteX1153" fmla="*/ 10154 w 124107"/>
                <a:gd name="connsiteY1153" fmla="*/ 215213 h 253855"/>
                <a:gd name="connsiteX1154" fmla="*/ 10436 w 124107"/>
                <a:gd name="connsiteY1154" fmla="*/ 214649 h 253855"/>
                <a:gd name="connsiteX1155" fmla="*/ 9872 w 124107"/>
                <a:gd name="connsiteY1155" fmla="*/ 213238 h 253855"/>
                <a:gd name="connsiteX1156" fmla="*/ 10436 w 124107"/>
                <a:gd name="connsiteY1156" fmla="*/ 212110 h 253855"/>
                <a:gd name="connsiteX1157" fmla="*/ 11846 w 124107"/>
                <a:gd name="connsiteY1157" fmla="*/ 210418 h 253855"/>
                <a:gd name="connsiteX1158" fmla="*/ 10718 w 124107"/>
                <a:gd name="connsiteY1158" fmla="*/ 228470 h 253855"/>
                <a:gd name="connsiteX1159" fmla="*/ 11564 w 124107"/>
                <a:gd name="connsiteY1159" fmla="*/ 227059 h 253855"/>
                <a:gd name="connsiteX1160" fmla="*/ 11282 w 124107"/>
                <a:gd name="connsiteY1160" fmla="*/ 228188 h 253855"/>
                <a:gd name="connsiteX1161" fmla="*/ 11564 w 124107"/>
                <a:gd name="connsiteY1161" fmla="*/ 229034 h 253855"/>
                <a:gd name="connsiteX1162" fmla="*/ 11564 w 124107"/>
                <a:gd name="connsiteY1162" fmla="*/ 229316 h 253855"/>
                <a:gd name="connsiteX1163" fmla="*/ 10718 w 124107"/>
                <a:gd name="connsiteY1163" fmla="*/ 228470 h 253855"/>
                <a:gd name="connsiteX1164" fmla="*/ 11846 w 124107"/>
                <a:gd name="connsiteY1164" fmla="*/ 209854 h 253855"/>
                <a:gd name="connsiteX1165" fmla="*/ 11846 w 124107"/>
                <a:gd name="connsiteY1165" fmla="*/ 208725 h 253855"/>
                <a:gd name="connsiteX1166" fmla="*/ 12128 w 124107"/>
                <a:gd name="connsiteY1166" fmla="*/ 208725 h 253855"/>
                <a:gd name="connsiteX1167" fmla="*/ 12410 w 124107"/>
                <a:gd name="connsiteY1167" fmla="*/ 209007 h 253855"/>
                <a:gd name="connsiteX1168" fmla="*/ 11846 w 124107"/>
                <a:gd name="connsiteY1168" fmla="*/ 209854 h 253855"/>
                <a:gd name="connsiteX1169" fmla="*/ 14385 w 124107"/>
                <a:gd name="connsiteY1169" fmla="*/ 210418 h 253855"/>
                <a:gd name="connsiteX1170" fmla="*/ 14385 w 124107"/>
                <a:gd name="connsiteY1170" fmla="*/ 210982 h 253855"/>
                <a:gd name="connsiteX1171" fmla="*/ 14103 w 124107"/>
                <a:gd name="connsiteY1171" fmla="*/ 214649 h 253855"/>
                <a:gd name="connsiteX1172" fmla="*/ 13257 w 124107"/>
                <a:gd name="connsiteY1172" fmla="*/ 216059 h 253855"/>
                <a:gd name="connsiteX1173" fmla="*/ 12974 w 124107"/>
                <a:gd name="connsiteY1173" fmla="*/ 216059 h 253855"/>
                <a:gd name="connsiteX1174" fmla="*/ 12128 w 124107"/>
                <a:gd name="connsiteY1174" fmla="*/ 215213 h 253855"/>
                <a:gd name="connsiteX1175" fmla="*/ 12410 w 124107"/>
                <a:gd name="connsiteY1175" fmla="*/ 214649 h 253855"/>
                <a:gd name="connsiteX1176" fmla="*/ 12974 w 124107"/>
                <a:gd name="connsiteY1176" fmla="*/ 213238 h 253855"/>
                <a:gd name="connsiteX1177" fmla="*/ 14385 w 124107"/>
                <a:gd name="connsiteY1177" fmla="*/ 210418 h 253855"/>
                <a:gd name="connsiteX1178" fmla="*/ 12410 w 124107"/>
                <a:gd name="connsiteY1178" fmla="*/ 206751 h 253855"/>
                <a:gd name="connsiteX1179" fmla="*/ 13257 w 124107"/>
                <a:gd name="connsiteY1179" fmla="*/ 205905 h 253855"/>
                <a:gd name="connsiteX1180" fmla="*/ 13538 w 124107"/>
                <a:gd name="connsiteY1180" fmla="*/ 205905 h 253855"/>
                <a:gd name="connsiteX1181" fmla="*/ 13538 w 124107"/>
                <a:gd name="connsiteY1181" fmla="*/ 206187 h 253855"/>
                <a:gd name="connsiteX1182" fmla="*/ 12693 w 124107"/>
                <a:gd name="connsiteY1182" fmla="*/ 207033 h 253855"/>
                <a:gd name="connsiteX1183" fmla="*/ 12410 w 124107"/>
                <a:gd name="connsiteY1183" fmla="*/ 206751 h 253855"/>
                <a:gd name="connsiteX1184" fmla="*/ 16359 w 124107"/>
                <a:gd name="connsiteY1184" fmla="*/ 204212 h 253855"/>
                <a:gd name="connsiteX1185" fmla="*/ 16641 w 124107"/>
                <a:gd name="connsiteY1185" fmla="*/ 204777 h 253855"/>
                <a:gd name="connsiteX1186" fmla="*/ 16077 w 124107"/>
                <a:gd name="connsiteY1186" fmla="*/ 207597 h 253855"/>
                <a:gd name="connsiteX1187" fmla="*/ 15231 w 124107"/>
                <a:gd name="connsiteY1187" fmla="*/ 207879 h 253855"/>
                <a:gd name="connsiteX1188" fmla="*/ 14949 w 124107"/>
                <a:gd name="connsiteY1188" fmla="*/ 207315 h 253855"/>
                <a:gd name="connsiteX1189" fmla="*/ 15231 w 124107"/>
                <a:gd name="connsiteY1189" fmla="*/ 206751 h 253855"/>
                <a:gd name="connsiteX1190" fmla="*/ 15231 w 124107"/>
                <a:gd name="connsiteY1190" fmla="*/ 206469 h 253855"/>
                <a:gd name="connsiteX1191" fmla="*/ 15513 w 124107"/>
                <a:gd name="connsiteY1191" fmla="*/ 205341 h 253855"/>
                <a:gd name="connsiteX1192" fmla="*/ 14949 w 124107"/>
                <a:gd name="connsiteY1192" fmla="*/ 204494 h 253855"/>
                <a:gd name="connsiteX1193" fmla="*/ 14949 w 124107"/>
                <a:gd name="connsiteY1193" fmla="*/ 203930 h 253855"/>
                <a:gd name="connsiteX1194" fmla="*/ 15513 w 124107"/>
                <a:gd name="connsiteY1194" fmla="*/ 203366 h 253855"/>
                <a:gd name="connsiteX1195" fmla="*/ 15795 w 124107"/>
                <a:gd name="connsiteY1195" fmla="*/ 202802 h 253855"/>
                <a:gd name="connsiteX1196" fmla="*/ 15231 w 124107"/>
                <a:gd name="connsiteY1196" fmla="*/ 201956 h 253855"/>
                <a:gd name="connsiteX1197" fmla="*/ 14667 w 124107"/>
                <a:gd name="connsiteY1197" fmla="*/ 201392 h 253855"/>
                <a:gd name="connsiteX1198" fmla="*/ 15231 w 124107"/>
                <a:gd name="connsiteY1198" fmla="*/ 200828 h 253855"/>
                <a:gd name="connsiteX1199" fmla="*/ 15795 w 124107"/>
                <a:gd name="connsiteY1199" fmla="*/ 200828 h 253855"/>
                <a:gd name="connsiteX1200" fmla="*/ 17205 w 124107"/>
                <a:gd name="connsiteY1200" fmla="*/ 196879 h 253855"/>
                <a:gd name="connsiteX1201" fmla="*/ 18616 w 124107"/>
                <a:gd name="connsiteY1201" fmla="*/ 194904 h 253855"/>
                <a:gd name="connsiteX1202" fmla="*/ 18898 w 124107"/>
                <a:gd name="connsiteY1202" fmla="*/ 194904 h 253855"/>
                <a:gd name="connsiteX1203" fmla="*/ 19180 w 124107"/>
                <a:gd name="connsiteY1203" fmla="*/ 195469 h 253855"/>
                <a:gd name="connsiteX1204" fmla="*/ 18334 w 124107"/>
                <a:gd name="connsiteY1204" fmla="*/ 197725 h 253855"/>
                <a:gd name="connsiteX1205" fmla="*/ 17488 w 124107"/>
                <a:gd name="connsiteY1205" fmla="*/ 199982 h 253855"/>
                <a:gd name="connsiteX1206" fmla="*/ 17769 w 124107"/>
                <a:gd name="connsiteY1206" fmla="*/ 200264 h 253855"/>
                <a:gd name="connsiteX1207" fmla="*/ 17205 w 124107"/>
                <a:gd name="connsiteY1207" fmla="*/ 201674 h 253855"/>
                <a:gd name="connsiteX1208" fmla="*/ 17205 w 124107"/>
                <a:gd name="connsiteY1208" fmla="*/ 202802 h 253855"/>
                <a:gd name="connsiteX1209" fmla="*/ 16359 w 124107"/>
                <a:gd name="connsiteY1209" fmla="*/ 204212 h 253855"/>
                <a:gd name="connsiteX1210" fmla="*/ 17488 w 124107"/>
                <a:gd name="connsiteY1210" fmla="*/ 175724 h 253855"/>
                <a:gd name="connsiteX1211" fmla="*/ 18334 w 124107"/>
                <a:gd name="connsiteY1211" fmla="*/ 176570 h 253855"/>
                <a:gd name="connsiteX1212" fmla="*/ 18616 w 124107"/>
                <a:gd name="connsiteY1212" fmla="*/ 177135 h 253855"/>
                <a:gd name="connsiteX1213" fmla="*/ 18334 w 124107"/>
                <a:gd name="connsiteY1213" fmla="*/ 177417 h 253855"/>
                <a:gd name="connsiteX1214" fmla="*/ 17488 w 124107"/>
                <a:gd name="connsiteY1214" fmla="*/ 179109 h 253855"/>
                <a:gd name="connsiteX1215" fmla="*/ 17205 w 124107"/>
                <a:gd name="connsiteY1215" fmla="*/ 179955 h 253855"/>
                <a:gd name="connsiteX1216" fmla="*/ 16924 w 124107"/>
                <a:gd name="connsiteY1216" fmla="*/ 179673 h 253855"/>
                <a:gd name="connsiteX1217" fmla="*/ 16077 w 124107"/>
                <a:gd name="connsiteY1217" fmla="*/ 178545 h 253855"/>
                <a:gd name="connsiteX1218" fmla="*/ 16359 w 124107"/>
                <a:gd name="connsiteY1218" fmla="*/ 177417 h 253855"/>
                <a:gd name="connsiteX1219" fmla="*/ 17488 w 124107"/>
                <a:gd name="connsiteY1219" fmla="*/ 175724 h 253855"/>
                <a:gd name="connsiteX1220" fmla="*/ 21155 w 124107"/>
                <a:gd name="connsiteY1220" fmla="*/ 202238 h 253855"/>
                <a:gd name="connsiteX1221" fmla="*/ 22000 w 124107"/>
                <a:gd name="connsiteY1221" fmla="*/ 202238 h 253855"/>
                <a:gd name="connsiteX1222" fmla="*/ 20872 w 124107"/>
                <a:gd name="connsiteY1222" fmla="*/ 203084 h 253855"/>
                <a:gd name="connsiteX1223" fmla="*/ 20026 w 124107"/>
                <a:gd name="connsiteY1223" fmla="*/ 202802 h 253855"/>
                <a:gd name="connsiteX1224" fmla="*/ 19744 w 124107"/>
                <a:gd name="connsiteY1224" fmla="*/ 202802 h 253855"/>
                <a:gd name="connsiteX1225" fmla="*/ 18898 w 124107"/>
                <a:gd name="connsiteY1225" fmla="*/ 203366 h 253855"/>
                <a:gd name="connsiteX1226" fmla="*/ 18334 w 124107"/>
                <a:gd name="connsiteY1226" fmla="*/ 205905 h 253855"/>
                <a:gd name="connsiteX1227" fmla="*/ 17205 w 124107"/>
                <a:gd name="connsiteY1227" fmla="*/ 209572 h 253855"/>
                <a:gd name="connsiteX1228" fmla="*/ 16924 w 124107"/>
                <a:gd name="connsiteY1228" fmla="*/ 209854 h 253855"/>
                <a:gd name="connsiteX1229" fmla="*/ 16924 w 124107"/>
                <a:gd name="connsiteY1229" fmla="*/ 209290 h 253855"/>
                <a:gd name="connsiteX1230" fmla="*/ 17488 w 124107"/>
                <a:gd name="connsiteY1230" fmla="*/ 206187 h 253855"/>
                <a:gd name="connsiteX1231" fmla="*/ 19744 w 124107"/>
                <a:gd name="connsiteY1231" fmla="*/ 199699 h 253855"/>
                <a:gd name="connsiteX1232" fmla="*/ 20308 w 124107"/>
                <a:gd name="connsiteY1232" fmla="*/ 199417 h 253855"/>
                <a:gd name="connsiteX1233" fmla="*/ 20590 w 124107"/>
                <a:gd name="connsiteY1233" fmla="*/ 199699 h 253855"/>
                <a:gd name="connsiteX1234" fmla="*/ 21436 w 124107"/>
                <a:gd name="connsiteY1234" fmla="*/ 200828 h 253855"/>
                <a:gd name="connsiteX1235" fmla="*/ 21155 w 124107"/>
                <a:gd name="connsiteY1235" fmla="*/ 201674 h 253855"/>
                <a:gd name="connsiteX1236" fmla="*/ 21155 w 124107"/>
                <a:gd name="connsiteY1236" fmla="*/ 202238 h 253855"/>
                <a:gd name="connsiteX1237" fmla="*/ 20590 w 124107"/>
                <a:gd name="connsiteY1237" fmla="*/ 184468 h 253855"/>
                <a:gd name="connsiteX1238" fmla="*/ 19462 w 124107"/>
                <a:gd name="connsiteY1238" fmla="*/ 185314 h 253855"/>
                <a:gd name="connsiteX1239" fmla="*/ 19180 w 124107"/>
                <a:gd name="connsiteY1239" fmla="*/ 185878 h 253855"/>
                <a:gd name="connsiteX1240" fmla="*/ 19462 w 124107"/>
                <a:gd name="connsiteY1240" fmla="*/ 186161 h 253855"/>
                <a:gd name="connsiteX1241" fmla="*/ 20590 w 124107"/>
                <a:gd name="connsiteY1241" fmla="*/ 184468 h 253855"/>
                <a:gd name="connsiteX1242" fmla="*/ 22565 w 124107"/>
                <a:gd name="connsiteY1242" fmla="*/ 185032 h 253855"/>
                <a:gd name="connsiteX1243" fmla="*/ 21719 w 124107"/>
                <a:gd name="connsiteY1243" fmla="*/ 184468 h 253855"/>
                <a:gd name="connsiteX1244" fmla="*/ 21436 w 124107"/>
                <a:gd name="connsiteY1244" fmla="*/ 184750 h 253855"/>
                <a:gd name="connsiteX1245" fmla="*/ 20872 w 124107"/>
                <a:gd name="connsiteY1245" fmla="*/ 186443 h 253855"/>
                <a:gd name="connsiteX1246" fmla="*/ 21155 w 124107"/>
                <a:gd name="connsiteY1246" fmla="*/ 186443 h 253855"/>
                <a:gd name="connsiteX1247" fmla="*/ 22565 w 124107"/>
                <a:gd name="connsiteY1247" fmla="*/ 185596 h 253855"/>
                <a:gd name="connsiteX1248" fmla="*/ 22565 w 124107"/>
                <a:gd name="connsiteY1248" fmla="*/ 185032 h 253855"/>
                <a:gd name="connsiteX1249" fmla="*/ 22847 w 124107"/>
                <a:gd name="connsiteY1249" fmla="*/ 192930 h 253855"/>
                <a:gd name="connsiteX1250" fmla="*/ 22847 w 124107"/>
                <a:gd name="connsiteY1250" fmla="*/ 193776 h 253855"/>
                <a:gd name="connsiteX1251" fmla="*/ 22283 w 124107"/>
                <a:gd name="connsiteY1251" fmla="*/ 193494 h 253855"/>
                <a:gd name="connsiteX1252" fmla="*/ 22283 w 124107"/>
                <a:gd name="connsiteY1252" fmla="*/ 192930 h 253855"/>
                <a:gd name="connsiteX1253" fmla="*/ 22847 w 124107"/>
                <a:gd name="connsiteY1253" fmla="*/ 192930 h 253855"/>
                <a:gd name="connsiteX1254" fmla="*/ 23693 w 124107"/>
                <a:gd name="connsiteY1254" fmla="*/ 194622 h 253855"/>
                <a:gd name="connsiteX1255" fmla="*/ 24539 w 124107"/>
                <a:gd name="connsiteY1255" fmla="*/ 194904 h 253855"/>
                <a:gd name="connsiteX1256" fmla="*/ 23975 w 124107"/>
                <a:gd name="connsiteY1256" fmla="*/ 195469 h 253855"/>
                <a:gd name="connsiteX1257" fmla="*/ 23129 w 124107"/>
                <a:gd name="connsiteY1257" fmla="*/ 195186 h 253855"/>
                <a:gd name="connsiteX1258" fmla="*/ 23411 w 124107"/>
                <a:gd name="connsiteY1258" fmla="*/ 194622 h 253855"/>
                <a:gd name="connsiteX1259" fmla="*/ 23693 w 124107"/>
                <a:gd name="connsiteY1259" fmla="*/ 194622 h 253855"/>
                <a:gd name="connsiteX1260" fmla="*/ 24257 w 124107"/>
                <a:gd name="connsiteY1260" fmla="*/ 177981 h 253855"/>
                <a:gd name="connsiteX1261" fmla="*/ 24821 w 124107"/>
                <a:gd name="connsiteY1261" fmla="*/ 178263 h 253855"/>
                <a:gd name="connsiteX1262" fmla="*/ 25386 w 124107"/>
                <a:gd name="connsiteY1262" fmla="*/ 178263 h 253855"/>
                <a:gd name="connsiteX1263" fmla="*/ 25950 w 124107"/>
                <a:gd name="connsiteY1263" fmla="*/ 177699 h 253855"/>
                <a:gd name="connsiteX1264" fmla="*/ 25667 w 124107"/>
                <a:gd name="connsiteY1264" fmla="*/ 177417 h 253855"/>
                <a:gd name="connsiteX1265" fmla="*/ 25667 w 124107"/>
                <a:gd name="connsiteY1265" fmla="*/ 176570 h 253855"/>
                <a:gd name="connsiteX1266" fmla="*/ 26231 w 124107"/>
                <a:gd name="connsiteY1266" fmla="*/ 176570 h 253855"/>
                <a:gd name="connsiteX1267" fmla="*/ 26796 w 124107"/>
                <a:gd name="connsiteY1267" fmla="*/ 176288 h 253855"/>
                <a:gd name="connsiteX1268" fmla="*/ 27641 w 124107"/>
                <a:gd name="connsiteY1268" fmla="*/ 175442 h 253855"/>
                <a:gd name="connsiteX1269" fmla="*/ 28206 w 124107"/>
                <a:gd name="connsiteY1269" fmla="*/ 174314 h 253855"/>
                <a:gd name="connsiteX1270" fmla="*/ 27641 w 124107"/>
                <a:gd name="connsiteY1270" fmla="*/ 174032 h 253855"/>
                <a:gd name="connsiteX1271" fmla="*/ 27077 w 124107"/>
                <a:gd name="connsiteY1271" fmla="*/ 173468 h 253855"/>
                <a:gd name="connsiteX1272" fmla="*/ 26514 w 124107"/>
                <a:gd name="connsiteY1272" fmla="*/ 173750 h 253855"/>
                <a:gd name="connsiteX1273" fmla="*/ 26514 w 124107"/>
                <a:gd name="connsiteY1273" fmla="*/ 174314 h 253855"/>
                <a:gd name="connsiteX1274" fmla="*/ 24257 w 124107"/>
                <a:gd name="connsiteY1274" fmla="*/ 177981 h 253855"/>
                <a:gd name="connsiteX1275" fmla="*/ 28206 w 124107"/>
                <a:gd name="connsiteY1275" fmla="*/ 185878 h 253855"/>
                <a:gd name="connsiteX1276" fmla="*/ 27924 w 124107"/>
                <a:gd name="connsiteY1276" fmla="*/ 186725 h 253855"/>
                <a:gd name="connsiteX1277" fmla="*/ 28206 w 124107"/>
                <a:gd name="connsiteY1277" fmla="*/ 187289 h 253855"/>
                <a:gd name="connsiteX1278" fmla="*/ 26796 w 124107"/>
                <a:gd name="connsiteY1278" fmla="*/ 190109 h 253855"/>
                <a:gd name="connsiteX1279" fmla="*/ 25950 w 124107"/>
                <a:gd name="connsiteY1279" fmla="*/ 190956 h 253855"/>
                <a:gd name="connsiteX1280" fmla="*/ 25386 w 124107"/>
                <a:gd name="connsiteY1280" fmla="*/ 190673 h 253855"/>
                <a:gd name="connsiteX1281" fmla="*/ 25103 w 124107"/>
                <a:gd name="connsiteY1281" fmla="*/ 189827 h 253855"/>
                <a:gd name="connsiteX1282" fmla="*/ 24257 w 124107"/>
                <a:gd name="connsiteY1282" fmla="*/ 189263 h 253855"/>
                <a:gd name="connsiteX1283" fmla="*/ 24539 w 124107"/>
                <a:gd name="connsiteY1283" fmla="*/ 188981 h 253855"/>
                <a:gd name="connsiteX1284" fmla="*/ 25950 w 124107"/>
                <a:gd name="connsiteY1284" fmla="*/ 186161 h 253855"/>
                <a:gd name="connsiteX1285" fmla="*/ 26514 w 124107"/>
                <a:gd name="connsiteY1285" fmla="*/ 184750 h 253855"/>
                <a:gd name="connsiteX1286" fmla="*/ 27924 w 124107"/>
                <a:gd name="connsiteY1286" fmla="*/ 185596 h 253855"/>
                <a:gd name="connsiteX1287" fmla="*/ 28206 w 124107"/>
                <a:gd name="connsiteY1287" fmla="*/ 185878 h 253855"/>
                <a:gd name="connsiteX1288" fmla="*/ 26231 w 124107"/>
                <a:gd name="connsiteY1288" fmla="*/ 163314 h 253855"/>
                <a:gd name="connsiteX1289" fmla="*/ 25667 w 124107"/>
                <a:gd name="connsiteY1289" fmla="*/ 163878 h 253855"/>
                <a:gd name="connsiteX1290" fmla="*/ 26231 w 124107"/>
                <a:gd name="connsiteY1290" fmla="*/ 164160 h 253855"/>
                <a:gd name="connsiteX1291" fmla="*/ 26514 w 124107"/>
                <a:gd name="connsiteY1291" fmla="*/ 163596 h 253855"/>
                <a:gd name="connsiteX1292" fmla="*/ 26231 w 124107"/>
                <a:gd name="connsiteY1292" fmla="*/ 163314 h 253855"/>
                <a:gd name="connsiteX1293" fmla="*/ 27360 w 124107"/>
                <a:gd name="connsiteY1293" fmla="*/ 159647 h 253855"/>
                <a:gd name="connsiteX1294" fmla="*/ 27077 w 124107"/>
                <a:gd name="connsiteY1294" fmla="*/ 159365 h 253855"/>
                <a:gd name="connsiteX1295" fmla="*/ 26231 w 124107"/>
                <a:gd name="connsiteY1295" fmla="*/ 160775 h 253855"/>
                <a:gd name="connsiteX1296" fmla="*/ 26231 w 124107"/>
                <a:gd name="connsiteY1296" fmla="*/ 161057 h 253855"/>
                <a:gd name="connsiteX1297" fmla="*/ 27360 w 124107"/>
                <a:gd name="connsiteY1297" fmla="*/ 159647 h 253855"/>
                <a:gd name="connsiteX1298" fmla="*/ 27360 w 124107"/>
                <a:gd name="connsiteY1298" fmla="*/ 163596 h 253855"/>
                <a:gd name="connsiteX1299" fmla="*/ 27924 w 124107"/>
                <a:gd name="connsiteY1299" fmla="*/ 163596 h 253855"/>
                <a:gd name="connsiteX1300" fmla="*/ 28488 w 124107"/>
                <a:gd name="connsiteY1300" fmla="*/ 164442 h 253855"/>
                <a:gd name="connsiteX1301" fmla="*/ 28488 w 124107"/>
                <a:gd name="connsiteY1301" fmla="*/ 164724 h 253855"/>
                <a:gd name="connsiteX1302" fmla="*/ 28770 w 124107"/>
                <a:gd name="connsiteY1302" fmla="*/ 164724 h 253855"/>
                <a:gd name="connsiteX1303" fmla="*/ 29616 w 124107"/>
                <a:gd name="connsiteY1303" fmla="*/ 163031 h 253855"/>
                <a:gd name="connsiteX1304" fmla="*/ 28206 w 124107"/>
                <a:gd name="connsiteY1304" fmla="*/ 163031 h 253855"/>
                <a:gd name="connsiteX1305" fmla="*/ 27641 w 124107"/>
                <a:gd name="connsiteY1305" fmla="*/ 162749 h 253855"/>
                <a:gd name="connsiteX1306" fmla="*/ 27077 w 124107"/>
                <a:gd name="connsiteY1306" fmla="*/ 163314 h 253855"/>
                <a:gd name="connsiteX1307" fmla="*/ 27360 w 124107"/>
                <a:gd name="connsiteY1307" fmla="*/ 163596 h 253855"/>
                <a:gd name="connsiteX1308" fmla="*/ 27641 w 124107"/>
                <a:gd name="connsiteY1308" fmla="*/ 158236 h 253855"/>
                <a:gd name="connsiteX1309" fmla="*/ 28206 w 124107"/>
                <a:gd name="connsiteY1309" fmla="*/ 158236 h 253855"/>
                <a:gd name="connsiteX1310" fmla="*/ 28206 w 124107"/>
                <a:gd name="connsiteY1310" fmla="*/ 157390 h 253855"/>
                <a:gd name="connsiteX1311" fmla="*/ 27924 w 124107"/>
                <a:gd name="connsiteY1311" fmla="*/ 157954 h 253855"/>
                <a:gd name="connsiteX1312" fmla="*/ 27641 w 124107"/>
                <a:gd name="connsiteY1312" fmla="*/ 158236 h 253855"/>
                <a:gd name="connsiteX1313" fmla="*/ 29052 w 124107"/>
                <a:gd name="connsiteY1313" fmla="*/ 160211 h 253855"/>
                <a:gd name="connsiteX1314" fmla="*/ 29334 w 124107"/>
                <a:gd name="connsiteY1314" fmla="*/ 161339 h 253855"/>
                <a:gd name="connsiteX1315" fmla="*/ 29616 w 124107"/>
                <a:gd name="connsiteY1315" fmla="*/ 163031 h 253855"/>
                <a:gd name="connsiteX1316" fmla="*/ 30744 w 124107"/>
                <a:gd name="connsiteY1316" fmla="*/ 162185 h 253855"/>
                <a:gd name="connsiteX1317" fmla="*/ 32155 w 124107"/>
                <a:gd name="connsiteY1317" fmla="*/ 160211 h 253855"/>
                <a:gd name="connsiteX1318" fmla="*/ 33283 w 124107"/>
                <a:gd name="connsiteY1318" fmla="*/ 158801 h 253855"/>
                <a:gd name="connsiteX1319" fmla="*/ 33283 w 124107"/>
                <a:gd name="connsiteY1319" fmla="*/ 158518 h 253855"/>
                <a:gd name="connsiteX1320" fmla="*/ 33001 w 124107"/>
                <a:gd name="connsiteY1320" fmla="*/ 158518 h 253855"/>
                <a:gd name="connsiteX1321" fmla="*/ 30744 w 124107"/>
                <a:gd name="connsiteY1321" fmla="*/ 159365 h 253855"/>
                <a:gd name="connsiteX1322" fmla="*/ 29616 w 124107"/>
                <a:gd name="connsiteY1322" fmla="*/ 159365 h 253855"/>
                <a:gd name="connsiteX1323" fmla="*/ 29052 w 124107"/>
                <a:gd name="connsiteY1323" fmla="*/ 160211 h 253855"/>
                <a:gd name="connsiteX1324" fmla="*/ 33565 w 124107"/>
                <a:gd name="connsiteY1324" fmla="*/ 162749 h 253855"/>
                <a:gd name="connsiteX1325" fmla="*/ 32719 w 124107"/>
                <a:gd name="connsiteY1325" fmla="*/ 163878 h 253855"/>
                <a:gd name="connsiteX1326" fmla="*/ 33001 w 124107"/>
                <a:gd name="connsiteY1326" fmla="*/ 164724 h 253855"/>
                <a:gd name="connsiteX1327" fmla="*/ 33847 w 124107"/>
                <a:gd name="connsiteY1327" fmla="*/ 163031 h 253855"/>
                <a:gd name="connsiteX1328" fmla="*/ 33565 w 124107"/>
                <a:gd name="connsiteY1328" fmla="*/ 162749 h 253855"/>
                <a:gd name="connsiteX1329" fmla="*/ 33283 w 124107"/>
                <a:gd name="connsiteY1329" fmla="*/ 170083 h 253855"/>
                <a:gd name="connsiteX1330" fmla="*/ 33283 w 124107"/>
                <a:gd name="connsiteY1330" fmla="*/ 170647 h 253855"/>
                <a:gd name="connsiteX1331" fmla="*/ 32719 w 124107"/>
                <a:gd name="connsiteY1331" fmla="*/ 170083 h 253855"/>
                <a:gd name="connsiteX1332" fmla="*/ 32719 w 124107"/>
                <a:gd name="connsiteY1332" fmla="*/ 169519 h 253855"/>
                <a:gd name="connsiteX1333" fmla="*/ 33283 w 124107"/>
                <a:gd name="connsiteY1333" fmla="*/ 170083 h 253855"/>
                <a:gd name="connsiteX1334" fmla="*/ 33565 w 124107"/>
                <a:gd name="connsiteY1334" fmla="*/ 160775 h 253855"/>
                <a:gd name="connsiteX1335" fmla="*/ 34411 w 124107"/>
                <a:gd name="connsiteY1335" fmla="*/ 160211 h 253855"/>
                <a:gd name="connsiteX1336" fmla="*/ 33565 w 124107"/>
                <a:gd name="connsiteY1336" fmla="*/ 160211 h 253855"/>
                <a:gd name="connsiteX1337" fmla="*/ 33565 w 124107"/>
                <a:gd name="connsiteY1337" fmla="*/ 160775 h 253855"/>
                <a:gd name="connsiteX1338" fmla="*/ 34693 w 124107"/>
                <a:gd name="connsiteY1338" fmla="*/ 156826 h 253855"/>
                <a:gd name="connsiteX1339" fmla="*/ 34975 w 124107"/>
                <a:gd name="connsiteY1339" fmla="*/ 156826 h 253855"/>
                <a:gd name="connsiteX1340" fmla="*/ 34693 w 124107"/>
                <a:gd name="connsiteY1340" fmla="*/ 156544 h 253855"/>
                <a:gd name="connsiteX1341" fmla="*/ 34693 w 124107"/>
                <a:gd name="connsiteY1341" fmla="*/ 156826 h 253855"/>
                <a:gd name="connsiteX1342" fmla="*/ 34693 w 124107"/>
                <a:gd name="connsiteY1342" fmla="*/ 160775 h 253855"/>
                <a:gd name="connsiteX1343" fmla="*/ 35258 w 124107"/>
                <a:gd name="connsiteY1343" fmla="*/ 162467 h 253855"/>
                <a:gd name="connsiteX1344" fmla="*/ 35539 w 124107"/>
                <a:gd name="connsiteY1344" fmla="*/ 162749 h 253855"/>
                <a:gd name="connsiteX1345" fmla="*/ 36103 w 124107"/>
                <a:gd name="connsiteY1345" fmla="*/ 162749 h 253855"/>
                <a:gd name="connsiteX1346" fmla="*/ 36950 w 124107"/>
                <a:gd name="connsiteY1346" fmla="*/ 161339 h 253855"/>
                <a:gd name="connsiteX1347" fmla="*/ 38078 w 124107"/>
                <a:gd name="connsiteY1347" fmla="*/ 160493 h 253855"/>
                <a:gd name="connsiteX1348" fmla="*/ 38360 w 124107"/>
                <a:gd name="connsiteY1348" fmla="*/ 159083 h 253855"/>
                <a:gd name="connsiteX1349" fmla="*/ 38924 w 124107"/>
                <a:gd name="connsiteY1349" fmla="*/ 158518 h 253855"/>
                <a:gd name="connsiteX1350" fmla="*/ 38642 w 124107"/>
                <a:gd name="connsiteY1350" fmla="*/ 157954 h 253855"/>
                <a:gd name="connsiteX1351" fmla="*/ 37796 w 124107"/>
                <a:gd name="connsiteY1351" fmla="*/ 157390 h 253855"/>
                <a:gd name="connsiteX1352" fmla="*/ 36950 w 124107"/>
                <a:gd name="connsiteY1352" fmla="*/ 157672 h 253855"/>
                <a:gd name="connsiteX1353" fmla="*/ 36668 w 124107"/>
                <a:gd name="connsiteY1353" fmla="*/ 158801 h 253855"/>
                <a:gd name="connsiteX1354" fmla="*/ 36668 w 124107"/>
                <a:gd name="connsiteY1354" fmla="*/ 159365 h 253855"/>
                <a:gd name="connsiteX1355" fmla="*/ 36103 w 124107"/>
                <a:gd name="connsiteY1355" fmla="*/ 159929 h 253855"/>
                <a:gd name="connsiteX1356" fmla="*/ 35539 w 124107"/>
                <a:gd name="connsiteY1356" fmla="*/ 159929 h 253855"/>
                <a:gd name="connsiteX1357" fmla="*/ 34693 w 124107"/>
                <a:gd name="connsiteY1357" fmla="*/ 160775 h 253855"/>
                <a:gd name="connsiteX1358" fmla="*/ 35258 w 124107"/>
                <a:gd name="connsiteY1358" fmla="*/ 172904 h 253855"/>
                <a:gd name="connsiteX1359" fmla="*/ 34975 w 124107"/>
                <a:gd name="connsiteY1359" fmla="*/ 173750 h 253855"/>
                <a:gd name="connsiteX1360" fmla="*/ 34693 w 124107"/>
                <a:gd name="connsiteY1360" fmla="*/ 173750 h 253855"/>
                <a:gd name="connsiteX1361" fmla="*/ 34693 w 124107"/>
                <a:gd name="connsiteY1361" fmla="*/ 172904 h 253855"/>
                <a:gd name="connsiteX1362" fmla="*/ 35258 w 124107"/>
                <a:gd name="connsiteY1362" fmla="*/ 172904 h 253855"/>
                <a:gd name="connsiteX1363" fmla="*/ 35822 w 124107"/>
                <a:gd name="connsiteY1363" fmla="*/ 164724 h 253855"/>
                <a:gd name="connsiteX1364" fmla="*/ 36103 w 124107"/>
                <a:gd name="connsiteY1364" fmla="*/ 165006 h 253855"/>
                <a:gd name="connsiteX1365" fmla="*/ 36103 w 124107"/>
                <a:gd name="connsiteY1365" fmla="*/ 164442 h 253855"/>
                <a:gd name="connsiteX1366" fmla="*/ 35822 w 124107"/>
                <a:gd name="connsiteY1366" fmla="*/ 164724 h 253855"/>
                <a:gd name="connsiteX1367" fmla="*/ 36386 w 124107"/>
                <a:gd name="connsiteY1367" fmla="*/ 146672 h 253855"/>
                <a:gd name="connsiteX1368" fmla="*/ 36386 w 124107"/>
                <a:gd name="connsiteY1368" fmla="*/ 146954 h 253855"/>
                <a:gd name="connsiteX1369" fmla="*/ 36950 w 124107"/>
                <a:gd name="connsiteY1369" fmla="*/ 147236 h 253855"/>
                <a:gd name="connsiteX1370" fmla="*/ 37232 w 124107"/>
                <a:gd name="connsiteY1370" fmla="*/ 146672 h 253855"/>
                <a:gd name="connsiteX1371" fmla="*/ 36950 w 124107"/>
                <a:gd name="connsiteY1371" fmla="*/ 146390 h 253855"/>
                <a:gd name="connsiteX1372" fmla="*/ 36386 w 124107"/>
                <a:gd name="connsiteY1372" fmla="*/ 146672 h 253855"/>
                <a:gd name="connsiteX1373" fmla="*/ 37232 w 124107"/>
                <a:gd name="connsiteY1373" fmla="*/ 150621 h 253855"/>
                <a:gd name="connsiteX1374" fmla="*/ 37232 w 124107"/>
                <a:gd name="connsiteY1374" fmla="*/ 150903 h 253855"/>
                <a:gd name="connsiteX1375" fmla="*/ 37796 w 124107"/>
                <a:gd name="connsiteY1375" fmla="*/ 150903 h 253855"/>
                <a:gd name="connsiteX1376" fmla="*/ 37232 w 124107"/>
                <a:gd name="connsiteY1376" fmla="*/ 150621 h 253855"/>
                <a:gd name="connsiteX1377" fmla="*/ 37796 w 124107"/>
                <a:gd name="connsiteY1377" fmla="*/ 164724 h 253855"/>
                <a:gd name="connsiteX1378" fmla="*/ 37514 w 124107"/>
                <a:gd name="connsiteY1378" fmla="*/ 165288 h 253855"/>
                <a:gd name="connsiteX1379" fmla="*/ 37796 w 124107"/>
                <a:gd name="connsiteY1379" fmla="*/ 165570 h 253855"/>
                <a:gd name="connsiteX1380" fmla="*/ 37796 w 124107"/>
                <a:gd name="connsiteY1380" fmla="*/ 164724 h 253855"/>
                <a:gd name="connsiteX1381" fmla="*/ 38078 w 124107"/>
                <a:gd name="connsiteY1381" fmla="*/ 155980 h 253855"/>
                <a:gd name="connsiteX1382" fmla="*/ 38360 w 124107"/>
                <a:gd name="connsiteY1382" fmla="*/ 156262 h 253855"/>
                <a:gd name="connsiteX1383" fmla="*/ 38924 w 124107"/>
                <a:gd name="connsiteY1383" fmla="*/ 156544 h 253855"/>
                <a:gd name="connsiteX1384" fmla="*/ 39206 w 124107"/>
                <a:gd name="connsiteY1384" fmla="*/ 156544 h 253855"/>
                <a:gd name="connsiteX1385" fmla="*/ 40053 w 124107"/>
                <a:gd name="connsiteY1385" fmla="*/ 155980 h 253855"/>
                <a:gd name="connsiteX1386" fmla="*/ 40617 w 124107"/>
                <a:gd name="connsiteY1386" fmla="*/ 154852 h 253855"/>
                <a:gd name="connsiteX1387" fmla="*/ 40334 w 124107"/>
                <a:gd name="connsiteY1387" fmla="*/ 154006 h 253855"/>
                <a:gd name="connsiteX1388" fmla="*/ 38360 w 124107"/>
                <a:gd name="connsiteY1388" fmla="*/ 154852 h 253855"/>
                <a:gd name="connsiteX1389" fmla="*/ 38078 w 124107"/>
                <a:gd name="connsiteY1389" fmla="*/ 155980 h 253855"/>
                <a:gd name="connsiteX1390" fmla="*/ 38360 w 124107"/>
                <a:gd name="connsiteY1390" fmla="*/ 152031 h 253855"/>
                <a:gd name="connsiteX1391" fmla="*/ 38924 w 124107"/>
                <a:gd name="connsiteY1391" fmla="*/ 152313 h 253855"/>
                <a:gd name="connsiteX1392" fmla="*/ 38924 w 124107"/>
                <a:gd name="connsiteY1392" fmla="*/ 152031 h 253855"/>
                <a:gd name="connsiteX1393" fmla="*/ 38642 w 124107"/>
                <a:gd name="connsiteY1393" fmla="*/ 151749 h 253855"/>
                <a:gd name="connsiteX1394" fmla="*/ 38360 w 124107"/>
                <a:gd name="connsiteY1394" fmla="*/ 152031 h 253855"/>
                <a:gd name="connsiteX1395" fmla="*/ 39206 w 124107"/>
                <a:gd name="connsiteY1395" fmla="*/ 146390 h 253855"/>
                <a:gd name="connsiteX1396" fmla="*/ 39489 w 124107"/>
                <a:gd name="connsiteY1396" fmla="*/ 146954 h 253855"/>
                <a:gd name="connsiteX1397" fmla="*/ 40334 w 124107"/>
                <a:gd name="connsiteY1397" fmla="*/ 147518 h 253855"/>
                <a:gd name="connsiteX1398" fmla="*/ 41463 w 124107"/>
                <a:gd name="connsiteY1398" fmla="*/ 147518 h 253855"/>
                <a:gd name="connsiteX1399" fmla="*/ 41463 w 124107"/>
                <a:gd name="connsiteY1399" fmla="*/ 148364 h 253855"/>
                <a:gd name="connsiteX1400" fmla="*/ 40899 w 124107"/>
                <a:gd name="connsiteY1400" fmla="*/ 149210 h 253855"/>
                <a:gd name="connsiteX1401" fmla="*/ 42591 w 124107"/>
                <a:gd name="connsiteY1401" fmla="*/ 147236 h 253855"/>
                <a:gd name="connsiteX1402" fmla="*/ 42591 w 124107"/>
                <a:gd name="connsiteY1402" fmla="*/ 146390 h 253855"/>
                <a:gd name="connsiteX1403" fmla="*/ 42309 w 124107"/>
                <a:gd name="connsiteY1403" fmla="*/ 145262 h 253855"/>
                <a:gd name="connsiteX1404" fmla="*/ 42027 w 124107"/>
                <a:gd name="connsiteY1404" fmla="*/ 144980 h 253855"/>
                <a:gd name="connsiteX1405" fmla="*/ 41463 w 124107"/>
                <a:gd name="connsiteY1405" fmla="*/ 145544 h 253855"/>
                <a:gd name="connsiteX1406" fmla="*/ 40334 w 124107"/>
                <a:gd name="connsiteY1406" fmla="*/ 146108 h 253855"/>
                <a:gd name="connsiteX1407" fmla="*/ 40053 w 124107"/>
                <a:gd name="connsiteY1407" fmla="*/ 146108 h 253855"/>
                <a:gd name="connsiteX1408" fmla="*/ 39770 w 124107"/>
                <a:gd name="connsiteY1408" fmla="*/ 145826 h 253855"/>
                <a:gd name="connsiteX1409" fmla="*/ 39206 w 124107"/>
                <a:gd name="connsiteY1409" fmla="*/ 146108 h 253855"/>
                <a:gd name="connsiteX1410" fmla="*/ 39206 w 124107"/>
                <a:gd name="connsiteY1410" fmla="*/ 146390 h 253855"/>
                <a:gd name="connsiteX1411" fmla="*/ 40334 w 124107"/>
                <a:gd name="connsiteY1411" fmla="*/ 150057 h 253855"/>
                <a:gd name="connsiteX1412" fmla="*/ 40899 w 124107"/>
                <a:gd name="connsiteY1412" fmla="*/ 149210 h 253855"/>
                <a:gd name="connsiteX1413" fmla="*/ 40053 w 124107"/>
                <a:gd name="connsiteY1413" fmla="*/ 149493 h 253855"/>
                <a:gd name="connsiteX1414" fmla="*/ 39770 w 124107"/>
                <a:gd name="connsiteY1414" fmla="*/ 149775 h 253855"/>
                <a:gd name="connsiteX1415" fmla="*/ 40334 w 124107"/>
                <a:gd name="connsiteY1415" fmla="*/ 150057 h 253855"/>
                <a:gd name="connsiteX1416" fmla="*/ 41463 w 124107"/>
                <a:gd name="connsiteY1416" fmla="*/ 152877 h 253855"/>
                <a:gd name="connsiteX1417" fmla="*/ 42027 w 124107"/>
                <a:gd name="connsiteY1417" fmla="*/ 152313 h 253855"/>
                <a:gd name="connsiteX1418" fmla="*/ 42591 w 124107"/>
                <a:gd name="connsiteY1418" fmla="*/ 152313 h 253855"/>
                <a:gd name="connsiteX1419" fmla="*/ 42591 w 124107"/>
                <a:gd name="connsiteY1419" fmla="*/ 152031 h 253855"/>
                <a:gd name="connsiteX1420" fmla="*/ 42027 w 124107"/>
                <a:gd name="connsiteY1420" fmla="*/ 151749 h 253855"/>
                <a:gd name="connsiteX1421" fmla="*/ 41463 w 124107"/>
                <a:gd name="connsiteY1421" fmla="*/ 152031 h 253855"/>
                <a:gd name="connsiteX1422" fmla="*/ 40899 w 124107"/>
                <a:gd name="connsiteY1422" fmla="*/ 152877 h 253855"/>
                <a:gd name="connsiteX1423" fmla="*/ 40334 w 124107"/>
                <a:gd name="connsiteY1423" fmla="*/ 154006 h 253855"/>
                <a:gd name="connsiteX1424" fmla="*/ 42027 w 124107"/>
                <a:gd name="connsiteY1424" fmla="*/ 154006 h 253855"/>
                <a:gd name="connsiteX1425" fmla="*/ 42309 w 124107"/>
                <a:gd name="connsiteY1425" fmla="*/ 153723 h 253855"/>
                <a:gd name="connsiteX1426" fmla="*/ 42027 w 124107"/>
                <a:gd name="connsiteY1426" fmla="*/ 153723 h 253855"/>
                <a:gd name="connsiteX1427" fmla="*/ 42027 w 124107"/>
                <a:gd name="connsiteY1427" fmla="*/ 153441 h 253855"/>
                <a:gd name="connsiteX1428" fmla="*/ 41463 w 124107"/>
                <a:gd name="connsiteY1428" fmla="*/ 152877 h 253855"/>
                <a:gd name="connsiteX1429" fmla="*/ 40617 w 124107"/>
                <a:gd name="connsiteY1429" fmla="*/ 144980 h 253855"/>
                <a:gd name="connsiteX1430" fmla="*/ 40899 w 124107"/>
                <a:gd name="connsiteY1430" fmla="*/ 144697 h 253855"/>
                <a:gd name="connsiteX1431" fmla="*/ 40617 w 124107"/>
                <a:gd name="connsiteY1431" fmla="*/ 144415 h 253855"/>
                <a:gd name="connsiteX1432" fmla="*/ 40617 w 124107"/>
                <a:gd name="connsiteY1432" fmla="*/ 144980 h 253855"/>
                <a:gd name="connsiteX1433" fmla="*/ 42027 w 124107"/>
                <a:gd name="connsiteY1433" fmla="*/ 140749 h 253855"/>
                <a:gd name="connsiteX1434" fmla="*/ 43437 w 124107"/>
                <a:gd name="connsiteY1434" fmla="*/ 139902 h 253855"/>
                <a:gd name="connsiteX1435" fmla="*/ 42591 w 124107"/>
                <a:gd name="connsiteY1435" fmla="*/ 139620 h 253855"/>
                <a:gd name="connsiteX1436" fmla="*/ 42027 w 124107"/>
                <a:gd name="connsiteY1436" fmla="*/ 140749 h 253855"/>
                <a:gd name="connsiteX1437" fmla="*/ 43720 w 124107"/>
                <a:gd name="connsiteY1437" fmla="*/ 141313 h 253855"/>
                <a:gd name="connsiteX1438" fmla="*/ 43437 w 124107"/>
                <a:gd name="connsiteY1438" fmla="*/ 141595 h 253855"/>
                <a:gd name="connsiteX1439" fmla="*/ 42591 w 124107"/>
                <a:gd name="connsiteY1439" fmla="*/ 142441 h 253855"/>
                <a:gd name="connsiteX1440" fmla="*/ 44284 w 124107"/>
                <a:gd name="connsiteY1440" fmla="*/ 142159 h 253855"/>
                <a:gd name="connsiteX1441" fmla="*/ 44284 w 124107"/>
                <a:gd name="connsiteY1441" fmla="*/ 141877 h 253855"/>
                <a:gd name="connsiteX1442" fmla="*/ 43720 w 124107"/>
                <a:gd name="connsiteY1442" fmla="*/ 141313 h 253855"/>
                <a:gd name="connsiteX1443" fmla="*/ 43720 w 124107"/>
                <a:gd name="connsiteY1443" fmla="*/ 144697 h 253855"/>
                <a:gd name="connsiteX1444" fmla="*/ 43720 w 124107"/>
                <a:gd name="connsiteY1444" fmla="*/ 144980 h 253855"/>
                <a:gd name="connsiteX1445" fmla="*/ 44001 w 124107"/>
                <a:gd name="connsiteY1445" fmla="*/ 144697 h 253855"/>
                <a:gd name="connsiteX1446" fmla="*/ 43720 w 124107"/>
                <a:gd name="connsiteY1446" fmla="*/ 144697 h 253855"/>
                <a:gd name="connsiteX1447" fmla="*/ 44848 w 124107"/>
                <a:gd name="connsiteY1447" fmla="*/ 151467 h 253855"/>
                <a:gd name="connsiteX1448" fmla="*/ 44848 w 124107"/>
                <a:gd name="connsiteY1448" fmla="*/ 152031 h 253855"/>
                <a:gd name="connsiteX1449" fmla="*/ 45130 w 124107"/>
                <a:gd name="connsiteY1449" fmla="*/ 151749 h 253855"/>
                <a:gd name="connsiteX1450" fmla="*/ 45130 w 124107"/>
                <a:gd name="connsiteY1450" fmla="*/ 151185 h 253855"/>
                <a:gd name="connsiteX1451" fmla="*/ 44848 w 124107"/>
                <a:gd name="connsiteY1451" fmla="*/ 151467 h 253855"/>
                <a:gd name="connsiteX1452" fmla="*/ 45975 w 124107"/>
                <a:gd name="connsiteY1452" fmla="*/ 150621 h 253855"/>
                <a:gd name="connsiteX1453" fmla="*/ 45975 w 124107"/>
                <a:gd name="connsiteY1453" fmla="*/ 150057 h 253855"/>
                <a:gd name="connsiteX1454" fmla="*/ 45694 w 124107"/>
                <a:gd name="connsiteY1454" fmla="*/ 149775 h 253855"/>
                <a:gd name="connsiteX1455" fmla="*/ 45130 w 124107"/>
                <a:gd name="connsiteY1455" fmla="*/ 150903 h 253855"/>
                <a:gd name="connsiteX1456" fmla="*/ 45130 w 124107"/>
                <a:gd name="connsiteY1456" fmla="*/ 151185 h 253855"/>
                <a:gd name="connsiteX1457" fmla="*/ 45975 w 124107"/>
                <a:gd name="connsiteY1457" fmla="*/ 150621 h 253855"/>
                <a:gd name="connsiteX1458" fmla="*/ 45975 w 124107"/>
                <a:gd name="connsiteY1458" fmla="*/ 250471 h 253855"/>
                <a:gd name="connsiteX1459" fmla="*/ 45411 w 124107"/>
                <a:gd name="connsiteY1459" fmla="*/ 250471 h 253855"/>
                <a:gd name="connsiteX1460" fmla="*/ 45130 w 124107"/>
                <a:gd name="connsiteY1460" fmla="*/ 250753 h 253855"/>
                <a:gd name="connsiteX1461" fmla="*/ 45411 w 124107"/>
                <a:gd name="connsiteY1461" fmla="*/ 251035 h 253855"/>
                <a:gd name="connsiteX1462" fmla="*/ 45975 w 124107"/>
                <a:gd name="connsiteY1462" fmla="*/ 250471 h 253855"/>
                <a:gd name="connsiteX1463" fmla="*/ 45411 w 124107"/>
                <a:gd name="connsiteY1463" fmla="*/ 140749 h 253855"/>
                <a:gd name="connsiteX1464" fmla="*/ 45975 w 124107"/>
                <a:gd name="connsiteY1464" fmla="*/ 141031 h 253855"/>
                <a:gd name="connsiteX1465" fmla="*/ 46258 w 124107"/>
                <a:gd name="connsiteY1465" fmla="*/ 140467 h 253855"/>
                <a:gd name="connsiteX1466" fmla="*/ 45411 w 124107"/>
                <a:gd name="connsiteY1466" fmla="*/ 140467 h 253855"/>
                <a:gd name="connsiteX1467" fmla="*/ 45411 w 124107"/>
                <a:gd name="connsiteY1467" fmla="*/ 140749 h 253855"/>
                <a:gd name="connsiteX1468" fmla="*/ 46258 w 124107"/>
                <a:gd name="connsiteY1468" fmla="*/ 138492 h 253855"/>
                <a:gd name="connsiteX1469" fmla="*/ 46540 w 124107"/>
                <a:gd name="connsiteY1469" fmla="*/ 139338 h 253855"/>
                <a:gd name="connsiteX1470" fmla="*/ 47668 w 124107"/>
                <a:gd name="connsiteY1470" fmla="*/ 140184 h 253855"/>
                <a:gd name="connsiteX1471" fmla="*/ 47950 w 124107"/>
                <a:gd name="connsiteY1471" fmla="*/ 139902 h 253855"/>
                <a:gd name="connsiteX1472" fmla="*/ 47950 w 124107"/>
                <a:gd name="connsiteY1472" fmla="*/ 139338 h 253855"/>
                <a:gd name="connsiteX1473" fmla="*/ 46822 w 124107"/>
                <a:gd name="connsiteY1473" fmla="*/ 137928 h 253855"/>
                <a:gd name="connsiteX1474" fmla="*/ 46540 w 124107"/>
                <a:gd name="connsiteY1474" fmla="*/ 137646 h 253855"/>
                <a:gd name="connsiteX1475" fmla="*/ 46258 w 124107"/>
                <a:gd name="connsiteY1475" fmla="*/ 138492 h 253855"/>
                <a:gd name="connsiteX1476" fmla="*/ 48232 w 124107"/>
                <a:gd name="connsiteY1476" fmla="*/ 141877 h 253855"/>
                <a:gd name="connsiteX1477" fmla="*/ 47668 w 124107"/>
                <a:gd name="connsiteY1477" fmla="*/ 141877 h 253855"/>
                <a:gd name="connsiteX1478" fmla="*/ 47668 w 124107"/>
                <a:gd name="connsiteY1478" fmla="*/ 142441 h 253855"/>
                <a:gd name="connsiteX1479" fmla="*/ 49078 w 124107"/>
                <a:gd name="connsiteY1479" fmla="*/ 143287 h 253855"/>
                <a:gd name="connsiteX1480" fmla="*/ 49078 w 124107"/>
                <a:gd name="connsiteY1480" fmla="*/ 143569 h 253855"/>
                <a:gd name="connsiteX1481" fmla="*/ 49361 w 124107"/>
                <a:gd name="connsiteY1481" fmla="*/ 143287 h 253855"/>
                <a:gd name="connsiteX1482" fmla="*/ 49078 w 124107"/>
                <a:gd name="connsiteY1482" fmla="*/ 143287 h 253855"/>
                <a:gd name="connsiteX1483" fmla="*/ 49078 w 124107"/>
                <a:gd name="connsiteY1483" fmla="*/ 142441 h 253855"/>
                <a:gd name="connsiteX1484" fmla="*/ 48232 w 124107"/>
                <a:gd name="connsiteY1484" fmla="*/ 141877 h 253855"/>
                <a:gd name="connsiteX1485" fmla="*/ 49078 w 124107"/>
                <a:gd name="connsiteY1485" fmla="*/ 137364 h 253855"/>
                <a:gd name="connsiteX1486" fmla="*/ 49642 w 124107"/>
                <a:gd name="connsiteY1486" fmla="*/ 138492 h 253855"/>
                <a:gd name="connsiteX1487" fmla="*/ 49642 w 124107"/>
                <a:gd name="connsiteY1487" fmla="*/ 139338 h 253855"/>
                <a:gd name="connsiteX1488" fmla="*/ 49925 w 124107"/>
                <a:gd name="connsiteY1488" fmla="*/ 139620 h 253855"/>
                <a:gd name="connsiteX1489" fmla="*/ 51617 w 124107"/>
                <a:gd name="connsiteY1489" fmla="*/ 137646 h 253855"/>
                <a:gd name="connsiteX1490" fmla="*/ 52463 w 124107"/>
                <a:gd name="connsiteY1490" fmla="*/ 136236 h 253855"/>
                <a:gd name="connsiteX1491" fmla="*/ 53027 w 124107"/>
                <a:gd name="connsiteY1491" fmla="*/ 136236 h 253855"/>
                <a:gd name="connsiteX1492" fmla="*/ 53027 w 124107"/>
                <a:gd name="connsiteY1492" fmla="*/ 135672 h 253855"/>
                <a:gd name="connsiteX1493" fmla="*/ 52745 w 124107"/>
                <a:gd name="connsiteY1493" fmla="*/ 135672 h 253855"/>
                <a:gd name="connsiteX1494" fmla="*/ 51335 w 124107"/>
                <a:gd name="connsiteY1494" fmla="*/ 136236 h 253855"/>
                <a:gd name="connsiteX1495" fmla="*/ 50489 w 124107"/>
                <a:gd name="connsiteY1495" fmla="*/ 136236 h 253855"/>
                <a:gd name="connsiteX1496" fmla="*/ 49925 w 124107"/>
                <a:gd name="connsiteY1496" fmla="*/ 135954 h 253855"/>
                <a:gd name="connsiteX1497" fmla="*/ 49642 w 124107"/>
                <a:gd name="connsiteY1497" fmla="*/ 136236 h 253855"/>
                <a:gd name="connsiteX1498" fmla="*/ 49078 w 124107"/>
                <a:gd name="connsiteY1498" fmla="*/ 137364 h 253855"/>
                <a:gd name="connsiteX1499" fmla="*/ 50206 w 124107"/>
                <a:gd name="connsiteY1499" fmla="*/ 235803 h 253855"/>
                <a:gd name="connsiteX1500" fmla="*/ 49642 w 124107"/>
                <a:gd name="connsiteY1500" fmla="*/ 235803 h 253855"/>
                <a:gd name="connsiteX1501" fmla="*/ 49361 w 124107"/>
                <a:gd name="connsiteY1501" fmla="*/ 235521 h 253855"/>
                <a:gd name="connsiteX1502" fmla="*/ 49925 w 124107"/>
                <a:gd name="connsiteY1502" fmla="*/ 235521 h 253855"/>
                <a:gd name="connsiteX1503" fmla="*/ 50206 w 124107"/>
                <a:gd name="connsiteY1503" fmla="*/ 235803 h 253855"/>
                <a:gd name="connsiteX1504" fmla="*/ 50771 w 124107"/>
                <a:gd name="connsiteY1504" fmla="*/ 248496 h 253855"/>
                <a:gd name="connsiteX1505" fmla="*/ 50489 w 124107"/>
                <a:gd name="connsiteY1505" fmla="*/ 248214 h 253855"/>
                <a:gd name="connsiteX1506" fmla="*/ 49925 w 124107"/>
                <a:gd name="connsiteY1506" fmla="*/ 248496 h 253855"/>
                <a:gd name="connsiteX1507" fmla="*/ 50206 w 124107"/>
                <a:gd name="connsiteY1507" fmla="*/ 249060 h 253855"/>
                <a:gd name="connsiteX1508" fmla="*/ 50771 w 124107"/>
                <a:gd name="connsiteY1508" fmla="*/ 248496 h 253855"/>
                <a:gd name="connsiteX1509" fmla="*/ 54156 w 124107"/>
                <a:gd name="connsiteY1509" fmla="*/ 246522 h 253855"/>
                <a:gd name="connsiteX1510" fmla="*/ 53309 w 124107"/>
                <a:gd name="connsiteY1510" fmla="*/ 245393 h 253855"/>
                <a:gd name="connsiteX1511" fmla="*/ 52463 w 124107"/>
                <a:gd name="connsiteY1511" fmla="*/ 247086 h 253855"/>
                <a:gd name="connsiteX1512" fmla="*/ 53873 w 124107"/>
                <a:gd name="connsiteY1512" fmla="*/ 247086 h 253855"/>
                <a:gd name="connsiteX1513" fmla="*/ 54156 w 124107"/>
                <a:gd name="connsiteY1513" fmla="*/ 246522 h 253855"/>
                <a:gd name="connsiteX1514" fmla="*/ 53027 w 124107"/>
                <a:gd name="connsiteY1514" fmla="*/ 131723 h 253855"/>
                <a:gd name="connsiteX1515" fmla="*/ 53309 w 124107"/>
                <a:gd name="connsiteY1515" fmla="*/ 131441 h 253855"/>
                <a:gd name="connsiteX1516" fmla="*/ 53027 w 124107"/>
                <a:gd name="connsiteY1516" fmla="*/ 130876 h 253855"/>
                <a:gd name="connsiteX1517" fmla="*/ 53027 w 124107"/>
                <a:gd name="connsiteY1517" fmla="*/ 131723 h 253855"/>
                <a:gd name="connsiteX1518" fmla="*/ 53592 w 124107"/>
                <a:gd name="connsiteY1518" fmla="*/ 133979 h 253855"/>
                <a:gd name="connsiteX1519" fmla="*/ 53027 w 124107"/>
                <a:gd name="connsiteY1519" fmla="*/ 134543 h 253855"/>
                <a:gd name="connsiteX1520" fmla="*/ 53309 w 124107"/>
                <a:gd name="connsiteY1520" fmla="*/ 134825 h 253855"/>
                <a:gd name="connsiteX1521" fmla="*/ 53873 w 124107"/>
                <a:gd name="connsiteY1521" fmla="*/ 134543 h 253855"/>
                <a:gd name="connsiteX1522" fmla="*/ 53592 w 124107"/>
                <a:gd name="connsiteY1522" fmla="*/ 133979 h 253855"/>
                <a:gd name="connsiteX1523" fmla="*/ 54437 w 124107"/>
                <a:gd name="connsiteY1523" fmla="*/ 126646 h 253855"/>
                <a:gd name="connsiteX1524" fmla="*/ 54720 w 124107"/>
                <a:gd name="connsiteY1524" fmla="*/ 127210 h 253855"/>
                <a:gd name="connsiteX1525" fmla="*/ 54720 w 124107"/>
                <a:gd name="connsiteY1525" fmla="*/ 126928 h 253855"/>
                <a:gd name="connsiteX1526" fmla="*/ 54437 w 124107"/>
                <a:gd name="connsiteY1526" fmla="*/ 126364 h 253855"/>
                <a:gd name="connsiteX1527" fmla="*/ 54437 w 124107"/>
                <a:gd name="connsiteY1527" fmla="*/ 126646 h 253855"/>
                <a:gd name="connsiteX1528" fmla="*/ 54437 w 124107"/>
                <a:gd name="connsiteY1528" fmla="*/ 137082 h 253855"/>
                <a:gd name="connsiteX1529" fmla="*/ 55002 w 124107"/>
                <a:gd name="connsiteY1529" fmla="*/ 137082 h 253855"/>
                <a:gd name="connsiteX1530" fmla="*/ 55566 w 124107"/>
                <a:gd name="connsiteY1530" fmla="*/ 136518 h 253855"/>
                <a:gd name="connsiteX1531" fmla="*/ 55284 w 124107"/>
                <a:gd name="connsiteY1531" fmla="*/ 136236 h 253855"/>
                <a:gd name="connsiteX1532" fmla="*/ 54437 w 124107"/>
                <a:gd name="connsiteY1532" fmla="*/ 137082 h 253855"/>
                <a:gd name="connsiteX1533" fmla="*/ 55002 w 124107"/>
                <a:gd name="connsiteY1533" fmla="*/ 132851 h 253855"/>
                <a:gd name="connsiteX1534" fmla="*/ 54720 w 124107"/>
                <a:gd name="connsiteY1534" fmla="*/ 133415 h 253855"/>
                <a:gd name="connsiteX1535" fmla="*/ 55002 w 124107"/>
                <a:gd name="connsiteY1535" fmla="*/ 133697 h 253855"/>
                <a:gd name="connsiteX1536" fmla="*/ 55284 w 124107"/>
                <a:gd name="connsiteY1536" fmla="*/ 133133 h 253855"/>
                <a:gd name="connsiteX1537" fmla="*/ 55002 w 124107"/>
                <a:gd name="connsiteY1537" fmla="*/ 132851 h 253855"/>
                <a:gd name="connsiteX1538" fmla="*/ 55848 w 124107"/>
                <a:gd name="connsiteY1538" fmla="*/ 135954 h 253855"/>
                <a:gd name="connsiteX1539" fmla="*/ 56412 w 124107"/>
                <a:gd name="connsiteY1539" fmla="*/ 136236 h 253855"/>
                <a:gd name="connsiteX1540" fmla="*/ 56694 w 124107"/>
                <a:gd name="connsiteY1540" fmla="*/ 135954 h 253855"/>
                <a:gd name="connsiteX1541" fmla="*/ 56694 w 124107"/>
                <a:gd name="connsiteY1541" fmla="*/ 135672 h 253855"/>
                <a:gd name="connsiteX1542" fmla="*/ 56412 w 124107"/>
                <a:gd name="connsiteY1542" fmla="*/ 135389 h 253855"/>
                <a:gd name="connsiteX1543" fmla="*/ 55848 w 124107"/>
                <a:gd name="connsiteY1543" fmla="*/ 135672 h 253855"/>
                <a:gd name="connsiteX1544" fmla="*/ 55848 w 124107"/>
                <a:gd name="connsiteY1544" fmla="*/ 135954 h 253855"/>
                <a:gd name="connsiteX1545" fmla="*/ 57258 w 124107"/>
                <a:gd name="connsiteY1545" fmla="*/ 124389 h 253855"/>
                <a:gd name="connsiteX1546" fmla="*/ 57540 w 124107"/>
                <a:gd name="connsiteY1546" fmla="*/ 124107 h 253855"/>
                <a:gd name="connsiteX1547" fmla="*/ 57258 w 124107"/>
                <a:gd name="connsiteY1547" fmla="*/ 124107 h 253855"/>
                <a:gd name="connsiteX1548" fmla="*/ 57258 w 124107"/>
                <a:gd name="connsiteY1548" fmla="*/ 124389 h 253855"/>
                <a:gd name="connsiteX1549" fmla="*/ 57258 w 124107"/>
                <a:gd name="connsiteY1549" fmla="*/ 136800 h 253855"/>
                <a:gd name="connsiteX1550" fmla="*/ 57540 w 124107"/>
                <a:gd name="connsiteY1550" fmla="*/ 136800 h 253855"/>
                <a:gd name="connsiteX1551" fmla="*/ 58104 w 124107"/>
                <a:gd name="connsiteY1551" fmla="*/ 137082 h 253855"/>
                <a:gd name="connsiteX1552" fmla="*/ 58387 w 124107"/>
                <a:gd name="connsiteY1552" fmla="*/ 137928 h 253855"/>
                <a:gd name="connsiteX1553" fmla="*/ 58387 w 124107"/>
                <a:gd name="connsiteY1553" fmla="*/ 138492 h 253855"/>
                <a:gd name="connsiteX1554" fmla="*/ 58951 w 124107"/>
                <a:gd name="connsiteY1554" fmla="*/ 138492 h 253855"/>
                <a:gd name="connsiteX1555" fmla="*/ 59515 w 124107"/>
                <a:gd name="connsiteY1555" fmla="*/ 137364 h 253855"/>
                <a:gd name="connsiteX1556" fmla="*/ 59233 w 124107"/>
                <a:gd name="connsiteY1556" fmla="*/ 136518 h 253855"/>
                <a:gd name="connsiteX1557" fmla="*/ 58387 w 124107"/>
                <a:gd name="connsiteY1557" fmla="*/ 136236 h 253855"/>
                <a:gd name="connsiteX1558" fmla="*/ 57540 w 124107"/>
                <a:gd name="connsiteY1558" fmla="*/ 136800 h 253855"/>
                <a:gd name="connsiteX1559" fmla="*/ 57540 w 124107"/>
                <a:gd name="connsiteY1559" fmla="*/ 136236 h 253855"/>
                <a:gd name="connsiteX1560" fmla="*/ 57258 w 124107"/>
                <a:gd name="connsiteY1560" fmla="*/ 136236 h 253855"/>
                <a:gd name="connsiteX1561" fmla="*/ 57258 w 124107"/>
                <a:gd name="connsiteY1561" fmla="*/ 136800 h 253855"/>
                <a:gd name="connsiteX1562" fmla="*/ 57540 w 124107"/>
                <a:gd name="connsiteY1562" fmla="*/ 124107 h 253855"/>
                <a:gd name="connsiteX1563" fmla="*/ 57823 w 124107"/>
                <a:gd name="connsiteY1563" fmla="*/ 123825 h 253855"/>
                <a:gd name="connsiteX1564" fmla="*/ 57540 w 124107"/>
                <a:gd name="connsiteY1564" fmla="*/ 124107 h 253855"/>
                <a:gd name="connsiteX1565" fmla="*/ 57540 w 124107"/>
                <a:gd name="connsiteY1565" fmla="*/ 134261 h 253855"/>
                <a:gd name="connsiteX1566" fmla="*/ 57540 w 124107"/>
                <a:gd name="connsiteY1566" fmla="*/ 134543 h 253855"/>
                <a:gd name="connsiteX1567" fmla="*/ 57823 w 124107"/>
                <a:gd name="connsiteY1567" fmla="*/ 134543 h 253855"/>
                <a:gd name="connsiteX1568" fmla="*/ 58104 w 124107"/>
                <a:gd name="connsiteY1568" fmla="*/ 133697 h 253855"/>
                <a:gd name="connsiteX1569" fmla="*/ 58104 w 124107"/>
                <a:gd name="connsiteY1569" fmla="*/ 133415 h 253855"/>
                <a:gd name="connsiteX1570" fmla="*/ 57823 w 124107"/>
                <a:gd name="connsiteY1570" fmla="*/ 133133 h 253855"/>
                <a:gd name="connsiteX1571" fmla="*/ 57823 w 124107"/>
                <a:gd name="connsiteY1571" fmla="*/ 133415 h 253855"/>
                <a:gd name="connsiteX1572" fmla="*/ 57540 w 124107"/>
                <a:gd name="connsiteY1572" fmla="*/ 134261 h 253855"/>
                <a:gd name="connsiteX1573" fmla="*/ 59233 w 124107"/>
                <a:gd name="connsiteY1573" fmla="*/ 125799 h 253855"/>
                <a:gd name="connsiteX1574" fmla="*/ 58951 w 124107"/>
                <a:gd name="connsiteY1574" fmla="*/ 125799 h 253855"/>
                <a:gd name="connsiteX1575" fmla="*/ 58951 w 124107"/>
                <a:gd name="connsiteY1575" fmla="*/ 125517 h 253855"/>
                <a:gd name="connsiteX1576" fmla="*/ 58104 w 124107"/>
                <a:gd name="connsiteY1576" fmla="*/ 126081 h 253855"/>
                <a:gd name="connsiteX1577" fmla="*/ 57823 w 124107"/>
                <a:gd name="connsiteY1577" fmla="*/ 126928 h 253855"/>
                <a:gd name="connsiteX1578" fmla="*/ 58668 w 124107"/>
                <a:gd name="connsiteY1578" fmla="*/ 126928 h 253855"/>
                <a:gd name="connsiteX1579" fmla="*/ 59233 w 124107"/>
                <a:gd name="connsiteY1579" fmla="*/ 125799 h 253855"/>
                <a:gd name="connsiteX1580" fmla="*/ 58387 w 124107"/>
                <a:gd name="connsiteY1580" fmla="*/ 122979 h 253855"/>
                <a:gd name="connsiteX1581" fmla="*/ 59797 w 124107"/>
                <a:gd name="connsiteY1581" fmla="*/ 122133 h 253855"/>
                <a:gd name="connsiteX1582" fmla="*/ 58387 w 124107"/>
                <a:gd name="connsiteY1582" fmla="*/ 122979 h 253855"/>
                <a:gd name="connsiteX1583" fmla="*/ 59797 w 124107"/>
                <a:gd name="connsiteY1583" fmla="*/ 122133 h 253855"/>
                <a:gd name="connsiteX1584" fmla="*/ 61771 w 124107"/>
                <a:gd name="connsiteY1584" fmla="*/ 121286 h 253855"/>
                <a:gd name="connsiteX1585" fmla="*/ 61489 w 124107"/>
                <a:gd name="connsiteY1585" fmla="*/ 121004 h 253855"/>
                <a:gd name="connsiteX1586" fmla="*/ 60925 w 124107"/>
                <a:gd name="connsiteY1586" fmla="*/ 120722 h 253855"/>
                <a:gd name="connsiteX1587" fmla="*/ 60361 w 124107"/>
                <a:gd name="connsiteY1587" fmla="*/ 121004 h 253855"/>
                <a:gd name="connsiteX1588" fmla="*/ 59797 w 124107"/>
                <a:gd name="connsiteY1588" fmla="*/ 122133 h 253855"/>
                <a:gd name="connsiteX1589" fmla="*/ 62054 w 124107"/>
                <a:gd name="connsiteY1589" fmla="*/ 240598 h 253855"/>
                <a:gd name="connsiteX1590" fmla="*/ 61771 w 124107"/>
                <a:gd name="connsiteY1590" fmla="*/ 240880 h 253855"/>
                <a:gd name="connsiteX1591" fmla="*/ 62054 w 124107"/>
                <a:gd name="connsiteY1591" fmla="*/ 240880 h 253855"/>
                <a:gd name="connsiteX1592" fmla="*/ 62618 w 124107"/>
                <a:gd name="connsiteY1592" fmla="*/ 240598 h 253855"/>
                <a:gd name="connsiteX1593" fmla="*/ 62054 w 124107"/>
                <a:gd name="connsiteY1593" fmla="*/ 240598 h 253855"/>
                <a:gd name="connsiteX1594" fmla="*/ 63464 w 124107"/>
                <a:gd name="connsiteY1594" fmla="*/ 120722 h 253855"/>
                <a:gd name="connsiteX1595" fmla="*/ 63745 w 124107"/>
                <a:gd name="connsiteY1595" fmla="*/ 121286 h 253855"/>
                <a:gd name="connsiteX1596" fmla="*/ 64309 w 124107"/>
                <a:gd name="connsiteY1596" fmla="*/ 121286 h 253855"/>
                <a:gd name="connsiteX1597" fmla="*/ 66002 w 124107"/>
                <a:gd name="connsiteY1597" fmla="*/ 122415 h 253855"/>
                <a:gd name="connsiteX1598" fmla="*/ 67412 w 124107"/>
                <a:gd name="connsiteY1598" fmla="*/ 121851 h 253855"/>
                <a:gd name="connsiteX1599" fmla="*/ 67976 w 124107"/>
                <a:gd name="connsiteY1599" fmla="*/ 121286 h 253855"/>
                <a:gd name="connsiteX1600" fmla="*/ 67695 w 124107"/>
                <a:gd name="connsiteY1600" fmla="*/ 121004 h 253855"/>
                <a:gd name="connsiteX1601" fmla="*/ 66566 w 124107"/>
                <a:gd name="connsiteY1601" fmla="*/ 120158 h 253855"/>
                <a:gd name="connsiteX1602" fmla="*/ 66002 w 124107"/>
                <a:gd name="connsiteY1602" fmla="*/ 119876 h 253855"/>
                <a:gd name="connsiteX1603" fmla="*/ 64309 w 124107"/>
                <a:gd name="connsiteY1603" fmla="*/ 120158 h 253855"/>
                <a:gd name="connsiteX1604" fmla="*/ 63745 w 124107"/>
                <a:gd name="connsiteY1604" fmla="*/ 120158 h 253855"/>
                <a:gd name="connsiteX1605" fmla="*/ 63464 w 124107"/>
                <a:gd name="connsiteY1605" fmla="*/ 120440 h 253855"/>
                <a:gd name="connsiteX1606" fmla="*/ 63464 w 124107"/>
                <a:gd name="connsiteY1606" fmla="*/ 120722 h 253855"/>
                <a:gd name="connsiteX1607" fmla="*/ 63745 w 124107"/>
                <a:gd name="connsiteY1607" fmla="*/ 118184 h 253855"/>
                <a:gd name="connsiteX1608" fmla="*/ 64309 w 124107"/>
                <a:gd name="connsiteY1608" fmla="*/ 118466 h 253855"/>
                <a:gd name="connsiteX1609" fmla="*/ 64874 w 124107"/>
                <a:gd name="connsiteY1609" fmla="*/ 117902 h 253855"/>
                <a:gd name="connsiteX1610" fmla="*/ 64592 w 124107"/>
                <a:gd name="connsiteY1610" fmla="*/ 117620 h 253855"/>
                <a:gd name="connsiteX1611" fmla="*/ 64309 w 124107"/>
                <a:gd name="connsiteY1611" fmla="*/ 117620 h 253855"/>
                <a:gd name="connsiteX1612" fmla="*/ 63745 w 124107"/>
                <a:gd name="connsiteY1612" fmla="*/ 117902 h 253855"/>
                <a:gd name="connsiteX1613" fmla="*/ 63745 w 124107"/>
                <a:gd name="connsiteY1613" fmla="*/ 118184 h 253855"/>
                <a:gd name="connsiteX1614" fmla="*/ 68540 w 124107"/>
                <a:gd name="connsiteY1614" fmla="*/ 117055 h 253855"/>
                <a:gd name="connsiteX1615" fmla="*/ 69105 w 124107"/>
                <a:gd name="connsiteY1615" fmla="*/ 117620 h 253855"/>
                <a:gd name="connsiteX1616" fmla="*/ 69387 w 124107"/>
                <a:gd name="connsiteY1616" fmla="*/ 117902 h 253855"/>
                <a:gd name="connsiteX1617" fmla="*/ 69951 w 124107"/>
                <a:gd name="connsiteY1617" fmla="*/ 116491 h 253855"/>
                <a:gd name="connsiteX1618" fmla="*/ 69951 w 124107"/>
                <a:gd name="connsiteY1618" fmla="*/ 116209 h 253855"/>
                <a:gd name="connsiteX1619" fmla="*/ 69387 w 124107"/>
                <a:gd name="connsiteY1619" fmla="*/ 116209 h 253855"/>
                <a:gd name="connsiteX1620" fmla="*/ 68540 w 124107"/>
                <a:gd name="connsiteY1620" fmla="*/ 117055 h 253855"/>
                <a:gd name="connsiteX1621" fmla="*/ 70233 w 124107"/>
                <a:gd name="connsiteY1621" fmla="*/ 121568 h 253855"/>
                <a:gd name="connsiteX1622" fmla="*/ 69669 w 124107"/>
                <a:gd name="connsiteY1622" fmla="*/ 122133 h 253855"/>
                <a:gd name="connsiteX1623" fmla="*/ 69669 w 124107"/>
                <a:gd name="connsiteY1623" fmla="*/ 122415 h 253855"/>
                <a:gd name="connsiteX1624" fmla="*/ 70233 w 124107"/>
                <a:gd name="connsiteY1624" fmla="*/ 122133 h 253855"/>
                <a:gd name="connsiteX1625" fmla="*/ 70515 w 124107"/>
                <a:gd name="connsiteY1625" fmla="*/ 122133 h 253855"/>
                <a:gd name="connsiteX1626" fmla="*/ 70797 w 124107"/>
                <a:gd name="connsiteY1626" fmla="*/ 122415 h 253855"/>
                <a:gd name="connsiteX1627" fmla="*/ 70515 w 124107"/>
                <a:gd name="connsiteY1627" fmla="*/ 121568 h 253855"/>
                <a:gd name="connsiteX1628" fmla="*/ 70233 w 124107"/>
                <a:gd name="connsiteY1628" fmla="*/ 121568 h 253855"/>
                <a:gd name="connsiteX1629" fmla="*/ 73054 w 124107"/>
                <a:gd name="connsiteY1629" fmla="*/ 117620 h 253855"/>
                <a:gd name="connsiteX1630" fmla="*/ 73336 w 124107"/>
                <a:gd name="connsiteY1630" fmla="*/ 117338 h 253855"/>
                <a:gd name="connsiteX1631" fmla="*/ 73900 w 124107"/>
                <a:gd name="connsiteY1631" fmla="*/ 115927 h 253855"/>
                <a:gd name="connsiteX1632" fmla="*/ 75592 w 124107"/>
                <a:gd name="connsiteY1632" fmla="*/ 114799 h 253855"/>
                <a:gd name="connsiteX1633" fmla="*/ 78131 w 124107"/>
                <a:gd name="connsiteY1633" fmla="*/ 112825 h 253855"/>
                <a:gd name="connsiteX1634" fmla="*/ 75592 w 124107"/>
                <a:gd name="connsiteY1634" fmla="*/ 114235 h 253855"/>
                <a:gd name="connsiteX1635" fmla="*/ 75028 w 124107"/>
                <a:gd name="connsiteY1635" fmla="*/ 114517 h 253855"/>
                <a:gd name="connsiteX1636" fmla="*/ 73336 w 124107"/>
                <a:gd name="connsiteY1636" fmla="*/ 115645 h 253855"/>
                <a:gd name="connsiteX1637" fmla="*/ 72771 w 124107"/>
                <a:gd name="connsiteY1637" fmla="*/ 117055 h 253855"/>
                <a:gd name="connsiteX1638" fmla="*/ 73054 w 124107"/>
                <a:gd name="connsiteY1638" fmla="*/ 117620 h 253855"/>
                <a:gd name="connsiteX1639" fmla="*/ 74746 w 124107"/>
                <a:gd name="connsiteY1639" fmla="*/ 117902 h 253855"/>
                <a:gd name="connsiteX1640" fmla="*/ 73900 w 124107"/>
                <a:gd name="connsiteY1640" fmla="*/ 118466 h 253855"/>
                <a:gd name="connsiteX1641" fmla="*/ 74182 w 124107"/>
                <a:gd name="connsiteY1641" fmla="*/ 119030 h 253855"/>
                <a:gd name="connsiteX1642" fmla="*/ 75028 w 124107"/>
                <a:gd name="connsiteY1642" fmla="*/ 118184 h 253855"/>
                <a:gd name="connsiteX1643" fmla="*/ 74746 w 124107"/>
                <a:gd name="connsiteY1643" fmla="*/ 117902 h 253855"/>
                <a:gd name="connsiteX1644" fmla="*/ 77849 w 124107"/>
                <a:gd name="connsiteY1644" fmla="*/ 225085 h 253855"/>
                <a:gd name="connsiteX1645" fmla="*/ 77567 w 124107"/>
                <a:gd name="connsiteY1645" fmla="*/ 224521 h 253855"/>
                <a:gd name="connsiteX1646" fmla="*/ 76721 w 124107"/>
                <a:gd name="connsiteY1646" fmla="*/ 224521 h 253855"/>
                <a:gd name="connsiteX1647" fmla="*/ 76438 w 124107"/>
                <a:gd name="connsiteY1647" fmla="*/ 225931 h 253855"/>
                <a:gd name="connsiteX1648" fmla="*/ 76438 w 124107"/>
                <a:gd name="connsiteY1648" fmla="*/ 226777 h 253855"/>
                <a:gd name="connsiteX1649" fmla="*/ 77002 w 124107"/>
                <a:gd name="connsiteY1649" fmla="*/ 226777 h 253855"/>
                <a:gd name="connsiteX1650" fmla="*/ 77849 w 124107"/>
                <a:gd name="connsiteY1650" fmla="*/ 225085 h 253855"/>
                <a:gd name="connsiteX1651" fmla="*/ 78977 w 124107"/>
                <a:gd name="connsiteY1651" fmla="*/ 221700 h 253855"/>
                <a:gd name="connsiteX1652" fmla="*/ 78413 w 124107"/>
                <a:gd name="connsiteY1652" fmla="*/ 221982 h 253855"/>
                <a:gd name="connsiteX1653" fmla="*/ 78131 w 124107"/>
                <a:gd name="connsiteY1653" fmla="*/ 222264 h 253855"/>
                <a:gd name="connsiteX1654" fmla="*/ 78413 w 124107"/>
                <a:gd name="connsiteY1654" fmla="*/ 222264 h 253855"/>
                <a:gd name="connsiteX1655" fmla="*/ 78695 w 124107"/>
                <a:gd name="connsiteY1655" fmla="*/ 221982 h 253855"/>
                <a:gd name="connsiteX1656" fmla="*/ 78977 w 124107"/>
                <a:gd name="connsiteY1656" fmla="*/ 221700 h 253855"/>
                <a:gd name="connsiteX1657" fmla="*/ 80105 w 124107"/>
                <a:gd name="connsiteY1657" fmla="*/ 111414 h 253855"/>
                <a:gd name="connsiteX1658" fmla="*/ 81798 w 124107"/>
                <a:gd name="connsiteY1658" fmla="*/ 110568 h 253855"/>
                <a:gd name="connsiteX1659" fmla="*/ 83208 w 124107"/>
                <a:gd name="connsiteY1659" fmla="*/ 112260 h 253855"/>
                <a:gd name="connsiteX1660" fmla="*/ 83208 w 124107"/>
                <a:gd name="connsiteY1660" fmla="*/ 112542 h 253855"/>
                <a:gd name="connsiteX1661" fmla="*/ 82079 w 124107"/>
                <a:gd name="connsiteY1661" fmla="*/ 112260 h 253855"/>
                <a:gd name="connsiteX1662" fmla="*/ 81516 w 124107"/>
                <a:gd name="connsiteY1662" fmla="*/ 113107 h 253855"/>
                <a:gd name="connsiteX1663" fmla="*/ 81516 w 124107"/>
                <a:gd name="connsiteY1663" fmla="*/ 113671 h 253855"/>
                <a:gd name="connsiteX1664" fmla="*/ 82079 w 124107"/>
                <a:gd name="connsiteY1664" fmla="*/ 114517 h 253855"/>
                <a:gd name="connsiteX1665" fmla="*/ 82362 w 124107"/>
                <a:gd name="connsiteY1665" fmla="*/ 114799 h 253855"/>
                <a:gd name="connsiteX1666" fmla="*/ 82643 w 124107"/>
                <a:gd name="connsiteY1666" fmla="*/ 114517 h 253855"/>
                <a:gd name="connsiteX1667" fmla="*/ 83772 w 124107"/>
                <a:gd name="connsiteY1667" fmla="*/ 113671 h 253855"/>
                <a:gd name="connsiteX1668" fmla="*/ 84336 w 124107"/>
                <a:gd name="connsiteY1668" fmla="*/ 112825 h 253855"/>
                <a:gd name="connsiteX1669" fmla="*/ 84054 w 124107"/>
                <a:gd name="connsiteY1669" fmla="*/ 111978 h 253855"/>
                <a:gd name="connsiteX1670" fmla="*/ 84336 w 124107"/>
                <a:gd name="connsiteY1670" fmla="*/ 111132 h 253855"/>
                <a:gd name="connsiteX1671" fmla="*/ 84900 w 124107"/>
                <a:gd name="connsiteY1671" fmla="*/ 110568 h 253855"/>
                <a:gd name="connsiteX1672" fmla="*/ 84618 w 124107"/>
                <a:gd name="connsiteY1672" fmla="*/ 110004 h 253855"/>
                <a:gd name="connsiteX1673" fmla="*/ 84336 w 124107"/>
                <a:gd name="connsiteY1673" fmla="*/ 109722 h 253855"/>
                <a:gd name="connsiteX1674" fmla="*/ 84900 w 124107"/>
                <a:gd name="connsiteY1674" fmla="*/ 109440 h 253855"/>
                <a:gd name="connsiteX1675" fmla="*/ 86310 w 124107"/>
                <a:gd name="connsiteY1675" fmla="*/ 107747 h 253855"/>
                <a:gd name="connsiteX1676" fmla="*/ 87157 w 124107"/>
                <a:gd name="connsiteY1676" fmla="*/ 107183 h 253855"/>
                <a:gd name="connsiteX1677" fmla="*/ 87157 w 124107"/>
                <a:gd name="connsiteY1677" fmla="*/ 108312 h 253855"/>
                <a:gd name="connsiteX1678" fmla="*/ 88567 w 124107"/>
                <a:gd name="connsiteY1678" fmla="*/ 107183 h 253855"/>
                <a:gd name="connsiteX1679" fmla="*/ 87721 w 124107"/>
                <a:gd name="connsiteY1679" fmla="*/ 106337 h 253855"/>
                <a:gd name="connsiteX1680" fmla="*/ 87157 w 124107"/>
                <a:gd name="connsiteY1680" fmla="*/ 105209 h 253855"/>
                <a:gd name="connsiteX1681" fmla="*/ 86593 w 124107"/>
                <a:gd name="connsiteY1681" fmla="*/ 105209 h 253855"/>
                <a:gd name="connsiteX1682" fmla="*/ 84054 w 124107"/>
                <a:gd name="connsiteY1682" fmla="*/ 106337 h 253855"/>
                <a:gd name="connsiteX1683" fmla="*/ 83772 w 124107"/>
                <a:gd name="connsiteY1683" fmla="*/ 106337 h 253855"/>
                <a:gd name="connsiteX1684" fmla="*/ 82643 w 124107"/>
                <a:gd name="connsiteY1684" fmla="*/ 107465 h 253855"/>
                <a:gd name="connsiteX1685" fmla="*/ 82079 w 124107"/>
                <a:gd name="connsiteY1685" fmla="*/ 108312 h 253855"/>
                <a:gd name="connsiteX1686" fmla="*/ 79823 w 124107"/>
                <a:gd name="connsiteY1686" fmla="*/ 110568 h 253855"/>
                <a:gd name="connsiteX1687" fmla="*/ 79823 w 124107"/>
                <a:gd name="connsiteY1687" fmla="*/ 111414 h 253855"/>
                <a:gd name="connsiteX1688" fmla="*/ 80105 w 124107"/>
                <a:gd name="connsiteY1688" fmla="*/ 111414 h 253855"/>
                <a:gd name="connsiteX1689" fmla="*/ 80669 w 124107"/>
                <a:gd name="connsiteY1689" fmla="*/ 217751 h 253855"/>
                <a:gd name="connsiteX1690" fmla="*/ 80388 w 124107"/>
                <a:gd name="connsiteY1690" fmla="*/ 217187 h 253855"/>
                <a:gd name="connsiteX1691" fmla="*/ 80105 w 124107"/>
                <a:gd name="connsiteY1691" fmla="*/ 217469 h 253855"/>
                <a:gd name="connsiteX1692" fmla="*/ 80388 w 124107"/>
                <a:gd name="connsiteY1692" fmla="*/ 217751 h 253855"/>
                <a:gd name="connsiteX1693" fmla="*/ 80669 w 124107"/>
                <a:gd name="connsiteY1693" fmla="*/ 217751 h 253855"/>
                <a:gd name="connsiteX1694" fmla="*/ 80388 w 124107"/>
                <a:gd name="connsiteY1694" fmla="*/ 219726 h 253855"/>
                <a:gd name="connsiteX1695" fmla="*/ 80105 w 124107"/>
                <a:gd name="connsiteY1695" fmla="*/ 219726 h 253855"/>
                <a:gd name="connsiteX1696" fmla="*/ 80388 w 124107"/>
                <a:gd name="connsiteY1696" fmla="*/ 219726 h 253855"/>
                <a:gd name="connsiteX1697" fmla="*/ 86874 w 124107"/>
                <a:gd name="connsiteY1697" fmla="*/ 214367 h 253855"/>
                <a:gd name="connsiteX1698" fmla="*/ 86593 w 124107"/>
                <a:gd name="connsiteY1698" fmla="*/ 213803 h 253855"/>
                <a:gd name="connsiteX1699" fmla="*/ 85464 w 124107"/>
                <a:gd name="connsiteY1699" fmla="*/ 212956 h 253855"/>
                <a:gd name="connsiteX1700" fmla="*/ 84900 w 124107"/>
                <a:gd name="connsiteY1700" fmla="*/ 212674 h 253855"/>
                <a:gd name="connsiteX1701" fmla="*/ 84618 w 124107"/>
                <a:gd name="connsiteY1701" fmla="*/ 212956 h 253855"/>
                <a:gd name="connsiteX1702" fmla="*/ 82362 w 124107"/>
                <a:gd name="connsiteY1702" fmla="*/ 214931 h 253855"/>
                <a:gd name="connsiteX1703" fmla="*/ 81798 w 124107"/>
                <a:gd name="connsiteY1703" fmla="*/ 215777 h 253855"/>
                <a:gd name="connsiteX1704" fmla="*/ 81516 w 124107"/>
                <a:gd name="connsiteY1704" fmla="*/ 216341 h 253855"/>
                <a:gd name="connsiteX1705" fmla="*/ 81798 w 124107"/>
                <a:gd name="connsiteY1705" fmla="*/ 216623 h 253855"/>
                <a:gd name="connsiteX1706" fmla="*/ 82362 w 124107"/>
                <a:gd name="connsiteY1706" fmla="*/ 216623 h 253855"/>
                <a:gd name="connsiteX1707" fmla="*/ 83208 w 124107"/>
                <a:gd name="connsiteY1707" fmla="*/ 215777 h 253855"/>
                <a:gd name="connsiteX1708" fmla="*/ 83208 w 124107"/>
                <a:gd name="connsiteY1708" fmla="*/ 215213 h 253855"/>
                <a:gd name="connsiteX1709" fmla="*/ 84054 w 124107"/>
                <a:gd name="connsiteY1709" fmla="*/ 214367 h 253855"/>
                <a:gd name="connsiteX1710" fmla="*/ 85746 w 124107"/>
                <a:gd name="connsiteY1710" fmla="*/ 214931 h 253855"/>
                <a:gd name="connsiteX1711" fmla="*/ 86874 w 124107"/>
                <a:gd name="connsiteY1711" fmla="*/ 214367 h 253855"/>
                <a:gd name="connsiteX1712" fmla="*/ 85182 w 124107"/>
                <a:gd name="connsiteY1712" fmla="*/ 100132 h 253855"/>
                <a:gd name="connsiteX1713" fmla="*/ 85464 w 124107"/>
                <a:gd name="connsiteY1713" fmla="*/ 100132 h 253855"/>
                <a:gd name="connsiteX1714" fmla="*/ 85182 w 124107"/>
                <a:gd name="connsiteY1714" fmla="*/ 100414 h 253855"/>
                <a:gd name="connsiteX1715" fmla="*/ 85182 w 124107"/>
                <a:gd name="connsiteY1715" fmla="*/ 100132 h 253855"/>
                <a:gd name="connsiteX1716" fmla="*/ 86874 w 124107"/>
                <a:gd name="connsiteY1716" fmla="*/ 211546 h 253855"/>
                <a:gd name="connsiteX1717" fmla="*/ 86593 w 124107"/>
                <a:gd name="connsiteY1717" fmla="*/ 211264 h 253855"/>
                <a:gd name="connsiteX1718" fmla="*/ 86310 w 124107"/>
                <a:gd name="connsiteY1718" fmla="*/ 211264 h 253855"/>
                <a:gd name="connsiteX1719" fmla="*/ 86029 w 124107"/>
                <a:gd name="connsiteY1719" fmla="*/ 211828 h 253855"/>
                <a:gd name="connsiteX1720" fmla="*/ 86593 w 124107"/>
                <a:gd name="connsiteY1720" fmla="*/ 212392 h 253855"/>
                <a:gd name="connsiteX1721" fmla="*/ 86593 w 124107"/>
                <a:gd name="connsiteY1721" fmla="*/ 212110 h 253855"/>
                <a:gd name="connsiteX1722" fmla="*/ 86874 w 124107"/>
                <a:gd name="connsiteY1722" fmla="*/ 212110 h 253855"/>
                <a:gd name="connsiteX1723" fmla="*/ 86874 w 124107"/>
                <a:gd name="connsiteY1723" fmla="*/ 211546 h 253855"/>
                <a:gd name="connsiteX1724" fmla="*/ 88003 w 124107"/>
                <a:gd name="connsiteY1724" fmla="*/ 102670 h 253855"/>
                <a:gd name="connsiteX1725" fmla="*/ 88285 w 124107"/>
                <a:gd name="connsiteY1725" fmla="*/ 102388 h 253855"/>
                <a:gd name="connsiteX1726" fmla="*/ 88003 w 124107"/>
                <a:gd name="connsiteY1726" fmla="*/ 102106 h 253855"/>
                <a:gd name="connsiteX1727" fmla="*/ 87439 w 124107"/>
                <a:gd name="connsiteY1727" fmla="*/ 102388 h 253855"/>
                <a:gd name="connsiteX1728" fmla="*/ 88003 w 124107"/>
                <a:gd name="connsiteY1728" fmla="*/ 102670 h 253855"/>
                <a:gd name="connsiteX1729" fmla="*/ 88567 w 124107"/>
                <a:gd name="connsiteY1729" fmla="*/ 104645 h 253855"/>
                <a:gd name="connsiteX1730" fmla="*/ 91388 w 124107"/>
                <a:gd name="connsiteY1730" fmla="*/ 102106 h 253855"/>
                <a:gd name="connsiteX1731" fmla="*/ 90824 w 124107"/>
                <a:gd name="connsiteY1731" fmla="*/ 102106 h 253855"/>
                <a:gd name="connsiteX1732" fmla="*/ 87721 w 124107"/>
                <a:gd name="connsiteY1732" fmla="*/ 104645 h 253855"/>
                <a:gd name="connsiteX1733" fmla="*/ 88567 w 124107"/>
                <a:gd name="connsiteY1733" fmla="*/ 104645 h 253855"/>
                <a:gd name="connsiteX1734" fmla="*/ 88567 w 124107"/>
                <a:gd name="connsiteY1734" fmla="*/ 207315 h 253855"/>
                <a:gd name="connsiteX1735" fmla="*/ 89131 w 124107"/>
                <a:gd name="connsiteY1735" fmla="*/ 207033 h 253855"/>
                <a:gd name="connsiteX1736" fmla="*/ 88849 w 124107"/>
                <a:gd name="connsiteY1736" fmla="*/ 207033 h 253855"/>
                <a:gd name="connsiteX1737" fmla="*/ 88849 w 124107"/>
                <a:gd name="connsiteY1737" fmla="*/ 206751 h 253855"/>
                <a:gd name="connsiteX1738" fmla="*/ 88285 w 124107"/>
                <a:gd name="connsiteY1738" fmla="*/ 207315 h 253855"/>
                <a:gd name="connsiteX1739" fmla="*/ 88567 w 124107"/>
                <a:gd name="connsiteY1739" fmla="*/ 207315 h 253855"/>
                <a:gd name="connsiteX1740" fmla="*/ 90260 w 124107"/>
                <a:gd name="connsiteY1740" fmla="*/ 209290 h 253855"/>
                <a:gd name="connsiteX1741" fmla="*/ 88285 w 124107"/>
                <a:gd name="connsiteY1741" fmla="*/ 208443 h 253855"/>
                <a:gd name="connsiteX1742" fmla="*/ 88285 w 124107"/>
                <a:gd name="connsiteY1742" fmla="*/ 208725 h 253855"/>
                <a:gd name="connsiteX1743" fmla="*/ 89131 w 124107"/>
                <a:gd name="connsiteY1743" fmla="*/ 210136 h 253855"/>
                <a:gd name="connsiteX1744" fmla="*/ 89977 w 124107"/>
                <a:gd name="connsiteY1744" fmla="*/ 209854 h 253855"/>
                <a:gd name="connsiteX1745" fmla="*/ 90260 w 124107"/>
                <a:gd name="connsiteY1745" fmla="*/ 209290 h 253855"/>
                <a:gd name="connsiteX1746" fmla="*/ 89413 w 124107"/>
                <a:gd name="connsiteY1746" fmla="*/ 99568 h 253855"/>
                <a:gd name="connsiteX1747" fmla="*/ 89977 w 124107"/>
                <a:gd name="connsiteY1747" fmla="*/ 100414 h 253855"/>
                <a:gd name="connsiteX1748" fmla="*/ 89977 w 124107"/>
                <a:gd name="connsiteY1748" fmla="*/ 100696 h 253855"/>
                <a:gd name="connsiteX1749" fmla="*/ 90541 w 124107"/>
                <a:gd name="connsiteY1749" fmla="*/ 100978 h 253855"/>
                <a:gd name="connsiteX1750" fmla="*/ 90824 w 124107"/>
                <a:gd name="connsiteY1750" fmla="*/ 100696 h 253855"/>
                <a:gd name="connsiteX1751" fmla="*/ 91952 w 124107"/>
                <a:gd name="connsiteY1751" fmla="*/ 99568 h 253855"/>
                <a:gd name="connsiteX1752" fmla="*/ 91388 w 124107"/>
                <a:gd name="connsiteY1752" fmla="*/ 99568 h 253855"/>
                <a:gd name="connsiteX1753" fmla="*/ 90260 w 124107"/>
                <a:gd name="connsiteY1753" fmla="*/ 99004 h 253855"/>
                <a:gd name="connsiteX1754" fmla="*/ 90260 w 124107"/>
                <a:gd name="connsiteY1754" fmla="*/ 98439 h 253855"/>
                <a:gd name="connsiteX1755" fmla="*/ 89695 w 124107"/>
                <a:gd name="connsiteY1755" fmla="*/ 98721 h 253855"/>
                <a:gd name="connsiteX1756" fmla="*/ 88849 w 124107"/>
                <a:gd name="connsiteY1756" fmla="*/ 99004 h 253855"/>
                <a:gd name="connsiteX1757" fmla="*/ 89413 w 124107"/>
                <a:gd name="connsiteY1757" fmla="*/ 99568 h 253855"/>
                <a:gd name="connsiteX1758" fmla="*/ 91105 w 124107"/>
                <a:gd name="connsiteY1758" fmla="*/ 96747 h 253855"/>
                <a:gd name="connsiteX1759" fmla="*/ 91388 w 124107"/>
                <a:gd name="connsiteY1759" fmla="*/ 97029 h 253855"/>
                <a:gd name="connsiteX1760" fmla="*/ 92516 w 124107"/>
                <a:gd name="connsiteY1760" fmla="*/ 96747 h 253855"/>
                <a:gd name="connsiteX1761" fmla="*/ 92234 w 124107"/>
                <a:gd name="connsiteY1761" fmla="*/ 96465 h 253855"/>
                <a:gd name="connsiteX1762" fmla="*/ 91388 w 124107"/>
                <a:gd name="connsiteY1762" fmla="*/ 96465 h 253855"/>
                <a:gd name="connsiteX1763" fmla="*/ 91105 w 124107"/>
                <a:gd name="connsiteY1763" fmla="*/ 96747 h 253855"/>
                <a:gd name="connsiteX1764" fmla="*/ 92234 w 124107"/>
                <a:gd name="connsiteY1764" fmla="*/ 101260 h 253855"/>
                <a:gd name="connsiteX1765" fmla="*/ 91952 w 124107"/>
                <a:gd name="connsiteY1765" fmla="*/ 101260 h 253855"/>
                <a:gd name="connsiteX1766" fmla="*/ 91388 w 124107"/>
                <a:gd name="connsiteY1766" fmla="*/ 102106 h 253855"/>
                <a:gd name="connsiteX1767" fmla="*/ 92516 w 124107"/>
                <a:gd name="connsiteY1767" fmla="*/ 101542 h 253855"/>
                <a:gd name="connsiteX1768" fmla="*/ 92234 w 124107"/>
                <a:gd name="connsiteY1768" fmla="*/ 101260 h 253855"/>
                <a:gd name="connsiteX1769" fmla="*/ 93362 w 124107"/>
                <a:gd name="connsiteY1769" fmla="*/ 98721 h 253855"/>
                <a:gd name="connsiteX1770" fmla="*/ 93644 w 124107"/>
                <a:gd name="connsiteY1770" fmla="*/ 98721 h 253855"/>
                <a:gd name="connsiteX1771" fmla="*/ 94491 w 124107"/>
                <a:gd name="connsiteY1771" fmla="*/ 98439 h 253855"/>
                <a:gd name="connsiteX1772" fmla="*/ 93926 w 124107"/>
                <a:gd name="connsiteY1772" fmla="*/ 98157 h 253855"/>
                <a:gd name="connsiteX1773" fmla="*/ 93362 w 124107"/>
                <a:gd name="connsiteY1773" fmla="*/ 98721 h 253855"/>
                <a:gd name="connsiteX1774" fmla="*/ 93926 w 124107"/>
                <a:gd name="connsiteY1774" fmla="*/ 100696 h 253855"/>
                <a:gd name="connsiteX1775" fmla="*/ 94208 w 124107"/>
                <a:gd name="connsiteY1775" fmla="*/ 100414 h 253855"/>
                <a:gd name="connsiteX1776" fmla="*/ 94772 w 124107"/>
                <a:gd name="connsiteY1776" fmla="*/ 100696 h 253855"/>
                <a:gd name="connsiteX1777" fmla="*/ 94491 w 124107"/>
                <a:gd name="connsiteY1777" fmla="*/ 100132 h 253855"/>
                <a:gd name="connsiteX1778" fmla="*/ 93926 w 124107"/>
                <a:gd name="connsiteY1778" fmla="*/ 100414 h 253855"/>
                <a:gd name="connsiteX1779" fmla="*/ 93926 w 124107"/>
                <a:gd name="connsiteY1779" fmla="*/ 100696 h 253855"/>
                <a:gd name="connsiteX1780" fmla="*/ 94491 w 124107"/>
                <a:gd name="connsiteY1780" fmla="*/ 103799 h 253855"/>
                <a:gd name="connsiteX1781" fmla="*/ 95901 w 124107"/>
                <a:gd name="connsiteY1781" fmla="*/ 103234 h 253855"/>
                <a:gd name="connsiteX1782" fmla="*/ 95619 w 124107"/>
                <a:gd name="connsiteY1782" fmla="*/ 102670 h 253855"/>
                <a:gd name="connsiteX1783" fmla="*/ 94491 w 124107"/>
                <a:gd name="connsiteY1783" fmla="*/ 103799 h 253855"/>
                <a:gd name="connsiteX1784" fmla="*/ 96465 w 124107"/>
                <a:gd name="connsiteY1784" fmla="*/ 96183 h 253855"/>
                <a:gd name="connsiteX1785" fmla="*/ 95901 w 124107"/>
                <a:gd name="connsiteY1785" fmla="*/ 96747 h 253855"/>
                <a:gd name="connsiteX1786" fmla="*/ 95619 w 124107"/>
                <a:gd name="connsiteY1786" fmla="*/ 97029 h 253855"/>
                <a:gd name="connsiteX1787" fmla="*/ 95901 w 124107"/>
                <a:gd name="connsiteY1787" fmla="*/ 97311 h 253855"/>
                <a:gd name="connsiteX1788" fmla="*/ 96183 w 124107"/>
                <a:gd name="connsiteY1788" fmla="*/ 96747 h 253855"/>
                <a:gd name="connsiteX1789" fmla="*/ 97593 w 124107"/>
                <a:gd name="connsiteY1789" fmla="*/ 96183 h 253855"/>
                <a:gd name="connsiteX1790" fmla="*/ 99003 w 124107"/>
                <a:gd name="connsiteY1790" fmla="*/ 94773 h 253855"/>
                <a:gd name="connsiteX1791" fmla="*/ 99286 w 124107"/>
                <a:gd name="connsiteY1791" fmla="*/ 94491 h 253855"/>
                <a:gd name="connsiteX1792" fmla="*/ 99003 w 124107"/>
                <a:gd name="connsiteY1792" fmla="*/ 94209 h 253855"/>
                <a:gd name="connsiteX1793" fmla="*/ 97593 w 124107"/>
                <a:gd name="connsiteY1793" fmla="*/ 94491 h 253855"/>
                <a:gd name="connsiteX1794" fmla="*/ 97029 w 124107"/>
                <a:gd name="connsiteY1794" fmla="*/ 93926 h 253855"/>
                <a:gd name="connsiteX1795" fmla="*/ 96747 w 124107"/>
                <a:gd name="connsiteY1795" fmla="*/ 93644 h 253855"/>
                <a:gd name="connsiteX1796" fmla="*/ 95619 w 124107"/>
                <a:gd name="connsiteY1796" fmla="*/ 94209 h 253855"/>
                <a:gd name="connsiteX1797" fmla="*/ 95336 w 124107"/>
                <a:gd name="connsiteY1797" fmla="*/ 94209 h 253855"/>
                <a:gd name="connsiteX1798" fmla="*/ 95619 w 124107"/>
                <a:gd name="connsiteY1798" fmla="*/ 94773 h 253855"/>
                <a:gd name="connsiteX1799" fmla="*/ 95901 w 124107"/>
                <a:gd name="connsiteY1799" fmla="*/ 95055 h 253855"/>
                <a:gd name="connsiteX1800" fmla="*/ 96465 w 124107"/>
                <a:gd name="connsiteY1800" fmla="*/ 96183 h 253855"/>
                <a:gd name="connsiteX1801" fmla="*/ 96465 w 124107"/>
                <a:gd name="connsiteY1801" fmla="*/ 104081 h 253855"/>
                <a:gd name="connsiteX1802" fmla="*/ 96465 w 124107"/>
                <a:gd name="connsiteY1802" fmla="*/ 104363 h 253855"/>
                <a:gd name="connsiteX1803" fmla="*/ 96747 w 124107"/>
                <a:gd name="connsiteY1803" fmla="*/ 103799 h 253855"/>
                <a:gd name="connsiteX1804" fmla="*/ 96465 w 124107"/>
                <a:gd name="connsiteY1804" fmla="*/ 104081 h 253855"/>
                <a:gd name="connsiteX1805" fmla="*/ 96747 w 124107"/>
                <a:gd name="connsiteY1805" fmla="*/ 98721 h 253855"/>
                <a:gd name="connsiteX1806" fmla="*/ 97029 w 124107"/>
                <a:gd name="connsiteY1806" fmla="*/ 98721 h 253855"/>
                <a:gd name="connsiteX1807" fmla="*/ 98157 w 124107"/>
                <a:gd name="connsiteY1807" fmla="*/ 97029 h 253855"/>
                <a:gd name="connsiteX1808" fmla="*/ 98157 w 124107"/>
                <a:gd name="connsiteY1808" fmla="*/ 96747 h 253855"/>
                <a:gd name="connsiteX1809" fmla="*/ 97875 w 124107"/>
                <a:gd name="connsiteY1809" fmla="*/ 96747 h 253855"/>
                <a:gd name="connsiteX1810" fmla="*/ 96747 w 124107"/>
                <a:gd name="connsiteY1810" fmla="*/ 98439 h 253855"/>
                <a:gd name="connsiteX1811" fmla="*/ 96747 w 124107"/>
                <a:gd name="connsiteY1811" fmla="*/ 98721 h 253855"/>
                <a:gd name="connsiteX1812" fmla="*/ 99286 w 124107"/>
                <a:gd name="connsiteY1812" fmla="*/ 97311 h 253855"/>
                <a:gd name="connsiteX1813" fmla="*/ 99003 w 124107"/>
                <a:gd name="connsiteY1813" fmla="*/ 97593 h 253855"/>
                <a:gd name="connsiteX1814" fmla="*/ 98722 w 124107"/>
                <a:gd name="connsiteY1814" fmla="*/ 98157 h 253855"/>
                <a:gd name="connsiteX1815" fmla="*/ 99850 w 124107"/>
                <a:gd name="connsiteY1815" fmla="*/ 99286 h 253855"/>
                <a:gd name="connsiteX1816" fmla="*/ 99850 w 124107"/>
                <a:gd name="connsiteY1816" fmla="*/ 99004 h 253855"/>
                <a:gd name="connsiteX1817" fmla="*/ 99850 w 124107"/>
                <a:gd name="connsiteY1817" fmla="*/ 97593 h 253855"/>
                <a:gd name="connsiteX1818" fmla="*/ 99286 w 124107"/>
                <a:gd name="connsiteY1818" fmla="*/ 97311 h 253855"/>
                <a:gd name="connsiteX1819" fmla="*/ 99850 w 124107"/>
                <a:gd name="connsiteY1819" fmla="*/ 93362 h 253855"/>
                <a:gd name="connsiteX1820" fmla="*/ 100696 w 124107"/>
                <a:gd name="connsiteY1820" fmla="*/ 93644 h 253855"/>
                <a:gd name="connsiteX1821" fmla="*/ 101824 w 124107"/>
                <a:gd name="connsiteY1821" fmla="*/ 93080 h 253855"/>
                <a:gd name="connsiteX1822" fmla="*/ 101824 w 124107"/>
                <a:gd name="connsiteY1822" fmla="*/ 92516 h 253855"/>
                <a:gd name="connsiteX1823" fmla="*/ 101542 w 124107"/>
                <a:gd name="connsiteY1823" fmla="*/ 92234 h 253855"/>
                <a:gd name="connsiteX1824" fmla="*/ 100977 w 124107"/>
                <a:gd name="connsiteY1824" fmla="*/ 92516 h 253855"/>
                <a:gd name="connsiteX1825" fmla="*/ 99850 w 124107"/>
                <a:gd name="connsiteY1825" fmla="*/ 92798 h 253855"/>
                <a:gd name="connsiteX1826" fmla="*/ 99850 w 124107"/>
                <a:gd name="connsiteY1826" fmla="*/ 93362 h 253855"/>
                <a:gd name="connsiteX1827" fmla="*/ 101824 w 124107"/>
                <a:gd name="connsiteY1827" fmla="*/ 94209 h 253855"/>
                <a:gd name="connsiteX1828" fmla="*/ 100977 w 124107"/>
                <a:gd name="connsiteY1828" fmla="*/ 95055 h 253855"/>
                <a:gd name="connsiteX1829" fmla="*/ 100977 w 124107"/>
                <a:gd name="connsiteY1829" fmla="*/ 95337 h 253855"/>
                <a:gd name="connsiteX1830" fmla="*/ 101260 w 124107"/>
                <a:gd name="connsiteY1830" fmla="*/ 95619 h 253855"/>
                <a:gd name="connsiteX1831" fmla="*/ 101542 w 124107"/>
                <a:gd name="connsiteY1831" fmla="*/ 95619 h 253855"/>
                <a:gd name="connsiteX1832" fmla="*/ 102106 w 124107"/>
                <a:gd name="connsiteY1832" fmla="*/ 95337 h 253855"/>
                <a:gd name="connsiteX1833" fmla="*/ 102106 w 124107"/>
                <a:gd name="connsiteY1833" fmla="*/ 94491 h 253855"/>
                <a:gd name="connsiteX1834" fmla="*/ 101824 w 124107"/>
                <a:gd name="connsiteY1834" fmla="*/ 94209 h 253855"/>
                <a:gd name="connsiteX1835" fmla="*/ 106337 w 124107"/>
                <a:gd name="connsiteY1835" fmla="*/ 171493 h 253855"/>
                <a:gd name="connsiteX1836" fmla="*/ 105773 w 124107"/>
                <a:gd name="connsiteY1836" fmla="*/ 171493 h 253855"/>
                <a:gd name="connsiteX1837" fmla="*/ 104644 w 124107"/>
                <a:gd name="connsiteY1837" fmla="*/ 171211 h 253855"/>
                <a:gd name="connsiteX1838" fmla="*/ 104644 w 124107"/>
                <a:gd name="connsiteY1838" fmla="*/ 171775 h 253855"/>
                <a:gd name="connsiteX1839" fmla="*/ 106055 w 124107"/>
                <a:gd name="connsiteY1839" fmla="*/ 172622 h 253855"/>
                <a:gd name="connsiteX1840" fmla="*/ 106337 w 124107"/>
                <a:gd name="connsiteY1840" fmla="*/ 171775 h 253855"/>
                <a:gd name="connsiteX1841" fmla="*/ 106337 w 124107"/>
                <a:gd name="connsiteY1841" fmla="*/ 171493 h 253855"/>
                <a:gd name="connsiteX1842" fmla="*/ 105491 w 124107"/>
                <a:gd name="connsiteY1842" fmla="*/ 173468 h 253855"/>
                <a:gd name="connsiteX1843" fmla="*/ 104644 w 124107"/>
                <a:gd name="connsiteY1843" fmla="*/ 174878 h 253855"/>
                <a:gd name="connsiteX1844" fmla="*/ 104644 w 124107"/>
                <a:gd name="connsiteY1844" fmla="*/ 175160 h 253855"/>
                <a:gd name="connsiteX1845" fmla="*/ 104927 w 124107"/>
                <a:gd name="connsiteY1845" fmla="*/ 175160 h 253855"/>
                <a:gd name="connsiteX1846" fmla="*/ 106055 w 124107"/>
                <a:gd name="connsiteY1846" fmla="*/ 173468 h 253855"/>
                <a:gd name="connsiteX1847" fmla="*/ 105491 w 124107"/>
                <a:gd name="connsiteY1847" fmla="*/ 173468 h 253855"/>
                <a:gd name="connsiteX1848" fmla="*/ 108594 w 124107"/>
                <a:gd name="connsiteY1848" fmla="*/ 163314 h 253855"/>
                <a:gd name="connsiteX1849" fmla="*/ 108311 w 124107"/>
                <a:gd name="connsiteY1849" fmla="*/ 162185 h 253855"/>
                <a:gd name="connsiteX1850" fmla="*/ 108311 w 124107"/>
                <a:gd name="connsiteY1850" fmla="*/ 161903 h 253855"/>
                <a:gd name="connsiteX1851" fmla="*/ 107747 w 124107"/>
                <a:gd name="connsiteY1851" fmla="*/ 162185 h 253855"/>
                <a:gd name="connsiteX1852" fmla="*/ 106901 w 124107"/>
                <a:gd name="connsiteY1852" fmla="*/ 163596 h 253855"/>
                <a:gd name="connsiteX1853" fmla="*/ 107183 w 124107"/>
                <a:gd name="connsiteY1853" fmla="*/ 164724 h 253855"/>
                <a:gd name="connsiteX1854" fmla="*/ 108029 w 124107"/>
                <a:gd name="connsiteY1854" fmla="*/ 165006 h 253855"/>
                <a:gd name="connsiteX1855" fmla="*/ 108594 w 124107"/>
                <a:gd name="connsiteY1855" fmla="*/ 163596 h 253855"/>
                <a:gd name="connsiteX1856" fmla="*/ 108594 w 124107"/>
                <a:gd name="connsiteY1856" fmla="*/ 163314 h 253855"/>
                <a:gd name="connsiteX1857" fmla="*/ 108029 w 124107"/>
                <a:gd name="connsiteY1857" fmla="*/ 166134 h 253855"/>
                <a:gd name="connsiteX1858" fmla="*/ 107465 w 124107"/>
                <a:gd name="connsiteY1858" fmla="*/ 165570 h 253855"/>
                <a:gd name="connsiteX1859" fmla="*/ 107183 w 124107"/>
                <a:gd name="connsiteY1859" fmla="*/ 166416 h 253855"/>
                <a:gd name="connsiteX1860" fmla="*/ 107747 w 124107"/>
                <a:gd name="connsiteY1860" fmla="*/ 166698 h 253855"/>
                <a:gd name="connsiteX1861" fmla="*/ 108029 w 124107"/>
                <a:gd name="connsiteY1861" fmla="*/ 166134 h 253855"/>
                <a:gd name="connsiteX1862" fmla="*/ 108311 w 124107"/>
                <a:gd name="connsiteY1862" fmla="*/ 157390 h 253855"/>
                <a:gd name="connsiteX1863" fmla="*/ 108311 w 124107"/>
                <a:gd name="connsiteY1863" fmla="*/ 157954 h 253855"/>
                <a:gd name="connsiteX1864" fmla="*/ 108875 w 124107"/>
                <a:gd name="connsiteY1864" fmla="*/ 157954 h 253855"/>
                <a:gd name="connsiteX1865" fmla="*/ 108311 w 124107"/>
                <a:gd name="connsiteY1865" fmla="*/ 157390 h 253855"/>
                <a:gd name="connsiteX1866" fmla="*/ 108875 w 124107"/>
                <a:gd name="connsiteY1866" fmla="*/ 154852 h 253855"/>
                <a:gd name="connsiteX1867" fmla="*/ 109158 w 124107"/>
                <a:gd name="connsiteY1867" fmla="*/ 155134 h 253855"/>
                <a:gd name="connsiteX1868" fmla="*/ 109439 w 124107"/>
                <a:gd name="connsiteY1868" fmla="*/ 154852 h 253855"/>
                <a:gd name="connsiteX1869" fmla="*/ 109158 w 124107"/>
                <a:gd name="connsiteY1869" fmla="*/ 154288 h 253855"/>
                <a:gd name="connsiteX1870" fmla="*/ 109158 w 124107"/>
                <a:gd name="connsiteY1870" fmla="*/ 154570 h 253855"/>
                <a:gd name="connsiteX1871" fmla="*/ 108875 w 124107"/>
                <a:gd name="connsiteY1871" fmla="*/ 154852 h 253855"/>
                <a:gd name="connsiteX1872" fmla="*/ 109439 w 124107"/>
                <a:gd name="connsiteY1872" fmla="*/ 158801 h 253855"/>
                <a:gd name="connsiteX1873" fmla="*/ 109722 w 124107"/>
                <a:gd name="connsiteY1873" fmla="*/ 159365 h 253855"/>
                <a:gd name="connsiteX1874" fmla="*/ 110004 w 124107"/>
                <a:gd name="connsiteY1874" fmla="*/ 159365 h 253855"/>
                <a:gd name="connsiteX1875" fmla="*/ 110004 w 124107"/>
                <a:gd name="connsiteY1875" fmla="*/ 157954 h 253855"/>
                <a:gd name="connsiteX1876" fmla="*/ 109439 w 124107"/>
                <a:gd name="connsiteY1876" fmla="*/ 158801 h 253855"/>
                <a:gd name="connsiteX1877" fmla="*/ 110286 w 124107"/>
                <a:gd name="connsiteY1877" fmla="*/ 161339 h 253855"/>
                <a:gd name="connsiteX1878" fmla="*/ 109722 w 124107"/>
                <a:gd name="connsiteY1878" fmla="*/ 160775 h 253855"/>
                <a:gd name="connsiteX1879" fmla="*/ 109439 w 124107"/>
                <a:gd name="connsiteY1879" fmla="*/ 161057 h 253855"/>
                <a:gd name="connsiteX1880" fmla="*/ 109439 w 124107"/>
                <a:gd name="connsiteY1880" fmla="*/ 161339 h 253855"/>
                <a:gd name="connsiteX1881" fmla="*/ 110004 w 124107"/>
                <a:gd name="connsiteY1881" fmla="*/ 161621 h 253855"/>
                <a:gd name="connsiteX1882" fmla="*/ 110286 w 124107"/>
                <a:gd name="connsiteY1882" fmla="*/ 161339 h 253855"/>
                <a:gd name="connsiteX1883" fmla="*/ 114517 w 124107"/>
                <a:gd name="connsiteY1883" fmla="*/ 142723 h 253855"/>
                <a:gd name="connsiteX1884" fmla="*/ 113670 w 124107"/>
                <a:gd name="connsiteY1884" fmla="*/ 142441 h 253855"/>
                <a:gd name="connsiteX1885" fmla="*/ 113389 w 124107"/>
                <a:gd name="connsiteY1885" fmla="*/ 143287 h 253855"/>
                <a:gd name="connsiteX1886" fmla="*/ 113106 w 124107"/>
                <a:gd name="connsiteY1886" fmla="*/ 144980 h 253855"/>
                <a:gd name="connsiteX1887" fmla="*/ 112260 w 124107"/>
                <a:gd name="connsiteY1887" fmla="*/ 145826 h 253855"/>
                <a:gd name="connsiteX1888" fmla="*/ 112260 w 124107"/>
                <a:gd name="connsiteY1888" fmla="*/ 146108 h 253855"/>
                <a:gd name="connsiteX1889" fmla="*/ 112542 w 124107"/>
                <a:gd name="connsiteY1889" fmla="*/ 146390 h 253855"/>
                <a:gd name="connsiteX1890" fmla="*/ 111414 w 124107"/>
                <a:gd name="connsiteY1890" fmla="*/ 147518 h 253855"/>
                <a:gd name="connsiteX1891" fmla="*/ 110850 w 124107"/>
                <a:gd name="connsiteY1891" fmla="*/ 147800 h 253855"/>
                <a:gd name="connsiteX1892" fmla="*/ 110286 w 124107"/>
                <a:gd name="connsiteY1892" fmla="*/ 149775 h 253855"/>
                <a:gd name="connsiteX1893" fmla="*/ 110568 w 124107"/>
                <a:gd name="connsiteY1893" fmla="*/ 150621 h 253855"/>
                <a:gd name="connsiteX1894" fmla="*/ 111132 w 124107"/>
                <a:gd name="connsiteY1894" fmla="*/ 153159 h 253855"/>
                <a:gd name="connsiteX1895" fmla="*/ 111414 w 124107"/>
                <a:gd name="connsiteY1895" fmla="*/ 153441 h 253855"/>
                <a:gd name="connsiteX1896" fmla="*/ 111696 w 124107"/>
                <a:gd name="connsiteY1896" fmla="*/ 153441 h 253855"/>
                <a:gd name="connsiteX1897" fmla="*/ 111978 w 124107"/>
                <a:gd name="connsiteY1897" fmla="*/ 153159 h 253855"/>
                <a:gd name="connsiteX1898" fmla="*/ 113106 w 124107"/>
                <a:gd name="connsiteY1898" fmla="*/ 148364 h 253855"/>
                <a:gd name="connsiteX1899" fmla="*/ 114517 w 124107"/>
                <a:gd name="connsiteY1899" fmla="*/ 143851 h 253855"/>
                <a:gd name="connsiteX1900" fmla="*/ 114517 w 124107"/>
                <a:gd name="connsiteY1900" fmla="*/ 142723 h 253855"/>
                <a:gd name="connsiteX1901" fmla="*/ 111696 w 124107"/>
                <a:gd name="connsiteY1901" fmla="*/ 155980 h 253855"/>
                <a:gd name="connsiteX1902" fmla="*/ 111132 w 124107"/>
                <a:gd name="connsiteY1902" fmla="*/ 155980 h 253855"/>
                <a:gd name="connsiteX1903" fmla="*/ 111414 w 124107"/>
                <a:gd name="connsiteY1903" fmla="*/ 156262 h 253855"/>
                <a:gd name="connsiteX1904" fmla="*/ 111696 w 124107"/>
                <a:gd name="connsiteY1904" fmla="*/ 155980 h 253855"/>
                <a:gd name="connsiteX1905" fmla="*/ 113953 w 124107"/>
                <a:gd name="connsiteY1905" fmla="*/ 135672 h 253855"/>
                <a:gd name="connsiteX1906" fmla="*/ 113953 w 124107"/>
                <a:gd name="connsiteY1906" fmla="*/ 135389 h 253855"/>
                <a:gd name="connsiteX1907" fmla="*/ 113670 w 124107"/>
                <a:gd name="connsiteY1907" fmla="*/ 134543 h 253855"/>
                <a:gd name="connsiteX1908" fmla="*/ 113389 w 124107"/>
                <a:gd name="connsiteY1908" fmla="*/ 135389 h 253855"/>
                <a:gd name="connsiteX1909" fmla="*/ 113953 w 124107"/>
                <a:gd name="connsiteY1909" fmla="*/ 135672 h 253855"/>
                <a:gd name="connsiteX1910" fmla="*/ 116773 w 124107"/>
                <a:gd name="connsiteY1910" fmla="*/ 131159 h 253855"/>
                <a:gd name="connsiteX1911" fmla="*/ 116491 w 124107"/>
                <a:gd name="connsiteY1911" fmla="*/ 128902 h 253855"/>
                <a:gd name="connsiteX1912" fmla="*/ 116209 w 124107"/>
                <a:gd name="connsiteY1912" fmla="*/ 128902 h 253855"/>
                <a:gd name="connsiteX1913" fmla="*/ 115927 w 124107"/>
                <a:gd name="connsiteY1913" fmla="*/ 130030 h 253855"/>
                <a:gd name="connsiteX1914" fmla="*/ 115645 w 124107"/>
                <a:gd name="connsiteY1914" fmla="*/ 130594 h 253855"/>
                <a:gd name="connsiteX1915" fmla="*/ 115927 w 124107"/>
                <a:gd name="connsiteY1915" fmla="*/ 131441 h 253855"/>
                <a:gd name="connsiteX1916" fmla="*/ 115081 w 124107"/>
                <a:gd name="connsiteY1916" fmla="*/ 131723 h 253855"/>
                <a:gd name="connsiteX1917" fmla="*/ 114235 w 124107"/>
                <a:gd name="connsiteY1917" fmla="*/ 132287 h 253855"/>
                <a:gd name="connsiteX1918" fmla="*/ 113670 w 124107"/>
                <a:gd name="connsiteY1918" fmla="*/ 134543 h 253855"/>
                <a:gd name="connsiteX1919" fmla="*/ 115081 w 124107"/>
                <a:gd name="connsiteY1919" fmla="*/ 135389 h 253855"/>
                <a:gd name="connsiteX1920" fmla="*/ 115363 w 124107"/>
                <a:gd name="connsiteY1920" fmla="*/ 135672 h 253855"/>
                <a:gd name="connsiteX1921" fmla="*/ 115645 w 124107"/>
                <a:gd name="connsiteY1921" fmla="*/ 135672 h 253855"/>
                <a:gd name="connsiteX1922" fmla="*/ 115927 w 124107"/>
                <a:gd name="connsiteY1922" fmla="*/ 135389 h 253855"/>
                <a:gd name="connsiteX1923" fmla="*/ 115645 w 124107"/>
                <a:gd name="connsiteY1923" fmla="*/ 134825 h 253855"/>
                <a:gd name="connsiteX1924" fmla="*/ 115927 w 124107"/>
                <a:gd name="connsiteY1924" fmla="*/ 133133 h 253855"/>
                <a:gd name="connsiteX1925" fmla="*/ 116491 w 124107"/>
                <a:gd name="connsiteY1925" fmla="*/ 132005 h 253855"/>
                <a:gd name="connsiteX1926" fmla="*/ 116773 w 124107"/>
                <a:gd name="connsiteY1926" fmla="*/ 131159 h 253855"/>
                <a:gd name="connsiteX1927" fmla="*/ 114799 w 124107"/>
                <a:gd name="connsiteY1927" fmla="*/ 115081 h 253855"/>
                <a:gd name="connsiteX1928" fmla="*/ 114799 w 124107"/>
                <a:gd name="connsiteY1928" fmla="*/ 115363 h 253855"/>
                <a:gd name="connsiteX1929" fmla="*/ 115081 w 124107"/>
                <a:gd name="connsiteY1929" fmla="*/ 115363 h 253855"/>
                <a:gd name="connsiteX1930" fmla="*/ 115081 w 124107"/>
                <a:gd name="connsiteY1930" fmla="*/ 115081 h 253855"/>
                <a:gd name="connsiteX1931" fmla="*/ 114799 w 124107"/>
                <a:gd name="connsiteY1931" fmla="*/ 115081 h 253855"/>
                <a:gd name="connsiteX1932" fmla="*/ 115645 w 124107"/>
                <a:gd name="connsiteY1932" fmla="*/ 137364 h 253855"/>
                <a:gd name="connsiteX1933" fmla="*/ 114799 w 124107"/>
                <a:gd name="connsiteY1933" fmla="*/ 137364 h 253855"/>
                <a:gd name="connsiteX1934" fmla="*/ 114799 w 124107"/>
                <a:gd name="connsiteY1934" fmla="*/ 137646 h 253855"/>
                <a:gd name="connsiteX1935" fmla="*/ 115645 w 124107"/>
                <a:gd name="connsiteY1935" fmla="*/ 137364 h 253855"/>
                <a:gd name="connsiteX1936" fmla="*/ 115363 w 124107"/>
                <a:gd name="connsiteY1936" fmla="*/ 128620 h 253855"/>
                <a:gd name="connsiteX1937" fmla="*/ 115363 w 124107"/>
                <a:gd name="connsiteY1937" fmla="*/ 128902 h 253855"/>
                <a:gd name="connsiteX1938" fmla="*/ 115927 w 124107"/>
                <a:gd name="connsiteY1938" fmla="*/ 128338 h 253855"/>
                <a:gd name="connsiteX1939" fmla="*/ 115645 w 124107"/>
                <a:gd name="connsiteY1939" fmla="*/ 128056 h 253855"/>
                <a:gd name="connsiteX1940" fmla="*/ 115363 w 124107"/>
                <a:gd name="connsiteY1940" fmla="*/ 128620 h 253855"/>
                <a:gd name="connsiteX1941" fmla="*/ 118183 w 124107"/>
                <a:gd name="connsiteY1941" fmla="*/ 47668 h 253855"/>
                <a:gd name="connsiteX1942" fmla="*/ 118466 w 124107"/>
                <a:gd name="connsiteY1942" fmla="*/ 46540 h 253855"/>
                <a:gd name="connsiteX1943" fmla="*/ 119030 w 124107"/>
                <a:gd name="connsiteY1943" fmla="*/ 45976 h 253855"/>
                <a:gd name="connsiteX1944" fmla="*/ 118747 w 124107"/>
                <a:gd name="connsiteY1944" fmla="*/ 45412 h 253855"/>
                <a:gd name="connsiteX1945" fmla="*/ 117620 w 124107"/>
                <a:gd name="connsiteY1945" fmla="*/ 43437 h 253855"/>
                <a:gd name="connsiteX1946" fmla="*/ 117620 w 124107"/>
                <a:gd name="connsiteY1946" fmla="*/ 41463 h 253855"/>
                <a:gd name="connsiteX1947" fmla="*/ 117337 w 124107"/>
                <a:gd name="connsiteY1947" fmla="*/ 39771 h 253855"/>
                <a:gd name="connsiteX1948" fmla="*/ 117901 w 124107"/>
                <a:gd name="connsiteY1948" fmla="*/ 38078 h 253855"/>
                <a:gd name="connsiteX1949" fmla="*/ 117056 w 124107"/>
                <a:gd name="connsiteY1949" fmla="*/ 37232 h 253855"/>
                <a:gd name="connsiteX1950" fmla="*/ 116209 w 124107"/>
                <a:gd name="connsiteY1950" fmla="*/ 38078 h 253855"/>
                <a:gd name="connsiteX1951" fmla="*/ 115645 w 124107"/>
                <a:gd name="connsiteY1951" fmla="*/ 38924 h 253855"/>
                <a:gd name="connsiteX1952" fmla="*/ 116209 w 124107"/>
                <a:gd name="connsiteY1952" fmla="*/ 40617 h 253855"/>
                <a:gd name="connsiteX1953" fmla="*/ 116773 w 124107"/>
                <a:gd name="connsiteY1953" fmla="*/ 41463 h 253855"/>
                <a:gd name="connsiteX1954" fmla="*/ 116773 w 124107"/>
                <a:gd name="connsiteY1954" fmla="*/ 45694 h 253855"/>
                <a:gd name="connsiteX1955" fmla="*/ 117056 w 124107"/>
                <a:gd name="connsiteY1955" fmla="*/ 46540 h 253855"/>
                <a:gd name="connsiteX1956" fmla="*/ 116773 w 124107"/>
                <a:gd name="connsiteY1956" fmla="*/ 47104 h 253855"/>
                <a:gd name="connsiteX1957" fmla="*/ 116209 w 124107"/>
                <a:gd name="connsiteY1957" fmla="*/ 47386 h 253855"/>
                <a:gd name="connsiteX1958" fmla="*/ 116491 w 124107"/>
                <a:gd name="connsiteY1958" fmla="*/ 47668 h 253855"/>
                <a:gd name="connsiteX1959" fmla="*/ 117337 w 124107"/>
                <a:gd name="connsiteY1959" fmla="*/ 51053 h 253855"/>
                <a:gd name="connsiteX1960" fmla="*/ 117620 w 124107"/>
                <a:gd name="connsiteY1960" fmla="*/ 52463 h 253855"/>
                <a:gd name="connsiteX1961" fmla="*/ 118183 w 124107"/>
                <a:gd name="connsiteY1961" fmla="*/ 49361 h 253855"/>
                <a:gd name="connsiteX1962" fmla="*/ 118183 w 124107"/>
                <a:gd name="connsiteY1962" fmla="*/ 47668 h 253855"/>
                <a:gd name="connsiteX1963" fmla="*/ 117620 w 124107"/>
                <a:gd name="connsiteY1963" fmla="*/ 119594 h 253855"/>
                <a:gd name="connsiteX1964" fmla="*/ 117337 w 124107"/>
                <a:gd name="connsiteY1964" fmla="*/ 119030 h 253855"/>
                <a:gd name="connsiteX1965" fmla="*/ 117056 w 124107"/>
                <a:gd name="connsiteY1965" fmla="*/ 117902 h 253855"/>
                <a:gd name="connsiteX1966" fmla="*/ 116773 w 124107"/>
                <a:gd name="connsiteY1966" fmla="*/ 117620 h 253855"/>
                <a:gd name="connsiteX1967" fmla="*/ 116491 w 124107"/>
                <a:gd name="connsiteY1967" fmla="*/ 117902 h 253855"/>
                <a:gd name="connsiteX1968" fmla="*/ 115927 w 124107"/>
                <a:gd name="connsiteY1968" fmla="*/ 120158 h 253855"/>
                <a:gd name="connsiteX1969" fmla="*/ 116491 w 124107"/>
                <a:gd name="connsiteY1969" fmla="*/ 121004 h 253855"/>
                <a:gd name="connsiteX1970" fmla="*/ 117056 w 124107"/>
                <a:gd name="connsiteY1970" fmla="*/ 121286 h 253855"/>
                <a:gd name="connsiteX1971" fmla="*/ 117337 w 124107"/>
                <a:gd name="connsiteY1971" fmla="*/ 121286 h 253855"/>
                <a:gd name="connsiteX1972" fmla="*/ 117620 w 124107"/>
                <a:gd name="connsiteY1972" fmla="*/ 121004 h 253855"/>
                <a:gd name="connsiteX1973" fmla="*/ 117337 w 124107"/>
                <a:gd name="connsiteY1973" fmla="*/ 120158 h 253855"/>
                <a:gd name="connsiteX1974" fmla="*/ 117620 w 124107"/>
                <a:gd name="connsiteY1974" fmla="*/ 119594 h 253855"/>
                <a:gd name="connsiteX1975" fmla="*/ 116209 w 124107"/>
                <a:gd name="connsiteY1975" fmla="*/ 153159 h 253855"/>
                <a:gd name="connsiteX1976" fmla="*/ 116209 w 124107"/>
                <a:gd name="connsiteY1976" fmla="*/ 152877 h 253855"/>
                <a:gd name="connsiteX1977" fmla="*/ 116491 w 124107"/>
                <a:gd name="connsiteY1977" fmla="*/ 152877 h 253855"/>
                <a:gd name="connsiteX1978" fmla="*/ 116209 w 124107"/>
                <a:gd name="connsiteY1978" fmla="*/ 153159 h 253855"/>
                <a:gd name="connsiteX1979" fmla="*/ 117056 w 124107"/>
                <a:gd name="connsiteY1979" fmla="*/ 111978 h 253855"/>
                <a:gd name="connsiteX1980" fmla="*/ 118466 w 124107"/>
                <a:gd name="connsiteY1980" fmla="*/ 109158 h 253855"/>
                <a:gd name="connsiteX1981" fmla="*/ 118466 w 124107"/>
                <a:gd name="connsiteY1981" fmla="*/ 108594 h 253855"/>
                <a:gd name="connsiteX1982" fmla="*/ 117337 w 124107"/>
                <a:gd name="connsiteY1982" fmla="*/ 107183 h 253855"/>
                <a:gd name="connsiteX1983" fmla="*/ 116773 w 124107"/>
                <a:gd name="connsiteY1983" fmla="*/ 107747 h 253855"/>
                <a:gd name="connsiteX1984" fmla="*/ 116491 w 124107"/>
                <a:gd name="connsiteY1984" fmla="*/ 110004 h 253855"/>
                <a:gd name="connsiteX1985" fmla="*/ 116491 w 124107"/>
                <a:gd name="connsiteY1985" fmla="*/ 116773 h 253855"/>
                <a:gd name="connsiteX1986" fmla="*/ 117056 w 124107"/>
                <a:gd name="connsiteY1986" fmla="*/ 115363 h 253855"/>
                <a:gd name="connsiteX1987" fmla="*/ 118183 w 124107"/>
                <a:gd name="connsiteY1987" fmla="*/ 114799 h 253855"/>
                <a:gd name="connsiteX1988" fmla="*/ 118466 w 124107"/>
                <a:gd name="connsiteY1988" fmla="*/ 114235 h 253855"/>
                <a:gd name="connsiteX1989" fmla="*/ 118747 w 124107"/>
                <a:gd name="connsiteY1989" fmla="*/ 112260 h 253855"/>
                <a:gd name="connsiteX1990" fmla="*/ 118183 w 124107"/>
                <a:gd name="connsiteY1990" fmla="*/ 112260 h 253855"/>
                <a:gd name="connsiteX1991" fmla="*/ 117901 w 124107"/>
                <a:gd name="connsiteY1991" fmla="*/ 111978 h 253855"/>
                <a:gd name="connsiteX1992" fmla="*/ 117337 w 124107"/>
                <a:gd name="connsiteY1992" fmla="*/ 112260 h 253855"/>
                <a:gd name="connsiteX1993" fmla="*/ 117337 w 124107"/>
                <a:gd name="connsiteY1993" fmla="*/ 111978 h 253855"/>
                <a:gd name="connsiteX1994" fmla="*/ 117056 w 124107"/>
                <a:gd name="connsiteY1994" fmla="*/ 111978 h 253855"/>
                <a:gd name="connsiteX1995" fmla="*/ 119311 w 124107"/>
                <a:gd name="connsiteY1995" fmla="*/ 66566 h 253855"/>
                <a:gd name="connsiteX1996" fmla="*/ 119311 w 124107"/>
                <a:gd name="connsiteY1996" fmla="*/ 66284 h 253855"/>
                <a:gd name="connsiteX1997" fmla="*/ 119030 w 124107"/>
                <a:gd name="connsiteY1997" fmla="*/ 66002 h 253855"/>
                <a:gd name="connsiteX1998" fmla="*/ 118747 w 124107"/>
                <a:gd name="connsiteY1998" fmla="*/ 66566 h 253855"/>
                <a:gd name="connsiteX1999" fmla="*/ 118747 w 124107"/>
                <a:gd name="connsiteY1999" fmla="*/ 67977 h 253855"/>
                <a:gd name="connsiteX2000" fmla="*/ 118183 w 124107"/>
                <a:gd name="connsiteY2000" fmla="*/ 68259 h 253855"/>
                <a:gd name="connsiteX2001" fmla="*/ 118183 w 124107"/>
                <a:gd name="connsiteY2001" fmla="*/ 67977 h 253855"/>
                <a:gd name="connsiteX2002" fmla="*/ 117901 w 124107"/>
                <a:gd name="connsiteY2002" fmla="*/ 64874 h 253855"/>
                <a:gd name="connsiteX2003" fmla="*/ 118183 w 124107"/>
                <a:gd name="connsiteY2003" fmla="*/ 64592 h 253855"/>
                <a:gd name="connsiteX2004" fmla="*/ 117901 w 124107"/>
                <a:gd name="connsiteY2004" fmla="*/ 64310 h 253855"/>
                <a:gd name="connsiteX2005" fmla="*/ 116773 w 124107"/>
                <a:gd name="connsiteY2005" fmla="*/ 67977 h 253855"/>
                <a:gd name="connsiteX2006" fmla="*/ 116773 w 124107"/>
                <a:gd name="connsiteY2006" fmla="*/ 68541 h 253855"/>
                <a:gd name="connsiteX2007" fmla="*/ 118466 w 124107"/>
                <a:gd name="connsiteY2007" fmla="*/ 71362 h 253855"/>
                <a:gd name="connsiteX2008" fmla="*/ 118747 w 124107"/>
                <a:gd name="connsiteY2008" fmla="*/ 71362 h 253855"/>
                <a:gd name="connsiteX2009" fmla="*/ 118747 w 124107"/>
                <a:gd name="connsiteY2009" fmla="*/ 69951 h 253855"/>
                <a:gd name="connsiteX2010" fmla="*/ 119030 w 124107"/>
                <a:gd name="connsiteY2010" fmla="*/ 68541 h 253855"/>
                <a:gd name="connsiteX2011" fmla="*/ 119311 w 124107"/>
                <a:gd name="connsiteY2011" fmla="*/ 66566 h 253855"/>
                <a:gd name="connsiteX2012" fmla="*/ 117620 w 124107"/>
                <a:gd name="connsiteY2012" fmla="*/ 97311 h 253855"/>
                <a:gd name="connsiteX2013" fmla="*/ 116773 w 124107"/>
                <a:gd name="connsiteY2013" fmla="*/ 97311 h 253855"/>
                <a:gd name="connsiteX2014" fmla="*/ 116773 w 124107"/>
                <a:gd name="connsiteY2014" fmla="*/ 98157 h 253855"/>
                <a:gd name="connsiteX2015" fmla="*/ 117337 w 124107"/>
                <a:gd name="connsiteY2015" fmla="*/ 100132 h 253855"/>
                <a:gd name="connsiteX2016" fmla="*/ 116773 w 124107"/>
                <a:gd name="connsiteY2016" fmla="*/ 101542 h 253855"/>
                <a:gd name="connsiteX2017" fmla="*/ 117337 w 124107"/>
                <a:gd name="connsiteY2017" fmla="*/ 102952 h 253855"/>
                <a:gd name="connsiteX2018" fmla="*/ 117620 w 124107"/>
                <a:gd name="connsiteY2018" fmla="*/ 103234 h 253855"/>
                <a:gd name="connsiteX2019" fmla="*/ 118183 w 124107"/>
                <a:gd name="connsiteY2019" fmla="*/ 103234 h 253855"/>
                <a:gd name="connsiteX2020" fmla="*/ 118183 w 124107"/>
                <a:gd name="connsiteY2020" fmla="*/ 102670 h 253855"/>
                <a:gd name="connsiteX2021" fmla="*/ 117901 w 124107"/>
                <a:gd name="connsiteY2021" fmla="*/ 100414 h 253855"/>
                <a:gd name="connsiteX2022" fmla="*/ 118183 w 124107"/>
                <a:gd name="connsiteY2022" fmla="*/ 99568 h 253855"/>
                <a:gd name="connsiteX2023" fmla="*/ 118183 w 124107"/>
                <a:gd name="connsiteY2023" fmla="*/ 99004 h 253855"/>
                <a:gd name="connsiteX2024" fmla="*/ 117901 w 124107"/>
                <a:gd name="connsiteY2024" fmla="*/ 98157 h 253855"/>
                <a:gd name="connsiteX2025" fmla="*/ 117620 w 124107"/>
                <a:gd name="connsiteY2025" fmla="*/ 97311 h 253855"/>
                <a:gd name="connsiteX2026" fmla="*/ 117056 w 124107"/>
                <a:gd name="connsiteY2026" fmla="*/ 106055 h 253855"/>
                <a:gd name="connsiteX2027" fmla="*/ 117337 w 124107"/>
                <a:gd name="connsiteY2027" fmla="*/ 105773 h 253855"/>
                <a:gd name="connsiteX2028" fmla="*/ 117337 w 124107"/>
                <a:gd name="connsiteY2028" fmla="*/ 105491 h 253855"/>
                <a:gd name="connsiteX2029" fmla="*/ 116773 w 124107"/>
                <a:gd name="connsiteY2029" fmla="*/ 105491 h 253855"/>
                <a:gd name="connsiteX2030" fmla="*/ 117056 w 124107"/>
                <a:gd name="connsiteY2030" fmla="*/ 106055 h 253855"/>
                <a:gd name="connsiteX2031" fmla="*/ 118183 w 124107"/>
                <a:gd name="connsiteY2031" fmla="*/ 91388 h 253855"/>
                <a:gd name="connsiteX2032" fmla="*/ 117620 w 124107"/>
                <a:gd name="connsiteY2032" fmla="*/ 91106 h 253855"/>
                <a:gd name="connsiteX2033" fmla="*/ 117901 w 124107"/>
                <a:gd name="connsiteY2033" fmla="*/ 91388 h 253855"/>
                <a:gd name="connsiteX2034" fmla="*/ 117620 w 124107"/>
                <a:gd name="connsiteY2034" fmla="*/ 91670 h 253855"/>
                <a:gd name="connsiteX2035" fmla="*/ 117901 w 124107"/>
                <a:gd name="connsiteY2035" fmla="*/ 91670 h 253855"/>
                <a:gd name="connsiteX2036" fmla="*/ 118183 w 124107"/>
                <a:gd name="connsiteY2036" fmla="*/ 91388 h 253855"/>
                <a:gd name="connsiteX2037" fmla="*/ 119311 w 124107"/>
                <a:gd name="connsiteY2037" fmla="*/ 111132 h 253855"/>
                <a:gd name="connsiteX2038" fmla="*/ 119311 w 124107"/>
                <a:gd name="connsiteY2038" fmla="*/ 110568 h 253855"/>
                <a:gd name="connsiteX2039" fmla="*/ 119030 w 124107"/>
                <a:gd name="connsiteY2039" fmla="*/ 110568 h 253855"/>
                <a:gd name="connsiteX2040" fmla="*/ 119311 w 124107"/>
                <a:gd name="connsiteY2040" fmla="*/ 111132 h 253855"/>
                <a:gd name="connsiteX2041" fmla="*/ 120722 w 124107"/>
                <a:gd name="connsiteY2041" fmla="*/ 69951 h 253855"/>
                <a:gd name="connsiteX2042" fmla="*/ 120158 w 124107"/>
                <a:gd name="connsiteY2042" fmla="*/ 69387 h 253855"/>
                <a:gd name="connsiteX2043" fmla="*/ 119876 w 124107"/>
                <a:gd name="connsiteY2043" fmla="*/ 70515 h 253855"/>
                <a:gd name="connsiteX2044" fmla="*/ 119311 w 124107"/>
                <a:gd name="connsiteY2044" fmla="*/ 71926 h 253855"/>
                <a:gd name="connsiteX2045" fmla="*/ 119594 w 124107"/>
                <a:gd name="connsiteY2045" fmla="*/ 72208 h 253855"/>
                <a:gd name="connsiteX2046" fmla="*/ 119876 w 124107"/>
                <a:gd name="connsiteY2046" fmla="*/ 72208 h 253855"/>
                <a:gd name="connsiteX2047" fmla="*/ 119876 w 124107"/>
                <a:gd name="connsiteY2047" fmla="*/ 71926 h 253855"/>
                <a:gd name="connsiteX2048" fmla="*/ 120158 w 124107"/>
                <a:gd name="connsiteY2048" fmla="*/ 70797 h 253855"/>
                <a:gd name="connsiteX2049" fmla="*/ 120722 w 124107"/>
                <a:gd name="connsiteY2049" fmla="*/ 69951 h 253855"/>
                <a:gd name="connsiteX2050" fmla="*/ 120158 w 124107"/>
                <a:gd name="connsiteY2050" fmla="*/ 40335 h 253855"/>
                <a:gd name="connsiteX2051" fmla="*/ 119876 w 124107"/>
                <a:gd name="connsiteY2051" fmla="*/ 40053 h 253855"/>
                <a:gd name="connsiteX2052" fmla="*/ 119594 w 124107"/>
                <a:gd name="connsiteY2052" fmla="*/ 40053 h 253855"/>
                <a:gd name="connsiteX2053" fmla="*/ 119876 w 124107"/>
                <a:gd name="connsiteY2053" fmla="*/ 40617 h 253855"/>
                <a:gd name="connsiteX2054" fmla="*/ 120158 w 124107"/>
                <a:gd name="connsiteY2054" fmla="*/ 40335 h 253855"/>
                <a:gd name="connsiteX2055" fmla="*/ 120440 w 124107"/>
                <a:gd name="connsiteY2055" fmla="*/ 44002 h 253855"/>
                <a:gd name="connsiteX2056" fmla="*/ 119876 w 124107"/>
                <a:gd name="connsiteY2056" fmla="*/ 44002 h 253855"/>
                <a:gd name="connsiteX2057" fmla="*/ 119876 w 124107"/>
                <a:gd name="connsiteY2057" fmla="*/ 44566 h 253855"/>
                <a:gd name="connsiteX2058" fmla="*/ 120440 w 124107"/>
                <a:gd name="connsiteY2058" fmla="*/ 44002 h 253855"/>
                <a:gd name="connsiteX2059" fmla="*/ 122697 w 124107"/>
                <a:gd name="connsiteY2059" fmla="*/ 79259 h 253855"/>
                <a:gd name="connsiteX2060" fmla="*/ 122414 w 124107"/>
                <a:gd name="connsiteY2060" fmla="*/ 79259 h 253855"/>
                <a:gd name="connsiteX2061" fmla="*/ 122132 w 124107"/>
                <a:gd name="connsiteY2061" fmla="*/ 79823 h 253855"/>
                <a:gd name="connsiteX2062" fmla="*/ 122132 w 124107"/>
                <a:gd name="connsiteY2062" fmla="*/ 80105 h 253855"/>
                <a:gd name="connsiteX2063" fmla="*/ 122414 w 124107"/>
                <a:gd name="connsiteY2063" fmla="*/ 80105 h 253855"/>
                <a:gd name="connsiteX2064" fmla="*/ 122697 w 124107"/>
                <a:gd name="connsiteY2064" fmla="*/ 79259 h 253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</a:cxnLst>
              <a:rect l="l" t="t" r="r" b="b"/>
              <a:pathLst>
                <a:path w="124107" h="253855">
                  <a:moveTo>
                    <a:pt x="118747" y="92798"/>
                  </a:moveTo>
                  <a:lnTo>
                    <a:pt x="118466" y="92798"/>
                  </a:lnTo>
                  <a:lnTo>
                    <a:pt x="118183" y="93080"/>
                  </a:lnTo>
                  <a:lnTo>
                    <a:pt x="118183" y="92798"/>
                  </a:lnTo>
                  <a:cubicBezTo>
                    <a:pt x="117620" y="92798"/>
                    <a:pt x="117620" y="92798"/>
                    <a:pt x="117337" y="93362"/>
                  </a:cubicBezTo>
                  <a:cubicBezTo>
                    <a:pt x="117337" y="94491"/>
                    <a:pt x="117620" y="95337"/>
                    <a:pt x="117620" y="96183"/>
                  </a:cubicBezTo>
                  <a:cubicBezTo>
                    <a:pt x="117620" y="96747"/>
                    <a:pt x="118183" y="97311"/>
                    <a:pt x="118747" y="97311"/>
                  </a:cubicBezTo>
                  <a:lnTo>
                    <a:pt x="119311" y="97311"/>
                  </a:lnTo>
                  <a:cubicBezTo>
                    <a:pt x="119311" y="97029"/>
                    <a:pt x="119594" y="97029"/>
                    <a:pt x="119594" y="96747"/>
                  </a:cubicBezTo>
                  <a:lnTo>
                    <a:pt x="119594" y="97311"/>
                  </a:lnTo>
                  <a:cubicBezTo>
                    <a:pt x="119311" y="97593"/>
                    <a:pt x="119311" y="97593"/>
                    <a:pt x="119311" y="97875"/>
                  </a:cubicBezTo>
                  <a:lnTo>
                    <a:pt x="119311" y="98439"/>
                  </a:lnTo>
                  <a:cubicBezTo>
                    <a:pt x="119594" y="98439"/>
                    <a:pt x="119594" y="99004"/>
                    <a:pt x="120158" y="99286"/>
                  </a:cubicBezTo>
                  <a:lnTo>
                    <a:pt x="120440" y="99286"/>
                  </a:lnTo>
                  <a:cubicBezTo>
                    <a:pt x="120158" y="99004"/>
                    <a:pt x="120158" y="99004"/>
                    <a:pt x="120158" y="98721"/>
                  </a:cubicBezTo>
                  <a:cubicBezTo>
                    <a:pt x="120158" y="98439"/>
                    <a:pt x="120158" y="98439"/>
                    <a:pt x="120440" y="98157"/>
                  </a:cubicBezTo>
                  <a:cubicBezTo>
                    <a:pt x="120440" y="97593"/>
                    <a:pt x="120440" y="97311"/>
                    <a:pt x="120722" y="97029"/>
                  </a:cubicBezTo>
                  <a:cubicBezTo>
                    <a:pt x="120722" y="96747"/>
                    <a:pt x="121004" y="96465"/>
                    <a:pt x="121286" y="96465"/>
                  </a:cubicBezTo>
                  <a:cubicBezTo>
                    <a:pt x="121286" y="96465"/>
                    <a:pt x="121568" y="96747"/>
                    <a:pt x="121568" y="97029"/>
                  </a:cubicBezTo>
                  <a:lnTo>
                    <a:pt x="121850" y="97311"/>
                  </a:lnTo>
                  <a:lnTo>
                    <a:pt x="121850" y="105491"/>
                  </a:lnTo>
                  <a:cubicBezTo>
                    <a:pt x="122132" y="105491"/>
                    <a:pt x="122414" y="105773"/>
                    <a:pt x="122414" y="106055"/>
                  </a:cubicBezTo>
                  <a:lnTo>
                    <a:pt x="122414" y="108030"/>
                  </a:lnTo>
                  <a:cubicBezTo>
                    <a:pt x="122414" y="108312"/>
                    <a:pt x="122132" y="108030"/>
                    <a:pt x="122132" y="108030"/>
                  </a:cubicBezTo>
                  <a:lnTo>
                    <a:pt x="121568" y="108030"/>
                  </a:lnTo>
                  <a:cubicBezTo>
                    <a:pt x="121568" y="109158"/>
                    <a:pt x="121286" y="110004"/>
                    <a:pt x="121286" y="111132"/>
                  </a:cubicBezTo>
                  <a:lnTo>
                    <a:pt x="121286" y="111978"/>
                  </a:lnTo>
                  <a:cubicBezTo>
                    <a:pt x="121568" y="113107"/>
                    <a:pt x="121568" y="113953"/>
                    <a:pt x="121568" y="114799"/>
                  </a:cubicBezTo>
                  <a:cubicBezTo>
                    <a:pt x="121568" y="115081"/>
                    <a:pt x="121286" y="115363"/>
                    <a:pt x="121286" y="115363"/>
                  </a:cubicBezTo>
                  <a:cubicBezTo>
                    <a:pt x="121286" y="115927"/>
                    <a:pt x="121004" y="116209"/>
                    <a:pt x="120440" y="116773"/>
                  </a:cubicBezTo>
                  <a:cubicBezTo>
                    <a:pt x="120440" y="116209"/>
                    <a:pt x="120158" y="115927"/>
                    <a:pt x="119876" y="115363"/>
                  </a:cubicBezTo>
                  <a:cubicBezTo>
                    <a:pt x="119594" y="114799"/>
                    <a:pt x="119311" y="114799"/>
                    <a:pt x="119030" y="114799"/>
                  </a:cubicBezTo>
                  <a:lnTo>
                    <a:pt x="118183" y="115363"/>
                  </a:lnTo>
                  <a:cubicBezTo>
                    <a:pt x="118183" y="115645"/>
                    <a:pt x="118466" y="115645"/>
                    <a:pt x="118747" y="115645"/>
                  </a:cubicBezTo>
                  <a:cubicBezTo>
                    <a:pt x="119311" y="115645"/>
                    <a:pt x="119311" y="116209"/>
                    <a:pt x="119311" y="116491"/>
                  </a:cubicBezTo>
                  <a:cubicBezTo>
                    <a:pt x="119030" y="116773"/>
                    <a:pt x="119030" y="117055"/>
                    <a:pt x="119030" y="117338"/>
                  </a:cubicBezTo>
                  <a:cubicBezTo>
                    <a:pt x="119030" y="118466"/>
                    <a:pt x="119030" y="119312"/>
                    <a:pt x="119594" y="119312"/>
                  </a:cubicBezTo>
                  <a:cubicBezTo>
                    <a:pt x="120440" y="119876"/>
                    <a:pt x="120440" y="120440"/>
                    <a:pt x="120440" y="121286"/>
                  </a:cubicBezTo>
                  <a:cubicBezTo>
                    <a:pt x="120440" y="121568"/>
                    <a:pt x="120440" y="122133"/>
                    <a:pt x="120158" y="122697"/>
                  </a:cubicBezTo>
                  <a:lnTo>
                    <a:pt x="120158" y="129184"/>
                  </a:lnTo>
                  <a:lnTo>
                    <a:pt x="119311" y="131441"/>
                  </a:lnTo>
                  <a:cubicBezTo>
                    <a:pt x="119311" y="132005"/>
                    <a:pt x="119311" y="132569"/>
                    <a:pt x="119030" y="133415"/>
                  </a:cubicBezTo>
                  <a:cubicBezTo>
                    <a:pt x="118747" y="134261"/>
                    <a:pt x="118747" y="134825"/>
                    <a:pt x="118747" y="135389"/>
                  </a:cubicBezTo>
                  <a:lnTo>
                    <a:pt x="118747" y="137364"/>
                  </a:lnTo>
                  <a:cubicBezTo>
                    <a:pt x="118747" y="137364"/>
                    <a:pt x="118747" y="137646"/>
                    <a:pt x="119030" y="137646"/>
                  </a:cubicBezTo>
                  <a:lnTo>
                    <a:pt x="119311" y="137928"/>
                  </a:lnTo>
                  <a:cubicBezTo>
                    <a:pt x="119030" y="138492"/>
                    <a:pt x="119030" y="139338"/>
                    <a:pt x="119030" y="139902"/>
                  </a:cubicBezTo>
                  <a:cubicBezTo>
                    <a:pt x="119030" y="140184"/>
                    <a:pt x="119030" y="140467"/>
                    <a:pt x="118747" y="140749"/>
                  </a:cubicBezTo>
                  <a:cubicBezTo>
                    <a:pt x="118747" y="140749"/>
                    <a:pt x="118466" y="141313"/>
                    <a:pt x="118466" y="141595"/>
                  </a:cubicBezTo>
                  <a:cubicBezTo>
                    <a:pt x="118183" y="142723"/>
                    <a:pt x="118183" y="143851"/>
                    <a:pt x="117620" y="144697"/>
                  </a:cubicBezTo>
                  <a:cubicBezTo>
                    <a:pt x="117337" y="146108"/>
                    <a:pt x="116773" y="147518"/>
                    <a:pt x="115927" y="149493"/>
                  </a:cubicBezTo>
                  <a:cubicBezTo>
                    <a:pt x="115927" y="150057"/>
                    <a:pt x="115645" y="150621"/>
                    <a:pt x="115645" y="151185"/>
                  </a:cubicBezTo>
                  <a:cubicBezTo>
                    <a:pt x="115645" y="152313"/>
                    <a:pt x="115363" y="152877"/>
                    <a:pt x="114517" y="154006"/>
                  </a:cubicBezTo>
                  <a:cubicBezTo>
                    <a:pt x="114235" y="154006"/>
                    <a:pt x="113953" y="154288"/>
                    <a:pt x="113953" y="155134"/>
                  </a:cubicBezTo>
                  <a:lnTo>
                    <a:pt x="113953" y="157672"/>
                  </a:lnTo>
                  <a:cubicBezTo>
                    <a:pt x="113670" y="158801"/>
                    <a:pt x="113670" y="159647"/>
                    <a:pt x="113670" y="160493"/>
                  </a:cubicBezTo>
                  <a:cubicBezTo>
                    <a:pt x="113670" y="160775"/>
                    <a:pt x="113953" y="161057"/>
                    <a:pt x="113953" y="161339"/>
                  </a:cubicBezTo>
                  <a:cubicBezTo>
                    <a:pt x="113953" y="161621"/>
                    <a:pt x="113670" y="161903"/>
                    <a:pt x="113389" y="162185"/>
                  </a:cubicBezTo>
                  <a:lnTo>
                    <a:pt x="113389" y="163596"/>
                  </a:lnTo>
                  <a:cubicBezTo>
                    <a:pt x="113389" y="164160"/>
                    <a:pt x="113106" y="164724"/>
                    <a:pt x="112825" y="165288"/>
                  </a:cubicBezTo>
                  <a:lnTo>
                    <a:pt x="112825" y="165570"/>
                  </a:lnTo>
                  <a:cubicBezTo>
                    <a:pt x="112260" y="166416"/>
                    <a:pt x="111696" y="166980"/>
                    <a:pt x="111696" y="167827"/>
                  </a:cubicBezTo>
                  <a:cubicBezTo>
                    <a:pt x="111696" y="168109"/>
                    <a:pt x="111696" y="168673"/>
                    <a:pt x="111414" y="168955"/>
                  </a:cubicBezTo>
                  <a:cubicBezTo>
                    <a:pt x="110286" y="169801"/>
                    <a:pt x="109722" y="170365"/>
                    <a:pt x="109722" y="171775"/>
                  </a:cubicBezTo>
                  <a:cubicBezTo>
                    <a:pt x="109722" y="172057"/>
                    <a:pt x="110004" y="172057"/>
                    <a:pt x="110004" y="172339"/>
                  </a:cubicBezTo>
                  <a:cubicBezTo>
                    <a:pt x="110004" y="172622"/>
                    <a:pt x="109722" y="172904"/>
                    <a:pt x="109722" y="173186"/>
                  </a:cubicBezTo>
                  <a:cubicBezTo>
                    <a:pt x="109722" y="173186"/>
                    <a:pt x="109439" y="173750"/>
                    <a:pt x="109158" y="174032"/>
                  </a:cubicBezTo>
                  <a:cubicBezTo>
                    <a:pt x="109158" y="174314"/>
                    <a:pt x="109439" y="174596"/>
                    <a:pt x="109439" y="174878"/>
                  </a:cubicBezTo>
                  <a:lnTo>
                    <a:pt x="109439" y="175160"/>
                  </a:lnTo>
                  <a:lnTo>
                    <a:pt x="108594" y="176006"/>
                  </a:lnTo>
                  <a:lnTo>
                    <a:pt x="107747" y="177699"/>
                  </a:lnTo>
                  <a:cubicBezTo>
                    <a:pt x="107465" y="177981"/>
                    <a:pt x="107183" y="178545"/>
                    <a:pt x="107465" y="178545"/>
                  </a:cubicBezTo>
                  <a:lnTo>
                    <a:pt x="107465" y="179109"/>
                  </a:lnTo>
                  <a:cubicBezTo>
                    <a:pt x="107465" y="179955"/>
                    <a:pt x="107183" y="181083"/>
                    <a:pt x="106901" y="181930"/>
                  </a:cubicBezTo>
                  <a:cubicBezTo>
                    <a:pt x="106337" y="183340"/>
                    <a:pt x="105491" y="185314"/>
                    <a:pt x="104644" y="186443"/>
                  </a:cubicBezTo>
                  <a:cubicBezTo>
                    <a:pt x="104363" y="187853"/>
                    <a:pt x="103234" y="189263"/>
                    <a:pt x="102952" y="190673"/>
                  </a:cubicBezTo>
                  <a:cubicBezTo>
                    <a:pt x="102952" y="190673"/>
                    <a:pt x="102952" y="190956"/>
                    <a:pt x="102670" y="190956"/>
                  </a:cubicBezTo>
                  <a:cubicBezTo>
                    <a:pt x="102106" y="191802"/>
                    <a:pt x="101542" y="192648"/>
                    <a:pt x="101260" y="193494"/>
                  </a:cubicBezTo>
                  <a:cubicBezTo>
                    <a:pt x="100696" y="194058"/>
                    <a:pt x="100413" y="194622"/>
                    <a:pt x="100132" y="195469"/>
                  </a:cubicBezTo>
                  <a:cubicBezTo>
                    <a:pt x="100132" y="196315"/>
                    <a:pt x="99286" y="197443"/>
                    <a:pt x="98722" y="198289"/>
                  </a:cubicBezTo>
                  <a:cubicBezTo>
                    <a:pt x="98157" y="198853"/>
                    <a:pt x="97593" y="199699"/>
                    <a:pt x="97593" y="200828"/>
                  </a:cubicBezTo>
                  <a:cubicBezTo>
                    <a:pt x="97593" y="201110"/>
                    <a:pt x="97593" y="201392"/>
                    <a:pt x="97311" y="201392"/>
                  </a:cubicBezTo>
                  <a:cubicBezTo>
                    <a:pt x="95336" y="204212"/>
                    <a:pt x="95336" y="209007"/>
                    <a:pt x="91952" y="210982"/>
                  </a:cubicBezTo>
                  <a:cubicBezTo>
                    <a:pt x="91388" y="211828"/>
                    <a:pt x="90824" y="212392"/>
                    <a:pt x="90260" y="212674"/>
                  </a:cubicBezTo>
                  <a:cubicBezTo>
                    <a:pt x="89977" y="213520"/>
                    <a:pt x="89413" y="213803"/>
                    <a:pt x="88567" y="214367"/>
                  </a:cubicBezTo>
                  <a:cubicBezTo>
                    <a:pt x="87721" y="214649"/>
                    <a:pt x="87157" y="215495"/>
                    <a:pt x="86874" y="216341"/>
                  </a:cubicBezTo>
                  <a:cubicBezTo>
                    <a:pt x="86874" y="216623"/>
                    <a:pt x="86593" y="216905"/>
                    <a:pt x="86593" y="217469"/>
                  </a:cubicBezTo>
                  <a:cubicBezTo>
                    <a:pt x="86310" y="217751"/>
                    <a:pt x="86029" y="217751"/>
                    <a:pt x="86029" y="217751"/>
                  </a:cubicBezTo>
                  <a:cubicBezTo>
                    <a:pt x="85746" y="217751"/>
                    <a:pt x="85746" y="217751"/>
                    <a:pt x="85746" y="217469"/>
                  </a:cubicBezTo>
                  <a:cubicBezTo>
                    <a:pt x="85464" y="217469"/>
                    <a:pt x="85464" y="217187"/>
                    <a:pt x="85464" y="217187"/>
                  </a:cubicBezTo>
                  <a:lnTo>
                    <a:pt x="85746" y="216905"/>
                  </a:lnTo>
                  <a:lnTo>
                    <a:pt x="85746" y="215777"/>
                  </a:lnTo>
                  <a:cubicBezTo>
                    <a:pt x="85464" y="215777"/>
                    <a:pt x="85464" y="215495"/>
                    <a:pt x="85182" y="215495"/>
                  </a:cubicBezTo>
                  <a:cubicBezTo>
                    <a:pt x="84900" y="215495"/>
                    <a:pt x="84618" y="215777"/>
                    <a:pt x="84618" y="215777"/>
                  </a:cubicBezTo>
                  <a:cubicBezTo>
                    <a:pt x="84336" y="216059"/>
                    <a:pt x="84054" y="216341"/>
                    <a:pt x="84054" y="216623"/>
                  </a:cubicBezTo>
                  <a:cubicBezTo>
                    <a:pt x="84054" y="216905"/>
                    <a:pt x="84336" y="217187"/>
                    <a:pt x="84618" y="217469"/>
                  </a:cubicBezTo>
                  <a:cubicBezTo>
                    <a:pt x="84618" y="218316"/>
                    <a:pt x="84054" y="218880"/>
                    <a:pt x="83772" y="219162"/>
                  </a:cubicBezTo>
                  <a:lnTo>
                    <a:pt x="82079" y="219162"/>
                  </a:lnTo>
                  <a:cubicBezTo>
                    <a:pt x="81798" y="220008"/>
                    <a:pt x="81233" y="220008"/>
                    <a:pt x="81516" y="220290"/>
                  </a:cubicBezTo>
                  <a:cubicBezTo>
                    <a:pt x="81233" y="220572"/>
                    <a:pt x="81233" y="220854"/>
                    <a:pt x="80952" y="220854"/>
                  </a:cubicBezTo>
                  <a:cubicBezTo>
                    <a:pt x="80105" y="221418"/>
                    <a:pt x="79823" y="222264"/>
                    <a:pt x="79823" y="223111"/>
                  </a:cubicBezTo>
                  <a:cubicBezTo>
                    <a:pt x="79823" y="223675"/>
                    <a:pt x="80105" y="223957"/>
                    <a:pt x="80105" y="224521"/>
                  </a:cubicBezTo>
                  <a:lnTo>
                    <a:pt x="80105" y="225085"/>
                  </a:lnTo>
                  <a:cubicBezTo>
                    <a:pt x="79259" y="224803"/>
                    <a:pt x="78977" y="224521"/>
                    <a:pt x="78977" y="223675"/>
                  </a:cubicBezTo>
                  <a:lnTo>
                    <a:pt x="78977" y="223393"/>
                  </a:lnTo>
                  <a:lnTo>
                    <a:pt x="78413" y="223957"/>
                  </a:lnTo>
                  <a:lnTo>
                    <a:pt x="78413" y="225085"/>
                  </a:lnTo>
                  <a:cubicBezTo>
                    <a:pt x="78413" y="225367"/>
                    <a:pt x="78695" y="225649"/>
                    <a:pt x="78695" y="226213"/>
                  </a:cubicBezTo>
                  <a:cubicBezTo>
                    <a:pt x="78695" y="226495"/>
                    <a:pt x="78695" y="226495"/>
                    <a:pt x="78413" y="226777"/>
                  </a:cubicBezTo>
                  <a:lnTo>
                    <a:pt x="78695" y="227059"/>
                  </a:lnTo>
                  <a:cubicBezTo>
                    <a:pt x="78977" y="227059"/>
                    <a:pt x="79541" y="227341"/>
                    <a:pt x="79541" y="227341"/>
                  </a:cubicBezTo>
                  <a:lnTo>
                    <a:pt x="78695" y="227906"/>
                  </a:lnTo>
                  <a:cubicBezTo>
                    <a:pt x="78131" y="228752"/>
                    <a:pt x="77567" y="229034"/>
                    <a:pt x="77285" y="229880"/>
                  </a:cubicBezTo>
                  <a:cubicBezTo>
                    <a:pt x="76721" y="230726"/>
                    <a:pt x="75874" y="231290"/>
                    <a:pt x="74746" y="231572"/>
                  </a:cubicBezTo>
                  <a:cubicBezTo>
                    <a:pt x="73900" y="231572"/>
                    <a:pt x="73618" y="231572"/>
                    <a:pt x="73336" y="232701"/>
                  </a:cubicBezTo>
                  <a:cubicBezTo>
                    <a:pt x="72771" y="233547"/>
                    <a:pt x="71643" y="233829"/>
                    <a:pt x="71361" y="234957"/>
                  </a:cubicBezTo>
                  <a:lnTo>
                    <a:pt x="71361" y="235239"/>
                  </a:lnTo>
                  <a:cubicBezTo>
                    <a:pt x="71079" y="235239"/>
                    <a:pt x="71079" y="235521"/>
                    <a:pt x="70797" y="235521"/>
                  </a:cubicBezTo>
                  <a:lnTo>
                    <a:pt x="70515" y="235521"/>
                  </a:lnTo>
                  <a:cubicBezTo>
                    <a:pt x="70233" y="235521"/>
                    <a:pt x="69951" y="235803"/>
                    <a:pt x="69951" y="236367"/>
                  </a:cubicBezTo>
                  <a:cubicBezTo>
                    <a:pt x="69669" y="236649"/>
                    <a:pt x="69669" y="237496"/>
                    <a:pt x="69105" y="237778"/>
                  </a:cubicBezTo>
                  <a:cubicBezTo>
                    <a:pt x="67976" y="238342"/>
                    <a:pt x="67412" y="239188"/>
                    <a:pt x="66566" y="239188"/>
                  </a:cubicBezTo>
                  <a:cubicBezTo>
                    <a:pt x="66284" y="239188"/>
                    <a:pt x="66002" y="239470"/>
                    <a:pt x="65438" y="239470"/>
                  </a:cubicBezTo>
                  <a:lnTo>
                    <a:pt x="62899" y="241445"/>
                  </a:lnTo>
                  <a:lnTo>
                    <a:pt x="62618" y="241445"/>
                  </a:lnTo>
                  <a:cubicBezTo>
                    <a:pt x="62899" y="241727"/>
                    <a:pt x="62899" y="241727"/>
                    <a:pt x="63182" y="241727"/>
                  </a:cubicBezTo>
                  <a:lnTo>
                    <a:pt x="63464" y="241727"/>
                  </a:lnTo>
                  <a:lnTo>
                    <a:pt x="63464" y="242291"/>
                  </a:lnTo>
                  <a:cubicBezTo>
                    <a:pt x="62618" y="242291"/>
                    <a:pt x="62335" y="242573"/>
                    <a:pt x="62335" y="243137"/>
                  </a:cubicBezTo>
                  <a:cubicBezTo>
                    <a:pt x="62335" y="243983"/>
                    <a:pt x="62054" y="244265"/>
                    <a:pt x="61489" y="244265"/>
                  </a:cubicBezTo>
                  <a:cubicBezTo>
                    <a:pt x="60925" y="244829"/>
                    <a:pt x="60643" y="245111"/>
                    <a:pt x="60361" y="245111"/>
                  </a:cubicBezTo>
                  <a:cubicBezTo>
                    <a:pt x="57540" y="245111"/>
                    <a:pt x="56694" y="245958"/>
                    <a:pt x="53873" y="247932"/>
                  </a:cubicBezTo>
                  <a:lnTo>
                    <a:pt x="53592" y="247932"/>
                  </a:lnTo>
                  <a:cubicBezTo>
                    <a:pt x="53027" y="247932"/>
                    <a:pt x="52745" y="247650"/>
                    <a:pt x="52463" y="247086"/>
                  </a:cubicBezTo>
                  <a:lnTo>
                    <a:pt x="51617" y="247086"/>
                  </a:lnTo>
                  <a:cubicBezTo>
                    <a:pt x="51335" y="247368"/>
                    <a:pt x="51335" y="247368"/>
                    <a:pt x="51335" y="247650"/>
                  </a:cubicBezTo>
                  <a:lnTo>
                    <a:pt x="51335" y="248214"/>
                  </a:lnTo>
                  <a:cubicBezTo>
                    <a:pt x="51335" y="248496"/>
                    <a:pt x="51617" y="248778"/>
                    <a:pt x="51617" y="249060"/>
                  </a:cubicBezTo>
                  <a:cubicBezTo>
                    <a:pt x="51617" y="249342"/>
                    <a:pt x="51335" y="249624"/>
                    <a:pt x="50771" y="249624"/>
                  </a:cubicBezTo>
                  <a:cubicBezTo>
                    <a:pt x="50489" y="250188"/>
                    <a:pt x="49642" y="250188"/>
                    <a:pt x="49078" y="250753"/>
                  </a:cubicBezTo>
                  <a:lnTo>
                    <a:pt x="47950" y="250753"/>
                  </a:lnTo>
                  <a:cubicBezTo>
                    <a:pt x="47668" y="250753"/>
                    <a:pt x="47386" y="251035"/>
                    <a:pt x="47104" y="251317"/>
                  </a:cubicBezTo>
                  <a:cubicBezTo>
                    <a:pt x="46540" y="251599"/>
                    <a:pt x="45975" y="252163"/>
                    <a:pt x="45411" y="252163"/>
                  </a:cubicBezTo>
                  <a:lnTo>
                    <a:pt x="44565" y="252163"/>
                  </a:lnTo>
                  <a:cubicBezTo>
                    <a:pt x="44001" y="252163"/>
                    <a:pt x="43437" y="252445"/>
                    <a:pt x="42873" y="252445"/>
                  </a:cubicBezTo>
                  <a:lnTo>
                    <a:pt x="42309" y="252445"/>
                  </a:lnTo>
                  <a:cubicBezTo>
                    <a:pt x="42309" y="252445"/>
                    <a:pt x="42027" y="252445"/>
                    <a:pt x="42027" y="252727"/>
                  </a:cubicBezTo>
                  <a:cubicBezTo>
                    <a:pt x="42027" y="253291"/>
                    <a:pt x="41463" y="253573"/>
                    <a:pt x="40899" y="253573"/>
                  </a:cubicBezTo>
                  <a:cubicBezTo>
                    <a:pt x="39489" y="253855"/>
                    <a:pt x="38360" y="254701"/>
                    <a:pt x="36386" y="255548"/>
                  </a:cubicBezTo>
                  <a:lnTo>
                    <a:pt x="34693" y="256676"/>
                  </a:lnTo>
                  <a:cubicBezTo>
                    <a:pt x="34411" y="256676"/>
                    <a:pt x="34129" y="257240"/>
                    <a:pt x="33847" y="257522"/>
                  </a:cubicBezTo>
                  <a:cubicBezTo>
                    <a:pt x="33283" y="257522"/>
                    <a:pt x="33283" y="257240"/>
                    <a:pt x="33283" y="256958"/>
                  </a:cubicBezTo>
                  <a:cubicBezTo>
                    <a:pt x="33283" y="256676"/>
                    <a:pt x="33001" y="256676"/>
                    <a:pt x="33001" y="256676"/>
                  </a:cubicBezTo>
                  <a:cubicBezTo>
                    <a:pt x="32437" y="257522"/>
                    <a:pt x="31591" y="257522"/>
                    <a:pt x="31027" y="257804"/>
                  </a:cubicBezTo>
                  <a:cubicBezTo>
                    <a:pt x="30744" y="257804"/>
                    <a:pt x="30180" y="257804"/>
                    <a:pt x="30180" y="257522"/>
                  </a:cubicBezTo>
                  <a:cubicBezTo>
                    <a:pt x="29898" y="257240"/>
                    <a:pt x="29616" y="256958"/>
                    <a:pt x="29334" y="256958"/>
                  </a:cubicBezTo>
                  <a:cubicBezTo>
                    <a:pt x="29052" y="256958"/>
                    <a:pt x="28770" y="257240"/>
                    <a:pt x="28770" y="257240"/>
                  </a:cubicBezTo>
                  <a:cubicBezTo>
                    <a:pt x="27924" y="257804"/>
                    <a:pt x="26796" y="257804"/>
                    <a:pt x="25386" y="258086"/>
                  </a:cubicBezTo>
                  <a:cubicBezTo>
                    <a:pt x="24821" y="258086"/>
                    <a:pt x="24257" y="258086"/>
                    <a:pt x="23975" y="258368"/>
                  </a:cubicBezTo>
                  <a:cubicBezTo>
                    <a:pt x="23693" y="258650"/>
                    <a:pt x="22847" y="258650"/>
                    <a:pt x="22565" y="258650"/>
                  </a:cubicBezTo>
                  <a:cubicBezTo>
                    <a:pt x="22283" y="258932"/>
                    <a:pt x="21719" y="258932"/>
                    <a:pt x="21436" y="258932"/>
                  </a:cubicBezTo>
                  <a:cubicBezTo>
                    <a:pt x="21155" y="258932"/>
                    <a:pt x="20872" y="258932"/>
                    <a:pt x="20590" y="258650"/>
                  </a:cubicBezTo>
                  <a:cubicBezTo>
                    <a:pt x="20308" y="258650"/>
                    <a:pt x="20026" y="258368"/>
                    <a:pt x="20026" y="258086"/>
                  </a:cubicBezTo>
                  <a:cubicBezTo>
                    <a:pt x="19462" y="257522"/>
                    <a:pt x="18898" y="257522"/>
                    <a:pt x="18334" y="257522"/>
                  </a:cubicBezTo>
                  <a:cubicBezTo>
                    <a:pt x="18334" y="258086"/>
                    <a:pt x="17769" y="258086"/>
                    <a:pt x="17488" y="258086"/>
                  </a:cubicBezTo>
                  <a:cubicBezTo>
                    <a:pt x="17205" y="257804"/>
                    <a:pt x="17205" y="257804"/>
                    <a:pt x="16924" y="257804"/>
                  </a:cubicBezTo>
                  <a:cubicBezTo>
                    <a:pt x="16641" y="257804"/>
                    <a:pt x="16641" y="257804"/>
                    <a:pt x="16359" y="258086"/>
                  </a:cubicBezTo>
                  <a:cubicBezTo>
                    <a:pt x="16077" y="258932"/>
                    <a:pt x="15513" y="258932"/>
                    <a:pt x="14949" y="258932"/>
                  </a:cubicBezTo>
                  <a:lnTo>
                    <a:pt x="12693" y="258086"/>
                  </a:lnTo>
                  <a:cubicBezTo>
                    <a:pt x="11846" y="258086"/>
                    <a:pt x="11000" y="258086"/>
                    <a:pt x="10154" y="257804"/>
                  </a:cubicBezTo>
                  <a:cubicBezTo>
                    <a:pt x="8180" y="256394"/>
                    <a:pt x="6769" y="255830"/>
                    <a:pt x="5359" y="254419"/>
                  </a:cubicBezTo>
                  <a:cubicBezTo>
                    <a:pt x="5359" y="254419"/>
                    <a:pt x="4795" y="253855"/>
                    <a:pt x="4795" y="253291"/>
                  </a:cubicBezTo>
                  <a:cubicBezTo>
                    <a:pt x="4795" y="252445"/>
                    <a:pt x="4513" y="252163"/>
                    <a:pt x="3666" y="251599"/>
                  </a:cubicBezTo>
                  <a:cubicBezTo>
                    <a:pt x="3666" y="251599"/>
                    <a:pt x="3385" y="251599"/>
                    <a:pt x="3385" y="251317"/>
                  </a:cubicBezTo>
                  <a:cubicBezTo>
                    <a:pt x="3102" y="249906"/>
                    <a:pt x="2256" y="249342"/>
                    <a:pt x="2256" y="248214"/>
                  </a:cubicBezTo>
                  <a:lnTo>
                    <a:pt x="2256" y="247650"/>
                  </a:lnTo>
                  <a:cubicBezTo>
                    <a:pt x="2256" y="247368"/>
                    <a:pt x="1974" y="247086"/>
                    <a:pt x="1692" y="247086"/>
                  </a:cubicBezTo>
                  <a:cubicBezTo>
                    <a:pt x="564" y="246522"/>
                    <a:pt x="564" y="245393"/>
                    <a:pt x="564" y="244265"/>
                  </a:cubicBezTo>
                  <a:cubicBezTo>
                    <a:pt x="282" y="243701"/>
                    <a:pt x="282" y="243419"/>
                    <a:pt x="282" y="242855"/>
                  </a:cubicBezTo>
                  <a:lnTo>
                    <a:pt x="282" y="241162"/>
                  </a:lnTo>
                  <a:cubicBezTo>
                    <a:pt x="282" y="240880"/>
                    <a:pt x="282" y="240598"/>
                    <a:pt x="564" y="240316"/>
                  </a:cubicBezTo>
                  <a:lnTo>
                    <a:pt x="846" y="240316"/>
                  </a:lnTo>
                  <a:cubicBezTo>
                    <a:pt x="846" y="240316"/>
                    <a:pt x="1128" y="240316"/>
                    <a:pt x="1128" y="240034"/>
                  </a:cubicBezTo>
                  <a:cubicBezTo>
                    <a:pt x="1128" y="240034"/>
                    <a:pt x="846" y="239752"/>
                    <a:pt x="846" y="239470"/>
                  </a:cubicBezTo>
                  <a:cubicBezTo>
                    <a:pt x="846" y="239188"/>
                    <a:pt x="1128" y="238906"/>
                    <a:pt x="1128" y="238906"/>
                  </a:cubicBezTo>
                  <a:lnTo>
                    <a:pt x="846" y="238906"/>
                  </a:lnTo>
                  <a:cubicBezTo>
                    <a:pt x="564" y="238624"/>
                    <a:pt x="564" y="238060"/>
                    <a:pt x="564" y="237778"/>
                  </a:cubicBezTo>
                  <a:cubicBezTo>
                    <a:pt x="564" y="237214"/>
                    <a:pt x="564" y="236932"/>
                    <a:pt x="846" y="236367"/>
                  </a:cubicBezTo>
                  <a:cubicBezTo>
                    <a:pt x="846" y="235803"/>
                    <a:pt x="846" y="235803"/>
                    <a:pt x="282" y="235521"/>
                  </a:cubicBezTo>
                  <a:cubicBezTo>
                    <a:pt x="0" y="235521"/>
                    <a:pt x="0" y="235521"/>
                    <a:pt x="0" y="235239"/>
                  </a:cubicBezTo>
                  <a:lnTo>
                    <a:pt x="0" y="231854"/>
                  </a:lnTo>
                  <a:cubicBezTo>
                    <a:pt x="282" y="230726"/>
                    <a:pt x="564" y="229880"/>
                    <a:pt x="564" y="228752"/>
                  </a:cubicBezTo>
                  <a:cubicBezTo>
                    <a:pt x="564" y="228188"/>
                    <a:pt x="564" y="227624"/>
                    <a:pt x="846" y="226777"/>
                  </a:cubicBezTo>
                  <a:lnTo>
                    <a:pt x="1128" y="226495"/>
                  </a:lnTo>
                  <a:cubicBezTo>
                    <a:pt x="1128" y="225649"/>
                    <a:pt x="1410" y="224803"/>
                    <a:pt x="1410" y="223393"/>
                  </a:cubicBezTo>
                  <a:cubicBezTo>
                    <a:pt x="1410" y="223111"/>
                    <a:pt x="1410" y="222546"/>
                    <a:pt x="1692" y="221982"/>
                  </a:cubicBezTo>
                  <a:lnTo>
                    <a:pt x="1692" y="221418"/>
                  </a:lnTo>
                  <a:cubicBezTo>
                    <a:pt x="1692" y="221136"/>
                    <a:pt x="1692" y="220572"/>
                    <a:pt x="1410" y="220008"/>
                  </a:cubicBezTo>
                  <a:lnTo>
                    <a:pt x="1410" y="217751"/>
                  </a:lnTo>
                  <a:lnTo>
                    <a:pt x="1128" y="217469"/>
                  </a:lnTo>
                  <a:cubicBezTo>
                    <a:pt x="1974" y="216905"/>
                    <a:pt x="1410" y="215777"/>
                    <a:pt x="1974" y="214649"/>
                  </a:cubicBezTo>
                  <a:lnTo>
                    <a:pt x="2256" y="214367"/>
                  </a:lnTo>
                  <a:cubicBezTo>
                    <a:pt x="2256" y="214367"/>
                    <a:pt x="2256" y="214649"/>
                    <a:pt x="2538" y="214649"/>
                  </a:cubicBezTo>
                  <a:lnTo>
                    <a:pt x="2821" y="214649"/>
                  </a:lnTo>
                  <a:lnTo>
                    <a:pt x="2821" y="211828"/>
                  </a:lnTo>
                  <a:cubicBezTo>
                    <a:pt x="3666" y="210136"/>
                    <a:pt x="3949" y="208725"/>
                    <a:pt x="4513" y="207033"/>
                  </a:cubicBezTo>
                  <a:lnTo>
                    <a:pt x="4513" y="205623"/>
                  </a:lnTo>
                  <a:cubicBezTo>
                    <a:pt x="4231" y="205341"/>
                    <a:pt x="4231" y="205059"/>
                    <a:pt x="4231" y="204777"/>
                  </a:cubicBezTo>
                  <a:cubicBezTo>
                    <a:pt x="4231" y="204494"/>
                    <a:pt x="4231" y="203930"/>
                    <a:pt x="4513" y="203648"/>
                  </a:cubicBezTo>
                  <a:cubicBezTo>
                    <a:pt x="4795" y="203366"/>
                    <a:pt x="4795" y="203084"/>
                    <a:pt x="4795" y="202802"/>
                  </a:cubicBezTo>
                  <a:lnTo>
                    <a:pt x="4795" y="202238"/>
                  </a:lnTo>
                  <a:lnTo>
                    <a:pt x="5641" y="202238"/>
                  </a:lnTo>
                  <a:cubicBezTo>
                    <a:pt x="5641" y="202520"/>
                    <a:pt x="5641" y="202520"/>
                    <a:pt x="5923" y="202520"/>
                  </a:cubicBezTo>
                  <a:cubicBezTo>
                    <a:pt x="5923" y="202238"/>
                    <a:pt x="6487" y="201674"/>
                    <a:pt x="6487" y="201392"/>
                  </a:cubicBezTo>
                  <a:cubicBezTo>
                    <a:pt x="6205" y="201110"/>
                    <a:pt x="6205" y="200828"/>
                    <a:pt x="6205" y="200546"/>
                  </a:cubicBezTo>
                  <a:cubicBezTo>
                    <a:pt x="6205" y="199982"/>
                    <a:pt x="6487" y="199699"/>
                    <a:pt x="6769" y="199135"/>
                  </a:cubicBezTo>
                  <a:cubicBezTo>
                    <a:pt x="7333" y="198289"/>
                    <a:pt x="7333" y="198007"/>
                    <a:pt x="7616" y="197161"/>
                  </a:cubicBezTo>
                  <a:cubicBezTo>
                    <a:pt x="7616" y="196879"/>
                    <a:pt x="7616" y="196597"/>
                    <a:pt x="7333" y="196315"/>
                  </a:cubicBezTo>
                  <a:lnTo>
                    <a:pt x="7333" y="196033"/>
                  </a:lnTo>
                  <a:cubicBezTo>
                    <a:pt x="7333" y="195751"/>
                    <a:pt x="7333" y="195469"/>
                    <a:pt x="7616" y="195469"/>
                  </a:cubicBezTo>
                  <a:lnTo>
                    <a:pt x="8180" y="195469"/>
                  </a:lnTo>
                  <a:lnTo>
                    <a:pt x="8462" y="195751"/>
                  </a:lnTo>
                  <a:lnTo>
                    <a:pt x="8462" y="195469"/>
                  </a:lnTo>
                  <a:cubicBezTo>
                    <a:pt x="8462" y="195186"/>
                    <a:pt x="8462" y="194904"/>
                    <a:pt x="8743" y="194622"/>
                  </a:cubicBezTo>
                  <a:cubicBezTo>
                    <a:pt x="9026" y="194340"/>
                    <a:pt x="9307" y="194058"/>
                    <a:pt x="9307" y="193494"/>
                  </a:cubicBezTo>
                  <a:cubicBezTo>
                    <a:pt x="9307" y="192648"/>
                    <a:pt x="9872" y="191802"/>
                    <a:pt x="10436" y="191520"/>
                  </a:cubicBezTo>
                  <a:cubicBezTo>
                    <a:pt x="11000" y="191238"/>
                    <a:pt x="11000" y="190673"/>
                    <a:pt x="11000" y="190391"/>
                  </a:cubicBezTo>
                  <a:cubicBezTo>
                    <a:pt x="10718" y="189545"/>
                    <a:pt x="10718" y="188981"/>
                    <a:pt x="10436" y="188699"/>
                  </a:cubicBezTo>
                  <a:cubicBezTo>
                    <a:pt x="10436" y="188699"/>
                    <a:pt x="10436" y="188417"/>
                    <a:pt x="11000" y="188135"/>
                  </a:cubicBezTo>
                  <a:cubicBezTo>
                    <a:pt x="11282" y="188135"/>
                    <a:pt x="11564" y="187853"/>
                    <a:pt x="11564" y="187571"/>
                  </a:cubicBezTo>
                  <a:lnTo>
                    <a:pt x="11564" y="187007"/>
                  </a:lnTo>
                  <a:cubicBezTo>
                    <a:pt x="11564" y="185878"/>
                    <a:pt x="11564" y="185878"/>
                    <a:pt x="12410" y="185596"/>
                  </a:cubicBezTo>
                  <a:cubicBezTo>
                    <a:pt x="12693" y="185596"/>
                    <a:pt x="12693" y="185314"/>
                    <a:pt x="12693" y="184750"/>
                  </a:cubicBezTo>
                  <a:cubicBezTo>
                    <a:pt x="12693" y="184750"/>
                    <a:pt x="12974" y="184468"/>
                    <a:pt x="12693" y="184468"/>
                  </a:cubicBezTo>
                  <a:lnTo>
                    <a:pt x="14385" y="184468"/>
                  </a:lnTo>
                  <a:cubicBezTo>
                    <a:pt x="14667" y="184468"/>
                    <a:pt x="14667" y="184468"/>
                    <a:pt x="14667" y="184186"/>
                  </a:cubicBezTo>
                  <a:lnTo>
                    <a:pt x="14385" y="183904"/>
                  </a:lnTo>
                  <a:cubicBezTo>
                    <a:pt x="14103" y="183622"/>
                    <a:pt x="13821" y="183622"/>
                    <a:pt x="13821" y="183340"/>
                  </a:cubicBezTo>
                  <a:cubicBezTo>
                    <a:pt x="13821" y="183058"/>
                    <a:pt x="14103" y="183058"/>
                    <a:pt x="14103" y="182776"/>
                  </a:cubicBezTo>
                  <a:cubicBezTo>
                    <a:pt x="14667" y="182212"/>
                    <a:pt x="14949" y="181365"/>
                    <a:pt x="14949" y="180801"/>
                  </a:cubicBezTo>
                  <a:lnTo>
                    <a:pt x="15231" y="180801"/>
                  </a:lnTo>
                  <a:cubicBezTo>
                    <a:pt x="15231" y="180801"/>
                    <a:pt x="15231" y="180519"/>
                    <a:pt x="14949" y="180519"/>
                  </a:cubicBezTo>
                  <a:cubicBezTo>
                    <a:pt x="15231" y="180237"/>
                    <a:pt x="15513" y="180237"/>
                    <a:pt x="15795" y="180237"/>
                  </a:cubicBezTo>
                  <a:lnTo>
                    <a:pt x="16641" y="181083"/>
                  </a:lnTo>
                  <a:lnTo>
                    <a:pt x="16641" y="181648"/>
                  </a:lnTo>
                  <a:cubicBezTo>
                    <a:pt x="16077" y="181930"/>
                    <a:pt x="15795" y="182212"/>
                    <a:pt x="15795" y="183058"/>
                  </a:cubicBezTo>
                  <a:lnTo>
                    <a:pt x="15795" y="184750"/>
                  </a:lnTo>
                  <a:cubicBezTo>
                    <a:pt x="15513" y="185032"/>
                    <a:pt x="15513" y="185032"/>
                    <a:pt x="14949" y="185032"/>
                  </a:cubicBezTo>
                  <a:cubicBezTo>
                    <a:pt x="14949" y="185032"/>
                    <a:pt x="14385" y="185032"/>
                    <a:pt x="14103" y="185314"/>
                  </a:cubicBezTo>
                  <a:lnTo>
                    <a:pt x="13257" y="186443"/>
                  </a:lnTo>
                  <a:lnTo>
                    <a:pt x="13257" y="187007"/>
                  </a:lnTo>
                  <a:lnTo>
                    <a:pt x="13821" y="187007"/>
                  </a:lnTo>
                  <a:cubicBezTo>
                    <a:pt x="14103" y="187007"/>
                    <a:pt x="14385" y="186443"/>
                    <a:pt x="14949" y="185878"/>
                  </a:cubicBezTo>
                  <a:lnTo>
                    <a:pt x="14949" y="186161"/>
                  </a:lnTo>
                  <a:cubicBezTo>
                    <a:pt x="14949" y="186725"/>
                    <a:pt x="14949" y="187007"/>
                    <a:pt x="14385" y="187289"/>
                  </a:cubicBezTo>
                  <a:cubicBezTo>
                    <a:pt x="14103" y="187853"/>
                    <a:pt x="13821" y="187853"/>
                    <a:pt x="13538" y="188135"/>
                  </a:cubicBezTo>
                  <a:cubicBezTo>
                    <a:pt x="13257" y="188135"/>
                    <a:pt x="13257" y="188135"/>
                    <a:pt x="12974" y="188417"/>
                  </a:cubicBezTo>
                  <a:lnTo>
                    <a:pt x="12974" y="188699"/>
                  </a:lnTo>
                  <a:cubicBezTo>
                    <a:pt x="12974" y="188981"/>
                    <a:pt x="13257" y="188981"/>
                    <a:pt x="13538" y="189263"/>
                  </a:cubicBezTo>
                  <a:cubicBezTo>
                    <a:pt x="13538" y="189827"/>
                    <a:pt x="13538" y="190109"/>
                    <a:pt x="12974" y="190109"/>
                  </a:cubicBezTo>
                  <a:cubicBezTo>
                    <a:pt x="12693" y="190109"/>
                    <a:pt x="12128" y="190391"/>
                    <a:pt x="11846" y="190673"/>
                  </a:cubicBezTo>
                  <a:cubicBezTo>
                    <a:pt x="11846" y="190956"/>
                    <a:pt x="11564" y="191238"/>
                    <a:pt x="11564" y="191520"/>
                  </a:cubicBezTo>
                  <a:lnTo>
                    <a:pt x="11564" y="192930"/>
                  </a:lnTo>
                  <a:cubicBezTo>
                    <a:pt x="11564" y="193212"/>
                    <a:pt x="11564" y="193212"/>
                    <a:pt x="11846" y="193494"/>
                  </a:cubicBezTo>
                  <a:cubicBezTo>
                    <a:pt x="11846" y="193494"/>
                    <a:pt x="11564" y="193776"/>
                    <a:pt x="11564" y="194340"/>
                  </a:cubicBezTo>
                  <a:lnTo>
                    <a:pt x="11000" y="195469"/>
                  </a:lnTo>
                  <a:lnTo>
                    <a:pt x="11000" y="196033"/>
                  </a:lnTo>
                  <a:cubicBezTo>
                    <a:pt x="11000" y="196597"/>
                    <a:pt x="10718" y="197161"/>
                    <a:pt x="9872" y="197161"/>
                  </a:cubicBezTo>
                  <a:cubicBezTo>
                    <a:pt x="9590" y="197161"/>
                    <a:pt x="9590" y="197443"/>
                    <a:pt x="9590" y="197725"/>
                  </a:cubicBezTo>
                  <a:lnTo>
                    <a:pt x="9590" y="199135"/>
                  </a:lnTo>
                  <a:cubicBezTo>
                    <a:pt x="9590" y="199417"/>
                    <a:pt x="9307" y="199699"/>
                    <a:pt x="9026" y="199982"/>
                  </a:cubicBezTo>
                  <a:lnTo>
                    <a:pt x="9026" y="200546"/>
                  </a:lnTo>
                  <a:cubicBezTo>
                    <a:pt x="9026" y="200828"/>
                    <a:pt x="9026" y="201110"/>
                    <a:pt x="8743" y="201392"/>
                  </a:cubicBezTo>
                  <a:cubicBezTo>
                    <a:pt x="8462" y="201956"/>
                    <a:pt x="8462" y="202802"/>
                    <a:pt x="8462" y="203084"/>
                  </a:cubicBezTo>
                  <a:cubicBezTo>
                    <a:pt x="8743" y="203648"/>
                    <a:pt x="9026" y="203930"/>
                    <a:pt x="9307" y="203930"/>
                  </a:cubicBezTo>
                  <a:lnTo>
                    <a:pt x="11846" y="203930"/>
                  </a:lnTo>
                  <a:lnTo>
                    <a:pt x="11846" y="204494"/>
                  </a:lnTo>
                  <a:cubicBezTo>
                    <a:pt x="11282" y="205905"/>
                    <a:pt x="11000" y="207597"/>
                    <a:pt x="10154" y="208725"/>
                  </a:cubicBezTo>
                  <a:cubicBezTo>
                    <a:pt x="10154" y="209007"/>
                    <a:pt x="10154" y="209007"/>
                    <a:pt x="9872" y="209007"/>
                  </a:cubicBezTo>
                  <a:cubicBezTo>
                    <a:pt x="9872" y="209007"/>
                    <a:pt x="9590" y="209290"/>
                    <a:pt x="9307" y="209290"/>
                  </a:cubicBezTo>
                  <a:cubicBezTo>
                    <a:pt x="9307" y="209007"/>
                    <a:pt x="9026" y="209007"/>
                    <a:pt x="9307" y="209007"/>
                  </a:cubicBezTo>
                  <a:cubicBezTo>
                    <a:pt x="9307" y="208725"/>
                    <a:pt x="9590" y="208161"/>
                    <a:pt x="9872" y="207879"/>
                  </a:cubicBezTo>
                  <a:cubicBezTo>
                    <a:pt x="10154" y="207879"/>
                    <a:pt x="10154" y="207597"/>
                    <a:pt x="10154" y="207597"/>
                  </a:cubicBezTo>
                  <a:cubicBezTo>
                    <a:pt x="10154" y="207315"/>
                    <a:pt x="9872" y="207315"/>
                    <a:pt x="9590" y="207033"/>
                  </a:cubicBezTo>
                  <a:lnTo>
                    <a:pt x="9307" y="207033"/>
                  </a:lnTo>
                  <a:cubicBezTo>
                    <a:pt x="8743" y="206751"/>
                    <a:pt x="8743" y="206751"/>
                    <a:pt x="8743" y="205905"/>
                  </a:cubicBezTo>
                  <a:cubicBezTo>
                    <a:pt x="8743" y="205623"/>
                    <a:pt x="9026" y="205623"/>
                    <a:pt x="9026" y="205623"/>
                  </a:cubicBezTo>
                  <a:cubicBezTo>
                    <a:pt x="8743" y="205341"/>
                    <a:pt x="8743" y="205059"/>
                    <a:pt x="8462" y="205059"/>
                  </a:cubicBezTo>
                  <a:lnTo>
                    <a:pt x="7616" y="207033"/>
                  </a:lnTo>
                  <a:cubicBezTo>
                    <a:pt x="7052" y="207597"/>
                    <a:pt x="6487" y="208161"/>
                    <a:pt x="6487" y="209007"/>
                  </a:cubicBezTo>
                  <a:cubicBezTo>
                    <a:pt x="6487" y="209572"/>
                    <a:pt x="6487" y="210136"/>
                    <a:pt x="7052" y="210700"/>
                  </a:cubicBezTo>
                  <a:lnTo>
                    <a:pt x="7052" y="210982"/>
                  </a:lnTo>
                  <a:cubicBezTo>
                    <a:pt x="7052" y="211264"/>
                    <a:pt x="6769" y="211264"/>
                    <a:pt x="6487" y="211264"/>
                  </a:cubicBezTo>
                  <a:lnTo>
                    <a:pt x="6205" y="211264"/>
                  </a:lnTo>
                  <a:cubicBezTo>
                    <a:pt x="6205" y="211264"/>
                    <a:pt x="5923" y="211264"/>
                    <a:pt x="5923" y="211546"/>
                  </a:cubicBezTo>
                  <a:cubicBezTo>
                    <a:pt x="5359" y="212392"/>
                    <a:pt x="5359" y="213520"/>
                    <a:pt x="5359" y="214367"/>
                  </a:cubicBezTo>
                  <a:cubicBezTo>
                    <a:pt x="5077" y="215495"/>
                    <a:pt x="4795" y="216905"/>
                    <a:pt x="4795" y="218033"/>
                  </a:cubicBezTo>
                  <a:cubicBezTo>
                    <a:pt x="4795" y="219162"/>
                    <a:pt x="5077" y="220008"/>
                    <a:pt x="5359" y="221136"/>
                  </a:cubicBezTo>
                  <a:cubicBezTo>
                    <a:pt x="5359" y="221418"/>
                    <a:pt x="5641" y="221418"/>
                    <a:pt x="5641" y="221700"/>
                  </a:cubicBezTo>
                  <a:cubicBezTo>
                    <a:pt x="5641" y="221982"/>
                    <a:pt x="5359" y="222264"/>
                    <a:pt x="5359" y="222264"/>
                  </a:cubicBezTo>
                  <a:cubicBezTo>
                    <a:pt x="4795" y="222828"/>
                    <a:pt x="4795" y="223393"/>
                    <a:pt x="4795" y="224239"/>
                  </a:cubicBezTo>
                  <a:lnTo>
                    <a:pt x="5641" y="225649"/>
                  </a:lnTo>
                  <a:cubicBezTo>
                    <a:pt x="5641" y="226213"/>
                    <a:pt x="5641" y="226777"/>
                    <a:pt x="6205" y="226777"/>
                  </a:cubicBezTo>
                  <a:cubicBezTo>
                    <a:pt x="6487" y="226777"/>
                    <a:pt x="6487" y="226495"/>
                    <a:pt x="6769" y="226495"/>
                  </a:cubicBezTo>
                  <a:lnTo>
                    <a:pt x="7052" y="226777"/>
                  </a:lnTo>
                  <a:lnTo>
                    <a:pt x="7052" y="227624"/>
                  </a:lnTo>
                  <a:cubicBezTo>
                    <a:pt x="7333" y="228188"/>
                    <a:pt x="7616" y="229034"/>
                    <a:pt x="7616" y="229598"/>
                  </a:cubicBezTo>
                  <a:cubicBezTo>
                    <a:pt x="7616" y="230162"/>
                    <a:pt x="7333" y="230444"/>
                    <a:pt x="7333" y="231008"/>
                  </a:cubicBezTo>
                  <a:lnTo>
                    <a:pt x="7333" y="231572"/>
                  </a:lnTo>
                  <a:lnTo>
                    <a:pt x="7897" y="237214"/>
                  </a:lnTo>
                  <a:cubicBezTo>
                    <a:pt x="7897" y="238060"/>
                    <a:pt x="7897" y="238624"/>
                    <a:pt x="8180" y="239470"/>
                  </a:cubicBezTo>
                  <a:cubicBezTo>
                    <a:pt x="8743" y="239470"/>
                    <a:pt x="8743" y="240316"/>
                    <a:pt x="9307" y="240880"/>
                  </a:cubicBezTo>
                  <a:cubicBezTo>
                    <a:pt x="9590" y="240880"/>
                    <a:pt x="9872" y="241445"/>
                    <a:pt x="9590" y="241162"/>
                  </a:cubicBezTo>
                  <a:cubicBezTo>
                    <a:pt x="9590" y="242291"/>
                    <a:pt x="10154" y="243137"/>
                    <a:pt x="11000" y="243983"/>
                  </a:cubicBezTo>
                  <a:cubicBezTo>
                    <a:pt x="11564" y="245111"/>
                    <a:pt x="12974" y="245675"/>
                    <a:pt x="13821" y="246522"/>
                  </a:cubicBezTo>
                  <a:lnTo>
                    <a:pt x="14103" y="246522"/>
                  </a:lnTo>
                  <a:cubicBezTo>
                    <a:pt x="14385" y="246522"/>
                    <a:pt x="14385" y="246522"/>
                    <a:pt x="14667" y="246240"/>
                  </a:cubicBezTo>
                  <a:cubicBezTo>
                    <a:pt x="14949" y="245958"/>
                    <a:pt x="14949" y="245958"/>
                    <a:pt x="15231" y="245958"/>
                  </a:cubicBezTo>
                  <a:cubicBezTo>
                    <a:pt x="15231" y="245958"/>
                    <a:pt x="15513" y="245958"/>
                    <a:pt x="15513" y="246240"/>
                  </a:cubicBezTo>
                  <a:cubicBezTo>
                    <a:pt x="15513" y="246240"/>
                    <a:pt x="15513" y="246804"/>
                    <a:pt x="15795" y="247086"/>
                  </a:cubicBezTo>
                  <a:lnTo>
                    <a:pt x="17769" y="248778"/>
                  </a:lnTo>
                  <a:lnTo>
                    <a:pt x="18052" y="248778"/>
                  </a:lnTo>
                  <a:cubicBezTo>
                    <a:pt x="19180" y="248778"/>
                    <a:pt x="20590" y="249060"/>
                    <a:pt x="22000" y="249060"/>
                  </a:cubicBezTo>
                  <a:lnTo>
                    <a:pt x="23129" y="249060"/>
                  </a:lnTo>
                  <a:cubicBezTo>
                    <a:pt x="24257" y="249060"/>
                    <a:pt x="25386" y="248778"/>
                    <a:pt x="27077" y="247650"/>
                  </a:cubicBezTo>
                  <a:cubicBezTo>
                    <a:pt x="27360" y="247932"/>
                    <a:pt x="27924" y="247932"/>
                    <a:pt x="28206" y="247932"/>
                  </a:cubicBezTo>
                  <a:cubicBezTo>
                    <a:pt x="29052" y="247932"/>
                    <a:pt x="29616" y="247368"/>
                    <a:pt x="30462" y="247086"/>
                  </a:cubicBezTo>
                  <a:cubicBezTo>
                    <a:pt x="31308" y="246804"/>
                    <a:pt x="32155" y="246804"/>
                    <a:pt x="32155" y="245958"/>
                  </a:cubicBezTo>
                  <a:lnTo>
                    <a:pt x="32719" y="245958"/>
                  </a:lnTo>
                  <a:cubicBezTo>
                    <a:pt x="33001" y="245958"/>
                    <a:pt x="33001" y="245958"/>
                    <a:pt x="33001" y="245675"/>
                  </a:cubicBezTo>
                  <a:cubicBezTo>
                    <a:pt x="33565" y="245111"/>
                    <a:pt x="34411" y="245111"/>
                    <a:pt x="34975" y="244829"/>
                  </a:cubicBezTo>
                  <a:cubicBezTo>
                    <a:pt x="35539" y="244829"/>
                    <a:pt x="36103" y="244547"/>
                    <a:pt x="36386" y="244265"/>
                  </a:cubicBezTo>
                  <a:cubicBezTo>
                    <a:pt x="37232" y="244265"/>
                    <a:pt x="38360" y="243983"/>
                    <a:pt x="39206" y="243701"/>
                  </a:cubicBezTo>
                  <a:lnTo>
                    <a:pt x="43155" y="241162"/>
                  </a:lnTo>
                  <a:cubicBezTo>
                    <a:pt x="44848" y="240598"/>
                    <a:pt x="46822" y="239752"/>
                    <a:pt x="47950" y="238060"/>
                  </a:cubicBezTo>
                  <a:cubicBezTo>
                    <a:pt x="48232" y="237778"/>
                    <a:pt x="48232" y="237496"/>
                    <a:pt x="48514" y="237496"/>
                  </a:cubicBezTo>
                  <a:cubicBezTo>
                    <a:pt x="49361" y="236932"/>
                    <a:pt x="49925" y="236367"/>
                    <a:pt x="50206" y="235803"/>
                  </a:cubicBezTo>
                  <a:cubicBezTo>
                    <a:pt x="50771" y="234675"/>
                    <a:pt x="51899" y="234393"/>
                    <a:pt x="52463" y="233547"/>
                  </a:cubicBezTo>
                  <a:cubicBezTo>
                    <a:pt x="52463" y="233547"/>
                    <a:pt x="52463" y="233265"/>
                    <a:pt x="52745" y="233265"/>
                  </a:cubicBezTo>
                  <a:lnTo>
                    <a:pt x="53027" y="233265"/>
                  </a:lnTo>
                  <a:cubicBezTo>
                    <a:pt x="53592" y="233265"/>
                    <a:pt x="53873" y="232701"/>
                    <a:pt x="54156" y="232137"/>
                  </a:cubicBezTo>
                  <a:cubicBezTo>
                    <a:pt x="54437" y="231290"/>
                    <a:pt x="55284" y="231290"/>
                    <a:pt x="55566" y="230444"/>
                  </a:cubicBezTo>
                  <a:cubicBezTo>
                    <a:pt x="56130" y="229598"/>
                    <a:pt x="56412" y="229034"/>
                    <a:pt x="57258" y="228470"/>
                  </a:cubicBezTo>
                  <a:cubicBezTo>
                    <a:pt x="57823" y="227341"/>
                    <a:pt x="59233" y="226777"/>
                    <a:pt x="59797" y="225367"/>
                  </a:cubicBezTo>
                  <a:lnTo>
                    <a:pt x="60925" y="223957"/>
                  </a:lnTo>
                  <a:cubicBezTo>
                    <a:pt x="62054" y="222828"/>
                    <a:pt x="63182" y="221700"/>
                    <a:pt x="63745" y="220290"/>
                  </a:cubicBezTo>
                  <a:cubicBezTo>
                    <a:pt x="64028" y="219444"/>
                    <a:pt x="64874" y="218598"/>
                    <a:pt x="66002" y="218033"/>
                  </a:cubicBezTo>
                  <a:cubicBezTo>
                    <a:pt x="66284" y="217751"/>
                    <a:pt x="66848" y="216905"/>
                    <a:pt x="66848" y="216341"/>
                  </a:cubicBezTo>
                  <a:cubicBezTo>
                    <a:pt x="67695" y="215777"/>
                    <a:pt x="67976" y="214649"/>
                    <a:pt x="68540" y="214085"/>
                  </a:cubicBezTo>
                  <a:cubicBezTo>
                    <a:pt x="69105" y="212956"/>
                    <a:pt x="70515" y="212110"/>
                    <a:pt x="71361" y="210700"/>
                  </a:cubicBezTo>
                  <a:cubicBezTo>
                    <a:pt x="72207" y="208725"/>
                    <a:pt x="73618" y="207033"/>
                    <a:pt x="74182" y="204777"/>
                  </a:cubicBezTo>
                  <a:cubicBezTo>
                    <a:pt x="74746" y="203930"/>
                    <a:pt x="75310" y="203084"/>
                    <a:pt x="76157" y="202238"/>
                  </a:cubicBezTo>
                  <a:cubicBezTo>
                    <a:pt x="76157" y="201956"/>
                    <a:pt x="76721" y="201674"/>
                    <a:pt x="76721" y="201110"/>
                  </a:cubicBezTo>
                  <a:cubicBezTo>
                    <a:pt x="76721" y="200828"/>
                    <a:pt x="76721" y="200546"/>
                    <a:pt x="77002" y="200264"/>
                  </a:cubicBezTo>
                  <a:cubicBezTo>
                    <a:pt x="77849" y="199417"/>
                    <a:pt x="78413" y="198007"/>
                    <a:pt x="78977" y="197161"/>
                  </a:cubicBezTo>
                  <a:cubicBezTo>
                    <a:pt x="79259" y="196315"/>
                    <a:pt x="80388" y="195469"/>
                    <a:pt x="80388" y="194340"/>
                  </a:cubicBezTo>
                  <a:cubicBezTo>
                    <a:pt x="80105" y="194058"/>
                    <a:pt x="80388" y="194058"/>
                    <a:pt x="80388" y="194058"/>
                  </a:cubicBezTo>
                  <a:cubicBezTo>
                    <a:pt x="81516" y="192930"/>
                    <a:pt x="82643" y="190956"/>
                    <a:pt x="83208" y="189263"/>
                  </a:cubicBezTo>
                  <a:cubicBezTo>
                    <a:pt x="83772" y="187571"/>
                    <a:pt x="84618" y="186161"/>
                    <a:pt x="85464" y="184186"/>
                  </a:cubicBezTo>
                  <a:cubicBezTo>
                    <a:pt x="85746" y="183340"/>
                    <a:pt x="85746" y="182494"/>
                    <a:pt x="86029" y="182212"/>
                  </a:cubicBezTo>
                  <a:cubicBezTo>
                    <a:pt x="86593" y="181083"/>
                    <a:pt x="86874" y="179955"/>
                    <a:pt x="86874" y="178827"/>
                  </a:cubicBezTo>
                  <a:cubicBezTo>
                    <a:pt x="88567" y="177699"/>
                    <a:pt x="88285" y="176006"/>
                    <a:pt x="88849" y="174596"/>
                  </a:cubicBezTo>
                  <a:cubicBezTo>
                    <a:pt x="89413" y="174032"/>
                    <a:pt x="89695" y="172904"/>
                    <a:pt x="89695" y="172339"/>
                  </a:cubicBezTo>
                  <a:cubicBezTo>
                    <a:pt x="90260" y="170929"/>
                    <a:pt x="90824" y="170083"/>
                    <a:pt x="90824" y="168673"/>
                  </a:cubicBezTo>
                  <a:cubicBezTo>
                    <a:pt x="91952" y="167262"/>
                    <a:pt x="92516" y="165288"/>
                    <a:pt x="92798" y="163314"/>
                  </a:cubicBezTo>
                  <a:lnTo>
                    <a:pt x="93644" y="161903"/>
                  </a:lnTo>
                  <a:cubicBezTo>
                    <a:pt x="93926" y="160775"/>
                    <a:pt x="94491" y="159083"/>
                    <a:pt x="94772" y="157108"/>
                  </a:cubicBezTo>
                  <a:cubicBezTo>
                    <a:pt x="95619" y="154570"/>
                    <a:pt x="95619" y="152313"/>
                    <a:pt x="96183" y="150057"/>
                  </a:cubicBezTo>
                  <a:cubicBezTo>
                    <a:pt x="96465" y="149775"/>
                    <a:pt x="96465" y="149493"/>
                    <a:pt x="96465" y="149210"/>
                  </a:cubicBezTo>
                  <a:cubicBezTo>
                    <a:pt x="96465" y="148646"/>
                    <a:pt x="96747" y="148364"/>
                    <a:pt x="96747" y="147800"/>
                  </a:cubicBezTo>
                  <a:lnTo>
                    <a:pt x="99850" y="130594"/>
                  </a:lnTo>
                  <a:cubicBezTo>
                    <a:pt x="100413" y="129466"/>
                    <a:pt x="100413" y="127774"/>
                    <a:pt x="100696" y="126364"/>
                  </a:cubicBezTo>
                  <a:cubicBezTo>
                    <a:pt x="100696" y="123825"/>
                    <a:pt x="101260" y="121286"/>
                    <a:pt x="101260" y="119030"/>
                  </a:cubicBezTo>
                  <a:cubicBezTo>
                    <a:pt x="101542" y="116209"/>
                    <a:pt x="101824" y="114235"/>
                    <a:pt x="101824" y="111978"/>
                  </a:cubicBezTo>
                  <a:cubicBezTo>
                    <a:pt x="101824" y="110004"/>
                    <a:pt x="101824" y="108594"/>
                    <a:pt x="102106" y="107183"/>
                  </a:cubicBezTo>
                  <a:cubicBezTo>
                    <a:pt x="102106" y="105773"/>
                    <a:pt x="101824" y="104645"/>
                    <a:pt x="101824" y="103234"/>
                  </a:cubicBezTo>
                  <a:cubicBezTo>
                    <a:pt x="102106" y="102952"/>
                    <a:pt x="101260" y="102670"/>
                    <a:pt x="100977" y="102670"/>
                  </a:cubicBezTo>
                  <a:lnTo>
                    <a:pt x="100696" y="102670"/>
                  </a:lnTo>
                  <a:cubicBezTo>
                    <a:pt x="99567" y="103234"/>
                    <a:pt x="98439" y="104081"/>
                    <a:pt x="97875" y="104927"/>
                  </a:cubicBezTo>
                  <a:cubicBezTo>
                    <a:pt x="97593" y="104927"/>
                    <a:pt x="97593" y="105209"/>
                    <a:pt x="97593" y="105491"/>
                  </a:cubicBezTo>
                  <a:cubicBezTo>
                    <a:pt x="97311" y="106055"/>
                    <a:pt x="97311" y="106337"/>
                    <a:pt x="97029" y="106337"/>
                  </a:cubicBezTo>
                  <a:cubicBezTo>
                    <a:pt x="97029" y="106337"/>
                    <a:pt x="96747" y="106055"/>
                    <a:pt x="96465" y="106055"/>
                  </a:cubicBezTo>
                  <a:cubicBezTo>
                    <a:pt x="96465" y="105773"/>
                    <a:pt x="96183" y="105773"/>
                    <a:pt x="95901" y="105773"/>
                  </a:cubicBezTo>
                  <a:cubicBezTo>
                    <a:pt x="95619" y="106055"/>
                    <a:pt x="95336" y="106055"/>
                    <a:pt x="95055" y="106055"/>
                  </a:cubicBezTo>
                  <a:cubicBezTo>
                    <a:pt x="94772" y="106055"/>
                    <a:pt x="94491" y="106055"/>
                    <a:pt x="94491" y="105773"/>
                  </a:cubicBezTo>
                  <a:cubicBezTo>
                    <a:pt x="94491" y="105491"/>
                    <a:pt x="93926" y="105491"/>
                    <a:pt x="93926" y="105491"/>
                  </a:cubicBezTo>
                  <a:cubicBezTo>
                    <a:pt x="93926" y="105773"/>
                    <a:pt x="93644" y="106055"/>
                    <a:pt x="93644" y="106055"/>
                  </a:cubicBezTo>
                  <a:lnTo>
                    <a:pt x="94208" y="107183"/>
                  </a:lnTo>
                  <a:lnTo>
                    <a:pt x="94208" y="108030"/>
                  </a:lnTo>
                  <a:cubicBezTo>
                    <a:pt x="93644" y="108594"/>
                    <a:pt x="93080" y="108876"/>
                    <a:pt x="92516" y="109158"/>
                  </a:cubicBezTo>
                  <a:cubicBezTo>
                    <a:pt x="92234" y="109158"/>
                    <a:pt x="91670" y="109440"/>
                    <a:pt x="91670" y="109722"/>
                  </a:cubicBezTo>
                  <a:lnTo>
                    <a:pt x="91670" y="110004"/>
                  </a:lnTo>
                  <a:cubicBezTo>
                    <a:pt x="91670" y="110286"/>
                    <a:pt x="91388" y="110568"/>
                    <a:pt x="90824" y="110850"/>
                  </a:cubicBezTo>
                  <a:cubicBezTo>
                    <a:pt x="90541" y="111132"/>
                    <a:pt x="89977" y="111414"/>
                    <a:pt x="89977" y="111696"/>
                  </a:cubicBezTo>
                  <a:cubicBezTo>
                    <a:pt x="89977" y="112260"/>
                    <a:pt x="89695" y="112542"/>
                    <a:pt x="89413" y="112542"/>
                  </a:cubicBezTo>
                  <a:lnTo>
                    <a:pt x="89131" y="112260"/>
                  </a:lnTo>
                  <a:lnTo>
                    <a:pt x="88285" y="112260"/>
                  </a:lnTo>
                  <a:cubicBezTo>
                    <a:pt x="88285" y="112542"/>
                    <a:pt x="88003" y="112825"/>
                    <a:pt x="87721" y="112825"/>
                  </a:cubicBezTo>
                  <a:lnTo>
                    <a:pt x="86029" y="114799"/>
                  </a:lnTo>
                  <a:cubicBezTo>
                    <a:pt x="85746" y="115363"/>
                    <a:pt x="85182" y="115363"/>
                    <a:pt x="84618" y="115363"/>
                  </a:cubicBezTo>
                  <a:cubicBezTo>
                    <a:pt x="84054" y="115645"/>
                    <a:pt x="81798" y="116491"/>
                    <a:pt x="81798" y="117055"/>
                  </a:cubicBezTo>
                  <a:lnTo>
                    <a:pt x="79823" y="118748"/>
                  </a:lnTo>
                  <a:cubicBezTo>
                    <a:pt x="79541" y="118748"/>
                    <a:pt x="79259" y="119312"/>
                    <a:pt x="78977" y="119876"/>
                  </a:cubicBezTo>
                  <a:cubicBezTo>
                    <a:pt x="78695" y="120158"/>
                    <a:pt x="78695" y="120440"/>
                    <a:pt x="78695" y="120440"/>
                  </a:cubicBezTo>
                  <a:cubicBezTo>
                    <a:pt x="78695" y="121286"/>
                    <a:pt x="78131" y="121568"/>
                    <a:pt x="77567" y="121851"/>
                  </a:cubicBezTo>
                  <a:cubicBezTo>
                    <a:pt x="77285" y="122133"/>
                    <a:pt x="77002" y="122133"/>
                    <a:pt x="76721" y="122133"/>
                  </a:cubicBezTo>
                  <a:lnTo>
                    <a:pt x="76157" y="122133"/>
                  </a:lnTo>
                  <a:cubicBezTo>
                    <a:pt x="76157" y="121851"/>
                    <a:pt x="75592" y="121851"/>
                    <a:pt x="75310" y="121568"/>
                  </a:cubicBezTo>
                  <a:cubicBezTo>
                    <a:pt x="75028" y="121568"/>
                    <a:pt x="75028" y="121851"/>
                    <a:pt x="75028" y="122133"/>
                  </a:cubicBezTo>
                  <a:lnTo>
                    <a:pt x="75028" y="124107"/>
                  </a:lnTo>
                  <a:lnTo>
                    <a:pt x="74182" y="124107"/>
                  </a:lnTo>
                  <a:lnTo>
                    <a:pt x="73618" y="123543"/>
                  </a:lnTo>
                  <a:lnTo>
                    <a:pt x="73618" y="125235"/>
                  </a:lnTo>
                  <a:cubicBezTo>
                    <a:pt x="73618" y="125517"/>
                    <a:pt x="73618" y="125517"/>
                    <a:pt x="73336" y="125517"/>
                  </a:cubicBezTo>
                  <a:lnTo>
                    <a:pt x="73054" y="125517"/>
                  </a:lnTo>
                  <a:cubicBezTo>
                    <a:pt x="72771" y="125235"/>
                    <a:pt x="72771" y="125235"/>
                    <a:pt x="72490" y="125235"/>
                  </a:cubicBezTo>
                  <a:lnTo>
                    <a:pt x="72207" y="125235"/>
                  </a:lnTo>
                  <a:lnTo>
                    <a:pt x="72207" y="127210"/>
                  </a:lnTo>
                  <a:cubicBezTo>
                    <a:pt x="72207" y="127492"/>
                    <a:pt x="72207" y="127774"/>
                    <a:pt x="71926" y="128056"/>
                  </a:cubicBezTo>
                  <a:cubicBezTo>
                    <a:pt x="71643" y="128620"/>
                    <a:pt x="70797" y="128620"/>
                    <a:pt x="70797" y="129184"/>
                  </a:cubicBezTo>
                  <a:cubicBezTo>
                    <a:pt x="70233" y="129748"/>
                    <a:pt x="69387" y="130030"/>
                    <a:pt x="68540" y="130876"/>
                  </a:cubicBezTo>
                  <a:cubicBezTo>
                    <a:pt x="68259" y="131159"/>
                    <a:pt x="67976" y="131159"/>
                    <a:pt x="67695" y="131159"/>
                  </a:cubicBezTo>
                  <a:cubicBezTo>
                    <a:pt x="67130" y="131159"/>
                    <a:pt x="67130" y="130594"/>
                    <a:pt x="66848" y="130030"/>
                  </a:cubicBezTo>
                  <a:cubicBezTo>
                    <a:pt x="66848" y="129466"/>
                    <a:pt x="66566" y="129184"/>
                    <a:pt x="66002" y="129184"/>
                  </a:cubicBezTo>
                  <a:lnTo>
                    <a:pt x="65720" y="129184"/>
                  </a:lnTo>
                  <a:cubicBezTo>
                    <a:pt x="65720" y="129184"/>
                    <a:pt x="65438" y="128902"/>
                    <a:pt x="65438" y="128620"/>
                  </a:cubicBezTo>
                  <a:cubicBezTo>
                    <a:pt x="64592" y="128056"/>
                    <a:pt x="64592" y="126928"/>
                    <a:pt x="64592" y="126081"/>
                  </a:cubicBezTo>
                  <a:lnTo>
                    <a:pt x="65720" y="124671"/>
                  </a:lnTo>
                  <a:cubicBezTo>
                    <a:pt x="66002" y="124107"/>
                    <a:pt x="66002" y="123543"/>
                    <a:pt x="66002" y="123261"/>
                  </a:cubicBezTo>
                  <a:lnTo>
                    <a:pt x="65720" y="123261"/>
                  </a:lnTo>
                  <a:cubicBezTo>
                    <a:pt x="65438" y="123543"/>
                    <a:pt x="65438" y="123825"/>
                    <a:pt x="65156" y="123825"/>
                  </a:cubicBezTo>
                  <a:cubicBezTo>
                    <a:pt x="64592" y="123825"/>
                    <a:pt x="63745" y="123825"/>
                    <a:pt x="63745" y="124671"/>
                  </a:cubicBezTo>
                  <a:lnTo>
                    <a:pt x="63745" y="124953"/>
                  </a:lnTo>
                  <a:lnTo>
                    <a:pt x="63182" y="124953"/>
                  </a:lnTo>
                  <a:lnTo>
                    <a:pt x="62618" y="124671"/>
                  </a:lnTo>
                  <a:cubicBezTo>
                    <a:pt x="62054" y="124953"/>
                    <a:pt x="62054" y="125235"/>
                    <a:pt x="62054" y="125517"/>
                  </a:cubicBezTo>
                  <a:cubicBezTo>
                    <a:pt x="62054" y="125799"/>
                    <a:pt x="62054" y="126081"/>
                    <a:pt x="62335" y="126364"/>
                  </a:cubicBezTo>
                  <a:cubicBezTo>
                    <a:pt x="62899" y="126364"/>
                    <a:pt x="63182" y="126646"/>
                    <a:pt x="63464" y="126646"/>
                  </a:cubicBezTo>
                  <a:cubicBezTo>
                    <a:pt x="63745" y="126928"/>
                    <a:pt x="64028" y="126928"/>
                    <a:pt x="64028" y="127210"/>
                  </a:cubicBezTo>
                  <a:cubicBezTo>
                    <a:pt x="64028" y="127210"/>
                    <a:pt x="63745" y="127492"/>
                    <a:pt x="63745" y="127774"/>
                  </a:cubicBezTo>
                  <a:cubicBezTo>
                    <a:pt x="63464" y="127774"/>
                    <a:pt x="63745" y="128056"/>
                    <a:pt x="63745" y="128338"/>
                  </a:cubicBezTo>
                  <a:lnTo>
                    <a:pt x="64309" y="128620"/>
                  </a:lnTo>
                  <a:lnTo>
                    <a:pt x="64309" y="128902"/>
                  </a:lnTo>
                  <a:cubicBezTo>
                    <a:pt x="64309" y="129184"/>
                    <a:pt x="64309" y="129184"/>
                    <a:pt x="64592" y="129466"/>
                  </a:cubicBezTo>
                  <a:cubicBezTo>
                    <a:pt x="64874" y="129748"/>
                    <a:pt x="64874" y="130030"/>
                    <a:pt x="64874" y="130312"/>
                  </a:cubicBezTo>
                  <a:lnTo>
                    <a:pt x="64874" y="130876"/>
                  </a:lnTo>
                  <a:cubicBezTo>
                    <a:pt x="64592" y="131159"/>
                    <a:pt x="64592" y="131159"/>
                    <a:pt x="64592" y="131441"/>
                  </a:cubicBezTo>
                  <a:cubicBezTo>
                    <a:pt x="64592" y="132005"/>
                    <a:pt x="64874" y="132569"/>
                    <a:pt x="64874" y="133133"/>
                  </a:cubicBezTo>
                  <a:cubicBezTo>
                    <a:pt x="64874" y="133697"/>
                    <a:pt x="64874" y="133979"/>
                    <a:pt x="64309" y="134261"/>
                  </a:cubicBezTo>
                  <a:lnTo>
                    <a:pt x="63464" y="135954"/>
                  </a:lnTo>
                  <a:cubicBezTo>
                    <a:pt x="63464" y="136518"/>
                    <a:pt x="62618" y="137646"/>
                    <a:pt x="61489" y="137928"/>
                  </a:cubicBezTo>
                  <a:cubicBezTo>
                    <a:pt x="61207" y="137928"/>
                    <a:pt x="61207" y="138492"/>
                    <a:pt x="60643" y="139056"/>
                  </a:cubicBezTo>
                  <a:cubicBezTo>
                    <a:pt x="60361" y="139902"/>
                    <a:pt x="59515" y="141031"/>
                    <a:pt x="58951" y="141877"/>
                  </a:cubicBezTo>
                  <a:cubicBezTo>
                    <a:pt x="57540" y="143005"/>
                    <a:pt x="56412" y="144415"/>
                    <a:pt x="55002" y="146108"/>
                  </a:cubicBezTo>
                  <a:cubicBezTo>
                    <a:pt x="53873" y="147518"/>
                    <a:pt x="52745" y="148928"/>
                    <a:pt x="51053" y="150339"/>
                  </a:cubicBezTo>
                  <a:cubicBezTo>
                    <a:pt x="50771" y="150621"/>
                    <a:pt x="50771" y="150621"/>
                    <a:pt x="50771" y="150903"/>
                  </a:cubicBezTo>
                  <a:lnTo>
                    <a:pt x="50771" y="151185"/>
                  </a:lnTo>
                  <a:cubicBezTo>
                    <a:pt x="49925" y="151749"/>
                    <a:pt x="49642" y="152595"/>
                    <a:pt x="49361" y="152877"/>
                  </a:cubicBezTo>
                  <a:cubicBezTo>
                    <a:pt x="49078" y="153723"/>
                    <a:pt x="48514" y="154570"/>
                    <a:pt x="47950" y="155416"/>
                  </a:cubicBezTo>
                  <a:cubicBezTo>
                    <a:pt x="47668" y="155698"/>
                    <a:pt x="47104" y="156544"/>
                    <a:pt x="46540" y="156826"/>
                  </a:cubicBezTo>
                  <a:lnTo>
                    <a:pt x="45411" y="157954"/>
                  </a:lnTo>
                  <a:cubicBezTo>
                    <a:pt x="45411" y="158518"/>
                    <a:pt x="45130" y="159083"/>
                    <a:pt x="44284" y="159083"/>
                  </a:cubicBezTo>
                  <a:cubicBezTo>
                    <a:pt x="43720" y="159365"/>
                    <a:pt x="44001" y="160493"/>
                    <a:pt x="43437" y="160493"/>
                  </a:cubicBezTo>
                  <a:cubicBezTo>
                    <a:pt x="43155" y="160493"/>
                    <a:pt x="42873" y="160775"/>
                    <a:pt x="42873" y="160775"/>
                  </a:cubicBezTo>
                  <a:lnTo>
                    <a:pt x="42591" y="161057"/>
                  </a:lnTo>
                  <a:cubicBezTo>
                    <a:pt x="42309" y="161057"/>
                    <a:pt x="42309" y="160775"/>
                    <a:pt x="42027" y="160493"/>
                  </a:cubicBezTo>
                  <a:lnTo>
                    <a:pt x="42027" y="159647"/>
                  </a:lnTo>
                  <a:cubicBezTo>
                    <a:pt x="41745" y="159083"/>
                    <a:pt x="41463" y="158801"/>
                    <a:pt x="41181" y="158801"/>
                  </a:cubicBezTo>
                  <a:cubicBezTo>
                    <a:pt x="40899" y="158801"/>
                    <a:pt x="40617" y="159083"/>
                    <a:pt x="40053" y="159647"/>
                  </a:cubicBezTo>
                  <a:cubicBezTo>
                    <a:pt x="39489" y="159929"/>
                    <a:pt x="39206" y="160493"/>
                    <a:pt x="39206" y="161339"/>
                  </a:cubicBezTo>
                  <a:lnTo>
                    <a:pt x="39206" y="163314"/>
                  </a:lnTo>
                  <a:cubicBezTo>
                    <a:pt x="39206" y="163878"/>
                    <a:pt x="39206" y="164442"/>
                    <a:pt x="39489" y="165006"/>
                  </a:cubicBezTo>
                  <a:cubicBezTo>
                    <a:pt x="39489" y="165288"/>
                    <a:pt x="39770" y="165570"/>
                    <a:pt x="39770" y="165852"/>
                  </a:cubicBezTo>
                  <a:cubicBezTo>
                    <a:pt x="39770" y="166134"/>
                    <a:pt x="39489" y="166416"/>
                    <a:pt x="39206" y="166698"/>
                  </a:cubicBezTo>
                  <a:lnTo>
                    <a:pt x="37796" y="168673"/>
                  </a:lnTo>
                  <a:cubicBezTo>
                    <a:pt x="37232" y="169237"/>
                    <a:pt x="37232" y="170083"/>
                    <a:pt x="36668" y="170647"/>
                  </a:cubicBezTo>
                  <a:lnTo>
                    <a:pt x="36386" y="170929"/>
                  </a:lnTo>
                  <a:cubicBezTo>
                    <a:pt x="36386" y="170929"/>
                    <a:pt x="36386" y="170647"/>
                    <a:pt x="36103" y="170365"/>
                  </a:cubicBezTo>
                  <a:cubicBezTo>
                    <a:pt x="36103" y="170083"/>
                    <a:pt x="35822" y="170083"/>
                    <a:pt x="35822" y="170083"/>
                  </a:cubicBezTo>
                  <a:cubicBezTo>
                    <a:pt x="35539" y="170083"/>
                    <a:pt x="35258" y="170083"/>
                    <a:pt x="34975" y="170365"/>
                  </a:cubicBezTo>
                  <a:lnTo>
                    <a:pt x="34693" y="170647"/>
                  </a:lnTo>
                  <a:cubicBezTo>
                    <a:pt x="34693" y="170647"/>
                    <a:pt x="34411" y="170365"/>
                    <a:pt x="34411" y="170083"/>
                  </a:cubicBezTo>
                  <a:cubicBezTo>
                    <a:pt x="34693" y="168955"/>
                    <a:pt x="35258" y="168391"/>
                    <a:pt x="36386" y="168109"/>
                  </a:cubicBezTo>
                  <a:cubicBezTo>
                    <a:pt x="36386" y="168109"/>
                    <a:pt x="36668" y="167827"/>
                    <a:pt x="36668" y="167544"/>
                  </a:cubicBezTo>
                  <a:cubicBezTo>
                    <a:pt x="36668" y="167262"/>
                    <a:pt x="36386" y="167262"/>
                    <a:pt x="36386" y="166980"/>
                  </a:cubicBezTo>
                  <a:lnTo>
                    <a:pt x="36386" y="166416"/>
                  </a:lnTo>
                  <a:cubicBezTo>
                    <a:pt x="36103" y="166416"/>
                    <a:pt x="35822" y="166134"/>
                    <a:pt x="35539" y="166134"/>
                  </a:cubicBezTo>
                  <a:cubicBezTo>
                    <a:pt x="35258" y="166134"/>
                    <a:pt x="34975" y="166416"/>
                    <a:pt x="34693" y="166416"/>
                  </a:cubicBezTo>
                  <a:lnTo>
                    <a:pt x="34693" y="167262"/>
                  </a:lnTo>
                  <a:cubicBezTo>
                    <a:pt x="34693" y="167262"/>
                    <a:pt x="34693" y="167544"/>
                    <a:pt x="34411" y="167544"/>
                  </a:cubicBezTo>
                  <a:cubicBezTo>
                    <a:pt x="34411" y="167827"/>
                    <a:pt x="34129" y="168109"/>
                    <a:pt x="33847" y="168391"/>
                  </a:cubicBezTo>
                  <a:cubicBezTo>
                    <a:pt x="33565" y="168391"/>
                    <a:pt x="33283" y="168955"/>
                    <a:pt x="32719" y="168955"/>
                  </a:cubicBezTo>
                  <a:cubicBezTo>
                    <a:pt x="31591" y="168955"/>
                    <a:pt x="31591" y="169519"/>
                    <a:pt x="31308" y="170647"/>
                  </a:cubicBezTo>
                  <a:lnTo>
                    <a:pt x="31308" y="170929"/>
                  </a:lnTo>
                  <a:cubicBezTo>
                    <a:pt x="31308" y="171211"/>
                    <a:pt x="31308" y="171211"/>
                    <a:pt x="31591" y="171211"/>
                  </a:cubicBezTo>
                  <a:cubicBezTo>
                    <a:pt x="31872" y="171211"/>
                    <a:pt x="32437" y="171493"/>
                    <a:pt x="32719" y="171775"/>
                  </a:cubicBezTo>
                  <a:cubicBezTo>
                    <a:pt x="33001" y="172057"/>
                    <a:pt x="33001" y="172339"/>
                    <a:pt x="33001" y="172622"/>
                  </a:cubicBezTo>
                  <a:cubicBezTo>
                    <a:pt x="32719" y="172622"/>
                    <a:pt x="32719" y="172904"/>
                    <a:pt x="32719" y="172622"/>
                  </a:cubicBezTo>
                  <a:cubicBezTo>
                    <a:pt x="31308" y="172622"/>
                    <a:pt x="31591" y="172622"/>
                    <a:pt x="31027" y="173468"/>
                  </a:cubicBezTo>
                  <a:cubicBezTo>
                    <a:pt x="30744" y="173750"/>
                    <a:pt x="31027" y="174314"/>
                    <a:pt x="30462" y="174878"/>
                  </a:cubicBezTo>
                  <a:cubicBezTo>
                    <a:pt x="30180" y="175160"/>
                    <a:pt x="29898" y="175160"/>
                    <a:pt x="29898" y="175442"/>
                  </a:cubicBezTo>
                  <a:cubicBezTo>
                    <a:pt x="29898" y="175724"/>
                    <a:pt x="30180" y="176006"/>
                    <a:pt x="30462" y="176288"/>
                  </a:cubicBezTo>
                  <a:cubicBezTo>
                    <a:pt x="30462" y="176570"/>
                    <a:pt x="31308" y="176570"/>
                    <a:pt x="31308" y="176570"/>
                  </a:cubicBezTo>
                  <a:cubicBezTo>
                    <a:pt x="31591" y="176006"/>
                    <a:pt x="31872" y="175724"/>
                    <a:pt x="31872" y="175724"/>
                  </a:cubicBezTo>
                  <a:lnTo>
                    <a:pt x="31872" y="175160"/>
                  </a:lnTo>
                  <a:cubicBezTo>
                    <a:pt x="31872" y="173468"/>
                    <a:pt x="31872" y="173186"/>
                    <a:pt x="33283" y="173186"/>
                  </a:cubicBezTo>
                  <a:cubicBezTo>
                    <a:pt x="33847" y="173186"/>
                    <a:pt x="33847" y="173186"/>
                    <a:pt x="34129" y="173468"/>
                  </a:cubicBezTo>
                  <a:lnTo>
                    <a:pt x="34129" y="174878"/>
                  </a:lnTo>
                  <a:cubicBezTo>
                    <a:pt x="34129" y="175724"/>
                    <a:pt x="33847" y="175724"/>
                    <a:pt x="33565" y="176288"/>
                  </a:cubicBezTo>
                  <a:cubicBezTo>
                    <a:pt x="33283" y="176570"/>
                    <a:pt x="33283" y="176852"/>
                    <a:pt x="32437" y="177135"/>
                  </a:cubicBezTo>
                  <a:cubicBezTo>
                    <a:pt x="31872" y="177981"/>
                    <a:pt x="31591" y="178827"/>
                    <a:pt x="31027" y="179391"/>
                  </a:cubicBezTo>
                  <a:cubicBezTo>
                    <a:pt x="30462" y="179955"/>
                    <a:pt x="30462" y="180519"/>
                    <a:pt x="30462" y="180801"/>
                  </a:cubicBezTo>
                  <a:lnTo>
                    <a:pt x="30462" y="181365"/>
                  </a:lnTo>
                  <a:cubicBezTo>
                    <a:pt x="30462" y="181930"/>
                    <a:pt x="30180" y="182494"/>
                    <a:pt x="29898" y="183340"/>
                  </a:cubicBezTo>
                  <a:cubicBezTo>
                    <a:pt x="29898" y="183622"/>
                    <a:pt x="29616" y="183622"/>
                    <a:pt x="29616" y="183622"/>
                  </a:cubicBezTo>
                  <a:cubicBezTo>
                    <a:pt x="29616" y="183622"/>
                    <a:pt x="29334" y="183622"/>
                    <a:pt x="29052" y="183340"/>
                  </a:cubicBezTo>
                  <a:cubicBezTo>
                    <a:pt x="28770" y="183340"/>
                    <a:pt x="28770" y="182776"/>
                    <a:pt x="27924" y="182776"/>
                  </a:cubicBezTo>
                  <a:lnTo>
                    <a:pt x="27077" y="182776"/>
                  </a:lnTo>
                  <a:lnTo>
                    <a:pt x="27360" y="182494"/>
                  </a:lnTo>
                  <a:cubicBezTo>
                    <a:pt x="27641" y="181648"/>
                    <a:pt x="27924" y="181083"/>
                    <a:pt x="27924" y="180801"/>
                  </a:cubicBezTo>
                  <a:cubicBezTo>
                    <a:pt x="27924" y="180519"/>
                    <a:pt x="27641" y="180519"/>
                    <a:pt x="27641" y="180237"/>
                  </a:cubicBezTo>
                  <a:cubicBezTo>
                    <a:pt x="27641" y="179955"/>
                    <a:pt x="27924" y="179391"/>
                    <a:pt x="28206" y="179109"/>
                  </a:cubicBezTo>
                  <a:cubicBezTo>
                    <a:pt x="28488" y="178545"/>
                    <a:pt x="29052" y="178263"/>
                    <a:pt x="29616" y="177699"/>
                  </a:cubicBezTo>
                  <a:cubicBezTo>
                    <a:pt x="29898" y="177417"/>
                    <a:pt x="29898" y="177135"/>
                    <a:pt x="29898" y="176852"/>
                  </a:cubicBezTo>
                  <a:lnTo>
                    <a:pt x="29898" y="176570"/>
                  </a:lnTo>
                  <a:lnTo>
                    <a:pt x="28488" y="176570"/>
                  </a:lnTo>
                  <a:cubicBezTo>
                    <a:pt x="27924" y="176852"/>
                    <a:pt x="27641" y="177417"/>
                    <a:pt x="27641" y="178545"/>
                  </a:cubicBezTo>
                  <a:lnTo>
                    <a:pt x="27641" y="179109"/>
                  </a:lnTo>
                  <a:cubicBezTo>
                    <a:pt x="26514" y="179673"/>
                    <a:pt x="26514" y="180801"/>
                    <a:pt x="26231" y="181365"/>
                  </a:cubicBezTo>
                  <a:cubicBezTo>
                    <a:pt x="26231" y="181648"/>
                    <a:pt x="26231" y="181930"/>
                    <a:pt x="25950" y="182212"/>
                  </a:cubicBezTo>
                  <a:cubicBezTo>
                    <a:pt x="25103" y="182494"/>
                    <a:pt x="24821" y="183622"/>
                    <a:pt x="24821" y="184750"/>
                  </a:cubicBezTo>
                  <a:cubicBezTo>
                    <a:pt x="24821" y="184750"/>
                    <a:pt x="24539" y="185032"/>
                    <a:pt x="24257" y="185596"/>
                  </a:cubicBezTo>
                  <a:cubicBezTo>
                    <a:pt x="23693" y="185878"/>
                    <a:pt x="23411" y="186443"/>
                    <a:pt x="23411" y="187007"/>
                  </a:cubicBezTo>
                  <a:cubicBezTo>
                    <a:pt x="23129" y="187853"/>
                    <a:pt x="23129" y="188417"/>
                    <a:pt x="22565" y="188417"/>
                  </a:cubicBezTo>
                  <a:cubicBezTo>
                    <a:pt x="22000" y="188417"/>
                    <a:pt x="21719" y="188417"/>
                    <a:pt x="21719" y="188135"/>
                  </a:cubicBezTo>
                  <a:cubicBezTo>
                    <a:pt x="21436" y="188135"/>
                    <a:pt x="21436" y="188135"/>
                    <a:pt x="21155" y="187853"/>
                  </a:cubicBezTo>
                  <a:lnTo>
                    <a:pt x="20026" y="187853"/>
                  </a:lnTo>
                  <a:lnTo>
                    <a:pt x="20026" y="188135"/>
                  </a:lnTo>
                  <a:cubicBezTo>
                    <a:pt x="19180" y="188135"/>
                    <a:pt x="19180" y="188135"/>
                    <a:pt x="18898" y="187853"/>
                  </a:cubicBezTo>
                  <a:lnTo>
                    <a:pt x="18898" y="187571"/>
                  </a:lnTo>
                  <a:lnTo>
                    <a:pt x="18052" y="187571"/>
                  </a:lnTo>
                  <a:lnTo>
                    <a:pt x="18052" y="188699"/>
                  </a:lnTo>
                  <a:cubicBezTo>
                    <a:pt x="18334" y="189263"/>
                    <a:pt x="18616" y="189263"/>
                    <a:pt x="18898" y="189263"/>
                  </a:cubicBezTo>
                  <a:cubicBezTo>
                    <a:pt x="19180" y="189545"/>
                    <a:pt x="19462" y="189545"/>
                    <a:pt x="20026" y="189545"/>
                  </a:cubicBezTo>
                  <a:lnTo>
                    <a:pt x="20590" y="189545"/>
                  </a:lnTo>
                  <a:cubicBezTo>
                    <a:pt x="20872" y="189545"/>
                    <a:pt x="21155" y="189827"/>
                    <a:pt x="21155" y="190109"/>
                  </a:cubicBezTo>
                  <a:lnTo>
                    <a:pt x="21155" y="190391"/>
                  </a:lnTo>
                  <a:lnTo>
                    <a:pt x="20308" y="192366"/>
                  </a:lnTo>
                  <a:cubicBezTo>
                    <a:pt x="20026" y="192648"/>
                    <a:pt x="20026" y="192648"/>
                    <a:pt x="19744" y="192648"/>
                  </a:cubicBezTo>
                  <a:cubicBezTo>
                    <a:pt x="19462" y="192648"/>
                    <a:pt x="19462" y="192648"/>
                    <a:pt x="19462" y="192366"/>
                  </a:cubicBezTo>
                  <a:cubicBezTo>
                    <a:pt x="19180" y="192366"/>
                    <a:pt x="19180" y="191802"/>
                    <a:pt x="18898" y="191238"/>
                  </a:cubicBezTo>
                  <a:cubicBezTo>
                    <a:pt x="18334" y="190673"/>
                    <a:pt x="18334" y="190109"/>
                    <a:pt x="17488" y="190109"/>
                  </a:cubicBezTo>
                  <a:lnTo>
                    <a:pt x="17488" y="190673"/>
                  </a:lnTo>
                  <a:cubicBezTo>
                    <a:pt x="17488" y="191520"/>
                    <a:pt x="16924" y="192366"/>
                    <a:pt x="16077" y="192930"/>
                  </a:cubicBezTo>
                  <a:cubicBezTo>
                    <a:pt x="16077" y="193212"/>
                    <a:pt x="16077" y="193212"/>
                    <a:pt x="15795" y="193212"/>
                  </a:cubicBezTo>
                  <a:cubicBezTo>
                    <a:pt x="14949" y="193494"/>
                    <a:pt x="14667" y="193494"/>
                    <a:pt x="14667" y="193776"/>
                  </a:cubicBezTo>
                  <a:cubicBezTo>
                    <a:pt x="14667" y="194058"/>
                    <a:pt x="14949" y="194340"/>
                    <a:pt x="14949" y="194622"/>
                  </a:cubicBezTo>
                  <a:cubicBezTo>
                    <a:pt x="15231" y="194622"/>
                    <a:pt x="15231" y="194904"/>
                    <a:pt x="15231" y="195186"/>
                  </a:cubicBezTo>
                  <a:cubicBezTo>
                    <a:pt x="15231" y="195469"/>
                    <a:pt x="15513" y="195751"/>
                    <a:pt x="15513" y="195751"/>
                  </a:cubicBezTo>
                  <a:cubicBezTo>
                    <a:pt x="15513" y="196033"/>
                    <a:pt x="15231" y="196033"/>
                    <a:pt x="15231" y="196033"/>
                  </a:cubicBezTo>
                  <a:cubicBezTo>
                    <a:pt x="14667" y="196315"/>
                    <a:pt x="14667" y="196879"/>
                    <a:pt x="13821" y="197161"/>
                  </a:cubicBezTo>
                  <a:cubicBezTo>
                    <a:pt x="13257" y="197161"/>
                    <a:pt x="12974" y="197161"/>
                    <a:pt x="12974" y="197725"/>
                  </a:cubicBezTo>
                  <a:cubicBezTo>
                    <a:pt x="12974" y="198289"/>
                    <a:pt x="12974" y="198853"/>
                    <a:pt x="13257" y="199135"/>
                  </a:cubicBezTo>
                  <a:cubicBezTo>
                    <a:pt x="13538" y="199699"/>
                    <a:pt x="13538" y="199982"/>
                    <a:pt x="13538" y="200264"/>
                  </a:cubicBezTo>
                  <a:cubicBezTo>
                    <a:pt x="13538" y="200546"/>
                    <a:pt x="13538" y="200828"/>
                    <a:pt x="13257" y="200828"/>
                  </a:cubicBezTo>
                  <a:cubicBezTo>
                    <a:pt x="12693" y="201110"/>
                    <a:pt x="12410" y="201674"/>
                    <a:pt x="12410" y="202238"/>
                  </a:cubicBezTo>
                  <a:lnTo>
                    <a:pt x="12410" y="202802"/>
                  </a:lnTo>
                  <a:cubicBezTo>
                    <a:pt x="12410" y="203366"/>
                    <a:pt x="12128" y="203648"/>
                    <a:pt x="11846" y="203930"/>
                  </a:cubicBezTo>
                  <a:cubicBezTo>
                    <a:pt x="11846" y="203648"/>
                    <a:pt x="11846" y="203366"/>
                    <a:pt x="11564" y="202802"/>
                  </a:cubicBezTo>
                  <a:cubicBezTo>
                    <a:pt x="11564" y="202520"/>
                    <a:pt x="11564" y="202238"/>
                    <a:pt x="11282" y="202238"/>
                  </a:cubicBezTo>
                  <a:cubicBezTo>
                    <a:pt x="11000" y="202238"/>
                    <a:pt x="10718" y="202520"/>
                    <a:pt x="10718" y="202520"/>
                  </a:cubicBezTo>
                  <a:lnTo>
                    <a:pt x="10436" y="202238"/>
                  </a:lnTo>
                  <a:lnTo>
                    <a:pt x="10436" y="201956"/>
                  </a:lnTo>
                  <a:cubicBezTo>
                    <a:pt x="10718" y="201956"/>
                    <a:pt x="10718" y="201956"/>
                    <a:pt x="11000" y="201392"/>
                  </a:cubicBezTo>
                  <a:cubicBezTo>
                    <a:pt x="11282" y="201110"/>
                    <a:pt x="11564" y="201110"/>
                    <a:pt x="11564" y="200828"/>
                  </a:cubicBezTo>
                  <a:lnTo>
                    <a:pt x="11282" y="200546"/>
                  </a:lnTo>
                  <a:cubicBezTo>
                    <a:pt x="11282" y="200264"/>
                    <a:pt x="11000" y="200264"/>
                    <a:pt x="11000" y="199982"/>
                  </a:cubicBezTo>
                  <a:cubicBezTo>
                    <a:pt x="11000" y="199417"/>
                    <a:pt x="11000" y="199135"/>
                    <a:pt x="11282" y="198853"/>
                  </a:cubicBezTo>
                  <a:cubicBezTo>
                    <a:pt x="11846" y="198571"/>
                    <a:pt x="12128" y="198007"/>
                    <a:pt x="12128" y="197161"/>
                  </a:cubicBezTo>
                  <a:lnTo>
                    <a:pt x="12128" y="195751"/>
                  </a:lnTo>
                  <a:cubicBezTo>
                    <a:pt x="12128" y="195469"/>
                    <a:pt x="12128" y="195186"/>
                    <a:pt x="12693" y="195186"/>
                  </a:cubicBezTo>
                  <a:cubicBezTo>
                    <a:pt x="13538" y="194904"/>
                    <a:pt x="13538" y="194622"/>
                    <a:pt x="13538" y="194058"/>
                  </a:cubicBezTo>
                  <a:lnTo>
                    <a:pt x="13538" y="192648"/>
                  </a:lnTo>
                  <a:cubicBezTo>
                    <a:pt x="13821" y="192366"/>
                    <a:pt x="13821" y="191802"/>
                    <a:pt x="14385" y="190673"/>
                  </a:cubicBezTo>
                  <a:cubicBezTo>
                    <a:pt x="14385" y="190391"/>
                    <a:pt x="14667" y="190391"/>
                    <a:pt x="14949" y="190391"/>
                  </a:cubicBezTo>
                  <a:lnTo>
                    <a:pt x="15513" y="190391"/>
                  </a:lnTo>
                  <a:cubicBezTo>
                    <a:pt x="15795" y="189545"/>
                    <a:pt x="16077" y="189263"/>
                    <a:pt x="16077" y="188699"/>
                  </a:cubicBezTo>
                  <a:cubicBezTo>
                    <a:pt x="16077" y="188417"/>
                    <a:pt x="15513" y="187853"/>
                    <a:pt x="15513" y="187571"/>
                  </a:cubicBezTo>
                  <a:cubicBezTo>
                    <a:pt x="15795" y="186725"/>
                    <a:pt x="16359" y="185878"/>
                    <a:pt x="16924" y="185314"/>
                  </a:cubicBezTo>
                  <a:cubicBezTo>
                    <a:pt x="17205" y="184750"/>
                    <a:pt x="17488" y="184468"/>
                    <a:pt x="17488" y="183622"/>
                  </a:cubicBezTo>
                  <a:cubicBezTo>
                    <a:pt x="17769" y="183058"/>
                    <a:pt x="18052" y="182776"/>
                    <a:pt x="18616" y="182776"/>
                  </a:cubicBezTo>
                  <a:cubicBezTo>
                    <a:pt x="18898" y="182776"/>
                    <a:pt x="18898" y="182494"/>
                    <a:pt x="18898" y="182212"/>
                  </a:cubicBezTo>
                  <a:cubicBezTo>
                    <a:pt x="18898" y="181930"/>
                    <a:pt x="18898" y="181930"/>
                    <a:pt x="18616" y="181648"/>
                  </a:cubicBezTo>
                  <a:lnTo>
                    <a:pt x="18616" y="181083"/>
                  </a:lnTo>
                  <a:lnTo>
                    <a:pt x="19744" y="177981"/>
                  </a:lnTo>
                  <a:cubicBezTo>
                    <a:pt x="20026" y="177417"/>
                    <a:pt x="20872" y="176852"/>
                    <a:pt x="21155" y="176288"/>
                  </a:cubicBezTo>
                  <a:lnTo>
                    <a:pt x="21719" y="176288"/>
                  </a:lnTo>
                  <a:lnTo>
                    <a:pt x="21719" y="176852"/>
                  </a:lnTo>
                  <a:cubicBezTo>
                    <a:pt x="21436" y="177417"/>
                    <a:pt x="21155" y="177981"/>
                    <a:pt x="21155" y="178263"/>
                  </a:cubicBezTo>
                  <a:cubicBezTo>
                    <a:pt x="21155" y="178545"/>
                    <a:pt x="21155" y="178545"/>
                    <a:pt x="21436" y="178827"/>
                  </a:cubicBezTo>
                  <a:lnTo>
                    <a:pt x="21436" y="179109"/>
                  </a:lnTo>
                  <a:cubicBezTo>
                    <a:pt x="21436" y="179391"/>
                    <a:pt x="21436" y="179673"/>
                    <a:pt x="21155" y="179673"/>
                  </a:cubicBezTo>
                  <a:cubicBezTo>
                    <a:pt x="20026" y="180519"/>
                    <a:pt x="20308" y="181365"/>
                    <a:pt x="20026" y="182212"/>
                  </a:cubicBezTo>
                  <a:cubicBezTo>
                    <a:pt x="20026" y="182494"/>
                    <a:pt x="19744" y="182776"/>
                    <a:pt x="19744" y="182776"/>
                  </a:cubicBezTo>
                  <a:cubicBezTo>
                    <a:pt x="19744" y="183058"/>
                    <a:pt x="20026" y="183058"/>
                    <a:pt x="20026" y="183058"/>
                  </a:cubicBezTo>
                  <a:lnTo>
                    <a:pt x="20308" y="183058"/>
                  </a:lnTo>
                  <a:cubicBezTo>
                    <a:pt x="20590" y="183058"/>
                    <a:pt x="20872" y="183058"/>
                    <a:pt x="20872" y="183340"/>
                  </a:cubicBezTo>
                  <a:cubicBezTo>
                    <a:pt x="20872" y="183340"/>
                    <a:pt x="20590" y="183622"/>
                    <a:pt x="20590" y="183904"/>
                  </a:cubicBezTo>
                  <a:lnTo>
                    <a:pt x="20590" y="184468"/>
                  </a:lnTo>
                  <a:lnTo>
                    <a:pt x="22283" y="183622"/>
                  </a:lnTo>
                  <a:cubicBezTo>
                    <a:pt x="23129" y="183058"/>
                    <a:pt x="24539" y="181365"/>
                    <a:pt x="25103" y="180519"/>
                  </a:cubicBezTo>
                  <a:cubicBezTo>
                    <a:pt x="24821" y="180237"/>
                    <a:pt x="24821" y="179673"/>
                    <a:pt x="24821" y="179673"/>
                  </a:cubicBezTo>
                  <a:cubicBezTo>
                    <a:pt x="24257" y="179673"/>
                    <a:pt x="24257" y="179391"/>
                    <a:pt x="24257" y="178827"/>
                  </a:cubicBezTo>
                  <a:lnTo>
                    <a:pt x="24257" y="177981"/>
                  </a:lnTo>
                  <a:cubicBezTo>
                    <a:pt x="23693" y="177981"/>
                    <a:pt x="23693" y="177981"/>
                    <a:pt x="23411" y="177699"/>
                  </a:cubicBezTo>
                  <a:cubicBezTo>
                    <a:pt x="23411" y="176570"/>
                    <a:pt x="22565" y="176288"/>
                    <a:pt x="21719" y="176288"/>
                  </a:cubicBezTo>
                  <a:cubicBezTo>
                    <a:pt x="22565" y="175724"/>
                    <a:pt x="22847" y="175160"/>
                    <a:pt x="23129" y="174596"/>
                  </a:cubicBezTo>
                  <a:lnTo>
                    <a:pt x="23129" y="173750"/>
                  </a:lnTo>
                  <a:cubicBezTo>
                    <a:pt x="22847" y="173750"/>
                    <a:pt x="22847" y="173750"/>
                    <a:pt x="22847" y="173468"/>
                  </a:cubicBezTo>
                  <a:cubicBezTo>
                    <a:pt x="22565" y="173186"/>
                    <a:pt x="22565" y="173186"/>
                    <a:pt x="22565" y="172904"/>
                  </a:cubicBezTo>
                  <a:lnTo>
                    <a:pt x="22565" y="172622"/>
                  </a:lnTo>
                  <a:cubicBezTo>
                    <a:pt x="23129" y="172622"/>
                    <a:pt x="23129" y="172904"/>
                    <a:pt x="23411" y="172904"/>
                  </a:cubicBezTo>
                  <a:cubicBezTo>
                    <a:pt x="23693" y="173186"/>
                    <a:pt x="23693" y="173468"/>
                    <a:pt x="23975" y="173468"/>
                  </a:cubicBezTo>
                  <a:lnTo>
                    <a:pt x="24257" y="173186"/>
                  </a:lnTo>
                  <a:cubicBezTo>
                    <a:pt x="24257" y="172904"/>
                    <a:pt x="24539" y="172622"/>
                    <a:pt x="24821" y="171775"/>
                  </a:cubicBezTo>
                  <a:lnTo>
                    <a:pt x="26231" y="168391"/>
                  </a:lnTo>
                  <a:cubicBezTo>
                    <a:pt x="26514" y="168109"/>
                    <a:pt x="26514" y="167827"/>
                    <a:pt x="26796" y="167827"/>
                  </a:cubicBezTo>
                  <a:lnTo>
                    <a:pt x="27360" y="166980"/>
                  </a:lnTo>
                  <a:cubicBezTo>
                    <a:pt x="27360" y="166698"/>
                    <a:pt x="27641" y="166698"/>
                    <a:pt x="27641" y="166416"/>
                  </a:cubicBezTo>
                  <a:cubicBezTo>
                    <a:pt x="27641" y="166134"/>
                    <a:pt x="27360" y="166134"/>
                    <a:pt x="27077" y="165852"/>
                  </a:cubicBezTo>
                  <a:cubicBezTo>
                    <a:pt x="26514" y="165852"/>
                    <a:pt x="26231" y="165288"/>
                    <a:pt x="25667" y="165006"/>
                  </a:cubicBezTo>
                  <a:lnTo>
                    <a:pt x="25386" y="165006"/>
                  </a:lnTo>
                  <a:lnTo>
                    <a:pt x="25386" y="165288"/>
                  </a:lnTo>
                  <a:cubicBezTo>
                    <a:pt x="25667" y="165852"/>
                    <a:pt x="25950" y="166134"/>
                    <a:pt x="25950" y="166980"/>
                  </a:cubicBezTo>
                  <a:cubicBezTo>
                    <a:pt x="25950" y="167262"/>
                    <a:pt x="25950" y="167827"/>
                    <a:pt x="25667" y="168391"/>
                  </a:cubicBezTo>
                  <a:cubicBezTo>
                    <a:pt x="25386" y="168391"/>
                    <a:pt x="25103" y="168673"/>
                    <a:pt x="25103" y="168955"/>
                  </a:cubicBezTo>
                  <a:cubicBezTo>
                    <a:pt x="24539" y="169801"/>
                    <a:pt x="24539" y="170083"/>
                    <a:pt x="24257" y="170083"/>
                  </a:cubicBezTo>
                  <a:cubicBezTo>
                    <a:pt x="23975" y="170083"/>
                    <a:pt x="23693" y="170083"/>
                    <a:pt x="23129" y="169801"/>
                  </a:cubicBezTo>
                  <a:cubicBezTo>
                    <a:pt x="22847" y="169801"/>
                    <a:pt x="22565" y="169519"/>
                    <a:pt x="22565" y="169519"/>
                  </a:cubicBezTo>
                  <a:cubicBezTo>
                    <a:pt x="22000" y="169801"/>
                    <a:pt x="21719" y="170083"/>
                    <a:pt x="21719" y="170365"/>
                  </a:cubicBezTo>
                  <a:cubicBezTo>
                    <a:pt x="21719" y="170647"/>
                    <a:pt x="21436" y="170929"/>
                    <a:pt x="21719" y="170929"/>
                  </a:cubicBezTo>
                  <a:lnTo>
                    <a:pt x="21719" y="171493"/>
                  </a:lnTo>
                  <a:cubicBezTo>
                    <a:pt x="21719" y="172057"/>
                    <a:pt x="21436" y="172339"/>
                    <a:pt x="21155" y="172622"/>
                  </a:cubicBezTo>
                  <a:lnTo>
                    <a:pt x="21155" y="173468"/>
                  </a:lnTo>
                  <a:lnTo>
                    <a:pt x="20590" y="174596"/>
                  </a:lnTo>
                  <a:cubicBezTo>
                    <a:pt x="20308" y="174878"/>
                    <a:pt x="20308" y="175160"/>
                    <a:pt x="20308" y="175160"/>
                  </a:cubicBezTo>
                  <a:cubicBezTo>
                    <a:pt x="20308" y="175442"/>
                    <a:pt x="20308" y="175442"/>
                    <a:pt x="20590" y="175442"/>
                  </a:cubicBezTo>
                  <a:lnTo>
                    <a:pt x="20872" y="175724"/>
                  </a:lnTo>
                  <a:cubicBezTo>
                    <a:pt x="20872" y="176006"/>
                    <a:pt x="20590" y="176006"/>
                    <a:pt x="20590" y="176288"/>
                  </a:cubicBezTo>
                  <a:lnTo>
                    <a:pt x="19462" y="176288"/>
                  </a:lnTo>
                  <a:cubicBezTo>
                    <a:pt x="19180" y="175724"/>
                    <a:pt x="18334" y="175724"/>
                    <a:pt x="17488" y="175724"/>
                  </a:cubicBezTo>
                  <a:lnTo>
                    <a:pt x="17488" y="175442"/>
                  </a:lnTo>
                  <a:cubicBezTo>
                    <a:pt x="17769" y="175160"/>
                    <a:pt x="17769" y="174878"/>
                    <a:pt x="17769" y="174596"/>
                  </a:cubicBezTo>
                  <a:cubicBezTo>
                    <a:pt x="17769" y="174314"/>
                    <a:pt x="17769" y="174032"/>
                    <a:pt x="17488" y="173468"/>
                  </a:cubicBezTo>
                  <a:cubicBezTo>
                    <a:pt x="17488" y="173186"/>
                    <a:pt x="17488" y="172904"/>
                    <a:pt x="17769" y="172904"/>
                  </a:cubicBezTo>
                  <a:cubicBezTo>
                    <a:pt x="18052" y="173186"/>
                    <a:pt x="18052" y="173186"/>
                    <a:pt x="18334" y="173186"/>
                  </a:cubicBezTo>
                  <a:lnTo>
                    <a:pt x="18616" y="173186"/>
                  </a:lnTo>
                  <a:cubicBezTo>
                    <a:pt x="19180" y="173186"/>
                    <a:pt x="19180" y="173186"/>
                    <a:pt x="19462" y="173468"/>
                  </a:cubicBezTo>
                  <a:cubicBezTo>
                    <a:pt x="19744" y="173750"/>
                    <a:pt x="20026" y="173750"/>
                    <a:pt x="20308" y="173750"/>
                  </a:cubicBezTo>
                  <a:lnTo>
                    <a:pt x="20308" y="173468"/>
                  </a:lnTo>
                  <a:cubicBezTo>
                    <a:pt x="20308" y="173186"/>
                    <a:pt x="20308" y="173186"/>
                    <a:pt x="20026" y="172904"/>
                  </a:cubicBezTo>
                  <a:lnTo>
                    <a:pt x="19744" y="172904"/>
                  </a:lnTo>
                  <a:cubicBezTo>
                    <a:pt x="19744" y="172339"/>
                    <a:pt x="19462" y="172057"/>
                    <a:pt x="19462" y="171775"/>
                  </a:cubicBezTo>
                  <a:lnTo>
                    <a:pt x="19180" y="171775"/>
                  </a:lnTo>
                  <a:cubicBezTo>
                    <a:pt x="18898" y="171775"/>
                    <a:pt x="18616" y="172057"/>
                    <a:pt x="18052" y="172339"/>
                  </a:cubicBezTo>
                  <a:cubicBezTo>
                    <a:pt x="18052" y="172057"/>
                    <a:pt x="18052" y="171493"/>
                    <a:pt x="18334" y="170929"/>
                  </a:cubicBezTo>
                  <a:cubicBezTo>
                    <a:pt x="19180" y="169801"/>
                    <a:pt x="19462" y="168955"/>
                    <a:pt x="20308" y="168109"/>
                  </a:cubicBezTo>
                  <a:lnTo>
                    <a:pt x="20590" y="167827"/>
                  </a:lnTo>
                  <a:cubicBezTo>
                    <a:pt x="20308" y="168955"/>
                    <a:pt x="20308" y="169801"/>
                    <a:pt x="19462" y="170647"/>
                  </a:cubicBezTo>
                  <a:lnTo>
                    <a:pt x="19744" y="170929"/>
                  </a:lnTo>
                  <a:cubicBezTo>
                    <a:pt x="20308" y="170647"/>
                    <a:pt x="20590" y="170365"/>
                    <a:pt x="20590" y="170083"/>
                  </a:cubicBezTo>
                  <a:cubicBezTo>
                    <a:pt x="20872" y="168955"/>
                    <a:pt x="21436" y="168109"/>
                    <a:pt x="22283" y="167827"/>
                  </a:cubicBezTo>
                  <a:lnTo>
                    <a:pt x="22283" y="166980"/>
                  </a:lnTo>
                  <a:cubicBezTo>
                    <a:pt x="22000" y="166698"/>
                    <a:pt x="21719" y="166416"/>
                    <a:pt x="21719" y="166134"/>
                  </a:cubicBezTo>
                  <a:lnTo>
                    <a:pt x="21719" y="165852"/>
                  </a:lnTo>
                  <a:cubicBezTo>
                    <a:pt x="22000" y="165006"/>
                    <a:pt x="22565" y="164160"/>
                    <a:pt x="23411" y="163596"/>
                  </a:cubicBezTo>
                  <a:cubicBezTo>
                    <a:pt x="23693" y="163314"/>
                    <a:pt x="24257" y="162467"/>
                    <a:pt x="24257" y="161903"/>
                  </a:cubicBezTo>
                  <a:lnTo>
                    <a:pt x="24257" y="161621"/>
                  </a:lnTo>
                  <a:cubicBezTo>
                    <a:pt x="24821" y="160493"/>
                    <a:pt x="25386" y="160211"/>
                    <a:pt x="25950" y="159365"/>
                  </a:cubicBezTo>
                  <a:cubicBezTo>
                    <a:pt x="26231" y="159365"/>
                    <a:pt x="26231" y="159083"/>
                    <a:pt x="26514" y="158801"/>
                  </a:cubicBezTo>
                  <a:cubicBezTo>
                    <a:pt x="26796" y="158518"/>
                    <a:pt x="26796" y="158236"/>
                    <a:pt x="26796" y="157954"/>
                  </a:cubicBezTo>
                  <a:cubicBezTo>
                    <a:pt x="27077" y="157108"/>
                    <a:pt x="27360" y="156544"/>
                    <a:pt x="28206" y="155698"/>
                  </a:cubicBezTo>
                  <a:cubicBezTo>
                    <a:pt x="28206" y="155416"/>
                    <a:pt x="28488" y="155134"/>
                    <a:pt x="28488" y="154852"/>
                  </a:cubicBezTo>
                  <a:lnTo>
                    <a:pt x="28488" y="154570"/>
                  </a:lnTo>
                  <a:cubicBezTo>
                    <a:pt x="29052" y="153441"/>
                    <a:pt x="29898" y="152595"/>
                    <a:pt x="30744" y="152031"/>
                  </a:cubicBezTo>
                  <a:cubicBezTo>
                    <a:pt x="31308" y="151467"/>
                    <a:pt x="31872" y="150903"/>
                    <a:pt x="32437" y="150621"/>
                  </a:cubicBezTo>
                  <a:lnTo>
                    <a:pt x="33001" y="150621"/>
                  </a:lnTo>
                  <a:lnTo>
                    <a:pt x="33001" y="150903"/>
                  </a:lnTo>
                  <a:cubicBezTo>
                    <a:pt x="33001" y="151467"/>
                    <a:pt x="32437" y="151467"/>
                    <a:pt x="32437" y="152031"/>
                  </a:cubicBezTo>
                  <a:cubicBezTo>
                    <a:pt x="33283" y="151749"/>
                    <a:pt x="33565" y="151467"/>
                    <a:pt x="34411" y="151467"/>
                  </a:cubicBezTo>
                  <a:cubicBezTo>
                    <a:pt x="34693" y="151185"/>
                    <a:pt x="34693" y="150621"/>
                    <a:pt x="34693" y="150621"/>
                  </a:cubicBezTo>
                  <a:cubicBezTo>
                    <a:pt x="34411" y="150057"/>
                    <a:pt x="34129" y="149493"/>
                    <a:pt x="34129" y="148646"/>
                  </a:cubicBezTo>
                  <a:lnTo>
                    <a:pt x="34129" y="148082"/>
                  </a:lnTo>
                  <a:cubicBezTo>
                    <a:pt x="34129" y="146954"/>
                    <a:pt x="34693" y="146108"/>
                    <a:pt x="35539" y="146108"/>
                  </a:cubicBezTo>
                  <a:cubicBezTo>
                    <a:pt x="37232" y="145826"/>
                    <a:pt x="37796" y="145262"/>
                    <a:pt x="37796" y="144133"/>
                  </a:cubicBezTo>
                  <a:lnTo>
                    <a:pt x="38078" y="143851"/>
                  </a:lnTo>
                  <a:lnTo>
                    <a:pt x="38360" y="144133"/>
                  </a:lnTo>
                  <a:cubicBezTo>
                    <a:pt x="38360" y="144133"/>
                    <a:pt x="38642" y="144133"/>
                    <a:pt x="38642" y="144415"/>
                  </a:cubicBezTo>
                  <a:lnTo>
                    <a:pt x="39206" y="144415"/>
                  </a:lnTo>
                  <a:cubicBezTo>
                    <a:pt x="39489" y="144133"/>
                    <a:pt x="39770" y="144133"/>
                    <a:pt x="39770" y="143569"/>
                  </a:cubicBezTo>
                  <a:lnTo>
                    <a:pt x="39770" y="143005"/>
                  </a:lnTo>
                  <a:cubicBezTo>
                    <a:pt x="39489" y="143005"/>
                    <a:pt x="39489" y="143005"/>
                    <a:pt x="39489" y="142723"/>
                  </a:cubicBezTo>
                  <a:cubicBezTo>
                    <a:pt x="39489" y="142441"/>
                    <a:pt x="39770" y="142159"/>
                    <a:pt x="39770" y="142159"/>
                  </a:cubicBezTo>
                  <a:lnTo>
                    <a:pt x="40334" y="142159"/>
                  </a:lnTo>
                  <a:cubicBezTo>
                    <a:pt x="40053" y="142441"/>
                    <a:pt x="40053" y="143005"/>
                    <a:pt x="39770" y="143005"/>
                  </a:cubicBezTo>
                  <a:cubicBezTo>
                    <a:pt x="40334" y="143005"/>
                    <a:pt x="40617" y="143005"/>
                    <a:pt x="41181" y="142723"/>
                  </a:cubicBezTo>
                  <a:lnTo>
                    <a:pt x="41181" y="142159"/>
                  </a:lnTo>
                  <a:cubicBezTo>
                    <a:pt x="40617" y="141877"/>
                    <a:pt x="40617" y="141313"/>
                    <a:pt x="40617" y="141031"/>
                  </a:cubicBezTo>
                  <a:cubicBezTo>
                    <a:pt x="40617" y="140749"/>
                    <a:pt x="40617" y="140467"/>
                    <a:pt x="40899" y="139902"/>
                  </a:cubicBezTo>
                  <a:cubicBezTo>
                    <a:pt x="41181" y="139056"/>
                    <a:pt x="41745" y="138210"/>
                    <a:pt x="42309" y="137646"/>
                  </a:cubicBezTo>
                  <a:cubicBezTo>
                    <a:pt x="42591" y="137646"/>
                    <a:pt x="43155" y="136800"/>
                    <a:pt x="43155" y="136236"/>
                  </a:cubicBezTo>
                  <a:cubicBezTo>
                    <a:pt x="43437" y="135954"/>
                    <a:pt x="43437" y="135954"/>
                    <a:pt x="44284" y="135954"/>
                  </a:cubicBezTo>
                  <a:cubicBezTo>
                    <a:pt x="44284" y="136236"/>
                    <a:pt x="44284" y="136518"/>
                    <a:pt x="44565" y="136800"/>
                  </a:cubicBezTo>
                  <a:cubicBezTo>
                    <a:pt x="44565" y="136800"/>
                    <a:pt x="44284" y="136800"/>
                    <a:pt x="44284" y="137082"/>
                  </a:cubicBezTo>
                  <a:lnTo>
                    <a:pt x="44284" y="137646"/>
                  </a:lnTo>
                  <a:lnTo>
                    <a:pt x="44565" y="137646"/>
                  </a:lnTo>
                  <a:cubicBezTo>
                    <a:pt x="44848" y="137646"/>
                    <a:pt x="44848" y="137646"/>
                    <a:pt x="45130" y="137364"/>
                  </a:cubicBezTo>
                  <a:lnTo>
                    <a:pt x="45975" y="136236"/>
                  </a:lnTo>
                  <a:cubicBezTo>
                    <a:pt x="46258" y="136236"/>
                    <a:pt x="46540" y="136236"/>
                    <a:pt x="46540" y="135954"/>
                  </a:cubicBezTo>
                  <a:cubicBezTo>
                    <a:pt x="46540" y="135672"/>
                    <a:pt x="46258" y="135672"/>
                    <a:pt x="46258" y="135107"/>
                  </a:cubicBezTo>
                  <a:cubicBezTo>
                    <a:pt x="45975" y="135107"/>
                    <a:pt x="45975" y="135107"/>
                    <a:pt x="45975" y="134825"/>
                  </a:cubicBezTo>
                  <a:cubicBezTo>
                    <a:pt x="45975" y="134543"/>
                    <a:pt x="45975" y="134543"/>
                    <a:pt x="46258" y="134261"/>
                  </a:cubicBezTo>
                  <a:lnTo>
                    <a:pt x="47668" y="133415"/>
                  </a:lnTo>
                  <a:lnTo>
                    <a:pt x="47668" y="132287"/>
                  </a:lnTo>
                  <a:cubicBezTo>
                    <a:pt x="47668" y="132005"/>
                    <a:pt x="47668" y="131723"/>
                    <a:pt x="47950" y="131723"/>
                  </a:cubicBezTo>
                  <a:lnTo>
                    <a:pt x="48514" y="132287"/>
                  </a:lnTo>
                  <a:cubicBezTo>
                    <a:pt x="48796" y="132005"/>
                    <a:pt x="49078" y="132005"/>
                    <a:pt x="49078" y="132005"/>
                  </a:cubicBezTo>
                  <a:cubicBezTo>
                    <a:pt x="49078" y="130876"/>
                    <a:pt x="49925" y="129466"/>
                    <a:pt x="50206" y="129184"/>
                  </a:cubicBezTo>
                  <a:cubicBezTo>
                    <a:pt x="50206" y="128620"/>
                    <a:pt x="50489" y="128338"/>
                    <a:pt x="50771" y="128056"/>
                  </a:cubicBezTo>
                  <a:cubicBezTo>
                    <a:pt x="51053" y="127492"/>
                    <a:pt x="51899" y="127492"/>
                    <a:pt x="52463" y="127210"/>
                  </a:cubicBezTo>
                  <a:cubicBezTo>
                    <a:pt x="53027" y="127210"/>
                    <a:pt x="53309" y="127210"/>
                    <a:pt x="53592" y="126364"/>
                  </a:cubicBezTo>
                  <a:cubicBezTo>
                    <a:pt x="53592" y="126364"/>
                    <a:pt x="53873" y="126081"/>
                    <a:pt x="53873" y="125517"/>
                  </a:cubicBezTo>
                  <a:cubicBezTo>
                    <a:pt x="54437" y="124953"/>
                    <a:pt x="54437" y="124671"/>
                    <a:pt x="55284" y="124389"/>
                  </a:cubicBezTo>
                  <a:cubicBezTo>
                    <a:pt x="55848" y="124107"/>
                    <a:pt x="56130" y="123825"/>
                    <a:pt x="56694" y="122979"/>
                  </a:cubicBezTo>
                  <a:cubicBezTo>
                    <a:pt x="56976" y="122415"/>
                    <a:pt x="57540" y="122133"/>
                    <a:pt x="57823" y="121851"/>
                  </a:cubicBezTo>
                  <a:cubicBezTo>
                    <a:pt x="58387" y="121286"/>
                    <a:pt x="59233" y="121286"/>
                    <a:pt x="59233" y="120440"/>
                  </a:cubicBezTo>
                  <a:cubicBezTo>
                    <a:pt x="59233" y="120158"/>
                    <a:pt x="59797" y="119876"/>
                    <a:pt x="60079" y="119876"/>
                  </a:cubicBezTo>
                  <a:cubicBezTo>
                    <a:pt x="60925" y="119876"/>
                    <a:pt x="61207" y="119876"/>
                    <a:pt x="61771" y="119594"/>
                  </a:cubicBezTo>
                  <a:cubicBezTo>
                    <a:pt x="61771" y="118748"/>
                    <a:pt x="62618" y="118466"/>
                    <a:pt x="62618" y="117338"/>
                  </a:cubicBezTo>
                  <a:lnTo>
                    <a:pt x="64028" y="116209"/>
                  </a:lnTo>
                  <a:cubicBezTo>
                    <a:pt x="64592" y="116209"/>
                    <a:pt x="64874" y="116209"/>
                    <a:pt x="65438" y="115927"/>
                  </a:cubicBezTo>
                  <a:cubicBezTo>
                    <a:pt x="65720" y="115645"/>
                    <a:pt x="65720" y="115363"/>
                    <a:pt x="66284" y="115363"/>
                  </a:cubicBezTo>
                  <a:cubicBezTo>
                    <a:pt x="66566" y="115363"/>
                    <a:pt x="67130" y="115081"/>
                    <a:pt x="67130" y="114799"/>
                  </a:cubicBezTo>
                  <a:cubicBezTo>
                    <a:pt x="66848" y="114517"/>
                    <a:pt x="66848" y="114235"/>
                    <a:pt x="66848" y="113953"/>
                  </a:cubicBezTo>
                  <a:cubicBezTo>
                    <a:pt x="66848" y="113389"/>
                    <a:pt x="67130" y="113107"/>
                    <a:pt x="67695" y="112542"/>
                  </a:cubicBezTo>
                  <a:cubicBezTo>
                    <a:pt x="68540" y="112260"/>
                    <a:pt x="69387" y="111978"/>
                    <a:pt x="70233" y="111132"/>
                  </a:cubicBezTo>
                  <a:cubicBezTo>
                    <a:pt x="71361" y="110850"/>
                    <a:pt x="72207" y="110568"/>
                    <a:pt x="72490" y="109722"/>
                  </a:cubicBezTo>
                  <a:cubicBezTo>
                    <a:pt x="73054" y="109440"/>
                    <a:pt x="73336" y="108594"/>
                    <a:pt x="73900" y="108594"/>
                  </a:cubicBezTo>
                  <a:cubicBezTo>
                    <a:pt x="74182" y="108594"/>
                    <a:pt x="74182" y="108312"/>
                    <a:pt x="74182" y="108030"/>
                  </a:cubicBezTo>
                  <a:cubicBezTo>
                    <a:pt x="74182" y="107747"/>
                    <a:pt x="74464" y="107183"/>
                    <a:pt x="75028" y="106901"/>
                  </a:cubicBezTo>
                  <a:lnTo>
                    <a:pt x="75874" y="106901"/>
                  </a:lnTo>
                  <a:cubicBezTo>
                    <a:pt x="75874" y="106619"/>
                    <a:pt x="76157" y="106337"/>
                    <a:pt x="76721" y="106337"/>
                  </a:cubicBezTo>
                  <a:cubicBezTo>
                    <a:pt x="77002" y="106619"/>
                    <a:pt x="77285" y="106619"/>
                    <a:pt x="77567" y="106619"/>
                  </a:cubicBezTo>
                  <a:cubicBezTo>
                    <a:pt x="78131" y="106619"/>
                    <a:pt x="78131" y="106055"/>
                    <a:pt x="78413" y="105773"/>
                  </a:cubicBezTo>
                  <a:cubicBezTo>
                    <a:pt x="78977" y="105209"/>
                    <a:pt x="79259" y="104363"/>
                    <a:pt x="79823" y="104081"/>
                  </a:cubicBezTo>
                  <a:cubicBezTo>
                    <a:pt x="79823" y="103234"/>
                    <a:pt x="79823" y="102388"/>
                    <a:pt x="80669" y="102106"/>
                  </a:cubicBezTo>
                  <a:cubicBezTo>
                    <a:pt x="81798" y="101542"/>
                    <a:pt x="82362" y="101260"/>
                    <a:pt x="83490" y="100978"/>
                  </a:cubicBezTo>
                  <a:cubicBezTo>
                    <a:pt x="84054" y="100414"/>
                    <a:pt x="84618" y="100414"/>
                    <a:pt x="85182" y="100414"/>
                  </a:cubicBezTo>
                  <a:cubicBezTo>
                    <a:pt x="84900" y="100978"/>
                    <a:pt x="84900" y="100978"/>
                    <a:pt x="84900" y="101542"/>
                  </a:cubicBezTo>
                  <a:cubicBezTo>
                    <a:pt x="84900" y="101542"/>
                    <a:pt x="84900" y="101824"/>
                    <a:pt x="85182" y="101542"/>
                  </a:cubicBezTo>
                  <a:cubicBezTo>
                    <a:pt x="85746" y="100978"/>
                    <a:pt x="86593" y="100414"/>
                    <a:pt x="86593" y="99568"/>
                  </a:cubicBezTo>
                  <a:lnTo>
                    <a:pt x="86593" y="99286"/>
                  </a:lnTo>
                  <a:cubicBezTo>
                    <a:pt x="86593" y="98721"/>
                    <a:pt x="86874" y="98157"/>
                    <a:pt x="87439" y="97593"/>
                  </a:cubicBezTo>
                  <a:cubicBezTo>
                    <a:pt x="88003" y="97311"/>
                    <a:pt x="88567" y="97593"/>
                    <a:pt x="89131" y="97029"/>
                  </a:cubicBezTo>
                  <a:cubicBezTo>
                    <a:pt x="89413" y="96465"/>
                    <a:pt x="90260" y="96183"/>
                    <a:pt x="90260" y="95901"/>
                  </a:cubicBezTo>
                  <a:cubicBezTo>
                    <a:pt x="90541" y="95055"/>
                    <a:pt x="91105" y="94773"/>
                    <a:pt x="91670" y="94491"/>
                  </a:cubicBezTo>
                  <a:lnTo>
                    <a:pt x="92234" y="94491"/>
                  </a:lnTo>
                  <a:cubicBezTo>
                    <a:pt x="92516" y="94491"/>
                    <a:pt x="92516" y="94773"/>
                    <a:pt x="92798" y="94773"/>
                  </a:cubicBezTo>
                  <a:cubicBezTo>
                    <a:pt x="93080" y="94773"/>
                    <a:pt x="93080" y="94491"/>
                    <a:pt x="93362" y="93926"/>
                  </a:cubicBezTo>
                  <a:cubicBezTo>
                    <a:pt x="93362" y="93644"/>
                    <a:pt x="93644" y="93362"/>
                    <a:pt x="93926" y="92798"/>
                  </a:cubicBezTo>
                  <a:cubicBezTo>
                    <a:pt x="94491" y="92234"/>
                    <a:pt x="94772" y="92234"/>
                    <a:pt x="95619" y="92234"/>
                  </a:cubicBezTo>
                  <a:lnTo>
                    <a:pt x="96183" y="92234"/>
                  </a:lnTo>
                  <a:cubicBezTo>
                    <a:pt x="96465" y="92234"/>
                    <a:pt x="96747" y="92234"/>
                    <a:pt x="96747" y="91952"/>
                  </a:cubicBezTo>
                  <a:lnTo>
                    <a:pt x="96747" y="91106"/>
                  </a:lnTo>
                  <a:cubicBezTo>
                    <a:pt x="97593" y="90542"/>
                    <a:pt x="100132" y="90260"/>
                    <a:pt x="100977" y="89131"/>
                  </a:cubicBezTo>
                  <a:cubicBezTo>
                    <a:pt x="101542" y="89131"/>
                    <a:pt x="102106" y="88849"/>
                    <a:pt x="102952" y="88285"/>
                  </a:cubicBezTo>
                  <a:cubicBezTo>
                    <a:pt x="103516" y="88003"/>
                    <a:pt x="103798" y="87157"/>
                    <a:pt x="103798" y="86029"/>
                  </a:cubicBezTo>
                  <a:lnTo>
                    <a:pt x="103798" y="83772"/>
                  </a:lnTo>
                  <a:cubicBezTo>
                    <a:pt x="103798" y="82926"/>
                    <a:pt x="103798" y="82362"/>
                    <a:pt x="104080" y="81516"/>
                  </a:cubicBezTo>
                  <a:lnTo>
                    <a:pt x="103516" y="75028"/>
                  </a:lnTo>
                  <a:lnTo>
                    <a:pt x="103516" y="72490"/>
                  </a:lnTo>
                  <a:cubicBezTo>
                    <a:pt x="103516" y="72208"/>
                    <a:pt x="103798" y="71644"/>
                    <a:pt x="103798" y="71362"/>
                  </a:cubicBezTo>
                  <a:lnTo>
                    <a:pt x="103798" y="66849"/>
                  </a:lnTo>
                  <a:cubicBezTo>
                    <a:pt x="103798" y="64874"/>
                    <a:pt x="103798" y="63182"/>
                    <a:pt x="103516" y="61489"/>
                  </a:cubicBezTo>
                  <a:lnTo>
                    <a:pt x="103516" y="59515"/>
                  </a:lnTo>
                  <a:cubicBezTo>
                    <a:pt x="103516" y="58951"/>
                    <a:pt x="103516" y="58105"/>
                    <a:pt x="103234" y="57541"/>
                  </a:cubicBezTo>
                  <a:lnTo>
                    <a:pt x="103234" y="56130"/>
                  </a:lnTo>
                  <a:cubicBezTo>
                    <a:pt x="103798" y="55566"/>
                    <a:pt x="103516" y="54720"/>
                    <a:pt x="103798" y="53592"/>
                  </a:cubicBezTo>
                  <a:cubicBezTo>
                    <a:pt x="103798" y="51617"/>
                    <a:pt x="103516" y="49361"/>
                    <a:pt x="103234" y="47386"/>
                  </a:cubicBezTo>
                  <a:lnTo>
                    <a:pt x="103234" y="41463"/>
                  </a:lnTo>
                  <a:cubicBezTo>
                    <a:pt x="103234" y="41181"/>
                    <a:pt x="103234" y="40617"/>
                    <a:pt x="102952" y="40335"/>
                  </a:cubicBezTo>
                  <a:cubicBezTo>
                    <a:pt x="102670" y="39771"/>
                    <a:pt x="102670" y="39771"/>
                    <a:pt x="102106" y="39771"/>
                  </a:cubicBezTo>
                  <a:lnTo>
                    <a:pt x="99003" y="39771"/>
                  </a:lnTo>
                  <a:cubicBezTo>
                    <a:pt x="98722" y="40053"/>
                    <a:pt x="98157" y="40899"/>
                    <a:pt x="98157" y="41181"/>
                  </a:cubicBezTo>
                  <a:cubicBezTo>
                    <a:pt x="97311" y="41181"/>
                    <a:pt x="97029" y="42309"/>
                    <a:pt x="96747" y="42873"/>
                  </a:cubicBezTo>
                  <a:lnTo>
                    <a:pt x="96747" y="43720"/>
                  </a:lnTo>
                  <a:cubicBezTo>
                    <a:pt x="96747" y="44848"/>
                    <a:pt x="95901" y="46540"/>
                    <a:pt x="95336" y="46822"/>
                  </a:cubicBezTo>
                  <a:cubicBezTo>
                    <a:pt x="94772" y="47104"/>
                    <a:pt x="94491" y="47104"/>
                    <a:pt x="94491" y="47668"/>
                  </a:cubicBezTo>
                  <a:lnTo>
                    <a:pt x="94491" y="48232"/>
                  </a:lnTo>
                  <a:cubicBezTo>
                    <a:pt x="93926" y="48797"/>
                    <a:pt x="93362" y="49643"/>
                    <a:pt x="92798" y="49925"/>
                  </a:cubicBezTo>
                  <a:lnTo>
                    <a:pt x="92234" y="49925"/>
                  </a:lnTo>
                  <a:cubicBezTo>
                    <a:pt x="91952" y="49925"/>
                    <a:pt x="91952" y="49925"/>
                    <a:pt x="91952" y="50207"/>
                  </a:cubicBezTo>
                  <a:cubicBezTo>
                    <a:pt x="91670" y="51617"/>
                    <a:pt x="91105" y="52745"/>
                    <a:pt x="90260" y="53310"/>
                  </a:cubicBezTo>
                  <a:cubicBezTo>
                    <a:pt x="89413" y="54156"/>
                    <a:pt x="89695" y="55002"/>
                    <a:pt x="88849" y="55284"/>
                  </a:cubicBezTo>
                  <a:cubicBezTo>
                    <a:pt x="88285" y="55566"/>
                    <a:pt x="87721" y="56130"/>
                    <a:pt x="87439" y="56694"/>
                  </a:cubicBezTo>
                  <a:cubicBezTo>
                    <a:pt x="86874" y="57823"/>
                    <a:pt x="86593" y="58669"/>
                    <a:pt x="86593" y="59797"/>
                  </a:cubicBezTo>
                  <a:cubicBezTo>
                    <a:pt x="86310" y="60925"/>
                    <a:pt x="85746" y="61207"/>
                    <a:pt x="85182" y="61207"/>
                  </a:cubicBezTo>
                  <a:cubicBezTo>
                    <a:pt x="84900" y="61207"/>
                    <a:pt x="84618" y="61489"/>
                    <a:pt x="84336" y="61771"/>
                  </a:cubicBezTo>
                  <a:cubicBezTo>
                    <a:pt x="84336" y="62618"/>
                    <a:pt x="84054" y="63182"/>
                    <a:pt x="83208" y="63182"/>
                  </a:cubicBezTo>
                  <a:cubicBezTo>
                    <a:pt x="82926" y="63464"/>
                    <a:pt x="82643" y="64028"/>
                    <a:pt x="82643" y="64592"/>
                  </a:cubicBezTo>
                  <a:cubicBezTo>
                    <a:pt x="82643" y="65438"/>
                    <a:pt x="82643" y="66002"/>
                    <a:pt x="82079" y="66566"/>
                  </a:cubicBezTo>
                  <a:lnTo>
                    <a:pt x="81516" y="66566"/>
                  </a:lnTo>
                  <a:cubicBezTo>
                    <a:pt x="80669" y="67413"/>
                    <a:pt x="79823" y="67977"/>
                    <a:pt x="79259" y="69387"/>
                  </a:cubicBezTo>
                  <a:cubicBezTo>
                    <a:pt x="79259" y="69951"/>
                    <a:pt x="78977" y="70515"/>
                    <a:pt x="78131" y="70515"/>
                  </a:cubicBezTo>
                  <a:cubicBezTo>
                    <a:pt x="77567" y="71362"/>
                    <a:pt x="76438" y="71362"/>
                    <a:pt x="76438" y="72208"/>
                  </a:cubicBezTo>
                  <a:cubicBezTo>
                    <a:pt x="76157" y="72208"/>
                    <a:pt x="75874" y="72490"/>
                    <a:pt x="75874" y="72772"/>
                  </a:cubicBezTo>
                  <a:cubicBezTo>
                    <a:pt x="75874" y="73054"/>
                    <a:pt x="75592" y="73336"/>
                    <a:pt x="75310" y="73336"/>
                  </a:cubicBezTo>
                  <a:cubicBezTo>
                    <a:pt x="75310" y="75028"/>
                    <a:pt x="74464" y="75875"/>
                    <a:pt x="73900" y="77003"/>
                  </a:cubicBezTo>
                  <a:cubicBezTo>
                    <a:pt x="73900" y="77567"/>
                    <a:pt x="73336" y="78413"/>
                    <a:pt x="72771" y="79541"/>
                  </a:cubicBezTo>
                  <a:lnTo>
                    <a:pt x="71079" y="80670"/>
                  </a:lnTo>
                  <a:cubicBezTo>
                    <a:pt x="70797" y="81234"/>
                    <a:pt x="70233" y="82362"/>
                    <a:pt x="69387" y="82926"/>
                  </a:cubicBezTo>
                  <a:cubicBezTo>
                    <a:pt x="68540" y="83490"/>
                    <a:pt x="67976" y="84336"/>
                    <a:pt x="67412" y="84900"/>
                  </a:cubicBezTo>
                  <a:cubicBezTo>
                    <a:pt x="67412" y="84900"/>
                    <a:pt x="67130" y="85465"/>
                    <a:pt x="66848" y="85747"/>
                  </a:cubicBezTo>
                  <a:lnTo>
                    <a:pt x="66002" y="87439"/>
                  </a:lnTo>
                  <a:cubicBezTo>
                    <a:pt x="66002" y="87721"/>
                    <a:pt x="65720" y="87721"/>
                    <a:pt x="65438" y="87721"/>
                  </a:cubicBezTo>
                  <a:cubicBezTo>
                    <a:pt x="64028" y="88567"/>
                    <a:pt x="62618" y="89978"/>
                    <a:pt x="61771" y="91670"/>
                  </a:cubicBezTo>
                  <a:cubicBezTo>
                    <a:pt x="61489" y="91952"/>
                    <a:pt x="61489" y="92234"/>
                    <a:pt x="61489" y="92516"/>
                  </a:cubicBezTo>
                  <a:cubicBezTo>
                    <a:pt x="61489" y="92798"/>
                    <a:pt x="61489" y="93080"/>
                    <a:pt x="61207" y="93080"/>
                  </a:cubicBezTo>
                  <a:cubicBezTo>
                    <a:pt x="60361" y="93080"/>
                    <a:pt x="60079" y="93926"/>
                    <a:pt x="59515" y="93926"/>
                  </a:cubicBezTo>
                  <a:cubicBezTo>
                    <a:pt x="58387" y="94773"/>
                    <a:pt x="57823" y="95901"/>
                    <a:pt x="56976" y="97029"/>
                  </a:cubicBezTo>
                  <a:cubicBezTo>
                    <a:pt x="56412" y="97593"/>
                    <a:pt x="55848" y="98721"/>
                    <a:pt x="55002" y="98721"/>
                  </a:cubicBezTo>
                  <a:cubicBezTo>
                    <a:pt x="54720" y="98721"/>
                    <a:pt x="54437" y="99004"/>
                    <a:pt x="54437" y="99286"/>
                  </a:cubicBezTo>
                  <a:cubicBezTo>
                    <a:pt x="54156" y="99568"/>
                    <a:pt x="53873" y="99850"/>
                    <a:pt x="53309" y="99850"/>
                  </a:cubicBezTo>
                  <a:cubicBezTo>
                    <a:pt x="53309" y="99850"/>
                    <a:pt x="53027" y="99850"/>
                    <a:pt x="53027" y="100414"/>
                  </a:cubicBezTo>
                  <a:cubicBezTo>
                    <a:pt x="53027" y="100696"/>
                    <a:pt x="52745" y="101260"/>
                    <a:pt x="52181" y="101260"/>
                  </a:cubicBezTo>
                  <a:cubicBezTo>
                    <a:pt x="51335" y="101542"/>
                    <a:pt x="50489" y="102106"/>
                    <a:pt x="50206" y="102952"/>
                  </a:cubicBezTo>
                  <a:cubicBezTo>
                    <a:pt x="49642" y="103517"/>
                    <a:pt x="49078" y="103234"/>
                    <a:pt x="48796" y="103799"/>
                  </a:cubicBezTo>
                  <a:cubicBezTo>
                    <a:pt x="48796" y="104081"/>
                    <a:pt x="48232" y="104927"/>
                    <a:pt x="47950" y="105209"/>
                  </a:cubicBezTo>
                  <a:cubicBezTo>
                    <a:pt x="47668" y="105773"/>
                    <a:pt x="47104" y="106055"/>
                    <a:pt x="46540" y="106055"/>
                  </a:cubicBezTo>
                  <a:cubicBezTo>
                    <a:pt x="45975" y="106055"/>
                    <a:pt x="45130" y="106337"/>
                    <a:pt x="44848" y="106619"/>
                  </a:cubicBezTo>
                  <a:cubicBezTo>
                    <a:pt x="44001" y="107465"/>
                    <a:pt x="43155" y="107747"/>
                    <a:pt x="42309" y="107747"/>
                  </a:cubicBezTo>
                  <a:cubicBezTo>
                    <a:pt x="42027" y="108030"/>
                    <a:pt x="41181" y="108312"/>
                    <a:pt x="40334" y="108594"/>
                  </a:cubicBezTo>
                  <a:cubicBezTo>
                    <a:pt x="39489" y="108876"/>
                    <a:pt x="38924" y="109158"/>
                    <a:pt x="38078" y="109158"/>
                  </a:cubicBezTo>
                  <a:lnTo>
                    <a:pt x="37796" y="109158"/>
                  </a:lnTo>
                  <a:cubicBezTo>
                    <a:pt x="37232" y="109440"/>
                    <a:pt x="36950" y="109722"/>
                    <a:pt x="36386" y="109722"/>
                  </a:cubicBezTo>
                  <a:cubicBezTo>
                    <a:pt x="35539" y="109722"/>
                    <a:pt x="34975" y="109440"/>
                    <a:pt x="34411" y="109158"/>
                  </a:cubicBezTo>
                  <a:lnTo>
                    <a:pt x="33847" y="109158"/>
                  </a:lnTo>
                  <a:cubicBezTo>
                    <a:pt x="32437" y="109158"/>
                    <a:pt x="31591" y="108594"/>
                    <a:pt x="31027" y="107747"/>
                  </a:cubicBezTo>
                  <a:cubicBezTo>
                    <a:pt x="30462" y="107465"/>
                    <a:pt x="30180" y="107465"/>
                    <a:pt x="29898" y="107465"/>
                  </a:cubicBezTo>
                  <a:lnTo>
                    <a:pt x="27641" y="105773"/>
                  </a:lnTo>
                  <a:cubicBezTo>
                    <a:pt x="26514" y="105209"/>
                    <a:pt x="24821" y="103517"/>
                    <a:pt x="23693" y="102106"/>
                  </a:cubicBezTo>
                  <a:cubicBezTo>
                    <a:pt x="23129" y="101260"/>
                    <a:pt x="22847" y="100696"/>
                    <a:pt x="22000" y="99850"/>
                  </a:cubicBezTo>
                  <a:cubicBezTo>
                    <a:pt x="21719" y="99004"/>
                    <a:pt x="21719" y="98157"/>
                    <a:pt x="21155" y="97311"/>
                  </a:cubicBezTo>
                  <a:lnTo>
                    <a:pt x="21155" y="96465"/>
                  </a:lnTo>
                  <a:cubicBezTo>
                    <a:pt x="20872" y="95337"/>
                    <a:pt x="20872" y="94209"/>
                    <a:pt x="20872" y="93080"/>
                  </a:cubicBezTo>
                  <a:cubicBezTo>
                    <a:pt x="20872" y="92234"/>
                    <a:pt x="20590" y="91388"/>
                    <a:pt x="20590" y="90542"/>
                  </a:cubicBezTo>
                  <a:cubicBezTo>
                    <a:pt x="20590" y="89978"/>
                    <a:pt x="20590" y="89413"/>
                    <a:pt x="20872" y="89131"/>
                  </a:cubicBezTo>
                  <a:lnTo>
                    <a:pt x="20872" y="86311"/>
                  </a:lnTo>
                  <a:cubicBezTo>
                    <a:pt x="20872" y="85183"/>
                    <a:pt x="20872" y="84054"/>
                    <a:pt x="21155" y="82926"/>
                  </a:cubicBezTo>
                  <a:cubicBezTo>
                    <a:pt x="21155" y="81798"/>
                    <a:pt x="21436" y="80670"/>
                    <a:pt x="21719" y="79541"/>
                  </a:cubicBezTo>
                  <a:cubicBezTo>
                    <a:pt x="22000" y="78413"/>
                    <a:pt x="22283" y="77003"/>
                    <a:pt x="22847" y="75592"/>
                  </a:cubicBezTo>
                  <a:lnTo>
                    <a:pt x="25667" y="67131"/>
                  </a:lnTo>
                  <a:cubicBezTo>
                    <a:pt x="25667" y="65720"/>
                    <a:pt x="26231" y="64874"/>
                    <a:pt x="26514" y="63182"/>
                  </a:cubicBezTo>
                  <a:cubicBezTo>
                    <a:pt x="27360" y="60925"/>
                    <a:pt x="27641" y="58669"/>
                    <a:pt x="28488" y="56130"/>
                  </a:cubicBezTo>
                  <a:cubicBezTo>
                    <a:pt x="28488" y="55566"/>
                    <a:pt x="28770" y="55284"/>
                    <a:pt x="28770" y="55002"/>
                  </a:cubicBezTo>
                  <a:cubicBezTo>
                    <a:pt x="29052" y="54156"/>
                    <a:pt x="29616" y="53310"/>
                    <a:pt x="29616" y="52463"/>
                  </a:cubicBezTo>
                  <a:cubicBezTo>
                    <a:pt x="29898" y="51335"/>
                    <a:pt x="30462" y="50207"/>
                    <a:pt x="31027" y="49079"/>
                  </a:cubicBezTo>
                  <a:lnTo>
                    <a:pt x="31027" y="48232"/>
                  </a:lnTo>
                  <a:cubicBezTo>
                    <a:pt x="31027" y="47950"/>
                    <a:pt x="31027" y="47386"/>
                    <a:pt x="31308" y="47104"/>
                  </a:cubicBezTo>
                  <a:cubicBezTo>
                    <a:pt x="32155" y="44284"/>
                    <a:pt x="33283" y="41181"/>
                    <a:pt x="34975" y="38642"/>
                  </a:cubicBezTo>
                  <a:cubicBezTo>
                    <a:pt x="35539" y="37796"/>
                    <a:pt x="35539" y="36950"/>
                    <a:pt x="36103" y="35822"/>
                  </a:cubicBezTo>
                  <a:cubicBezTo>
                    <a:pt x="36668" y="33565"/>
                    <a:pt x="37232" y="32155"/>
                    <a:pt x="38360" y="30463"/>
                  </a:cubicBezTo>
                  <a:cubicBezTo>
                    <a:pt x="38642" y="29899"/>
                    <a:pt x="39489" y="29052"/>
                    <a:pt x="39770" y="27642"/>
                  </a:cubicBezTo>
                  <a:cubicBezTo>
                    <a:pt x="40053" y="26796"/>
                    <a:pt x="40334" y="26232"/>
                    <a:pt x="40334" y="25668"/>
                  </a:cubicBezTo>
                  <a:cubicBezTo>
                    <a:pt x="40617" y="24821"/>
                    <a:pt x="40899" y="23693"/>
                    <a:pt x="41463" y="22847"/>
                  </a:cubicBezTo>
                  <a:cubicBezTo>
                    <a:pt x="41745" y="22001"/>
                    <a:pt x="42309" y="21437"/>
                    <a:pt x="42873" y="20308"/>
                  </a:cubicBezTo>
                  <a:cubicBezTo>
                    <a:pt x="43720" y="18334"/>
                    <a:pt x="44284" y="16360"/>
                    <a:pt x="44565" y="14949"/>
                  </a:cubicBezTo>
                  <a:lnTo>
                    <a:pt x="46540" y="11847"/>
                  </a:lnTo>
                  <a:cubicBezTo>
                    <a:pt x="46822" y="11565"/>
                    <a:pt x="46822" y="11282"/>
                    <a:pt x="46822" y="11000"/>
                  </a:cubicBezTo>
                  <a:lnTo>
                    <a:pt x="46822" y="10718"/>
                  </a:lnTo>
                  <a:cubicBezTo>
                    <a:pt x="47668" y="8744"/>
                    <a:pt x="48796" y="7052"/>
                    <a:pt x="50489" y="5359"/>
                  </a:cubicBezTo>
                  <a:cubicBezTo>
                    <a:pt x="50771" y="4231"/>
                    <a:pt x="51335" y="3667"/>
                    <a:pt x="52181" y="2539"/>
                  </a:cubicBezTo>
                  <a:cubicBezTo>
                    <a:pt x="52181" y="1974"/>
                    <a:pt x="52463" y="1128"/>
                    <a:pt x="52745" y="846"/>
                  </a:cubicBezTo>
                  <a:cubicBezTo>
                    <a:pt x="53027" y="564"/>
                    <a:pt x="53309" y="564"/>
                    <a:pt x="53592" y="564"/>
                  </a:cubicBezTo>
                  <a:lnTo>
                    <a:pt x="54156" y="564"/>
                  </a:lnTo>
                  <a:cubicBezTo>
                    <a:pt x="54156" y="564"/>
                    <a:pt x="54720" y="282"/>
                    <a:pt x="54720" y="0"/>
                  </a:cubicBezTo>
                  <a:cubicBezTo>
                    <a:pt x="54720" y="0"/>
                    <a:pt x="55002" y="282"/>
                    <a:pt x="55284" y="282"/>
                  </a:cubicBezTo>
                  <a:lnTo>
                    <a:pt x="55284" y="564"/>
                  </a:lnTo>
                  <a:cubicBezTo>
                    <a:pt x="55284" y="564"/>
                    <a:pt x="55002" y="564"/>
                    <a:pt x="55002" y="846"/>
                  </a:cubicBezTo>
                  <a:cubicBezTo>
                    <a:pt x="55002" y="1128"/>
                    <a:pt x="55284" y="1410"/>
                    <a:pt x="55566" y="1692"/>
                  </a:cubicBezTo>
                  <a:cubicBezTo>
                    <a:pt x="55566" y="1692"/>
                    <a:pt x="55566" y="1974"/>
                    <a:pt x="55848" y="2256"/>
                  </a:cubicBezTo>
                  <a:cubicBezTo>
                    <a:pt x="55848" y="3103"/>
                    <a:pt x="56412" y="3103"/>
                    <a:pt x="56976" y="3103"/>
                  </a:cubicBezTo>
                  <a:cubicBezTo>
                    <a:pt x="57258" y="3103"/>
                    <a:pt x="57540" y="2821"/>
                    <a:pt x="57823" y="2821"/>
                  </a:cubicBezTo>
                  <a:cubicBezTo>
                    <a:pt x="58104" y="2821"/>
                    <a:pt x="58668" y="3103"/>
                    <a:pt x="58951" y="3385"/>
                  </a:cubicBezTo>
                  <a:lnTo>
                    <a:pt x="59515" y="3385"/>
                  </a:lnTo>
                  <a:cubicBezTo>
                    <a:pt x="59797" y="3103"/>
                    <a:pt x="60079" y="3103"/>
                    <a:pt x="60361" y="3103"/>
                  </a:cubicBezTo>
                  <a:cubicBezTo>
                    <a:pt x="60925" y="3103"/>
                    <a:pt x="62054" y="3385"/>
                    <a:pt x="62899" y="4231"/>
                  </a:cubicBezTo>
                  <a:lnTo>
                    <a:pt x="63745" y="4231"/>
                  </a:lnTo>
                  <a:cubicBezTo>
                    <a:pt x="63745" y="3949"/>
                    <a:pt x="64028" y="3667"/>
                    <a:pt x="64309" y="3385"/>
                  </a:cubicBezTo>
                  <a:cubicBezTo>
                    <a:pt x="65156" y="3385"/>
                    <a:pt x="65438" y="3667"/>
                    <a:pt x="65720" y="4513"/>
                  </a:cubicBezTo>
                  <a:cubicBezTo>
                    <a:pt x="66002" y="4513"/>
                    <a:pt x="66002" y="4795"/>
                    <a:pt x="66002" y="4795"/>
                  </a:cubicBezTo>
                  <a:cubicBezTo>
                    <a:pt x="66284" y="5077"/>
                    <a:pt x="66284" y="5077"/>
                    <a:pt x="66566" y="5077"/>
                  </a:cubicBezTo>
                  <a:lnTo>
                    <a:pt x="67976" y="3949"/>
                  </a:lnTo>
                  <a:lnTo>
                    <a:pt x="67976" y="3667"/>
                  </a:lnTo>
                  <a:cubicBezTo>
                    <a:pt x="67976" y="3667"/>
                    <a:pt x="68259" y="3949"/>
                    <a:pt x="68259" y="4231"/>
                  </a:cubicBezTo>
                  <a:cubicBezTo>
                    <a:pt x="68259" y="5359"/>
                    <a:pt x="67695" y="5923"/>
                    <a:pt x="67130" y="7052"/>
                  </a:cubicBezTo>
                  <a:lnTo>
                    <a:pt x="64592" y="11847"/>
                  </a:lnTo>
                  <a:cubicBezTo>
                    <a:pt x="64309" y="12975"/>
                    <a:pt x="63745" y="13821"/>
                    <a:pt x="63464" y="14385"/>
                  </a:cubicBezTo>
                  <a:cubicBezTo>
                    <a:pt x="62899" y="15513"/>
                    <a:pt x="61771" y="16360"/>
                    <a:pt x="61489" y="18334"/>
                  </a:cubicBezTo>
                  <a:lnTo>
                    <a:pt x="61489" y="18616"/>
                  </a:lnTo>
                  <a:cubicBezTo>
                    <a:pt x="61489" y="18898"/>
                    <a:pt x="61207" y="19462"/>
                    <a:pt x="60925" y="20026"/>
                  </a:cubicBezTo>
                  <a:cubicBezTo>
                    <a:pt x="60361" y="20308"/>
                    <a:pt x="60079" y="21155"/>
                    <a:pt x="59797" y="22001"/>
                  </a:cubicBezTo>
                  <a:cubicBezTo>
                    <a:pt x="59797" y="22283"/>
                    <a:pt x="60079" y="22283"/>
                    <a:pt x="60079" y="22565"/>
                  </a:cubicBezTo>
                  <a:cubicBezTo>
                    <a:pt x="60079" y="22847"/>
                    <a:pt x="59797" y="23411"/>
                    <a:pt x="59233" y="23693"/>
                  </a:cubicBezTo>
                  <a:cubicBezTo>
                    <a:pt x="59233" y="23693"/>
                    <a:pt x="58951" y="24257"/>
                    <a:pt x="58951" y="24539"/>
                  </a:cubicBezTo>
                  <a:cubicBezTo>
                    <a:pt x="58951" y="25103"/>
                    <a:pt x="58668" y="25668"/>
                    <a:pt x="58668" y="26232"/>
                  </a:cubicBezTo>
                  <a:cubicBezTo>
                    <a:pt x="58387" y="26514"/>
                    <a:pt x="58104" y="26796"/>
                    <a:pt x="58104" y="27078"/>
                  </a:cubicBezTo>
                  <a:cubicBezTo>
                    <a:pt x="57823" y="28488"/>
                    <a:pt x="56694" y="29899"/>
                    <a:pt x="56694" y="30745"/>
                  </a:cubicBezTo>
                  <a:cubicBezTo>
                    <a:pt x="56694" y="31309"/>
                    <a:pt x="56412" y="31873"/>
                    <a:pt x="56130" y="32437"/>
                  </a:cubicBezTo>
                  <a:cubicBezTo>
                    <a:pt x="55284" y="34411"/>
                    <a:pt x="55002" y="36386"/>
                    <a:pt x="53592" y="38360"/>
                  </a:cubicBezTo>
                  <a:lnTo>
                    <a:pt x="53027" y="40053"/>
                  </a:lnTo>
                  <a:cubicBezTo>
                    <a:pt x="53027" y="40899"/>
                    <a:pt x="52463" y="41181"/>
                    <a:pt x="52181" y="41745"/>
                  </a:cubicBezTo>
                  <a:cubicBezTo>
                    <a:pt x="51899" y="42309"/>
                    <a:pt x="51617" y="42591"/>
                    <a:pt x="51617" y="42591"/>
                  </a:cubicBezTo>
                  <a:cubicBezTo>
                    <a:pt x="51335" y="42873"/>
                    <a:pt x="51053" y="43437"/>
                    <a:pt x="51053" y="44284"/>
                  </a:cubicBezTo>
                  <a:lnTo>
                    <a:pt x="51053" y="45694"/>
                  </a:lnTo>
                  <a:cubicBezTo>
                    <a:pt x="51053" y="46540"/>
                    <a:pt x="50771" y="47386"/>
                    <a:pt x="49925" y="47950"/>
                  </a:cubicBezTo>
                  <a:cubicBezTo>
                    <a:pt x="49642" y="48232"/>
                    <a:pt x="49361" y="48232"/>
                    <a:pt x="49361" y="48232"/>
                  </a:cubicBezTo>
                  <a:lnTo>
                    <a:pt x="48796" y="48232"/>
                  </a:lnTo>
                  <a:cubicBezTo>
                    <a:pt x="48796" y="48515"/>
                    <a:pt x="48796" y="48515"/>
                    <a:pt x="49078" y="48797"/>
                  </a:cubicBezTo>
                  <a:cubicBezTo>
                    <a:pt x="49361" y="49079"/>
                    <a:pt x="49361" y="49643"/>
                    <a:pt x="49361" y="50207"/>
                  </a:cubicBezTo>
                  <a:cubicBezTo>
                    <a:pt x="49361" y="50489"/>
                    <a:pt x="49078" y="50489"/>
                    <a:pt x="49078" y="50771"/>
                  </a:cubicBezTo>
                  <a:lnTo>
                    <a:pt x="49078" y="51899"/>
                  </a:lnTo>
                  <a:cubicBezTo>
                    <a:pt x="49078" y="52181"/>
                    <a:pt x="49078" y="52745"/>
                    <a:pt x="48514" y="52745"/>
                  </a:cubicBezTo>
                  <a:cubicBezTo>
                    <a:pt x="47950" y="53028"/>
                    <a:pt x="47668" y="54156"/>
                    <a:pt x="46540" y="55002"/>
                  </a:cubicBezTo>
                  <a:cubicBezTo>
                    <a:pt x="46258" y="55002"/>
                    <a:pt x="46258" y="55284"/>
                    <a:pt x="46258" y="55284"/>
                  </a:cubicBezTo>
                  <a:cubicBezTo>
                    <a:pt x="46258" y="55566"/>
                    <a:pt x="46540" y="55566"/>
                    <a:pt x="46540" y="55848"/>
                  </a:cubicBezTo>
                  <a:cubicBezTo>
                    <a:pt x="46540" y="56130"/>
                    <a:pt x="46822" y="56412"/>
                    <a:pt x="46822" y="56694"/>
                  </a:cubicBezTo>
                  <a:cubicBezTo>
                    <a:pt x="46822" y="56976"/>
                    <a:pt x="46540" y="56976"/>
                    <a:pt x="46540" y="56976"/>
                  </a:cubicBezTo>
                  <a:cubicBezTo>
                    <a:pt x="45411" y="58951"/>
                    <a:pt x="45130" y="60925"/>
                    <a:pt x="44565" y="62900"/>
                  </a:cubicBezTo>
                  <a:cubicBezTo>
                    <a:pt x="43720" y="65438"/>
                    <a:pt x="43155" y="67977"/>
                    <a:pt x="42591" y="70233"/>
                  </a:cubicBezTo>
                  <a:cubicBezTo>
                    <a:pt x="42027" y="71079"/>
                    <a:pt x="41745" y="72490"/>
                    <a:pt x="41463" y="73900"/>
                  </a:cubicBezTo>
                  <a:lnTo>
                    <a:pt x="41463" y="75310"/>
                  </a:lnTo>
                  <a:cubicBezTo>
                    <a:pt x="41463" y="75875"/>
                    <a:pt x="41463" y="76157"/>
                    <a:pt x="41181" y="76439"/>
                  </a:cubicBezTo>
                  <a:cubicBezTo>
                    <a:pt x="41181" y="77285"/>
                    <a:pt x="41181" y="78131"/>
                    <a:pt x="40899" y="78977"/>
                  </a:cubicBezTo>
                  <a:cubicBezTo>
                    <a:pt x="40899" y="79823"/>
                    <a:pt x="40617" y="80952"/>
                    <a:pt x="40617" y="82362"/>
                  </a:cubicBezTo>
                  <a:cubicBezTo>
                    <a:pt x="40617" y="82926"/>
                    <a:pt x="40334" y="83490"/>
                    <a:pt x="40053" y="83772"/>
                  </a:cubicBezTo>
                  <a:lnTo>
                    <a:pt x="40053" y="87157"/>
                  </a:lnTo>
                  <a:lnTo>
                    <a:pt x="40617" y="88849"/>
                  </a:lnTo>
                  <a:cubicBezTo>
                    <a:pt x="40617" y="89413"/>
                    <a:pt x="40899" y="89413"/>
                    <a:pt x="41181" y="89978"/>
                  </a:cubicBezTo>
                  <a:lnTo>
                    <a:pt x="42027" y="89978"/>
                  </a:lnTo>
                  <a:cubicBezTo>
                    <a:pt x="42591" y="89413"/>
                    <a:pt x="43155" y="88849"/>
                    <a:pt x="43437" y="88003"/>
                  </a:cubicBezTo>
                  <a:cubicBezTo>
                    <a:pt x="45130" y="86875"/>
                    <a:pt x="46540" y="85183"/>
                    <a:pt x="48232" y="84054"/>
                  </a:cubicBezTo>
                  <a:lnTo>
                    <a:pt x="48514" y="84054"/>
                  </a:lnTo>
                  <a:cubicBezTo>
                    <a:pt x="49361" y="82926"/>
                    <a:pt x="50771" y="82362"/>
                    <a:pt x="50771" y="81234"/>
                  </a:cubicBezTo>
                  <a:lnTo>
                    <a:pt x="51335" y="80105"/>
                  </a:lnTo>
                  <a:cubicBezTo>
                    <a:pt x="52181" y="79541"/>
                    <a:pt x="52745" y="79259"/>
                    <a:pt x="53027" y="78413"/>
                  </a:cubicBezTo>
                  <a:lnTo>
                    <a:pt x="53592" y="77849"/>
                  </a:lnTo>
                  <a:cubicBezTo>
                    <a:pt x="54720" y="76157"/>
                    <a:pt x="55848" y="75028"/>
                    <a:pt x="56694" y="73336"/>
                  </a:cubicBezTo>
                  <a:cubicBezTo>
                    <a:pt x="57540" y="72490"/>
                    <a:pt x="58104" y="71362"/>
                    <a:pt x="58668" y="70797"/>
                  </a:cubicBezTo>
                  <a:cubicBezTo>
                    <a:pt x="58951" y="70797"/>
                    <a:pt x="59515" y="70233"/>
                    <a:pt x="59797" y="70233"/>
                  </a:cubicBezTo>
                  <a:cubicBezTo>
                    <a:pt x="59797" y="69669"/>
                    <a:pt x="60079" y="69387"/>
                    <a:pt x="60361" y="69387"/>
                  </a:cubicBezTo>
                  <a:lnTo>
                    <a:pt x="60643" y="69387"/>
                  </a:lnTo>
                  <a:cubicBezTo>
                    <a:pt x="61489" y="69387"/>
                    <a:pt x="61489" y="68823"/>
                    <a:pt x="61771" y="67977"/>
                  </a:cubicBezTo>
                  <a:cubicBezTo>
                    <a:pt x="61771" y="67695"/>
                    <a:pt x="62054" y="66849"/>
                    <a:pt x="62335" y="66566"/>
                  </a:cubicBezTo>
                  <a:cubicBezTo>
                    <a:pt x="62899" y="65438"/>
                    <a:pt x="63745" y="63746"/>
                    <a:pt x="65156" y="62900"/>
                  </a:cubicBezTo>
                  <a:cubicBezTo>
                    <a:pt x="65720" y="61489"/>
                    <a:pt x="66284" y="60925"/>
                    <a:pt x="66848" y="60079"/>
                  </a:cubicBezTo>
                  <a:cubicBezTo>
                    <a:pt x="67695" y="59233"/>
                    <a:pt x="68823" y="58387"/>
                    <a:pt x="69105" y="56976"/>
                  </a:cubicBezTo>
                  <a:cubicBezTo>
                    <a:pt x="69387" y="55566"/>
                    <a:pt x="70797" y="55002"/>
                    <a:pt x="71079" y="53874"/>
                  </a:cubicBezTo>
                  <a:cubicBezTo>
                    <a:pt x="73336" y="52463"/>
                    <a:pt x="73900" y="50489"/>
                    <a:pt x="75028" y="48797"/>
                  </a:cubicBezTo>
                  <a:cubicBezTo>
                    <a:pt x="76157" y="47104"/>
                    <a:pt x="76721" y="45694"/>
                    <a:pt x="78413" y="44284"/>
                  </a:cubicBezTo>
                  <a:cubicBezTo>
                    <a:pt x="78695" y="44284"/>
                    <a:pt x="78695" y="44002"/>
                    <a:pt x="78695" y="43720"/>
                  </a:cubicBezTo>
                  <a:cubicBezTo>
                    <a:pt x="78695" y="42873"/>
                    <a:pt x="79541" y="42027"/>
                    <a:pt x="80669" y="41463"/>
                  </a:cubicBezTo>
                  <a:cubicBezTo>
                    <a:pt x="80952" y="41181"/>
                    <a:pt x="81233" y="40335"/>
                    <a:pt x="81233" y="39489"/>
                  </a:cubicBezTo>
                  <a:lnTo>
                    <a:pt x="83208" y="37514"/>
                  </a:lnTo>
                  <a:cubicBezTo>
                    <a:pt x="83772" y="37232"/>
                    <a:pt x="84054" y="36950"/>
                    <a:pt x="84336" y="36950"/>
                  </a:cubicBezTo>
                  <a:cubicBezTo>
                    <a:pt x="85464" y="34976"/>
                    <a:pt x="86874" y="33565"/>
                    <a:pt x="88003" y="31591"/>
                  </a:cubicBezTo>
                  <a:cubicBezTo>
                    <a:pt x="88849" y="31027"/>
                    <a:pt x="89413" y="30181"/>
                    <a:pt x="90260" y="28770"/>
                  </a:cubicBezTo>
                  <a:cubicBezTo>
                    <a:pt x="91105" y="27924"/>
                    <a:pt x="91670" y="26514"/>
                    <a:pt x="92798" y="25668"/>
                  </a:cubicBezTo>
                  <a:cubicBezTo>
                    <a:pt x="93080" y="24821"/>
                    <a:pt x="93362" y="24257"/>
                    <a:pt x="93926" y="23975"/>
                  </a:cubicBezTo>
                  <a:cubicBezTo>
                    <a:pt x="95901" y="22565"/>
                    <a:pt x="97311" y="20026"/>
                    <a:pt x="99286" y="18334"/>
                  </a:cubicBezTo>
                  <a:cubicBezTo>
                    <a:pt x="99567" y="17488"/>
                    <a:pt x="99850" y="16360"/>
                    <a:pt x="100696" y="15795"/>
                  </a:cubicBezTo>
                  <a:cubicBezTo>
                    <a:pt x="101260" y="15231"/>
                    <a:pt x="101542" y="14667"/>
                    <a:pt x="101542" y="13821"/>
                  </a:cubicBezTo>
                  <a:cubicBezTo>
                    <a:pt x="102388" y="12975"/>
                    <a:pt x="103234" y="11847"/>
                    <a:pt x="104363" y="11565"/>
                  </a:cubicBezTo>
                  <a:cubicBezTo>
                    <a:pt x="104363" y="11565"/>
                    <a:pt x="104644" y="11282"/>
                    <a:pt x="104927" y="11282"/>
                  </a:cubicBezTo>
                  <a:cubicBezTo>
                    <a:pt x="104927" y="10718"/>
                    <a:pt x="104927" y="10436"/>
                    <a:pt x="105208" y="10436"/>
                  </a:cubicBezTo>
                  <a:lnTo>
                    <a:pt x="106055" y="11282"/>
                  </a:lnTo>
                  <a:lnTo>
                    <a:pt x="106055" y="11565"/>
                  </a:lnTo>
                  <a:cubicBezTo>
                    <a:pt x="106055" y="11565"/>
                    <a:pt x="106337" y="11565"/>
                    <a:pt x="106337" y="11847"/>
                  </a:cubicBezTo>
                  <a:cubicBezTo>
                    <a:pt x="106337" y="11565"/>
                    <a:pt x="106619" y="11565"/>
                    <a:pt x="106619" y="11282"/>
                  </a:cubicBezTo>
                  <a:cubicBezTo>
                    <a:pt x="106619" y="11282"/>
                    <a:pt x="106901" y="11000"/>
                    <a:pt x="106901" y="10718"/>
                  </a:cubicBezTo>
                  <a:lnTo>
                    <a:pt x="106901" y="10436"/>
                  </a:lnTo>
                  <a:lnTo>
                    <a:pt x="108594" y="11565"/>
                  </a:lnTo>
                  <a:cubicBezTo>
                    <a:pt x="108875" y="12129"/>
                    <a:pt x="108875" y="12693"/>
                    <a:pt x="108875" y="13257"/>
                  </a:cubicBezTo>
                  <a:cubicBezTo>
                    <a:pt x="109158" y="13539"/>
                    <a:pt x="109158" y="13539"/>
                    <a:pt x="109439" y="13539"/>
                  </a:cubicBezTo>
                  <a:lnTo>
                    <a:pt x="109722" y="13539"/>
                  </a:lnTo>
                  <a:lnTo>
                    <a:pt x="110004" y="13821"/>
                  </a:lnTo>
                  <a:cubicBezTo>
                    <a:pt x="110004" y="14103"/>
                    <a:pt x="110004" y="14103"/>
                    <a:pt x="110286" y="14103"/>
                  </a:cubicBezTo>
                  <a:lnTo>
                    <a:pt x="111414" y="14103"/>
                  </a:lnTo>
                  <a:cubicBezTo>
                    <a:pt x="111696" y="14103"/>
                    <a:pt x="112542" y="14385"/>
                    <a:pt x="112825" y="14667"/>
                  </a:cubicBezTo>
                  <a:lnTo>
                    <a:pt x="113106" y="14667"/>
                  </a:lnTo>
                  <a:lnTo>
                    <a:pt x="113106" y="14103"/>
                  </a:lnTo>
                  <a:cubicBezTo>
                    <a:pt x="113106" y="13821"/>
                    <a:pt x="113389" y="13821"/>
                    <a:pt x="113670" y="13821"/>
                  </a:cubicBezTo>
                  <a:cubicBezTo>
                    <a:pt x="114235" y="13821"/>
                    <a:pt x="114517" y="13539"/>
                    <a:pt x="114799" y="13539"/>
                  </a:cubicBezTo>
                  <a:cubicBezTo>
                    <a:pt x="115363" y="13539"/>
                    <a:pt x="115363" y="13821"/>
                    <a:pt x="115645" y="14667"/>
                  </a:cubicBezTo>
                  <a:lnTo>
                    <a:pt x="115645" y="15231"/>
                  </a:lnTo>
                  <a:cubicBezTo>
                    <a:pt x="115645" y="15513"/>
                    <a:pt x="115645" y="15513"/>
                    <a:pt x="115927" y="15513"/>
                  </a:cubicBezTo>
                  <a:cubicBezTo>
                    <a:pt x="116209" y="15513"/>
                    <a:pt x="116209" y="15513"/>
                    <a:pt x="116491" y="15231"/>
                  </a:cubicBezTo>
                  <a:lnTo>
                    <a:pt x="117337" y="15231"/>
                  </a:lnTo>
                  <a:lnTo>
                    <a:pt x="117620" y="15513"/>
                  </a:lnTo>
                  <a:cubicBezTo>
                    <a:pt x="117901" y="15513"/>
                    <a:pt x="117901" y="15231"/>
                    <a:pt x="118183" y="14949"/>
                  </a:cubicBezTo>
                  <a:lnTo>
                    <a:pt x="118183" y="14385"/>
                  </a:lnTo>
                  <a:cubicBezTo>
                    <a:pt x="118183" y="14385"/>
                    <a:pt x="118183" y="14103"/>
                    <a:pt x="118466" y="14103"/>
                  </a:cubicBezTo>
                  <a:cubicBezTo>
                    <a:pt x="118747" y="14103"/>
                    <a:pt x="118747" y="14103"/>
                    <a:pt x="118747" y="14385"/>
                  </a:cubicBezTo>
                  <a:cubicBezTo>
                    <a:pt x="119311" y="15231"/>
                    <a:pt x="119876" y="16078"/>
                    <a:pt x="120722" y="16642"/>
                  </a:cubicBezTo>
                  <a:lnTo>
                    <a:pt x="121004" y="16924"/>
                  </a:lnTo>
                  <a:cubicBezTo>
                    <a:pt x="121004" y="17770"/>
                    <a:pt x="121286" y="18334"/>
                    <a:pt x="121286" y="19462"/>
                  </a:cubicBezTo>
                  <a:cubicBezTo>
                    <a:pt x="121286" y="20026"/>
                    <a:pt x="121286" y="20590"/>
                    <a:pt x="121004" y="21155"/>
                  </a:cubicBezTo>
                  <a:cubicBezTo>
                    <a:pt x="121004" y="22001"/>
                    <a:pt x="121004" y="22847"/>
                    <a:pt x="120722" y="23693"/>
                  </a:cubicBezTo>
                  <a:lnTo>
                    <a:pt x="120722" y="26796"/>
                  </a:lnTo>
                  <a:cubicBezTo>
                    <a:pt x="120722" y="27642"/>
                    <a:pt x="120722" y="27642"/>
                    <a:pt x="120158" y="27642"/>
                  </a:cubicBezTo>
                  <a:lnTo>
                    <a:pt x="119594" y="27642"/>
                  </a:lnTo>
                  <a:cubicBezTo>
                    <a:pt x="119311" y="27642"/>
                    <a:pt x="119311" y="27642"/>
                    <a:pt x="119311" y="27924"/>
                  </a:cubicBezTo>
                  <a:cubicBezTo>
                    <a:pt x="119594" y="29052"/>
                    <a:pt x="119594" y="30181"/>
                    <a:pt x="119594" y="31027"/>
                  </a:cubicBezTo>
                  <a:lnTo>
                    <a:pt x="119594" y="32155"/>
                  </a:lnTo>
                  <a:cubicBezTo>
                    <a:pt x="119594" y="32437"/>
                    <a:pt x="119594" y="32719"/>
                    <a:pt x="119876" y="33001"/>
                  </a:cubicBezTo>
                  <a:cubicBezTo>
                    <a:pt x="119876" y="32719"/>
                    <a:pt x="120440" y="32437"/>
                    <a:pt x="120440" y="32437"/>
                  </a:cubicBezTo>
                  <a:lnTo>
                    <a:pt x="120722" y="32155"/>
                  </a:lnTo>
                  <a:cubicBezTo>
                    <a:pt x="120722" y="32437"/>
                    <a:pt x="121286" y="32719"/>
                    <a:pt x="121286" y="33283"/>
                  </a:cubicBezTo>
                  <a:cubicBezTo>
                    <a:pt x="120722" y="34129"/>
                    <a:pt x="120722" y="34694"/>
                    <a:pt x="120722" y="35258"/>
                  </a:cubicBezTo>
                  <a:lnTo>
                    <a:pt x="120722" y="37514"/>
                  </a:lnTo>
                  <a:cubicBezTo>
                    <a:pt x="120722" y="38360"/>
                    <a:pt x="120440" y="38924"/>
                    <a:pt x="120440" y="39489"/>
                  </a:cubicBezTo>
                  <a:lnTo>
                    <a:pt x="120440" y="40053"/>
                  </a:lnTo>
                  <a:lnTo>
                    <a:pt x="121004" y="42309"/>
                  </a:lnTo>
                  <a:cubicBezTo>
                    <a:pt x="121004" y="42309"/>
                    <a:pt x="121004" y="42873"/>
                    <a:pt x="120722" y="43155"/>
                  </a:cubicBezTo>
                  <a:cubicBezTo>
                    <a:pt x="121004" y="43720"/>
                    <a:pt x="121004" y="44284"/>
                    <a:pt x="121004" y="44848"/>
                  </a:cubicBezTo>
                  <a:lnTo>
                    <a:pt x="121004" y="46540"/>
                  </a:lnTo>
                  <a:cubicBezTo>
                    <a:pt x="121568" y="47386"/>
                    <a:pt x="121568" y="47950"/>
                    <a:pt x="121568" y="48797"/>
                  </a:cubicBezTo>
                  <a:lnTo>
                    <a:pt x="121568" y="53592"/>
                  </a:lnTo>
                  <a:cubicBezTo>
                    <a:pt x="121286" y="54156"/>
                    <a:pt x="121286" y="54720"/>
                    <a:pt x="121286" y="55002"/>
                  </a:cubicBezTo>
                  <a:cubicBezTo>
                    <a:pt x="121286" y="55566"/>
                    <a:pt x="121286" y="55848"/>
                    <a:pt x="121568" y="56412"/>
                  </a:cubicBezTo>
                  <a:lnTo>
                    <a:pt x="121850" y="56694"/>
                  </a:lnTo>
                  <a:cubicBezTo>
                    <a:pt x="121850" y="56976"/>
                    <a:pt x="121568" y="56976"/>
                    <a:pt x="121568" y="56976"/>
                  </a:cubicBezTo>
                  <a:cubicBezTo>
                    <a:pt x="121568" y="57823"/>
                    <a:pt x="121850" y="58387"/>
                    <a:pt x="121850" y="59233"/>
                  </a:cubicBezTo>
                  <a:cubicBezTo>
                    <a:pt x="122132" y="59515"/>
                    <a:pt x="122132" y="59797"/>
                    <a:pt x="122132" y="60361"/>
                  </a:cubicBezTo>
                  <a:cubicBezTo>
                    <a:pt x="122132" y="60925"/>
                    <a:pt x="122132" y="61489"/>
                    <a:pt x="121850" y="62054"/>
                  </a:cubicBezTo>
                  <a:cubicBezTo>
                    <a:pt x="122132" y="62618"/>
                    <a:pt x="122132" y="62618"/>
                    <a:pt x="122132" y="63464"/>
                  </a:cubicBezTo>
                  <a:cubicBezTo>
                    <a:pt x="122132" y="63746"/>
                    <a:pt x="122132" y="64310"/>
                    <a:pt x="121850" y="64592"/>
                  </a:cubicBezTo>
                  <a:lnTo>
                    <a:pt x="121850" y="66002"/>
                  </a:lnTo>
                  <a:cubicBezTo>
                    <a:pt x="121850" y="67131"/>
                    <a:pt x="122132" y="67977"/>
                    <a:pt x="122414" y="68823"/>
                  </a:cubicBezTo>
                  <a:cubicBezTo>
                    <a:pt x="122697" y="69387"/>
                    <a:pt x="122978" y="69669"/>
                    <a:pt x="122978" y="69951"/>
                  </a:cubicBezTo>
                  <a:cubicBezTo>
                    <a:pt x="122978" y="70233"/>
                    <a:pt x="122697" y="70797"/>
                    <a:pt x="122697" y="71362"/>
                  </a:cubicBezTo>
                  <a:cubicBezTo>
                    <a:pt x="122414" y="71926"/>
                    <a:pt x="122414" y="72490"/>
                    <a:pt x="122414" y="73054"/>
                  </a:cubicBezTo>
                  <a:cubicBezTo>
                    <a:pt x="122414" y="73618"/>
                    <a:pt x="122414" y="74182"/>
                    <a:pt x="122132" y="74746"/>
                  </a:cubicBezTo>
                  <a:cubicBezTo>
                    <a:pt x="122132" y="75592"/>
                    <a:pt x="122697" y="76721"/>
                    <a:pt x="123542" y="77003"/>
                  </a:cubicBezTo>
                  <a:lnTo>
                    <a:pt x="124953" y="77003"/>
                  </a:lnTo>
                  <a:cubicBezTo>
                    <a:pt x="125235" y="77003"/>
                    <a:pt x="125235" y="77285"/>
                    <a:pt x="125235" y="77849"/>
                  </a:cubicBezTo>
                  <a:cubicBezTo>
                    <a:pt x="125235" y="78131"/>
                    <a:pt x="125235" y="78413"/>
                    <a:pt x="124953" y="78413"/>
                  </a:cubicBezTo>
                  <a:cubicBezTo>
                    <a:pt x="124953" y="78413"/>
                    <a:pt x="124671" y="78131"/>
                    <a:pt x="124389" y="78131"/>
                  </a:cubicBezTo>
                  <a:lnTo>
                    <a:pt x="124107" y="77849"/>
                  </a:lnTo>
                  <a:lnTo>
                    <a:pt x="124107" y="78131"/>
                  </a:lnTo>
                  <a:cubicBezTo>
                    <a:pt x="123825" y="78695"/>
                    <a:pt x="123542" y="79259"/>
                    <a:pt x="123542" y="79823"/>
                  </a:cubicBezTo>
                  <a:cubicBezTo>
                    <a:pt x="123542" y="80105"/>
                    <a:pt x="123825" y="80670"/>
                    <a:pt x="123825" y="80952"/>
                  </a:cubicBezTo>
                  <a:lnTo>
                    <a:pt x="124389" y="81516"/>
                  </a:lnTo>
                  <a:cubicBezTo>
                    <a:pt x="124671" y="81516"/>
                    <a:pt x="124953" y="81234"/>
                    <a:pt x="125235" y="81234"/>
                  </a:cubicBezTo>
                  <a:cubicBezTo>
                    <a:pt x="125517" y="81234"/>
                    <a:pt x="125799" y="80952"/>
                    <a:pt x="126081" y="80952"/>
                  </a:cubicBezTo>
                  <a:cubicBezTo>
                    <a:pt x="126363" y="80952"/>
                    <a:pt x="126363" y="81234"/>
                    <a:pt x="126363" y="81234"/>
                  </a:cubicBezTo>
                  <a:cubicBezTo>
                    <a:pt x="126363" y="81798"/>
                    <a:pt x="126081" y="81798"/>
                    <a:pt x="125517" y="82080"/>
                  </a:cubicBezTo>
                  <a:cubicBezTo>
                    <a:pt x="124953" y="82644"/>
                    <a:pt x="124389" y="83772"/>
                    <a:pt x="123825" y="83772"/>
                  </a:cubicBezTo>
                  <a:cubicBezTo>
                    <a:pt x="123825" y="84054"/>
                    <a:pt x="123542" y="84054"/>
                    <a:pt x="123542" y="84336"/>
                  </a:cubicBezTo>
                  <a:cubicBezTo>
                    <a:pt x="123261" y="84900"/>
                    <a:pt x="122978" y="85465"/>
                    <a:pt x="122978" y="86029"/>
                  </a:cubicBezTo>
                  <a:lnTo>
                    <a:pt x="122978" y="86311"/>
                  </a:lnTo>
                  <a:cubicBezTo>
                    <a:pt x="123261" y="87157"/>
                    <a:pt x="123261" y="87721"/>
                    <a:pt x="123261" y="88567"/>
                  </a:cubicBezTo>
                  <a:cubicBezTo>
                    <a:pt x="122978" y="88849"/>
                    <a:pt x="122697" y="89131"/>
                    <a:pt x="122697" y="89413"/>
                  </a:cubicBezTo>
                  <a:lnTo>
                    <a:pt x="121568" y="92798"/>
                  </a:lnTo>
                  <a:lnTo>
                    <a:pt x="121004" y="92798"/>
                  </a:lnTo>
                  <a:lnTo>
                    <a:pt x="121004" y="92516"/>
                  </a:lnTo>
                  <a:cubicBezTo>
                    <a:pt x="120158" y="93080"/>
                    <a:pt x="119594" y="93080"/>
                    <a:pt x="119030" y="94491"/>
                  </a:cubicBezTo>
                  <a:cubicBezTo>
                    <a:pt x="119311" y="94491"/>
                    <a:pt x="119594" y="94209"/>
                    <a:pt x="119594" y="94209"/>
                  </a:cubicBezTo>
                  <a:lnTo>
                    <a:pt x="119594" y="95619"/>
                  </a:lnTo>
                  <a:cubicBezTo>
                    <a:pt x="119594" y="95619"/>
                    <a:pt x="119311" y="95619"/>
                    <a:pt x="119311" y="95337"/>
                  </a:cubicBezTo>
                  <a:cubicBezTo>
                    <a:pt x="119030" y="95055"/>
                    <a:pt x="119030" y="94773"/>
                    <a:pt x="119030" y="94491"/>
                  </a:cubicBezTo>
                  <a:cubicBezTo>
                    <a:pt x="118183" y="94209"/>
                    <a:pt x="118183" y="93926"/>
                    <a:pt x="118183" y="93080"/>
                  </a:cubicBezTo>
                  <a:lnTo>
                    <a:pt x="118747" y="93080"/>
                  </a:lnTo>
                  <a:lnTo>
                    <a:pt x="118747" y="92798"/>
                  </a:lnTo>
                  <a:close/>
                  <a:moveTo>
                    <a:pt x="3385" y="221136"/>
                  </a:moveTo>
                  <a:lnTo>
                    <a:pt x="3385" y="220854"/>
                  </a:lnTo>
                  <a:cubicBezTo>
                    <a:pt x="3385" y="221136"/>
                    <a:pt x="3102" y="221136"/>
                    <a:pt x="3102" y="221136"/>
                  </a:cubicBezTo>
                  <a:lnTo>
                    <a:pt x="3102" y="221700"/>
                  </a:lnTo>
                  <a:cubicBezTo>
                    <a:pt x="3102" y="222264"/>
                    <a:pt x="3102" y="222828"/>
                    <a:pt x="2821" y="223111"/>
                  </a:cubicBezTo>
                  <a:lnTo>
                    <a:pt x="3102" y="223393"/>
                  </a:lnTo>
                  <a:cubicBezTo>
                    <a:pt x="3385" y="223393"/>
                    <a:pt x="3666" y="223111"/>
                    <a:pt x="3666" y="223111"/>
                  </a:cubicBezTo>
                  <a:lnTo>
                    <a:pt x="3666" y="222264"/>
                  </a:lnTo>
                  <a:cubicBezTo>
                    <a:pt x="3666" y="221700"/>
                    <a:pt x="3666" y="221418"/>
                    <a:pt x="3385" y="221136"/>
                  </a:cubicBezTo>
                  <a:close/>
                  <a:moveTo>
                    <a:pt x="3385" y="226495"/>
                  </a:moveTo>
                  <a:cubicBezTo>
                    <a:pt x="3385" y="226213"/>
                    <a:pt x="3102" y="226213"/>
                    <a:pt x="3102" y="226213"/>
                  </a:cubicBezTo>
                  <a:lnTo>
                    <a:pt x="2821" y="226495"/>
                  </a:lnTo>
                  <a:lnTo>
                    <a:pt x="2821" y="227059"/>
                  </a:lnTo>
                  <a:lnTo>
                    <a:pt x="3102" y="227341"/>
                  </a:lnTo>
                  <a:cubicBezTo>
                    <a:pt x="3102" y="227059"/>
                    <a:pt x="3385" y="227059"/>
                    <a:pt x="3385" y="227059"/>
                  </a:cubicBezTo>
                  <a:lnTo>
                    <a:pt x="3385" y="226495"/>
                  </a:lnTo>
                  <a:close/>
                  <a:moveTo>
                    <a:pt x="4231" y="214931"/>
                  </a:moveTo>
                  <a:cubicBezTo>
                    <a:pt x="4231" y="214649"/>
                    <a:pt x="4513" y="214367"/>
                    <a:pt x="4513" y="214367"/>
                  </a:cubicBezTo>
                  <a:cubicBezTo>
                    <a:pt x="4513" y="213803"/>
                    <a:pt x="4513" y="213238"/>
                    <a:pt x="4795" y="212674"/>
                  </a:cubicBezTo>
                  <a:cubicBezTo>
                    <a:pt x="4795" y="212110"/>
                    <a:pt x="4795" y="211264"/>
                    <a:pt x="5077" y="210700"/>
                  </a:cubicBezTo>
                  <a:lnTo>
                    <a:pt x="4513" y="210700"/>
                  </a:lnTo>
                  <a:cubicBezTo>
                    <a:pt x="4231" y="211264"/>
                    <a:pt x="4231" y="212110"/>
                    <a:pt x="3949" y="212392"/>
                  </a:cubicBezTo>
                  <a:cubicBezTo>
                    <a:pt x="3666" y="212956"/>
                    <a:pt x="3666" y="213520"/>
                    <a:pt x="3666" y="213803"/>
                  </a:cubicBezTo>
                  <a:cubicBezTo>
                    <a:pt x="3666" y="214085"/>
                    <a:pt x="3666" y="214367"/>
                    <a:pt x="3949" y="214649"/>
                  </a:cubicBezTo>
                  <a:cubicBezTo>
                    <a:pt x="3949" y="214649"/>
                    <a:pt x="4231" y="214649"/>
                    <a:pt x="4231" y="214931"/>
                  </a:cubicBezTo>
                  <a:close/>
                  <a:moveTo>
                    <a:pt x="5077" y="209290"/>
                  </a:moveTo>
                  <a:cubicBezTo>
                    <a:pt x="4795" y="209290"/>
                    <a:pt x="4795" y="209290"/>
                    <a:pt x="4795" y="209572"/>
                  </a:cubicBezTo>
                  <a:lnTo>
                    <a:pt x="5077" y="209290"/>
                  </a:lnTo>
                  <a:close/>
                  <a:moveTo>
                    <a:pt x="6487" y="232983"/>
                  </a:moveTo>
                  <a:cubicBezTo>
                    <a:pt x="6205" y="232701"/>
                    <a:pt x="5923" y="232137"/>
                    <a:pt x="5359" y="232137"/>
                  </a:cubicBezTo>
                  <a:cubicBezTo>
                    <a:pt x="5359" y="232419"/>
                    <a:pt x="5641" y="232701"/>
                    <a:pt x="5641" y="233265"/>
                  </a:cubicBezTo>
                  <a:lnTo>
                    <a:pt x="6205" y="233265"/>
                  </a:lnTo>
                  <a:cubicBezTo>
                    <a:pt x="6487" y="233265"/>
                    <a:pt x="6487" y="233265"/>
                    <a:pt x="6487" y="232983"/>
                  </a:cubicBezTo>
                  <a:close/>
                  <a:moveTo>
                    <a:pt x="6487" y="215495"/>
                  </a:moveTo>
                  <a:lnTo>
                    <a:pt x="6487" y="216341"/>
                  </a:lnTo>
                  <a:cubicBezTo>
                    <a:pt x="6487" y="216623"/>
                    <a:pt x="6205" y="216623"/>
                    <a:pt x="6205" y="216623"/>
                  </a:cubicBezTo>
                  <a:cubicBezTo>
                    <a:pt x="5923" y="216623"/>
                    <a:pt x="5641" y="216341"/>
                    <a:pt x="5641" y="216341"/>
                  </a:cubicBezTo>
                  <a:lnTo>
                    <a:pt x="6205" y="215495"/>
                  </a:lnTo>
                  <a:lnTo>
                    <a:pt x="6487" y="215495"/>
                  </a:lnTo>
                  <a:close/>
                  <a:moveTo>
                    <a:pt x="8743" y="192366"/>
                  </a:moveTo>
                  <a:lnTo>
                    <a:pt x="8743" y="192648"/>
                  </a:lnTo>
                  <a:lnTo>
                    <a:pt x="9026" y="192648"/>
                  </a:lnTo>
                  <a:cubicBezTo>
                    <a:pt x="8462" y="192930"/>
                    <a:pt x="8462" y="193212"/>
                    <a:pt x="8462" y="193494"/>
                  </a:cubicBezTo>
                  <a:lnTo>
                    <a:pt x="8180" y="193494"/>
                  </a:lnTo>
                  <a:cubicBezTo>
                    <a:pt x="8180" y="192930"/>
                    <a:pt x="8462" y="192648"/>
                    <a:pt x="8743" y="192366"/>
                  </a:cubicBezTo>
                  <a:close/>
                  <a:moveTo>
                    <a:pt x="8743" y="230444"/>
                  </a:moveTo>
                  <a:cubicBezTo>
                    <a:pt x="8743" y="231008"/>
                    <a:pt x="9026" y="231290"/>
                    <a:pt x="9307" y="231854"/>
                  </a:cubicBezTo>
                  <a:cubicBezTo>
                    <a:pt x="9307" y="232137"/>
                    <a:pt x="9590" y="232137"/>
                    <a:pt x="9590" y="232137"/>
                  </a:cubicBezTo>
                  <a:cubicBezTo>
                    <a:pt x="9590" y="232419"/>
                    <a:pt x="9026" y="232983"/>
                    <a:pt x="9026" y="233265"/>
                  </a:cubicBezTo>
                  <a:lnTo>
                    <a:pt x="8743" y="233265"/>
                  </a:lnTo>
                  <a:cubicBezTo>
                    <a:pt x="8462" y="233265"/>
                    <a:pt x="8462" y="232983"/>
                    <a:pt x="8462" y="232983"/>
                  </a:cubicBezTo>
                  <a:lnTo>
                    <a:pt x="8462" y="228188"/>
                  </a:lnTo>
                  <a:lnTo>
                    <a:pt x="8743" y="228470"/>
                  </a:lnTo>
                  <a:cubicBezTo>
                    <a:pt x="8743" y="228752"/>
                    <a:pt x="8743" y="228752"/>
                    <a:pt x="9026" y="229034"/>
                  </a:cubicBezTo>
                  <a:lnTo>
                    <a:pt x="9026" y="229316"/>
                  </a:lnTo>
                  <a:cubicBezTo>
                    <a:pt x="9026" y="229598"/>
                    <a:pt x="8743" y="230162"/>
                    <a:pt x="8743" y="230444"/>
                  </a:cubicBezTo>
                  <a:close/>
                  <a:moveTo>
                    <a:pt x="9307" y="210982"/>
                  </a:moveTo>
                  <a:lnTo>
                    <a:pt x="9307" y="212110"/>
                  </a:lnTo>
                  <a:lnTo>
                    <a:pt x="8743" y="212110"/>
                  </a:lnTo>
                  <a:lnTo>
                    <a:pt x="8743" y="211546"/>
                  </a:lnTo>
                  <a:cubicBezTo>
                    <a:pt x="8743" y="211264"/>
                    <a:pt x="9026" y="211264"/>
                    <a:pt x="9307" y="210982"/>
                  </a:cubicBezTo>
                  <a:close/>
                  <a:moveTo>
                    <a:pt x="11846" y="210418"/>
                  </a:moveTo>
                  <a:lnTo>
                    <a:pt x="11846" y="210982"/>
                  </a:lnTo>
                  <a:cubicBezTo>
                    <a:pt x="11846" y="211828"/>
                    <a:pt x="11846" y="212110"/>
                    <a:pt x="11564" y="212674"/>
                  </a:cubicBezTo>
                  <a:cubicBezTo>
                    <a:pt x="11282" y="212956"/>
                    <a:pt x="11282" y="213238"/>
                    <a:pt x="11282" y="213520"/>
                  </a:cubicBezTo>
                  <a:cubicBezTo>
                    <a:pt x="11282" y="213803"/>
                    <a:pt x="11282" y="214085"/>
                    <a:pt x="11564" y="214367"/>
                  </a:cubicBezTo>
                  <a:cubicBezTo>
                    <a:pt x="11564" y="215213"/>
                    <a:pt x="11282" y="215495"/>
                    <a:pt x="10718" y="216059"/>
                  </a:cubicBezTo>
                  <a:cubicBezTo>
                    <a:pt x="10718" y="216341"/>
                    <a:pt x="10718" y="216341"/>
                    <a:pt x="10436" y="216341"/>
                  </a:cubicBezTo>
                  <a:cubicBezTo>
                    <a:pt x="10436" y="216341"/>
                    <a:pt x="10154" y="215777"/>
                    <a:pt x="10154" y="215495"/>
                  </a:cubicBezTo>
                  <a:lnTo>
                    <a:pt x="10154" y="215213"/>
                  </a:lnTo>
                  <a:cubicBezTo>
                    <a:pt x="10436" y="215213"/>
                    <a:pt x="10436" y="214931"/>
                    <a:pt x="10436" y="214649"/>
                  </a:cubicBezTo>
                  <a:cubicBezTo>
                    <a:pt x="10436" y="214367"/>
                    <a:pt x="10154" y="213803"/>
                    <a:pt x="9872" y="213238"/>
                  </a:cubicBezTo>
                  <a:cubicBezTo>
                    <a:pt x="9872" y="212674"/>
                    <a:pt x="9872" y="212110"/>
                    <a:pt x="10436" y="212110"/>
                  </a:cubicBezTo>
                  <a:cubicBezTo>
                    <a:pt x="11282" y="211264"/>
                    <a:pt x="11564" y="210982"/>
                    <a:pt x="11846" y="210418"/>
                  </a:cubicBezTo>
                  <a:close/>
                  <a:moveTo>
                    <a:pt x="10718" y="228470"/>
                  </a:moveTo>
                  <a:cubicBezTo>
                    <a:pt x="10718" y="228188"/>
                    <a:pt x="11000" y="227624"/>
                    <a:pt x="11564" y="227059"/>
                  </a:cubicBezTo>
                  <a:cubicBezTo>
                    <a:pt x="11282" y="227624"/>
                    <a:pt x="11282" y="227906"/>
                    <a:pt x="11282" y="228188"/>
                  </a:cubicBezTo>
                  <a:cubicBezTo>
                    <a:pt x="11282" y="228470"/>
                    <a:pt x="11282" y="228752"/>
                    <a:pt x="11564" y="229034"/>
                  </a:cubicBezTo>
                  <a:lnTo>
                    <a:pt x="11564" y="229316"/>
                  </a:lnTo>
                  <a:cubicBezTo>
                    <a:pt x="11000" y="229034"/>
                    <a:pt x="10718" y="228752"/>
                    <a:pt x="10718" y="228470"/>
                  </a:cubicBezTo>
                  <a:close/>
                  <a:moveTo>
                    <a:pt x="11846" y="209854"/>
                  </a:moveTo>
                  <a:lnTo>
                    <a:pt x="11846" y="208725"/>
                  </a:lnTo>
                  <a:lnTo>
                    <a:pt x="12128" y="208725"/>
                  </a:lnTo>
                  <a:lnTo>
                    <a:pt x="12410" y="209007"/>
                  </a:lnTo>
                  <a:lnTo>
                    <a:pt x="11846" y="209854"/>
                  </a:lnTo>
                  <a:close/>
                  <a:moveTo>
                    <a:pt x="14385" y="210418"/>
                  </a:moveTo>
                  <a:lnTo>
                    <a:pt x="14385" y="210982"/>
                  </a:lnTo>
                  <a:cubicBezTo>
                    <a:pt x="14385" y="212392"/>
                    <a:pt x="14103" y="213520"/>
                    <a:pt x="14103" y="214649"/>
                  </a:cubicBezTo>
                  <a:cubicBezTo>
                    <a:pt x="14103" y="215213"/>
                    <a:pt x="13821" y="215777"/>
                    <a:pt x="13257" y="216059"/>
                  </a:cubicBezTo>
                  <a:lnTo>
                    <a:pt x="12974" y="216059"/>
                  </a:lnTo>
                  <a:cubicBezTo>
                    <a:pt x="12410" y="215777"/>
                    <a:pt x="12128" y="215495"/>
                    <a:pt x="12128" y="215213"/>
                  </a:cubicBezTo>
                  <a:cubicBezTo>
                    <a:pt x="12128" y="214931"/>
                    <a:pt x="12410" y="214931"/>
                    <a:pt x="12410" y="214649"/>
                  </a:cubicBezTo>
                  <a:cubicBezTo>
                    <a:pt x="12974" y="214085"/>
                    <a:pt x="12974" y="213803"/>
                    <a:pt x="12974" y="213238"/>
                  </a:cubicBezTo>
                  <a:cubicBezTo>
                    <a:pt x="13538" y="212110"/>
                    <a:pt x="13821" y="210982"/>
                    <a:pt x="14385" y="210418"/>
                  </a:cubicBezTo>
                  <a:close/>
                  <a:moveTo>
                    <a:pt x="12410" y="206751"/>
                  </a:moveTo>
                  <a:cubicBezTo>
                    <a:pt x="12410" y="206469"/>
                    <a:pt x="12410" y="205905"/>
                    <a:pt x="13257" y="205905"/>
                  </a:cubicBezTo>
                  <a:lnTo>
                    <a:pt x="13538" y="205905"/>
                  </a:lnTo>
                  <a:lnTo>
                    <a:pt x="13538" y="206187"/>
                  </a:lnTo>
                  <a:cubicBezTo>
                    <a:pt x="13538" y="206751"/>
                    <a:pt x="12974" y="206751"/>
                    <a:pt x="12693" y="207033"/>
                  </a:cubicBezTo>
                  <a:lnTo>
                    <a:pt x="12410" y="206751"/>
                  </a:lnTo>
                  <a:close/>
                  <a:moveTo>
                    <a:pt x="16359" y="204212"/>
                  </a:moveTo>
                  <a:cubicBezTo>
                    <a:pt x="16359" y="204494"/>
                    <a:pt x="16641" y="204494"/>
                    <a:pt x="16641" y="204777"/>
                  </a:cubicBezTo>
                  <a:lnTo>
                    <a:pt x="16077" y="207597"/>
                  </a:lnTo>
                  <a:cubicBezTo>
                    <a:pt x="15795" y="207879"/>
                    <a:pt x="15231" y="208161"/>
                    <a:pt x="15231" y="207879"/>
                  </a:cubicBezTo>
                  <a:cubicBezTo>
                    <a:pt x="14949" y="207879"/>
                    <a:pt x="14949" y="207597"/>
                    <a:pt x="14949" y="207315"/>
                  </a:cubicBezTo>
                  <a:cubicBezTo>
                    <a:pt x="14949" y="207315"/>
                    <a:pt x="15231" y="207033"/>
                    <a:pt x="15231" y="206751"/>
                  </a:cubicBezTo>
                  <a:lnTo>
                    <a:pt x="15231" y="206469"/>
                  </a:lnTo>
                  <a:cubicBezTo>
                    <a:pt x="15231" y="206187"/>
                    <a:pt x="15513" y="205623"/>
                    <a:pt x="15513" y="205341"/>
                  </a:cubicBezTo>
                  <a:cubicBezTo>
                    <a:pt x="15513" y="205059"/>
                    <a:pt x="15231" y="204777"/>
                    <a:pt x="14949" y="204494"/>
                  </a:cubicBezTo>
                  <a:lnTo>
                    <a:pt x="14949" y="203930"/>
                  </a:lnTo>
                  <a:cubicBezTo>
                    <a:pt x="14949" y="203648"/>
                    <a:pt x="15231" y="203366"/>
                    <a:pt x="15513" y="203366"/>
                  </a:cubicBezTo>
                  <a:cubicBezTo>
                    <a:pt x="15795" y="203084"/>
                    <a:pt x="15795" y="203084"/>
                    <a:pt x="15795" y="202802"/>
                  </a:cubicBezTo>
                  <a:cubicBezTo>
                    <a:pt x="15795" y="202520"/>
                    <a:pt x="15513" y="202238"/>
                    <a:pt x="15231" y="201956"/>
                  </a:cubicBezTo>
                  <a:cubicBezTo>
                    <a:pt x="14949" y="201674"/>
                    <a:pt x="14667" y="201674"/>
                    <a:pt x="14667" y="201392"/>
                  </a:cubicBezTo>
                  <a:lnTo>
                    <a:pt x="15231" y="200828"/>
                  </a:lnTo>
                  <a:lnTo>
                    <a:pt x="15795" y="200828"/>
                  </a:lnTo>
                  <a:cubicBezTo>
                    <a:pt x="16359" y="199417"/>
                    <a:pt x="17205" y="198571"/>
                    <a:pt x="17205" y="196879"/>
                  </a:cubicBezTo>
                  <a:cubicBezTo>
                    <a:pt x="17488" y="195751"/>
                    <a:pt x="17769" y="195186"/>
                    <a:pt x="18616" y="194904"/>
                  </a:cubicBezTo>
                  <a:lnTo>
                    <a:pt x="18898" y="194904"/>
                  </a:lnTo>
                  <a:cubicBezTo>
                    <a:pt x="18898" y="195186"/>
                    <a:pt x="18898" y="195186"/>
                    <a:pt x="19180" y="195469"/>
                  </a:cubicBezTo>
                  <a:lnTo>
                    <a:pt x="18334" y="197725"/>
                  </a:lnTo>
                  <a:cubicBezTo>
                    <a:pt x="17769" y="198289"/>
                    <a:pt x="17769" y="199135"/>
                    <a:pt x="17488" y="199982"/>
                  </a:cubicBezTo>
                  <a:cubicBezTo>
                    <a:pt x="17488" y="200264"/>
                    <a:pt x="17769" y="200264"/>
                    <a:pt x="17769" y="200264"/>
                  </a:cubicBezTo>
                  <a:cubicBezTo>
                    <a:pt x="17769" y="200546"/>
                    <a:pt x="17205" y="201110"/>
                    <a:pt x="17205" y="201674"/>
                  </a:cubicBezTo>
                  <a:lnTo>
                    <a:pt x="17205" y="202802"/>
                  </a:lnTo>
                  <a:cubicBezTo>
                    <a:pt x="16924" y="203366"/>
                    <a:pt x="16359" y="203648"/>
                    <a:pt x="16359" y="204212"/>
                  </a:cubicBezTo>
                  <a:close/>
                  <a:moveTo>
                    <a:pt x="17488" y="175724"/>
                  </a:moveTo>
                  <a:cubicBezTo>
                    <a:pt x="17769" y="176288"/>
                    <a:pt x="18334" y="176288"/>
                    <a:pt x="18334" y="176570"/>
                  </a:cubicBezTo>
                  <a:cubicBezTo>
                    <a:pt x="18334" y="176852"/>
                    <a:pt x="18616" y="177135"/>
                    <a:pt x="18616" y="177135"/>
                  </a:cubicBezTo>
                  <a:lnTo>
                    <a:pt x="18334" y="177417"/>
                  </a:lnTo>
                  <a:cubicBezTo>
                    <a:pt x="18052" y="177981"/>
                    <a:pt x="17488" y="178545"/>
                    <a:pt x="17488" y="179109"/>
                  </a:cubicBezTo>
                  <a:cubicBezTo>
                    <a:pt x="17488" y="179673"/>
                    <a:pt x="17488" y="179955"/>
                    <a:pt x="17205" y="179955"/>
                  </a:cubicBezTo>
                  <a:cubicBezTo>
                    <a:pt x="17205" y="179955"/>
                    <a:pt x="16924" y="179955"/>
                    <a:pt x="16924" y="179673"/>
                  </a:cubicBezTo>
                  <a:cubicBezTo>
                    <a:pt x="16359" y="179391"/>
                    <a:pt x="16077" y="179109"/>
                    <a:pt x="16077" y="178545"/>
                  </a:cubicBezTo>
                  <a:cubicBezTo>
                    <a:pt x="16077" y="178263"/>
                    <a:pt x="16077" y="177699"/>
                    <a:pt x="16359" y="177417"/>
                  </a:cubicBezTo>
                  <a:cubicBezTo>
                    <a:pt x="17205" y="176570"/>
                    <a:pt x="17205" y="176006"/>
                    <a:pt x="17488" y="175724"/>
                  </a:cubicBezTo>
                  <a:close/>
                  <a:moveTo>
                    <a:pt x="21155" y="202238"/>
                  </a:moveTo>
                  <a:lnTo>
                    <a:pt x="22000" y="202238"/>
                  </a:lnTo>
                  <a:cubicBezTo>
                    <a:pt x="21719" y="202802"/>
                    <a:pt x="21436" y="203084"/>
                    <a:pt x="20872" y="203084"/>
                  </a:cubicBezTo>
                  <a:cubicBezTo>
                    <a:pt x="20590" y="203084"/>
                    <a:pt x="20308" y="203084"/>
                    <a:pt x="20026" y="202802"/>
                  </a:cubicBezTo>
                  <a:lnTo>
                    <a:pt x="19744" y="202802"/>
                  </a:lnTo>
                  <a:cubicBezTo>
                    <a:pt x="19462" y="202802"/>
                    <a:pt x="19180" y="203084"/>
                    <a:pt x="18898" y="203366"/>
                  </a:cubicBezTo>
                  <a:cubicBezTo>
                    <a:pt x="18898" y="204212"/>
                    <a:pt x="18616" y="205059"/>
                    <a:pt x="18334" y="205905"/>
                  </a:cubicBezTo>
                  <a:cubicBezTo>
                    <a:pt x="18334" y="207033"/>
                    <a:pt x="17488" y="208725"/>
                    <a:pt x="17205" y="209572"/>
                  </a:cubicBezTo>
                  <a:lnTo>
                    <a:pt x="16924" y="209854"/>
                  </a:lnTo>
                  <a:lnTo>
                    <a:pt x="16924" y="209290"/>
                  </a:lnTo>
                  <a:cubicBezTo>
                    <a:pt x="16924" y="208443"/>
                    <a:pt x="17488" y="207315"/>
                    <a:pt x="17488" y="206187"/>
                  </a:cubicBezTo>
                  <a:cubicBezTo>
                    <a:pt x="18334" y="203366"/>
                    <a:pt x="18898" y="201674"/>
                    <a:pt x="19744" y="199699"/>
                  </a:cubicBezTo>
                  <a:cubicBezTo>
                    <a:pt x="19744" y="199699"/>
                    <a:pt x="20026" y="199699"/>
                    <a:pt x="20308" y="199417"/>
                  </a:cubicBezTo>
                  <a:cubicBezTo>
                    <a:pt x="20308" y="199699"/>
                    <a:pt x="20590" y="199699"/>
                    <a:pt x="20590" y="199699"/>
                  </a:cubicBezTo>
                  <a:cubicBezTo>
                    <a:pt x="20590" y="200546"/>
                    <a:pt x="20590" y="200828"/>
                    <a:pt x="21436" y="200828"/>
                  </a:cubicBezTo>
                  <a:cubicBezTo>
                    <a:pt x="21719" y="200828"/>
                    <a:pt x="21436" y="201110"/>
                    <a:pt x="21155" y="201674"/>
                  </a:cubicBezTo>
                  <a:lnTo>
                    <a:pt x="21155" y="202238"/>
                  </a:lnTo>
                  <a:close/>
                  <a:moveTo>
                    <a:pt x="20590" y="184468"/>
                  </a:moveTo>
                  <a:lnTo>
                    <a:pt x="19462" y="185314"/>
                  </a:lnTo>
                  <a:cubicBezTo>
                    <a:pt x="19462" y="185596"/>
                    <a:pt x="19180" y="185596"/>
                    <a:pt x="19180" y="185878"/>
                  </a:cubicBezTo>
                  <a:lnTo>
                    <a:pt x="19462" y="186161"/>
                  </a:lnTo>
                  <a:cubicBezTo>
                    <a:pt x="20026" y="185596"/>
                    <a:pt x="20590" y="185596"/>
                    <a:pt x="20590" y="184468"/>
                  </a:cubicBezTo>
                  <a:close/>
                  <a:moveTo>
                    <a:pt x="22565" y="185032"/>
                  </a:moveTo>
                  <a:cubicBezTo>
                    <a:pt x="22283" y="184750"/>
                    <a:pt x="22000" y="184468"/>
                    <a:pt x="21719" y="184468"/>
                  </a:cubicBezTo>
                  <a:cubicBezTo>
                    <a:pt x="21436" y="184468"/>
                    <a:pt x="21436" y="184750"/>
                    <a:pt x="21436" y="184750"/>
                  </a:cubicBezTo>
                  <a:cubicBezTo>
                    <a:pt x="21436" y="185314"/>
                    <a:pt x="21155" y="185596"/>
                    <a:pt x="20872" y="186443"/>
                  </a:cubicBezTo>
                  <a:cubicBezTo>
                    <a:pt x="20872" y="186443"/>
                    <a:pt x="21155" y="186161"/>
                    <a:pt x="21155" y="186443"/>
                  </a:cubicBezTo>
                  <a:cubicBezTo>
                    <a:pt x="21436" y="186161"/>
                    <a:pt x="22283" y="185596"/>
                    <a:pt x="22565" y="185596"/>
                  </a:cubicBezTo>
                  <a:lnTo>
                    <a:pt x="22565" y="185032"/>
                  </a:lnTo>
                  <a:close/>
                  <a:moveTo>
                    <a:pt x="22847" y="192930"/>
                  </a:moveTo>
                  <a:lnTo>
                    <a:pt x="22847" y="193776"/>
                  </a:lnTo>
                  <a:cubicBezTo>
                    <a:pt x="22565" y="193776"/>
                    <a:pt x="22283" y="193494"/>
                    <a:pt x="22283" y="193494"/>
                  </a:cubicBezTo>
                  <a:lnTo>
                    <a:pt x="22283" y="192930"/>
                  </a:lnTo>
                  <a:lnTo>
                    <a:pt x="22847" y="192930"/>
                  </a:lnTo>
                  <a:close/>
                  <a:moveTo>
                    <a:pt x="23693" y="194622"/>
                  </a:moveTo>
                  <a:cubicBezTo>
                    <a:pt x="23975" y="194622"/>
                    <a:pt x="24257" y="194622"/>
                    <a:pt x="24539" y="194904"/>
                  </a:cubicBezTo>
                  <a:lnTo>
                    <a:pt x="23975" y="195469"/>
                  </a:lnTo>
                  <a:cubicBezTo>
                    <a:pt x="23693" y="195469"/>
                    <a:pt x="23129" y="195186"/>
                    <a:pt x="23129" y="195186"/>
                  </a:cubicBezTo>
                  <a:cubicBezTo>
                    <a:pt x="23129" y="194904"/>
                    <a:pt x="23129" y="194622"/>
                    <a:pt x="23411" y="194622"/>
                  </a:cubicBezTo>
                  <a:lnTo>
                    <a:pt x="23693" y="194622"/>
                  </a:lnTo>
                  <a:close/>
                  <a:moveTo>
                    <a:pt x="24257" y="177981"/>
                  </a:moveTo>
                  <a:cubicBezTo>
                    <a:pt x="24257" y="178263"/>
                    <a:pt x="24539" y="178263"/>
                    <a:pt x="24821" y="178263"/>
                  </a:cubicBezTo>
                  <a:lnTo>
                    <a:pt x="25386" y="178263"/>
                  </a:lnTo>
                  <a:lnTo>
                    <a:pt x="25950" y="177699"/>
                  </a:lnTo>
                  <a:lnTo>
                    <a:pt x="25667" y="177417"/>
                  </a:lnTo>
                  <a:lnTo>
                    <a:pt x="25667" y="176570"/>
                  </a:lnTo>
                  <a:lnTo>
                    <a:pt x="26231" y="176570"/>
                  </a:lnTo>
                  <a:cubicBezTo>
                    <a:pt x="26514" y="176570"/>
                    <a:pt x="26796" y="176570"/>
                    <a:pt x="26796" y="176288"/>
                  </a:cubicBezTo>
                  <a:cubicBezTo>
                    <a:pt x="27077" y="176006"/>
                    <a:pt x="27641" y="175724"/>
                    <a:pt x="27641" y="175442"/>
                  </a:cubicBezTo>
                  <a:cubicBezTo>
                    <a:pt x="27924" y="175160"/>
                    <a:pt x="28206" y="174596"/>
                    <a:pt x="28206" y="174314"/>
                  </a:cubicBezTo>
                  <a:cubicBezTo>
                    <a:pt x="28206" y="174032"/>
                    <a:pt x="27924" y="174032"/>
                    <a:pt x="27641" y="174032"/>
                  </a:cubicBezTo>
                  <a:cubicBezTo>
                    <a:pt x="27360" y="173750"/>
                    <a:pt x="27360" y="173468"/>
                    <a:pt x="27077" y="173468"/>
                  </a:cubicBezTo>
                  <a:cubicBezTo>
                    <a:pt x="26796" y="173468"/>
                    <a:pt x="26514" y="173750"/>
                    <a:pt x="26514" y="173750"/>
                  </a:cubicBezTo>
                  <a:lnTo>
                    <a:pt x="26514" y="174314"/>
                  </a:lnTo>
                  <a:cubicBezTo>
                    <a:pt x="25667" y="175442"/>
                    <a:pt x="24821" y="176570"/>
                    <a:pt x="24257" y="177981"/>
                  </a:cubicBezTo>
                  <a:close/>
                  <a:moveTo>
                    <a:pt x="28206" y="185878"/>
                  </a:moveTo>
                  <a:cubicBezTo>
                    <a:pt x="28206" y="186161"/>
                    <a:pt x="27924" y="186443"/>
                    <a:pt x="27924" y="186725"/>
                  </a:cubicBezTo>
                  <a:cubicBezTo>
                    <a:pt x="27924" y="187007"/>
                    <a:pt x="28206" y="187007"/>
                    <a:pt x="28206" y="187289"/>
                  </a:cubicBezTo>
                  <a:cubicBezTo>
                    <a:pt x="28206" y="188135"/>
                    <a:pt x="27360" y="189263"/>
                    <a:pt x="26796" y="190109"/>
                  </a:cubicBezTo>
                  <a:cubicBezTo>
                    <a:pt x="26514" y="190956"/>
                    <a:pt x="26231" y="190956"/>
                    <a:pt x="25950" y="190956"/>
                  </a:cubicBezTo>
                  <a:cubicBezTo>
                    <a:pt x="25667" y="190956"/>
                    <a:pt x="25386" y="190956"/>
                    <a:pt x="25386" y="190673"/>
                  </a:cubicBezTo>
                  <a:cubicBezTo>
                    <a:pt x="25386" y="190391"/>
                    <a:pt x="25386" y="189827"/>
                    <a:pt x="25103" y="189827"/>
                  </a:cubicBezTo>
                  <a:cubicBezTo>
                    <a:pt x="24821" y="189827"/>
                    <a:pt x="24257" y="189545"/>
                    <a:pt x="24257" y="189263"/>
                  </a:cubicBezTo>
                  <a:cubicBezTo>
                    <a:pt x="24257" y="189263"/>
                    <a:pt x="24257" y="188981"/>
                    <a:pt x="24539" y="188981"/>
                  </a:cubicBezTo>
                  <a:cubicBezTo>
                    <a:pt x="25103" y="188135"/>
                    <a:pt x="25103" y="186725"/>
                    <a:pt x="25950" y="186161"/>
                  </a:cubicBezTo>
                  <a:cubicBezTo>
                    <a:pt x="26231" y="185596"/>
                    <a:pt x="26231" y="184750"/>
                    <a:pt x="26514" y="184750"/>
                  </a:cubicBezTo>
                  <a:cubicBezTo>
                    <a:pt x="27077" y="184750"/>
                    <a:pt x="27077" y="185314"/>
                    <a:pt x="27924" y="185596"/>
                  </a:cubicBezTo>
                  <a:cubicBezTo>
                    <a:pt x="27924" y="185596"/>
                    <a:pt x="28206" y="185596"/>
                    <a:pt x="28206" y="185878"/>
                  </a:cubicBezTo>
                  <a:close/>
                  <a:moveTo>
                    <a:pt x="26231" y="163314"/>
                  </a:moveTo>
                  <a:cubicBezTo>
                    <a:pt x="25667" y="163314"/>
                    <a:pt x="25667" y="163596"/>
                    <a:pt x="25667" y="163878"/>
                  </a:cubicBezTo>
                  <a:cubicBezTo>
                    <a:pt x="25950" y="164160"/>
                    <a:pt x="26231" y="164160"/>
                    <a:pt x="26231" y="164160"/>
                  </a:cubicBezTo>
                  <a:cubicBezTo>
                    <a:pt x="26514" y="164160"/>
                    <a:pt x="26514" y="163878"/>
                    <a:pt x="26514" y="163596"/>
                  </a:cubicBezTo>
                  <a:lnTo>
                    <a:pt x="26231" y="163314"/>
                  </a:lnTo>
                  <a:close/>
                  <a:moveTo>
                    <a:pt x="27360" y="159647"/>
                  </a:moveTo>
                  <a:cubicBezTo>
                    <a:pt x="27077" y="159647"/>
                    <a:pt x="27077" y="159647"/>
                    <a:pt x="27077" y="159365"/>
                  </a:cubicBezTo>
                  <a:lnTo>
                    <a:pt x="26231" y="160775"/>
                  </a:lnTo>
                  <a:lnTo>
                    <a:pt x="26231" y="161057"/>
                  </a:lnTo>
                  <a:cubicBezTo>
                    <a:pt x="26796" y="160775"/>
                    <a:pt x="27077" y="160211"/>
                    <a:pt x="27360" y="159647"/>
                  </a:cubicBezTo>
                  <a:close/>
                  <a:moveTo>
                    <a:pt x="27360" y="163596"/>
                  </a:moveTo>
                  <a:lnTo>
                    <a:pt x="27924" y="163596"/>
                  </a:lnTo>
                  <a:cubicBezTo>
                    <a:pt x="28488" y="163878"/>
                    <a:pt x="28488" y="163878"/>
                    <a:pt x="28488" y="164442"/>
                  </a:cubicBezTo>
                  <a:lnTo>
                    <a:pt x="28488" y="164724"/>
                  </a:lnTo>
                  <a:lnTo>
                    <a:pt x="28770" y="164724"/>
                  </a:lnTo>
                  <a:cubicBezTo>
                    <a:pt x="29334" y="164160"/>
                    <a:pt x="29616" y="163878"/>
                    <a:pt x="29616" y="163031"/>
                  </a:cubicBezTo>
                  <a:lnTo>
                    <a:pt x="28206" y="163031"/>
                  </a:lnTo>
                  <a:cubicBezTo>
                    <a:pt x="27924" y="163031"/>
                    <a:pt x="27641" y="162749"/>
                    <a:pt x="27641" y="162749"/>
                  </a:cubicBezTo>
                  <a:cubicBezTo>
                    <a:pt x="27360" y="163314"/>
                    <a:pt x="27077" y="163314"/>
                    <a:pt x="27077" y="163314"/>
                  </a:cubicBezTo>
                  <a:cubicBezTo>
                    <a:pt x="27077" y="163314"/>
                    <a:pt x="27077" y="163596"/>
                    <a:pt x="27360" y="163596"/>
                  </a:cubicBezTo>
                  <a:close/>
                  <a:moveTo>
                    <a:pt x="27641" y="158236"/>
                  </a:moveTo>
                  <a:lnTo>
                    <a:pt x="28206" y="158236"/>
                  </a:lnTo>
                  <a:lnTo>
                    <a:pt x="28206" y="157390"/>
                  </a:lnTo>
                  <a:cubicBezTo>
                    <a:pt x="28206" y="157672"/>
                    <a:pt x="27924" y="157672"/>
                    <a:pt x="27924" y="157954"/>
                  </a:cubicBezTo>
                  <a:cubicBezTo>
                    <a:pt x="27641" y="157954"/>
                    <a:pt x="27641" y="158236"/>
                    <a:pt x="27641" y="158236"/>
                  </a:cubicBezTo>
                  <a:close/>
                  <a:moveTo>
                    <a:pt x="29052" y="160211"/>
                  </a:moveTo>
                  <a:cubicBezTo>
                    <a:pt x="29052" y="160493"/>
                    <a:pt x="29052" y="161057"/>
                    <a:pt x="29334" y="161339"/>
                  </a:cubicBezTo>
                  <a:cubicBezTo>
                    <a:pt x="29334" y="161903"/>
                    <a:pt x="29616" y="162467"/>
                    <a:pt x="29616" y="163031"/>
                  </a:cubicBezTo>
                  <a:cubicBezTo>
                    <a:pt x="29898" y="163031"/>
                    <a:pt x="30462" y="162467"/>
                    <a:pt x="30744" y="162185"/>
                  </a:cubicBezTo>
                  <a:cubicBezTo>
                    <a:pt x="31027" y="161621"/>
                    <a:pt x="32155" y="160775"/>
                    <a:pt x="32155" y="160211"/>
                  </a:cubicBezTo>
                  <a:lnTo>
                    <a:pt x="33283" y="158801"/>
                  </a:lnTo>
                  <a:lnTo>
                    <a:pt x="33283" y="158518"/>
                  </a:lnTo>
                  <a:cubicBezTo>
                    <a:pt x="33001" y="158518"/>
                    <a:pt x="33001" y="158236"/>
                    <a:pt x="33001" y="158518"/>
                  </a:cubicBezTo>
                  <a:cubicBezTo>
                    <a:pt x="32155" y="159083"/>
                    <a:pt x="31308" y="159083"/>
                    <a:pt x="30744" y="159365"/>
                  </a:cubicBezTo>
                  <a:lnTo>
                    <a:pt x="29616" y="159365"/>
                  </a:lnTo>
                  <a:cubicBezTo>
                    <a:pt x="29334" y="159365"/>
                    <a:pt x="29052" y="159929"/>
                    <a:pt x="29052" y="160211"/>
                  </a:cubicBezTo>
                  <a:close/>
                  <a:moveTo>
                    <a:pt x="33565" y="162749"/>
                  </a:moveTo>
                  <a:cubicBezTo>
                    <a:pt x="33283" y="162749"/>
                    <a:pt x="33001" y="163314"/>
                    <a:pt x="32719" y="163878"/>
                  </a:cubicBezTo>
                  <a:cubicBezTo>
                    <a:pt x="32719" y="164160"/>
                    <a:pt x="33001" y="164442"/>
                    <a:pt x="33001" y="164724"/>
                  </a:cubicBezTo>
                  <a:cubicBezTo>
                    <a:pt x="33565" y="164160"/>
                    <a:pt x="33847" y="163596"/>
                    <a:pt x="33847" y="163031"/>
                  </a:cubicBezTo>
                  <a:cubicBezTo>
                    <a:pt x="33847" y="162749"/>
                    <a:pt x="33565" y="162749"/>
                    <a:pt x="33565" y="162749"/>
                  </a:cubicBezTo>
                  <a:close/>
                  <a:moveTo>
                    <a:pt x="33283" y="170083"/>
                  </a:moveTo>
                  <a:lnTo>
                    <a:pt x="33283" y="170647"/>
                  </a:lnTo>
                  <a:cubicBezTo>
                    <a:pt x="33001" y="170647"/>
                    <a:pt x="32719" y="170365"/>
                    <a:pt x="32719" y="170083"/>
                  </a:cubicBezTo>
                  <a:lnTo>
                    <a:pt x="32719" y="169519"/>
                  </a:lnTo>
                  <a:cubicBezTo>
                    <a:pt x="33283" y="169519"/>
                    <a:pt x="33283" y="169801"/>
                    <a:pt x="33283" y="170083"/>
                  </a:cubicBezTo>
                  <a:close/>
                  <a:moveTo>
                    <a:pt x="33565" y="160775"/>
                  </a:moveTo>
                  <a:lnTo>
                    <a:pt x="34411" y="160211"/>
                  </a:lnTo>
                  <a:lnTo>
                    <a:pt x="33565" y="160211"/>
                  </a:lnTo>
                  <a:lnTo>
                    <a:pt x="33565" y="160775"/>
                  </a:lnTo>
                  <a:close/>
                  <a:moveTo>
                    <a:pt x="34693" y="156826"/>
                  </a:moveTo>
                  <a:cubicBezTo>
                    <a:pt x="34693" y="156826"/>
                    <a:pt x="34693" y="156544"/>
                    <a:pt x="34975" y="156826"/>
                  </a:cubicBezTo>
                  <a:cubicBezTo>
                    <a:pt x="34693" y="156262"/>
                    <a:pt x="34693" y="156544"/>
                    <a:pt x="34693" y="156544"/>
                  </a:cubicBezTo>
                  <a:lnTo>
                    <a:pt x="34693" y="156826"/>
                  </a:lnTo>
                  <a:close/>
                  <a:moveTo>
                    <a:pt x="34693" y="160775"/>
                  </a:moveTo>
                  <a:lnTo>
                    <a:pt x="35258" y="162467"/>
                  </a:lnTo>
                  <a:cubicBezTo>
                    <a:pt x="35258" y="162749"/>
                    <a:pt x="35258" y="162749"/>
                    <a:pt x="35539" y="162749"/>
                  </a:cubicBezTo>
                  <a:lnTo>
                    <a:pt x="36103" y="162749"/>
                  </a:lnTo>
                  <a:cubicBezTo>
                    <a:pt x="36103" y="162185"/>
                    <a:pt x="36386" y="161621"/>
                    <a:pt x="36950" y="161339"/>
                  </a:cubicBezTo>
                  <a:lnTo>
                    <a:pt x="38078" y="160493"/>
                  </a:lnTo>
                  <a:cubicBezTo>
                    <a:pt x="38078" y="159929"/>
                    <a:pt x="38078" y="159647"/>
                    <a:pt x="38360" y="159083"/>
                  </a:cubicBezTo>
                  <a:cubicBezTo>
                    <a:pt x="38642" y="158801"/>
                    <a:pt x="38642" y="158518"/>
                    <a:pt x="38924" y="158518"/>
                  </a:cubicBezTo>
                  <a:cubicBezTo>
                    <a:pt x="39206" y="158518"/>
                    <a:pt x="38924" y="158236"/>
                    <a:pt x="38642" y="157954"/>
                  </a:cubicBezTo>
                  <a:cubicBezTo>
                    <a:pt x="38360" y="157954"/>
                    <a:pt x="38078" y="157672"/>
                    <a:pt x="37796" y="157390"/>
                  </a:cubicBezTo>
                  <a:cubicBezTo>
                    <a:pt x="37514" y="157390"/>
                    <a:pt x="37232" y="157390"/>
                    <a:pt x="36950" y="157672"/>
                  </a:cubicBezTo>
                  <a:cubicBezTo>
                    <a:pt x="36668" y="157954"/>
                    <a:pt x="36668" y="158518"/>
                    <a:pt x="36668" y="158801"/>
                  </a:cubicBezTo>
                  <a:lnTo>
                    <a:pt x="36668" y="159365"/>
                  </a:lnTo>
                  <a:cubicBezTo>
                    <a:pt x="36668" y="159647"/>
                    <a:pt x="36386" y="159929"/>
                    <a:pt x="36103" y="159929"/>
                  </a:cubicBezTo>
                  <a:lnTo>
                    <a:pt x="35539" y="159929"/>
                  </a:lnTo>
                  <a:cubicBezTo>
                    <a:pt x="34975" y="160211"/>
                    <a:pt x="34693" y="160493"/>
                    <a:pt x="34693" y="160775"/>
                  </a:cubicBezTo>
                  <a:close/>
                  <a:moveTo>
                    <a:pt x="35258" y="172904"/>
                  </a:moveTo>
                  <a:cubicBezTo>
                    <a:pt x="35258" y="173186"/>
                    <a:pt x="35258" y="173750"/>
                    <a:pt x="34975" y="173750"/>
                  </a:cubicBezTo>
                  <a:lnTo>
                    <a:pt x="34693" y="173750"/>
                  </a:lnTo>
                  <a:lnTo>
                    <a:pt x="34693" y="172904"/>
                  </a:lnTo>
                  <a:lnTo>
                    <a:pt x="35258" y="172904"/>
                  </a:lnTo>
                  <a:close/>
                  <a:moveTo>
                    <a:pt x="35822" y="164724"/>
                  </a:moveTo>
                  <a:lnTo>
                    <a:pt x="36103" y="165006"/>
                  </a:lnTo>
                  <a:lnTo>
                    <a:pt x="36103" y="164442"/>
                  </a:lnTo>
                  <a:cubicBezTo>
                    <a:pt x="35822" y="164442"/>
                    <a:pt x="35822" y="164724"/>
                    <a:pt x="35822" y="164724"/>
                  </a:cubicBezTo>
                  <a:close/>
                  <a:moveTo>
                    <a:pt x="36386" y="146672"/>
                  </a:moveTo>
                  <a:lnTo>
                    <a:pt x="36386" y="146954"/>
                  </a:lnTo>
                  <a:cubicBezTo>
                    <a:pt x="36386" y="146954"/>
                    <a:pt x="36668" y="147236"/>
                    <a:pt x="36950" y="147236"/>
                  </a:cubicBezTo>
                  <a:cubicBezTo>
                    <a:pt x="36950" y="147236"/>
                    <a:pt x="37232" y="146954"/>
                    <a:pt x="37232" y="146672"/>
                  </a:cubicBezTo>
                  <a:cubicBezTo>
                    <a:pt x="37514" y="146672"/>
                    <a:pt x="36950" y="146390"/>
                    <a:pt x="36950" y="146390"/>
                  </a:cubicBezTo>
                  <a:cubicBezTo>
                    <a:pt x="36668" y="146390"/>
                    <a:pt x="36386" y="146390"/>
                    <a:pt x="36386" y="146672"/>
                  </a:cubicBezTo>
                  <a:close/>
                  <a:moveTo>
                    <a:pt x="37232" y="150621"/>
                  </a:moveTo>
                  <a:lnTo>
                    <a:pt x="37232" y="150903"/>
                  </a:lnTo>
                  <a:lnTo>
                    <a:pt x="37796" y="150903"/>
                  </a:lnTo>
                  <a:cubicBezTo>
                    <a:pt x="37514" y="150621"/>
                    <a:pt x="37232" y="150621"/>
                    <a:pt x="37232" y="150621"/>
                  </a:cubicBezTo>
                  <a:close/>
                  <a:moveTo>
                    <a:pt x="37796" y="164724"/>
                  </a:moveTo>
                  <a:cubicBezTo>
                    <a:pt x="37796" y="165006"/>
                    <a:pt x="37514" y="165006"/>
                    <a:pt x="37514" y="165288"/>
                  </a:cubicBezTo>
                  <a:cubicBezTo>
                    <a:pt x="37514" y="165570"/>
                    <a:pt x="37796" y="165570"/>
                    <a:pt x="37796" y="165570"/>
                  </a:cubicBezTo>
                  <a:lnTo>
                    <a:pt x="37796" y="164724"/>
                  </a:lnTo>
                  <a:close/>
                  <a:moveTo>
                    <a:pt x="38078" y="155980"/>
                  </a:moveTo>
                  <a:cubicBezTo>
                    <a:pt x="38078" y="156262"/>
                    <a:pt x="38078" y="156262"/>
                    <a:pt x="38360" y="156262"/>
                  </a:cubicBezTo>
                  <a:cubicBezTo>
                    <a:pt x="38360" y="156544"/>
                    <a:pt x="38642" y="156544"/>
                    <a:pt x="38924" y="156544"/>
                  </a:cubicBezTo>
                  <a:lnTo>
                    <a:pt x="39206" y="156544"/>
                  </a:lnTo>
                  <a:lnTo>
                    <a:pt x="40053" y="155980"/>
                  </a:lnTo>
                  <a:cubicBezTo>
                    <a:pt x="40334" y="155698"/>
                    <a:pt x="40617" y="155416"/>
                    <a:pt x="40617" y="154852"/>
                  </a:cubicBezTo>
                  <a:cubicBezTo>
                    <a:pt x="40617" y="154570"/>
                    <a:pt x="40617" y="154288"/>
                    <a:pt x="40334" y="154006"/>
                  </a:cubicBezTo>
                  <a:cubicBezTo>
                    <a:pt x="39489" y="154006"/>
                    <a:pt x="38924" y="154288"/>
                    <a:pt x="38360" y="154852"/>
                  </a:cubicBezTo>
                  <a:cubicBezTo>
                    <a:pt x="38078" y="155416"/>
                    <a:pt x="38078" y="155698"/>
                    <a:pt x="38078" y="155980"/>
                  </a:cubicBezTo>
                  <a:close/>
                  <a:moveTo>
                    <a:pt x="38360" y="152031"/>
                  </a:moveTo>
                  <a:cubicBezTo>
                    <a:pt x="38360" y="152313"/>
                    <a:pt x="38642" y="152313"/>
                    <a:pt x="38924" y="152313"/>
                  </a:cubicBezTo>
                  <a:lnTo>
                    <a:pt x="38924" y="152031"/>
                  </a:lnTo>
                  <a:cubicBezTo>
                    <a:pt x="38924" y="151749"/>
                    <a:pt x="38642" y="151749"/>
                    <a:pt x="38642" y="151749"/>
                  </a:cubicBezTo>
                  <a:cubicBezTo>
                    <a:pt x="38360" y="151749"/>
                    <a:pt x="38360" y="152031"/>
                    <a:pt x="38360" y="152031"/>
                  </a:cubicBezTo>
                  <a:close/>
                  <a:moveTo>
                    <a:pt x="39206" y="146390"/>
                  </a:moveTo>
                  <a:cubicBezTo>
                    <a:pt x="39206" y="146672"/>
                    <a:pt x="39489" y="146672"/>
                    <a:pt x="39489" y="146954"/>
                  </a:cubicBezTo>
                  <a:cubicBezTo>
                    <a:pt x="39770" y="147236"/>
                    <a:pt x="40053" y="147518"/>
                    <a:pt x="40334" y="147518"/>
                  </a:cubicBezTo>
                  <a:lnTo>
                    <a:pt x="41463" y="147518"/>
                  </a:lnTo>
                  <a:lnTo>
                    <a:pt x="41463" y="148364"/>
                  </a:lnTo>
                  <a:cubicBezTo>
                    <a:pt x="41181" y="148364"/>
                    <a:pt x="41181" y="148928"/>
                    <a:pt x="40899" y="149210"/>
                  </a:cubicBezTo>
                  <a:cubicBezTo>
                    <a:pt x="41745" y="148646"/>
                    <a:pt x="42027" y="148082"/>
                    <a:pt x="42591" y="147236"/>
                  </a:cubicBezTo>
                  <a:lnTo>
                    <a:pt x="42591" y="146390"/>
                  </a:lnTo>
                  <a:cubicBezTo>
                    <a:pt x="42591" y="146108"/>
                    <a:pt x="42591" y="145262"/>
                    <a:pt x="42309" y="145262"/>
                  </a:cubicBezTo>
                  <a:lnTo>
                    <a:pt x="42027" y="144980"/>
                  </a:lnTo>
                  <a:cubicBezTo>
                    <a:pt x="41745" y="144980"/>
                    <a:pt x="41745" y="145262"/>
                    <a:pt x="41463" y="145544"/>
                  </a:cubicBezTo>
                  <a:cubicBezTo>
                    <a:pt x="41181" y="145826"/>
                    <a:pt x="40899" y="146108"/>
                    <a:pt x="40334" y="146108"/>
                  </a:cubicBezTo>
                  <a:lnTo>
                    <a:pt x="40053" y="146108"/>
                  </a:lnTo>
                  <a:lnTo>
                    <a:pt x="39770" y="145826"/>
                  </a:lnTo>
                  <a:cubicBezTo>
                    <a:pt x="39489" y="145826"/>
                    <a:pt x="39489" y="146108"/>
                    <a:pt x="39206" y="146108"/>
                  </a:cubicBezTo>
                  <a:lnTo>
                    <a:pt x="39206" y="146390"/>
                  </a:lnTo>
                  <a:close/>
                  <a:moveTo>
                    <a:pt x="40334" y="150057"/>
                  </a:moveTo>
                  <a:cubicBezTo>
                    <a:pt x="40617" y="150057"/>
                    <a:pt x="40899" y="149493"/>
                    <a:pt x="40899" y="149210"/>
                  </a:cubicBezTo>
                  <a:cubicBezTo>
                    <a:pt x="40617" y="149493"/>
                    <a:pt x="40334" y="149493"/>
                    <a:pt x="40053" y="149493"/>
                  </a:cubicBezTo>
                  <a:cubicBezTo>
                    <a:pt x="39770" y="149493"/>
                    <a:pt x="39770" y="149775"/>
                    <a:pt x="39770" y="149775"/>
                  </a:cubicBezTo>
                  <a:cubicBezTo>
                    <a:pt x="40053" y="150057"/>
                    <a:pt x="40053" y="150057"/>
                    <a:pt x="40334" y="150057"/>
                  </a:cubicBezTo>
                  <a:close/>
                  <a:moveTo>
                    <a:pt x="41463" y="152877"/>
                  </a:moveTo>
                  <a:lnTo>
                    <a:pt x="42027" y="152313"/>
                  </a:lnTo>
                  <a:lnTo>
                    <a:pt x="42591" y="152313"/>
                  </a:lnTo>
                  <a:lnTo>
                    <a:pt x="42591" y="152031"/>
                  </a:lnTo>
                  <a:cubicBezTo>
                    <a:pt x="42309" y="151749"/>
                    <a:pt x="42309" y="151749"/>
                    <a:pt x="42027" y="151749"/>
                  </a:cubicBezTo>
                  <a:cubicBezTo>
                    <a:pt x="41745" y="151749"/>
                    <a:pt x="41745" y="151749"/>
                    <a:pt x="41463" y="152031"/>
                  </a:cubicBezTo>
                  <a:cubicBezTo>
                    <a:pt x="41463" y="152313"/>
                    <a:pt x="40899" y="152595"/>
                    <a:pt x="40899" y="152877"/>
                  </a:cubicBezTo>
                  <a:lnTo>
                    <a:pt x="40334" y="154006"/>
                  </a:lnTo>
                  <a:lnTo>
                    <a:pt x="42027" y="154006"/>
                  </a:lnTo>
                  <a:lnTo>
                    <a:pt x="42309" y="153723"/>
                  </a:lnTo>
                  <a:lnTo>
                    <a:pt x="42027" y="153723"/>
                  </a:lnTo>
                  <a:lnTo>
                    <a:pt x="42027" y="153441"/>
                  </a:lnTo>
                  <a:cubicBezTo>
                    <a:pt x="41745" y="153159"/>
                    <a:pt x="41463" y="153159"/>
                    <a:pt x="41463" y="152877"/>
                  </a:cubicBezTo>
                  <a:close/>
                  <a:moveTo>
                    <a:pt x="40617" y="144980"/>
                  </a:moveTo>
                  <a:lnTo>
                    <a:pt x="40899" y="144697"/>
                  </a:lnTo>
                  <a:lnTo>
                    <a:pt x="40617" y="144415"/>
                  </a:lnTo>
                  <a:lnTo>
                    <a:pt x="40617" y="144980"/>
                  </a:lnTo>
                  <a:close/>
                  <a:moveTo>
                    <a:pt x="42027" y="140749"/>
                  </a:moveTo>
                  <a:cubicBezTo>
                    <a:pt x="42591" y="140749"/>
                    <a:pt x="42873" y="140467"/>
                    <a:pt x="43437" y="139902"/>
                  </a:cubicBezTo>
                  <a:cubicBezTo>
                    <a:pt x="43155" y="139620"/>
                    <a:pt x="42873" y="139620"/>
                    <a:pt x="42591" y="139620"/>
                  </a:cubicBezTo>
                  <a:cubicBezTo>
                    <a:pt x="42591" y="139902"/>
                    <a:pt x="42309" y="140184"/>
                    <a:pt x="42027" y="140749"/>
                  </a:cubicBezTo>
                  <a:close/>
                  <a:moveTo>
                    <a:pt x="43720" y="141313"/>
                  </a:moveTo>
                  <a:cubicBezTo>
                    <a:pt x="43437" y="141313"/>
                    <a:pt x="43437" y="141313"/>
                    <a:pt x="43437" y="141595"/>
                  </a:cubicBezTo>
                  <a:lnTo>
                    <a:pt x="42591" y="142441"/>
                  </a:lnTo>
                  <a:cubicBezTo>
                    <a:pt x="43155" y="142441"/>
                    <a:pt x="43720" y="142441"/>
                    <a:pt x="44284" y="142159"/>
                  </a:cubicBezTo>
                  <a:lnTo>
                    <a:pt x="44284" y="141877"/>
                  </a:lnTo>
                  <a:cubicBezTo>
                    <a:pt x="44284" y="141595"/>
                    <a:pt x="44001" y="141313"/>
                    <a:pt x="43720" y="141313"/>
                  </a:cubicBezTo>
                  <a:close/>
                  <a:moveTo>
                    <a:pt x="43720" y="144697"/>
                  </a:moveTo>
                  <a:lnTo>
                    <a:pt x="43720" y="144980"/>
                  </a:lnTo>
                  <a:cubicBezTo>
                    <a:pt x="44001" y="144980"/>
                    <a:pt x="44001" y="144697"/>
                    <a:pt x="44001" y="144697"/>
                  </a:cubicBezTo>
                  <a:lnTo>
                    <a:pt x="43720" y="144697"/>
                  </a:lnTo>
                  <a:close/>
                  <a:moveTo>
                    <a:pt x="44848" y="151467"/>
                  </a:moveTo>
                  <a:lnTo>
                    <a:pt x="44848" y="152031"/>
                  </a:lnTo>
                  <a:lnTo>
                    <a:pt x="45130" y="151749"/>
                  </a:lnTo>
                  <a:lnTo>
                    <a:pt x="45130" y="151185"/>
                  </a:lnTo>
                  <a:lnTo>
                    <a:pt x="44848" y="151467"/>
                  </a:lnTo>
                  <a:close/>
                  <a:moveTo>
                    <a:pt x="45975" y="150621"/>
                  </a:moveTo>
                  <a:lnTo>
                    <a:pt x="45975" y="150057"/>
                  </a:lnTo>
                  <a:lnTo>
                    <a:pt x="45694" y="149775"/>
                  </a:lnTo>
                  <a:cubicBezTo>
                    <a:pt x="45411" y="150057"/>
                    <a:pt x="45130" y="150621"/>
                    <a:pt x="45130" y="150903"/>
                  </a:cubicBezTo>
                  <a:lnTo>
                    <a:pt x="45130" y="151185"/>
                  </a:lnTo>
                  <a:cubicBezTo>
                    <a:pt x="45694" y="150903"/>
                    <a:pt x="45975" y="150903"/>
                    <a:pt x="45975" y="150621"/>
                  </a:cubicBezTo>
                  <a:close/>
                  <a:moveTo>
                    <a:pt x="45975" y="250471"/>
                  </a:moveTo>
                  <a:lnTo>
                    <a:pt x="45411" y="250471"/>
                  </a:lnTo>
                  <a:lnTo>
                    <a:pt x="45130" y="250753"/>
                  </a:lnTo>
                  <a:cubicBezTo>
                    <a:pt x="45411" y="250753"/>
                    <a:pt x="45411" y="250753"/>
                    <a:pt x="45411" y="251035"/>
                  </a:cubicBezTo>
                  <a:cubicBezTo>
                    <a:pt x="45694" y="250753"/>
                    <a:pt x="45975" y="250753"/>
                    <a:pt x="45975" y="250471"/>
                  </a:cubicBezTo>
                  <a:close/>
                  <a:moveTo>
                    <a:pt x="45411" y="140749"/>
                  </a:moveTo>
                  <a:cubicBezTo>
                    <a:pt x="45411" y="141031"/>
                    <a:pt x="45694" y="141031"/>
                    <a:pt x="45975" y="141031"/>
                  </a:cubicBezTo>
                  <a:cubicBezTo>
                    <a:pt x="45975" y="141031"/>
                    <a:pt x="45975" y="140749"/>
                    <a:pt x="46258" y="140467"/>
                  </a:cubicBezTo>
                  <a:lnTo>
                    <a:pt x="45411" y="140467"/>
                  </a:lnTo>
                  <a:lnTo>
                    <a:pt x="45411" y="140749"/>
                  </a:lnTo>
                  <a:close/>
                  <a:moveTo>
                    <a:pt x="46258" y="138492"/>
                  </a:moveTo>
                  <a:cubicBezTo>
                    <a:pt x="46258" y="138774"/>
                    <a:pt x="46258" y="139056"/>
                    <a:pt x="46540" y="139338"/>
                  </a:cubicBezTo>
                  <a:cubicBezTo>
                    <a:pt x="46822" y="139902"/>
                    <a:pt x="47104" y="139902"/>
                    <a:pt x="47668" y="140184"/>
                  </a:cubicBezTo>
                  <a:cubicBezTo>
                    <a:pt x="47950" y="140184"/>
                    <a:pt x="47950" y="139902"/>
                    <a:pt x="47950" y="139902"/>
                  </a:cubicBezTo>
                  <a:lnTo>
                    <a:pt x="47950" y="139338"/>
                  </a:lnTo>
                  <a:lnTo>
                    <a:pt x="46822" y="137928"/>
                  </a:lnTo>
                  <a:lnTo>
                    <a:pt x="46540" y="137646"/>
                  </a:lnTo>
                  <a:cubicBezTo>
                    <a:pt x="46258" y="137928"/>
                    <a:pt x="46258" y="138210"/>
                    <a:pt x="46258" y="138492"/>
                  </a:cubicBezTo>
                  <a:close/>
                  <a:moveTo>
                    <a:pt x="48232" y="141877"/>
                  </a:moveTo>
                  <a:lnTo>
                    <a:pt x="47668" y="141877"/>
                  </a:lnTo>
                  <a:lnTo>
                    <a:pt x="47668" y="142441"/>
                  </a:lnTo>
                  <a:cubicBezTo>
                    <a:pt x="48232" y="142723"/>
                    <a:pt x="48514" y="143287"/>
                    <a:pt x="49078" y="143287"/>
                  </a:cubicBezTo>
                  <a:lnTo>
                    <a:pt x="49078" y="143569"/>
                  </a:lnTo>
                  <a:cubicBezTo>
                    <a:pt x="49078" y="143569"/>
                    <a:pt x="49361" y="143569"/>
                    <a:pt x="49361" y="143287"/>
                  </a:cubicBezTo>
                  <a:lnTo>
                    <a:pt x="49078" y="143287"/>
                  </a:lnTo>
                  <a:lnTo>
                    <a:pt x="49078" y="142441"/>
                  </a:lnTo>
                  <a:cubicBezTo>
                    <a:pt x="48796" y="142159"/>
                    <a:pt x="48232" y="142159"/>
                    <a:pt x="48232" y="141877"/>
                  </a:cubicBezTo>
                  <a:close/>
                  <a:moveTo>
                    <a:pt x="49078" y="137364"/>
                  </a:moveTo>
                  <a:cubicBezTo>
                    <a:pt x="49078" y="137646"/>
                    <a:pt x="49361" y="138210"/>
                    <a:pt x="49642" y="138492"/>
                  </a:cubicBezTo>
                  <a:lnTo>
                    <a:pt x="49642" y="139338"/>
                  </a:lnTo>
                  <a:lnTo>
                    <a:pt x="49925" y="139620"/>
                  </a:lnTo>
                  <a:cubicBezTo>
                    <a:pt x="50771" y="139620"/>
                    <a:pt x="51617" y="138492"/>
                    <a:pt x="51617" y="137646"/>
                  </a:cubicBezTo>
                  <a:cubicBezTo>
                    <a:pt x="51617" y="137082"/>
                    <a:pt x="51617" y="136518"/>
                    <a:pt x="52463" y="136236"/>
                  </a:cubicBezTo>
                  <a:lnTo>
                    <a:pt x="53027" y="136236"/>
                  </a:lnTo>
                  <a:cubicBezTo>
                    <a:pt x="53309" y="136236"/>
                    <a:pt x="53027" y="135954"/>
                    <a:pt x="53027" y="135672"/>
                  </a:cubicBezTo>
                  <a:cubicBezTo>
                    <a:pt x="53027" y="135672"/>
                    <a:pt x="52745" y="135389"/>
                    <a:pt x="52745" y="135672"/>
                  </a:cubicBezTo>
                  <a:cubicBezTo>
                    <a:pt x="52181" y="135672"/>
                    <a:pt x="51617" y="135954"/>
                    <a:pt x="51335" y="136236"/>
                  </a:cubicBezTo>
                  <a:lnTo>
                    <a:pt x="50489" y="136236"/>
                  </a:lnTo>
                  <a:lnTo>
                    <a:pt x="49925" y="135954"/>
                  </a:lnTo>
                  <a:cubicBezTo>
                    <a:pt x="49642" y="135954"/>
                    <a:pt x="49642" y="136236"/>
                    <a:pt x="49642" y="136236"/>
                  </a:cubicBezTo>
                  <a:cubicBezTo>
                    <a:pt x="49361" y="136518"/>
                    <a:pt x="49078" y="136800"/>
                    <a:pt x="49078" y="137364"/>
                  </a:cubicBezTo>
                  <a:close/>
                  <a:moveTo>
                    <a:pt x="50206" y="235803"/>
                  </a:moveTo>
                  <a:lnTo>
                    <a:pt x="49642" y="235803"/>
                  </a:lnTo>
                  <a:cubicBezTo>
                    <a:pt x="49642" y="235803"/>
                    <a:pt x="49642" y="235521"/>
                    <a:pt x="49361" y="235521"/>
                  </a:cubicBezTo>
                  <a:lnTo>
                    <a:pt x="49925" y="235521"/>
                  </a:lnTo>
                  <a:lnTo>
                    <a:pt x="50206" y="235803"/>
                  </a:lnTo>
                  <a:close/>
                  <a:moveTo>
                    <a:pt x="50771" y="248496"/>
                  </a:moveTo>
                  <a:lnTo>
                    <a:pt x="50489" y="248214"/>
                  </a:lnTo>
                  <a:cubicBezTo>
                    <a:pt x="50206" y="248496"/>
                    <a:pt x="50206" y="248496"/>
                    <a:pt x="49925" y="248496"/>
                  </a:cubicBezTo>
                  <a:cubicBezTo>
                    <a:pt x="49925" y="248496"/>
                    <a:pt x="49925" y="248778"/>
                    <a:pt x="50206" y="249060"/>
                  </a:cubicBezTo>
                  <a:cubicBezTo>
                    <a:pt x="50206" y="248778"/>
                    <a:pt x="50489" y="248496"/>
                    <a:pt x="50771" y="248496"/>
                  </a:cubicBezTo>
                  <a:close/>
                  <a:moveTo>
                    <a:pt x="54156" y="246522"/>
                  </a:moveTo>
                  <a:cubicBezTo>
                    <a:pt x="54156" y="246240"/>
                    <a:pt x="53873" y="245675"/>
                    <a:pt x="53309" y="245393"/>
                  </a:cubicBezTo>
                  <a:cubicBezTo>
                    <a:pt x="52745" y="245675"/>
                    <a:pt x="52463" y="246240"/>
                    <a:pt x="52463" y="247086"/>
                  </a:cubicBezTo>
                  <a:lnTo>
                    <a:pt x="53873" y="247086"/>
                  </a:lnTo>
                  <a:cubicBezTo>
                    <a:pt x="54156" y="247086"/>
                    <a:pt x="54156" y="246804"/>
                    <a:pt x="54156" y="246522"/>
                  </a:cubicBezTo>
                  <a:close/>
                  <a:moveTo>
                    <a:pt x="53027" y="131723"/>
                  </a:moveTo>
                  <a:cubicBezTo>
                    <a:pt x="53027" y="131723"/>
                    <a:pt x="53309" y="131723"/>
                    <a:pt x="53309" y="131441"/>
                  </a:cubicBezTo>
                  <a:cubicBezTo>
                    <a:pt x="53309" y="131159"/>
                    <a:pt x="53309" y="130876"/>
                    <a:pt x="53027" y="130876"/>
                  </a:cubicBezTo>
                  <a:lnTo>
                    <a:pt x="53027" y="131723"/>
                  </a:lnTo>
                  <a:close/>
                  <a:moveTo>
                    <a:pt x="53592" y="133979"/>
                  </a:moveTo>
                  <a:cubicBezTo>
                    <a:pt x="53309" y="134261"/>
                    <a:pt x="53309" y="134543"/>
                    <a:pt x="53027" y="134543"/>
                  </a:cubicBezTo>
                  <a:cubicBezTo>
                    <a:pt x="53027" y="134825"/>
                    <a:pt x="53309" y="134825"/>
                    <a:pt x="53309" y="134825"/>
                  </a:cubicBezTo>
                  <a:cubicBezTo>
                    <a:pt x="53592" y="134825"/>
                    <a:pt x="53592" y="134543"/>
                    <a:pt x="53873" y="134543"/>
                  </a:cubicBezTo>
                  <a:cubicBezTo>
                    <a:pt x="53873" y="134261"/>
                    <a:pt x="53592" y="134261"/>
                    <a:pt x="53592" y="133979"/>
                  </a:cubicBezTo>
                  <a:close/>
                  <a:moveTo>
                    <a:pt x="54437" y="126646"/>
                  </a:moveTo>
                  <a:cubicBezTo>
                    <a:pt x="54437" y="126928"/>
                    <a:pt x="54437" y="126928"/>
                    <a:pt x="54720" y="127210"/>
                  </a:cubicBezTo>
                  <a:lnTo>
                    <a:pt x="54720" y="126928"/>
                  </a:lnTo>
                  <a:cubicBezTo>
                    <a:pt x="54720" y="126646"/>
                    <a:pt x="54720" y="126646"/>
                    <a:pt x="54437" y="126364"/>
                  </a:cubicBezTo>
                  <a:cubicBezTo>
                    <a:pt x="54437" y="126364"/>
                    <a:pt x="54156" y="126646"/>
                    <a:pt x="54437" y="126646"/>
                  </a:cubicBezTo>
                  <a:close/>
                  <a:moveTo>
                    <a:pt x="54437" y="137082"/>
                  </a:moveTo>
                  <a:lnTo>
                    <a:pt x="55002" y="137082"/>
                  </a:lnTo>
                  <a:cubicBezTo>
                    <a:pt x="55284" y="137082"/>
                    <a:pt x="55566" y="136800"/>
                    <a:pt x="55566" y="136518"/>
                  </a:cubicBezTo>
                  <a:lnTo>
                    <a:pt x="55284" y="136236"/>
                  </a:lnTo>
                  <a:cubicBezTo>
                    <a:pt x="54720" y="136236"/>
                    <a:pt x="54437" y="136518"/>
                    <a:pt x="54437" y="137082"/>
                  </a:cubicBezTo>
                  <a:close/>
                  <a:moveTo>
                    <a:pt x="55002" y="132851"/>
                  </a:moveTo>
                  <a:cubicBezTo>
                    <a:pt x="55002" y="133133"/>
                    <a:pt x="55002" y="133133"/>
                    <a:pt x="54720" y="133415"/>
                  </a:cubicBezTo>
                  <a:cubicBezTo>
                    <a:pt x="54720" y="133415"/>
                    <a:pt x="55002" y="133415"/>
                    <a:pt x="55002" y="133697"/>
                  </a:cubicBezTo>
                  <a:cubicBezTo>
                    <a:pt x="55002" y="133415"/>
                    <a:pt x="55002" y="133415"/>
                    <a:pt x="55284" y="133133"/>
                  </a:cubicBezTo>
                  <a:lnTo>
                    <a:pt x="55002" y="132851"/>
                  </a:lnTo>
                  <a:close/>
                  <a:moveTo>
                    <a:pt x="55848" y="135954"/>
                  </a:moveTo>
                  <a:cubicBezTo>
                    <a:pt x="56130" y="136236"/>
                    <a:pt x="56130" y="136236"/>
                    <a:pt x="56412" y="136236"/>
                  </a:cubicBezTo>
                  <a:cubicBezTo>
                    <a:pt x="56412" y="136236"/>
                    <a:pt x="56694" y="136236"/>
                    <a:pt x="56694" y="135954"/>
                  </a:cubicBezTo>
                  <a:lnTo>
                    <a:pt x="56694" y="135672"/>
                  </a:lnTo>
                  <a:lnTo>
                    <a:pt x="56412" y="135389"/>
                  </a:lnTo>
                  <a:cubicBezTo>
                    <a:pt x="56412" y="135389"/>
                    <a:pt x="56130" y="135389"/>
                    <a:pt x="55848" y="135672"/>
                  </a:cubicBezTo>
                  <a:lnTo>
                    <a:pt x="55848" y="135954"/>
                  </a:lnTo>
                  <a:close/>
                  <a:moveTo>
                    <a:pt x="57258" y="124389"/>
                  </a:moveTo>
                  <a:cubicBezTo>
                    <a:pt x="57258" y="124389"/>
                    <a:pt x="57540" y="124389"/>
                    <a:pt x="57540" y="124107"/>
                  </a:cubicBezTo>
                  <a:lnTo>
                    <a:pt x="57258" y="124107"/>
                  </a:lnTo>
                  <a:lnTo>
                    <a:pt x="57258" y="124389"/>
                  </a:lnTo>
                  <a:close/>
                  <a:moveTo>
                    <a:pt x="57258" y="136800"/>
                  </a:moveTo>
                  <a:lnTo>
                    <a:pt x="57540" y="136800"/>
                  </a:lnTo>
                  <a:cubicBezTo>
                    <a:pt x="57823" y="136800"/>
                    <a:pt x="57823" y="137082"/>
                    <a:pt x="58104" y="137082"/>
                  </a:cubicBezTo>
                  <a:cubicBezTo>
                    <a:pt x="58387" y="137364"/>
                    <a:pt x="58387" y="137646"/>
                    <a:pt x="58387" y="137928"/>
                  </a:cubicBezTo>
                  <a:lnTo>
                    <a:pt x="58387" y="138492"/>
                  </a:lnTo>
                  <a:lnTo>
                    <a:pt x="58951" y="138492"/>
                  </a:lnTo>
                  <a:cubicBezTo>
                    <a:pt x="59515" y="137928"/>
                    <a:pt x="59515" y="137646"/>
                    <a:pt x="59515" y="137364"/>
                  </a:cubicBezTo>
                  <a:cubicBezTo>
                    <a:pt x="59515" y="137082"/>
                    <a:pt x="59515" y="136800"/>
                    <a:pt x="59233" y="136518"/>
                  </a:cubicBezTo>
                  <a:cubicBezTo>
                    <a:pt x="59233" y="136518"/>
                    <a:pt x="58951" y="136518"/>
                    <a:pt x="58387" y="136236"/>
                  </a:cubicBezTo>
                  <a:cubicBezTo>
                    <a:pt x="58387" y="136236"/>
                    <a:pt x="57823" y="136518"/>
                    <a:pt x="57540" y="136800"/>
                  </a:cubicBezTo>
                  <a:lnTo>
                    <a:pt x="57540" y="136236"/>
                  </a:lnTo>
                  <a:lnTo>
                    <a:pt x="57258" y="136236"/>
                  </a:lnTo>
                  <a:lnTo>
                    <a:pt x="57258" y="136800"/>
                  </a:lnTo>
                  <a:close/>
                  <a:moveTo>
                    <a:pt x="57540" y="124107"/>
                  </a:moveTo>
                  <a:cubicBezTo>
                    <a:pt x="57823" y="124107"/>
                    <a:pt x="57823" y="124107"/>
                    <a:pt x="57823" y="123825"/>
                  </a:cubicBezTo>
                  <a:lnTo>
                    <a:pt x="57540" y="124107"/>
                  </a:lnTo>
                  <a:close/>
                  <a:moveTo>
                    <a:pt x="57540" y="134261"/>
                  </a:moveTo>
                  <a:lnTo>
                    <a:pt x="57540" y="134543"/>
                  </a:lnTo>
                  <a:lnTo>
                    <a:pt x="57823" y="134543"/>
                  </a:lnTo>
                  <a:cubicBezTo>
                    <a:pt x="58104" y="134261"/>
                    <a:pt x="58104" y="133979"/>
                    <a:pt x="58104" y="133697"/>
                  </a:cubicBezTo>
                  <a:lnTo>
                    <a:pt x="58104" y="133415"/>
                  </a:lnTo>
                  <a:lnTo>
                    <a:pt x="57823" y="133133"/>
                  </a:lnTo>
                  <a:lnTo>
                    <a:pt x="57823" y="133415"/>
                  </a:lnTo>
                  <a:cubicBezTo>
                    <a:pt x="57540" y="133415"/>
                    <a:pt x="57540" y="133697"/>
                    <a:pt x="57540" y="134261"/>
                  </a:cubicBezTo>
                  <a:close/>
                  <a:moveTo>
                    <a:pt x="59233" y="125799"/>
                  </a:moveTo>
                  <a:lnTo>
                    <a:pt x="58951" y="125799"/>
                  </a:lnTo>
                  <a:lnTo>
                    <a:pt x="58951" y="125517"/>
                  </a:lnTo>
                  <a:cubicBezTo>
                    <a:pt x="58668" y="125517"/>
                    <a:pt x="58387" y="125799"/>
                    <a:pt x="58104" y="126081"/>
                  </a:cubicBezTo>
                  <a:cubicBezTo>
                    <a:pt x="58104" y="126081"/>
                    <a:pt x="57823" y="126646"/>
                    <a:pt x="57823" y="126928"/>
                  </a:cubicBezTo>
                  <a:lnTo>
                    <a:pt x="58668" y="126928"/>
                  </a:lnTo>
                  <a:cubicBezTo>
                    <a:pt x="59233" y="126646"/>
                    <a:pt x="59233" y="126081"/>
                    <a:pt x="59233" y="125799"/>
                  </a:cubicBezTo>
                  <a:close/>
                  <a:moveTo>
                    <a:pt x="58387" y="122979"/>
                  </a:moveTo>
                  <a:cubicBezTo>
                    <a:pt x="59233" y="122979"/>
                    <a:pt x="59515" y="122697"/>
                    <a:pt x="59797" y="122133"/>
                  </a:cubicBezTo>
                  <a:cubicBezTo>
                    <a:pt x="59233" y="122133"/>
                    <a:pt x="58668" y="122133"/>
                    <a:pt x="58387" y="122979"/>
                  </a:cubicBezTo>
                  <a:close/>
                  <a:moveTo>
                    <a:pt x="59797" y="122133"/>
                  </a:moveTo>
                  <a:cubicBezTo>
                    <a:pt x="60361" y="121568"/>
                    <a:pt x="61207" y="121286"/>
                    <a:pt x="61771" y="121286"/>
                  </a:cubicBezTo>
                  <a:lnTo>
                    <a:pt x="61489" y="121004"/>
                  </a:lnTo>
                  <a:cubicBezTo>
                    <a:pt x="61489" y="120722"/>
                    <a:pt x="61207" y="120722"/>
                    <a:pt x="60925" y="120722"/>
                  </a:cubicBezTo>
                  <a:cubicBezTo>
                    <a:pt x="60925" y="120722"/>
                    <a:pt x="60643" y="121004"/>
                    <a:pt x="60361" y="121004"/>
                  </a:cubicBezTo>
                  <a:cubicBezTo>
                    <a:pt x="59797" y="121286"/>
                    <a:pt x="59797" y="121286"/>
                    <a:pt x="59797" y="122133"/>
                  </a:cubicBezTo>
                  <a:close/>
                  <a:moveTo>
                    <a:pt x="62054" y="240598"/>
                  </a:moveTo>
                  <a:lnTo>
                    <a:pt x="61771" y="240880"/>
                  </a:lnTo>
                  <a:lnTo>
                    <a:pt x="62054" y="240880"/>
                  </a:lnTo>
                  <a:lnTo>
                    <a:pt x="62618" y="240598"/>
                  </a:lnTo>
                  <a:lnTo>
                    <a:pt x="62054" y="240598"/>
                  </a:lnTo>
                  <a:close/>
                  <a:moveTo>
                    <a:pt x="63464" y="120722"/>
                  </a:moveTo>
                  <a:cubicBezTo>
                    <a:pt x="63464" y="121004"/>
                    <a:pt x="63464" y="121004"/>
                    <a:pt x="63745" y="121286"/>
                  </a:cubicBezTo>
                  <a:lnTo>
                    <a:pt x="64309" y="121286"/>
                  </a:lnTo>
                  <a:cubicBezTo>
                    <a:pt x="64874" y="121851"/>
                    <a:pt x="65720" y="121851"/>
                    <a:pt x="66002" y="122415"/>
                  </a:cubicBezTo>
                  <a:cubicBezTo>
                    <a:pt x="66848" y="122415"/>
                    <a:pt x="66848" y="122415"/>
                    <a:pt x="67412" y="121851"/>
                  </a:cubicBezTo>
                  <a:cubicBezTo>
                    <a:pt x="67695" y="121568"/>
                    <a:pt x="67976" y="121568"/>
                    <a:pt x="67976" y="121286"/>
                  </a:cubicBezTo>
                  <a:lnTo>
                    <a:pt x="67695" y="121004"/>
                  </a:lnTo>
                  <a:cubicBezTo>
                    <a:pt x="67130" y="120722"/>
                    <a:pt x="66848" y="120158"/>
                    <a:pt x="66566" y="120158"/>
                  </a:cubicBezTo>
                  <a:lnTo>
                    <a:pt x="66002" y="119876"/>
                  </a:lnTo>
                  <a:cubicBezTo>
                    <a:pt x="65438" y="119876"/>
                    <a:pt x="64874" y="120158"/>
                    <a:pt x="64309" y="120158"/>
                  </a:cubicBezTo>
                  <a:lnTo>
                    <a:pt x="63745" y="120158"/>
                  </a:lnTo>
                  <a:cubicBezTo>
                    <a:pt x="63464" y="120158"/>
                    <a:pt x="63464" y="120158"/>
                    <a:pt x="63464" y="120440"/>
                  </a:cubicBezTo>
                  <a:lnTo>
                    <a:pt x="63464" y="120722"/>
                  </a:lnTo>
                  <a:close/>
                  <a:moveTo>
                    <a:pt x="63745" y="118184"/>
                  </a:moveTo>
                  <a:cubicBezTo>
                    <a:pt x="64028" y="118184"/>
                    <a:pt x="64028" y="118466"/>
                    <a:pt x="64309" y="118466"/>
                  </a:cubicBezTo>
                  <a:lnTo>
                    <a:pt x="64874" y="117902"/>
                  </a:lnTo>
                  <a:cubicBezTo>
                    <a:pt x="64874" y="117902"/>
                    <a:pt x="64874" y="117620"/>
                    <a:pt x="64592" y="117620"/>
                  </a:cubicBezTo>
                  <a:lnTo>
                    <a:pt x="64309" y="117620"/>
                  </a:lnTo>
                  <a:cubicBezTo>
                    <a:pt x="64028" y="117620"/>
                    <a:pt x="64028" y="117620"/>
                    <a:pt x="63745" y="117902"/>
                  </a:cubicBezTo>
                  <a:lnTo>
                    <a:pt x="63745" y="118184"/>
                  </a:lnTo>
                  <a:close/>
                  <a:moveTo>
                    <a:pt x="68540" y="117055"/>
                  </a:moveTo>
                  <a:cubicBezTo>
                    <a:pt x="68540" y="117338"/>
                    <a:pt x="68823" y="117338"/>
                    <a:pt x="69105" y="117620"/>
                  </a:cubicBezTo>
                  <a:lnTo>
                    <a:pt x="69387" y="117902"/>
                  </a:lnTo>
                  <a:cubicBezTo>
                    <a:pt x="69387" y="117338"/>
                    <a:pt x="69669" y="116773"/>
                    <a:pt x="69951" y="116491"/>
                  </a:cubicBezTo>
                  <a:lnTo>
                    <a:pt x="69951" y="116209"/>
                  </a:lnTo>
                  <a:lnTo>
                    <a:pt x="69387" y="116209"/>
                  </a:lnTo>
                  <a:cubicBezTo>
                    <a:pt x="68823" y="116491"/>
                    <a:pt x="68540" y="116773"/>
                    <a:pt x="68540" y="117055"/>
                  </a:cubicBezTo>
                  <a:close/>
                  <a:moveTo>
                    <a:pt x="70233" y="121568"/>
                  </a:moveTo>
                  <a:cubicBezTo>
                    <a:pt x="69951" y="121568"/>
                    <a:pt x="69669" y="121851"/>
                    <a:pt x="69669" y="122133"/>
                  </a:cubicBezTo>
                  <a:cubicBezTo>
                    <a:pt x="69387" y="122415"/>
                    <a:pt x="69669" y="122415"/>
                    <a:pt x="69669" y="122415"/>
                  </a:cubicBezTo>
                  <a:cubicBezTo>
                    <a:pt x="69669" y="122415"/>
                    <a:pt x="69951" y="122415"/>
                    <a:pt x="70233" y="122133"/>
                  </a:cubicBezTo>
                  <a:lnTo>
                    <a:pt x="70515" y="122133"/>
                  </a:lnTo>
                  <a:lnTo>
                    <a:pt x="70797" y="122415"/>
                  </a:lnTo>
                  <a:cubicBezTo>
                    <a:pt x="70797" y="122133"/>
                    <a:pt x="70797" y="121851"/>
                    <a:pt x="70515" y="121568"/>
                  </a:cubicBezTo>
                  <a:lnTo>
                    <a:pt x="70233" y="121568"/>
                  </a:lnTo>
                  <a:close/>
                  <a:moveTo>
                    <a:pt x="73054" y="117620"/>
                  </a:moveTo>
                  <a:lnTo>
                    <a:pt x="73336" y="117338"/>
                  </a:lnTo>
                  <a:cubicBezTo>
                    <a:pt x="73336" y="116773"/>
                    <a:pt x="73900" y="116491"/>
                    <a:pt x="73900" y="115927"/>
                  </a:cubicBezTo>
                  <a:cubicBezTo>
                    <a:pt x="74464" y="115363"/>
                    <a:pt x="75028" y="115081"/>
                    <a:pt x="75592" y="114799"/>
                  </a:cubicBezTo>
                  <a:cubicBezTo>
                    <a:pt x="76721" y="114799"/>
                    <a:pt x="77567" y="113953"/>
                    <a:pt x="78131" y="112825"/>
                  </a:cubicBezTo>
                  <a:cubicBezTo>
                    <a:pt x="77002" y="113107"/>
                    <a:pt x="75874" y="113389"/>
                    <a:pt x="75592" y="114235"/>
                  </a:cubicBezTo>
                  <a:cubicBezTo>
                    <a:pt x="75310" y="114517"/>
                    <a:pt x="75028" y="114517"/>
                    <a:pt x="75028" y="114517"/>
                  </a:cubicBezTo>
                  <a:cubicBezTo>
                    <a:pt x="74182" y="114517"/>
                    <a:pt x="73900" y="114799"/>
                    <a:pt x="73336" y="115645"/>
                  </a:cubicBezTo>
                  <a:cubicBezTo>
                    <a:pt x="73336" y="115927"/>
                    <a:pt x="73054" y="116491"/>
                    <a:pt x="72771" y="117055"/>
                  </a:cubicBezTo>
                  <a:lnTo>
                    <a:pt x="73054" y="117620"/>
                  </a:lnTo>
                  <a:close/>
                  <a:moveTo>
                    <a:pt x="74746" y="117902"/>
                  </a:moveTo>
                  <a:cubicBezTo>
                    <a:pt x="74182" y="117902"/>
                    <a:pt x="74182" y="117902"/>
                    <a:pt x="73900" y="118466"/>
                  </a:cubicBezTo>
                  <a:cubicBezTo>
                    <a:pt x="73900" y="118748"/>
                    <a:pt x="73900" y="118748"/>
                    <a:pt x="74182" y="119030"/>
                  </a:cubicBezTo>
                  <a:cubicBezTo>
                    <a:pt x="74464" y="119030"/>
                    <a:pt x="75028" y="118748"/>
                    <a:pt x="75028" y="118184"/>
                  </a:cubicBezTo>
                  <a:cubicBezTo>
                    <a:pt x="75028" y="118184"/>
                    <a:pt x="75028" y="117902"/>
                    <a:pt x="74746" y="117902"/>
                  </a:cubicBezTo>
                  <a:close/>
                  <a:moveTo>
                    <a:pt x="77849" y="225085"/>
                  </a:moveTo>
                  <a:cubicBezTo>
                    <a:pt x="77849" y="224803"/>
                    <a:pt x="77567" y="224803"/>
                    <a:pt x="77567" y="224521"/>
                  </a:cubicBezTo>
                  <a:lnTo>
                    <a:pt x="76721" y="224521"/>
                  </a:lnTo>
                  <a:cubicBezTo>
                    <a:pt x="76438" y="225085"/>
                    <a:pt x="76438" y="225649"/>
                    <a:pt x="76438" y="225931"/>
                  </a:cubicBezTo>
                  <a:cubicBezTo>
                    <a:pt x="76438" y="226213"/>
                    <a:pt x="76438" y="226495"/>
                    <a:pt x="76438" y="226777"/>
                  </a:cubicBezTo>
                  <a:lnTo>
                    <a:pt x="77002" y="226777"/>
                  </a:lnTo>
                  <a:cubicBezTo>
                    <a:pt x="77849" y="226777"/>
                    <a:pt x="77849" y="225931"/>
                    <a:pt x="77849" y="225085"/>
                  </a:cubicBezTo>
                  <a:close/>
                  <a:moveTo>
                    <a:pt x="78977" y="221700"/>
                  </a:moveTo>
                  <a:cubicBezTo>
                    <a:pt x="78695" y="221700"/>
                    <a:pt x="78413" y="221982"/>
                    <a:pt x="78413" y="221982"/>
                  </a:cubicBezTo>
                  <a:cubicBezTo>
                    <a:pt x="78131" y="221982"/>
                    <a:pt x="78131" y="222264"/>
                    <a:pt x="78131" y="222264"/>
                  </a:cubicBezTo>
                  <a:lnTo>
                    <a:pt x="78413" y="222264"/>
                  </a:lnTo>
                  <a:cubicBezTo>
                    <a:pt x="78413" y="222264"/>
                    <a:pt x="78695" y="222264"/>
                    <a:pt x="78695" y="221982"/>
                  </a:cubicBezTo>
                  <a:cubicBezTo>
                    <a:pt x="78977" y="221982"/>
                    <a:pt x="78977" y="221982"/>
                    <a:pt x="78977" y="221700"/>
                  </a:cubicBezTo>
                  <a:close/>
                  <a:moveTo>
                    <a:pt x="80105" y="111414"/>
                  </a:moveTo>
                  <a:cubicBezTo>
                    <a:pt x="80952" y="110850"/>
                    <a:pt x="81516" y="110568"/>
                    <a:pt x="81798" y="110568"/>
                  </a:cubicBezTo>
                  <a:cubicBezTo>
                    <a:pt x="82362" y="110568"/>
                    <a:pt x="82643" y="111132"/>
                    <a:pt x="83208" y="112260"/>
                  </a:cubicBezTo>
                  <a:lnTo>
                    <a:pt x="83208" y="112542"/>
                  </a:lnTo>
                  <a:cubicBezTo>
                    <a:pt x="82643" y="112260"/>
                    <a:pt x="82362" y="112260"/>
                    <a:pt x="82079" y="112260"/>
                  </a:cubicBezTo>
                  <a:cubicBezTo>
                    <a:pt x="81798" y="112542"/>
                    <a:pt x="81516" y="112542"/>
                    <a:pt x="81516" y="113107"/>
                  </a:cubicBezTo>
                  <a:lnTo>
                    <a:pt x="81516" y="113671"/>
                  </a:lnTo>
                  <a:cubicBezTo>
                    <a:pt x="81798" y="113671"/>
                    <a:pt x="82079" y="114235"/>
                    <a:pt x="82079" y="114517"/>
                  </a:cubicBezTo>
                  <a:cubicBezTo>
                    <a:pt x="82079" y="114799"/>
                    <a:pt x="82362" y="114799"/>
                    <a:pt x="82362" y="114799"/>
                  </a:cubicBezTo>
                  <a:lnTo>
                    <a:pt x="82643" y="114517"/>
                  </a:lnTo>
                  <a:cubicBezTo>
                    <a:pt x="82926" y="114517"/>
                    <a:pt x="83208" y="113953"/>
                    <a:pt x="83772" y="113671"/>
                  </a:cubicBezTo>
                  <a:cubicBezTo>
                    <a:pt x="84336" y="113389"/>
                    <a:pt x="84618" y="112825"/>
                    <a:pt x="84336" y="112825"/>
                  </a:cubicBezTo>
                  <a:cubicBezTo>
                    <a:pt x="84054" y="112542"/>
                    <a:pt x="84054" y="112260"/>
                    <a:pt x="84054" y="111978"/>
                  </a:cubicBezTo>
                  <a:cubicBezTo>
                    <a:pt x="84054" y="111696"/>
                    <a:pt x="84054" y="111414"/>
                    <a:pt x="84336" y="111132"/>
                  </a:cubicBezTo>
                  <a:cubicBezTo>
                    <a:pt x="84618" y="110850"/>
                    <a:pt x="84900" y="110850"/>
                    <a:pt x="84900" y="110568"/>
                  </a:cubicBezTo>
                  <a:cubicBezTo>
                    <a:pt x="84900" y="110286"/>
                    <a:pt x="84618" y="110004"/>
                    <a:pt x="84618" y="110004"/>
                  </a:cubicBezTo>
                  <a:cubicBezTo>
                    <a:pt x="84336" y="110004"/>
                    <a:pt x="84336" y="109722"/>
                    <a:pt x="84336" y="109722"/>
                  </a:cubicBezTo>
                  <a:cubicBezTo>
                    <a:pt x="84336" y="109440"/>
                    <a:pt x="84618" y="109440"/>
                    <a:pt x="84900" y="109440"/>
                  </a:cubicBezTo>
                  <a:cubicBezTo>
                    <a:pt x="84900" y="108594"/>
                    <a:pt x="85464" y="108312"/>
                    <a:pt x="86310" y="107747"/>
                  </a:cubicBezTo>
                  <a:lnTo>
                    <a:pt x="87157" y="107183"/>
                  </a:lnTo>
                  <a:lnTo>
                    <a:pt x="87157" y="108312"/>
                  </a:lnTo>
                  <a:cubicBezTo>
                    <a:pt x="88003" y="108030"/>
                    <a:pt x="88003" y="107465"/>
                    <a:pt x="88567" y="107183"/>
                  </a:cubicBezTo>
                  <a:cubicBezTo>
                    <a:pt x="88849" y="106901"/>
                    <a:pt x="88003" y="106619"/>
                    <a:pt x="87721" y="106337"/>
                  </a:cubicBezTo>
                  <a:cubicBezTo>
                    <a:pt x="87721" y="106055"/>
                    <a:pt x="87439" y="105491"/>
                    <a:pt x="87157" y="105209"/>
                  </a:cubicBezTo>
                  <a:lnTo>
                    <a:pt x="86593" y="105209"/>
                  </a:lnTo>
                  <a:cubicBezTo>
                    <a:pt x="85746" y="105491"/>
                    <a:pt x="84900" y="106337"/>
                    <a:pt x="84054" y="106337"/>
                  </a:cubicBezTo>
                  <a:lnTo>
                    <a:pt x="83772" y="106337"/>
                  </a:lnTo>
                  <a:cubicBezTo>
                    <a:pt x="83490" y="106901"/>
                    <a:pt x="82926" y="107183"/>
                    <a:pt x="82643" y="107465"/>
                  </a:cubicBezTo>
                  <a:cubicBezTo>
                    <a:pt x="82643" y="107747"/>
                    <a:pt x="82362" y="108312"/>
                    <a:pt x="82079" y="108312"/>
                  </a:cubicBezTo>
                  <a:cubicBezTo>
                    <a:pt x="81233" y="109158"/>
                    <a:pt x="80669" y="110004"/>
                    <a:pt x="79823" y="110568"/>
                  </a:cubicBezTo>
                  <a:lnTo>
                    <a:pt x="79823" y="111414"/>
                  </a:lnTo>
                  <a:lnTo>
                    <a:pt x="80105" y="111414"/>
                  </a:lnTo>
                  <a:close/>
                  <a:moveTo>
                    <a:pt x="80669" y="217751"/>
                  </a:moveTo>
                  <a:lnTo>
                    <a:pt x="80388" y="217187"/>
                  </a:lnTo>
                  <a:cubicBezTo>
                    <a:pt x="80388" y="217469"/>
                    <a:pt x="80388" y="217469"/>
                    <a:pt x="80105" y="217469"/>
                  </a:cubicBezTo>
                  <a:lnTo>
                    <a:pt x="80388" y="217751"/>
                  </a:lnTo>
                  <a:lnTo>
                    <a:pt x="80669" y="217751"/>
                  </a:lnTo>
                  <a:close/>
                  <a:moveTo>
                    <a:pt x="80388" y="219726"/>
                  </a:moveTo>
                  <a:cubicBezTo>
                    <a:pt x="80388" y="219726"/>
                    <a:pt x="80105" y="219444"/>
                    <a:pt x="80105" y="219726"/>
                  </a:cubicBezTo>
                  <a:lnTo>
                    <a:pt x="80388" y="219726"/>
                  </a:lnTo>
                  <a:close/>
                  <a:moveTo>
                    <a:pt x="86874" y="214367"/>
                  </a:moveTo>
                  <a:cubicBezTo>
                    <a:pt x="86874" y="214085"/>
                    <a:pt x="86874" y="213803"/>
                    <a:pt x="86593" y="213803"/>
                  </a:cubicBezTo>
                  <a:cubicBezTo>
                    <a:pt x="86029" y="213238"/>
                    <a:pt x="85746" y="212956"/>
                    <a:pt x="85464" y="212956"/>
                  </a:cubicBezTo>
                  <a:cubicBezTo>
                    <a:pt x="85182" y="212956"/>
                    <a:pt x="84900" y="212674"/>
                    <a:pt x="84900" y="212674"/>
                  </a:cubicBezTo>
                  <a:lnTo>
                    <a:pt x="84618" y="212956"/>
                  </a:lnTo>
                  <a:cubicBezTo>
                    <a:pt x="83490" y="213238"/>
                    <a:pt x="82643" y="213520"/>
                    <a:pt x="82362" y="214931"/>
                  </a:cubicBezTo>
                  <a:cubicBezTo>
                    <a:pt x="82362" y="215213"/>
                    <a:pt x="81798" y="215495"/>
                    <a:pt x="81798" y="215777"/>
                  </a:cubicBezTo>
                  <a:cubicBezTo>
                    <a:pt x="81516" y="216059"/>
                    <a:pt x="81516" y="216059"/>
                    <a:pt x="81516" y="216341"/>
                  </a:cubicBezTo>
                  <a:lnTo>
                    <a:pt x="81798" y="216623"/>
                  </a:lnTo>
                  <a:lnTo>
                    <a:pt x="82362" y="216623"/>
                  </a:lnTo>
                  <a:cubicBezTo>
                    <a:pt x="82926" y="216623"/>
                    <a:pt x="83208" y="216341"/>
                    <a:pt x="83208" y="215777"/>
                  </a:cubicBezTo>
                  <a:lnTo>
                    <a:pt x="83208" y="215213"/>
                  </a:lnTo>
                  <a:cubicBezTo>
                    <a:pt x="83490" y="214649"/>
                    <a:pt x="83490" y="214367"/>
                    <a:pt x="84054" y="214367"/>
                  </a:cubicBezTo>
                  <a:cubicBezTo>
                    <a:pt x="84618" y="214649"/>
                    <a:pt x="85182" y="214931"/>
                    <a:pt x="85746" y="214931"/>
                  </a:cubicBezTo>
                  <a:cubicBezTo>
                    <a:pt x="86029" y="214931"/>
                    <a:pt x="86874" y="214649"/>
                    <a:pt x="86874" y="214367"/>
                  </a:cubicBezTo>
                  <a:close/>
                  <a:moveTo>
                    <a:pt x="85182" y="100132"/>
                  </a:moveTo>
                  <a:cubicBezTo>
                    <a:pt x="85182" y="99850"/>
                    <a:pt x="85182" y="100132"/>
                    <a:pt x="85464" y="100132"/>
                  </a:cubicBezTo>
                  <a:lnTo>
                    <a:pt x="85182" y="100414"/>
                  </a:lnTo>
                  <a:lnTo>
                    <a:pt x="85182" y="100132"/>
                  </a:lnTo>
                  <a:close/>
                  <a:moveTo>
                    <a:pt x="86874" y="211546"/>
                  </a:moveTo>
                  <a:lnTo>
                    <a:pt x="86593" y="211264"/>
                  </a:lnTo>
                  <a:lnTo>
                    <a:pt x="86310" y="211264"/>
                  </a:lnTo>
                  <a:cubicBezTo>
                    <a:pt x="86029" y="211264"/>
                    <a:pt x="86029" y="211546"/>
                    <a:pt x="86029" y="211828"/>
                  </a:cubicBezTo>
                  <a:lnTo>
                    <a:pt x="86593" y="212392"/>
                  </a:lnTo>
                  <a:lnTo>
                    <a:pt x="86593" y="212110"/>
                  </a:lnTo>
                  <a:lnTo>
                    <a:pt x="86874" y="212110"/>
                  </a:lnTo>
                  <a:lnTo>
                    <a:pt x="86874" y="211546"/>
                  </a:lnTo>
                  <a:close/>
                  <a:moveTo>
                    <a:pt x="88003" y="102670"/>
                  </a:moveTo>
                  <a:cubicBezTo>
                    <a:pt x="88003" y="102670"/>
                    <a:pt x="88003" y="102388"/>
                    <a:pt x="88285" y="102388"/>
                  </a:cubicBezTo>
                  <a:cubicBezTo>
                    <a:pt x="88003" y="102388"/>
                    <a:pt x="88003" y="102106"/>
                    <a:pt x="88003" y="102106"/>
                  </a:cubicBezTo>
                  <a:cubicBezTo>
                    <a:pt x="87721" y="102106"/>
                    <a:pt x="87721" y="102388"/>
                    <a:pt x="87439" y="102388"/>
                  </a:cubicBezTo>
                  <a:lnTo>
                    <a:pt x="88003" y="102670"/>
                  </a:lnTo>
                  <a:close/>
                  <a:moveTo>
                    <a:pt x="88567" y="104645"/>
                  </a:moveTo>
                  <a:cubicBezTo>
                    <a:pt x="89695" y="104363"/>
                    <a:pt x="90824" y="103234"/>
                    <a:pt x="91388" y="102106"/>
                  </a:cubicBezTo>
                  <a:lnTo>
                    <a:pt x="90824" y="102106"/>
                  </a:lnTo>
                  <a:cubicBezTo>
                    <a:pt x="89977" y="102952"/>
                    <a:pt x="88849" y="103517"/>
                    <a:pt x="87721" y="104645"/>
                  </a:cubicBezTo>
                  <a:lnTo>
                    <a:pt x="88567" y="104645"/>
                  </a:lnTo>
                  <a:close/>
                  <a:moveTo>
                    <a:pt x="88567" y="207315"/>
                  </a:moveTo>
                  <a:cubicBezTo>
                    <a:pt x="88849" y="207315"/>
                    <a:pt x="88849" y="207315"/>
                    <a:pt x="89131" y="207033"/>
                  </a:cubicBezTo>
                  <a:lnTo>
                    <a:pt x="88849" y="207033"/>
                  </a:lnTo>
                  <a:lnTo>
                    <a:pt x="88849" y="206751"/>
                  </a:lnTo>
                  <a:cubicBezTo>
                    <a:pt x="88567" y="207033"/>
                    <a:pt x="88567" y="207315"/>
                    <a:pt x="88285" y="207315"/>
                  </a:cubicBezTo>
                  <a:lnTo>
                    <a:pt x="88567" y="207315"/>
                  </a:lnTo>
                  <a:close/>
                  <a:moveTo>
                    <a:pt x="90260" y="209290"/>
                  </a:moveTo>
                  <a:lnTo>
                    <a:pt x="88285" y="208443"/>
                  </a:lnTo>
                  <a:lnTo>
                    <a:pt x="88285" y="208725"/>
                  </a:lnTo>
                  <a:cubicBezTo>
                    <a:pt x="88567" y="209290"/>
                    <a:pt x="89131" y="209572"/>
                    <a:pt x="89131" y="210136"/>
                  </a:cubicBezTo>
                  <a:cubicBezTo>
                    <a:pt x="89131" y="210136"/>
                    <a:pt x="89695" y="210136"/>
                    <a:pt x="89977" y="209854"/>
                  </a:cubicBezTo>
                  <a:cubicBezTo>
                    <a:pt x="90260" y="209854"/>
                    <a:pt x="90260" y="209290"/>
                    <a:pt x="90260" y="209290"/>
                  </a:cubicBezTo>
                  <a:close/>
                  <a:moveTo>
                    <a:pt x="89413" y="99568"/>
                  </a:moveTo>
                  <a:cubicBezTo>
                    <a:pt x="89695" y="99850"/>
                    <a:pt x="89977" y="100132"/>
                    <a:pt x="89977" y="100414"/>
                  </a:cubicBezTo>
                  <a:lnTo>
                    <a:pt x="89977" y="100696"/>
                  </a:lnTo>
                  <a:cubicBezTo>
                    <a:pt x="89977" y="100696"/>
                    <a:pt x="90260" y="100696"/>
                    <a:pt x="90541" y="100978"/>
                  </a:cubicBezTo>
                  <a:lnTo>
                    <a:pt x="90824" y="100696"/>
                  </a:lnTo>
                  <a:cubicBezTo>
                    <a:pt x="91388" y="100414"/>
                    <a:pt x="91388" y="100132"/>
                    <a:pt x="91952" y="99568"/>
                  </a:cubicBezTo>
                  <a:lnTo>
                    <a:pt x="91388" y="99568"/>
                  </a:lnTo>
                  <a:cubicBezTo>
                    <a:pt x="91105" y="99568"/>
                    <a:pt x="90824" y="99286"/>
                    <a:pt x="90260" y="99004"/>
                  </a:cubicBezTo>
                  <a:lnTo>
                    <a:pt x="90260" y="98439"/>
                  </a:lnTo>
                  <a:cubicBezTo>
                    <a:pt x="90260" y="98439"/>
                    <a:pt x="89977" y="98439"/>
                    <a:pt x="89695" y="98721"/>
                  </a:cubicBezTo>
                  <a:cubicBezTo>
                    <a:pt x="89413" y="98721"/>
                    <a:pt x="89413" y="99004"/>
                    <a:pt x="88849" y="99004"/>
                  </a:cubicBezTo>
                  <a:cubicBezTo>
                    <a:pt x="88849" y="99286"/>
                    <a:pt x="88849" y="99568"/>
                    <a:pt x="89413" y="99568"/>
                  </a:cubicBezTo>
                  <a:close/>
                  <a:moveTo>
                    <a:pt x="91105" y="96747"/>
                  </a:moveTo>
                  <a:cubicBezTo>
                    <a:pt x="91105" y="96747"/>
                    <a:pt x="91105" y="97029"/>
                    <a:pt x="91388" y="97029"/>
                  </a:cubicBezTo>
                  <a:cubicBezTo>
                    <a:pt x="91952" y="97029"/>
                    <a:pt x="91952" y="97029"/>
                    <a:pt x="92516" y="96747"/>
                  </a:cubicBezTo>
                  <a:cubicBezTo>
                    <a:pt x="92516" y="96747"/>
                    <a:pt x="92516" y="96465"/>
                    <a:pt x="92234" y="96465"/>
                  </a:cubicBezTo>
                  <a:lnTo>
                    <a:pt x="91388" y="96465"/>
                  </a:lnTo>
                  <a:cubicBezTo>
                    <a:pt x="91105" y="96465"/>
                    <a:pt x="91105" y="96747"/>
                    <a:pt x="91105" y="96747"/>
                  </a:cubicBezTo>
                  <a:close/>
                  <a:moveTo>
                    <a:pt x="92234" y="101260"/>
                  </a:moveTo>
                  <a:cubicBezTo>
                    <a:pt x="92234" y="100978"/>
                    <a:pt x="91952" y="101260"/>
                    <a:pt x="91952" y="101260"/>
                  </a:cubicBezTo>
                  <a:cubicBezTo>
                    <a:pt x="91670" y="101260"/>
                    <a:pt x="91670" y="101824"/>
                    <a:pt x="91388" y="102106"/>
                  </a:cubicBezTo>
                  <a:cubicBezTo>
                    <a:pt x="91952" y="102106"/>
                    <a:pt x="92234" y="102106"/>
                    <a:pt x="92516" y="101542"/>
                  </a:cubicBezTo>
                  <a:cubicBezTo>
                    <a:pt x="92516" y="101260"/>
                    <a:pt x="92516" y="101260"/>
                    <a:pt x="92234" y="101260"/>
                  </a:cubicBezTo>
                  <a:close/>
                  <a:moveTo>
                    <a:pt x="93362" y="98721"/>
                  </a:moveTo>
                  <a:lnTo>
                    <a:pt x="93644" y="98721"/>
                  </a:lnTo>
                  <a:cubicBezTo>
                    <a:pt x="93926" y="98721"/>
                    <a:pt x="94208" y="98721"/>
                    <a:pt x="94491" y="98439"/>
                  </a:cubicBezTo>
                  <a:cubicBezTo>
                    <a:pt x="94208" y="98157"/>
                    <a:pt x="93926" y="97875"/>
                    <a:pt x="93926" y="98157"/>
                  </a:cubicBezTo>
                  <a:cubicBezTo>
                    <a:pt x="93644" y="98157"/>
                    <a:pt x="93644" y="98439"/>
                    <a:pt x="93362" y="98721"/>
                  </a:cubicBezTo>
                  <a:close/>
                  <a:moveTo>
                    <a:pt x="93926" y="100696"/>
                  </a:moveTo>
                  <a:cubicBezTo>
                    <a:pt x="93926" y="100696"/>
                    <a:pt x="93926" y="100414"/>
                    <a:pt x="94208" y="100414"/>
                  </a:cubicBezTo>
                  <a:cubicBezTo>
                    <a:pt x="94208" y="100414"/>
                    <a:pt x="94491" y="100696"/>
                    <a:pt x="94772" y="100696"/>
                  </a:cubicBezTo>
                  <a:cubicBezTo>
                    <a:pt x="94491" y="100414"/>
                    <a:pt x="94491" y="100132"/>
                    <a:pt x="94491" y="100132"/>
                  </a:cubicBezTo>
                  <a:cubicBezTo>
                    <a:pt x="94208" y="100132"/>
                    <a:pt x="94208" y="100414"/>
                    <a:pt x="93926" y="100414"/>
                  </a:cubicBezTo>
                  <a:lnTo>
                    <a:pt x="93926" y="100696"/>
                  </a:lnTo>
                  <a:close/>
                  <a:moveTo>
                    <a:pt x="94491" y="103799"/>
                  </a:moveTo>
                  <a:cubicBezTo>
                    <a:pt x="95055" y="103799"/>
                    <a:pt x="95619" y="103517"/>
                    <a:pt x="95901" y="103234"/>
                  </a:cubicBezTo>
                  <a:cubicBezTo>
                    <a:pt x="95901" y="103234"/>
                    <a:pt x="95901" y="102952"/>
                    <a:pt x="95619" y="102670"/>
                  </a:cubicBezTo>
                  <a:cubicBezTo>
                    <a:pt x="95055" y="102670"/>
                    <a:pt x="94772" y="102952"/>
                    <a:pt x="94491" y="103799"/>
                  </a:cubicBezTo>
                  <a:close/>
                  <a:moveTo>
                    <a:pt x="96465" y="96183"/>
                  </a:moveTo>
                  <a:lnTo>
                    <a:pt x="95901" y="96747"/>
                  </a:lnTo>
                  <a:cubicBezTo>
                    <a:pt x="95901" y="96747"/>
                    <a:pt x="95336" y="97029"/>
                    <a:pt x="95619" y="97029"/>
                  </a:cubicBezTo>
                  <a:cubicBezTo>
                    <a:pt x="95619" y="97311"/>
                    <a:pt x="95901" y="97311"/>
                    <a:pt x="95901" y="97311"/>
                  </a:cubicBezTo>
                  <a:cubicBezTo>
                    <a:pt x="96183" y="97311"/>
                    <a:pt x="96183" y="96747"/>
                    <a:pt x="96183" y="96747"/>
                  </a:cubicBezTo>
                  <a:cubicBezTo>
                    <a:pt x="96747" y="96747"/>
                    <a:pt x="97029" y="96747"/>
                    <a:pt x="97593" y="96183"/>
                  </a:cubicBezTo>
                  <a:cubicBezTo>
                    <a:pt x="97875" y="95337"/>
                    <a:pt x="98157" y="95055"/>
                    <a:pt x="99003" y="94773"/>
                  </a:cubicBezTo>
                  <a:lnTo>
                    <a:pt x="99286" y="94491"/>
                  </a:lnTo>
                  <a:cubicBezTo>
                    <a:pt x="99286" y="94491"/>
                    <a:pt x="99286" y="94209"/>
                    <a:pt x="99003" y="94209"/>
                  </a:cubicBezTo>
                  <a:cubicBezTo>
                    <a:pt x="98439" y="94491"/>
                    <a:pt x="97875" y="94491"/>
                    <a:pt x="97593" y="94491"/>
                  </a:cubicBezTo>
                  <a:cubicBezTo>
                    <a:pt x="97311" y="94491"/>
                    <a:pt x="97029" y="94491"/>
                    <a:pt x="97029" y="93926"/>
                  </a:cubicBezTo>
                  <a:cubicBezTo>
                    <a:pt x="97029" y="93644"/>
                    <a:pt x="96747" y="93362"/>
                    <a:pt x="96747" y="93644"/>
                  </a:cubicBezTo>
                  <a:lnTo>
                    <a:pt x="95619" y="94209"/>
                  </a:lnTo>
                  <a:lnTo>
                    <a:pt x="95336" y="94209"/>
                  </a:lnTo>
                  <a:cubicBezTo>
                    <a:pt x="95336" y="94491"/>
                    <a:pt x="95336" y="94773"/>
                    <a:pt x="95619" y="94773"/>
                  </a:cubicBezTo>
                  <a:cubicBezTo>
                    <a:pt x="95619" y="94773"/>
                    <a:pt x="95901" y="94773"/>
                    <a:pt x="95901" y="95055"/>
                  </a:cubicBezTo>
                  <a:cubicBezTo>
                    <a:pt x="96183" y="95337"/>
                    <a:pt x="96465" y="95901"/>
                    <a:pt x="96465" y="96183"/>
                  </a:cubicBezTo>
                  <a:close/>
                  <a:moveTo>
                    <a:pt x="96465" y="104081"/>
                  </a:moveTo>
                  <a:lnTo>
                    <a:pt x="96465" y="104363"/>
                  </a:lnTo>
                  <a:cubicBezTo>
                    <a:pt x="96465" y="104081"/>
                    <a:pt x="96465" y="104081"/>
                    <a:pt x="96747" y="103799"/>
                  </a:cubicBezTo>
                  <a:cubicBezTo>
                    <a:pt x="96465" y="103799"/>
                    <a:pt x="96465" y="103799"/>
                    <a:pt x="96465" y="104081"/>
                  </a:cubicBezTo>
                  <a:close/>
                  <a:moveTo>
                    <a:pt x="96747" y="98721"/>
                  </a:moveTo>
                  <a:lnTo>
                    <a:pt x="97029" y="98721"/>
                  </a:lnTo>
                  <a:lnTo>
                    <a:pt x="98157" y="97029"/>
                  </a:lnTo>
                  <a:lnTo>
                    <a:pt x="98157" y="96747"/>
                  </a:lnTo>
                  <a:lnTo>
                    <a:pt x="97875" y="96747"/>
                  </a:lnTo>
                  <a:cubicBezTo>
                    <a:pt x="97311" y="97029"/>
                    <a:pt x="97029" y="97593"/>
                    <a:pt x="96747" y="98439"/>
                  </a:cubicBezTo>
                  <a:lnTo>
                    <a:pt x="96747" y="98721"/>
                  </a:lnTo>
                  <a:close/>
                  <a:moveTo>
                    <a:pt x="99286" y="97311"/>
                  </a:moveTo>
                  <a:cubicBezTo>
                    <a:pt x="99286" y="97311"/>
                    <a:pt x="99003" y="97311"/>
                    <a:pt x="99003" y="97593"/>
                  </a:cubicBezTo>
                  <a:cubicBezTo>
                    <a:pt x="98722" y="97593"/>
                    <a:pt x="98722" y="97875"/>
                    <a:pt x="98722" y="98157"/>
                  </a:cubicBezTo>
                  <a:lnTo>
                    <a:pt x="99850" y="99286"/>
                  </a:lnTo>
                  <a:cubicBezTo>
                    <a:pt x="100132" y="99286"/>
                    <a:pt x="99850" y="99004"/>
                    <a:pt x="99850" y="99004"/>
                  </a:cubicBezTo>
                  <a:lnTo>
                    <a:pt x="99850" y="97593"/>
                  </a:lnTo>
                  <a:cubicBezTo>
                    <a:pt x="99567" y="97311"/>
                    <a:pt x="99286" y="97311"/>
                    <a:pt x="99286" y="97311"/>
                  </a:cubicBezTo>
                  <a:close/>
                  <a:moveTo>
                    <a:pt x="99850" y="93362"/>
                  </a:moveTo>
                  <a:cubicBezTo>
                    <a:pt x="100132" y="93362"/>
                    <a:pt x="100413" y="93644"/>
                    <a:pt x="100696" y="93644"/>
                  </a:cubicBezTo>
                  <a:cubicBezTo>
                    <a:pt x="100977" y="93644"/>
                    <a:pt x="101260" y="93362"/>
                    <a:pt x="101824" y="93080"/>
                  </a:cubicBezTo>
                  <a:cubicBezTo>
                    <a:pt x="101824" y="92798"/>
                    <a:pt x="102106" y="92516"/>
                    <a:pt x="101824" y="92516"/>
                  </a:cubicBezTo>
                  <a:cubicBezTo>
                    <a:pt x="101824" y="92234"/>
                    <a:pt x="101824" y="92234"/>
                    <a:pt x="101542" y="92234"/>
                  </a:cubicBezTo>
                  <a:cubicBezTo>
                    <a:pt x="101260" y="92516"/>
                    <a:pt x="101260" y="92516"/>
                    <a:pt x="100977" y="92516"/>
                  </a:cubicBezTo>
                  <a:cubicBezTo>
                    <a:pt x="100696" y="92516"/>
                    <a:pt x="100413" y="92516"/>
                    <a:pt x="99850" y="92798"/>
                  </a:cubicBezTo>
                  <a:lnTo>
                    <a:pt x="99850" y="93362"/>
                  </a:lnTo>
                  <a:close/>
                  <a:moveTo>
                    <a:pt x="101824" y="94209"/>
                  </a:moveTo>
                  <a:cubicBezTo>
                    <a:pt x="101542" y="94209"/>
                    <a:pt x="101260" y="94491"/>
                    <a:pt x="100977" y="95055"/>
                  </a:cubicBezTo>
                  <a:lnTo>
                    <a:pt x="100977" y="95337"/>
                  </a:lnTo>
                  <a:cubicBezTo>
                    <a:pt x="100977" y="95619"/>
                    <a:pt x="100977" y="95619"/>
                    <a:pt x="101260" y="95619"/>
                  </a:cubicBezTo>
                  <a:lnTo>
                    <a:pt x="101542" y="95619"/>
                  </a:lnTo>
                  <a:cubicBezTo>
                    <a:pt x="101542" y="95619"/>
                    <a:pt x="101824" y="95619"/>
                    <a:pt x="102106" y="95337"/>
                  </a:cubicBezTo>
                  <a:lnTo>
                    <a:pt x="102106" y="94491"/>
                  </a:lnTo>
                  <a:lnTo>
                    <a:pt x="101824" y="94209"/>
                  </a:lnTo>
                  <a:close/>
                  <a:moveTo>
                    <a:pt x="106337" y="171493"/>
                  </a:moveTo>
                  <a:lnTo>
                    <a:pt x="105773" y="171493"/>
                  </a:lnTo>
                  <a:cubicBezTo>
                    <a:pt x="105208" y="171493"/>
                    <a:pt x="104927" y="171211"/>
                    <a:pt x="104644" y="171211"/>
                  </a:cubicBezTo>
                  <a:lnTo>
                    <a:pt x="104644" y="171775"/>
                  </a:lnTo>
                  <a:cubicBezTo>
                    <a:pt x="104644" y="172057"/>
                    <a:pt x="105208" y="172339"/>
                    <a:pt x="106055" y="172622"/>
                  </a:cubicBezTo>
                  <a:cubicBezTo>
                    <a:pt x="106055" y="172622"/>
                    <a:pt x="106337" y="172057"/>
                    <a:pt x="106337" y="171775"/>
                  </a:cubicBezTo>
                  <a:lnTo>
                    <a:pt x="106337" y="171493"/>
                  </a:lnTo>
                  <a:close/>
                  <a:moveTo>
                    <a:pt x="105491" y="173468"/>
                  </a:moveTo>
                  <a:cubicBezTo>
                    <a:pt x="104927" y="173468"/>
                    <a:pt x="104644" y="174032"/>
                    <a:pt x="104644" y="174878"/>
                  </a:cubicBezTo>
                  <a:lnTo>
                    <a:pt x="104644" y="175160"/>
                  </a:lnTo>
                  <a:lnTo>
                    <a:pt x="104927" y="175160"/>
                  </a:lnTo>
                  <a:lnTo>
                    <a:pt x="106055" y="173468"/>
                  </a:lnTo>
                  <a:lnTo>
                    <a:pt x="105491" y="173468"/>
                  </a:lnTo>
                  <a:close/>
                  <a:moveTo>
                    <a:pt x="108594" y="163314"/>
                  </a:moveTo>
                  <a:cubicBezTo>
                    <a:pt x="108311" y="163031"/>
                    <a:pt x="108311" y="162749"/>
                    <a:pt x="108311" y="162185"/>
                  </a:cubicBezTo>
                  <a:lnTo>
                    <a:pt x="108311" y="161903"/>
                  </a:lnTo>
                  <a:cubicBezTo>
                    <a:pt x="108029" y="162185"/>
                    <a:pt x="108029" y="162185"/>
                    <a:pt x="107747" y="162185"/>
                  </a:cubicBezTo>
                  <a:cubicBezTo>
                    <a:pt x="107183" y="162467"/>
                    <a:pt x="106901" y="163031"/>
                    <a:pt x="106901" y="163596"/>
                  </a:cubicBezTo>
                  <a:cubicBezTo>
                    <a:pt x="106901" y="163878"/>
                    <a:pt x="107183" y="164442"/>
                    <a:pt x="107183" y="164724"/>
                  </a:cubicBezTo>
                  <a:lnTo>
                    <a:pt x="108029" y="165006"/>
                  </a:lnTo>
                  <a:cubicBezTo>
                    <a:pt x="108029" y="164724"/>
                    <a:pt x="108311" y="164160"/>
                    <a:pt x="108594" y="163596"/>
                  </a:cubicBezTo>
                  <a:lnTo>
                    <a:pt x="108594" y="163314"/>
                  </a:lnTo>
                  <a:close/>
                  <a:moveTo>
                    <a:pt x="108029" y="166134"/>
                  </a:moveTo>
                  <a:cubicBezTo>
                    <a:pt x="107747" y="166134"/>
                    <a:pt x="107747" y="165852"/>
                    <a:pt x="107465" y="165570"/>
                  </a:cubicBezTo>
                  <a:cubicBezTo>
                    <a:pt x="107465" y="165852"/>
                    <a:pt x="107183" y="166134"/>
                    <a:pt x="107183" y="166416"/>
                  </a:cubicBezTo>
                  <a:cubicBezTo>
                    <a:pt x="107465" y="166416"/>
                    <a:pt x="107747" y="166698"/>
                    <a:pt x="107747" y="166698"/>
                  </a:cubicBezTo>
                  <a:cubicBezTo>
                    <a:pt x="107747" y="166698"/>
                    <a:pt x="107747" y="166416"/>
                    <a:pt x="108029" y="166134"/>
                  </a:cubicBezTo>
                  <a:close/>
                  <a:moveTo>
                    <a:pt x="108311" y="157390"/>
                  </a:moveTo>
                  <a:lnTo>
                    <a:pt x="108311" y="157954"/>
                  </a:lnTo>
                  <a:lnTo>
                    <a:pt x="108875" y="157954"/>
                  </a:lnTo>
                  <a:lnTo>
                    <a:pt x="108311" y="157390"/>
                  </a:lnTo>
                  <a:close/>
                  <a:moveTo>
                    <a:pt x="108875" y="154852"/>
                  </a:moveTo>
                  <a:cubicBezTo>
                    <a:pt x="108875" y="154852"/>
                    <a:pt x="108875" y="155134"/>
                    <a:pt x="109158" y="155134"/>
                  </a:cubicBezTo>
                  <a:lnTo>
                    <a:pt x="109439" y="154852"/>
                  </a:lnTo>
                  <a:cubicBezTo>
                    <a:pt x="109439" y="154570"/>
                    <a:pt x="109158" y="154570"/>
                    <a:pt x="109158" y="154288"/>
                  </a:cubicBezTo>
                  <a:lnTo>
                    <a:pt x="109158" y="154570"/>
                  </a:lnTo>
                  <a:lnTo>
                    <a:pt x="108875" y="154852"/>
                  </a:lnTo>
                  <a:close/>
                  <a:moveTo>
                    <a:pt x="109439" y="158801"/>
                  </a:moveTo>
                  <a:cubicBezTo>
                    <a:pt x="109439" y="159083"/>
                    <a:pt x="109439" y="159365"/>
                    <a:pt x="109722" y="159365"/>
                  </a:cubicBezTo>
                  <a:lnTo>
                    <a:pt x="110004" y="159365"/>
                  </a:lnTo>
                  <a:lnTo>
                    <a:pt x="110004" y="157954"/>
                  </a:lnTo>
                  <a:cubicBezTo>
                    <a:pt x="109722" y="158236"/>
                    <a:pt x="109439" y="158801"/>
                    <a:pt x="109439" y="158801"/>
                  </a:cubicBezTo>
                  <a:close/>
                  <a:moveTo>
                    <a:pt x="110286" y="161339"/>
                  </a:moveTo>
                  <a:cubicBezTo>
                    <a:pt x="110004" y="161339"/>
                    <a:pt x="110004" y="161057"/>
                    <a:pt x="109722" y="160775"/>
                  </a:cubicBezTo>
                  <a:cubicBezTo>
                    <a:pt x="109439" y="160775"/>
                    <a:pt x="109439" y="161057"/>
                    <a:pt x="109439" y="161057"/>
                  </a:cubicBezTo>
                  <a:lnTo>
                    <a:pt x="109439" y="161339"/>
                  </a:lnTo>
                  <a:cubicBezTo>
                    <a:pt x="109722" y="161339"/>
                    <a:pt x="110004" y="161339"/>
                    <a:pt x="110004" y="161621"/>
                  </a:cubicBezTo>
                  <a:lnTo>
                    <a:pt x="110286" y="161339"/>
                  </a:lnTo>
                  <a:close/>
                  <a:moveTo>
                    <a:pt x="114517" y="142723"/>
                  </a:moveTo>
                  <a:cubicBezTo>
                    <a:pt x="114235" y="142723"/>
                    <a:pt x="113953" y="142441"/>
                    <a:pt x="113670" y="142441"/>
                  </a:cubicBezTo>
                  <a:cubicBezTo>
                    <a:pt x="113389" y="142441"/>
                    <a:pt x="113389" y="142723"/>
                    <a:pt x="113389" y="143287"/>
                  </a:cubicBezTo>
                  <a:cubicBezTo>
                    <a:pt x="113389" y="143851"/>
                    <a:pt x="113106" y="144415"/>
                    <a:pt x="113106" y="144980"/>
                  </a:cubicBezTo>
                  <a:cubicBezTo>
                    <a:pt x="112260" y="144980"/>
                    <a:pt x="112260" y="145544"/>
                    <a:pt x="112260" y="145826"/>
                  </a:cubicBezTo>
                  <a:lnTo>
                    <a:pt x="112260" y="146108"/>
                  </a:lnTo>
                  <a:lnTo>
                    <a:pt x="112542" y="146390"/>
                  </a:lnTo>
                  <a:cubicBezTo>
                    <a:pt x="112542" y="147236"/>
                    <a:pt x="112542" y="147236"/>
                    <a:pt x="111414" y="147518"/>
                  </a:cubicBezTo>
                  <a:cubicBezTo>
                    <a:pt x="111414" y="147518"/>
                    <a:pt x="111132" y="147800"/>
                    <a:pt x="110850" y="147800"/>
                  </a:cubicBezTo>
                  <a:cubicBezTo>
                    <a:pt x="110568" y="148364"/>
                    <a:pt x="110286" y="149210"/>
                    <a:pt x="110286" y="149775"/>
                  </a:cubicBezTo>
                  <a:cubicBezTo>
                    <a:pt x="110286" y="150057"/>
                    <a:pt x="110286" y="150339"/>
                    <a:pt x="110568" y="150621"/>
                  </a:cubicBezTo>
                  <a:cubicBezTo>
                    <a:pt x="110850" y="151467"/>
                    <a:pt x="110850" y="152595"/>
                    <a:pt x="111132" y="153159"/>
                  </a:cubicBezTo>
                  <a:cubicBezTo>
                    <a:pt x="111132" y="153441"/>
                    <a:pt x="111132" y="153441"/>
                    <a:pt x="111414" y="153441"/>
                  </a:cubicBezTo>
                  <a:cubicBezTo>
                    <a:pt x="111414" y="153723"/>
                    <a:pt x="111414" y="153441"/>
                    <a:pt x="111696" y="153441"/>
                  </a:cubicBezTo>
                  <a:lnTo>
                    <a:pt x="111978" y="153159"/>
                  </a:lnTo>
                  <a:cubicBezTo>
                    <a:pt x="112542" y="152031"/>
                    <a:pt x="113106" y="150339"/>
                    <a:pt x="113106" y="148364"/>
                  </a:cubicBezTo>
                  <a:cubicBezTo>
                    <a:pt x="113953" y="146672"/>
                    <a:pt x="113670" y="145262"/>
                    <a:pt x="114517" y="143851"/>
                  </a:cubicBezTo>
                  <a:lnTo>
                    <a:pt x="114517" y="142723"/>
                  </a:lnTo>
                  <a:close/>
                  <a:moveTo>
                    <a:pt x="111696" y="155980"/>
                  </a:moveTo>
                  <a:lnTo>
                    <a:pt x="111132" y="155980"/>
                  </a:lnTo>
                  <a:lnTo>
                    <a:pt x="111414" y="156262"/>
                  </a:lnTo>
                  <a:lnTo>
                    <a:pt x="111696" y="155980"/>
                  </a:lnTo>
                  <a:close/>
                  <a:moveTo>
                    <a:pt x="113953" y="135672"/>
                  </a:moveTo>
                  <a:lnTo>
                    <a:pt x="113953" y="135389"/>
                  </a:lnTo>
                  <a:cubicBezTo>
                    <a:pt x="113953" y="135389"/>
                    <a:pt x="113670" y="135107"/>
                    <a:pt x="113670" y="134543"/>
                  </a:cubicBezTo>
                  <a:cubicBezTo>
                    <a:pt x="113670" y="134825"/>
                    <a:pt x="113389" y="135107"/>
                    <a:pt x="113389" y="135389"/>
                  </a:cubicBezTo>
                  <a:cubicBezTo>
                    <a:pt x="113670" y="135672"/>
                    <a:pt x="113670" y="135672"/>
                    <a:pt x="113953" y="135672"/>
                  </a:cubicBezTo>
                  <a:close/>
                  <a:moveTo>
                    <a:pt x="116773" y="131159"/>
                  </a:moveTo>
                  <a:cubicBezTo>
                    <a:pt x="116773" y="130594"/>
                    <a:pt x="116491" y="129748"/>
                    <a:pt x="116491" y="128902"/>
                  </a:cubicBezTo>
                  <a:cubicBezTo>
                    <a:pt x="116491" y="128620"/>
                    <a:pt x="116209" y="128902"/>
                    <a:pt x="116209" y="128902"/>
                  </a:cubicBezTo>
                  <a:cubicBezTo>
                    <a:pt x="116209" y="129466"/>
                    <a:pt x="116209" y="129748"/>
                    <a:pt x="115927" y="130030"/>
                  </a:cubicBezTo>
                  <a:cubicBezTo>
                    <a:pt x="115645" y="130312"/>
                    <a:pt x="115645" y="130312"/>
                    <a:pt x="115645" y="130594"/>
                  </a:cubicBezTo>
                  <a:cubicBezTo>
                    <a:pt x="115645" y="130876"/>
                    <a:pt x="115645" y="131159"/>
                    <a:pt x="115927" y="131441"/>
                  </a:cubicBezTo>
                  <a:cubicBezTo>
                    <a:pt x="115927" y="131723"/>
                    <a:pt x="115645" y="131723"/>
                    <a:pt x="115081" y="131723"/>
                  </a:cubicBezTo>
                  <a:cubicBezTo>
                    <a:pt x="115081" y="131441"/>
                    <a:pt x="114799" y="131723"/>
                    <a:pt x="114235" y="132287"/>
                  </a:cubicBezTo>
                  <a:cubicBezTo>
                    <a:pt x="114235" y="132851"/>
                    <a:pt x="113953" y="133697"/>
                    <a:pt x="113670" y="134543"/>
                  </a:cubicBezTo>
                  <a:cubicBezTo>
                    <a:pt x="114517" y="134543"/>
                    <a:pt x="114799" y="135107"/>
                    <a:pt x="115081" y="135389"/>
                  </a:cubicBezTo>
                  <a:cubicBezTo>
                    <a:pt x="115081" y="135672"/>
                    <a:pt x="115081" y="135672"/>
                    <a:pt x="115363" y="135672"/>
                  </a:cubicBezTo>
                  <a:lnTo>
                    <a:pt x="115645" y="135672"/>
                  </a:lnTo>
                  <a:cubicBezTo>
                    <a:pt x="115927" y="135672"/>
                    <a:pt x="115927" y="135389"/>
                    <a:pt x="115927" y="135389"/>
                  </a:cubicBezTo>
                  <a:cubicBezTo>
                    <a:pt x="115927" y="135389"/>
                    <a:pt x="115645" y="135107"/>
                    <a:pt x="115645" y="134825"/>
                  </a:cubicBezTo>
                  <a:cubicBezTo>
                    <a:pt x="115645" y="134261"/>
                    <a:pt x="115645" y="133415"/>
                    <a:pt x="115927" y="133133"/>
                  </a:cubicBezTo>
                  <a:lnTo>
                    <a:pt x="116491" y="132005"/>
                  </a:lnTo>
                  <a:cubicBezTo>
                    <a:pt x="116773" y="131723"/>
                    <a:pt x="116773" y="131441"/>
                    <a:pt x="116773" y="131159"/>
                  </a:cubicBezTo>
                  <a:close/>
                  <a:moveTo>
                    <a:pt x="114799" y="115081"/>
                  </a:moveTo>
                  <a:lnTo>
                    <a:pt x="114799" y="115363"/>
                  </a:lnTo>
                  <a:lnTo>
                    <a:pt x="115081" y="115363"/>
                  </a:lnTo>
                  <a:lnTo>
                    <a:pt x="115081" y="115081"/>
                  </a:lnTo>
                  <a:lnTo>
                    <a:pt x="114799" y="115081"/>
                  </a:lnTo>
                  <a:close/>
                  <a:moveTo>
                    <a:pt x="115645" y="137364"/>
                  </a:moveTo>
                  <a:lnTo>
                    <a:pt x="114799" y="137364"/>
                  </a:lnTo>
                  <a:lnTo>
                    <a:pt x="114799" y="137646"/>
                  </a:lnTo>
                  <a:cubicBezTo>
                    <a:pt x="115081" y="137646"/>
                    <a:pt x="115645" y="137646"/>
                    <a:pt x="115645" y="137364"/>
                  </a:cubicBezTo>
                  <a:close/>
                  <a:moveTo>
                    <a:pt x="115363" y="128620"/>
                  </a:moveTo>
                  <a:lnTo>
                    <a:pt x="115363" y="128902"/>
                  </a:lnTo>
                  <a:cubicBezTo>
                    <a:pt x="115645" y="128902"/>
                    <a:pt x="115645" y="128620"/>
                    <a:pt x="115927" y="128338"/>
                  </a:cubicBezTo>
                  <a:lnTo>
                    <a:pt x="115645" y="128056"/>
                  </a:lnTo>
                  <a:cubicBezTo>
                    <a:pt x="115363" y="128056"/>
                    <a:pt x="115363" y="128338"/>
                    <a:pt x="115363" y="128620"/>
                  </a:cubicBezTo>
                  <a:close/>
                  <a:moveTo>
                    <a:pt x="118183" y="47668"/>
                  </a:moveTo>
                  <a:cubicBezTo>
                    <a:pt x="118183" y="47386"/>
                    <a:pt x="118183" y="47104"/>
                    <a:pt x="118466" y="46540"/>
                  </a:cubicBezTo>
                  <a:cubicBezTo>
                    <a:pt x="118747" y="46258"/>
                    <a:pt x="119030" y="46258"/>
                    <a:pt x="119030" y="45976"/>
                  </a:cubicBezTo>
                  <a:cubicBezTo>
                    <a:pt x="119030" y="45976"/>
                    <a:pt x="118747" y="45694"/>
                    <a:pt x="118747" y="45412"/>
                  </a:cubicBezTo>
                  <a:cubicBezTo>
                    <a:pt x="117901" y="45130"/>
                    <a:pt x="117620" y="44284"/>
                    <a:pt x="117620" y="43437"/>
                  </a:cubicBezTo>
                  <a:lnTo>
                    <a:pt x="117620" y="41463"/>
                  </a:lnTo>
                  <a:cubicBezTo>
                    <a:pt x="117620" y="40617"/>
                    <a:pt x="117620" y="39771"/>
                    <a:pt x="117337" y="39771"/>
                  </a:cubicBezTo>
                  <a:lnTo>
                    <a:pt x="117901" y="38078"/>
                  </a:lnTo>
                  <a:cubicBezTo>
                    <a:pt x="117901" y="37514"/>
                    <a:pt x="117620" y="37514"/>
                    <a:pt x="117056" y="37232"/>
                  </a:cubicBezTo>
                  <a:cubicBezTo>
                    <a:pt x="116773" y="37232"/>
                    <a:pt x="116491" y="37514"/>
                    <a:pt x="116209" y="38078"/>
                  </a:cubicBezTo>
                  <a:cubicBezTo>
                    <a:pt x="116209" y="38078"/>
                    <a:pt x="115927" y="38642"/>
                    <a:pt x="115645" y="38924"/>
                  </a:cubicBezTo>
                  <a:cubicBezTo>
                    <a:pt x="115645" y="39771"/>
                    <a:pt x="115927" y="40053"/>
                    <a:pt x="116209" y="40617"/>
                  </a:cubicBezTo>
                  <a:cubicBezTo>
                    <a:pt x="116491" y="40899"/>
                    <a:pt x="116773" y="41463"/>
                    <a:pt x="116773" y="41463"/>
                  </a:cubicBezTo>
                  <a:lnTo>
                    <a:pt x="116773" y="45694"/>
                  </a:lnTo>
                  <a:cubicBezTo>
                    <a:pt x="116773" y="45976"/>
                    <a:pt x="117056" y="46258"/>
                    <a:pt x="117056" y="46540"/>
                  </a:cubicBezTo>
                  <a:cubicBezTo>
                    <a:pt x="117056" y="46822"/>
                    <a:pt x="116773" y="46822"/>
                    <a:pt x="116773" y="47104"/>
                  </a:cubicBezTo>
                  <a:cubicBezTo>
                    <a:pt x="116491" y="47104"/>
                    <a:pt x="116209" y="47386"/>
                    <a:pt x="116209" y="47386"/>
                  </a:cubicBezTo>
                  <a:lnTo>
                    <a:pt x="116491" y="47668"/>
                  </a:lnTo>
                  <a:cubicBezTo>
                    <a:pt x="116773" y="48797"/>
                    <a:pt x="116491" y="49925"/>
                    <a:pt x="117337" y="51053"/>
                  </a:cubicBezTo>
                  <a:cubicBezTo>
                    <a:pt x="117620" y="51617"/>
                    <a:pt x="117620" y="51899"/>
                    <a:pt x="117620" y="52463"/>
                  </a:cubicBezTo>
                  <a:cubicBezTo>
                    <a:pt x="118183" y="51617"/>
                    <a:pt x="118183" y="50489"/>
                    <a:pt x="118183" y="49361"/>
                  </a:cubicBezTo>
                  <a:lnTo>
                    <a:pt x="118183" y="47668"/>
                  </a:lnTo>
                  <a:close/>
                  <a:moveTo>
                    <a:pt x="117620" y="119594"/>
                  </a:moveTo>
                  <a:cubicBezTo>
                    <a:pt x="117620" y="119312"/>
                    <a:pt x="117337" y="119312"/>
                    <a:pt x="117337" y="119030"/>
                  </a:cubicBezTo>
                  <a:cubicBezTo>
                    <a:pt x="117337" y="118466"/>
                    <a:pt x="117337" y="118184"/>
                    <a:pt x="117056" y="117902"/>
                  </a:cubicBezTo>
                  <a:cubicBezTo>
                    <a:pt x="116773" y="117902"/>
                    <a:pt x="116773" y="117620"/>
                    <a:pt x="116773" y="117620"/>
                  </a:cubicBezTo>
                  <a:lnTo>
                    <a:pt x="116491" y="117902"/>
                  </a:lnTo>
                  <a:cubicBezTo>
                    <a:pt x="116209" y="118184"/>
                    <a:pt x="115927" y="119312"/>
                    <a:pt x="115927" y="120158"/>
                  </a:cubicBezTo>
                  <a:cubicBezTo>
                    <a:pt x="115927" y="120440"/>
                    <a:pt x="116209" y="120440"/>
                    <a:pt x="116491" y="121004"/>
                  </a:cubicBezTo>
                  <a:cubicBezTo>
                    <a:pt x="116773" y="121286"/>
                    <a:pt x="116773" y="121286"/>
                    <a:pt x="117056" y="121286"/>
                  </a:cubicBezTo>
                  <a:lnTo>
                    <a:pt x="117337" y="121286"/>
                  </a:lnTo>
                  <a:cubicBezTo>
                    <a:pt x="117620" y="121286"/>
                    <a:pt x="117620" y="121286"/>
                    <a:pt x="117620" y="121004"/>
                  </a:cubicBezTo>
                  <a:cubicBezTo>
                    <a:pt x="117620" y="120722"/>
                    <a:pt x="117337" y="120158"/>
                    <a:pt x="117337" y="120158"/>
                  </a:cubicBezTo>
                  <a:cubicBezTo>
                    <a:pt x="117337" y="120158"/>
                    <a:pt x="117620" y="119876"/>
                    <a:pt x="117620" y="119594"/>
                  </a:cubicBezTo>
                  <a:close/>
                  <a:moveTo>
                    <a:pt x="116209" y="153159"/>
                  </a:moveTo>
                  <a:lnTo>
                    <a:pt x="116209" y="152877"/>
                  </a:lnTo>
                  <a:lnTo>
                    <a:pt x="116491" y="152877"/>
                  </a:lnTo>
                  <a:cubicBezTo>
                    <a:pt x="116491" y="152877"/>
                    <a:pt x="116491" y="153159"/>
                    <a:pt x="116209" y="153159"/>
                  </a:cubicBezTo>
                  <a:close/>
                  <a:moveTo>
                    <a:pt x="117056" y="111978"/>
                  </a:moveTo>
                  <a:cubicBezTo>
                    <a:pt x="117901" y="110850"/>
                    <a:pt x="117901" y="109722"/>
                    <a:pt x="118466" y="109158"/>
                  </a:cubicBezTo>
                  <a:lnTo>
                    <a:pt x="118466" y="108594"/>
                  </a:lnTo>
                  <a:cubicBezTo>
                    <a:pt x="118466" y="108030"/>
                    <a:pt x="117620" y="107183"/>
                    <a:pt x="117337" y="107183"/>
                  </a:cubicBezTo>
                  <a:cubicBezTo>
                    <a:pt x="116773" y="107183"/>
                    <a:pt x="116773" y="107747"/>
                    <a:pt x="116773" y="107747"/>
                  </a:cubicBezTo>
                  <a:cubicBezTo>
                    <a:pt x="116773" y="108594"/>
                    <a:pt x="116491" y="109440"/>
                    <a:pt x="116491" y="110004"/>
                  </a:cubicBezTo>
                  <a:lnTo>
                    <a:pt x="116491" y="116773"/>
                  </a:lnTo>
                  <a:cubicBezTo>
                    <a:pt x="117056" y="116209"/>
                    <a:pt x="117056" y="115927"/>
                    <a:pt x="117056" y="115363"/>
                  </a:cubicBezTo>
                  <a:cubicBezTo>
                    <a:pt x="117056" y="115081"/>
                    <a:pt x="117337" y="114799"/>
                    <a:pt x="118183" y="114799"/>
                  </a:cubicBezTo>
                  <a:cubicBezTo>
                    <a:pt x="118183" y="114799"/>
                    <a:pt x="118466" y="114517"/>
                    <a:pt x="118466" y="114235"/>
                  </a:cubicBezTo>
                  <a:cubicBezTo>
                    <a:pt x="118747" y="113671"/>
                    <a:pt x="118747" y="113107"/>
                    <a:pt x="118747" y="112260"/>
                  </a:cubicBezTo>
                  <a:lnTo>
                    <a:pt x="118183" y="112260"/>
                  </a:lnTo>
                  <a:lnTo>
                    <a:pt x="117901" y="111978"/>
                  </a:lnTo>
                  <a:cubicBezTo>
                    <a:pt x="117620" y="112260"/>
                    <a:pt x="117337" y="112260"/>
                    <a:pt x="117337" y="112260"/>
                  </a:cubicBezTo>
                  <a:lnTo>
                    <a:pt x="117337" y="111978"/>
                  </a:lnTo>
                  <a:lnTo>
                    <a:pt x="117056" y="111978"/>
                  </a:lnTo>
                  <a:close/>
                  <a:moveTo>
                    <a:pt x="119311" y="66566"/>
                  </a:moveTo>
                  <a:lnTo>
                    <a:pt x="119311" y="66284"/>
                  </a:lnTo>
                  <a:lnTo>
                    <a:pt x="119030" y="66002"/>
                  </a:lnTo>
                  <a:cubicBezTo>
                    <a:pt x="119030" y="66284"/>
                    <a:pt x="118747" y="66284"/>
                    <a:pt x="118747" y="66566"/>
                  </a:cubicBezTo>
                  <a:lnTo>
                    <a:pt x="118747" y="67977"/>
                  </a:lnTo>
                  <a:cubicBezTo>
                    <a:pt x="118747" y="67977"/>
                    <a:pt x="118466" y="68259"/>
                    <a:pt x="118183" y="68259"/>
                  </a:cubicBezTo>
                  <a:lnTo>
                    <a:pt x="118183" y="67977"/>
                  </a:lnTo>
                  <a:cubicBezTo>
                    <a:pt x="118183" y="66849"/>
                    <a:pt x="118183" y="65720"/>
                    <a:pt x="117901" y="64874"/>
                  </a:cubicBezTo>
                  <a:cubicBezTo>
                    <a:pt x="117901" y="64874"/>
                    <a:pt x="118183" y="64874"/>
                    <a:pt x="118183" y="64592"/>
                  </a:cubicBezTo>
                  <a:lnTo>
                    <a:pt x="117901" y="64310"/>
                  </a:lnTo>
                  <a:cubicBezTo>
                    <a:pt x="117337" y="64310"/>
                    <a:pt x="117620" y="66566"/>
                    <a:pt x="116773" y="67977"/>
                  </a:cubicBezTo>
                  <a:lnTo>
                    <a:pt x="116773" y="68541"/>
                  </a:lnTo>
                  <a:cubicBezTo>
                    <a:pt x="117337" y="69387"/>
                    <a:pt x="117620" y="71362"/>
                    <a:pt x="118466" y="71362"/>
                  </a:cubicBezTo>
                  <a:lnTo>
                    <a:pt x="118747" y="71362"/>
                  </a:lnTo>
                  <a:lnTo>
                    <a:pt x="118747" y="69951"/>
                  </a:lnTo>
                  <a:cubicBezTo>
                    <a:pt x="118747" y="69669"/>
                    <a:pt x="118747" y="69105"/>
                    <a:pt x="119030" y="68541"/>
                  </a:cubicBezTo>
                  <a:cubicBezTo>
                    <a:pt x="119311" y="68259"/>
                    <a:pt x="119311" y="67413"/>
                    <a:pt x="119311" y="66566"/>
                  </a:cubicBezTo>
                  <a:close/>
                  <a:moveTo>
                    <a:pt x="117620" y="97311"/>
                  </a:moveTo>
                  <a:lnTo>
                    <a:pt x="116773" y="97311"/>
                  </a:lnTo>
                  <a:lnTo>
                    <a:pt x="116773" y="98157"/>
                  </a:lnTo>
                  <a:cubicBezTo>
                    <a:pt x="117337" y="99004"/>
                    <a:pt x="117337" y="99850"/>
                    <a:pt x="117337" y="100132"/>
                  </a:cubicBezTo>
                  <a:lnTo>
                    <a:pt x="116773" y="101542"/>
                  </a:lnTo>
                  <a:cubicBezTo>
                    <a:pt x="116773" y="101824"/>
                    <a:pt x="117056" y="102670"/>
                    <a:pt x="117337" y="102952"/>
                  </a:cubicBezTo>
                  <a:lnTo>
                    <a:pt x="117620" y="103234"/>
                  </a:lnTo>
                  <a:lnTo>
                    <a:pt x="118183" y="103234"/>
                  </a:lnTo>
                  <a:lnTo>
                    <a:pt x="118183" y="102670"/>
                  </a:lnTo>
                  <a:cubicBezTo>
                    <a:pt x="117901" y="101824"/>
                    <a:pt x="117901" y="100978"/>
                    <a:pt x="117901" y="100414"/>
                  </a:cubicBezTo>
                  <a:cubicBezTo>
                    <a:pt x="117901" y="100132"/>
                    <a:pt x="118183" y="100132"/>
                    <a:pt x="118183" y="99568"/>
                  </a:cubicBezTo>
                  <a:lnTo>
                    <a:pt x="118183" y="99004"/>
                  </a:lnTo>
                  <a:cubicBezTo>
                    <a:pt x="117901" y="98721"/>
                    <a:pt x="117901" y="98157"/>
                    <a:pt x="117901" y="98157"/>
                  </a:cubicBezTo>
                  <a:cubicBezTo>
                    <a:pt x="117901" y="97593"/>
                    <a:pt x="117901" y="97311"/>
                    <a:pt x="117620" y="97311"/>
                  </a:cubicBezTo>
                  <a:close/>
                  <a:moveTo>
                    <a:pt x="117056" y="106055"/>
                  </a:moveTo>
                  <a:cubicBezTo>
                    <a:pt x="117056" y="105773"/>
                    <a:pt x="117337" y="105773"/>
                    <a:pt x="117337" y="105773"/>
                  </a:cubicBezTo>
                  <a:lnTo>
                    <a:pt x="117337" y="105491"/>
                  </a:lnTo>
                  <a:lnTo>
                    <a:pt x="116773" y="105491"/>
                  </a:lnTo>
                  <a:cubicBezTo>
                    <a:pt x="116773" y="105773"/>
                    <a:pt x="116773" y="105773"/>
                    <a:pt x="117056" y="106055"/>
                  </a:cubicBezTo>
                  <a:close/>
                  <a:moveTo>
                    <a:pt x="118183" y="91388"/>
                  </a:moveTo>
                  <a:lnTo>
                    <a:pt x="117620" y="91106"/>
                  </a:lnTo>
                  <a:cubicBezTo>
                    <a:pt x="117620" y="91388"/>
                    <a:pt x="117901" y="91388"/>
                    <a:pt x="117901" y="91388"/>
                  </a:cubicBezTo>
                  <a:lnTo>
                    <a:pt x="117620" y="91670"/>
                  </a:lnTo>
                  <a:lnTo>
                    <a:pt x="117901" y="91670"/>
                  </a:lnTo>
                  <a:cubicBezTo>
                    <a:pt x="117901" y="91670"/>
                    <a:pt x="117901" y="91388"/>
                    <a:pt x="118183" y="91388"/>
                  </a:cubicBezTo>
                  <a:close/>
                  <a:moveTo>
                    <a:pt x="119311" y="111132"/>
                  </a:moveTo>
                  <a:lnTo>
                    <a:pt x="119311" y="110568"/>
                  </a:lnTo>
                  <a:lnTo>
                    <a:pt x="119030" y="110568"/>
                  </a:lnTo>
                  <a:cubicBezTo>
                    <a:pt x="119030" y="110850"/>
                    <a:pt x="119311" y="110850"/>
                    <a:pt x="119311" y="111132"/>
                  </a:cubicBezTo>
                  <a:close/>
                  <a:moveTo>
                    <a:pt x="120722" y="69951"/>
                  </a:moveTo>
                  <a:cubicBezTo>
                    <a:pt x="120722" y="69669"/>
                    <a:pt x="120440" y="69387"/>
                    <a:pt x="120158" y="69387"/>
                  </a:cubicBezTo>
                  <a:cubicBezTo>
                    <a:pt x="120158" y="69951"/>
                    <a:pt x="119876" y="70233"/>
                    <a:pt x="119876" y="70515"/>
                  </a:cubicBezTo>
                  <a:cubicBezTo>
                    <a:pt x="119876" y="71079"/>
                    <a:pt x="119311" y="71644"/>
                    <a:pt x="119311" y="71926"/>
                  </a:cubicBezTo>
                  <a:cubicBezTo>
                    <a:pt x="119311" y="72208"/>
                    <a:pt x="119311" y="72208"/>
                    <a:pt x="119594" y="72208"/>
                  </a:cubicBezTo>
                  <a:lnTo>
                    <a:pt x="119876" y="72208"/>
                  </a:lnTo>
                  <a:lnTo>
                    <a:pt x="119876" y="71926"/>
                  </a:lnTo>
                  <a:cubicBezTo>
                    <a:pt x="119876" y="71644"/>
                    <a:pt x="119876" y="71362"/>
                    <a:pt x="120158" y="70797"/>
                  </a:cubicBezTo>
                  <a:cubicBezTo>
                    <a:pt x="120158" y="70233"/>
                    <a:pt x="120440" y="70233"/>
                    <a:pt x="120722" y="69951"/>
                  </a:cubicBezTo>
                  <a:close/>
                  <a:moveTo>
                    <a:pt x="120158" y="40335"/>
                  </a:moveTo>
                  <a:lnTo>
                    <a:pt x="119876" y="40053"/>
                  </a:lnTo>
                  <a:lnTo>
                    <a:pt x="119594" y="40053"/>
                  </a:lnTo>
                  <a:cubicBezTo>
                    <a:pt x="119594" y="40335"/>
                    <a:pt x="119876" y="40335"/>
                    <a:pt x="119876" y="40617"/>
                  </a:cubicBezTo>
                  <a:cubicBezTo>
                    <a:pt x="120158" y="40617"/>
                    <a:pt x="120158" y="40335"/>
                    <a:pt x="120158" y="40335"/>
                  </a:cubicBezTo>
                  <a:close/>
                  <a:moveTo>
                    <a:pt x="120440" y="44002"/>
                  </a:moveTo>
                  <a:lnTo>
                    <a:pt x="119876" y="44002"/>
                  </a:lnTo>
                  <a:lnTo>
                    <a:pt x="119876" y="44566"/>
                  </a:lnTo>
                  <a:lnTo>
                    <a:pt x="120440" y="44002"/>
                  </a:lnTo>
                  <a:close/>
                  <a:moveTo>
                    <a:pt x="122697" y="79259"/>
                  </a:moveTo>
                  <a:lnTo>
                    <a:pt x="122414" y="79259"/>
                  </a:lnTo>
                  <a:cubicBezTo>
                    <a:pt x="122132" y="79541"/>
                    <a:pt x="122132" y="79541"/>
                    <a:pt x="122132" y="79823"/>
                  </a:cubicBezTo>
                  <a:lnTo>
                    <a:pt x="122132" y="80105"/>
                  </a:lnTo>
                  <a:lnTo>
                    <a:pt x="122414" y="80105"/>
                  </a:lnTo>
                  <a:cubicBezTo>
                    <a:pt x="122697" y="79823"/>
                    <a:pt x="122697" y="79541"/>
                    <a:pt x="122697" y="79259"/>
                  </a:cubicBezTo>
                  <a:close/>
                </a:path>
              </a:pathLst>
            </a:custGeom>
            <a:solidFill>
              <a:srgbClr val="000000"/>
            </a:solidFill>
            <a:ln w="5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dirty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E522DD59-E85B-4FCE-8EC3-0FD5D0170986}"/>
                </a:ext>
              </a:extLst>
            </p:cNvPr>
            <p:cNvSpPr/>
            <p:nvPr/>
          </p:nvSpPr>
          <p:spPr>
            <a:xfrm>
              <a:off x="6127109" y="3329150"/>
              <a:ext cx="163596" cy="265138"/>
            </a:xfrm>
            <a:custGeom>
              <a:avLst/>
              <a:gdLst>
                <a:gd name="connsiteX0" fmla="*/ 68259 w 163595"/>
                <a:gd name="connsiteY0" fmla="*/ 59515 h 265137"/>
                <a:gd name="connsiteX1" fmla="*/ 67695 w 163595"/>
                <a:gd name="connsiteY1" fmla="*/ 60361 h 265137"/>
                <a:gd name="connsiteX2" fmla="*/ 66848 w 163595"/>
                <a:gd name="connsiteY2" fmla="*/ 61207 h 265137"/>
                <a:gd name="connsiteX3" fmla="*/ 65438 w 163595"/>
                <a:gd name="connsiteY3" fmla="*/ 63182 h 265137"/>
                <a:gd name="connsiteX4" fmla="*/ 66284 w 163595"/>
                <a:gd name="connsiteY4" fmla="*/ 63464 h 265137"/>
                <a:gd name="connsiteX5" fmla="*/ 65156 w 163595"/>
                <a:gd name="connsiteY5" fmla="*/ 64874 h 265137"/>
                <a:gd name="connsiteX6" fmla="*/ 64028 w 163595"/>
                <a:gd name="connsiteY6" fmla="*/ 66566 h 265137"/>
                <a:gd name="connsiteX7" fmla="*/ 62900 w 163595"/>
                <a:gd name="connsiteY7" fmla="*/ 67131 h 265137"/>
                <a:gd name="connsiteX8" fmla="*/ 62336 w 163595"/>
                <a:gd name="connsiteY8" fmla="*/ 66849 h 265137"/>
                <a:gd name="connsiteX9" fmla="*/ 61771 w 163595"/>
                <a:gd name="connsiteY9" fmla="*/ 67413 h 265137"/>
                <a:gd name="connsiteX10" fmla="*/ 62336 w 163595"/>
                <a:gd name="connsiteY10" fmla="*/ 67695 h 265137"/>
                <a:gd name="connsiteX11" fmla="*/ 62618 w 163595"/>
                <a:gd name="connsiteY11" fmla="*/ 67977 h 265137"/>
                <a:gd name="connsiteX12" fmla="*/ 60643 w 163595"/>
                <a:gd name="connsiteY12" fmla="*/ 71644 h 265137"/>
                <a:gd name="connsiteX13" fmla="*/ 59797 w 163595"/>
                <a:gd name="connsiteY13" fmla="*/ 73054 h 265137"/>
                <a:gd name="connsiteX14" fmla="*/ 58669 w 163595"/>
                <a:gd name="connsiteY14" fmla="*/ 74464 h 265137"/>
                <a:gd name="connsiteX15" fmla="*/ 58105 w 163595"/>
                <a:gd name="connsiteY15" fmla="*/ 75310 h 265137"/>
                <a:gd name="connsiteX16" fmla="*/ 57823 w 163595"/>
                <a:gd name="connsiteY16" fmla="*/ 75592 h 265137"/>
                <a:gd name="connsiteX17" fmla="*/ 57540 w 163595"/>
                <a:gd name="connsiteY17" fmla="*/ 75592 h 265137"/>
                <a:gd name="connsiteX18" fmla="*/ 57540 w 163595"/>
                <a:gd name="connsiteY18" fmla="*/ 74746 h 265137"/>
                <a:gd name="connsiteX19" fmla="*/ 56976 w 163595"/>
                <a:gd name="connsiteY19" fmla="*/ 74746 h 265137"/>
                <a:gd name="connsiteX20" fmla="*/ 56130 w 163595"/>
                <a:gd name="connsiteY20" fmla="*/ 75592 h 265137"/>
                <a:gd name="connsiteX21" fmla="*/ 56130 w 163595"/>
                <a:gd name="connsiteY21" fmla="*/ 76157 h 265137"/>
                <a:gd name="connsiteX22" fmla="*/ 56695 w 163595"/>
                <a:gd name="connsiteY22" fmla="*/ 76157 h 265137"/>
                <a:gd name="connsiteX23" fmla="*/ 56695 w 163595"/>
                <a:gd name="connsiteY23" fmla="*/ 76439 h 265137"/>
                <a:gd name="connsiteX24" fmla="*/ 56976 w 163595"/>
                <a:gd name="connsiteY24" fmla="*/ 76721 h 265137"/>
                <a:gd name="connsiteX25" fmla="*/ 56695 w 163595"/>
                <a:gd name="connsiteY25" fmla="*/ 77003 h 265137"/>
                <a:gd name="connsiteX26" fmla="*/ 55566 w 163595"/>
                <a:gd name="connsiteY26" fmla="*/ 77003 h 265137"/>
                <a:gd name="connsiteX27" fmla="*/ 55002 w 163595"/>
                <a:gd name="connsiteY27" fmla="*/ 77285 h 265137"/>
                <a:gd name="connsiteX28" fmla="*/ 55002 w 163595"/>
                <a:gd name="connsiteY28" fmla="*/ 78131 h 265137"/>
                <a:gd name="connsiteX29" fmla="*/ 55566 w 163595"/>
                <a:gd name="connsiteY29" fmla="*/ 78413 h 265137"/>
                <a:gd name="connsiteX30" fmla="*/ 55848 w 163595"/>
                <a:gd name="connsiteY30" fmla="*/ 78977 h 265137"/>
                <a:gd name="connsiteX31" fmla="*/ 55566 w 163595"/>
                <a:gd name="connsiteY31" fmla="*/ 79259 h 265137"/>
                <a:gd name="connsiteX32" fmla="*/ 54438 w 163595"/>
                <a:gd name="connsiteY32" fmla="*/ 79823 h 265137"/>
                <a:gd name="connsiteX33" fmla="*/ 52745 w 163595"/>
                <a:gd name="connsiteY33" fmla="*/ 80387 h 265137"/>
                <a:gd name="connsiteX34" fmla="*/ 52745 w 163595"/>
                <a:gd name="connsiteY34" fmla="*/ 80670 h 265137"/>
                <a:gd name="connsiteX35" fmla="*/ 53309 w 163595"/>
                <a:gd name="connsiteY35" fmla="*/ 81516 h 265137"/>
                <a:gd name="connsiteX36" fmla="*/ 53309 w 163595"/>
                <a:gd name="connsiteY36" fmla="*/ 81798 h 265137"/>
                <a:gd name="connsiteX37" fmla="*/ 53028 w 163595"/>
                <a:gd name="connsiteY37" fmla="*/ 82080 h 265137"/>
                <a:gd name="connsiteX38" fmla="*/ 52745 w 163595"/>
                <a:gd name="connsiteY38" fmla="*/ 82362 h 265137"/>
                <a:gd name="connsiteX39" fmla="*/ 52464 w 163595"/>
                <a:gd name="connsiteY39" fmla="*/ 82926 h 265137"/>
                <a:gd name="connsiteX40" fmla="*/ 52745 w 163595"/>
                <a:gd name="connsiteY40" fmla="*/ 83490 h 265137"/>
                <a:gd name="connsiteX41" fmla="*/ 53028 w 163595"/>
                <a:gd name="connsiteY41" fmla="*/ 84054 h 265137"/>
                <a:gd name="connsiteX42" fmla="*/ 52745 w 163595"/>
                <a:gd name="connsiteY42" fmla="*/ 84900 h 265137"/>
                <a:gd name="connsiteX43" fmla="*/ 52181 w 163595"/>
                <a:gd name="connsiteY43" fmla="*/ 86029 h 265137"/>
                <a:gd name="connsiteX44" fmla="*/ 51335 w 163595"/>
                <a:gd name="connsiteY44" fmla="*/ 86311 h 265137"/>
                <a:gd name="connsiteX45" fmla="*/ 50489 w 163595"/>
                <a:gd name="connsiteY45" fmla="*/ 86593 h 265137"/>
                <a:gd name="connsiteX46" fmla="*/ 50489 w 163595"/>
                <a:gd name="connsiteY46" fmla="*/ 87157 h 265137"/>
                <a:gd name="connsiteX47" fmla="*/ 50771 w 163595"/>
                <a:gd name="connsiteY47" fmla="*/ 87439 h 265137"/>
                <a:gd name="connsiteX48" fmla="*/ 50489 w 163595"/>
                <a:gd name="connsiteY48" fmla="*/ 88003 h 265137"/>
                <a:gd name="connsiteX49" fmla="*/ 49925 w 163595"/>
                <a:gd name="connsiteY49" fmla="*/ 88003 h 265137"/>
                <a:gd name="connsiteX50" fmla="*/ 49361 w 163595"/>
                <a:gd name="connsiteY50" fmla="*/ 88285 h 265137"/>
                <a:gd name="connsiteX51" fmla="*/ 49078 w 163595"/>
                <a:gd name="connsiteY51" fmla="*/ 89413 h 265137"/>
                <a:gd name="connsiteX52" fmla="*/ 49078 w 163595"/>
                <a:gd name="connsiteY52" fmla="*/ 89696 h 265137"/>
                <a:gd name="connsiteX53" fmla="*/ 49643 w 163595"/>
                <a:gd name="connsiteY53" fmla="*/ 90824 h 265137"/>
                <a:gd name="connsiteX54" fmla="*/ 49361 w 163595"/>
                <a:gd name="connsiteY54" fmla="*/ 91388 h 265137"/>
                <a:gd name="connsiteX55" fmla="*/ 47668 w 163595"/>
                <a:gd name="connsiteY55" fmla="*/ 95055 h 265137"/>
                <a:gd name="connsiteX56" fmla="*/ 46258 w 163595"/>
                <a:gd name="connsiteY56" fmla="*/ 95901 h 265137"/>
                <a:gd name="connsiteX57" fmla="*/ 45694 w 163595"/>
                <a:gd name="connsiteY57" fmla="*/ 96465 h 265137"/>
                <a:gd name="connsiteX58" fmla="*/ 45412 w 163595"/>
                <a:gd name="connsiteY58" fmla="*/ 97029 h 265137"/>
                <a:gd name="connsiteX59" fmla="*/ 45694 w 163595"/>
                <a:gd name="connsiteY59" fmla="*/ 97311 h 265137"/>
                <a:gd name="connsiteX60" fmla="*/ 45976 w 163595"/>
                <a:gd name="connsiteY60" fmla="*/ 97311 h 265137"/>
                <a:gd name="connsiteX61" fmla="*/ 46540 w 163595"/>
                <a:gd name="connsiteY61" fmla="*/ 97593 h 265137"/>
                <a:gd name="connsiteX62" fmla="*/ 46258 w 163595"/>
                <a:gd name="connsiteY62" fmla="*/ 97875 h 265137"/>
                <a:gd name="connsiteX63" fmla="*/ 44848 w 163595"/>
                <a:gd name="connsiteY63" fmla="*/ 99004 h 265137"/>
                <a:gd name="connsiteX64" fmla="*/ 44566 w 163595"/>
                <a:gd name="connsiteY64" fmla="*/ 99286 h 265137"/>
                <a:gd name="connsiteX65" fmla="*/ 44848 w 163595"/>
                <a:gd name="connsiteY65" fmla="*/ 99568 h 265137"/>
                <a:gd name="connsiteX66" fmla="*/ 45130 w 163595"/>
                <a:gd name="connsiteY66" fmla="*/ 100132 h 265137"/>
                <a:gd name="connsiteX67" fmla="*/ 44848 w 163595"/>
                <a:gd name="connsiteY67" fmla="*/ 100696 h 265137"/>
                <a:gd name="connsiteX68" fmla="*/ 44002 w 163595"/>
                <a:gd name="connsiteY68" fmla="*/ 102952 h 265137"/>
                <a:gd name="connsiteX69" fmla="*/ 43720 w 163595"/>
                <a:gd name="connsiteY69" fmla="*/ 103799 h 265137"/>
                <a:gd name="connsiteX70" fmla="*/ 42027 w 163595"/>
                <a:gd name="connsiteY70" fmla="*/ 106055 h 265137"/>
                <a:gd name="connsiteX71" fmla="*/ 41463 w 163595"/>
                <a:gd name="connsiteY71" fmla="*/ 107183 h 265137"/>
                <a:gd name="connsiteX72" fmla="*/ 40617 w 163595"/>
                <a:gd name="connsiteY72" fmla="*/ 109440 h 265137"/>
                <a:gd name="connsiteX73" fmla="*/ 39489 w 163595"/>
                <a:gd name="connsiteY73" fmla="*/ 111978 h 265137"/>
                <a:gd name="connsiteX74" fmla="*/ 38642 w 163595"/>
                <a:gd name="connsiteY74" fmla="*/ 113107 h 265137"/>
                <a:gd name="connsiteX75" fmla="*/ 38361 w 163595"/>
                <a:gd name="connsiteY75" fmla="*/ 113953 h 265137"/>
                <a:gd name="connsiteX76" fmla="*/ 38361 w 163595"/>
                <a:gd name="connsiteY76" fmla="*/ 114517 h 265137"/>
                <a:gd name="connsiteX77" fmla="*/ 37796 w 163595"/>
                <a:gd name="connsiteY77" fmla="*/ 116773 h 265137"/>
                <a:gd name="connsiteX78" fmla="*/ 37232 w 163595"/>
                <a:gd name="connsiteY78" fmla="*/ 118184 h 265137"/>
                <a:gd name="connsiteX79" fmla="*/ 35258 w 163595"/>
                <a:gd name="connsiteY79" fmla="*/ 124389 h 265137"/>
                <a:gd name="connsiteX80" fmla="*/ 34694 w 163595"/>
                <a:gd name="connsiteY80" fmla="*/ 128902 h 265137"/>
                <a:gd name="connsiteX81" fmla="*/ 34975 w 163595"/>
                <a:gd name="connsiteY81" fmla="*/ 130030 h 265137"/>
                <a:gd name="connsiteX82" fmla="*/ 34975 w 163595"/>
                <a:gd name="connsiteY82" fmla="*/ 130312 h 265137"/>
                <a:gd name="connsiteX83" fmla="*/ 34411 w 163595"/>
                <a:gd name="connsiteY83" fmla="*/ 131159 h 265137"/>
                <a:gd name="connsiteX84" fmla="*/ 33565 w 163595"/>
                <a:gd name="connsiteY84" fmla="*/ 132287 h 265137"/>
                <a:gd name="connsiteX85" fmla="*/ 32719 w 163595"/>
                <a:gd name="connsiteY85" fmla="*/ 132569 h 265137"/>
                <a:gd name="connsiteX86" fmla="*/ 32437 w 163595"/>
                <a:gd name="connsiteY86" fmla="*/ 132569 h 265137"/>
                <a:gd name="connsiteX87" fmla="*/ 31027 w 163595"/>
                <a:gd name="connsiteY87" fmla="*/ 131441 h 265137"/>
                <a:gd name="connsiteX88" fmla="*/ 30744 w 163595"/>
                <a:gd name="connsiteY88" fmla="*/ 131159 h 265137"/>
                <a:gd name="connsiteX89" fmla="*/ 30180 w 163595"/>
                <a:gd name="connsiteY89" fmla="*/ 131723 h 265137"/>
                <a:gd name="connsiteX90" fmla="*/ 29616 w 163595"/>
                <a:gd name="connsiteY90" fmla="*/ 133133 h 265137"/>
                <a:gd name="connsiteX91" fmla="*/ 29052 w 163595"/>
                <a:gd name="connsiteY91" fmla="*/ 133697 h 265137"/>
                <a:gd name="connsiteX92" fmla="*/ 28770 w 163595"/>
                <a:gd name="connsiteY92" fmla="*/ 133133 h 265137"/>
                <a:gd name="connsiteX93" fmla="*/ 27924 w 163595"/>
                <a:gd name="connsiteY93" fmla="*/ 132287 h 265137"/>
                <a:gd name="connsiteX94" fmla="*/ 27642 w 163595"/>
                <a:gd name="connsiteY94" fmla="*/ 132569 h 265137"/>
                <a:gd name="connsiteX95" fmla="*/ 27642 w 163595"/>
                <a:gd name="connsiteY95" fmla="*/ 133133 h 265137"/>
                <a:gd name="connsiteX96" fmla="*/ 27078 w 163595"/>
                <a:gd name="connsiteY96" fmla="*/ 135389 h 265137"/>
                <a:gd name="connsiteX97" fmla="*/ 26796 w 163595"/>
                <a:gd name="connsiteY97" fmla="*/ 136518 h 265137"/>
                <a:gd name="connsiteX98" fmla="*/ 26514 w 163595"/>
                <a:gd name="connsiteY98" fmla="*/ 137082 h 265137"/>
                <a:gd name="connsiteX99" fmla="*/ 27360 w 163595"/>
                <a:gd name="connsiteY99" fmla="*/ 137364 h 265137"/>
                <a:gd name="connsiteX100" fmla="*/ 27924 w 163595"/>
                <a:gd name="connsiteY100" fmla="*/ 137646 h 265137"/>
                <a:gd name="connsiteX101" fmla="*/ 27360 w 163595"/>
                <a:gd name="connsiteY101" fmla="*/ 139056 h 265137"/>
                <a:gd name="connsiteX102" fmla="*/ 25950 w 163595"/>
                <a:gd name="connsiteY102" fmla="*/ 143005 h 265137"/>
                <a:gd name="connsiteX103" fmla="*/ 25668 w 163595"/>
                <a:gd name="connsiteY103" fmla="*/ 145544 h 265137"/>
                <a:gd name="connsiteX104" fmla="*/ 25103 w 163595"/>
                <a:gd name="connsiteY104" fmla="*/ 146108 h 265137"/>
                <a:gd name="connsiteX105" fmla="*/ 24822 w 163595"/>
                <a:gd name="connsiteY105" fmla="*/ 146108 h 265137"/>
                <a:gd name="connsiteX106" fmla="*/ 25103 w 163595"/>
                <a:gd name="connsiteY106" fmla="*/ 146390 h 265137"/>
                <a:gd name="connsiteX107" fmla="*/ 25668 w 163595"/>
                <a:gd name="connsiteY107" fmla="*/ 146954 h 265137"/>
                <a:gd name="connsiteX108" fmla="*/ 25103 w 163595"/>
                <a:gd name="connsiteY108" fmla="*/ 147800 h 265137"/>
                <a:gd name="connsiteX109" fmla="*/ 25386 w 163595"/>
                <a:gd name="connsiteY109" fmla="*/ 148364 h 265137"/>
                <a:gd name="connsiteX110" fmla="*/ 25103 w 163595"/>
                <a:gd name="connsiteY110" fmla="*/ 149493 h 265137"/>
                <a:gd name="connsiteX111" fmla="*/ 25103 w 163595"/>
                <a:gd name="connsiteY111" fmla="*/ 149775 h 265137"/>
                <a:gd name="connsiteX112" fmla="*/ 24822 w 163595"/>
                <a:gd name="connsiteY112" fmla="*/ 150057 h 265137"/>
                <a:gd name="connsiteX113" fmla="*/ 24539 w 163595"/>
                <a:gd name="connsiteY113" fmla="*/ 150621 h 265137"/>
                <a:gd name="connsiteX114" fmla="*/ 24539 w 163595"/>
                <a:gd name="connsiteY114" fmla="*/ 150903 h 265137"/>
                <a:gd name="connsiteX115" fmla="*/ 24822 w 163595"/>
                <a:gd name="connsiteY115" fmla="*/ 153441 h 265137"/>
                <a:gd name="connsiteX116" fmla="*/ 23693 w 163595"/>
                <a:gd name="connsiteY116" fmla="*/ 154852 h 265137"/>
                <a:gd name="connsiteX117" fmla="*/ 23411 w 163595"/>
                <a:gd name="connsiteY117" fmla="*/ 155416 h 265137"/>
                <a:gd name="connsiteX118" fmla="*/ 23693 w 163595"/>
                <a:gd name="connsiteY118" fmla="*/ 155980 h 265137"/>
                <a:gd name="connsiteX119" fmla="*/ 24258 w 163595"/>
                <a:gd name="connsiteY119" fmla="*/ 156826 h 265137"/>
                <a:gd name="connsiteX120" fmla="*/ 24258 w 163595"/>
                <a:gd name="connsiteY120" fmla="*/ 157108 h 265137"/>
                <a:gd name="connsiteX121" fmla="*/ 23129 w 163595"/>
                <a:gd name="connsiteY121" fmla="*/ 160775 h 265137"/>
                <a:gd name="connsiteX122" fmla="*/ 23129 w 163595"/>
                <a:gd name="connsiteY122" fmla="*/ 161621 h 265137"/>
                <a:gd name="connsiteX123" fmla="*/ 22847 w 163595"/>
                <a:gd name="connsiteY123" fmla="*/ 161903 h 265137"/>
                <a:gd name="connsiteX124" fmla="*/ 22565 w 163595"/>
                <a:gd name="connsiteY124" fmla="*/ 163031 h 265137"/>
                <a:gd name="connsiteX125" fmla="*/ 22283 w 163595"/>
                <a:gd name="connsiteY125" fmla="*/ 163878 h 265137"/>
                <a:gd name="connsiteX126" fmla="*/ 22001 w 163595"/>
                <a:gd name="connsiteY126" fmla="*/ 165852 h 265137"/>
                <a:gd name="connsiteX127" fmla="*/ 22001 w 163595"/>
                <a:gd name="connsiteY127" fmla="*/ 167262 h 265137"/>
                <a:gd name="connsiteX128" fmla="*/ 22283 w 163595"/>
                <a:gd name="connsiteY128" fmla="*/ 167827 h 265137"/>
                <a:gd name="connsiteX129" fmla="*/ 22001 w 163595"/>
                <a:gd name="connsiteY129" fmla="*/ 168673 h 265137"/>
                <a:gd name="connsiteX130" fmla="*/ 20872 w 163595"/>
                <a:gd name="connsiteY130" fmla="*/ 171775 h 265137"/>
                <a:gd name="connsiteX131" fmla="*/ 20872 w 163595"/>
                <a:gd name="connsiteY131" fmla="*/ 172904 h 265137"/>
                <a:gd name="connsiteX132" fmla="*/ 20308 w 163595"/>
                <a:gd name="connsiteY132" fmla="*/ 174032 h 265137"/>
                <a:gd name="connsiteX133" fmla="*/ 20027 w 163595"/>
                <a:gd name="connsiteY133" fmla="*/ 174878 h 265137"/>
                <a:gd name="connsiteX134" fmla="*/ 20027 w 163595"/>
                <a:gd name="connsiteY134" fmla="*/ 176006 h 265137"/>
                <a:gd name="connsiteX135" fmla="*/ 19744 w 163595"/>
                <a:gd name="connsiteY135" fmla="*/ 176570 h 265137"/>
                <a:gd name="connsiteX136" fmla="*/ 20027 w 163595"/>
                <a:gd name="connsiteY136" fmla="*/ 177135 h 265137"/>
                <a:gd name="connsiteX137" fmla="*/ 20308 w 163595"/>
                <a:gd name="connsiteY137" fmla="*/ 177417 h 265137"/>
                <a:gd name="connsiteX138" fmla="*/ 20308 w 163595"/>
                <a:gd name="connsiteY138" fmla="*/ 178827 h 265137"/>
                <a:gd name="connsiteX139" fmla="*/ 19744 w 163595"/>
                <a:gd name="connsiteY139" fmla="*/ 180237 h 265137"/>
                <a:gd name="connsiteX140" fmla="*/ 19744 w 163595"/>
                <a:gd name="connsiteY140" fmla="*/ 180519 h 265137"/>
                <a:gd name="connsiteX141" fmla="*/ 20027 w 163595"/>
                <a:gd name="connsiteY141" fmla="*/ 181648 h 265137"/>
                <a:gd name="connsiteX142" fmla="*/ 19744 w 163595"/>
                <a:gd name="connsiteY142" fmla="*/ 182776 h 265137"/>
                <a:gd name="connsiteX143" fmla="*/ 19462 w 163595"/>
                <a:gd name="connsiteY143" fmla="*/ 183058 h 265137"/>
                <a:gd name="connsiteX144" fmla="*/ 19744 w 163595"/>
                <a:gd name="connsiteY144" fmla="*/ 183904 h 265137"/>
                <a:gd name="connsiteX145" fmla="*/ 19180 w 163595"/>
                <a:gd name="connsiteY145" fmla="*/ 185032 h 265137"/>
                <a:gd name="connsiteX146" fmla="*/ 18898 w 163595"/>
                <a:gd name="connsiteY146" fmla="*/ 185596 h 265137"/>
                <a:gd name="connsiteX147" fmla="*/ 18898 w 163595"/>
                <a:gd name="connsiteY147" fmla="*/ 185878 h 265137"/>
                <a:gd name="connsiteX148" fmla="*/ 19462 w 163595"/>
                <a:gd name="connsiteY148" fmla="*/ 186161 h 265137"/>
                <a:gd name="connsiteX149" fmla="*/ 19180 w 163595"/>
                <a:gd name="connsiteY149" fmla="*/ 187007 h 265137"/>
                <a:gd name="connsiteX150" fmla="*/ 19180 w 163595"/>
                <a:gd name="connsiteY150" fmla="*/ 190109 h 265137"/>
                <a:gd name="connsiteX151" fmla="*/ 19462 w 163595"/>
                <a:gd name="connsiteY151" fmla="*/ 192930 h 265137"/>
                <a:gd name="connsiteX152" fmla="*/ 19180 w 163595"/>
                <a:gd name="connsiteY152" fmla="*/ 194622 h 265137"/>
                <a:gd name="connsiteX153" fmla="*/ 19180 w 163595"/>
                <a:gd name="connsiteY153" fmla="*/ 197725 h 265137"/>
                <a:gd name="connsiteX154" fmla="*/ 18616 w 163595"/>
                <a:gd name="connsiteY154" fmla="*/ 199982 h 265137"/>
                <a:gd name="connsiteX155" fmla="*/ 18334 w 163595"/>
                <a:gd name="connsiteY155" fmla="*/ 200264 h 265137"/>
                <a:gd name="connsiteX156" fmla="*/ 18616 w 163595"/>
                <a:gd name="connsiteY156" fmla="*/ 200546 h 265137"/>
                <a:gd name="connsiteX157" fmla="*/ 18898 w 163595"/>
                <a:gd name="connsiteY157" fmla="*/ 201392 h 265137"/>
                <a:gd name="connsiteX158" fmla="*/ 18616 w 163595"/>
                <a:gd name="connsiteY158" fmla="*/ 201956 h 265137"/>
                <a:gd name="connsiteX159" fmla="*/ 18334 w 163595"/>
                <a:gd name="connsiteY159" fmla="*/ 202520 h 265137"/>
                <a:gd name="connsiteX160" fmla="*/ 18898 w 163595"/>
                <a:gd name="connsiteY160" fmla="*/ 203084 h 265137"/>
                <a:gd name="connsiteX161" fmla="*/ 18616 w 163595"/>
                <a:gd name="connsiteY161" fmla="*/ 203366 h 265137"/>
                <a:gd name="connsiteX162" fmla="*/ 18334 w 163595"/>
                <a:gd name="connsiteY162" fmla="*/ 203930 h 265137"/>
                <a:gd name="connsiteX163" fmla="*/ 18052 w 163595"/>
                <a:gd name="connsiteY163" fmla="*/ 204494 h 265137"/>
                <a:gd name="connsiteX164" fmla="*/ 18334 w 163595"/>
                <a:gd name="connsiteY164" fmla="*/ 205059 h 265137"/>
                <a:gd name="connsiteX165" fmla="*/ 18334 w 163595"/>
                <a:gd name="connsiteY165" fmla="*/ 207315 h 265137"/>
                <a:gd name="connsiteX166" fmla="*/ 17770 w 163595"/>
                <a:gd name="connsiteY166" fmla="*/ 209854 h 265137"/>
                <a:gd name="connsiteX167" fmla="*/ 17770 w 163595"/>
                <a:gd name="connsiteY167" fmla="*/ 210700 h 265137"/>
                <a:gd name="connsiteX168" fmla="*/ 18334 w 163595"/>
                <a:gd name="connsiteY168" fmla="*/ 211828 h 265137"/>
                <a:gd name="connsiteX169" fmla="*/ 18052 w 163595"/>
                <a:gd name="connsiteY169" fmla="*/ 212674 h 265137"/>
                <a:gd name="connsiteX170" fmla="*/ 17770 w 163595"/>
                <a:gd name="connsiteY170" fmla="*/ 213520 h 265137"/>
                <a:gd name="connsiteX171" fmla="*/ 18052 w 163595"/>
                <a:gd name="connsiteY171" fmla="*/ 214931 h 265137"/>
                <a:gd name="connsiteX172" fmla="*/ 17770 w 163595"/>
                <a:gd name="connsiteY172" fmla="*/ 217469 h 265137"/>
                <a:gd name="connsiteX173" fmla="*/ 17488 w 163595"/>
                <a:gd name="connsiteY173" fmla="*/ 218880 h 265137"/>
                <a:gd name="connsiteX174" fmla="*/ 17770 w 163595"/>
                <a:gd name="connsiteY174" fmla="*/ 219444 h 265137"/>
                <a:gd name="connsiteX175" fmla="*/ 18052 w 163595"/>
                <a:gd name="connsiteY175" fmla="*/ 220572 h 265137"/>
                <a:gd name="connsiteX176" fmla="*/ 17770 w 163595"/>
                <a:gd name="connsiteY176" fmla="*/ 224239 h 265137"/>
                <a:gd name="connsiteX177" fmla="*/ 17488 w 163595"/>
                <a:gd name="connsiteY177" fmla="*/ 225367 h 265137"/>
                <a:gd name="connsiteX178" fmla="*/ 17770 w 163595"/>
                <a:gd name="connsiteY178" fmla="*/ 226495 h 265137"/>
                <a:gd name="connsiteX179" fmla="*/ 18052 w 163595"/>
                <a:gd name="connsiteY179" fmla="*/ 227341 h 265137"/>
                <a:gd name="connsiteX180" fmla="*/ 17488 w 163595"/>
                <a:gd name="connsiteY180" fmla="*/ 228752 h 265137"/>
                <a:gd name="connsiteX181" fmla="*/ 17206 w 163595"/>
                <a:gd name="connsiteY181" fmla="*/ 229598 h 265137"/>
                <a:gd name="connsiteX182" fmla="*/ 17770 w 163595"/>
                <a:gd name="connsiteY182" fmla="*/ 232137 h 265137"/>
                <a:gd name="connsiteX183" fmla="*/ 18052 w 163595"/>
                <a:gd name="connsiteY183" fmla="*/ 233829 h 265137"/>
                <a:gd name="connsiteX184" fmla="*/ 17770 w 163595"/>
                <a:gd name="connsiteY184" fmla="*/ 235521 h 265137"/>
                <a:gd name="connsiteX185" fmla="*/ 17770 w 163595"/>
                <a:gd name="connsiteY185" fmla="*/ 238060 h 265137"/>
                <a:gd name="connsiteX186" fmla="*/ 18052 w 163595"/>
                <a:gd name="connsiteY186" fmla="*/ 239188 h 265137"/>
                <a:gd name="connsiteX187" fmla="*/ 17770 w 163595"/>
                <a:gd name="connsiteY187" fmla="*/ 240598 h 265137"/>
                <a:gd name="connsiteX188" fmla="*/ 18052 w 163595"/>
                <a:gd name="connsiteY188" fmla="*/ 241445 h 265137"/>
                <a:gd name="connsiteX189" fmla="*/ 18334 w 163595"/>
                <a:gd name="connsiteY189" fmla="*/ 242009 h 265137"/>
                <a:gd name="connsiteX190" fmla="*/ 18616 w 163595"/>
                <a:gd name="connsiteY190" fmla="*/ 245958 h 265137"/>
                <a:gd name="connsiteX191" fmla="*/ 18616 w 163595"/>
                <a:gd name="connsiteY191" fmla="*/ 246804 h 265137"/>
                <a:gd name="connsiteX192" fmla="*/ 18052 w 163595"/>
                <a:gd name="connsiteY192" fmla="*/ 247932 h 265137"/>
                <a:gd name="connsiteX193" fmla="*/ 18334 w 163595"/>
                <a:gd name="connsiteY193" fmla="*/ 249060 h 265137"/>
                <a:gd name="connsiteX194" fmla="*/ 18334 w 163595"/>
                <a:gd name="connsiteY194" fmla="*/ 249624 h 265137"/>
                <a:gd name="connsiteX195" fmla="*/ 18052 w 163595"/>
                <a:gd name="connsiteY195" fmla="*/ 250753 h 265137"/>
                <a:gd name="connsiteX196" fmla="*/ 18616 w 163595"/>
                <a:gd name="connsiteY196" fmla="*/ 254701 h 265137"/>
                <a:gd name="connsiteX197" fmla="*/ 18898 w 163595"/>
                <a:gd name="connsiteY197" fmla="*/ 255548 h 265137"/>
                <a:gd name="connsiteX198" fmla="*/ 18616 w 163595"/>
                <a:gd name="connsiteY198" fmla="*/ 256112 h 265137"/>
                <a:gd name="connsiteX199" fmla="*/ 18334 w 163595"/>
                <a:gd name="connsiteY199" fmla="*/ 256958 h 265137"/>
                <a:gd name="connsiteX200" fmla="*/ 18334 w 163595"/>
                <a:gd name="connsiteY200" fmla="*/ 257522 h 265137"/>
                <a:gd name="connsiteX201" fmla="*/ 18052 w 163595"/>
                <a:gd name="connsiteY201" fmla="*/ 258086 h 265137"/>
                <a:gd name="connsiteX202" fmla="*/ 17488 w 163595"/>
                <a:gd name="connsiteY202" fmla="*/ 258086 h 265137"/>
                <a:gd name="connsiteX203" fmla="*/ 17206 w 163595"/>
                <a:gd name="connsiteY203" fmla="*/ 257804 h 265137"/>
                <a:gd name="connsiteX204" fmla="*/ 16924 w 163595"/>
                <a:gd name="connsiteY204" fmla="*/ 258086 h 265137"/>
                <a:gd name="connsiteX205" fmla="*/ 15231 w 163595"/>
                <a:gd name="connsiteY205" fmla="*/ 260061 h 265137"/>
                <a:gd name="connsiteX206" fmla="*/ 14667 w 163595"/>
                <a:gd name="connsiteY206" fmla="*/ 260625 h 265137"/>
                <a:gd name="connsiteX207" fmla="*/ 13821 w 163595"/>
                <a:gd name="connsiteY207" fmla="*/ 261189 h 265137"/>
                <a:gd name="connsiteX208" fmla="*/ 13257 w 163595"/>
                <a:gd name="connsiteY208" fmla="*/ 260907 h 265137"/>
                <a:gd name="connsiteX209" fmla="*/ 11565 w 163595"/>
                <a:gd name="connsiteY209" fmla="*/ 260343 h 265137"/>
                <a:gd name="connsiteX210" fmla="*/ 11282 w 163595"/>
                <a:gd name="connsiteY210" fmla="*/ 260625 h 265137"/>
                <a:gd name="connsiteX211" fmla="*/ 11000 w 163595"/>
                <a:gd name="connsiteY211" fmla="*/ 261753 h 265137"/>
                <a:gd name="connsiteX212" fmla="*/ 10718 w 163595"/>
                <a:gd name="connsiteY212" fmla="*/ 262317 h 265137"/>
                <a:gd name="connsiteX213" fmla="*/ 10154 w 163595"/>
                <a:gd name="connsiteY213" fmla="*/ 262317 h 265137"/>
                <a:gd name="connsiteX214" fmla="*/ 8744 w 163595"/>
                <a:gd name="connsiteY214" fmla="*/ 260625 h 265137"/>
                <a:gd name="connsiteX215" fmla="*/ 8744 w 163595"/>
                <a:gd name="connsiteY215" fmla="*/ 260343 h 265137"/>
                <a:gd name="connsiteX216" fmla="*/ 7898 w 163595"/>
                <a:gd name="connsiteY216" fmla="*/ 259214 h 265137"/>
                <a:gd name="connsiteX217" fmla="*/ 7616 w 163595"/>
                <a:gd name="connsiteY217" fmla="*/ 259214 h 265137"/>
                <a:gd name="connsiteX218" fmla="*/ 7616 w 163595"/>
                <a:gd name="connsiteY218" fmla="*/ 260343 h 265137"/>
                <a:gd name="connsiteX219" fmla="*/ 7898 w 163595"/>
                <a:gd name="connsiteY219" fmla="*/ 261189 h 265137"/>
                <a:gd name="connsiteX220" fmla="*/ 8180 w 163595"/>
                <a:gd name="connsiteY220" fmla="*/ 261753 h 265137"/>
                <a:gd name="connsiteX221" fmla="*/ 7616 w 163595"/>
                <a:gd name="connsiteY221" fmla="*/ 262317 h 265137"/>
                <a:gd name="connsiteX222" fmla="*/ 7334 w 163595"/>
                <a:gd name="connsiteY222" fmla="*/ 262881 h 265137"/>
                <a:gd name="connsiteX223" fmla="*/ 7052 w 163595"/>
                <a:gd name="connsiteY223" fmla="*/ 263163 h 265137"/>
                <a:gd name="connsiteX224" fmla="*/ 6769 w 163595"/>
                <a:gd name="connsiteY224" fmla="*/ 262881 h 265137"/>
                <a:gd name="connsiteX225" fmla="*/ 6205 w 163595"/>
                <a:gd name="connsiteY225" fmla="*/ 261471 h 265137"/>
                <a:gd name="connsiteX226" fmla="*/ 5641 w 163595"/>
                <a:gd name="connsiteY226" fmla="*/ 261471 h 265137"/>
                <a:gd name="connsiteX227" fmla="*/ 5359 w 163595"/>
                <a:gd name="connsiteY227" fmla="*/ 262599 h 265137"/>
                <a:gd name="connsiteX228" fmla="*/ 5641 w 163595"/>
                <a:gd name="connsiteY228" fmla="*/ 263163 h 265137"/>
                <a:gd name="connsiteX229" fmla="*/ 5641 w 163595"/>
                <a:gd name="connsiteY229" fmla="*/ 264292 h 265137"/>
                <a:gd name="connsiteX230" fmla="*/ 5924 w 163595"/>
                <a:gd name="connsiteY230" fmla="*/ 265138 h 265137"/>
                <a:gd name="connsiteX231" fmla="*/ 5641 w 163595"/>
                <a:gd name="connsiteY231" fmla="*/ 265138 h 265137"/>
                <a:gd name="connsiteX232" fmla="*/ 4795 w 163595"/>
                <a:gd name="connsiteY232" fmla="*/ 264856 h 265137"/>
                <a:gd name="connsiteX233" fmla="*/ 4231 w 163595"/>
                <a:gd name="connsiteY233" fmla="*/ 264009 h 265137"/>
                <a:gd name="connsiteX234" fmla="*/ 3949 w 163595"/>
                <a:gd name="connsiteY234" fmla="*/ 262317 h 265137"/>
                <a:gd name="connsiteX235" fmla="*/ 3667 w 163595"/>
                <a:gd name="connsiteY235" fmla="*/ 260907 h 265137"/>
                <a:gd name="connsiteX236" fmla="*/ 3667 w 163595"/>
                <a:gd name="connsiteY236" fmla="*/ 260061 h 265137"/>
                <a:gd name="connsiteX237" fmla="*/ 2821 w 163595"/>
                <a:gd name="connsiteY237" fmla="*/ 258650 h 265137"/>
                <a:gd name="connsiteX238" fmla="*/ 2257 w 163595"/>
                <a:gd name="connsiteY238" fmla="*/ 257522 h 265137"/>
                <a:gd name="connsiteX239" fmla="*/ 2538 w 163595"/>
                <a:gd name="connsiteY239" fmla="*/ 256394 h 265137"/>
                <a:gd name="connsiteX240" fmla="*/ 2257 w 163595"/>
                <a:gd name="connsiteY240" fmla="*/ 255266 h 265137"/>
                <a:gd name="connsiteX241" fmla="*/ 1693 w 163595"/>
                <a:gd name="connsiteY241" fmla="*/ 254419 h 265137"/>
                <a:gd name="connsiteX242" fmla="*/ 1974 w 163595"/>
                <a:gd name="connsiteY242" fmla="*/ 253573 h 265137"/>
                <a:gd name="connsiteX243" fmla="*/ 1693 w 163595"/>
                <a:gd name="connsiteY243" fmla="*/ 252727 h 265137"/>
                <a:gd name="connsiteX244" fmla="*/ 1128 w 163595"/>
                <a:gd name="connsiteY244" fmla="*/ 251599 h 265137"/>
                <a:gd name="connsiteX245" fmla="*/ 1410 w 163595"/>
                <a:gd name="connsiteY245" fmla="*/ 250753 h 265137"/>
                <a:gd name="connsiteX246" fmla="*/ 1974 w 163595"/>
                <a:gd name="connsiteY246" fmla="*/ 248496 h 265137"/>
                <a:gd name="connsiteX247" fmla="*/ 1974 w 163595"/>
                <a:gd name="connsiteY247" fmla="*/ 247650 h 265137"/>
                <a:gd name="connsiteX248" fmla="*/ 2257 w 163595"/>
                <a:gd name="connsiteY248" fmla="*/ 247086 h 265137"/>
                <a:gd name="connsiteX249" fmla="*/ 1974 w 163595"/>
                <a:gd name="connsiteY249" fmla="*/ 246240 h 265137"/>
                <a:gd name="connsiteX250" fmla="*/ 1410 w 163595"/>
                <a:gd name="connsiteY250" fmla="*/ 244829 h 265137"/>
                <a:gd name="connsiteX251" fmla="*/ 1693 w 163595"/>
                <a:gd name="connsiteY251" fmla="*/ 243983 h 265137"/>
                <a:gd name="connsiteX252" fmla="*/ 1410 w 163595"/>
                <a:gd name="connsiteY252" fmla="*/ 243701 h 265137"/>
                <a:gd name="connsiteX253" fmla="*/ 846 w 163595"/>
                <a:gd name="connsiteY253" fmla="*/ 243137 h 265137"/>
                <a:gd name="connsiteX254" fmla="*/ 564 w 163595"/>
                <a:gd name="connsiteY254" fmla="*/ 239752 h 265137"/>
                <a:gd name="connsiteX255" fmla="*/ 0 w 163595"/>
                <a:gd name="connsiteY255" fmla="*/ 238342 h 265137"/>
                <a:gd name="connsiteX256" fmla="*/ 282 w 163595"/>
                <a:gd name="connsiteY256" fmla="*/ 237214 h 265137"/>
                <a:gd name="connsiteX257" fmla="*/ 282 w 163595"/>
                <a:gd name="connsiteY257" fmla="*/ 229034 h 265137"/>
                <a:gd name="connsiteX258" fmla="*/ 564 w 163595"/>
                <a:gd name="connsiteY258" fmla="*/ 227059 h 265137"/>
                <a:gd name="connsiteX259" fmla="*/ 282 w 163595"/>
                <a:gd name="connsiteY259" fmla="*/ 226213 h 265137"/>
                <a:gd name="connsiteX260" fmla="*/ 282 w 163595"/>
                <a:gd name="connsiteY260" fmla="*/ 225085 h 265137"/>
                <a:gd name="connsiteX261" fmla="*/ 564 w 163595"/>
                <a:gd name="connsiteY261" fmla="*/ 223957 h 265137"/>
                <a:gd name="connsiteX262" fmla="*/ 564 w 163595"/>
                <a:gd name="connsiteY262" fmla="*/ 221700 h 265137"/>
                <a:gd name="connsiteX263" fmla="*/ 1128 w 163595"/>
                <a:gd name="connsiteY263" fmla="*/ 220290 h 265137"/>
                <a:gd name="connsiteX264" fmla="*/ 1410 w 163595"/>
                <a:gd name="connsiteY264" fmla="*/ 219726 h 265137"/>
                <a:gd name="connsiteX265" fmla="*/ 1410 w 163595"/>
                <a:gd name="connsiteY265" fmla="*/ 219444 h 265137"/>
                <a:gd name="connsiteX266" fmla="*/ 1128 w 163595"/>
                <a:gd name="connsiteY266" fmla="*/ 218598 h 265137"/>
                <a:gd name="connsiteX267" fmla="*/ 1693 w 163595"/>
                <a:gd name="connsiteY267" fmla="*/ 216905 h 265137"/>
                <a:gd name="connsiteX268" fmla="*/ 1974 w 163595"/>
                <a:gd name="connsiteY268" fmla="*/ 216059 h 265137"/>
                <a:gd name="connsiteX269" fmla="*/ 1693 w 163595"/>
                <a:gd name="connsiteY269" fmla="*/ 215495 h 265137"/>
                <a:gd name="connsiteX270" fmla="*/ 1410 w 163595"/>
                <a:gd name="connsiteY270" fmla="*/ 215213 h 265137"/>
                <a:gd name="connsiteX271" fmla="*/ 1693 w 163595"/>
                <a:gd name="connsiteY271" fmla="*/ 214367 h 265137"/>
                <a:gd name="connsiteX272" fmla="*/ 1128 w 163595"/>
                <a:gd name="connsiteY272" fmla="*/ 212392 h 265137"/>
                <a:gd name="connsiteX273" fmla="*/ 846 w 163595"/>
                <a:gd name="connsiteY273" fmla="*/ 211546 h 265137"/>
                <a:gd name="connsiteX274" fmla="*/ 846 w 163595"/>
                <a:gd name="connsiteY274" fmla="*/ 207033 h 265137"/>
                <a:gd name="connsiteX275" fmla="*/ 1128 w 163595"/>
                <a:gd name="connsiteY275" fmla="*/ 205623 h 265137"/>
                <a:gd name="connsiteX276" fmla="*/ 1128 w 163595"/>
                <a:gd name="connsiteY276" fmla="*/ 201110 h 265137"/>
                <a:gd name="connsiteX277" fmla="*/ 1693 w 163595"/>
                <a:gd name="connsiteY277" fmla="*/ 198853 h 265137"/>
                <a:gd name="connsiteX278" fmla="*/ 1693 w 163595"/>
                <a:gd name="connsiteY278" fmla="*/ 197443 h 265137"/>
                <a:gd name="connsiteX279" fmla="*/ 1974 w 163595"/>
                <a:gd name="connsiteY279" fmla="*/ 194340 h 265137"/>
                <a:gd name="connsiteX280" fmla="*/ 2257 w 163595"/>
                <a:gd name="connsiteY280" fmla="*/ 193494 h 265137"/>
                <a:gd name="connsiteX281" fmla="*/ 2538 w 163595"/>
                <a:gd name="connsiteY281" fmla="*/ 192930 h 265137"/>
                <a:gd name="connsiteX282" fmla="*/ 2538 w 163595"/>
                <a:gd name="connsiteY282" fmla="*/ 192366 h 265137"/>
                <a:gd name="connsiteX283" fmla="*/ 2257 w 163595"/>
                <a:gd name="connsiteY283" fmla="*/ 191520 h 265137"/>
                <a:gd name="connsiteX284" fmla="*/ 2257 w 163595"/>
                <a:gd name="connsiteY284" fmla="*/ 186725 h 265137"/>
                <a:gd name="connsiteX285" fmla="*/ 2538 w 163595"/>
                <a:gd name="connsiteY285" fmla="*/ 185314 h 265137"/>
                <a:gd name="connsiteX286" fmla="*/ 3103 w 163595"/>
                <a:gd name="connsiteY286" fmla="*/ 182212 h 265137"/>
                <a:gd name="connsiteX287" fmla="*/ 3385 w 163595"/>
                <a:gd name="connsiteY287" fmla="*/ 181648 h 265137"/>
                <a:gd name="connsiteX288" fmla="*/ 3103 w 163595"/>
                <a:gd name="connsiteY288" fmla="*/ 180801 h 265137"/>
                <a:gd name="connsiteX289" fmla="*/ 2821 w 163595"/>
                <a:gd name="connsiteY289" fmla="*/ 179955 h 265137"/>
                <a:gd name="connsiteX290" fmla="*/ 3667 w 163595"/>
                <a:gd name="connsiteY290" fmla="*/ 177135 h 265137"/>
                <a:gd name="connsiteX291" fmla="*/ 4513 w 163595"/>
                <a:gd name="connsiteY291" fmla="*/ 175724 h 265137"/>
                <a:gd name="connsiteX292" fmla="*/ 4795 w 163595"/>
                <a:gd name="connsiteY292" fmla="*/ 175160 h 265137"/>
                <a:gd name="connsiteX293" fmla="*/ 4513 w 163595"/>
                <a:gd name="connsiteY293" fmla="*/ 174314 h 265137"/>
                <a:gd name="connsiteX294" fmla="*/ 3949 w 163595"/>
                <a:gd name="connsiteY294" fmla="*/ 173750 h 265137"/>
                <a:gd name="connsiteX295" fmla="*/ 4231 w 163595"/>
                <a:gd name="connsiteY295" fmla="*/ 173186 h 265137"/>
                <a:gd name="connsiteX296" fmla="*/ 4795 w 163595"/>
                <a:gd name="connsiteY296" fmla="*/ 170929 h 265137"/>
                <a:gd name="connsiteX297" fmla="*/ 4795 w 163595"/>
                <a:gd name="connsiteY297" fmla="*/ 170365 h 265137"/>
                <a:gd name="connsiteX298" fmla="*/ 5077 w 163595"/>
                <a:gd name="connsiteY298" fmla="*/ 169519 h 265137"/>
                <a:gd name="connsiteX299" fmla="*/ 5077 w 163595"/>
                <a:gd name="connsiteY299" fmla="*/ 168955 h 265137"/>
                <a:gd name="connsiteX300" fmla="*/ 5359 w 163595"/>
                <a:gd name="connsiteY300" fmla="*/ 166980 h 265137"/>
                <a:gd name="connsiteX301" fmla="*/ 6205 w 163595"/>
                <a:gd name="connsiteY301" fmla="*/ 163031 h 265137"/>
                <a:gd name="connsiteX302" fmla="*/ 6488 w 163595"/>
                <a:gd name="connsiteY302" fmla="*/ 162467 h 265137"/>
                <a:gd name="connsiteX303" fmla="*/ 6769 w 163595"/>
                <a:gd name="connsiteY303" fmla="*/ 161903 h 265137"/>
                <a:gd name="connsiteX304" fmla="*/ 6488 w 163595"/>
                <a:gd name="connsiteY304" fmla="*/ 161057 h 265137"/>
                <a:gd name="connsiteX305" fmla="*/ 6205 w 163595"/>
                <a:gd name="connsiteY305" fmla="*/ 159365 h 265137"/>
                <a:gd name="connsiteX306" fmla="*/ 7334 w 163595"/>
                <a:gd name="connsiteY306" fmla="*/ 157672 h 265137"/>
                <a:gd name="connsiteX307" fmla="*/ 7616 w 163595"/>
                <a:gd name="connsiteY307" fmla="*/ 157108 h 265137"/>
                <a:gd name="connsiteX308" fmla="*/ 7616 w 163595"/>
                <a:gd name="connsiteY308" fmla="*/ 156826 h 265137"/>
                <a:gd name="connsiteX309" fmla="*/ 7334 w 163595"/>
                <a:gd name="connsiteY309" fmla="*/ 156262 h 265137"/>
                <a:gd name="connsiteX310" fmla="*/ 7052 w 163595"/>
                <a:gd name="connsiteY310" fmla="*/ 155698 h 265137"/>
                <a:gd name="connsiteX311" fmla="*/ 7616 w 163595"/>
                <a:gd name="connsiteY311" fmla="*/ 155134 h 265137"/>
                <a:gd name="connsiteX312" fmla="*/ 7898 w 163595"/>
                <a:gd name="connsiteY312" fmla="*/ 154852 h 265137"/>
                <a:gd name="connsiteX313" fmla="*/ 7616 w 163595"/>
                <a:gd name="connsiteY313" fmla="*/ 154570 h 265137"/>
                <a:gd name="connsiteX314" fmla="*/ 7052 w 163595"/>
                <a:gd name="connsiteY314" fmla="*/ 154288 h 265137"/>
                <a:gd name="connsiteX315" fmla="*/ 7616 w 163595"/>
                <a:gd name="connsiteY315" fmla="*/ 153723 h 265137"/>
                <a:gd name="connsiteX316" fmla="*/ 7898 w 163595"/>
                <a:gd name="connsiteY316" fmla="*/ 153159 h 265137"/>
                <a:gd name="connsiteX317" fmla="*/ 8180 w 163595"/>
                <a:gd name="connsiteY317" fmla="*/ 152595 h 265137"/>
                <a:gd name="connsiteX318" fmla="*/ 7898 w 163595"/>
                <a:gd name="connsiteY318" fmla="*/ 152031 h 265137"/>
                <a:gd name="connsiteX319" fmla="*/ 7616 w 163595"/>
                <a:gd name="connsiteY319" fmla="*/ 151749 h 265137"/>
                <a:gd name="connsiteX320" fmla="*/ 7334 w 163595"/>
                <a:gd name="connsiteY320" fmla="*/ 151185 h 265137"/>
                <a:gd name="connsiteX321" fmla="*/ 7616 w 163595"/>
                <a:gd name="connsiteY321" fmla="*/ 150621 h 265137"/>
                <a:gd name="connsiteX322" fmla="*/ 8744 w 163595"/>
                <a:gd name="connsiteY322" fmla="*/ 149493 h 265137"/>
                <a:gd name="connsiteX323" fmla="*/ 9026 w 163595"/>
                <a:gd name="connsiteY323" fmla="*/ 148928 h 265137"/>
                <a:gd name="connsiteX324" fmla="*/ 8744 w 163595"/>
                <a:gd name="connsiteY324" fmla="*/ 148082 h 265137"/>
                <a:gd name="connsiteX325" fmla="*/ 8462 w 163595"/>
                <a:gd name="connsiteY325" fmla="*/ 147518 h 265137"/>
                <a:gd name="connsiteX326" fmla="*/ 8744 w 163595"/>
                <a:gd name="connsiteY326" fmla="*/ 146672 h 265137"/>
                <a:gd name="connsiteX327" fmla="*/ 8462 w 163595"/>
                <a:gd name="connsiteY327" fmla="*/ 145262 h 265137"/>
                <a:gd name="connsiteX328" fmla="*/ 8462 w 163595"/>
                <a:gd name="connsiteY328" fmla="*/ 144697 h 265137"/>
                <a:gd name="connsiteX329" fmla="*/ 9590 w 163595"/>
                <a:gd name="connsiteY329" fmla="*/ 142723 h 265137"/>
                <a:gd name="connsiteX330" fmla="*/ 9590 w 163595"/>
                <a:gd name="connsiteY330" fmla="*/ 142441 h 265137"/>
                <a:gd name="connsiteX331" fmla="*/ 9308 w 163595"/>
                <a:gd name="connsiteY331" fmla="*/ 141595 h 265137"/>
                <a:gd name="connsiteX332" fmla="*/ 10436 w 163595"/>
                <a:gd name="connsiteY332" fmla="*/ 139620 h 265137"/>
                <a:gd name="connsiteX333" fmla="*/ 10718 w 163595"/>
                <a:gd name="connsiteY333" fmla="*/ 139338 h 265137"/>
                <a:gd name="connsiteX334" fmla="*/ 10154 w 163595"/>
                <a:gd name="connsiteY334" fmla="*/ 138774 h 265137"/>
                <a:gd name="connsiteX335" fmla="*/ 9590 w 163595"/>
                <a:gd name="connsiteY335" fmla="*/ 138210 h 265137"/>
                <a:gd name="connsiteX336" fmla="*/ 9872 w 163595"/>
                <a:gd name="connsiteY336" fmla="*/ 137928 h 265137"/>
                <a:gd name="connsiteX337" fmla="*/ 10154 w 163595"/>
                <a:gd name="connsiteY337" fmla="*/ 137646 h 265137"/>
                <a:gd name="connsiteX338" fmla="*/ 10154 w 163595"/>
                <a:gd name="connsiteY338" fmla="*/ 137082 h 265137"/>
                <a:gd name="connsiteX339" fmla="*/ 10718 w 163595"/>
                <a:gd name="connsiteY339" fmla="*/ 136518 h 265137"/>
                <a:gd name="connsiteX340" fmla="*/ 11282 w 163595"/>
                <a:gd name="connsiteY340" fmla="*/ 135954 h 265137"/>
                <a:gd name="connsiteX341" fmla="*/ 11000 w 163595"/>
                <a:gd name="connsiteY341" fmla="*/ 135107 h 265137"/>
                <a:gd name="connsiteX342" fmla="*/ 11282 w 163595"/>
                <a:gd name="connsiteY342" fmla="*/ 133979 h 265137"/>
                <a:gd name="connsiteX343" fmla="*/ 11282 w 163595"/>
                <a:gd name="connsiteY343" fmla="*/ 133697 h 265137"/>
                <a:gd name="connsiteX344" fmla="*/ 11565 w 163595"/>
                <a:gd name="connsiteY344" fmla="*/ 131723 h 265137"/>
                <a:gd name="connsiteX345" fmla="*/ 21719 w 163595"/>
                <a:gd name="connsiteY345" fmla="*/ 84618 h 265137"/>
                <a:gd name="connsiteX346" fmla="*/ 21719 w 163595"/>
                <a:gd name="connsiteY346" fmla="*/ 84336 h 265137"/>
                <a:gd name="connsiteX347" fmla="*/ 23975 w 163595"/>
                <a:gd name="connsiteY347" fmla="*/ 79823 h 265137"/>
                <a:gd name="connsiteX348" fmla="*/ 24539 w 163595"/>
                <a:gd name="connsiteY348" fmla="*/ 78977 h 265137"/>
                <a:gd name="connsiteX349" fmla="*/ 24822 w 163595"/>
                <a:gd name="connsiteY349" fmla="*/ 78131 h 265137"/>
                <a:gd name="connsiteX350" fmla="*/ 24822 w 163595"/>
                <a:gd name="connsiteY350" fmla="*/ 77567 h 265137"/>
                <a:gd name="connsiteX351" fmla="*/ 25103 w 163595"/>
                <a:gd name="connsiteY351" fmla="*/ 76439 h 265137"/>
                <a:gd name="connsiteX352" fmla="*/ 25950 w 163595"/>
                <a:gd name="connsiteY352" fmla="*/ 75028 h 265137"/>
                <a:gd name="connsiteX353" fmla="*/ 26796 w 163595"/>
                <a:gd name="connsiteY353" fmla="*/ 73054 h 265137"/>
                <a:gd name="connsiteX354" fmla="*/ 26796 w 163595"/>
                <a:gd name="connsiteY354" fmla="*/ 72208 h 265137"/>
                <a:gd name="connsiteX355" fmla="*/ 27924 w 163595"/>
                <a:gd name="connsiteY355" fmla="*/ 68823 h 265137"/>
                <a:gd name="connsiteX356" fmla="*/ 28206 w 163595"/>
                <a:gd name="connsiteY356" fmla="*/ 68259 h 265137"/>
                <a:gd name="connsiteX357" fmla="*/ 28770 w 163595"/>
                <a:gd name="connsiteY357" fmla="*/ 64874 h 265137"/>
                <a:gd name="connsiteX358" fmla="*/ 29052 w 163595"/>
                <a:gd name="connsiteY358" fmla="*/ 64028 h 265137"/>
                <a:gd name="connsiteX359" fmla="*/ 35258 w 163595"/>
                <a:gd name="connsiteY359" fmla="*/ 47104 h 265137"/>
                <a:gd name="connsiteX360" fmla="*/ 36950 w 163595"/>
                <a:gd name="connsiteY360" fmla="*/ 42873 h 265137"/>
                <a:gd name="connsiteX361" fmla="*/ 38361 w 163595"/>
                <a:gd name="connsiteY361" fmla="*/ 38642 h 265137"/>
                <a:gd name="connsiteX362" fmla="*/ 39489 w 163595"/>
                <a:gd name="connsiteY362" fmla="*/ 35822 h 265137"/>
                <a:gd name="connsiteX363" fmla="*/ 40335 w 163595"/>
                <a:gd name="connsiteY363" fmla="*/ 33283 h 265137"/>
                <a:gd name="connsiteX364" fmla="*/ 41463 w 163595"/>
                <a:gd name="connsiteY364" fmla="*/ 31027 h 265137"/>
                <a:gd name="connsiteX365" fmla="*/ 41463 w 163595"/>
                <a:gd name="connsiteY365" fmla="*/ 30463 h 265137"/>
                <a:gd name="connsiteX366" fmla="*/ 43156 w 163595"/>
                <a:gd name="connsiteY366" fmla="*/ 26514 h 265137"/>
                <a:gd name="connsiteX367" fmla="*/ 43720 w 163595"/>
                <a:gd name="connsiteY367" fmla="*/ 24539 h 265137"/>
                <a:gd name="connsiteX368" fmla="*/ 44284 w 163595"/>
                <a:gd name="connsiteY368" fmla="*/ 23411 h 265137"/>
                <a:gd name="connsiteX369" fmla="*/ 44566 w 163595"/>
                <a:gd name="connsiteY369" fmla="*/ 23129 h 265137"/>
                <a:gd name="connsiteX370" fmla="*/ 44566 w 163595"/>
                <a:gd name="connsiteY370" fmla="*/ 22565 h 265137"/>
                <a:gd name="connsiteX371" fmla="*/ 45412 w 163595"/>
                <a:gd name="connsiteY371" fmla="*/ 20308 h 265137"/>
                <a:gd name="connsiteX372" fmla="*/ 47386 w 163595"/>
                <a:gd name="connsiteY372" fmla="*/ 14667 h 265137"/>
                <a:gd name="connsiteX373" fmla="*/ 48514 w 163595"/>
                <a:gd name="connsiteY373" fmla="*/ 11565 h 265137"/>
                <a:gd name="connsiteX374" fmla="*/ 49078 w 163595"/>
                <a:gd name="connsiteY374" fmla="*/ 9308 h 265137"/>
                <a:gd name="connsiteX375" fmla="*/ 49925 w 163595"/>
                <a:gd name="connsiteY375" fmla="*/ 7616 h 265137"/>
                <a:gd name="connsiteX376" fmla="*/ 51617 w 163595"/>
                <a:gd name="connsiteY376" fmla="*/ 3667 h 265137"/>
                <a:gd name="connsiteX377" fmla="*/ 51899 w 163595"/>
                <a:gd name="connsiteY377" fmla="*/ 2821 h 265137"/>
                <a:gd name="connsiteX378" fmla="*/ 53874 w 163595"/>
                <a:gd name="connsiteY378" fmla="*/ 1128 h 265137"/>
                <a:gd name="connsiteX379" fmla="*/ 54720 w 163595"/>
                <a:gd name="connsiteY379" fmla="*/ 564 h 265137"/>
                <a:gd name="connsiteX380" fmla="*/ 55848 w 163595"/>
                <a:gd name="connsiteY380" fmla="*/ 282 h 265137"/>
                <a:gd name="connsiteX381" fmla="*/ 56695 w 163595"/>
                <a:gd name="connsiteY381" fmla="*/ 0 h 265137"/>
                <a:gd name="connsiteX382" fmla="*/ 57259 w 163595"/>
                <a:gd name="connsiteY382" fmla="*/ 282 h 265137"/>
                <a:gd name="connsiteX383" fmla="*/ 59233 w 163595"/>
                <a:gd name="connsiteY383" fmla="*/ 2539 h 265137"/>
                <a:gd name="connsiteX384" fmla="*/ 59515 w 163595"/>
                <a:gd name="connsiteY384" fmla="*/ 2821 h 265137"/>
                <a:gd name="connsiteX385" fmla="*/ 60361 w 163595"/>
                <a:gd name="connsiteY385" fmla="*/ 2256 h 265137"/>
                <a:gd name="connsiteX386" fmla="*/ 61207 w 163595"/>
                <a:gd name="connsiteY386" fmla="*/ 2821 h 265137"/>
                <a:gd name="connsiteX387" fmla="*/ 61771 w 163595"/>
                <a:gd name="connsiteY387" fmla="*/ 3385 h 265137"/>
                <a:gd name="connsiteX388" fmla="*/ 62054 w 163595"/>
                <a:gd name="connsiteY388" fmla="*/ 3667 h 265137"/>
                <a:gd name="connsiteX389" fmla="*/ 62336 w 163595"/>
                <a:gd name="connsiteY389" fmla="*/ 3385 h 265137"/>
                <a:gd name="connsiteX390" fmla="*/ 63182 w 163595"/>
                <a:gd name="connsiteY390" fmla="*/ 3667 h 265137"/>
                <a:gd name="connsiteX391" fmla="*/ 64310 w 163595"/>
                <a:gd name="connsiteY391" fmla="*/ 3949 h 265137"/>
                <a:gd name="connsiteX392" fmla="*/ 65438 w 163595"/>
                <a:gd name="connsiteY392" fmla="*/ 3667 h 265137"/>
                <a:gd name="connsiteX393" fmla="*/ 66848 w 163595"/>
                <a:gd name="connsiteY393" fmla="*/ 4231 h 265137"/>
                <a:gd name="connsiteX394" fmla="*/ 67412 w 163595"/>
                <a:gd name="connsiteY394" fmla="*/ 4231 h 265137"/>
                <a:gd name="connsiteX395" fmla="*/ 67977 w 163595"/>
                <a:gd name="connsiteY395" fmla="*/ 3949 h 265137"/>
                <a:gd name="connsiteX396" fmla="*/ 69387 w 163595"/>
                <a:gd name="connsiteY396" fmla="*/ 4795 h 265137"/>
                <a:gd name="connsiteX397" fmla="*/ 69669 w 163595"/>
                <a:gd name="connsiteY397" fmla="*/ 5359 h 265137"/>
                <a:gd name="connsiteX398" fmla="*/ 68823 w 163595"/>
                <a:gd name="connsiteY398" fmla="*/ 7052 h 265137"/>
                <a:gd name="connsiteX399" fmla="*/ 67977 w 163595"/>
                <a:gd name="connsiteY399" fmla="*/ 9026 h 265137"/>
                <a:gd name="connsiteX400" fmla="*/ 67977 w 163595"/>
                <a:gd name="connsiteY400" fmla="*/ 9590 h 265137"/>
                <a:gd name="connsiteX401" fmla="*/ 67131 w 163595"/>
                <a:gd name="connsiteY401" fmla="*/ 11847 h 265137"/>
                <a:gd name="connsiteX402" fmla="*/ 66284 w 163595"/>
                <a:gd name="connsiteY402" fmla="*/ 14103 h 265137"/>
                <a:gd name="connsiteX403" fmla="*/ 64592 w 163595"/>
                <a:gd name="connsiteY403" fmla="*/ 16924 h 265137"/>
                <a:gd name="connsiteX404" fmla="*/ 63746 w 163595"/>
                <a:gd name="connsiteY404" fmla="*/ 18616 h 265137"/>
                <a:gd name="connsiteX405" fmla="*/ 63464 w 163595"/>
                <a:gd name="connsiteY405" fmla="*/ 19744 h 265137"/>
                <a:gd name="connsiteX406" fmla="*/ 63182 w 163595"/>
                <a:gd name="connsiteY406" fmla="*/ 20873 h 265137"/>
                <a:gd name="connsiteX407" fmla="*/ 62336 w 163595"/>
                <a:gd name="connsiteY407" fmla="*/ 22283 h 265137"/>
                <a:gd name="connsiteX408" fmla="*/ 62054 w 163595"/>
                <a:gd name="connsiteY408" fmla="*/ 23693 h 265137"/>
                <a:gd name="connsiteX409" fmla="*/ 62054 w 163595"/>
                <a:gd name="connsiteY409" fmla="*/ 23975 h 265137"/>
                <a:gd name="connsiteX410" fmla="*/ 61207 w 163595"/>
                <a:gd name="connsiteY410" fmla="*/ 25668 h 265137"/>
                <a:gd name="connsiteX411" fmla="*/ 60643 w 163595"/>
                <a:gd name="connsiteY411" fmla="*/ 26796 h 265137"/>
                <a:gd name="connsiteX412" fmla="*/ 60643 w 163595"/>
                <a:gd name="connsiteY412" fmla="*/ 27360 h 265137"/>
                <a:gd name="connsiteX413" fmla="*/ 60926 w 163595"/>
                <a:gd name="connsiteY413" fmla="*/ 27924 h 265137"/>
                <a:gd name="connsiteX414" fmla="*/ 61207 w 163595"/>
                <a:gd name="connsiteY414" fmla="*/ 28488 h 265137"/>
                <a:gd name="connsiteX415" fmla="*/ 60926 w 163595"/>
                <a:gd name="connsiteY415" fmla="*/ 29052 h 265137"/>
                <a:gd name="connsiteX416" fmla="*/ 60079 w 163595"/>
                <a:gd name="connsiteY416" fmla="*/ 30463 h 265137"/>
                <a:gd name="connsiteX417" fmla="*/ 60079 w 163595"/>
                <a:gd name="connsiteY417" fmla="*/ 30745 h 265137"/>
                <a:gd name="connsiteX418" fmla="*/ 58669 w 163595"/>
                <a:gd name="connsiteY418" fmla="*/ 32719 h 265137"/>
                <a:gd name="connsiteX419" fmla="*/ 57540 w 163595"/>
                <a:gd name="connsiteY419" fmla="*/ 34411 h 265137"/>
                <a:gd name="connsiteX420" fmla="*/ 57259 w 163595"/>
                <a:gd name="connsiteY420" fmla="*/ 34694 h 265137"/>
                <a:gd name="connsiteX421" fmla="*/ 57540 w 163595"/>
                <a:gd name="connsiteY421" fmla="*/ 34976 h 265137"/>
                <a:gd name="connsiteX422" fmla="*/ 58105 w 163595"/>
                <a:gd name="connsiteY422" fmla="*/ 36104 h 265137"/>
                <a:gd name="connsiteX423" fmla="*/ 58105 w 163595"/>
                <a:gd name="connsiteY423" fmla="*/ 36668 h 265137"/>
                <a:gd name="connsiteX424" fmla="*/ 57259 w 163595"/>
                <a:gd name="connsiteY424" fmla="*/ 38078 h 265137"/>
                <a:gd name="connsiteX425" fmla="*/ 56695 w 163595"/>
                <a:gd name="connsiteY425" fmla="*/ 38924 h 265137"/>
                <a:gd name="connsiteX426" fmla="*/ 55848 w 163595"/>
                <a:gd name="connsiteY426" fmla="*/ 40335 h 265137"/>
                <a:gd name="connsiteX427" fmla="*/ 55284 w 163595"/>
                <a:gd name="connsiteY427" fmla="*/ 43437 h 265137"/>
                <a:gd name="connsiteX428" fmla="*/ 55002 w 163595"/>
                <a:gd name="connsiteY428" fmla="*/ 44002 h 265137"/>
                <a:gd name="connsiteX429" fmla="*/ 54156 w 163595"/>
                <a:gd name="connsiteY429" fmla="*/ 45412 h 265137"/>
                <a:gd name="connsiteX430" fmla="*/ 54156 w 163595"/>
                <a:gd name="connsiteY430" fmla="*/ 45976 h 265137"/>
                <a:gd name="connsiteX431" fmla="*/ 53592 w 163595"/>
                <a:gd name="connsiteY431" fmla="*/ 47104 h 265137"/>
                <a:gd name="connsiteX432" fmla="*/ 53592 w 163595"/>
                <a:gd name="connsiteY432" fmla="*/ 48232 h 265137"/>
                <a:gd name="connsiteX433" fmla="*/ 53028 w 163595"/>
                <a:gd name="connsiteY433" fmla="*/ 49643 h 265137"/>
                <a:gd name="connsiteX434" fmla="*/ 52464 w 163595"/>
                <a:gd name="connsiteY434" fmla="*/ 50771 h 265137"/>
                <a:gd name="connsiteX435" fmla="*/ 52181 w 163595"/>
                <a:gd name="connsiteY435" fmla="*/ 51053 h 265137"/>
                <a:gd name="connsiteX436" fmla="*/ 51335 w 163595"/>
                <a:gd name="connsiteY436" fmla="*/ 53310 h 265137"/>
                <a:gd name="connsiteX437" fmla="*/ 50489 w 163595"/>
                <a:gd name="connsiteY437" fmla="*/ 55002 h 265137"/>
                <a:gd name="connsiteX438" fmla="*/ 50771 w 163595"/>
                <a:gd name="connsiteY438" fmla="*/ 56130 h 265137"/>
                <a:gd name="connsiteX439" fmla="*/ 50771 w 163595"/>
                <a:gd name="connsiteY439" fmla="*/ 56412 h 265137"/>
                <a:gd name="connsiteX440" fmla="*/ 49361 w 163595"/>
                <a:gd name="connsiteY440" fmla="*/ 57258 h 265137"/>
                <a:gd name="connsiteX441" fmla="*/ 49643 w 163595"/>
                <a:gd name="connsiteY441" fmla="*/ 57823 h 265137"/>
                <a:gd name="connsiteX442" fmla="*/ 50207 w 163595"/>
                <a:gd name="connsiteY442" fmla="*/ 58387 h 265137"/>
                <a:gd name="connsiteX443" fmla="*/ 49925 w 163595"/>
                <a:gd name="connsiteY443" fmla="*/ 58669 h 265137"/>
                <a:gd name="connsiteX444" fmla="*/ 48233 w 163595"/>
                <a:gd name="connsiteY444" fmla="*/ 60643 h 265137"/>
                <a:gd name="connsiteX445" fmla="*/ 47950 w 163595"/>
                <a:gd name="connsiteY445" fmla="*/ 61771 h 265137"/>
                <a:gd name="connsiteX446" fmla="*/ 48233 w 163595"/>
                <a:gd name="connsiteY446" fmla="*/ 62336 h 265137"/>
                <a:gd name="connsiteX447" fmla="*/ 48797 w 163595"/>
                <a:gd name="connsiteY447" fmla="*/ 62053 h 265137"/>
                <a:gd name="connsiteX448" fmla="*/ 50207 w 163595"/>
                <a:gd name="connsiteY448" fmla="*/ 60079 h 265137"/>
                <a:gd name="connsiteX449" fmla="*/ 51617 w 163595"/>
                <a:gd name="connsiteY449" fmla="*/ 58105 h 265137"/>
                <a:gd name="connsiteX450" fmla="*/ 54438 w 163595"/>
                <a:gd name="connsiteY450" fmla="*/ 54720 h 265137"/>
                <a:gd name="connsiteX451" fmla="*/ 55848 w 163595"/>
                <a:gd name="connsiteY451" fmla="*/ 53310 h 265137"/>
                <a:gd name="connsiteX452" fmla="*/ 60643 w 163595"/>
                <a:gd name="connsiteY452" fmla="*/ 48232 h 265137"/>
                <a:gd name="connsiteX453" fmla="*/ 62618 w 163595"/>
                <a:gd name="connsiteY453" fmla="*/ 46258 h 265137"/>
                <a:gd name="connsiteX454" fmla="*/ 63464 w 163595"/>
                <a:gd name="connsiteY454" fmla="*/ 45694 h 265137"/>
                <a:gd name="connsiteX455" fmla="*/ 66848 w 163595"/>
                <a:gd name="connsiteY455" fmla="*/ 42591 h 265137"/>
                <a:gd name="connsiteX456" fmla="*/ 72208 w 163595"/>
                <a:gd name="connsiteY456" fmla="*/ 38924 h 265137"/>
                <a:gd name="connsiteX457" fmla="*/ 76721 w 163595"/>
                <a:gd name="connsiteY457" fmla="*/ 36386 h 265137"/>
                <a:gd name="connsiteX458" fmla="*/ 78695 w 163595"/>
                <a:gd name="connsiteY458" fmla="*/ 35540 h 265137"/>
                <a:gd name="connsiteX459" fmla="*/ 83490 w 163595"/>
                <a:gd name="connsiteY459" fmla="*/ 33847 h 265137"/>
                <a:gd name="connsiteX460" fmla="*/ 87439 w 163595"/>
                <a:gd name="connsiteY460" fmla="*/ 33001 h 265137"/>
                <a:gd name="connsiteX461" fmla="*/ 92798 w 163595"/>
                <a:gd name="connsiteY461" fmla="*/ 33001 h 265137"/>
                <a:gd name="connsiteX462" fmla="*/ 94773 w 163595"/>
                <a:gd name="connsiteY462" fmla="*/ 33283 h 265137"/>
                <a:gd name="connsiteX463" fmla="*/ 95337 w 163595"/>
                <a:gd name="connsiteY463" fmla="*/ 33565 h 265137"/>
                <a:gd name="connsiteX464" fmla="*/ 97029 w 163595"/>
                <a:gd name="connsiteY464" fmla="*/ 34129 h 265137"/>
                <a:gd name="connsiteX465" fmla="*/ 104080 w 163595"/>
                <a:gd name="connsiteY465" fmla="*/ 36668 h 265137"/>
                <a:gd name="connsiteX466" fmla="*/ 105491 w 163595"/>
                <a:gd name="connsiteY466" fmla="*/ 37232 h 265137"/>
                <a:gd name="connsiteX467" fmla="*/ 108594 w 163595"/>
                <a:gd name="connsiteY467" fmla="*/ 40053 h 265137"/>
                <a:gd name="connsiteX468" fmla="*/ 109440 w 163595"/>
                <a:gd name="connsiteY468" fmla="*/ 41181 h 265137"/>
                <a:gd name="connsiteX469" fmla="*/ 109722 w 163595"/>
                <a:gd name="connsiteY469" fmla="*/ 41463 h 265137"/>
                <a:gd name="connsiteX470" fmla="*/ 111697 w 163595"/>
                <a:gd name="connsiteY470" fmla="*/ 43720 h 265137"/>
                <a:gd name="connsiteX471" fmla="*/ 112261 w 163595"/>
                <a:gd name="connsiteY471" fmla="*/ 44284 h 265137"/>
                <a:gd name="connsiteX472" fmla="*/ 113107 w 163595"/>
                <a:gd name="connsiteY472" fmla="*/ 44848 h 265137"/>
                <a:gd name="connsiteX473" fmla="*/ 113953 w 163595"/>
                <a:gd name="connsiteY473" fmla="*/ 45976 h 265137"/>
                <a:gd name="connsiteX474" fmla="*/ 114235 w 163595"/>
                <a:gd name="connsiteY474" fmla="*/ 46540 h 265137"/>
                <a:gd name="connsiteX475" fmla="*/ 114235 w 163595"/>
                <a:gd name="connsiteY475" fmla="*/ 47668 h 265137"/>
                <a:gd name="connsiteX476" fmla="*/ 115363 w 163595"/>
                <a:gd name="connsiteY476" fmla="*/ 48515 h 265137"/>
                <a:gd name="connsiteX477" fmla="*/ 116209 w 163595"/>
                <a:gd name="connsiteY477" fmla="*/ 48515 h 265137"/>
                <a:gd name="connsiteX478" fmla="*/ 116773 w 163595"/>
                <a:gd name="connsiteY478" fmla="*/ 49361 h 265137"/>
                <a:gd name="connsiteX479" fmla="*/ 116773 w 163595"/>
                <a:gd name="connsiteY479" fmla="*/ 49643 h 265137"/>
                <a:gd name="connsiteX480" fmla="*/ 115928 w 163595"/>
                <a:gd name="connsiteY480" fmla="*/ 50771 h 265137"/>
                <a:gd name="connsiteX481" fmla="*/ 116209 w 163595"/>
                <a:gd name="connsiteY481" fmla="*/ 51335 h 265137"/>
                <a:gd name="connsiteX482" fmla="*/ 116773 w 163595"/>
                <a:gd name="connsiteY482" fmla="*/ 54156 h 265137"/>
                <a:gd name="connsiteX483" fmla="*/ 117056 w 163595"/>
                <a:gd name="connsiteY483" fmla="*/ 54720 h 265137"/>
                <a:gd name="connsiteX484" fmla="*/ 117338 w 163595"/>
                <a:gd name="connsiteY484" fmla="*/ 55284 h 265137"/>
                <a:gd name="connsiteX485" fmla="*/ 118183 w 163595"/>
                <a:gd name="connsiteY485" fmla="*/ 58951 h 265137"/>
                <a:gd name="connsiteX486" fmla="*/ 118466 w 163595"/>
                <a:gd name="connsiteY486" fmla="*/ 60361 h 265137"/>
                <a:gd name="connsiteX487" fmla="*/ 118466 w 163595"/>
                <a:gd name="connsiteY487" fmla="*/ 61489 h 265137"/>
                <a:gd name="connsiteX488" fmla="*/ 118748 w 163595"/>
                <a:gd name="connsiteY488" fmla="*/ 63746 h 265137"/>
                <a:gd name="connsiteX489" fmla="*/ 119312 w 163595"/>
                <a:gd name="connsiteY489" fmla="*/ 64310 h 265137"/>
                <a:gd name="connsiteX490" fmla="*/ 121850 w 163595"/>
                <a:gd name="connsiteY490" fmla="*/ 63464 h 265137"/>
                <a:gd name="connsiteX491" fmla="*/ 122697 w 163595"/>
                <a:gd name="connsiteY491" fmla="*/ 63182 h 265137"/>
                <a:gd name="connsiteX492" fmla="*/ 123543 w 163595"/>
                <a:gd name="connsiteY492" fmla="*/ 63182 h 265137"/>
                <a:gd name="connsiteX493" fmla="*/ 124107 w 163595"/>
                <a:gd name="connsiteY493" fmla="*/ 62900 h 265137"/>
                <a:gd name="connsiteX494" fmla="*/ 128902 w 163595"/>
                <a:gd name="connsiteY494" fmla="*/ 60079 h 265137"/>
                <a:gd name="connsiteX495" fmla="*/ 131159 w 163595"/>
                <a:gd name="connsiteY495" fmla="*/ 59233 h 265137"/>
                <a:gd name="connsiteX496" fmla="*/ 131441 w 163595"/>
                <a:gd name="connsiteY496" fmla="*/ 59233 h 265137"/>
                <a:gd name="connsiteX497" fmla="*/ 134826 w 163595"/>
                <a:gd name="connsiteY497" fmla="*/ 57823 h 265137"/>
                <a:gd name="connsiteX498" fmla="*/ 137928 w 163595"/>
                <a:gd name="connsiteY498" fmla="*/ 56976 h 265137"/>
                <a:gd name="connsiteX499" fmla="*/ 138774 w 163595"/>
                <a:gd name="connsiteY499" fmla="*/ 56694 h 265137"/>
                <a:gd name="connsiteX500" fmla="*/ 147518 w 163595"/>
                <a:gd name="connsiteY500" fmla="*/ 55566 h 265137"/>
                <a:gd name="connsiteX501" fmla="*/ 149775 w 163595"/>
                <a:gd name="connsiteY501" fmla="*/ 55566 h 265137"/>
                <a:gd name="connsiteX502" fmla="*/ 150339 w 163595"/>
                <a:gd name="connsiteY502" fmla="*/ 55848 h 265137"/>
                <a:gd name="connsiteX503" fmla="*/ 150903 w 163595"/>
                <a:gd name="connsiteY503" fmla="*/ 56412 h 265137"/>
                <a:gd name="connsiteX504" fmla="*/ 151185 w 163595"/>
                <a:gd name="connsiteY504" fmla="*/ 56412 h 265137"/>
                <a:gd name="connsiteX505" fmla="*/ 155980 w 163595"/>
                <a:gd name="connsiteY505" fmla="*/ 56130 h 265137"/>
                <a:gd name="connsiteX506" fmla="*/ 156826 w 163595"/>
                <a:gd name="connsiteY506" fmla="*/ 56130 h 265137"/>
                <a:gd name="connsiteX507" fmla="*/ 158801 w 163595"/>
                <a:gd name="connsiteY507" fmla="*/ 55848 h 265137"/>
                <a:gd name="connsiteX508" fmla="*/ 159082 w 163595"/>
                <a:gd name="connsiteY508" fmla="*/ 56130 h 265137"/>
                <a:gd name="connsiteX509" fmla="*/ 158801 w 163595"/>
                <a:gd name="connsiteY509" fmla="*/ 56130 h 265137"/>
                <a:gd name="connsiteX510" fmla="*/ 157954 w 163595"/>
                <a:gd name="connsiteY510" fmla="*/ 56694 h 265137"/>
                <a:gd name="connsiteX511" fmla="*/ 157954 w 163595"/>
                <a:gd name="connsiteY511" fmla="*/ 56976 h 265137"/>
                <a:gd name="connsiteX512" fmla="*/ 158237 w 163595"/>
                <a:gd name="connsiteY512" fmla="*/ 57258 h 265137"/>
                <a:gd name="connsiteX513" fmla="*/ 160775 w 163595"/>
                <a:gd name="connsiteY513" fmla="*/ 56976 h 265137"/>
                <a:gd name="connsiteX514" fmla="*/ 163313 w 163595"/>
                <a:gd name="connsiteY514" fmla="*/ 56694 h 265137"/>
                <a:gd name="connsiteX515" fmla="*/ 164442 w 163595"/>
                <a:gd name="connsiteY515" fmla="*/ 56694 h 265137"/>
                <a:gd name="connsiteX516" fmla="*/ 164160 w 163595"/>
                <a:gd name="connsiteY516" fmla="*/ 56976 h 265137"/>
                <a:gd name="connsiteX517" fmla="*/ 162468 w 163595"/>
                <a:gd name="connsiteY517" fmla="*/ 57541 h 265137"/>
                <a:gd name="connsiteX518" fmla="*/ 162185 w 163595"/>
                <a:gd name="connsiteY518" fmla="*/ 57823 h 265137"/>
                <a:gd name="connsiteX519" fmla="*/ 162468 w 163595"/>
                <a:gd name="connsiteY519" fmla="*/ 58105 h 265137"/>
                <a:gd name="connsiteX520" fmla="*/ 162185 w 163595"/>
                <a:gd name="connsiteY520" fmla="*/ 58669 h 265137"/>
                <a:gd name="connsiteX521" fmla="*/ 161903 w 163595"/>
                <a:gd name="connsiteY521" fmla="*/ 58951 h 265137"/>
                <a:gd name="connsiteX522" fmla="*/ 161903 w 163595"/>
                <a:gd name="connsiteY522" fmla="*/ 59233 h 265137"/>
                <a:gd name="connsiteX523" fmla="*/ 162185 w 163595"/>
                <a:gd name="connsiteY523" fmla="*/ 59515 h 265137"/>
                <a:gd name="connsiteX524" fmla="*/ 162468 w 163595"/>
                <a:gd name="connsiteY524" fmla="*/ 59515 h 265137"/>
                <a:gd name="connsiteX525" fmla="*/ 162185 w 163595"/>
                <a:gd name="connsiteY525" fmla="*/ 59797 h 265137"/>
                <a:gd name="connsiteX526" fmla="*/ 161621 w 163595"/>
                <a:gd name="connsiteY526" fmla="*/ 60079 h 265137"/>
                <a:gd name="connsiteX527" fmla="*/ 160211 w 163595"/>
                <a:gd name="connsiteY527" fmla="*/ 60925 h 265137"/>
                <a:gd name="connsiteX528" fmla="*/ 160211 w 163595"/>
                <a:gd name="connsiteY528" fmla="*/ 61207 h 265137"/>
                <a:gd name="connsiteX529" fmla="*/ 160775 w 163595"/>
                <a:gd name="connsiteY529" fmla="*/ 61771 h 265137"/>
                <a:gd name="connsiteX530" fmla="*/ 160493 w 163595"/>
                <a:gd name="connsiteY530" fmla="*/ 62618 h 265137"/>
                <a:gd name="connsiteX531" fmla="*/ 160493 w 163595"/>
                <a:gd name="connsiteY531" fmla="*/ 62900 h 265137"/>
                <a:gd name="connsiteX532" fmla="*/ 160211 w 163595"/>
                <a:gd name="connsiteY532" fmla="*/ 63182 h 265137"/>
                <a:gd name="connsiteX533" fmla="*/ 159082 w 163595"/>
                <a:gd name="connsiteY533" fmla="*/ 63464 h 265137"/>
                <a:gd name="connsiteX534" fmla="*/ 154288 w 163595"/>
                <a:gd name="connsiteY534" fmla="*/ 64028 h 265137"/>
                <a:gd name="connsiteX535" fmla="*/ 153160 w 163595"/>
                <a:gd name="connsiteY535" fmla="*/ 64028 h 265137"/>
                <a:gd name="connsiteX536" fmla="*/ 150621 w 163595"/>
                <a:gd name="connsiteY536" fmla="*/ 64874 h 265137"/>
                <a:gd name="connsiteX537" fmla="*/ 149210 w 163595"/>
                <a:gd name="connsiteY537" fmla="*/ 65156 h 265137"/>
                <a:gd name="connsiteX538" fmla="*/ 147518 w 163595"/>
                <a:gd name="connsiteY538" fmla="*/ 65438 h 265137"/>
                <a:gd name="connsiteX539" fmla="*/ 137646 w 163595"/>
                <a:gd name="connsiteY539" fmla="*/ 69105 h 265137"/>
                <a:gd name="connsiteX540" fmla="*/ 130876 w 163595"/>
                <a:gd name="connsiteY540" fmla="*/ 70797 h 265137"/>
                <a:gd name="connsiteX541" fmla="*/ 128902 w 163595"/>
                <a:gd name="connsiteY541" fmla="*/ 71644 h 265137"/>
                <a:gd name="connsiteX542" fmla="*/ 123261 w 163595"/>
                <a:gd name="connsiteY542" fmla="*/ 74746 h 265137"/>
                <a:gd name="connsiteX543" fmla="*/ 118466 w 163595"/>
                <a:gd name="connsiteY543" fmla="*/ 77003 h 265137"/>
                <a:gd name="connsiteX544" fmla="*/ 117902 w 163595"/>
                <a:gd name="connsiteY544" fmla="*/ 78413 h 265137"/>
                <a:gd name="connsiteX545" fmla="*/ 118183 w 163595"/>
                <a:gd name="connsiteY545" fmla="*/ 78695 h 265137"/>
                <a:gd name="connsiteX546" fmla="*/ 118748 w 163595"/>
                <a:gd name="connsiteY546" fmla="*/ 78977 h 265137"/>
                <a:gd name="connsiteX547" fmla="*/ 119030 w 163595"/>
                <a:gd name="connsiteY547" fmla="*/ 79541 h 265137"/>
                <a:gd name="connsiteX548" fmla="*/ 118183 w 163595"/>
                <a:gd name="connsiteY548" fmla="*/ 80387 h 265137"/>
                <a:gd name="connsiteX549" fmla="*/ 117902 w 163595"/>
                <a:gd name="connsiteY549" fmla="*/ 80670 h 265137"/>
                <a:gd name="connsiteX550" fmla="*/ 118183 w 163595"/>
                <a:gd name="connsiteY550" fmla="*/ 80952 h 265137"/>
                <a:gd name="connsiteX551" fmla="*/ 118466 w 163595"/>
                <a:gd name="connsiteY551" fmla="*/ 81234 h 265137"/>
                <a:gd name="connsiteX552" fmla="*/ 118748 w 163595"/>
                <a:gd name="connsiteY552" fmla="*/ 81798 h 265137"/>
                <a:gd name="connsiteX553" fmla="*/ 118466 w 163595"/>
                <a:gd name="connsiteY553" fmla="*/ 82362 h 265137"/>
                <a:gd name="connsiteX554" fmla="*/ 117902 w 163595"/>
                <a:gd name="connsiteY554" fmla="*/ 82362 h 265137"/>
                <a:gd name="connsiteX555" fmla="*/ 117338 w 163595"/>
                <a:gd name="connsiteY555" fmla="*/ 83208 h 265137"/>
                <a:gd name="connsiteX556" fmla="*/ 117338 w 163595"/>
                <a:gd name="connsiteY556" fmla="*/ 83772 h 265137"/>
                <a:gd name="connsiteX557" fmla="*/ 117056 w 163595"/>
                <a:gd name="connsiteY557" fmla="*/ 84054 h 265137"/>
                <a:gd name="connsiteX558" fmla="*/ 116773 w 163595"/>
                <a:gd name="connsiteY558" fmla="*/ 84618 h 265137"/>
                <a:gd name="connsiteX559" fmla="*/ 117056 w 163595"/>
                <a:gd name="connsiteY559" fmla="*/ 84900 h 265137"/>
                <a:gd name="connsiteX560" fmla="*/ 117338 w 163595"/>
                <a:gd name="connsiteY560" fmla="*/ 85465 h 265137"/>
                <a:gd name="connsiteX561" fmla="*/ 117338 w 163595"/>
                <a:gd name="connsiteY561" fmla="*/ 85747 h 265137"/>
                <a:gd name="connsiteX562" fmla="*/ 116492 w 163595"/>
                <a:gd name="connsiteY562" fmla="*/ 86875 h 265137"/>
                <a:gd name="connsiteX563" fmla="*/ 116492 w 163595"/>
                <a:gd name="connsiteY563" fmla="*/ 87439 h 265137"/>
                <a:gd name="connsiteX564" fmla="*/ 116773 w 163595"/>
                <a:gd name="connsiteY564" fmla="*/ 88285 h 265137"/>
                <a:gd name="connsiteX565" fmla="*/ 117338 w 163595"/>
                <a:gd name="connsiteY565" fmla="*/ 88849 h 265137"/>
                <a:gd name="connsiteX566" fmla="*/ 117056 w 163595"/>
                <a:gd name="connsiteY566" fmla="*/ 89696 h 265137"/>
                <a:gd name="connsiteX567" fmla="*/ 116773 w 163595"/>
                <a:gd name="connsiteY567" fmla="*/ 90260 h 265137"/>
                <a:gd name="connsiteX568" fmla="*/ 117056 w 163595"/>
                <a:gd name="connsiteY568" fmla="*/ 91388 h 265137"/>
                <a:gd name="connsiteX569" fmla="*/ 115363 w 163595"/>
                <a:gd name="connsiteY569" fmla="*/ 94491 h 265137"/>
                <a:gd name="connsiteX570" fmla="*/ 115081 w 163595"/>
                <a:gd name="connsiteY570" fmla="*/ 94773 h 265137"/>
                <a:gd name="connsiteX571" fmla="*/ 115363 w 163595"/>
                <a:gd name="connsiteY571" fmla="*/ 95055 h 265137"/>
                <a:gd name="connsiteX572" fmla="*/ 115081 w 163595"/>
                <a:gd name="connsiteY572" fmla="*/ 95901 h 265137"/>
                <a:gd name="connsiteX573" fmla="*/ 114517 w 163595"/>
                <a:gd name="connsiteY573" fmla="*/ 96465 h 265137"/>
                <a:gd name="connsiteX574" fmla="*/ 114235 w 163595"/>
                <a:gd name="connsiteY574" fmla="*/ 96465 h 265137"/>
                <a:gd name="connsiteX575" fmla="*/ 113107 w 163595"/>
                <a:gd name="connsiteY575" fmla="*/ 97311 h 265137"/>
                <a:gd name="connsiteX576" fmla="*/ 113107 w 163595"/>
                <a:gd name="connsiteY576" fmla="*/ 98439 h 265137"/>
                <a:gd name="connsiteX577" fmla="*/ 112261 w 163595"/>
                <a:gd name="connsiteY577" fmla="*/ 99568 h 265137"/>
                <a:gd name="connsiteX578" fmla="*/ 112261 w 163595"/>
                <a:gd name="connsiteY578" fmla="*/ 99850 h 265137"/>
                <a:gd name="connsiteX579" fmla="*/ 112542 w 163595"/>
                <a:gd name="connsiteY579" fmla="*/ 100414 h 265137"/>
                <a:gd name="connsiteX580" fmla="*/ 111978 w 163595"/>
                <a:gd name="connsiteY580" fmla="*/ 100978 h 265137"/>
                <a:gd name="connsiteX581" fmla="*/ 111978 w 163595"/>
                <a:gd name="connsiteY581" fmla="*/ 101260 h 265137"/>
                <a:gd name="connsiteX582" fmla="*/ 112542 w 163595"/>
                <a:gd name="connsiteY582" fmla="*/ 101542 h 265137"/>
                <a:gd name="connsiteX583" fmla="*/ 112825 w 163595"/>
                <a:gd name="connsiteY583" fmla="*/ 101260 h 265137"/>
                <a:gd name="connsiteX584" fmla="*/ 113107 w 163595"/>
                <a:gd name="connsiteY584" fmla="*/ 100414 h 265137"/>
                <a:gd name="connsiteX585" fmla="*/ 113389 w 163595"/>
                <a:gd name="connsiteY585" fmla="*/ 100132 h 265137"/>
                <a:gd name="connsiteX586" fmla="*/ 113953 w 163595"/>
                <a:gd name="connsiteY586" fmla="*/ 100696 h 265137"/>
                <a:gd name="connsiteX587" fmla="*/ 113671 w 163595"/>
                <a:gd name="connsiteY587" fmla="*/ 102106 h 265137"/>
                <a:gd name="connsiteX588" fmla="*/ 112261 w 163595"/>
                <a:gd name="connsiteY588" fmla="*/ 103799 h 265137"/>
                <a:gd name="connsiteX589" fmla="*/ 111978 w 163595"/>
                <a:gd name="connsiteY589" fmla="*/ 104081 h 265137"/>
                <a:gd name="connsiteX590" fmla="*/ 112261 w 163595"/>
                <a:gd name="connsiteY590" fmla="*/ 104645 h 265137"/>
                <a:gd name="connsiteX591" fmla="*/ 111978 w 163595"/>
                <a:gd name="connsiteY591" fmla="*/ 104927 h 265137"/>
                <a:gd name="connsiteX592" fmla="*/ 111132 w 163595"/>
                <a:gd name="connsiteY592" fmla="*/ 105773 h 265137"/>
                <a:gd name="connsiteX593" fmla="*/ 110850 w 163595"/>
                <a:gd name="connsiteY593" fmla="*/ 106337 h 265137"/>
                <a:gd name="connsiteX594" fmla="*/ 111132 w 163595"/>
                <a:gd name="connsiteY594" fmla="*/ 106901 h 265137"/>
                <a:gd name="connsiteX595" fmla="*/ 110568 w 163595"/>
                <a:gd name="connsiteY595" fmla="*/ 106901 h 265137"/>
                <a:gd name="connsiteX596" fmla="*/ 110004 w 163595"/>
                <a:gd name="connsiteY596" fmla="*/ 107183 h 265137"/>
                <a:gd name="connsiteX597" fmla="*/ 109722 w 163595"/>
                <a:gd name="connsiteY597" fmla="*/ 107465 h 265137"/>
                <a:gd name="connsiteX598" fmla="*/ 110286 w 163595"/>
                <a:gd name="connsiteY598" fmla="*/ 107747 h 265137"/>
                <a:gd name="connsiteX599" fmla="*/ 111132 w 163595"/>
                <a:gd name="connsiteY599" fmla="*/ 106901 h 265137"/>
                <a:gd name="connsiteX600" fmla="*/ 111414 w 163595"/>
                <a:gd name="connsiteY600" fmla="*/ 107183 h 265137"/>
                <a:gd name="connsiteX601" fmla="*/ 111132 w 163595"/>
                <a:gd name="connsiteY601" fmla="*/ 108876 h 265137"/>
                <a:gd name="connsiteX602" fmla="*/ 111132 w 163595"/>
                <a:gd name="connsiteY602" fmla="*/ 109158 h 265137"/>
                <a:gd name="connsiteX603" fmla="*/ 110568 w 163595"/>
                <a:gd name="connsiteY603" fmla="*/ 109722 h 265137"/>
                <a:gd name="connsiteX604" fmla="*/ 110004 w 163595"/>
                <a:gd name="connsiteY604" fmla="*/ 110286 h 265137"/>
                <a:gd name="connsiteX605" fmla="*/ 109722 w 163595"/>
                <a:gd name="connsiteY605" fmla="*/ 111132 h 265137"/>
                <a:gd name="connsiteX606" fmla="*/ 108876 w 163595"/>
                <a:gd name="connsiteY606" fmla="*/ 111978 h 265137"/>
                <a:gd name="connsiteX607" fmla="*/ 107747 w 163595"/>
                <a:gd name="connsiteY607" fmla="*/ 111978 h 265137"/>
                <a:gd name="connsiteX608" fmla="*/ 107466 w 163595"/>
                <a:gd name="connsiteY608" fmla="*/ 111978 h 265137"/>
                <a:gd name="connsiteX609" fmla="*/ 107747 w 163595"/>
                <a:gd name="connsiteY609" fmla="*/ 112260 h 265137"/>
                <a:gd name="connsiteX610" fmla="*/ 108876 w 163595"/>
                <a:gd name="connsiteY610" fmla="*/ 112825 h 265137"/>
                <a:gd name="connsiteX611" fmla="*/ 108876 w 163595"/>
                <a:gd name="connsiteY611" fmla="*/ 113389 h 265137"/>
                <a:gd name="connsiteX612" fmla="*/ 108030 w 163595"/>
                <a:gd name="connsiteY612" fmla="*/ 114799 h 265137"/>
                <a:gd name="connsiteX613" fmla="*/ 107466 w 163595"/>
                <a:gd name="connsiteY613" fmla="*/ 115645 h 265137"/>
                <a:gd name="connsiteX614" fmla="*/ 107466 w 163595"/>
                <a:gd name="connsiteY614" fmla="*/ 115927 h 265137"/>
                <a:gd name="connsiteX615" fmla="*/ 107183 w 163595"/>
                <a:gd name="connsiteY615" fmla="*/ 116491 h 265137"/>
                <a:gd name="connsiteX616" fmla="*/ 106337 w 163595"/>
                <a:gd name="connsiteY616" fmla="*/ 117338 h 265137"/>
                <a:gd name="connsiteX617" fmla="*/ 106055 w 163595"/>
                <a:gd name="connsiteY617" fmla="*/ 117620 h 265137"/>
                <a:gd name="connsiteX618" fmla="*/ 104927 w 163595"/>
                <a:gd name="connsiteY618" fmla="*/ 120158 h 265137"/>
                <a:gd name="connsiteX619" fmla="*/ 103799 w 163595"/>
                <a:gd name="connsiteY619" fmla="*/ 121851 h 265137"/>
                <a:gd name="connsiteX620" fmla="*/ 103235 w 163595"/>
                <a:gd name="connsiteY620" fmla="*/ 123261 h 265137"/>
                <a:gd name="connsiteX621" fmla="*/ 101824 w 163595"/>
                <a:gd name="connsiteY621" fmla="*/ 125799 h 265137"/>
                <a:gd name="connsiteX622" fmla="*/ 101260 w 163595"/>
                <a:gd name="connsiteY622" fmla="*/ 126646 h 265137"/>
                <a:gd name="connsiteX623" fmla="*/ 99004 w 163595"/>
                <a:gd name="connsiteY623" fmla="*/ 130030 h 265137"/>
                <a:gd name="connsiteX624" fmla="*/ 99004 w 163595"/>
                <a:gd name="connsiteY624" fmla="*/ 130594 h 265137"/>
                <a:gd name="connsiteX625" fmla="*/ 97311 w 163595"/>
                <a:gd name="connsiteY625" fmla="*/ 132287 h 265137"/>
                <a:gd name="connsiteX626" fmla="*/ 95901 w 163595"/>
                <a:gd name="connsiteY626" fmla="*/ 134261 h 265137"/>
                <a:gd name="connsiteX627" fmla="*/ 93927 w 163595"/>
                <a:gd name="connsiteY627" fmla="*/ 136518 h 265137"/>
                <a:gd name="connsiteX628" fmla="*/ 93363 w 163595"/>
                <a:gd name="connsiteY628" fmla="*/ 137082 h 265137"/>
                <a:gd name="connsiteX629" fmla="*/ 90542 w 163595"/>
                <a:gd name="connsiteY629" fmla="*/ 140467 h 265137"/>
                <a:gd name="connsiteX630" fmla="*/ 89696 w 163595"/>
                <a:gd name="connsiteY630" fmla="*/ 141313 h 265137"/>
                <a:gd name="connsiteX631" fmla="*/ 86311 w 163595"/>
                <a:gd name="connsiteY631" fmla="*/ 144980 h 265137"/>
                <a:gd name="connsiteX632" fmla="*/ 85465 w 163595"/>
                <a:gd name="connsiteY632" fmla="*/ 145826 h 265137"/>
                <a:gd name="connsiteX633" fmla="*/ 82362 w 163595"/>
                <a:gd name="connsiteY633" fmla="*/ 148082 h 265137"/>
                <a:gd name="connsiteX634" fmla="*/ 78977 w 163595"/>
                <a:gd name="connsiteY634" fmla="*/ 151185 h 265137"/>
                <a:gd name="connsiteX635" fmla="*/ 78695 w 163595"/>
                <a:gd name="connsiteY635" fmla="*/ 151749 h 265137"/>
                <a:gd name="connsiteX636" fmla="*/ 77567 w 163595"/>
                <a:gd name="connsiteY636" fmla="*/ 152313 h 265137"/>
                <a:gd name="connsiteX637" fmla="*/ 76721 w 163595"/>
                <a:gd name="connsiteY637" fmla="*/ 153159 h 265137"/>
                <a:gd name="connsiteX638" fmla="*/ 75029 w 163595"/>
                <a:gd name="connsiteY638" fmla="*/ 154288 h 265137"/>
                <a:gd name="connsiteX639" fmla="*/ 73054 w 163595"/>
                <a:gd name="connsiteY639" fmla="*/ 155980 h 265137"/>
                <a:gd name="connsiteX640" fmla="*/ 71926 w 163595"/>
                <a:gd name="connsiteY640" fmla="*/ 156826 h 265137"/>
                <a:gd name="connsiteX641" fmla="*/ 70515 w 163595"/>
                <a:gd name="connsiteY641" fmla="*/ 158519 h 265137"/>
                <a:gd name="connsiteX642" fmla="*/ 69669 w 163595"/>
                <a:gd name="connsiteY642" fmla="*/ 159647 h 265137"/>
                <a:gd name="connsiteX643" fmla="*/ 68259 w 163595"/>
                <a:gd name="connsiteY643" fmla="*/ 160775 h 265137"/>
                <a:gd name="connsiteX644" fmla="*/ 66284 w 163595"/>
                <a:gd name="connsiteY644" fmla="*/ 161339 h 265137"/>
                <a:gd name="connsiteX645" fmla="*/ 65720 w 163595"/>
                <a:gd name="connsiteY645" fmla="*/ 161339 h 265137"/>
                <a:gd name="connsiteX646" fmla="*/ 65720 w 163595"/>
                <a:gd name="connsiteY646" fmla="*/ 161621 h 265137"/>
                <a:gd name="connsiteX647" fmla="*/ 64874 w 163595"/>
                <a:gd name="connsiteY647" fmla="*/ 162185 h 265137"/>
                <a:gd name="connsiteX648" fmla="*/ 64028 w 163595"/>
                <a:gd name="connsiteY648" fmla="*/ 162749 h 265137"/>
                <a:gd name="connsiteX649" fmla="*/ 62054 w 163595"/>
                <a:gd name="connsiteY649" fmla="*/ 163596 h 265137"/>
                <a:gd name="connsiteX650" fmla="*/ 60643 w 163595"/>
                <a:gd name="connsiteY650" fmla="*/ 163596 h 265137"/>
                <a:gd name="connsiteX651" fmla="*/ 60361 w 163595"/>
                <a:gd name="connsiteY651" fmla="*/ 163878 h 265137"/>
                <a:gd name="connsiteX652" fmla="*/ 60079 w 163595"/>
                <a:gd name="connsiteY652" fmla="*/ 164160 h 265137"/>
                <a:gd name="connsiteX653" fmla="*/ 59797 w 163595"/>
                <a:gd name="connsiteY653" fmla="*/ 164160 h 265137"/>
                <a:gd name="connsiteX654" fmla="*/ 60079 w 163595"/>
                <a:gd name="connsiteY654" fmla="*/ 164442 h 265137"/>
                <a:gd name="connsiteX655" fmla="*/ 60361 w 163595"/>
                <a:gd name="connsiteY655" fmla="*/ 164442 h 265137"/>
                <a:gd name="connsiteX656" fmla="*/ 60079 w 163595"/>
                <a:gd name="connsiteY656" fmla="*/ 165006 h 265137"/>
                <a:gd name="connsiteX657" fmla="*/ 57259 w 163595"/>
                <a:gd name="connsiteY657" fmla="*/ 165570 h 265137"/>
                <a:gd name="connsiteX658" fmla="*/ 56130 w 163595"/>
                <a:gd name="connsiteY658" fmla="*/ 165570 h 265137"/>
                <a:gd name="connsiteX659" fmla="*/ 53874 w 163595"/>
                <a:gd name="connsiteY659" fmla="*/ 165006 h 265137"/>
                <a:gd name="connsiteX660" fmla="*/ 52745 w 163595"/>
                <a:gd name="connsiteY660" fmla="*/ 165288 h 265137"/>
                <a:gd name="connsiteX661" fmla="*/ 51335 w 163595"/>
                <a:gd name="connsiteY661" fmla="*/ 165852 h 265137"/>
                <a:gd name="connsiteX662" fmla="*/ 49361 w 163595"/>
                <a:gd name="connsiteY662" fmla="*/ 165852 h 265137"/>
                <a:gd name="connsiteX663" fmla="*/ 47104 w 163595"/>
                <a:gd name="connsiteY663" fmla="*/ 166698 h 265137"/>
                <a:gd name="connsiteX664" fmla="*/ 44002 w 163595"/>
                <a:gd name="connsiteY664" fmla="*/ 168109 h 265137"/>
                <a:gd name="connsiteX665" fmla="*/ 41745 w 163595"/>
                <a:gd name="connsiteY665" fmla="*/ 168391 h 265137"/>
                <a:gd name="connsiteX666" fmla="*/ 39489 w 163595"/>
                <a:gd name="connsiteY666" fmla="*/ 167544 h 265137"/>
                <a:gd name="connsiteX667" fmla="*/ 38925 w 163595"/>
                <a:gd name="connsiteY667" fmla="*/ 167262 h 265137"/>
                <a:gd name="connsiteX668" fmla="*/ 38078 w 163595"/>
                <a:gd name="connsiteY668" fmla="*/ 167262 h 265137"/>
                <a:gd name="connsiteX669" fmla="*/ 37232 w 163595"/>
                <a:gd name="connsiteY669" fmla="*/ 165852 h 265137"/>
                <a:gd name="connsiteX670" fmla="*/ 37514 w 163595"/>
                <a:gd name="connsiteY670" fmla="*/ 164724 h 265137"/>
                <a:gd name="connsiteX671" fmla="*/ 37796 w 163595"/>
                <a:gd name="connsiteY671" fmla="*/ 163031 h 265137"/>
                <a:gd name="connsiteX672" fmla="*/ 37796 w 163595"/>
                <a:gd name="connsiteY672" fmla="*/ 160775 h 265137"/>
                <a:gd name="connsiteX673" fmla="*/ 38078 w 163595"/>
                <a:gd name="connsiteY673" fmla="*/ 158801 h 265137"/>
                <a:gd name="connsiteX674" fmla="*/ 38078 w 163595"/>
                <a:gd name="connsiteY674" fmla="*/ 158519 h 265137"/>
                <a:gd name="connsiteX675" fmla="*/ 38361 w 163595"/>
                <a:gd name="connsiteY675" fmla="*/ 156544 h 265137"/>
                <a:gd name="connsiteX676" fmla="*/ 38642 w 163595"/>
                <a:gd name="connsiteY676" fmla="*/ 155698 h 265137"/>
                <a:gd name="connsiteX677" fmla="*/ 39489 w 163595"/>
                <a:gd name="connsiteY677" fmla="*/ 153441 h 265137"/>
                <a:gd name="connsiteX678" fmla="*/ 40053 w 163595"/>
                <a:gd name="connsiteY678" fmla="*/ 152877 h 265137"/>
                <a:gd name="connsiteX679" fmla="*/ 40053 w 163595"/>
                <a:gd name="connsiteY679" fmla="*/ 152313 h 265137"/>
                <a:gd name="connsiteX680" fmla="*/ 39489 w 163595"/>
                <a:gd name="connsiteY680" fmla="*/ 151185 h 265137"/>
                <a:gd name="connsiteX681" fmla="*/ 39771 w 163595"/>
                <a:gd name="connsiteY681" fmla="*/ 150621 h 265137"/>
                <a:gd name="connsiteX682" fmla="*/ 40335 w 163595"/>
                <a:gd name="connsiteY682" fmla="*/ 149210 h 265137"/>
                <a:gd name="connsiteX683" fmla="*/ 40617 w 163595"/>
                <a:gd name="connsiteY683" fmla="*/ 148928 h 265137"/>
                <a:gd name="connsiteX684" fmla="*/ 41463 w 163595"/>
                <a:gd name="connsiteY684" fmla="*/ 147518 h 265137"/>
                <a:gd name="connsiteX685" fmla="*/ 42027 w 163595"/>
                <a:gd name="connsiteY685" fmla="*/ 146954 h 265137"/>
                <a:gd name="connsiteX686" fmla="*/ 41745 w 163595"/>
                <a:gd name="connsiteY686" fmla="*/ 146672 h 265137"/>
                <a:gd name="connsiteX687" fmla="*/ 41181 w 163595"/>
                <a:gd name="connsiteY687" fmla="*/ 145826 h 265137"/>
                <a:gd name="connsiteX688" fmla="*/ 41463 w 163595"/>
                <a:gd name="connsiteY688" fmla="*/ 144980 h 265137"/>
                <a:gd name="connsiteX689" fmla="*/ 42309 w 163595"/>
                <a:gd name="connsiteY689" fmla="*/ 143569 h 265137"/>
                <a:gd name="connsiteX690" fmla="*/ 43156 w 163595"/>
                <a:gd name="connsiteY690" fmla="*/ 142723 h 265137"/>
                <a:gd name="connsiteX691" fmla="*/ 44002 w 163595"/>
                <a:gd name="connsiteY691" fmla="*/ 142723 h 265137"/>
                <a:gd name="connsiteX692" fmla="*/ 44284 w 163595"/>
                <a:gd name="connsiteY692" fmla="*/ 141877 h 265137"/>
                <a:gd name="connsiteX693" fmla="*/ 43720 w 163595"/>
                <a:gd name="connsiteY693" fmla="*/ 141313 h 265137"/>
                <a:gd name="connsiteX694" fmla="*/ 43437 w 163595"/>
                <a:gd name="connsiteY694" fmla="*/ 141313 h 265137"/>
                <a:gd name="connsiteX695" fmla="*/ 43156 w 163595"/>
                <a:gd name="connsiteY695" fmla="*/ 141031 h 265137"/>
                <a:gd name="connsiteX696" fmla="*/ 43437 w 163595"/>
                <a:gd name="connsiteY696" fmla="*/ 140467 h 265137"/>
                <a:gd name="connsiteX697" fmla="*/ 43720 w 163595"/>
                <a:gd name="connsiteY697" fmla="*/ 140185 h 265137"/>
                <a:gd name="connsiteX698" fmla="*/ 44848 w 163595"/>
                <a:gd name="connsiteY698" fmla="*/ 138774 h 265137"/>
                <a:gd name="connsiteX699" fmla="*/ 45412 w 163595"/>
                <a:gd name="connsiteY699" fmla="*/ 139056 h 265137"/>
                <a:gd name="connsiteX700" fmla="*/ 45694 w 163595"/>
                <a:gd name="connsiteY700" fmla="*/ 139056 h 265137"/>
                <a:gd name="connsiteX701" fmla="*/ 46822 w 163595"/>
                <a:gd name="connsiteY701" fmla="*/ 140185 h 265137"/>
                <a:gd name="connsiteX702" fmla="*/ 47386 w 163595"/>
                <a:gd name="connsiteY702" fmla="*/ 139620 h 265137"/>
                <a:gd name="connsiteX703" fmla="*/ 47668 w 163595"/>
                <a:gd name="connsiteY703" fmla="*/ 139338 h 265137"/>
                <a:gd name="connsiteX704" fmla="*/ 47386 w 163595"/>
                <a:gd name="connsiteY704" fmla="*/ 139056 h 265137"/>
                <a:gd name="connsiteX705" fmla="*/ 45976 w 163595"/>
                <a:gd name="connsiteY705" fmla="*/ 138492 h 265137"/>
                <a:gd name="connsiteX706" fmla="*/ 46258 w 163595"/>
                <a:gd name="connsiteY706" fmla="*/ 137646 h 265137"/>
                <a:gd name="connsiteX707" fmla="*/ 46540 w 163595"/>
                <a:gd name="connsiteY707" fmla="*/ 135954 h 265137"/>
                <a:gd name="connsiteX708" fmla="*/ 47668 w 163595"/>
                <a:gd name="connsiteY708" fmla="*/ 134261 h 265137"/>
                <a:gd name="connsiteX709" fmla="*/ 48233 w 163595"/>
                <a:gd name="connsiteY709" fmla="*/ 132287 h 265137"/>
                <a:gd name="connsiteX710" fmla="*/ 49361 w 163595"/>
                <a:gd name="connsiteY710" fmla="*/ 130594 h 265137"/>
                <a:gd name="connsiteX711" fmla="*/ 49925 w 163595"/>
                <a:gd name="connsiteY711" fmla="*/ 130030 h 265137"/>
                <a:gd name="connsiteX712" fmla="*/ 50489 w 163595"/>
                <a:gd name="connsiteY712" fmla="*/ 129184 h 265137"/>
                <a:gd name="connsiteX713" fmla="*/ 50771 w 163595"/>
                <a:gd name="connsiteY713" fmla="*/ 128620 h 265137"/>
                <a:gd name="connsiteX714" fmla="*/ 50489 w 163595"/>
                <a:gd name="connsiteY714" fmla="*/ 127774 h 265137"/>
                <a:gd name="connsiteX715" fmla="*/ 50489 w 163595"/>
                <a:gd name="connsiteY715" fmla="*/ 127492 h 265137"/>
                <a:gd name="connsiteX716" fmla="*/ 50771 w 163595"/>
                <a:gd name="connsiteY716" fmla="*/ 127210 h 265137"/>
                <a:gd name="connsiteX717" fmla="*/ 51899 w 163595"/>
                <a:gd name="connsiteY717" fmla="*/ 127210 h 265137"/>
                <a:gd name="connsiteX718" fmla="*/ 52464 w 163595"/>
                <a:gd name="connsiteY718" fmla="*/ 126363 h 265137"/>
                <a:gd name="connsiteX719" fmla="*/ 52181 w 163595"/>
                <a:gd name="connsiteY719" fmla="*/ 125799 h 265137"/>
                <a:gd name="connsiteX720" fmla="*/ 52464 w 163595"/>
                <a:gd name="connsiteY720" fmla="*/ 125235 h 265137"/>
                <a:gd name="connsiteX721" fmla="*/ 53592 w 163595"/>
                <a:gd name="connsiteY721" fmla="*/ 124107 h 265137"/>
                <a:gd name="connsiteX722" fmla="*/ 53874 w 163595"/>
                <a:gd name="connsiteY722" fmla="*/ 123825 h 265137"/>
                <a:gd name="connsiteX723" fmla="*/ 53592 w 163595"/>
                <a:gd name="connsiteY723" fmla="*/ 123261 h 265137"/>
                <a:gd name="connsiteX724" fmla="*/ 53874 w 163595"/>
                <a:gd name="connsiteY724" fmla="*/ 122697 h 265137"/>
                <a:gd name="connsiteX725" fmla="*/ 55002 w 163595"/>
                <a:gd name="connsiteY725" fmla="*/ 122415 h 265137"/>
                <a:gd name="connsiteX726" fmla="*/ 55284 w 163595"/>
                <a:gd name="connsiteY726" fmla="*/ 122415 h 265137"/>
                <a:gd name="connsiteX727" fmla="*/ 55284 w 163595"/>
                <a:gd name="connsiteY727" fmla="*/ 122133 h 265137"/>
                <a:gd name="connsiteX728" fmla="*/ 55848 w 163595"/>
                <a:gd name="connsiteY728" fmla="*/ 121004 h 265137"/>
                <a:gd name="connsiteX729" fmla="*/ 57823 w 163595"/>
                <a:gd name="connsiteY729" fmla="*/ 119030 h 265137"/>
                <a:gd name="connsiteX730" fmla="*/ 58105 w 163595"/>
                <a:gd name="connsiteY730" fmla="*/ 118184 h 265137"/>
                <a:gd name="connsiteX731" fmla="*/ 57823 w 163595"/>
                <a:gd name="connsiteY731" fmla="*/ 117620 h 265137"/>
                <a:gd name="connsiteX732" fmla="*/ 58669 w 163595"/>
                <a:gd name="connsiteY732" fmla="*/ 117055 h 265137"/>
                <a:gd name="connsiteX733" fmla="*/ 58951 w 163595"/>
                <a:gd name="connsiteY733" fmla="*/ 116773 h 265137"/>
                <a:gd name="connsiteX734" fmla="*/ 59797 w 163595"/>
                <a:gd name="connsiteY734" fmla="*/ 116209 h 265137"/>
                <a:gd name="connsiteX735" fmla="*/ 60361 w 163595"/>
                <a:gd name="connsiteY735" fmla="*/ 115363 h 265137"/>
                <a:gd name="connsiteX736" fmla="*/ 62054 w 163595"/>
                <a:gd name="connsiteY736" fmla="*/ 113671 h 265137"/>
                <a:gd name="connsiteX737" fmla="*/ 63464 w 163595"/>
                <a:gd name="connsiteY737" fmla="*/ 111696 h 265137"/>
                <a:gd name="connsiteX738" fmla="*/ 64310 w 163595"/>
                <a:gd name="connsiteY738" fmla="*/ 110004 h 265137"/>
                <a:gd name="connsiteX739" fmla="*/ 64592 w 163595"/>
                <a:gd name="connsiteY739" fmla="*/ 109722 h 265137"/>
                <a:gd name="connsiteX740" fmla="*/ 65720 w 163595"/>
                <a:gd name="connsiteY740" fmla="*/ 108312 h 265137"/>
                <a:gd name="connsiteX741" fmla="*/ 66567 w 163595"/>
                <a:gd name="connsiteY741" fmla="*/ 107465 h 265137"/>
                <a:gd name="connsiteX742" fmla="*/ 67977 w 163595"/>
                <a:gd name="connsiteY742" fmla="*/ 105773 h 265137"/>
                <a:gd name="connsiteX743" fmla="*/ 69105 w 163595"/>
                <a:gd name="connsiteY743" fmla="*/ 104081 h 265137"/>
                <a:gd name="connsiteX744" fmla="*/ 69669 w 163595"/>
                <a:gd name="connsiteY744" fmla="*/ 103517 h 265137"/>
                <a:gd name="connsiteX745" fmla="*/ 70515 w 163595"/>
                <a:gd name="connsiteY745" fmla="*/ 103234 h 265137"/>
                <a:gd name="connsiteX746" fmla="*/ 71079 w 163595"/>
                <a:gd name="connsiteY746" fmla="*/ 102670 h 265137"/>
                <a:gd name="connsiteX747" fmla="*/ 72490 w 163595"/>
                <a:gd name="connsiteY747" fmla="*/ 100414 h 265137"/>
                <a:gd name="connsiteX748" fmla="*/ 74464 w 163595"/>
                <a:gd name="connsiteY748" fmla="*/ 98157 h 265137"/>
                <a:gd name="connsiteX749" fmla="*/ 75593 w 163595"/>
                <a:gd name="connsiteY749" fmla="*/ 96183 h 265137"/>
                <a:gd name="connsiteX750" fmla="*/ 77003 w 163595"/>
                <a:gd name="connsiteY750" fmla="*/ 95337 h 265137"/>
                <a:gd name="connsiteX751" fmla="*/ 78131 w 163595"/>
                <a:gd name="connsiteY751" fmla="*/ 93926 h 265137"/>
                <a:gd name="connsiteX752" fmla="*/ 78977 w 163595"/>
                <a:gd name="connsiteY752" fmla="*/ 93362 h 265137"/>
                <a:gd name="connsiteX753" fmla="*/ 79824 w 163595"/>
                <a:gd name="connsiteY753" fmla="*/ 92798 h 265137"/>
                <a:gd name="connsiteX754" fmla="*/ 80952 w 163595"/>
                <a:gd name="connsiteY754" fmla="*/ 91952 h 265137"/>
                <a:gd name="connsiteX755" fmla="*/ 81234 w 163595"/>
                <a:gd name="connsiteY755" fmla="*/ 91388 h 265137"/>
                <a:gd name="connsiteX756" fmla="*/ 82362 w 163595"/>
                <a:gd name="connsiteY756" fmla="*/ 89696 h 265137"/>
                <a:gd name="connsiteX757" fmla="*/ 84054 w 163595"/>
                <a:gd name="connsiteY757" fmla="*/ 87439 h 265137"/>
                <a:gd name="connsiteX758" fmla="*/ 84336 w 163595"/>
                <a:gd name="connsiteY758" fmla="*/ 87157 h 265137"/>
                <a:gd name="connsiteX759" fmla="*/ 86311 w 163595"/>
                <a:gd name="connsiteY759" fmla="*/ 86029 h 265137"/>
                <a:gd name="connsiteX760" fmla="*/ 88003 w 163595"/>
                <a:gd name="connsiteY760" fmla="*/ 84900 h 265137"/>
                <a:gd name="connsiteX761" fmla="*/ 89977 w 163595"/>
                <a:gd name="connsiteY761" fmla="*/ 82926 h 265137"/>
                <a:gd name="connsiteX762" fmla="*/ 95619 w 163595"/>
                <a:gd name="connsiteY762" fmla="*/ 78977 h 265137"/>
                <a:gd name="connsiteX763" fmla="*/ 97594 w 163595"/>
                <a:gd name="connsiteY763" fmla="*/ 77567 h 265137"/>
                <a:gd name="connsiteX764" fmla="*/ 98722 w 163595"/>
                <a:gd name="connsiteY764" fmla="*/ 76721 h 265137"/>
                <a:gd name="connsiteX765" fmla="*/ 99850 w 163595"/>
                <a:gd name="connsiteY765" fmla="*/ 75875 h 265137"/>
                <a:gd name="connsiteX766" fmla="*/ 100978 w 163595"/>
                <a:gd name="connsiteY766" fmla="*/ 74464 h 265137"/>
                <a:gd name="connsiteX767" fmla="*/ 101260 w 163595"/>
                <a:gd name="connsiteY767" fmla="*/ 71644 h 265137"/>
                <a:gd name="connsiteX768" fmla="*/ 101260 w 163595"/>
                <a:gd name="connsiteY768" fmla="*/ 71079 h 265137"/>
                <a:gd name="connsiteX769" fmla="*/ 100978 w 163595"/>
                <a:gd name="connsiteY769" fmla="*/ 70515 h 265137"/>
                <a:gd name="connsiteX770" fmla="*/ 101260 w 163595"/>
                <a:gd name="connsiteY770" fmla="*/ 69951 h 265137"/>
                <a:gd name="connsiteX771" fmla="*/ 100978 w 163595"/>
                <a:gd name="connsiteY771" fmla="*/ 68259 h 265137"/>
                <a:gd name="connsiteX772" fmla="*/ 100978 w 163595"/>
                <a:gd name="connsiteY772" fmla="*/ 65438 h 265137"/>
                <a:gd name="connsiteX773" fmla="*/ 100696 w 163595"/>
                <a:gd name="connsiteY773" fmla="*/ 63464 h 265137"/>
                <a:gd name="connsiteX774" fmla="*/ 100696 w 163595"/>
                <a:gd name="connsiteY774" fmla="*/ 62053 h 265137"/>
                <a:gd name="connsiteX775" fmla="*/ 100132 w 163595"/>
                <a:gd name="connsiteY775" fmla="*/ 60925 h 265137"/>
                <a:gd name="connsiteX776" fmla="*/ 100414 w 163595"/>
                <a:gd name="connsiteY776" fmla="*/ 60361 h 265137"/>
                <a:gd name="connsiteX777" fmla="*/ 100132 w 163595"/>
                <a:gd name="connsiteY777" fmla="*/ 58669 h 265137"/>
                <a:gd name="connsiteX778" fmla="*/ 99004 w 163595"/>
                <a:gd name="connsiteY778" fmla="*/ 55848 h 265137"/>
                <a:gd name="connsiteX779" fmla="*/ 98722 w 163595"/>
                <a:gd name="connsiteY779" fmla="*/ 55002 h 265137"/>
                <a:gd name="connsiteX780" fmla="*/ 98722 w 163595"/>
                <a:gd name="connsiteY780" fmla="*/ 54438 h 265137"/>
                <a:gd name="connsiteX781" fmla="*/ 98439 w 163595"/>
                <a:gd name="connsiteY781" fmla="*/ 53592 h 265137"/>
                <a:gd name="connsiteX782" fmla="*/ 96465 w 163595"/>
                <a:gd name="connsiteY782" fmla="*/ 51053 h 265137"/>
                <a:gd name="connsiteX783" fmla="*/ 96747 w 163595"/>
                <a:gd name="connsiteY783" fmla="*/ 50207 h 265137"/>
                <a:gd name="connsiteX784" fmla="*/ 95619 w 163595"/>
                <a:gd name="connsiteY784" fmla="*/ 49361 h 265137"/>
                <a:gd name="connsiteX785" fmla="*/ 94773 w 163595"/>
                <a:gd name="connsiteY785" fmla="*/ 48797 h 265137"/>
                <a:gd name="connsiteX786" fmla="*/ 92234 w 163595"/>
                <a:gd name="connsiteY786" fmla="*/ 46258 h 265137"/>
                <a:gd name="connsiteX787" fmla="*/ 91388 w 163595"/>
                <a:gd name="connsiteY787" fmla="*/ 45976 h 265137"/>
                <a:gd name="connsiteX788" fmla="*/ 87157 w 163595"/>
                <a:gd name="connsiteY788" fmla="*/ 44848 h 265137"/>
                <a:gd name="connsiteX789" fmla="*/ 85746 w 163595"/>
                <a:gd name="connsiteY789" fmla="*/ 45412 h 265137"/>
                <a:gd name="connsiteX790" fmla="*/ 85465 w 163595"/>
                <a:gd name="connsiteY790" fmla="*/ 45412 h 265137"/>
                <a:gd name="connsiteX791" fmla="*/ 80952 w 163595"/>
                <a:gd name="connsiteY791" fmla="*/ 47950 h 265137"/>
                <a:gd name="connsiteX792" fmla="*/ 79824 w 163595"/>
                <a:gd name="connsiteY792" fmla="*/ 48515 h 265137"/>
                <a:gd name="connsiteX793" fmla="*/ 77849 w 163595"/>
                <a:gd name="connsiteY793" fmla="*/ 49361 h 265137"/>
                <a:gd name="connsiteX794" fmla="*/ 77285 w 163595"/>
                <a:gd name="connsiteY794" fmla="*/ 49361 h 265137"/>
                <a:gd name="connsiteX795" fmla="*/ 77567 w 163595"/>
                <a:gd name="connsiteY795" fmla="*/ 49925 h 265137"/>
                <a:gd name="connsiteX796" fmla="*/ 77285 w 163595"/>
                <a:gd name="connsiteY796" fmla="*/ 50489 h 265137"/>
                <a:gd name="connsiteX797" fmla="*/ 76157 w 163595"/>
                <a:gd name="connsiteY797" fmla="*/ 52181 h 265137"/>
                <a:gd name="connsiteX798" fmla="*/ 75593 w 163595"/>
                <a:gd name="connsiteY798" fmla="*/ 52745 h 265137"/>
                <a:gd name="connsiteX799" fmla="*/ 74746 w 163595"/>
                <a:gd name="connsiteY799" fmla="*/ 52745 h 265137"/>
                <a:gd name="connsiteX800" fmla="*/ 74746 w 163595"/>
                <a:gd name="connsiteY800" fmla="*/ 53310 h 265137"/>
                <a:gd name="connsiteX801" fmla="*/ 74182 w 163595"/>
                <a:gd name="connsiteY801" fmla="*/ 53874 h 265137"/>
                <a:gd name="connsiteX802" fmla="*/ 72772 w 163595"/>
                <a:gd name="connsiteY802" fmla="*/ 55848 h 265137"/>
                <a:gd name="connsiteX803" fmla="*/ 71926 w 163595"/>
                <a:gd name="connsiteY803" fmla="*/ 56130 h 265137"/>
                <a:gd name="connsiteX804" fmla="*/ 71362 w 163595"/>
                <a:gd name="connsiteY804" fmla="*/ 56130 h 265137"/>
                <a:gd name="connsiteX805" fmla="*/ 70798 w 163595"/>
                <a:gd name="connsiteY805" fmla="*/ 56694 h 265137"/>
                <a:gd name="connsiteX806" fmla="*/ 70515 w 163595"/>
                <a:gd name="connsiteY806" fmla="*/ 57258 h 265137"/>
                <a:gd name="connsiteX807" fmla="*/ 70515 w 163595"/>
                <a:gd name="connsiteY807" fmla="*/ 57823 h 265137"/>
                <a:gd name="connsiteX808" fmla="*/ 69669 w 163595"/>
                <a:gd name="connsiteY808" fmla="*/ 58387 h 265137"/>
                <a:gd name="connsiteX809" fmla="*/ 69105 w 163595"/>
                <a:gd name="connsiteY809" fmla="*/ 58387 h 265137"/>
                <a:gd name="connsiteX810" fmla="*/ 68259 w 163595"/>
                <a:gd name="connsiteY810" fmla="*/ 59515 h 265137"/>
                <a:gd name="connsiteX811" fmla="*/ 68823 w 163595"/>
                <a:gd name="connsiteY811" fmla="*/ 59515 h 265137"/>
                <a:gd name="connsiteX812" fmla="*/ 68823 w 163595"/>
                <a:gd name="connsiteY812" fmla="*/ 59797 h 265137"/>
                <a:gd name="connsiteX813" fmla="*/ 68541 w 163595"/>
                <a:gd name="connsiteY813" fmla="*/ 60079 h 265137"/>
                <a:gd name="connsiteX814" fmla="*/ 68259 w 163595"/>
                <a:gd name="connsiteY814" fmla="*/ 59515 h 265137"/>
                <a:gd name="connsiteX815" fmla="*/ 2257 w 163595"/>
                <a:gd name="connsiteY815" fmla="*/ 204777 h 265137"/>
                <a:gd name="connsiteX816" fmla="*/ 1974 w 163595"/>
                <a:gd name="connsiteY816" fmla="*/ 204494 h 265137"/>
                <a:gd name="connsiteX817" fmla="*/ 1974 w 163595"/>
                <a:gd name="connsiteY817" fmla="*/ 205059 h 265137"/>
                <a:gd name="connsiteX818" fmla="*/ 2257 w 163595"/>
                <a:gd name="connsiteY818" fmla="*/ 204777 h 265137"/>
                <a:gd name="connsiteX819" fmla="*/ 42592 w 163595"/>
                <a:gd name="connsiteY819" fmla="*/ 147518 h 265137"/>
                <a:gd name="connsiteX820" fmla="*/ 42027 w 163595"/>
                <a:gd name="connsiteY820" fmla="*/ 149493 h 265137"/>
                <a:gd name="connsiteX821" fmla="*/ 42309 w 163595"/>
                <a:gd name="connsiteY821" fmla="*/ 149493 h 265137"/>
                <a:gd name="connsiteX822" fmla="*/ 42873 w 163595"/>
                <a:gd name="connsiteY822" fmla="*/ 148082 h 265137"/>
                <a:gd name="connsiteX823" fmla="*/ 42592 w 163595"/>
                <a:gd name="connsiteY823" fmla="*/ 147518 h 265137"/>
                <a:gd name="connsiteX824" fmla="*/ 98722 w 163595"/>
                <a:gd name="connsiteY824" fmla="*/ 91952 h 265137"/>
                <a:gd name="connsiteX825" fmla="*/ 98722 w 163595"/>
                <a:gd name="connsiteY825" fmla="*/ 91388 h 265137"/>
                <a:gd name="connsiteX826" fmla="*/ 98439 w 163595"/>
                <a:gd name="connsiteY826" fmla="*/ 90542 h 265137"/>
                <a:gd name="connsiteX827" fmla="*/ 97875 w 163595"/>
                <a:gd name="connsiteY827" fmla="*/ 91106 h 265137"/>
                <a:gd name="connsiteX828" fmla="*/ 95337 w 163595"/>
                <a:gd name="connsiteY828" fmla="*/ 92798 h 265137"/>
                <a:gd name="connsiteX829" fmla="*/ 94773 w 163595"/>
                <a:gd name="connsiteY829" fmla="*/ 93080 h 265137"/>
                <a:gd name="connsiteX830" fmla="*/ 94773 w 163595"/>
                <a:gd name="connsiteY830" fmla="*/ 93362 h 265137"/>
                <a:gd name="connsiteX831" fmla="*/ 93927 w 163595"/>
                <a:gd name="connsiteY831" fmla="*/ 94491 h 265137"/>
                <a:gd name="connsiteX832" fmla="*/ 92798 w 163595"/>
                <a:gd name="connsiteY832" fmla="*/ 95901 h 265137"/>
                <a:gd name="connsiteX833" fmla="*/ 92234 w 163595"/>
                <a:gd name="connsiteY833" fmla="*/ 96747 h 265137"/>
                <a:gd name="connsiteX834" fmla="*/ 90260 w 163595"/>
                <a:gd name="connsiteY834" fmla="*/ 98157 h 265137"/>
                <a:gd name="connsiteX835" fmla="*/ 89977 w 163595"/>
                <a:gd name="connsiteY835" fmla="*/ 97875 h 265137"/>
                <a:gd name="connsiteX836" fmla="*/ 89696 w 163595"/>
                <a:gd name="connsiteY836" fmla="*/ 97029 h 265137"/>
                <a:gd name="connsiteX837" fmla="*/ 90260 w 163595"/>
                <a:gd name="connsiteY837" fmla="*/ 96183 h 265137"/>
                <a:gd name="connsiteX838" fmla="*/ 90260 w 163595"/>
                <a:gd name="connsiteY838" fmla="*/ 95901 h 265137"/>
                <a:gd name="connsiteX839" fmla="*/ 89977 w 163595"/>
                <a:gd name="connsiteY839" fmla="*/ 95055 h 265137"/>
                <a:gd name="connsiteX840" fmla="*/ 88285 w 163595"/>
                <a:gd name="connsiteY840" fmla="*/ 95337 h 265137"/>
                <a:gd name="connsiteX841" fmla="*/ 87721 w 163595"/>
                <a:gd name="connsiteY841" fmla="*/ 95901 h 265137"/>
                <a:gd name="connsiteX842" fmla="*/ 87721 w 163595"/>
                <a:gd name="connsiteY842" fmla="*/ 96747 h 265137"/>
                <a:gd name="connsiteX843" fmla="*/ 87439 w 163595"/>
                <a:gd name="connsiteY843" fmla="*/ 96747 h 265137"/>
                <a:gd name="connsiteX844" fmla="*/ 86875 w 163595"/>
                <a:gd name="connsiteY844" fmla="*/ 96465 h 265137"/>
                <a:gd name="connsiteX845" fmla="*/ 86593 w 163595"/>
                <a:gd name="connsiteY845" fmla="*/ 96183 h 265137"/>
                <a:gd name="connsiteX846" fmla="*/ 86311 w 163595"/>
                <a:gd name="connsiteY846" fmla="*/ 95901 h 265137"/>
                <a:gd name="connsiteX847" fmla="*/ 86029 w 163595"/>
                <a:gd name="connsiteY847" fmla="*/ 96183 h 265137"/>
                <a:gd name="connsiteX848" fmla="*/ 85465 w 163595"/>
                <a:gd name="connsiteY848" fmla="*/ 96747 h 265137"/>
                <a:gd name="connsiteX849" fmla="*/ 85182 w 163595"/>
                <a:gd name="connsiteY849" fmla="*/ 97311 h 265137"/>
                <a:gd name="connsiteX850" fmla="*/ 85182 w 163595"/>
                <a:gd name="connsiteY850" fmla="*/ 97875 h 265137"/>
                <a:gd name="connsiteX851" fmla="*/ 84336 w 163595"/>
                <a:gd name="connsiteY851" fmla="*/ 99850 h 265137"/>
                <a:gd name="connsiteX852" fmla="*/ 84054 w 163595"/>
                <a:gd name="connsiteY852" fmla="*/ 100414 h 265137"/>
                <a:gd name="connsiteX853" fmla="*/ 84054 w 163595"/>
                <a:gd name="connsiteY853" fmla="*/ 100978 h 265137"/>
                <a:gd name="connsiteX854" fmla="*/ 84336 w 163595"/>
                <a:gd name="connsiteY854" fmla="*/ 100978 h 265137"/>
                <a:gd name="connsiteX855" fmla="*/ 85465 w 163595"/>
                <a:gd name="connsiteY855" fmla="*/ 99850 h 265137"/>
                <a:gd name="connsiteX856" fmla="*/ 87157 w 163595"/>
                <a:gd name="connsiteY856" fmla="*/ 98721 h 265137"/>
                <a:gd name="connsiteX857" fmla="*/ 88003 w 163595"/>
                <a:gd name="connsiteY857" fmla="*/ 99286 h 265137"/>
                <a:gd name="connsiteX858" fmla="*/ 88285 w 163595"/>
                <a:gd name="connsiteY858" fmla="*/ 99568 h 265137"/>
                <a:gd name="connsiteX859" fmla="*/ 88567 w 163595"/>
                <a:gd name="connsiteY859" fmla="*/ 100132 h 265137"/>
                <a:gd name="connsiteX860" fmla="*/ 88285 w 163595"/>
                <a:gd name="connsiteY860" fmla="*/ 100414 h 265137"/>
                <a:gd name="connsiteX861" fmla="*/ 86875 w 163595"/>
                <a:gd name="connsiteY861" fmla="*/ 101824 h 265137"/>
                <a:gd name="connsiteX862" fmla="*/ 86029 w 163595"/>
                <a:gd name="connsiteY862" fmla="*/ 102670 h 265137"/>
                <a:gd name="connsiteX863" fmla="*/ 85182 w 163595"/>
                <a:gd name="connsiteY863" fmla="*/ 103234 h 265137"/>
                <a:gd name="connsiteX864" fmla="*/ 82926 w 163595"/>
                <a:gd name="connsiteY864" fmla="*/ 105491 h 265137"/>
                <a:gd name="connsiteX865" fmla="*/ 82362 w 163595"/>
                <a:gd name="connsiteY865" fmla="*/ 106055 h 265137"/>
                <a:gd name="connsiteX866" fmla="*/ 80388 w 163595"/>
                <a:gd name="connsiteY866" fmla="*/ 109158 h 265137"/>
                <a:gd name="connsiteX867" fmla="*/ 79260 w 163595"/>
                <a:gd name="connsiteY867" fmla="*/ 110568 h 265137"/>
                <a:gd name="connsiteX868" fmla="*/ 78977 w 163595"/>
                <a:gd name="connsiteY868" fmla="*/ 111132 h 265137"/>
                <a:gd name="connsiteX869" fmla="*/ 77567 w 163595"/>
                <a:gd name="connsiteY869" fmla="*/ 112542 h 265137"/>
                <a:gd name="connsiteX870" fmla="*/ 77003 w 163595"/>
                <a:gd name="connsiteY870" fmla="*/ 113107 h 265137"/>
                <a:gd name="connsiteX871" fmla="*/ 75593 w 163595"/>
                <a:gd name="connsiteY871" fmla="*/ 115081 h 265137"/>
                <a:gd name="connsiteX872" fmla="*/ 75029 w 163595"/>
                <a:gd name="connsiteY872" fmla="*/ 115645 h 265137"/>
                <a:gd name="connsiteX873" fmla="*/ 72490 w 163595"/>
                <a:gd name="connsiteY873" fmla="*/ 119030 h 265137"/>
                <a:gd name="connsiteX874" fmla="*/ 71926 w 163595"/>
                <a:gd name="connsiteY874" fmla="*/ 119312 h 265137"/>
                <a:gd name="connsiteX875" fmla="*/ 71643 w 163595"/>
                <a:gd name="connsiteY875" fmla="*/ 119312 h 265137"/>
                <a:gd name="connsiteX876" fmla="*/ 71079 w 163595"/>
                <a:gd name="connsiteY876" fmla="*/ 119030 h 265137"/>
                <a:gd name="connsiteX877" fmla="*/ 71643 w 163595"/>
                <a:gd name="connsiteY877" fmla="*/ 118748 h 265137"/>
                <a:gd name="connsiteX878" fmla="*/ 72490 w 163595"/>
                <a:gd name="connsiteY878" fmla="*/ 117338 h 265137"/>
                <a:gd name="connsiteX879" fmla="*/ 72490 w 163595"/>
                <a:gd name="connsiteY879" fmla="*/ 117055 h 265137"/>
                <a:gd name="connsiteX880" fmla="*/ 71926 w 163595"/>
                <a:gd name="connsiteY880" fmla="*/ 116491 h 265137"/>
                <a:gd name="connsiteX881" fmla="*/ 71926 w 163595"/>
                <a:gd name="connsiteY881" fmla="*/ 115645 h 265137"/>
                <a:gd name="connsiteX882" fmla="*/ 73054 w 163595"/>
                <a:gd name="connsiteY882" fmla="*/ 115081 h 265137"/>
                <a:gd name="connsiteX883" fmla="*/ 73618 w 163595"/>
                <a:gd name="connsiteY883" fmla="*/ 115081 h 265137"/>
                <a:gd name="connsiteX884" fmla="*/ 73900 w 163595"/>
                <a:gd name="connsiteY884" fmla="*/ 115081 h 265137"/>
                <a:gd name="connsiteX885" fmla="*/ 74182 w 163595"/>
                <a:gd name="connsiteY885" fmla="*/ 115081 h 265137"/>
                <a:gd name="connsiteX886" fmla="*/ 74464 w 163595"/>
                <a:gd name="connsiteY886" fmla="*/ 114517 h 265137"/>
                <a:gd name="connsiteX887" fmla="*/ 73900 w 163595"/>
                <a:gd name="connsiteY887" fmla="*/ 113389 h 265137"/>
                <a:gd name="connsiteX888" fmla="*/ 74464 w 163595"/>
                <a:gd name="connsiteY888" fmla="*/ 112542 h 265137"/>
                <a:gd name="connsiteX889" fmla="*/ 75874 w 163595"/>
                <a:gd name="connsiteY889" fmla="*/ 111132 h 265137"/>
                <a:gd name="connsiteX890" fmla="*/ 76157 w 163595"/>
                <a:gd name="connsiteY890" fmla="*/ 110850 h 265137"/>
                <a:gd name="connsiteX891" fmla="*/ 77567 w 163595"/>
                <a:gd name="connsiteY891" fmla="*/ 108594 h 265137"/>
                <a:gd name="connsiteX892" fmla="*/ 79541 w 163595"/>
                <a:gd name="connsiteY892" fmla="*/ 107465 h 265137"/>
                <a:gd name="connsiteX893" fmla="*/ 79824 w 163595"/>
                <a:gd name="connsiteY893" fmla="*/ 106901 h 265137"/>
                <a:gd name="connsiteX894" fmla="*/ 79824 w 163595"/>
                <a:gd name="connsiteY894" fmla="*/ 106337 h 265137"/>
                <a:gd name="connsiteX895" fmla="*/ 81234 w 163595"/>
                <a:gd name="connsiteY895" fmla="*/ 104645 h 265137"/>
                <a:gd name="connsiteX896" fmla="*/ 81798 w 163595"/>
                <a:gd name="connsiteY896" fmla="*/ 104363 h 265137"/>
                <a:gd name="connsiteX897" fmla="*/ 82362 w 163595"/>
                <a:gd name="connsiteY897" fmla="*/ 104645 h 265137"/>
                <a:gd name="connsiteX898" fmla="*/ 83208 w 163595"/>
                <a:gd name="connsiteY898" fmla="*/ 104363 h 265137"/>
                <a:gd name="connsiteX899" fmla="*/ 84054 w 163595"/>
                <a:gd name="connsiteY899" fmla="*/ 103517 h 265137"/>
                <a:gd name="connsiteX900" fmla="*/ 85182 w 163595"/>
                <a:gd name="connsiteY900" fmla="*/ 101824 h 265137"/>
                <a:gd name="connsiteX901" fmla="*/ 85182 w 163595"/>
                <a:gd name="connsiteY901" fmla="*/ 101542 h 265137"/>
                <a:gd name="connsiteX902" fmla="*/ 84901 w 163595"/>
                <a:gd name="connsiteY902" fmla="*/ 101542 h 265137"/>
                <a:gd name="connsiteX903" fmla="*/ 83490 w 163595"/>
                <a:gd name="connsiteY903" fmla="*/ 102670 h 265137"/>
                <a:gd name="connsiteX904" fmla="*/ 82926 w 163595"/>
                <a:gd name="connsiteY904" fmla="*/ 102952 h 265137"/>
                <a:gd name="connsiteX905" fmla="*/ 82644 w 163595"/>
                <a:gd name="connsiteY905" fmla="*/ 102670 h 265137"/>
                <a:gd name="connsiteX906" fmla="*/ 82080 w 163595"/>
                <a:gd name="connsiteY906" fmla="*/ 102106 h 265137"/>
                <a:gd name="connsiteX907" fmla="*/ 81234 w 163595"/>
                <a:gd name="connsiteY907" fmla="*/ 102670 h 265137"/>
                <a:gd name="connsiteX908" fmla="*/ 79541 w 163595"/>
                <a:gd name="connsiteY908" fmla="*/ 104081 h 265137"/>
                <a:gd name="connsiteX909" fmla="*/ 78695 w 163595"/>
                <a:gd name="connsiteY909" fmla="*/ 105491 h 265137"/>
                <a:gd name="connsiteX910" fmla="*/ 78695 w 163595"/>
                <a:gd name="connsiteY910" fmla="*/ 106055 h 265137"/>
                <a:gd name="connsiteX911" fmla="*/ 76439 w 163595"/>
                <a:gd name="connsiteY911" fmla="*/ 108876 h 265137"/>
                <a:gd name="connsiteX912" fmla="*/ 74464 w 163595"/>
                <a:gd name="connsiteY912" fmla="*/ 110568 h 265137"/>
                <a:gd name="connsiteX913" fmla="*/ 73900 w 163595"/>
                <a:gd name="connsiteY913" fmla="*/ 110850 h 265137"/>
                <a:gd name="connsiteX914" fmla="*/ 73054 w 163595"/>
                <a:gd name="connsiteY914" fmla="*/ 110850 h 265137"/>
                <a:gd name="connsiteX915" fmla="*/ 71643 w 163595"/>
                <a:gd name="connsiteY915" fmla="*/ 111696 h 265137"/>
                <a:gd name="connsiteX916" fmla="*/ 71079 w 163595"/>
                <a:gd name="connsiteY916" fmla="*/ 111978 h 265137"/>
                <a:gd name="connsiteX917" fmla="*/ 69951 w 163595"/>
                <a:gd name="connsiteY917" fmla="*/ 111978 h 265137"/>
                <a:gd name="connsiteX918" fmla="*/ 69105 w 163595"/>
                <a:gd name="connsiteY918" fmla="*/ 113107 h 265137"/>
                <a:gd name="connsiteX919" fmla="*/ 69105 w 163595"/>
                <a:gd name="connsiteY919" fmla="*/ 114517 h 265137"/>
                <a:gd name="connsiteX920" fmla="*/ 68823 w 163595"/>
                <a:gd name="connsiteY920" fmla="*/ 114799 h 265137"/>
                <a:gd name="connsiteX921" fmla="*/ 68541 w 163595"/>
                <a:gd name="connsiteY921" fmla="*/ 114517 h 265137"/>
                <a:gd name="connsiteX922" fmla="*/ 67977 w 163595"/>
                <a:gd name="connsiteY922" fmla="*/ 113953 h 265137"/>
                <a:gd name="connsiteX923" fmla="*/ 67412 w 163595"/>
                <a:gd name="connsiteY923" fmla="*/ 114517 h 265137"/>
                <a:gd name="connsiteX924" fmla="*/ 66002 w 163595"/>
                <a:gd name="connsiteY924" fmla="*/ 115645 h 265137"/>
                <a:gd name="connsiteX925" fmla="*/ 65438 w 163595"/>
                <a:gd name="connsiteY925" fmla="*/ 116491 h 265137"/>
                <a:gd name="connsiteX926" fmla="*/ 66002 w 163595"/>
                <a:gd name="connsiteY926" fmla="*/ 117055 h 265137"/>
                <a:gd name="connsiteX927" fmla="*/ 66848 w 163595"/>
                <a:gd name="connsiteY927" fmla="*/ 117902 h 265137"/>
                <a:gd name="connsiteX928" fmla="*/ 67131 w 163595"/>
                <a:gd name="connsiteY928" fmla="*/ 118184 h 265137"/>
                <a:gd name="connsiteX929" fmla="*/ 67131 w 163595"/>
                <a:gd name="connsiteY929" fmla="*/ 118466 h 265137"/>
                <a:gd name="connsiteX930" fmla="*/ 66567 w 163595"/>
                <a:gd name="connsiteY930" fmla="*/ 118748 h 265137"/>
                <a:gd name="connsiteX931" fmla="*/ 66002 w 163595"/>
                <a:gd name="connsiteY931" fmla="*/ 119594 h 265137"/>
                <a:gd name="connsiteX932" fmla="*/ 66284 w 163595"/>
                <a:gd name="connsiteY932" fmla="*/ 119876 h 265137"/>
                <a:gd name="connsiteX933" fmla="*/ 66284 w 163595"/>
                <a:gd name="connsiteY933" fmla="*/ 120440 h 265137"/>
                <a:gd name="connsiteX934" fmla="*/ 65720 w 163595"/>
                <a:gd name="connsiteY934" fmla="*/ 121286 h 265137"/>
                <a:gd name="connsiteX935" fmla="*/ 64592 w 163595"/>
                <a:gd name="connsiteY935" fmla="*/ 121568 h 265137"/>
                <a:gd name="connsiteX936" fmla="*/ 63746 w 163595"/>
                <a:gd name="connsiteY936" fmla="*/ 121286 h 265137"/>
                <a:gd name="connsiteX937" fmla="*/ 63464 w 163595"/>
                <a:gd name="connsiteY937" fmla="*/ 121004 h 265137"/>
                <a:gd name="connsiteX938" fmla="*/ 63182 w 163595"/>
                <a:gd name="connsiteY938" fmla="*/ 121286 h 265137"/>
                <a:gd name="connsiteX939" fmla="*/ 62054 w 163595"/>
                <a:gd name="connsiteY939" fmla="*/ 121568 h 265137"/>
                <a:gd name="connsiteX940" fmla="*/ 60926 w 163595"/>
                <a:gd name="connsiteY940" fmla="*/ 122133 h 265137"/>
                <a:gd name="connsiteX941" fmla="*/ 60926 w 163595"/>
                <a:gd name="connsiteY941" fmla="*/ 122415 h 265137"/>
                <a:gd name="connsiteX942" fmla="*/ 60643 w 163595"/>
                <a:gd name="connsiteY942" fmla="*/ 122133 h 265137"/>
                <a:gd name="connsiteX943" fmla="*/ 60079 w 163595"/>
                <a:gd name="connsiteY943" fmla="*/ 121851 h 265137"/>
                <a:gd name="connsiteX944" fmla="*/ 59797 w 163595"/>
                <a:gd name="connsiteY944" fmla="*/ 122415 h 265137"/>
                <a:gd name="connsiteX945" fmla="*/ 59515 w 163595"/>
                <a:gd name="connsiteY945" fmla="*/ 122697 h 265137"/>
                <a:gd name="connsiteX946" fmla="*/ 59797 w 163595"/>
                <a:gd name="connsiteY946" fmla="*/ 122979 h 265137"/>
                <a:gd name="connsiteX947" fmla="*/ 60926 w 163595"/>
                <a:gd name="connsiteY947" fmla="*/ 124671 h 265137"/>
                <a:gd name="connsiteX948" fmla="*/ 60926 w 163595"/>
                <a:gd name="connsiteY948" fmla="*/ 124953 h 265137"/>
                <a:gd name="connsiteX949" fmla="*/ 61771 w 163595"/>
                <a:gd name="connsiteY949" fmla="*/ 125235 h 265137"/>
                <a:gd name="connsiteX950" fmla="*/ 62054 w 163595"/>
                <a:gd name="connsiteY950" fmla="*/ 125235 h 265137"/>
                <a:gd name="connsiteX951" fmla="*/ 63182 w 163595"/>
                <a:gd name="connsiteY951" fmla="*/ 124671 h 265137"/>
                <a:gd name="connsiteX952" fmla="*/ 63464 w 163595"/>
                <a:gd name="connsiteY952" fmla="*/ 124671 h 265137"/>
                <a:gd name="connsiteX953" fmla="*/ 63464 w 163595"/>
                <a:gd name="connsiteY953" fmla="*/ 125235 h 265137"/>
                <a:gd name="connsiteX954" fmla="*/ 64874 w 163595"/>
                <a:gd name="connsiteY954" fmla="*/ 125799 h 265137"/>
                <a:gd name="connsiteX955" fmla="*/ 65438 w 163595"/>
                <a:gd name="connsiteY955" fmla="*/ 125235 h 265137"/>
                <a:gd name="connsiteX956" fmla="*/ 66002 w 163595"/>
                <a:gd name="connsiteY956" fmla="*/ 123825 h 265137"/>
                <a:gd name="connsiteX957" fmla="*/ 66284 w 163595"/>
                <a:gd name="connsiteY957" fmla="*/ 123261 h 265137"/>
                <a:gd name="connsiteX958" fmla="*/ 68259 w 163595"/>
                <a:gd name="connsiteY958" fmla="*/ 120440 h 265137"/>
                <a:gd name="connsiteX959" fmla="*/ 69669 w 163595"/>
                <a:gd name="connsiteY959" fmla="*/ 120158 h 265137"/>
                <a:gd name="connsiteX960" fmla="*/ 70798 w 163595"/>
                <a:gd name="connsiteY960" fmla="*/ 120722 h 265137"/>
                <a:gd name="connsiteX961" fmla="*/ 70798 w 163595"/>
                <a:gd name="connsiteY961" fmla="*/ 121286 h 265137"/>
                <a:gd name="connsiteX962" fmla="*/ 70233 w 163595"/>
                <a:gd name="connsiteY962" fmla="*/ 121851 h 265137"/>
                <a:gd name="connsiteX963" fmla="*/ 68541 w 163595"/>
                <a:gd name="connsiteY963" fmla="*/ 124671 h 265137"/>
                <a:gd name="connsiteX964" fmla="*/ 67977 w 163595"/>
                <a:gd name="connsiteY964" fmla="*/ 124953 h 265137"/>
                <a:gd name="connsiteX965" fmla="*/ 66567 w 163595"/>
                <a:gd name="connsiteY965" fmla="*/ 127492 h 265137"/>
                <a:gd name="connsiteX966" fmla="*/ 65438 w 163595"/>
                <a:gd name="connsiteY966" fmla="*/ 128620 h 265137"/>
                <a:gd name="connsiteX967" fmla="*/ 64874 w 163595"/>
                <a:gd name="connsiteY967" fmla="*/ 129184 h 265137"/>
                <a:gd name="connsiteX968" fmla="*/ 63182 w 163595"/>
                <a:gd name="connsiteY968" fmla="*/ 132005 h 265137"/>
                <a:gd name="connsiteX969" fmla="*/ 62054 w 163595"/>
                <a:gd name="connsiteY969" fmla="*/ 133133 h 265137"/>
                <a:gd name="connsiteX970" fmla="*/ 61771 w 163595"/>
                <a:gd name="connsiteY970" fmla="*/ 132569 h 265137"/>
                <a:gd name="connsiteX971" fmla="*/ 62054 w 163595"/>
                <a:gd name="connsiteY971" fmla="*/ 131723 h 265137"/>
                <a:gd name="connsiteX972" fmla="*/ 62054 w 163595"/>
                <a:gd name="connsiteY972" fmla="*/ 130876 h 265137"/>
                <a:gd name="connsiteX973" fmla="*/ 59515 w 163595"/>
                <a:gd name="connsiteY973" fmla="*/ 129748 h 265137"/>
                <a:gd name="connsiteX974" fmla="*/ 58951 w 163595"/>
                <a:gd name="connsiteY974" fmla="*/ 129748 h 265137"/>
                <a:gd name="connsiteX975" fmla="*/ 58387 w 163595"/>
                <a:gd name="connsiteY975" fmla="*/ 129466 h 265137"/>
                <a:gd name="connsiteX976" fmla="*/ 57540 w 163595"/>
                <a:gd name="connsiteY976" fmla="*/ 129748 h 265137"/>
                <a:gd name="connsiteX977" fmla="*/ 56976 w 163595"/>
                <a:gd name="connsiteY977" fmla="*/ 130312 h 265137"/>
                <a:gd name="connsiteX978" fmla="*/ 56412 w 163595"/>
                <a:gd name="connsiteY978" fmla="*/ 130030 h 265137"/>
                <a:gd name="connsiteX979" fmla="*/ 55848 w 163595"/>
                <a:gd name="connsiteY979" fmla="*/ 129184 h 265137"/>
                <a:gd name="connsiteX980" fmla="*/ 56130 w 163595"/>
                <a:gd name="connsiteY980" fmla="*/ 128056 h 265137"/>
                <a:gd name="connsiteX981" fmla="*/ 56412 w 163595"/>
                <a:gd name="connsiteY981" fmla="*/ 127774 h 265137"/>
                <a:gd name="connsiteX982" fmla="*/ 56130 w 163595"/>
                <a:gd name="connsiteY982" fmla="*/ 127774 h 265137"/>
                <a:gd name="connsiteX983" fmla="*/ 55284 w 163595"/>
                <a:gd name="connsiteY983" fmla="*/ 128056 h 265137"/>
                <a:gd name="connsiteX984" fmla="*/ 53874 w 163595"/>
                <a:gd name="connsiteY984" fmla="*/ 130594 h 265137"/>
                <a:gd name="connsiteX985" fmla="*/ 51335 w 163595"/>
                <a:gd name="connsiteY985" fmla="*/ 135389 h 265137"/>
                <a:gd name="connsiteX986" fmla="*/ 51335 w 163595"/>
                <a:gd name="connsiteY986" fmla="*/ 135672 h 265137"/>
                <a:gd name="connsiteX987" fmla="*/ 50489 w 163595"/>
                <a:gd name="connsiteY987" fmla="*/ 137082 h 265137"/>
                <a:gd name="connsiteX988" fmla="*/ 49925 w 163595"/>
                <a:gd name="connsiteY988" fmla="*/ 137364 h 265137"/>
                <a:gd name="connsiteX989" fmla="*/ 49643 w 163595"/>
                <a:gd name="connsiteY989" fmla="*/ 137928 h 265137"/>
                <a:gd name="connsiteX990" fmla="*/ 50207 w 163595"/>
                <a:gd name="connsiteY990" fmla="*/ 138210 h 265137"/>
                <a:gd name="connsiteX991" fmla="*/ 52181 w 163595"/>
                <a:gd name="connsiteY991" fmla="*/ 137364 h 265137"/>
                <a:gd name="connsiteX992" fmla="*/ 53028 w 163595"/>
                <a:gd name="connsiteY992" fmla="*/ 137082 h 265137"/>
                <a:gd name="connsiteX993" fmla="*/ 51899 w 163595"/>
                <a:gd name="connsiteY993" fmla="*/ 138774 h 265137"/>
                <a:gd name="connsiteX994" fmla="*/ 50771 w 163595"/>
                <a:gd name="connsiteY994" fmla="*/ 138774 h 265137"/>
                <a:gd name="connsiteX995" fmla="*/ 50207 w 163595"/>
                <a:gd name="connsiteY995" fmla="*/ 139056 h 265137"/>
                <a:gd name="connsiteX996" fmla="*/ 49925 w 163595"/>
                <a:gd name="connsiteY996" fmla="*/ 139056 h 265137"/>
                <a:gd name="connsiteX997" fmla="*/ 49361 w 163595"/>
                <a:gd name="connsiteY997" fmla="*/ 139620 h 265137"/>
                <a:gd name="connsiteX998" fmla="*/ 48233 w 163595"/>
                <a:gd name="connsiteY998" fmla="*/ 141595 h 265137"/>
                <a:gd name="connsiteX999" fmla="*/ 47950 w 163595"/>
                <a:gd name="connsiteY999" fmla="*/ 143287 h 265137"/>
                <a:gd name="connsiteX1000" fmla="*/ 47386 w 163595"/>
                <a:gd name="connsiteY1000" fmla="*/ 144697 h 265137"/>
                <a:gd name="connsiteX1001" fmla="*/ 47386 w 163595"/>
                <a:gd name="connsiteY1001" fmla="*/ 144980 h 265137"/>
                <a:gd name="connsiteX1002" fmla="*/ 47668 w 163595"/>
                <a:gd name="connsiteY1002" fmla="*/ 145262 h 265137"/>
                <a:gd name="connsiteX1003" fmla="*/ 47950 w 163595"/>
                <a:gd name="connsiteY1003" fmla="*/ 144980 h 265137"/>
                <a:gd name="connsiteX1004" fmla="*/ 48514 w 163595"/>
                <a:gd name="connsiteY1004" fmla="*/ 143851 h 265137"/>
                <a:gd name="connsiteX1005" fmla="*/ 48514 w 163595"/>
                <a:gd name="connsiteY1005" fmla="*/ 143569 h 265137"/>
                <a:gd name="connsiteX1006" fmla="*/ 49078 w 163595"/>
                <a:gd name="connsiteY1006" fmla="*/ 142723 h 265137"/>
                <a:gd name="connsiteX1007" fmla="*/ 49643 w 163595"/>
                <a:gd name="connsiteY1007" fmla="*/ 142159 h 265137"/>
                <a:gd name="connsiteX1008" fmla="*/ 50489 w 163595"/>
                <a:gd name="connsiteY1008" fmla="*/ 141877 h 265137"/>
                <a:gd name="connsiteX1009" fmla="*/ 51053 w 163595"/>
                <a:gd name="connsiteY1009" fmla="*/ 142441 h 265137"/>
                <a:gd name="connsiteX1010" fmla="*/ 50489 w 163595"/>
                <a:gd name="connsiteY1010" fmla="*/ 143569 h 265137"/>
                <a:gd name="connsiteX1011" fmla="*/ 49361 w 163595"/>
                <a:gd name="connsiteY1011" fmla="*/ 144415 h 265137"/>
                <a:gd name="connsiteX1012" fmla="*/ 49361 w 163595"/>
                <a:gd name="connsiteY1012" fmla="*/ 144697 h 265137"/>
                <a:gd name="connsiteX1013" fmla="*/ 49643 w 163595"/>
                <a:gd name="connsiteY1013" fmla="*/ 144697 h 265137"/>
                <a:gd name="connsiteX1014" fmla="*/ 50207 w 163595"/>
                <a:gd name="connsiteY1014" fmla="*/ 144415 h 265137"/>
                <a:gd name="connsiteX1015" fmla="*/ 51053 w 163595"/>
                <a:gd name="connsiteY1015" fmla="*/ 144980 h 265137"/>
                <a:gd name="connsiteX1016" fmla="*/ 51617 w 163595"/>
                <a:gd name="connsiteY1016" fmla="*/ 145544 h 265137"/>
                <a:gd name="connsiteX1017" fmla="*/ 51899 w 163595"/>
                <a:gd name="connsiteY1017" fmla="*/ 145262 h 265137"/>
                <a:gd name="connsiteX1018" fmla="*/ 52464 w 163595"/>
                <a:gd name="connsiteY1018" fmla="*/ 145826 h 265137"/>
                <a:gd name="connsiteX1019" fmla="*/ 52181 w 163595"/>
                <a:gd name="connsiteY1019" fmla="*/ 147518 h 265137"/>
                <a:gd name="connsiteX1020" fmla="*/ 52745 w 163595"/>
                <a:gd name="connsiteY1020" fmla="*/ 148082 h 265137"/>
                <a:gd name="connsiteX1021" fmla="*/ 53028 w 163595"/>
                <a:gd name="connsiteY1021" fmla="*/ 148082 h 265137"/>
                <a:gd name="connsiteX1022" fmla="*/ 53309 w 163595"/>
                <a:gd name="connsiteY1022" fmla="*/ 148364 h 265137"/>
                <a:gd name="connsiteX1023" fmla="*/ 53874 w 163595"/>
                <a:gd name="connsiteY1023" fmla="*/ 150057 h 265137"/>
                <a:gd name="connsiteX1024" fmla="*/ 52745 w 163595"/>
                <a:gd name="connsiteY1024" fmla="*/ 151467 h 265137"/>
                <a:gd name="connsiteX1025" fmla="*/ 52181 w 163595"/>
                <a:gd name="connsiteY1025" fmla="*/ 152595 h 265137"/>
                <a:gd name="connsiteX1026" fmla="*/ 52181 w 163595"/>
                <a:gd name="connsiteY1026" fmla="*/ 152877 h 265137"/>
                <a:gd name="connsiteX1027" fmla="*/ 51617 w 163595"/>
                <a:gd name="connsiteY1027" fmla="*/ 152877 h 265137"/>
                <a:gd name="connsiteX1028" fmla="*/ 50207 w 163595"/>
                <a:gd name="connsiteY1028" fmla="*/ 152595 h 265137"/>
                <a:gd name="connsiteX1029" fmla="*/ 49925 w 163595"/>
                <a:gd name="connsiteY1029" fmla="*/ 151467 h 265137"/>
                <a:gd name="connsiteX1030" fmla="*/ 49361 w 163595"/>
                <a:gd name="connsiteY1030" fmla="*/ 151467 h 265137"/>
                <a:gd name="connsiteX1031" fmla="*/ 49361 w 163595"/>
                <a:gd name="connsiteY1031" fmla="*/ 151749 h 265137"/>
                <a:gd name="connsiteX1032" fmla="*/ 49078 w 163595"/>
                <a:gd name="connsiteY1032" fmla="*/ 153441 h 265137"/>
                <a:gd name="connsiteX1033" fmla="*/ 48797 w 163595"/>
                <a:gd name="connsiteY1033" fmla="*/ 154288 h 265137"/>
                <a:gd name="connsiteX1034" fmla="*/ 48514 w 163595"/>
                <a:gd name="connsiteY1034" fmla="*/ 154288 h 265137"/>
                <a:gd name="connsiteX1035" fmla="*/ 47668 w 163595"/>
                <a:gd name="connsiteY1035" fmla="*/ 154006 h 265137"/>
                <a:gd name="connsiteX1036" fmla="*/ 47386 w 163595"/>
                <a:gd name="connsiteY1036" fmla="*/ 153723 h 265137"/>
                <a:gd name="connsiteX1037" fmla="*/ 47104 w 163595"/>
                <a:gd name="connsiteY1037" fmla="*/ 154006 h 265137"/>
                <a:gd name="connsiteX1038" fmla="*/ 46822 w 163595"/>
                <a:gd name="connsiteY1038" fmla="*/ 154570 h 265137"/>
                <a:gd name="connsiteX1039" fmla="*/ 47386 w 163595"/>
                <a:gd name="connsiteY1039" fmla="*/ 155416 h 265137"/>
                <a:gd name="connsiteX1040" fmla="*/ 48233 w 163595"/>
                <a:gd name="connsiteY1040" fmla="*/ 156826 h 265137"/>
                <a:gd name="connsiteX1041" fmla="*/ 48797 w 163595"/>
                <a:gd name="connsiteY1041" fmla="*/ 157108 h 265137"/>
                <a:gd name="connsiteX1042" fmla="*/ 49361 w 163595"/>
                <a:gd name="connsiteY1042" fmla="*/ 157108 h 265137"/>
                <a:gd name="connsiteX1043" fmla="*/ 51899 w 163595"/>
                <a:gd name="connsiteY1043" fmla="*/ 156262 h 265137"/>
                <a:gd name="connsiteX1044" fmla="*/ 52745 w 163595"/>
                <a:gd name="connsiteY1044" fmla="*/ 155416 h 265137"/>
                <a:gd name="connsiteX1045" fmla="*/ 54438 w 163595"/>
                <a:gd name="connsiteY1045" fmla="*/ 155134 h 265137"/>
                <a:gd name="connsiteX1046" fmla="*/ 54720 w 163595"/>
                <a:gd name="connsiteY1046" fmla="*/ 154852 h 265137"/>
                <a:gd name="connsiteX1047" fmla="*/ 55566 w 163595"/>
                <a:gd name="connsiteY1047" fmla="*/ 154288 h 265137"/>
                <a:gd name="connsiteX1048" fmla="*/ 59797 w 163595"/>
                <a:gd name="connsiteY1048" fmla="*/ 151467 h 265137"/>
                <a:gd name="connsiteX1049" fmla="*/ 61490 w 163595"/>
                <a:gd name="connsiteY1049" fmla="*/ 150339 h 265137"/>
                <a:gd name="connsiteX1050" fmla="*/ 65438 w 163595"/>
                <a:gd name="connsiteY1050" fmla="*/ 146954 h 265137"/>
                <a:gd name="connsiteX1051" fmla="*/ 69387 w 163595"/>
                <a:gd name="connsiteY1051" fmla="*/ 143569 h 265137"/>
                <a:gd name="connsiteX1052" fmla="*/ 70798 w 163595"/>
                <a:gd name="connsiteY1052" fmla="*/ 141877 h 265137"/>
                <a:gd name="connsiteX1053" fmla="*/ 73054 w 163595"/>
                <a:gd name="connsiteY1053" fmla="*/ 139902 h 265137"/>
                <a:gd name="connsiteX1054" fmla="*/ 75874 w 163595"/>
                <a:gd name="connsiteY1054" fmla="*/ 136800 h 265137"/>
                <a:gd name="connsiteX1055" fmla="*/ 76439 w 163595"/>
                <a:gd name="connsiteY1055" fmla="*/ 136518 h 265137"/>
                <a:gd name="connsiteX1056" fmla="*/ 81234 w 163595"/>
                <a:gd name="connsiteY1056" fmla="*/ 130876 h 265137"/>
                <a:gd name="connsiteX1057" fmla="*/ 86029 w 163595"/>
                <a:gd name="connsiteY1057" fmla="*/ 124389 h 265137"/>
                <a:gd name="connsiteX1058" fmla="*/ 88849 w 163595"/>
                <a:gd name="connsiteY1058" fmla="*/ 119030 h 265137"/>
                <a:gd name="connsiteX1059" fmla="*/ 93080 w 163595"/>
                <a:gd name="connsiteY1059" fmla="*/ 109722 h 265137"/>
                <a:gd name="connsiteX1060" fmla="*/ 93363 w 163595"/>
                <a:gd name="connsiteY1060" fmla="*/ 109440 h 265137"/>
                <a:gd name="connsiteX1061" fmla="*/ 96465 w 163595"/>
                <a:gd name="connsiteY1061" fmla="*/ 100414 h 265137"/>
                <a:gd name="connsiteX1062" fmla="*/ 98158 w 163595"/>
                <a:gd name="connsiteY1062" fmla="*/ 94773 h 265137"/>
                <a:gd name="connsiteX1063" fmla="*/ 98439 w 163595"/>
                <a:gd name="connsiteY1063" fmla="*/ 93926 h 265137"/>
                <a:gd name="connsiteX1064" fmla="*/ 98722 w 163595"/>
                <a:gd name="connsiteY1064" fmla="*/ 91952 h 265137"/>
                <a:gd name="connsiteX1065" fmla="*/ 47668 w 163595"/>
                <a:gd name="connsiteY1065" fmla="*/ 152877 h 265137"/>
                <a:gd name="connsiteX1066" fmla="*/ 47950 w 163595"/>
                <a:gd name="connsiteY1066" fmla="*/ 152595 h 265137"/>
                <a:gd name="connsiteX1067" fmla="*/ 47950 w 163595"/>
                <a:gd name="connsiteY1067" fmla="*/ 152031 h 265137"/>
                <a:gd name="connsiteX1068" fmla="*/ 47668 w 163595"/>
                <a:gd name="connsiteY1068" fmla="*/ 151749 h 265137"/>
                <a:gd name="connsiteX1069" fmla="*/ 47386 w 163595"/>
                <a:gd name="connsiteY1069" fmla="*/ 152313 h 265137"/>
                <a:gd name="connsiteX1070" fmla="*/ 47668 w 163595"/>
                <a:gd name="connsiteY1070" fmla="*/ 152877 h 265137"/>
                <a:gd name="connsiteX1071" fmla="*/ 48514 w 163595"/>
                <a:gd name="connsiteY1071" fmla="*/ 137646 h 265137"/>
                <a:gd name="connsiteX1072" fmla="*/ 49078 w 163595"/>
                <a:gd name="connsiteY1072" fmla="*/ 137082 h 265137"/>
                <a:gd name="connsiteX1073" fmla="*/ 48514 w 163595"/>
                <a:gd name="connsiteY1073" fmla="*/ 136518 h 265137"/>
                <a:gd name="connsiteX1074" fmla="*/ 47950 w 163595"/>
                <a:gd name="connsiteY1074" fmla="*/ 136800 h 265137"/>
                <a:gd name="connsiteX1075" fmla="*/ 47950 w 163595"/>
                <a:gd name="connsiteY1075" fmla="*/ 137646 h 265137"/>
                <a:gd name="connsiteX1076" fmla="*/ 47668 w 163595"/>
                <a:gd name="connsiteY1076" fmla="*/ 138210 h 265137"/>
                <a:gd name="connsiteX1077" fmla="*/ 48514 w 163595"/>
                <a:gd name="connsiteY1077" fmla="*/ 137646 h 265137"/>
                <a:gd name="connsiteX1078" fmla="*/ 49078 w 163595"/>
                <a:gd name="connsiteY1078" fmla="*/ 135672 h 265137"/>
                <a:gd name="connsiteX1079" fmla="*/ 49361 w 163595"/>
                <a:gd name="connsiteY1079" fmla="*/ 135672 h 265137"/>
                <a:gd name="connsiteX1080" fmla="*/ 51053 w 163595"/>
                <a:gd name="connsiteY1080" fmla="*/ 133415 h 265137"/>
                <a:gd name="connsiteX1081" fmla="*/ 50771 w 163595"/>
                <a:gd name="connsiteY1081" fmla="*/ 133415 h 265137"/>
                <a:gd name="connsiteX1082" fmla="*/ 50207 w 163595"/>
                <a:gd name="connsiteY1082" fmla="*/ 133697 h 265137"/>
                <a:gd name="connsiteX1083" fmla="*/ 49643 w 163595"/>
                <a:gd name="connsiteY1083" fmla="*/ 134543 h 265137"/>
                <a:gd name="connsiteX1084" fmla="*/ 49078 w 163595"/>
                <a:gd name="connsiteY1084" fmla="*/ 135389 h 265137"/>
                <a:gd name="connsiteX1085" fmla="*/ 49078 w 163595"/>
                <a:gd name="connsiteY1085" fmla="*/ 135672 h 265137"/>
                <a:gd name="connsiteX1086" fmla="*/ 53592 w 163595"/>
                <a:gd name="connsiteY1086" fmla="*/ 134825 h 265137"/>
                <a:gd name="connsiteX1087" fmla="*/ 53874 w 163595"/>
                <a:gd name="connsiteY1087" fmla="*/ 134261 h 265137"/>
                <a:gd name="connsiteX1088" fmla="*/ 53592 w 163595"/>
                <a:gd name="connsiteY1088" fmla="*/ 133415 h 265137"/>
                <a:gd name="connsiteX1089" fmla="*/ 54438 w 163595"/>
                <a:gd name="connsiteY1089" fmla="*/ 132287 h 265137"/>
                <a:gd name="connsiteX1090" fmla="*/ 55284 w 163595"/>
                <a:gd name="connsiteY1090" fmla="*/ 132005 h 265137"/>
                <a:gd name="connsiteX1091" fmla="*/ 55566 w 163595"/>
                <a:gd name="connsiteY1091" fmla="*/ 132005 h 265137"/>
                <a:gd name="connsiteX1092" fmla="*/ 55848 w 163595"/>
                <a:gd name="connsiteY1092" fmla="*/ 132287 h 265137"/>
                <a:gd name="connsiteX1093" fmla="*/ 55848 w 163595"/>
                <a:gd name="connsiteY1093" fmla="*/ 133133 h 265137"/>
                <a:gd name="connsiteX1094" fmla="*/ 56130 w 163595"/>
                <a:gd name="connsiteY1094" fmla="*/ 133415 h 265137"/>
                <a:gd name="connsiteX1095" fmla="*/ 56412 w 163595"/>
                <a:gd name="connsiteY1095" fmla="*/ 133415 h 265137"/>
                <a:gd name="connsiteX1096" fmla="*/ 56976 w 163595"/>
                <a:gd name="connsiteY1096" fmla="*/ 133697 h 265137"/>
                <a:gd name="connsiteX1097" fmla="*/ 56976 w 163595"/>
                <a:gd name="connsiteY1097" fmla="*/ 134543 h 265137"/>
                <a:gd name="connsiteX1098" fmla="*/ 56412 w 163595"/>
                <a:gd name="connsiteY1098" fmla="*/ 135672 h 265137"/>
                <a:gd name="connsiteX1099" fmla="*/ 55848 w 163595"/>
                <a:gd name="connsiteY1099" fmla="*/ 135954 h 265137"/>
                <a:gd name="connsiteX1100" fmla="*/ 55566 w 163595"/>
                <a:gd name="connsiteY1100" fmla="*/ 135954 h 265137"/>
                <a:gd name="connsiteX1101" fmla="*/ 54720 w 163595"/>
                <a:gd name="connsiteY1101" fmla="*/ 137082 h 265137"/>
                <a:gd name="connsiteX1102" fmla="*/ 53028 w 163595"/>
                <a:gd name="connsiteY1102" fmla="*/ 137082 h 265137"/>
                <a:gd name="connsiteX1103" fmla="*/ 53592 w 163595"/>
                <a:gd name="connsiteY1103" fmla="*/ 134825 h 265137"/>
                <a:gd name="connsiteX1104" fmla="*/ 54720 w 163595"/>
                <a:gd name="connsiteY1104" fmla="*/ 148082 h 265137"/>
                <a:gd name="connsiteX1105" fmla="*/ 55002 w 163595"/>
                <a:gd name="connsiteY1105" fmla="*/ 148646 h 265137"/>
                <a:gd name="connsiteX1106" fmla="*/ 54720 w 163595"/>
                <a:gd name="connsiteY1106" fmla="*/ 148928 h 265137"/>
                <a:gd name="connsiteX1107" fmla="*/ 54438 w 163595"/>
                <a:gd name="connsiteY1107" fmla="*/ 148928 h 265137"/>
                <a:gd name="connsiteX1108" fmla="*/ 54438 w 163595"/>
                <a:gd name="connsiteY1108" fmla="*/ 148364 h 265137"/>
                <a:gd name="connsiteX1109" fmla="*/ 54720 w 163595"/>
                <a:gd name="connsiteY1109" fmla="*/ 148082 h 265137"/>
                <a:gd name="connsiteX1110" fmla="*/ 54720 w 163595"/>
                <a:gd name="connsiteY1110" fmla="*/ 126646 h 265137"/>
                <a:gd name="connsiteX1111" fmla="*/ 55002 w 163595"/>
                <a:gd name="connsiteY1111" fmla="*/ 126646 h 265137"/>
                <a:gd name="connsiteX1112" fmla="*/ 55566 w 163595"/>
                <a:gd name="connsiteY1112" fmla="*/ 126081 h 265137"/>
                <a:gd name="connsiteX1113" fmla="*/ 55284 w 163595"/>
                <a:gd name="connsiteY1113" fmla="*/ 126081 h 265137"/>
                <a:gd name="connsiteX1114" fmla="*/ 55284 w 163595"/>
                <a:gd name="connsiteY1114" fmla="*/ 125799 h 265137"/>
                <a:gd name="connsiteX1115" fmla="*/ 54720 w 163595"/>
                <a:gd name="connsiteY1115" fmla="*/ 126363 h 265137"/>
                <a:gd name="connsiteX1116" fmla="*/ 54720 w 163595"/>
                <a:gd name="connsiteY1116" fmla="*/ 126646 h 265137"/>
                <a:gd name="connsiteX1117" fmla="*/ 56976 w 163595"/>
                <a:gd name="connsiteY1117" fmla="*/ 131723 h 265137"/>
                <a:gd name="connsiteX1118" fmla="*/ 56695 w 163595"/>
                <a:gd name="connsiteY1118" fmla="*/ 131723 h 265137"/>
                <a:gd name="connsiteX1119" fmla="*/ 56130 w 163595"/>
                <a:gd name="connsiteY1119" fmla="*/ 131441 h 265137"/>
                <a:gd name="connsiteX1120" fmla="*/ 56976 w 163595"/>
                <a:gd name="connsiteY1120" fmla="*/ 130876 h 265137"/>
                <a:gd name="connsiteX1121" fmla="*/ 56976 w 163595"/>
                <a:gd name="connsiteY1121" fmla="*/ 131723 h 265137"/>
                <a:gd name="connsiteX1122" fmla="*/ 58951 w 163595"/>
                <a:gd name="connsiteY1122" fmla="*/ 128056 h 265137"/>
                <a:gd name="connsiteX1123" fmla="*/ 59233 w 163595"/>
                <a:gd name="connsiteY1123" fmla="*/ 128338 h 265137"/>
                <a:gd name="connsiteX1124" fmla="*/ 61771 w 163595"/>
                <a:gd name="connsiteY1124" fmla="*/ 127774 h 265137"/>
                <a:gd name="connsiteX1125" fmla="*/ 61771 w 163595"/>
                <a:gd name="connsiteY1125" fmla="*/ 127492 h 265137"/>
                <a:gd name="connsiteX1126" fmla="*/ 60926 w 163595"/>
                <a:gd name="connsiteY1126" fmla="*/ 126928 h 265137"/>
                <a:gd name="connsiteX1127" fmla="*/ 59233 w 163595"/>
                <a:gd name="connsiteY1127" fmla="*/ 127774 h 265137"/>
                <a:gd name="connsiteX1128" fmla="*/ 58951 w 163595"/>
                <a:gd name="connsiteY1128" fmla="*/ 128056 h 265137"/>
                <a:gd name="connsiteX1129" fmla="*/ 59797 w 163595"/>
                <a:gd name="connsiteY1129" fmla="*/ 120440 h 265137"/>
                <a:gd name="connsiteX1130" fmla="*/ 60079 w 163595"/>
                <a:gd name="connsiteY1130" fmla="*/ 120158 h 265137"/>
                <a:gd name="connsiteX1131" fmla="*/ 59797 w 163595"/>
                <a:gd name="connsiteY1131" fmla="*/ 120158 h 265137"/>
                <a:gd name="connsiteX1132" fmla="*/ 59797 w 163595"/>
                <a:gd name="connsiteY1132" fmla="*/ 120440 h 265137"/>
                <a:gd name="connsiteX1133" fmla="*/ 66848 w 163595"/>
                <a:gd name="connsiteY1133" fmla="*/ 62900 h 265137"/>
                <a:gd name="connsiteX1134" fmla="*/ 66284 w 163595"/>
                <a:gd name="connsiteY1134" fmla="*/ 63182 h 265137"/>
                <a:gd name="connsiteX1135" fmla="*/ 66567 w 163595"/>
                <a:gd name="connsiteY1135" fmla="*/ 62618 h 265137"/>
                <a:gd name="connsiteX1136" fmla="*/ 66848 w 163595"/>
                <a:gd name="connsiteY1136" fmla="*/ 62618 h 265137"/>
                <a:gd name="connsiteX1137" fmla="*/ 66848 w 163595"/>
                <a:gd name="connsiteY1137" fmla="*/ 62900 h 265137"/>
                <a:gd name="connsiteX1138" fmla="*/ 67412 w 163595"/>
                <a:gd name="connsiteY1138" fmla="*/ 116491 h 265137"/>
                <a:gd name="connsiteX1139" fmla="*/ 67131 w 163595"/>
                <a:gd name="connsiteY1139" fmla="*/ 116773 h 265137"/>
                <a:gd name="connsiteX1140" fmla="*/ 66848 w 163595"/>
                <a:gd name="connsiteY1140" fmla="*/ 116773 h 265137"/>
                <a:gd name="connsiteX1141" fmla="*/ 66848 w 163595"/>
                <a:gd name="connsiteY1141" fmla="*/ 116491 h 265137"/>
                <a:gd name="connsiteX1142" fmla="*/ 67412 w 163595"/>
                <a:gd name="connsiteY1142" fmla="*/ 116491 h 265137"/>
                <a:gd name="connsiteX1143" fmla="*/ 70515 w 163595"/>
                <a:gd name="connsiteY1143" fmla="*/ 110004 h 265137"/>
                <a:gd name="connsiteX1144" fmla="*/ 71079 w 163595"/>
                <a:gd name="connsiteY1144" fmla="*/ 110286 h 265137"/>
                <a:gd name="connsiteX1145" fmla="*/ 71643 w 163595"/>
                <a:gd name="connsiteY1145" fmla="*/ 109722 h 265137"/>
                <a:gd name="connsiteX1146" fmla="*/ 71643 w 163595"/>
                <a:gd name="connsiteY1146" fmla="*/ 109440 h 265137"/>
                <a:gd name="connsiteX1147" fmla="*/ 71079 w 163595"/>
                <a:gd name="connsiteY1147" fmla="*/ 109158 h 265137"/>
                <a:gd name="connsiteX1148" fmla="*/ 70515 w 163595"/>
                <a:gd name="connsiteY1148" fmla="*/ 109440 h 265137"/>
                <a:gd name="connsiteX1149" fmla="*/ 70515 w 163595"/>
                <a:gd name="connsiteY1149" fmla="*/ 110004 h 265137"/>
                <a:gd name="connsiteX1150" fmla="*/ 75593 w 163595"/>
                <a:gd name="connsiteY1150" fmla="*/ 107183 h 265137"/>
                <a:gd name="connsiteX1151" fmla="*/ 76157 w 163595"/>
                <a:gd name="connsiteY1151" fmla="*/ 107183 h 265137"/>
                <a:gd name="connsiteX1152" fmla="*/ 76721 w 163595"/>
                <a:gd name="connsiteY1152" fmla="*/ 106901 h 265137"/>
                <a:gd name="connsiteX1153" fmla="*/ 76439 w 163595"/>
                <a:gd name="connsiteY1153" fmla="*/ 106619 h 265137"/>
                <a:gd name="connsiteX1154" fmla="*/ 76157 w 163595"/>
                <a:gd name="connsiteY1154" fmla="*/ 106337 h 265137"/>
                <a:gd name="connsiteX1155" fmla="*/ 75874 w 163595"/>
                <a:gd name="connsiteY1155" fmla="*/ 106619 h 265137"/>
                <a:gd name="connsiteX1156" fmla="*/ 75593 w 163595"/>
                <a:gd name="connsiteY1156" fmla="*/ 107183 h 265137"/>
                <a:gd name="connsiteX1157" fmla="*/ 77849 w 163595"/>
                <a:gd name="connsiteY1157" fmla="*/ 109722 h 265137"/>
                <a:gd name="connsiteX1158" fmla="*/ 77285 w 163595"/>
                <a:gd name="connsiteY1158" fmla="*/ 110286 h 265137"/>
                <a:gd name="connsiteX1159" fmla="*/ 77285 w 163595"/>
                <a:gd name="connsiteY1159" fmla="*/ 110568 h 265137"/>
                <a:gd name="connsiteX1160" fmla="*/ 77567 w 163595"/>
                <a:gd name="connsiteY1160" fmla="*/ 110568 h 265137"/>
                <a:gd name="connsiteX1161" fmla="*/ 78131 w 163595"/>
                <a:gd name="connsiteY1161" fmla="*/ 109722 h 265137"/>
                <a:gd name="connsiteX1162" fmla="*/ 77849 w 163595"/>
                <a:gd name="connsiteY1162" fmla="*/ 109722 h 265137"/>
                <a:gd name="connsiteX1163" fmla="*/ 77567 w 163595"/>
                <a:gd name="connsiteY1163" fmla="*/ 153159 h 265137"/>
                <a:gd name="connsiteX1164" fmla="*/ 78131 w 163595"/>
                <a:gd name="connsiteY1164" fmla="*/ 153159 h 265137"/>
                <a:gd name="connsiteX1165" fmla="*/ 77849 w 163595"/>
                <a:gd name="connsiteY1165" fmla="*/ 153441 h 265137"/>
                <a:gd name="connsiteX1166" fmla="*/ 77567 w 163595"/>
                <a:gd name="connsiteY1166" fmla="*/ 153441 h 265137"/>
                <a:gd name="connsiteX1167" fmla="*/ 77567 w 163595"/>
                <a:gd name="connsiteY1167" fmla="*/ 153159 h 265137"/>
                <a:gd name="connsiteX1168" fmla="*/ 78977 w 163595"/>
                <a:gd name="connsiteY1168" fmla="*/ 151749 h 265137"/>
                <a:gd name="connsiteX1169" fmla="*/ 79824 w 163595"/>
                <a:gd name="connsiteY1169" fmla="*/ 151749 h 265137"/>
                <a:gd name="connsiteX1170" fmla="*/ 79260 w 163595"/>
                <a:gd name="connsiteY1170" fmla="*/ 152877 h 265137"/>
                <a:gd name="connsiteX1171" fmla="*/ 78131 w 163595"/>
                <a:gd name="connsiteY1171" fmla="*/ 153159 h 265137"/>
                <a:gd name="connsiteX1172" fmla="*/ 78977 w 163595"/>
                <a:gd name="connsiteY1172" fmla="*/ 151749 h 265137"/>
                <a:gd name="connsiteX1173" fmla="*/ 79880 w 163595"/>
                <a:gd name="connsiteY1173" fmla="*/ 100978 h 265137"/>
                <a:gd name="connsiteX1174" fmla="*/ 80444 w 163595"/>
                <a:gd name="connsiteY1174" fmla="*/ 101542 h 265137"/>
                <a:gd name="connsiteX1175" fmla="*/ 81290 w 163595"/>
                <a:gd name="connsiteY1175" fmla="*/ 100978 h 265137"/>
                <a:gd name="connsiteX1176" fmla="*/ 81290 w 163595"/>
                <a:gd name="connsiteY1176" fmla="*/ 100696 h 265137"/>
                <a:gd name="connsiteX1177" fmla="*/ 81008 w 163595"/>
                <a:gd name="connsiteY1177" fmla="*/ 100414 h 265137"/>
                <a:gd name="connsiteX1178" fmla="*/ 80444 w 163595"/>
                <a:gd name="connsiteY1178" fmla="*/ 100696 h 265137"/>
                <a:gd name="connsiteX1179" fmla="*/ 80162 w 163595"/>
                <a:gd name="connsiteY1179" fmla="*/ 100978 h 265137"/>
                <a:gd name="connsiteX1180" fmla="*/ 79880 w 163595"/>
                <a:gd name="connsiteY1180" fmla="*/ 100978 h 265137"/>
                <a:gd name="connsiteX1181" fmla="*/ 93363 w 163595"/>
                <a:gd name="connsiteY1181" fmla="*/ 92234 h 265137"/>
                <a:gd name="connsiteX1182" fmla="*/ 93927 w 163595"/>
                <a:gd name="connsiteY1182" fmla="*/ 91670 h 265137"/>
                <a:gd name="connsiteX1183" fmla="*/ 94491 w 163595"/>
                <a:gd name="connsiteY1183" fmla="*/ 89978 h 265137"/>
                <a:gd name="connsiteX1184" fmla="*/ 94491 w 163595"/>
                <a:gd name="connsiteY1184" fmla="*/ 89696 h 265137"/>
                <a:gd name="connsiteX1185" fmla="*/ 94208 w 163595"/>
                <a:gd name="connsiteY1185" fmla="*/ 89413 h 265137"/>
                <a:gd name="connsiteX1186" fmla="*/ 93363 w 163595"/>
                <a:gd name="connsiteY1186" fmla="*/ 89978 h 265137"/>
                <a:gd name="connsiteX1187" fmla="*/ 92798 w 163595"/>
                <a:gd name="connsiteY1187" fmla="*/ 90824 h 265137"/>
                <a:gd name="connsiteX1188" fmla="*/ 92516 w 163595"/>
                <a:gd name="connsiteY1188" fmla="*/ 91670 h 265137"/>
                <a:gd name="connsiteX1189" fmla="*/ 93363 w 163595"/>
                <a:gd name="connsiteY1189" fmla="*/ 92234 h 265137"/>
                <a:gd name="connsiteX1190" fmla="*/ 96521 w 163595"/>
                <a:gd name="connsiteY1190" fmla="*/ 90542 h 265137"/>
                <a:gd name="connsiteX1191" fmla="*/ 97085 w 163595"/>
                <a:gd name="connsiteY1191" fmla="*/ 90260 h 265137"/>
                <a:gd name="connsiteX1192" fmla="*/ 97085 w 163595"/>
                <a:gd name="connsiteY1192" fmla="*/ 89978 h 265137"/>
                <a:gd name="connsiteX1193" fmla="*/ 96804 w 163595"/>
                <a:gd name="connsiteY1193" fmla="*/ 89978 h 265137"/>
                <a:gd name="connsiteX1194" fmla="*/ 96521 w 163595"/>
                <a:gd name="connsiteY1194" fmla="*/ 90260 h 265137"/>
                <a:gd name="connsiteX1195" fmla="*/ 96521 w 163595"/>
                <a:gd name="connsiteY1195" fmla="*/ 90542 h 265137"/>
                <a:gd name="connsiteX1196" fmla="*/ 108594 w 163595"/>
                <a:gd name="connsiteY1196" fmla="*/ 108876 h 265137"/>
                <a:gd name="connsiteX1197" fmla="*/ 108594 w 163595"/>
                <a:gd name="connsiteY1197" fmla="*/ 108594 h 265137"/>
                <a:gd name="connsiteX1198" fmla="*/ 107747 w 163595"/>
                <a:gd name="connsiteY1198" fmla="*/ 108876 h 265137"/>
                <a:gd name="connsiteX1199" fmla="*/ 108030 w 163595"/>
                <a:gd name="connsiteY1199" fmla="*/ 109158 h 265137"/>
                <a:gd name="connsiteX1200" fmla="*/ 108594 w 163595"/>
                <a:gd name="connsiteY1200" fmla="*/ 108876 h 265137"/>
                <a:gd name="connsiteX1201" fmla="*/ 115645 w 163595"/>
                <a:gd name="connsiteY1201" fmla="*/ 90260 h 265137"/>
                <a:gd name="connsiteX1202" fmla="*/ 115363 w 163595"/>
                <a:gd name="connsiteY1202" fmla="*/ 90260 h 265137"/>
                <a:gd name="connsiteX1203" fmla="*/ 115928 w 163595"/>
                <a:gd name="connsiteY1203" fmla="*/ 91106 h 265137"/>
                <a:gd name="connsiteX1204" fmla="*/ 116209 w 163595"/>
                <a:gd name="connsiteY1204" fmla="*/ 91106 h 265137"/>
                <a:gd name="connsiteX1205" fmla="*/ 116209 w 163595"/>
                <a:gd name="connsiteY1205" fmla="*/ 90824 h 265137"/>
                <a:gd name="connsiteX1206" fmla="*/ 115645 w 163595"/>
                <a:gd name="connsiteY1206" fmla="*/ 90260 h 265137"/>
                <a:gd name="connsiteX1207" fmla="*/ 130369 w 163595"/>
                <a:gd name="connsiteY1207" fmla="*/ 70233 h 265137"/>
                <a:gd name="connsiteX1208" fmla="*/ 130086 w 163595"/>
                <a:gd name="connsiteY1208" fmla="*/ 70233 h 265137"/>
                <a:gd name="connsiteX1209" fmla="*/ 129805 w 163595"/>
                <a:gd name="connsiteY1209" fmla="*/ 70515 h 265137"/>
                <a:gd name="connsiteX1210" fmla="*/ 130369 w 163595"/>
                <a:gd name="connsiteY1210" fmla="*/ 70233 h 265137"/>
                <a:gd name="connsiteX1211" fmla="*/ 153216 w 163595"/>
                <a:gd name="connsiteY1211" fmla="*/ 55566 h 265137"/>
                <a:gd name="connsiteX1212" fmla="*/ 153216 w 163595"/>
                <a:gd name="connsiteY1212" fmla="*/ 55284 h 265137"/>
                <a:gd name="connsiteX1213" fmla="*/ 153216 w 163595"/>
                <a:gd name="connsiteY1213" fmla="*/ 55566 h 265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</a:cxnLst>
              <a:rect l="l" t="t" r="r" b="b"/>
              <a:pathLst>
                <a:path w="163595" h="265137">
                  <a:moveTo>
                    <a:pt x="68259" y="59515"/>
                  </a:moveTo>
                  <a:cubicBezTo>
                    <a:pt x="67977" y="59515"/>
                    <a:pt x="67977" y="60079"/>
                    <a:pt x="67695" y="60361"/>
                  </a:cubicBezTo>
                  <a:cubicBezTo>
                    <a:pt x="67695" y="60925"/>
                    <a:pt x="67412" y="61207"/>
                    <a:pt x="66848" y="61207"/>
                  </a:cubicBezTo>
                  <a:cubicBezTo>
                    <a:pt x="66002" y="61489"/>
                    <a:pt x="65438" y="62053"/>
                    <a:pt x="65438" y="63182"/>
                  </a:cubicBezTo>
                  <a:cubicBezTo>
                    <a:pt x="65720" y="63464"/>
                    <a:pt x="66002" y="63464"/>
                    <a:pt x="66284" y="63464"/>
                  </a:cubicBezTo>
                  <a:lnTo>
                    <a:pt x="65156" y="64874"/>
                  </a:lnTo>
                  <a:cubicBezTo>
                    <a:pt x="64874" y="65438"/>
                    <a:pt x="64592" y="66002"/>
                    <a:pt x="64028" y="66566"/>
                  </a:cubicBezTo>
                  <a:cubicBezTo>
                    <a:pt x="63746" y="66849"/>
                    <a:pt x="63182" y="67131"/>
                    <a:pt x="62900" y="67131"/>
                  </a:cubicBezTo>
                  <a:cubicBezTo>
                    <a:pt x="62618" y="67131"/>
                    <a:pt x="62618" y="67131"/>
                    <a:pt x="62336" y="66849"/>
                  </a:cubicBezTo>
                  <a:cubicBezTo>
                    <a:pt x="62054" y="66849"/>
                    <a:pt x="61771" y="67131"/>
                    <a:pt x="61771" y="67413"/>
                  </a:cubicBezTo>
                  <a:cubicBezTo>
                    <a:pt x="61771" y="67695"/>
                    <a:pt x="61771" y="67695"/>
                    <a:pt x="62336" y="67695"/>
                  </a:cubicBezTo>
                  <a:cubicBezTo>
                    <a:pt x="62618" y="67695"/>
                    <a:pt x="62900" y="67977"/>
                    <a:pt x="62618" y="67977"/>
                  </a:cubicBezTo>
                  <a:cubicBezTo>
                    <a:pt x="62054" y="69387"/>
                    <a:pt x="61490" y="70515"/>
                    <a:pt x="60643" y="71644"/>
                  </a:cubicBezTo>
                  <a:cubicBezTo>
                    <a:pt x="60079" y="71926"/>
                    <a:pt x="59797" y="72490"/>
                    <a:pt x="59797" y="73054"/>
                  </a:cubicBezTo>
                  <a:cubicBezTo>
                    <a:pt x="59515" y="73618"/>
                    <a:pt x="59233" y="74182"/>
                    <a:pt x="58669" y="74464"/>
                  </a:cubicBezTo>
                  <a:lnTo>
                    <a:pt x="58105" y="75310"/>
                  </a:lnTo>
                  <a:lnTo>
                    <a:pt x="57823" y="75592"/>
                  </a:lnTo>
                  <a:lnTo>
                    <a:pt x="57540" y="75592"/>
                  </a:lnTo>
                  <a:lnTo>
                    <a:pt x="57540" y="74746"/>
                  </a:lnTo>
                  <a:lnTo>
                    <a:pt x="56976" y="74746"/>
                  </a:lnTo>
                  <a:lnTo>
                    <a:pt x="56130" y="75592"/>
                  </a:lnTo>
                  <a:lnTo>
                    <a:pt x="56130" y="76157"/>
                  </a:lnTo>
                  <a:cubicBezTo>
                    <a:pt x="55848" y="76439"/>
                    <a:pt x="56412" y="76157"/>
                    <a:pt x="56695" y="76157"/>
                  </a:cubicBezTo>
                  <a:cubicBezTo>
                    <a:pt x="56695" y="76157"/>
                    <a:pt x="56976" y="76157"/>
                    <a:pt x="56695" y="76439"/>
                  </a:cubicBezTo>
                  <a:cubicBezTo>
                    <a:pt x="56976" y="76439"/>
                    <a:pt x="56976" y="76721"/>
                    <a:pt x="56976" y="76721"/>
                  </a:cubicBezTo>
                  <a:cubicBezTo>
                    <a:pt x="56976" y="77003"/>
                    <a:pt x="56695" y="77003"/>
                    <a:pt x="56695" y="77003"/>
                  </a:cubicBezTo>
                  <a:lnTo>
                    <a:pt x="55566" y="77003"/>
                  </a:lnTo>
                  <a:cubicBezTo>
                    <a:pt x="55284" y="77003"/>
                    <a:pt x="55284" y="77003"/>
                    <a:pt x="55002" y="77285"/>
                  </a:cubicBezTo>
                  <a:lnTo>
                    <a:pt x="55002" y="78131"/>
                  </a:lnTo>
                  <a:cubicBezTo>
                    <a:pt x="55002" y="78413"/>
                    <a:pt x="55284" y="78413"/>
                    <a:pt x="55566" y="78413"/>
                  </a:cubicBezTo>
                  <a:cubicBezTo>
                    <a:pt x="55848" y="78695"/>
                    <a:pt x="55848" y="78695"/>
                    <a:pt x="55848" y="78977"/>
                  </a:cubicBezTo>
                  <a:cubicBezTo>
                    <a:pt x="55848" y="78977"/>
                    <a:pt x="55848" y="79259"/>
                    <a:pt x="55566" y="79259"/>
                  </a:cubicBezTo>
                  <a:cubicBezTo>
                    <a:pt x="55566" y="79541"/>
                    <a:pt x="54720" y="79823"/>
                    <a:pt x="54438" y="79823"/>
                  </a:cubicBezTo>
                  <a:cubicBezTo>
                    <a:pt x="53874" y="80105"/>
                    <a:pt x="53309" y="80387"/>
                    <a:pt x="52745" y="80387"/>
                  </a:cubicBezTo>
                  <a:cubicBezTo>
                    <a:pt x="52745" y="80387"/>
                    <a:pt x="52464" y="80670"/>
                    <a:pt x="52745" y="80670"/>
                  </a:cubicBezTo>
                  <a:cubicBezTo>
                    <a:pt x="52745" y="80952"/>
                    <a:pt x="53028" y="81234"/>
                    <a:pt x="53309" y="81516"/>
                  </a:cubicBezTo>
                  <a:lnTo>
                    <a:pt x="53309" y="81798"/>
                  </a:lnTo>
                  <a:cubicBezTo>
                    <a:pt x="53309" y="82080"/>
                    <a:pt x="53309" y="82080"/>
                    <a:pt x="53028" y="82080"/>
                  </a:cubicBezTo>
                  <a:lnTo>
                    <a:pt x="52745" y="82362"/>
                  </a:lnTo>
                  <a:cubicBezTo>
                    <a:pt x="52745" y="82362"/>
                    <a:pt x="52464" y="82644"/>
                    <a:pt x="52464" y="82926"/>
                  </a:cubicBezTo>
                  <a:cubicBezTo>
                    <a:pt x="52464" y="83208"/>
                    <a:pt x="52745" y="83208"/>
                    <a:pt x="52745" y="83490"/>
                  </a:cubicBezTo>
                  <a:cubicBezTo>
                    <a:pt x="52745" y="83772"/>
                    <a:pt x="53028" y="83772"/>
                    <a:pt x="53028" y="84054"/>
                  </a:cubicBezTo>
                  <a:cubicBezTo>
                    <a:pt x="53028" y="84336"/>
                    <a:pt x="52745" y="84618"/>
                    <a:pt x="52745" y="84900"/>
                  </a:cubicBezTo>
                  <a:cubicBezTo>
                    <a:pt x="52464" y="85183"/>
                    <a:pt x="52181" y="85465"/>
                    <a:pt x="52181" y="86029"/>
                  </a:cubicBezTo>
                  <a:cubicBezTo>
                    <a:pt x="52181" y="86029"/>
                    <a:pt x="51617" y="86311"/>
                    <a:pt x="51335" y="86311"/>
                  </a:cubicBezTo>
                  <a:cubicBezTo>
                    <a:pt x="51335" y="86029"/>
                    <a:pt x="50771" y="86311"/>
                    <a:pt x="50489" y="86593"/>
                  </a:cubicBezTo>
                  <a:lnTo>
                    <a:pt x="50489" y="87157"/>
                  </a:lnTo>
                  <a:cubicBezTo>
                    <a:pt x="50489" y="87439"/>
                    <a:pt x="50489" y="87439"/>
                    <a:pt x="50771" y="87439"/>
                  </a:cubicBezTo>
                  <a:cubicBezTo>
                    <a:pt x="50771" y="87721"/>
                    <a:pt x="50771" y="88003"/>
                    <a:pt x="50489" y="88003"/>
                  </a:cubicBezTo>
                  <a:lnTo>
                    <a:pt x="49925" y="88003"/>
                  </a:lnTo>
                  <a:lnTo>
                    <a:pt x="49361" y="88285"/>
                  </a:lnTo>
                  <a:cubicBezTo>
                    <a:pt x="49078" y="88567"/>
                    <a:pt x="49078" y="89131"/>
                    <a:pt x="49078" y="89413"/>
                  </a:cubicBezTo>
                  <a:lnTo>
                    <a:pt x="49078" y="89696"/>
                  </a:lnTo>
                  <a:cubicBezTo>
                    <a:pt x="49361" y="89978"/>
                    <a:pt x="49643" y="90542"/>
                    <a:pt x="49643" y="90824"/>
                  </a:cubicBezTo>
                  <a:cubicBezTo>
                    <a:pt x="49643" y="91106"/>
                    <a:pt x="49361" y="91106"/>
                    <a:pt x="49361" y="91388"/>
                  </a:cubicBezTo>
                  <a:lnTo>
                    <a:pt x="47668" y="95055"/>
                  </a:lnTo>
                  <a:cubicBezTo>
                    <a:pt x="47386" y="95337"/>
                    <a:pt x="46822" y="95901"/>
                    <a:pt x="46258" y="95901"/>
                  </a:cubicBezTo>
                  <a:cubicBezTo>
                    <a:pt x="45976" y="95901"/>
                    <a:pt x="45694" y="96183"/>
                    <a:pt x="45694" y="96465"/>
                  </a:cubicBezTo>
                  <a:cubicBezTo>
                    <a:pt x="45694" y="96747"/>
                    <a:pt x="45412" y="97029"/>
                    <a:pt x="45412" y="97029"/>
                  </a:cubicBezTo>
                  <a:cubicBezTo>
                    <a:pt x="45412" y="97311"/>
                    <a:pt x="45694" y="97311"/>
                    <a:pt x="45694" y="97311"/>
                  </a:cubicBezTo>
                  <a:lnTo>
                    <a:pt x="45976" y="97311"/>
                  </a:lnTo>
                  <a:cubicBezTo>
                    <a:pt x="46258" y="97593"/>
                    <a:pt x="46540" y="97593"/>
                    <a:pt x="46540" y="97593"/>
                  </a:cubicBezTo>
                  <a:lnTo>
                    <a:pt x="46258" y="97875"/>
                  </a:lnTo>
                  <a:cubicBezTo>
                    <a:pt x="45976" y="98439"/>
                    <a:pt x="45694" y="99004"/>
                    <a:pt x="44848" y="99004"/>
                  </a:cubicBezTo>
                  <a:cubicBezTo>
                    <a:pt x="44566" y="99004"/>
                    <a:pt x="44566" y="99286"/>
                    <a:pt x="44566" y="99286"/>
                  </a:cubicBezTo>
                  <a:cubicBezTo>
                    <a:pt x="44566" y="99286"/>
                    <a:pt x="44566" y="99568"/>
                    <a:pt x="44848" y="99568"/>
                  </a:cubicBezTo>
                  <a:cubicBezTo>
                    <a:pt x="44848" y="99850"/>
                    <a:pt x="45130" y="99850"/>
                    <a:pt x="45130" y="100132"/>
                  </a:cubicBezTo>
                  <a:cubicBezTo>
                    <a:pt x="45130" y="100414"/>
                    <a:pt x="44848" y="100696"/>
                    <a:pt x="44848" y="100696"/>
                  </a:cubicBezTo>
                  <a:cubicBezTo>
                    <a:pt x="44284" y="101260"/>
                    <a:pt x="44002" y="102106"/>
                    <a:pt x="44002" y="102952"/>
                  </a:cubicBezTo>
                  <a:cubicBezTo>
                    <a:pt x="44002" y="103234"/>
                    <a:pt x="44002" y="103517"/>
                    <a:pt x="43720" y="103799"/>
                  </a:cubicBezTo>
                  <a:cubicBezTo>
                    <a:pt x="43156" y="104363"/>
                    <a:pt x="42873" y="105491"/>
                    <a:pt x="42027" y="106055"/>
                  </a:cubicBezTo>
                  <a:cubicBezTo>
                    <a:pt x="41463" y="106337"/>
                    <a:pt x="41463" y="106901"/>
                    <a:pt x="41463" y="107183"/>
                  </a:cubicBezTo>
                  <a:cubicBezTo>
                    <a:pt x="41463" y="108030"/>
                    <a:pt x="41463" y="108594"/>
                    <a:pt x="40617" y="109440"/>
                  </a:cubicBezTo>
                  <a:cubicBezTo>
                    <a:pt x="40053" y="110004"/>
                    <a:pt x="40053" y="111132"/>
                    <a:pt x="39489" y="111978"/>
                  </a:cubicBezTo>
                  <a:cubicBezTo>
                    <a:pt x="39489" y="112542"/>
                    <a:pt x="39206" y="112825"/>
                    <a:pt x="38642" y="113107"/>
                  </a:cubicBezTo>
                  <a:cubicBezTo>
                    <a:pt x="38361" y="113389"/>
                    <a:pt x="38361" y="113671"/>
                    <a:pt x="38361" y="113953"/>
                  </a:cubicBezTo>
                  <a:lnTo>
                    <a:pt x="38361" y="114517"/>
                  </a:lnTo>
                  <a:cubicBezTo>
                    <a:pt x="38361" y="115363"/>
                    <a:pt x="38078" y="116209"/>
                    <a:pt x="37796" y="116773"/>
                  </a:cubicBezTo>
                  <a:cubicBezTo>
                    <a:pt x="37514" y="117338"/>
                    <a:pt x="37514" y="117902"/>
                    <a:pt x="37232" y="118184"/>
                  </a:cubicBezTo>
                  <a:lnTo>
                    <a:pt x="35258" y="124389"/>
                  </a:lnTo>
                  <a:cubicBezTo>
                    <a:pt x="34694" y="125799"/>
                    <a:pt x="34694" y="127492"/>
                    <a:pt x="34694" y="128902"/>
                  </a:cubicBezTo>
                  <a:cubicBezTo>
                    <a:pt x="34694" y="129184"/>
                    <a:pt x="34694" y="129748"/>
                    <a:pt x="34975" y="130030"/>
                  </a:cubicBezTo>
                  <a:lnTo>
                    <a:pt x="34975" y="130312"/>
                  </a:lnTo>
                  <a:cubicBezTo>
                    <a:pt x="34975" y="130594"/>
                    <a:pt x="34694" y="130876"/>
                    <a:pt x="34411" y="131159"/>
                  </a:cubicBezTo>
                  <a:cubicBezTo>
                    <a:pt x="33847" y="131441"/>
                    <a:pt x="33565" y="131723"/>
                    <a:pt x="33565" y="132287"/>
                  </a:cubicBezTo>
                  <a:cubicBezTo>
                    <a:pt x="33283" y="132569"/>
                    <a:pt x="33001" y="132569"/>
                    <a:pt x="32719" y="132569"/>
                  </a:cubicBezTo>
                  <a:lnTo>
                    <a:pt x="32437" y="132569"/>
                  </a:lnTo>
                  <a:lnTo>
                    <a:pt x="31027" y="131441"/>
                  </a:lnTo>
                  <a:lnTo>
                    <a:pt x="30744" y="131159"/>
                  </a:lnTo>
                  <a:cubicBezTo>
                    <a:pt x="30463" y="131159"/>
                    <a:pt x="30463" y="131441"/>
                    <a:pt x="30180" y="131723"/>
                  </a:cubicBezTo>
                  <a:lnTo>
                    <a:pt x="29616" y="133133"/>
                  </a:lnTo>
                  <a:cubicBezTo>
                    <a:pt x="29616" y="133415"/>
                    <a:pt x="29334" y="133697"/>
                    <a:pt x="29052" y="133697"/>
                  </a:cubicBezTo>
                  <a:cubicBezTo>
                    <a:pt x="28770" y="133697"/>
                    <a:pt x="28770" y="133415"/>
                    <a:pt x="28770" y="133133"/>
                  </a:cubicBezTo>
                  <a:cubicBezTo>
                    <a:pt x="28770" y="132569"/>
                    <a:pt x="28488" y="132287"/>
                    <a:pt x="27924" y="132287"/>
                  </a:cubicBezTo>
                  <a:lnTo>
                    <a:pt x="27642" y="132569"/>
                  </a:lnTo>
                  <a:lnTo>
                    <a:pt x="27642" y="133133"/>
                  </a:lnTo>
                  <a:cubicBezTo>
                    <a:pt x="27642" y="133979"/>
                    <a:pt x="27078" y="134543"/>
                    <a:pt x="27078" y="135389"/>
                  </a:cubicBezTo>
                  <a:cubicBezTo>
                    <a:pt x="27078" y="135672"/>
                    <a:pt x="26796" y="136236"/>
                    <a:pt x="26796" y="136518"/>
                  </a:cubicBezTo>
                  <a:cubicBezTo>
                    <a:pt x="26796" y="136800"/>
                    <a:pt x="26514" y="137082"/>
                    <a:pt x="26514" y="137082"/>
                  </a:cubicBezTo>
                  <a:cubicBezTo>
                    <a:pt x="26514" y="137364"/>
                    <a:pt x="26796" y="137364"/>
                    <a:pt x="27360" y="137364"/>
                  </a:cubicBezTo>
                  <a:cubicBezTo>
                    <a:pt x="27642" y="137364"/>
                    <a:pt x="27924" y="137364"/>
                    <a:pt x="27924" y="137646"/>
                  </a:cubicBezTo>
                  <a:lnTo>
                    <a:pt x="27360" y="139056"/>
                  </a:lnTo>
                  <a:cubicBezTo>
                    <a:pt x="26514" y="140185"/>
                    <a:pt x="25950" y="141595"/>
                    <a:pt x="25950" y="143005"/>
                  </a:cubicBezTo>
                  <a:cubicBezTo>
                    <a:pt x="25950" y="143851"/>
                    <a:pt x="25668" y="144697"/>
                    <a:pt x="25668" y="145544"/>
                  </a:cubicBezTo>
                  <a:cubicBezTo>
                    <a:pt x="25668" y="145826"/>
                    <a:pt x="25386" y="145826"/>
                    <a:pt x="25103" y="146108"/>
                  </a:cubicBezTo>
                  <a:lnTo>
                    <a:pt x="24822" y="146108"/>
                  </a:lnTo>
                  <a:lnTo>
                    <a:pt x="25103" y="146390"/>
                  </a:lnTo>
                  <a:cubicBezTo>
                    <a:pt x="25668" y="146672"/>
                    <a:pt x="25668" y="146672"/>
                    <a:pt x="25668" y="146954"/>
                  </a:cubicBezTo>
                  <a:cubicBezTo>
                    <a:pt x="25386" y="147236"/>
                    <a:pt x="25103" y="147518"/>
                    <a:pt x="25103" y="147800"/>
                  </a:cubicBezTo>
                  <a:cubicBezTo>
                    <a:pt x="25103" y="148082"/>
                    <a:pt x="25386" y="148082"/>
                    <a:pt x="25386" y="148364"/>
                  </a:cubicBezTo>
                  <a:cubicBezTo>
                    <a:pt x="25668" y="148646"/>
                    <a:pt x="24822" y="149210"/>
                    <a:pt x="25103" y="149493"/>
                  </a:cubicBezTo>
                  <a:lnTo>
                    <a:pt x="25103" y="149775"/>
                  </a:lnTo>
                  <a:cubicBezTo>
                    <a:pt x="25103" y="150057"/>
                    <a:pt x="25103" y="150057"/>
                    <a:pt x="24822" y="150057"/>
                  </a:cubicBezTo>
                  <a:cubicBezTo>
                    <a:pt x="24822" y="150339"/>
                    <a:pt x="24539" y="150339"/>
                    <a:pt x="24539" y="150621"/>
                  </a:cubicBezTo>
                  <a:lnTo>
                    <a:pt x="24539" y="150903"/>
                  </a:lnTo>
                  <a:cubicBezTo>
                    <a:pt x="24822" y="151749"/>
                    <a:pt x="24822" y="152595"/>
                    <a:pt x="24822" y="153441"/>
                  </a:cubicBezTo>
                  <a:cubicBezTo>
                    <a:pt x="24539" y="154006"/>
                    <a:pt x="24258" y="154570"/>
                    <a:pt x="23693" y="154852"/>
                  </a:cubicBezTo>
                  <a:cubicBezTo>
                    <a:pt x="23411" y="155134"/>
                    <a:pt x="23411" y="155134"/>
                    <a:pt x="23411" y="155416"/>
                  </a:cubicBezTo>
                  <a:cubicBezTo>
                    <a:pt x="23411" y="155698"/>
                    <a:pt x="23411" y="155698"/>
                    <a:pt x="23693" y="155980"/>
                  </a:cubicBezTo>
                  <a:cubicBezTo>
                    <a:pt x="23975" y="156262"/>
                    <a:pt x="24258" y="156544"/>
                    <a:pt x="24258" y="156826"/>
                  </a:cubicBezTo>
                  <a:lnTo>
                    <a:pt x="24258" y="157108"/>
                  </a:lnTo>
                  <a:cubicBezTo>
                    <a:pt x="23975" y="158519"/>
                    <a:pt x="23975" y="159647"/>
                    <a:pt x="23129" y="160775"/>
                  </a:cubicBezTo>
                  <a:lnTo>
                    <a:pt x="23129" y="161621"/>
                  </a:lnTo>
                  <a:cubicBezTo>
                    <a:pt x="23129" y="161903"/>
                    <a:pt x="23129" y="161903"/>
                    <a:pt x="22847" y="161903"/>
                  </a:cubicBezTo>
                  <a:cubicBezTo>
                    <a:pt x="22565" y="162185"/>
                    <a:pt x="22565" y="162467"/>
                    <a:pt x="22565" y="163031"/>
                  </a:cubicBezTo>
                  <a:cubicBezTo>
                    <a:pt x="22565" y="163314"/>
                    <a:pt x="22283" y="163596"/>
                    <a:pt x="22283" y="163878"/>
                  </a:cubicBezTo>
                  <a:cubicBezTo>
                    <a:pt x="22283" y="164724"/>
                    <a:pt x="22283" y="165288"/>
                    <a:pt x="22001" y="165852"/>
                  </a:cubicBezTo>
                  <a:lnTo>
                    <a:pt x="22001" y="167262"/>
                  </a:lnTo>
                  <a:cubicBezTo>
                    <a:pt x="22283" y="167262"/>
                    <a:pt x="22283" y="167544"/>
                    <a:pt x="22283" y="167827"/>
                  </a:cubicBezTo>
                  <a:cubicBezTo>
                    <a:pt x="22283" y="168109"/>
                    <a:pt x="22283" y="168391"/>
                    <a:pt x="22001" y="168673"/>
                  </a:cubicBezTo>
                  <a:cubicBezTo>
                    <a:pt x="21437" y="169519"/>
                    <a:pt x="20872" y="170647"/>
                    <a:pt x="20872" y="171775"/>
                  </a:cubicBezTo>
                  <a:lnTo>
                    <a:pt x="20872" y="172904"/>
                  </a:lnTo>
                  <a:lnTo>
                    <a:pt x="20308" y="174032"/>
                  </a:lnTo>
                  <a:cubicBezTo>
                    <a:pt x="20027" y="174314"/>
                    <a:pt x="20027" y="174596"/>
                    <a:pt x="20027" y="174878"/>
                  </a:cubicBezTo>
                  <a:lnTo>
                    <a:pt x="20027" y="176006"/>
                  </a:lnTo>
                  <a:cubicBezTo>
                    <a:pt x="19744" y="176288"/>
                    <a:pt x="19744" y="176288"/>
                    <a:pt x="19744" y="176570"/>
                  </a:cubicBezTo>
                  <a:cubicBezTo>
                    <a:pt x="19744" y="176852"/>
                    <a:pt x="19744" y="177135"/>
                    <a:pt x="20027" y="177135"/>
                  </a:cubicBezTo>
                  <a:lnTo>
                    <a:pt x="20308" y="177417"/>
                  </a:lnTo>
                  <a:lnTo>
                    <a:pt x="20308" y="178827"/>
                  </a:lnTo>
                  <a:cubicBezTo>
                    <a:pt x="20308" y="179391"/>
                    <a:pt x="20308" y="179955"/>
                    <a:pt x="19744" y="180237"/>
                  </a:cubicBezTo>
                  <a:cubicBezTo>
                    <a:pt x="19744" y="180237"/>
                    <a:pt x="19462" y="180519"/>
                    <a:pt x="19744" y="180519"/>
                  </a:cubicBezTo>
                  <a:cubicBezTo>
                    <a:pt x="19744" y="181083"/>
                    <a:pt x="20027" y="181365"/>
                    <a:pt x="20027" y="181648"/>
                  </a:cubicBezTo>
                  <a:cubicBezTo>
                    <a:pt x="20027" y="181930"/>
                    <a:pt x="19744" y="182494"/>
                    <a:pt x="19744" y="182776"/>
                  </a:cubicBezTo>
                  <a:lnTo>
                    <a:pt x="19462" y="183058"/>
                  </a:lnTo>
                  <a:cubicBezTo>
                    <a:pt x="19744" y="183340"/>
                    <a:pt x="19744" y="183622"/>
                    <a:pt x="19744" y="183904"/>
                  </a:cubicBezTo>
                  <a:cubicBezTo>
                    <a:pt x="19744" y="184186"/>
                    <a:pt x="19462" y="184750"/>
                    <a:pt x="19180" y="185032"/>
                  </a:cubicBezTo>
                  <a:cubicBezTo>
                    <a:pt x="18898" y="185032"/>
                    <a:pt x="18898" y="185314"/>
                    <a:pt x="18898" y="185596"/>
                  </a:cubicBezTo>
                  <a:lnTo>
                    <a:pt x="18898" y="185878"/>
                  </a:lnTo>
                  <a:cubicBezTo>
                    <a:pt x="19180" y="185878"/>
                    <a:pt x="19462" y="185878"/>
                    <a:pt x="19462" y="186161"/>
                  </a:cubicBezTo>
                  <a:cubicBezTo>
                    <a:pt x="19462" y="186443"/>
                    <a:pt x="19180" y="186725"/>
                    <a:pt x="19180" y="187007"/>
                  </a:cubicBezTo>
                  <a:lnTo>
                    <a:pt x="19180" y="190109"/>
                  </a:lnTo>
                  <a:cubicBezTo>
                    <a:pt x="19180" y="190956"/>
                    <a:pt x="19462" y="191802"/>
                    <a:pt x="19462" y="192930"/>
                  </a:cubicBezTo>
                  <a:cubicBezTo>
                    <a:pt x="19462" y="193494"/>
                    <a:pt x="19462" y="194058"/>
                    <a:pt x="19180" y="194622"/>
                  </a:cubicBezTo>
                  <a:lnTo>
                    <a:pt x="19180" y="197725"/>
                  </a:lnTo>
                  <a:lnTo>
                    <a:pt x="18616" y="199982"/>
                  </a:lnTo>
                  <a:lnTo>
                    <a:pt x="18334" y="200264"/>
                  </a:lnTo>
                  <a:cubicBezTo>
                    <a:pt x="18334" y="200264"/>
                    <a:pt x="18334" y="200546"/>
                    <a:pt x="18616" y="200546"/>
                  </a:cubicBezTo>
                  <a:cubicBezTo>
                    <a:pt x="18616" y="200828"/>
                    <a:pt x="18898" y="201110"/>
                    <a:pt x="18898" y="201392"/>
                  </a:cubicBezTo>
                  <a:cubicBezTo>
                    <a:pt x="18898" y="201674"/>
                    <a:pt x="18616" y="201674"/>
                    <a:pt x="18616" y="201956"/>
                  </a:cubicBezTo>
                  <a:cubicBezTo>
                    <a:pt x="18616" y="201956"/>
                    <a:pt x="18334" y="202238"/>
                    <a:pt x="18334" y="202520"/>
                  </a:cubicBezTo>
                  <a:cubicBezTo>
                    <a:pt x="18616" y="202802"/>
                    <a:pt x="18898" y="202802"/>
                    <a:pt x="18898" y="203084"/>
                  </a:cubicBezTo>
                  <a:lnTo>
                    <a:pt x="18616" y="203366"/>
                  </a:lnTo>
                  <a:cubicBezTo>
                    <a:pt x="18334" y="203648"/>
                    <a:pt x="18334" y="203648"/>
                    <a:pt x="18334" y="203930"/>
                  </a:cubicBezTo>
                  <a:cubicBezTo>
                    <a:pt x="18052" y="204212"/>
                    <a:pt x="18052" y="204212"/>
                    <a:pt x="18052" y="204494"/>
                  </a:cubicBezTo>
                  <a:cubicBezTo>
                    <a:pt x="18052" y="204777"/>
                    <a:pt x="18052" y="204777"/>
                    <a:pt x="18334" y="205059"/>
                  </a:cubicBezTo>
                  <a:lnTo>
                    <a:pt x="18334" y="207315"/>
                  </a:lnTo>
                  <a:cubicBezTo>
                    <a:pt x="18334" y="208161"/>
                    <a:pt x="17770" y="209007"/>
                    <a:pt x="17770" y="209854"/>
                  </a:cubicBezTo>
                  <a:lnTo>
                    <a:pt x="17770" y="210700"/>
                  </a:lnTo>
                  <a:cubicBezTo>
                    <a:pt x="18052" y="210982"/>
                    <a:pt x="18334" y="211546"/>
                    <a:pt x="18334" y="211828"/>
                  </a:cubicBezTo>
                  <a:cubicBezTo>
                    <a:pt x="18334" y="212110"/>
                    <a:pt x="18052" y="212392"/>
                    <a:pt x="18052" y="212674"/>
                  </a:cubicBezTo>
                  <a:cubicBezTo>
                    <a:pt x="17770" y="212956"/>
                    <a:pt x="17770" y="213238"/>
                    <a:pt x="17770" y="213520"/>
                  </a:cubicBezTo>
                  <a:cubicBezTo>
                    <a:pt x="17770" y="213803"/>
                    <a:pt x="17770" y="214367"/>
                    <a:pt x="18052" y="214931"/>
                  </a:cubicBezTo>
                  <a:cubicBezTo>
                    <a:pt x="18052" y="215777"/>
                    <a:pt x="18052" y="216623"/>
                    <a:pt x="17770" y="217469"/>
                  </a:cubicBezTo>
                  <a:cubicBezTo>
                    <a:pt x="17770" y="217751"/>
                    <a:pt x="17488" y="218316"/>
                    <a:pt x="17488" y="218880"/>
                  </a:cubicBezTo>
                  <a:cubicBezTo>
                    <a:pt x="17488" y="219162"/>
                    <a:pt x="17488" y="219162"/>
                    <a:pt x="17770" y="219444"/>
                  </a:cubicBezTo>
                  <a:cubicBezTo>
                    <a:pt x="18052" y="219726"/>
                    <a:pt x="18052" y="220008"/>
                    <a:pt x="18052" y="220572"/>
                  </a:cubicBezTo>
                  <a:cubicBezTo>
                    <a:pt x="17770" y="221700"/>
                    <a:pt x="17770" y="223111"/>
                    <a:pt x="17770" y="224239"/>
                  </a:cubicBezTo>
                  <a:cubicBezTo>
                    <a:pt x="17488" y="224803"/>
                    <a:pt x="17488" y="225085"/>
                    <a:pt x="17488" y="225367"/>
                  </a:cubicBezTo>
                  <a:cubicBezTo>
                    <a:pt x="17488" y="225649"/>
                    <a:pt x="17488" y="226213"/>
                    <a:pt x="17770" y="226495"/>
                  </a:cubicBezTo>
                  <a:cubicBezTo>
                    <a:pt x="17770" y="226777"/>
                    <a:pt x="18052" y="227059"/>
                    <a:pt x="18052" y="227341"/>
                  </a:cubicBezTo>
                  <a:cubicBezTo>
                    <a:pt x="18052" y="227906"/>
                    <a:pt x="17770" y="228188"/>
                    <a:pt x="17488" y="228752"/>
                  </a:cubicBezTo>
                  <a:cubicBezTo>
                    <a:pt x="17206" y="229034"/>
                    <a:pt x="17206" y="229316"/>
                    <a:pt x="17206" y="229598"/>
                  </a:cubicBezTo>
                  <a:lnTo>
                    <a:pt x="17770" y="232137"/>
                  </a:lnTo>
                  <a:cubicBezTo>
                    <a:pt x="17770" y="232701"/>
                    <a:pt x="18052" y="233265"/>
                    <a:pt x="18052" y="233829"/>
                  </a:cubicBezTo>
                  <a:cubicBezTo>
                    <a:pt x="18052" y="234393"/>
                    <a:pt x="17770" y="234957"/>
                    <a:pt x="17770" y="235521"/>
                  </a:cubicBezTo>
                  <a:lnTo>
                    <a:pt x="17770" y="238060"/>
                  </a:lnTo>
                  <a:cubicBezTo>
                    <a:pt x="18052" y="238342"/>
                    <a:pt x="18052" y="238906"/>
                    <a:pt x="18052" y="239188"/>
                  </a:cubicBezTo>
                  <a:cubicBezTo>
                    <a:pt x="17770" y="239752"/>
                    <a:pt x="17770" y="240034"/>
                    <a:pt x="17770" y="240598"/>
                  </a:cubicBezTo>
                  <a:cubicBezTo>
                    <a:pt x="17770" y="240880"/>
                    <a:pt x="17770" y="241162"/>
                    <a:pt x="18052" y="241445"/>
                  </a:cubicBezTo>
                  <a:cubicBezTo>
                    <a:pt x="18334" y="241445"/>
                    <a:pt x="18334" y="241727"/>
                    <a:pt x="18334" y="242009"/>
                  </a:cubicBezTo>
                  <a:cubicBezTo>
                    <a:pt x="18334" y="243419"/>
                    <a:pt x="18334" y="244547"/>
                    <a:pt x="18616" y="245958"/>
                  </a:cubicBezTo>
                  <a:lnTo>
                    <a:pt x="18616" y="246804"/>
                  </a:lnTo>
                  <a:cubicBezTo>
                    <a:pt x="18334" y="247086"/>
                    <a:pt x="18052" y="247368"/>
                    <a:pt x="18052" y="247932"/>
                  </a:cubicBezTo>
                  <a:cubicBezTo>
                    <a:pt x="18052" y="248214"/>
                    <a:pt x="18334" y="248778"/>
                    <a:pt x="18334" y="249060"/>
                  </a:cubicBezTo>
                  <a:lnTo>
                    <a:pt x="18334" y="249624"/>
                  </a:lnTo>
                  <a:cubicBezTo>
                    <a:pt x="18334" y="249906"/>
                    <a:pt x="18334" y="250471"/>
                    <a:pt x="18052" y="250753"/>
                  </a:cubicBezTo>
                  <a:cubicBezTo>
                    <a:pt x="18052" y="252163"/>
                    <a:pt x="18334" y="253291"/>
                    <a:pt x="18616" y="254701"/>
                  </a:cubicBezTo>
                  <a:cubicBezTo>
                    <a:pt x="18616" y="254983"/>
                    <a:pt x="18898" y="255266"/>
                    <a:pt x="18898" y="255548"/>
                  </a:cubicBezTo>
                  <a:cubicBezTo>
                    <a:pt x="18898" y="255830"/>
                    <a:pt x="18616" y="255830"/>
                    <a:pt x="18616" y="256112"/>
                  </a:cubicBezTo>
                  <a:cubicBezTo>
                    <a:pt x="18334" y="256394"/>
                    <a:pt x="18334" y="256676"/>
                    <a:pt x="18334" y="256958"/>
                  </a:cubicBezTo>
                  <a:lnTo>
                    <a:pt x="18334" y="257522"/>
                  </a:lnTo>
                  <a:cubicBezTo>
                    <a:pt x="18334" y="257804"/>
                    <a:pt x="18052" y="258086"/>
                    <a:pt x="18052" y="258086"/>
                  </a:cubicBezTo>
                  <a:cubicBezTo>
                    <a:pt x="18052" y="258368"/>
                    <a:pt x="17770" y="258086"/>
                    <a:pt x="17488" y="258086"/>
                  </a:cubicBezTo>
                  <a:cubicBezTo>
                    <a:pt x="17206" y="258086"/>
                    <a:pt x="17206" y="257804"/>
                    <a:pt x="17206" y="257804"/>
                  </a:cubicBezTo>
                  <a:lnTo>
                    <a:pt x="16924" y="258086"/>
                  </a:lnTo>
                  <a:cubicBezTo>
                    <a:pt x="16641" y="258932"/>
                    <a:pt x="16077" y="259779"/>
                    <a:pt x="15231" y="260061"/>
                  </a:cubicBezTo>
                  <a:cubicBezTo>
                    <a:pt x="15231" y="260061"/>
                    <a:pt x="14667" y="260343"/>
                    <a:pt x="14667" y="260625"/>
                  </a:cubicBezTo>
                  <a:cubicBezTo>
                    <a:pt x="14385" y="260907"/>
                    <a:pt x="14103" y="261189"/>
                    <a:pt x="13821" y="261189"/>
                  </a:cubicBezTo>
                  <a:cubicBezTo>
                    <a:pt x="13539" y="261189"/>
                    <a:pt x="13539" y="260907"/>
                    <a:pt x="13257" y="260907"/>
                  </a:cubicBezTo>
                  <a:cubicBezTo>
                    <a:pt x="12975" y="260625"/>
                    <a:pt x="12129" y="260907"/>
                    <a:pt x="11565" y="260343"/>
                  </a:cubicBezTo>
                  <a:cubicBezTo>
                    <a:pt x="11846" y="260061"/>
                    <a:pt x="11282" y="260343"/>
                    <a:pt x="11282" y="260625"/>
                  </a:cubicBezTo>
                  <a:cubicBezTo>
                    <a:pt x="11282" y="260907"/>
                    <a:pt x="11282" y="261471"/>
                    <a:pt x="11000" y="261753"/>
                  </a:cubicBezTo>
                  <a:cubicBezTo>
                    <a:pt x="11000" y="262035"/>
                    <a:pt x="11000" y="262035"/>
                    <a:pt x="10718" y="262317"/>
                  </a:cubicBezTo>
                  <a:lnTo>
                    <a:pt x="10154" y="262317"/>
                  </a:lnTo>
                  <a:cubicBezTo>
                    <a:pt x="9590" y="261753"/>
                    <a:pt x="9026" y="261471"/>
                    <a:pt x="8744" y="260625"/>
                  </a:cubicBezTo>
                  <a:lnTo>
                    <a:pt x="8744" y="260343"/>
                  </a:lnTo>
                  <a:cubicBezTo>
                    <a:pt x="8744" y="259779"/>
                    <a:pt x="8462" y="259779"/>
                    <a:pt x="7898" y="259214"/>
                  </a:cubicBezTo>
                  <a:lnTo>
                    <a:pt x="7616" y="259214"/>
                  </a:lnTo>
                  <a:lnTo>
                    <a:pt x="7616" y="260343"/>
                  </a:lnTo>
                  <a:cubicBezTo>
                    <a:pt x="7616" y="260625"/>
                    <a:pt x="7616" y="260907"/>
                    <a:pt x="7898" y="261189"/>
                  </a:cubicBezTo>
                  <a:cubicBezTo>
                    <a:pt x="7898" y="261471"/>
                    <a:pt x="8180" y="261471"/>
                    <a:pt x="8180" y="261753"/>
                  </a:cubicBezTo>
                  <a:cubicBezTo>
                    <a:pt x="8180" y="262035"/>
                    <a:pt x="7898" y="262035"/>
                    <a:pt x="7616" y="262317"/>
                  </a:cubicBezTo>
                  <a:cubicBezTo>
                    <a:pt x="7616" y="262599"/>
                    <a:pt x="7334" y="262881"/>
                    <a:pt x="7334" y="262881"/>
                  </a:cubicBezTo>
                  <a:lnTo>
                    <a:pt x="7052" y="263163"/>
                  </a:lnTo>
                  <a:cubicBezTo>
                    <a:pt x="7052" y="263163"/>
                    <a:pt x="6769" y="263163"/>
                    <a:pt x="6769" y="262881"/>
                  </a:cubicBezTo>
                  <a:cubicBezTo>
                    <a:pt x="6488" y="262599"/>
                    <a:pt x="6205" y="262035"/>
                    <a:pt x="6205" y="261471"/>
                  </a:cubicBezTo>
                  <a:lnTo>
                    <a:pt x="5641" y="261471"/>
                  </a:lnTo>
                  <a:cubicBezTo>
                    <a:pt x="5641" y="261753"/>
                    <a:pt x="5359" y="262317"/>
                    <a:pt x="5359" y="262599"/>
                  </a:cubicBezTo>
                  <a:cubicBezTo>
                    <a:pt x="5359" y="262881"/>
                    <a:pt x="5359" y="263163"/>
                    <a:pt x="5641" y="263163"/>
                  </a:cubicBezTo>
                  <a:lnTo>
                    <a:pt x="5641" y="264292"/>
                  </a:lnTo>
                  <a:cubicBezTo>
                    <a:pt x="5641" y="264574"/>
                    <a:pt x="5641" y="264856"/>
                    <a:pt x="5924" y="265138"/>
                  </a:cubicBezTo>
                  <a:cubicBezTo>
                    <a:pt x="5924" y="265138"/>
                    <a:pt x="5641" y="265420"/>
                    <a:pt x="5641" y="265138"/>
                  </a:cubicBezTo>
                  <a:cubicBezTo>
                    <a:pt x="5359" y="265138"/>
                    <a:pt x="5077" y="264856"/>
                    <a:pt x="4795" y="264856"/>
                  </a:cubicBezTo>
                  <a:cubicBezTo>
                    <a:pt x="4513" y="264574"/>
                    <a:pt x="4231" y="264292"/>
                    <a:pt x="4231" y="264009"/>
                  </a:cubicBezTo>
                  <a:cubicBezTo>
                    <a:pt x="4231" y="263445"/>
                    <a:pt x="4231" y="262881"/>
                    <a:pt x="3949" y="262317"/>
                  </a:cubicBezTo>
                  <a:cubicBezTo>
                    <a:pt x="3667" y="262035"/>
                    <a:pt x="3667" y="261471"/>
                    <a:pt x="3667" y="260907"/>
                  </a:cubicBezTo>
                  <a:lnTo>
                    <a:pt x="3667" y="260061"/>
                  </a:lnTo>
                  <a:cubicBezTo>
                    <a:pt x="3667" y="259496"/>
                    <a:pt x="3385" y="258932"/>
                    <a:pt x="2821" y="258650"/>
                  </a:cubicBezTo>
                  <a:cubicBezTo>
                    <a:pt x="2538" y="258368"/>
                    <a:pt x="2257" y="258086"/>
                    <a:pt x="2257" y="257522"/>
                  </a:cubicBezTo>
                  <a:cubicBezTo>
                    <a:pt x="2257" y="257240"/>
                    <a:pt x="2538" y="256676"/>
                    <a:pt x="2538" y="256394"/>
                  </a:cubicBezTo>
                  <a:cubicBezTo>
                    <a:pt x="2538" y="256112"/>
                    <a:pt x="2538" y="255830"/>
                    <a:pt x="2257" y="255266"/>
                  </a:cubicBezTo>
                  <a:cubicBezTo>
                    <a:pt x="1974" y="254983"/>
                    <a:pt x="1693" y="254701"/>
                    <a:pt x="1693" y="254419"/>
                  </a:cubicBezTo>
                  <a:cubicBezTo>
                    <a:pt x="1693" y="254137"/>
                    <a:pt x="1693" y="253855"/>
                    <a:pt x="1974" y="253573"/>
                  </a:cubicBezTo>
                  <a:cubicBezTo>
                    <a:pt x="1974" y="253291"/>
                    <a:pt x="1974" y="253009"/>
                    <a:pt x="1693" y="252727"/>
                  </a:cubicBezTo>
                  <a:cubicBezTo>
                    <a:pt x="1410" y="252445"/>
                    <a:pt x="1128" y="251881"/>
                    <a:pt x="1128" y="251599"/>
                  </a:cubicBezTo>
                  <a:cubicBezTo>
                    <a:pt x="1128" y="251317"/>
                    <a:pt x="1410" y="251035"/>
                    <a:pt x="1410" y="250753"/>
                  </a:cubicBezTo>
                  <a:cubicBezTo>
                    <a:pt x="1693" y="249906"/>
                    <a:pt x="1974" y="249342"/>
                    <a:pt x="1974" y="248496"/>
                  </a:cubicBezTo>
                  <a:lnTo>
                    <a:pt x="1974" y="247650"/>
                  </a:lnTo>
                  <a:cubicBezTo>
                    <a:pt x="2257" y="247368"/>
                    <a:pt x="2257" y="247368"/>
                    <a:pt x="2257" y="247086"/>
                  </a:cubicBezTo>
                  <a:cubicBezTo>
                    <a:pt x="2257" y="246804"/>
                    <a:pt x="1974" y="246522"/>
                    <a:pt x="1974" y="246240"/>
                  </a:cubicBezTo>
                  <a:cubicBezTo>
                    <a:pt x="1693" y="245958"/>
                    <a:pt x="1410" y="245393"/>
                    <a:pt x="1410" y="244829"/>
                  </a:cubicBezTo>
                  <a:cubicBezTo>
                    <a:pt x="1410" y="244547"/>
                    <a:pt x="1410" y="244265"/>
                    <a:pt x="1693" y="243983"/>
                  </a:cubicBezTo>
                  <a:cubicBezTo>
                    <a:pt x="1974" y="243983"/>
                    <a:pt x="1693" y="243701"/>
                    <a:pt x="1410" y="243701"/>
                  </a:cubicBezTo>
                  <a:cubicBezTo>
                    <a:pt x="1128" y="243701"/>
                    <a:pt x="846" y="243701"/>
                    <a:pt x="846" y="243137"/>
                  </a:cubicBezTo>
                  <a:cubicBezTo>
                    <a:pt x="846" y="242009"/>
                    <a:pt x="564" y="240880"/>
                    <a:pt x="564" y="239752"/>
                  </a:cubicBezTo>
                  <a:cubicBezTo>
                    <a:pt x="282" y="239470"/>
                    <a:pt x="282" y="238906"/>
                    <a:pt x="0" y="238342"/>
                  </a:cubicBezTo>
                  <a:cubicBezTo>
                    <a:pt x="0" y="238060"/>
                    <a:pt x="0" y="237778"/>
                    <a:pt x="282" y="237214"/>
                  </a:cubicBezTo>
                  <a:lnTo>
                    <a:pt x="282" y="229034"/>
                  </a:lnTo>
                  <a:cubicBezTo>
                    <a:pt x="282" y="228470"/>
                    <a:pt x="564" y="227624"/>
                    <a:pt x="564" y="227059"/>
                  </a:cubicBezTo>
                  <a:cubicBezTo>
                    <a:pt x="564" y="226777"/>
                    <a:pt x="564" y="226495"/>
                    <a:pt x="282" y="226213"/>
                  </a:cubicBezTo>
                  <a:lnTo>
                    <a:pt x="282" y="225085"/>
                  </a:lnTo>
                  <a:cubicBezTo>
                    <a:pt x="282" y="224803"/>
                    <a:pt x="282" y="224521"/>
                    <a:pt x="564" y="223957"/>
                  </a:cubicBezTo>
                  <a:lnTo>
                    <a:pt x="564" y="221700"/>
                  </a:lnTo>
                  <a:lnTo>
                    <a:pt x="1128" y="220290"/>
                  </a:lnTo>
                  <a:cubicBezTo>
                    <a:pt x="1410" y="220290"/>
                    <a:pt x="1410" y="220008"/>
                    <a:pt x="1410" y="219726"/>
                  </a:cubicBezTo>
                  <a:lnTo>
                    <a:pt x="1410" y="219444"/>
                  </a:lnTo>
                  <a:cubicBezTo>
                    <a:pt x="1128" y="219162"/>
                    <a:pt x="1128" y="218880"/>
                    <a:pt x="1128" y="218598"/>
                  </a:cubicBezTo>
                  <a:cubicBezTo>
                    <a:pt x="1128" y="218033"/>
                    <a:pt x="1410" y="217469"/>
                    <a:pt x="1693" y="216905"/>
                  </a:cubicBezTo>
                  <a:cubicBezTo>
                    <a:pt x="1693" y="216623"/>
                    <a:pt x="1974" y="216341"/>
                    <a:pt x="1974" y="216059"/>
                  </a:cubicBezTo>
                  <a:cubicBezTo>
                    <a:pt x="1974" y="215777"/>
                    <a:pt x="1693" y="215777"/>
                    <a:pt x="1693" y="215495"/>
                  </a:cubicBezTo>
                  <a:cubicBezTo>
                    <a:pt x="1410" y="215495"/>
                    <a:pt x="1410" y="215213"/>
                    <a:pt x="1410" y="215213"/>
                  </a:cubicBezTo>
                  <a:cubicBezTo>
                    <a:pt x="1693" y="214931"/>
                    <a:pt x="1693" y="214649"/>
                    <a:pt x="1693" y="214367"/>
                  </a:cubicBezTo>
                  <a:cubicBezTo>
                    <a:pt x="1693" y="213803"/>
                    <a:pt x="1410" y="212956"/>
                    <a:pt x="1128" y="212392"/>
                  </a:cubicBezTo>
                  <a:cubicBezTo>
                    <a:pt x="1128" y="212110"/>
                    <a:pt x="1128" y="211828"/>
                    <a:pt x="846" y="211546"/>
                  </a:cubicBezTo>
                  <a:lnTo>
                    <a:pt x="846" y="207033"/>
                  </a:lnTo>
                  <a:cubicBezTo>
                    <a:pt x="846" y="206469"/>
                    <a:pt x="1128" y="205905"/>
                    <a:pt x="1128" y="205623"/>
                  </a:cubicBezTo>
                  <a:lnTo>
                    <a:pt x="1128" y="201110"/>
                  </a:lnTo>
                  <a:lnTo>
                    <a:pt x="1693" y="198853"/>
                  </a:lnTo>
                  <a:lnTo>
                    <a:pt x="1693" y="197443"/>
                  </a:lnTo>
                  <a:cubicBezTo>
                    <a:pt x="1693" y="196315"/>
                    <a:pt x="1693" y="195469"/>
                    <a:pt x="1974" y="194340"/>
                  </a:cubicBezTo>
                  <a:cubicBezTo>
                    <a:pt x="1974" y="194058"/>
                    <a:pt x="1974" y="193776"/>
                    <a:pt x="2257" y="193494"/>
                  </a:cubicBezTo>
                  <a:cubicBezTo>
                    <a:pt x="2538" y="193212"/>
                    <a:pt x="2538" y="193212"/>
                    <a:pt x="2538" y="192930"/>
                  </a:cubicBezTo>
                  <a:lnTo>
                    <a:pt x="2538" y="192366"/>
                  </a:lnTo>
                  <a:cubicBezTo>
                    <a:pt x="2257" y="192084"/>
                    <a:pt x="2257" y="191802"/>
                    <a:pt x="2257" y="191520"/>
                  </a:cubicBezTo>
                  <a:lnTo>
                    <a:pt x="2257" y="186725"/>
                  </a:lnTo>
                  <a:cubicBezTo>
                    <a:pt x="2257" y="186443"/>
                    <a:pt x="2257" y="185878"/>
                    <a:pt x="2538" y="185314"/>
                  </a:cubicBezTo>
                  <a:cubicBezTo>
                    <a:pt x="2538" y="184186"/>
                    <a:pt x="2821" y="183340"/>
                    <a:pt x="3103" y="182212"/>
                  </a:cubicBezTo>
                  <a:cubicBezTo>
                    <a:pt x="3103" y="181930"/>
                    <a:pt x="3385" y="181930"/>
                    <a:pt x="3385" y="181648"/>
                  </a:cubicBezTo>
                  <a:cubicBezTo>
                    <a:pt x="3385" y="181365"/>
                    <a:pt x="3103" y="181083"/>
                    <a:pt x="3103" y="180801"/>
                  </a:cubicBezTo>
                  <a:cubicBezTo>
                    <a:pt x="2821" y="180519"/>
                    <a:pt x="2821" y="180237"/>
                    <a:pt x="2821" y="179955"/>
                  </a:cubicBezTo>
                  <a:cubicBezTo>
                    <a:pt x="3667" y="179109"/>
                    <a:pt x="3667" y="177981"/>
                    <a:pt x="3667" y="177135"/>
                  </a:cubicBezTo>
                  <a:cubicBezTo>
                    <a:pt x="3667" y="176570"/>
                    <a:pt x="3949" y="176006"/>
                    <a:pt x="4513" y="175724"/>
                  </a:cubicBezTo>
                  <a:cubicBezTo>
                    <a:pt x="4513" y="175442"/>
                    <a:pt x="4795" y="175442"/>
                    <a:pt x="4795" y="175160"/>
                  </a:cubicBezTo>
                  <a:cubicBezTo>
                    <a:pt x="4795" y="174878"/>
                    <a:pt x="4513" y="174596"/>
                    <a:pt x="4513" y="174314"/>
                  </a:cubicBezTo>
                  <a:cubicBezTo>
                    <a:pt x="4231" y="174032"/>
                    <a:pt x="3949" y="174032"/>
                    <a:pt x="3949" y="173750"/>
                  </a:cubicBezTo>
                  <a:cubicBezTo>
                    <a:pt x="3949" y="173468"/>
                    <a:pt x="4231" y="173186"/>
                    <a:pt x="4231" y="173186"/>
                  </a:cubicBezTo>
                  <a:cubicBezTo>
                    <a:pt x="4795" y="172339"/>
                    <a:pt x="4795" y="171775"/>
                    <a:pt x="4795" y="170929"/>
                  </a:cubicBezTo>
                  <a:lnTo>
                    <a:pt x="4795" y="170365"/>
                  </a:lnTo>
                  <a:cubicBezTo>
                    <a:pt x="4795" y="170083"/>
                    <a:pt x="4795" y="169801"/>
                    <a:pt x="5077" y="169519"/>
                  </a:cubicBezTo>
                  <a:lnTo>
                    <a:pt x="5077" y="168955"/>
                  </a:lnTo>
                  <a:cubicBezTo>
                    <a:pt x="5077" y="168391"/>
                    <a:pt x="5359" y="167544"/>
                    <a:pt x="5359" y="166980"/>
                  </a:cubicBezTo>
                  <a:cubicBezTo>
                    <a:pt x="5359" y="165570"/>
                    <a:pt x="5641" y="164442"/>
                    <a:pt x="6205" y="163031"/>
                  </a:cubicBezTo>
                  <a:cubicBezTo>
                    <a:pt x="6205" y="162749"/>
                    <a:pt x="6488" y="162749"/>
                    <a:pt x="6488" y="162467"/>
                  </a:cubicBezTo>
                  <a:cubicBezTo>
                    <a:pt x="6769" y="162185"/>
                    <a:pt x="6769" y="162185"/>
                    <a:pt x="6769" y="161903"/>
                  </a:cubicBezTo>
                  <a:cubicBezTo>
                    <a:pt x="6769" y="161903"/>
                    <a:pt x="6769" y="161621"/>
                    <a:pt x="6488" y="161057"/>
                  </a:cubicBezTo>
                  <a:cubicBezTo>
                    <a:pt x="6205" y="160493"/>
                    <a:pt x="6205" y="159929"/>
                    <a:pt x="6205" y="159365"/>
                  </a:cubicBezTo>
                  <a:cubicBezTo>
                    <a:pt x="6488" y="158519"/>
                    <a:pt x="6488" y="157954"/>
                    <a:pt x="7334" y="157672"/>
                  </a:cubicBezTo>
                  <a:cubicBezTo>
                    <a:pt x="7334" y="157672"/>
                    <a:pt x="7616" y="157390"/>
                    <a:pt x="7616" y="157108"/>
                  </a:cubicBezTo>
                  <a:lnTo>
                    <a:pt x="7616" y="156826"/>
                  </a:lnTo>
                  <a:cubicBezTo>
                    <a:pt x="7616" y="156544"/>
                    <a:pt x="7616" y="156544"/>
                    <a:pt x="7334" y="156262"/>
                  </a:cubicBezTo>
                  <a:cubicBezTo>
                    <a:pt x="7334" y="155980"/>
                    <a:pt x="7052" y="155698"/>
                    <a:pt x="7052" y="155698"/>
                  </a:cubicBezTo>
                  <a:cubicBezTo>
                    <a:pt x="7052" y="155416"/>
                    <a:pt x="7334" y="155416"/>
                    <a:pt x="7616" y="155134"/>
                  </a:cubicBezTo>
                  <a:lnTo>
                    <a:pt x="7898" y="154852"/>
                  </a:lnTo>
                  <a:cubicBezTo>
                    <a:pt x="8180" y="154852"/>
                    <a:pt x="7898" y="154570"/>
                    <a:pt x="7616" y="154570"/>
                  </a:cubicBezTo>
                  <a:cubicBezTo>
                    <a:pt x="7334" y="154570"/>
                    <a:pt x="7052" y="154288"/>
                    <a:pt x="7052" y="154288"/>
                  </a:cubicBezTo>
                  <a:lnTo>
                    <a:pt x="7616" y="153723"/>
                  </a:lnTo>
                  <a:cubicBezTo>
                    <a:pt x="7616" y="153723"/>
                    <a:pt x="7616" y="153441"/>
                    <a:pt x="7898" y="153159"/>
                  </a:cubicBezTo>
                  <a:cubicBezTo>
                    <a:pt x="7898" y="153159"/>
                    <a:pt x="8180" y="152877"/>
                    <a:pt x="8180" y="152595"/>
                  </a:cubicBezTo>
                  <a:cubicBezTo>
                    <a:pt x="8180" y="152313"/>
                    <a:pt x="7898" y="152313"/>
                    <a:pt x="7898" y="152031"/>
                  </a:cubicBezTo>
                  <a:cubicBezTo>
                    <a:pt x="7616" y="152031"/>
                    <a:pt x="7616" y="151749"/>
                    <a:pt x="7616" y="151749"/>
                  </a:cubicBezTo>
                  <a:cubicBezTo>
                    <a:pt x="7334" y="151467"/>
                    <a:pt x="7334" y="151467"/>
                    <a:pt x="7334" y="151185"/>
                  </a:cubicBezTo>
                  <a:cubicBezTo>
                    <a:pt x="7334" y="150903"/>
                    <a:pt x="7334" y="150903"/>
                    <a:pt x="7616" y="150621"/>
                  </a:cubicBezTo>
                  <a:lnTo>
                    <a:pt x="8744" y="149493"/>
                  </a:lnTo>
                  <a:cubicBezTo>
                    <a:pt x="8744" y="149210"/>
                    <a:pt x="9026" y="149210"/>
                    <a:pt x="9026" y="148928"/>
                  </a:cubicBezTo>
                  <a:cubicBezTo>
                    <a:pt x="9026" y="148646"/>
                    <a:pt x="8744" y="148364"/>
                    <a:pt x="8744" y="148082"/>
                  </a:cubicBezTo>
                  <a:cubicBezTo>
                    <a:pt x="8462" y="148082"/>
                    <a:pt x="8462" y="147800"/>
                    <a:pt x="8462" y="147518"/>
                  </a:cubicBezTo>
                  <a:cubicBezTo>
                    <a:pt x="8744" y="147236"/>
                    <a:pt x="8744" y="146954"/>
                    <a:pt x="8744" y="146672"/>
                  </a:cubicBezTo>
                  <a:cubicBezTo>
                    <a:pt x="8462" y="146390"/>
                    <a:pt x="8462" y="145826"/>
                    <a:pt x="8462" y="145262"/>
                  </a:cubicBezTo>
                  <a:lnTo>
                    <a:pt x="8462" y="144697"/>
                  </a:lnTo>
                  <a:cubicBezTo>
                    <a:pt x="8744" y="144133"/>
                    <a:pt x="8744" y="143287"/>
                    <a:pt x="9590" y="142723"/>
                  </a:cubicBezTo>
                  <a:lnTo>
                    <a:pt x="9590" y="142441"/>
                  </a:lnTo>
                  <a:cubicBezTo>
                    <a:pt x="9590" y="142159"/>
                    <a:pt x="9308" y="141877"/>
                    <a:pt x="9308" y="141595"/>
                  </a:cubicBezTo>
                  <a:cubicBezTo>
                    <a:pt x="9308" y="140749"/>
                    <a:pt x="9872" y="140185"/>
                    <a:pt x="10436" y="139620"/>
                  </a:cubicBezTo>
                  <a:lnTo>
                    <a:pt x="10718" y="139338"/>
                  </a:lnTo>
                  <a:lnTo>
                    <a:pt x="10154" y="138774"/>
                  </a:lnTo>
                  <a:cubicBezTo>
                    <a:pt x="9872" y="138774"/>
                    <a:pt x="9590" y="138492"/>
                    <a:pt x="9590" y="138210"/>
                  </a:cubicBezTo>
                  <a:cubicBezTo>
                    <a:pt x="9590" y="138210"/>
                    <a:pt x="9590" y="137928"/>
                    <a:pt x="9872" y="137928"/>
                  </a:cubicBezTo>
                  <a:lnTo>
                    <a:pt x="10154" y="137646"/>
                  </a:lnTo>
                  <a:lnTo>
                    <a:pt x="10154" y="137082"/>
                  </a:lnTo>
                  <a:cubicBezTo>
                    <a:pt x="10154" y="136800"/>
                    <a:pt x="10436" y="136518"/>
                    <a:pt x="10718" y="136518"/>
                  </a:cubicBezTo>
                  <a:cubicBezTo>
                    <a:pt x="11000" y="136518"/>
                    <a:pt x="11282" y="136236"/>
                    <a:pt x="11282" y="135954"/>
                  </a:cubicBezTo>
                  <a:cubicBezTo>
                    <a:pt x="11000" y="135672"/>
                    <a:pt x="11000" y="135389"/>
                    <a:pt x="11000" y="135107"/>
                  </a:cubicBezTo>
                  <a:cubicBezTo>
                    <a:pt x="11000" y="134825"/>
                    <a:pt x="11000" y="134543"/>
                    <a:pt x="11282" y="133979"/>
                  </a:cubicBezTo>
                  <a:lnTo>
                    <a:pt x="11282" y="133697"/>
                  </a:lnTo>
                  <a:cubicBezTo>
                    <a:pt x="11282" y="133133"/>
                    <a:pt x="11282" y="132287"/>
                    <a:pt x="11565" y="131723"/>
                  </a:cubicBezTo>
                  <a:cubicBezTo>
                    <a:pt x="15796" y="115645"/>
                    <a:pt x="17206" y="100696"/>
                    <a:pt x="21719" y="84618"/>
                  </a:cubicBezTo>
                  <a:lnTo>
                    <a:pt x="21719" y="84336"/>
                  </a:lnTo>
                  <a:cubicBezTo>
                    <a:pt x="22565" y="82926"/>
                    <a:pt x="23411" y="81516"/>
                    <a:pt x="23975" y="79823"/>
                  </a:cubicBezTo>
                  <a:cubicBezTo>
                    <a:pt x="24258" y="79541"/>
                    <a:pt x="24539" y="79259"/>
                    <a:pt x="24539" y="78977"/>
                  </a:cubicBezTo>
                  <a:cubicBezTo>
                    <a:pt x="24822" y="78695"/>
                    <a:pt x="24822" y="78413"/>
                    <a:pt x="24822" y="78131"/>
                  </a:cubicBezTo>
                  <a:lnTo>
                    <a:pt x="24822" y="77567"/>
                  </a:lnTo>
                  <a:cubicBezTo>
                    <a:pt x="24822" y="77285"/>
                    <a:pt x="24822" y="76721"/>
                    <a:pt x="25103" y="76439"/>
                  </a:cubicBezTo>
                  <a:cubicBezTo>
                    <a:pt x="25668" y="75875"/>
                    <a:pt x="25950" y="75592"/>
                    <a:pt x="25950" y="75028"/>
                  </a:cubicBezTo>
                  <a:cubicBezTo>
                    <a:pt x="25950" y="74464"/>
                    <a:pt x="25950" y="73618"/>
                    <a:pt x="26796" y="73054"/>
                  </a:cubicBezTo>
                  <a:lnTo>
                    <a:pt x="26796" y="72208"/>
                  </a:lnTo>
                  <a:cubicBezTo>
                    <a:pt x="27078" y="71079"/>
                    <a:pt x="27360" y="69951"/>
                    <a:pt x="27924" y="68823"/>
                  </a:cubicBezTo>
                  <a:cubicBezTo>
                    <a:pt x="28206" y="68823"/>
                    <a:pt x="28206" y="68541"/>
                    <a:pt x="28206" y="68259"/>
                  </a:cubicBezTo>
                  <a:cubicBezTo>
                    <a:pt x="28206" y="67131"/>
                    <a:pt x="28770" y="66002"/>
                    <a:pt x="28770" y="64874"/>
                  </a:cubicBezTo>
                  <a:cubicBezTo>
                    <a:pt x="28770" y="64592"/>
                    <a:pt x="29052" y="64310"/>
                    <a:pt x="29052" y="64028"/>
                  </a:cubicBezTo>
                  <a:lnTo>
                    <a:pt x="35258" y="47104"/>
                  </a:lnTo>
                  <a:cubicBezTo>
                    <a:pt x="35540" y="45694"/>
                    <a:pt x="36104" y="44284"/>
                    <a:pt x="36950" y="42873"/>
                  </a:cubicBezTo>
                  <a:cubicBezTo>
                    <a:pt x="37232" y="41463"/>
                    <a:pt x="37796" y="40053"/>
                    <a:pt x="38361" y="38642"/>
                  </a:cubicBezTo>
                  <a:cubicBezTo>
                    <a:pt x="38642" y="37514"/>
                    <a:pt x="38925" y="36668"/>
                    <a:pt x="39489" y="35822"/>
                  </a:cubicBezTo>
                  <a:lnTo>
                    <a:pt x="40335" y="33283"/>
                  </a:lnTo>
                  <a:cubicBezTo>
                    <a:pt x="40899" y="32719"/>
                    <a:pt x="41181" y="31873"/>
                    <a:pt x="41463" y="31027"/>
                  </a:cubicBezTo>
                  <a:lnTo>
                    <a:pt x="41463" y="30463"/>
                  </a:lnTo>
                  <a:lnTo>
                    <a:pt x="43156" y="26514"/>
                  </a:lnTo>
                  <a:cubicBezTo>
                    <a:pt x="43156" y="25950"/>
                    <a:pt x="43437" y="25103"/>
                    <a:pt x="43720" y="24539"/>
                  </a:cubicBezTo>
                  <a:lnTo>
                    <a:pt x="44284" y="23411"/>
                  </a:lnTo>
                  <a:lnTo>
                    <a:pt x="44566" y="23129"/>
                  </a:lnTo>
                  <a:lnTo>
                    <a:pt x="44566" y="22565"/>
                  </a:lnTo>
                  <a:cubicBezTo>
                    <a:pt x="44566" y="21719"/>
                    <a:pt x="45130" y="21155"/>
                    <a:pt x="45412" y="20308"/>
                  </a:cubicBezTo>
                  <a:cubicBezTo>
                    <a:pt x="46258" y="18334"/>
                    <a:pt x="46540" y="16642"/>
                    <a:pt x="47386" y="14667"/>
                  </a:cubicBezTo>
                  <a:cubicBezTo>
                    <a:pt x="47668" y="13821"/>
                    <a:pt x="47950" y="12693"/>
                    <a:pt x="48514" y="11565"/>
                  </a:cubicBezTo>
                  <a:lnTo>
                    <a:pt x="49078" y="9308"/>
                  </a:lnTo>
                  <a:cubicBezTo>
                    <a:pt x="49078" y="8744"/>
                    <a:pt x="49643" y="8180"/>
                    <a:pt x="49925" y="7616"/>
                  </a:cubicBezTo>
                  <a:cubicBezTo>
                    <a:pt x="50207" y="6205"/>
                    <a:pt x="51053" y="5077"/>
                    <a:pt x="51617" y="3667"/>
                  </a:cubicBezTo>
                  <a:cubicBezTo>
                    <a:pt x="51617" y="3385"/>
                    <a:pt x="51899" y="3103"/>
                    <a:pt x="51899" y="2821"/>
                  </a:cubicBezTo>
                  <a:lnTo>
                    <a:pt x="53874" y="1128"/>
                  </a:lnTo>
                  <a:cubicBezTo>
                    <a:pt x="54156" y="846"/>
                    <a:pt x="54438" y="564"/>
                    <a:pt x="54720" y="564"/>
                  </a:cubicBezTo>
                  <a:cubicBezTo>
                    <a:pt x="55002" y="282"/>
                    <a:pt x="55566" y="282"/>
                    <a:pt x="55848" y="282"/>
                  </a:cubicBezTo>
                  <a:cubicBezTo>
                    <a:pt x="56130" y="0"/>
                    <a:pt x="56412" y="0"/>
                    <a:pt x="56695" y="0"/>
                  </a:cubicBezTo>
                  <a:cubicBezTo>
                    <a:pt x="56976" y="0"/>
                    <a:pt x="56976" y="0"/>
                    <a:pt x="57259" y="282"/>
                  </a:cubicBezTo>
                  <a:cubicBezTo>
                    <a:pt x="57823" y="1128"/>
                    <a:pt x="58951" y="1410"/>
                    <a:pt x="59233" y="2539"/>
                  </a:cubicBezTo>
                  <a:lnTo>
                    <a:pt x="59515" y="2821"/>
                  </a:lnTo>
                  <a:cubicBezTo>
                    <a:pt x="59797" y="2539"/>
                    <a:pt x="60079" y="2256"/>
                    <a:pt x="60361" y="2256"/>
                  </a:cubicBezTo>
                  <a:cubicBezTo>
                    <a:pt x="60643" y="2256"/>
                    <a:pt x="60926" y="2539"/>
                    <a:pt x="61207" y="2821"/>
                  </a:cubicBezTo>
                  <a:lnTo>
                    <a:pt x="61771" y="3385"/>
                  </a:lnTo>
                  <a:cubicBezTo>
                    <a:pt x="61771" y="3667"/>
                    <a:pt x="62054" y="3667"/>
                    <a:pt x="62054" y="3667"/>
                  </a:cubicBezTo>
                  <a:lnTo>
                    <a:pt x="62336" y="3385"/>
                  </a:lnTo>
                  <a:cubicBezTo>
                    <a:pt x="62618" y="3385"/>
                    <a:pt x="62900" y="3385"/>
                    <a:pt x="63182" y="3667"/>
                  </a:cubicBezTo>
                  <a:cubicBezTo>
                    <a:pt x="63464" y="3949"/>
                    <a:pt x="63746" y="3949"/>
                    <a:pt x="64310" y="3949"/>
                  </a:cubicBezTo>
                  <a:cubicBezTo>
                    <a:pt x="64592" y="3949"/>
                    <a:pt x="64874" y="3667"/>
                    <a:pt x="65438" y="3667"/>
                  </a:cubicBezTo>
                  <a:cubicBezTo>
                    <a:pt x="65720" y="3667"/>
                    <a:pt x="66284" y="3949"/>
                    <a:pt x="66848" y="4231"/>
                  </a:cubicBezTo>
                  <a:lnTo>
                    <a:pt x="67412" y="4231"/>
                  </a:lnTo>
                  <a:cubicBezTo>
                    <a:pt x="67695" y="3949"/>
                    <a:pt x="67695" y="3949"/>
                    <a:pt x="67977" y="3949"/>
                  </a:cubicBezTo>
                  <a:cubicBezTo>
                    <a:pt x="68541" y="3949"/>
                    <a:pt x="69105" y="4513"/>
                    <a:pt x="69387" y="4795"/>
                  </a:cubicBezTo>
                  <a:cubicBezTo>
                    <a:pt x="69669" y="5077"/>
                    <a:pt x="69669" y="5359"/>
                    <a:pt x="69669" y="5359"/>
                  </a:cubicBezTo>
                  <a:cubicBezTo>
                    <a:pt x="69105" y="5923"/>
                    <a:pt x="69105" y="6487"/>
                    <a:pt x="68823" y="7052"/>
                  </a:cubicBezTo>
                  <a:lnTo>
                    <a:pt x="67977" y="9026"/>
                  </a:lnTo>
                  <a:lnTo>
                    <a:pt x="67977" y="9590"/>
                  </a:lnTo>
                  <a:cubicBezTo>
                    <a:pt x="67412" y="10436"/>
                    <a:pt x="67131" y="11282"/>
                    <a:pt x="67131" y="11847"/>
                  </a:cubicBezTo>
                  <a:cubicBezTo>
                    <a:pt x="66567" y="12693"/>
                    <a:pt x="66567" y="13539"/>
                    <a:pt x="66284" y="14103"/>
                  </a:cubicBezTo>
                  <a:cubicBezTo>
                    <a:pt x="65438" y="15231"/>
                    <a:pt x="65156" y="16077"/>
                    <a:pt x="64592" y="16924"/>
                  </a:cubicBezTo>
                  <a:cubicBezTo>
                    <a:pt x="64310" y="17488"/>
                    <a:pt x="64310" y="18052"/>
                    <a:pt x="63746" y="18616"/>
                  </a:cubicBezTo>
                  <a:cubicBezTo>
                    <a:pt x="63746" y="18898"/>
                    <a:pt x="63746" y="19180"/>
                    <a:pt x="63464" y="19744"/>
                  </a:cubicBezTo>
                  <a:cubicBezTo>
                    <a:pt x="63464" y="20026"/>
                    <a:pt x="63182" y="20308"/>
                    <a:pt x="63182" y="20873"/>
                  </a:cubicBezTo>
                  <a:cubicBezTo>
                    <a:pt x="63182" y="21437"/>
                    <a:pt x="62618" y="22001"/>
                    <a:pt x="62336" y="22283"/>
                  </a:cubicBezTo>
                  <a:cubicBezTo>
                    <a:pt x="62054" y="22847"/>
                    <a:pt x="62054" y="23129"/>
                    <a:pt x="62054" y="23693"/>
                  </a:cubicBezTo>
                  <a:lnTo>
                    <a:pt x="62054" y="23975"/>
                  </a:lnTo>
                  <a:cubicBezTo>
                    <a:pt x="62054" y="24539"/>
                    <a:pt x="61490" y="25103"/>
                    <a:pt x="61207" y="25668"/>
                  </a:cubicBezTo>
                  <a:cubicBezTo>
                    <a:pt x="61207" y="25950"/>
                    <a:pt x="60926" y="26514"/>
                    <a:pt x="60643" y="26796"/>
                  </a:cubicBezTo>
                  <a:lnTo>
                    <a:pt x="60643" y="27360"/>
                  </a:lnTo>
                  <a:cubicBezTo>
                    <a:pt x="60643" y="27642"/>
                    <a:pt x="60643" y="27642"/>
                    <a:pt x="60926" y="27924"/>
                  </a:cubicBezTo>
                  <a:cubicBezTo>
                    <a:pt x="60926" y="28206"/>
                    <a:pt x="61207" y="28206"/>
                    <a:pt x="61207" y="28488"/>
                  </a:cubicBezTo>
                  <a:cubicBezTo>
                    <a:pt x="61207" y="28770"/>
                    <a:pt x="60926" y="28770"/>
                    <a:pt x="60926" y="29052"/>
                  </a:cubicBezTo>
                  <a:cubicBezTo>
                    <a:pt x="60926" y="29616"/>
                    <a:pt x="60643" y="30181"/>
                    <a:pt x="60079" y="30463"/>
                  </a:cubicBezTo>
                  <a:lnTo>
                    <a:pt x="60079" y="30745"/>
                  </a:lnTo>
                  <a:lnTo>
                    <a:pt x="58669" y="32719"/>
                  </a:lnTo>
                  <a:cubicBezTo>
                    <a:pt x="58105" y="33283"/>
                    <a:pt x="57823" y="33847"/>
                    <a:pt x="57540" y="34411"/>
                  </a:cubicBezTo>
                  <a:lnTo>
                    <a:pt x="57259" y="34694"/>
                  </a:lnTo>
                  <a:cubicBezTo>
                    <a:pt x="57259" y="34694"/>
                    <a:pt x="57259" y="34976"/>
                    <a:pt x="57540" y="34976"/>
                  </a:cubicBezTo>
                  <a:cubicBezTo>
                    <a:pt x="57823" y="35258"/>
                    <a:pt x="58105" y="35540"/>
                    <a:pt x="58105" y="36104"/>
                  </a:cubicBezTo>
                  <a:lnTo>
                    <a:pt x="58105" y="36668"/>
                  </a:lnTo>
                  <a:cubicBezTo>
                    <a:pt x="58105" y="36950"/>
                    <a:pt x="57823" y="37514"/>
                    <a:pt x="57259" y="38078"/>
                  </a:cubicBezTo>
                  <a:cubicBezTo>
                    <a:pt x="57259" y="38360"/>
                    <a:pt x="56976" y="38924"/>
                    <a:pt x="56695" y="38924"/>
                  </a:cubicBezTo>
                  <a:cubicBezTo>
                    <a:pt x="56130" y="39207"/>
                    <a:pt x="55848" y="39489"/>
                    <a:pt x="55848" y="40335"/>
                  </a:cubicBezTo>
                  <a:cubicBezTo>
                    <a:pt x="55566" y="41181"/>
                    <a:pt x="55284" y="42309"/>
                    <a:pt x="55284" y="43437"/>
                  </a:cubicBezTo>
                  <a:cubicBezTo>
                    <a:pt x="55002" y="43720"/>
                    <a:pt x="55002" y="43720"/>
                    <a:pt x="55002" y="44002"/>
                  </a:cubicBezTo>
                  <a:cubicBezTo>
                    <a:pt x="54156" y="44284"/>
                    <a:pt x="54156" y="44848"/>
                    <a:pt x="54156" y="45412"/>
                  </a:cubicBezTo>
                  <a:lnTo>
                    <a:pt x="54156" y="45976"/>
                  </a:lnTo>
                  <a:cubicBezTo>
                    <a:pt x="54156" y="46258"/>
                    <a:pt x="53592" y="46540"/>
                    <a:pt x="53592" y="47104"/>
                  </a:cubicBezTo>
                  <a:lnTo>
                    <a:pt x="53592" y="48232"/>
                  </a:lnTo>
                  <a:cubicBezTo>
                    <a:pt x="53592" y="48797"/>
                    <a:pt x="53309" y="49079"/>
                    <a:pt x="53028" y="49643"/>
                  </a:cubicBezTo>
                  <a:cubicBezTo>
                    <a:pt x="52745" y="49925"/>
                    <a:pt x="52464" y="50207"/>
                    <a:pt x="52464" y="50771"/>
                  </a:cubicBezTo>
                  <a:cubicBezTo>
                    <a:pt x="52464" y="50771"/>
                    <a:pt x="52464" y="51053"/>
                    <a:pt x="52181" y="51053"/>
                  </a:cubicBezTo>
                  <a:cubicBezTo>
                    <a:pt x="51617" y="51617"/>
                    <a:pt x="51335" y="52463"/>
                    <a:pt x="51335" y="53310"/>
                  </a:cubicBezTo>
                  <a:cubicBezTo>
                    <a:pt x="50771" y="53874"/>
                    <a:pt x="50771" y="54438"/>
                    <a:pt x="50489" y="55002"/>
                  </a:cubicBezTo>
                  <a:cubicBezTo>
                    <a:pt x="50489" y="55284"/>
                    <a:pt x="50771" y="55566"/>
                    <a:pt x="50771" y="56130"/>
                  </a:cubicBezTo>
                  <a:lnTo>
                    <a:pt x="50771" y="56412"/>
                  </a:lnTo>
                  <a:lnTo>
                    <a:pt x="49361" y="57258"/>
                  </a:lnTo>
                  <a:cubicBezTo>
                    <a:pt x="49361" y="57541"/>
                    <a:pt x="49361" y="57541"/>
                    <a:pt x="49643" y="57823"/>
                  </a:cubicBezTo>
                  <a:cubicBezTo>
                    <a:pt x="49925" y="58105"/>
                    <a:pt x="50207" y="58105"/>
                    <a:pt x="50207" y="58387"/>
                  </a:cubicBezTo>
                  <a:lnTo>
                    <a:pt x="49925" y="58669"/>
                  </a:lnTo>
                  <a:cubicBezTo>
                    <a:pt x="49078" y="59233"/>
                    <a:pt x="48797" y="59797"/>
                    <a:pt x="48233" y="60643"/>
                  </a:cubicBezTo>
                  <a:cubicBezTo>
                    <a:pt x="48233" y="60925"/>
                    <a:pt x="48233" y="61489"/>
                    <a:pt x="47950" y="61771"/>
                  </a:cubicBezTo>
                  <a:cubicBezTo>
                    <a:pt x="47950" y="62053"/>
                    <a:pt x="47950" y="62618"/>
                    <a:pt x="48233" y="62336"/>
                  </a:cubicBezTo>
                  <a:lnTo>
                    <a:pt x="48797" y="62053"/>
                  </a:lnTo>
                  <a:cubicBezTo>
                    <a:pt x="48797" y="61207"/>
                    <a:pt x="49643" y="60925"/>
                    <a:pt x="50207" y="60079"/>
                  </a:cubicBezTo>
                  <a:cubicBezTo>
                    <a:pt x="50489" y="59233"/>
                    <a:pt x="51335" y="58951"/>
                    <a:pt x="51617" y="58105"/>
                  </a:cubicBezTo>
                  <a:cubicBezTo>
                    <a:pt x="52745" y="56976"/>
                    <a:pt x="53592" y="55848"/>
                    <a:pt x="54438" y="54720"/>
                  </a:cubicBezTo>
                  <a:cubicBezTo>
                    <a:pt x="54720" y="54156"/>
                    <a:pt x="55566" y="53592"/>
                    <a:pt x="55848" y="53310"/>
                  </a:cubicBezTo>
                  <a:cubicBezTo>
                    <a:pt x="57259" y="51335"/>
                    <a:pt x="58951" y="49643"/>
                    <a:pt x="60643" y="48232"/>
                  </a:cubicBezTo>
                  <a:cubicBezTo>
                    <a:pt x="61490" y="47668"/>
                    <a:pt x="62336" y="47104"/>
                    <a:pt x="62618" y="46258"/>
                  </a:cubicBezTo>
                  <a:lnTo>
                    <a:pt x="63464" y="45694"/>
                  </a:lnTo>
                  <a:cubicBezTo>
                    <a:pt x="64310" y="44566"/>
                    <a:pt x="65720" y="43720"/>
                    <a:pt x="66848" y="42591"/>
                  </a:cubicBezTo>
                  <a:cubicBezTo>
                    <a:pt x="68541" y="41181"/>
                    <a:pt x="70515" y="40053"/>
                    <a:pt x="72208" y="38924"/>
                  </a:cubicBezTo>
                  <a:lnTo>
                    <a:pt x="76721" y="36386"/>
                  </a:lnTo>
                  <a:cubicBezTo>
                    <a:pt x="77285" y="35822"/>
                    <a:pt x="78131" y="35822"/>
                    <a:pt x="78695" y="35540"/>
                  </a:cubicBezTo>
                  <a:cubicBezTo>
                    <a:pt x="80105" y="34976"/>
                    <a:pt x="82080" y="34129"/>
                    <a:pt x="83490" y="33847"/>
                  </a:cubicBezTo>
                  <a:cubicBezTo>
                    <a:pt x="84901" y="33283"/>
                    <a:pt x="86311" y="33001"/>
                    <a:pt x="87439" y="33001"/>
                  </a:cubicBezTo>
                  <a:lnTo>
                    <a:pt x="92798" y="33001"/>
                  </a:lnTo>
                  <a:cubicBezTo>
                    <a:pt x="93363" y="33283"/>
                    <a:pt x="93927" y="33283"/>
                    <a:pt x="94773" y="33283"/>
                  </a:cubicBezTo>
                  <a:cubicBezTo>
                    <a:pt x="95055" y="33283"/>
                    <a:pt x="95337" y="33283"/>
                    <a:pt x="95337" y="33565"/>
                  </a:cubicBezTo>
                  <a:cubicBezTo>
                    <a:pt x="95901" y="34129"/>
                    <a:pt x="96465" y="34129"/>
                    <a:pt x="97029" y="34129"/>
                  </a:cubicBezTo>
                  <a:cubicBezTo>
                    <a:pt x="99286" y="34694"/>
                    <a:pt x="101824" y="35540"/>
                    <a:pt x="104080" y="36668"/>
                  </a:cubicBezTo>
                  <a:cubicBezTo>
                    <a:pt x="104645" y="36668"/>
                    <a:pt x="104927" y="36950"/>
                    <a:pt x="105491" y="37232"/>
                  </a:cubicBezTo>
                  <a:lnTo>
                    <a:pt x="108594" y="40053"/>
                  </a:lnTo>
                  <a:cubicBezTo>
                    <a:pt x="109158" y="40335"/>
                    <a:pt x="109440" y="40617"/>
                    <a:pt x="109440" y="41181"/>
                  </a:cubicBezTo>
                  <a:lnTo>
                    <a:pt x="109722" y="41463"/>
                  </a:lnTo>
                  <a:cubicBezTo>
                    <a:pt x="110568" y="42027"/>
                    <a:pt x="111414" y="42873"/>
                    <a:pt x="111697" y="43720"/>
                  </a:cubicBezTo>
                  <a:cubicBezTo>
                    <a:pt x="111978" y="44002"/>
                    <a:pt x="111978" y="44284"/>
                    <a:pt x="112261" y="44284"/>
                  </a:cubicBezTo>
                  <a:cubicBezTo>
                    <a:pt x="112825" y="44284"/>
                    <a:pt x="113107" y="44566"/>
                    <a:pt x="113107" y="44848"/>
                  </a:cubicBezTo>
                  <a:cubicBezTo>
                    <a:pt x="113389" y="45412"/>
                    <a:pt x="113389" y="45694"/>
                    <a:pt x="113953" y="45976"/>
                  </a:cubicBezTo>
                  <a:cubicBezTo>
                    <a:pt x="113953" y="45976"/>
                    <a:pt x="114235" y="46258"/>
                    <a:pt x="114235" y="46540"/>
                  </a:cubicBezTo>
                  <a:lnTo>
                    <a:pt x="114235" y="47668"/>
                  </a:lnTo>
                  <a:cubicBezTo>
                    <a:pt x="114517" y="48232"/>
                    <a:pt x="114799" y="48515"/>
                    <a:pt x="115363" y="48515"/>
                  </a:cubicBezTo>
                  <a:lnTo>
                    <a:pt x="116209" y="48515"/>
                  </a:lnTo>
                  <a:cubicBezTo>
                    <a:pt x="116492" y="48515"/>
                    <a:pt x="116773" y="49079"/>
                    <a:pt x="116773" y="49361"/>
                  </a:cubicBezTo>
                  <a:lnTo>
                    <a:pt x="116773" y="49643"/>
                  </a:lnTo>
                  <a:cubicBezTo>
                    <a:pt x="116209" y="49925"/>
                    <a:pt x="115928" y="50489"/>
                    <a:pt x="115928" y="50771"/>
                  </a:cubicBezTo>
                  <a:cubicBezTo>
                    <a:pt x="115928" y="51053"/>
                    <a:pt x="116209" y="51053"/>
                    <a:pt x="116209" y="51335"/>
                  </a:cubicBezTo>
                  <a:cubicBezTo>
                    <a:pt x="116492" y="52181"/>
                    <a:pt x="116773" y="53028"/>
                    <a:pt x="116773" y="54156"/>
                  </a:cubicBezTo>
                  <a:cubicBezTo>
                    <a:pt x="116773" y="54156"/>
                    <a:pt x="116773" y="54438"/>
                    <a:pt x="117056" y="54720"/>
                  </a:cubicBezTo>
                  <a:cubicBezTo>
                    <a:pt x="117056" y="54720"/>
                    <a:pt x="117338" y="55002"/>
                    <a:pt x="117338" y="55284"/>
                  </a:cubicBezTo>
                  <a:cubicBezTo>
                    <a:pt x="117338" y="56694"/>
                    <a:pt x="117620" y="57823"/>
                    <a:pt x="118183" y="58951"/>
                  </a:cubicBezTo>
                  <a:cubicBezTo>
                    <a:pt x="118466" y="59515"/>
                    <a:pt x="118466" y="60079"/>
                    <a:pt x="118466" y="60361"/>
                  </a:cubicBezTo>
                  <a:lnTo>
                    <a:pt x="118466" y="61489"/>
                  </a:lnTo>
                  <a:cubicBezTo>
                    <a:pt x="118466" y="62053"/>
                    <a:pt x="118748" y="62900"/>
                    <a:pt x="118748" y="63746"/>
                  </a:cubicBezTo>
                  <a:cubicBezTo>
                    <a:pt x="118748" y="64028"/>
                    <a:pt x="119030" y="64310"/>
                    <a:pt x="119312" y="64310"/>
                  </a:cubicBezTo>
                  <a:lnTo>
                    <a:pt x="121850" y="63464"/>
                  </a:lnTo>
                  <a:cubicBezTo>
                    <a:pt x="122133" y="63182"/>
                    <a:pt x="122414" y="63182"/>
                    <a:pt x="122697" y="63182"/>
                  </a:cubicBezTo>
                  <a:lnTo>
                    <a:pt x="123543" y="63182"/>
                  </a:lnTo>
                  <a:cubicBezTo>
                    <a:pt x="123825" y="63182"/>
                    <a:pt x="123825" y="63182"/>
                    <a:pt x="124107" y="62900"/>
                  </a:cubicBezTo>
                  <a:cubicBezTo>
                    <a:pt x="125235" y="61489"/>
                    <a:pt x="126928" y="60925"/>
                    <a:pt x="128902" y="60079"/>
                  </a:cubicBezTo>
                  <a:lnTo>
                    <a:pt x="131159" y="59233"/>
                  </a:lnTo>
                  <a:lnTo>
                    <a:pt x="131441" y="59233"/>
                  </a:lnTo>
                  <a:cubicBezTo>
                    <a:pt x="132569" y="58387"/>
                    <a:pt x="133697" y="58105"/>
                    <a:pt x="134826" y="57823"/>
                  </a:cubicBezTo>
                  <a:cubicBezTo>
                    <a:pt x="135954" y="57258"/>
                    <a:pt x="137082" y="56976"/>
                    <a:pt x="137928" y="56976"/>
                  </a:cubicBezTo>
                  <a:cubicBezTo>
                    <a:pt x="138210" y="56976"/>
                    <a:pt x="138492" y="56976"/>
                    <a:pt x="138774" y="56694"/>
                  </a:cubicBezTo>
                  <a:cubicBezTo>
                    <a:pt x="139620" y="56412"/>
                    <a:pt x="147518" y="55566"/>
                    <a:pt x="147518" y="55566"/>
                  </a:cubicBezTo>
                  <a:lnTo>
                    <a:pt x="149775" y="55566"/>
                  </a:lnTo>
                  <a:lnTo>
                    <a:pt x="150339" y="55848"/>
                  </a:lnTo>
                  <a:cubicBezTo>
                    <a:pt x="150339" y="56130"/>
                    <a:pt x="150621" y="56412"/>
                    <a:pt x="150903" y="56412"/>
                  </a:cubicBezTo>
                  <a:lnTo>
                    <a:pt x="151185" y="56412"/>
                  </a:lnTo>
                  <a:cubicBezTo>
                    <a:pt x="152877" y="56130"/>
                    <a:pt x="154570" y="56130"/>
                    <a:pt x="155980" y="56130"/>
                  </a:cubicBezTo>
                  <a:lnTo>
                    <a:pt x="156826" y="56130"/>
                  </a:lnTo>
                  <a:cubicBezTo>
                    <a:pt x="157672" y="55848"/>
                    <a:pt x="158237" y="55848"/>
                    <a:pt x="158801" y="55848"/>
                  </a:cubicBezTo>
                  <a:cubicBezTo>
                    <a:pt x="159082" y="55848"/>
                    <a:pt x="159082" y="55848"/>
                    <a:pt x="159082" y="56130"/>
                  </a:cubicBezTo>
                  <a:lnTo>
                    <a:pt x="158801" y="56130"/>
                  </a:lnTo>
                  <a:lnTo>
                    <a:pt x="157954" y="56694"/>
                  </a:lnTo>
                  <a:lnTo>
                    <a:pt x="157954" y="56976"/>
                  </a:lnTo>
                  <a:lnTo>
                    <a:pt x="158237" y="57258"/>
                  </a:lnTo>
                  <a:cubicBezTo>
                    <a:pt x="159082" y="56976"/>
                    <a:pt x="159929" y="56976"/>
                    <a:pt x="160775" y="56976"/>
                  </a:cubicBezTo>
                  <a:cubicBezTo>
                    <a:pt x="161621" y="56976"/>
                    <a:pt x="162468" y="56976"/>
                    <a:pt x="163313" y="56694"/>
                  </a:cubicBezTo>
                  <a:lnTo>
                    <a:pt x="164442" y="56694"/>
                  </a:lnTo>
                  <a:cubicBezTo>
                    <a:pt x="164442" y="56976"/>
                    <a:pt x="164442" y="56976"/>
                    <a:pt x="164160" y="56976"/>
                  </a:cubicBezTo>
                  <a:cubicBezTo>
                    <a:pt x="163596" y="57258"/>
                    <a:pt x="163032" y="57541"/>
                    <a:pt x="162468" y="57541"/>
                  </a:cubicBezTo>
                  <a:cubicBezTo>
                    <a:pt x="162185" y="57541"/>
                    <a:pt x="162185" y="57823"/>
                    <a:pt x="162185" y="57823"/>
                  </a:cubicBezTo>
                  <a:lnTo>
                    <a:pt x="162468" y="58105"/>
                  </a:lnTo>
                  <a:cubicBezTo>
                    <a:pt x="162468" y="58387"/>
                    <a:pt x="162468" y="58387"/>
                    <a:pt x="162185" y="58669"/>
                  </a:cubicBezTo>
                  <a:lnTo>
                    <a:pt x="161903" y="58951"/>
                  </a:lnTo>
                  <a:lnTo>
                    <a:pt x="161903" y="59233"/>
                  </a:lnTo>
                  <a:cubicBezTo>
                    <a:pt x="161903" y="59515"/>
                    <a:pt x="162185" y="59515"/>
                    <a:pt x="162185" y="59515"/>
                  </a:cubicBezTo>
                  <a:lnTo>
                    <a:pt x="162468" y="59515"/>
                  </a:lnTo>
                  <a:lnTo>
                    <a:pt x="162185" y="59797"/>
                  </a:lnTo>
                  <a:cubicBezTo>
                    <a:pt x="161903" y="59797"/>
                    <a:pt x="161903" y="60079"/>
                    <a:pt x="161621" y="60079"/>
                  </a:cubicBezTo>
                  <a:cubicBezTo>
                    <a:pt x="161057" y="60079"/>
                    <a:pt x="160493" y="60361"/>
                    <a:pt x="160211" y="60925"/>
                  </a:cubicBezTo>
                  <a:lnTo>
                    <a:pt x="160211" y="61207"/>
                  </a:lnTo>
                  <a:cubicBezTo>
                    <a:pt x="160493" y="61489"/>
                    <a:pt x="160775" y="61489"/>
                    <a:pt x="160775" y="61771"/>
                  </a:cubicBezTo>
                  <a:cubicBezTo>
                    <a:pt x="160775" y="62053"/>
                    <a:pt x="160493" y="62336"/>
                    <a:pt x="160493" y="62618"/>
                  </a:cubicBezTo>
                  <a:lnTo>
                    <a:pt x="160493" y="62900"/>
                  </a:lnTo>
                  <a:lnTo>
                    <a:pt x="160211" y="63182"/>
                  </a:lnTo>
                  <a:cubicBezTo>
                    <a:pt x="159929" y="63464"/>
                    <a:pt x="159365" y="63464"/>
                    <a:pt x="159082" y="63464"/>
                  </a:cubicBezTo>
                  <a:cubicBezTo>
                    <a:pt x="157390" y="63746"/>
                    <a:pt x="155980" y="64028"/>
                    <a:pt x="154288" y="64028"/>
                  </a:cubicBezTo>
                  <a:lnTo>
                    <a:pt x="153160" y="64028"/>
                  </a:lnTo>
                  <a:cubicBezTo>
                    <a:pt x="152313" y="64310"/>
                    <a:pt x="151467" y="64310"/>
                    <a:pt x="150621" y="64874"/>
                  </a:cubicBezTo>
                  <a:cubicBezTo>
                    <a:pt x="150057" y="64874"/>
                    <a:pt x="149775" y="65156"/>
                    <a:pt x="149210" y="65156"/>
                  </a:cubicBezTo>
                  <a:cubicBezTo>
                    <a:pt x="148646" y="65156"/>
                    <a:pt x="148365" y="65156"/>
                    <a:pt x="147518" y="65438"/>
                  </a:cubicBezTo>
                  <a:cubicBezTo>
                    <a:pt x="148365" y="64592"/>
                    <a:pt x="137082" y="69387"/>
                    <a:pt x="137646" y="69105"/>
                  </a:cubicBezTo>
                  <a:lnTo>
                    <a:pt x="130876" y="70797"/>
                  </a:lnTo>
                  <a:cubicBezTo>
                    <a:pt x="130312" y="71079"/>
                    <a:pt x="129466" y="71079"/>
                    <a:pt x="128902" y="71644"/>
                  </a:cubicBezTo>
                  <a:cubicBezTo>
                    <a:pt x="126928" y="72490"/>
                    <a:pt x="124953" y="73618"/>
                    <a:pt x="123261" y="74746"/>
                  </a:cubicBezTo>
                  <a:lnTo>
                    <a:pt x="118466" y="77003"/>
                  </a:lnTo>
                  <a:cubicBezTo>
                    <a:pt x="118183" y="77285"/>
                    <a:pt x="118183" y="77849"/>
                    <a:pt x="117902" y="78413"/>
                  </a:cubicBezTo>
                  <a:lnTo>
                    <a:pt x="118183" y="78695"/>
                  </a:lnTo>
                  <a:cubicBezTo>
                    <a:pt x="118466" y="78695"/>
                    <a:pt x="118748" y="78977"/>
                    <a:pt x="118748" y="78977"/>
                  </a:cubicBezTo>
                  <a:cubicBezTo>
                    <a:pt x="119030" y="78977"/>
                    <a:pt x="119312" y="79541"/>
                    <a:pt x="119030" y="79541"/>
                  </a:cubicBezTo>
                  <a:cubicBezTo>
                    <a:pt x="118748" y="80105"/>
                    <a:pt x="118466" y="80105"/>
                    <a:pt x="118183" y="80387"/>
                  </a:cubicBezTo>
                  <a:lnTo>
                    <a:pt x="117902" y="80670"/>
                  </a:lnTo>
                  <a:cubicBezTo>
                    <a:pt x="117902" y="80670"/>
                    <a:pt x="117902" y="80952"/>
                    <a:pt x="118183" y="80952"/>
                  </a:cubicBezTo>
                  <a:lnTo>
                    <a:pt x="118466" y="81234"/>
                  </a:lnTo>
                  <a:cubicBezTo>
                    <a:pt x="118748" y="81234"/>
                    <a:pt x="118748" y="81516"/>
                    <a:pt x="118748" y="81798"/>
                  </a:cubicBezTo>
                  <a:cubicBezTo>
                    <a:pt x="118748" y="82080"/>
                    <a:pt x="118748" y="82080"/>
                    <a:pt x="118466" y="82362"/>
                  </a:cubicBezTo>
                  <a:lnTo>
                    <a:pt x="117902" y="82362"/>
                  </a:lnTo>
                  <a:cubicBezTo>
                    <a:pt x="117338" y="82644"/>
                    <a:pt x="117338" y="82644"/>
                    <a:pt x="117338" y="83208"/>
                  </a:cubicBezTo>
                  <a:lnTo>
                    <a:pt x="117338" y="83772"/>
                  </a:lnTo>
                  <a:cubicBezTo>
                    <a:pt x="117338" y="83772"/>
                    <a:pt x="117338" y="84054"/>
                    <a:pt x="117056" y="84054"/>
                  </a:cubicBezTo>
                  <a:cubicBezTo>
                    <a:pt x="116773" y="84336"/>
                    <a:pt x="116773" y="84618"/>
                    <a:pt x="116773" y="84618"/>
                  </a:cubicBezTo>
                  <a:cubicBezTo>
                    <a:pt x="116773" y="84900"/>
                    <a:pt x="116773" y="84900"/>
                    <a:pt x="117056" y="84900"/>
                  </a:cubicBezTo>
                  <a:cubicBezTo>
                    <a:pt x="117338" y="85183"/>
                    <a:pt x="117338" y="85183"/>
                    <a:pt x="117338" y="85465"/>
                  </a:cubicBezTo>
                  <a:lnTo>
                    <a:pt x="117338" y="85747"/>
                  </a:lnTo>
                  <a:lnTo>
                    <a:pt x="116492" y="86875"/>
                  </a:lnTo>
                  <a:lnTo>
                    <a:pt x="116492" y="87439"/>
                  </a:lnTo>
                  <a:cubicBezTo>
                    <a:pt x="116492" y="87721"/>
                    <a:pt x="116492" y="88003"/>
                    <a:pt x="116773" y="88285"/>
                  </a:cubicBezTo>
                  <a:lnTo>
                    <a:pt x="117338" y="88849"/>
                  </a:lnTo>
                  <a:cubicBezTo>
                    <a:pt x="117338" y="89131"/>
                    <a:pt x="117056" y="89413"/>
                    <a:pt x="117056" y="89696"/>
                  </a:cubicBezTo>
                  <a:cubicBezTo>
                    <a:pt x="116773" y="89978"/>
                    <a:pt x="116773" y="89978"/>
                    <a:pt x="116773" y="90260"/>
                  </a:cubicBezTo>
                  <a:cubicBezTo>
                    <a:pt x="116773" y="90542"/>
                    <a:pt x="117056" y="91106"/>
                    <a:pt x="117056" y="91388"/>
                  </a:cubicBezTo>
                  <a:cubicBezTo>
                    <a:pt x="116773" y="92516"/>
                    <a:pt x="116492" y="93644"/>
                    <a:pt x="115363" y="94491"/>
                  </a:cubicBezTo>
                  <a:cubicBezTo>
                    <a:pt x="115081" y="94491"/>
                    <a:pt x="115081" y="94773"/>
                    <a:pt x="115081" y="94773"/>
                  </a:cubicBezTo>
                  <a:cubicBezTo>
                    <a:pt x="115081" y="94773"/>
                    <a:pt x="115081" y="95055"/>
                    <a:pt x="115363" y="95055"/>
                  </a:cubicBezTo>
                  <a:cubicBezTo>
                    <a:pt x="115363" y="95337"/>
                    <a:pt x="115363" y="95619"/>
                    <a:pt x="115081" y="95901"/>
                  </a:cubicBezTo>
                  <a:cubicBezTo>
                    <a:pt x="114799" y="96183"/>
                    <a:pt x="114799" y="96465"/>
                    <a:pt x="114517" y="96465"/>
                  </a:cubicBezTo>
                  <a:lnTo>
                    <a:pt x="114235" y="96465"/>
                  </a:lnTo>
                  <a:cubicBezTo>
                    <a:pt x="113671" y="96465"/>
                    <a:pt x="113671" y="96747"/>
                    <a:pt x="113107" y="97311"/>
                  </a:cubicBezTo>
                  <a:lnTo>
                    <a:pt x="113107" y="98439"/>
                  </a:lnTo>
                  <a:lnTo>
                    <a:pt x="112261" y="99568"/>
                  </a:lnTo>
                  <a:lnTo>
                    <a:pt x="112261" y="99850"/>
                  </a:lnTo>
                  <a:cubicBezTo>
                    <a:pt x="112261" y="100132"/>
                    <a:pt x="112542" y="100132"/>
                    <a:pt x="112542" y="100414"/>
                  </a:cubicBezTo>
                  <a:cubicBezTo>
                    <a:pt x="112542" y="100696"/>
                    <a:pt x="112261" y="100696"/>
                    <a:pt x="111978" y="100978"/>
                  </a:cubicBezTo>
                  <a:lnTo>
                    <a:pt x="111978" y="101260"/>
                  </a:lnTo>
                  <a:cubicBezTo>
                    <a:pt x="111978" y="101542"/>
                    <a:pt x="112261" y="101542"/>
                    <a:pt x="112542" y="101542"/>
                  </a:cubicBezTo>
                  <a:cubicBezTo>
                    <a:pt x="112542" y="101824"/>
                    <a:pt x="112825" y="101542"/>
                    <a:pt x="112825" y="101260"/>
                  </a:cubicBezTo>
                  <a:cubicBezTo>
                    <a:pt x="113107" y="100978"/>
                    <a:pt x="113107" y="100696"/>
                    <a:pt x="113107" y="100414"/>
                  </a:cubicBezTo>
                  <a:cubicBezTo>
                    <a:pt x="113389" y="100414"/>
                    <a:pt x="113389" y="100132"/>
                    <a:pt x="113389" y="100132"/>
                  </a:cubicBezTo>
                  <a:cubicBezTo>
                    <a:pt x="113671" y="100414"/>
                    <a:pt x="113953" y="100414"/>
                    <a:pt x="113953" y="100696"/>
                  </a:cubicBezTo>
                  <a:cubicBezTo>
                    <a:pt x="113953" y="101260"/>
                    <a:pt x="113953" y="101824"/>
                    <a:pt x="113671" y="102106"/>
                  </a:cubicBezTo>
                  <a:cubicBezTo>
                    <a:pt x="113107" y="102670"/>
                    <a:pt x="113107" y="103517"/>
                    <a:pt x="112261" y="103799"/>
                  </a:cubicBezTo>
                  <a:cubicBezTo>
                    <a:pt x="112261" y="103799"/>
                    <a:pt x="112261" y="104081"/>
                    <a:pt x="111978" y="104081"/>
                  </a:cubicBezTo>
                  <a:cubicBezTo>
                    <a:pt x="111978" y="104363"/>
                    <a:pt x="112261" y="104363"/>
                    <a:pt x="112261" y="104645"/>
                  </a:cubicBezTo>
                  <a:cubicBezTo>
                    <a:pt x="112261" y="104645"/>
                    <a:pt x="112261" y="104927"/>
                    <a:pt x="111978" y="104927"/>
                  </a:cubicBezTo>
                  <a:cubicBezTo>
                    <a:pt x="111697" y="105209"/>
                    <a:pt x="111132" y="105491"/>
                    <a:pt x="111132" y="105773"/>
                  </a:cubicBezTo>
                  <a:cubicBezTo>
                    <a:pt x="110850" y="106055"/>
                    <a:pt x="110850" y="106055"/>
                    <a:pt x="110850" y="106337"/>
                  </a:cubicBezTo>
                  <a:cubicBezTo>
                    <a:pt x="110850" y="106619"/>
                    <a:pt x="110850" y="106619"/>
                    <a:pt x="111132" y="106901"/>
                  </a:cubicBezTo>
                  <a:lnTo>
                    <a:pt x="110568" y="106901"/>
                  </a:lnTo>
                  <a:cubicBezTo>
                    <a:pt x="110286" y="106901"/>
                    <a:pt x="110004" y="106901"/>
                    <a:pt x="110004" y="107183"/>
                  </a:cubicBezTo>
                  <a:cubicBezTo>
                    <a:pt x="109722" y="107183"/>
                    <a:pt x="109722" y="107465"/>
                    <a:pt x="109722" y="107465"/>
                  </a:cubicBezTo>
                  <a:cubicBezTo>
                    <a:pt x="109722" y="107747"/>
                    <a:pt x="110004" y="107747"/>
                    <a:pt x="110286" y="107747"/>
                  </a:cubicBezTo>
                  <a:cubicBezTo>
                    <a:pt x="110850" y="107747"/>
                    <a:pt x="111132" y="107183"/>
                    <a:pt x="111132" y="106901"/>
                  </a:cubicBezTo>
                  <a:lnTo>
                    <a:pt x="111414" y="107183"/>
                  </a:lnTo>
                  <a:cubicBezTo>
                    <a:pt x="111414" y="107747"/>
                    <a:pt x="111132" y="108312"/>
                    <a:pt x="111132" y="108876"/>
                  </a:cubicBezTo>
                  <a:lnTo>
                    <a:pt x="111132" y="109158"/>
                  </a:lnTo>
                  <a:cubicBezTo>
                    <a:pt x="111132" y="109440"/>
                    <a:pt x="110850" y="109440"/>
                    <a:pt x="110568" y="109722"/>
                  </a:cubicBezTo>
                  <a:cubicBezTo>
                    <a:pt x="110286" y="109722"/>
                    <a:pt x="110286" y="110004"/>
                    <a:pt x="110004" y="110286"/>
                  </a:cubicBezTo>
                  <a:cubicBezTo>
                    <a:pt x="110004" y="110568"/>
                    <a:pt x="109722" y="110850"/>
                    <a:pt x="109722" y="111132"/>
                  </a:cubicBezTo>
                  <a:cubicBezTo>
                    <a:pt x="109440" y="111414"/>
                    <a:pt x="109440" y="111696"/>
                    <a:pt x="108876" y="111978"/>
                  </a:cubicBezTo>
                  <a:lnTo>
                    <a:pt x="107747" y="111978"/>
                  </a:lnTo>
                  <a:cubicBezTo>
                    <a:pt x="108030" y="111696"/>
                    <a:pt x="107466" y="111978"/>
                    <a:pt x="107466" y="111978"/>
                  </a:cubicBezTo>
                  <a:lnTo>
                    <a:pt x="107747" y="112260"/>
                  </a:lnTo>
                  <a:lnTo>
                    <a:pt x="108876" y="112825"/>
                  </a:lnTo>
                  <a:lnTo>
                    <a:pt x="108876" y="113389"/>
                  </a:lnTo>
                  <a:lnTo>
                    <a:pt x="108030" y="114799"/>
                  </a:lnTo>
                  <a:cubicBezTo>
                    <a:pt x="107747" y="115081"/>
                    <a:pt x="107466" y="115363"/>
                    <a:pt x="107466" y="115645"/>
                  </a:cubicBezTo>
                  <a:lnTo>
                    <a:pt x="107466" y="115927"/>
                  </a:lnTo>
                  <a:cubicBezTo>
                    <a:pt x="107466" y="116209"/>
                    <a:pt x="107466" y="116491"/>
                    <a:pt x="107183" y="116491"/>
                  </a:cubicBezTo>
                  <a:lnTo>
                    <a:pt x="106337" y="117338"/>
                  </a:lnTo>
                  <a:cubicBezTo>
                    <a:pt x="106055" y="117338"/>
                    <a:pt x="106055" y="117620"/>
                    <a:pt x="106055" y="117620"/>
                  </a:cubicBezTo>
                  <a:cubicBezTo>
                    <a:pt x="106055" y="118748"/>
                    <a:pt x="105773" y="119594"/>
                    <a:pt x="104927" y="120158"/>
                  </a:cubicBezTo>
                  <a:cubicBezTo>
                    <a:pt x="104645" y="120722"/>
                    <a:pt x="104363" y="121286"/>
                    <a:pt x="103799" y="121851"/>
                  </a:cubicBezTo>
                  <a:cubicBezTo>
                    <a:pt x="103799" y="122415"/>
                    <a:pt x="103516" y="122697"/>
                    <a:pt x="103235" y="123261"/>
                  </a:cubicBezTo>
                  <a:cubicBezTo>
                    <a:pt x="102952" y="124107"/>
                    <a:pt x="102106" y="124953"/>
                    <a:pt x="101824" y="125799"/>
                  </a:cubicBezTo>
                  <a:cubicBezTo>
                    <a:pt x="101824" y="126081"/>
                    <a:pt x="101542" y="126363"/>
                    <a:pt x="101260" y="126646"/>
                  </a:cubicBezTo>
                  <a:cubicBezTo>
                    <a:pt x="100414" y="127492"/>
                    <a:pt x="99286" y="128620"/>
                    <a:pt x="99004" y="130030"/>
                  </a:cubicBezTo>
                  <a:lnTo>
                    <a:pt x="99004" y="130594"/>
                  </a:lnTo>
                  <a:cubicBezTo>
                    <a:pt x="98439" y="131159"/>
                    <a:pt x="97594" y="131723"/>
                    <a:pt x="97311" y="132287"/>
                  </a:cubicBezTo>
                  <a:cubicBezTo>
                    <a:pt x="96747" y="132851"/>
                    <a:pt x="95901" y="133415"/>
                    <a:pt x="95901" y="134261"/>
                  </a:cubicBezTo>
                  <a:cubicBezTo>
                    <a:pt x="95055" y="134825"/>
                    <a:pt x="94491" y="135672"/>
                    <a:pt x="93927" y="136518"/>
                  </a:cubicBezTo>
                  <a:cubicBezTo>
                    <a:pt x="93644" y="136800"/>
                    <a:pt x="93363" y="136800"/>
                    <a:pt x="93363" y="137082"/>
                  </a:cubicBezTo>
                  <a:lnTo>
                    <a:pt x="90542" y="140467"/>
                  </a:lnTo>
                  <a:cubicBezTo>
                    <a:pt x="90260" y="140749"/>
                    <a:pt x="89696" y="141031"/>
                    <a:pt x="89696" y="141313"/>
                  </a:cubicBezTo>
                  <a:cubicBezTo>
                    <a:pt x="88285" y="142441"/>
                    <a:pt x="87439" y="143569"/>
                    <a:pt x="86311" y="144980"/>
                  </a:cubicBezTo>
                  <a:lnTo>
                    <a:pt x="85465" y="145826"/>
                  </a:lnTo>
                  <a:cubicBezTo>
                    <a:pt x="84336" y="146390"/>
                    <a:pt x="83490" y="147236"/>
                    <a:pt x="82362" y="148082"/>
                  </a:cubicBezTo>
                  <a:lnTo>
                    <a:pt x="78977" y="151185"/>
                  </a:lnTo>
                  <a:cubicBezTo>
                    <a:pt x="78977" y="151185"/>
                    <a:pt x="78977" y="151467"/>
                    <a:pt x="78695" y="151749"/>
                  </a:cubicBezTo>
                  <a:lnTo>
                    <a:pt x="77567" y="152313"/>
                  </a:lnTo>
                  <a:cubicBezTo>
                    <a:pt x="77285" y="152595"/>
                    <a:pt x="77003" y="153159"/>
                    <a:pt x="76721" y="153159"/>
                  </a:cubicBezTo>
                  <a:cubicBezTo>
                    <a:pt x="75874" y="153441"/>
                    <a:pt x="75310" y="154006"/>
                    <a:pt x="75029" y="154288"/>
                  </a:cubicBezTo>
                  <a:lnTo>
                    <a:pt x="73054" y="155980"/>
                  </a:lnTo>
                  <a:cubicBezTo>
                    <a:pt x="72772" y="156544"/>
                    <a:pt x="72490" y="156544"/>
                    <a:pt x="71926" y="156826"/>
                  </a:cubicBezTo>
                  <a:cubicBezTo>
                    <a:pt x="71079" y="157108"/>
                    <a:pt x="70515" y="157672"/>
                    <a:pt x="70515" y="158519"/>
                  </a:cubicBezTo>
                  <a:cubicBezTo>
                    <a:pt x="70233" y="158801"/>
                    <a:pt x="69669" y="159083"/>
                    <a:pt x="69669" y="159647"/>
                  </a:cubicBezTo>
                  <a:cubicBezTo>
                    <a:pt x="69387" y="160211"/>
                    <a:pt x="68541" y="160493"/>
                    <a:pt x="68259" y="160775"/>
                  </a:cubicBezTo>
                  <a:cubicBezTo>
                    <a:pt x="67412" y="161057"/>
                    <a:pt x="66848" y="161339"/>
                    <a:pt x="66284" y="161339"/>
                  </a:cubicBezTo>
                  <a:lnTo>
                    <a:pt x="65720" y="161339"/>
                  </a:lnTo>
                  <a:lnTo>
                    <a:pt x="65720" y="161621"/>
                  </a:lnTo>
                  <a:cubicBezTo>
                    <a:pt x="65720" y="162185"/>
                    <a:pt x="65438" y="162185"/>
                    <a:pt x="64874" y="162185"/>
                  </a:cubicBezTo>
                  <a:cubicBezTo>
                    <a:pt x="64592" y="162185"/>
                    <a:pt x="64310" y="162467"/>
                    <a:pt x="64028" y="162749"/>
                  </a:cubicBezTo>
                  <a:cubicBezTo>
                    <a:pt x="63746" y="163314"/>
                    <a:pt x="62618" y="163596"/>
                    <a:pt x="62054" y="163596"/>
                  </a:cubicBezTo>
                  <a:lnTo>
                    <a:pt x="60643" y="163596"/>
                  </a:lnTo>
                  <a:cubicBezTo>
                    <a:pt x="60643" y="163878"/>
                    <a:pt x="60643" y="163878"/>
                    <a:pt x="60361" y="163878"/>
                  </a:cubicBezTo>
                  <a:cubicBezTo>
                    <a:pt x="60361" y="163878"/>
                    <a:pt x="60079" y="163878"/>
                    <a:pt x="60079" y="164160"/>
                  </a:cubicBezTo>
                  <a:lnTo>
                    <a:pt x="59797" y="164160"/>
                  </a:lnTo>
                  <a:cubicBezTo>
                    <a:pt x="60079" y="164160"/>
                    <a:pt x="60079" y="164442"/>
                    <a:pt x="60079" y="164442"/>
                  </a:cubicBezTo>
                  <a:lnTo>
                    <a:pt x="60361" y="164442"/>
                  </a:lnTo>
                  <a:cubicBezTo>
                    <a:pt x="60079" y="164442"/>
                    <a:pt x="60079" y="164724"/>
                    <a:pt x="60079" y="165006"/>
                  </a:cubicBezTo>
                  <a:cubicBezTo>
                    <a:pt x="58951" y="165288"/>
                    <a:pt x="58105" y="165570"/>
                    <a:pt x="57259" y="165570"/>
                  </a:cubicBezTo>
                  <a:lnTo>
                    <a:pt x="56130" y="165570"/>
                  </a:lnTo>
                  <a:lnTo>
                    <a:pt x="53874" y="165006"/>
                  </a:lnTo>
                  <a:cubicBezTo>
                    <a:pt x="53592" y="165006"/>
                    <a:pt x="53028" y="165006"/>
                    <a:pt x="52745" y="165288"/>
                  </a:cubicBezTo>
                  <a:cubicBezTo>
                    <a:pt x="52464" y="165852"/>
                    <a:pt x="51899" y="165852"/>
                    <a:pt x="51335" y="165852"/>
                  </a:cubicBezTo>
                  <a:lnTo>
                    <a:pt x="49361" y="165852"/>
                  </a:lnTo>
                  <a:cubicBezTo>
                    <a:pt x="48797" y="166416"/>
                    <a:pt x="47668" y="166416"/>
                    <a:pt x="47104" y="166698"/>
                  </a:cubicBezTo>
                  <a:cubicBezTo>
                    <a:pt x="45976" y="167262"/>
                    <a:pt x="44848" y="167544"/>
                    <a:pt x="44002" y="168109"/>
                  </a:cubicBezTo>
                  <a:cubicBezTo>
                    <a:pt x="43156" y="168109"/>
                    <a:pt x="42592" y="168391"/>
                    <a:pt x="41745" y="168391"/>
                  </a:cubicBezTo>
                  <a:cubicBezTo>
                    <a:pt x="40899" y="168391"/>
                    <a:pt x="40053" y="168109"/>
                    <a:pt x="39489" y="167544"/>
                  </a:cubicBezTo>
                  <a:cubicBezTo>
                    <a:pt x="39489" y="167262"/>
                    <a:pt x="39206" y="167262"/>
                    <a:pt x="38925" y="167262"/>
                  </a:cubicBezTo>
                  <a:lnTo>
                    <a:pt x="38078" y="167262"/>
                  </a:lnTo>
                  <a:cubicBezTo>
                    <a:pt x="37232" y="167262"/>
                    <a:pt x="37232" y="166698"/>
                    <a:pt x="37232" y="165852"/>
                  </a:cubicBezTo>
                  <a:cubicBezTo>
                    <a:pt x="37232" y="165570"/>
                    <a:pt x="37514" y="165006"/>
                    <a:pt x="37514" y="164724"/>
                  </a:cubicBezTo>
                  <a:cubicBezTo>
                    <a:pt x="37796" y="164160"/>
                    <a:pt x="37796" y="163596"/>
                    <a:pt x="37796" y="163031"/>
                  </a:cubicBezTo>
                  <a:lnTo>
                    <a:pt x="37796" y="160775"/>
                  </a:lnTo>
                  <a:cubicBezTo>
                    <a:pt x="37796" y="160211"/>
                    <a:pt x="38078" y="159365"/>
                    <a:pt x="38078" y="158801"/>
                  </a:cubicBezTo>
                  <a:lnTo>
                    <a:pt x="38078" y="158519"/>
                  </a:lnTo>
                  <a:cubicBezTo>
                    <a:pt x="38078" y="157954"/>
                    <a:pt x="38361" y="157108"/>
                    <a:pt x="38361" y="156544"/>
                  </a:cubicBezTo>
                  <a:cubicBezTo>
                    <a:pt x="38361" y="156262"/>
                    <a:pt x="38642" y="155980"/>
                    <a:pt x="38642" y="155698"/>
                  </a:cubicBezTo>
                  <a:cubicBezTo>
                    <a:pt x="39206" y="155134"/>
                    <a:pt x="39489" y="154288"/>
                    <a:pt x="39489" y="153441"/>
                  </a:cubicBezTo>
                  <a:cubicBezTo>
                    <a:pt x="39489" y="153159"/>
                    <a:pt x="39771" y="152877"/>
                    <a:pt x="40053" y="152877"/>
                  </a:cubicBezTo>
                  <a:lnTo>
                    <a:pt x="40053" y="152313"/>
                  </a:lnTo>
                  <a:cubicBezTo>
                    <a:pt x="39771" y="152031"/>
                    <a:pt x="39489" y="151467"/>
                    <a:pt x="39489" y="151185"/>
                  </a:cubicBezTo>
                  <a:cubicBezTo>
                    <a:pt x="39489" y="150903"/>
                    <a:pt x="39771" y="150903"/>
                    <a:pt x="39771" y="150621"/>
                  </a:cubicBezTo>
                  <a:lnTo>
                    <a:pt x="40335" y="149210"/>
                  </a:lnTo>
                  <a:cubicBezTo>
                    <a:pt x="40335" y="149210"/>
                    <a:pt x="40335" y="148928"/>
                    <a:pt x="40617" y="148928"/>
                  </a:cubicBezTo>
                  <a:cubicBezTo>
                    <a:pt x="41463" y="148928"/>
                    <a:pt x="41181" y="148082"/>
                    <a:pt x="41463" y="147518"/>
                  </a:cubicBezTo>
                  <a:cubicBezTo>
                    <a:pt x="41745" y="147236"/>
                    <a:pt x="42027" y="147236"/>
                    <a:pt x="42027" y="146954"/>
                  </a:cubicBezTo>
                  <a:lnTo>
                    <a:pt x="41745" y="146672"/>
                  </a:lnTo>
                  <a:cubicBezTo>
                    <a:pt x="41181" y="146390"/>
                    <a:pt x="41181" y="146108"/>
                    <a:pt x="41181" y="145826"/>
                  </a:cubicBezTo>
                  <a:cubicBezTo>
                    <a:pt x="41181" y="145544"/>
                    <a:pt x="41181" y="145262"/>
                    <a:pt x="41463" y="144980"/>
                  </a:cubicBezTo>
                  <a:cubicBezTo>
                    <a:pt x="41745" y="144415"/>
                    <a:pt x="42309" y="144133"/>
                    <a:pt x="42309" y="143569"/>
                  </a:cubicBezTo>
                  <a:cubicBezTo>
                    <a:pt x="42309" y="143005"/>
                    <a:pt x="42592" y="143005"/>
                    <a:pt x="43156" y="142723"/>
                  </a:cubicBezTo>
                  <a:lnTo>
                    <a:pt x="44002" y="142723"/>
                  </a:lnTo>
                  <a:cubicBezTo>
                    <a:pt x="44284" y="142441"/>
                    <a:pt x="44284" y="142159"/>
                    <a:pt x="44284" y="141877"/>
                  </a:cubicBezTo>
                  <a:cubicBezTo>
                    <a:pt x="44284" y="141595"/>
                    <a:pt x="44002" y="141313"/>
                    <a:pt x="43720" y="141313"/>
                  </a:cubicBezTo>
                  <a:lnTo>
                    <a:pt x="43437" y="141313"/>
                  </a:lnTo>
                  <a:cubicBezTo>
                    <a:pt x="43156" y="141313"/>
                    <a:pt x="43156" y="141313"/>
                    <a:pt x="43156" y="141031"/>
                  </a:cubicBezTo>
                  <a:cubicBezTo>
                    <a:pt x="43156" y="140749"/>
                    <a:pt x="43156" y="140749"/>
                    <a:pt x="43437" y="140467"/>
                  </a:cubicBezTo>
                  <a:cubicBezTo>
                    <a:pt x="43437" y="140467"/>
                    <a:pt x="43437" y="140185"/>
                    <a:pt x="43720" y="140185"/>
                  </a:cubicBezTo>
                  <a:lnTo>
                    <a:pt x="44848" y="138774"/>
                  </a:lnTo>
                  <a:cubicBezTo>
                    <a:pt x="45130" y="138774"/>
                    <a:pt x="45412" y="138774"/>
                    <a:pt x="45412" y="139056"/>
                  </a:cubicBezTo>
                  <a:lnTo>
                    <a:pt x="45694" y="139056"/>
                  </a:lnTo>
                  <a:cubicBezTo>
                    <a:pt x="45694" y="139902"/>
                    <a:pt x="46258" y="139902"/>
                    <a:pt x="46822" y="140185"/>
                  </a:cubicBezTo>
                  <a:cubicBezTo>
                    <a:pt x="47104" y="140185"/>
                    <a:pt x="47386" y="140185"/>
                    <a:pt x="47386" y="139620"/>
                  </a:cubicBezTo>
                  <a:lnTo>
                    <a:pt x="47668" y="139338"/>
                  </a:lnTo>
                  <a:cubicBezTo>
                    <a:pt x="47668" y="139056"/>
                    <a:pt x="47668" y="139056"/>
                    <a:pt x="47386" y="139056"/>
                  </a:cubicBezTo>
                  <a:cubicBezTo>
                    <a:pt x="46540" y="138774"/>
                    <a:pt x="45976" y="138774"/>
                    <a:pt x="45976" y="138492"/>
                  </a:cubicBezTo>
                  <a:cubicBezTo>
                    <a:pt x="45976" y="138210"/>
                    <a:pt x="46258" y="137928"/>
                    <a:pt x="46258" y="137646"/>
                  </a:cubicBezTo>
                  <a:cubicBezTo>
                    <a:pt x="46258" y="137082"/>
                    <a:pt x="46540" y="136518"/>
                    <a:pt x="46540" y="135954"/>
                  </a:cubicBezTo>
                  <a:cubicBezTo>
                    <a:pt x="47104" y="135389"/>
                    <a:pt x="46822" y="134543"/>
                    <a:pt x="47668" y="134261"/>
                  </a:cubicBezTo>
                  <a:cubicBezTo>
                    <a:pt x="48233" y="133697"/>
                    <a:pt x="47950" y="132851"/>
                    <a:pt x="48233" y="132287"/>
                  </a:cubicBezTo>
                  <a:cubicBezTo>
                    <a:pt x="48514" y="131723"/>
                    <a:pt x="49078" y="131441"/>
                    <a:pt x="49361" y="130594"/>
                  </a:cubicBezTo>
                  <a:cubicBezTo>
                    <a:pt x="49361" y="130312"/>
                    <a:pt x="49643" y="130312"/>
                    <a:pt x="49925" y="130030"/>
                  </a:cubicBezTo>
                  <a:cubicBezTo>
                    <a:pt x="50207" y="129748"/>
                    <a:pt x="50489" y="129466"/>
                    <a:pt x="50489" y="129184"/>
                  </a:cubicBezTo>
                  <a:cubicBezTo>
                    <a:pt x="50489" y="128902"/>
                    <a:pt x="50771" y="128902"/>
                    <a:pt x="50771" y="128620"/>
                  </a:cubicBezTo>
                  <a:cubicBezTo>
                    <a:pt x="50771" y="128338"/>
                    <a:pt x="50489" y="128056"/>
                    <a:pt x="50489" y="127774"/>
                  </a:cubicBezTo>
                  <a:lnTo>
                    <a:pt x="50489" y="127492"/>
                  </a:lnTo>
                  <a:cubicBezTo>
                    <a:pt x="50489" y="127210"/>
                    <a:pt x="50489" y="127210"/>
                    <a:pt x="50771" y="127210"/>
                  </a:cubicBezTo>
                  <a:lnTo>
                    <a:pt x="51899" y="127210"/>
                  </a:lnTo>
                  <a:cubicBezTo>
                    <a:pt x="52181" y="127210"/>
                    <a:pt x="52464" y="126646"/>
                    <a:pt x="52464" y="126363"/>
                  </a:cubicBezTo>
                  <a:cubicBezTo>
                    <a:pt x="52181" y="126081"/>
                    <a:pt x="52181" y="126081"/>
                    <a:pt x="52181" y="125799"/>
                  </a:cubicBezTo>
                  <a:cubicBezTo>
                    <a:pt x="52181" y="125517"/>
                    <a:pt x="52181" y="125517"/>
                    <a:pt x="52464" y="125235"/>
                  </a:cubicBezTo>
                  <a:lnTo>
                    <a:pt x="53592" y="124107"/>
                  </a:lnTo>
                  <a:cubicBezTo>
                    <a:pt x="53592" y="124107"/>
                    <a:pt x="53874" y="124107"/>
                    <a:pt x="53874" y="123825"/>
                  </a:cubicBezTo>
                  <a:cubicBezTo>
                    <a:pt x="53874" y="123825"/>
                    <a:pt x="53592" y="123543"/>
                    <a:pt x="53592" y="123261"/>
                  </a:cubicBezTo>
                  <a:cubicBezTo>
                    <a:pt x="53592" y="122979"/>
                    <a:pt x="53592" y="122697"/>
                    <a:pt x="53874" y="122697"/>
                  </a:cubicBezTo>
                  <a:cubicBezTo>
                    <a:pt x="54156" y="122697"/>
                    <a:pt x="54720" y="122697"/>
                    <a:pt x="55002" y="122415"/>
                  </a:cubicBezTo>
                  <a:lnTo>
                    <a:pt x="55284" y="122415"/>
                  </a:lnTo>
                  <a:lnTo>
                    <a:pt x="55284" y="122133"/>
                  </a:lnTo>
                  <a:cubicBezTo>
                    <a:pt x="55284" y="121568"/>
                    <a:pt x="55566" y="121286"/>
                    <a:pt x="55848" y="121004"/>
                  </a:cubicBezTo>
                  <a:cubicBezTo>
                    <a:pt x="56412" y="120440"/>
                    <a:pt x="56976" y="119594"/>
                    <a:pt x="57823" y="119030"/>
                  </a:cubicBezTo>
                  <a:cubicBezTo>
                    <a:pt x="57823" y="118748"/>
                    <a:pt x="57823" y="118466"/>
                    <a:pt x="58105" y="118184"/>
                  </a:cubicBezTo>
                  <a:cubicBezTo>
                    <a:pt x="58105" y="117902"/>
                    <a:pt x="57823" y="117620"/>
                    <a:pt x="57823" y="117620"/>
                  </a:cubicBezTo>
                  <a:cubicBezTo>
                    <a:pt x="57823" y="117338"/>
                    <a:pt x="58105" y="117338"/>
                    <a:pt x="58669" y="117055"/>
                  </a:cubicBezTo>
                  <a:lnTo>
                    <a:pt x="58951" y="116773"/>
                  </a:lnTo>
                  <a:cubicBezTo>
                    <a:pt x="59233" y="116773"/>
                    <a:pt x="59515" y="116491"/>
                    <a:pt x="59797" y="116209"/>
                  </a:cubicBezTo>
                  <a:cubicBezTo>
                    <a:pt x="59797" y="115645"/>
                    <a:pt x="60079" y="115363"/>
                    <a:pt x="60361" y="115363"/>
                  </a:cubicBezTo>
                  <a:cubicBezTo>
                    <a:pt x="61207" y="114799"/>
                    <a:pt x="61771" y="114235"/>
                    <a:pt x="62054" y="113671"/>
                  </a:cubicBezTo>
                  <a:cubicBezTo>
                    <a:pt x="62618" y="113107"/>
                    <a:pt x="63182" y="112542"/>
                    <a:pt x="63464" y="111696"/>
                  </a:cubicBezTo>
                  <a:lnTo>
                    <a:pt x="64310" y="110004"/>
                  </a:lnTo>
                  <a:cubicBezTo>
                    <a:pt x="64310" y="109722"/>
                    <a:pt x="64592" y="109722"/>
                    <a:pt x="64592" y="109722"/>
                  </a:cubicBezTo>
                  <a:cubicBezTo>
                    <a:pt x="65156" y="109440"/>
                    <a:pt x="65438" y="109158"/>
                    <a:pt x="65720" y="108312"/>
                  </a:cubicBezTo>
                  <a:cubicBezTo>
                    <a:pt x="65720" y="108030"/>
                    <a:pt x="66284" y="107465"/>
                    <a:pt x="66567" y="107465"/>
                  </a:cubicBezTo>
                  <a:cubicBezTo>
                    <a:pt x="67131" y="106901"/>
                    <a:pt x="67695" y="106619"/>
                    <a:pt x="67977" y="105773"/>
                  </a:cubicBezTo>
                  <a:cubicBezTo>
                    <a:pt x="68259" y="105209"/>
                    <a:pt x="68823" y="104927"/>
                    <a:pt x="69105" y="104081"/>
                  </a:cubicBezTo>
                  <a:lnTo>
                    <a:pt x="69669" y="103517"/>
                  </a:lnTo>
                  <a:cubicBezTo>
                    <a:pt x="69951" y="103517"/>
                    <a:pt x="70233" y="103234"/>
                    <a:pt x="70515" y="103234"/>
                  </a:cubicBezTo>
                  <a:cubicBezTo>
                    <a:pt x="70798" y="103234"/>
                    <a:pt x="71079" y="102952"/>
                    <a:pt x="71079" y="102670"/>
                  </a:cubicBezTo>
                  <a:cubicBezTo>
                    <a:pt x="71362" y="101824"/>
                    <a:pt x="71926" y="100978"/>
                    <a:pt x="72490" y="100414"/>
                  </a:cubicBezTo>
                  <a:cubicBezTo>
                    <a:pt x="73336" y="99850"/>
                    <a:pt x="73900" y="99004"/>
                    <a:pt x="74464" y="98157"/>
                  </a:cubicBezTo>
                  <a:cubicBezTo>
                    <a:pt x="74746" y="97593"/>
                    <a:pt x="75593" y="97029"/>
                    <a:pt x="75593" y="96183"/>
                  </a:cubicBezTo>
                  <a:lnTo>
                    <a:pt x="77003" y="95337"/>
                  </a:lnTo>
                  <a:cubicBezTo>
                    <a:pt x="77567" y="95055"/>
                    <a:pt x="77849" y="94491"/>
                    <a:pt x="78131" y="93926"/>
                  </a:cubicBezTo>
                  <a:cubicBezTo>
                    <a:pt x="78413" y="93644"/>
                    <a:pt x="78413" y="93362"/>
                    <a:pt x="78977" y="93362"/>
                  </a:cubicBezTo>
                  <a:cubicBezTo>
                    <a:pt x="79260" y="93362"/>
                    <a:pt x="79824" y="93080"/>
                    <a:pt x="79824" y="92798"/>
                  </a:cubicBezTo>
                  <a:lnTo>
                    <a:pt x="80952" y="91952"/>
                  </a:lnTo>
                  <a:cubicBezTo>
                    <a:pt x="80952" y="91670"/>
                    <a:pt x="81234" y="91670"/>
                    <a:pt x="81234" y="91388"/>
                  </a:cubicBezTo>
                  <a:cubicBezTo>
                    <a:pt x="81234" y="90542"/>
                    <a:pt x="81798" y="90260"/>
                    <a:pt x="82362" y="89696"/>
                  </a:cubicBezTo>
                  <a:cubicBezTo>
                    <a:pt x="83208" y="89131"/>
                    <a:pt x="84054" y="88567"/>
                    <a:pt x="84054" y="87439"/>
                  </a:cubicBezTo>
                  <a:lnTo>
                    <a:pt x="84336" y="87157"/>
                  </a:lnTo>
                  <a:cubicBezTo>
                    <a:pt x="85182" y="86875"/>
                    <a:pt x="85465" y="86311"/>
                    <a:pt x="86311" y="86029"/>
                  </a:cubicBezTo>
                  <a:lnTo>
                    <a:pt x="88003" y="84900"/>
                  </a:lnTo>
                  <a:cubicBezTo>
                    <a:pt x="88849" y="84336"/>
                    <a:pt x="89413" y="83772"/>
                    <a:pt x="89977" y="82926"/>
                  </a:cubicBezTo>
                  <a:lnTo>
                    <a:pt x="95619" y="78977"/>
                  </a:lnTo>
                  <a:cubicBezTo>
                    <a:pt x="96183" y="78413"/>
                    <a:pt x="96747" y="77849"/>
                    <a:pt x="97594" y="77567"/>
                  </a:cubicBezTo>
                  <a:lnTo>
                    <a:pt x="98722" y="76721"/>
                  </a:lnTo>
                  <a:cubicBezTo>
                    <a:pt x="99004" y="76439"/>
                    <a:pt x="99568" y="75875"/>
                    <a:pt x="99850" y="75875"/>
                  </a:cubicBezTo>
                  <a:cubicBezTo>
                    <a:pt x="100696" y="75592"/>
                    <a:pt x="100696" y="75028"/>
                    <a:pt x="100978" y="74464"/>
                  </a:cubicBezTo>
                  <a:cubicBezTo>
                    <a:pt x="100978" y="73618"/>
                    <a:pt x="101260" y="72490"/>
                    <a:pt x="101260" y="71644"/>
                  </a:cubicBezTo>
                  <a:lnTo>
                    <a:pt x="101260" y="71079"/>
                  </a:lnTo>
                  <a:cubicBezTo>
                    <a:pt x="100978" y="71079"/>
                    <a:pt x="100978" y="70797"/>
                    <a:pt x="100978" y="70515"/>
                  </a:cubicBezTo>
                  <a:cubicBezTo>
                    <a:pt x="100978" y="70233"/>
                    <a:pt x="100978" y="70233"/>
                    <a:pt x="101260" y="69951"/>
                  </a:cubicBezTo>
                  <a:cubicBezTo>
                    <a:pt x="101260" y="69387"/>
                    <a:pt x="101260" y="68823"/>
                    <a:pt x="100978" y="68259"/>
                  </a:cubicBezTo>
                  <a:lnTo>
                    <a:pt x="100978" y="65438"/>
                  </a:lnTo>
                  <a:cubicBezTo>
                    <a:pt x="100978" y="64874"/>
                    <a:pt x="100696" y="64028"/>
                    <a:pt x="100696" y="63464"/>
                  </a:cubicBezTo>
                  <a:lnTo>
                    <a:pt x="100696" y="62053"/>
                  </a:lnTo>
                  <a:cubicBezTo>
                    <a:pt x="100414" y="61771"/>
                    <a:pt x="100132" y="61207"/>
                    <a:pt x="100132" y="60925"/>
                  </a:cubicBezTo>
                  <a:cubicBezTo>
                    <a:pt x="100132" y="60643"/>
                    <a:pt x="100132" y="60643"/>
                    <a:pt x="100414" y="60361"/>
                  </a:cubicBezTo>
                  <a:cubicBezTo>
                    <a:pt x="100414" y="59797"/>
                    <a:pt x="100132" y="59233"/>
                    <a:pt x="100132" y="58669"/>
                  </a:cubicBezTo>
                  <a:cubicBezTo>
                    <a:pt x="99568" y="57823"/>
                    <a:pt x="99286" y="56976"/>
                    <a:pt x="99004" y="55848"/>
                  </a:cubicBezTo>
                  <a:cubicBezTo>
                    <a:pt x="98722" y="55566"/>
                    <a:pt x="98722" y="55284"/>
                    <a:pt x="98722" y="55002"/>
                  </a:cubicBezTo>
                  <a:lnTo>
                    <a:pt x="98722" y="54438"/>
                  </a:lnTo>
                  <a:cubicBezTo>
                    <a:pt x="98722" y="54156"/>
                    <a:pt x="98722" y="53874"/>
                    <a:pt x="98439" y="53592"/>
                  </a:cubicBezTo>
                  <a:cubicBezTo>
                    <a:pt x="97875" y="52745"/>
                    <a:pt x="97311" y="51899"/>
                    <a:pt x="96465" y="51053"/>
                  </a:cubicBezTo>
                  <a:cubicBezTo>
                    <a:pt x="96465" y="50771"/>
                    <a:pt x="96747" y="50489"/>
                    <a:pt x="96747" y="50207"/>
                  </a:cubicBezTo>
                  <a:cubicBezTo>
                    <a:pt x="96747" y="49643"/>
                    <a:pt x="96183" y="49361"/>
                    <a:pt x="95619" y="49361"/>
                  </a:cubicBezTo>
                  <a:lnTo>
                    <a:pt x="94773" y="48797"/>
                  </a:lnTo>
                  <a:cubicBezTo>
                    <a:pt x="93927" y="47668"/>
                    <a:pt x="93080" y="47104"/>
                    <a:pt x="92234" y="46258"/>
                  </a:cubicBezTo>
                  <a:cubicBezTo>
                    <a:pt x="91952" y="46258"/>
                    <a:pt x="91670" y="45976"/>
                    <a:pt x="91388" y="45976"/>
                  </a:cubicBezTo>
                  <a:cubicBezTo>
                    <a:pt x="89413" y="44848"/>
                    <a:pt x="89413" y="44848"/>
                    <a:pt x="87157" y="44848"/>
                  </a:cubicBezTo>
                  <a:cubicBezTo>
                    <a:pt x="86593" y="45130"/>
                    <a:pt x="86029" y="45130"/>
                    <a:pt x="85746" y="45412"/>
                  </a:cubicBezTo>
                  <a:lnTo>
                    <a:pt x="85465" y="45412"/>
                  </a:lnTo>
                  <a:cubicBezTo>
                    <a:pt x="83772" y="45694"/>
                    <a:pt x="82644" y="47104"/>
                    <a:pt x="80952" y="47950"/>
                  </a:cubicBezTo>
                  <a:cubicBezTo>
                    <a:pt x="80388" y="48232"/>
                    <a:pt x="80105" y="48515"/>
                    <a:pt x="79824" y="48515"/>
                  </a:cubicBezTo>
                  <a:cubicBezTo>
                    <a:pt x="79260" y="49079"/>
                    <a:pt x="78695" y="49361"/>
                    <a:pt x="77849" y="49361"/>
                  </a:cubicBezTo>
                  <a:lnTo>
                    <a:pt x="77285" y="49361"/>
                  </a:lnTo>
                  <a:cubicBezTo>
                    <a:pt x="77285" y="49361"/>
                    <a:pt x="77567" y="49643"/>
                    <a:pt x="77567" y="49925"/>
                  </a:cubicBezTo>
                  <a:cubicBezTo>
                    <a:pt x="77567" y="50207"/>
                    <a:pt x="77567" y="50489"/>
                    <a:pt x="77285" y="50489"/>
                  </a:cubicBezTo>
                  <a:cubicBezTo>
                    <a:pt x="76721" y="51053"/>
                    <a:pt x="76439" y="51617"/>
                    <a:pt x="76157" y="52181"/>
                  </a:cubicBezTo>
                  <a:lnTo>
                    <a:pt x="75593" y="52745"/>
                  </a:lnTo>
                  <a:lnTo>
                    <a:pt x="74746" y="52745"/>
                  </a:lnTo>
                  <a:lnTo>
                    <a:pt x="74746" y="53310"/>
                  </a:lnTo>
                  <a:cubicBezTo>
                    <a:pt x="74746" y="53592"/>
                    <a:pt x="74746" y="53592"/>
                    <a:pt x="74182" y="53874"/>
                  </a:cubicBezTo>
                  <a:lnTo>
                    <a:pt x="72772" y="55848"/>
                  </a:lnTo>
                  <a:cubicBezTo>
                    <a:pt x="72490" y="56130"/>
                    <a:pt x="72208" y="56130"/>
                    <a:pt x="71926" y="56130"/>
                  </a:cubicBezTo>
                  <a:lnTo>
                    <a:pt x="71362" y="56130"/>
                  </a:lnTo>
                  <a:cubicBezTo>
                    <a:pt x="71079" y="56130"/>
                    <a:pt x="70798" y="56412"/>
                    <a:pt x="70798" y="56694"/>
                  </a:cubicBezTo>
                  <a:cubicBezTo>
                    <a:pt x="70798" y="56976"/>
                    <a:pt x="70798" y="56976"/>
                    <a:pt x="70515" y="57258"/>
                  </a:cubicBezTo>
                  <a:lnTo>
                    <a:pt x="70515" y="57823"/>
                  </a:lnTo>
                  <a:cubicBezTo>
                    <a:pt x="70515" y="58387"/>
                    <a:pt x="70233" y="58387"/>
                    <a:pt x="69669" y="58387"/>
                  </a:cubicBezTo>
                  <a:lnTo>
                    <a:pt x="69105" y="58387"/>
                  </a:lnTo>
                  <a:cubicBezTo>
                    <a:pt x="68541" y="58387"/>
                    <a:pt x="68259" y="58951"/>
                    <a:pt x="68259" y="59515"/>
                  </a:cubicBezTo>
                  <a:lnTo>
                    <a:pt x="68823" y="59515"/>
                  </a:lnTo>
                  <a:lnTo>
                    <a:pt x="68823" y="59797"/>
                  </a:lnTo>
                  <a:cubicBezTo>
                    <a:pt x="68823" y="59797"/>
                    <a:pt x="68823" y="60079"/>
                    <a:pt x="68541" y="60079"/>
                  </a:cubicBezTo>
                  <a:lnTo>
                    <a:pt x="68259" y="59515"/>
                  </a:lnTo>
                  <a:close/>
                  <a:moveTo>
                    <a:pt x="2257" y="204777"/>
                  </a:moveTo>
                  <a:lnTo>
                    <a:pt x="1974" y="204494"/>
                  </a:lnTo>
                  <a:lnTo>
                    <a:pt x="1974" y="205059"/>
                  </a:lnTo>
                  <a:cubicBezTo>
                    <a:pt x="1974" y="205059"/>
                    <a:pt x="2257" y="205059"/>
                    <a:pt x="2257" y="204777"/>
                  </a:cubicBezTo>
                  <a:close/>
                  <a:moveTo>
                    <a:pt x="42592" y="147518"/>
                  </a:moveTo>
                  <a:cubicBezTo>
                    <a:pt x="42309" y="148082"/>
                    <a:pt x="42027" y="148646"/>
                    <a:pt x="42027" y="149493"/>
                  </a:cubicBezTo>
                  <a:lnTo>
                    <a:pt x="42309" y="149493"/>
                  </a:lnTo>
                  <a:lnTo>
                    <a:pt x="42873" y="148082"/>
                  </a:lnTo>
                  <a:lnTo>
                    <a:pt x="42592" y="147518"/>
                  </a:lnTo>
                  <a:close/>
                  <a:moveTo>
                    <a:pt x="98722" y="91952"/>
                  </a:moveTo>
                  <a:lnTo>
                    <a:pt x="98722" y="91388"/>
                  </a:lnTo>
                  <a:cubicBezTo>
                    <a:pt x="98722" y="91106"/>
                    <a:pt x="98722" y="90824"/>
                    <a:pt x="98439" y="90542"/>
                  </a:cubicBezTo>
                  <a:cubicBezTo>
                    <a:pt x="98158" y="90542"/>
                    <a:pt x="98158" y="90824"/>
                    <a:pt x="97875" y="91106"/>
                  </a:cubicBezTo>
                  <a:cubicBezTo>
                    <a:pt x="97311" y="91670"/>
                    <a:pt x="96465" y="92234"/>
                    <a:pt x="95337" y="92798"/>
                  </a:cubicBezTo>
                  <a:cubicBezTo>
                    <a:pt x="95055" y="92798"/>
                    <a:pt x="94773" y="93080"/>
                    <a:pt x="94773" y="93080"/>
                  </a:cubicBezTo>
                  <a:lnTo>
                    <a:pt x="94773" y="93362"/>
                  </a:lnTo>
                  <a:cubicBezTo>
                    <a:pt x="94773" y="93644"/>
                    <a:pt x="94491" y="93926"/>
                    <a:pt x="93927" y="94491"/>
                  </a:cubicBezTo>
                  <a:lnTo>
                    <a:pt x="92798" y="95901"/>
                  </a:lnTo>
                  <a:cubicBezTo>
                    <a:pt x="92798" y="96183"/>
                    <a:pt x="92234" y="96465"/>
                    <a:pt x="92234" y="96747"/>
                  </a:cubicBezTo>
                  <a:cubicBezTo>
                    <a:pt x="91388" y="97029"/>
                    <a:pt x="90824" y="97593"/>
                    <a:pt x="90260" y="98157"/>
                  </a:cubicBezTo>
                  <a:cubicBezTo>
                    <a:pt x="90260" y="98157"/>
                    <a:pt x="89977" y="98157"/>
                    <a:pt x="89977" y="97875"/>
                  </a:cubicBezTo>
                  <a:cubicBezTo>
                    <a:pt x="89696" y="97593"/>
                    <a:pt x="89696" y="97311"/>
                    <a:pt x="89696" y="97029"/>
                  </a:cubicBezTo>
                  <a:cubicBezTo>
                    <a:pt x="89696" y="96747"/>
                    <a:pt x="89696" y="96465"/>
                    <a:pt x="90260" y="96183"/>
                  </a:cubicBezTo>
                  <a:lnTo>
                    <a:pt x="90260" y="95901"/>
                  </a:lnTo>
                  <a:cubicBezTo>
                    <a:pt x="90260" y="95619"/>
                    <a:pt x="90260" y="95055"/>
                    <a:pt x="89977" y="95055"/>
                  </a:cubicBezTo>
                  <a:cubicBezTo>
                    <a:pt x="89413" y="95055"/>
                    <a:pt x="88849" y="95055"/>
                    <a:pt x="88285" y="95337"/>
                  </a:cubicBezTo>
                  <a:cubicBezTo>
                    <a:pt x="88003" y="95337"/>
                    <a:pt x="88003" y="95619"/>
                    <a:pt x="87721" y="95901"/>
                  </a:cubicBezTo>
                  <a:lnTo>
                    <a:pt x="87721" y="96747"/>
                  </a:lnTo>
                  <a:lnTo>
                    <a:pt x="87439" y="96747"/>
                  </a:lnTo>
                  <a:cubicBezTo>
                    <a:pt x="87157" y="96747"/>
                    <a:pt x="87157" y="96465"/>
                    <a:pt x="86875" y="96465"/>
                  </a:cubicBezTo>
                  <a:lnTo>
                    <a:pt x="86593" y="96183"/>
                  </a:lnTo>
                  <a:cubicBezTo>
                    <a:pt x="86311" y="96183"/>
                    <a:pt x="86311" y="95901"/>
                    <a:pt x="86311" y="95901"/>
                  </a:cubicBezTo>
                  <a:lnTo>
                    <a:pt x="86029" y="96183"/>
                  </a:lnTo>
                  <a:cubicBezTo>
                    <a:pt x="85746" y="96465"/>
                    <a:pt x="85465" y="96465"/>
                    <a:pt x="85465" y="96747"/>
                  </a:cubicBezTo>
                  <a:cubicBezTo>
                    <a:pt x="85182" y="97029"/>
                    <a:pt x="85182" y="97029"/>
                    <a:pt x="85182" y="97311"/>
                  </a:cubicBezTo>
                  <a:lnTo>
                    <a:pt x="85182" y="97875"/>
                  </a:lnTo>
                  <a:cubicBezTo>
                    <a:pt x="85182" y="98439"/>
                    <a:pt x="84901" y="99286"/>
                    <a:pt x="84336" y="99850"/>
                  </a:cubicBezTo>
                  <a:cubicBezTo>
                    <a:pt x="84336" y="100132"/>
                    <a:pt x="84054" y="100414"/>
                    <a:pt x="84054" y="100414"/>
                  </a:cubicBezTo>
                  <a:lnTo>
                    <a:pt x="84054" y="100978"/>
                  </a:lnTo>
                  <a:lnTo>
                    <a:pt x="84336" y="100978"/>
                  </a:lnTo>
                  <a:lnTo>
                    <a:pt x="85465" y="99850"/>
                  </a:lnTo>
                  <a:cubicBezTo>
                    <a:pt x="85746" y="99286"/>
                    <a:pt x="86311" y="99004"/>
                    <a:pt x="87157" y="98721"/>
                  </a:cubicBezTo>
                  <a:cubicBezTo>
                    <a:pt x="87439" y="98721"/>
                    <a:pt x="87439" y="99286"/>
                    <a:pt x="88003" y="99286"/>
                  </a:cubicBezTo>
                  <a:cubicBezTo>
                    <a:pt x="88003" y="99568"/>
                    <a:pt x="88285" y="99568"/>
                    <a:pt x="88285" y="99568"/>
                  </a:cubicBezTo>
                  <a:cubicBezTo>
                    <a:pt x="88285" y="99850"/>
                    <a:pt x="88567" y="100132"/>
                    <a:pt x="88567" y="100132"/>
                  </a:cubicBezTo>
                  <a:cubicBezTo>
                    <a:pt x="88567" y="100414"/>
                    <a:pt x="88285" y="100414"/>
                    <a:pt x="88285" y="100414"/>
                  </a:cubicBezTo>
                  <a:cubicBezTo>
                    <a:pt x="87721" y="100696"/>
                    <a:pt x="87157" y="101260"/>
                    <a:pt x="86875" y="101824"/>
                  </a:cubicBezTo>
                  <a:cubicBezTo>
                    <a:pt x="86875" y="102106"/>
                    <a:pt x="86029" y="102388"/>
                    <a:pt x="86029" y="102670"/>
                  </a:cubicBezTo>
                  <a:cubicBezTo>
                    <a:pt x="85746" y="102952"/>
                    <a:pt x="85465" y="103234"/>
                    <a:pt x="85182" y="103234"/>
                  </a:cubicBezTo>
                  <a:cubicBezTo>
                    <a:pt x="84901" y="104363"/>
                    <a:pt x="84054" y="104927"/>
                    <a:pt x="82926" y="105491"/>
                  </a:cubicBezTo>
                  <a:cubicBezTo>
                    <a:pt x="82644" y="105491"/>
                    <a:pt x="82644" y="105773"/>
                    <a:pt x="82362" y="106055"/>
                  </a:cubicBezTo>
                  <a:cubicBezTo>
                    <a:pt x="82080" y="107183"/>
                    <a:pt x="81234" y="108312"/>
                    <a:pt x="80388" y="109158"/>
                  </a:cubicBezTo>
                  <a:cubicBezTo>
                    <a:pt x="80388" y="109722"/>
                    <a:pt x="79824" y="110286"/>
                    <a:pt x="79260" y="110568"/>
                  </a:cubicBezTo>
                  <a:cubicBezTo>
                    <a:pt x="79260" y="110568"/>
                    <a:pt x="78977" y="110850"/>
                    <a:pt x="78977" y="111132"/>
                  </a:cubicBezTo>
                  <a:cubicBezTo>
                    <a:pt x="78977" y="111696"/>
                    <a:pt x="78131" y="112260"/>
                    <a:pt x="77567" y="112542"/>
                  </a:cubicBezTo>
                  <a:cubicBezTo>
                    <a:pt x="77285" y="112542"/>
                    <a:pt x="77003" y="112825"/>
                    <a:pt x="77003" y="113107"/>
                  </a:cubicBezTo>
                  <a:cubicBezTo>
                    <a:pt x="77003" y="113953"/>
                    <a:pt x="76157" y="114235"/>
                    <a:pt x="75593" y="115081"/>
                  </a:cubicBezTo>
                  <a:cubicBezTo>
                    <a:pt x="75593" y="115081"/>
                    <a:pt x="75029" y="115363"/>
                    <a:pt x="75029" y="115645"/>
                  </a:cubicBezTo>
                  <a:cubicBezTo>
                    <a:pt x="74464" y="117055"/>
                    <a:pt x="73618" y="117902"/>
                    <a:pt x="72490" y="119030"/>
                  </a:cubicBezTo>
                  <a:cubicBezTo>
                    <a:pt x="72490" y="119312"/>
                    <a:pt x="72208" y="119312"/>
                    <a:pt x="71926" y="119312"/>
                  </a:cubicBezTo>
                  <a:lnTo>
                    <a:pt x="71643" y="119312"/>
                  </a:lnTo>
                  <a:cubicBezTo>
                    <a:pt x="71362" y="119312"/>
                    <a:pt x="71079" y="119030"/>
                    <a:pt x="71079" y="119030"/>
                  </a:cubicBezTo>
                  <a:cubicBezTo>
                    <a:pt x="71079" y="119030"/>
                    <a:pt x="71362" y="119030"/>
                    <a:pt x="71643" y="118748"/>
                  </a:cubicBezTo>
                  <a:cubicBezTo>
                    <a:pt x="71926" y="118466"/>
                    <a:pt x="72490" y="117902"/>
                    <a:pt x="72490" y="117338"/>
                  </a:cubicBezTo>
                  <a:lnTo>
                    <a:pt x="72490" y="117055"/>
                  </a:lnTo>
                  <a:cubicBezTo>
                    <a:pt x="72490" y="116773"/>
                    <a:pt x="72208" y="116773"/>
                    <a:pt x="71926" y="116491"/>
                  </a:cubicBezTo>
                  <a:lnTo>
                    <a:pt x="71926" y="115645"/>
                  </a:lnTo>
                  <a:cubicBezTo>
                    <a:pt x="72208" y="115363"/>
                    <a:pt x="72772" y="115081"/>
                    <a:pt x="73054" y="115081"/>
                  </a:cubicBezTo>
                  <a:lnTo>
                    <a:pt x="73618" y="115081"/>
                  </a:lnTo>
                  <a:cubicBezTo>
                    <a:pt x="73618" y="115081"/>
                    <a:pt x="73336" y="115363"/>
                    <a:pt x="73900" y="115081"/>
                  </a:cubicBezTo>
                  <a:lnTo>
                    <a:pt x="74182" y="115081"/>
                  </a:lnTo>
                  <a:cubicBezTo>
                    <a:pt x="74464" y="114799"/>
                    <a:pt x="74464" y="114517"/>
                    <a:pt x="74464" y="114517"/>
                  </a:cubicBezTo>
                  <a:cubicBezTo>
                    <a:pt x="73900" y="114235"/>
                    <a:pt x="73900" y="113671"/>
                    <a:pt x="73900" y="113389"/>
                  </a:cubicBezTo>
                  <a:cubicBezTo>
                    <a:pt x="73900" y="113107"/>
                    <a:pt x="73900" y="112825"/>
                    <a:pt x="74464" y="112542"/>
                  </a:cubicBezTo>
                  <a:cubicBezTo>
                    <a:pt x="74746" y="111978"/>
                    <a:pt x="75310" y="111414"/>
                    <a:pt x="75874" y="111132"/>
                  </a:cubicBezTo>
                  <a:cubicBezTo>
                    <a:pt x="76157" y="111132"/>
                    <a:pt x="76157" y="110850"/>
                    <a:pt x="76157" y="110850"/>
                  </a:cubicBezTo>
                  <a:cubicBezTo>
                    <a:pt x="76157" y="110004"/>
                    <a:pt x="77003" y="109440"/>
                    <a:pt x="77567" y="108594"/>
                  </a:cubicBezTo>
                  <a:cubicBezTo>
                    <a:pt x="78131" y="108030"/>
                    <a:pt x="78695" y="107465"/>
                    <a:pt x="79541" y="107465"/>
                  </a:cubicBezTo>
                  <a:cubicBezTo>
                    <a:pt x="79824" y="107465"/>
                    <a:pt x="79824" y="107183"/>
                    <a:pt x="79824" y="106901"/>
                  </a:cubicBezTo>
                  <a:cubicBezTo>
                    <a:pt x="79824" y="106619"/>
                    <a:pt x="79541" y="106337"/>
                    <a:pt x="79824" y="106337"/>
                  </a:cubicBezTo>
                  <a:cubicBezTo>
                    <a:pt x="80105" y="105773"/>
                    <a:pt x="80670" y="105209"/>
                    <a:pt x="81234" y="104645"/>
                  </a:cubicBezTo>
                  <a:cubicBezTo>
                    <a:pt x="81516" y="104363"/>
                    <a:pt x="81516" y="104363"/>
                    <a:pt x="81798" y="104363"/>
                  </a:cubicBezTo>
                  <a:cubicBezTo>
                    <a:pt x="82080" y="104645"/>
                    <a:pt x="82080" y="104645"/>
                    <a:pt x="82362" y="104645"/>
                  </a:cubicBezTo>
                  <a:cubicBezTo>
                    <a:pt x="82644" y="104645"/>
                    <a:pt x="82926" y="104645"/>
                    <a:pt x="83208" y="104363"/>
                  </a:cubicBezTo>
                  <a:cubicBezTo>
                    <a:pt x="83772" y="104081"/>
                    <a:pt x="84054" y="103799"/>
                    <a:pt x="84054" y="103517"/>
                  </a:cubicBezTo>
                  <a:cubicBezTo>
                    <a:pt x="84336" y="102952"/>
                    <a:pt x="84618" y="102388"/>
                    <a:pt x="85182" y="101824"/>
                  </a:cubicBezTo>
                  <a:lnTo>
                    <a:pt x="85182" y="101542"/>
                  </a:lnTo>
                  <a:lnTo>
                    <a:pt x="84901" y="101542"/>
                  </a:lnTo>
                  <a:lnTo>
                    <a:pt x="83490" y="102670"/>
                  </a:lnTo>
                  <a:cubicBezTo>
                    <a:pt x="83208" y="102952"/>
                    <a:pt x="82926" y="102952"/>
                    <a:pt x="82926" y="102952"/>
                  </a:cubicBezTo>
                  <a:cubicBezTo>
                    <a:pt x="82644" y="102952"/>
                    <a:pt x="82644" y="102952"/>
                    <a:pt x="82644" y="102670"/>
                  </a:cubicBezTo>
                  <a:lnTo>
                    <a:pt x="82080" y="102106"/>
                  </a:lnTo>
                  <a:cubicBezTo>
                    <a:pt x="81798" y="102106"/>
                    <a:pt x="81516" y="102388"/>
                    <a:pt x="81234" y="102670"/>
                  </a:cubicBezTo>
                  <a:cubicBezTo>
                    <a:pt x="80670" y="102952"/>
                    <a:pt x="80105" y="103517"/>
                    <a:pt x="79541" y="104081"/>
                  </a:cubicBezTo>
                  <a:cubicBezTo>
                    <a:pt x="78977" y="104645"/>
                    <a:pt x="78695" y="104927"/>
                    <a:pt x="78695" y="105491"/>
                  </a:cubicBezTo>
                  <a:cubicBezTo>
                    <a:pt x="78977" y="105491"/>
                    <a:pt x="78695" y="105773"/>
                    <a:pt x="78695" y="106055"/>
                  </a:cubicBezTo>
                  <a:cubicBezTo>
                    <a:pt x="78131" y="107183"/>
                    <a:pt x="77567" y="108030"/>
                    <a:pt x="76439" y="108876"/>
                  </a:cubicBezTo>
                  <a:lnTo>
                    <a:pt x="74464" y="110568"/>
                  </a:lnTo>
                  <a:cubicBezTo>
                    <a:pt x="74464" y="110850"/>
                    <a:pt x="74182" y="110850"/>
                    <a:pt x="73900" y="110850"/>
                  </a:cubicBezTo>
                  <a:lnTo>
                    <a:pt x="73054" y="110850"/>
                  </a:lnTo>
                  <a:cubicBezTo>
                    <a:pt x="72490" y="110850"/>
                    <a:pt x="71926" y="110850"/>
                    <a:pt x="71643" y="111696"/>
                  </a:cubicBezTo>
                  <a:cubicBezTo>
                    <a:pt x="71362" y="111978"/>
                    <a:pt x="71362" y="111978"/>
                    <a:pt x="71079" y="111978"/>
                  </a:cubicBezTo>
                  <a:lnTo>
                    <a:pt x="69951" y="111978"/>
                  </a:lnTo>
                  <a:cubicBezTo>
                    <a:pt x="69387" y="112260"/>
                    <a:pt x="69105" y="112542"/>
                    <a:pt x="69105" y="113107"/>
                  </a:cubicBezTo>
                  <a:lnTo>
                    <a:pt x="69105" y="114517"/>
                  </a:lnTo>
                  <a:cubicBezTo>
                    <a:pt x="69105" y="114799"/>
                    <a:pt x="68823" y="114799"/>
                    <a:pt x="68823" y="114799"/>
                  </a:cubicBezTo>
                  <a:cubicBezTo>
                    <a:pt x="68823" y="114799"/>
                    <a:pt x="68541" y="114799"/>
                    <a:pt x="68541" y="114517"/>
                  </a:cubicBezTo>
                  <a:cubicBezTo>
                    <a:pt x="68259" y="114517"/>
                    <a:pt x="68541" y="113953"/>
                    <a:pt x="67977" y="113953"/>
                  </a:cubicBezTo>
                  <a:cubicBezTo>
                    <a:pt x="67695" y="113953"/>
                    <a:pt x="67695" y="114235"/>
                    <a:pt x="67412" y="114517"/>
                  </a:cubicBezTo>
                  <a:lnTo>
                    <a:pt x="66002" y="115645"/>
                  </a:lnTo>
                  <a:cubicBezTo>
                    <a:pt x="65720" y="115927"/>
                    <a:pt x="65438" y="116209"/>
                    <a:pt x="65438" y="116491"/>
                  </a:cubicBezTo>
                  <a:cubicBezTo>
                    <a:pt x="65438" y="116773"/>
                    <a:pt x="65720" y="117055"/>
                    <a:pt x="66002" y="117055"/>
                  </a:cubicBezTo>
                  <a:lnTo>
                    <a:pt x="66848" y="117902"/>
                  </a:lnTo>
                  <a:cubicBezTo>
                    <a:pt x="67131" y="117902"/>
                    <a:pt x="67131" y="117902"/>
                    <a:pt x="67131" y="118184"/>
                  </a:cubicBezTo>
                  <a:lnTo>
                    <a:pt x="67131" y="118466"/>
                  </a:lnTo>
                  <a:cubicBezTo>
                    <a:pt x="67131" y="118748"/>
                    <a:pt x="66848" y="118748"/>
                    <a:pt x="66567" y="118748"/>
                  </a:cubicBezTo>
                  <a:cubicBezTo>
                    <a:pt x="66284" y="119030"/>
                    <a:pt x="66002" y="119030"/>
                    <a:pt x="66002" y="119594"/>
                  </a:cubicBezTo>
                  <a:cubicBezTo>
                    <a:pt x="66284" y="119594"/>
                    <a:pt x="66284" y="119876"/>
                    <a:pt x="66284" y="119876"/>
                  </a:cubicBezTo>
                  <a:lnTo>
                    <a:pt x="66284" y="120440"/>
                  </a:lnTo>
                  <a:cubicBezTo>
                    <a:pt x="66284" y="121004"/>
                    <a:pt x="66002" y="121004"/>
                    <a:pt x="65720" y="121286"/>
                  </a:cubicBezTo>
                  <a:cubicBezTo>
                    <a:pt x="65438" y="121286"/>
                    <a:pt x="65156" y="121286"/>
                    <a:pt x="64592" y="121568"/>
                  </a:cubicBezTo>
                  <a:cubicBezTo>
                    <a:pt x="64310" y="121568"/>
                    <a:pt x="63746" y="121568"/>
                    <a:pt x="63746" y="121286"/>
                  </a:cubicBezTo>
                  <a:cubicBezTo>
                    <a:pt x="63464" y="121286"/>
                    <a:pt x="63464" y="121004"/>
                    <a:pt x="63464" y="121004"/>
                  </a:cubicBezTo>
                  <a:lnTo>
                    <a:pt x="63182" y="121286"/>
                  </a:lnTo>
                  <a:cubicBezTo>
                    <a:pt x="62618" y="121568"/>
                    <a:pt x="62336" y="121568"/>
                    <a:pt x="62054" y="121568"/>
                  </a:cubicBezTo>
                  <a:cubicBezTo>
                    <a:pt x="61490" y="121568"/>
                    <a:pt x="61207" y="121851"/>
                    <a:pt x="60926" y="122133"/>
                  </a:cubicBezTo>
                  <a:lnTo>
                    <a:pt x="60926" y="122415"/>
                  </a:lnTo>
                  <a:cubicBezTo>
                    <a:pt x="60926" y="122415"/>
                    <a:pt x="60643" y="122415"/>
                    <a:pt x="60643" y="122133"/>
                  </a:cubicBezTo>
                  <a:cubicBezTo>
                    <a:pt x="60361" y="121851"/>
                    <a:pt x="60361" y="121851"/>
                    <a:pt x="60079" y="121851"/>
                  </a:cubicBezTo>
                  <a:cubicBezTo>
                    <a:pt x="59797" y="122133"/>
                    <a:pt x="59797" y="122133"/>
                    <a:pt x="59797" y="122415"/>
                  </a:cubicBezTo>
                  <a:lnTo>
                    <a:pt x="59515" y="122697"/>
                  </a:lnTo>
                  <a:cubicBezTo>
                    <a:pt x="59515" y="122697"/>
                    <a:pt x="59515" y="122979"/>
                    <a:pt x="59797" y="122979"/>
                  </a:cubicBezTo>
                  <a:cubicBezTo>
                    <a:pt x="60361" y="123543"/>
                    <a:pt x="60926" y="123825"/>
                    <a:pt x="60926" y="124671"/>
                  </a:cubicBezTo>
                  <a:lnTo>
                    <a:pt x="60926" y="124953"/>
                  </a:lnTo>
                  <a:cubicBezTo>
                    <a:pt x="60926" y="125235"/>
                    <a:pt x="61207" y="125235"/>
                    <a:pt x="61771" y="125235"/>
                  </a:cubicBezTo>
                  <a:lnTo>
                    <a:pt x="62054" y="125235"/>
                  </a:lnTo>
                  <a:cubicBezTo>
                    <a:pt x="62336" y="124953"/>
                    <a:pt x="62900" y="124671"/>
                    <a:pt x="63182" y="124671"/>
                  </a:cubicBezTo>
                  <a:lnTo>
                    <a:pt x="63464" y="124671"/>
                  </a:lnTo>
                  <a:lnTo>
                    <a:pt x="63464" y="125235"/>
                  </a:lnTo>
                  <a:cubicBezTo>
                    <a:pt x="64028" y="125799"/>
                    <a:pt x="64310" y="125799"/>
                    <a:pt x="64874" y="125799"/>
                  </a:cubicBezTo>
                  <a:cubicBezTo>
                    <a:pt x="65156" y="125799"/>
                    <a:pt x="65438" y="125517"/>
                    <a:pt x="65438" y="125235"/>
                  </a:cubicBezTo>
                  <a:cubicBezTo>
                    <a:pt x="65438" y="124671"/>
                    <a:pt x="65438" y="124389"/>
                    <a:pt x="66002" y="123825"/>
                  </a:cubicBezTo>
                  <a:cubicBezTo>
                    <a:pt x="66002" y="123825"/>
                    <a:pt x="66002" y="123543"/>
                    <a:pt x="66284" y="123261"/>
                  </a:cubicBezTo>
                  <a:cubicBezTo>
                    <a:pt x="66567" y="122133"/>
                    <a:pt x="67695" y="121286"/>
                    <a:pt x="68259" y="120440"/>
                  </a:cubicBezTo>
                  <a:cubicBezTo>
                    <a:pt x="68823" y="120158"/>
                    <a:pt x="69105" y="120158"/>
                    <a:pt x="69669" y="120158"/>
                  </a:cubicBezTo>
                  <a:lnTo>
                    <a:pt x="70798" y="120722"/>
                  </a:lnTo>
                  <a:lnTo>
                    <a:pt x="70798" y="121286"/>
                  </a:lnTo>
                  <a:lnTo>
                    <a:pt x="70233" y="121851"/>
                  </a:lnTo>
                  <a:cubicBezTo>
                    <a:pt x="69387" y="122697"/>
                    <a:pt x="68823" y="123543"/>
                    <a:pt x="68541" y="124671"/>
                  </a:cubicBezTo>
                  <a:lnTo>
                    <a:pt x="67977" y="124953"/>
                  </a:lnTo>
                  <a:lnTo>
                    <a:pt x="66567" y="127492"/>
                  </a:lnTo>
                  <a:cubicBezTo>
                    <a:pt x="66284" y="127774"/>
                    <a:pt x="65720" y="128056"/>
                    <a:pt x="65438" y="128620"/>
                  </a:cubicBezTo>
                  <a:cubicBezTo>
                    <a:pt x="65156" y="128620"/>
                    <a:pt x="64874" y="128902"/>
                    <a:pt x="64874" y="129184"/>
                  </a:cubicBezTo>
                  <a:cubicBezTo>
                    <a:pt x="64592" y="130030"/>
                    <a:pt x="64028" y="131159"/>
                    <a:pt x="63182" y="132005"/>
                  </a:cubicBezTo>
                  <a:cubicBezTo>
                    <a:pt x="62900" y="132569"/>
                    <a:pt x="62900" y="133133"/>
                    <a:pt x="62054" y="133133"/>
                  </a:cubicBezTo>
                  <a:cubicBezTo>
                    <a:pt x="61771" y="133133"/>
                    <a:pt x="61771" y="132851"/>
                    <a:pt x="61771" y="132569"/>
                  </a:cubicBezTo>
                  <a:cubicBezTo>
                    <a:pt x="61771" y="132287"/>
                    <a:pt x="61771" y="132005"/>
                    <a:pt x="62054" y="131723"/>
                  </a:cubicBezTo>
                  <a:lnTo>
                    <a:pt x="62054" y="130876"/>
                  </a:lnTo>
                  <a:cubicBezTo>
                    <a:pt x="61207" y="130312"/>
                    <a:pt x="60643" y="129748"/>
                    <a:pt x="59515" y="129748"/>
                  </a:cubicBezTo>
                  <a:lnTo>
                    <a:pt x="58951" y="129748"/>
                  </a:lnTo>
                  <a:cubicBezTo>
                    <a:pt x="58669" y="129748"/>
                    <a:pt x="58669" y="129466"/>
                    <a:pt x="58387" y="129466"/>
                  </a:cubicBezTo>
                  <a:cubicBezTo>
                    <a:pt x="58105" y="129466"/>
                    <a:pt x="57823" y="129466"/>
                    <a:pt x="57540" y="129748"/>
                  </a:cubicBezTo>
                  <a:cubicBezTo>
                    <a:pt x="57259" y="130030"/>
                    <a:pt x="57259" y="130312"/>
                    <a:pt x="56976" y="130312"/>
                  </a:cubicBezTo>
                  <a:cubicBezTo>
                    <a:pt x="56976" y="130312"/>
                    <a:pt x="56695" y="130030"/>
                    <a:pt x="56412" y="130030"/>
                  </a:cubicBezTo>
                  <a:cubicBezTo>
                    <a:pt x="55848" y="129466"/>
                    <a:pt x="55848" y="129466"/>
                    <a:pt x="55848" y="129184"/>
                  </a:cubicBezTo>
                  <a:cubicBezTo>
                    <a:pt x="55848" y="128902"/>
                    <a:pt x="55848" y="128620"/>
                    <a:pt x="56130" y="128056"/>
                  </a:cubicBezTo>
                  <a:lnTo>
                    <a:pt x="56412" y="127774"/>
                  </a:lnTo>
                  <a:lnTo>
                    <a:pt x="56130" y="127774"/>
                  </a:lnTo>
                  <a:cubicBezTo>
                    <a:pt x="55848" y="127774"/>
                    <a:pt x="55848" y="127774"/>
                    <a:pt x="55284" y="128056"/>
                  </a:cubicBezTo>
                  <a:cubicBezTo>
                    <a:pt x="55002" y="128902"/>
                    <a:pt x="54438" y="129748"/>
                    <a:pt x="53874" y="130594"/>
                  </a:cubicBezTo>
                  <a:cubicBezTo>
                    <a:pt x="52745" y="132005"/>
                    <a:pt x="52181" y="133697"/>
                    <a:pt x="51335" y="135389"/>
                  </a:cubicBezTo>
                  <a:lnTo>
                    <a:pt x="51335" y="135672"/>
                  </a:lnTo>
                  <a:cubicBezTo>
                    <a:pt x="51335" y="136236"/>
                    <a:pt x="51053" y="136518"/>
                    <a:pt x="50489" y="137082"/>
                  </a:cubicBezTo>
                  <a:cubicBezTo>
                    <a:pt x="50489" y="137082"/>
                    <a:pt x="50207" y="137082"/>
                    <a:pt x="49925" y="137364"/>
                  </a:cubicBezTo>
                  <a:cubicBezTo>
                    <a:pt x="49925" y="137364"/>
                    <a:pt x="49925" y="137646"/>
                    <a:pt x="49643" y="137928"/>
                  </a:cubicBezTo>
                  <a:cubicBezTo>
                    <a:pt x="49643" y="138210"/>
                    <a:pt x="49925" y="138210"/>
                    <a:pt x="50207" y="138210"/>
                  </a:cubicBezTo>
                  <a:cubicBezTo>
                    <a:pt x="50771" y="137928"/>
                    <a:pt x="51335" y="137928"/>
                    <a:pt x="52181" y="137364"/>
                  </a:cubicBezTo>
                  <a:cubicBezTo>
                    <a:pt x="52464" y="137364"/>
                    <a:pt x="52745" y="137364"/>
                    <a:pt x="53028" y="137082"/>
                  </a:cubicBezTo>
                  <a:cubicBezTo>
                    <a:pt x="52745" y="137928"/>
                    <a:pt x="52464" y="138492"/>
                    <a:pt x="51899" y="138774"/>
                  </a:cubicBezTo>
                  <a:lnTo>
                    <a:pt x="50771" y="138774"/>
                  </a:lnTo>
                  <a:cubicBezTo>
                    <a:pt x="50489" y="139056"/>
                    <a:pt x="50207" y="139056"/>
                    <a:pt x="50207" y="139056"/>
                  </a:cubicBezTo>
                  <a:lnTo>
                    <a:pt x="49925" y="139056"/>
                  </a:lnTo>
                  <a:cubicBezTo>
                    <a:pt x="49643" y="139056"/>
                    <a:pt x="49361" y="139338"/>
                    <a:pt x="49361" y="139620"/>
                  </a:cubicBezTo>
                  <a:cubicBezTo>
                    <a:pt x="49361" y="140185"/>
                    <a:pt x="48797" y="140749"/>
                    <a:pt x="48233" y="141595"/>
                  </a:cubicBezTo>
                  <a:cubicBezTo>
                    <a:pt x="47950" y="142159"/>
                    <a:pt x="47950" y="142723"/>
                    <a:pt x="47950" y="143287"/>
                  </a:cubicBezTo>
                  <a:cubicBezTo>
                    <a:pt x="47950" y="143851"/>
                    <a:pt x="47668" y="144415"/>
                    <a:pt x="47386" y="144697"/>
                  </a:cubicBezTo>
                  <a:lnTo>
                    <a:pt x="47386" y="144980"/>
                  </a:lnTo>
                  <a:cubicBezTo>
                    <a:pt x="47386" y="145262"/>
                    <a:pt x="47668" y="145262"/>
                    <a:pt x="47668" y="145262"/>
                  </a:cubicBezTo>
                  <a:lnTo>
                    <a:pt x="47950" y="144980"/>
                  </a:lnTo>
                  <a:cubicBezTo>
                    <a:pt x="48233" y="144697"/>
                    <a:pt x="48514" y="144415"/>
                    <a:pt x="48514" y="143851"/>
                  </a:cubicBezTo>
                  <a:lnTo>
                    <a:pt x="48514" y="143569"/>
                  </a:lnTo>
                  <a:cubicBezTo>
                    <a:pt x="48514" y="143287"/>
                    <a:pt x="48797" y="143005"/>
                    <a:pt x="49078" y="142723"/>
                  </a:cubicBezTo>
                  <a:cubicBezTo>
                    <a:pt x="49078" y="142441"/>
                    <a:pt x="49361" y="142159"/>
                    <a:pt x="49643" y="142159"/>
                  </a:cubicBezTo>
                  <a:cubicBezTo>
                    <a:pt x="49925" y="141877"/>
                    <a:pt x="50207" y="141877"/>
                    <a:pt x="50489" y="141877"/>
                  </a:cubicBezTo>
                  <a:cubicBezTo>
                    <a:pt x="50771" y="141877"/>
                    <a:pt x="51053" y="142159"/>
                    <a:pt x="51053" y="142441"/>
                  </a:cubicBezTo>
                  <a:cubicBezTo>
                    <a:pt x="51053" y="143005"/>
                    <a:pt x="50771" y="143287"/>
                    <a:pt x="50489" y="143569"/>
                  </a:cubicBezTo>
                  <a:cubicBezTo>
                    <a:pt x="50207" y="143851"/>
                    <a:pt x="49643" y="143851"/>
                    <a:pt x="49361" y="144415"/>
                  </a:cubicBezTo>
                  <a:cubicBezTo>
                    <a:pt x="49361" y="144697"/>
                    <a:pt x="49078" y="144697"/>
                    <a:pt x="49361" y="144697"/>
                  </a:cubicBezTo>
                  <a:cubicBezTo>
                    <a:pt x="49361" y="144697"/>
                    <a:pt x="49361" y="144980"/>
                    <a:pt x="49643" y="144697"/>
                  </a:cubicBezTo>
                  <a:cubicBezTo>
                    <a:pt x="49643" y="144697"/>
                    <a:pt x="49925" y="144415"/>
                    <a:pt x="50207" y="144415"/>
                  </a:cubicBezTo>
                  <a:cubicBezTo>
                    <a:pt x="50489" y="144415"/>
                    <a:pt x="50771" y="144697"/>
                    <a:pt x="51053" y="144980"/>
                  </a:cubicBezTo>
                  <a:cubicBezTo>
                    <a:pt x="51335" y="145262"/>
                    <a:pt x="51335" y="145544"/>
                    <a:pt x="51617" y="145544"/>
                  </a:cubicBezTo>
                  <a:lnTo>
                    <a:pt x="51899" y="145262"/>
                  </a:lnTo>
                  <a:cubicBezTo>
                    <a:pt x="52181" y="145262"/>
                    <a:pt x="52464" y="145544"/>
                    <a:pt x="52464" y="145826"/>
                  </a:cubicBezTo>
                  <a:cubicBezTo>
                    <a:pt x="52464" y="146390"/>
                    <a:pt x="52464" y="146954"/>
                    <a:pt x="52181" y="147518"/>
                  </a:cubicBezTo>
                  <a:cubicBezTo>
                    <a:pt x="52181" y="147800"/>
                    <a:pt x="52464" y="148082"/>
                    <a:pt x="52745" y="148082"/>
                  </a:cubicBezTo>
                  <a:lnTo>
                    <a:pt x="53028" y="148082"/>
                  </a:lnTo>
                  <a:cubicBezTo>
                    <a:pt x="53028" y="148082"/>
                    <a:pt x="53309" y="148082"/>
                    <a:pt x="53309" y="148364"/>
                  </a:cubicBezTo>
                  <a:lnTo>
                    <a:pt x="53874" y="150057"/>
                  </a:lnTo>
                  <a:cubicBezTo>
                    <a:pt x="53309" y="150339"/>
                    <a:pt x="53028" y="150903"/>
                    <a:pt x="52745" y="151467"/>
                  </a:cubicBezTo>
                  <a:cubicBezTo>
                    <a:pt x="52464" y="151749"/>
                    <a:pt x="52181" y="152313"/>
                    <a:pt x="52181" y="152595"/>
                  </a:cubicBezTo>
                  <a:lnTo>
                    <a:pt x="52181" y="152877"/>
                  </a:lnTo>
                  <a:lnTo>
                    <a:pt x="51617" y="152877"/>
                  </a:lnTo>
                  <a:cubicBezTo>
                    <a:pt x="51053" y="152877"/>
                    <a:pt x="50489" y="152877"/>
                    <a:pt x="50207" y="152595"/>
                  </a:cubicBezTo>
                  <a:cubicBezTo>
                    <a:pt x="50207" y="152313"/>
                    <a:pt x="49925" y="151749"/>
                    <a:pt x="49925" y="151467"/>
                  </a:cubicBezTo>
                  <a:lnTo>
                    <a:pt x="49361" y="151467"/>
                  </a:lnTo>
                  <a:lnTo>
                    <a:pt x="49361" y="151749"/>
                  </a:lnTo>
                  <a:cubicBezTo>
                    <a:pt x="49078" y="152313"/>
                    <a:pt x="49078" y="152877"/>
                    <a:pt x="49078" y="153441"/>
                  </a:cubicBezTo>
                  <a:cubicBezTo>
                    <a:pt x="49078" y="153723"/>
                    <a:pt x="48797" y="154006"/>
                    <a:pt x="48797" y="154288"/>
                  </a:cubicBezTo>
                  <a:lnTo>
                    <a:pt x="48514" y="154288"/>
                  </a:lnTo>
                  <a:cubicBezTo>
                    <a:pt x="48233" y="154288"/>
                    <a:pt x="47950" y="154006"/>
                    <a:pt x="47668" y="154006"/>
                  </a:cubicBezTo>
                  <a:lnTo>
                    <a:pt x="47386" y="153723"/>
                  </a:lnTo>
                  <a:lnTo>
                    <a:pt x="47104" y="154006"/>
                  </a:lnTo>
                  <a:cubicBezTo>
                    <a:pt x="46822" y="154288"/>
                    <a:pt x="46822" y="154570"/>
                    <a:pt x="46822" y="154570"/>
                  </a:cubicBezTo>
                  <a:cubicBezTo>
                    <a:pt x="46822" y="154852"/>
                    <a:pt x="47104" y="155416"/>
                    <a:pt x="47386" y="155416"/>
                  </a:cubicBezTo>
                  <a:cubicBezTo>
                    <a:pt x="47668" y="155980"/>
                    <a:pt x="48233" y="156262"/>
                    <a:pt x="48233" y="156826"/>
                  </a:cubicBezTo>
                  <a:cubicBezTo>
                    <a:pt x="48233" y="157108"/>
                    <a:pt x="48514" y="157108"/>
                    <a:pt x="48797" y="157108"/>
                  </a:cubicBezTo>
                  <a:lnTo>
                    <a:pt x="49361" y="157108"/>
                  </a:lnTo>
                  <a:cubicBezTo>
                    <a:pt x="50207" y="156826"/>
                    <a:pt x="50771" y="157108"/>
                    <a:pt x="51899" y="156262"/>
                  </a:cubicBezTo>
                  <a:cubicBezTo>
                    <a:pt x="52181" y="155980"/>
                    <a:pt x="52464" y="155980"/>
                    <a:pt x="52745" y="155416"/>
                  </a:cubicBezTo>
                  <a:cubicBezTo>
                    <a:pt x="53309" y="155134"/>
                    <a:pt x="53874" y="155134"/>
                    <a:pt x="54438" y="155134"/>
                  </a:cubicBezTo>
                  <a:cubicBezTo>
                    <a:pt x="54438" y="154852"/>
                    <a:pt x="54720" y="154852"/>
                    <a:pt x="54720" y="154852"/>
                  </a:cubicBezTo>
                  <a:cubicBezTo>
                    <a:pt x="55002" y="154570"/>
                    <a:pt x="55284" y="154288"/>
                    <a:pt x="55566" y="154288"/>
                  </a:cubicBezTo>
                  <a:cubicBezTo>
                    <a:pt x="57259" y="153441"/>
                    <a:pt x="58387" y="152031"/>
                    <a:pt x="59797" y="151467"/>
                  </a:cubicBezTo>
                  <a:cubicBezTo>
                    <a:pt x="60361" y="151185"/>
                    <a:pt x="60643" y="150621"/>
                    <a:pt x="61490" y="150339"/>
                  </a:cubicBezTo>
                  <a:lnTo>
                    <a:pt x="65438" y="146954"/>
                  </a:lnTo>
                  <a:cubicBezTo>
                    <a:pt x="66848" y="146108"/>
                    <a:pt x="67695" y="144697"/>
                    <a:pt x="69387" y="143569"/>
                  </a:cubicBezTo>
                  <a:cubicBezTo>
                    <a:pt x="69669" y="143005"/>
                    <a:pt x="70233" y="142441"/>
                    <a:pt x="70798" y="141877"/>
                  </a:cubicBezTo>
                  <a:lnTo>
                    <a:pt x="73054" y="139902"/>
                  </a:lnTo>
                  <a:cubicBezTo>
                    <a:pt x="74182" y="139056"/>
                    <a:pt x="75029" y="137928"/>
                    <a:pt x="75874" y="136800"/>
                  </a:cubicBezTo>
                  <a:cubicBezTo>
                    <a:pt x="76157" y="136518"/>
                    <a:pt x="76157" y="136518"/>
                    <a:pt x="76439" y="136518"/>
                  </a:cubicBezTo>
                  <a:lnTo>
                    <a:pt x="81234" y="130876"/>
                  </a:lnTo>
                  <a:cubicBezTo>
                    <a:pt x="82926" y="128902"/>
                    <a:pt x="84336" y="126646"/>
                    <a:pt x="86029" y="124389"/>
                  </a:cubicBezTo>
                  <a:cubicBezTo>
                    <a:pt x="87157" y="122697"/>
                    <a:pt x="88285" y="120722"/>
                    <a:pt x="88849" y="119030"/>
                  </a:cubicBezTo>
                  <a:cubicBezTo>
                    <a:pt x="90542" y="115927"/>
                    <a:pt x="92234" y="113107"/>
                    <a:pt x="93080" y="109722"/>
                  </a:cubicBezTo>
                  <a:cubicBezTo>
                    <a:pt x="93080" y="109722"/>
                    <a:pt x="93363" y="109722"/>
                    <a:pt x="93363" y="109440"/>
                  </a:cubicBezTo>
                  <a:lnTo>
                    <a:pt x="96465" y="100414"/>
                  </a:lnTo>
                  <a:cubicBezTo>
                    <a:pt x="97311" y="98439"/>
                    <a:pt x="97311" y="96465"/>
                    <a:pt x="98158" y="94773"/>
                  </a:cubicBezTo>
                  <a:cubicBezTo>
                    <a:pt x="98439" y="94491"/>
                    <a:pt x="98439" y="94208"/>
                    <a:pt x="98439" y="93926"/>
                  </a:cubicBezTo>
                  <a:cubicBezTo>
                    <a:pt x="98439" y="93362"/>
                    <a:pt x="98722" y="92516"/>
                    <a:pt x="98722" y="91952"/>
                  </a:cubicBezTo>
                  <a:close/>
                  <a:moveTo>
                    <a:pt x="47668" y="152877"/>
                  </a:moveTo>
                  <a:cubicBezTo>
                    <a:pt x="47950" y="152877"/>
                    <a:pt x="47950" y="152877"/>
                    <a:pt x="47950" y="152595"/>
                  </a:cubicBezTo>
                  <a:lnTo>
                    <a:pt x="47950" y="152031"/>
                  </a:lnTo>
                  <a:cubicBezTo>
                    <a:pt x="47950" y="151749"/>
                    <a:pt x="47668" y="151749"/>
                    <a:pt x="47668" y="151749"/>
                  </a:cubicBezTo>
                  <a:cubicBezTo>
                    <a:pt x="47386" y="152031"/>
                    <a:pt x="47386" y="152031"/>
                    <a:pt x="47386" y="152313"/>
                  </a:cubicBezTo>
                  <a:lnTo>
                    <a:pt x="47668" y="152877"/>
                  </a:lnTo>
                  <a:close/>
                  <a:moveTo>
                    <a:pt x="48514" y="137646"/>
                  </a:moveTo>
                  <a:cubicBezTo>
                    <a:pt x="48797" y="137646"/>
                    <a:pt x="48797" y="137364"/>
                    <a:pt x="49078" y="137082"/>
                  </a:cubicBezTo>
                  <a:cubicBezTo>
                    <a:pt x="49078" y="136800"/>
                    <a:pt x="48797" y="136518"/>
                    <a:pt x="48514" y="136518"/>
                  </a:cubicBezTo>
                  <a:cubicBezTo>
                    <a:pt x="48514" y="136518"/>
                    <a:pt x="48233" y="136518"/>
                    <a:pt x="47950" y="136800"/>
                  </a:cubicBezTo>
                  <a:cubicBezTo>
                    <a:pt x="47668" y="136800"/>
                    <a:pt x="47950" y="137082"/>
                    <a:pt x="47950" y="137646"/>
                  </a:cubicBezTo>
                  <a:cubicBezTo>
                    <a:pt x="47950" y="137646"/>
                    <a:pt x="47668" y="137928"/>
                    <a:pt x="47668" y="138210"/>
                  </a:cubicBezTo>
                  <a:cubicBezTo>
                    <a:pt x="47668" y="138210"/>
                    <a:pt x="48233" y="138210"/>
                    <a:pt x="48514" y="137646"/>
                  </a:cubicBezTo>
                  <a:close/>
                  <a:moveTo>
                    <a:pt x="49078" y="135672"/>
                  </a:moveTo>
                  <a:lnTo>
                    <a:pt x="49361" y="135672"/>
                  </a:lnTo>
                  <a:cubicBezTo>
                    <a:pt x="50207" y="135107"/>
                    <a:pt x="50489" y="133979"/>
                    <a:pt x="51053" y="133415"/>
                  </a:cubicBezTo>
                  <a:lnTo>
                    <a:pt x="50771" y="133415"/>
                  </a:lnTo>
                  <a:cubicBezTo>
                    <a:pt x="50489" y="133415"/>
                    <a:pt x="50489" y="133415"/>
                    <a:pt x="50207" y="133697"/>
                  </a:cubicBezTo>
                  <a:cubicBezTo>
                    <a:pt x="50207" y="133979"/>
                    <a:pt x="50207" y="134261"/>
                    <a:pt x="49643" y="134543"/>
                  </a:cubicBezTo>
                  <a:cubicBezTo>
                    <a:pt x="49643" y="134825"/>
                    <a:pt x="49361" y="135107"/>
                    <a:pt x="49078" y="135389"/>
                  </a:cubicBezTo>
                  <a:lnTo>
                    <a:pt x="49078" y="135672"/>
                  </a:lnTo>
                  <a:close/>
                  <a:moveTo>
                    <a:pt x="53592" y="134825"/>
                  </a:moveTo>
                  <a:cubicBezTo>
                    <a:pt x="53592" y="134825"/>
                    <a:pt x="53592" y="134543"/>
                    <a:pt x="53874" y="134261"/>
                  </a:cubicBezTo>
                  <a:cubicBezTo>
                    <a:pt x="53874" y="133979"/>
                    <a:pt x="53592" y="133697"/>
                    <a:pt x="53592" y="133415"/>
                  </a:cubicBezTo>
                  <a:cubicBezTo>
                    <a:pt x="53592" y="132569"/>
                    <a:pt x="53874" y="132287"/>
                    <a:pt x="54438" y="132287"/>
                  </a:cubicBezTo>
                  <a:cubicBezTo>
                    <a:pt x="54720" y="132287"/>
                    <a:pt x="55002" y="132005"/>
                    <a:pt x="55284" y="132005"/>
                  </a:cubicBezTo>
                  <a:lnTo>
                    <a:pt x="55566" y="132005"/>
                  </a:lnTo>
                  <a:cubicBezTo>
                    <a:pt x="55848" y="132005"/>
                    <a:pt x="55848" y="132005"/>
                    <a:pt x="55848" y="132287"/>
                  </a:cubicBezTo>
                  <a:lnTo>
                    <a:pt x="55848" y="133133"/>
                  </a:lnTo>
                  <a:cubicBezTo>
                    <a:pt x="55848" y="133415"/>
                    <a:pt x="56130" y="133415"/>
                    <a:pt x="56130" y="133415"/>
                  </a:cubicBezTo>
                  <a:lnTo>
                    <a:pt x="56412" y="133415"/>
                  </a:lnTo>
                  <a:cubicBezTo>
                    <a:pt x="56412" y="133415"/>
                    <a:pt x="56695" y="133415"/>
                    <a:pt x="56976" y="133697"/>
                  </a:cubicBezTo>
                  <a:lnTo>
                    <a:pt x="56976" y="134543"/>
                  </a:lnTo>
                  <a:lnTo>
                    <a:pt x="56412" y="135672"/>
                  </a:lnTo>
                  <a:cubicBezTo>
                    <a:pt x="56412" y="135954"/>
                    <a:pt x="56130" y="135954"/>
                    <a:pt x="55848" y="135954"/>
                  </a:cubicBezTo>
                  <a:lnTo>
                    <a:pt x="55566" y="135954"/>
                  </a:lnTo>
                  <a:cubicBezTo>
                    <a:pt x="55002" y="136236"/>
                    <a:pt x="55284" y="137082"/>
                    <a:pt x="54720" y="137082"/>
                  </a:cubicBezTo>
                  <a:lnTo>
                    <a:pt x="53028" y="137082"/>
                  </a:lnTo>
                  <a:cubicBezTo>
                    <a:pt x="53028" y="136236"/>
                    <a:pt x="53028" y="135672"/>
                    <a:pt x="53592" y="134825"/>
                  </a:cubicBezTo>
                  <a:close/>
                  <a:moveTo>
                    <a:pt x="54720" y="148082"/>
                  </a:moveTo>
                  <a:cubicBezTo>
                    <a:pt x="55002" y="148364"/>
                    <a:pt x="55002" y="148646"/>
                    <a:pt x="55002" y="148646"/>
                  </a:cubicBezTo>
                  <a:lnTo>
                    <a:pt x="54720" y="148928"/>
                  </a:lnTo>
                  <a:lnTo>
                    <a:pt x="54438" y="148928"/>
                  </a:lnTo>
                  <a:lnTo>
                    <a:pt x="54438" y="148364"/>
                  </a:lnTo>
                  <a:cubicBezTo>
                    <a:pt x="54438" y="148364"/>
                    <a:pt x="54720" y="148364"/>
                    <a:pt x="54720" y="148082"/>
                  </a:cubicBezTo>
                  <a:close/>
                  <a:moveTo>
                    <a:pt x="54720" y="126646"/>
                  </a:moveTo>
                  <a:lnTo>
                    <a:pt x="55002" y="126646"/>
                  </a:lnTo>
                  <a:lnTo>
                    <a:pt x="55566" y="126081"/>
                  </a:lnTo>
                  <a:lnTo>
                    <a:pt x="55284" y="126081"/>
                  </a:lnTo>
                  <a:lnTo>
                    <a:pt x="55284" y="125799"/>
                  </a:lnTo>
                  <a:lnTo>
                    <a:pt x="54720" y="126363"/>
                  </a:lnTo>
                  <a:lnTo>
                    <a:pt x="54720" y="126646"/>
                  </a:lnTo>
                  <a:close/>
                  <a:moveTo>
                    <a:pt x="56976" y="131723"/>
                  </a:moveTo>
                  <a:lnTo>
                    <a:pt x="56695" y="131723"/>
                  </a:lnTo>
                  <a:cubicBezTo>
                    <a:pt x="56412" y="131723"/>
                    <a:pt x="56130" y="131723"/>
                    <a:pt x="56130" y="131441"/>
                  </a:cubicBezTo>
                  <a:lnTo>
                    <a:pt x="56976" y="130876"/>
                  </a:lnTo>
                  <a:lnTo>
                    <a:pt x="56976" y="131723"/>
                  </a:lnTo>
                  <a:close/>
                  <a:moveTo>
                    <a:pt x="58951" y="128056"/>
                  </a:moveTo>
                  <a:lnTo>
                    <a:pt x="59233" y="128338"/>
                  </a:lnTo>
                  <a:lnTo>
                    <a:pt x="61771" y="127774"/>
                  </a:lnTo>
                  <a:lnTo>
                    <a:pt x="61771" y="127492"/>
                  </a:lnTo>
                  <a:cubicBezTo>
                    <a:pt x="61490" y="127210"/>
                    <a:pt x="61207" y="126928"/>
                    <a:pt x="60926" y="126928"/>
                  </a:cubicBezTo>
                  <a:cubicBezTo>
                    <a:pt x="60079" y="126928"/>
                    <a:pt x="59797" y="127210"/>
                    <a:pt x="59233" y="127774"/>
                  </a:cubicBezTo>
                  <a:lnTo>
                    <a:pt x="58951" y="128056"/>
                  </a:lnTo>
                  <a:close/>
                  <a:moveTo>
                    <a:pt x="59797" y="120440"/>
                  </a:moveTo>
                  <a:cubicBezTo>
                    <a:pt x="60079" y="120440"/>
                    <a:pt x="60079" y="120440"/>
                    <a:pt x="60079" y="120158"/>
                  </a:cubicBezTo>
                  <a:lnTo>
                    <a:pt x="59797" y="120158"/>
                  </a:lnTo>
                  <a:lnTo>
                    <a:pt x="59797" y="120440"/>
                  </a:lnTo>
                  <a:close/>
                  <a:moveTo>
                    <a:pt x="66848" y="62900"/>
                  </a:moveTo>
                  <a:cubicBezTo>
                    <a:pt x="66567" y="62900"/>
                    <a:pt x="66567" y="63182"/>
                    <a:pt x="66284" y="63182"/>
                  </a:cubicBezTo>
                  <a:cubicBezTo>
                    <a:pt x="66284" y="62900"/>
                    <a:pt x="66284" y="62900"/>
                    <a:pt x="66567" y="62618"/>
                  </a:cubicBezTo>
                  <a:lnTo>
                    <a:pt x="66848" y="62618"/>
                  </a:lnTo>
                  <a:lnTo>
                    <a:pt x="66848" y="62900"/>
                  </a:lnTo>
                  <a:close/>
                  <a:moveTo>
                    <a:pt x="67412" y="116491"/>
                  </a:moveTo>
                  <a:cubicBezTo>
                    <a:pt x="67131" y="116491"/>
                    <a:pt x="67131" y="116773"/>
                    <a:pt x="67131" y="116773"/>
                  </a:cubicBezTo>
                  <a:lnTo>
                    <a:pt x="66848" y="116773"/>
                  </a:lnTo>
                  <a:lnTo>
                    <a:pt x="66848" y="116491"/>
                  </a:lnTo>
                  <a:lnTo>
                    <a:pt x="67412" y="116491"/>
                  </a:lnTo>
                  <a:close/>
                  <a:moveTo>
                    <a:pt x="70515" y="110004"/>
                  </a:moveTo>
                  <a:cubicBezTo>
                    <a:pt x="70515" y="110004"/>
                    <a:pt x="70798" y="110286"/>
                    <a:pt x="71079" y="110286"/>
                  </a:cubicBezTo>
                  <a:cubicBezTo>
                    <a:pt x="71079" y="110004"/>
                    <a:pt x="71362" y="109722"/>
                    <a:pt x="71643" y="109722"/>
                  </a:cubicBezTo>
                  <a:lnTo>
                    <a:pt x="71643" y="109440"/>
                  </a:lnTo>
                  <a:cubicBezTo>
                    <a:pt x="71362" y="109440"/>
                    <a:pt x="71362" y="109158"/>
                    <a:pt x="71079" y="109158"/>
                  </a:cubicBezTo>
                  <a:cubicBezTo>
                    <a:pt x="70798" y="109158"/>
                    <a:pt x="70515" y="109440"/>
                    <a:pt x="70515" y="109440"/>
                  </a:cubicBezTo>
                  <a:lnTo>
                    <a:pt x="70515" y="110004"/>
                  </a:lnTo>
                  <a:close/>
                  <a:moveTo>
                    <a:pt x="75593" y="107183"/>
                  </a:moveTo>
                  <a:lnTo>
                    <a:pt x="76157" y="107183"/>
                  </a:lnTo>
                  <a:cubicBezTo>
                    <a:pt x="76439" y="107183"/>
                    <a:pt x="76439" y="106901"/>
                    <a:pt x="76721" y="106901"/>
                  </a:cubicBezTo>
                  <a:cubicBezTo>
                    <a:pt x="76721" y="106619"/>
                    <a:pt x="76439" y="106619"/>
                    <a:pt x="76439" y="106619"/>
                  </a:cubicBezTo>
                  <a:lnTo>
                    <a:pt x="76157" y="106337"/>
                  </a:lnTo>
                  <a:lnTo>
                    <a:pt x="75874" y="106619"/>
                  </a:lnTo>
                  <a:cubicBezTo>
                    <a:pt x="75593" y="106619"/>
                    <a:pt x="75593" y="106901"/>
                    <a:pt x="75593" y="107183"/>
                  </a:cubicBezTo>
                  <a:close/>
                  <a:moveTo>
                    <a:pt x="77849" y="109722"/>
                  </a:moveTo>
                  <a:cubicBezTo>
                    <a:pt x="77567" y="109722"/>
                    <a:pt x="77285" y="110004"/>
                    <a:pt x="77285" y="110286"/>
                  </a:cubicBezTo>
                  <a:lnTo>
                    <a:pt x="77285" y="110568"/>
                  </a:lnTo>
                  <a:lnTo>
                    <a:pt x="77567" y="110568"/>
                  </a:lnTo>
                  <a:cubicBezTo>
                    <a:pt x="77849" y="110568"/>
                    <a:pt x="78131" y="110004"/>
                    <a:pt x="78131" y="109722"/>
                  </a:cubicBezTo>
                  <a:lnTo>
                    <a:pt x="77849" y="109722"/>
                  </a:lnTo>
                  <a:close/>
                  <a:moveTo>
                    <a:pt x="77567" y="153159"/>
                  </a:moveTo>
                  <a:lnTo>
                    <a:pt x="78131" y="153159"/>
                  </a:lnTo>
                  <a:lnTo>
                    <a:pt x="77849" y="153441"/>
                  </a:lnTo>
                  <a:lnTo>
                    <a:pt x="77567" y="153441"/>
                  </a:lnTo>
                  <a:lnTo>
                    <a:pt x="77567" y="153159"/>
                  </a:lnTo>
                  <a:close/>
                  <a:moveTo>
                    <a:pt x="78977" y="151749"/>
                  </a:moveTo>
                  <a:lnTo>
                    <a:pt x="79824" y="151749"/>
                  </a:lnTo>
                  <a:cubicBezTo>
                    <a:pt x="79824" y="152031"/>
                    <a:pt x="79541" y="152595"/>
                    <a:pt x="79260" y="152877"/>
                  </a:cubicBezTo>
                  <a:cubicBezTo>
                    <a:pt x="78977" y="153159"/>
                    <a:pt x="78413" y="153159"/>
                    <a:pt x="78131" y="153159"/>
                  </a:cubicBezTo>
                  <a:cubicBezTo>
                    <a:pt x="78413" y="152595"/>
                    <a:pt x="78977" y="152313"/>
                    <a:pt x="78977" y="151749"/>
                  </a:cubicBezTo>
                  <a:close/>
                  <a:moveTo>
                    <a:pt x="79880" y="100978"/>
                  </a:moveTo>
                  <a:cubicBezTo>
                    <a:pt x="80162" y="101260"/>
                    <a:pt x="80444" y="101260"/>
                    <a:pt x="80444" y="101542"/>
                  </a:cubicBezTo>
                  <a:cubicBezTo>
                    <a:pt x="81008" y="101542"/>
                    <a:pt x="81290" y="101542"/>
                    <a:pt x="81290" y="100978"/>
                  </a:cubicBezTo>
                  <a:lnTo>
                    <a:pt x="81290" y="100696"/>
                  </a:lnTo>
                  <a:lnTo>
                    <a:pt x="81008" y="100414"/>
                  </a:lnTo>
                  <a:cubicBezTo>
                    <a:pt x="80726" y="100414"/>
                    <a:pt x="80726" y="100696"/>
                    <a:pt x="80444" y="100696"/>
                  </a:cubicBezTo>
                  <a:cubicBezTo>
                    <a:pt x="80444" y="100696"/>
                    <a:pt x="80162" y="100696"/>
                    <a:pt x="80162" y="100978"/>
                  </a:cubicBezTo>
                  <a:lnTo>
                    <a:pt x="79880" y="100978"/>
                  </a:lnTo>
                  <a:close/>
                  <a:moveTo>
                    <a:pt x="93363" y="92234"/>
                  </a:moveTo>
                  <a:cubicBezTo>
                    <a:pt x="93927" y="92234"/>
                    <a:pt x="93927" y="92234"/>
                    <a:pt x="93927" y="91670"/>
                  </a:cubicBezTo>
                  <a:cubicBezTo>
                    <a:pt x="94208" y="91106"/>
                    <a:pt x="93927" y="90260"/>
                    <a:pt x="94491" y="89978"/>
                  </a:cubicBezTo>
                  <a:lnTo>
                    <a:pt x="94491" y="89696"/>
                  </a:lnTo>
                  <a:cubicBezTo>
                    <a:pt x="94491" y="89413"/>
                    <a:pt x="94491" y="89413"/>
                    <a:pt x="94208" y="89413"/>
                  </a:cubicBezTo>
                  <a:cubicBezTo>
                    <a:pt x="93644" y="89413"/>
                    <a:pt x="93644" y="89413"/>
                    <a:pt x="93363" y="89978"/>
                  </a:cubicBezTo>
                  <a:lnTo>
                    <a:pt x="92798" y="90824"/>
                  </a:lnTo>
                  <a:cubicBezTo>
                    <a:pt x="92798" y="91106"/>
                    <a:pt x="92798" y="91388"/>
                    <a:pt x="92516" y="91670"/>
                  </a:cubicBezTo>
                  <a:cubicBezTo>
                    <a:pt x="92573" y="91952"/>
                    <a:pt x="92798" y="92234"/>
                    <a:pt x="93363" y="92234"/>
                  </a:cubicBezTo>
                  <a:close/>
                  <a:moveTo>
                    <a:pt x="96521" y="90542"/>
                  </a:moveTo>
                  <a:cubicBezTo>
                    <a:pt x="96804" y="90542"/>
                    <a:pt x="96804" y="90260"/>
                    <a:pt x="97085" y="90260"/>
                  </a:cubicBezTo>
                  <a:lnTo>
                    <a:pt x="97085" y="89978"/>
                  </a:lnTo>
                  <a:lnTo>
                    <a:pt x="96804" y="89978"/>
                  </a:lnTo>
                  <a:lnTo>
                    <a:pt x="96521" y="90260"/>
                  </a:lnTo>
                  <a:lnTo>
                    <a:pt x="96521" y="90542"/>
                  </a:lnTo>
                  <a:close/>
                  <a:moveTo>
                    <a:pt x="108594" y="108876"/>
                  </a:moveTo>
                  <a:cubicBezTo>
                    <a:pt x="108311" y="108876"/>
                    <a:pt x="108594" y="108594"/>
                    <a:pt x="108594" y="108594"/>
                  </a:cubicBezTo>
                  <a:cubicBezTo>
                    <a:pt x="108311" y="108594"/>
                    <a:pt x="108030" y="108594"/>
                    <a:pt x="107747" y="108876"/>
                  </a:cubicBezTo>
                  <a:cubicBezTo>
                    <a:pt x="107747" y="108876"/>
                    <a:pt x="107747" y="109158"/>
                    <a:pt x="108030" y="109158"/>
                  </a:cubicBezTo>
                  <a:cubicBezTo>
                    <a:pt x="108086" y="109158"/>
                    <a:pt x="108311" y="109158"/>
                    <a:pt x="108594" y="108876"/>
                  </a:cubicBezTo>
                  <a:close/>
                  <a:moveTo>
                    <a:pt x="115645" y="90260"/>
                  </a:moveTo>
                  <a:lnTo>
                    <a:pt x="115363" y="90260"/>
                  </a:lnTo>
                  <a:lnTo>
                    <a:pt x="115928" y="91106"/>
                  </a:lnTo>
                  <a:lnTo>
                    <a:pt x="116209" y="91106"/>
                  </a:lnTo>
                  <a:lnTo>
                    <a:pt x="116209" y="90824"/>
                  </a:lnTo>
                  <a:cubicBezTo>
                    <a:pt x="116266" y="90542"/>
                    <a:pt x="115983" y="90542"/>
                    <a:pt x="115645" y="90260"/>
                  </a:cubicBezTo>
                  <a:close/>
                  <a:moveTo>
                    <a:pt x="130369" y="70233"/>
                  </a:moveTo>
                  <a:lnTo>
                    <a:pt x="130086" y="70233"/>
                  </a:lnTo>
                  <a:cubicBezTo>
                    <a:pt x="130086" y="70233"/>
                    <a:pt x="129805" y="70233"/>
                    <a:pt x="129805" y="70515"/>
                  </a:cubicBezTo>
                  <a:cubicBezTo>
                    <a:pt x="130086" y="70515"/>
                    <a:pt x="130086" y="70233"/>
                    <a:pt x="130369" y="70233"/>
                  </a:cubicBezTo>
                  <a:close/>
                  <a:moveTo>
                    <a:pt x="153216" y="55566"/>
                  </a:moveTo>
                  <a:cubicBezTo>
                    <a:pt x="153498" y="55284"/>
                    <a:pt x="153216" y="55284"/>
                    <a:pt x="153216" y="55284"/>
                  </a:cubicBezTo>
                  <a:lnTo>
                    <a:pt x="153216" y="55566"/>
                  </a:lnTo>
                  <a:close/>
                </a:path>
              </a:pathLst>
            </a:custGeom>
            <a:solidFill>
              <a:srgbClr val="000000"/>
            </a:solidFill>
            <a:ln w="5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4AD3FB6B-C9FF-4B6B-83F5-6CF1D6579F07}"/>
                </a:ext>
              </a:extLst>
            </p:cNvPr>
            <p:cNvSpPr/>
            <p:nvPr/>
          </p:nvSpPr>
          <p:spPr>
            <a:xfrm>
              <a:off x="6263345" y="3351997"/>
              <a:ext cx="112825" cy="129748"/>
            </a:xfrm>
            <a:custGeom>
              <a:avLst/>
              <a:gdLst>
                <a:gd name="connsiteX0" fmla="*/ 108030 w 112824"/>
                <a:gd name="connsiteY0" fmla="*/ 66284 h 129748"/>
                <a:gd name="connsiteX1" fmla="*/ 107183 w 112824"/>
                <a:gd name="connsiteY1" fmla="*/ 68259 h 129748"/>
                <a:gd name="connsiteX2" fmla="*/ 104927 w 112824"/>
                <a:gd name="connsiteY2" fmla="*/ 70233 h 129748"/>
                <a:gd name="connsiteX3" fmla="*/ 104363 w 112824"/>
                <a:gd name="connsiteY3" fmla="*/ 71362 h 129748"/>
                <a:gd name="connsiteX4" fmla="*/ 104080 w 112824"/>
                <a:gd name="connsiteY4" fmla="*/ 71926 h 129748"/>
                <a:gd name="connsiteX5" fmla="*/ 104644 w 112824"/>
                <a:gd name="connsiteY5" fmla="*/ 73054 h 129748"/>
                <a:gd name="connsiteX6" fmla="*/ 105209 w 112824"/>
                <a:gd name="connsiteY6" fmla="*/ 73336 h 129748"/>
                <a:gd name="connsiteX7" fmla="*/ 106337 w 112824"/>
                <a:gd name="connsiteY7" fmla="*/ 73618 h 129748"/>
                <a:gd name="connsiteX8" fmla="*/ 106619 w 112824"/>
                <a:gd name="connsiteY8" fmla="*/ 73336 h 129748"/>
                <a:gd name="connsiteX9" fmla="*/ 107183 w 112824"/>
                <a:gd name="connsiteY9" fmla="*/ 73618 h 129748"/>
                <a:gd name="connsiteX10" fmla="*/ 104927 w 112824"/>
                <a:gd name="connsiteY10" fmla="*/ 77003 h 129748"/>
                <a:gd name="connsiteX11" fmla="*/ 104080 w 112824"/>
                <a:gd name="connsiteY11" fmla="*/ 78695 h 129748"/>
                <a:gd name="connsiteX12" fmla="*/ 103234 w 112824"/>
                <a:gd name="connsiteY12" fmla="*/ 78977 h 129748"/>
                <a:gd name="connsiteX13" fmla="*/ 103516 w 112824"/>
                <a:gd name="connsiteY13" fmla="*/ 78131 h 129748"/>
                <a:gd name="connsiteX14" fmla="*/ 103234 w 112824"/>
                <a:gd name="connsiteY14" fmla="*/ 77003 h 129748"/>
                <a:gd name="connsiteX15" fmla="*/ 104080 w 112824"/>
                <a:gd name="connsiteY15" fmla="*/ 74746 h 129748"/>
                <a:gd name="connsiteX16" fmla="*/ 104363 w 112824"/>
                <a:gd name="connsiteY16" fmla="*/ 74182 h 129748"/>
                <a:gd name="connsiteX17" fmla="*/ 104080 w 112824"/>
                <a:gd name="connsiteY17" fmla="*/ 74182 h 129748"/>
                <a:gd name="connsiteX18" fmla="*/ 103516 w 112824"/>
                <a:gd name="connsiteY18" fmla="*/ 74182 h 129748"/>
                <a:gd name="connsiteX19" fmla="*/ 102388 w 112824"/>
                <a:gd name="connsiteY19" fmla="*/ 75592 h 129748"/>
                <a:gd name="connsiteX20" fmla="*/ 101542 w 112824"/>
                <a:gd name="connsiteY20" fmla="*/ 76439 h 129748"/>
                <a:gd name="connsiteX21" fmla="*/ 101260 w 112824"/>
                <a:gd name="connsiteY21" fmla="*/ 76439 h 129748"/>
                <a:gd name="connsiteX22" fmla="*/ 100696 w 112824"/>
                <a:gd name="connsiteY22" fmla="*/ 76157 h 129748"/>
                <a:gd name="connsiteX23" fmla="*/ 100696 w 112824"/>
                <a:gd name="connsiteY23" fmla="*/ 75592 h 129748"/>
                <a:gd name="connsiteX24" fmla="*/ 100413 w 112824"/>
                <a:gd name="connsiteY24" fmla="*/ 75028 h 129748"/>
                <a:gd name="connsiteX25" fmla="*/ 100132 w 112824"/>
                <a:gd name="connsiteY25" fmla="*/ 75592 h 129748"/>
                <a:gd name="connsiteX26" fmla="*/ 99286 w 112824"/>
                <a:gd name="connsiteY26" fmla="*/ 76157 h 129748"/>
                <a:gd name="connsiteX27" fmla="*/ 99286 w 112824"/>
                <a:gd name="connsiteY27" fmla="*/ 78131 h 129748"/>
                <a:gd name="connsiteX28" fmla="*/ 99003 w 112824"/>
                <a:gd name="connsiteY28" fmla="*/ 78413 h 129748"/>
                <a:gd name="connsiteX29" fmla="*/ 97029 w 112824"/>
                <a:gd name="connsiteY29" fmla="*/ 77567 h 129748"/>
                <a:gd name="connsiteX30" fmla="*/ 96465 w 112824"/>
                <a:gd name="connsiteY30" fmla="*/ 77849 h 129748"/>
                <a:gd name="connsiteX31" fmla="*/ 96747 w 112824"/>
                <a:gd name="connsiteY31" fmla="*/ 78695 h 129748"/>
                <a:gd name="connsiteX32" fmla="*/ 96183 w 112824"/>
                <a:gd name="connsiteY32" fmla="*/ 79541 h 129748"/>
                <a:gd name="connsiteX33" fmla="*/ 93927 w 112824"/>
                <a:gd name="connsiteY33" fmla="*/ 82926 h 129748"/>
                <a:gd name="connsiteX34" fmla="*/ 93644 w 112824"/>
                <a:gd name="connsiteY34" fmla="*/ 83208 h 129748"/>
                <a:gd name="connsiteX35" fmla="*/ 93080 w 112824"/>
                <a:gd name="connsiteY35" fmla="*/ 83208 h 129748"/>
                <a:gd name="connsiteX36" fmla="*/ 92798 w 112824"/>
                <a:gd name="connsiteY36" fmla="*/ 83490 h 129748"/>
                <a:gd name="connsiteX37" fmla="*/ 92798 w 112824"/>
                <a:gd name="connsiteY37" fmla="*/ 84054 h 129748"/>
                <a:gd name="connsiteX38" fmla="*/ 92234 w 112824"/>
                <a:gd name="connsiteY38" fmla="*/ 85465 h 129748"/>
                <a:gd name="connsiteX39" fmla="*/ 90541 w 112824"/>
                <a:gd name="connsiteY39" fmla="*/ 86875 h 129748"/>
                <a:gd name="connsiteX40" fmla="*/ 89131 w 112824"/>
                <a:gd name="connsiteY40" fmla="*/ 87439 h 129748"/>
                <a:gd name="connsiteX41" fmla="*/ 88567 w 112824"/>
                <a:gd name="connsiteY41" fmla="*/ 88003 h 129748"/>
                <a:gd name="connsiteX42" fmla="*/ 88003 w 112824"/>
                <a:gd name="connsiteY42" fmla="*/ 88285 h 129748"/>
                <a:gd name="connsiteX43" fmla="*/ 88567 w 112824"/>
                <a:gd name="connsiteY43" fmla="*/ 88567 h 129748"/>
                <a:gd name="connsiteX44" fmla="*/ 88849 w 112824"/>
                <a:gd name="connsiteY44" fmla="*/ 88849 h 129748"/>
                <a:gd name="connsiteX45" fmla="*/ 89413 w 112824"/>
                <a:gd name="connsiteY45" fmla="*/ 89413 h 129748"/>
                <a:gd name="connsiteX46" fmla="*/ 88285 w 112824"/>
                <a:gd name="connsiteY46" fmla="*/ 90824 h 129748"/>
                <a:gd name="connsiteX47" fmla="*/ 87157 w 112824"/>
                <a:gd name="connsiteY47" fmla="*/ 91388 h 129748"/>
                <a:gd name="connsiteX48" fmla="*/ 85182 w 112824"/>
                <a:gd name="connsiteY48" fmla="*/ 92516 h 129748"/>
                <a:gd name="connsiteX49" fmla="*/ 84336 w 112824"/>
                <a:gd name="connsiteY49" fmla="*/ 94773 h 129748"/>
                <a:gd name="connsiteX50" fmla="*/ 83772 w 112824"/>
                <a:gd name="connsiteY50" fmla="*/ 96747 h 129748"/>
                <a:gd name="connsiteX51" fmla="*/ 84054 w 112824"/>
                <a:gd name="connsiteY51" fmla="*/ 97311 h 129748"/>
                <a:gd name="connsiteX52" fmla="*/ 84336 w 112824"/>
                <a:gd name="connsiteY52" fmla="*/ 97593 h 129748"/>
                <a:gd name="connsiteX53" fmla="*/ 84054 w 112824"/>
                <a:gd name="connsiteY53" fmla="*/ 97875 h 129748"/>
                <a:gd name="connsiteX54" fmla="*/ 83772 w 112824"/>
                <a:gd name="connsiteY54" fmla="*/ 98439 h 129748"/>
                <a:gd name="connsiteX55" fmla="*/ 84054 w 112824"/>
                <a:gd name="connsiteY55" fmla="*/ 99004 h 129748"/>
                <a:gd name="connsiteX56" fmla="*/ 84336 w 112824"/>
                <a:gd name="connsiteY56" fmla="*/ 99286 h 129748"/>
                <a:gd name="connsiteX57" fmla="*/ 84618 w 112824"/>
                <a:gd name="connsiteY57" fmla="*/ 99004 h 129748"/>
                <a:gd name="connsiteX58" fmla="*/ 85746 w 112824"/>
                <a:gd name="connsiteY58" fmla="*/ 97593 h 129748"/>
                <a:gd name="connsiteX59" fmla="*/ 85746 w 112824"/>
                <a:gd name="connsiteY59" fmla="*/ 97311 h 129748"/>
                <a:gd name="connsiteX60" fmla="*/ 86593 w 112824"/>
                <a:gd name="connsiteY60" fmla="*/ 96465 h 129748"/>
                <a:gd name="connsiteX61" fmla="*/ 88285 w 112824"/>
                <a:gd name="connsiteY61" fmla="*/ 95337 h 129748"/>
                <a:gd name="connsiteX62" fmla="*/ 88849 w 112824"/>
                <a:gd name="connsiteY62" fmla="*/ 94208 h 129748"/>
                <a:gd name="connsiteX63" fmla="*/ 89413 w 112824"/>
                <a:gd name="connsiteY63" fmla="*/ 94491 h 129748"/>
                <a:gd name="connsiteX64" fmla="*/ 88285 w 112824"/>
                <a:gd name="connsiteY64" fmla="*/ 96183 h 129748"/>
                <a:gd name="connsiteX65" fmla="*/ 88003 w 112824"/>
                <a:gd name="connsiteY65" fmla="*/ 96465 h 129748"/>
                <a:gd name="connsiteX66" fmla="*/ 88003 w 112824"/>
                <a:gd name="connsiteY66" fmla="*/ 96747 h 129748"/>
                <a:gd name="connsiteX67" fmla="*/ 86310 w 112824"/>
                <a:gd name="connsiteY67" fmla="*/ 99004 h 129748"/>
                <a:gd name="connsiteX68" fmla="*/ 84618 w 112824"/>
                <a:gd name="connsiteY68" fmla="*/ 100978 h 129748"/>
                <a:gd name="connsiteX69" fmla="*/ 82079 w 112824"/>
                <a:gd name="connsiteY69" fmla="*/ 103234 h 129748"/>
                <a:gd name="connsiteX70" fmla="*/ 81234 w 112824"/>
                <a:gd name="connsiteY70" fmla="*/ 103799 h 129748"/>
                <a:gd name="connsiteX71" fmla="*/ 80952 w 112824"/>
                <a:gd name="connsiteY71" fmla="*/ 103799 h 129748"/>
                <a:gd name="connsiteX72" fmla="*/ 79824 w 112824"/>
                <a:gd name="connsiteY72" fmla="*/ 102670 h 129748"/>
                <a:gd name="connsiteX73" fmla="*/ 79541 w 112824"/>
                <a:gd name="connsiteY73" fmla="*/ 102388 h 129748"/>
                <a:gd name="connsiteX74" fmla="*/ 79541 w 112824"/>
                <a:gd name="connsiteY74" fmla="*/ 102106 h 129748"/>
                <a:gd name="connsiteX75" fmla="*/ 79824 w 112824"/>
                <a:gd name="connsiteY75" fmla="*/ 101824 h 129748"/>
                <a:gd name="connsiteX76" fmla="*/ 80388 w 112824"/>
                <a:gd name="connsiteY76" fmla="*/ 101260 h 129748"/>
                <a:gd name="connsiteX77" fmla="*/ 80669 w 112824"/>
                <a:gd name="connsiteY77" fmla="*/ 100978 h 129748"/>
                <a:gd name="connsiteX78" fmla="*/ 80388 w 112824"/>
                <a:gd name="connsiteY78" fmla="*/ 100696 h 129748"/>
                <a:gd name="connsiteX79" fmla="*/ 79824 w 112824"/>
                <a:gd name="connsiteY79" fmla="*/ 100132 h 129748"/>
                <a:gd name="connsiteX80" fmla="*/ 80388 w 112824"/>
                <a:gd name="connsiteY80" fmla="*/ 99850 h 129748"/>
                <a:gd name="connsiteX81" fmla="*/ 80388 w 112824"/>
                <a:gd name="connsiteY81" fmla="*/ 99568 h 129748"/>
                <a:gd name="connsiteX82" fmla="*/ 80669 w 112824"/>
                <a:gd name="connsiteY82" fmla="*/ 99286 h 129748"/>
                <a:gd name="connsiteX83" fmla="*/ 80669 w 112824"/>
                <a:gd name="connsiteY83" fmla="*/ 99004 h 129748"/>
                <a:gd name="connsiteX84" fmla="*/ 80105 w 112824"/>
                <a:gd name="connsiteY84" fmla="*/ 98721 h 129748"/>
                <a:gd name="connsiteX85" fmla="*/ 79824 w 112824"/>
                <a:gd name="connsiteY85" fmla="*/ 98721 h 129748"/>
                <a:gd name="connsiteX86" fmla="*/ 77567 w 112824"/>
                <a:gd name="connsiteY86" fmla="*/ 100978 h 129748"/>
                <a:gd name="connsiteX87" fmla="*/ 77285 w 112824"/>
                <a:gd name="connsiteY87" fmla="*/ 101260 h 129748"/>
                <a:gd name="connsiteX88" fmla="*/ 77567 w 112824"/>
                <a:gd name="connsiteY88" fmla="*/ 101542 h 129748"/>
                <a:gd name="connsiteX89" fmla="*/ 78131 w 112824"/>
                <a:gd name="connsiteY89" fmla="*/ 101542 h 129748"/>
                <a:gd name="connsiteX90" fmla="*/ 78413 w 112824"/>
                <a:gd name="connsiteY90" fmla="*/ 101824 h 129748"/>
                <a:gd name="connsiteX91" fmla="*/ 77849 w 112824"/>
                <a:gd name="connsiteY91" fmla="*/ 102106 h 129748"/>
                <a:gd name="connsiteX92" fmla="*/ 76721 w 112824"/>
                <a:gd name="connsiteY92" fmla="*/ 103799 h 129748"/>
                <a:gd name="connsiteX93" fmla="*/ 76721 w 112824"/>
                <a:gd name="connsiteY93" fmla="*/ 104363 h 129748"/>
                <a:gd name="connsiteX94" fmla="*/ 77003 w 112824"/>
                <a:gd name="connsiteY94" fmla="*/ 105491 h 129748"/>
                <a:gd name="connsiteX95" fmla="*/ 77003 w 112824"/>
                <a:gd name="connsiteY95" fmla="*/ 105773 h 129748"/>
                <a:gd name="connsiteX96" fmla="*/ 76438 w 112824"/>
                <a:gd name="connsiteY96" fmla="*/ 106337 h 129748"/>
                <a:gd name="connsiteX97" fmla="*/ 76157 w 112824"/>
                <a:gd name="connsiteY97" fmla="*/ 106619 h 129748"/>
                <a:gd name="connsiteX98" fmla="*/ 76438 w 112824"/>
                <a:gd name="connsiteY98" fmla="*/ 106619 h 129748"/>
                <a:gd name="connsiteX99" fmla="*/ 76721 w 112824"/>
                <a:gd name="connsiteY99" fmla="*/ 107183 h 129748"/>
                <a:gd name="connsiteX100" fmla="*/ 77003 w 112824"/>
                <a:gd name="connsiteY100" fmla="*/ 107747 h 129748"/>
                <a:gd name="connsiteX101" fmla="*/ 76157 w 112824"/>
                <a:gd name="connsiteY101" fmla="*/ 108594 h 129748"/>
                <a:gd name="connsiteX102" fmla="*/ 74746 w 112824"/>
                <a:gd name="connsiteY102" fmla="*/ 108876 h 129748"/>
                <a:gd name="connsiteX103" fmla="*/ 74182 w 112824"/>
                <a:gd name="connsiteY103" fmla="*/ 109440 h 129748"/>
                <a:gd name="connsiteX104" fmla="*/ 74464 w 112824"/>
                <a:gd name="connsiteY104" fmla="*/ 110004 h 129748"/>
                <a:gd name="connsiteX105" fmla="*/ 74746 w 112824"/>
                <a:gd name="connsiteY105" fmla="*/ 110568 h 129748"/>
                <a:gd name="connsiteX106" fmla="*/ 74746 w 112824"/>
                <a:gd name="connsiteY106" fmla="*/ 110850 h 129748"/>
                <a:gd name="connsiteX107" fmla="*/ 74182 w 112824"/>
                <a:gd name="connsiteY107" fmla="*/ 110850 h 129748"/>
                <a:gd name="connsiteX108" fmla="*/ 72772 w 112824"/>
                <a:gd name="connsiteY108" fmla="*/ 110286 h 129748"/>
                <a:gd name="connsiteX109" fmla="*/ 72207 w 112824"/>
                <a:gd name="connsiteY109" fmla="*/ 110286 h 129748"/>
                <a:gd name="connsiteX110" fmla="*/ 71643 w 112824"/>
                <a:gd name="connsiteY110" fmla="*/ 109722 h 129748"/>
                <a:gd name="connsiteX111" fmla="*/ 72490 w 112824"/>
                <a:gd name="connsiteY111" fmla="*/ 108876 h 129748"/>
                <a:gd name="connsiteX112" fmla="*/ 72207 w 112824"/>
                <a:gd name="connsiteY112" fmla="*/ 108594 h 129748"/>
                <a:gd name="connsiteX113" fmla="*/ 72490 w 112824"/>
                <a:gd name="connsiteY113" fmla="*/ 108312 h 129748"/>
                <a:gd name="connsiteX114" fmla="*/ 71362 w 112824"/>
                <a:gd name="connsiteY114" fmla="*/ 108594 h 129748"/>
                <a:gd name="connsiteX115" fmla="*/ 68541 w 112824"/>
                <a:gd name="connsiteY115" fmla="*/ 108594 h 129748"/>
                <a:gd name="connsiteX116" fmla="*/ 68259 w 112824"/>
                <a:gd name="connsiteY116" fmla="*/ 109440 h 129748"/>
                <a:gd name="connsiteX117" fmla="*/ 70233 w 112824"/>
                <a:gd name="connsiteY117" fmla="*/ 111132 h 129748"/>
                <a:gd name="connsiteX118" fmla="*/ 70515 w 112824"/>
                <a:gd name="connsiteY118" fmla="*/ 111414 h 129748"/>
                <a:gd name="connsiteX119" fmla="*/ 70515 w 112824"/>
                <a:gd name="connsiteY119" fmla="*/ 111696 h 129748"/>
                <a:gd name="connsiteX120" fmla="*/ 70797 w 112824"/>
                <a:gd name="connsiteY120" fmla="*/ 112260 h 129748"/>
                <a:gd name="connsiteX121" fmla="*/ 70797 w 112824"/>
                <a:gd name="connsiteY121" fmla="*/ 113107 h 129748"/>
                <a:gd name="connsiteX122" fmla="*/ 68259 w 112824"/>
                <a:gd name="connsiteY122" fmla="*/ 116209 h 129748"/>
                <a:gd name="connsiteX123" fmla="*/ 67131 w 112824"/>
                <a:gd name="connsiteY123" fmla="*/ 117055 h 129748"/>
                <a:gd name="connsiteX124" fmla="*/ 65438 w 112824"/>
                <a:gd name="connsiteY124" fmla="*/ 119030 h 129748"/>
                <a:gd name="connsiteX125" fmla="*/ 62900 w 112824"/>
                <a:gd name="connsiteY125" fmla="*/ 121004 h 129748"/>
                <a:gd name="connsiteX126" fmla="*/ 60925 w 112824"/>
                <a:gd name="connsiteY126" fmla="*/ 122415 h 129748"/>
                <a:gd name="connsiteX127" fmla="*/ 58104 w 112824"/>
                <a:gd name="connsiteY127" fmla="*/ 124389 h 129748"/>
                <a:gd name="connsiteX128" fmla="*/ 56412 w 112824"/>
                <a:gd name="connsiteY128" fmla="*/ 125517 h 129748"/>
                <a:gd name="connsiteX129" fmla="*/ 54156 w 112824"/>
                <a:gd name="connsiteY129" fmla="*/ 126646 h 129748"/>
                <a:gd name="connsiteX130" fmla="*/ 48232 w 112824"/>
                <a:gd name="connsiteY130" fmla="*/ 129466 h 129748"/>
                <a:gd name="connsiteX131" fmla="*/ 46822 w 112824"/>
                <a:gd name="connsiteY131" fmla="*/ 130876 h 129748"/>
                <a:gd name="connsiteX132" fmla="*/ 44848 w 112824"/>
                <a:gd name="connsiteY132" fmla="*/ 130876 h 129748"/>
                <a:gd name="connsiteX133" fmla="*/ 44001 w 112824"/>
                <a:gd name="connsiteY133" fmla="*/ 131159 h 129748"/>
                <a:gd name="connsiteX134" fmla="*/ 42027 w 112824"/>
                <a:gd name="connsiteY134" fmla="*/ 132005 h 129748"/>
                <a:gd name="connsiteX135" fmla="*/ 40053 w 112824"/>
                <a:gd name="connsiteY135" fmla="*/ 132287 h 129748"/>
                <a:gd name="connsiteX136" fmla="*/ 38642 w 112824"/>
                <a:gd name="connsiteY136" fmla="*/ 132851 h 129748"/>
                <a:gd name="connsiteX137" fmla="*/ 38078 w 112824"/>
                <a:gd name="connsiteY137" fmla="*/ 133133 h 129748"/>
                <a:gd name="connsiteX138" fmla="*/ 37796 w 112824"/>
                <a:gd name="connsiteY138" fmla="*/ 132851 h 129748"/>
                <a:gd name="connsiteX139" fmla="*/ 36386 w 112824"/>
                <a:gd name="connsiteY139" fmla="*/ 132569 h 129748"/>
                <a:gd name="connsiteX140" fmla="*/ 34975 w 112824"/>
                <a:gd name="connsiteY140" fmla="*/ 132851 h 129748"/>
                <a:gd name="connsiteX141" fmla="*/ 33565 w 112824"/>
                <a:gd name="connsiteY141" fmla="*/ 133133 h 129748"/>
                <a:gd name="connsiteX142" fmla="*/ 30180 w 112824"/>
                <a:gd name="connsiteY142" fmla="*/ 133133 h 129748"/>
                <a:gd name="connsiteX143" fmla="*/ 28770 w 112824"/>
                <a:gd name="connsiteY143" fmla="*/ 132851 h 129748"/>
                <a:gd name="connsiteX144" fmla="*/ 24257 w 112824"/>
                <a:gd name="connsiteY144" fmla="*/ 132851 h 129748"/>
                <a:gd name="connsiteX145" fmla="*/ 23129 w 112824"/>
                <a:gd name="connsiteY145" fmla="*/ 132569 h 129748"/>
                <a:gd name="connsiteX146" fmla="*/ 22283 w 112824"/>
                <a:gd name="connsiteY146" fmla="*/ 132287 h 129748"/>
                <a:gd name="connsiteX147" fmla="*/ 18052 w 112824"/>
                <a:gd name="connsiteY147" fmla="*/ 131441 h 129748"/>
                <a:gd name="connsiteX148" fmla="*/ 17488 w 112824"/>
                <a:gd name="connsiteY148" fmla="*/ 131159 h 129748"/>
                <a:gd name="connsiteX149" fmla="*/ 15795 w 112824"/>
                <a:gd name="connsiteY149" fmla="*/ 130312 h 129748"/>
                <a:gd name="connsiteX150" fmla="*/ 14667 w 112824"/>
                <a:gd name="connsiteY150" fmla="*/ 129466 h 129748"/>
                <a:gd name="connsiteX151" fmla="*/ 12974 w 112824"/>
                <a:gd name="connsiteY151" fmla="*/ 128338 h 129748"/>
                <a:gd name="connsiteX152" fmla="*/ 11000 w 112824"/>
                <a:gd name="connsiteY152" fmla="*/ 128338 h 129748"/>
                <a:gd name="connsiteX153" fmla="*/ 10718 w 112824"/>
                <a:gd name="connsiteY153" fmla="*/ 127774 h 129748"/>
                <a:gd name="connsiteX154" fmla="*/ 11282 w 112824"/>
                <a:gd name="connsiteY154" fmla="*/ 127210 h 129748"/>
                <a:gd name="connsiteX155" fmla="*/ 11282 w 112824"/>
                <a:gd name="connsiteY155" fmla="*/ 126928 h 129748"/>
                <a:gd name="connsiteX156" fmla="*/ 11000 w 112824"/>
                <a:gd name="connsiteY156" fmla="*/ 126646 h 129748"/>
                <a:gd name="connsiteX157" fmla="*/ 10436 w 112824"/>
                <a:gd name="connsiteY157" fmla="*/ 126363 h 129748"/>
                <a:gd name="connsiteX158" fmla="*/ 8743 w 112824"/>
                <a:gd name="connsiteY158" fmla="*/ 125799 h 129748"/>
                <a:gd name="connsiteX159" fmla="*/ 8462 w 112824"/>
                <a:gd name="connsiteY159" fmla="*/ 125799 h 129748"/>
                <a:gd name="connsiteX160" fmla="*/ 8180 w 112824"/>
                <a:gd name="connsiteY160" fmla="*/ 125517 h 129748"/>
                <a:gd name="connsiteX161" fmla="*/ 8462 w 112824"/>
                <a:gd name="connsiteY161" fmla="*/ 124953 h 129748"/>
                <a:gd name="connsiteX162" fmla="*/ 8462 w 112824"/>
                <a:gd name="connsiteY162" fmla="*/ 124389 h 129748"/>
                <a:gd name="connsiteX163" fmla="*/ 7333 w 112824"/>
                <a:gd name="connsiteY163" fmla="*/ 124389 h 129748"/>
                <a:gd name="connsiteX164" fmla="*/ 7052 w 112824"/>
                <a:gd name="connsiteY164" fmla="*/ 123543 h 129748"/>
                <a:gd name="connsiteX165" fmla="*/ 7333 w 112824"/>
                <a:gd name="connsiteY165" fmla="*/ 123543 h 129748"/>
                <a:gd name="connsiteX166" fmla="*/ 7898 w 112824"/>
                <a:gd name="connsiteY166" fmla="*/ 122415 h 129748"/>
                <a:gd name="connsiteX167" fmla="*/ 7052 w 112824"/>
                <a:gd name="connsiteY167" fmla="*/ 121004 h 129748"/>
                <a:gd name="connsiteX168" fmla="*/ 2257 w 112824"/>
                <a:gd name="connsiteY168" fmla="*/ 114235 h 129748"/>
                <a:gd name="connsiteX169" fmla="*/ 1692 w 112824"/>
                <a:gd name="connsiteY169" fmla="*/ 112542 h 129748"/>
                <a:gd name="connsiteX170" fmla="*/ 846 w 112824"/>
                <a:gd name="connsiteY170" fmla="*/ 109722 h 129748"/>
                <a:gd name="connsiteX171" fmla="*/ 846 w 112824"/>
                <a:gd name="connsiteY171" fmla="*/ 106619 h 129748"/>
                <a:gd name="connsiteX172" fmla="*/ 564 w 112824"/>
                <a:gd name="connsiteY172" fmla="*/ 105209 h 129748"/>
                <a:gd name="connsiteX173" fmla="*/ 846 w 112824"/>
                <a:gd name="connsiteY173" fmla="*/ 104363 h 129748"/>
                <a:gd name="connsiteX174" fmla="*/ 846 w 112824"/>
                <a:gd name="connsiteY174" fmla="*/ 102670 h 129748"/>
                <a:gd name="connsiteX175" fmla="*/ 1128 w 112824"/>
                <a:gd name="connsiteY175" fmla="*/ 101824 h 129748"/>
                <a:gd name="connsiteX176" fmla="*/ 846 w 112824"/>
                <a:gd name="connsiteY176" fmla="*/ 100978 h 129748"/>
                <a:gd name="connsiteX177" fmla="*/ 564 w 112824"/>
                <a:gd name="connsiteY177" fmla="*/ 99286 h 129748"/>
                <a:gd name="connsiteX178" fmla="*/ 564 w 112824"/>
                <a:gd name="connsiteY178" fmla="*/ 98721 h 129748"/>
                <a:gd name="connsiteX179" fmla="*/ 846 w 112824"/>
                <a:gd name="connsiteY179" fmla="*/ 97593 h 129748"/>
                <a:gd name="connsiteX180" fmla="*/ 282 w 112824"/>
                <a:gd name="connsiteY180" fmla="*/ 96747 h 129748"/>
                <a:gd name="connsiteX181" fmla="*/ 0 w 112824"/>
                <a:gd name="connsiteY181" fmla="*/ 95901 h 129748"/>
                <a:gd name="connsiteX182" fmla="*/ 564 w 112824"/>
                <a:gd name="connsiteY182" fmla="*/ 94491 h 129748"/>
                <a:gd name="connsiteX183" fmla="*/ 282 w 112824"/>
                <a:gd name="connsiteY183" fmla="*/ 93080 h 129748"/>
                <a:gd name="connsiteX184" fmla="*/ 564 w 112824"/>
                <a:gd name="connsiteY184" fmla="*/ 89413 h 129748"/>
                <a:gd name="connsiteX185" fmla="*/ 282 w 112824"/>
                <a:gd name="connsiteY185" fmla="*/ 88567 h 129748"/>
                <a:gd name="connsiteX186" fmla="*/ 846 w 112824"/>
                <a:gd name="connsiteY186" fmla="*/ 87157 h 129748"/>
                <a:gd name="connsiteX187" fmla="*/ 1128 w 112824"/>
                <a:gd name="connsiteY187" fmla="*/ 86593 h 129748"/>
                <a:gd name="connsiteX188" fmla="*/ 1692 w 112824"/>
                <a:gd name="connsiteY188" fmla="*/ 87439 h 129748"/>
                <a:gd name="connsiteX189" fmla="*/ 1692 w 112824"/>
                <a:gd name="connsiteY189" fmla="*/ 88003 h 129748"/>
                <a:gd name="connsiteX190" fmla="*/ 1974 w 112824"/>
                <a:gd name="connsiteY190" fmla="*/ 87721 h 129748"/>
                <a:gd name="connsiteX191" fmla="*/ 1974 w 112824"/>
                <a:gd name="connsiteY191" fmla="*/ 85183 h 129748"/>
                <a:gd name="connsiteX192" fmla="*/ 2257 w 112824"/>
                <a:gd name="connsiteY192" fmla="*/ 84618 h 129748"/>
                <a:gd name="connsiteX193" fmla="*/ 2821 w 112824"/>
                <a:gd name="connsiteY193" fmla="*/ 84054 h 129748"/>
                <a:gd name="connsiteX194" fmla="*/ 2538 w 112824"/>
                <a:gd name="connsiteY194" fmla="*/ 84054 h 129748"/>
                <a:gd name="connsiteX195" fmla="*/ 1974 w 112824"/>
                <a:gd name="connsiteY195" fmla="*/ 81798 h 129748"/>
                <a:gd name="connsiteX196" fmla="*/ 1974 w 112824"/>
                <a:gd name="connsiteY196" fmla="*/ 81234 h 129748"/>
                <a:gd name="connsiteX197" fmla="*/ 1692 w 112824"/>
                <a:gd name="connsiteY197" fmla="*/ 80670 h 129748"/>
                <a:gd name="connsiteX198" fmla="*/ 1974 w 112824"/>
                <a:gd name="connsiteY198" fmla="*/ 78977 h 129748"/>
                <a:gd name="connsiteX199" fmla="*/ 1974 w 112824"/>
                <a:gd name="connsiteY199" fmla="*/ 78131 h 129748"/>
                <a:gd name="connsiteX200" fmla="*/ 2257 w 112824"/>
                <a:gd name="connsiteY200" fmla="*/ 77003 h 129748"/>
                <a:gd name="connsiteX201" fmla="*/ 2821 w 112824"/>
                <a:gd name="connsiteY201" fmla="*/ 76721 h 129748"/>
                <a:gd name="connsiteX202" fmla="*/ 3385 w 112824"/>
                <a:gd name="connsiteY202" fmla="*/ 76157 h 129748"/>
                <a:gd name="connsiteX203" fmla="*/ 3667 w 112824"/>
                <a:gd name="connsiteY203" fmla="*/ 75875 h 129748"/>
                <a:gd name="connsiteX204" fmla="*/ 3667 w 112824"/>
                <a:gd name="connsiteY204" fmla="*/ 75592 h 129748"/>
                <a:gd name="connsiteX205" fmla="*/ 3385 w 112824"/>
                <a:gd name="connsiteY205" fmla="*/ 75310 h 129748"/>
                <a:gd name="connsiteX206" fmla="*/ 2821 w 112824"/>
                <a:gd name="connsiteY206" fmla="*/ 75592 h 129748"/>
                <a:gd name="connsiteX207" fmla="*/ 2538 w 112824"/>
                <a:gd name="connsiteY207" fmla="*/ 75592 h 129748"/>
                <a:gd name="connsiteX208" fmla="*/ 2821 w 112824"/>
                <a:gd name="connsiteY208" fmla="*/ 74746 h 129748"/>
                <a:gd name="connsiteX209" fmla="*/ 3102 w 112824"/>
                <a:gd name="connsiteY209" fmla="*/ 73900 h 129748"/>
                <a:gd name="connsiteX210" fmla="*/ 2538 w 112824"/>
                <a:gd name="connsiteY210" fmla="*/ 72490 h 129748"/>
                <a:gd name="connsiteX211" fmla="*/ 2821 w 112824"/>
                <a:gd name="connsiteY211" fmla="*/ 71926 h 129748"/>
                <a:gd name="connsiteX212" fmla="*/ 2538 w 112824"/>
                <a:gd name="connsiteY212" fmla="*/ 71079 h 129748"/>
                <a:gd name="connsiteX213" fmla="*/ 2538 w 112824"/>
                <a:gd name="connsiteY213" fmla="*/ 70797 h 129748"/>
                <a:gd name="connsiteX214" fmla="*/ 3667 w 112824"/>
                <a:gd name="connsiteY214" fmla="*/ 67977 h 129748"/>
                <a:gd name="connsiteX215" fmla="*/ 3385 w 112824"/>
                <a:gd name="connsiteY215" fmla="*/ 66849 h 129748"/>
                <a:gd name="connsiteX216" fmla="*/ 3949 w 112824"/>
                <a:gd name="connsiteY216" fmla="*/ 64592 h 129748"/>
                <a:gd name="connsiteX217" fmla="*/ 3949 w 112824"/>
                <a:gd name="connsiteY217" fmla="*/ 64028 h 129748"/>
                <a:gd name="connsiteX218" fmla="*/ 4795 w 112824"/>
                <a:gd name="connsiteY218" fmla="*/ 63182 h 129748"/>
                <a:gd name="connsiteX219" fmla="*/ 5077 w 112824"/>
                <a:gd name="connsiteY219" fmla="*/ 62618 h 129748"/>
                <a:gd name="connsiteX220" fmla="*/ 4795 w 112824"/>
                <a:gd name="connsiteY220" fmla="*/ 61771 h 129748"/>
                <a:gd name="connsiteX221" fmla="*/ 5077 w 112824"/>
                <a:gd name="connsiteY221" fmla="*/ 60361 h 129748"/>
                <a:gd name="connsiteX222" fmla="*/ 5359 w 112824"/>
                <a:gd name="connsiteY222" fmla="*/ 59797 h 129748"/>
                <a:gd name="connsiteX223" fmla="*/ 5923 w 112824"/>
                <a:gd name="connsiteY223" fmla="*/ 58669 h 129748"/>
                <a:gd name="connsiteX224" fmla="*/ 5923 w 112824"/>
                <a:gd name="connsiteY224" fmla="*/ 56976 h 129748"/>
                <a:gd name="connsiteX225" fmla="*/ 6205 w 112824"/>
                <a:gd name="connsiteY225" fmla="*/ 54156 h 129748"/>
                <a:gd name="connsiteX226" fmla="*/ 7898 w 112824"/>
                <a:gd name="connsiteY226" fmla="*/ 51335 h 129748"/>
                <a:gd name="connsiteX227" fmla="*/ 8462 w 112824"/>
                <a:gd name="connsiteY227" fmla="*/ 49925 h 129748"/>
                <a:gd name="connsiteX228" fmla="*/ 8180 w 112824"/>
                <a:gd name="connsiteY228" fmla="*/ 48797 h 129748"/>
                <a:gd name="connsiteX229" fmla="*/ 8743 w 112824"/>
                <a:gd name="connsiteY229" fmla="*/ 47386 h 129748"/>
                <a:gd name="connsiteX230" fmla="*/ 11000 w 112824"/>
                <a:gd name="connsiteY230" fmla="*/ 42309 h 129748"/>
                <a:gd name="connsiteX231" fmla="*/ 11564 w 112824"/>
                <a:gd name="connsiteY231" fmla="*/ 40053 h 129748"/>
                <a:gd name="connsiteX232" fmla="*/ 12410 w 112824"/>
                <a:gd name="connsiteY232" fmla="*/ 37796 h 129748"/>
                <a:gd name="connsiteX233" fmla="*/ 13257 w 112824"/>
                <a:gd name="connsiteY233" fmla="*/ 37232 h 129748"/>
                <a:gd name="connsiteX234" fmla="*/ 14385 w 112824"/>
                <a:gd name="connsiteY234" fmla="*/ 34129 h 129748"/>
                <a:gd name="connsiteX235" fmla="*/ 16360 w 112824"/>
                <a:gd name="connsiteY235" fmla="*/ 30181 h 129748"/>
                <a:gd name="connsiteX236" fmla="*/ 16924 w 112824"/>
                <a:gd name="connsiteY236" fmla="*/ 27924 h 129748"/>
                <a:gd name="connsiteX237" fmla="*/ 17488 w 112824"/>
                <a:gd name="connsiteY237" fmla="*/ 27078 h 129748"/>
                <a:gd name="connsiteX238" fmla="*/ 19462 w 112824"/>
                <a:gd name="connsiteY238" fmla="*/ 24539 h 129748"/>
                <a:gd name="connsiteX239" fmla="*/ 21719 w 112824"/>
                <a:gd name="connsiteY239" fmla="*/ 20590 h 129748"/>
                <a:gd name="connsiteX240" fmla="*/ 21719 w 112824"/>
                <a:gd name="connsiteY240" fmla="*/ 20308 h 129748"/>
                <a:gd name="connsiteX241" fmla="*/ 23129 w 112824"/>
                <a:gd name="connsiteY241" fmla="*/ 18052 h 129748"/>
                <a:gd name="connsiteX242" fmla="*/ 23129 w 112824"/>
                <a:gd name="connsiteY242" fmla="*/ 17770 h 129748"/>
                <a:gd name="connsiteX243" fmla="*/ 26232 w 112824"/>
                <a:gd name="connsiteY243" fmla="*/ 12693 h 129748"/>
                <a:gd name="connsiteX244" fmla="*/ 30180 w 112824"/>
                <a:gd name="connsiteY244" fmla="*/ 8462 h 129748"/>
                <a:gd name="connsiteX245" fmla="*/ 31027 w 112824"/>
                <a:gd name="connsiteY245" fmla="*/ 7052 h 129748"/>
                <a:gd name="connsiteX246" fmla="*/ 32719 w 112824"/>
                <a:gd name="connsiteY246" fmla="*/ 5923 h 129748"/>
                <a:gd name="connsiteX247" fmla="*/ 35539 w 112824"/>
                <a:gd name="connsiteY247" fmla="*/ 3949 h 129748"/>
                <a:gd name="connsiteX248" fmla="*/ 36104 w 112824"/>
                <a:gd name="connsiteY248" fmla="*/ 3667 h 129748"/>
                <a:gd name="connsiteX249" fmla="*/ 39770 w 112824"/>
                <a:gd name="connsiteY249" fmla="*/ 1410 h 129748"/>
                <a:gd name="connsiteX250" fmla="*/ 42027 w 112824"/>
                <a:gd name="connsiteY250" fmla="*/ 564 h 129748"/>
                <a:gd name="connsiteX251" fmla="*/ 44566 w 112824"/>
                <a:gd name="connsiteY251" fmla="*/ 0 h 129748"/>
                <a:gd name="connsiteX252" fmla="*/ 49642 w 112824"/>
                <a:gd name="connsiteY252" fmla="*/ 0 h 129748"/>
                <a:gd name="connsiteX253" fmla="*/ 51617 w 112824"/>
                <a:gd name="connsiteY253" fmla="*/ 1410 h 129748"/>
                <a:gd name="connsiteX254" fmla="*/ 52181 w 112824"/>
                <a:gd name="connsiteY254" fmla="*/ 1974 h 129748"/>
                <a:gd name="connsiteX255" fmla="*/ 54720 w 112824"/>
                <a:gd name="connsiteY255" fmla="*/ 3667 h 129748"/>
                <a:gd name="connsiteX256" fmla="*/ 55848 w 112824"/>
                <a:gd name="connsiteY256" fmla="*/ 4513 h 129748"/>
                <a:gd name="connsiteX257" fmla="*/ 56694 w 112824"/>
                <a:gd name="connsiteY257" fmla="*/ 5077 h 129748"/>
                <a:gd name="connsiteX258" fmla="*/ 57259 w 112824"/>
                <a:gd name="connsiteY258" fmla="*/ 5923 h 129748"/>
                <a:gd name="connsiteX259" fmla="*/ 58951 w 112824"/>
                <a:gd name="connsiteY259" fmla="*/ 6487 h 129748"/>
                <a:gd name="connsiteX260" fmla="*/ 59515 w 112824"/>
                <a:gd name="connsiteY260" fmla="*/ 6487 h 129748"/>
                <a:gd name="connsiteX261" fmla="*/ 61207 w 112824"/>
                <a:gd name="connsiteY261" fmla="*/ 7616 h 129748"/>
                <a:gd name="connsiteX262" fmla="*/ 61490 w 112824"/>
                <a:gd name="connsiteY262" fmla="*/ 8462 h 129748"/>
                <a:gd name="connsiteX263" fmla="*/ 61207 w 112824"/>
                <a:gd name="connsiteY263" fmla="*/ 9026 h 129748"/>
                <a:gd name="connsiteX264" fmla="*/ 59233 w 112824"/>
                <a:gd name="connsiteY264" fmla="*/ 9590 h 129748"/>
                <a:gd name="connsiteX265" fmla="*/ 58951 w 112824"/>
                <a:gd name="connsiteY265" fmla="*/ 9872 h 129748"/>
                <a:gd name="connsiteX266" fmla="*/ 58669 w 112824"/>
                <a:gd name="connsiteY266" fmla="*/ 9026 h 129748"/>
                <a:gd name="connsiteX267" fmla="*/ 58669 w 112824"/>
                <a:gd name="connsiteY267" fmla="*/ 8462 h 129748"/>
                <a:gd name="connsiteX268" fmla="*/ 57823 w 112824"/>
                <a:gd name="connsiteY268" fmla="*/ 8462 h 129748"/>
                <a:gd name="connsiteX269" fmla="*/ 56694 w 112824"/>
                <a:gd name="connsiteY269" fmla="*/ 10154 h 129748"/>
                <a:gd name="connsiteX270" fmla="*/ 56976 w 112824"/>
                <a:gd name="connsiteY270" fmla="*/ 10718 h 129748"/>
                <a:gd name="connsiteX271" fmla="*/ 57259 w 112824"/>
                <a:gd name="connsiteY271" fmla="*/ 11000 h 129748"/>
                <a:gd name="connsiteX272" fmla="*/ 57823 w 112824"/>
                <a:gd name="connsiteY272" fmla="*/ 12411 h 129748"/>
                <a:gd name="connsiteX273" fmla="*/ 58387 w 112824"/>
                <a:gd name="connsiteY273" fmla="*/ 12975 h 129748"/>
                <a:gd name="connsiteX274" fmla="*/ 58951 w 112824"/>
                <a:gd name="connsiteY274" fmla="*/ 12693 h 129748"/>
                <a:gd name="connsiteX275" fmla="*/ 59515 w 112824"/>
                <a:gd name="connsiteY275" fmla="*/ 13539 h 129748"/>
                <a:gd name="connsiteX276" fmla="*/ 60079 w 112824"/>
                <a:gd name="connsiteY276" fmla="*/ 14667 h 129748"/>
                <a:gd name="connsiteX277" fmla="*/ 59797 w 112824"/>
                <a:gd name="connsiteY277" fmla="*/ 15231 h 129748"/>
                <a:gd name="connsiteX278" fmla="*/ 60361 w 112824"/>
                <a:gd name="connsiteY278" fmla="*/ 16360 h 129748"/>
                <a:gd name="connsiteX279" fmla="*/ 60925 w 112824"/>
                <a:gd name="connsiteY279" fmla="*/ 16360 h 129748"/>
                <a:gd name="connsiteX280" fmla="*/ 60925 w 112824"/>
                <a:gd name="connsiteY280" fmla="*/ 14949 h 129748"/>
                <a:gd name="connsiteX281" fmla="*/ 60643 w 112824"/>
                <a:gd name="connsiteY281" fmla="*/ 12411 h 129748"/>
                <a:gd name="connsiteX282" fmla="*/ 62054 w 112824"/>
                <a:gd name="connsiteY282" fmla="*/ 11000 h 129748"/>
                <a:gd name="connsiteX283" fmla="*/ 63182 w 112824"/>
                <a:gd name="connsiteY283" fmla="*/ 11282 h 129748"/>
                <a:gd name="connsiteX284" fmla="*/ 62900 w 112824"/>
                <a:gd name="connsiteY284" fmla="*/ 11847 h 129748"/>
                <a:gd name="connsiteX285" fmla="*/ 64310 w 112824"/>
                <a:gd name="connsiteY285" fmla="*/ 12975 h 129748"/>
                <a:gd name="connsiteX286" fmla="*/ 64592 w 112824"/>
                <a:gd name="connsiteY286" fmla="*/ 13821 h 129748"/>
                <a:gd name="connsiteX287" fmla="*/ 64592 w 112824"/>
                <a:gd name="connsiteY287" fmla="*/ 14103 h 129748"/>
                <a:gd name="connsiteX288" fmla="*/ 63745 w 112824"/>
                <a:gd name="connsiteY288" fmla="*/ 14949 h 129748"/>
                <a:gd name="connsiteX289" fmla="*/ 64310 w 112824"/>
                <a:gd name="connsiteY289" fmla="*/ 15795 h 129748"/>
                <a:gd name="connsiteX290" fmla="*/ 64874 w 112824"/>
                <a:gd name="connsiteY290" fmla="*/ 16360 h 129748"/>
                <a:gd name="connsiteX291" fmla="*/ 64592 w 112824"/>
                <a:gd name="connsiteY291" fmla="*/ 17206 h 129748"/>
                <a:gd name="connsiteX292" fmla="*/ 64310 w 112824"/>
                <a:gd name="connsiteY292" fmla="*/ 17770 h 129748"/>
                <a:gd name="connsiteX293" fmla="*/ 63464 w 112824"/>
                <a:gd name="connsiteY293" fmla="*/ 18898 h 129748"/>
                <a:gd name="connsiteX294" fmla="*/ 63745 w 112824"/>
                <a:gd name="connsiteY294" fmla="*/ 19744 h 129748"/>
                <a:gd name="connsiteX295" fmla="*/ 64028 w 112824"/>
                <a:gd name="connsiteY295" fmla="*/ 20026 h 129748"/>
                <a:gd name="connsiteX296" fmla="*/ 64874 w 112824"/>
                <a:gd name="connsiteY296" fmla="*/ 20026 h 129748"/>
                <a:gd name="connsiteX297" fmla="*/ 64874 w 112824"/>
                <a:gd name="connsiteY297" fmla="*/ 20308 h 129748"/>
                <a:gd name="connsiteX298" fmla="*/ 64028 w 112824"/>
                <a:gd name="connsiteY298" fmla="*/ 22283 h 129748"/>
                <a:gd name="connsiteX299" fmla="*/ 63745 w 112824"/>
                <a:gd name="connsiteY299" fmla="*/ 22847 h 129748"/>
                <a:gd name="connsiteX300" fmla="*/ 64028 w 112824"/>
                <a:gd name="connsiteY300" fmla="*/ 23693 h 129748"/>
                <a:gd name="connsiteX301" fmla="*/ 64592 w 112824"/>
                <a:gd name="connsiteY301" fmla="*/ 25103 h 129748"/>
                <a:gd name="connsiteX302" fmla="*/ 64592 w 112824"/>
                <a:gd name="connsiteY302" fmla="*/ 26232 h 129748"/>
                <a:gd name="connsiteX303" fmla="*/ 64028 w 112824"/>
                <a:gd name="connsiteY303" fmla="*/ 27078 h 129748"/>
                <a:gd name="connsiteX304" fmla="*/ 62900 w 112824"/>
                <a:gd name="connsiteY304" fmla="*/ 29616 h 129748"/>
                <a:gd name="connsiteX305" fmla="*/ 63182 w 112824"/>
                <a:gd name="connsiteY305" fmla="*/ 30463 h 129748"/>
                <a:gd name="connsiteX306" fmla="*/ 60925 w 112824"/>
                <a:gd name="connsiteY306" fmla="*/ 34976 h 129748"/>
                <a:gd name="connsiteX307" fmla="*/ 61207 w 112824"/>
                <a:gd name="connsiteY307" fmla="*/ 35822 h 129748"/>
                <a:gd name="connsiteX308" fmla="*/ 60361 w 112824"/>
                <a:gd name="connsiteY308" fmla="*/ 37796 h 129748"/>
                <a:gd name="connsiteX309" fmla="*/ 59233 w 112824"/>
                <a:gd name="connsiteY309" fmla="*/ 40617 h 129748"/>
                <a:gd name="connsiteX310" fmla="*/ 59233 w 112824"/>
                <a:gd name="connsiteY310" fmla="*/ 41181 h 129748"/>
                <a:gd name="connsiteX311" fmla="*/ 56976 w 112824"/>
                <a:gd name="connsiteY311" fmla="*/ 45130 h 129748"/>
                <a:gd name="connsiteX312" fmla="*/ 55848 w 112824"/>
                <a:gd name="connsiteY312" fmla="*/ 46258 h 129748"/>
                <a:gd name="connsiteX313" fmla="*/ 54438 w 112824"/>
                <a:gd name="connsiteY313" fmla="*/ 48515 h 129748"/>
                <a:gd name="connsiteX314" fmla="*/ 54438 w 112824"/>
                <a:gd name="connsiteY314" fmla="*/ 48797 h 129748"/>
                <a:gd name="connsiteX315" fmla="*/ 53873 w 112824"/>
                <a:gd name="connsiteY315" fmla="*/ 49361 h 129748"/>
                <a:gd name="connsiteX316" fmla="*/ 53028 w 112824"/>
                <a:gd name="connsiteY316" fmla="*/ 51053 h 129748"/>
                <a:gd name="connsiteX317" fmla="*/ 53028 w 112824"/>
                <a:gd name="connsiteY317" fmla="*/ 51335 h 129748"/>
                <a:gd name="connsiteX318" fmla="*/ 52463 w 112824"/>
                <a:gd name="connsiteY318" fmla="*/ 52181 h 129748"/>
                <a:gd name="connsiteX319" fmla="*/ 50771 w 112824"/>
                <a:gd name="connsiteY319" fmla="*/ 53592 h 129748"/>
                <a:gd name="connsiteX320" fmla="*/ 47950 w 112824"/>
                <a:gd name="connsiteY320" fmla="*/ 57258 h 129748"/>
                <a:gd name="connsiteX321" fmla="*/ 43720 w 112824"/>
                <a:gd name="connsiteY321" fmla="*/ 62336 h 129748"/>
                <a:gd name="connsiteX322" fmla="*/ 41745 w 112824"/>
                <a:gd name="connsiteY322" fmla="*/ 63746 h 129748"/>
                <a:gd name="connsiteX323" fmla="*/ 40617 w 112824"/>
                <a:gd name="connsiteY323" fmla="*/ 64310 h 129748"/>
                <a:gd name="connsiteX324" fmla="*/ 38642 w 112824"/>
                <a:gd name="connsiteY324" fmla="*/ 66002 h 129748"/>
                <a:gd name="connsiteX325" fmla="*/ 35258 w 112824"/>
                <a:gd name="connsiteY325" fmla="*/ 67131 h 129748"/>
                <a:gd name="connsiteX326" fmla="*/ 34129 w 112824"/>
                <a:gd name="connsiteY326" fmla="*/ 67413 h 129748"/>
                <a:gd name="connsiteX327" fmla="*/ 29334 w 112824"/>
                <a:gd name="connsiteY327" fmla="*/ 68259 h 129748"/>
                <a:gd name="connsiteX328" fmla="*/ 26514 w 112824"/>
                <a:gd name="connsiteY328" fmla="*/ 68823 h 129748"/>
                <a:gd name="connsiteX329" fmla="*/ 25103 w 112824"/>
                <a:gd name="connsiteY329" fmla="*/ 69105 h 129748"/>
                <a:gd name="connsiteX330" fmla="*/ 23129 w 112824"/>
                <a:gd name="connsiteY330" fmla="*/ 68541 h 129748"/>
                <a:gd name="connsiteX331" fmla="*/ 21719 w 112824"/>
                <a:gd name="connsiteY331" fmla="*/ 68259 h 129748"/>
                <a:gd name="connsiteX332" fmla="*/ 21155 w 112824"/>
                <a:gd name="connsiteY332" fmla="*/ 68823 h 129748"/>
                <a:gd name="connsiteX333" fmla="*/ 19744 w 112824"/>
                <a:gd name="connsiteY333" fmla="*/ 72490 h 129748"/>
                <a:gd name="connsiteX334" fmla="*/ 20026 w 112824"/>
                <a:gd name="connsiteY334" fmla="*/ 74182 h 129748"/>
                <a:gd name="connsiteX335" fmla="*/ 20308 w 112824"/>
                <a:gd name="connsiteY335" fmla="*/ 75592 h 129748"/>
                <a:gd name="connsiteX336" fmla="*/ 20026 w 112824"/>
                <a:gd name="connsiteY336" fmla="*/ 76157 h 129748"/>
                <a:gd name="connsiteX337" fmla="*/ 19180 w 112824"/>
                <a:gd name="connsiteY337" fmla="*/ 77567 h 129748"/>
                <a:gd name="connsiteX338" fmla="*/ 19462 w 112824"/>
                <a:gd name="connsiteY338" fmla="*/ 78413 h 129748"/>
                <a:gd name="connsiteX339" fmla="*/ 18616 w 112824"/>
                <a:gd name="connsiteY339" fmla="*/ 80670 h 129748"/>
                <a:gd name="connsiteX340" fmla="*/ 18616 w 112824"/>
                <a:gd name="connsiteY340" fmla="*/ 84054 h 129748"/>
                <a:gd name="connsiteX341" fmla="*/ 18898 w 112824"/>
                <a:gd name="connsiteY341" fmla="*/ 85465 h 129748"/>
                <a:gd name="connsiteX342" fmla="*/ 18616 w 112824"/>
                <a:gd name="connsiteY342" fmla="*/ 86029 h 129748"/>
                <a:gd name="connsiteX343" fmla="*/ 18334 w 112824"/>
                <a:gd name="connsiteY343" fmla="*/ 87721 h 129748"/>
                <a:gd name="connsiteX344" fmla="*/ 18052 w 112824"/>
                <a:gd name="connsiteY344" fmla="*/ 88567 h 129748"/>
                <a:gd name="connsiteX345" fmla="*/ 18334 w 112824"/>
                <a:gd name="connsiteY345" fmla="*/ 89413 h 129748"/>
                <a:gd name="connsiteX346" fmla="*/ 18616 w 112824"/>
                <a:gd name="connsiteY346" fmla="*/ 90260 h 129748"/>
                <a:gd name="connsiteX347" fmla="*/ 18334 w 112824"/>
                <a:gd name="connsiteY347" fmla="*/ 90824 h 129748"/>
                <a:gd name="connsiteX348" fmla="*/ 18334 w 112824"/>
                <a:gd name="connsiteY348" fmla="*/ 91106 h 129748"/>
                <a:gd name="connsiteX349" fmla="*/ 18616 w 112824"/>
                <a:gd name="connsiteY349" fmla="*/ 91952 h 129748"/>
                <a:gd name="connsiteX350" fmla="*/ 18334 w 112824"/>
                <a:gd name="connsiteY350" fmla="*/ 93644 h 129748"/>
                <a:gd name="connsiteX351" fmla="*/ 18334 w 112824"/>
                <a:gd name="connsiteY351" fmla="*/ 95337 h 129748"/>
                <a:gd name="connsiteX352" fmla="*/ 18898 w 112824"/>
                <a:gd name="connsiteY352" fmla="*/ 96747 h 129748"/>
                <a:gd name="connsiteX353" fmla="*/ 18898 w 112824"/>
                <a:gd name="connsiteY353" fmla="*/ 100414 h 129748"/>
                <a:gd name="connsiteX354" fmla="*/ 18334 w 112824"/>
                <a:gd name="connsiteY354" fmla="*/ 102106 h 129748"/>
                <a:gd name="connsiteX355" fmla="*/ 18898 w 112824"/>
                <a:gd name="connsiteY355" fmla="*/ 103234 h 129748"/>
                <a:gd name="connsiteX356" fmla="*/ 18898 w 112824"/>
                <a:gd name="connsiteY356" fmla="*/ 104081 h 129748"/>
                <a:gd name="connsiteX357" fmla="*/ 19180 w 112824"/>
                <a:gd name="connsiteY357" fmla="*/ 104645 h 129748"/>
                <a:gd name="connsiteX358" fmla="*/ 20591 w 112824"/>
                <a:gd name="connsiteY358" fmla="*/ 107183 h 129748"/>
                <a:gd name="connsiteX359" fmla="*/ 20591 w 112824"/>
                <a:gd name="connsiteY359" fmla="*/ 108312 h 129748"/>
                <a:gd name="connsiteX360" fmla="*/ 20308 w 112824"/>
                <a:gd name="connsiteY360" fmla="*/ 109158 h 129748"/>
                <a:gd name="connsiteX361" fmla="*/ 21436 w 112824"/>
                <a:gd name="connsiteY361" fmla="*/ 110568 h 129748"/>
                <a:gd name="connsiteX362" fmla="*/ 22847 w 112824"/>
                <a:gd name="connsiteY362" fmla="*/ 113389 h 129748"/>
                <a:gd name="connsiteX363" fmla="*/ 23129 w 112824"/>
                <a:gd name="connsiteY363" fmla="*/ 113671 h 129748"/>
                <a:gd name="connsiteX364" fmla="*/ 24257 w 112824"/>
                <a:gd name="connsiteY364" fmla="*/ 115927 h 129748"/>
                <a:gd name="connsiteX365" fmla="*/ 24257 w 112824"/>
                <a:gd name="connsiteY365" fmla="*/ 116209 h 129748"/>
                <a:gd name="connsiteX366" fmla="*/ 25667 w 112824"/>
                <a:gd name="connsiteY366" fmla="*/ 117620 h 129748"/>
                <a:gd name="connsiteX367" fmla="*/ 26796 w 112824"/>
                <a:gd name="connsiteY367" fmla="*/ 119030 h 129748"/>
                <a:gd name="connsiteX368" fmla="*/ 30463 w 112824"/>
                <a:gd name="connsiteY368" fmla="*/ 120722 h 129748"/>
                <a:gd name="connsiteX369" fmla="*/ 31873 w 112824"/>
                <a:gd name="connsiteY369" fmla="*/ 120440 h 129748"/>
                <a:gd name="connsiteX370" fmla="*/ 33283 w 112824"/>
                <a:gd name="connsiteY370" fmla="*/ 120158 h 129748"/>
                <a:gd name="connsiteX371" fmla="*/ 40053 w 112824"/>
                <a:gd name="connsiteY371" fmla="*/ 118466 h 129748"/>
                <a:gd name="connsiteX372" fmla="*/ 44848 w 112824"/>
                <a:gd name="connsiteY372" fmla="*/ 115645 h 129748"/>
                <a:gd name="connsiteX373" fmla="*/ 47950 w 112824"/>
                <a:gd name="connsiteY373" fmla="*/ 114235 h 129748"/>
                <a:gd name="connsiteX374" fmla="*/ 53028 w 112824"/>
                <a:gd name="connsiteY374" fmla="*/ 110286 h 129748"/>
                <a:gd name="connsiteX375" fmla="*/ 56976 w 112824"/>
                <a:gd name="connsiteY375" fmla="*/ 107183 h 129748"/>
                <a:gd name="connsiteX376" fmla="*/ 59797 w 112824"/>
                <a:gd name="connsiteY376" fmla="*/ 104081 h 129748"/>
                <a:gd name="connsiteX377" fmla="*/ 63745 w 112824"/>
                <a:gd name="connsiteY377" fmla="*/ 100696 h 129748"/>
                <a:gd name="connsiteX378" fmla="*/ 65720 w 112824"/>
                <a:gd name="connsiteY378" fmla="*/ 98721 h 129748"/>
                <a:gd name="connsiteX379" fmla="*/ 66566 w 112824"/>
                <a:gd name="connsiteY379" fmla="*/ 97875 h 129748"/>
                <a:gd name="connsiteX380" fmla="*/ 66848 w 112824"/>
                <a:gd name="connsiteY380" fmla="*/ 97029 h 129748"/>
                <a:gd name="connsiteX381" fmla="*/ 69951 w 112824"/>
                <a:gd name="connsiteY381" fmla="*/ 94773 h 129748"/>
                <a:gd name="connsiteX382" fmla="*/ 72490 w 112824"/>
                <a:gd name="connsiteY382" fmla="*/ 91952 h 129748"/>
                <a:gd name="connsiteX383" fmla="*/ 76157 w 112824"/>
                <a:gd name="connsiteY383" fmla="*/ 87439 h 129748"/>
                <a:gd name="connsiteX384" fmla="*/ 81516 w 112824"/>
                <a:gd name="connsiteY384" fmla="*/ 81516 h 129748"/>
                <a:gd name="connsiteX385" fmla="*/ 81798 w 112824"/>
                <a:gd name="connsiteY385" fmla="*/ 81234 h 129748"/>
                <a:gd name="connsiteX386" fmla="*/ 84336 w 112824"/>
                <a:gd name="connsiteY386" fmla="*/ 78413 h 129748"/>
                <a:gd name="connsiteX387" fmla="*/ 87721 w 112824"/>
                <a:gd name="connsiteY387" fmla="*/ 74182 h 129748"/>
                <a:gd name="connsiteX388" fmla="*/ 88849 w 112824"/>
                <a:gd name="connsiteY388" fmla="*/ 72208 h 129748"/>
                <a:gd name="connsiteX389" fmla="*/ 92798 w 112824"/>
                <a:gd name="connsiteY389" fmla="*/ 67695 h 129748"/>
                <a:gd name="connsiteX390" fmla="*/ 92516 w 112824"/>
                <a:gd name="connsiteY390" fmla="*/ 67413 h 129748"/>
                <a:gd name="connsiteX391" fmla="*/ 95901 w 112824"/>
                <a:gd name="connsiteY391" fmla="*/ 62336 h 129748"/>
                <a:gd name="connsiteX392" fmla="*/ 96183 w 112824"/>
                <a:gd name="connsiteY392" fmla="*/ 61207 h 129748"/>
                <a:gd name="connsiteX393" fmla="*/ 98158 w 112824"/>
                <a:gd name="connsiteY393" fmla="*/ 59233 h 129748"/>
                <a:gd name="connsiteX394" fmla="*/ 99003 w 112824"/>
                <a:gd name="connsiteY394" fmla="*/ 56694 h 129748"/>
                <a:gd name="connsiteX395" fmla="*/ 99286 w 112824"/>
                <a:gd name="connsiteY395" fmla="*/ 56976 h 129748"/>
                <a:gd name="connsiteX396" fmla="*/ 99286 w 112824"/>
                <a:gd name="connsiteY396" fmla="*/ 57541 h 129748"/>
                <a:gd name="connsiteX397" fmla="*/ 99568 w 112824"/>
                <a:gd name="connsiteY397" fmla="*/ 57541 h 129748"/>
                <a:gd name="connsiteX398" fmla="*/ 100132 w 112824"/>
                <a:gd name="connsiteY398" fmla="*/ 56694 h 129748"/>
                <a:gd name="connsiteX399" fmla="*/ 100132 w 112824"/>
                <a:gd name="connsiteY399" fmla="*/ 56130 h 129748"/>
                <a:gd name="connsiteX400" fmla="*/ 100696 w 112824"/>
                <a:gd name="connsiteY400" fmla="*/ 54438 h 129748"/>
                <a:gd name="connsiteX401" fmla="*/ 100978 w 112824"/>
                <a:gd name="connsiteY401" fmla="*/ 53592 h 129748"/>
                <a:gd name="connsiteX402" fmla="*/ 101824 w 112824"/>
                <a:gd name="connsiteY402" fmla="*/ 52463 h 129748"/>
                <a:gd name="connsiteX403" fmla="*/ 102388 w 112824"/>
                <a:gd name="connsiteY403" fmla="*/ 50207 h 129748"/>
                <a:gd name="connsiteX404" fmla="*/ 103234 w 112824"/>
                <a:gd name="connsiteY404" fmla="*/ 49079 h 129748"/>
                <a:gd name="connsiteX405" fmla="*/ 103799 w 112824"/>
                <a:gd name="connsiteY405" fmla="*/ 48515 h 129748"/>
                <a:gd name="connsiteX406" fmla="*/ 103799 w 112824"/>
                <a:gd name="connsiteY406" fmla="*/ 47668 h 129748"/>
                <a:gd name="connsiteX407" fmla="*/ 105491 w 112824"/>
                <a:gd name="connsiteY407" fmla="*/ 45976 h 129748"/>
                <a:gd name="connsiteX408" fmla="*/ 105491 w 112824"/>
                <a:gd name="connsiteY408" fmla="*/ 45694 h 129748"/>
                <a:gd name="connsiteX409" fmla="*/ 105773 w 112824"/>
                <a:gd name="connsiteY409" fmla="*/ 45130 h 129748"/>
                <a:gd name="connsiteX410" fmla="*/ 105773 w 112824"/>
                <a:gd name="connsiteY410" fmla="*/ 44566 h 129748"/>
                <a:gd name="connsiteX411" fmla="*/ 106619 w 112824"/>
                <a:gd name="connsiteY411" fmla="*/ 43437 h 129748"/>
                <a:gd name="connsiteX412" fmla="*/ 107747 w 112824"/>
                <a:gd name="connsiteY412" fmla="*/ 42027 h 129748"/>
                <a:gd name="connsiteX413" fmla="*/ 108030 w 112824"/>
                <a:gd name="connsiteY413" fmla="*/ 42027 h 129748"/>
                <a:gd name="connsiteX414" fmla="*/ 108311 w 112824"/>
                <a:gd name="connsiteY414" fmla="*/ 42309 h 129748"/>
                <a:gd name="connsiteX415" fmla="*/ 108594 w 112824"/>
                <a:gd name="connsiteY415" fmla="*/ 43155 h 129748"/>
                <a:gd name="connsiteX416" fmla="*/ 109158 w 112824"/>
                <a:gd name="connsiteY416" fmla="*/ 43437 h 129748"/>
                <a:gd name="connsiteX417" fmla="*/ 110004 w 112824"/>
                <a:gd name="connsiteY417" fmla="*/ 43720 h 129748"/>
                <a:gd name="connsiteX418" fmla="*/ 109722 w 112824"/>
                <a:gd name="connsiteY418" fmla="*/ 44002 h 129748"/>
                <a:gd name="connsiteX419" fmla="*/ 109158 w 112824"/>
                <a:gd name="connsiteY419" fmla="*/ 46540 h 129748"/>
                <a:gd name="connsiteX420" fmla="*/ 107747 w 112824"/>
                <a:gd name="connsiteY420" fmla="*/ 47386 h 129748"/>
                <a:gd name="connsiteX421" fmla="*/ 107183 w 112824"/>
                <a:gd name="connsiteY421" fmla="*/ 47386 h 129748"/>
                <a:gd name="connsiteX422" fmla="*/ 106337 w 112824"/>
                <a:gd name="connsiteY422" fmla="*/ 47950 h 129748"/>
                <a:gd name="connsiteX423" fmla="*/ 107183 w 112824"/>
                <a:gd name="connsiteY423" fmla="*/ 49925 h 129748"/>
                <a:gd name="connsiteX424" fmla="*/ 107747 w 112824"/>
                <a:gd name="connsiteY424" fmla="*/ 50771 h 129748"/>
                <a:gd name="connsiteX425" fmla="*/ 107747 w 112824"/>
                <a:gd name="connsiteY425" fmla="*/ 51335 h 129748"/>
                <a:gd name="connsiteX426" fmla="*/ 107747 w 112824"/>
                <a:gd name="connsiteY426" fmla="*/ 51899 h 129748"/>
                <a:gd name="connsiteX427" fmla="*/ 107747 w 112824"/>
                <a:gd name="connsiteY427" fmla="*/ 52463 h 129748"/>
                <a:gd name="connsiteX428" fmla="*/ 107183 w 112824"/>
                <a:gd name="connsiteY428" fmla="*/ 54438 h 129748"/>
                <a:gd name="connsiteX429" fmla="*/ 106901 w 112824"/>
                <a:gd name="connsiteY429" fmla="*/ 55566 h 129748"/>
                <a:gd name="connsiteX430" fmla="*/ 106619 w 112824"/>
                <a:gd name="connsiteY430" fmla="*/ 55566 h 129748"/>
                <a:gd name="connsiteX431" fmla="*/ 106619 w 112824"/>
                <a:gd name="connsiteY431" fmla="*/ 53874 h 129748"/>
                <a:gd name="connsiteX432" fmla="*/ 106337 w 112824"/>
                <a:gd name="connsiteY432" fmla="*/ 53874 h 129748"/>
                <a:gd name="connsiteX433" fmla="*/ 105773 w 112824"/>
                <a:gd name="connsiteY433" fmla="*/ 51899 h 129748"/>
                <a:gd name="connsiteX434" fmla="*/ 106055 w 112824"/>
                <a:gd name="connsiteY434" fmla="*/ 51335 h 129748"/>
                <a:gd name="connsiteX435" fmla="*/ 105491 w 112824"/>
                <a:gd name="connsiteY435" fmla="*/ 51053 h 129748"/>
                <a:gd name="connsiteX436" fmla="*/ 105209 w 112824"/>
                <a:gd name="connsiteY436" fmla="*/ 51335 h 129748"/>
                <a:gd name="connsiteX437" fmla="*/ 103799 w 112824"/>
                <a:gd name="connsiteY437" fmla="*/ 53874 h 129748"/>
                <a:gd name="connsiteX438" fmla="*/ 103234 w 112824"/>
                <a:gd name="connsiteY438" fmla="*/ 55284 h 129748"/>
                <a:gd name="connsiteX439" fmla="*/ 102388 w 112824"/>
                <a:gd name="connsiteY439" fmla="*/ 55848 h 129748"/>
                <a:gd name="connsiteX440" fmla="*/ 101542 w 112824"/>
                <a:gd name="connsiteY440" fmla="*/ 56694 h 129748"/>
                <a:gd name="connsiteX441" fmla="*/ 101542 w 112824"/>
                <a:gd name="connsiteY441" fmla="*/ 56976 h 129748"/>
                <a:gd name="connsiteX442" fmla="*/ 101260 w 112824"/>
                <a:gd name="connsiteY442" fmla="*/ 57823 h 129748"/>
                <a:gd name="connsiteX443" fmla="*/ 100413 w 112824"/>
                <a:gd name="connsiteY443" fmla="*/ 61207 h 129748"/>
                <a:gd name="connsiteX444" fmla="*/ 100413 w 112824"/>
                <a:gd name="connsiteY444" fmla="*/ 61489 h 129748"/>
                <a:gd name="connsiteX445" fmla="*/ 100978 w 112824"/>
                <a:gd name="connsiteY445" fmla="*/ 61489 h 129748"/>
                <a:gd name="connsiteX446" fmla="*/ 101824 w 112824"/>
                <a:gd name="connsiteY446" fmla="*/ 60361 h 129748"/>
                <a:gd name="connsiteX447" fmla="*/ 102952 w 112824"/>
                <a:gd name="connsiteY447" fmla="*/ 59233 h 129748"/>
                <a:gd name="connsiteX448" fmla="*/ 104363 w 112824"/>
                <a:gd name="connsiteY448" fmla="*/ 58669 h 129748"/>
                <a:gd name="connsiteX449" fmla="*/ 104644 w 112824"/>
                <a:gd name="connsiteY449" fmla="*/ 58669 h 129748"/>
                <a:gd name="connsiteX450" fmla="*/ 104080 w 112824"/>
                <a:gd name="connsiteY450" fmla="*/ 60925 h 129748"/>
                <a:gd name="connsiteX451" fmla="*/ 103234 w 112824"/>
                <a:gd name="connsiteY451" fmla="*/ 61771 h 129748"/>
                <a:gd name="connsiteX452" fmla="*/ 104080 w 112824"/>
                <a:gd name="connsiteY452" fmla="*/ 62900 h 129748"/>
                <a:gd name="connsiteX453" fmla="*/ 104927 w 112824"/>
                <a:gd name="connsiteY453" fmla="*/ 63182 h 129748"/>
                <a:gd name="connsiteX454" fmla="*/ 105209 w 112824"/>
                <a:gd name="connsiteY454" fmla="*/ 64310 h 129748"/>
                <a:gd name="connsiteX455" fmla="*/ 105209 w 112824"/>
                <a:gd name="connsiteY455" fmla="*/ 65156 h 129748"/>
                <a:gd name="connsiteX456" fmla="*/ 105491 w 112824"/>
                <a:gd name="connsiteY456" fmla="*/ 65720 h 129748"/>
                <a:gd name="connsiteX457" fmla="*/ 107183 w 112824"/>
                <a:gd name="connsiteY457" fmla="*/ 65720 h 129748"/>
                <a:gd name="connsiteX458" fmla="*/ 108030 w 112824"/>
                <a:gd name="connsiteY458" fmla="*/ 66284 h 129748"/>
                <a:gd name="connsiteX459" fmla="*/ 1410 w 112824"/>
                <a:gd name="connsiteY459" fmla="*/ 105209 h 129748"/>
                <a:gd name="connsiteX460" fmla="*/ 1410 w 112824"/>
                <a:gd name="connsiteY460" fmla="*/ 105491 h 129748"/>
                <a:gd name="connsiteX461" fmla="*/ 1692 w 112824"/>
                <a:gd name="connsiteY461" fmla="*/ 105773 h 129748"/>
                <a:gd name="connsiteX462" fmla="*/ 1974 w 112824"/>
                <a:gd name="connsiteY462" fmla="*/ 105773 h 129748"/>
                <a:gd name="connsiteX463" fmla="*/ 1410 w 112824"/>
                <a:gd name="connsiteY463" fmla="*/ 105209 h 129748"/>
                <a:gd name="connsiteX464" fmla="*/ 18334 w 112824"/>
                <a:gd name="connsiteY464" fmla="*/ 41463 h 129748"/>
                <a:gd name="connsiteX465" fmla="*/ 18898 w 112824"/>
                <a:gd name="connsiteY465" fmla="*/ 39771 h 129748"/>
                <a:gd name="connsiteX466" fmla="*/ 18898 w 112824"/>
                <a:gd name="connsiteY466" fmla="*/ 38924 h 129748"/>
                <a:gd name="connsiteX467" fmla="*/ 20308 w 112824"/>
                <a:gd name="connsiteY467" fmla="*/ 36950 h 129748"/>
                <a:gd name="connsiteX468" fmla="*/ 21155 w 112824"/>
                <a:gd name="connsiteY468" fmla="*/ 34694 h 129748"/>
                <a:gd name="connsiteX469" fmla="*/ 21436 w 112824"/>
                <a:gd name="connsiteY469" fmla="*/ 34411 h 129748"/>
                <a:gd name="connsiteX470" fmla="*/ 22283 w 112824"/>
                <a:gd name="connsiteY470" fmla="*/ 33283 h 129748"/>
                <a:gd name="connsiteX471" fmla="*/ 23975 w 112824"/>
                <a:gd name="connsiteY471" fmla="*/ 28206 h 129748"/>
                <a:gd name="connsiteX472" fmla="*/ 23693 w 112824"/>
                <a:gd name="connsiteY472" fmla="*/ 27924 h 129748"/>
                <a:gd name="connsiteX473" fmla="*/ 23693 w 112824"/>
                <a:gd name="connsiteY473" fmla="*/ 27642 h 129748"/>
                <a:gd name="connsiteX474" fmla="*/ 22847 w 112824"/>
                <a:gd name="connsiteY474" fmla="*/ 28488 h 129748"/>
                <a:gd name="connsiteX475" fmla="*/ 22283 w 112824"/>
                <a:gd name="connsiteY475" fmla="*/ 30181 h 129748"/>
                <a:gd name="connsiteX476" fmla="*/ 21155 w 112824"/>
                <a:gd name="connsiteY476" fmla="*/ 32719 h 129748"/>
                <a:gd name="connsiteX477" fmla="*/ 19462 w 112824"/>
                <a:gd name="connsiteY477" fmla="*/ 34976 h 129748"/>
                <a:gd name="connsiteX478" fmla="*/ 18334 w 112824"/>
                <a:gd name="connsiteY478" fmla="*/ 37514 h 129748"/>
                <a:gd name="connsiteX479" fmla="*/ 18616 w 112824"/>
                <a:gd name="connsiteY479" fmla="*/ 38078 h 129748"/>
                <a:gd name="connsiteX480" fmla="*/ 17488 w 112824"/>
                <a:gd name="connsiteY480" fmla="*/ 39771 h 129748"/>
                <a:gd name="connsiteX481" fmla="*/ 16360 w 112824"/>
                <a:gd name="connsiteY481" fmla="*/ 43437 h 129748"/>
                <a:gd name="connsiteX482" fmla="*/ 15795 w 112824"/>
                <a:gd name="connsiteY482" fmla="*/ 46258 h 129748"/>
                <a:gd name="connsiteX483" fmla="*/ 15513 w 112824"/>
                <a:gd name="connsiteY483" fmla="*/ 46540 h 129748"/>
                <a:gd name="connsiteX484" fmla="*/ 15795 w 112824"/>
                <a:gd name="connsiteY484" fmla="*/ 46822 h 129748"/>
                <a:gd name="connsiteX485" fmla="*/ 16077 w 112824"/>
                <a:gd name="connsiteY485" fmla="*/ 46540 h 129748"/>
                <a:gd name="connsiteX486" fmla="*/ 16360 w 112824"/>
                <a:gd name="connsiteY486" fmla="*/ 45976 h 129748"/>
                <a:gd name="connsiteX487" fmla="*/ 16360 w 112824"/>
                <a:gd name="connsiteY487" fmla="*/ 45412 h 129748"/>
                <a:gd name="connsiteX488" fmla="*/ 16924 w 112824"/>
                <a:gd name="connsiteY488" fmla="*/ 44002 h 129748"/>
                <a:gd name="connsiteX489" fmla="*/ 18334 w 112824"/>
                <a:gd name="connsiteY489" fmla="*/ 41463 h 129748"/>
                <a:gd name="connsiteX490" fmla="*/ 26796 w 112824"/>
                <a:gd name="connsiteY490" fmla="*/ 47950 h 129748"/>
                <a:gd name="connsiteX491" fmla="*/ 26232 w 112824"/>
                <a:gd name="connsiteY491" fmla="*/ 49643 h 129748"/>
                <a:gd name="connsiteX492" fmla="*/ 26232 w 112824"/>
                <a:gd name="connsiteY492" fmla="*/ 50771 h 129748"/>
                <a:gd name="connsiteX493" fmla="*/ 29052 w 112824"/>
                <a:gd name="connsiteY493" fmla="*/ 53310 h 129748"/>
                <a:gd name="connsiteX494" fmla="*/ 29898 w 112824"/>
                <a:gd name="connsiteY494" fmla="*/ 53310 h 129748"/>
                <a:gd name="connsiteX495" fmla="*/ 30463 w 112824"/>
                <a:gd name="connsiteY495" fmla="*/ 52745 h 129748"/>
                <a:gd name="connsiteX496" fmla="*/ 32719 w 112824"/>
                <a:gd name="connsiteY496" fmla="*/ 50207 h 129748"/>
                <a:gd name="connsiteX497" fmla="*/ 35822 w 112824"/>
                <a:gd name="connsiteY497" fmla="*/ 46258 h 129748"/>
                <a:gd name="connsiteX498" fmla="*/ 36668 w 112824"/>
                <a:gd name="connsiteY498" fmla="*/ 45130 h 129748"/>
                <a:gd name="connsiteX499" fmla="*/ 38078 w 112824"/>
                <a:gd name="connsiteY499" fmla="*/ 43155 h 129748"/>
                <a:gd name="connsiteX500" fmla="*/ 39489 w 112824"/>
                <a:gd name="connsiteY500" fmla="*/ 40899 h 129748"/>
                <a:gd name="connsiteX501" fmla="*/ 40053 w 112824"/>
                <a:gd name="connsiteY501" fmla="*/ 39207 h 129748"/>
                <a:gd name="connsiteX502" fmla="*/ 42027 w 112824"/>
                <a:gd name="connsiteY502" fmla="*/ 36668 h 129748"/>
                <a:gd name="connsiteX503" fmla="*/ 43437 w 112824"/>
                <a:gd name="connsiteY503" fmla="*/ 33847 h 129748"/>
                <a:gd name="connsiteX504" fmla="*/ 43720 w 112824"/>
                <a:gd name="connsiteY504" fmla="*/ 31591 h 129748"/>
                <a:gd name="connsiteX505" fmla="*/ 44848 w 112824"/>
                <a:gd name="connsiteY505" fmla="*/ 29052 h 129748"/>
                <a:gd name="connsiteX506" fmla="*/ 45976 w 112824"/>
                <a:gd name="connsiteY506" fmla="*/ 26514 h 129748"/>
                <a:gd name="connsiteX507" fmla="*/ 46822 w 112824"/>
                <a:gd name="connsiteY507" fmla="*/ 24257 h 129748"/>
                <a:gd name="connsiteX508" fmla="*/ 46540 w 112824"/>
                <a:gd name="connsiteY508" fmla="*/ 23411 h 129748"/>
                <a:gd name="connsiteX509" fmla="*/ 46540 w 112824"/>
                <a:gd name="connsiteY509" fmla="*/ 22847 h 129748"/>
                <a:gd name="connsiteX510" fmla="*/ 47104 w 112824"/>
                <a:gd name="connsiteY510" fmla="*/ 22283 h 129748"/>
                <a:gd name="connsiteX511" fmla="*/ 47668 w 112824"/>
                <a:gd name="connsiteY511" fmla="*/ 22283 h 129748"/>
                <a:gd name="connsiteX512" fmla="*/ 47950 w 112824"/>
                <a:gd name="connsiteY512" fmla="*/ 21719 h 129748"/>
                <a:gd name="connsiteX513" fmla="*/ 47668 w 112824"/>
                <a:gd name="connsiteY513" fmla="*/ 21437 h 129748"/>
                <a:gd name="connsiteX514" fmla="*/ 47668 w 112824"/>
                <a:gd name="connsiteY514" fmla="*/ 21155 h 129748"/>
                <a:gd name="connsiteX515" fmla="*/ 47386 w 112824"/>
                <a:gd name="connsiteY515" fmla="*/ 20873 h 129748"/>
                <a:gd name="connsiteX516" fmla="*/ 47104 w 112824"/>
                <a:gd name="connsiteY516" fmla="*/ 20308 h 129748"/>
                <a:gd name="connsiteX517" fmla="*/ 47386 w 112824"/>
                <a:gd name="connsiteY517" fmla="*/ 19744 h 129748"/>
                <a:gd name="connsiteX518" fmla="*/ 47668 w 112824"/>
                <a:gd name="connsiteY518" fmla="*/ 19180 h 129748"/>
                <a:gd name="connsiteX519" fmla="*/ 47104 w 112824"/>
                <a:gd name="connsiteY519" fmla="*/ 18898 h 129748"/>
                <a:gd name="connsiteX520" fmla="*/ 47104 w 112824"/>
                <a:gd name="connsiteY520" fmla="*/ 18334 h 129748"/>
                <a:gd name="connsiteX521" fmla="*/ 47668 w 112824"/>
                <a:gd name="connsiteY521" fmla="*/ 17206 h 129748"/>
                <a:gd name="connsiteX522" fmla="*/ 47386 w 112824"/>
                <a:gd name="connsiteY522" fmla="*/ 16078 h 129748"/>
                <a:gd name="connsiteX523" fmla="*/ 46822 w 112824"/>
                <a:gd name="connsiteY523" fmla="*/ 13821 h 129748"/>
                <a:gd name="connsiteX524" fmla="*/ 46822 w 112824"/>
                <a:gd name="connsiteY524" fmla="*/ 13539 h 129748"/>
                <a:gd name="connsiteX525" fmla="*/ 47104 w 112824"/>
                <a:gd name="connsiteY525" fmla="*/ 13257 h 129748"/>
                <a:gd name="connsiteX526" fmla="*/ 47386 w 112824"/>
                <a:gd name="connsiteY526" fmla="*/ 12975 h 129748"/>
                <a:gd name="connsiteX527" fmla="*/ 47668 w 112824"/>
                <a:gd name="connsiteY527" fmla="*/ 12411 h 129748"/>
                <a:gd name="connsiteX528" fmla="*/ 45976 w 112824"/>
                <a:gd name="connsiteY528" fmla="*/ 12411 h 129748"/>
                <a:gd name="connsiteX529" fmla="*/ 43437 w 112824"/>
                <a:gd name="connsiteY529" fmla="*/ 15795 h 129748"/>
                <a:gd name="connsiteX530" fmla="*/ 43156 w 112824"/>
                <a:gd name="connsiteY530" fmla="*/ 16078 h 129748"/>
                <a:gd name="connsiteX531" fmla="*/ 43156 w 112824"/>
                <a:gd name="connsiteY531" fmla="*/ 16360 h 129748"/>
                <a:gd name="connsiteX532" fmla="*/ 39770 w 112824"/>
                <a:gd name="connsiteY532" fmla="*/ 20590 h 129748"/>
                <a:gd name="connsiteX533" fmla="*/ 39489 w 112824"/>
                <a:gd name="connsiteY533" fmla="*/ 20873 h 129748"/>
                <a:gd name="connsiteX534" fmla="*/ 37232 w 112824"/>
                <a:gd name="connsiteY534" fmla="*/ 23411 h 129748"/>
                <a:gd name="connsiteX535" fmla="*/ 36668 w 112824"/>
                <a:gd name="connsiteY535" fmla="*/ 24539 h 129748"/>
                <a:gd name="connsiteX536" fmla="*/ 36668 w 112824"/>
                <a:gd name="connsiteY536" fmla="*/ 24821 h 129748"/>
                <a:gd name="connsiteX537" fmla="*/ 35539 w 112824"/>
                <a:gd name="connsiteY537" fmla="*/ 26514 h 129748"/>
                <a:gd name="connsiteX538" fmla="*/ 34411 w 112824"/>
                <a:gd name="connsiteY538" fmla="*/ 28206 h 129748"/>
                <a:gd name="connsiteX539" fmla="*/ 33847 w 112824"/>
                <a:gd name="connsiteY539" fmla="*/ 28770 h 129748"/>
                <a:gd name="connsiteX540" fmla="*/ 34129 w 112824"/>
                <a:gd name="connsiteY540" fmla="*/ 30463 h 129748"/>
                <a:gd name="connsiteX541" fmla="*/ 33001 w 112824"/>
                <a:gd name="connsiteY541" fmla="*/ 32155 h 129748"/>
                <a:gd name="connsiteX542" fmla="*/ 33001 w 112824"/>
                <a:gd name="connsiteY542" fmla="*/ 33001 h 129748"/>
                <a:gd name="connsiteX543" fmla="*/ 32155 w 112824"/>
                <a:gd name="connsiteY543" fmla="*/ 33847 h 129748"/>
                <a:gd name="connsiteX544" fmla="*/ 31027 w 112824"/>
                <a:gd name="connsiteY544" fmla="*/ 36104 h 129748"/>
                <a:gd name="connsiteX545" fmla="*/ 31027 w 112824"/>
                <a:gd name="connsiteY545" fmla="*/ 36668 h 129748"/>
                <a:gd name="connsiteX546" fmla="*/ 30180 w 112824"/>
                <a:gd name="connsiteY546" fmla="*/ 37796 h 129748"/>
                <a:gd name="connsiteX547" fmla="*/ 29052 w 112824"/>
                <a:gd name="connsiteY547" fmla="*/ 38924 h 129748"/>
                <a:gd name="connsiteX548" fmla="*/ 29052 w 112824"/>
                <a:gd name="connsiteY548" fmla="*/ 39207 h 129748"/>
                <a:gd name="connsiteX549" fmla="*/ 27077 w 112824"/>
                <a:gd name="connsiteY549" fmla="*/ 45412 h 129748"/>
                <a:gd name="connsiteX550" fmla="*/ 27077 w 112824"/>
                <a:gd name="connsiteY550" fmla="*/ 47104 h 129748"/>
                <a:gd name="connsiteX551" fmla="*/ 26796 w 112824"/>
                <a:gd name="connsiteY551" fmla="*/ 47950 h 129748"/>
                <a:gd name="connsiteX552" fmla="*/ 55002 w 112824"/>
                <a:gd name="connsiteY552" fmla="*/ 26796 h 129748"/>
                <a:gd name="connsiteX553" fmla="*/ 55566 w 112824"/>
                <a:gd name="connsiteY553" fmla="*/ 26514 h 129748"/>
                <a:gd name="connsiteX554" fmla="*/ 55848 w 112824"/>
                <a:gd name="connsiteY554" fmla="*/ 25668 h 129748"/>
                <a:gd name="connsiteX555" fmla="*/ 55848 w 112824"/>
                <a:gd name="connsiteY555" fmla="*/ 25386 h 129748"/>
                <a:gd name="connsiteX556" fmla="*/ 55566 w 112824"/>
                <a:gd name="connsiteY556" fmla="*/ 25103 h 129748"/>
                <a:gd name="connsiteX557" fmla="*/ 55284 w 112824"/>
                <a:gd name="connsiteY557" fmla="*/ 25103 h 129748"/>
                <a:gd name="connsiteX558" fmla="*/ 54720 w 112824"/>
                <a:gd name="connsiteY558" fmla="*/ 25950 h 129748"/>
                <a:gd name="connsiteX559" fmla="*/ 55002 w 112824"/>
                <a:gd name="connsiteY559" fmla="*/ 26796 h 129748"/>
                <a:gd name="connsiteX560" fmla="*/ 55002 w 112824"/>
                <a:gd name="connsiteY560" fmla="*/ 12411 h 129748"/>
                <a:gd name="connsiteX561" fmla="*/ 55284 w 112824"/>
                <a:gd name="connsiteY561" fmla="*/ 12975 h 129748"/>
                <a:gd name="connsiteX562" fmla="*/ 55848 w 112824"/>
                <a:gd name="connsiteY562" fmla="*/ 13539 h 129748"/>
                <a:gd name="connsiteX563" fmla="*/ 56412 w 112824"/>
                <a:gd name="connsiteY563" fmla="*/ 12975 h 129748"/>
                <a:gd name="connsiteX564" fmla="*/ 55566 w 112824"/>
                <a:gd name="connsiteY564" fmla="*/ 11847 h 129748"/>
                <a:gd name="connsiteX565" fmla="*/ 55284 w 112824"/>
                <a:gd name="connsiteY565" fmla="*/ 11847 h 129748"/>
                <a:gd name="connsiteX566" fmla="*/ 55002 w 112824"/>
                <a:gd name="connsiteY566" fmla="*/ 12411 h 129748"/>
                <a:gd name="connsiteX567" fmla="*/ 56694 w 112824"/>
                <a:gd name="connsiteY567" fmla="*/ 14667 h 129748"/>
                <a:gd name="connsiteX568" fmla="*/ 55566 w 112824"/>
                <a:gd name="connsiteY568" fmla="*/ 14949 h 129748"/>
                <a:gd name="connsiteX569" fmla="*/ 55566 w 112824"/>
                <a:gd name="connsiteY569" fmla="*/ 16360 h 129748"/>
                <a:gd name="connsiteX570" fmla="*/ 55848 w 112824"/>
                <a:gd name="connsiteY570" fmla="*/ 17770 h 129748"/>
                <a:gd name="connsiteX571" fmla="*/ 55284 w 112824"/>
                <a:gd name="connsiteY571" fmla="*/ 18898 h 129748"/>
                <a:gd name="connsiteX572" fmla="*/ 55848 w 112824"/>
                <a:gd name="connsiteY572" fmla="*/ 20873 h 129748"/>
                <a:gd name="connsiteX573" fmla="*/ 55284 w 112824"/>
                <a:gd name="connsiteY573" fmla="*/ 21719 h 129748"/>
                <a:gd name="connsiteX574" fmla="*/ 55284 w 112824"/>
                <a:gd name="connsiteY574" fmla="*/ 22283 h 129748"/>
                <a:gd name="connsiteX575" fmla="*/ 55566 w 112824"/>
                <a:gd name="connsiteY575" fmla="*/ 22565 h 129748"/>
                <a:gd name="connsiteX576" fmla="*/ 56130 w 112824"/>
                <a:gd name="connsiteY576" fmla="*/ 22283 h 129748"/>
                <a:gd name="connsiteX577" fmla="*/ 57259 w 112824"/>
                <a:gd name="connsiteY577" fmla="*/ 22001 h 129748"/>
                <a:gd name="connsiteX578" fmla="*/ 59233 w 112824"/>
                <a:gd name="connsiteY578" fmla="*/ 19462 h 129748"/>
                <a:gd name="connsiteX579" fmla="*/ 59233 w 112824"/>
                <a:gd name="connsiteY579" fmla="*/ 18334 h 129748"/>
                <a:gd name="connsiteX580" fmla="*/ 58669 w 112824"/>
                <a:gd name="connsiteY580" fmla="*/ 17488 h 129748"/>
                <a:gd name="connsiteX581" fmla="*/ 57540 w 112824"/>
                <a:gd name="connsiteY581" fmla="*/ 16360 h 129748"/>
                <a:gd name="connsiteX582" fmla="*/ 56976 w 112824"/>
                <a:gd name="connsiteY582" fmla="*/ 14949 h 129748"/>
                <a:gd name="connsiteX583" fmla="*/ 56694 w 112824"/>
                <a:gd name="connsiteY583" fmla="*/ 14667 h 129748"/>
                <a:gd name="connsiteX584" fmla="*/ 57823 w 112824"/>
                <a:gd name="connsiteY584" fmla="*/ 15795 h 129748"/>
                <a:gd name="connsiteX585" fmla="*/ 58387 w 112824"/>
                <a:gd name="connsiteY585" fmla="*/ 16078 h 129748"/>
                <a:gd name="connsiteX586" fmla="*/ 58669 w 112824"/>
                <a:gd name="connsiteY586" fmla="*/ 16078 h 129748"/>
                <a:gd name="connsiteX587" fmla="*/ 58669 w 112824"/>
                <a:gd name="connsiteY587" fmla="*/ 15513 h 129748"/>
                <a:gd name="connsiteX588" fmla="*/ 58387 w 112824"/>
                <a:gd name="connsiteY588" fmla="*/ 14949 h 129748"/>
                <a:gd name="connsiteX589" fmla="*/ 58104 w 112824"/>
                <a:gd name="connsiteY589" fmla="*/ 15231 h 129748"/>
                <a:gd name="connsiteX590" fmla="*/ 57823 w 112824"/>
                <a:gd name="connsiteY590" fmla="*/ 15795 h 129748"/>
                <a:gd name="connsiteX591" fmla="*/ 58951 w 112824"/>
                <a:gd name="connsiteY591" fmla="*/ 23693 h 129748"/>
                <a:gd name="connsiteX592" fmla="*/ 58951 w 112824"/>
                <a:gd name="connsiteY592" fmla="*/ 23975 h 129748"/>
                <a:gd name="connsiteX593" fmla="*/ 59515 w 112824"/>
                <a:gd name="connsiteY593" fmla="*/ 26232 h 129748"/>
                <a:gd name="connsiteX594" fmla="*/ 60079 w 112824"/>
                <a:gd name="connsiteY594" fmla="*/ 26232 h 129748"/>
                <a:gd name="connsiteX595" fmla="*/ 61207 w 112824"/>
                <a:gd name="connsiteY595" fmla="*/ 24821 h 129748"/>
                <a:gd name="connsiteX596" fmla="*/ 60925 w 112824"/>
                <a:gd name="connsiteY596" fmla="*/ 24257 h 129748"/>
                <a:gd name="connsiteX597" fmla="*/ 60643 w 112824"/>
                <a:gd name="connsiteY597" fmla="*/ 23693 h 129748"/>
                <a:gd name="connsiteX598" fmla="*/ 60925 w 112824"/>
                <a:gd name="connsiteY598" fmla="*/ 23129 h 129748"/>
                <a:gd name="connsiteX599" fmla="*/ 60925 w 112824"/>
                <a:gd name="connsiteY599" fmla="*/ 22847 h 129748"/>
                <a:gd name="connsiteX600" fmla="*/ 60079 w 112824"/>
                <a:gd name="connsiteY600" fmla="*/ 22565 h 129748"/>
                <a:gd name="connsiteX601" fmla="*/ 58951 w 112824"/>
                <a:gd name="connsiteY601" fmla="*/ 23693 h 129748"/>
                <a:gd name="connsiteX602" fmla="*/ 60079 w 112824"/>
                <a:gd name="connsiteY602" fmla="*/ 20308 h 129748"/>
                <a:gd name="connsiteX603" fmla="*/ 60079 w 112824"/>
                <a:gd name="connsiteY603" fmla="*/ 21437 h 129748"/>
                <a:gd name="connsiteX604" fmla="*/ 60361 w 112824"/>
                <a:gd name="connsiteY604" fmla="*/ 21719 h 129748"/>
                <a:gd name="connsiteX605" fmla="*/ 61771 w 112824"/>
                <a:gd name="connsiteY605" fmla="*/ 20308 h 129748"/>
                <a:gd name="connsiteX606" fmla="*/ 61771 w 112824"/>
                <a:gd name="connsiteY606" fmla="*/ 20026 h 129748"/>
                <a:gd name="connsiteX607" fmla="*/ 60643 w 112824"/>
                <a:gd name="connsiteY607" fmla="*/ 18898 h 129748"/>
                <a:gd name="connsiteX608" fmla="*/ 60361 w 112824"/>
                <a:gd name="connsiteY608" fmla="*/ 18898 h 129748"/>
                <a:gd name="connsiteX609" fmla="*/ 60079 w 112824"/>
                <a:gd name="connsiteY609" fmla="*/ 20308 h 129748"/>
                <a:gd name="connsiteX610" fmla="*/ 72772 w 112824"/>
                <a:gd name="connsiteY610" fmla="*/ 107183 h 129748"/>
                <a:gd name="connsiteX611" fmla="*/ 72490 w 112824"/>
                <a:gd name="connsiteY611" fmla="*/ 106619 h 129748"/>
                <a:gd name="connsiteX612" fmla="*/ 71926 w 112824"/>
                <a:gd name="connsiteY612" fmla="*/ 106619 h 129748"/>
                <a:gd name="connsiteX613" fmla="*/ 71643 w 112824"/>
                <a:gd name="connsiteY613" fmla="*/ 107183 h 129748"/>
                <a:gd name="connsiteX614" fmla="*/ 72207 w 112824"/>
                <a:gd name="connsiteY614" fmla="*/ 107465 h 129748"/>
                <a:gd name="connsiteX615" fmla="*/ 72490 w 112824"/>
                <a:gd name="connsiteY615" fmla="*/ 107465 h 129748"/>
                <a:gd name="connsiteX616" fmla="*/ 72772 w 112824"/>
                <a:gd name="connsiteY616" fmla="*/ 107183 h 129748"/>
                <a:gd name="connsiteX617" fmla="*/ 78977 w 112824"/>
                <a:gd name="connsiteY617" fmla="*/ 105773 h 129748"/>
                <a:gd name="connsiteX618" fmla="*/ 78695 w 112824"/>
                <a:gd name="connsiteY618" fmla="*/ 106055 h 129748"/>
                <a:gd name="connsiteX619" fmla="*/ 78413 w 112824"/>
                <a:gd name="connsiteY619" fmla="*/ 105773 h 129748"/>
                <a:gd name="connsiteX620" fmla="*/ 78695 w 112824"/>
                <a:gd name="connsiteY620" fmla="*/ 105491 h 129748"/>
                <a:gd name="connsiteX621" fmla="*/ 78977 w 112824"/>
                <a:gd name="connsiteY621" fmla="*/ 105773 h 129748"/>
                <a:gd name="connsiteX622" fmla="*/ 94491 w 112824"/>
                <a:gd name="connsiteY622" fmla="*/ 89413 h 129748"/>
                <a:gd name="connsiteX623" fmla="*/ 93080 w 112824"/>
                <a:gd name="connsiteY623" fmla="*/ 90824 h 129748"/>
                <a:gd name="connsiteX624" fmla="*/ 92516 w 112824"/>
                <a:gd name="connsiteY624" fmla="*/ 91388 h 129748"/>
                <a:gd name="connsiteX625" fmla="*/ 92234 w 112824"/>
                <a:gd name="connsiteY625" fmla="*/ 90824 h 129748"/>
                <a:gd name="connsiteX626" fmla="*/ 91388 w 112824"/>
                <a:gd name="connsiteY626" fmla="*/ 89978 h 129748"/>
                <a:gd name="connsiteX627" fmla="*/ 90824 w 112824"/>
                <a:gd name="connsiteY627" fmla="*/ 89413 h 129748"/>
                <a:gd name="connsiteX628" fmla="*/ 90824 w 112824"/>
                <a:gd name="connsiteY628" fmla="*/ 88849 h 129748"/>
                <a:gd name="connsiteX629" fmla="*/ 92234 w 112824"/>
                <a:gd name="connsiteY629" fmla="*/ 88003 h 129748"/>
                <a:gd name="connsiteX630" fmla="*/ 92516 w 112824"/>
                <a:gd name="connsiteY630" fmla="*/ 88285 h 129748"/>
                <a:gd name="connsiteX631" fmla="*/ 93927 w 112824"/>
                <a:gd name="connsiteY631" fmla="*/ 88849 h 129748"/>
                <a:gd name="connsiteX632" fmla="*/ 94491 w 112824"/>
                <a:gd name="connsiteY632" fmla="*/ 89413 h 129748"/>
                <a:gd name="connsiteX633" fmla="*/ 96183 w 112824"/>
                <a:gd name="connsiteY633" fmla="*/ 83772 h 129748"/>
                <a:gd name="connsiteX634" fmla="*/ 96183 w 112824"/>
                <a:gd name="connsiteY634" fmla="*/ 84054 h 129748"/>
                <a:gd name="connsiteX635" fmla="*/ 94491 w 112824"/>
                <a:gd name="connsiteY635" fmla="*/ 85747 h 129748"/>
                <a:gd name="connsiteX636" fmla="*/ 94208 w 112824"/>
                <a:gd name="connsiteY636" fmla="*/ 85747 h 129748"/>
                <a:gd name="connsiteX637" fmla="*/ 93927 w 112824"/>
                <a:gd name="connsiteY637" fmla="*/ 85465 h 129748"/>
                <a:gd name="connsiteX638" fmla="*/ 94208 w 112824"/>
                <a:gd name="connsiteY638" fmla="*/ 84900 h 129748"/>
                <a:gd name="connsiteX639" fmla="*/ 95055 w 112824"/>
                <a:gd name="connsiteY639" fmla="*/ 84054 h 129748"/>
                <a:gd name="connsiteX640" fmla="*/ 95055 w 112824"/>
                <a:gd name="connsiteY640" fmla="*/ 83490 h 129748"/>
                <a:gd name="connsiteX641" fmla="*/ 95337 w 112824"/>
                <a:gd name="connsiteY641" fmla="*/ 83490 h 129748"/>
                <a:gd name="connsiteX642" fmla="*/ 96183 w 112824"/>
                <a:gd name="connsiteY642" fmla="*/ 83772 h 129748"/>
                <a:gd name="connsiteX643" fmla="*/ 102670 w 112824"/>
                <a:gd name="connsiteY643" fmla="*/ 79259 h 129748"/>
                <a:gd name="connsiteX644" fmla="*/ 103234 w 112824"/>
                <a:gd name="connsiteY644" fmla="*/ 78977 h 129748"/>
                <a:gd name="connsiteX645" fmla="*/ 102388 w 112824"/>
                <a:gd name="connsiteY645" fmla="*/ 80952 h 129748"/>
                <a:gd name="connsiteX646" fmla="*/ 101824 w 112824"/>
                <a:gd name="connsiteY646" fmla="*/ 81234 h 129748"/>
                <a:gd name="connsiteX647" fmla="*/ 101824 w 112824"/>
                <a:gd name="connsiteY647" fmla="*/ 80387 h 129748"/>
                <a:gd name="connsiteX648" fmla="*/ 102670 w 112824"/>
                <a:gd name="connsiteY648" fmla="*/ 79259 h 129748"/>
                <a:gd name="connsiteX649" fmla="*/ 103516 w 112824"/>
                <a:gd name="connsiteY649" fmla="*/ 64874 h 129748"/>
                <a:gd name="connsiteX650" fmla="*/ 103234 w 112824"/>
                <a:gd name="connsiteY650" fmla="*/ 63746 h 129748"/>
                <a:gd name="connsiteX651" fmla="*/ 102952 w 112824"/>
                <a:gd name="connsiteY651" fmla="*/ 63746 h 129748"/>
                <a:gd name="connsiteX652" fmla="*/ 102952 w 112824"/>
                <a:gd name="connsiteY652" fmla="*/ 64310 h 129748"/>
                <a:gd name="connsiteX653" fmla="*/ 103234 w 112824"/>
                <a:gd name="connsiteY653" fmla="*/ 64874 h 129748"/>
                <a:gd name="connsiteX654" fmla="*/ 103234 w 112824"/>
                <a:gd name="connsiteY654" fmla="*/ 65156 h 129748"/>
                <a:gd name="connsiteX655" fmla="*/ 103516 w 112824"/>
                <a:gd name="connsiteY655" fmla="*/ 64874 h 129748"/>
                <a:gd name="connsiteX656" fmla="*/ 104644 w 112824"/>
                <a:gd name="connsiteY656" fmla="*/ 56976 h 129748"/>
                <a:gd name="connsiteX657" fmla="*/ 104644 w 112824"/>
                <a:gd name="connsiteY657" fmla="*/ 57258 h 129748"/>
                <a:gd name="connsiteX658" fmla="*/ 103516 w 112824"/>
                <a:gd name="connsiteY658" fmla="*/ 58105 h 129748"/>
                <a:gd name="connsiteX659" fmla="*/ 103234 w 112824"/>
                <a:gd name="connsiteY659" fmla="*/ 57823 h 129748"/>
                <a:gd name="connsiteX660" fmla="*/ 103234 w 112824"/>
                <a:gd name="connsiteY660" fmla="*/ 57541 h 129748"/>
                <a:gd name="connsiteX661" fmla="*/ 104080 w 112824"/>
                <a:gd name="connsiteY661" fmla="*/ 56694 h 129748"/>
                <a:gd name="connsiteX662" fmla="*/ 104644 w 112824"/>
                <a:gd name="connsiteY662" fmla="*/ 56976 h 129748"/>
                <a:gd name="connsiteX663" fmla="*/ 110004 w 112824"/>
                <a:gd name="connsiteY663" fmla="*/ 60361 h 129748"/>
                <a:gd name="connsiteX664" fmla="*/ 110004 w 112824"/>
                <a:gd name="connsiteY664" fmla="*/ 60643 h 129748"/>
                <a:gd name="connsiteX665" fmla="*/ 109440 w 112824"/>
                <a:gd name="connsiteY665" fmla="*/ 62336 h 129748"/>
                <a:gd name="connsiteX666" fmla="*/ 109158 w 112824"/>
                <a:gd name="connsiteY666" fmla="*/ 63182 h 129748"/>
                <a:gd name="connsiteX667" fmla="*/ 108875 w 112824"/>
                <a:gd name="connsiteY667" fmla="*/ 64028 h 129748"/>
                <a:gd name="connsiteX668" fmla="*/ 108030 w 112824"/>
                <a:gd name="connsiteY668" fmla="*/ 64874 h 129748"/>
                <a:gd name="connsiteX669" fmla="*/ 107183 w 112824"/>
                <a:gd name="connsiteY669" fmla="*/ 64028 h 129748"/>
                <a:gd name="connsiteX670" fmla="*/ 108030 w 112824"/>
                <a:gd name="connsiteY670" fmla="*/ 61771 h 129748"/>
                <a:gd name="connsiteX671" fmla="*/ 108030 w 112824"/>
                <a:gd name="connsiteY671" fmla="*/ 60925 h 129748"/>
                <a:gd name="connsiteX672" fmla="*/ 108311 w 112824"/>
                <a:gd name="connsiteY672" fmla="*/ 59797 h 129748"/>
                <a:gd name="connsiteX673" fmla="*/ 109158 w 112824"/>
                <a:gd name="connsiteY673" fmla="*/ 57541 h 129748"/>
                <a:gd name="connsiteX674" fmla="*/ 109158 w 112824"/>
                <a:gd name="connsiteY674" fmla="*/ 56976 h 129748"/>
                <a:gd name="connsiteX675" fmla="*/ 109440 w 112824"/>
                <a:gd name="connsiteY675" fmla="*/ 56412 h 129748"/>
                <a:gd name="connsiteX676" fmla="*/ 109722 w 112824"/>
                <a:gd name="connsiteY676" fmla="*/ 56412 h 129748"/>
                <a:gd name="connsiteX677" fmla="*/ 110004 w 112824"/>
                <a:gd name="connsiteY677" fmla="*/ 56412 h 129748"/>
                <a:gd name="connsiteX678" fmla="*/ 110286 w 112824"/>
                <a:gd name="connsiteY678" fmla="*/ 56976 h 129748"/>
                <a:gd name="connsiteX679" fmla="*/ 110004 w 112824"/>
                <a:gd name="connsiteY679" fmla="*/ 57258 h 129748"/>
                <a:gd name="connsiteX680" fmla="*/ 109440 w 112824"/>
                <a:gd name="connsiteY680" fmla="*/ 58387 h 129748"/>
                <a:gd name="connsiteX681" fmla="*/ 109158 w 112824"/>
                <a:gd name="connsiteY681" fmla="*/ 58951 h 129748"/>
                <a:gd name="connsiteX682" fmla="*/ 109722 w 112824"/>
                <a:gd name="connsiteY682" fmla="*/ 59515 h 129748"/>
                <a:gd name="connsiteX683" fmla="*/ 110004 w 112824"/>
                <a:gd name="connsiteY683" fmla="*/ 60361 h 129748"/>
                <a:gd name="connsiteX684" fmla="*/ 107183 w 112824"/>
                <a:gd name="connsiteY684" fmla="*/ 40335 h 129748"/>
                <a:gd name="connsiteX685" fmla="*/ 107747 w 112824"/>
                <a:gd name="connsiteY685" fmla="*/ 39489 h 129748"/>
                <a:gd name="connsiteX686" fmla="*/ 109158 w 112824"/>
                <a:gd name="connsiteY686" fmla="*/ 39489 h 129748"/>
                <a:gd name="connsiteX687" fmla="*/ 108875 w 112824"/>
                <a:gd name="connsiteY687" fmla="*/ 40335 h 129748"/>
                <a:gd name="connsiteX688" fmla="*/ 109158 w 112824"/>
                <a:gd name="connsiteY688" fmla="*/ 40617 h 129748"/>
                <a:gd name="connsiteX689" fmla="*/ 108594 w 112824"/>
                <a:gd name="connsiteY689" fmla="*/ 41181 h 129748"/>
                <a:gd name="connsiteX690" fmla="*/ 107183 w 112824"/>
                <a:gd name="connsiteY690" fmla="*/ 40335 h 129748"/>
                <a:gd name="connsiteX691" fmla="*/ 110568 w 112824"/>
                <a:gd name="connsiteY691" fmla="*/ 68823 h 129748"/>
                <a:gd name="connsiteX692" fmla="*/ 109722 w 112824"/>
                <a:gd name="connsiteY692" fmla="*/ 69669 h 129748"/>
                <a:gd name="connsiteX693" fmla="*/ 110286 w 112824"/>
                <a:gd name="connsiteY693" fmla="*/ 68259 h 129748"/>
                <a:gd name="connsiteX694" fmla="*/ 110568 w 112824"/>
                <a:gd name="connsiteY694" fmla="*/ 68541 h 129748"/>
                <a:gd name="connsiteX695" fmla="*/ 110568 w 112824"/>
                <a:gd name="connsiteY695" fmla="*/ 68823 h 129748"/>
                <a:gd name="connsiteX696" fmla="*/ 112261 w 112824"/>
                <a:gd name="connsiteY696" fmla="*/ 65156 h 129748"/>
                <a:gd name="connsiteX697" fmla="*/ 111978 w 112824"/>
                <a:gd name="connsiteY697" fmla="*/ 64310 h 129748"/>
                <a:gd name="connsiteX698" fmla="*/ 112261 w 112824"/>
                <a:gd name="connsiteY698" fmla="*/ 63746 h 129748"/>
                <a:gd name="connsiteX699" fmla="*/ 112542 w 112824"/>
                <a:gd name="connsiteY699" fmla="*/ 63464 h 129748"/>
                <a:gd name="connsiteX700" fmla="*/ 112825 w 112824"/>
                <a:gd name="connsiteY700" fmla="*/ 63746 h 129748"/>
                <a:gd name="connsiteX701" fmla="*/ 112261 w 112824"/>
                <a:gd name="connsiteY701" fmla="*/ 65156 h 129748"/>
                <a:gd name="connsiteX702" fmla="*/ 111978 w 112824"/>
                <a:gd name="connsiteY702" fmla="*/ 65438 h 129748"/>
                <a:gd name="connsiteX703" fmla="*/ 112261 w 112824"/>
                <a:gd name="connsiteY703" fmla="*/ 65156 h 129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</a:cxnLst>
              <a:rect l="l" t="t" r="r" b="b"/>
              <a:pathLst>
                <a:path w="112824" h="129748">
                  <a:moveTo>
                    <a:pt x="108030" y="66284"/>
                  </a:moveTo>
                  <a:cubicBezTo>
                    <a:pt x="107183" y="67131"/>
                    <a:pt x="107183" y="67695"/>
                    <a:pt x="107183" y="68259"/>
                  </a:cubicBezTo>
                  <a:cubicBezTo>
                    <a:pt x="106619" y="69105"/>
                    <a:pt x="106055" y="69669"/>
                    <a:pt x="104927" y="70233"/>
                  </a:cubicBezTo>
                  <a:cubicBezTo>
                    <a:pt x="104644" y="70515"/>
                    <a:pt x="104363" y="71079"/>
                    <a:pt x="104363" y="71362"/>
                  </a:cubicBezTo>
                  <a:cubicBezTo>
                    <a:pt x="104363" y="71644"/>
                    <a:pt x="104080" y="71644"/>
                    <a:pt x="104080" y="71926"/>
                  </a:cubicBezTo>
                  <a:cubicBezTo>
                    <a:pt x="104080" y="72208"/>
                    <a:pt x="104363" y="72772"/>
                    <a:pt x="104644" y="73054"/>
                  </a:cubicBezTo>
                  <a:cubicBezTo>
                    <a:pt x="104927" y="73054"/>
                    <a:pt x="105209" y="73336"/>
                    <a:pt x="105209" y="73336"/>
                  </a:cubicBezTo>
                  <a:cubicBezTo>
                    <a:pt x="105773" y="73618"/>
                    <a:pt x="105773" y="73618"/>
                    <a:pt x="106337" y="73618"/>
                  </a:cubicBezTo>
                  <a:lnTo>
                    <a:pt x="106619" y="73336"/>
                  </a:lnTo>
                  <a:cubicBezTo>
                    <a:pt x="106901" y="73336"/>
                    <a:pt x="107183" y="73336"/>
                    <a:pt x="107183" y="73618"/>
                  </a:cubicBezTo>
                  <a:cubicBezTo>
                    <a:pt x="106619" y="75028"/>
                    <a:pt x="105773" y="76157"/>
                    <a:pt x="104927" y="77003"/>
                  </a:cubicBezTo>
                  <a:cubicBezTo>
                    <a:pt x="104363" y="77567"/>
                    <a:pt x="104080" y="78131"/>
                    <a:pt x="104080" y="78695"/>
                  </a:cubicBezTo>
                  <a:cubicBezTo>
                    <a:pt x="104080" y="78977"/>
                    <a:pt x="103516" y="78977"/>
                    <a:pt x="103234" y="78977"/>
                  </a:cubicBezTo>
                  <a:cubicBezTo>
                    <a:pt x="103234" y="78695"/>
                    <a:pt x="103516" y="78413"/>
                    <a:pt x="103516" y="78131"/>
                  </a:cubicBezTo>
                  <a:cubicBezTo>
                    <a:pt x="103516" y="77849"/>
                    <a:pt x="103234" y="77567"/>
                    <a:pt x="103234" y="77003"/>
                  </a:cubicBezTo>
                  <a:cubicBezTo>
                    <a:pt x="103234" y="76157"/>
                    <a:pt x="103799" y="75592"/>
                    <a:pt x="104080" y="74746"/>
                  </a:cubicBezTo>
                  <a:cubicBezTo>
                    <a:pt x="104363" y="74464"/>
                    <a:pt x="104363" y="74182"/>
                    <a:pt x="104363" y="74182"/>
                  </a:cubicBezTo>
                  <a:lnTo>
                    <a:pt x="104080" y="74182"/>
                  </a:lnTo>
                  <a:cubicBezTo>
                    <a:pt x="104080" y="73900"/>
                    <a:pt x="103799" y="74182"/>
                    <a:pt x="103516" y="74182"/>
                  </a:cubicBezTo>
                  <a:cubicBezTo>
                    <a:pt x="102670" y="74182"/>
                    <a:pt x="102388" y="74746"/>
                    <a:pt x="102388" y="75592"/>
                  </a:cubicBezTo>
                  <a:cubicBezTo>
                    <a:pt x="102106" y="76157"/>
                    <a:pt x="101824" y="76157"/>
                    <a:pt x="101542" y="76439"/>
                  </a:cubicBezTo>
                  <a:lnTo>
                    <a:pt x="101260" y="76439"/>
                  </a:lnTo>
                  <a:cubicBezTo>
                    <a:pt x="100978" y="76439"/>
                    <a:pt x="100978" y="76439"/>
                    <a:pt x="100696" y="76157"/>
                  </a:cubicBezTo>
                  <a:lnTo>
                    <a:pt x="100696" y="75592"/>
                  </a:lnTo>
                  <a:cubicBezTo>
                    <a:pt x="100696" y="75310"/>
                    <a:pt x="100696" y="75028"/>
                    <a:pt x="100413" y="75028"/>
                  </a:cubicBezTo>
                  <a:cubicBezTo>
                    <a:pt x="100132" y="75028"/>
                    <a:pt x="100132" y="75310"/>
                    <a:pt x="100132" y="75592"/>
                  </a:cubicBezTo>
                  <a:cubicBezTo>
                    <a:pt x="99568" y="75592"/>
                    <a:pt x="99286" y="76157"/>
                    <a:pt x="99286" y="76157"/>
                  </a:cubicBezTo>
                  <a:lnTo>
                    <a:pt x="99286" y="78131"/>
                  </a:lnTo>
                  <a:cubicBezTo>
                    <a:pt x="99003" y="78131"/>
                    <a:pt x="99286" y="78413"/>
                    <a:pt x="99003" y="78413"/>
                  </a:cubicBezTo>
                  <a:cubicBezTo>
                    <a:pt x="98158" y="78131"/>
                    <a:pt x="97311" y="78131"/>
                    <a:pt x="97029" y="77567"/>
                  </a:cubicBezTo>
                  <a:cubicBezTo>
                    <a:pt x="97029" y="77567"/>
                    <a:pt x="96465" y="77567"/>
                    <a:pt x="96465" y="77849"/>
                  </a:cubicBezTo>
                  <a:cubicBezTo>
                    <a:pt x="96465" y="78131"/>
                    <a:pt x="96465" y="78131"/>
                    <a:pt x="96747" y="78695"/>
                  </a:cubicBezTo>
                  <a:cubicBezTo>
                    <a:pt x="96747" y="78977"/>
                    <a:pt x="96747" y="79259"/>
                    <a:pt x="96183" y="79541"/>
                  </a:cubicBezTo>
                  <a:cubicBezTo>
                    <a:pt x="95055" y="80670"/>
                    <a:pt x="94772" y="81516"/>
                    <a:pt x="93927" y="82926"/>
                  </a:cubicBezTo>
                  <a:cubicBezTo>
                    <a:pt x="93927" y="82926"/>
                    <a:pt x="93927" y="83208"/>
                    <a:pt x="93644" y="83208"/>
                  </a:cubicBezTo>
                  <a:lnTo>
                    <a:pt x="93080" y="83208"/>
                  </a:lnTo>
                  <a:cubicBezTo>
                    <a:pt x="92798" y="83208"/>
                    <a:pt x="92798" y="83208"/>
                    <a:pt x="92798" y="83490"/>
                  </a:cubicBezTo>
                  <a:lnTo>
                    <a:pt x="92798" y="84054"/>
                  </a:lnTo>
                  <a:cubicBezTo>
                    <a:pt x="92798" y="84618"/>
                    <a:pt x="92234" y="84900"/>
                    <a:pt x="92234" y="85465"/>
                  </a:cubicBezTo>
                  <a:cubicBezTo>
                    <a:pt x="91670" y="86029"/>
                    <a:pt x="90824" y="86029"/>
                    <a:pt x="90541" y="86875"/>
                  </a:cubicBezTo>
                  <a:cubicBezTo>
                    <a:pt x="90541" y="87439"/>
                    <a:pt x="89977" y="87439"/>
                    <a:pt x="89131" y="87439"/>
                  </a:cubicBezTo>
                  <a:cubicBezTo>
                    <a:pt x="89131" y="87439"/>
                    <a:pt x="88567" y="87721"/>
                    <a:pt x="88567" y="88003"/>
                  </a:cubicBezTo>
                  <a:cubicBezTo>
                    <a:pt x="88285" y="88003"/>
                    <a:pt x="88003" y="88285"/>
                    <a:pt x="88003" y="88285"/>
                  </a:cubicBezTo>
                  <a:cubicBezTo>
                    <a:pt x="88003" y="88285"/>
                    <a:pt x="88285" y="88567"/>
                    <a:pt x="88567" y="88567"/>
                  </a:cubicBezTo>
                  <a:cubicBezTo>
                    <a:pt x="88567" y="88849"/>
                    <a:pt x="88567" y="88849"/>
                    <a:pt x="88849" y="88849"/>
                  </a:cubicBezTo>
                  <a:lnTo>
                    <a:pt x="89413" y="89413"/>
                  </a:lnTo>
                  <a:cubicBezTo>
                    <a:pt x="89131" y="89978"/>
                    <a:pt x="88849" y="90824"/>
                    <a:pt x="88285" y="90824"/>
                  </a:cubicBezTo>
                  <a:cubicBezTo>
                    <a:pt x="88003" y="91106"/>
                    <a:pt x="87439" y="91388"/>
                    <a:pt x="87157" y="91388"/>
                  </a:cubicBezTo>
                  <a:cubicBezTo>
                    <a:pt x="86310" y="91670"/>
                    <a:pt x="86029" y="91952"/>
                    <a:pt x="85182" y="92516"/>
                  </a:cubicBezTo>
                  <a:cubicBezTo>
                    <a:pt x="84336" y="93080"/>
                    <a:pt x="84336" y="93926"/>
                    <a:pt x="84336" y="94773"/>
                  </a:cubicBezTo>
                  <a:lnTo>
                    <a:pt x="83772" y="96747"/>
                  </a:lnTo>
                  <a:cubicBezTo>
                    <a:pt x="83490" y="96747"/>
                    <a:pt x="83772" y="97029"/>
                    <a:pt x="84054" y="97311"/>
                  </a:cubicBezTo>
                  <a:cubicBezTo>
                    <a:pt x="84054" y="97593"/>
                    <a:pt x="84336" y="97593"/>
                    <a:pt x="84336" y="97593"/>
                  </a:cubicBezTo>
                  <a:lnTo>
                    <a:pt x="84054" y="97875"/>
                  </a:lnTo>
                  <a:cubicBezTo>
                    <a:pt x="83772" y="98157"/>
                    <a:pt x="83772" y="98157"/>
                    <a:pt x="83772" y="98439"/>
                  </a:cubicBezTo>
                  <a:cubicBezTo>
                    <a:pt x="83772" y="98721"/>
                    <a:pt x="83772" y="99004"/>
                    <a:pt x="84054" y="99004"/>
                  </a:cubicBezTo>
                  <a:cubicBezTo>
                    <a:pt x="84054" y="99286"/>
                    <a:pt x="84054" y="99286"/>
                    <a:pt x="84336" y="99286"/>
                  </a:cubicBezTo>
                  <a:cubicBezTo>
                    <a:pt x="84336" y="99286"/>
                    <a:pt x="84618" y="99286"/>
                    <a:pt x="84618" y="99004"/>
                  </a:cubicBezTo>
                  <a:cubicBezTo>
                    <a:pt x="85182" y="98721"/>
                    <a:pt x="85746" y="98157"/>
                    <a:pt x="85746" y="97593"/>
                  </a:cubicBezTo>
                  <a:lnTo>
                    <a:pt x="85746" y="97311"/>
                  </a:lnTo>
                  <a:cubicBezTo>
                    <a:pt x="85746" y="97029"/>
                    <a:pt x="86029" y="96465"/>
                    <a:pt x="86593" y="96465"/>
                  </a:cubicBezTo>
                  <a:cubicBezTo>
                    <a:pt x="87157" y="96465"/>
                    <a:pt x="87439" y="95901"/>
                    <a:pt x="88285" y="95337"/>
                  </a:cubicBezTo>
                  <a:cubicBezTo>
                    <a:pt x="88285" y="95055"/>
                    <a:pt x="88567" y="94491"/>
                    <a:pt x="88849" y="94208"/>
                  </a:cubicBezTo>
                  <a:cubicBezTo>
                    <a:pt x="89131" y="94208"/>
                    <a:pt x="89131" y="94208"/>
                    <a:pt x="89413" y="94491"/>
                  </a:cubicBezTo>
                  <a:cubicBezTo>
                    <a:pt x="89131" y="95055"/>
                    <a:pt x="88849" y="95619"/>
                    <a:pt x="88285" y="96183"/>
                  </a:cubicBezTo>
                  <a:lnTo>
                    <a:pt x="88003" y="96465"/>
                  </a:lnTo>
                  <a:lnTo>
                    <a:pt x="88003" y="96747"/>
                  </a:lnTo>
                  <a:cubicBezTo>
                    <a:pt x="88003" y="97593"/>
                    <a:pt x="87157" y="98157"/>
                    <a:pt x="86310" y="99004"/>
                  </a:cubicBezTo>
                  <a:cubicBezTo>
                    <a:pt x="86029" y="99850"/>
                    <a:pt x="85182" y="100132"/>
                    <a:pt x="84618" y="100978"/>
                  </a:cubicBezTo>
                  <a:cubicBezTo>
                    <a:pt x="84054" y="101824"/>
                    <a:pt x="82926" y="102388"/>
                    <a:pt x="82079" y="103234"/>
                  </a:cubicBezTo>
                  <a:cubicBezTo>
                    <a:pt x="82079" y="103234"/>
                    <a:pt x="81798" y="103517"/>
                    <a:pt x="81234" y="103799"/>
                  </a:cubicBezTo>
                  <a:lnTo>
                    <a:pt x="80952" y="103799"/>
                  </a:lnTo>
                  <a:cubicBezTo>
                    <a:pt x="80669" y="102952"/>
                    <a:pt x="80669" y="102670"/>
                    <a:pt x="79824" y="102670"/>
                  </a:cubicBezTo>
                  <a:cubicBezTo>
                    <a:pt x="79824" y="102670"/>
                    <a:pt x="79541" y="102670"/>
                    <a:pt x="79541" y="102388"/>
                  </a:cubicBezTo>
                  <a:lnTo>
                    <a:pt x="79541" y="102106"/>
                  </a:lnTo>
                  <a:cubicBezTo>
                    <a:pt x="79541" y="101824"/>
                    <a:pt x="79541" y="101824"/>
                    <a:pt x="79824" y="101824"/>
                  </a:cubicBezTo>
                  <a:cubicBezTo>
                    <a:pt x="80105" y="101824"/>
                    <a:pt x="80388" y="101542"/>
                    <a:pt x="80388" y="101260"/>
                  </a:cubicBezTo>
                  <a:lnTo>
                    <a:pt x="80669" y="100978"/>
                  </a:lnTo>
                  <a:cubicBezTo>
                    <a:pt x="80669" y="100978"/>
                    <a:pt x="80388" y="100978"/>
                    <a:pt x="80388" y="100696"/>
                  </a:cubicBezTo>
                  <a:lnTo>
                    <a:pt x="79824" y="100132"/>
                  </a:lnTo>
                  <a:cubicBezTo>
                    <a:pt x="79824" y="100132"/>
                    <a:pt x="80105" y="100132"/>
                    <a:pt x="80388" y="99850"/>
                  </a:cubicBezTo>
                  <a:lnTo>
                    <a:pt x="80388" y="99568"/>
                  </a:lnTo>
                  <a:cubicBezTo>
                    <a:pt x="80388" y="99286"/>
                    <a:pt x="80388" y="99286"/>
                    <a:pt x="80669" y="99286"/>
                  </a:cubicBezTo>
                  <a:lnTo>
                    <a:pt x="80669" y="99004"/>
                  </a:lnTo>
                  <a:cubicBezTo>
                    <a:pt x="80388" y="98721"/>
                    <a:pt x="80388" y="98721"/>
                    <a:pt x="80105" y="98721"/>
                  </a:cubicBezTo>
                  <a:lnTo>
                    <a:pt x="79824" y="98721"/>
                  </a:lnTo>
                  <a:cubicBezTo>
                    <a:pt x="78695" y="99286"/>
                    <a:pt x="78131" y="99850"/>
                    <a:pt x="77567" y="100978"/>
                  </a:cubicBezTo>
                  <a:lnTo>
                    <a:pt x="77285" y="101260"/>
                  </a:lnTo>
                  <a:cubicBezTo>
                    <a:pt x="77285" y="101260"/>
                    <a:pt x="77285" y="101542"/>
                    <a:pt x="77567" y="101542"/>
                  </a:cubicBezTo>
                  <a:lnTo>
                    <a:pt x="78131" y="101542"/>
                  </a:lnTo>
                  <a:lnTo>
                    <a:pt x="78413" y="101824"/>
                  </a:lnTo>
                  <a:cubicBezTo>
                    <a:pt x="78413" y="101824"/>
                    <a:pt x="78131" y="101824"/>
                    <a:pt x="77849" y="102106"/>
                  </a:cubicBezTo>
                  <a:cubicBezTo>
                    <a:pt x="77003" y="102670"/>
                    <a:pt x="77285" y="103517"/>
                    <a:pt x="76721" y="103799"/>
                  </a:cubicBezTo>
                  <a:lnTo>
                    <a:pt x="76721" y="104363"/>
                  </a:lnTo>
                  <a:cubicBezTo>
                    <a:pt x="77003" y="104645"/>
                    <a:pt x="77003" y="105209"/>
                    <a:pt x="77003" y="105491"/>
                  </a:cubicBezTo>
                  <a:lnTo>
                    <a:pt x="77003" y="105773"/>
                  </a:lnTo>
                  <a:cubicBezTo>
                    <a:pt x="76721" y="105773"/>
                    <a:pt x="76438" y="106055"/>
                    <a:pt x="76438" y="106337"/>
                  </a:cubicBezTo>
                  <a:lnTo>
                    <a:pt x="76157" y="106619"/>
                  </a:lnTo>
                  <a:lnTo>
                    <a:pt x="76438" y="106619"/>
                  </a:lnTo>
                  <a:cubicBezTo>
                    <a:pt x="76438" y="106901"/>
                    <a:pt x="76438" y="106901"/>
                    <a:pt x="76721" y="107183"/>
                  </a:cubicBezTo>
                  <a:cubicBezTo>
                    <a:pt x="77003" y="107183"/>
                    <a:pt x="77003" y="107465"/>
                    <a:pt x="77003" y="107747"/>
                  </a:cubicBezTo>
                  <a:cubicBezTo>
                    <a:pt x="77003" y="108312"/>
                    <a:pt x="76438" y="108594"/>
                    <a:pt x="76157" y="108594"/>
                  </a:cubicBezTo>
                  <a:cubicBezTo>
                    <a:pt x="75593" y="108594"/>
                    <a:pt x="75310" y="108594"/>
                    <a:pt x="74746" y="108876"/>
                  </a:cubicBezTo>
                  <a:cubicBezTo>
                    <a:pt x="74464" y="109158"/>
                    <a:pt x="74182" y="109158"/>
                    <a:pt x="74182" y="109440"/>
                  </a:cubicBezTo>
                  <a:cubicBezTo>
                    <a:pt x="74182" y="109722"/>
                    <a:pt x="74464" y="109722"/>
                    <a:pt x="74464" y="110004"/>
                  </a:cubicBezTo>
                  <a:cubicBezTo>
                    <a:pt x="74746" y="110286"/>
                    <a:pt x="74746" y="110286"/>
                    <a:pt x="74746" y="110568"/>
                  </a:cubicBezTo>
                  <a:lnTo>
                    <a:pt x="74746" y="110850"/>
                  </a:lnTo>
                  <a:lnTo>
                    <a:pt x="74182" y="110850"/>
                  </a:lnTo>
                  <a:cubicBezTo>
                    <a:pt x="73900" y="110568"/>
                    <a:pt x="73336" y="110286"/>
                    <a:pt x="72772" y="110286"/>
                  </a:cubicBezTo>
                  <a:lnTo>
                    <a:pt x="72207" y="110286"/>
                  </a:lnTo>
                  <a:cubicBezTo>
                    <a:pt x="71926" y="110004"/>
                    <a:pt x="71643" y="110004"/>
                    <a:pt x="71643" y="109722"/>
                  </a:cubicBezTo>
                  <a:lnTo>
                    <a:pt x="72490" y="108876"/>
                  </a:lnTo>
                  <a:cubicBezTo>
                    <a:pt x="72490" y="108594"/>
                    <a:pt x="72490" y="108594"/>
                    <a:pt x="72207" y="108594"/>
                  </a:cubicBezTo>
                  <a:lnTo>
                    <a:pt x="72490" y="108312"/>
                  </a:lnTo>
                  <a:cubicBezTo>
                    <a:pt x="72207" y="108312"/>
                    <a:pt x="71643" y="108594"/>
                    <a:pt x="71362" y="108594"/>
                  </a:cubicBezTo>
                  <a:lnTo>
                    <a:pt x="68541" y="108594"/>
                  </a:lnTo>
                  <a:cubicBezTo>
                    <a:pt x="68259" y="108594"/>
                    <a:pt x="68259" y="109158"/>
                    <a:pt x="68259" y="109440"/>
                  </a:cubicBezTo>
                  <a:cubicBezTo>
                    <a:pt x="68541" y="110004"/>
                    <a:pt x="69387" y="110850"/>
                    <a:pt x="70233" y="111132"/>
                  </a:cubicBezTo>
                  <a:cubicBezTo>
                    <a:pt x="70515" y="111132"/>
                    <a:pt x="70515" y="111132"/>
                    <a:pt x="70515" y="111414"/>
                  </a:cubicBezTo>
                  <a:lnTo>
                    <a:pt x="70515" y="111696"/>
                  </a:lnTo>
                  <a:cubicBezTo>
                    <a:pt x="70515" y="111696"/>
                    <a:pt x="70797" y="111978"/>
                    <a:pt x="70797" y="112260"/>
                  </a:cubicBezTo>
                  <a:lnTo>
                    <a:pt x="70797" y="113107"/>
                  </a:lnTo>
                  <a:lnTo>
                    <a:pt x="68259" y="116209"/>
                  </a:lnTo>
                  <a:cubicBezTo>
                    <a:pt x="67695" y="116209"/>
                    <a:pt x="67412" y="116491"/>
                    <a:pt x="67131" y="117055"/>
                  </a:cubicBezTo>
                  <a:cubicBezTo>
                    <a:pt x="66848" y="117620"/>
                    <a:pt x="66284" y="118466"/>
                    <a:pt x="65438" y="119030"/>
                  </a:cubicBezTo>
                  <a:lnTo>
                    <a:pt x="62900" y="121004"/>
                  </a:lnTo>
                  <a:cubicBezTo>
                    <a:pt x="62618" y="121286"/>
                    <a:pt x="61490" y="121568"/>
                    <a:pt x="60925" y="122415"/>
                  </a:cubicBezTo>
                  <a:cubicBezTo>
                    <a:pt x="59515" y="122415"/>
                    <a:pt x="58951" y="123543"/>
                    <a:pt x="58104" y="124389"/>
                  </a:cubicBezTo>
                  <a:lnTo>
                    <a:pt x="56412" y="125517"/>
                  </a:lnTo>
                  <a:cubicBezTo>
                    <a:pt x="55566" y="125799"/>
                    <a:pt x="54720" y="126081"/>
                    <a:pt x="54156" y="126646"/>
                  </a:cubicBezTo>
                  <a:cubicBezTo>
                    <a:pt x="52463" y="127492"/>
                    <a:pt x="50207" y="128902"/>
                    <a:pt x="48232" y="129466"/>
                  </a:cubicBezTo>
                  <a:cubicBezTo>
                    <a:pt x="47668" y="129748"/>
                    <a:pt x="47386" y="130312"/>
                    <a:pt x="46822" y="130876"/>
                  </a:cubicBezTo>
                  <a:lnTo>
                    <a:pt x="44848" y="130876"/>
                  </a:lnTo>
                  <a:cubicBezTo>
                    <a:pt x="44848" y="130876"/>
                    <a:pt x="44284" y="131159"/>
                    <a:pt x="44001" y="131159"/>
                  </a:cubicBezTo>
                  <a:lnTo>
                    <a:pt x="42027" y="132005"/>
                  </a:lnTo>
                  <a:cubicBezTo>
                    <a:pt x="41463" y="132005"/>
                    <a:pt x="40617" y="132005"/>
                    <a:pt x="40053" y="132287"/>
                  </a:cubicBezTo>
                  <a:cubicBezTo>
                    <a:pt x="39489" y="132287"/>
                    <a:pt x="39206" y="132851"/>
                    <a:pt x="38642" y="132851"/>
                  </a:cubicBezTo>
                  <a:cubicBezTo>
                    <a:pt x="38360" y="133133"/>
                    <a:pt x="38078" y="133133"/>
                    <a:pt x="38078" y="133133"/>
                  </a:cubicBezTo>
                  <a:cubicBezTo>
                    <a:pt x="37796" y="133133"/>
                    <a:pt x="37796" y="133133"/>
                    <a:pt x="37796" y="132851"/>
                  </a:cubicBezTo>
                  <a:cubicBezTo>
                    <a:pt x="37232" y="132851"/>
                    <a:pt x="36950" y="132569"/>
                    <a:pt x="36386" y="132569"/>
                  </a:cubicBezTo>
                  <a:cubicBezTo>
                    <a:pt x="35822" y="132569"/>
                    <a:pt x="35258" y="132851"/>
                    <a:pt x="34975" y="132851"/>
                  </a:cubicBezTo>
                  <a:cubicBezTo>
                    <a:pt x="34411" y="133133"/>
                    <a:pt x="34129" y="133133"/>
                    <a:pt x="33565" y="133133"/>
                  </a:cubicBezTo>
                  <a:lnTo>
                    <a:pt x="30180" y="133133"/>
                  </a:lnTo>
                  <a:cubicBezTo>
                    <a:pt x="29616" y="132851"/>
                    <a:pt x="29052" y="132851"/>
                    <a:pt x="28770" y="132851"/>
                  </a:cubicBezTo>
                  <a:lnTo>
                    <a:pt x="24257" y="132851"/>
                  </a:lnTo>
                  <a:cubicBezTo>
                    <a:pt x="23975" y="132851"/>
                    <a:pt x="23693" y="132569"/>
                    <a:pt x="23129" y="132569"/>
                  </a:cubicBezTo>
                  <a:cubicBezTo>
                    <a:pt x="22847" y="132569"/>
                    <a:pt x="22283" y="132287"/>
                    <a:pt x="22283" y="132287"/>
                  </a:cubicBezTo>
                  <a:cubicBezTo>
                    <a:pt x="20872" y="132287"/>
                    <a:pt x="19462" y="132005"/>
                    <a:pt x="18052" y="131441"/>
                  </a:cubicBezTo>
                  <a:cubicBezTo>
                    <a:pt x="18052" y="131441"/>
                    <a:pt x="17770" y="131441"/>
                    <a:pt x="17488" y="131159"/>
                  </a:cubicBezTo>
                  <a:cubicBezTo>
                    <a:pt x="16924" y="130312"/>
                    <a:pt x="16924" y="130312"/>
                    <a:pt x="15795" y="130312"/>
                  </a:cubicBezTo>
                  <a:cubicBezTo>
                    <a:pt x="15231" y="130312"/>
                    <a:pt x="14949" y="130030"/>
                    <a:pt x="14667" y="129466"/>
                  </a:cubicBezTo>
                  <a:cubicBezTo>
                    <a:pt x="14103" y="128338"/>
                    <a:pt x="14103" y="128338"/>
                    <a:pt x="12974" y="128338"/>
                  </a:cubicBezTo>
                  <a:lnTo>
                    <a:pt x="11000" y="128338"/>
                  </a:lnTo>
                  <a:cubicBezTo>
                    <a:pt x="11000" y="128338"/>
                    <a:pt x="10718" y="128056"/>
                    <a:pt x="10718" y="127774"/>
                  </a:cubicBezTo>
                  <a:cubicBezTo>
                    <a:pt x="10718" y="127492"/>
                    <a:pt x="11000" y="127492"/>
                    <a:pt x="11282" y="127210"/>
                  </a:cubicBezTo>
                  <a:lnTo>
                    <a:pt x="11282" y="126928"/>
                  </a:lnTo>
                  <a:lnTo>
                    <a:pt x="11000" y="126646"/>
                  </a:lnTo>
                  <a:cubicBezTo>
                    <a:pt x="11000" y="126363"/>
                    <a:pt x="10718" y="126363"/>
                    <a:pt x="10436" y="126363"/>
                  </a:cubicBezTo>
                  <a:cubicBezTo>
                    <a:pt x="9872" y="126363"/>
                    <a:pt x="9308" y="126363"/>
                    <a:pt x="8743" y="125799"/>
                  </a:cubicBezTo>
                  <a:lnTo>
                    <a:pt x="8462" y="125799"/>
                  </a:lnTo>
                  <a:cubicBezTo>
                    <a:pt x="8462" y="125799"/>
                    <a:pt x="8180" y="125799"/>
                    <a:pt x="8180" y="125517"/>
                  </a:cubicBezTo>
                  <a:cubicBezTo>
                    <a:pt x="8180" y="125517"/>
                    <a:pt x="8462" y="125235"/>
                    <a:pt x="8462" y="124953"/>
                  </a:cubicBezTo>
                  <a:lnTo>
                    <a:pt x="8462" y="124389"/>
                  </a:lnTo>
                  <a:lnTo>
                    <a:pt x="7333" y="124389"/>
                  </a:lnTo>
                  <a:cubicBezTo>
                    <a:pt x="7052" y="124389"/>
                    <a:pt x="7052" y="123825"/>
                    <a:pt x="7052" y="123543"/>
                  </a:cubicBezTo>
                  <a:lnTo>
                    <a:pt x="7333" y="123543"/>
                  </a:lnTo>
                  <a:cubicBezTo>
                    <a:pt x="7333" y="122979"/>
                    <a:pt x="7898" y="122979"/>
                    <a:pt x="7898" y="122415"/>
                  </a:cubicBezTo>
                  <a:cubicBezTo>
                    <a:pt x="7898" y="121851"/>
                    <a:pt x="7898" y="121286"/>
                    <a:pt x="7052" y="121004"/>
                  </a:cubicBezTo>
                  <a:cubicBezTo>
                    <a:pt x="2257" y="118184"/>
                    <a:pt x="5359" y="117338"/>
                    <a:pt x="2257" y="114235"/>
                  </a:cubicBezTo>
                  <a:cubicBezTo>
                    <a:pt x="1974" y="113671"/>
                    <a:pt x="1692" y="113107"/>
                    <a:pt x="1692" y="112542"/>
                  </a:cubicBezTo>
                  <a:cubicBezTo>
                    <a:pt x="1410" y="111696"/>
                    <a:pt x="1410" y="110568"/>
                    <a:pt x="846" y="109722"/>
                  </a:cubicBezTo>
                  <a:lnTo>
                    <a:pt x="846" y="106619"/>
                  </a:lnTo>
                  <a:cubicBezTo>
                    <a:pt x="564" y="106055"/>
                    <a:pt x="564" y="105773"/>
                    <a:pt x="564" y="105209"/>
                  </a:cubicBezTo>
                  <a:cubicBezTo>
                    <a:pt x="564" y="104927"/>
                    <a:pt x="564" y="104645"/>
                    <a:pt x="846" y="104363"/>
                  </a:cubicBezTo>
                  <a:lnTo>
                    <a:pt x="846" y="102670"/>
                  </a:lnTo>
                  <a:cubicBezTo>
                    <a:pt x="846" y="102388"/>
                    <a:pt x="1128" y="102106"/>
                    <a:pt x="1128" y="101824"/>
                  </a:cubicBezTo>
                  <a:cubicBezTo>
                    <a:pt x="1128" y="101542"/>
                    <a:pt x="846" y="101260"/>
                    <a:pt x="846" y="100978"/>
                  </a:cubicBezTo>
                  <a:cubicBezTo>
                    <a:pt x="564" y="100414"/>
                    <a:pt x="564" y="99850"/>
                    <a:pt x="564" y="99286"/>
                  </a:cubicBezTo>
                  <a:lnTo>
                    <a:pt x="564" y="98721"/>
                  </a:lnTo>
                  <a:cubicBezTo>
                    <a:pt x="846" y="98439"/>
                    <a:pt x="846" y="97875"/>
                    <a:pt x="846" y="97593"/>
                  </a:cubicBezTo>
                  <a:cubicBezTo>
                    <a:pt x="846" y="97311"/>
                    <a:pt x="846" y="97029"/>
                    <a:pt x="282" y="96747"/>
                  </a:cubicBezTo>
                  <a:cubicBezTo>
                    <a:pt x="282" y="96465"/>
                    <a:pt x="0" y="96183"/>
                    <a:pt x="0" y="95901"/>
                  </a:cubicBezTo>
                  <a:cubicBezTo>
                    <a:pt x="0" y="95619"/>
                    <a:pt x="282" y="95055"/>
                    <a:pt x="564" y="94491"/>
                  </a:cubicBezTo>
                  <a:cubicBezTo>
                    <a:pt x="282" y="93926"/>
                    <a:pt x="282" y="93644"/>
                    <a:pt x="282" y="93080"/>
                  </a:cubicBezTo>
                  <a:cubicBezTo>
                    <a:pt x="564" y="91952"/>
                    <a:pt x="564" y="90824"/>
                    <a:pt x="564" y="89413"/>
                  </a:cubicBezTo>
                  <a:cubicBezTo>
                    <a:pt x="564" y="89131"/>
                    <a:pt x="282" y="88849"/>
                    <a:pt x="282" y="88567"/>
                  </a:cubicBezTo>
                  <a:cubicBezTo>
                    <a:pt x="282" y="88003"/>
                    <a:pt x="564" y="87721"/>
                    <a:pt x="846" y="87157"/>
                  </a:cubicBezTo>
                  <a:cubicBezTo>
                    <a:pt x="846" y="86875"/>
                    <a:pt x="846" y="86593"/>
                    <a:pt x="1128" y="86593"/>
                  </a:cubicBezTo>
                  <a:cubicBezTo>
                    <a:pt x="1692" y="86593"/>
                    <a:pt x="1692" y="86875"/>
                    <a:pt x="1692" y="87439"/>
                  </a:cubicBezTo>
                  <a:lnTo>
                    <a:pt x="1692" y="88003"/>
                  </a:lnTo>
                  <a:cubicBezTo>
                    <a:pt x="1974" y="88003"/>
                    <a:pt x="1974" y="88003"/>
                    <a:pt x="1974" y="87721"/>
                  </a:cubicBezTo>
                  <a:lnTo>
                    <a:pt x="1974" y="85183"/>
                  </a:lnTo>
                  <a:cubicBezTo>
                    <a:pt x="1974" y="84900"/>
                    <a:pt x="1974" y="84900"/>
                    <a:pt x="2257" y="84618"/>
                  </a:cubicBezTo>
                  <a:lnTo>
                    <a:pt x="2821" y="84054"/>
                  </a:lnTo>
                  <a:lnTo>
                    <a:pt x="2538" y="84054"/>
                  </a:lnTo>
                  <a:cubicBezTo>
                    <a:pt x="1974" y="83490"/>
                    <a:pt x="1974" y="82644"/>
                    <a:pt x="1974" y="81798"/>
                  </a:cubicBezTo>
                  <a:lnTo>
                    <a:pt x="1974" y="81234"/>
                  </a:lnTo>
                  <a:cubicBezTo>
                    <a:pt x="1974" y="80952"/>
                    <a:pt x="1974" y="80952"/>
                    <a:pt x="1692" y="80670"/>
                  </a:cubicBezTo>
                  <a:cubicBezTo>
                    <a:pt x="1974" y="80105"/>
                    <a:pt x="1974" y="79541"/>
                    <a:pt x="1974" y="78977"/>
                  </a:cubicBezTo>
                  <a:lnTo>
                    <a:pt x="1974" y="78131"/>
                  </a:lnTo>
                  <a:cubicBezTo>
                    <a:pt x="1974" y="77567"/>
                    <a:pt x="1974" y="77285"/>
                    <a:pt x="2257" y="77003"/>
                  </a:cubicBezTo>
                  <a:cubicBezTo>
                    <a:pt x="2257" y="76721"/>
                    <a:pt x="2538" y="76721"/>
                    <a:pt x="2821" y="76721"/>
                  </a:cubicBezTo>
                  <a:cubicBezTo>
                    <a:pt x="3102" y="76721"/>
                    <a:pt x="3385" y="76439"/>
                    <a:pt x="3385" y="76157"/>
                  </a:cubicBezTo>
                  <a:cubicBezTo>
                    <a:pt x="3667" y="76157"/>
                    <a:pt x="3667" y="76157"/>
                    <a:pt x="3667" y="75875"/>
                  </a:cubicBezTo>
                  <a:lnTo>
                    <a:pt x="3667" y="75592"/>
                  </a:lnTo>
                  <a:lnTo>
                    <a:pt x="3385" y="75310"/>
                  </a:lnTo>
                  <a:cubicBezTo>
                    <a:pt x="3102" y="75310"/>
                    <a:pt x="3102" y="75592"/>
                    <a:pt x="2821" y="75592"/>
                  </a:cubicBezTo>
                  <a:lnTo>
                    <a:pt x="2538" y="75592"/>
                  </a:lnTo>
                  <a:cubicBezTo>
                    <a:pt x="2538" y="75028"/>
                    <a:pt x="2538" y="75028"/>
                    <a:pt x="2821" y="74746"/>
                  </a:cubicBezTo>
                  <a:cubicBezTo>
                    <a:pt x="3102" y="74464"/>
                    <a:pt x="3102" y="74182"/>
                    <a:pt x="3102" y="73900"/>
                  </a:cubicBezTo>
                  <a:cubicBezTo>
                    <a:pt x="3102" y="73618"/>
                    <a:pt x="2821" y="73054"/>
                    <a:pt x="2538" y="72490"/>
                  </a:cubicBezTo>
                  <a:cubicBezTo>
                    <a:pt x="2538" y="72208"/>
                    <a:pt x="2821" y="72208"/>
                    <a:pt x="2821" y="71926"/>
                  </a:cubicBezTo>
                  <a:cubicBezTo>
                    <a:pt x="2821" y="71644"/>
                    <a:pt x="2538" y="71362"/>
                    <a:pt x="2538" y="71079"/>
                  </a:cubicBezTo>
                  <a:lnTo>
                    <a:pt x="2538" y="70797"/>
                  </a:lnTo>
                  <a:cubicBezTo>
                    <a:pt x="3385" y="69669"/>
                    <a:pt x="2821" y="68823"/>
                    <a:pt x="3667" y="67977"/>
                  </a:cubicBezTo>
                  <a:cubicBezTo>
                    <a:pt x="3667" y="67695"/>
                    <a:pt x="3385" y="67131"/>
                    <a:pt x="3385" y="66849"/>
                  </a:cubicBezTo>
                  <a:cubicBezTo>
                    <a:pt x="3667" y="66002"/>
                    <a:pt x="3949" y="65438"/>
                    <a:pt x="3949" y="64592"/>
                  </a:cubicBezTo>
                  <a:lnTo>
                    <a:pt x="3949" y="64028"/>
                  </a:lnTo>
                  <a:cubicBezTo>
                    <a:pt x="3949" y="63746"/>
                    <a:pt x="4231" y="63464"/>
                    <a:pt x="4795" y="63182"/>
                  </a:cubicBezTo>
                  <a:cubicBezTo>
                    <a:pt x="4795" y="63182"/>
                    <a:pt x="5077" y="62900"/>
                    <a:pt x="5077" y="62618"/>
                  </a:cubicBezTo>
                  <a:cubicBezTo>
                    <a:pt x="4795" y="62336"/>
                    <a:pt x="4795" y="62054"/>
                    <a:pt x="4795" y="61771"/>
                  </a:cubicBezTo>
                  <a:cubicBezTo>
                    <a:pt x="4795" y="61207"/>
                    <a:pt x="5077" y="60925"/>
                    <a:pt x="5077" y="60361"/>
                  </a:cubicBezTo>
                  <a:cubicBezTo>
                    <a:pt x="5077" y="60079"/>
                    <a:pt x="5359" y="59797"/>
                    <a:pt x="5359" y="59797"/>
                  </a:cubicBezTo>
                  <a:cubicBezTo>
                    <a:pt x="5923" y="59515"/>
                    <a:pt x="5923" y="59233"/>
                    <a:pt x="5923" y="58669"/>
                  </a:cubicBezTo>
                  <a:lnTo>
                    <a:pt x="5923" y="56976"/>
                  </a:lnTo>
                  <a:cubicBezTo>
                    <a:pt x="5923" y="56130"/>
                    <a:pt x="6205" y="55002"/>
                    <a:pt x="6205" y="54156"/>
                  </a:cubicBezTo>
                  <a:lnTo>
                    <a:pt x="7898" y="51335"/>
                  </a:lnTo>
                  <a:cubicBezTo>
                    <a:pt x="7898" y="50771"/>
                    <a:pt x="8180" y="50489"/>
                    <a:pt x="8462" y="49925"/>
                  </a:cubicBezTo>
                  <a:cubicBezTo>
                    <a:pt x="8462" y="49643"/>
                    <a:pt x="8180" y="49079"/>
                    <a:pt x="8180" y="48797"/>
                  </a:cubicBezTo>
                  <a:cubicBezTo>
                    <a:pt x="8180" y="48232"/>
                    <a:pt x="8462" y="47668"/>
                    <a:pt x="8743" y="47386"/>
                  </a:cubicBezTo>
                  <a:cubicBezTo>
                    <a:pt x="9308" y="45694"/>
                    <a:pt x="10154" y="44002"/>
                    <a:pt x="11000" y="42309"/>
                  </a:cubicBezTo>
                  <a:cubicBezTo>
                    <a:pt x="11282" y="41463"/>
                    <a:pt x="11564" y="40617"/>
                    <a:pt x="11564" y="40053"/>
                  </a:cubicBezTo>
                  <a:lnTo>
                    <a:pt x="12410" y="37796"/>
                  </a:lnTo>
                  <a:lnTo>
                    <a:pt x="13257" y="37232"/>
                  </a:lnTo>
                  <a:cubicBezTo>
                    <a:pt x="13821" y="36104"/>
                    <a:pt x="14103" y="35258"/>
                    <a:pt x="14385" y="34129"/>
                  </a:cubicBezTo>
                  <a:cubicBezTo>
                    <a:pt x="14949" y="32719"/>
                    <a:pt x="15513" y="31309"/>
                    <a:pt x="16360" y="30181"/>
                  </a:cubicBezTo>
                  <a:cubicBezTo>
                    <a:pt x="16360" y="29334"/>
                    <a:pt x="16924" y="28770"/>
                    <a:pt x="16924" y="27924"/>
                  </a:cubicBezTo>
                  <a:lnTo>
                    <a:pt x="17488" y="27078"/>
                  </a:lnTo>
                  <a:lnTo>
                    <a:pt x="19462" y="24539"/>
                  </a:lnTo>
                  <a:cubicBezTo>
                    <a:pt x="19462" y="23129"/>
                    <a:pt x="20308" y="21719"/>
                    <a:pt x="21719" y="20590"/>
                  </a:cubicBezTo>
                  <a:lnTo>
                    <a:pt x="21719" y="20308"/>
                  </a:lnTo>
                  <a:cubicBezTo>
                    <a:pt x="21719" y="19180"/>
                    <a:pt x="22283" y="18898"/>
                    <a:pt x="23129" y="18052"/>
                  </a:cubicBezTo>
                  <a:lnTo>
                    <a:pt x="23129" y="17770"/>
                  </a:lnTo>
                  <a:cubicBezTo>
                    <a:pt x="23693" y="15795"/>
                    <a:pt x="25386" y="14385"/>
                    <a:pt x="26232" y="12693"/>
                  </a:cubicBezTo>
                  <a:lnTo>
                    <a:pt x="30180" y="8462"/>
                  </a:lnTo>
                  <a:cubicBezTo>
                    <a:pt x="30463" y="8180"/>
                    <a:pt x="30744" y="7898"/>
                    <a:pt x="31027" y="7052"/>
                  </a:cubicBezTo>
                  <a:cubicBezTo>
                    <a:pt x="31308" y="6487"/>
                    <a:pt x="31873" y="5923"/>
                    <a:pt x="32719" y="5923"/>
                  </a:cubicBezTo>
                  <a:cubicBezTo>
                    <a:pt x="33847" y="5077"/>
                    <a:pt x="34975" y="4795"/>
                    <a:pt x="35539" y="3949"/>
                  </a:cubicBezTo>
                  <a:cubicBezTo>
                    <a:pt x="35539" y="3949"/>
                    <a:pt x="35822" y="3949"/>
                    <a:pt x="36104" y="3667"/>
                  </a:cubicBezTo>
                  <a:cubicBezTo>
                    <a:pt x="36950" y="2821"/>
                    <a:pt x="38360" y="2256"/>
                    <a:pt x="39770" y="1410"/>
                  </a:cubicBezTo>
                  <a:lnTo>
                    <a:pt x="42027" y="564"/>
                  </a:lnTo>
                  <a:cubicBezTo>
                    <a:pt x="43156" y="282"/>
                    <a:pt x="43720" y="0"/>
                    <a:pt x="44566" y="0"/>
                  </a:cubicBezTo>
                  <a:lnTo>
                    <a:pt x="49642" y="0"/>
                  </a:lnTo>
                  <a:lnTo>
                    <a:pt x="51617" y="1410"/>
                  </a:lnTo>
                  <a:cubicBezTo>
                    <a:pt x="51899" y="1692"/>
                    <a:pt x="51899" y="1974"/>
                    <a:pt x="52181" y="1974"/>
                  </a:cubicBezTo>
                  <a:lnTo>
                    <a:pt x="54720" y="3667"/>
                  </a:lnTo>
                  <a:cubicBezTo>
                    <a:pt x="55002" y="3949"/>
                    <a:pt x="55284" y="4513"/>
                    <a:pt x="55848" y="4513"/>
                  </a:cubicBezTo>
                  <a:cubicBezTo>
                    <a:pt x="56130" y="4513"/>
                    <a:pt x="56412" y="4795"/>
                    <a:pt x="56694" y="5077"/>
                  </a:cubicBezTo>
                  <a:cubicBezTo>
                    <a:pt x="56976" y="5077"/>
                    <a:pt x="56976" y="5641"/>
                    <a:pt x="57259" y="5923"/>
                  </a:cubicBezTo>
                  <a:cubicBezTo>
                    <a:pt x="57540" y="6205"/>
                    <a:pt x="58387" y="6487"/>
                    <a:pt x="58951" y="6487"/>
                  </a:cubicBezTo>
                  <a:lnTo>
                    <a:pt x="59515" y="6487"/>
                  </a:lnTo>
                  <a:cubicBezTo>
                    <a:pt x="60361" y="6487"/>
                    <a:pt x="60643" y="7052"/>
                    <a:pt x="61207" y="7616"/>
                  </a:cubicBezTo>
                  <a:cubicBezTo>
                    <a:pt x="61490" y="7898"/>
                    <a:pt x="61490" y="8180"/>
                    <a:pt x="61490" y="8462"/>
                  </a:cubicBezTo>
                  <a:cubicBezTo>
                    <a:pt x="61490" y="8744"/>
                    <a:pt x="61490" y="9026"/>
                    <a:pt x="61207" y="9026"/>
                  </a:cubicBezTo>
                  <a:lnTo>
                    <a:pt x="59233" y="9590"/>
                  </a:lnTo>
                  <a:cubicBezTo>
                    <a:pt x="58951" y="9590"/>
                    <a:pt x="58951" y="9872"/>
                    <a:pt x="58951" y="9872"/>
                  </a:cubicBezTo>
                  <a:cubicBezTo>
                    <a:pt x="58669" y="9872"/>
                    <a:pt x="58669" y="9590"/>
                    <a:pt x="58669" y="9026"/>
                  </a:cubicBezTo>
                  <a:lnTo>
                    <a:pt x="58669" y="8462"/>
                  </a:lnTo>
                  <a:lnTo>
                    <a:pt x="57823" y="8462"/>
                  </a:lnTo>
                  <a:cubicBezTo>
                    <a:pt x="57259" y="8744"/>
                    <a:pt x="56976" y="9590"/>
                    <a:pt x="56694" y="10154"/>
                  </a:cubicBezTo>
                  <a:cubicBezTo>
                    <a:pt x="56694" y="10436"/>
                    <a:pt x="56694" y="10436"/>
                    <a:pt x="56976" y="10718"/>
                  </a:cubicBezTo>
                  <a:cubicBezTo>
                    <a:pt x="56976" y="11000"/>
                    <a:pt x="57259" y="11000"/>
                    <a:pt x="57259" y="11000"/>
                  </a:cubicBezTo>
                  <a:cubicBezTo>
                    <a:pt x="57823" y="11282"/>
                    <a:pt x="57823" y="11847"/>
                    <a:pt x="57823" y="12411"/>
                  </a:cubicBezTo>
                  <a:cubicBezTo>
                    <a:pt x="57823" y="12975"/>
                    <a:pt x="58104" y="12975"/>
                    <a:pt x="58387" y="12975"/>
                  </a:cubicBezTo>
                  <a:cubicBezTo>
                    <a:pt x="58669" y="12975"/>
                    <a:pt x="58951" y="12693"/>
                    <a:pt x="58951" y="12693"/>
                  </a:cubicBezTo>
                  <a:cubicBezTo>
                    <a:pt x="59233" y="12693"/>
                    <a:pt x="59233" y="12975"/>
                    <a:pt x="59515" y="13539"/>
                  </a:cubicBezTo>
                  <a:cubicBezTo>
                    <a:pt x="59797" y="13821"/>
                    <a:pt x="60079" y="14385"/>
                    <a:pt x="60079" y="14667"/>
                  </a:cubicBezTo>
                  <a:cubicBezTo>
                    <a:pt x="60079" y="14949"/>
                    <a:pt x="59797" y="14949"/>
                    <a:pt x="59797" y="15231"/>
                  </a:cubicBezTo>
                  <a:cubicBezTo>
                    <a:pt x="59797" y="15795"/>
                    <a:pt x="60079" y="15795"/>
                    <a:pt x="60361" y="16360"/>
                  </a:cubicBezTo>
                  <a:lnTo>
                    <a:pt x="60925" y="16360"/>
                  </a:lnTo>
                  <a:lnTo>
                    <a:pt x="60925" y="14949"/>
                  </a:lnTo>
                  <a:cubicBezTo>
                    <a:pt x="60925" y="14103"/>
                    <a:pt x="60643" y="13257"/>
                    <a:pt x="60643" y="12411"/>
                  </a:cubicBezTo>
                  <a:cubicBezTo>
                    <a:pt x="60925" y="11847"/>
                    <a:pt x="61490" y="11282"/>
                    <a:pt x="62054" y="11000"/>
                  </a:cubicBezTo>
                  <a:cubicBezTo>
                    <a:pt x="62335" y="11000"/>
                    <a:pt x="62900" y="11000"/>
                    <a:pt x="63182" y="11282"/>
                  </a:cubicBezTo>
                  <a:cubicBezTo>
                    <a:pt x="63182" y="11565"/>
                    <a:pt x="62900" y="11847"/>
                    <a:pt x="62900" y="11847"/>
                  </a:cubicBezTo>
                  <a:cubicBezTo>
                    <a:pt x="62900" y="12693"/>
                    <a:pt x="63464" y="12975"/>
                    <a:pt x="64310" y="12975"/>
                  </a:cubicBezTo>
                  <a:cubicBezTo>
                    <a:pt x="64592" y="12975"/>
                    <a:pt x="64592" y="13539"/>
                    <a:pt x="64592" y="13821"/>
                  </a:cubicBezTo>
                  <a:lnTo>
                    <a:pt x="64592" y="14103"/>
                  </a:lnTo>
                  <a:cubicBezTo>
                    <a:pt x="64028" y="14667"/>
                    <a:pt x="63745" y="14667"/>
                    <a:pt x="63745" y="14949"/>
                  </a:cubicBezTo>
                  <a:cubicBezTo>
                    <a:pt x="63745" y="15231"/>
                    <a:pt x="64028" y="15513"/>
                    <a:pt x="64310" y="15795"/>
                  </a:cubicBezTo>
                  <a:cubicBezTo>
                    <a:pt x="64310" y="16078"/>
                    <a:pt x="64592" y="16360"/>
                    <a:pt x="64874" y="16360"/>
                  </a:cubicBezTo>
                  <a:cubicBezTo>
                    <a:pt x="64874" y="16642"/>
                    <a:pt x="64874" y="16924"/>
                    <a:pt x="64592" y="17206"/>
                  </a:cubicBezTo>
                  <a:cubicBezTo>
                    <a:pt x="64592" y="17488"/>
                    <a:pt x="64592" y="17770"/>
                    <a:pt x="64310" y="17770"/>
                  </a:cubicBezTo>
                  <a:cubicBezTo>
                    <a:pt x="63745" y="18052"/>
                    <a:pt x="63464" y="18334"/>
                    <a:pt x="63464" y="18898"/>
                  </a:cubicBezTo>
                  <a:cubicBezTo>
                    <a:pt x="63464" y="19180"/>
                    <a:pt x="63745" y="19462"/>
                    <a:pt x="63745" y="19744"/>
                  </a:cubicBezTo>
                  <a:cubicBezTo>
                    <a:pt x="63745" y="20026"/>
                    <a:pt x="63745" y="20026"/>
                    <a:pt x="64028" y="20026"/>
                  </a:cubicBezTo>
                  <a:lnTo>
                    <a:pt x="64874" y="20026"/>
                  </a:lnTo>
                  <a:lnTo>
                    <a:pt x="64874" y="20308"/>
                  </a:lnTo>
                  <a:cubicBezTo>
                    <a:pt x="64874" y="20873"/>
                    <a:pt x="64310" y="21719"/>
                    <a:pt x="64028" y="22283"/>
                  </a:cubicBezTo>
                  <a:cubicBezTo>
                    <a:pt x="63745" y="22565"/>
                    <a:pt x="63745" y="22565"/>
                    <a:pt x="63745" y="22847"/>
                  </a:cubicBezTo>
                  <a:cubicBezTo>
                    <a:pt x="63745" y="23129"/>
                    <a:pt x="63745" y="23411"/>
                    <a:pt x="64028" y="23693"/>
                  </a:cubicBezTo>
                  <a:cubicBezTo>
                    <a:pt x="64592" y="24257"/>
                    <a:pt x="64592" y="24539"/>
                    <a:pt x="64592" y="25103"/>
                  </a:cubicBezTo>
                  <a:lnTo>
                    <a:pt x="64592" y="26232"/>
                  </a:lnTo>
                  <a:cubicBezTo>
                    <a:pt x="64592" y="26514"/>
                    <a:pt x="64310" y="26796"/>
                    <a:pt x="64028" y="27078"/>
                  </a:cubicBezTo>
                  <a:cubicBezTo>
                    <a:pt x="63182" y="27924"/>
                    <a:pt x="62900" y="28770"/>
                    <a:pt x="62900" y="29616"/>
                  </a:cubicBezTo>
                  <a:cubicBezTo>
                    <a:pt x="63182" y="29899"/>
                    <a:pt x="63182" y="30181"/>
                    <a:pt x="63182" y="30463"/>
                  </a:cubicBezTo>
                  <a:cubicBezTo>
                    <a:pt x="62054" y="31873"/>
                    <a:pt x="62054" y="33565"/>
                    <a:pt x="60925" y="34976"/>
                  </a:cubicBezTo>
                  <a:cubicBezTo>
                    <a:pt x="61207" y="35258"/>
                    <a:pt x="61207" y="35540"/>
                    <a:pt x="61207" y="35822"/>
                  </a:cubicBezTo>
                  <a:cubicBezTo>
                    <a:pt x="61207" y="36386"/>
                    <a:pt x="60643" y="37232"/>
                    <a:pt x="60361" y="37796"/>
                  </a:cubicBezTo>
                  <a:cubicBezTo>
                    <a:pt x="59797" y="38360"/>
                    <a:pt x="59233" y="39489"/>
                    <a:pt x="59233" y="40617"/>
                  </a:cubicBezTo>
                  <a:lnTo>
                    <a:pt x="59233" y="41181"/>
                  </a:lnTo>
                  <a:cubicBezTo>
                    <a:pt x="58951" y="42591"/>
                    <a:pt x="57823" y="44002"/>
                    <a:pt x="56976" y="45130"/>
                  </a:cubicBezTo>
                  <a:cubicBezTo>
                    <a:pt x="56412" y="45412"/>
                    <a:pt x="56412" y="45976"/>
                    <a:pt x="55848" y="46258"/>
                  </a:cubicBezTo>
                  <a:cubicBezTo>
                    <a:pt x="55284" y="46822"/>
                    <a:pt x="54438" y="47668"/>
                    <a:pt x="54438" y="48515"/>
                  </a:cubicBezTo>
                  <a:lnTo>
                    <a:pt x="54438" y="48797"/>
                  </a:lnTo>
                  <a:cubicBezTo>
                    <a:pt x="54438" y="49079"/>
                    <a:pt x="54156" y="49079"/>
                    <a:pt x="53873" y="49361"/>
                  </a:cubicBezTo>
                  <a:cubicBezTo>
                    <a:pt x="53873" y="50207"/>
                    <a:pt x="53028" y="50489"/>
                    <a:pt x="53028" y="51053"/>
                  </a:cubicBezTo>
                  <a:lnTo>
                    <a:pt x="53028" y="51335"/>
                  </a:lnTo>
                  <a:cubicBezTo>
                    <a:pt x="53028" y="51899"/>
                    <a:pt x="52745" y="51899"/>
                    <a:pt x="52463" y="52181"/>
                  </a:cubicBezTo>
                  <a:cubicBezTo>
                    <a:pt x="51899" y="52745"/>
                    <a:pt x="51335" y="53310"/>
                    <a:pt x="50771" y="53592"/>
                  </a:cubicBezTo>
                  <a:cubicBezTo>
                    <a:pt x="49642" y="54720"/>
                    <a:pt x="48514" y="55848"/>
                    <a:pt x="47950" y="57258"/>
                  </a:cubicBezTo>
                  <a:cubicBezTo>
                    <a:pt x="46540" y="59233"/>
                    <a:pt x="45130" y="60925"/>
                    <a:pt x="43720" y="62336"/>
                  </a:cubicBezTo>
                  <a:cubicBezTo>
                    <a:pt x="43437" y="62900"/>
                    <a:pt x="42591" y="63464"/>
                    <a:pt x="41745" y="63746"/>
                  </a:cubicBezTo>
                  <a:cubicBezTo>
                    <a:pt x="41181" y="63746"/>
                    <a:pt x="40899" y="63746"/>
                    <a:pt x="40617" y="64310"/>
                  </a:cubicBezTo>
                  <a:lnTo>
                    <a:pt x="38642" y="66002"/>
                  </a:lnTo>
                  <a:cubicBezTo>
                    <a:pt x="37232" y="66849"/>
                    <a:pt x="36386" y="67131"/>
                    <a:pt x="35258" y="67131"/>
                  </a:cubicBezTo>
                  <a:cubicBezTo>
                    <a:pt x="34975" y="67131"/>
                    <a:pt x="34694" y="67131"/>
                    <a:pt x="34129" y="67413"/>
                  </a:cubicBezTo>
                  <a:cubicBezTo>
                    <a:pt x="33001" y="68259"/>
                    <a:pt x="31027" y="68259"/>
                    <a:pt x="29334" y="68259"/>
                  </a:cubicBezTo>
                  <a:cubicBezTo>
                    <a:pt x="28206" y="68259"/>
                    <a:pt x="27642" y="68541"/>
                    <a:pt x="26514" y="68823"/>
                  </a:cubicBezTo>
                  <a:cubicBezTo>
                    <a:pt x="25950" y="68823"/>
                    <a:pt x="25667" y="69105"/>
                    <a:pt x="25103" y="69105"/>
                  </a:cubicBezTo>
                  <a:cubicBezTo>
                    <a:pt x="24539" y="69105"/>
                    <a:pt x="23693" y="68823"/>
                    <a:pt x="23129" y="68541"/>
                  </a:cubicBezTo>
                  <a:cubicBezTo>
                    <a:pt x="22565" y="68259"/>
                    <a:pt x="22283" y="68259"/>
                    <a:pt x="21719" y="68259"/>
                  </a:cubicBezTo>
                  <a:cubicBezTo>
                    <a:pt x="21436" y="68259"/>
                    <a:pt x="21155" y="68259"/>
                    <a:pt x="21155" y="68823"/>
                  </a:cubicBezTo>
                  <a:cubicBezTo>
                    <a:pt x="20308" y="70233"/>
                    <a:pt x="20026" y="71362"/>
                    <a:pt x="19744" y="72490"/>
                  </a:cubicBezTo>
                  <a:cubicBezTo>
                    <a:pt x="19744" y="73054"/>
                    <a:pt x="19744" y="73618"/>
                    <a:pt x="20026" y="74182"/>
                  </a:cubicBezTo>
                  <a:cubicBezTo>
                    <a:pt x="20308" y="74464"/>
                    <a:pt x="20308" y="75028"/>
                    <a:pt x="20308" y="75592"/>
                  </a:cubicBezTo>
                  <a:cubicBezTo>
                    <a:pt x="20308" y="75592"/>
                    <a:pt x="20308" y="75875"/>
                    <a:pt x="20026" y="76157"/>
                  </a:cubicBezTo>
                  <a:cubicBezTo>
                    <a:pt x="19462" y="76439"/>
                    <a:pt x="19180" y="77003"/>
                    <a:pt x="19180" y="77567"/>
                  </a:cubicBezTo>
                  <a:cubicBezTo>
                    <a:pt x="19180" y="77849"/>
                    <a:pt x="19462" y="78131"/>
                    <a:pt x="19462" y="78413"/>
                  </a:cubicBezTo>
                  <a:cubicBezTo>
                    <a:pt x="19180" y="79259"/>
                    <a:pt x="18616" y="79823"/>
                    <a:pt x="18616" y="80670"/>
                  </a:cubicBezTo>
                  <a:lnTo>
                    <a:pt x="18616" y="84054"/>
                  </a:lnTo>
                  <a:cubicBezTo>
                    <a:pt x="18616" y="84618"/>
                    <a:pt x="18898" y="85183"/>
                    <a:pt x="18898" y="85465"/>
                  </a:cubicBezTo>
                  <a:cubicBezTo>
                    <a:pt x="18898" y="85747"/>
                    <a:pt x="18898" y="85747"/>
                    <a:pt x="18616" y="86029"/>
                  </a:cubicBezTo>
                  <a:cubicBezTo>
                    <a:pt x="18334" y="86311"/>
                    <a:pt x="18334" y="87157"/>
                    <a:pt x="18334" y="87721"/>
                  </a:cubicBezTo>
                  <a:cubicBezTo>
                    <a:pt x="18334" y="88003"/>
                    <a:pt x="18052" y="88285"/>
                    <a:pt x="18052" y="88567"/>
                  </a:cubicBezTo>
                  <a:cubicBezTo>
                    <a:pt x="18052" y="88849"/>
                    <a:pt x="18334" y="89413"/>
                    <a:pt x="18334" y="89413"/>
                  </a:cubicBezTo>
                  <a:cubicBezTo>
                    <a:pt x="18334" y="89696"/>
                    <a:pt x="18616" y="89978"/>
                    <a:pt x="18616" y="90260"/>
                  </a:cubicBezTo>
                  <a:cubicBezTo>
                    <a:pt x="18616" y="90542"/>
                    <a:pt x="18334" y="90542"/>
                    <a:pt x="18334" y="90824"/>
                  </a:cubicBezTo>
                  <a:lnTo>
                    <a:pt x="18334" y="91106"/>
                  </a:lnTo>
                  <a:cubicBezTo>
                    <a:pt x="18616" y="91388"/>
                    <a:pt x="18616" y="91670"/>
                    <a:pt x="18616" y="91952"/>
                  </a:cubicBezTo>
                  <a:cubicBezTo>
                    <a:pt x="18616" y="92516"/>
                    <a:pt x="18334" y="93080"/>
                    <a:pt x="18334" y="93644"/>
                  </a:cubicBezTo>
                  <a:lnTo>
                    <a:pt x="18334" y="95337"/>
                  </a:lnTo>
                  <a:cubicBezTo>
                    <a:pt x="18334" y="95901"/>
                    <a:pt x="18334" y="96465"/>
                    <a:pt x="18898" y="96747"/>
                  </a:cubicBezTo>
                  <a:lnTo>
                    <a:pt x="18898" y="100414"/>
                  </a:lnTo>
                  <a:cubicBezTo>
                    <a:pt x="18616" y="100978"/>
                    <a:pt x="18334" y="101542"/>
                    <a:pt x="18334" y="102106"/>
                  </a:cubicBezTo>
                  <a:cubicBezTo>
                    <a:pt x="18334" y="102388"/>
                    <a:pt x="18616" y="102952"/>
                    <a:pt x="18898" y="103234"/>
                  </a:cubicBezTo>
                  <a:lnTo>
                    <a:pt x="18898" y="104081"/>
                  </a:lnTo>
                  <a:cubicBezTo>
                    <a:pt x="18898" y="104363"/>
                    <a:pt x="18898" y="104645"/>
                    <a:pt x="19180" y="104645"/>
                  </a:cubicBezTo>
                  <a:cubicBezTo>
                    <a:pt x="20591" y="105209"/>
                    <a:pt x="20308" y="106337"/>
                    <a:pt x="20591" y="107183"/>
                  </a:cubicBezTo>
                  <a:lnTo>
                    <a:pt x="20591" y="108312"/>
                  </a:lnTo>
                  <a:cubicBezTo>
                    <a:pt x="20591" y="108594"/>
                    <a:pt x="20308" y="108876"/>
                    <a:pt x="20308" y="109158"/>
                  </a:cubicBezTo>
                  <a:cubicBezTo>
                    <a:pt x="20308" y="109722"/>
                    <a:pt x="20591" y="110004"/>
                    <a:pt x="21436" y="110568"/>
                  </a:cubicBezTo>
                  <a:cubicBezTo>
                    <a:pt x="21719" y="111414"/>
                    <a:pt x="22001" y="112542"/>
                    <a:pt x="22847" y="113389"/>
                  </a:cubicBezTo>
                  <a:cubicBezTo>
                    <a:pt x="23129" y="113389"/>
                    <a:pt x="23129" y="113671"/>
                    <a:pt x="23129" y="113671"/>
                  </a:cubicBezTo>
                  <a:cubicBezTo>
                    <a:pt x="23129" y="114799"/>
                    <a:pt x="23411" y="115363"/>
                    <a:pt x="24257" y="115927"/>
                  </a:cubicBezTo>
                  <a:lnTo>
                    <a:pt x="24257" y="116209"/>
                  </a:lnTo>
                  <a:cubicBezTo>
                    <a:pt x="24822" y="116773"/>
                    <a:pt x="25103" y="117338"/>
                    <a:pt x="25667" y="117620"/>
                  </a:cubicBezTo>
                  <a:lnTo>
                    <a:pt x="26796" y="119030"/>
                  </a:lnTo>
                  <a:cubicBezTo>
                    <a:pt x="27924" y="120158"/>
                    <a:pt x="29052" y="120722"/>
                    <a:pt x="30463" y="120722"/>
                  </a:cubicBezTo>
                  <a:cubicBezTo>
                    <a:pt x="31027" y="120722"/>
                    <a:pt x="31308" y="120722"/>
                    <a:pt x="31873" y="120440"/>
                  </a:cubicBezTo>
                  <a:cubicBezTo>
                    <a:pt x="32437" y="120158"/>
                    <a:pt x="32719" y="120158"/>
                    <a:pt x="33283" y="120158"/>
                  </a:cubicBezTo>
                  <a:cubicBezTo>
                    <a:pt x="35539" y="120158"/>
                    <a:pt x="37796" y="119312"/>
                    <a:pt x="40053" y="118466"/>
                  </a:cubicBezTo>
                  <a:cubicBezTo>
                    <a:pt x="42027" y="117620"/>
                    <a:pt x="43720" y="116773"/>
                    <a:pt x="44848" y="115645"/>
                  </a:cubicBezTo>
                  <a:cubicBezTo>
                    <a:pt x="45694" y="115081"/>
                    <a:pt x="47104" y="114799"/>
                    <a:pt x="47950" y="114235"/>
                  </a:cubicBezTo>
                  <a:cubicBezTo>
                    <a:pt x="49361" y="112825"/>
                    <a:pt x="51335" y="111696"/>
                    <a:pt x="53028" y="110286"/>
                  </a:cubicBezTo>
                  <a:cubicBezTo>
                    <a:pt x="54438" y="109440"/>
                    <a:pt x="55566" y="108312"/>
                    <a:pt x="56976" y="107183"/>
                  </a:cubicBezTo>
                  <a:cubicBezTo>
                    <a:pt x="58104" y="106337"/>
                    <a:pt x="58951" y="105209"/>
                    <a:pt x="59797" y="104081"/>
                  </a:cubicBezTo>
                  <a:cubicBezTo>
                    <a:pt x="61207" y="103234"/>
                    <a:pt x="62618" y="101824"/>
                    <a:pt x="63745" y="100696"/>
                  </a:cubicBezTo>
                  <a:cubicBezTo>
                    <a:pt x="64592" y="100132"/>
                    <a:pt x="64874" y="99286"/>
                    <a:pt x="65720" y="98721"/>
                  </a:cubicBezTo>
                  <a:cubicBezTo>
                    <a:pt x="66284" y="98439"/>
                    <a:pt x="66566" y="97875"/>
                    <a:pt x="66566" y="97875"/>
                  </a:cubicBezTo>
                  <a:cubicBezTo>
                    <a:pt x="66848" y="97593"/>
                    <a:pt x="66848" y="97311"/>
                    <a:pt x="66848" y="97029"/>
                  </a:cubicBezTo>
                  <a:cubicBezTo>
                    <a:pt x="68259" y="96465"/>
                    <a:pt x="69105" y="95337"/>
                    <a:pt x="69951" y="94773"/>
                  </a:cubicBezTo>
                  <a:cubicBezTo>
                    <a:pt x="70515" y="93926"/>
                    <a:pt x="71362" y="92798"/>
                    <a:pt x="72490" y="91952"/>
                  </a:cubicBezTo>
                  <a:cubicBezTo>
                    <a:pt x="73900" y="90542"/>
                    <a:pt x="74746" y="88849"/>
                    <a:pt x="76157" y="87439"/>
                  </a:cubicBezTo>
                  <a:lnTo>
                    <a:pt x="81516" y="81516"/>
                  </a:lnTo>
                  <a:cubicBezTo>
                    <a:pt x="81516" y="81516"/>
                    <a:pt x="81798" y="81516"/>
                    <a:pt x="81798" y="81234"/>
                  </a:cubicBezTo>
                  <a:cubicBezTo>
                    <a:pt x="82644" y="80670"/>
                    <a:pt x="83208" y="79541"/>
                    <a:pt x="84336" y="78413"/>
                  </a:cubicBezTo>
                  <a:cubicBezTo>
                    <a:pt x="85182" y="77003"/>
                    <a:pt x="86593" y="75310"/>
                    <a:pt x="87721" y="74182"/>
                  </a:cubicBezTo>
                  <a:cubicBezTo>
                    <a:pt x="88285" y="73618"/>
                    <a:pt x="88849" y="73054"/>
                    <a:pt x="88849" y="72208"/>
                  </a:cubicBezTo>
                  <a:cubicBezTo>
                    <a:pt x="89977" y="70515"/>
                    <a:pt x="91388" y="69105"/>
                    <a:pt x="92798" y="67695"/>
                  </a:cubicBezTo>
                  <a:lnTo>
                    <a:pt x="92516" y="67413"/>
                  </a:lnTo>
                  <a:cubicBezTo>
                    <a:pt x="93362" y="65720"/>
                    <a:pt x="94491" y="64310"/>
                    <a:pt x="95901" y="62336"/>
                  </a:cubicBezTo>
                  <a:cubicBezTo>
                    <a:pt x="95901" y="62054"/>
                    <a:pt x="96183" y="61771"/>
                    <a:pt x="96183" y="61207"/>
                  </a:cubicBezTo>
                  <a:cubicBezTo>
                    <a:pt x="96465" y="60361"/>
                    <a:pt x="97875" y="60079"/>
                    <a:pt x="98158" y="59233"/>
                  </a:cubicBezTo>
                  <a:cubicBezTo>
                    <a:pt x="98158" y="58105"/>
                    <a:pt x="98722" y="57541"/>
                    <a:pt x="99003" y="56694"/>
                  </a:cubicBezTo>
                  <a:cubicBezTo>
                    <a:pt x="99286" y="56694"/>
                    <a:pt x="99286" y="56694"/>
                    <a:pt x="99286" y="56976"/>
                  </a:cubicBezTo>
                  <a:lnTo>
                    <a:pt x="99286" y="57541"/>
                  </a:lnTo>
                  <a:lnTo>
                    <a:pt x="99568" y="57541"/>
                  </a:lnTo>
                  <a:cubicBezTo>
                    <a:pt x="99850" y="57258"/>
                    <a:pt x="100132" y="56976"/>
                    <a:pt x="100132" y="56694"/>
                  </a:cubicBezTo>
                  <a:lnTo>
                    <a:pt x="100132" y="56130"/>
                  </a:lnTo>
                  <a:cubicBezTo>
                    <a:pt x="100132" y="55566"/>
                    <a:pt x="100413" y="55002"/>
                    <a:pt x="100696" y="54438"/>
                  </a:cubicBezTo>
                  <a:cubicBezTo>
                    <a:pt x="100978" y="54438"/>
                    <a:pt x="100978" y="53874"/>
                    <a:pt x="100978" y="53592"/>
                  </a:cubicBezTo>
                  <a:cubicBezTo>
                    <a:pt x="101260" y="53310"/>
                    <a:pt x="101260" y="52463"/>
                    <a:pt x="101824" y="52463"/>
                  </a:cubicBezTo>
                  <a:cubicBezTo>
                    <a:pt x="102388" y="51899"/>
                    <a:pt x="102106" y="51053"/>
                    <a:pt x="102388" y="50207"/>
                  </a:cubicBezTo>
                  <a:cubicBezTo>
                    <a:pt x="102388" y="49643"/>
                    <a:pt x="102670" y="49079"/>
                    <a:pt x="103234" y="49079"/>
                  </a:cubicBezTo>
                  <a:cubicBezTo>
                    <a:pt x="103799" y="49079"/>
                    <a:pt x="103799" y="48797"/>
                    <a:pt x="103799" y="48515"/>
                  </a:cubicBezTo>
                  <a:lnTo>
                    <a:pt x="103799" y="47668"/>
                  </a:lnTo>
                  <a:cubicBezTo>
                    <a:pt x="104080" y="46258"/>
                    <a:pt x="103799" y="46540"/>
                    <a:pt x="105491" y="45976"/>
                  </a:cubicBezTo>
                  <a:lnTo>
                    <a:pt x="105491" y="45694"/>
                  </a:lnTo>
                  <a:cubicBezTo>
                    <a:pt x="105773" y="45412"/>
                    <a:pt x="105773" y="45412"/>
                    <a:pt x="105773" y="45130"/>
                  </a:cubicBezTo>
                  <a:lnTo>
                    <a:pt x="105773" y="44566"/>
                  </a:lnTo>
                  <a:cubicBezTo>
                    <a:pt x="105773" y="44002"/>
                    <a:pt x="106055" y="43437"/>
                    <a:pt x="106619" y="43437"/>
                  </a:cubicBezTo>
                  <a:lnTo>
                    <a:pt x="107747" y="42027"/>
                  </a:lnTo>
                  <a:lnTo>
                    <a:pt x="108030" y="42027"/>
                  </a:lnTo>
                  <a:cubicBezTo>
                    <a:pt x="108030" y="42027"/>
                    <a:pt x="108311" y="42027"/>
                    <a:pt x="108311" y="42309"/>
                  </a:cubicBezTo>
                  <a:cubicBezTo>
                    <a:pt x="108311" y="42591"/>
                    <a:pt x="108594" y="42873"/>
                    <a:pt x="108594" y="43155"/>
                  </a:cubicBezTo>
                  <a:cubicBezTo>
                    <a:pt x="108594" y="43155"/>
                    <a:pt x="108875" y="43437"/>
                    <a:pt x="109158" y="43437"/>
                  </a:cubicBezTo>
                  <a:cubicBezTo>
                    <a:pt x="109722" y="43437"/>
                    <a:pt x="110004" y="43437"/>
                    <a:pt x="110004" y="43720"/>
                  </a:cubicBezTo>
                  <a:cubicBezTo>
                    <a:pt x="110004" y="43720"/>
                    <a:pt x="109722" y="43720"/>
                    <a:pt x="109722" y="44002"/>
                  </a:cubicBezTo>
                  <a:cubicBezTo>
                    <a:pt x="109722" y="45130"/>
                    <a:pt x="109440" y="45976"/>
                    <a:pt x="109158" y="46540"/>
                  </a:cubicBezTo>
                  <a:cubicBezTo>
                    <a:pt x="108875" y="47104"/>
                    <a:pt x="108311" y="47386"/>
                    <a:pt x="107747" y="47386"/>
                  </a:cubicBezTo>
                  <a:lnTo>
                    <a:pt x="107183" y="47386"/>
                  </a:lnTo>
                  <a:cubicBezTo>
                    <a:pt x="106901" y="47386"/>
                    <a:pt x="106619" y="47668"/>
                    <a:pt x="106337" y="47950"/>
                  </a:cubicBezTo>
                  <a:cubicBezTo>
                    <a:pt x="106337" y="48515"/>
                    <a:pt x="106619" y="49361"/>
                    <a:pt x="107183" y="49925"/>
                  </a:cubicBezTo>
                  <a:cubicBezTo>
                    <a:pt x="107465" y="49925"/>
                    <a:pt x="107465" y="50489"/>
                    <a:pt x="107747" y="50771"/>
                  </a:cubicBezTo>
                  <a:cubicBezTo>
                    <a:pt x="107747" y="51053"/>
                    <a:pt x="108030" y="51335"/>
                    <a:pt x="107747" y="51335"/>
                  </a:cubicBezTo>
                  <a:cubicBezTo>
                    <a:pt x="107747" y="51617"/>
                    <a:pt x="107465" y="51899"/>
                    <a:pt x="107747" y="51899"/>
                  </a:cubicBezTo>
                  <a:lnTo>
                    <a:pt x="107747" y="52463"/>
                  </a:lnTo>
                  <a:cubicBezTo>
                    <a:pt x="107747" y="53028"/>
                    <a:pt x="107465" y="53874"/>
                    <a:pt x="107183" y="54438"/>
                  </a:cubicBezTo>
                  <a:cubicBezTo>
                    <a:pt x="107183" y="54720"/>
                    <a:pt x="107183" y="55284"/>
                    <a:pt x="106901" y="55566"/>
                  </a:cubicBezTo>
                  <a:lnTo>
                    <a:pt x="106619" y="55566"/>
                  </a:lnTo>
                  <a:lnTo>
                    <a:pt x="106619" y="53874"/>
                  </a:lnTo>
                  <a:lnTo>
                    <a:pt x="106337" y="53874"/>
                  </a:lnTo>
                  <a:cubicBezTo>
                    <a:pt x="105773" y="53310"/>
                    <a:pt x="106055" y="52463"/>
                    <a:pt x="105773" y="51899"/>
                  </a:cubicBezTo>
                  <a:cubicBezTo>
                    <a:pt x="105773" y="51617"/>
                    <a:pt x="106055" y="51335"/>
                    <a:pt x="106055" y="51335"/>
                  </a:cubicBezTo>
                  <a:cubicBezTo>
                    <a:pt x="106055" y="51335"/>
                    <a:pt x="105773" y="51335"/>
                    <a:pt x="105491" y="51053"/>
                  </a:cubicBezTo>
                  <a:cubicBezTo>
                    <a:pt x="105209" y="51053"/>
                    <a:pt x="105209" y="51335"/>
                    <a:pt x="105209" y="51335"/>
                  </a:cubicBezTo>
                  <a:cubicBezTo>
                    <a:pt x="104927" y="52181"/>
                    <a:pt x="104363" y="53028"/>
                    <a:pt x="103799" y="53874"/>
                  </a:cubicBezTo>
                  <a:lnTo>
                    <a:pt x="103234" y="55284"/>
                  </a:lnTo>
                  <a:cubicBezTo>
                    <a:pt x="102952" y="55284"/>
                    <a:pt x="102670" y="55566"/>
                    <a:pt x="102388" y="55848"/>
                  </a:cubicBezTo>
                  <a:cubicBezTo>
                    <a:pt x="101824" y="55848"/>
                    <a:pt x="101542" y="56130"/>
                    <a:pt x="101542" y="56694"/>
                  </a:cubicBezTo>
                  <a:lnTo>
                    <a:pt x="101542" y="56976"/>
                  </a:lnTo>
                  <a:cubicBezTo>
                    <a:pt x="101542" y="57258"/>
                    <a:pt x="101260" y="57541"/>
                    <a:pt x="101260" y="57823"/>
                  </a:cubicBezTo>
                  <a:cubicBezTo>
                    <a:pt x="101260" y="59233"/>
                    <a:pt x="100696" y="60079"/>
                    <a:pt x="100413" y="61207"/>
                  </a:cubicBezTo>
                  <a:cubicBezTo>
                    <a:pt x="100132" y="61207"/>
                    <a:pt x="100413" y="61489"/>
                    <a:pt x="100413" y="61489"/>
                  </a:cubicBezTo>
                  <a:lnTo>
                    <a:pt x="100978" y="61489"/>
                  </a:lnTo>
                  <a:cubicBezTo>
                    <a:pt x="101260" y="61207"/>
                    <a:pt x="101824" y="60925"/>
                    <a:pt x="101824" y="60361"/>
                  </a:cubicBezTo>
                  <a:cubicBezTo>
                    <a:pt x="102106" y="59797"/>
                    <a:pt x="102388" y="59233"/>
                    <a:pt x="102952" y="59233"/>
                  </a:cubicBezTo>
                  <a:cubicBezTo>
                    <a:pt x="103516" y="59233"/>
                    <a:pt x="104080" y="59233"/>
                    <a:pt x="104363" y="58669"/>
                  </a:cubicBezTo>
                  <a:cubicBezTo>
                    <a:pt x="104644" y="58387"/>
                    <a:pt x="104644" y="58669"/>
                    <a:pt x="104644" y="58669"/>
                  </a:cubicBezTo>
                  <a:cubicBezTo>
                    <a:pt x="104644" y="59515"/>
                    <a:pt x="104644" y="60361"/>
                    <a:pt x="104080" y="60925"/>
                  </a:cubicBezTo>
                  <a:cubicBezTo>
                    <a:pt x="103799" y="61207"/>
                    <a:pt x="103234" y="61489"/>
                    <a:pt x="103234" y="61771"/>
                  </a:cubicBezTo>
                  <a:lnTo>
                    <a:pt x="104080" y="62900"/>
                  </a:lnTo>
                  <a:cubicBezTo>
                    <a:pt x="104644" y="63182"/>
                    <a:pt x="104644" y="63182"/>
                    <a:pt x="104927" y="63182"/>
                  </a:cubicBezTo>
                  <a:cubicBezTo>
                    <a:pt x="105209" y="63464"/>
                    <a:pt x="105209" y="64028"/>
                    <a:pt x="105209" y="64310"/>
                  </a:cubicBezTo>
                  <a:lnTo>
                    <a:pt x="105209" y="65156"/>
                  </a:lnTo>
                  <a:cubicBezTo>
                    <a:pt x="105209" y="65156"/>
                    <a:pt x="105209" y="65720"/>
                    <a:pt x="105491" y="65720"/>
                  </a:cubicBezTo>
                  <a:lnTo>
                    <a:pt x="107183" y="65720"/>
                  </a:lnTo>
                  <a:cubicBezTo>
                    <a:pt x="108030" y="65720"/>
                    <a:pt x="108030" y="66002"/>
                    <a:pt x="108030" y="66284"/>
                  </a:cubicBezTo>
                  <a:close/>
                  <a:moveTo>
                    <a:pt x="1410" y="105209"/>
                  </a:moveTo>
                  <a:lnTo>
                    <a:pt x="1410" y="105491"/>
                  </a:lnTo>
                  <a:lnTo>
                    <a:pt x="1692" y="105773"/>
                  </a:lnTo>
                  <a:lnTo>
                    <a:pt x="1974" y="105773"/>
                  </a:lnTo>
                  <a:cubicBezTo>
                    <a:pt x="1974" y="105491"/>
                    <a:pt x="1692" y="105209"/>
                    <a:pt x="1410" y="105209"/>
                  </a:cubicBezTo>
                  <a:close/>
                  <a:moveTo>
                    <a:pt x="18334" y="41463"/>
                  </a:moveTo>
                  <a:cubicBezTo>
                    <a:pt x="18898" y="40899"/>
                    <a:pt x="18898" y="40335"/>
                    <a:pt x="18898" y="39771"/>
                  </a:cubicBezTo>
                  <a:lnTo>
                    <a:pt x="18898" y="38924"/>
                  </a:lnTo>
                  <a:cubicBezTo>
                    <a:pt x="19180" y="38078"/>
                    <a:pt x="19744" y="37796"/>
                    <a:pt x="20308" y="36950"/>
                  </a:cubicBezTo>
                  <a:cubicBezTo>
                    <a:pt x="20591" y="36104"/>
                    <a:pt x="21155" y="35540"/>
                    <a:pt x="21155" y="34694"/>
                  </a:cubicBezTo>
                  <a:lnTo>
                    <a:pt x="21436" y="34411"/>
                  </a:lnTo>
                  <a:lnTo>
                    <a:pt x="22283" y="33283"/>
                  </a:lnTo>
                  <a:cubicBezTo>
                    <a:pt x="22565" y="31591"/>
                    <a:pt x="23411" y="29899"/>
                    <a:pt x="23975" y="28206"/>
                  </a:cubicBezTo>
                  <a:cubicBezTo>
                    <a:pt x="23975" y="27924"/>
                    <a:pt x="23693" y="27924"/>
                    <a:pt x="23693" y="27924"/>
                  </a:cubicBezTo>
                  <a:lnTo>
                    <a:pt x="23693" y="27642"/>
                  </a:lnTo>
                  <a:cubicBezTo>
                    <a:pt x="23129" y="27924"/>
                    <a:pt x="22847" y="28206"/>
                    <a:pt x="22847" y="28488"/>
                  </a:cubicBezTo>
                  <a:cubicBezTo>
                    <a:pt x="22565" y="29052"/>
                    <a:pt x="22283" y="29616"/>
                    <a:pt x="22283" y="30181"/>
                  </a:cubicBezTo>
                  <a:cubicBezTo>
                    <a:pt x="21719" y="30745"/>
                    <a:pt x="21155" y="31873"/>
                    <a:pt x="21155" y="32719"/>
                  </a:cubicBezTo>
                  <a:cubicBezTo>
                    <a:pt x="20591" y="33565"/>
                    <a:pt x="20308" y="34129"/>
                    <a:pt x="19462" y="34976"/>
                  </a:cubicBezTo>
                  <a:cubicBezTo>
                    <a:pt x="19462" y="35822"/>
                    <a:pt x="19180" y="36668"/>
                    <a:pt x="18334" y="37514"/>
                  </a:cubicBezTo>
                  <a:cubicBezTo>
                    <a:pt x="18334" y="37796"/>
                    <a:pt x="18616" y="37796"/>
                    <a:pt x="18616" y="38078"/>
                  </a:cubicBezTo>
                  <a:cubicBezTo>
                    <a:pt x="18616" y="38642"/>
                    <a:pt x="17770" y="39207"/>
                    <a:pt x="17488" y="39771"/>
                  </a:cubicBezTo>
                  <a:cubicBezTo>
                    <a:pt x="17488" y="40899"/>
                    <a:pt x="16924" y="42027"/>
                    <a:pt x="16360" y="43437"/>
                  </a:cubicBezTo>
                  <a:cubicBezTo>
                    <a:pt x="16077" y="44566"/>
                    <a:pt x="15795" y="45412"/>
                    <a:pt x="15795" y="46258"/>
                  </a:cubicBezTo>
                  <a:lnTo>
                    <a:pt x="15513" y="46540"/>
                  </a:lnTo>
                  <a:cubicBezTo>
                    <a:pt x="15513" y="46540"/>
                    <a:pt x="15513" y="46822"/>
                    <a:pt x="15795" y="46822"/>
                  </a:cubicBezTo>
                  <a:lnTo>
                    <a:pt x="16077" y="46540"/>
                  </a:lnTo>
                  <a:cubicBezTo>
                    <a:pt x="16360" y="46258"/>
                    <a:pt x="16360" y="46258"/>
                    <a:pt x="16360" y="45976"/>
                  </a:cubicBezTo>
                  <a:lnTo>
                    <a:pt x="16360" y="45412"/>
                  </a:lnTo>
                  <a:cubicBezTo>
                    <a:pt x="16360" y="44848"/>
                    <a:pt x="16641" y="44284"/>
                    <a:pt x="16924" y="44002"/>
                  </a:cubicBezTo>
                  <a:cubicBezTo>
                    <a:pt x="17488" y="43155"/>
                    <a:pt x="18052" y="42309"/>
                    <a:pt x="18334" y="41463"/>
                  </a:cubicBezTo>
                  <a:close/>
                  <a:moveTo>
                    <a:pt x="26796" y="47950"/>
                  </a:moveTo>
                  <a:cubicBezTo>
                    <a:pt x="26514" y="48232"/>
                    <a:pt x="26232" y="48797"/>
                    <a:pt x="26232" y="49643"/>
                  </a:cubicBezTo>
                  <a:lnTo>
                    <a:pt x="26232" y="50771"/>
                  </a:lnTo>
                  <a:cubicBezTo>
                    <a:pt x="27642" y="51335"/>
                    <a:pt x="28488" y="52181"/>
                    <a:pt x="29052" y="53310"/>
                  </a:cubicBezTo>
                  <a:lnTo>
                    <a:pt x="29898" y="53310"/>
                  </a:lnTo>
                  <a:cubicBezTo>
                    <a:pt x="30180" y="53310"/>
                    <a:pt x="30180" y="53028"/>
                    <a:pt x="30463" y="52745"/>
                  </a:cubicBezTo>
                  <a:cubicBezTo>
                    <a:pt x="31027" y="51899"/>
                    <a:pt x="31591" y="51053"/>
                    <a:pt x="32719" y="50207"/>
                  </a:cubicBezTo>
                  <a:cubicBezTo>
                    <a:pt x="33847" y="49079"/>
                    <a:pt x="34694" y="47950"/>
                    <a:pt x="35822" y="46258"/>
                  </a:cubicBezTo>
                  <a:cubicBezTo>
                    <a:pt x="36104" y="45976"/>
                    <a:pt x="36104" y="45412"/>
                    <a:pt x="36668" y="45130"/>
                  </a:cubicBezTo>
                  <a:lnTo>
                    <a:pt x="38078" y="43155"/>
                  </a:lnTo>
                  <a:cubicBezTo>
                    <a:pt x="38642" y="42309"/>
                    <a:pt x="38925" y="41463"/>
                    <a:pt x="39489" y="40899"/>
                  </a:cubicBezTo>
                  <a:cubicBezTo>
                    <a:pt x="39489" y="40335"/>
                    <a:pt x="39770" y="39771"/>
                    <a:pt x="40053" y="39207"/>
                  </a:cubicBezTo>
                  <a:cubicBezTo>
                    <a:pt x="40617" y="38360"/>
                    <a:pt x="41181" y="37514"/>
                    <a:pt x="42027" y="36668"/>
                  </a:cubicBezTo>
                  <a:cubicBezTo>
                    <a:pt x="42873" y="36104"/>
                    <a:pt x="42873" y="34694"/>
                    <a:pt x="43437" y="33847"/>
                  </a:cubicBezTo>
                  <a:cubicBezTo>
                    <a:pt x="43720" y="33001"/>
                    <a:pt x="43720" y="32155"/>
                    <a:pt x="43720" y="31591"/>
                  </a:cubicBezTo>
                  <a:cubicBezTo>
                    <a:pt x="44848" y="30745"/>
                    <a:pt x="44848" y="29899"/>
                    <a:pt x="44848" y="29052"/>
                  </a:cubicBezTo>
                  <a:cubicBezTo>
                    <a:pt x="45130" y="28206"/>
                    <a:pt x="45411" y="27360"/>
                    <a:pt x="45976" y="26514"/>
                  </a:cubicBezTo>
                  <a:cubicBezTo>
                    <a:pt x="46258" y="25950"/>
                    <a:pt x="46822" y="25103"/>
                    <a:pt x="46822" y="24257"/>
                  </a:cubicBezTo>
                  <a:cubicBezTo>
                    <a:pt x="46822" y="23975"/>
                    <a:pt x="46822" y="23693"/>
                    <a:pt x="46540" y="23411"/>
                  </a:cubicBezTo>
                  <a:lnTo>
                    <a:pt x="46540" y="22847"/>
                  </a:lnTo>
                  <a:cubicBezTo>
                    <a:pt x="46540" y="22283"/>
                    <a:pt x="46540" y="22283"/>
                    <a:pt x="47104" y="22283"/>
                  </a:cubicBezTo>
                  <a:lnTo>
                    <a:pt x="47668" y="22283"/>
                  </a:lnTo>
                  <a:cubicBezTo>
                    <a:pt x="47668" y="22001"/>
                    <a:pt x="47950" y="21719"/>
                    <a:pt x="47950" y="21719"/>
                  </a:cubicBezTo>
                  <a:cubicBezTo>
                    <a:pt x="47950" y="21719"/>
                    <a:pt x="47668" y="21719"/>
                    <a:pt x="47668" y="21437"/>
                  </a:cubicBezTo>
                  <a:lnTo>
                    <a:pt x="47668" y="21155"/>
                  </a:lnTo>
                  <a:cubicBezTo>
                    <a:pt x="47668" y="20873"/>
                    <a:pt x="47668" y="20873"/>
                    <a:pt x="47386" y="20873"/>
                  </a:cubicBezTo>
                  <a:cubicBezTo>
                    <a:pt x="47104" y="20873"/>
                    <a:pt x="47104" y="20590"/>
                    <a:pt x="47104" y="20308"/>
                  </a:cubicBezTo>
                  <a:cubicBezTo>
                    <a:pt x="47104" y="20026"/>
                    <a:pt x="47104" y="20026"/>
                    <a:pt x="47386" y="19744"/>
                  </a:cubicBezTo>
                  <a:cubicBezTo>
                    <a:pt x="47668" y="19462"/>
                    <a:pt x="47668" y="19180"/>
                    <a:pt x="47668" y="19180"/>
                  </a:cubicBezTo>
                  <a:lnTo>
                    <a:pt x="47104" y="18898"/>
                  </a:lnTo>
                  <a:cubicBezTo>
                    <a:pt x="47104" y="18616"/>
                    <a:pt x="46822" y="18334"/>
                    <a:pt x="47104" y="18334"/>
                  </a:cubicBezTo>
                  <a:cubicBezTo>
                    <a:pt x="47668" y="17770"/>
                    <a:pt x="47668" y="17488"/>
                    <a:pt x="47668" y="17206"/>
                  </a:cubicBezTo>
                  <a:cubicBezTo>
                    <a:pt x="47668" y="16924"/>
                    <a:pt x="47668" y="16360"/>
                    <a:pt x="47386" y="16078"/>
                  </a:cubicBezTo>
                  <a:cubicBezTo>
                    <a:pt x="47104" y="15231"/>
                    <a:pt x="47386" y="14667"/>
                    <a:pt x="46822" y="13821"/>
                  </a:cubicBezTo>
                  <a:lnTo>
                    <a:pt x="46822" y="13539"/>
                  </a:lnTo>
                  <a:cubicBezTo>
                    <a:pt x="46822" y="13257"/>
                    <a:pt x="46822" y="13257"/>
                    <a:pt x="47104" y="13257"/>
                  </a:cubicBezTo>
                  <a:cubicBezTo>
                    <a:pt x="47104" y="12975"/>
                    <a:pt x="47104" y="12975"/>
                    <a:pt x="47386" y="12975"/>
                  </a:cubicBezTo>
                  <a:cubicBezTo>
                    <a:pt x="47386" y="12975"/>
                    <a:pt x="47386" y="12693"/>
                    <a:pt x="47668" y="12411"/>
                  </a:cubicBezTo>
                  <a:lnTo>
                    <a:pt x="45976" y="12411"/>
                  </a:lnTo>
                  <a:cubicBezTo>
                    <a:pt x="45130" y="13539"/>
                    <a:pt x="44284" y="14385"/>
                    <a:pt x="43437" y="15795"/>
                  </a:cubicBezTo>
                  <a:cubicBezTo>
                    <a:pt x="43156" y="15795"/>
                    <a:pt x="43156" y="16078"/>
                    <a:pt x="43156" y="16078"/>
                  </a:cubicBezTo>
                  <a:lnTo>
                    <a:pt x="43156" y="16360"/>
                  </a:lnTo>
                  <a:cubicBezTo>
                    <a:pt x="41745" y="17770"/>
                    <a:pt x="40335" y="18898"/>
                    <a:pt x="39770" y="20590"/>
                  </a:cubicBezTo>
                  <a:lnTo>
                    <a:pt x="39489" y="20873"/>
                  </a:lnTo>
                  <a:cubicBezTo>
                    <a:pt x="38642" y="21719"/>
                    <a:pt x="37796" y="22283"/>
                    <a:pt x="37232" y="23411"/>
                  </a:cubicBezTo>
                  <a:cubicBezTo>
                    <a:pt x="36950" y="23693"/>
                    <a:pt x="36668" y="23975"/>
                    <a:pt x="36668" y="24539"/>
                  </a:cubicBezTo>
                  <a:lnTo>
                    <a:pt x="36668" y="24821"/>
                  </a:lnTo>
                  <a:cubicBezTo>
                    <a:pt x="36386" y="25668"/>
                    <a:pt x="35822" y="25950"/>
                    <a:pt x="35539" y="26514"/>
                  </a:cubicBezTo>
                  <a:cubicBezTo>
                    <a:pt x="35539" y="27078"/>
                    <a:pt x="34975" y="27642"/>
                    <a:pt x="34411" y="28206"/>
                  </a:cubicBezTo>
                  <a:cubicBezTo>
                    <a:pt x="34129" y="28206"/>
                    <a:pt x="33847" y="28770"/>
                    <a:pt x="33847" y="28770"/>
                  </a:cubicBezTo>
                  <a:cubicBezTo>
                    <a:pt x="33847" y="29616"/>
                    <a:pt x="34129" y="30181"/>
                    <a:pt x="34129" y="30463"/>
                  </a:cubicBezTo>
                  <a:cubicBezTo>
                    <a:pt x="33565" y="31027"/>
                    <a:pt x="33001" y="31591"/>
                    <a:pt x="33001" y="32155"/>
                  </a:cubicBezTo>
                  <a:lnTo>
                    <a:pt x="33001" y="33001"/>
                  </a:lnTo>
                  <a:cubicBezTo>
                    <a:pt x="32437" y="33565"/>
                    <a:pt x="32155" y="33565"/>
                    <a:pt x="32155" y="33847"/>
                  </a:cubicBezTo>
                  <a:cubicBezTo>
                    <a:pt x="31591" y="34411"/>
                    <a:pt x="31027" y="35258"/>
                    <a:pt x="31027" y="36104"/>
                  </a:cubicBezTo>
                  <a:lnTo>
                    <a:pt x="31027" y="36668"/>
                  </a:lnTo>
                  <a:cubicBezTo>
                    <a:pt x="31027" y="37232"/>
                    <a:pt x="30463" y="37514"/>
                    <a:pt x="30180" y="37796"/>
                  </a:cubicBezTo>
                  <a:lnTo>
                    <a:pt x="29052" y="38924"/>
                  </a:lnTo>
                  <a:lnTo>
                    <a:pt x="29052" y="39207"/>
                  </a:lnTo>
                  <a:cubicBezTo>
                    <a:pt x="29052" y="40899"/>
                    <a:pt x="27924" y="43437"/>
                    <a:pt x="27077" y="45412"/>
                  </a:cubicBezTo>
                  <a:lnTo>
                    <a:pt x="27077" y="47104"/>
                  </a:lnTo>
                  <a:cubicBezTo>
                    <a:pt x="27077" y="47386"/>
                    <a:pt x="27077" y="47668"/>
                    <a:pt x="26796" y="47950"/>
                  </a:cubicBezTo>
                  <a:close/>
                  <a:moveTo>
                    <a:pt x="55002" y="26796"/>
                  </a:moveTo>
                  <a:cubicBezTo>
                    <a:pt x="55284" y="26796"/>
                    <a:pt x="55566" y="26796"/>
                    <a:pt x="55566" y="26514"/>
                  </a:cubicBezTo>
                  <a:cubicBezTo>
                    <a:pt x="55848" y="26232"/>
                    <a:pt x="55848" y="25950"/>
                    <a:pt x="55848" y="25668"/>
                  </a:cubicBezTo>
                  <a:lnTo>
                    <a:pt x="55848" y="25386"/>
                  </a:lnTo>
                  <a:lnTo>
                    <a:pt x="55566" y="25103"/>
                  </a:lnTo>
                  <a:lnTo>
                    <a:pt x="55284" y="25103"/>
                  </a:lnTo>
                  <a:cubicBezTo>
                    <a:pt x="55284" y="25386"/>
                    <a:pt x="54720" y="25668"/>
                    <a:pt x="54720" y="25950"/>
                  </a:cubicBezTo>
                  <a:cubicBezTo>
                    <a:pt x="54720" y="26232"/>
                    <a:pt x="54720" y="26514"/>
                    <a:pt x="55002" y="26796"/>
                  </a:cubicBezTo>
                  <a:close/>
                  <a:moveTo>
                    <a:pt x="55002" y="12411"/>
                  </a:moveTo>
                  <a:cubicBezTo>
                    <a:pt x="55002" y="12693"/>
                    <a:pt x="55002" y="12975"/>
                    <a:pt x="55284" y="12975"/>
                  </a:cubicBezTo>
                  <a:cubicBezTo>
                    <a:pt x="55284" y="13257"/>
                    <a:pt x="55566" y="13539"/>
                    <a:pt x="55848" y="13539"/>
                  </a:cubicBezTo>
                  <a:cubicBezTo>
                    <a:pt x="56130" y="13539"/>
                    <a:pt x="56412" y="12975"/>
                    <a:pt x="56412" y="12975"/>
                  </a:cubicBezTo>
                  <a:lnTo>
                    <a:pt x="55566" y="11847"/>
                  </a:lnTo>
                  <a:lnTo>
                    <a:pt x="55284" y="11847"/>
                  </a:lnTo>
                  <a:cubicBezTo>
                    <a:pt x="55002" y="11847"/>
                    <a:pt x="55002" y="12411"/>
                    <a:pt x="55002" y="12411"/>
                  </a:cubicBezTo>
                  <a:close/>
                  <a:moveTo>
                    <a:pt x="56694" y="14667"/>
                  </a:moveTo>
                  <a:cubicBezTo>
                    <a:pt x="56130" y="14667"/>
                    <a:pt x="55848" y="14667"/>
                    <a:pt x="55566" y="14949"/>
                  </a:cubicBezTo>
                  <a:lnTo>
                    <a:pt x="55566" y="16360"/>
                  </a:lnTo>
                  <a:cubicBezTo>
                    <a:pt x="55566" y="16924"/>
                    <a:pt x="55566" y="17488"/>
                    <a:pt x="55848" y="17770"/>
                  </a:cubicBezTo>
                  <a:cubicBezTo>
                    <a:pt x="55848" y="18052"/>
                    <a:pt x="55566" y="18616"/>
                    <a:pt x="55284" y="18898"/>
                  </a:cubicBezTo>
                  <a:cubicBezTo>
                    <a:pt x="55284" y="19462"/>
                    <a:pt x="55284" y="20026"/>
                    <a:pt x="55848" y="20873"/>
                  </a:cubicBezTo>
                  <a:cubicBezTo>
                    <a:pt x="55848" y="20873"/>
                    <a:pt x="55566" y="21437"/>
                    <a:pt x="55284" y="21719"/>
                  </a:cubicBezTo>
                  <a:lnTo>
                    <a:pt x="55284" y="22283"/>
                  </a:lnTo>
                  <a:cubicBezTo>
                    <a:pt x="55284" y="22565"/>
                    <a:pt x="55284" y="22565"/>
                    <a:pt x="55566" y="22565"/>
                  </a:cubicBezTo>
                  <a:cubicBezTo>
                    <a:pt x="55566" y="22565"/>
                    <a:pt x="55848" y="22565"/>
                    <a:pt x="56130" y="22283"/>
                  </a:cubicBezTo>
                  <a:cubicBezTo>
                    <a:pt x="56412" y="22283"/>
                    <a:pt x="56976" y="22283"/>
                    <a:pt x="57259" y="22001"/>
                  </a:cubicBezTo>
                  <a:cubicBezTo>
                    <a:pt x="58669" y="21719"/>
                    <a:pt x="59233" y="20873"/>
                    <a:pt x="59233" y="19462"/>
                  </a:cubicBezTo>
                  <a:lnTo>
                    <a:pt x="59233" y="18334"/>
                  </a:lnTo>
                  <a:cubicBezTo>
                    <a:pt x="59233" y="18052"/>
                    <a:pt x="58951" y="17770"/>
                    <a:pt x="58669" y="17488"/>
                  </a:cubicBezTo>
                  <a:cubicBezTo>
                    <a:pt x="58387" y="16924"/>
                    <a:pt x="57823" y="16924"/>
                    <a:pt x="57540" y="16360"/>
                  </a:cubicBezTo>
                  <a:cubicBezTo>
                    <a:pt x="56976" y="16078"/>
                    <a:pt x="57259" y="15513"/>
                    <a:pt x="56976" y="14949"/>
                  </a:cubicBezTo>
                  <a:cubicBezTo>
                    <a:pt x="57259" y="14667"/>
                    <a:pt x="56694" y="14667"/>
                    <a:pt x="56694" y="14667"/>
                  </a:cubicBezTo>
                  <a:close/>
                  <a:moveTo>
                    <a:pt x="57823" y="15795"/>
                  </a:moveTo>
                  <a:cubicBezTo>
                    <a:pt x="58104" y="15795"/>
                    <a:pt x="58104" y="16078"/>
                    <a:pt x="58387" y="16078"/>
                  </a:cubicBezTo>
                  <a:lnTo>
                    <a:pt x="58669" y="16078"/>
                  </a:lnTo>
                  <a:lnTo>
                    <a:pt x="58669" y="15513"/>
                  </a:lnTo>
                  <a:cubicBezTo>
                    <a:pt x="58669" y="15231"/>
                    <a:pt x="58387" y="14949"/>
                    <a:pt x="58387" y="14949"/>
                  </a:cubicBezTo>
                  <a:lnTo>
                    <a:pt x="58104" y="15231"/>
                  </a:lnTo>
                  <a:cubicBezTo>
                    <a:pt x="57823" y="15513"/>
                    <a:pt x="57823" y="15795"/>
                    <a:pt x="57823" y="15795"/>
                  </a:cubicBezTo>
                  <a:close/>
                  <a:moveTo>
                    <a:pt x="58951" y="23693"/>
                  </a:moveTo>
                  <a:lnTo>
                    <a:pt x="58951" y="23975"/>
                  </a:lnTo>
                  <a:lnTo>
                    <a:pt x="59515" y="26232"/>
                  </a:lnTo>
                  <a:lnTo>
                    <a:pt x="60079" y="26232"/>
                  </a:lnTo>
                  <a:cubicBezTo>
                    <a:pt x="60361" y="25668"/>
                    <a:pt x="60643" y="25103"/>
                    <a:pt x="61207" y="24821"/>
                  </a:cubicBezTo>
                  <a:lnTo>
                    <a:pt x="60925" y="24257"/>
                  </a:lnTo>
                  <a:cubicBezTo>
                    <a:pt x="60643" y="24257"/>
                    <a:pt x="60643" y="23975"/>
                    <a:pt x="60643" y="23693"/>
                  </a:cubicBezTo>
                  <a:cubicBezTo>
                    <a:pt x="60643" y="23411"/>
                    <a:pt x="60643" y="23411"/>
                    <a:pt x="60925" y="23129"/>
                  </a:cubicBezTo>
                  <a:lnTo>
                    <a:pt x="60925" y="22847"/>
                  </a:lnTo>
                  <a:cubicBezTo>
                    <a:pt x="60643" y="22565"/>
                    <a:pt x="60361" y="22565"/>
                    <a:pt x="60079" y="22565"/>
                  </a:cubicBezTo>
                  <a:cubicBezTo>
                    <a:pt x="59515" y="22847"/>
                    <a:pt x="59515" y="23411"/>
                    <a:pt x="58951" y="23693"/>
                  </a:cubicBezTo>
                  <a:close/>
                  <a:moveTo>
                    <a:pt x="60079" y="20308"/>
                  </a:moveTo>
                  <a:lnTo>
                    <a:pt x="60079" y="21437"/>
                  </a:lnTo>
                  <a:cubicBezTo>
                    <a:pt x="60079" y="21719"/>
                    <a:pt x="60361" y="21719"/>
                    <a:pt x="60361" y="21719"/>
                  </a:cubicBezTo>
                  <a:cubicBezTo>
                    <a:pt x="61207" y="21155"/>
                    <a:pt x="61207" y="20873"/>
                    <a:pt x="61771" y="20308"/>
                  </a:cubicBezTo>
                  <a:lnTo>
                    <a:pt x="61771" y="20026"/>
                  </a:lnTo>
                  <a:cubicBezTo>
                    <a:pt x="61490" y="19744"/>
                    <a:pt x="61207" y="19180"/>
                    <a:pt x="60643" y="18898"/>
                  </a:cubicBezTo>
                  <a:lnTo>
                    <a:pt x="60361" y="18898"/>
                  </a:lnTo>
                  <a:cubicBezTo>
                    <a:pt x="60361" y="19462"/>
                    <a:pt x="60079" y="20026"/>
                    <a:pt x="60079" y="20308"/>
                  </a:cubicBezTo>
                  <a:close/>
                  <a:moveTo>
                    <a:pt x="72772" y="107183"/>
                  </a:moveTo>
                  <a:cubicBezTo>
                    <a:pt x="72490" y="106901"/>
                    <a:pt x="72490" y="106901"/>
                    <a:pt x="72490" y="106619"/>
                  </a:cubicBezTo>
                  <a:lnTo>
                    <a:pt x="71926" y="106619"/>
                  </a:lnTo>
                  <a:cubicBezTo>
                    <a:pt x="71926" y="106619"/>
                    <a:pt x="71643" y="106901"/>
                    <a:pt x="71643" y="107183"/>
                  </a:cubicBezTo>
                  <a:cubicBezTo>
                    <a:pt x="71643" y="107183"/>
                    <a:pt x="71643" y="107465"/>
                    <a:pt x="72207" y="107465"/>
                  </a:cubicBezTo>
                  <a:lnTo>
                    <a:pt x="72490" y="107465"/>
                  </a:lnTo>
                  <a:cubicBezTo>
                    <a:pt x="72490" y="107183"/>
                    <a:pt x="72772" y="107183"/>
                    <a:pt x="72772" y="107183"/>
                  </a:cubicBezTo>
                  <a:close/>
                  <a:moveTo>
                    <a:pt x="78977" y="105773"/>
                  </a:moveTo>
                  <a:cubicBezTo>
                    <a:pt x="78977" y="105773"/>
                    <a:pt x="78977" y="106055"/>
                    <a:pt x="78695" y="106055"/>
                  </a:cubicBezTo>
                  <a:cubicBezTo>
                    <a:pt x="78695" y="106055"/>
                    <a:pt x="78413" y="106055"/>
                    <a:pt x="78413" y="105773"/>
                  </a:cubicBezTo>
                  <a:cubicBezTo>
                    <a:pt x="78413" y="105773"/>
                    <a:pt x="78695" y="105773"/>
                    <a:pt x="78695" y="105491"/>
                  </a:cubicBezTo>
                  <a:cubicBezTo>
                    <a:pt x="78977" y="105491"/>
                    <a:pt x="78977" y="105773"/>
                    <a:pt x="78977" y="105773"/>
                  </a:cubicBezTo>
                  <a:close/>
                  <a:moveTo>
                    <a:pt x="94491" y="89413"/>
                  </a:moveTo>
                  <a:lnTo>
                    <a:pt x="93080" y="90824"/>
                  </a:lnTo>
                  <a:cubicBezTo>
                    <a:pt x="92798" y="91106"/>
                    <a:pt x="92798" y="91388"/>
                    <a:pt x="92516" y="91388"/>
                  </a:cubicBezTo>
                  <a:cubicBezTo>
                    <a:pt x="92234" y="91388"/>
                    <a:pt x="92234" y="91106"/>
                    <a:pt x="92234" y="90824"/>
                  </a:cubicBezTo>
                  <a:cubicBezTo>
                    <a:pt x="92234" y="90260"/>
                    <a:pt x="91952" y="89978"/>
                    <a:pt x="91388" y="89978"/>
                  </a:cubicBezTo>
                  <a:cubicBezTo>
                    <a:pt x="91106" y="89978"/>
                    <a:pt x="90824" y="89978"/>
                    <a:pt x="90824" y="89413"/>
                  </a:cubicBezTo>
                  <a:lnTo>
                    <a:pt x="90824" y="88849"/>
                  </a:lnTo>
                  <a:cubicBezTo>
                    <a:pt x="91106" y="88567"/>
                    <a:pt x="91670" y="88567"/>
                    <a:pt x="92234" y="88003"/>
                  </a:cubicBezTo>
                  <a:cubicBezTo>
                    <a:pt x="92234" y="88003"/>
                    <a:pt x="92516" y="88003"/>
                    <a:pt x="92516" y="88285"/>
                  </a:cubicBezTo>
                  <a:cubicBezTo>
                    <a:pt x="93080" y="88849"/>
                    <a:pt x="93362" y="88849"/>
                    <a:pt x="93927" y="88849"/>
                  </a:cubicBezTo>
                  <a:cubicBezTo>
                    <a:pt x="94208" y="89131"/>
                    <a:pt x="94491" y="89131"/>
                    <a:pt x="94491" y="89413"/>
                  </a:cubicBezTo>
                  <a:close/>
                  <a:moveTo>
                    <a:pt x="96183" y="83772"/>
                  </a:moveTo>
                  <a:lnTo>
                    <a:pt x="96183" y="84054"/>
                  </a:lnTo>
                  <a:cubicBezTo>
                    <a:pt x="96183" y="84900"/>
                    <a:pt x="95337" y="85747"/>
                    <a:pt x="94491" y="85747"/>
                  </a:cubicBezTo>
                  <a:lnTo>
                    <a:pt x="94208" y="85747"/>
                  </a:lnTo>
                  <a:lnTo>
                    <a:pt x="93927" y="85465"/>
                  </a:lnTo>
                  <a:cubicBezTo>
                    <a:pt x="93927" y="85465"/>
                    <a:pt x="93927" y="84900"/>
                    <a:pt x="94208" y="84900"/>
                  </a:cubicBezTo>
                  <a:cubicBezTo>
                    <a:pt x="94772" y="84900"/>
                    <a:pt x="95055" y="84618"/>
                    <a:pt x="95055" y="84054"/>
                  </a:cubicBezTo>
                  <a:lnTo>
                    <a:pt x="95055" y="83490"/>
                  </a:lnTo>
                  <a:lnTo>
                    <a:pt x="95337" y="83490"/>
                  </a:lnTo>
                  <a:cubicBezTo>
                    <a:pt x="95619" y="83490"/>
                    <a:pt x="95901" y="83490"/>
                    <a:pt x="96183" y="83772"/>
                  </a:cubicBezTo>
                  <a:close/>
                  <a:moveTo>
                    <a:pt x="102670" y="79259"/>
                  </a:moveTo>
                  <a:cubicBezTo>
                    <a:pt x="102670" y="78977"/>
                    <a:pt x="102952" y="78977"/>
                    <a:pt x="103234" y="78977"/>
                  </a:cubicBezTo>
                  <a:cubicBezTo>
                    <a:pt x="102952" y="79541"/>
                    <a:pt x="102388" y="80105"/>
                    <a:pt x="102388" y="80952"/>
                  </a:cubicBezTo>
                  <a:cubicBezTo>
                    <a:pt x="102106" y="81234"/>
                    <a:pt x="101824" y="81516"/>
                    <a:pt x="101824" y="81234"/>
                  </a:cubicBezTo>
                  <a:lnTo>
                    <a:pt x="101824" y="80387"/>
                  </a:lnTo>
                  <a:cubicBezTo>
                    <a:pt x="101824" y="80105"/>
                    <a:pt x="101824" y="79541"/>
                    <a:pt x="102670" y="79259"/>
                  </a:cubicBezTo>
                  <a:close/>
                  <a:moveTo>
                    <a:pt x="103516" y="64874"/>
                  </a:moveTo>
                  <a:cubicBezTo>
                    <a:pt x="103234" y="64592"/>
                    <a:pt x="103234" y="64310"/>
                    <a:pt x="103234" y="63746"/>
                  </a:cubicBezTo>
                  <a:lnTo>
                    <a:pt x="102952" y="63746"/>
                  </a:lnTo>
                  <a:lnTo>
                    <a:pt x="102952" y="64310"/>
                  </a:lnTo>
                  <a:cubicBezTo>
                    <a:pt x="102952" y="64310"/>
                    <a:pt x="102952" y="64592"/>
                    <a:pt x="103234" y="64874"/>
                  </a:cubicBezTo>
                  <a:lnTo>
                    <a:pt x="103234" y="65156"/>
                  </a:lnTo>
                  <a:cubicBezTo>
                    <a:pt x="103516" y="65156"/>
                    <a:pt x="103516" y="64874"/>
                    <a:pt x="103516" y="64874"/>
                  </a:cubicBezTo>
                  <a:close/>
                  <a:moveTo>
                    <a:pt x="104644" y="56976"/>
                  </a:moveTo>
                  <a:lnTo>
                    <a:pt x="104644" y="57258"/>
                  </a:lnTo>
                  <a:cubicBezTo>
                    <a:pt x="104363" y="57823"/>
                    <a:pt x="104080" y="57823"/>
                    <a:pt x="103516" y="58105"/>
                  </a:cubicBezTo>
                  <a:cubicBezTo>
                    <a:pt x="103516" y="57823"/>
                    <a:pt x="103234" y="57823"/>
                    <a:pt x="103234" y="57823"/>
                  </a:cubicBezTo>
                  <a:lnTo>
                    <a:pt x="103234" y="57541"/>
                  </a:lnTo>
                  <a:lnTo>
                    <a:pt x="104080" y="56694"/>
                  </a:lnTo>
                  <a:cubicBezTo>
                    <a:pt x="103799" y="56412"/>
                    <a:pt x="104363" y="56694"/>
                    <a:pt x="104644" y="56976"/>
                  </a:cubicBezTo>
                  <a:close/>
                  <a:moveTo>
                    <a:pt x="110004" y="60361"/>
                  </a:moveTo>
                  <a:lnTo>
                    <a:pt x="110004" y="60643"/>
                  </a:lnTo>
                  <a:lnTo>
                    <a:pt x="109440" y="62336"/>
                  </a:lnTo>
                  <a:cubicBezTo>
                    <a:pt x="109158" y="62618"/>
                    <a:pt x="109158" y="63182"/>
                    <a:pt x="109158" y="63182"/>
                  </a:cubicBezTo>
                  <a:cubicBezTo>
                    <a:pt x="108875" y="63746"/>
                    <a:pt x="108875" y="63746"/>
                    <a:pt x="108875" y="64028"/>
                  </a:cubicBezTo>
                  <a:cubicBezTo>
                    <a:pt x="108875" y="64592"/>
                    <a:pt x="108875" y="64874"/>
                    <a:pt x="108030" y="64874"/>
                  </a:cubicBezTo>
                  <a:cubicBezTo>
                    <a:pt x="107747" y="64874"/>
                    <a:pt x="106901" y="64310"/>
                    <a:pt x="107183" y="64028"/>
                  </a:cubicBezTo>
                  <a:cubicBezTo>
                    <a:pt x="108030" y="63182"/>
                    <a:pt x="108030" y="62336"/>
                    <a:pt x="108030" y="61771"/>
                  </a:cubicBezTo>
                  <a:lnTo>
                    <a:pt x="108030" y="60925"/>
                  </a:lnTo>
                  <a:cubicBezTo>
                    <a:pt x="108030" y="60643"/>
                    <a:pt x="108030" y="60079"/>
                    <a:pt x="108311" y="59797"/>
                  </a:cubicBezTo>
                  <a:cubicBezTo>
                    <a:pt x="108311" y="58951"/>
                    <a:pt x="108594" y="58105"/>
                    <a:pt x="109158" y="57541"/>
                  </a:cubicBezTo>
                  <a:lnTo>
                    <a:pt x="109158" y="56976"/>
                  </a:lnTo>
                  <a:cubicBezTo>
                    <a:pt x="109158" y="56694"/>
                    <a:pt x="109158" y="56412"/>
                    <a:pt x="109440" y="56412"/>
                  </a:cubicBezTo>
                  <a:cubicBezTo>
                    <a:pt x="109440" y="56130"/>
                    <a:pt x="109722" y="56412"/>
                    <a:pt x="109722" y="56412"/>
                  </a:cubicBezTo>
                  <a:lnTo>
                    <a:pt x="110004" y="56412"/>
                  </a:lnTo>
                  <a:cubicBezTo>
                    <a:pt x="110004" y="56694"/>
                    <a:pt x="110286" y="56976"/>
                    <a:pt x="110286" y="56976"/>
                  </a:cubicBezTo>
                  <a:cubicBezTo>
                    <a:pt x="110286" y="57258"/>
                    <a:pt x="110004" y="57258"/>
                    <a:pt x="110004" y="57258"/>
                  </a:cubicBezTo>
                  <a:cubicBezTo>
                    <a:pt x="110004" y="57541"/>
                    <a:pt x="109722" y="57823"/>
                    <a:pt x="109440" y="58387"/>
                  </a:cubicBezTo>
                  <a:cubicBezTo>
                    <a:pt x="109440" y="58669"/>
                    <a:pt x="109158" y="58669"/>
                    <a:pt x="109158" y="58951"/>
                  </a:cubicBezTo>
                  <a:cubicBezTo>
                    <a:pt x="109158" y="59233"/>
                    <a:pt x="109440" y="59233"/>
                    <a:pt x="109722" y="59515"/>
                  </a:cubicBezTo>
                  <a:cubicBezTo>
                    <a:pt x="110004" y="59797"/>
                    <a:pt x="110004" y="60079"/>
                    <a:pt x="110004" y="60361"/>
                  </a:cubicBezTo>
                  <a:close/>
                  <a:moveTo>
                    <a:pt x="107183" y="40335"/>
                  </a:moveTo>
                  <a:cubicBezTo>
                    <a:pt x="107183" y="40053"/>
                    <a:pt x="107465" y="39489"/>
                    <a:pt x="107747" y="39489"/>
                  </a:cubicBezTo>
                  <a:lnTo>
                    <a:pt x="109158" y="39489"/>
                  </a:lnTo>
                  <a:cubicBezTo>
                    <a:pt x="108875" y="39771"/>
                    <a:pt x="108875" y="40053"/>
                    <a:pt x="108875" y="40335"/>
                  </a:cubicBezTo>
                  <a:cubicBezTo>
                    <a:pt x="109158" y="40335"/>
                    <a:pt x="109158" y="40335"/>
                    <a:pt x="109158" y="40617"/>
                  </a:cubicBezTo>
                  <a:cubicBezTo>
                    <a:pt x="109158" y="40899"/>
                    <a:pt x="108875" y="41181"/>
                    <a:pt x="108594" y="41181"/>
                  </a:cubicBezTo>
                  <a:cubicBezTo>
                    <a:pt x="108030" y="41181"/>
                    <a:pt x="107747" y="40899"/>
                    <a:pt x="107183" y="40335"/>
                  </a:cubicBezTo>
                  <a:close/>
                  <a:moveTo>
                    <a:pt x="110568" y="68823"/>
                  </a:moveTo>
                  <a:cubicBezTo>
                    <a:pt x="110568" y="69105"/>
                    <a:pt x="110004" y="69669"/>
                    <a:pt x="109722" y="69669"/>
                  </a:cubicBezTo>
                  <a:cubicBezTo>
                    <a:pt x="109722" y="69105"/>
                    <a:pt x="110004" y="68823"/>
                    <a:pt x="110286" y="68259"/>
                  </a:cubicBezTo>
                  <a:lnTo>
                    <a:pt x="110568" y="68541"/>
                  </a:lnTo>
                  <a:lnTo>
                    <a:pt x="110568" y="68823"/>
                  </a:lnTo>
                  <a:close/>
                  <a:moveTo>
                    <a:pt x="112261" y="65156"/>
                  </a:moveTo>
                  <a:cubicBezTo>
                    <a:pt x="111978" y="64874"/>
                    <a:pt x="111978" y="64592"/>
                    <a:pt x="111978" y="64310"/>
                  </a:cubicBezTo>
                  <a:cubicBezTo>
                    <a:pt x="111978" y="64028"/>
                    <a:pt x="111978" y="63746"/>
                    <a:pt x="112261" y="63746"/>
                  </a:cubicBezTo>
                  <a:cubicBezTo>
                    <a:pt x="112261" y="63464"/>
                    <a:pt x="112542" y="63464"/>
                    <a:pt x="112542" y="63464"/>
                  </a:cubicBezTo>
                  <a:cubicBezTo>
                    <a:pt x="112825" y="63464"/>
                    <a:pt x="112825" y="63746"/>
                    <a:pt x="112825" y="63746"/>
                  </a:cubicBezTo>
                  <a:cubicBezTo>
                    <a:pt x="112825" y="64310"/>
                    <a:pt x="112825" y="64874"/>
                    <a:pt x="112261" y="65156"/>
                  </a:cubicBezTo>
                  <a:cubicBezTo>
                    <a:pt x="112261" y="65438"/>
                    <a:pt x="112261" y="65438"/>
                    <a:pt x="111978" y="65438"/>
                  </a:cubicBezTo>
                  <a:cubicBezTo>
                    <a:pt x="111978" y="65156"/>
                    <a:pt x="111978" y="65156"/>
                    <a:pt x="112261" y="65156"/>
                  </a:cubicBezTo>
                  <a:close/>
                </a:path>
              </a:pathLst>
            </a:custGeom>
            <a:solidFill>
              <a:srgbClr val="000000"/>
            </a:solidFill>
            <a:ln w="5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  <p:sp>
        <p:nvSpPr>
          <p:cNvPr id="58" name="Title 2">
            <a:extLst>
              <a:ext uri="{FF2B5EF4-FFF2-40B4-BE49-F238E27FC236}">
                <a16:creationId xmlns:a16="http://schemas.microsoft.com/office/drawing/2014/main" id="{BF3D3DDA-48CF-4961-88C8-F90AD828358D}"/>
              </a:ext>
            </a:extLst>
          </p:cNvPr>
          <p:cNvSpPr txBox="1">
            <a:spLocks/>
          </p:cNvSpPr>
          <p:nvPr/>
        </p:nvSpPr>
        <p:spPr>
          <a:xfrm>
            <a:off x="888683" y="1850627"/>
            <a:ext cx="5842800" cy="22248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74295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6500" kern="1200" cap="all" baseline="0">
                <a:solidFill>
                  <a:srgbClr val="F8F5E7"/>
                </a:solidFill>
                <a:latin typeface="Impact" panose="020B0806030902050204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0"/>
              </a:spcAft>
              <a:buFontTx/>
            </a:pPr>
            <a:r>
              <a:rPr lang="da-DK" sz="2000" cap="none" dirty="0">
                <a:solidFill>
                  <a:srgbClr val="9A6E3A"/>
                </a:solidFill>
              </a:rPr>
              <a:t>Customer </a:t>
            </a:r>
            <a:r>
              <a:rPr lang="da-DK" sz="2000" cap="none" dirty="0" err="1">
                <a:solidFill>
                  <a:srgbClr val="9A6E3A"/>
                </a:solidFill>
              </a:rPr>
              <a:t>involvement</a:t>
            </a: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r>
              <a:rPr lang="da-DK" sz="2000" cap="none" dirty="0" err="1">
                <a:solidFill>
                  <a:srgbClr val="9A6E3A"/>
                </a:solidFill>
              </a:rPr>
              <a:t>Incremental</a:t>
            </a:r>
            <a:r>
              <a:rPr lang="da-DK" sz="2000" cap="none" dirty="0">
                <a:solidFill>
                  <a:srgbClr val="9A6E3A"/>
                </a:solidFill>
              </a:rPr>
              <a:t> </a:t>
            </a:r>
            <a:r>
              <a:rPr lang="da-DK" sz="2000" cap="none" dirty="0" err="1">
                <a:solidFill>
                  <a:srgbClr val="9A6E3A"/>
                </a:solidFill>
              </a:rPr>
              <a:t>delivery</a:t>
            </a: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r>
              <a:rPr lang="da-DK" sz="2000" cap="none" dirty="0">
                <a:solidFill>
                  <a:srgbClr val="9A6E3A"/>
                </a:solidFill>
              </a:rPr>
              <a:t>People not </a:t>
            </a:r>
            <a:r>
              <a:rPr lang="da-DK" sz="2000" cap="none" dirty="0" err="1">
                <a:solidFill>
                  <a:srgbClr val="9A6E3A"/>
                </a:solidFill>
              </a:rPr>
              <a:t>process</a:t>
            </a: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r>
              <a:rPr lang="da-DK" sz="2000" cap="none" dirty="0" err="1">
                <a:solidFill>
                  <a:srgbClr val="9A6E3A"/>
                </a:solidFill>
              </a:rPr>
              <a:t>Embrace</a:t>
            </a:r>
            <a:r>
              <a:rPr lang="da-DK" sz="2000" cap="none" dirty="0">
                <a:solidFill>
                  <a:srgbClr val="9A6E3A"/>
                </a:solidFill>
              </a:rPr>
              <a:t> </a:t>
            </a:r>
            <a:r>
              <a:rPr lang="da-DK" sz="2000" cap="none" dirty="0" err="1">
                <a:solidFill>
                  <a:srgbClr val="9A6E3A"/>
                </a:solidFill>
              </a:rPr>
              <a:t>change</a:t>
            </a: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r>
              <a:rPr lang="da-DK" sz="2000" cap="none" dirty="0" err="1">
                <a:solidFill>
                  <a:srgbClr val="9A6E3A"/>
                </a:solidFill>
              </a:rPr>
              <a:t>Maintain</a:t>
            </a:r>
            <a:r>
              <a:rPr lang="da-DK" sz="2000" cap="none" dirty="0">
                <a:solidFill>
                  <a:srgbClr val="9A6E3A"/>
                </a:solidFill>
              </a:rPr>
              <a:t> </a:t>
            </a:r>
            <a:r>
              <a:rPr lang="da-DK" sz="2000" cap="none" dirty="0" err="1">
                <a:solidFill>
                  <a:srgbClr val="9A6E3A"/>
                </a:solidFill>
              </a:rPr>
              <a:t>simplicity</a:t>
            </a: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endParaRPr lang="da-DK" sz="2000" cap="none" dirty="0">
              <a:solidFill>
                <a:srgbClr val="9A6E3A"/>
              </a:solidFill>
            </a:endParaRPr>
          </a:p>
          <a:p>
            <a:pPr>
              <a:spcAft>
                <a:spcPts val="0"/>
              </a:spcAft>
              <a:buFontTx/>
            </a:pPr>
            <a:endParaRPr lang="da-DK" sz="2400" cap="none" dirty="0">
              <a:solidFill>
                <a:srgbClr val="9A6E3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3092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B83D7A1-35EE-41FC-ACD6-598F6B160E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B83D7A1-35EE-41FC-ACD6-598F6B160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AAD318-25EA-460C-9025-27ED462392E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83000"/>
              </a:lnSpc>
              <a:spcBef>
                <a:spcPct val="0"/>
              </a:spcBef>
              <a:spcAft>
                <a:spcPct val="0"/>
              </a:spcAft>
            </a:pPr>
            <a:endParaRPr lang="da-DK" sz="6500" noProof="0" dirty="0" err="1">
              <a:solidFill>
                <a:srgbClr val="2F363B"/>
              </a:solidFill>
              <a:latin typeface="Impact" panose="020B0806030902050204" pitchFamily="34" charset="0"/>
              <a:ea typeface="+mj-ea"/>
              <a:cs typeface="+mj-cs"/>
              <a:sym typeface="Impact" panose="020B080603090205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8FD43C-4295-4CEE-AC00-71CA20D17B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1222" y="1920446"/>
            <a:ext cx="7483352" cy="2224886"/>
          </a:xfrm>
        </p:spPr>
        <p:txBody>
          <a:bodyPr/>
          <a:lstStyle/>
          <a:p>
            <a:r>
              <a:rPr lang="da-DK" dirty="0"/>
              <a:t>A </a:t>
            </a:r>
            <a:r>
              <a:rPr lang="da-DK" dirty="0" err="1"/>
              <a:t>Generic</a:t>
            </a:r>
            <a:br>
              <a:rPr lang="da-DK" dirty="0"/>
            </a:br>
            <a:r>
              <a:rPr lang="da-DK" dirty="0"/>
              <a:t>Game </a:t>
            </a:r>
            <a:r>
              <a:rPr lang="da-DK" dirty="0" err="1"/>
              <a:t>entity</a:t>
            </a:r>
            <a:r>
              <a:rPr lang="da-DK" dirty="0"/>
              <a:t> manager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9311F0-821A-4AAC-BDE9-AA253B2BFD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4EBB27-4B6C-4A1A-B488-3E5D35BB8C43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790861-E968-43BB-932B-A867BD494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258545A-D17C-4782-84C3-353DE1415C4F}"/>
              </a:ext>
            </a:extLst>
          </p:cNvPr>
          <p:cNvSpPr/>
          <p:nvPr/>
        </p:nvSpPr>
        <p:spPr>
          <a:xfrm>
            <a:off x="9191625" y="190500"/>
            <a:ext cx="600075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576BB51-FDF6-4A0B-BEF5-116339DDC56F}"/>
              </a:ext>
            </a:extLst>
          </p:cNvPr>
          <p:cNvSpPr/>
          <p:nvPr/>
        </p:nvSpPr>
        <p:spPr>
          <a:xfrm>
            <a:off x="8933657" y="5257800"/>
            <a:ext cx="702344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16DF48A-3F85-4373-9319-44BAFFA12CBB}"/>
              </a:ext>
            </a:extLst>
          </p:cNvPr>
          <p:cNvSpPr/>
          <p:nvPr/>
        </p:nvSpPr>
        <p:spPr>
          <a:xfrm>
            <a:off x="7167210" y="1190014"/>
            <a:ext cx="1865874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445639D-A0E1-4DA0-A7E0-1532F4BF08CF}"/>
              </a:ext>
            </a:extLst>
          </p:cNvPr>
          <p:cNvGrpSpPr/>
          <p:nvPr/>
        </p:nvGrpSpPr>
        <p:grpSpPr>
          <a:xfrm>
            <a:off x="7307867" y="1577885"/>
            <a:ext cx="1244033" cy="1049547"/>
            <a:chOff x="6100" y="3115046"/>
            <a:chExt cx="897156" cy="620832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431C786-5957-44AE-9F28-183B74E9DEBB}"/>
                </a:ext>
              </a:extLst>
            </p:cNvPr>
            <p:cNvSpPr/>
            <p:nvPr/>
          </p:nvSpPr>
          <p:spPr>
            <a:xfrm>
              <a:off x="140599" y="3142250"/>
              <a:ext cx="237890" cy="317187"/>
            </a:xfrm>
            <a:custGeom>
              <a:avLst/>
              <a:gdLst>
                <a:gd name="connsiteX0" fmla="*/ 0 w 237890"/>
                <a:gd name="connsiteY0" fmla="*/ 0 h 317187"/>
                <a:gd name="connsiteX1" fmla="*/ 242709 w 237890"/>
                <a:gd name="connsiteY1" fmla="*/ 0 h 317187"/>
                <a:gd name="connsiteX2" fmla="*/ 242709 w 237890"/>
                <a:gd name="connsiteY2" fmla="*/ 321701 h 317187"/>
                <a:gd name="connsiteX3" fmla="*/ 0 w 237890"/>
                <a:gd name="connsiteY3" fmla="*/ 321701 h 317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7890" h="317187">
                  <a:moveTo>
                    <a:pt x="0" y="0"/>
                  </a:moveTo>
                  <a:lnTo>
                    <a:pt x="242709" y="0"/>
                  </a:lnTo>
                  <a:lnTo>
                    <a:pt x="242709" y="321701"/>
                  </a:lnTo>
                  <a:lnTo>
                    <a:pt x="0" y="321701"/>
                  </a:lnTo>
                  <a:close/>
                </a:path>
              </a:pathLst>
            </a:custGeom>
            <a:solidFill>
              <a:schemeClr val="accent2"/>
            </a:solidFill>
            <a:ln w="6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>
                <a:solidFill>
                  <a:srgbClr val="FF0000"/>
                </a:solidFill>
              </a:endParaRP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3E762655-1F95-44DE-843B-1F328DEE3485}"/>
                </a:ext>
              </a:extLst>
            </p:cNvPr>
            <p:cNvGrpSpPr/>
            <p:nvPr/>
          </p:nvGrpSpPr>
          <p:grpSpPr>
            <a:xfrm>
              <a:off x="6100" y="3115046"/>
              <a:ext cx="897156" cy="620832"/>
              <a:chOff x="6100" y="3115046"/>
              <a:chExt cx="897156" cy="620832"/>
            </a:xfrm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FAD2E603-BC7B-4D59-B421-09BDA19FA21D}"/>
                  </a:ext>
                </a:extLst>
              </p:cNvPr>
              <p:cNvSpPr/>
              <p:nvPr/>
            </p:nvSpPr>
            <p:spPr>
              <a:xfrm>
                <a:off x="182017" y="3115046"/>
                <a:ext cx="231791" cy="317187"/>
              </a:xfrm>
              <a:custGeom>
                <a:avLst/>
                <a:gdLst>
                  <a:gd name="connsiteX0" fmla="*/ 187323 w 231790"/>
                  <a:gd name="connsiteY0" fmla="*/ 0 h 317187"/>
                  <a:gd name="connsiteX1" fmla="*/ 0 w 231790"/>
                  <a:gd name="connsiteY1" fmla="*/ 0 h 317187"/>
                  <a:gd name="connsiteX2" fmla="*/ 0 w 231790"/>
                  <a:gd name="connsiteY2" fmla="*/ 321701 h 317187"/>
                  <a:gd name="connsiteX3" fmla="*/ 236914 w 231790"/>
                  <a:gd name="connsiteY3" fmla="*/ 321701 h 317187"/>
                  <a:gd name="connsiteX4" fmla="*/ 236914 w 231790"/>
                  <a:gd name="connsiteY4" fmla="*/ 272476 h 317187"/>
                  <a:gd name="connsiteX5" fmla="*/ 236914 w 231790"/>
                  <a:gd name="connsiteY5" fmla="*/ 0 h 317187"/>
                  <a:gd name="connsiteX6" fmla="*/ 189458 w 231790"/>
                  <a:gd name="connsiteY6" fmla="*/ 0 h 317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1790" h="317187">
                    <a:moveTo>
                      <a:pt x="187323" y="0"/>
                    </a:moveTo>
                    <a:lnTo>
                      <a:pt x="0" y="0"/>
                    </a:lnTo>
                    <a:lnTo>
                      <a:pt x="0" y="321701"/>
                    </a:lnTo>
                    <a:lnTo>
                      <a:pt x="236914" y="321701"/>
                    </a:lnTo>
                    <a:lnTo>
                      <a:pt x="236914" y="272476"/>
                    </a:lnTo>
                    <a:lnTo>
                      <a:pt x="236914" y="0"/>
                    </a:lnTo>
                    <a:lnTo>
                      <a:pt x="189458" y="0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92F137A1-D419-406E-BAEB-C93F5DB151F3}"/>
                  </a:ext>
                </a:extLst>
              </p:cNvPr>
              <p:cNvSpPr/>
              <p:nvPr/>
            </p:nvSpPr>
            <p:spPr>
              <a:xfrm>
                <a:off x="6100" y="3385448"/>
                <a:ext cx="24399" cy="237890"/>
              </a:xfrm>
              <a:custGeom>
                <a:avLst/>
                <a:gdLst>
                  <a:gd name="connsiteX0" fmla="*/ 0 w 24399"/>
                  <a:gd name="connsiteY0" fmla="*/ 239964 h 237890"/>
                  <a:gd name="connsiteX1" fmla="*/ 28364 w 24399"/>
                  <a:gd name="connsiteY1" fmla="*/ 0 h 237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399" h="237890">
                    <a:moveTo>
                      <a:pt x="0" y="239964"/>
                    </a:moveTo>
                    <a:lnTo>
                      <a:pt x="28364" y="0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6758200B-1797-4086-83E5-15D4769EDAD9}"/>
                  </a:ext>
                </a:extLst>
              </p:cNvPr>
              <p:cNvSpPr/>
              <p:nvPr/>
            </p:nvSpPr>
            <p:spPr>
              <a:xfrm>
                <a:off x="125411" y="3303101"/>
                <a:ext cx="12200" cy="317187"/>
              </a:xfrm>
              <a:custGeom>
                <a:avLst/>
                <a:gdLst>
                  <a:gd name="connsiteX0" fmla="*/ 0 w 12199"/>
                  <a:gd name="connsiteY0" fmla="*/ 321457 h 317187"/>
                  <a:gd name="connsiteX1" fmla="*/ 18177 w 12199"/>
                  <a:gd name="connsiteY1" fmla="*/ 68622 h 317187"/>
                  <a:gd name="connsiteX2" fmla="*/ 15127 w 12199"/>
                  <a:gd name="connsiteY2" fmla="*/ 0 h 317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199" h="317187">
                    <a:moveTo>
                      <a:pt x="0" y="321457"/>
                    </a:moveTo>
                    <a:lnTo>
                      <a:pt x="18177" y="68622"/>
                    </a:lnTo>
                    <a:lnTo>
                      <a:pt x="15127" y="0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CBAC7AF2-500B-4D22-892D-E02D4364FE40}"/>
                  </a:ext>
                </a:extLst>
              </p:cNvPr>
              <p:cNvSpPr/>
              <p:nvPr/>
            </p:nvSpPr>
            <p:spPr>
              <a:xfrm>
                <a:off x="38123" y="3421314"/>
                <a:ext cx="48798" cy="201292"/>
              </a:xfrm>
              <a:custGeom>
                <a:avLst/>
                <a:gdLst>
                  <a:gd name="connsiteX0" fmla="*/ 51421 w 48798"/>
                  <a:gd name="connsiteY0" fmla="*/ 204098 h 201291"/>
                  <a:gd name="connsiteX1" fmla="*/ 51421 w 48798"/>
                  <a:gd name="connsiteY1" fmla="*/ 0 h 201291"/>
                  <a:gd name="connsiteX2" fmla="*/ 0 w 48798"/>
                  <a:gd name="connsiteY2" fmla="*/ 204098 h 201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798" h="201291">
                    <a:moveTo>
                      <a:pt x="51421" y="204098"/>
                    </a:moveTo>
                    <a:lnTo>
                      <a:pt x="51421" y="0"/>
                    </a:lnTo>
                    <a:lnTo>
                      <a:pt x="0" y="204098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54014AAD-C70F-4EE2-A51E-7A08AE010338}"/>
                  </a:ext>
                </a:extLst>
              </p:cNvPr>
              <p:cNvSpPr/>
              <p:nvPr/>
            </p:nvSpPr>
            <p:spPr>
              <a:xfrm>
                <a:off x="60654" y="3126065"/>
                <a:ext cx="73197" cy="91496"/>
              </a:xfrm>
              <a:custGeom>
                <a:avLst/>
                <a:gdLst>
                  <a:gd name="connsiteX0" fmla="*/ 40297 w 73197"/>
                  <a:gd name="connsiteY0" fmla="*/ 97251 h 91496"/>
                  <a:gd name="connsiteX1" fmla="*/ 73663 w 73197"/>
                  <a:gd name="connsiteY1" fmla="*/ 55956 h 91496"/>
                  <a:gd name="connsiteX2" fmla="*/ 45543 w 73197"/>
                  <a:gd name="connsiteY2" fmla="*/ 692 h 91496"/>
                  <a:gd name="connsiteX3" fmla="*/ 283 w 73197"/>
                  <a:gd name="connsiteY3" fmla="*/ 43085 h 91496"/>
                  <a:gd name="connsiteX4" fmla="*/ 1991 w 73197"/>
                  <a:gd name="connsiteY4" fmla="*/ 67179 h 91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197" h="91496">
                    <a:moveTo>
                      <a:pt x="40297" y="97251"/>
                    </a:moveTo>
                    <a:cubicBezTo>
                      <a:pt x="53472" y="92920"/>
                      <a:pt x="67563" y="78647"/>
                      <a:pt x="73663" y="55956"/>
                    </a:cubicBezTo>
                    <a:cubicBezTo>
                      <a:pt x="80738" y="29544"/>
                      <a:pt x="72260" y="5389"/>
                      <a:pt x="45543" y="692"/>
                    </a:cubicBezTo>
                    <a:cubicBezTo>
                      <a:pt x="18826" y="-4005"/>
                      <a:pt x="2662" y="15759"/>
                      <a:pt x="283" y="43085"/>
                    </a:cubicBezTo>
                    <a:cubicBezTo>
                      <a:pt x="-449" y="51930"/>
                      <a:pt x="283" y="60043"/>
                      <a:pt x="1991" y="67179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A81554C4-7ACD-46EC-8349-A2B24A2EA3BA}"/>
                  </a:ext>
                </a:extLst>
              </p:cNvPr>
              <p:cNvSpPr/>
              <p:nvPr/>
            </p:nvSpPr>
            <p:spPr>
              <a:xfrm>
                <a:off x="14064" y="3220665"/>
                <a:ext cx="164693" cy="152494"/>
              </a:xfrm>
              <a:custGeom>
                <a:avLst/>
                <a:gdLst>
                  <a:gd name="connsiteX0" fmla="*/ 167952 w 164693"/>
                  <a:gd name="connsiteY0" fmla="*/ 86157 h 152493"/>
                  <a:gd name="connsiteX1" fmla="*/ 104088 w 164693"/>
                  <a:gd name="connsiteY1" fmla="*/ 4054 h 152493"/>
                  <a:gd name="connsiteX2" fmla="*/ 57059 w 164693"/>
                  <a:gd name="connsiteY2" fmla="*/ 90 h 152493"/>
                  <a:gd name="connsiteX3" fmla="*/ 1490 w 164693"/>
                  <a:gd name="connsiteY3" fmla="*/ 51022 h 152493"/>
                  <a:gd name="connsiteX4" fmla="*/ 96646 w 164693"/>
                  <a:gd name="connsiteY4" fmla="*/ 157524 h 152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693" h="152493">
                    <a:moveTo>
                      <a:pt x="167952" y="86157"/>
                    </a:moveTo>
                    <a:cubicBezTo>
                      <a:pt x="160815" y="56390"/>
                      <a:pt x="124461" y="6982"/>
                      <a:pt x="104088" y="4054"/>
                    </a:cubicBezTo>
                    <a:lnTo>
                      <a:pt x="57059" y="90"/>
                    </a:lnTo>
                    <a:cubicBezTo>
                      <a:pt x="12103" y="-1618"/>
                      <a:pt x="-5525" y="21317"/>
                      <a:pt x="1490" y="51022"/>
                    </a:cubicBezTo>
                    <a:cubicBezTo>
                      <a:pt x="16129" y="113606"/>
                      <a:pt x="46628" y="135565"/>
                      <a:pt x="96646" y="157524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25859CF2-CB60-4204-8819-13ABE76698F8}"/>
                  </a:ext>
                </a:extLst>
              </p:cNvPr>
              <p:cNvSpPr/>
              <p:nvPr/>
            </p:nvSpPr>
            <p:spPr>
              <a:xfrm>
                <a:off x="78992" y="3283094"/>
                <a:ext cx="182993" cy="91496"/>
              </a:xfrm>
              <a:custGeom>
                <a:avLst/>
                <a:gdLst>
                  <a:gd name="connsiteX0" fmla="*/ 0 w 182992"/>
                  <a:gd name="connsiteY0" fmla="*/ 91801 h 91496"/>
                  <a:gd name="connsiteX1" fmla="*/ 182993 w 182992"/>
                  <a:gd name="connsiteY1" fmla="*/ 0 h 91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2992" h="91496">
                    <a:moveTo>
                      <a:pt x="0" y="91801"/>
                    </a:moveTo>
                    <a:lnTo>
                      <a:pt x="182993" y="0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E75683DB-7069-4389-B761-71CD55FDF4C0}"/>
                  </a:ext>
                </a:extLst>
              </p:cNvPr>
              <p:cNvSpPr/>
              <p:nvPr/>
            </p:nvSpPr>
            <p:spPr>
              <a:xfrm>
                <a:off x="298461" y="3436747"/>
                <a:ext cx="6100" cy="182993"/>
              </a:xfrm>
              <a:custGeom>
                <a:avLst/>
                <a:gdLst>
                  <a:gd name="connsiteX0" fmla="*/ 0 w 0"/>
                  <a:gd name="connsiteY0" fmla="*/ 0 h 182992"/>
                  <a:gd name="connsiteX1" fmla="*/ 0 w 0"/>
                  <a:gd name="connsiteY1" fmla="*/ 186592 h 182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182992">
                    <a:moveTo>
                      <a:pt x="0" y="0"/>
                    </a:moveTo>
                    <a:lnTo>
                      <a:pt x="0" y="186592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A81AE368-A8BC-475B-AE2C-A3968075EAFB}"/>
                  </a:ext>
                </a:extLst>
              </p:cNvPr>
              <p:cNvSpPr/>
              <p:nvPr/>
            </p:nvSpPr>
            <p:spPr>
              <a:xfrm>
                <a:off x="327740" y="3436747"/>
                <a:ext cx="6100" cy="182993"/>
              </a:xfrm>
              <a:custGeom>
                <a:avLst/>
                <a:gdLst>
                  <a:gd name="connsiteX0" fmla="*/ 0 w 0"/>
                  <a:gd name="connsiteY0" fmla="*/ 0 h 182992"/>
                  <a:gd name="connsiteX1" fmla="*/ 0 w 0"/>
                  <a:gd name="connsiteY1" fmla="*/ 186592 h 182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182992">
                    <a:moveTo>
                      <a:pt x="0" y="0"/>
                    </a:moveTo>
                    <a:lnTo>
                      <a:pt x="0" y="186592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6230ABA3-BA7D-4A48-A7FF-4FB8F4A7703A}"/>
                  </a:ext>
                </a:extLst>
              </p:cNvPr>
              <p:cNvSpPr/>
              <p:nvPr/>
            </p:nvSpPr>
            <p:spPr>
              <a:xfrm>
                <a:off x="509207" y="3454924"/>
                <a:ext cx="24399" cy="280589"/>
              </a:xfrm>
              <a:custGeom>
                <a:avLst/>
                <a:gdLst>
                  <a:gd name="connsiteX0" fmla="*/ 0 w 24399"/>
                  <a:gd name="connsiteY0" fmla="*/ 282480 h 280588"/>
                  <a:gd name="connsiteX1" fmla="*/ 28425 w 24399"/>
                  <a:gd name="connsiteY1" fmla="*/ 35257 h 280588"/>
                  <a:gd name="connsiteX2" fmla="*/ 30133 w 24399"/>
                  <a:gd name="connsiteY2" fmla="*/ 0 h 280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399" h="280588">
                    <a:moveTo>
                      <a:pt x="0" y="282480"/>
                    </a:moveTo>
                    <a:lnTo>
                      <a:pt x="28425" y="35257"/>
                    </a:lnTo>
                    <a:lnTo>
                      <a:pt x="30133" y="0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FA9C59E3-19B7-402E-95DC-78F30E27FCAE}"/>
                  </a:ext>
                </a:extLst>
              </p:cNvPr>
              <p:cNvSpPr/>
              <p:nvPr/>
            </p:nvSpPr>
            <p:spPr>
              <a:xfrm>
                <a:off x="540560" y="3537759"/>
                <a:ext cx="48798" cy="195192"/>
              </a:xfrm>
              <a:custGeom>
                <a:avLst/>
                <a:gdLst>
                  <a:gd name="connsiteX0" fmla="*/ 50262 w 48798"/>
                  <a:gd name="connsiteY0" fmla="*/ 199645 h 195192"/>
                  <a:gd name="connsiteX1" fmla="*/ 50262 w 48798"/>
                  <a:gd name="connsiteY1" fmla="*/ 0 h 195192"/>
                  <a:gd name="connsiteX2" fmla="*/ 0 w 48798"/>
                  <a:gd name="connsiteY2" fmla="*/ 199645 h 195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798" h="195192">
                    <a:moveTo>
                      <a:pt x="50262" y="199645"/>
                    </a:moveTo>
                    <a:lnTo>
                      <a:pt x="50262" y="0"/>
                    </a:lnTo>
                    <a:lnTo>
                      <a:pt x="0" y="199645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600C6C2C-C0E7-44D7-A552-139E34DF51ED}"/>
                  </a:ext>
                </a:extLst>
              </p:cNvPr>
              <p:cNvSpPr/>
              <p:nvPr/>
            </p:nvSpPr>
            <p:spPr>
              <a:xfrm>
                <a:off x="552209" y="3238505"/>
                <a:ext cx="73197" cy="97596"/>
              </a:xfrm>
              <a:custGeom>
                <a:avLst/>
                <a:gdLst>
                  <a:gd name="connsiteX0" fmla="*/ 38308 w 73197"/>
                  <a:gd name="connsiteY0" fmla="*/ 99243 h 97596"/>
                  <a:gd name="connsiteX1" fmla="*/ 76310 w 73197"/>
                  <a:gd name="connsiteY1" fmla="*/ 49652 h 97596"/>
                  <a:gd name="connsiteX2" fmla="*/ 38308 w 73197"/>
                  <a:gd name="connsiteY2" fmla="*/ 0 h 97596"/>
                  <a:gd name="connsiteX3" fmla="*/ 307 w 73197"/>
                  <a:gd name="connsiteY3" fmla="*/ 49652 h 97596"/>
                  <a:gd name="connsiteX4" fmla="*/ 6284 w 73197"/>
                  <a:gd name="connsiteY4" fmla="*/ 73075 h 97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197" h="97596">
                    <a:moveTo>
                      <a:pt x="38308" y="99243"/>
                    </a:moveTo>
                    <a:cubicBezTo>
                      <a:pt x="54289" y="99243"/>
                      <a:pt x="73565" y="80395"/>
                      <a:pt x="76310" y="49652"/>
                    </a:cubicBezTo>
                    <a:cubicBezTo>
                      <a:pt x="78749" y="22386"/>
                      <a:pt x="66001" y="0"/>
                      <a:pt x="38308" y="0"/>
                    </a:cubicBezTo>
                    <a:cubicBezTo>
                      <a:pt x="10615" y="0"/>
                      <a:pt x="-2194" y="22325"/>
                      <a:pt x="307" y="49652"/>
                    </a:cubicBezTo>
                    <a:cubicBezTo>
                      <a:pt x="1100" y="58497"/>
                      <a:pt x="3234" y="66365"/>
                      <a:pt x="6284" y="73075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AAF6B75-653F-4C18-8B2C-87293683C474}"/>
                  </a:ext>
                </a:extLst>
              </p:cNvPr>
              <p:cNvSpPr/>
              <p:nvPr/>
            </p:nvSpPr>
            <p:spPr>
              <a:xfrm>
                <a:off x="500917" y="3337748"/>
                <a:ext cx="176893" cy="213491"/>
              </a:xfrm>
              <a:custGeom>
                <a:avLst/>
                <a:gdLst>
                  <a:gd name="connsiteX0" fmla="*/ 172252 w 176892"/>
                  <a:gd name="connsiteY0" fmla="*/ 214162 h 213491"/>
                  <a:gd name="connsiteX1" fmla="*/ 176705 w 176892"/>
                  <a:gd name="connsiteY1" fmla="*/ 66914 h 213491"/>
                  <a:gd name="connsiteX2" fmla="*/ 124735 w 176892"/>
                  <a:gd name="connsiteY2" fmla="*/ 1037 h 213491"/>
                  <a:gd name="connsiteX3" fmla="*/ 90394 w 176892"/>
                  <a:gd name="connsiteY3" fmla="*/ 0 h 213491"/>
                  <a:gd name="connsiteX4" fmla="*/ 89662 w 176892"/>
                  <a:gd name="connsiteY4" fmla="*/ 0 h 213491"/>
                  <a:gd name="connsiteX5" fmla="*/ 55320 w 176892"/>
                  <a:gd name="connsiteY5" fmla="*/ 1037 h 213491"/>
                  <a:gd name="connsiteX6" fmla="*/ 3289 w 176892"/>
                  <a:gd name="connsiteY6" fmla="*/ 66914 h 213491"/>
                  <a:gd name="connsiteX7" fmla="*/ 7742 w 176892"/>
                  <a:gd name="connsiteY7" fmla="*/ 214162 h 213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6892" h="213491">
                    <a:moveTo>
                      <a:pt x="172252" y="214162"/>
                    </a:moveTo>
                    <a:cubicBezTo>
                      <a:pt x="173777" y="213247"/>
                      <a:pt x="185611" y="122666"/>
                      <a:pt x="176705" y="66914"/>
                    </a:cubicBezTo>
                    <a:cubicBezTo>
                      <a:pt x="171886" y="36782"/>
                      <a:pt x="157918" y="1037"/>
                      <a:pt x="124735" y="1037"/>
                    </a:cubicBezTo>
                    <a:cubicBezTo>
                      <a:pt x="124735" y="1037"/>
                      <a:pt x="109425" y="122"/>
                      <a:pt x="90394" y="0"/>
                    </a:cubicBezTo>
                    <a:lnTo>
                      <a:pt x="89662" y="0"/>
                    </a:lnTo>
                    <a:cubicBezTo>
                      <a:pt x="70630" y="122"/>
                      <a:pt x="55320" y="1037"/>
                      <a:pt x="55320" y="1037"/>
                    </a:cubicBezTo>
                    <a:cubicBezTo>
                      <a:pt x="22137" y="1037"/>
                      <a:pt x="8169" y="36721"/>
                      <a:pt x="3289" y="66914"/>
                    </a:cubicBezTo>
                    <a:cubicBezTo>
                      <a:pt x="-5617" y="122727"/>
                      <a:pt x="6217" y="213247"/>
                      <a:pt x="7742" y="214162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3D74BB0A-21BA-4D18-92EE-7558E8484278}"/>
                  </a:ext>
                </a:extLst>
              </p:cNvPr>
              <p:cNvSpPr/>
              <p:nvPr/>
            </p:nvSpPr>
            <p:spPr>
              <a:xfrm>
                <a:off x="625957" y="3467489"/>
                <a:ext cx="12200" cy="268389"/>
              </a:xfrm>
              <a:custGeom>
                <a:avLst/>
                <a:gdLst>
                  <a:gd name="connsiteX0" fmla="*/ 0 w 12199"/>
                  <a:gd name="connsiteY0" fmla="*/ 269060 h 268389"/>
                  <a:gd name="connsiteX1" fmla="*/ 17750 w 12199"/>
                  <a:gd name="connsiteY1" fmla="*/ 21715 h 268389"/>
                  <a:gd name="connsiteX2" fmla="*/ 16530 w 12199"/>
                  <a:gd name="connsiteY2" fmla="*/ 0 h 268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199" h="268389">
                    <a:moveTo>
                      <a:pt x="0" y="269060"/>
                    </a:moveTo>
                    <a:lnTo>
                      <a:pt x="17750" y="21715"/>
                    </a:lnTo>
                    <a:lnTo>
                      <a:pt x="16530" y="0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0AB093FC-8BE2-41A2-A82F-6C52EFB54262}"/>
                  </a:ext>
                </a:extLst>
              </p:cNvPr>
              <p:cNvSpPr/>
              <p:nvPr/>
            </p:nvSpPr>
            <p:spPr>
              <a:xfrm>
                <a:off x="852502" y="3407041"/>
                <a:ext cx="12200" cy="323287"/>
              </a:xfrm>
              <a:custGeom>
                <a:avLst/>
                <a:gdLst>
                  <a:gd name="connsiteX0" fmla="*/ 0 w 12199"/>
                  <a:gd name="connsiteY0" fmla="*/ 324690 h 323287"/>
                  <a:gd name="connsiteX1" fmla="*/ 18177 w 12199"/>
                  <a:gd name="connsiteY1" fmla="*/ 67280 h 323287"/>
                  <a:gd name="connsiteX2" fmla="*/ 15127 w 12199"/>
                  <a:gd name="connsiteY2" fmla="*/ 0 h 323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199" h="323287">
                    <a:moveTo>
                      <a:pt x="0" y="324690"/>
                    </a:moveTo>
                    <a:lnTo>
                      <a:pt x="18177" y="67280"/>
                    </a:lnTo>
                    <a:lnTo>
                      <a:pt x="15127" y="0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D406EAD0-34E5-4ADF-B1DA-E2E51D260D91}"/>
                  </a:ext>
                </a:extLst>
              </p:cNvPr>
              <p:cNvSpPr/>
              <p:nvPr/>
            </p:nvSpPr>
            <p:spPr>
              <a:xfrm>
                <a:off x="763018" y="3407041"/>
                <a:ext cx="12200" cy="323287"/>
              </a:xfrm>
              <a:custGeom>
                <a:avLst/>
                <a:gdLst>
                  <a:gd name="connsiteX0" fmla="*/ 18116 w 12199"/>
                  <a:gd name="connsiteY0" fmla="*/ 324690 h 323287"/>
                  <a:gd name="connsiteX1" fmla="*/ 0 w 12199"/>
                  <a:gd name="connsiteY1" fmla="*/ 67280 h 323287"/>
                  <a:gd name="connsiteX2" fmla="*/ 3050 w 12199"/>
                  <a:gd name="connsiteY2" fmla="*/ 0 h 323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199" h="323287">
                    <a:moveTo>
                      <a:pt x="18116" y="324690"/>
                    </a:moveTo>
                    <a:lnTo>
                      <a:pt x="0" y="67280"/>
                    </a:lnTo>
                    <a:lnTo>
                      <a:pt x="3050" y="0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EF46493E-67CA-4EF9-B7D9-F5548F47664F}"/>
                  </a:ext>
                </a:extLst>
              </p:cNvPr>
              <p:cNvSpPr/>
              <p:nvPr/>
            </p:nvSpPr>
            <p:spPr>
              <a:xfrm>
                <a:off x="814744" y="3521899"/>
                <a:ext cx="6100" cy="207392"/>
              </a:xfrm>
              <a:custGeom>
                <a:avLst/>
                <a:gdLst>
                  <a:gd name="connsiteX0" fmla="*/ 854 w 0"/>
                  <a:gd name="connsiteY0" fmla="*/ 209283 h 207391"/>
                  <a:gd name="connsiteX1" fmla="*/ 0 w 0"/>
                  <a:gd name="connsiteY1" fmla="*/ 0 h 207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07391">
                    <a:moveTo>
                      <a:pt x="854" y="209283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7355BE52-54B1-4A74-8536-3B337EE6566F}"/>
                  </a:ext>
                </a:extLst>
              </p:cNvPr>
              <p:cNvSpPr/>
              <p:nvPr/>
            </p:nvSpPr>
            <p:spPr>
              <a:xfrm>
                <a:off x="777778" y="3229233"/>
                <a:ext cx="73197" cy="97596"/>
              </a:xfrm>
              <a:custGeom>
                <a:avLst/>
                <a:gdLst>
                  <a:gd name="connsiteX0" fmla="*/ 38308 w 73197"/>
                  <a:gd name="connsiteY0" fmla="*/ 99243 h 97596"/>
                  <a:gd name="connsiteX1" fmla="*/ 76310 w 73197"/>
                  <a:gd name="connsiteY1" fmla="*/ 49652 h 97596"/>
                  <a:gd name="connsiteX2" fmla="*/ 38308 w 73197"/>
                  <a:gd name="connsiteY2" fmla="*/ 0 h 97596"/>
                  <a:gd name="connsiteX3" fmla="*/ 307 w 73197"/>
                  <a:gd name="connsiteY3" fmla="*/ 49652 h 97596"/>
                  <a:gd name="connsiteX4" fmla="*/ 6284 w 73197"/>
                  <a:gd name="connsiteY4" fmla="*/ 73075 h 97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197" h="97596">
                    <a:moveTo>
                      <a:pt x="38308" y="99243"/>
                    </a:moveTo>
                    <a:cubicBezTo>
                      <a:pt x="54289" y="99243"/>
                      <a:pt x="73565" y="80395"/>
                      <a:pt x="76310" y="49652"/>
                    </a:cubicBezTo>
                    <a:cubicBezTo>
                      <a:pt x="78749" y="22325"/>
                      <a:pt x="66001" y="0"/>
                      <a:pt x="38308" y="0"/>
                    </a:cubicBezTo>
                    <a:cubicBezTo>
                      <a:pt x="10615" y="0"/>
                      <a:pt x="-2194" y="22325"/>
                      <a:pt x="307" y="49652"/>
                    </a:cubicBezTo>
                    <a:cubicBezTo>
                      <a:pt x="1100" y="58497"/>
                      <a:pt x="3234" y="66365"/>
                      <a:pt x="6284" y="73075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1FC84024-BF4F-410E-AA36-19C118515947}"/>
                  </a:ext>
                </a:extLst>
              </p:cNvPr>
              <p:cNvSpPr/>
              <p:nvPr/>
            </p:nvSpPr>
            <p:spPr>
              <a:xfrm>
                <a:off x="726363" y="3328476"/>
                <a:ext cx="176893" cy="213491"/>
              </a:xfrm>
              <a:custGeom>
                <a:avLst/>
                <a:gdLst>
                  <a:gd name="connsiteX0" fmla="*/ 172313 w 176892"/>
                  <a:gd name="connsiteY0" fmla="*/ 214162 h 213491"/>
                  <a:gd name="connsiteX1" fmla="*/ 176766 w 176892"/>
                  <a:gd name="connsiteY1" fmla="*/ 66914 h 213491"/>
                  <a:gd name="connsiteX2" fmla="*/ 124735 w 176892"/>
                  <a:gd name="connsiteY2" fmla="*/ 1037 h 213491"/>
                  <a:gd name="connsiteX3" fmla="*/ 90394 w 176892"/>
                  <a:gd name="connsiteY3" fmla="*/ 0 h 213491"/>
                  <a:gd name="connsiteX4" fmla="*/ 89662 w 176892"/>
                  <a:gd name="connsiteY4" fmla="*/ 0 h 213491"/>
                  <a:gd name="connsiteX5" fmla="*/ 55320 w 176892"/>
                  <a:gd name="connsiteY5" fmla="*/ 1037 h 213491"/>
                  <a:gd name="connsiteX6" fmla="*/ 3289 w 176892"/>
                  <a:gd name="connsiteY6" fmla="*/ 66914 h 213491"/>
                  <a:gd name="connsiteX7" fmla="*/ 7742 w 176892"/>
                  <a:gd name="connsiteY7" fmla="*/ 214162 h 213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6892" h="213491">
                    <a:moveTo>
                      <a:pt x="172313" y="214162"/>
                    </a:moveTo>
                    <a:cubicBezTo>
                      <a:pt x="173838" y="213248"/>
                      <a:pt x="185672" y="122727"/>
                      <a:pt x="176766" y="66914"/>
                    </a:cubicBezTo>
                    <a:cubicBezTo>
                      <a:pt x="171947" y="36782"/>
                      <a:pt x="157979" y="1037"/>
                      <a:pt x="124735" y="1037"/>
                    </a:cubicBezTo>
                    <a:cubicBezTo>
                      <a:pt x="124735" y="1037"/>
                      <a:pt x="109425" y="122"/>
                      <a:pt x="90394" y="0"/>
                    </a:cubicBezTo>
                    <a:lnTo>
                      <a:pt x="89662" y="0"/>
                    </a:lnTo>
                    <a:cubicBezTo>
                      <a:pt x="70630" y="122"/>
                      <a:pt x="55320" y="1037"/>
                      <a:pt x="55320" y="1037"/>
                    </a:cubicBezTo>
                    <a:cubicBezTo>
                      <a:pt x="22076" y="1037"/>
                      <a:pt x="8108" y="36721"/>
                      <a:pt x="3289" y="66914"/>
                    </a:cubicBezTo>
                    <a:cubicBezTo>
                      <a:pt x="-5617" y="122727"/>
                      <a:pt x="6217" y="213248"/>
                      <a:pt x="7742" y="214162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6F73DC85-A91A-43BE-8BA6-9DB3FFAF4635}"/>
              </a:ext>
            </a:extLst>
          </p:cNvPr>
          <p:cNvSpPr txBox="1"/>
          <p:nvPr/>
        </p:nvSpPr>
        <p:spPr>
          <a:xfrm>
            <a:off x="7625003" y="1744076"/>
            <a:ext cx="528507" cy="249299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800" dirty="0"/>
              <a:t>T</a:t>
            </a:r>
            <a:endParaRPr lang="da-DK" sz="1100" dirty="0"/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24B2DC75-A4BC-4040-A921-BCB80DDDDC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1919" y="4179260"/>
            <a:ext cx="7401958" cy="1543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767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B83D7A1-35EE-41FC-ACD6-598F6B160E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B83D7A1-35EE-41FC-ACD6-598F6B160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AAD318-25EA-460C-9025-27ED462392E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83000"/>
              </a:lnSpc>
              <a:spcBef>
                <a:spcPct val="0"/>
              </a:spcBef>
              <a:spcAft>
                <a:spcPct val="0"/>
              </a:spcAft>
            </a:pPr>
            <a:endParaRPr lang="da-DK" sz="6500" noProof="0" dirty="0" err="1">
              <a:solidFill>
                <a:srgbClr val="2F363B"/>
              </a:solidFill>
              <a:latin typeface="Impact" panose="020B0806030902050204" pitchFamily="34" charset="0"/>
              <a:ea typeface="+mj-ea"/>
              <a:cs typeface="+mj-cs"/>
              <a:sym typeface="Impact" panose="020B080603090205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8FD43C-4295-4CEE-AC00-71CA20D17B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1222" y="1920446"/>
            <a:ext cx="7483352" cy="2224886"/>
          </a:xfrm>
        </p:spPr>
        <p:txBody>
          <a:bodyPr/>
          <a:lstStyle/>
          <a:p>
            <a:r>
              <a:rPr lang="da-DK" dirty="0"/>
              <a:t>A </a:t>
            </a:r>
            <a:r>
              <a:rPr lang="da-DK" dirty="0" err="1"/>
              <a:t>Generic</a:t>
            </a:r>
            <a:br>
              <a:rPr lang="da-DK" dirty="0"/>
            </a:br>
            <a:r>
              <a:rPr lang="da-DK" dirty="0"/>
              <a:t>Game </a:t>
            </a:r>
            <a:r>
              <a:rPr lang="da-DK" dirty="0" err="1"/>
              <a:t>entity</a:t>
            </a:r>
            <a:r>
              <a:rPr lang="da-DK" dirty="0"/>
              <a:t> manager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9311F0-821A-4AAC-BDE9-AA253B2BFD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4EBB27-4B6C-4A1A-B488-3E5D35BB8C43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790861-E968-43BB-932B-A867BD494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258545A-D17C-4782-84C3-353DE1415C4F}"/>
              </a:ext>
            </a:extLst>
          </p:cNvPr>
          <p:cNvSpPr/>
          <p:nvPr/>
        </p:nvSpPr>
        <p:spPr>
          <a:xfrm>
            <a:off x="9191625" y="190500"/>
            <a:ext cx="600075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576BB51-FDF6-4A0B-BEF5-116339DDC56F}"/>
              </a:ext>
            </a:extLst>
          </p:cNvPr>
          <p:cNvSpPr/>
          <p:nvPr/>
        </p:nvSpPr>
        <p:spPr>
          <a:xfrm>
            <a:off x="8933657" y="5257800"/>
            <a:ext cx="702344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16DF48A-3F85-4373-9319-44BAFFA12CBB}"/>
              </a:ext>
            </a:extLst>
          </p:cNvPr>
          <p:cNvSpPr/>
          <p:nvPr/>
        </p:nvSpPr>
        <p:spPr>
          <a:xfrm>
            <a:off x="7167210" y="1190014"/>
            <a:ext cx="1865874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2F42264-6453-49C3-8C1B-218FE709C0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7633" y="4390184"/>
            <a:ext cx="7914267" cy="39559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E0E42BD-E08D-4F9F-9698-4E8AEDBEA829}"/>
              </a:ext>
            </a:extLst>
          </p:cNvPr>
          <p:cNvSpPr txBox="1"/>
          <p:nvPr/>
        </p:nvSpPr>
        <p:spPr>
          <a:xfrm>
            <a:off x="686556" y="3647547"/>
            <a:ext cx="7797275" cy="881780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200" dirty="0" err="1">
                <a:solidFill>
                  <a:schemeClr val="bg1"/>
                </a:solidFill>
              </a:rPr>
              <a:t>What</a:t>
            </a:r>
            <a:r>
              <a:rPr lang="da-DK" sz="1200" dirty="0">
                <a:solidFill>
                  <a:schemeClr val="bg1"/>
                </a:solidFill>
              </a:rPr>
              <a:t> is </a:t>
            </a:r>
            <a:r>
              <a:rPr lang="da-DK" sz="1200" dirty="0" err="1">
                <a:solidFill>
                  <a:schemeClr val="bg1"/>
                </a:solidFill>
              </a:rPr>
              <a:t>good</a:t>
            </a:r>
            <a:r>
              <a:rPr lang="da-DK" sz="1200" dirty="0">
                <a:solidFill>
                  <a:schemeClr val="bg1"/>
                </a:solidFill>
              </a:rPr>
              <a:t>?</a:t>
            </a:r>
          </a:p>
          <a:p>
            <a:pPr algn="l"/>
            <a:r>
              <a:rPr lang="da-DK" sz="1200" dirty="0">
                <a:solidFill>
                  <a:schemeClr val="bg1"/>
                </a:solidFill>
              </a:rPr>
              <a:t>- </a:t>
            </a:r>
            <a:r>
              <a:rPr lang="da-DK" sz="1200" dirty="0" err="1">
                <a:solidFill>
                  <a:schemeClr val="bg1"/>
                </a:solidFill>
              </a:rPr>
              <a:t>increases</a:t>
            </a:r>
            <a:r>
              <a:rPr lang="da-DK" sz="1200" dirty="0">
                <a:solidFill>
                  <a:schemeClr val="bg1"/>
                </a:solidFill>
              </a:rPr>
              <a:t> </a:t>
            </a:r>
            <a:r>
              <a:rPr lang="en-US" sz="1200" dirty="0">
                <a:solidFill>
                  <a:schemeClr val="bg1"/>
                </a:solidFill>
              </a:rPr>
              <a:t>reusability</a:t>
            </a:r>
          </a:p>
          <a:p>
            <a:pPr algn="l"/>
            <a:r>
              <a:rPr lang="en-US" sz="1200" dirty="0">
                <a:solidFill>
                  <a:schemeClr val="bg1"/>
                </a:solidFill>
              </a:rPr>
              <a:t>- reduced dependency (</a:t>
            </a:r>
            <a:r>
              <a:rPr lang="en-US" sz="1200" dirty="0" err="1">
                <a:solidFill>
                  <a:schemeClr val="bg1"/>
                </a:solidFill>
              </a:rPr>
              <a:t>connascence</a:t>
            </a:r>
            <a:r>
              <a:rPr lang="en-US" sz="1200" dirty="0">
                <a:solidFill>
                  <a:schemeClr val="bg1"/>
                </a:solidFill>
              </a:rPr>
              <a:t> of type instead of position)</a:t>
            </a:r>
            <a:r>
              <a:rPr lang="da-DK" sz="1200" dirty="0">
                <a:solidFill>
                  <a:schemeClr val="bg1"/>
                </a:solidFill>
              </a:rPr>
              <a:t> </a:t>
            </a:r>
          </a:p>
          <a:p>
            <a:pPr algn="l"/>
            <a:endParaRPr lang="da-DK" sz="11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B17BA8-399F-45DB-BD00-06E43724EF74}"/>
              </a:ext>
            </a:extLst>
          </p:cNvPr>
          <p:cNvSpPr txBox="1"/>
          <p:nvPr/>
        </p:nvSpPr>
        <p:spPr>
          <a:xfrm>
            <a:off x="652361" y="4879580"/>
            <a:ext cx="6707141" cy="332399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dirty="0" err="1">
                <a:solidFill>
                  <a:schemeClr val="bg1"/>
                </a:solidFill>
              </a:rPr>
              <a:t>However</a:t>
            </a:r>
            <a:r>
              <a:rPr lang="da-DK" sz="2400" dirty="0">
                <a:solidFill>
                  <a:schemeClr val="bg1"/>
                </a:solidFill>
              </a:rPr>
              <a:t>…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CB843D6-C2FB-4212-B1E6-53104D63DB18}"/>
              </a:ext>
            </a:extLst>
          </p:cNvPr>
          <p:cNvSpPr txBox="1"/>
          <p:nvPr/>
        </p:nvSpPr>
        <p:spPr>
          <a:xfrm>
            <a:off x="681222" y="5318620"/>
            <a:ext cx="6021582" cy="610936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100" b="1" dirty="0" err="1">
                <a:solidFill>
                  <a:schemeClr val="bg1"/>
                </a:solidFill>
              </a:rPr>
              <a:t>Liskov</a:t>
            </a:r>
            <a:r>
              <a:rPr lang="da-DK" sz="1100" b="1" dirty="0">
                <a:solidFill>
                  <a:schemeClr val="bg1"/>
                </a:solidFill>
              </a:rPr>
              <a:t> </a:t>
            </a:r>
            <a:r>
              <a:rPr lang="da-DK" sz="1100" b="1" dirty="0" err="1">
                <a:solidFill>
                  <a:schemeClr val="bg1"/>
                </a:solidFill>
              </a:rPr>
              <a:t>Substituion</a:t>
            </a:r>
            <a:r>
              <a:rPr lang="da-DK" sz="1100" b="1" dirty="0">
                <a:solidFill>
                  <a:schemeClr val="bg1"/>
                </a:solidFill>
              </a:rPr>
              <a:t> </a:t>
            </a:r>
            <a:r>
              <a:rPr lang="da-DK" sz="1100" b="1" dirty="0" err="1">
                <a:solidFill>
                  <a:schemeClr val="bg1"/>
                </a:solidFill>
              </a:rPr>
              <a:t>Principle</a:t>
            </a:r>
            <a:r>
              <a:rPr lang="da-DK" sz="1100" b="1" dirty="0">
                <a:solidFill>
                  <a:schemeClr val="bg1"/>
                </a:solidFill>
              </a:rPr>
              <a:t> </a:t>
            </a:r>
            <a:r>
              <a:rPr lang="da-DK" sz="1100" dirty="0">
                <a:solidFill>
                  <a:schemeClr val="bg1"/>
                </a:solidFill>
              </a:rPr>
              <a:t>is </a:t>
            </a:r>
            <a:r>
              <a:rPr lang="da-DK" sz="1100" b="1" dirty="0" err="1">
                <a:solidFill>
                  <a:srgbClr val="CC0000"/>
                </a:solidFill>
              </a:rPr>
              <a:t>violated</a:t>
            </a:r>
            <a:endParaRPr lang="da-DK" sz="1100" b="1" dirty="0">
              <a:solidFill>
                <a:srgbClr val="CC0000"/>
              </a:solidFill>
            </a:endParaRPr>
          </a:p>
          <a:p>
            <a:r>
              <a:rPr lang="da-DK" sz="1100" dirty="0">
                <a:solidFill>
                  <a:schemeClr val="bg1"/>
                </a:solidFill>
              </a:rPr>
              <a:t>- no </a:t>
            </a:r>
            <a:r>
              <a:rPr lang="da-DK" sz="1100" dirty="0" err="1">
                <a:solidFill>
                  <a:schemeClr val="bg1"/>
                </a:solidFill>
              </a:rPr>
              <a:t>covariance</a:t>
            </a:r>
            <a:r>
              <a:rPr lang="da-DK" sz="1100" dirty="0">
                <a:solidFill>
                  <a:schemeClr val="bg1"/>
                </a:solidFill>
              </a:rPr>
              <a:t> of return types</a:t>
            </a:r>
            <a:endParaRPr lang="da-DK" sz="1100" b="1" dirty="0">
              <a:solidFill>
                <a:srgbClr val="CC0000"/>
              </a:solidFill>
            </a:endParaRPr>
          </a:p>
          <a:p>
            <a:pPr algn="l">
              <a:buNone/>
            </a:pPr>
            <a:r>
              <a:rPr lang="da-DK" sz="1100" dirty="0">
                <a:solidFill>
                  <a:schemeClr val="bg1"/>
                </a:solidFill>
              </a:rPr>
              <a:t>- no </a:t>
            </a:r>
            <a:r>
              <a:rPr lang="da-DK" sz="1100" dirty="0" err="1">
                <a:solidFill>
                  <a:schemeClr val="bg1"/>
                </a:solidFill>
              </a:rPr>
              <a:t>contravariance</a:t>
            </a:r>
            <a:r>
              <a:rPr lang="da-DK" sz="1100" dirty="0">
                <a:solidFill>
                  <a:schemeClr val="bg1"/>
                </a:solidFill>
              </a:rPr>
              <a:t> of the </a:t>
            </a:r>
            <a:r>
              <a:rPr lang="da-DK" sz="1100" dirty="0" err="1">
                <a:solidFill>
                  <a:schemeClr val="bg1"/>
                </a:solidFill>
              </a:rPr>
              <a:t>method</a:t>
            </a:r>
            <a:r>
              <a:rPr lang="da-DK" sz="1100" dirty="0">
                <a:solidFill>
                  <a:schemeClr val="bg1"/>
                </a:solidFill>
              </a:rPr>
              <a:t> arguments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445639D-A0E1-4DA0-A7E0-1532F4BF08CF}"/>
              </a:ext>
            </a:extLst>
          </p:cNvPr>
          <p:cNvGrpSpPr/>
          <p:nvPr/>
        </p:nvGrpSpPr>
        <p:grpSpPr>
          <a:xfrm>
            <a:off x="7307867" y="1577885"/>
            <a:ext cx="1244033" cy="1049547"/>
            <a:chOff x="6100" y="3115046"/>
            <a:chExt cx="897156" cy="620832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431C786-5957-44AE-9F28-183B74E9DEBB}"/>
                </a:ext>
              </a:extLst>
            </p:cNvPr>
            <p:cNvSpPr/>
            <p:nvPr/>
          </p:nvSpPr>
          <p:spPr>
            <a:xfrm>
              <a:off x="140599" y="3142250"/>
              <a:ext cx="237890" cy="317187"/>
            </a:xfrm>
            <a:custGeom>
              <a:avLst/>
              <a:gdLst>
                <a:gd name="connsiteX0" fmla="*/ 0 w 237890"/>
                <a:gd name="connsiteY0" fmla="*/ 0 h 317187"/>
                <a:gd name="connsiteX1" fmla="*/ 242709 w 237890"/>
                <a:gd name="connsiteY1" fmla="*/ 0 h 317187"/>
                <a:gd name="connsiteX2" fmla="*/ 242709 w 237890"/>
                <a:gd name="connsiteY2" fmla="*/ 321701 h 317187"/>
                <a:gd name="connsiteX3" fmla="*/ 0 w 237890"/>
                <a:gd name="connsiteY3" fmla="*/ 321701 h 317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7890" h="317187">
                  <a:moveTo>
                    <a:pt x="0" y="0"/>
                  </a:moveTo>
                  <a:lnTo>
                    <a:pt x="242709" y="0"/>
                  </a:lnTo>
                  <a:lnTo>
                    <a:pt x="242709" y="321701"/>
                  </a:lnTo>
                  <a:lnTo>
                    <a:pt x="0" y="321701"/>
                  </a:lnTo>
                  <a:close/>
                </a:path>
              </a:pathLst>
            </a:custGeom>
            <a:solidFill>
              <a:schemeClr val="accent2"/>
            </a:solidFill>
            <a:ln w="6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>
                <a:solidFill>
                  <a:srgbClr val="FF0000"/>
                </a:solidFill>
              </a:endParaRP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3E762655-1F95-44DE-843B-1F328DEE3485}"/>
                </a:ext>
              </a:extLst>
            </p:cNvPr>
            <p:cNvGrpSpPr/>
            <p:nvPr/>
          </p:nvGrpSpPr>
          <p:grpSpPr>
            <a:xfrm>
              <a:off x="6100" y="3115046"/>
              <a:ext cx="897156" cy="620832"/>
              <a:chOff x="6100" y="3115046"/>
              <a:chExt cx="897156" cy="620832"/>
            </a:xfrm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FAD2E603-BC7B-4D59-B421-09BDA19FA21D}"/>
                  </a:ext>
                </a:extLst>
              </p:cNvPr>
              <p:cNvSpPr/>
              <p:nvPr/>
            </p:nvSpPr>
            <p:spPr>
              <a:xfrm>
                <a:off x="182017" y="3115046"/>
                <a:ext cx="231791" cy="317187"/>
              </a:xfrm>
              <a:custGeom>
                <a:avLst/>
                <a:gdLst>
                  <a:gd name="connsiteX0" fmla="*/ 187323 w 231790"/>
                  <a:gd name="connsiteY0" fmla="*/ 0 h 317187"/>
                  <a:gd name="connsiteX1" fmla="*/ 0 w 231790"/>
                  <a:gd name="connsiteY1" fmla="*/ 0 h 317187"/>
                  <a:gd name="connsiteX2" fmla="*/ 0 w 231790"/>
                  <a:gd name="connsiteY2" fmla="*/ 321701 h 317187"/>
                  <a:gd name="connsiteX3" fmla="*/ 236914 w 231790"/>
                  <a:gd name="connsiteY3" fmla="*/ 321701 h 317187"/>
                  <a:gd name="connsiteX4" fmla="*/ 236914 w 231790"/>
                  <a:gd name="connsiteY4" fmla="*/ 272476 h 317187"/>
                  <a:gd name="connsiteX5" fmla="*/ 236914 w 231790"/>
                  <a:gd name="connsiteY5" fmla="*/ 0 h 317187"/>
                  <a:gd name="connsiteX6" fmla="*/ 189458 w 231790"/>
                  <a:gd name="connsiteY6" fmla="*/ 0 h 317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1790" h="317187">
                    <a:moveTo>
                      <a:pt x="187323" y="0"/>
                    </a:moveTo>
                    <a:lnTo>
                      <a:pt x="0" y="0"/>
                    </a:lnTo>
                    <a:lnTo>
                      <a:pt x="0" y="321701"/>
                    </a:lnTo>
                    <a:lnTo>
                      <a:pt x="236914" y="321701"/>
                    </a:lnTo>
                    <a:lnTo>
                      <a:pt x="236914" y="272476"/>
                    </a:lnTo>
                    <a:lnTo>
                      <a:pt x="236914" y="0"/>
                    </a:lnTo>
                    <a:lnTo>
                      <a:pt x="189458" y="0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92F137A1-D419-406E-BAEB-C93F5DB151F3}"/>
                  </a:ext>
                </a:extLst>
              </p:cNvPr>
              <p:cNvSpPr/>
              <p:nvPr/>
            </p:nvSpPr>
            <p:spPr>
              <a:xfrm>
                <a:off x="6100" y="3385448"/>
                <a:ext cx="24399" cy="237890"/>
              </a:xfrm>
              <a:custGeom>
                <a:avLst/>
                <a:gdLst>
                  <a:gd name="connsiteX0" fmla="*/ 0 w 24399"/>
                  <a:gd name="connsiteY0" fmla="*/ 239964 h 237890"/>
                  <a:gd name="connsiteX1" fmla="*/ 28364 w 24399"/>
                  <a:gd name="connsiteY1" fmla="*/ 0 h 237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399" h="237890">
                    <a:moveTo>
                      <a:pt x="0" y="239964"/>
                    </a:moveTo>
                    <a:lnTo>
                      <a:pt x="28364" y="0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6758200B-1797-4086-83E5-15D4769EDAD9}"/>
                  </a:ext>
                </a:extLst>
              </p:cNvPr>
              <p:cNvSpPr/>
              <p:nvPr/>
            </p:nvSpPr>
            <p:spPr>
              <a:xfrm>
                <a:off x="125411" y="3303101"/>
                <a:ext cx="12200" cy="317187"/>
              </a:xfrm>
              <a:custGeom>
                <a:avLst/>
                <a:gdLst>
                  <a:gd name="connsiteX0" fmla="*/ 0 w 12199"/>
                  <a:gd name="connsiteY0" fmla="*/ 321457 h 317187"/>
                  <a:gd name="connsiteX1" fmla="*/ 18177 w 12199"/>
                  <a:gd name="connsiteY1" fmla="*/ 68622 h 317187"/>
                  <a:gd name="connsiteX2" fmla="*/ 15127 w 12199"/>
                  <a:gd name="connsiteY2" fmla="*/ 0 h 317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199" h="317187">
                    <a:moveTo>
                      <a:pt x="0" y="321457"/>
                    </a:moveTo>
                    <a:lnTo>
                      <a:pt x="18177" y="68622"/>
                    </a:lnTo>
                    <a:lnTo>
                      <a:pt x="15127" y="0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CBAC7AF2-500B-4D22-892D-E02D4364FE40}"/>
                  </a:ext>
                </a:extLst>
              </p:cNvPr>
              <p:cNvSpPr/>
              <p:nvPr/>
            </p:nvSpPr>
            <p:spPr>
              <a:xfrm>
                <a:off x="38123" y="3421314"/>
                <a:ext cx="48798" cy="201292"/>
              </a:xfrm>
              <a:custGeom>
                <a:avLst/>
                <a:gdLst>
                  <a:gd name="connsiteX0" fmla="*/ 51421 w 48798"/>
                  <a:gd name="connsiteY0" fmla="*/ 204098 h 201291"/>
                  <a:gd name="connsiteX1" fmla="*/ 51421 w 48798"/>
                  <a:gd name="connsiteY1" fmla="*/ 0 h 201291"/>
                  <a:gd name="connsiteX2" fmla="*/ 0 w 48798"/>
                  <a:gd name="connsiteY2" fmla="*/ 204098 h 201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798" h="201291">
                    <a:moveTo>
                      <a:pt x="51421" y="204098"/>
                    </a:moveTo>
                    <a:lnTo>
                      <a:pt x="51421" y="0"/>
                    </a:lnTo>
                    <a:lnTo>
                      <a:pt x="0" y="204098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54014AAD-C70F-4EE2-A51E-7A08AE010338}"/>
                  </a:ext>
                </a:extLst>
              </p:cNvPr>
              <p:cNvSpPr/>
              <p:nvPr/>
            </p:nvSpPr>
            <p:spPr>
              <a:xfrm>
                <a:off x="60654" y="3126065"/>
                <a:ext cx="73197" cy="91496"/>
              </a:xfrm>
              <a:custGeom>
                <a:avLst/>
                <a:gdLst>
                  <a:gd name="connsiteX0" fmla="*/ 40297 w 73197"/>
                  <a:gd name="connsiteY0" fmla="*/ 97251 h 91496"/>
                  <a:gd name="connsiteX1" fmla="*/ 73663 w 73197"/>
                  <a:gd name="connsiteY1" fmla="*/ 55956 h 91496"/>
                  <a:gd name="connsiteX2" fmla="*/ 45543 w 73197"/>
                  <a:gd name="connsiteY2" fmla="*/ 692 h 91496"/>
                  <a:gd name="connsiteX3" fmla="*/ 283 w 73197"/>
                  <a:gd name="connsiteY3" fmla="*/ 43085 h 91496"/>
                  <a:gd name="connsiteX4" fmla="*/ 1991 w 73197"/>
                  <a:gd name="connsiteY4" fmla="*/ 67179 h 91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197" h="91496">
                    <a:moveTo>
                      <a:pt x="40297" y="97251"/>
                    </a:moveTo>
                    <a:cubicBezTo>
                      <a:pt x="53472" y="92920"/>
                      <a:pt x="67563" y="78647"/>
                      <a:pt x="73663" y="55956"/>
                    </a:cubicBezTo>
                    <a:cubicBezTo>
                      <a:pt x="80738" y="29544"/>
                      <a:pt x="72260" y="5389"/>
                      <a:pt x="45543" y="692"/>
                    </a:cubicBezTo>
                    <a:cubicBezTo>
                      <a:pt x="18826" y="-4005"/>
                      <a:pt x="2662" y="15759"/>
                      <a:pt x="283" y="43085"/>
                    </a:cubicBezTo>
                    <a:cubicBezTo>
                      <a:pt x="-449" y="51930"/>
                      <a:pt x="283" y="60043"/>
                      <a:pt x="1991" y="67179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A81554C4-7ACD-46EC-8349-A2B24A2EA3BA}"/>
                  </a:ext>
                </a:extLst>
              </p:cNvPr>
              <p:cNvSpPr/>
              <p:nvPr/>
            </p:nvSpPr>
            <p:spPr>
              <a:xfrm>
                <a:off x="14064" y="3220665"/>
                <a:ext cx="164693" cy="152494"/>
              </a:xfrm>
              <a:custGeom>
                <a:avLst/>
                <a:gdLst>
                  <a:gd name="connsiteX0" fmla="*/ 167952 w 164693"/>
                  <a:gd name="connsiteY0" fmla="*/ 86157 h 152493"/>
                  <a:gd name="connsiteX1" fmla="*/ 104088 w 164693"/>
                  <a:gd name="connsiteY1" fmla="*/ 4054 h 152493"/>
                  <a:gd name="connsiteX2" fmla="*/ 57059 w 164693"/>
                  <a:gd name="connsiteY2" fmla="*/ 90 h 152493"/>
                  <a:gd name="connsiteX3" fmla="*/ 1490 w 164693"/>
                  <a:gd name="connsiteY3" fmla="*/ 51022 h 152493"/>
                  <a:gd name="connsiteX4" fmla="*/ 96646 w 164693"/>
                  <a:gd name="connsiteY4" fmla="*/ 157524 h 152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693" h="152493">
                    <a:moveTo>
                      <a:pt x="167952" y="86157"/>
                    </a:moveTo>
                    <a:cubicBezTo>
                      <a:pt x="160815" y="56390"/>
                      <a:pt x="124461" y="6982"/>
                      <a:pt x="104088" y="4054"/>
                    </a:cubicBezTo>
                    <a:lnTo>
                      <a:pt x="57059" y="90"/>
                    </a:lnTo>
                    <a:cubicBezTo>
                      <a:pt x="12103" y="-1618"/>
                      <a:pt x="-5525" y="21317"/>
                      <a:pt x="1490" y="51022"/>
                    </a:cubicBezTo>
                    <a:cubicBezTo>
                      <a:pt x="16129" y="113606"/>
                      <a:pt x="46628" y="135565"/>
                      <a:pt x="96646" y="157524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25859CF2-CB60-4204-8819-13ABE76698F8}"/>
                  </a:ext>
                </a:extLst>
              </p:cNvPr>
              <p:cNvSpPr/>
              <p:nvPr/>
            </p:nvSpPr>
            <p:spPr>
              <a:xfrm>
                <a:off x="78992" y="3283094"/>
                <a:ext cx="182993" cy="91496"/>
              </a:xfrm>
              <a:custGeom>
                <a:avLst/>
                <a:gdLst>
                  <a:gd name="connsiteX0" fmla="*/ 0 w 182992"/>
                  <a:gd name="connsiteY0" fmla="*/ 91801 h 91496"/>
                  <a:gd name="connsiteX1" fmla="*/ 182993 w 182992"/>
                  <a:gd name="connsiteY1" fmla="*/ 0 h 91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2992" h="91496">
                    <a:moveTo>
                      <a:pt x="0" y="91801"/>
                    </a:moveTo>
                    <a:lnTo>
                      <a:pt x="182993" y="0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E75683DB-7069-4389-B761-71CD55FDF4C0}"/>
                  </a:ext>
                </a:extLst>
              </p:cNvPr>
              <p:cNvSpPr/>
              <p:nvPr/>
            </p:nvSpPr>
            <p:spPr>
              <a:xfrm>
                <a:off x="298461" y="3436747"/>
                <a:ext cx="6100" cy="182993"/>
              </a:xfrm>
              <a:custGeom>
                <a:avLst/>
                <a:gdLst>
                  <a:gd name="connsiteX0" fmla="*/ 0 w 0"/>
                  <a:gd name="connsiteY0" fmla="*/ 0 h 182992"/>
                  <a:gd name="connsiteX1" fmla="*/ 0 w 0"/>
                  <a:gd name="connsiteY1" fmla="*/ 186592 h 182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182992">
                    <a:moveTo>
                      <a:pt x="0" y="0"/>
                    </a:moveTo>
                    <a:lnTo>
                      <a:pt x="0" y="186592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A81AE368-A8BC-475B-AE2C-A3968075EAFB}"/>
                  </a:ext>
                </a:extLst>
              </p:cNvPr>
              <p:cNvSpPr/>
              <p:nvPr/>
            </p:nvSpPr>
            <p:spPr>
              <a:xfrm>
                <a:off x="327740" y="3436747"/>
                <a:ext cx="6100" cy="182993"/>
              </a:xfrm>
              <a:custGeom>
                <a:avLst/>
                <a:gdLst>
                  <a:gd name="connsiteX0" fmla="*/ 0 w 0"/>
                  <a:gd name="connsiteY0" fmla="*/ 0 h 182992"/>
                  <a:gd name="connsiteX1" fmla="*/ 0 w 0"/>
                  <a:gd name="connsiteY1" fmla="*/ 186592 h 182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182992">
                    <a:moveTo>
                      <a:pt x="0" y="0"/>
                    </a:moveTo>
                    <a:lnTo>
                      <a:pt x="0" y="186592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6230ABA3-BA7D-4A48-A7FF-4FB8F4A7703A}"/>
                  </a:ext>
                </a:extLst>
              </p:cNvPr>
              <p:cNvSpPr/>
              <p:nvPr/>
            </p:nvSpPr>
            <p:spPr>
              <a:xfrm>
                <a:off x="509207" y="3454924"/>
                <a:ext cx="24399" cy="280589"/>
              </a:xfrm>
              <a:custGeom>
                <a:avLst/>
                <a:gdLst>
                  <a:gd name="connsiteX0" fmla="*/ 0 w 24399"/>
                  <a:gd name="connsiteY0" fmla="*/ 282480 h 280588"/>
                  <a:gd name="connsiteX1" fmla="*/ 28425 w 24399"/>
                  <a:gd name="connsiteY1" fmla="*/ 35257 h 280588"/>
                  <a:gd name="connsiteX2" fmla="*/ 30133 w 24399"/>
                  <a:gd name="connsiteY2" fmla="*/ 0 h 280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399" h="280588">
                    <a:moveTo>
                      <a:pt x="0" y="282480"/>
                    </a:moveTo>
                    <a:lnTo>
                      <a:pt x="28425" y="35257"/>
                    </a:lnTo>
                    <a:lnTo>
                      <a:pt x="30133" y="0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FA9C59E3-19B7-402E-95DC-78F30E27FCAE}"/>
                  </a:ext>
                </a:extLst>
              </p:cNvPr>
              <p:cNvSpPr/>
              <p:nvPr/>
            </p:nvSpPr>
            <p:spPr>
              <a:xfrm>
                <a:off x="540560" y="3537759"/>
                <a:ext cx="48798" cy="195192"/>
              </a:xfrm>
              <a:custGeom>
                <a:avLst/>
                <a:gdLst>
                  <a:gd name="connsiteX0" fmla="*/ 50262 w 48798"/>
                  <a:gd name="connsiteY0" fmla="*/ 199645 h 195192"/>
                  <a:gd name="connsiteX1" fmla="*/ 50262 w 48798"/>
                  <a:gd name="connsiteY1" fmla="*/ 0 h 195192"/>
                  <a:gd name="connsiteX2" fmla="*/ 0 w 48798"/>
                  <a:gd name="connsiteY2" fmla="*/ 199645 h 195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798" h="195192">
                    <a:moveTo>
                      <a:pt x="50262" y="199645"/>
                    </a:moveTo>
                    <a:lnTo>
                      <a:pt x="50262" y="0"/>
                    </a:lnTo>
                    <a:lnTo>
                      <a:pt x="0" y="199645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600C6C2C-C0E7-44D7-A552-139E34DF51ED}"/>
                  </a:ext>
                </a:extLst>
              </p:cNvPr>
              <p:cNvSpPr/>
              <p:nvPr/>
            </p:nvSpPr>
            <p:spPr>
              <a:xfrm>
                <a:off x="552209" y="3238505"/>
                <a:ext cx="73197" cy="97596"/>
              </a:xfrm>
              <a:custGeom>
                <a:avLst/>
                <a:gdLst>
                  <a:gd name="connsiteX0" fmla="*/ 38308 w 73197"/>
                  <a:gd name="connsiteY0" fmla="*/ 99243 h 97596"/>
                  <a:gd name="connsiteX1" fmla="*/ 76310 w 73197"/>
                  <a:gd name="connsiteY1" fmla="*/ 49652 h 97596"/>
                  <a:gd name="connsiteX2" fmla="*/ 38308 w 73197"/>
                  <a:gd name="connsiteY2" fmla="*/ 0 h 97596"/>
                  <a:gd name="connsiteX3" fmla="*/ 307 w 73197"/>
                  <a:gd name="connsiteY3" fmla="*/ 49652 h 97596"/>
                  <a:gd name="connsiteX4" fmla="*/ 6284 w 73197"/>
                  <a:gd name="connsiteY4" fmla="*/ 73075 h 97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197" h="97596">
                    <a:moveTo>
                      <a:pt x="38308" y="99243"/>
                    </a:moveTo>
                    <a:cubicBezTo>
                      <a:pt x="54289" y="99243"/>
                      <a:pt x="73565" y="80395"/>
                      <a:pt x="76310" y="49652"/>
                    </a:cubicBezTo>
                    <a:cubicBezTo>
                      <a:pt x="78749" y="22386"/>
                      <a:pt x="66001" y="0"/>
                      <a:pt x="38308" y="0"/>
                    </a:cubicBezTo>
                    <a:cubicBezTo>
                      <a:pt x="10615" y="0"/>
                      <a:pt x="-2194" y="22325"/>
                      <a:pt x="307" y="49652"/>
                    </a:cubicBezTo>
                    <a:cubicBezTo>
                      <a:pt x="1100" y="58497"/>
                      <a:pt x="3234" y="66365"/>
                      <a:pt x="6284" y="73075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AAF6B75-653F-4C18-8B2C-87293683C474}"/>
                  </a:ext>
                </a:extLst>
              </p:cNvPr>
              <p:cNvSpPr/>
              <p:nvPr/>
            </p:nvSpPr>
            <p:spPr>
              <a:xfrm>
                <a:off x="500917" y="3337748"/>
                <a:ext cx="176893" cy="213491"/>
              </a:xfrm>
              <a:custGeom>
                <a:avLst/>
                <a:gdLst>
                  <a:gd name="connsiteX0" fmla="*/ 172252 w 176892"/>
                  <a:gd name="connsiteY0" fmla="*/ 214162 h 213491"/>
                  <a:gd name="connsiteX1" fmla="*/ 176705 w 176892"/>
                  <a:gd name="connsiteY1" fmla="*/ 66914 h 213491"/>
                  <a:gd name="connsiteX2" fmla="*/ 124735 w 176892"/>
                  <a:gd name="connsiteY2" fmla="*/ 1037 h 213491"/>
                  <a:gd name="connsiteX3" fmla="*/ 90394 w 176892"/>
                  <a:gd name="connsiteY3" fmla="*/ 0 h 213491"/>
                  <a:gd name="connsiteX4" fmla="*/ 89662 w 176892"/>
                  <a:gd name="connsiteY4" fmla="*/ 0 h 213491"/>
                  <a:gd name="connsiteX5" fmla="*/ 55320 w 176892"/>
                  <a:gd name="connsiteY5" fmla="*/ 1037 h 213491"/>
                  <a:gd name="connsiteX6" fmla="*/ 3289 w 176892"/>
                  <a:gd name="connsiteY6" fmla="*/ 66914 h 213491"/>
                  <a:gd name="connsiteX7" fmla="*/ 7742 w 176892"/>
                  <a:gd name="connsiteY7" fmla="*/ 214162 h 213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6892" h="213491">
                    <a:moveTo>
                      <a:pt x="172252" y="214162"/>
                    </a:moveTo>
                    <a:cubicBezTo>
                      <a:pt x="173777" y="213247"/>
                      <a:pt x="185611" y="122666"/>
                      <a:pt x="176705" y="66914"/>
                    </a:cubicBezTo>
                    <a:cubicBezTo>
                      <a:pt x="171886" y="36782"/>
                      <a:pt x="157918" y="1037"/>
                      <a:pt x="124735" y="1037"/>
                    </a:cubicBezTo>
                    <a:cubicBezTo>
                      <a:pt x="124735" y="1037"/>
                      <a:pt x="109425" y="122"/>
                      <a:pt x="90394" y="0"/>
                    </a:cubicBezTo>
                    <a:lnTo>
                      <a:pt x="89662" y="0"/>
                    </a:lnTo>
                    <a:cubicBezTo>
                      <a:pt x="70630" y="122"/>
                      <a:pt x="55320" y="1037"/>
                      <a:pt x="55320" y="1037"/>
                    </a:cubicBezTo>
                    <a:cubicBezTo>
                      <a:pt x="22137" y="1037"/>
                      <a:pt x="8169" y="36721"/>
                      <a:pt x="3289" y="66914"/>
                    </a:cubicBezTo>
                    <a:cubicBezTo>
                      <a:pt x="-5617" y="122727"/>
                      <a:pt x="6217" y="213247"/>
                      <a:pt x="7742" y="214162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3D74BB0A-21BA-4D18-92EE-7558E8484278}"/>
                  </a:ext>
                </a:extLst>
              </p:cNvPr>
              <p:cNvSpPr/>
              <p:nvPr/>
            </p:nvSpPr>
            <p:spPr>
              <a:xfrm>
                <a:off x="625957" y="3467489"/>
                <a:ext cx="12200" cy="268389"/>
              </a:xfrm>
              <a:custGeom>
                <a:avLst/>
                <a:gdLst>
                  <a:gd name="connsiteX0" fmla="*/ 0 w 12199"/>
                  <a:gd name="connsiteY0" fmla="*/ 269060 h 268389"/>
                  <a:gd name="connsiteX1" fmla="*/ 17750 w 12199"/>
                  <a:gd name="connsiteY1" fmla="*/ 21715 h 268389"/>
                  <a:gd name="connsiteX2" fmla="*/ 16530 w 12199"/>
                  <a:gd name="connsiteY2" fmla="*/ 0 h 268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199" h="268389">
                    <a:moveTo>
                      <a:pt x="0" y="269060"/>
                    </a:moveTo>
                    <a:lnTo>
                      <a:pt x="17750" y="21715"/>
                    </a:lnTo>
                    <a:lnTo>
                      <a:pt x="16530" y="0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0AB093FC-8BE2-41A2-A82F-6C52EFB54262}"/>
                  </a:ext>
                </a:extLst>
              </p:cNvPr>
              <p:cNvSpPr/>
              <p:nvPr/>
            </p:nvSpPr>
            <p:spPr>
              <a:xfrm>
                <a:off x="852502" y="3407041"/>
                <a:ext cx="12200" cy="323287"/>
              </a:xfrm>
              <a:custGeom>
                <a:avLst/>
                <a:gdLst>
                  <a:gd name="connsiteX0" fmla="*/ 0 w 12199"/>
                  <a:gd name="connsiteY0" fmla="*/ 324690 h 323287"/>
                  <a:gd name="connsiteX1" fmla="*/ 18177 w 12199"/>
                  <a:gd name="connsiteY1" fmla="*/ 67280 h 323287"/>
                  <a:gd name="connsiteX2" fmla="*/ 15127 w 12199"/>
                  <a:gd name="connsiteY2" fmla="*/ 0 h 323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199" h="323287">
                    <a:moveTo>
                      <a:pt x="0" y="324690"/>
                    </a:moveTo>
                    <a:lnTo>
                      <a:pt x="18177" y="67280"/>
                    </a:lnTo>
                    <a:lnTo>
                      <a:pt x="15127" y="0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D406EAD0-34E5-4ADF-B1DA-E2E51D260D91}"/>
                  </a:ext>
                </a:extLst>
              </p:cNvPr>
              <p:cNvSpPr/>
              <p:nvPr/>
            </p:nvSpPr>
            <p:spPr>
              <a:xfrm>
                <a:off x="763018" y="3407041"/>
                <a:ext cx="12200" cy="323287"/>
              </a:xfrm>
              <a:custGeom>
                <a:avLst/>
                <a:gdLst>
                  <a:gd name="connsiteX0" fmla="*/ 18116 w 12199"/>
                  <a:gd name="connsiteY0" fmla="*/ 324690 h 323287"/>
                  <a:gd name="connsiteX1" fmla="*/ 0 w 12199"/>
                  <a:gd name="connsiteY1" fmla="*/ 67280 h 323287"/>
                  <a:gd name="connsiteX2" fmla="*/ 3050 w 12199"/>
                  <a:gd name="connsiteY2" fmla="*/ 0 h 323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199" h="323287">
                    <a:moveTo>
                      <a:pt x="18116" y="324690"/>
                    </a:moveTo>
                    <a:lnTo>
                      <a:pt x="0" y="67280"/>
                    </a:lnTo>
                    <a:lnTo>
                      <a:pt x="3050" y="0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EF46493E-67CA-4EF9-B7D9-F5548F47664F}"/>
                  </a:ext>
                </a:extLst>
              </p:cNvPr>
              <p:cNvSpPr/>
              <p:nvPr/>
            </p:nvSpPr>
            <p:spPr>
              <a:xfrm>
                <a:off x="814744" y="3521899"/>
                <a:ext cx="6100" cy="207392"/>
              </a:xfrm>
              <a:custGeom>
                <a:avLst/>
                <a:gdLst>
                  <a:gd name="connsiteX0" fmla="*/ 854 w 0"/>
                  <a:gd name="connsiteY0" fmla="*/ 209283 h 207391"/>
                  <a:gd name="connsiteX1" fmla="*/ 0 w 0"/>
                  <a:gd name="connsiteY1" fmla="*/ 0 h 207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07391">
                    <a:moveTo>
                      <a:pt x="854" y="209283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7355BE52-54B1-4A74-8536-3B337EE6566F}"/>
                  </a:ext>
                </a:extLst>
              </p:cNvPr>
              <p:cNvSpPr/>
              <p:nvPr/>
            </p:nvSpPr>
            <p:spPr>
              <a:xfrm>
                <a:off x="777778" y="3229233"/>
                <a:ext cx="73197" cy="97596"/>
              </a:xfrm>
              <a:custGeom>
                <a:avLst/>
                <a:gdLst>
                  <a:gd name="connsiteX0" fmla="*/ 38308 w 73197"/>
                  <a:gd name="connsiteY0" fmla="*/ 99243 h 97596"/>
                  <a:gd name="connsiteX1" fmla="*/ 76310 w 73197"/>
                  <a:gd name="connsiteY1" fmla="*/ 49652 h 97596"/>
                  <a:gd name="connsiteX2" fmla="*/ 38308 w 73197"/>
                  <a:gd name="connsiteY2" fmla="*/ 0 h 97596"/>
                  <a:gd name="connsiteX3" fmla="*/ 307 w 73197"/>
                  <a:gd name="connsiteY3" fmla="*/ 49652 h 97596"/>
                  <a:gd name="connsiteX4" fmla="*/ 6284 w 73197"/>
                  <a:gd name="connsiteY4" fmla="*/ 73075 h 97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197" h="97596">
                    <a:moveTo>
                      <a:pt x="38308" y="99243"/>
                    </a:moveTo>
                    <a:cubicBezTo>
                      <a:pt x="54289" y="99243"/>
                      <a:pt x="73565" y="80395"/>
                      <a:pt x="76310" y="49652"/>
                    </a:cubicBezTo>
                    <a:cubicBezTo>
                      <a:pt x="78749" y="22325"/>
                      <a:pt x="66001" y="0"/>
                      <a:pt x="38308" y="0"/>
                    </a:cubicBezTo>
                    <a:cubicBezTo>
                      <a:pt x="10615" y="0"/>
                      <a:pt x="-2194" y="22325"/>
                      <a:pt x="307" y="49652"/>
                    </a:cubicBezTo>
                    <a:cubicBezTo>
                      <a:pt x="1100" y="58497"/>
                      <a:pt x="3234" y="66365"/>
                      <a:pt x="6284" y="73075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1FC84024-BF4F-410E-AA36-19C118515947}"/>
                  </a:ext>
                </a:extLst>
              </p:cNvPr>
              <p:cNvSpPr/>
              <p:nvPr/>
            </p:nvSpPr>
            <p:spPr>
              <a:xfrm>
                <a:off x="726363" y="3328476"/>
                <a:ext cx="176893" cy="213491"/>
              </a:xfrm>
              <a:custGeom>
                <a:avLst/>
                <a:gdLst>
                  <a:gd name="connsiteX0" fmla="*/ 172313 w 176892"/>
                  <a:gd name="connsiteY0" fmla="*/ 214162 h 213491"/>
                  <a:gd name="connsiteX1" fmla="*/ 176766 w 176892"/>
                  <a:gd name="connsiteY1" fmla="*/ 66914 h 213491"/>
                  <a:gd name="connsiteX2" fmla="*/ 124735 w 176892"/>
                  <a:gd name="connsiteY2" fmla="*/ 1037 h 213491"/>
                  <a:gd name="connsiteX3" fmla="*/ 90394 w 176892"/>
                  <a:gd name="connsiteY3" fmla="*/ 0 h 213491"/>
                  <a:gd name="connsiteX4" fmla="*/ 89662 w 176892"/>
                  <a:gd name="connsiteY4" fmla="*/ 0 h 213491"/>
                  <a:gd name="connsiteX5" fmla="*/ 55320 w 176892"/>
                  <a:gd name="connsiteY5" fmla="*/ 1037 h 213491"/>
                  <a:gd name="connsiteX6" fmla="*/ 3289 w 176892"/>
                  <a:gd name="connsiteY6" fmla="*/ 66914 h 213491"/>
                  <a:gd name="connsiteX7" fmla="*/ 7742 w 176892"/>
                  <a:gd name="connsiteY7" fmla="*/ 214162 h 213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6892" h="213491">
                    <a:moveTo>
                      <a:pt x="172313" y="214162"/>
                    </a:moveTo>
                    <a:cubicBezTo>
                      <a:pt x="173838" y="213248"/>
                      <a:pt x="185672" y="122727"/>
                      <a:pt x="176766" y="66914"/>
                    </a:cubicBezTo>
                    <a:cubicBezTo>
                      <a:pt x="171947" y="36782"/>
                      <a:pt x="157979" y="1037"/>
                      <a:pt x="124735" y="1037"/>
                    </a:cubicBezTo>
                    <a:cubicBezTo>
                      <a:pt x="124735" y="1037"/>
                      <a:pt x="109425" y="122"/>
                      <a:pt x="90394" y="0"/>
                    </a:cubicBezTo>
                    <a:lnTo>
                      <a:pt x="89662" y="0"/>
                    </a:lnTo>
                    <a:cubicBezTo>
                      <a:pt x="70630" y="122"/>
                      <a:pt x="55320" y="1037"/>
                      <a:pt x="55320" y="1037"/>
                    </a:cubicBezTo>
                    <a:cubicBezTo>
                      <a:pt x="22076" y="1037"/>
                      <a:pt x="8108" y="36721"/>
                      <a:pt x="3289" y="66914"/>
                    </a:cubicBezTo>
                    <a:cubicBezTo>
                      <a:pt x="-5617" y="122727"/>
                      <a:pt x="6217" y="213248"/>
                      <a:pt x="7742" y="214162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6F73DC85-A91A-43BE-8BA6-9DB3FFAF4635}"/>
              </a:ext>
            </a:extLst>
          </p:cNvPr>
          <p:cNvSpPr txBox="1"/>
          <p:nvPr/>
        </p:nvSpPr>
        <p:spPr>
          <a:xfrm>
            <a:off x="7625003" y="1744076"/>
            <a:ext cx="528507" cy="249299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800" dirty="0"/>
              <a:t>T</a:t>
            </a:r>
            <a:endParaRPr lang="da-DK" sz="1100" dirty="0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08276220-2855-4E3A-A8D4-1A89497D903B}"/>
              </a:ext>
            </a:extLst>
          </p:cNvPr>
          <p:cNvSpPr/>
          <p:nvPr/>
        </p:nvSpPr>
        <p:spPr>
          <a:xfrm>
            <a:off x="3954282" y="4934561"/>
            <a:ext cx="4285005" cy="1466850"/>
          </a:xfrm>
          <a:prstGeom prst="ellipse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CAD23A5-E4C1-4593-B7E4-391EB58C7859}"/>
              </a:ext>
            </a:extLst>
          </p:cNvPr>
          <p:cNvSpPr txBox="1"/>
          <p:nvPr/>
        </p:nvSpPr>
        <p:spPr>
          <a:xfrm>
            <a:off x="4308834" y="5409527"/>
            <a:ext cx="3685166" cy="581698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 dirty="0" err="1">
                <a:solidFill>
                  <a:schemeClr val="bg1"/>
                </a:solidFill>
              </a:rPr>
              <a:t>GameEntityManager</a:t>
            </a:r>
            <a:r>
              <a:rPr lang="da-DK" sz="1400" dirty="0">
                <a:solidFill>
                  <a:schemeClr val="bg1"/>
                </a:solidFill>
              </a:rPr>
              <a:t>&lt;Block&gt; </a:t>
            </a:r>
            <a:r>
              <a:rPr lang="da-DK" sz="1400" dirty="0" err="1">
                <a:solidFill>
                  <a:schemeClr val="bg1"/>
                </a:solidFill>
              </a:rPr>
              <a:t>does</a:t>
            </a:r>
            <a:r>
              <a:rPr lang="da-DK" sz="1400" dirty="0">
                <a:solidFill>
                  <a:schemeClr val="bg1"/>
                </a:solidFill>
              </a:rPr>
              <a:t> not </a:t>
            </a:r>
            <a:r>
              <a:rPr lang="da-DK" sz="1400" dirty="0" err="1">
                <a:solidFill>
                  <a:schemeClr val="bg1"/>
                </a:solidFill>
              </a:rPr>
              <a:t>act</a:t>
            </a:r>
            <a:r>
              <a:rPr lang="da-DK" sz="1400" dirty="0">
                <a:solidFill>
                  <a:schemeClr val="bg1"/>
                </a:solidFill>
              </a:rPr>
              <a:t> as a subtype of </a:t>
            </a:r>
            <a:r>
              <a:rPr lang="da-DK" sz="1400" dirty="0" err="1">
                <a:solidFill>
                  <a:schemeClr val="bg1"/>
                </a:solidFill>
              </a:rPr>
              <a:t>GameEntityManager</a:t>
            </a:r>
            <a:r>
              <a:rPr lang="da-DK" sz="1400" dirty="0">
                <a:solidFill>
                  <a:schemeClr val="bg1"/>
                </a:solidFill>
              </a:rPr>
              <a:t>&lt;</a:t>
            </a:r>
            <a:r>
              <a:rPr lang="da-DK" sz="1400" dirty="0" err="1">
                <a:solidFill>
                  <a:schemeClr val="bg1"/>
                </a:solidFill>
              </a:rPr>
              <a:t>Entity</a:t>
            </a:r>
            <a:r>
              <a:rPr lang="da-DK" sz="1400" dirty="0">
                <a:solidFill>
                  <a:schemeClr val="bg1"/>
                </a:solidFill>
              </a:rPr>
              <a:t>&gt;, nor the </a:t>
            </a:r>
            <a:r>
              <a:rPr lang="da-DK" sz="1400" dirty="0" err="1">
                <a:solidFill>
                  <a:schemeClr val="bg1"/>
                </a:solidFill>
              </a:rPr>
              <a:t>other</a:t>
            </a:r>
            <a:r>
              <a:rPr lang="da-DK" sz="1400" dirty="0">
                <a:solidFill>
                  <a:schemeClr val="bg1"/>
                </a:solidFill>
              </a:rPr>
              <a:t> </a:t>
            </a:r>
            <a:r>
              <a:rPr lang="da-DK" sz="1400" dirty="0" err="1">
                <a:solidFill>
                  <a:schemeClr val="bg1"/>
                </a:solidFill>
              </a:rPr>
              <a:t>way</a:t>
            </a:r>
            <a:r>
              <a:rPr lang="da-DK" sz="1400" dirty="0">
                <a:solidFill>
                  <a:schemeClr val="bg1"/>
                </a:solidFill>
              </a:rPr>
              <a:t> </a:t>
            </a:r>
            <a:r>
              <a:rPr lang="da-DK" sz="1400" dirty="0" err="1">
                <a:solidFill>
                  <a:schemeClr val="bg1"/>
                </a:solidFill>
              </a:rPr>
              <a:t>around</a:t>
            </a:r>
            <a:r>
              <a:rPr lang="da-DK" sz="1400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3399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B83D7A1-35EE-41FC-ACD6-598F6B160E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B83D7A1-35EE-41FC-ACD6-598F6B160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AAD318-25EA-460C-9025-27ED462392E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83000"/>
              </a:lnSpc>
              <a:spcBef>
                <a:spcPct val="0"/>
              </a:spcBef>
              <a:spcAft>
                <a:spcPct val="0"/>
              </a:spcAft>
            </a:pPr>
            <a:endParaRPr lang="da-DK" sz="6500" noProof="0" dirty="0" err="1">
              <a:solidFill>
                <a:srgbClr val="2F363B"/>
              </a:solidFill>
              <a:latin typeface="Impact" panose="020B0806030902050204" pitchFamily="34" charset="0"/>
              <a:ea typeface="+mj-ea"/>
              <a:cs typeface="+mj-cs"/>
              <a:sym typeface="Impact" panose="020B080603090205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8FD43C-4295-4CEE-AC00-71CA20D17B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1222" y="1920446"/>
            <a:ext cx="7483352" cy="2224886"/>
          </a:xfrm>
        </p:spPr>
        <p:txBody>
          <a:bodyPr/>
          <a:lstStyle/>
          <a:p>
            <a:r>
              <a:rPr lang="da-DK" dirty="0" err="1">
                <a:solidFill>
                  <a:srgbClr val="8AA299"/>
                </a:solidFill>
              </a:rPr>
              <a:t>Fixing</a:t>
            </a:r>
            <a:r>
              <a:rPr lang="da-DK" dirty="0"/>
              <a:t> the </a:t>
            </a:r>
            <a:r>
              <a:rPr lang="da-DK" dirty="0" err="1"/>
              <a:t>Generic</a:t>
            </a:r>
            <a:br>
              <a:rPr lang="da-DK" dirty="0"/>
            </a:br>
            <a:r>
              <a:rPr lang="da-DK" dirty="0"/>
              <a:t>Game </a:t>
            </a:r>
            <a:r>
              <a:rPr lang="da-DK" dirty="0" err="1"/>
              <a:t>entity</a:t>
            </a:r>
            <a:r>
              <a:rPr lang="da-DK" dirty="0"/>
              <a:t> manager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9311F0-821A-4AAC-BDE9-AA253B2BFD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4EBB27-4B6C-4A1A-B488-3E5D35BB8C43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790861-E968-43BB-932B-A867BD494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258545A-D17C-4782-84C3-353DE1415C4F}"/>
              </a:ext>
            </a:extLst>
          </p:cNvPr>
          <p:cNvSpPr/>
          <p:nvPr/>
        </p:nvSpPr>
        <p:spPr>
          <a:xfrm>
            <a:off x="9191625" y="190500"/>
            <a:ext cx="600075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576BB51-FDF6-4A0B-BEF5-116339DDC56F}"/>
              </a:ext>
            </a:extLst>
          </p:cNvPr>
          <p:cNvSpPr/>
          <p:nvPr/>
        </p:nvSpPr>
        <p:spPr>
          <a:xfrm>
            <a:off x="8933657" y="5257800"/>
            <a:ext cx="702344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16DF48A-3F85-4373-9319-44BAFFA12CBB}"/>
              </a:ext>
            </a:extLst>
          </p:cNvPr>
          <p:cNvSpPr/>
          <p:nvPr/>
        </p:nvSpPr>
        <p:spPr>
          <a:xfrm>
            <a:off x="7167210" y="1190014"/>
            <a:ext cx="1865874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E0E42BD-E08D-4F9F-9698-4E8AEDBEA829}"/>
              </a:ext>
            </a:extLst>
          </p:cNvPr>
          <p:cNvSpPr txBox="1"/>
          <p:nvPr/>
        </p:nvSpPr>
        <p:spPr>
          <a:xfrm>
            <a:off x="389131" y="4011060"/>
            <a:ext cx="7797275" cy="423193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 err="1">
                <a:solidFill>
                  <a:schemeClr val="bg1"/>
                </a:solidFill>
              </a:rPr>
              <a:t>EntityContainer</a:t>
            </a:r>
            <a:r>
              <a:rPr lang="en-US" sz="1400" dirty="0">
                <a:solidFill>
                  <a:schemeClr val="bg1"/>
                </a:solidFill>
              </a:rPr>
              <a:t>&lt;T&gt; is invariant</a:t>
            </a:r>
            <a:r>
              <a:rPr lang="da-DK" sz="1400" dirty="0">
                <a:solidFill>
                  <a:schemeClr val="bg1"/>
                </a:solidFill>
              </a:rPr>
              <a:t> </a:t>
            </a:r>
          </a:p>
          <a:p>
            <a:pPr algn="l"/>
            <a:endParaRPr lang="da-DK" sz="1100" dirty="0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A0C70F3-82E4-4B15-92BB-EBF46FFF5C51}"/>
              </a:ext>
            </a:extLst>
          </p:cNvPr>
          <p:cNvGrpSpPr/>
          <p:nvPr/>
        </p:nvGrpSpPr>
        <p:grpSpPr>
          <a:xfrm>
            <a:off x="7247343" y="473983"/>
            <a:ext cx="1254685" cy="2109380"/>
            <a:chOff x="8344847" y="2491869"/>
            <a:chExt cx="1254685" cy="2109380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4678040-DA56-4B83-941F-7C8B520DF713}"/>
                </a:ext>
              </a:extLst>
            </p:cNvPr>
            <p:cNvGrpSpPr/>
            <p:nvPr/>
          </p:nvGrpSpPr>
          <p:grpSpPr>
            <a:xfrm>
              <a:off x="8344847" y="2494789"/>
              <a:ext cx="1167072" cy="2106460"/>
              <a:chOff x="8643138" y="2494789"/>
              <a:chExt cx="1167072" cy="2106460"/>
            </a:xfrm>
            <a:solidFill>
              <a:schemeClr val="accent2"/>
            </a:solidFill>
          </p:grpSpPr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FE46C5C2-8800-4A5A-BD84-5F52BD69433A}"/>
                  </a:ext>
                </a:extLst>
              </p:cNvPr>
              <p:cNvSpPr/>
              <p:nvPr/>
            </p:nvSpPr>
            <p:spPr>
              <a:xfrm>
                <a:off x="9262340" y="2494789"/>
                <a:ext cx="286199" cy="204428"/>
              </a:xfrm>
              <a:custGeom>
                <a:avLst/>
                <a:gdLst>
                  <a:gd name="connsiteX0" fmla="*/ 25119 w 286199"/>
                  <a:gd name="connsiteY0" fmla="*/ 202358 h 204428"/>
                  <a:gd name="connsiteX1" fmla="*/ 45562 w 286199"/>
                  <a:gd name="connsiteY1" fmla="*/ 149790 h 204428"/>
                  <a:gd name="connsiteX2" fmla="*/ 53155 w 286199"/>
                  <a:gd name="connsiteY2" fmla="*/ 122923 h 204428"/>
                  <a:gd name="connsiteX3" fmla="*/ 146024 w 286199"/>
                  <a:gd name="connsiteY3" fmla="*/ 135772 h 204428"/>
                  <a:gd name="connsiteX4" fmla="*/ 231884 w 286199"/>
                  <a:gd name="connsiteY4" fmla="*/ 109489 h 204428"/>
                  <a:gd name="connsiteX5" fmla="*/ 242982 w 286199"/>
                  <a:gd name="connsiteY5" fmla="*/ 107737 h 204428"/>
                  <a:gd name="connsiteX6" fmla="*/ 269265 w 286199"/>
                  <a:gd name="connsiteY6" fmla="*/ 200021 h 204428"/>
                  <a:gd name="connsiteX7" fmla="*/ 279194 w 286199"/>
                  <a:gd name="connsiteY7" fmla="*/ 205278 h 204428"/>
                  <a:gd name="connsiteX8" fmla="*/ 281531 w 286199"/>
                  <a:gd name="connsiteY8" fmla="*/ 204694 h 204428"/>
                  <a:gd name="connsiteX9" fmla="*/ 286204 w 286199"/>
                  <a:gd name="connsiteY9" fmla="*/ 203526 h 204428"/>
                  <a:gd name="connsiteX10" fmla="*/ 286204 w 286199"/>
                  <a:gd name="connsiteY10" fmla="*/ 201189 h 204428"/>
                  <a:gd name="connsiteX11" fmla="*/ 286204 w 286199"/>
                  <a:gd name="connsiteY11" fmla="*/ 178994 h 204428"/>
                  <a:gd name="connsiteX12" fmla="*/ 244149 w 286199"/>
                  <a:gd name="connsiteY12" fmla="*/ 66851 h 204428"/>
                  <a:gd name="connsiteX13" fmla="*/ 113900 w 286199"/>
                  <a:gd name="connsiteY13" fmla="*/ 3770 h 204428"/>
                  <a:gd name="connsiteX14" fmla="*/ 70094 w 286199"/>
                  <a:gd name="connsiteY14" fmla="*/ 34142 h 204428"/>
                  <a:gd name="connsiteX15" fmla="*/ 70094 w 286199"/>
                  <a:gd name="connsiteY15" fmla="*/ 34142 h 204428"/>
                  <a:gd name="connsiteX16" fmla="*/ 12854 w 286199"/>
                  <a:gd name="connsiteY16" fmla="*/ 46408 h 204428"/>
                  <a:gd name="connsiteX17" fmla="*/ 18695 w 286199"/>
                  <a:gd name="connsiteY17" fmla="*/ 100144 h 204428"/>
                  <a:gd name="connsiteX18" fmla="*/ 4093 w 286199"/>
                  <a:gd name="connsiteY18" fmla="*/ 202942 h 204428"/>
                  <a:gd name="connsiteX19" fmla="*/ 4677 w 286199"/>
                  <a:gd name="connsiteY19" fmla="*/ 202942 h 204428"/>
                  <a:gd name="connsiteX20" fmla="*/ 11101 w 286199"/>
                  <a:gd name="connsiteY20" fmla="*/ 204110 h 204428"/>
                  <a:gd name="connsiteX21" fmla="*/ 14022 w 286199"/>
                  <a:gd name="connsiteY21" fmla="*/ 205278 h 204428"/>
                  <a:gd name="connsiteX22" fmla="*/ 25119 w 286199"/>
                  <a:gd name="connsiteY22" fmla="*/ 202358 h 204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86199" h="204428">
                    <a:moveTo>
                      <a:pt x="25119" y="202358"/>
                    </a:moveTo>
                    <a:cubicBezTo>
                      <a:pt x="29792" y="190676"/>
                      <a:pt x="39137" y="167313"/>
                      <a:pt x="45562" y="149790"/>
                    </a:cubicBezTo>
                    <a:lnTo>
                      <a:pt x="53155" y="122923"/>
                    </a:lnTo>
                    <a:cubicBezTo>
                      <a:pt x="70094" y="131100"/>
                      <a:pt x="99298" y="139277"/>
                      <a:pt x="146024" y="135772"/>
                    </a:cubicBezTo>
                    <a:cubicBezTo>
                      <a:pt x="167051" y="134020"/>
                      <a:pt x="212025" y="129932"/>
                      <a:pt x="231884" y="109489"/>
                    </a:cubicBezTo>
                    <a:lnTo>
                      <a:pt x="242982" y="107737"/>
                    </a:lnTo>
                    <a:lnTo>
                      <a:pt x="269265" y="200021"/>
                    </a:lnTo>
                    <a:cubicBezTo>
                      <a:pt x="270433" y="204110"/>
                      <a:pt x="275106" y="207030"/>
                      <a:pt x="279194" y="205278"/>
                    </a:cubicBezTo>
                    <a:cubicBezTo>
                      <a:pt x="279778" y="204694"/>
                      <a:pt x="280947" y="204694"/>
                      <a:pt x="281531" y="204694"/>
                    </a:cubicBezTo>
                    <a:cubicBezTo>
                      <a:pt x="283283" y="204110"/>
                      <a:pt x="284451" y="204110"/>
                      <a:pt x="286204" y="203526"/>
                    </a:cubicBezTo>
                    <a:lnTo>
                      <a:pt x="286204" y="201189"/>
                    </a:lnTo>
                    <a:lnTo>
                      <a:pt x="286204" y="178994"/>
                    </a:lnTo>
                    <a:cubicBezTo>
                      <a:pt x="286204" y="159136"/>
                      <a:pt x="311319" y="97807"/>
                      <a:pt x="244149" y="66851"/>
                    </a:cubicBezTo>
                    <a:cubicBezTo>
                      <a:pt x="237725" y="37063"/>
                      <a:pt x="168803" y="-14336"/>
                      <a:pt x="113900" y="3770"/>
                    </a:cubicBezTo>
                    <a:cubicBezTo>
                      <a:pt x="83527" y="14284"/>
                      <a:pt x="75350" y="24797"/>
                      <a:pt x="70094" y="34142"/>
                    </a:cubicBezTo>
                    <a:lnTo>
                      <a:pt x="70094" y="34142"/>
                    </a:lnTo>
                    <a:cubicBezTo>
                      <a:pt x="50235" y="30638"/>
                      <a:pt x="27456" y="31806"/>
                      <a:pt x="12854" y="46408"/>
                    </a:cubicBezTo>
                    <a:cubicBezTo>
                      <a:pt x="-7005" y="66851"/>
                      <a:pt x="4093" y="89630"/>
                      <a:pt x="18695" y="100144"/>
                    </a:cubicBezTo>
                    <a:cubicBezTo>
                      <a:pt x="-11677" y="157967"/>
                      <a:pt x="4093" y="202942"/>
                      <a:pt x="4093" y="202942"/>
                    </a:cubicBezTo>
                    <a:lnTo>
                      <a:pt x="4677" y="202942"/>
                    </a:lnTo>
                    <a:cubicBezTo>
                      <a:pt x="7013" y="202942"/>
                      <a:pt x="8766" y="203526"/>
                      <a:pt x="11101" y="204110"/>
                    </a:cubicBezTo>
                    <a:cubicBezTo>
                      <a:pt x="12270" y="204694"/>
                      <a:pt x="13438" y="204694"/>
                      <a:pt x="14022" y="205278"/>
                    </a:cubicBezTo>
                    <a:cubicBezTo>
                      <a:pt x="19279" y="207614"/>
                      <a:pt x="23368" y="205862"/>
                      <a:pt x="25119" y="202358"/>
                    </a:cubicBezTo>
                    <a:close/>
                  </a:path>
                </a:pathLst>
              </a:custGeom>
              <a:grpFill/>
              <a:ln w="5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C63A129F-11D1-4A1A-90D0-7F972BA3494A}"/>
                  </a:ext>
                </a:extLst>
              </p:cNvPr>
              <p:cNvSpPr/>
              <p:nvPr/>
            </p:nvSpPr>
            <p:spPr>
              <a:xfrm>
                <a:off x="9080110" y="2957647"/>
                <a:ext cx="730100" cy="566558"/>
              </a:xfrm>
              <a:custGeom>
                <a:avLst/>
                <a:gdLst>
                  <a:gd name="connsiteX0" fmla="*/ 731853 w 730100"/>
                  <a:gd name="connsiteY0" fmla="*/ 180481 h 566557"/>
                  <a:gd name="connsiteX1" fmla="*/ 564806 w 730100"/>
                  <a:gd name="connsiteY1" fmla="*/ 18106 h 566557"/>
                  <a:gd name="connsiteX2" fmla="*/ 519247 w 730100"/>
                  <a:gd name="connsiteY2" fmla="*/ 0 h 566557"/>
                  <a:gd name="connsiteX3" fmla="*/ 448574 w 730100"/>
                  <a:gd name="connsiteY3" fmla="*/ 0 h 566557"/>
                  <a:gd name="connsiteX4" fmla="*/ 352785 w 730100"/>
                  <a:gd name="connsiteY4" fmla="*/ 73010 h 566557"/>
                  <a:gd name="connsiteX5" fmla="*/ 256995 w 730100"/>
                  <a:gd name="connsiteY5" fmla="*/ 0 h 566557"/>
                  <a:gd name="connsiteX6" fmla="*/ 170552 w 730100"/>
                  <a:gd name="connsiteY6" fmla="*/ 0 h 566557"/>
                  <a:gd name="connsiteX7" fmla="*/ 116232 w 730100"/>
                  <a:gd name="connsiteY7" fmla="*/ 27452 h 566557"/>
                  <a:gd name="connsiteX8" fmla="*/ 0 w 730100"/>
                  <a:gd name="connsiteY8" fmla="*/ 179897 h 566557"/>
                  <a:gd name="connsiteX9" fmla="*/ 103383 w 730100"/>
                  <a:gd name="connsiteY9" fmla="*/ 257579 h 566557"/>
                  <a:gd name="connsiteX10" fmla="*/ 103383 w 730100"/>
                  <a:gd name="connsiteY10" fmla="*/ 571815 h 566557"/>
                  <a:gd name="connsiteX11" fmla="*/ 585833 w 730100"/>
                  <a:gd name="connsiteY11" fmla="*/ 571815 h 566557"/>
                  <a:gd name="connsiteX12" fmla="*/ 585833 w 730100"/>
                  <a:gd name="connsiteY12" fmla="*/ 274518 h 566557"/>
                  <a:gd name="connsiteX13" fmla="*/ 612700 w 730100"/>
                  <a:gd name="connsiteY13" fmla="*/ 300801 h 566557"/>
                  <a:gd name="connsiteX14" fmla="*/ 731853 w 730100"/>
                  <a:gd name="connsiteY14" fmla="*/ 180481 h 566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30100" h="566557">
                    <a:moveTo>
                      <a:pt x="731853" y="180481"/>
                    </a:moveTo>
                    <a:lnTo>
                      <a:pt x="564806" y="18106"/>
                    </a:lnTo>
                    <a:cubicBezTo>
                      <a:pt x="553124" y="7009"/>
                      <a:pt x="536770" y="0"/>
                      <a:pt x="519247" y="0"/>
                    </a:cubicBezTo>
                    <a:lnTo>
                      <a:pt x="448574" y="0"/>
                    </a:lnTo>
                    <a:cubicBezTo>
                      <a:pt x="436308" y="42054"/>
                      <a:pt x="397758" y="73010"/>
                      <a:pt x="352785" y="73010"/>
                    </a:cubicBezTo>
                    <a:cubicBezTo>
                      <a:pt x="307811" y="73010"/>
                      <a:pt x="269261" y="42054"/>
                      <a:pt x="256995" y="0"/>
                    </a:cubicBezTo>
                    <a:lnTo>
                      <a:pt x="170552" y="0"/>
                    </a:lnTo>
                    <a:cubicBezTo>
                      <a:pt x="148357" y="0"/>
                      <a:pt x="128498" y="11097"/>
                      <a:pt x="116232" y="27452"/>
                    </a:cubicBezTo>
                    <a:lnTo>
                      <a:pt x="0" y="179897"/>
                    </a:lnTo>
                    <a:lnTo>
                      <a:pt x="103383" y="257579"/>
                    </a:lnTo>
                    <a:lnTo>
                      <a:pt x="103383" y="571815"/>
                    </a:lnTo>
                    <a:lnTo>
                      <a:pt x="585833" y="571815"/>
                    </a:lnTo>
                    <a:lnTo>
                      <a:pt x="585833" y="274518"/>
                    </a:lnTo>
                    <a:lnTo>
                      <a:pt x="612700" y="300801"/>
                    </a:lnTo>
                    <a:lnTo>
                      <a:pt x="731853" y="180481"/>
                    </a:lnTo>
                    <a:close/>
                  </a:path>
                </a:pathLst>
              </a:custGeom>
              <a:grpFill/>
              <a:ln w="5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139" name="Graphic 6">
                <a:extLst>
                  <a:ext uri="{FF2B5EF4-FFF2-40B4-BE49-F238E27FC236}">
                    <a16:creationId xmlns:a16="http://schemas.microsoft.com/office/drawing/2014/main" id="{923641B2-4784-42E9-ACBD-B6F800CADE1F}"/>
                  </a:ext>
                </a:extLst>
              </p:cNvPr>
              <p:cNvGrpSpPr/>
              <p:nvPr/>
            </p:nvGrpSpPr>
            <p:grpSpPr>
              <a:xfrm>
                <a:off x="8643138" y="4442963"/>
                <a:ext cx="309563" cy="157702"/>
                <a:chOff x="8643138" y="4442963"/>
                <a:chExt cx="309563" cy="157702"/>
              </a:xfrm>
              <a:grpFill/>
            </p:grpSpPr>
            <p:sp>
              <p:nvSpPr>
                <p:cNvPr id="141" name="Freeform: Shape 140">
                  <a:extLst>
                    <a:ext uri="{FF2B5EF4-FFF2-40B4-BE49-F238E27FC236}">
                      <a16:creationId xmlns:a16="http://schemas.microsoft.com/office/drawing/2014/main" id="{5032954F-4A71-457E-ADBE-D501F3727F0D}"/>
                    </a:ext>
                  </a:extLst>
                </p:cNvPr>
                <p:cNvSpPr/>
                <p:nvPr/>
              </p:nvSpPr>
              <p:spPr>
                <a:xfrm>
                  <a:off x="8643138" y="4442963"/>
                  <a:ext cx="309563" cy="157702"/>
                </a:xfrm>
                <a:custGeom>
                  <a:avLst/>
                  <a:gdLst>
                    <a:gd name="connsiteX0" fmla="*/ 310812 w 309562"/>
                    <a:gd name="connsiteY0" fmla="*/ 35045 h 157701"/>
                    <a:gd name="connsiteX1" fmla="*/ 309644 w 309562"/>
                    <a:gd name="connsiteY1" fmla="*/ 145436 h 157701"/>
                    <a:gd name="connsiteX2" fmla="*/ 293289 w 309562"/>
                    <a:gd name="connsiteY2" fmla="*/ 161790 h 157701"/>
                    <a:gd name="connsiteX3" fmla="*/ 16435 w 309562"/>
                    <a:gd name="connsiteY3" fmla="*/ 161790 h 157701"/>
                    <a:gd name="connsiteX4" fmla="*/ 81 w 309562"/>
                    <a:gd name="connsiteY4" fmla="*/ 146020 h 157701"/>
                    <a:gd name="connsiteX5" fmla="*/ 106968 w 309562"/>
                    <a:gd name="connsiteY5" fmla="*/ 52567 h 157701"/>
                    <a:gd name="connsiteX6" fmla="*/ 112808 w 309562"/>
                    <a:gd name="connsiteY6" fmla="*/ 52567 h 157701"/>
                    <a:gd name="connsiteX7" fmla="*/ 171216 w 309562"/>
                    <a:gd name="connsiteY7" fmla="*/ 0 h 157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9562" h="157701">
                      <a:moveTo>
                        <a:pt x="310812" y="35045"/>
                      </a:moveTo>
                      <a:lnTo>
                        <a:pt x="309644" y="145436"/>
                      </a:lnTo>
                      <a:cubicBezTo>
                        <a:pt x="309644" y="154197"/>
                        <a:pt x="302051" y="161790"/>
                        <a:pt x="293289" y="161790"/>
                      </a:cubicBezTo>
                      <a:lnTo>
                        <a:pt x="16435" y="161790"/>
                      </a:lnTo>
                      <a:cubicBezTo>
                        <a:pt x="7674" y="161790"/>
                        <a:pt x="665" y="154781"/>
                        <a:pt x="81" y="146020"/>
                      </a:cubicBezTo>
                      <a:cubicBezTo>
                        <a:pt x="-1671" y="99878"/>
                        <a:pt x="24612" y="52567"/>
                        <a:pt x="106968" y="52567"/>
                      </a:cubicBezTo>
                      <a:lnTo>
                        <a:pt x="112808" y="52567"/>
                      </a:lnTo>
                      <a:lnTo>
                        <a:pt x="171216" y="0"/>
                      </a:lnTo>
                    </a:path>
                  </a:pathLst>
                </a:custGeom>
                <a:grpFill/>
                <a:ln w="584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42" name="Freeform: Shape 141">
                  <a:extLst>
                    <a:ext uri="{FF2B5EF4-FFF2-40B4-BE49-F238E27FC236}">
                      <a16:creationId xmlns:a16="http://schemas.microsoft.com/office/drawing/2014/main" id="{935C69BF-31E8-4831-8AFE-9BC4DF6525F8}"/>
                    </a:ext>
                  </a:extLst>
                </p:cNvPr>
                <p:cNvSpPr/>
                <p:nvPr/>
              </p:nvSpPr>
              <p:spPr>
                <a:xfrm>
                  <a:off x="8885028" y="4499035"/>
                  <a:ext cx="64249" cy="70090"/>
                </a:xfrm>
                <a:custGeom>
                  <a:avLst/>
                  <a:gdLst>
                    <a:gd name="connsiteX0" fmla="*/ 67754 w 64248"/>
                    <a:gd name="connsiteY0" fmla="*/ 0 h 70089"/>
                    <a:gd name="connsiteX1" fmla="*/ 67754 w 64248"/>
                    <a:gd name="connsiteY1" fmla="*/ 0 h 70089"/>
                    <a:gd name="connsiteX2" fmla="*/ 0 w 64248"/>
                    <a:gd name="connsiteY2" fmla="*/ 67753 h 70089"/>
                    <a:gd name="connsiteX3" fmla="*/ 0 w 64248"/>
                    <a:gd name="connsiteY3" fmla="*/ 74762 h 70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4248" h="70089">
                      <a:moveTo>
                        <a:pt x="67754" y="0"/>
                      </a:moveTo>
                      <a:lnTo>
                        <a:pt x="67754" y="0"/>
                      </a:lnTo>
                      <a:cubicBezTo>
                        <a:pt x="30373" y="0"/>
                        <a:pt x="0" y="30372"/>
                        <a:pt x="0" y="67753"/>
                      </a:cubicBezTo>
                      <a:lnTo>
                        <a:pt x="0" y="74762"/>
                      </a:lnTo>
                    </a:path>
                  </a:pathLst>
                </a:custGeom>
                <a:grp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43" name="Freeform: Shape 142">
                  <a:extLst>
                    <a:ext uri="{FF2B5EF4-FFF2-40B4-BE49-F238E27FC236}">
                      <a16:creationId xmlns:a16="http://schemas.microsoft.com/office/drawing/2014/main" id="{E0B1D023-50E8-4225-999C-324B65969C07}"/>
                    </a:ext>
                  </a:extLst>
                </p:cNvPr>
                <p:cNvSpPr/>
                <p:nvPr/>
              </p:nvSpPr>
              <p:spPr>
                <a:xfrm>
                  <a:off x="8643803" y="4573797"/>
                  <a:ext cx="262836" cy="5841"/>
                </a:xfrm>
                <a:custGeom>
                  <a:avLst/>
                  <a:gdLst>
                    <a:gd name="connsiteX0" fmla="*/ 0 w 262836"/>
                    <a:gd name="connsiteY0" fmla="*/ 0 h 0"/>
                    <a:gd name="connsiteX1" fmla="*/ 265173 w 262836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2836">
                      <a:moveTo>
                        <a:pt x="0" y="0"/>
                      </a:moveTo>
                      <a:lnTo>
                        <a:pt x="265173" y="0"/>
                      </a:lnTo>
                    </a:path>
                  </a:pathLst>
                </a:custGeom>
                <a:grp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44" name="Freeform: Shape 143">
                  <a:extLst>
                    <a:ext uri="{FF2B5EF4-FFF2-40B4-BE49-F238E27FC236}">
                      <a16:creationId xmlns:a16="http://schemas.microsoft.com/office/drawing/2014/main" id="{C6114B0E-5365-4386-BA47-51ED599F2B0F}"/>
                    </a:ext>
                  </a:extLst>
                </p:cNvPr>
                <p:cNvSpPr/>
                <p:nvPr/>
              </p:nvSpPr>
              <p:spPr>
                <a:xfrm>
                  <a:off x="8772300" y="4480928"/>
                  <a:ext cx="29204" cy="35045"/>
                </a:xfrm>
                <a:custGeom>
                  <a:avLst/>
                  <a:gdLst>
                    <a:gd name="connsiteX0" fmla="*/ 0 w 29204"/>
                    <a:gd name="connsiteY0" fmla="*/ 0 h 35044"/>
                    <a:gd name="connsiteX1" fmla="*/ 33292 w 29204"/>
                    <a:gd name="connsiteY1" fmla="*/ 38549 h 35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204" h="35044">
                      <a:moveTo>
                        <a:pt x="0" y="0"/>
                      </a:moveTo>
                      <a:lnTo>
                        <a:pt x="33292" y="38549"/>
                      </a:lnTo>
                    </a:path>
                  </a:pathLst>
                </a:custGeom>
                <a:grp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45" name="Freeform: Shape 144">
                  <a:extLst>
                    <a:ext uri="{FF2B5EF4-FFF2-40B4-BE49-F238E27FC236}">
                      <a16:creationId xmlns:a16="http://schemas.microsoft.com/office/drawing/2014/main" id="{5E78C10B-625F-4557-8747-2908BC105C8F}"/>
                    </a:ext>
                  </a:extLst>
                </p:cNvPr>
                <p:cNvSpPr/>
                <p:nvPr/>
              </p:nvSpPr>
              <p:spPr>
                <a:xfrm>
                  <a:off x="8791575" y="4464574"/>
                  <a:ext cx="29204" cy="35045"/>
                </a:xfrm>
                <a:custGeom>
                  <a:avLst/>
                  <a:gdLst>
                    <a:gd name="connsiteX0" fmla="*/ 0 w 29204"/>
                    <a:gd name="connsiteY0" fmla="*/ 0 h 35044"/>
                    <a:gd name="connsiteX1" fmla="*/ 33293 w 29204"/>
                    <a:gd name="connsiteY1" fmla="*/ 39133 h 35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204" h="35044">
                      <a:moveTo>
                        <a:pt x="0" y="0"/>
                      </a:moveTo>
                      <a:lnTo>
                        <a:pt x="33293" y="39133"/>
                      </a:lnTo>
                    </a:path>
                  </a:pathLst>
                </a:custGeom>
                <a:grp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6C42B2CE-B11F-4185-B359-02C0951C0022}"/>
                  </a:ext>
                </a:extLst>
              </p:cNvPr>
              <p:cNvSpPr/>
              <p:nvPr/>
            </p:nvSpPr>
            <p:spPr>
              <a:xfrm>
                <a:off x="9421797" y="4472751"/>
                <a:ext cx="157702" cy="128498"/>
              </a:xfrm>
              <a:custGeom>
                <a:avLst/>
                <a:gdLst>
                  <a:gd name="connsiteX0" fmla="*/ 159454 w 157701"/>
                  <a:gd name="connsiteY0" fmla="*/ 0 h 128497"/>
                  <a:gd name="connsiteX1" fmla="*/ 159454 w 157701"/>
                  <a:gd name="connsiteY1" fmla="*/ 114480 h 128497"/>
                  <a:gd name="connsiteX2" fmla="*/ 143100 w 157701"/>
                  <a:gd name="connsiteY2" fmla="*/ 130834 h 128497"/>
                  <a:gd name="connsiteX3" fmla="*/ 16355 w 157701"/>
                  <a:gd name="connsiteY3" fmla="*/ 130834 h 128497"/>
                  <a:gd name="connsiteX4" fmla="*/ 0 w 157701"/>
                  <a:gd name="connsiteY4" fmla="*/ 114480 h 128497"/>
                  <a:gd name="connsiteX5" fmla="*/ 0 w 157701"/>
                  <a:gd name="connsiteY5" fmla="*/ 20443 h 128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701" h="128497">
                    <a:moveTo>
                      <a:pt x="159454" y="0"/>
                    </a:moveTo>
                    <a:lnTo>
                      <a:pt x="159454" y="114480"/>
                    </a:lnTo>
                    <a:cubicBezTo>
                      <a:pt x="159454" y="123825"/>
                      <a:pt x="151861" y="130834"/>
                      <a:pt x="143100" y="130834"/>
                    </a:cubicBezTo>
                    <a:lnTo>
                      <a:pt x="16355" y="130834"/>
                    </a:lnTo>
                    <a:cubicBezTo>
                      <a:pt x="7009" y="130834"/>
                      <a:pt x="0" y="123241"/>
                      <a:pt x="0" y="114480"/>
                    </a:cubicBezTo>
                    <a:lnTo>
                      <a:pt x="0" y="20443"/>
                    </a:lnTo>
                  </a:path>
                </a:pathLst>
              </a:custGeom>
              <a:grpFill/>
              <a:ln w="5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B3DF194B-1E4A-470F-A7CB-7B68E0B4AD6E}"/>
                </a:ext>
              </a:extLst>
            </p:cNvPr>
            <p:cNvGrpSpPr/>
            <p:nvPr/>
          </p:nvGrpSpPr>
          <p:grpSpPr>
            <a:xfrm>
              <a:off x="8422026" y="2491869"/>
              <a:ext cx="1177506" cy="2086601"/>
              <a:chOff x="8720317" y="2491869"/>
              <a:chExt cx="1177506" cy="2086601"/>
            </a:xfrm>
          </p:grpSpPr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82F05E1E-2D2E-456C-AA8C-27DB5EF4CF20}"/>
                  </a:ext>
                </a:extLst>
              </p:cNvPr>
              <p:cNvSpPr/>
              <p:nvPr/>
            </p:nvSpPr>
            <p:spPr>
              <a:xfrm>
                <a:off x="9379160" y="3733305"/>
                <a:ext cx="23363" cy="706737"/>
              </a:xfrm>
              <a:custGeom>
                <a:avLst/>
                <a:gdLst>
                  <a:gd name="connsiteX0" fmla="*/ 23947 w 23363"/>
                  <a:gd name="connsiteY0" fmla="*/ 0 h 706737"/>
                  <a:gd name="connsiteX1" fmla="*/ 0 w 23363"/>
                  <a:gd name="connsiteY1" fmla="*/ 711410 h 706737"/>
                  <a:gd name="connsiteX2" fmla="*/ 5256 w 23363"/>
                  <a:gd name="connsiteY2" fmla="*/ 711994 h 706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363" h="706737">
                    <a:moveTo>
                      <a:pt x="23947" y="0"/>
                    </a:moveTo>
                    <a:lnTo>
                      <a:pt x="0" y="711410"/>
                    </a:lnTo>
                    <a:lnTo>
                      <a:pt x="5256" y="711994"/>
                    </a:ln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5E42FC86-C74F-40FE-8CCB-08D2072D4A04}"/>
                  </a:ext>
                </a:extLst>
              </p:cNvPr>
              <p:cNvSpPr/>
              <p:nvPr/>
            </p:nvSpPr>
            <p:spPr>
              <a:xfrm>
                <a:off x="8764707" y="3465212"/>
                <a:ext cx="683374" cy="1033822"/>
              </a:xfrm>
              <a:custGeom>
                <a:avLst/>
                <a:gdLst>
                  <a:gd name="connsiteX0" fmla="*/ 432219 w 683373"/>
                  <a:gd name="connsiteY0" fmla="*/ 0 h 1033822"/>
                  <a:gd name="connsiteX1" fmla="*/ 422874 w 683373"/>
                  <a:gd name="connsiteY1" fmla="*/ 148356 h 1033822"/>
                  <a:gd name="connsiteX2" fmla="*/ 0 w 683373"/>
                  <a:gd name="connsiteY2" fmla="*/ 915838 h 1033822"/>
                  <a:gd name="connsiteX3" fmla="*/ 214942 w 683373"/>
                  <a:gd name="connsiteY3" fmla="*/ 1034406 h 1033822"/>
                  <a:gd name="connsiteX4" fmla="*/ 630807 w 683373"/>
                  <a:gd name="connsiteY4" fmla="*/ 279775 h 1033822"/>
                  <a:gd name="connsiteX5" fmla="*/ 686294 w 683373"/>
                  <a:gd name="connsiteY5" fmla="*/ 244730 h 1033822"/>
                  <a:gd name="connsiteX6" fmla="*/ 686294 w 683373"/>
                  <a:gd name="connsiteY6" fmla="*/ 244730 h 103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3373" h="1033822">
                    <a:moveTo>
                      <a:pt x="432219" y="0"/>
                    </a:moveTo>
                    <a:lnTo>
                      <a:pt x="422874" y="148356"/>
                    </a:lnTo>
                    <a:lnTo>
                      <a:pt x="0" y="915838"/>
                    </a:lnTo>
                    <a:lnTo>
                      <a:pt x="214942" y="1034406"/>
                    </a:lnTo>
                    <a:lnTo>
                      <a:pt x="630807" y="279775"/>
                    </a:lnTo>
                    <a:cubicBezTo>
                      <a:pt x="641904" y="259332"/>
                      <a:pt x="662931" y="245898"/>
                      <a:pt x="686294" y="244730"/>
                    </a:cubicBezTo>
                    <a:lnTo>
                      <a:pt x="686294" y="244730"/>
                    </a:ln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20EF97AF-9CBD-460A-89C3-26876FD81A2C}"/>
                  </a:ext>
                </a:extLst>
              </p:cNvPr>
              <p:cNvSpPr/>
              <p:nvPr/>
            </p:nvSpPr>
            <p:spPr>
              <a:xfrm>
                <a:off x="9384416" y="3804563"/>
                <a:ext cx="268677" cy="648329"/>
              </a:xfrm>
              <a:custGeom>
                <a:avLst/>
                <a:gdLst>
                  <a:gd name="connsiteX0" fmla="*/ 0 w 268676"/>
                  <a:gd name="connsiteY0" fmla="*/ 640736 h 648329"/>
                  <a:gd name="connsiteX1" fmla="*/ 239473 w 268676"/>
                  <a:gd name="connsiteY1" fmla="*/ 651834 h 648329"/>
                  <a:gd name="connsiteX2" fmla="*/ 269845 w 268676"/>
                  <a:gd name="connsiteY2" fmla="*/ 0 h 648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8676" h="648329">
                    <a:moveTo>
                      <a:pt x="0" y="640736"/>
                    </a:moveTo>
                    <a:lnTo>
                      <a:pt x="239473" y="651834"/>
                    </a:lnTo>
                    <a:lnTo>
                      <a:pt x="269845" y="0"/>
                    </a:ln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DFAA32C5-195C-4231-9EFE-C1C2D8A2D426}"/>
                  </a:ext>
                </a:extLst>
              </p:cNvPr>
              <p:cNvSpPr/>
              <p:nvPr/>
            </p:nvSpPr>
            <p:spPr>
              <a:xfrm>
                <a:off x="9565481" y="2724599"/>
                <a:ext cx="17522" cy="5841"/>
              </a:xfrm>
              <a:custGeom>
                <a:avLst/>
                <a:gdLst>
                  <a:gd name="connsiteX0" fmla="*/ 22195 w 17522"/>
                  <a:gd name="connsiteY0" fmla="*/ 0 h 0"/>
                  <a:gd name="connsiteX1" fmla="*/ 0 w 17522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22">
                    <a:moveTo>
                      <a:pt x="22195" y="0"/>
                    </a:moveTo>
                    <a:lnTo>
                      <a:pt x="0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70" name="Graphic 6">
                <a:extLst>
                  <a:ext uri="{FF2B5EF4-FFF2-40B4-BE49-F238E27FC236}">
                    <a16:creationId xmlns:a16="http://schemas.microsoft.com/office/drawing/2014/main" id="{AC37F76F-ECC9-46CB-AD02-DC026F196C9A}"/>
                  </a:ext>
                </a:extLst>
              </p:cNvPr>
              <p:cNvGrpSpPr/>
              <p:nvPr/>
            </p:nvGrpSpPr>
            <p:grpSpPr>
              <a:xfrm>
                <a:off x="9261722" y="2695562"/>
                <a:ext cx="46726" cy="58408"/>
                <a:chOff x="9261722" y="2695562"/>
                <a:chExt cx="46726" cy="58408"/>
              </a:xfrm>
              <a:noFill/>
            </p:grpSpPr>
            <p:sp>
              <p:nvSpPr>
                <p:cNvPr id="135" name="Freeform: Shape 134">
                  <a:extLst>
                    <a:ext uri="{FF2B5EF4-FFF2-40B4-BE49-F238E27FC236}">
                      <a16:creationId xmlns:a16="http://schemas.microsoft.com/office/drawing/2014/main" id="{883707FB-525B-4A1E-93F3-6F7212721FD6}"/>
                    </a:ext>
                  </a:extLst>
                </p:cNvPr>
                <p:cNvSpPr/>
                <p:nvPr/>
              </p:nvSpPr>
              <p:spPr>
                <a:xfrm>
                  <a:off x="9261722" y="2695562"/>
                  <a:ext cx="46726" cy="58408"/>
                </a:xfrm>
                <a:custGeom>
                  <a:avLst/>
                  <a:gdLst>
                    <a:gd name="connsiteX0" fmla="*/ 47349 w 46726"/>
                    <a:gd name="connsiteY0" fmla="*/ 5673 h 58408"/>
                    <a:gd name="connsiteX1" fmla="*/ 37419 w 46726"/>
                    <a:gd name="connsiteY1" fmla="*/ 1001 h 58408"/>
                    <a:gd name="connsiteX2" fmla="*/ 1206 w 46726"/>
                    <a:gd name="connsiteY2" fmla="*/ 21443 h 58408"/>
                    <a:gd name="connsiteX3" fmla="*/ 21649 w 46726"/>
                    <a:gd name="connsiteY3" fmla="*/ 57656 h 58408"/>
                    <a:gd name="connsiteX4" fmla="*/ 50853 w 46726"/>
                    <a:gd name="connsiteY4" fmla="*/ 49479 h 58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726" h="58408">
                      <a:moveTo>
                        <a:pt x="47349" y="5673"/>
                      </a:moveTo>
                      <a:cubicBezTo>
                        <a:pt x="44428" y="3337"/>
                        <a:pt x="40923" y="1585"/>
                        <a:pt x="37419" y="1001"/>
                      </a:cubicBezTo>
                      <a:cubicBezTo>
                        <a:pt x="21649" y="-3088"/>
                        <a:pt x="5878" y="5673"/>
                        <a:pt x="1206" y="21443"/>
                      </a:cubicBezTo>
                      <a:cubicBezTo>
                        <a:pt x="-3467" y="37214"/>
                        <a:pt x="5878" y="52984"/>
                        <a:pt x="21649" y="57656"/>
                      </a:cubicBezTo>
                      <a:cubicBezTo>
                        <a:pt x="32162" y="60577"/>
                        <a:pt x="43260" y="57072"/>
                        <a:pt x="50853" y="49479"/>
                      </a:cubicBez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36" name="Freeform: Shape 135">
                  <a:extLst>
                    <a:ext uri="{FF2B5EF4-FFF2-40B4-BE49-F238E27FC236}">
                      <a16:creationId xmlns:a16="http://schemas.microsoft.com/office/drawing/2014/main" id="{462968AF-7295-4117-8F4F-14BA5A6C036A}"/>
                    </a:ext>
                  </a:extLst>
                </p:cNvPr>
                <p:cNvSpPr/>
                <p:nvPr/>
              </p:nvSpPr>
              <p:spPr>
                <a:xfrm>
                  <a:off x="9280450" y="2724599"/>
                  <a:ext cx="17522" cy="5841"/>
                </a:xfrm>
                <a:custGeom>
                  <a:avLst/>
                  <a:gdLst>
                    <a:gd name="connsiteX0" fmla="*/ 0 w 17522"/>
                    <a:gd name="connsiteY0" fmla="*/ 0 h 0"/>
                    <a:gd name="connsiteX1" fmla="*/ 22779 w 17522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522">
                      <a:moveTo>
                        <a:pt x="0" y="0"/>
                      </a:moveTo>
                      <a:lnTo>
                        <a:pt x="22779" y="0"/>
                      </a:lnTo>
                    </a:path>
                  </a:pathLst>
                </a:custGeom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5E6DCC6-E3CA-484A-B68F-D54025271AB8}"/>
                  </a:ext>
                </a:extLst>
              </p:cNvPr>
              <p:cNvSpPr/>
              <p:nvPr/>
            </p:nvSpPr>
            <p:spPr>
              <a:xfrm>
                <a:off x="9468524" y="2685465"/>
                <a:ext cx="40886" cy="5841"/>
              </a:xfrm>
              <a:custGeom>
                <a:avLst/>
                <a:gdLst>
                  <a:gd name="connsiteX0" fmla="*/ 5257 w 40885"/>
                  <a:gd name="connsiteY0" fmla="*/ 0 h 5840"/>
                  <a:gd name="connsiteX1" fmla="*/ 37965 w 40885"/>
                  <a:gd name="connsiteY1" fmla="*/ 584 h 5840"/>
                  <a:gd name="connsiteX2" fmla="*/ 42638 w 40885"/>
                  <a:gd name="connsiteY2" fmla="*/ 5257 h 5840"/>
                  <a:gd name="connsiteX3" fmla="*/ 42638 w 40885"/>
                  <a:gd name="connsiteY3" fmla="*/ 5257 h 5840"/>
                  <a:gd name="connsiteX4" fmla="*/ 37381 w 40885"/>
                  <a:gd name="connsiteY4" fmla="*/ 9929 h 5840"/>
                  <a:gd name="connsiteX5" fmla="*/ 4673 w 40885"/>
                  <a:gd name="connsiteY5" fmla="*/ 9345 h 5840"/>
                  <a:gd name="connsiteX6" fmla="*/ 0 w 40885"/>
                  <a:gd name="connsiteY6" fmla="*/ 4673 h 5840"/>
                  <a:gd name="connsiteX7" fmla="*/ 0 w 40885"/>
                  <a:gd name="connsiteY7" fmla="*/ 4673 h 5840"/>
                  <a:gd name="connsiteX8" fmla="*/ 5257 w 40885"/>
                  <a:gd name="connsiteY8" fmla="*/ 0 h 5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85" h="5840">
                    <a:moveTo>
                      <a:pt x="5257" y="0"/>
                    </a:moveTo>
                    <a:lnTo>
                      <a:pt x="37965" y="584"/>
                    </a:lnTo>
                    <a:cubicBezTo>
                      <a:pt x="40886" y="584"/>
                      <a:pt x="42638" y="2920"/>
                      <a:pt x="42638" y="5257"/>
                    </a:cubicBezTo>
                    <a:lnTo>
                      <a:pt x="42638" y="5257"/>
                    </a:lnTo>
                    <a:cubicBezTo>
                      <a:pt x="42638" y="7593"/>
                      <a:pt x="40302" y="9929"/>
                      <a:pt x="37381" y="9929"/>
                    </a:cubicBezTo>
                    <a:lnTo>
                      <a:pt x="4673" y="9345"/>
                    </a:lnTo>
                    <a:cubicBezTo>
                      <a:pt x="1753" y="9345"/>
                      <a:pt x="0" y="7009"/>
                      <a:pt x="0" y="4673"/>
                    </a:cubicBezTo>
                    <a:lnTo>
                      <a:pt x="0" y="4673"/>
                    </a:lnTo>
                    <a:cubicBezTo>
                      <a:pt x="0" y="2336"/>
                      <a:pt x="2336" y="0"/>
                      <a:pt x="5257" y="0"/>
                    </a:cubicBezTo>
                    <a:close/>
                  </a:path>
                </a:pathLst>
              </a:custGeom>
              <a:solidFill>
                <a:srgbClr val="30373B"/>
              </a:solidFill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72A92DA-D0CF-4F92-8EB0-2C1B1ECD06E3}"/>
                  </a:ext>
                </a:extLst>
              </p:cNvPr>
              <p:cNvSpPr/>
              <p:nvPr/>
            </p:nvSpPr>
            <p:spPr>
              <a:xfrm>
                <a:off x="9358019" y="2681262"/>
                <a:ext cx="40886" cy="17522"/>
              </a:xfrm>
              <a:custGeom>
                <a:avLst/>
                <a:gdLst>
                  <a:gd name="connsiteX0" fmla="*/ 5954 w 40885"/>
                  <a:gd name="connsiteY0" fmla="*/ 115 h 17522"/>
                  <a:gd name="connsiteX1" fmla="*/ 37494 w 40885"/>
                  <a:gd name="connsiteY1" fmla="*/ 8876 h 17522"/>
                  <a:gd name="connsiteX2" fmla="*/ 40999 w 40885"/>
                  <a:gd name="connsiteY2" fmla="*/ 14717 h 17522"/>
                  <a:gd name="connsiteX3" fmla="*/ 40999 w 40885"/>
                  <a:gd name="connsiteY3" fmla="*/ 14717 h 17522"/>
                  <a:gd name="connsiteX4" fmla="*/ 35158 w 40885"/>
                  <a:gd name="connsiteY4" fmla="*/ 17637 h 17522"/>
                  <a:gd name="connsiteX5" fmla="*/ 3618 w 40885"/>
                  <a:gd name="connsiteY5" fmla="*/ 8876 h 17522"/>
                  <a:gd name="connsiteX6" fmla="*/ 113 w 40885"/>
                  <a:gd name="connsiteY6" fmla="*/ 3035 h 17522"/>
                  <a:gd name="connsiteX7" fmla="*/ 113 w 40885"/>
                  <a:gd name="connsiteY7" fmla="*/ 3035 h 17522"/>
                  <a:gd name="connsiteX8" fmla="*/ 5954 w 40885"/>
                  <a:gd name="connsiteY8" fmla="*/ 115 h 17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85" h="17522">
                    <a:moveTo>
                      <a:pt x="5954" y="115"/>
                    </a:moveTo>
                    <a:lnTo>
                      <a:pt x="37494" y="8876"/>
                    </a:lnTo>
                    <a:cubicBezTo>
                      <a:pt x="39831" y="9460"/>
                      <a:pt x="41583" y="12380"/>
                      <a:pt x="40999" y="14717"/>
                    </a:cubicBezTo>
                    <a:lnTo>
                      <a:pt x="40999" y="14717"/>
                    </a:lnTo>
                    <a:cubicBezTo>
                      <a:pt x="40415" y="17053"/>
                      <a:pt x="37494" y="18221"/>
                      <a:pt x="35158" y="17637"/>
                    </a:cubicBezTo>
                    <a:lnTo>
                      <a:pt x="3618" y="8876"/>
                    </a:lnTo>
                    <a:cubicBezTo>
                      <a:pt x="1282" y="8292"/>
                      <a:pt x="-471" y="5371"/>
                      <a:pt x="113" y="3035"/>
                    </a:cubicBezTo>
                    <a:lnTo>
                      <a:pt x="113" y="3035"/>
                    </a:lnTo>
                    <a:cubicBezTo>
                      <a:pt x="698" y="1283"/>
                      <a:pt x="3034" y="-470"/>
                      <a:pt x="5954" y="115"/>
                    </a:cubicBezTo>
                    <a:close/>
                  </a:path>
                </a:pathLst>
              </a:custGeom>
              <a:solidFill>
                <a:srgbClr val="30373B"/>
              </a:solidFill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FA9BB6E6-8986-40DF-B846-9C88416C34E9}"/>
                  </a:ext>
                </a:extLst>
              </p:cNvPr>
              <p:cNvSpPr/>
              <p:nvPr/>
            </p:nvSpPr>
            <p:spPr>
              <a:xfrm>
                <a:off x="9441072" y="4500203"/>
                <a:ext cx="140179" cy="75930"/>
              </a:xfrm>
              <a:custGeom>
                <a:avLst/>
                <a:gdLst>
                  <a:gd name="connsiteX0" fmla="*/ 140179 w 140179"/>
                  <a:gd name="connsiteY0" fmla="*/ 78267 h 75930"/>
                  <a:gd name="connsiteX1" fmla="*/ 60160 w 140179"/>
                  <a:gd name="connsiteY1" fmla="*/ 0 h 75930"/>
                  <a:gd name="connsiteX2" fmla="*/ 0 w 140179"/>
                  <a:gd name="connsiteY2" fmla="*/ 26868 h 75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0179" h="75930">
                    <a:moveTo>
                      <a:pt x="140179" y="78267"/>
                    </a:moveTo>
                    <a:cubicBezTo>
                      <a:pt x="140179" y="35045"/>
                      <a:pt x="104551" y="0"/>
                      <a:pt x="60160" y="0"/>
                    </a:cubicBezTo>
                    <a:cubicBezTo>
                      <a:pt x="36213" y="0"/>
                      <a:pt x="14602" y="10514"/>
                      <a:pt x="0" y="26868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E0E073E2-7970-44FD-825B-F1FA63E5B1EA}"/>
                  </a:ext>
                </a:extLst>
              </p:cNvPr>
              <p:cNvSpPr/>
              <p:nvPr/>
            </p:nvSpPr>
            <p:spPr>
              <a:xfrm>
                <a:off x="9498312" y="2695562"/>
                <a:ext cx="105134" cy="163542"/>
              </a:xfrm>
              <a:custGeom>
                <a:avLst/>
                <a:gdLst>
                  <a:gd name="connsiteX0" fmla="*/ 0 w 105134"/>
                  <a:gd name="connsiteY0" fmla="*/ 165127 h 163542"/>
                  <a:gd name="connsiteX1" fmla="*/ 51399 w 105134"/>
                  <a:gd name="connsiteY1" fmla="*/ 90949 h 163542"/>
                  <a:gd name="connsiteX2" fmla="*/ 57824 w 105134"/>
                  <a:gd name="connsiteY2" fmla="*/ 49479 h 163542"/>
                  <a:gd name="connsiteX3" fmla="*/ 87028 w 105134"/>
                  <a:gd name="connsiteY3" fmla="*/ 57656 h 163542"/>
                  <a:gd name="connsiteX4" fmla="*/ 107471 w 105134"/>
                  <a:gd name="connsiteY4" fmla="*/ 21443 h 163542"/>
                  <a:gd name="connsiteX5" fmla="*/ 71258 w 105134"/>
                  <a:gd name="connsiteY5" fmla="*/ 1001 h 163542"/>
                  <a:gd name="connsiteX6" fmla="*/ 61328 w 105134"/>
                  <a:gd name="connsiteY6" fmla="*/ 5673 h 163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134" h="163542">
                    <a:moveTo>
                      <a:pt x="0" y="165127"/>
                    </a:moveTo>
                    <a:cubicBezTo>
                      <a:pt x="39718" y="137675"/>
                      <a:pt x="51399" y="90949"/>
                      <a:pt x="51399" y="90949"/>
                    </a:cubicBezTo>
                    <a:cubicBezTo>
                      <a:pt x="51399" y="90949"/>
                      <a:pt x="58408" y="62329"/>
                      <a:pt x="57824" y="49479"/>
                    </a:cubicBezTo>
                    <a:cubicBezTo>
                      <a:pt x="64833" y="57072"/>
                      <a:pt x="75930" y="60577"/>
                      <a:pt x="87028" y="57656"/>
                    </a:cubicBezTo>
                    <a:cubicBezTo>
                      <a:pt x="102799" y="53568"/>
                      <a:pt x="111560" y="37214"/>
                      <a:pt x="107471" y="21443"/>
                    </a:cubicBezTo>
                    <a:cubicBezTo>
                      <a:pt x="103383" y="5673"/>
                      <a:pt x="87028" y="-3088"/>
                      <a:pt x="71258" y="1001"/>
                    </a:cubicBezTo>
                    <a:cubicBezTo>
                      <a:pt x="67754" y="2169"/>
                      <a:pt x="64249" y="3921"/>
                      <a:pt x="61328" y="5673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F7A427E-9B1C-490E-90D3-F5D4B5A799FA}"/>
                  </a:ext>
                </a:extLst>
              </p:cNvPr>
              <p:cNvSpPr/>
              <p:nvPr/>
            </p:nvSpPr>
            <p:spPr>
              <a:xfrm>
                <a:off x="9460931" y="2860689"/>
                <a:ext cx="35045" cy="11682"/>
              </a:xfrm>
              <a:custGeom>
                <a:avLst/>
                <a:gdLst>
                  <a:gd name="connsiteX0" fmla="*/ 0 w 35044"/>
                  <a:gd name="connsiteY0" fmla="*/ 16354 h 11681"/>
                  <a:gd name="connsiteX1" fmla="*/ 37381 w 35044"/>
                  <a:gd name="connsiteY1" fmla="*/ 0 h 11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44" h="11681">
                    <a:moveTo>
                      <a:pt x="0" y="16354"/>
                    </a:moveTo>
                    <a:cubicBezTo>
                      <a:pt x="14602" y="12850"/>
                      <a:pt x="26868" y="7009"/>
                      <a:pt x="37381" y="0"/>
                    </a:cubicBezTo>
                  </a:path>
                </a:pathLst>
              </a:custGeom>
              <a:noFill/>
              <a:ln w="5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6D04516D-3786-4CE7-95AA-C250EDA88910}"/>
                  </a:ext>
                </a:extLst>
              </p:cNvPr>
              <p:cNvSpPr/>
              <p:nvPr/>
            </p:nvSpPr>
            <p:spPr>
              <a:xfrm>
                <a:off x="9310238" y="2747378"/>
                <a:ext cx="146020" cy="128498"/>
              </a:xfrm>
              <a:custGeom>
                <a:avLst/>
                <a:gdLst>
                  <a:gd name="connsiteX0" fmla="*/ 0 w 146020"/>
                  <a:gd name="connsiteY0" fmla="*/ 0 h 128497"/>
                  <a:gd name="connsiteX1" fmla="*/ 7593 w 146020"/>
                  <a:gd name="connsiteY1" fmla="*/ 42054 h 128497"/>
                  <a:gd name="connsiteX2" fmla="*/ 123241 w 146020"/>
                  <a:gd name="connsiteY2" fmla="*/ 132586 h 128497"/>
                  <a:gd name="connsiteX3" fmla="*/ 150693 w 146020"/>
                  <a:gd name="connsiteY3" fmla="*/ 129666 h 128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6020" h="128497">
                    <a:moveTo>
                      <a:pt x="0" y="0"/>
                    </a:moveTo>
                    <a:cubicBezTo>
                      <a:pt x="584" y="13434"/>
                      <a:pt x="7593" y="42054"/>
                      <a:pt x="7593" y="42054"/>
                    </a:cubicBezTo>
                    <a:cubicBezTo>
                      <a:pt x="7593" y="42054"/>
                      <a:pt x="29788" y="132586"/>
                      <a:pt x="123241" y="132586"/>
                    </a:cubicBezTo>
                    <a:cubicBezTo>
                      <a:pt x="133171" y="132586"/>
                      <a:pt x="142516" y="131418"/>
                      <a:pt x="150693" y="129666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1C2BCDD8-BF73-4EE8-9239-4A9FC5B0BE17}"/>
                  </a:ext>
                </a:extLst>
              </p:cNvPr>
              <p:cNvSpPr/>
              <p:nvPr/>
            </p:nvSpPr>
            <p:spPr>
              <a:xfrm>
                <a:off x="9403691" y="2801113"/>
                <a:ext cx="52567" cy="11682"/>
              </a:xfrm>
              <a:custGeom>
                <a:avLst/>
                <a:gdLst>
                  <a:gd name="connsiteX0" fmla="*/ 0 w 52567"/>
                  <a:gd name="connsiteY0" fmla="*/ 0 h 11681"/>
                  <a:gd name="connsiteX1" fmla="*/ 57824 w 52567"/>
                  <a:gd name="connsiteY1" fmla="*/ 3504 h 11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567" h="11681">
                    <a:moveTo>
                      <a:pt x="0" y="0"/>
                    </a:moveTo>
                    <a:cubicBezTo>
                      <a:pt x="0" y="0"/>
                      <a:pt x="22195" y="35045"/>
                      <a:pt x="57824" y="3504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5050BDA-81A9-426A-946E-81CB0A26C735}"/>
                  </a:ext>
                </a:extLst>
              </p:cNvPr>
              <p:cNvSpPr/>
              <p:nvPr/>
            </p:nvSpPr>
            <p:spPr>
              <a:xfrm>
                <a:off x="9486046" y="2720510"/>
                <a:ext cx="5841" cy="5841"/>
              </a:xfrm>
              <a:custGeom>
                <a:avLst/>
                <a:gdLst>
                  <a:gd name="connsiteX0" fmla="*/ 3504 w 5840"/>
                  <a:gd name="connsiteY0" fmla="*/ 8177 h 5840"/>
                  <a:gd name="connsiteX1" fmla="*/ 3504 w 5840"/>
                  <a:gd name="connsiteY1" fmla="*/ 8177 h 5840"/>
                  <a:gd name="connsiteX2" fmla="*/ 0 w 5840"/>
                  <a:gd name="connsiteY2" fmla="*/ 4673 h 5840"/>
                  <a:gd name="connsiteX3" fmla="*/ 0 w 5840"/>
                  <a:gd name="connsiteY3" fmla="*/ 3505 h 5840"/>
                  <a:gd name="connsiteX4" fmla="*/ 3504 w 5840"/>
                  <a:gd name="connsiteY4" fmla="*/ 0 h 5840"/>
                  <a:gd name="connsiteX5" fmla="*/ 3504 w 5840"/>
                  <a:gd name="connsiteY5" fmla="*/ 0 h 5840"/>
                  <a:gd name="connsiteX6" fmla="*/ 7009 w 5840"/>
                  <a:gd name="connsiteY6" fmla="*/ 3505 h 5840"/>
                  <a:gd name="connsiteX7" fmla="*/ 7009 w 5840"/>
                  <a:gd name="connsiteY7" fmla="*/ 4673 h 5840"/>
                  <a:gd name="connsiteX8" fmla="*/ 3504 w 5840"/>
                  <a:gd name="connsiteY8" fmla="*/ 8177 h 5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40" h="5840">
                    <a:moveTo>
                      <a:pt x="3504" y="8177"/>
                    </a:moveTo>
                    <a:lnTo>
                      <a:pt x="3504" y="8177"/>
                    </a:lnTo>
                    <a:cubicBezTo>
                      <a:pt x="1753" y="8177"/>
                      <a:pt x="0" y="6425"/>
                      <a:pt x="0" y="4673"/>
                    </a:cubicBezTo>
                    <a:lnTo>
                      <a:pt x="0" y="3505"/>
                    </a:lnTo>
                    <a:cubicBezTo>
                      <a:pt x="0" y="1752"/>
                      <a:pt x="1753" y="0"/>
                      <a:pt x="3504" y="0"/>
                    </a:cubicBezTo>
                    <a:lnTo>
                      <a:pt x="3504" y="0"/>
                    </a:lnTo>
                    <a:cubicBezTo>
                      <a:pt x="5257" y="0"/>
                      <a:pt x="7009" y="1752"/>
                      <a:pt x="7009" y="3505"/>
                    </a:cubicBezTo>
                    <a:lnTo>
                      <a:pt x="7009" y="4673"/>
                    </a:lnTo>
                    <a:cubicBezTo>
                      <a:pt x="7593" y="7009"/>
                      <a:pt x="5841" y="8177"/>
                      <a:pt x="3504" y="8177"/>
                    </a:cubicBezTo>
                    <a:close/>
                  </a:path>
                </a:pathLst>
              </a:custGeom>
              <a:solidFill>
                <a:srgbClr val="30373B"/>
              </a:solidFill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3B4DA184-B9E5-4070-99BE-790C5409B23C}"/>
                  </a:ext>
                </a:extLst>
              </p:cNvPr>
              <p:cNvSpPr/>
              <p:nvPr/>
            </p:nvSpPr>
            <p:spPr>
              <a:xfrm>
                <a:off x="9375071" y="2720510"/>
                <a:ext cx="5841" cy="5841"/>
              </a:xfrm>
              <a:custGeom>
                <a:avLst/>
                <a:gdLst>
                  <a:gd name="connsiteX0" fmla="*/ 3504 w 5840"/>
                  <a:gd name="connsiteY0" fmla="*/ 8177 h 5840"/>
                  <a:gd name="connsiteX1" fmla="*/ 3504 w 5840"/>
                  <a:gd name="connsiteY1" fmla="*/ 8177 h 5840"/>
                  <a:gd name="connsiteX2" fmla="*/ 0 w 5840"/>
                  <a:gd name="connsiteY2" fmla="*/ 4673 h 5840"/>
                  <a:gd name="connsiteX3" fmla="*/ 0 w 5840"/>
                  <a:gd name="connsiteY3" fmla="*/ 3505 h 5840"/>
                  <a:gd name="connsiteX4" fmla="*/ 3504 w 5840"/>
                  <a:gd name="connsiteY4" fmla="*/ 0 h 5840"/>
                  <a:gd name="connsiteX5" fmla="*/ 3504 w 5840"/>
                  <a:gd name="connsiteY5" fmla="*/ 0 h 5840"/>
                  <a:gd name="connsiteX6" fmla="*/ 7009 w 5840"/>
                  <a:gd name="connsiteY6" fmla="*/ 3505 h 5840"/>
                  <a:gd name="connsiteX7" fmla="*/ 7009 w 5840"/>
                  <a:gd name="connsiteY7" fmla="*/ 4673 h 5840"/>
                  <a:gd name="connsiteX8" fmla="*/ 3504 w 5840"/>
                  <a:gd name="connsiteY8" fmla="*/ 8177 h 5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40" h="5840">
                    <a:moveTo>
                      <a:pt x="3504" y="8177"/>
                    </a:moveTo>
                    <a:lnTo>
                      <a:pt x="3504" y="8177"/>
                    </a:lnTo>
                    <a:cubicBezTo>
                      <a:pt x="1753" y="8177"/>
                      <a:pt x="0" y="6425"/>
                      <a:pt x="0" y="4673"/>
                    </a:cubicBezTo>
                    <a:lnTo>
                      <a:pt x="0" y="3505"/>
                    </a:lnTo>
                    <a:cubicBezTo>
                      <a:pt x="0" y="1752"/>
                      <a:pt x="1753" y="0"/>
                      <a:pt x="3504" y="0"/>
                    </a:cubicBezTo>
                    <a:lnTo>
                      <a:pt x="3504" y="0"/>
                    </a:lnTo>
                    <a:cubicBezTo>
                      <a:pt x="5257" y="0"/>
                      <a:pt x="7009" y="1752"/>
                      <a:pt x="7009" y="3505"/>
                    </a:cubicBezTo>
                    <a:lnTo>
                      <a:pt x="7009" y="4673"/>
                    </a:lnTo>
                    <a:cubicBezTo>
                      <a:pt x="7009" y="7009"/>
                      <a:pt x="5257" y="8177"/>
                      <a:pt x="3504" y="8177"/>
                    </a:cubicBezTo>
                    <a:close/>
                  </a:path>
                </a:pathLst>
              </a:custGeom>
              <a:solidFill>
                <a:srgbClr val="30373B"/>
              </a:solidFill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BD060002-B66B-4346-982D-CCB9196A6F05}"/>
                  </a:ext>
                </a:extLst>
              </p:cNvPr>
              <p:cNvSpPr/>
              <p:nvPr/>
            </p:nvSpPr>
            <p:spPr>
              <a:xfrm>
                <a:off x="9427638" y="2715253"/>
                <a:ext cx="5841" cy="52567"/>
              </a:xfrm>
              <a:custGeom>
                <a:avLst/>
                <a:gdLst>
                  <a:gd name="connsiteX0" fmla="*/ 584 w 0"/>
                  <a:gd name="connsiteY0" fmla="*/ 0 h 52567"/>
                  <a:gd name="connsiteX1" fmla="*/ 0 w 0"/>
                  <a:gd name="connsiteY1" fmla="*/ 53151 h 52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52567">
                    <a:moveTo>
                      <a:pt x="584" y="0"/>
                    </a:moveTo>
                    <a:cubicBezTo>
                      <a:pt x="584" y="0"/>
                      <a:pt x="7593" y="22779"/>
                      <a:pt x="0" y="53151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FBBBBC8B-BAE5-4103-862C-A2E39EAD5226}"/>
                  </a:ext>
                </a:extLst>
              </p:cNvPr>
              <p:cNvSpPr/>
              <p:nvPr/>
            </p:nvSpPr>
            <p:spPr>
              <a:xfrm>
                <a:off x="9498312" y="2860689"/>
                <a:ext cx="5841" cy="93453"/>
              </a:xfrm>
              <a:custGeom>
                <a:avLst/>
                <a:gdLst>
                  <a:gd name="connsiteX0" fmla="*/ 8177 w 5840"/>
                  <a:gd name="connsiteY0" fmla="*/ 97541 h 93452"/>
                  <a:gd name="connsiteX1" fmla="*/ 0 w 5840"/>
                  <a:gd name="connsiteY1" fmla="*/ 0 h 93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0" h="93452">
                    <a:moveTo>
                      <a:pt x="8177" y="97541"/>
                    </a:moveTo>
                    <a:lnTo>
                      <a:pt x="0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38176499-D668-4C60-86BB-9C661C07A8F3}"/>
                  </a:ext>
                </a:extLst>
              </p:cNvPr>
              <p:cNvSpPr/>
              <p:nvPr/>
            </p:nvSpPr>
            <p:spPr>
              <a:xfrm>
                <a:off x="9359885" y="2862442"/>
                <a:ext cx="5841" cy="99294"/>
              </a:xfrm>
              <a:custGeom>
                <a:avLst/>
                <a:gdLst>
                  <a:gd name="connsiteX0" fmla="*/ 9929 w 5840"/>
                  <a:gd name="connsiteY0" fmla="*/ 0 h 99293"/>
                  <a:gd name="connsiteX1" fmla="*/ 0 w 5840"/>
                  <a:gd name="connsiteY1" fmla="*/ 103966 h 9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0" h="99293">
                    <a:moveTo>
                      <a:pt x="9929" y="0"/>
                    </a:moveTo>
                    <a:lnTo>
                      <a:pt x="0" y="103966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D97DF465-E4A5-48F4-B19E-3F54FF5A1DC6}"/>
                  </a:ext>
                </a:extLst>
              </p:cNvPr>
              <p:cNvSpPr/>
              <p:nvPr/>
            </p:nvSpPr>
            <p:spPr>
              <a:xfrm>
                <a:off x="9421213" y="4572629"/>
                <a:ext cx="157702" cy="5841"/>
              </a:xfrm>
              <a:custGeom>
                <a:avLst/>
                <a:gdLst>
                  <a:gd name="connsiteX0" fmla="*/ 160038 w 157701"/>
                  <a:gd name="connsiteY0" fmla="*/ 0 h 0"/>
                  <a:gd name="connsiteX1" fmla="*/ 0 w 157701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701">
                    <a:moveTo>
                      <a:pt x="160038" y="0"/>
                    </a:moveTo>
                    <a:lnTo>
                      <a:pt x="0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87C62E9B-5E70-4A9F-A374-AB5C6CEACBC4}"/>
                  </a:ext>
                </a:extLst>
              </p:cNvPr>
              <p:cNvSpPr/>
              <p:nvPr/>
            </p:nvSpPr>
            <p:spPr>
              <a:xfrm>
                <a:off x="9299141" y="4369953"/>
                <a:ext cx="251154" cy="5841"/>
              </a:xfrm>
              <a:custGeom>
                <a:avLst/>
                <a:gdLst>
                  <a:gd name="connsiteX0" fmla="*/ 0 w 251154"/>
                  <a:gd name="connsiteY0" fmla="*/ 0 h 0"/>
                  <a:gd name="connsiteX1" fmla="*/ 254659 w 251154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1154">
                    <a:moveTo>
                      <a:pt x="0" y="0"/>
                    </a:moveTo>
                    <a:lnTo>
                      <a:pt x="254659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3B18A851-8FD7-42AB-80A1-DFB9DCA5C4E0}"/>
                  </a:ext>
                </a:extLst>
              </p:cNvPr>
              <p:cNvSpPr/>
              <p:nvPr/>
            </p:nvSpPr>
            <p:spPr>
              <a:xfrm>
                <a:off x="9450417" y="3997894"/>
                <a:ext cx="5841" cy="367971"/>
              </a:xfrm>
              <a:custGeom>
                <a:avLst/>
                <a:gdLst>
                  <a:gd name="connsiteX0" fmla="*/ 0 w 5840"/>
                  <a:gd name="connsiteY0" fmla="*/ 372059 h 367970"/>
                  <a:gd name="connsiteX1" fmla="*/ 11098 w 5840"/>
                  <a:gd name="connsiteY1" fmla="*/ 0 h 367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0" h="367970">
                    <a:moveTo>
                      <a:pt x="0" y="372059"/>
                    </a:moveTo>
                    <a:lnTo>
                      <a:pt x="11098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86" name="Graphic 6">
                <a:extLst>
                  <a:ext uri="{FF2B5EF4-FFF2-40B4-BE49-F238E27FC236}">
                    <a16:creationId xmlns:a16="http://schemas.microsoft.com/office/drawing/2014/main" id="{38226130-A44C-4654-9525-99ACCE19F361}"/>
                  </a:ext>
                </a:extLst>
              </p:cNvPr>
              <p:cNvGrpSpPr/>
              <p:nvPr/>
            </p:nvGrpSpPr>
            <p:grpSpPr>
              <a:xfrm>
                <a:off x="9459763" y="3768934"/>
                <a:ext cx="5841" cy="157702"/>
                <a:chOff x="9459763" y="3768934"/>
                <a:chExt cx="5841" cy="157702"/>
              </a:xfrm>
            </p:grpSpPr>
            <p:sp>
              <p:nvSpPr>
                <p:cNvPr id="133" name="Freeform: Shape 132">
                  <a:extLst>
                    <a:ext uri="{FF2B5EF4-FFF2-40B4-BE49-F238E27FC236}">
                      <a16:creationId xmlns:a16="http://schemas.microsoft.com/office/drawing/2014/main" id="{140D53CA-9C8E-4391-BC2F-3AF4DCE6C178}"/>
                    </a:ext>
                  </a:extLst>
                </p:cNvPr>
                <p:cNvSpPr/>
                <p:nvPr/>
              </p:nvSpPr>
              <p:spPr>
                <a:xfrm>
                  <a:off x="9459763" y="3861803"/>
                  <a:ext cx="5841" cy="70090"/>
                </a:xfrm>
                <a:custGeom>
                  <a:avLst/>
                  <a:gdLst>
                    <a:gd name="connsiteX0" fmla="*/ 0 w 0"/>
                    <a:gd name="connsiteY0" fmla="*/ 70090 h 70089"/>
                    <a:gd name="connsiteX1" fmla="*/ 584 w 0"/>
                    <a:gd name="connsiteY1" fmla="*/ 0 h 70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70089">
                      <a:moveTo>
                        <a:pt x="0" y="70090"/>
                      </a:moveTo>
                      <a:lnTo>
                        <a:pt x="584" y="0"/>
                      </a:lnTo>
                    </a:path>
                  </a:pathLst>
                </a:custGeom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34" name="Freeform: Shape 133">
                  <a:extLst>
                    <a:ext uri="{FF2B5EF4-FFF2-40B4-BE49-F238E27FC236}">
                      <a16:creationId xmlns:a16="http://schemas.microsoft.com/office/drawing/2014/main" id="{B89DCE67-D70C-4DE5-B04E-6C833D63B4E8}"/>
                    </a:ext>
                  </a:extLst>
                </p:cNvPr>
                <p:cNvSpPr/>
                <p:nvPr/>
              </p:nvSpPr>
              <p:spPr>
                <a:xfrm>
                  <a:off x="9460931" y="3768934"/>
                  <a:ext cx="5841" cy="70090"/>
                </a:xfrm>
                <a:custGeom>
                  <a:avLst/>
                  <a:gdLst>
                    <a:gd name="connsiteX0" fmla="*/ 0 w 0"/>
                    <a:gd name="connsiteY0" fmla="*/ 70090 h 70089"/>
                    <a:gd name="connsiteX1" fmla="*/ 584 w 0"/>
                    <a:gd name="connsiteY1" fmla="*/ 0 h 70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70089">
                      <a:moveTo>
                        <a:pt x="0" y="70090"/>
                      </a:moveTo>
                      <a:lnTo>
                        <a:pt x="584" y="0"/>
                      </a:lnTo>
                    </a:path>
                  </a:pathLst>
                </a:custGeom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CD59DFC9-51EE-4A69-AA92-D21692912D8F}"/>
                  </a:ext>
                </a:extLst>
              </p:cNvPr>
              <p:cNvSpPr/>
              <p:nvPr/>
            </p:nvSpPr>
            <p:spPr>
              <a:xfrm>
                <a:off x="8764707" y="4304536"/>
                <a:ext cx="198587" cy="99294"/>
              </a:xfrm>
              <a:custGeom>
                <a:avLst/>
                <a:gdLst>
                  <a:gd name="connsiteX0" fmla="*/ 0 w 198587"/>
                  <a:gd name="connsiteY0" fmla="*/ 0 h 99293"/>
                  <a:gd name="connsiteX1" fmla="*/ 200340 w 198587"/>
                  <a:gd name="connsiteY1" fmla="*/ 100462 h 9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587" h="99293">
                    <a:moveTo>
                      <a:pt x="0" y="0"/>
                    </a:moveTo>
                    <a:lnTo>
                      <a:pt x="200340" y="100462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88" name="Graphic 6">
                <a:extLst>
                  <a:ext uri="{FF2B5EF4-FFF2-40B4-BE49-F238E27FC236}">
                    <a16:creationId xmlns:a16="http://schemas.microsoft.com/office/drawing/2014/main" id="{663369B7-82BB-482E-A3FD-260E734BB67C}"/>
                  </a:ext>
                </a:extLst>
              </p:cNvPr>
              <p:cNvGrpSpPr/>
              <p:nvPr/>
            </p:nvGrpSpPr>
            <p:grpSpPr>
              <a:xfrm>
                <a:off x="9118076" y="3709942"/>
                <a:ext cx="93453" cy="169383"/>
                <a:chOff x="9118076" y="3709942"/>
                <a:chExt cx="93453" cy="169383"/>
              </a:xfrm>
              <a:noFill/>
            </p:grpSpPr>
            <p:sp>
              <p:nvSpPr>
                <p:cNvPr id="131" name="Freeform: Shape 130">
                  <a:extLst>
                    <a:ext uri="{FF2B5EF4-FFF2-40B4-BE49-F238E27FC236}">
                      <a16:creationId xmlns:a16="http://schemas.microsoft.com/office/drawing/2014/main" id="{9B4AB8A5-0FA5-4ED4-BC0C-14B291BE4CFB}"/>
                    </a:ext>
                  </a:extLst>
                </p:cNvPr>
                <p:cNvSpPr/>
                <p:nvPr/>
              </p:nvSpPr>
              <p:spPr>
                <a:xfrm>
                  <a:off x="9118076" y="3820917"/>
                  <a:ext cx="29204" cy="58408"/>
                </a:xfrm>
                <a:custGeom>
                  <a:avLst/>
                  <a:gdLst>
                    <a:gd name="connsiteX0" fmla="*/ 0 w 29204"/>
                    <a:gd name="connsiteY0" fmla="*/ 61328 h 58408"/>
                    <a:gd name="connsiteX1" fmla="*/ 33877 w 29204"/>
                    <a:gd name="connsiteY1" fmla="*/ 0 h 58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204" h="58408">
                      <a:moveTo>
                        <a:pt x="0" y="61328"/>
                      </a:moveTo>
                      <a:cubicBezTo>
                        <a:pt x="12850" y="38549"/>
                        <a:pt x="23947" y="18107"/>
                        <a:pt x="33877" y="0"/>
                      </a:cubicBez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32" name="Freeform: Shape 131">
                  <a:extLst>
                    <a:ext uri="{FF2B5EF4-FFF2-40B4-BE49-F238E27FC236}">
                      <a16:creationId xmlns:a16="http://schemas.microsoft.com/office/drawing/2014/main" id="{EE470C40-55C7-4AA5-9EB5-CE0EA4160037}"/>
                    </a:ext>
                  </a:extLst>
                </p:cNvPr>
                <p:cNvSpPr/>
                <p:nvPr/>
              </p:nvSpPr>
              <p:spPr>
                <a:xfrm>
                  <a:off x="9178820" y="3709942"/>
                  <a:ext cx="29204" cy="58408"/>
                </a:xfrm>
                <a:custGeom>
                  <a:avLst/>
                  <a:gdLst>
                    <a:gd name="connsiteX0" fmla="*/ 0 w 29204"/>
                    <a:gd name="connsiteY0" fmla="*/ 61328 h 58408"/>
                    <a:gd name="connsiteX1" fmla="*/ 33877 w 29204"/>
                    <a:gd name="connsiteY1" fmla="*/ 0 h 58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204" h="58408">
                      <a:moveTo>
                        <a:pt x="0" y="61328"/>
                      </a:moveTo>
                      <a:cubicBezTo>
                        <a:pt x="23947" y="18107"/>
                        <a:pt x="33877" y="0"/>
                        <a:pt x="33877" y="0"/>
                      </a:cubicBez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5AA03382-7092-4D13-8277-72D6CA8E6DBE}"/>
                  </a:ext>
                </a:extLst>
              </p:cNvPr>
              <p:cNvSpPr/>
              <p:nvPr/>
            </p:nvSpPr>
            <p:spPr>
              <a:xfrm>
                <a:off x="8865098" y="3926052"/>
                <a:ext cx="227791" cy="426379"/>
              </a:xfrm>
              <a:custGeom>
                <a:avLst/>
                <a:gdLst>
                  <a:gd name="connsiteX0" fmla="*/ 72 w 227791"/>
                  <a:gd name="connsiteY0" fmla="*/ 428715 h 426378"/>
                  <a:gd name="connsiteX1" fmla="*/ 229031 w 227791"/>
                  <a:gd name="connsiteY1" fmla="*/ 0 h 426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7791" h="426378">
                    <a:moveTo>
                      <a:pt x="72" y="428715"/>
                    </a:moveTo>
                    <a:cubicBezTo>
                      <a:pt x="-3433" y="426963"/>
                      <a:pt x="122144" y="195667"/>
                      <a:pt x="229031" y="0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0E3B01A8-D615-4BBD-87BF-62E0401F8A89}"/>
                  </a:ext>
                </a:extLst>
              </p:cNvPr>
              <p:cNvSpPr/>
              <p:nvPr/>
            </p:nvSpPr>
            <p:spPr>
              <a:xfrm>
                <a:off x="9716758" y="3072126"/>
                <a:ext cx="181065" cy="496468"/>
              </a:xfrm>
              <a:custGeom>
                <a:avLst/>
                <a:gdLst>
                  <a:gd name="connsiteX0" fmla="*/ 0 w 181064"/>
                  <a:gd name="connsiteY0" fmla="*/ 0 h 496468"/>
                  <a:gd name="connsiteX1" fmla="*/ 161206 w 181064"/>
                  <a:gd name="connsiteY1" fmla="*/ 154781 h 496468"/>
                  <a:gd name="connsiteX2" fmla="*/ 175808 w 181064"/>
                  <a:gd name="connsiteY2" fmla="*/ 236553 h 496468"/>
                  <a:gd name="connsiteX3" fmla="*/ 49063 w 181064"/>
                  <a:gd name="connsiteY3" fmla="*/ 498805 h 49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1064" h="496468">
                    <a:moveTo>
                      <a:pt x="0" y="0"/>
                    </a:moveTo>
                    <a:lnTo>
                      <a:pt x="161206" y="154781"/>
                    </a:lnTo>
                    <a:cubicBezTo>
                      <a:pt x="182233" y="176392"/>
                      <a:pt x="188074" y="209101"/>
                      <a:pt x="175808" y="236553"/>
                    </a:cubicBezTo>
                    <a:cubicBezTo>
                      <a:pt x="85860" y="433388"/>
                      <a:pt x="56656" y="483034"/>
                      <a:pt x="49063" y="498805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91" name="Graphic 6">
                <a:extLst>
                  <a:ext uri="{FF2B5EF4-FFF2-40B4-BE49-F238E27FC236}">
                    <a16:creationId xmlns:a16="http://schemas.microsoft.com/office/drawing/2014/main" id="{142FA363-A97F-4E21-822B-BA20B0A01917}"/>
                  </a:ext>
                </a:extLst>
              </p:cNvPr>
              <p:cNvGrpSpPr/>
              <p:nvPr/>
            </p:nvGrpSpPr>
            <p:grpSpPr>
              <a:xfrm>
                <a:off x="9309907" y="2966123"/>
                <a:ext cx="105134" cy="151861"/>
                <a:chOff x="9309907" y="2966123"/>
                <a:chExt cx="105134" cy="151861"/>
              </a:xfrm>
              <a:noFill/>
            </p:grpSpPr>
            <p:grpSp>
              <p:nvGrpSpPr>
                <p:cNvPr id="126" name="Graphic 6">
                  <a:extLst>
                    <a:ext uri="{FF2B5EF4-FFF2-40B4-BE49-F238E27FC236}">
                      <a16:creationId xmlns:a16="http://schemas.microsoft.com/office/drawing/2014/main" id="{36781E94-B28E-4FD8-86A7-12219D8DC481}"/>
                    </a:ext>
                  </a:extLst>
                </p:cNvPr>
                <p:cNvGrpSpPr/>
                <p:nvPr/>
              </p:nvGrpSpPr>
              <p:grpSpPr>
                <a:xfrm>
                  <a:off x="9309907" y="2966123"/>
                  <a:ext cx="105134" cy="151861"/>
                  <a:chOff x="9309907" y="2966123"/>
                  <a:chExt cx="105134" cy="151861"/>
                </a:xfrm>
                <a:noFill/>
              </p:grpSpPr>
              <p:sp>
                <p:nvSpPr>
                  <p:cNvPr id="129" name="Freeform: Shape 128">
                    <a:extLst>
                      <a:ext uri="{FF2B5EF4-FFF2-40B4-BE49-F238E27FC236}">
                        <a16:creationId xmlns:a16="http://schemas.microsoft.com/office/drawing/2014/main" id="{C5349752-562E-42BD-B98A-5FD539956FE2}"/>
                      </a:ext>
                    </a:extLst>
                  </p:cNvPr>
                  <p:cNvSpPr/>
                  <p:nvPr/>
                </p:nvSpPr>
                <p:spPr>
                  <a:xfrm>
                    <a:off x="9309907" y="2989187"/>
                    <a:ext cx="70090" cy="116816"/>
                  </a:xfrm>
                  <a:custGeom>
                    <a:avLst/>
                    <a:gdLst>
                      <a:gd name="connsiteX0" fmla="*/ 75678 w 70089"/>
                      <a:gd name="connsiteY0" fmla="*/ 119152 h 116816"/>
                      <a:gd name="connsiteX1" fmla="*/ 3836 w 70089"/>
                      <a:gd name="connsiteY1" fmla="*/ 76515 h 116816"/>
                      <a:gd name="connsiteX2" fmla="*/ 37129 w 70089"/>
                      <a:gd name="connsiteY2" fmla="*/ 0 h 116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70089" h="116816">
                        <a:moveTo>
                          <a:pt x="75678" y="119152"/>
                        </a:moveTo>
                        <a:cubicBezTo>
                          <a:pt x="42970" y="129666"/>
                          <a:pt x="14350" y="109807"/>
                          <a:pt x="3836" y="76515"/>
                        </a:cubicBezTo>
                        <a:cubicBezTo>
                          <a:pt x="-6677" y="43222"/>
                          <a:pt x="4420" y="10513"/>
                          <a:pt x="37129" y="0"/>
                        </a:cubicBez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30" name="Freeform: Shape 129">
                    <a:extLst>
                      <a:ext uri="{FF2B5EF4-FFF2-40B4-BE49-F238E27FC236}">
                        <a16:creationId xmlns:a16="http://schemas.microsoft.com/office/drawing/2014/main" id="{BB0093F1-9B83-4111-809A-4FD4F3F3BAF9}"/>
                      </a:ext>
                    </a:extLst>
                  </p:cNvPr>
                  <p:cNvSpPr/>
                  <p:nvPr/>
                </p:nvSpPr>
                <p:spPr>
                  <a:xfrm>
                    <a:off x="9345582" y="2966123"/>
                    <a:ext cx="70090" cy="151861"/>
                  </a:xfrm>
                  <a:custGeom>
                    <a:avLst/>
                    <a:gdLst>
                      <a:gd name="connsiteX0" fmla="*/ 61030 w 70089"/>
                      <a:gd name="connsiteY0" fmla="*/ 153898 h 151860"/>
                      <a:gd name="connsiteX1" fmla="*/ 61030 w 70089"/>
                      <a:gd name="connsiteY1" fmla="*/ 153898 h 151860"/>
                      <a:gd name="connsiteX2" fmla="*/ 40587 w 70089"/>
                      <a:gd name="connsiteY2" fmla="*/ 143385 h 151860"/>
                      <a:gd name="connsiteX3" fmla="*/ 869 w 70089"/>
                      <a:gd name="connsiteY3" fmla="*/ 21312 h 151860"/>
                      <a:gd name="connsiteX4" fmla="*/ 11383 w 70089"/>
                      <a:gd name="connsiteY4" fmla="*/ 869 h 151860"/>
                      <a:gd name="connsiteX5" fmla="*/ 11383 w 70089"/>
                      <a:gd name="connsiteY5" fmla="*/ 869 h 151860"/>
                      <a:gd name="connsiteX6" fmla="*/ 31826 w 70089"/>
                      <a:gd name="connsiteY6" fmla="*/ 11383 h 151860"/>
                      <a:gd name="connsiteX7" fmla="*/ 71543 w 70089"/>
                      <a:gd name="connsiteY7" fmla="*/ 133455 h 151860"/>
                      <a:gd name="connsiteX8" fmla="*/ 61030 w 70089"/>
                      <a:gd name="connsiteY8" fmla="*/ 153898 h 1518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70089" h="151860">
                        <a:moveTo>
                          <a:pt x="61030" y="153898"/>
                        </a:moveTo>
                        <a:lnTo>
                          <a:pt x="61030" y="153898"/>
                        </a:lnTo>
                        <a:cubicBezTo>
                          <a:pt x="52268" y="156819"/>
                          <a:pt x="43507" y="152146"/>
                          <a:pt x="40587" y="143385"/>
                        </a:cubicBezTo>
                        <a:lnTo>
                          <a:pt x="869" y="21312"/>
                        </a:lnTo>
                        <a:cubicBezTo>
                          <a:pt x="-2051" y="12551"/>
                          <a:pt x="2622" y="3790"/>
                          <a:pt x="11383" y="869"/>
                        </a:cubicBezTo>
                        <a:lnTo>
                          <a:pt x="11383" y="869"/>
                        </a:lnTo>
                        <a:cubicBezTo>
                          <a:pt x="20144" y="-2051"/>
                          <a:pt x="28905" y="2621"/>
                          <a:pt x="31826" y="11383"/>
                        </a:cubicBezTo>
                        <a:lnTo>
                          <a:pt x="71543" y="133455"/>
                        </a:lnTo>
                        <a:cubicBezTo>
                          <a:pt x="73879" y="142217"/>
                          <a:pt x="69207" y="151562"/>
                          <a:pt x="61030" y="153898"/>
                        </a:cubicBezTo>
                        <a:close/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</p:grpSp>
            <p:sp>
              <p:nvSpPr>
                <p:cNvPr id="127" name="Freeform: Shape 126">
                  <a:extLst>
                    <a:ext uri="{FF2B5EF4-FFF2-40B4-BE49-F238E27FC236}">
                      <a16:creationId xmlns:a16="http://schemas.microsoft.com/office/drawing/2014/main" id="{5252AC4C-339F-4B7B-8FB2-AD4BA05D7B4A}"/>
                    </a:ext>
                  </a:extLst>
                </p:cNvPr>
                <p:cNvSpPr/>
                <p:nvPr/>
              </p:nvSpPr>
              <p:spPr>
                <a:xfrm>
                  <a:off x="9304397" y="2900991"/>
                  <a:ext cx="58408" cy="134338"/>
                </a:xfrm>
                <a:custGeom>
                  <a:avLst/>
                  <a:gdLst>
                    <a:gd name="connsiteX0" fmla="*/ 5257 w 58408"/>
                    <a:gd name="connsiteY0" fmla="*/ 139595 h 134338"/>
                    <a:gd name="connsiteX1" fmla="*/ 0 w 58408"/>
                    <a:gd name="connsiteY1" fmla="*/ 77099 h 134338"/>
                    <a:gd name="connsiteX2" fmla="*/ 52567 w 58408"/>
                    <a:gd name="connsiteY2" fmla="*/ 1752 h 134338"/>
                    <a:gd name="connsiteX3" fmla="*/ 61912 w 58408"/>
                    <a:gd name="connsiteY3" fmla="*/ 0 h 1343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8408" h="134338">
                      <a:moveTo>
                        <a:pt x="5257" y="139595"/>
                      </a:moveTo>
                      <a:lnTo>
                        <a:pt x="0" y="77099"/>
                      </a:lnTo>
                      <a:cubicBezTo>
                        <a:pt x="0" y="23363"/>
                        <a:pt x="21027" y="10513"/>
                        <a:pt x="52567" y="1752"/>
                      </a:cubicBezTo>
                      <a:lnTo>
                        <a:pt x="61912" y="0"/>
                      </a:ln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28" name="Freeform: Shape 127">
                  <a:extLst>
                    <a:ext uri="{FF2B5EF4-FFF2-40B4-BE49-F238E27FC236}">
                      <a16:creationId xmlns:a16="http://schemas.microsoft.com/office/drawing/2014/main" id="{DC496431-CCC0-49A6-8683-BD82CD055559}"/>
                    </a:ext>
                  </a:extLst>
                </p:cNvPr>
                <p:cNvSpPr/>
                <p:nvPr/>
              </p:nvSpPr>
              <p:spPr>
                <a:xfrm>
                  <a:off x="9306150" y="2929611"/>
                  <a:ext cx="52567" cy="70090"/>
                </a:xfrm>
                <a:custGeom>
                  <a:avLst/>
                  <a:gdLst>
                    <a:gd name="connsiteX0" fmla="*/ 0 w 52567"/>
                    <a:gd name="connsiteY0" fmla="*/ 73010 h 70089"/>
                    <a:gd name="connsiteX1" fmla="*/ 47310 w 52567"/>
                    <a:gd name="connsiteY1" fmla="*/ 2336 h 70089"/>
                    <a:gd name="connsiteX2" fmla="*/ 56655 w 52567"/>
                    <a:gd name="connsiteY2" fmla="*/ 0 h 70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2567" h="70089">
                      <a:moveTo>
                        <a:pt x="0" y="73010"/>
                      </a:moveTo>
                      <a:cubicBezTo>
                        <a:pt x="0" y="19275"/>
                        <a:pt x="16354" y="11098"/>
                        <a:pt x="47310" y="2336"/>
                      </a:cubicBezTo>
                      <a:lnTo>
                        <a:pt x="56655" y="0"/>
                      </a:ln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grpSp>
            <p:nvGrpSpPr>
              <p:cNvPr id="92" name="Graphic 6">
                <a:extLst>
                  <a:ext uri="{FF2B5EF4-FFF2-40B4-BE49-F238E27FC236}">
                    <a16:creationId xmlns:a16="http://schemas.microsoft.com/office/drawing/2014/main" id="{6746F6E4-F23D-4415-BF4F-2BB9F5F06B5E}"/>
                  </a:ext>
                </a:extLst>
              </p:cNvPr>
              <p:cNvGrpSpPr/>
              <p:nvPr/>
            </p:nvGrpSpPr>
            <p:grpSpPr>
              <a:xfrm>
                <a:off x="9497600" y="2951772"/>
                <a:ext cx="87612" cy="157702"/>
                <a:chOff x="9497600" y="2951772"/>
                <a:chExt cx="87612" cy="157702"/>
              </a:xfrm>
              <a:noFill/>
            </p:grpSpPr>
            <p:grpSp>
              <p:nvGrpSpPr>
                <p:cNvPr id="121" name="Graphic 6">
                  <a:extLst>
                    <a:ext uri="{FF2B5EF4-FFF2-40B4-BE49-F238E27FC236}">
                      <a16:creationId xmlns:a16="http://schemas.microsoft.com/office/drawing/2014/main" id="{42E8593A-F9FB-4039-B2B1-93F5FD3EFB11}"/>
                    </a:ext>
                  </a:extLst>
                </p:cNvPr>
                <p:cNvGrpSpPr/>
                <p:nvPr/>
              </p:nvGrpSpPr>
              <p:grpSpPr>
                <a:xfrm>
                  <a:off x="9497600" y="2951772"/>
                  <a:ext cx="87612" cy="157702"/>
                  <a:chOff x="9497600" y="2951772"/>
                  <a:chExt cx="87612" cy="157702"/>
                </a:xfrm>
                <a:noFill/>
              </p:grpSpPr>
              <p:sp>
                <p:nvSpPr>
                  <p:cNvPr id="124" name="Freeform: Shape 123">
                    <a:extLst>
                      <a:ext uri="{FF2B5EF4-FFF2-40B4-BE49-F238E27FC236}">
                        <a16:creationId xmlns:a16="http://schemas.microsoft.com/office/drawing/2014/main" id="{2AB35073-22B0-45E4-A7D0-F1BF6DC37B52}"/>
                      </a:ext>
                    </a:extLst>
                  </p:cNvPr>
                  <p:cNvSpPr/>
                  <p:nvPr/>
                </p:nvSpPr>
                <p:spPr>
                  <a:xfrm>
                    <a:off x="9529852" y="2970497"/>
                    <a:ext cx="58408" cy="122657"/>
                  </a:xfrm>
                  <a:custGeom>
                    <a:avLst/>
                    <a:gdLst>
                      <a:gd name="connsiteX0" fmla="*/ 0 w 58408"/>
                      <a:gd name="connsiteY0" fmla="*/ 124409 h 122656"/>
                      <a:gd name="connsiteX1" fmla="*/ 58408 w 58408"/>
                      <a:gd name="connsiteY1" fmla="*/ 64833 h 122656"/>
                      <a:gd name="connsiteX2" fmla="*/ 5841 w 58408"/>
                      <a:gd name="connsiteY2" fmla="*/ 0 h 122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8408" h="122656">
                        <a:moveTo>
                          <a:pt x="0" y="124409"/>
                        </a:moveTo>
                        <a:cubicBezTo>
                          <a:pt x="34461" y="126161"/>
                          <a:pt x="56656" y="99294"/>
                          <a:pt x="58408" y="64833"/>
                        </a:cubicBezTo>
                        <a:cubicBezTo>
                          <a:pt x="60161" y="30372"/>
                          <a:pt x="40302" y="1168"/>
                          <a:pt x="5841" y="0"/>
                        </a:cubicBez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25" name="Freeform: Shape 124">
                    <a:extLst>
                      <a:ext uri="{FF2B5EF4-FFF2-40B4-BE49-F238E27FC236}">
                        <a16:creationId xmlns:a16="http://schemas.microsoft.com/office/drawing/2014/main" id="{2255A692-154C-4B6A-A741-97EC68F1D84A}"/>
                      </a:ext>
                    </a:extLst>
                  </p:cNvPr>
                  <p:cNvSpPr/>
                  <p:nvPr/>
                </p:nvSpPr>
                <p:spPr>
                  <a:xfrm>
                    <a:off x="9497600" y="2951772"/>
                    <a:ext cx="35045" cy="157702"/>
                  </a:xfrm>
                  <a:custGeom>
                    <a:avLst/>
                    <a:gdLst>
                      <a:gd name="connsiteX0" fmla="*/ 15313 w 35044"/>
                      <a:gd name="connsiteY0" fmla="*/ 160072 h 157701"/>
                      <a:gd name="connsiteX1" fmla="*/ 15313 w 35044"/>
                      <a:gd name="connsiteY1" fmla="*/ 160072 h 157701"/>
                      <a:gd name="connsiteX2" fmla="*/ 32252 w 35044"/>
                      <a:gd name="connsiteY2" fmla="*/ 144886 h 157701"/>
                      <a:gd name="connsiteX3" fmla="*/ 38093 w 35044"/>
                      <a:gd name="connsiteY3" fmla="*/ 16972 h 157701"/>
                      <a:gd name="connsiteX4" fmla="*/ 22907 w 35044"/>
                      <a:gd name="connsiteY4" fmla="*/ 34 h 157701"/>
                      <a:gd name="connsiteX5" fmla="*/ 22907 w 35044"/>
                      <a:gd name="connsiteY5" fmla="*/ 34 h 157701"/>
                      <a:gd name="connsiteX6" fmla="*/ 5968 w 35044"/>
                      <a:gd name="connsiteY6" fmla="*/ 15220 h 157701"/>
                      <a:gd name="connsiteX7" fmla="*/ 127 w 35044"/>
                      <a:gd name="connsiteY7" fmla="*/ 143134 h 157701"/>
                      <a:gd name="connsiteX8" fmla="*/ 15313 w 35044"/>
                      <a:gd name="connsiteY8" fmla="*/ 160072 h 157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5044" h="157701">
                        <a:moveTo>
                          <a:pt x="15313" y="160072"/>
                        </a:moveTo>
                        <a:lnTo>
                          <a:pt x="15313" y="160072"/>
                        </a:lnTo>
                        <a:cubicBezTo>
                          <a:pt x="24074" y="160656"/>
                          <a:pt x="31668" y="153647"/>
                          <a:pt x="32252" y="144886"/>
                        </a:cubicBezTo>
                        <a:lnTo>
                          <a:pt x="38093" y="16972"/>
                        </a:lnTo>
                        <a:cubicBezTo>
                          <a:pt x="38676" y="8211"/>
                          <a:pt x="31668" y="618"/>
                          <a:pt x="22907" y="34"/>
                        </a:cubicBezTo>
                        <a:lnTo>
                          <a:pt x="22907" y="34"/>
                        </a:lnTo>
                        <a:cubicBezTo>
                          <a:pt x="14145" y="-550"/>
                          <a:pt x="6552" y="6459"/>
                          <a:pt x="5968" y="15220"/>
                        </a:cubicBezTo>
                        <a:lnTo>
                          <a:pt x="127" y="143134"/>
                        </a:lnTo>
                        <a:cubicBezTo>
                          <a:pt x="-1041" y="151895"/>
                          <a:pt x="5968" y="159488"/>
                          <a:pt x="15313" y="160072"/>
                        </a:cubicBezTo>
                        <a:close/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</p:grpSp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2EF54982-5F50-48B4-B4C2-C713275F1460}"/>
                    </a:ext>
                  </a:extLst>
                </p:cNvPr>
                <p:cNvSpPr/>
                <p:nvPr/>
              </p:nvSpPr>
              <p:spPr>
                <a:xfrm>
                  <a:off x="9500648" y="2891646"/>
                  <a:ext cx="81771" cy="116816"/>
                </a:xfrm>
                <a:custGeom>
                  <a:avLst/>
                  <a:gdLst>
                    <a:gd name="connsiteX0" fmla="*/ 0 w 81771"/>
                    <a:gd name="connsiteY0" fmla="*/ 0 h 116816"/>
                    <a:gd name="connsiteX1" fmla="*/ 73010 w 81771"/>
                    <a:gd name="connsiteY1" fmla="*/ 56656 h 116816"/>
                    <a:gd name="connsiteX2" fmla="*/ 84692 w 81771"/>
                    <a:gd name="connsiteY2" fmla="*/ 118568 h 116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771" h="116816">
                      <a:moveTo>
                        <a:pt x="0" y="0"/>
                      </a:moveTo>
                      <a:cubicBezTo>
                        <a:pt x="32708" y="584"/>
                        <a:pt x="58992" y="4673"/>
                        <a:pt x="73010" y="56656"/>
                      </a:cubicBezTo>
                      <a:lnTo>
                        <a:pt x="84692" y="118568"/>
                      </a:ln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AD4F3AC2-8F16-4DF2-9E2B-304F36FDE808}"/>
                    </a:ext>
                  </a:extLst>
                </p:cNvPr>
                <p:cNvSpPr/>
                <p:nvPr/>
              </p:nvSpPr>
              <p:spPr>
                <a:xfrm>
                  <a:off x="9502985" y="2919097"/>
                  <a:ext cx="70090" cy="52567"/>
                </a:xfrm>
                <a:custGeom>
                  <a:avLst/>
                  <a:gdLst>
                    <a:gd name="connsiteX0" fmla="*/ 75346 w 70089"/>
                    <a:gd name="connsiteY0" fmla="*/ 53151 h 52567"/>
                    <a:gd name="connsiteX1" fmla="*/ 7009 w 70089"/>
                    <a:gd name="connsiteY1" fmla="*/ 0 h 52567"/>
                    <a:gd name="connsiteX2" fmla="*/ 0 w 70089"/>
                    <a:gd name="connsiteY2" fmla="*/ 0 h 52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089" h="52567">
                      <a:moveTo>
                        <a:pt x="75346" y="53151"/>
                      </a:moveTo>
                      <a:cubicBezTo>
                        <a:pt x="61328" y="1168"/>
                        <a:pt x="39133" y="0"/>
                        <a:pt x="7009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ADEC0203-A890-4514-9D14-FA2627A1A252}"/>
                  </a:ext>
                </a:extLst>
              </p:cNvPr>
              <p:cNvSpPr/>
              <p:nvPr/>
            </p:nvSpPr>
            <p:spPr>
              <a:xfrm>
                <a:off x="9288039" y="2592597"/>
                <a:ext cx="17522" cy="99294"/>
              </a:xfrm>
              <a:custGeom>
                <a:avLst/>
                <a:gdLst>
                  <a:gd name="connsiteX0" fmla="*/ 18695 w 17522"/>
                  <a:gd name="connsiteY0" fmla="*/ 0 h 99293"/>
                  <a:gd name="connsiteX1" fmla="*/ 4093 w 17522"/>
                  <a:gd name="connsiteY1" fmla="*/ 102798 h 9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22" h="99293">
                    <a:moveTo>
                      <a:pt x="18695" y="0"/>
                    </a:moveTo>
                    <a:cubicBezTo>
                      <a:pt x="-11678" y="57824"/>
                      <a:pt x="4093" y="102798"/>
                      <a:pt x="4093" y="102798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162D983D-FAF0-4B17-B2B9-609523BCE5C2}"/>
                  </a:ext>
                </a:extLst>
              </p:cNvPr>
              <p:cNvSpPr/>
              <p:nvPr/>
            </p:nvSpPr>
            <p:spPr>
              <a:xfrm>
                <a:off x="9289571" y="2524936"/>
                <a:ext cx="105134" cy="64249"/>
              </a:xfrm>
              <a:custGeom>
                <a:avLst/>
                <a:gdLst>
                  <a:gd name="connsiteX0" fmla="*/ 107695 w 105134"/>
                  <a:gd name="connsiteY0" fmla="*/ 15677 h 64248"/>
                  <a:gd name="connsiteX1" fmla="*/ 10738 w 105134"/>
                  <a:gd name="connsiteY1" fmla="*/ 13925 h 64248"/>
                  <a:gd name="connsiteX2" fmla="*/ 16579 w 105134"/>
                  <a:gd name="connsiteY2" fmla="*/ 67661 h 64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5134" h="64248">
                    <a:moveTo>
                      <a:pt x="107695" y="15677"/>
                    </a:moveTo>
                    <a:cubicBezTo>
                      <a:pt x="95430" y="7500"/>
                      <a:pt x="38774" y="-14111"/>
                      <a:pt x="10738" y="13925"/>
                    </a:cubicBezTo>
                    <a:cubicBezTo>
                      <a:pt x="-9121" y="34368"/>
                      <a:pt x="1977" y="57147"/>
                      <a:pt x="16579" y="67661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953BCEDF-4335-4597-9E1B-F82DDD107F73}"/>
                  </a:ext>
                </a:extLst>
              </p:cNvPr>
              <p:cNvSpPr/>
              <p:nvPr/>
            </p:nvSpPr>
            <p:spPr>
              <a:xfrm>
                <a:off x="9358132" y="2491869"/>
                <a:ext cx="216110" cy="198587"/>
              </a:xfrm>
              <a:custGeom>
                <a:avLst/>
                <a:gdLst>
                  <a:gd name="connsiteX0" fmla="*/ 216110 w 216109"/>
                  <a:gd name="connsiteY0" fmla="*/ 203526 h 198587"/>
                  <a:gd name="connsiteX1" fmla="*/ 216110 w 216109"/>
                  <a:gd name="connsiteY1" fmla="*/ 178994 h 198587"/>
                  <a:gd name="connsiteX2" fmla="*/ 174056 w 216109"/>
                  <a:gd name="connsiteY2" fmla="*/ 66851 h 198587"/>
                  <a:gd name="connsiteX3" fmla="*/ 43806 w 216109"/>
                  <a:gd name="connsiteY3" fmla="*/ 3770 h 198587"/>
                  <a:gd name="connsiteX4" fmla="*/ 0 w 216109"/>
                  <a:gd name="connsiteY4" fmla="*/ 34142 h 198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6109" h="198587">
                    <a:moveTo>
                      <a:pt x="216110" y="203526"/>
                    </a:moveTo>
                    <a:lnTo>
                      <a:pt x="216110" y="178994"/>
                    </a:lnTo>
                    <a:cubicBezTo>
                      <a:pt x="216110" y="159136"/>
                      <a:pt x="241225" y="97807"/>
                      <a:pt x="174056" y="66851"/>
                    </a:cubicBezTo>
                    <a:cubicBezTo>
                      <a:pt x="167631" y="37063"/>
                      <a:pt x="98710" y="-14336"/>
                      <a:pt x="43806" y="3770"/>
                    </a:cubicBezTo>
                    <a:cubicBezTo>
                      <a:pt x="13434" y="14284"/>
                      <a:pt x="5257" y="24797"/>
                      <a:pt x="0" y="34142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8F70548B-DD4B-48EC-B47A-2E974DDA35ED}"/>
                  </a:ext>
                </a:extLst>
              </p:cNvPr>
              <p:cNvSpPr/>
              <p:nvPr/>
            </p:nvSpPr>
            <p:spPr>
              <a:xfrm>
                <a:off x="9533357" y="2656845"/>
                <a:ext cx="5841" cy="29204"/>
              </a:xfrm>
              <a:custGeom>
                <a:avLst/>
                <a:gdLst>
                  <a:gd name="connsiteX0" fmla="*/ 0 w 5840"/>
                  <a:gd name="connsiteY0" fmla="*/ 0 h 29204"/>
                  <a:gd name="connsiteX1" fmla="*/ 7593 w 5840"/>
                  <a:gd name="connsiteY1" fmla="*/ 31540 h 29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0" h="29204">
                    <a:moveTo>
                      <a:pt x="0" y="0"/>
                    </a:moveTo>
                    <a:lnTo>
                      <a:pt x="7593" y="3154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FE8F35C3-5E6D-4FE2-A2A7-C345785826D4}"/>
                  </a:ext>
                </a:extLst>
              </p:cNvPr>
              <p:cNvSpPr/>
              <p:nvPr/>
            </p:nvSpPr>
            <p:spPr>
              <a:xfrm>
                <a:off x="9340026" y="2588508"/>
                <a:ext cx="186906" cy="35045"/>
              </a:xfrm>
              <a:custGeom>
                <a:avLst/>
                <a:gdLst>
                  <a:gd name="connsiteX0" fmla="*/ 0 w 186905"/>
                  <a:gd name="connsiteY0" fmla="*/ 25700 h 35044"/>
                  <a:gd name="connsiteX1" fmla="*/ 92869 w 186905"/>
                  <a:gd name="connsiteY1" fmla="*/ 38549 h 35044"/>
                  <a:gd name="connsiteX2" fmla="*/ 186906 w 186905"/>
                  <a:gd name="connsiteY2" fmla="*/ 0 h 35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905" h="35044">
                    <a:moveTo>
                      <a:pt x="0" y="25700"/>
                    </a:moveTo>
                    <a:cubicBezTo>
                      <a:pt x="16938" y="33877"/>
                      <a:pt x="46142" y="42054"/>
                      <a:pt x="92869" y="38549"/>
                    </a:cubicBezTo>
                    <a:cubicBezTo>
                      <a:pt x="117985" y="36797"/>
                      <a:pt x="175224" y="31540"/>
                      <a:pt x="186906" y="0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EB462BBC-3196-4E99-90CF-EBAE63C5C7D3}"/>
                  </a:ext>
                </a:extLst>
              </p:cNvPr>
              <p:cNvSpPr/>
              <p:nvPr/>
            </p:nvSpPr>
            <p:spPr>
              <a:xfrm>
                <a:off x="9309070" y="2641075"/>
                <a:ext cx="23363" cy="58408"/>
              </a:xfrm>
              <a:custGeom>
                <a:avLst/>
                <a:gdLst>
                  <a:gd name="connsiteX0" fmla="*/ 0 w 23363"/>
                  <a:gd name="connsiteY0" fmla="*/ 60160 h 58408"/>
                  <a:gd name="connsiteX1" fmla="*/ 23947 w 23363"/>
                  <a:gd name="connsiteY1" fmla="*/ 0 h 58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363" h="58408">
                    <a:moveTo>
                      <a:pt x="0" y="60160"/>
                    </a:moveTo>
                    <a:cubicBezTo>
                      <a:pt x="584" y="59576"/>
                      <a:pt x="14602" y="23947"/>
                      <a:pt x="23947" y="0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99" name="Graphic 6">
                <a:extLst>
                  <a:ext uri="{FF2B5EF4-FFF2-40B4-BE49-F238E27FC236}">
                    <a16:creationId xmlns:a16="http://schemas.microsoft.com/office/drawing/2014/main" id="{6DAC6AFD-EE01-45E3-AADF-3D1A220DF93E}"/>
                  </a:ext>
                </a:extLst>
              </p:cNvPr>
              <p:cNvGrpSpPr/>
              <p:nvPr/>
            </p:nvGrpSpPr>
            <p:grpSpPr>
              <a:xfrm>
                <a:off x="9666527" y="3690667"/>
                <a:ext cx="81771" cy="87612"/>
                <a:chOff x="9666527" y="3690667"/>
                <a:chExt cx="81771" cy="87612"/>
              </a:xfrm>
              <a:noFill/>
            </p:grpSpPr>
            <p:grpSp>
              <p:nvGrpSpPr>
                <p:cNvPr id="116" name="Graphic 6">
                  <a:extLst>
                    <a:ext uri="{FF2B5EF4-FFF2-40B4-BE49-F238E27FC236}">
                      <a16:creationId xmlns:a16="http://schemas.microsoft.com/office/drawing/2014/main" id="{66AC0EAA-19D5-4333-B47F-B34CA2683109}"/>
                    </a:ext>
                  </a:extLst>
                </p:cNvPr>
                <p:cNvGrpSpPr/>
                <p:nvPr/>
              </p:nvGrpSpPr>
              <p:grpSpPr>
                <a:xfrm>
                  <a:off x="9666527" y="3690667"/>
                  <a:ext cx="81771" cy="87612"/>
                  <a:chOff x="9666527" y="3690667"/>
                  <a:chExt cx="81771" cy="87612"/>
                </a:xfrm>
                <a:noFill/>
              </p:grpSpPr>
              <p:sp>
                <p:nvSpPr>
                  <p:cNvPr id="119" name="Freeform: Shape 118">
                    <a:extLst>
                      <a:ext uri="{FF2B5EF4-FFF2-40B4-BE49-F238E27FC236}">
                        <a16:creationId xmlns:a16="http://schemas.microsoft.com/office/drawing/2014/main" id="{B2944F63-FC25-4491-BD79-1584EBC3FEEB}"/>
                      </a:ext>
                    </a:extLst>
                  </p:cNvPr>
                  <p:cNvSpPr/>
                  <p:nvPr/>
                </p:nvSpPr>
                <p:spPr>
                  <a:xfrm>
                    <a:off x="9666527" y="3753748"/>
                    <a:ext cx="52567" cy="29204"/>
                  </a:xfrm>
                  <a:custGeom>
                    <a:avLst/>
                    <a:gdLst>
                      <a:gd name="connsiteX0" fmla="*/ 50815 w 52567"/>
                      <a:gd name="connsiteY0" fmla="*/ 0 h 29204"/>
                      <a:gd name="connsiteX1" fmla="*/ 53735 w 52567"/>
                      <a:gd name="connsiteY1" fmla="*/ 23363 h 29204"/>
                      <a:gd name="connsiteX2" fmla="*/ 51983 w 52567"/>
                      <a:gd name="connsiteY2" fmla="*/ 25699 h 29204"/>
                      <a:gd name="connsiteX3" fmla="*/ 30372 w 52567"/>
                      <a:gd name="connsiteY3" fmla="*/ 26868 h 29204"/>
                      <a:gd name="connsiteX4" fmla="*/ 25700 w 52567"/>
                      <a:gd name="connsiteY4" fmla="*/ 23363 h 29204"/>
                      <a:gd name="connsiteX5" fmla="*/ 0 w 52567"/>
                      <a:gd name="connsiteY5" fmla="*/ 1752 h 292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567" h="29204">
                        <a:moveTo>
                          <a:pt x="50815" y="0"/>
                        </a:moveTo>
                        <a:cubicBezTo>
                          <a:pt x="58408" y="5841"/>
                          <a:pt x="58992" y="16354"/>
                          <a:pt x="53735" y="23363"/>
                        </a:cubicBezTo>
                        <a:cubicBezTo>
                          <a:pt x="53151" y="23947"/>
                          <a:pt x="52567" y="25115"/>
                          <a:pt x="51983" y="25699"/>
                        </a:cubicBezTo>
                        <a:cubicBezTo>
                          <a:pt x="46142" y="30956"/>
                          <a:pt x="37381" y="31540"/>
                          <a:pt x="30372" y="26868"/>
                        </a:cubicBezTo>
                        <a:cubicBezTo>
                          <a:pt x="29788" y="26868"/>
                          <a:pt x="28620" y="25115"/>
                          <a:pt x="25700" y="23363"/>
                        </a:cubicBezTo>
                        <a:cubicBezTo>
                          <a:pt x="25700" y="23363"/>
                          <a:pt x="14602" y="15186"/>
                          <a:pt x="0" y="1752"/>
                        </a:cubicBez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20" name="Freeform: Shape 119">
                    <a:extLst>
                      <a:ext uri="{FF2B5EF4-FFF2-40B4-BE49-F238E27FC236}">
                        <a16:creationId xmlns:a16="http://schemas.microsoft.com/office/drawing/2014/main" id="{E97C7ADE-39E2-4B5A-ABFA-F2DAAD6A26D1}"/>
                      </a:ext>
                    </a:extLst>
                  </p:cNvPr>
                  <p:cNvSpPr/>
                  <p:nvPr/>
                </p:nvSpPr>
                <p:spPr>
                  <a:xfrm>
                    <a:off x="9686970" y="3690667"/>
                    <a:ext cx="58408" cy="70090"/>
                  </a:xfrm>
                  <a:custGeom>
                    <a:avLst/>
                    <a:gdLst>
                      <a:gd name="connsiteX0" fmla="*/ 33292 w 58408"/>
                      <a:gd name="connsiteY0" fmla="*/ 0 h 70089"/>
                      <a:gd name="connsiteX1" fmla="*/ 37381 w 58408"/>
                      <a:gd name="connsiteY1" fmla="*/ 22779 h 70089"/>
                      <a:gd name="connsiteX2" fmla="*/ 41470 w 58408"/>
                      <a:gd name="connsiteY2" fmla="*/ 29204 h 70089"/>
                      <a:gd name="connsiteX3" fmla="*/ 55488 w 58408"/>
                      <a:gd name="connsiteY3" fmla="*/ 41470 h 70089"/>
                      <a:gd name="connsiteX4" fmla="*/ 57824 w 58408"/>
                      <a:gd name="connsiteY4" fmla="*/ 64833 h 70089"/>
                      <a:gd name="connsiteX5" fmla="*/ 50231 w 58408"/>
                      <a:gd name="connsiteY5" fmla="*/ 70090 h 70089"/>
                      <a:gd name="connsiteX6" fmla="*/ 34461 w 58408"/>
                      <a:gd name="connsiteY6" fmla="*/ 67169 h 70089"/>
                      <a:gd name="connsiteX7" fmla="*/ 9345 w 58408"/>
                      <a:gd name="connsiteY7" fmla="*/ 43222 h 70089"/>
                      <a:gd name="connsiteX8" fmla="*/ 5257 w 58408"/>
                      <a:gd name="connsiteY8" fmla="*/ 36213 h 70089"/>
                      <a:gd name="connsiteX9" fmla="*/ 0 w 58408"/>
                      <a:gd name="connsiteY9" fmla="*/ 2920 h 700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8408" h="70089">
                        <a:moveTo>
                          <a:pt x="33292" y="0"/>
                        </a:moveTo>
                        <a:cubicBezTo>
                          <a:pt x="33877" y="8761"/>
                          <a:pt x="35629" y="15186"/>
                          <a:pt x="37381" y="22779"/>
                        </a:cubicBezTo>
                        <a:cubicBezTo>
                          <a:pt x="37965" y="25115"/>
                          <a:pt x="39133" y="27452"/>
                          <a:pt x="41470" y="29204"/>
                        </a:cubicBezTo>
                        <a:cubicBezTo>
                          <a:pt x="49647" y="35629"/>
                          <a:pt x="55488" y="41470"/>
                          <a:pt x="55488" y="41470"/>
                        </a:cubicBezTo>
                        <a:cubicBezTo>
                          <a:pt x="61912" y="48479"/>
                          <a:pt x="63665" y="57824"/>
                          <a:pt x="57824" y="64833"/>
                        </a:cubicBezTo>
                        <a:cubicBezTo>
                          <a:pt x="55488" y="67169"/>
                          <a:pt x="53151" y="69506"/>
                          <a:pt x="50231" y="70090"/>
                        </a:cubicBezTo>
                        <a:cubicBezTo>
                          <a:pt x="44974" y="71842"/>
                          <a:pt x="39133" y="71258"/>
                          <a:pt x="34461" y="67169"/>
                        </a:cubicBezTo>
                        <a:cubicBezTo>
                          <a:pt x="33877" y="66585"/>
                          <a:pt x="22779" y="57824"/>
                          <a:pt x="9345" y="43222"/>
                        </a:cubicBezTo>
                        <a:cubicBezTo>
                          <a:pt x="7593" y="41470"/>
                          <a:pt x="6425" y="38549"/>
                          <a:pt x="5257" y="36213"/>
                        </a:cubicBezTo>
                        <a:cubicBezTo>
                          <a:pt x="2920" y="25699"/>
                          <a:pt x="584" y="14602"/>
                          <a:pt x="0" y="2920"/>
                        </a:cubicBez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</p:grp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F6EBD251-DF89-46CD-A99C-154B170D1D42}"/>
                    </a:ext>
                  </a:extLst>
                </p:cNvPr>
                <p:cNvSpPr/>
                <p:nvPr/>
              </p:nvSpPr>
              <p:spPr>
                <a:xfrm>
                  <a:off x="9720262" y="3570931"/>
                  <a:ext cx="40886" cy="116816"/>
                </a:xfrm>
                <a:custGeom>
                  <a:avLst/>
                  <a:gdLst>
                    <a:gd name="connsiteX0" fmla="*/ 0 w 40885"/>
                    <a:gd name="connsiteY0" fmla="*/ 119736 h 116816"/>
                    <a:gd name="connsiteX1" fmla="*/ 38550 w 40885"/>
                    <a:gd name="connsiteY1" fmla="*/ 44390 h 116816"/>
                    <a:gd name="connsiteX2" fmla="*/ 44975 w 40885"/>
                    <a:gd name="connsiteY2" fmla="*/ 0 h 116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0885" h="116816">
                      <a:moveTo>
                        <a:pt x="0" y="119736"/>
                      </a:moveTo>
                      <a:cubicBezTo>
                        <a:pt x="0" y="119736"/>
                        <a:pt x="43222" y="102214"/>
                        <a:pt x="38550" y="44390"/>
                      </a:cubicBezTo>
                      <a:cubicBezTo>
                        <a:pt x="37381" y="26284"/>
                        <a:pt x="44975" y="0"/>
                        <a:pt x="44975" y="0"/>
                      </a:cubicBez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89E5279C-C1D6-4393-AA2B-EA74DD4EC147}"/>
                    </a:ext>
                  </a:extLst>
                </p:cNvPr>
                <p:cNvSpPr/>
                <p:nvPr/>
              </p:nvSpPr>
              <p:spPr>
                <a:xfrm>
                  <a:off x="9614380" y="3248519"/>
                  <a:ext cx="122657" cy="554876"/>
                </a:xfrm>
                <a:custGeom>
                  <a:avLst/>
                  <a:gdLst>
                    <a:gd name="connsiteX0" fmla="*/ 42802 w 122656"/>
                    <a:gd name="connsiteY0" fmla="*/ 460255 h 554876"/>
                    <a:gd name="connsiteX1" fmla="*/ 59155 w 122656"/>
                    <a:gd name="connsiteY1" fmla="*/ 533265 h 554876"/>
                    <a:gd name="connsiteX2" fmla="*/ 50979 w 122656"/>
                    <a:gd name="connsiteY2" fmla="*/ 555460 h 554876"/>
                    <a:gd name="connsiteX3" fmla="*/ 49810 w 122656"/>
                    <a:gd name="connsiteY3" fmla="*/ 556044 h 554876"/>
                    <a:gd name="connsiteX4" fmla="*/ 28784 w 122656"/>
                    <a:gd name="connsiteY4" fmla="*/ 547283 h 554876"/>
                    <a:gd name="connsiteX5" fmla="*/ 164 w 122656"/>
                    <a:gd name="connsiteY5" fmla="*/ 438060 h 554876"/>
                    <a:gd name="connsiteX6" fmla="*/ 747 w 122656"/>
                    <a:gd name="connsiteY6" fmla="*/ 430467 h 554876"/>
                    <a:gd name="connsiteX7" fmla="*/ 44553 w 122656"/>
                    <a:gd name="connsiteY7" fmla="*/ 293792 h 554876"/>
                    <a:gd name="connsiteX8" fmla="*/ 123989 w 122656"/>
                    <a:gd name="connsiteY8" fmla="*/ 45558 h 554876"/>
                    <a:gd name="connsiteX9" fmla="*/ 78430 w 122656"/>
                    <a:gd name="connsiteY9" fmla="*/ 0 h 554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22656" h="554876">
                      <a:moveTo>
                        <a:pt x="42802" y="460255"/>
                      </a:moveTo>
                      <a:cubicBezTo>
                        <a:pt x="48059" y="497052"/>
                        <a:pt x="58572" y="532681"/>
                        <a:pt x="59155" y="533265"/>
                      </a:cubicBezTo>
                      <a:cubicBezTo>
                        <a:pt x="63244" y="541442"/>
                        <a:pt x="59155" y="551372"/>
                        <a:pt x="50979" y="555460"/>
                      </a:cubicBezTo>
                      <a:cubicBezTo>
                        <a:pt x="50394" y="555460"/>
                        <a:pt x="50394" y="555460"/>
                        <a:pt x="49810" y="556044"/>
                      </a:cubicBezTo>
                      <a:cubicBezTo>
                        <a:pt x="41633" y="559549"/>
                        <a:pt x="32288" y="555460"/>
                        <a:pt x="28784" y="547283"/>
                      </a:cubicBezTo>
                      <a:cubicBezTo>
                        <a:pt x="27616" y="544947"/>
                        <a:pt x="7757" y="489459"/>
                        <a:pt x="164" y="438060"/>
                      </a:cubicBezTo>
                      <a:cubicBezTo>
                        <a:pt x="-420" y="435724"/>
                        <a:pt x="747" y="430467"/>
                        <a:pt x="747" y="430467"/>
                      </a:cubicBezTo>
                      <a:lnTo>
                        <a:pt x="44553" y="293792"/>
                      </a:lnTo>
                      <a:cubicBezTo>
                        <a:pt x="44553" y="293792"/>
                        <a:pt x="91865" y="115064"/>
                        <a:pt x="123989" y="45558"/>
                      </a:cubicBezTo>
                      <a:lnTo>
                        <a:pt x="78430" y="0"/>
                      </a:ln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grpSp>
            <p:nvGrpSpPr>
              <p:cNvPr id="100" name="Graphic 6">
                <a:extLst>
                  <a:ext uri="{FF2B5EF4-FFF2-40B4-BE49-F238E27FC236}">
                    <a16:creationId xmlns:a16="http://schemas.microsoft.com/office/drawing/2014/main" id="{63C7B046-6A89-4E6B-A9AA-AF4FC62F420E}"/>
                  </a:ext>
                </a:extLst>
              </p:cNvPr>
              <p:cNvGrpSpPr/>
              <p:nvPr/>
            </p:nvGrpSpPr>
            <p:grpSpPr>
              <a:xfrm>
                <a:off x="8720317" y="3089065"/>
                <a:ext cx="560717" cy="332926"/>
                <a:chOff x="8720317" y="3089065"/>
                <a:chExt cx="560717" cy="332926"/>
              </a:xfrm>
              <a:noFill/>
            </p:grpSpPr>
            <p:grpSp>
              <p:nvGrpSpPr>
                <p:cNvPr id="107" name="Graphic 6">
                  <a:extLst>
                    <a:ext uri="{FF2B5EF4-FFF2-40B4-BE49-F238E27FC236}">
                      <a16:creationId xmlns:a16="http://schemas.microsoft.com/office/drawing/2014/main" id="{DD8D38EF-C1DA-44D0-B113-FEFE57A7B9A3}"/>
                    </a:ext>
                  </a:extLst>
                </p:cNvPr>
                <p:cNvGrpSpPr/>
                <p:nvPr/>
              </p:nvGrpSpPr>
              <p:grpSpPr>
                <a:xfrm>
                  <a:off x="8720317" y="3089065"/>
                  <a:ext cx="560717" cy="332926"/>
                  <a:chOff x="8720317" y="3089065"/>
                  <a:chExt cx="560717" cy="332926"/>
                </a:xfrm>
                <a:noFill/>
              </p:grpSpPr>
              <p:sp>
                <p:nvSpPr>
                  <p:cNvPr id="113" name="Freeform: Shape 112">
                    <a:extLst>
                      <a:ext uri="{FF2B5EF4-FFF2-40B4-BE49-F238E27FC236}">
                        <a16:creationId xmlns:a16="http://schemas.microsoft.com/office/drawing/2014/main" id="{C41451C4-646B-44F8-9A78-29D981BAE3E8}"/>
                      </a:ext>
                    </a:extLst>
                  </p:cNvPr>
                  <p:cNvSpPr/>
                  <p:nvPr/>
                </p:nvSpPr>
                <p:spPr>
                  <a:xfrm>
                    <a:off x="8818443" y="3089065"/>
                    <a:ext cx="467264" cy="292040"/>
                  </a:xfrm>
                  <a:custGeom>
                    <a:avLst/>
                    <a:gdLst>
                      <a:gd name="connsiteX0" fmla="*/ 0 w 467264"/>
                      <a:gd name="connsiteY0" fmla="*/ 296713 h 292040"/>
                      <a:gd name="connsiteX1" fmla="*/ 0 w 467264"/>
                      <a:gd name="connsiteY1" fmla="*/ 38549 h 292040"/>
                      <a:gd name="connsiteX2" fmla="*/ 38549 w 467264"/>
                      <a:gd name="connsiteY2" fmla="*/ 0 h 292040"/>
                      <a:gd name="connsiteX3" fmla="*/ 428714 w 467264"/>
                      <a:gd name="connsiteY3" fmla="*/ 0 h 292040"/>
                      <a:gd name="connsiteX4" fmla="*/ 467264 w 467264"/>
                      <a:gd name="connsiteY4" fmla="*/ 38549 h 292040"/>
                      <a:gd name="connsiteX5" fmla="*/ 467264 w 467264"/>
                      <a:gd name="connsiteY5" fmla="*/ 296713 h 2920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67264" h="292040">
                        <a:moveTo>
                          <a:pt x="0" y="296713"/>
                        </a:moveTo>
                        <a:lnTo>
                          <a:pt x="0" y="38549"/>
                        </a:lnTo>
                        <a:cubicBezTo>
                          <a:pt x="0" y="17522"/>
                          <a:pt x="16938" y="0"/>
                          <a:pt x="38549" y="0"/>
                        </a:cubicBezTo>
                        <a:lnTo>
                          <a:pt x="428714" y="0"/>
                        </a:lnTo>
                        <a:cubicBezTo>
                          <a:pt x="449742" y="0"/>
                          <a:pt x="467264" y="16938"/>
                          <a:pt x="467264" y="38549"/>
                        </a:cubicBezTo>
                        <a:lnTo>
                          <a:pt x="467264" y="296713"/>
                        </a:ln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14" name="Freeform: Shape 113">
                    <a:extLst>
                      <a:ext uri="{FF2B5EF4-FFF2-40B4-BE49-F238E27FC236}">
                        <a16:creationId xmlns:a16="http://schemas.microsoft.com/office/drawing/2014/main" id="{8F8C3BC5-2327-40E8-8193-8EEED53B080A}"/>
                      </a:ext>
                    </a:extLst>
                  </p:cNvPr>
                  <p:cNvSpPr/>
                  <p:nvPr/>
                </p:nvSpPr>
                <p:spPr>
                  <a:xfrm>
                    <a:off x="8993082" y="3385778"/>
                    <a:ext cx="292040" cy="35045"/>
                  </a:xfrm>
                  <a:custGeom>
                    <a:avLst/>
                    <a:gdLst>
                      <a:gd name="connsiteX0" fmla="*/ 0 w 292040"/>
                      <a:gd name="connsiteY0" fmla="*/ 36797 h 35044"/>
                      <a:gd name="connsiteX1" fmla="*/ 255827 w 292040"/>
                      <a:gd name="connsiteY1" fmla="*/ 36797 h 35044"/>
                      <a:gd name="connsiteX2" fmla="*/ 292625 w 292040"/>
                      <a:gd name="connsiteY2" fmla="*/ 0 h 35044"/>
                      <a:gd name="connsiteX3" fmla="*/ 292625 w 292040"/>
                      <a:gd name="connsiteY3" fmla="*/ 0 h 35044"/>
                      <a:gd name="connsiteX4" fmla="*/ 21027 w 292040"/>
                      <a:gd name="connsiteY4" fmla="*/ 0 h 35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2040" h="35044">
                        <a:moveTo>
                          <a:pt x="0" y="36797"/>
                        </a:moveTo>
                        <a:lnTo>
                          <a:pt x="255827" y="36797"/>
                        </a:lnTo>
                        <a:cubicBezTo>
                          <a:pt x="276270" y="36797"/>
                          <a:pt x="292625" y="20443"/>
                          <a:pt x="292625" y="0"/>
                        </a:cubicBezTo>
                        <a:lnTo>
                          <a:pt x="292625" y="0"/>
                        </a:lnTo>
                        <a:lnTo>
                          <a:pt x="21027" y="0"/>
                        </a:ln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15" name="Freeform: Shape 114">
                    <a:extLst>
                      <a:ext uri="{FF2B5EF4-FFF2-40B4-BE49-F238E27FC236}">
                        <a16:creationId xmlns:a16="http://schemas.microsoft.com/office/drawing/2014/main" id="{A55929DF-4D8C-4E71-90A8-9FB04BA74830}"/>
                      </a:ext>
                    </a:extLst>
                  </p:cNvPr>
                  <p:cNvSpPr/>
                  <p:nvPr/>
                </p:nvSpPr>
                <p:spPr>
                  <a:xfrm>
                    <a:off x="8720317" y="3385778"/>
                    <a:ext cx="151861" cy="35045"/>
                  </a:xfrm>
                  <a:custGeom>
                    <a:avLst/>
                    <a:gdLst>
                      <a:gd name="connsiteX0" fmla="*/ 146604 w 151860"/>
                      <a:gd name="connsiteY0" fmla="*/ 0 h 35044"/>
                      <a:gd name="connsiteX1" fmla="*/ 0 w 151860"/>
                      <a:gd name="connsiteY1" fmla="*/ 0 h 35044"/>
                      <a:gd name="connsiteX2" fmla="*/ 0 w 151860"/>
                      <a:gd name="connsiteY2" fmla="*/ 0 h 35044"/>
                      <a:gd name="connsiteX3" fmla="*/ 36797 w 151860"/>
                      <a:gd name="connsiteY3" fmla="*/ 36797 h 35044"/>
                      <a:gd name="connsiteX4" fmla="*/ 154781 w 151860"/>
                      <a:gd name="connsiteY4" fmla="*/ 36797 h 35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1860" h="35044">
                        <a:moveTo>
                          <a:pt x="146604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ubicBezTo>
                          <a:pt x="0" y="20443"/>
                          <a:pt x="16355" y="36797"/>
                          <a:pt x="36797" y="36797"/>
                        </a:cubicBezTo>
                        <a:lnTo>
                          <a:pt x="154781" y="36797"/>
                        </a:ln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</p:grpSp>
            <p:grpSp>
              <p:nvGrpSpPr>
                <p:cNvPr id="108" name="Graphic 6">
                  <a:extLst>
                    <a:ext uri="{FF2B5EF4-FFF2-40B4-BE49-F238E27FC236}">
                      <a16:creationId xmlns:a16="http://schemas.microsoft.com/office/drawing/2014/main" id="{4E5A83B5-EE2A-44B7-9C3E-1189FE1954BD}"/>
                    </a:ext>
                  </a:extLst>
                </p:cNvPr>
                <p:cNvGrpSpPr/>
                <p:nvPr/>
              </p:nvGrpSpPr>
              <p:grpSpPr>
                <a:xfrm>
                  <a:off x="8958622" y="3197704"/>
                  <a:ext cx="175224" cy="128498"/>
                  <a:chOff x="8958622" y="3197704"/>
                  <a:chExt cx="175224" cy="128498"/>
                </a:xfrm>
                <a:noFill/>
              </p:grpSpPr>
              <p:sp>
                <p:nvSpPr>
                  <p:cNvPr id="110" name="Freeform: Shape 109">
                    <a:extLst>
                      <a:ext uri="{FF2B5EF4-FFF2-40B4-BE49-F238E27FC236}">
                        <a16:creationId xmlns:a16="http://schemas.microsoft.com/office/drawing/2014/main" id="{E94E4D05-B191-46CB-955D-EA0844CF598D}"/>
                      </a:ext>
                    </a:extLst>
                  </p:cNvPr>
                  <p:cNvSpPr/>
                  <p:nvPr/>
                </p:nvSpPr>
                <p:spPr>
                  <a:xfrm>
                    <a:off x="8958622" y="3215226"/>
                    <a:ext cx="40886" cy="87612"/>
                  </a:xfrm>
                  <a:custGeom>
                    <a:avLst/>
                    <a:gdLst>
                      <a:gd name="connsiteX0" fmla="*/ 46142 w 40885"/>
                      <a:gd name="connsiteY0" fmla="*/ 91117 h 87612"/>
                      <a:gd name="connsiteX1" fmla="*/ 0 w 40885"/>
                      <a:gd name="connsiteY1" fmla="*/ 45558 h 87612"/>
                      <a:gd name="connsiteX2" fmla="*/ 46142 w 40885"/>
                      <a:gd name="connsiteY2" fmla="*/ 0 h 87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0885" h="87612">
                        <a:moveTo>
                          <a:pt x="46142" y="91117"/>
                        </a:moveTo>
                        <a:lnTo>
                          <a:pt x="0" y="45558"/>
                        </a:lnTo>
                        <a:lnTo>
                          <a:pt x="46142" y="0"/>
                        </a:ln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11" name="Freeform: Shape 110">
                    <a:extLst>
                      <a:ext uri="{FF2B5EF4-FFF2-40B4-BE49-F238E27FC236}">
                        <a16:creationId xmlns:a16="http://schemas.microsoft.com/office/drawing/2014/main" id="{67552FCC-446B-42B5-B3DF-7AF8ED8B7458}"/>
                      </a:ext>
                    </a:extLst>
                  </p:cNvPr>
                  <p:cNvSpPr/>
                  <p:nvPr/>
                </p:nvSpPr>
                <p:spPr>
                  <a:xfrm>
                    <a:off x="9089456" y="3215226"/>
                    <a:ext cx="40886" cy="87612"/>
                  </a:xfrm>
                  <a:custGeom>
                    <a:avLst/>
                    <a:gdLst>
                      <a:gd name="connsiteX0" fmla="*/ 0 w 40885"/>
                      <a:gd name="connsiteY0" fmla="*/ 91117 h 87612"/>
                      <a:gd name="connsiteX1" fmla="*/ 45559 w 40885"/>
                      <a:gd name="connsiteY1" fmla="*/ 45558 h 87612"/>
                      <a:gd name="connsiteX2" fmla="*/ 0 w 40885"/>
                      <a:gd name="connsiteY2" fmla="*/ 0 h 87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0885" h="87612">
                        <a:moveTo>
                          <a:pt x="0" y="91117"/>
                        </a:moveTo>
                        <a:lnTo>
                          <a:pt x="45559" y="45558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12" name="Freeform: Shape 111">
                    <a:extLst>
                      <a:ext uri="{FF2B5EF4-FFF2-40B4-BE49-F238E27FC236}">
                        <a16:creationId xmlns:a16="http://schemas.microsoft.com/office/drawing/2014/main" id="{7F2E93F7-57D7-4F69-A525-9B02645073C6}"/>
                      </a:ext>
                    </a:extLst>
                  </p:cNvPr>
                  <p:cNvSpPr/>
                  <p:nvPr/>
                </p:nvSpPr>
                <p:spPr>
                  <a:xfrm>
                    <a:off x="9021119" y="3197704"/>
                    <a:ext cx="46726" cy="128498"/>
                  </a:xfrm>
                  <a:custGeom>
                    <a:avLst/>
                    <a:gdLst>
                      <a:gd name="connsiteX0" fmla="*/ 0 w 46726"/>
                      <a:gd name="connsiteY0" fmla="*/ 129666 h 128497"/>
                      <a:gd name="connsiteX1" fmla="*/ 51399 w 46726"/>
                      <a:gd name="connsiteY1" fmla="*/ 0 h 128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6726" h="128497">
                        <a:moveTo>
                          <a:pt x="0" y="129666"/>
                        </a:moveTo>
                        <a:lnTo>
                          <a:pt x="51399" y="0"/>
                        </a:lnTo>
                      </a:path>
                    </a:pathLst>
                  </a:custGeom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</p:grpSp>
            <p:sp>
              <p:nvSpPr>
                <p:cNvPr id="109" name="Freeform: Shape 108">
                  <a:extLst>
                    <a:ext uri="{FF2B5EF4-FFF2-40B4-BE49-F238E27FC236}">
                      <a16:creationId xmlns:a16="http://schemas.microsoft.com/office/drawing/2014/main" id="{2E08865F-68F3-4B7E-B5DC-EF9D0B9E3255}"/>
                    </a:ext>
                  </a:extLst>
                </p:cNvPr>
                <p:cNvSpPr/>
                <p:nvPr/>
              </p:nvSpPr>
              <p:spPr>
                <a:xfrm>
                  <a:off x="8818443" y="3139880"/>
                  <a:ext cx="403015" cy="5841"/>
                </a:xfrm>
                <a:custGeom>
                  <a:avLst/>
                  <a:gdLst>
                    <a:gd name="connsiteX0" fmla="*/ 403600 w 403015"/>
                    <a:gd name="connsiteY0" fmla="*/ 0 h 0"/>
                    <a:gd name="connsiteX1" fmla="*/ 0 w 403015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3015">
                      <a:moveTo>
                        <a:pt x="403600" y="0"/>
                      </a:moveTo>
                      <a:lnTo>
                        <a:pt x="0" y="0"/>
                      </a:lnTo>
                    </a:path>
                  </a:pathLst>
                </a:custGeom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grpSp>
            <p:nvGrpSpPr>
              <p:cNvPr id="101" name="Graphic 6">
                <a:extLst>
                  <a:ext uri="{FF2B5EF4-FFF2-40B4-BE49-F238E27FC236}">
                    <a16:creationId xmlns:a16="http://schemas.microsoft.com/office/drawing/2014/main" id="{1D593FA8-8386-4710-B8EC-F38B53C54B6F}"/>
                  </a:ext>
                </a:extLst>
              </p:cNvPr>
              <p:cNvGrpSpPr/>
              <p:nvPr/>
            </p:nvGrpSpPr>
            <p:grpSpPr>
              <a:xfrm>
                <a:off x="8875485" y="3401800"/>
                <a:ext cx="181065" cy="93453"/>
                <a:chOff x="8875485" y="3401800"/>
                <a:chExt cx="181065" cy="93453"/>
              </a:xfrm>
              <a:noFill/>
            </p:grpSpPr>
            <p:sp>
              <p:nvSpPr>
                <p:cNvPr id="104" name="Freeform: Shape 103">
                  <a:extLst>
                    <a:ext uri="{FF2B5EF4-FFF2-40B4-BE49-F238E27FC236}">
                      <a16:creationId xmlns:a16="http://schemas.microsoft.com/office/drawing/2014/main" id="{82ABE0C0-9EE3-4598-926C-1503FD55CF80}"/>
                    </a:ext>
                  </a:extLst>
                </p:cNvPr>
                <p:cNvSpPr/>
                <p:nvPr/>
              </p:nvSpPr>
              <p:spPr>
                <a:xfrm>
                  <a:off x="8875485" y="3404267"/>
                  <a:ext cx="181065" cy="93453"/>
                </a:xfrm>
                <a:custGeom>
                  <a:avLst/>
                  <a:gdLst>
                    <a:gd name="connsiteX0" fmla="*/ 32322 w 181064"/>
                    <a:gd name="connsiteY0" fmla="*/ 6626 h 93452"/>
                    <a:gd name="connsiteX1" fmla="*/ 10711 w 181064"/>
                    <a:gd name="connsiteY1" fmla="*/ 1370 h 93452"/>
                    <a:gd name="connsiteX2" fmla="*/ 197 w 181064"/>
                    <a:gd name="connsiteY2" fmla="*/ 20644 h 93452"/>
                    <a:gd name="connsiteX3" fmla="*/ 84889 w 181064"/>
                    <a:gd name="connsiteY3" fmla="*/ 94238 h 93452"/>
                    <a:gd name="connsiteX4" fmla="*/ 185351 w 181064"/>
                    <a:gd name="connsiteY4" fmla="*/ 18308 h 93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1064" h="93452">
                      <a:moveTo>
                        <a:pt x="32322" y="6626"/>
                      </a:moveTo>
                      <a:cubicBezTo>
                        <a:pt x="26481" y="-967"/>
                        <a:pt x="17719" y="-967"/>
                        <a:pt x="10711" y="1370"/>
                      </a:cubicBezTo>
                      <a:cubicBezTo>
                        <a:pt x="3117" y="4290"/>
                        <a:pt x="-971" y="13051"/>
                        <a:pt x="197" y="20644"/>
                      </a:cubicBezTo>
                      <a:cubicBezTo>
                        <a:pt x="2534" y="32326"/>
                        <a:pt x="13047" y="88398"/>
                        <a:pt x="84889" y="94238"/>
                      </a:cubicBezTo>
                      <a:cubicBezTo>
                        <a:pt x="127527" y="94238"/>
                        <a:pt x="168996" y="78468"/>
                        <a:pt x="185351" y="18308"/>
                      </a:cubicBez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" name="Freeform: Shape 104">
                  <a:extLst>
                    <a:ext uri="{FF2B5EF4-FFF2-40B4-BE49-F238E27FC236}">
                      <a16:creationId xmlns:a16="http://schemas.microsoft.com/office/drawing/2014/main" id="{E8228C5C-D853-4133-A4BD-3053221BA8C1}"/>
                    </a:ext>
                  </a:extLst>
                </p:cNvPr>
                <p:cNvSpPr/>
                <p:nvPr/>
              </p:nvSpPr>
              <p:spPr>
                <a:xfrm>
                  <a:off x="8906860" y="3401800"/>
                  <a:ext cx="46726" cy="64249"/>
                </a:xfrm>
                <a:custGeom>
                  <a:avLst/>
                  <a:gdLst>
                    <a:gd name="connsiteX0" fmla="*/ 20806 w 46726"/>
                    <a:gd name="connsiteY0" fmla="*/ 65749 h 64248"/>
                    <a:gd name="connsiteX1" fmla="*/ 363 w 46726"/>
                    <a:gd name="connsiteY1" fmla="*/ 19607 h 64248"/>
                    <a:gd name="connsiteX2" fmla="*/ 12629 w 46726"/>
                    <a:gd name="connsiteY2" fmla="*/ 332 h 64248"/>
                    <a:gd name="connsiteX3" fmla="*/ 31904 w 46726"/>
                    <a:gd name="connsiteY3" fmla="*/ 14350 h 64248"/>
                    <a:gd name="connsiteX4" fmla="*/ 47089 w 46726"/>
                    <a:gd name="connsiteY4" fmla="*/ 40050 h 64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726" h="64248">
                      <a:moveTo>
                        <a:pt x="20806" y="65749"/>
                      </a:moveTo>
                      <a:cubicBezTo>
                        <a:pt x="7372" y="46474"/>
                        <a:pt x="1531" y="25447"/>
                        <a:pt x="363" y="19607"/>
                      </a:cubicBezTo>
                      <a:cubicBezTo>
                        <a:pt x="-1389" y="10261"/>
                        <a:pt x="3283" y="2084"/>
                        <a:pt x="12629" y="332"/>
                      </a:cubicBezTo>
                      <a:cubicBezTo>
                        <a:pt x="21974" y="-1420"/>
                        <a:pt x="28399" y="3837"/>
                        <a:pt x="31904" y="14350"/>
                      </a:cubicBezTo>
                      <a:cubicBezTo>
                        <a:pt x="32487" y="16102"/>
                        <a:pt x="40081" y="34209"/>
                        <a:pt x="47089" y="40050"/>
                      </a:cubicBez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6" name="Freeform: Shape 105">
                  <a:extLst>
                    <a:ext uri="{FF2B5EF4-FFF2-40B4-BE49-F238E27FC236}">
                      <a16:creationId xmlns:a16="http://schemas.microsoft.com/office/drawing/2014/main" id="{B60D5C8B-C45B-41BB-8474-A2F72862E90E}"/>
                    </a:ext>
                  </a:extLst>
                </p:cNvPr>
                <p:cNvSpPr/>
                <p:nvPr/>
              </p:nvSpPr>
              <p:spPr>
                <a:xfrm>
                  <a:off x="8953569" y="3402554"/>
                  <a:ext cx="46726" cy="58408"/>
                </a:xfrm>
                <a:custGeom>
                  <a:avLst/>
                  <a:gdLst>
                    <a:gd name="connsiteX0" fmla="*/ 10894 w 46726"/>
                    <a:gd name="connsiteY0" fmla="*/ 63827 h 58408"/>
                    <a:gd name="connsiteX1" fmla="*/ 381 w 46726"/>
                    <a:gd name="connsiteY1" fmla="*/ 41632 h 58408"/>
                    <a:gd name="connsiteX2" fmla="*/ 6805 w 46726"/>
                    <a:gd name="connsiteY2" fmla="*/ 12428 h 58408"/>
                    <a:gd name="connsiteX3" fmla="*/ 25496 w 46726"/>
                    <a:gd name="connsiteY3" fmla="*/ 162 h 58408"/>
                    <a:gd name="connsiteX4" fmla="*/ 38346 w 46726"/>
                    <a:gd name="connsiteY4" fmla="*/ 22357 h 58408"/>
                    <a:gd name="connsiteX5" fmla="*/ 36593 w 46726"/>
                    <a:gd name="connsiteY5" fmla="*/ 26446 h 58408"/>
                    <a:gd name="connsiteX6" fmla="*/ 41266 w 46726"/>
                    <a:gd name="connsiteY6" fmla="*/ 48057 h 58408"/>
                    <a:gd name="connsiteX7" fmla="*/ 50611 w 46726"/>
                    <a:gd name="connsiteY7" fmla="*/ 57986 h 58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726" h="58408">
                      <a:moveTo>
                        <a:pt x="10894" y="63827"/>
                      </a:moveTo>
                      <a:cubicBezTo>
                        <a:pt x="6805" y="57986"/>
                        <a:pt x="1548" y="50393"/>
                        <a:pt x="381" y="41632"/>
                      </a:cubicBezTo>
                      <a:cubicBezTo>
                        <a:pt x="-1372" y="27030"/>
                        <a:pt x="3301" y="17684"/>
                        <a:pt x="6805" y="12428"/>
                      </a:cubicBezTo>
                      <a:cubicBezTo>
                        <a:pt x="12062" y="4251"/>
                        <a:pt x="17319" y="-1006"/>
                        <a:pt x="25496" y="162"/>
                      </a:cubicBezTo>
                      <a:cubicBezTo>
                        <a:pt x="36009" y="1914"/>
                        <a:pt x="41850" y="12428"/>
                        <a:pt x="38346" y="22357"/>
                      </a:cubicBezTo>
                      <a:cubicBezTo>
                        <a:pt x="37762" y="23525"/>
                        <a:pt x="37762" y="24693"/>
                        <a:pt x="36593" y="26446"/>
                      </a:cubicBezTo>
                      <a:cubicBezTo>
                        <a:pt x="33673" y="34039"/>
                        <a:pt x="35425" y="42216"/>
                        <a:pt x="41266" y="48057"/>
                      </a:cubicBezTo>
                      <a:lnTo>
                        <a:pt x="50611" y="57986"/>
                      </a:ln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8156D774-2840-4D2D-BF35-E976C5B1F1CA}"/>
                  </a:ext>
                </a:extLst>
              </p:cNvPr>
              <p:cNvSpPr/>
              <p:nvPr/>
            </p:nvSpPr>
            <p:spPr>
              <a:xfrm>
                <a:off x="9257087" y="3529461"/>
                <a:ext cx="403015" cy="5841"/>
              </a:xfrm>
              <a:custGeom>
                <a:avLst/>
                <a:gdLst>
                  <a:gd name="connsiteX0" fmla="*/ 0 w 403015"/>
                  <a:gd name="connsiteY0" fmla="*/ 0 h 0"/>
                  <a:gd name="connsiteX1" fmla="*/ 404183 w 40301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3015">
                    <a:moveTo>
                      <a:pt x="0" y="0"/>
                    </a:moveTo>
                    <a:lnTo>
                      <a:pt x="404183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68D8FF9D-A89B-4B44-8054-6D75187CE160}"/>
                  </a:ext>
                </a:extLst>
              </p:cNvPr>
              <p:cNvSpPr/>
              <p:nvPr/>
            </p:nvSpPr>
            <p:spPr>
              <a:xfrm>
                <a:off x="9480790" y="3480399"/>
                <a:ext cx="157702" cy="5841"/>
              </a:xfrm>
              <a:custGeom>
                <a:avLst/>
                <a:gdLst>
                  <a:gd name="connsiteX0" fmla="*/ 0 w 157701"/>
                  <a:gd name="connsiteY0" fmla="*/ 0 h 0"/>
                  <a:gd name="connsiteX1" fmla="*/ 157701 w 157701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701">
                    <a:moveTo>
                      <a:pt x="0" y="0"/>
                    </a:moveTo>
                    <a:lnTo>
                      <a:pt x="157701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C2A0F165-211E-4A2F-932D-13FD352C9F52}"/>
              </a:ext>
            </a:extLst>
          </p:cNvPr>
          <p:cNvSpPr txBox="1"/>
          <p:nvPr/>
        </p:nvSpPr>
        <p:spPr>
          <a:xfrm>
            <a:off x="389131" y="3536695"/>
            <a:ext cx="4303553" cy="387798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800" dirty="0">
                <a:solidFill>
                  <a:schemeClr val="bg1"/>
                </a:solidFill>
              </a:rPr>
              <a:t>The problem:</a:t>
            </a:r>
            <a:endParaRPr lang="da-DK" sz="1100" dirty="0">
              <a:solidFill>
                <a:schemeClr val="bg1"/>
              </a:solidFill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B5701522-EB3F-42C8-950E-CE9E5CB756E0}"/>
              </a:ext>
            </a:extLst>
          </p:cNvPr>
          <p:cNvSpPr txBox="1"/>
          <p:nvPr/>
        </p:nvSpPr>
        <p:spPr>
          <a:xfrm>
            <a:off x="4793039" y="3508275"/>
            <a:ext cx="4303553" cy="387798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800" dirty="0">
                <a:solidFill>
                  <a:schemeClr val="bg1"/>
                </a:solidFill>
              </a:rPr>
              <a:t>A solution: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D2537782-2B1A-45A8-A705-F8DC29BE91D8}"/>
              </a:ext>
            </a:extLst>
          </p:cNvPr>
          <p:cNvSpPr txBox="1"/>
          <p:nvPr/>
        </p:nvSpPr>
        <p:spPr>
          <a:xfrm>
            <a:off x="4771556" y="3967185"/>
            <a:ext cx="3216289" cy="1109535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 dirty="0">
                <a:solidFill>
                  <a:schemeClr val="bg1"/>
                </a:solidFill>
              </a:rPr>
              <a:t>Interface </a:t>
            </a:r>
            <a:r>
              <a:rPr lang="da-DK" sz="1400" dirty="0" err="1">
                <a:solidFill>
                  <a:schemeClr val="bg1"/>
                </a:solidFill>
              </a:rPr>
              <a:t>where</a:t>
            </a:r>
            <a:r>
              <a:rPr lang="da-DK" sz="1400" dirty="0">
                <a:solidFill>
                  <a:schemeClr val="bg1"/>
                </a:solidFill>
              </a:rPr>
              <a:t> </a:t>
            </a:r>
            <a:r>
              <a:rPr lang="da-DK" sz="1400" dirty="0" err="1">
                <a:solidFill>
                  <a:schemeClr val="bg1"/>
                </a:solidFill>
              </a:rPr>
              <a:t>each</a:t>
            </a:r>
            <a:r>
              <a:rPr lang="da-DK" sz="1400" dirty="0">
                <a:solidFill>
                  <a:schemeClr val="bg1"/>
                </a:solidFill>
              </a:rPr>
              <a:t> </a:t>
            </a:r>
            <a:r>
              <a:rPr lang="da-DK" sz="1400" dirty="0" err="1">
                <a:solidFill>
                  <a:schemeClr val="bg1"/>
                </a:solidFill>
              </a:rPr>
              <a:t>concrete</a:t>
            </a:r>
            <a:r>
              <a:rPr lang="da-DK" sz="1400" dirty="0">
                <a:solidFill>
                  <a:schemeClr val="bg1"/>
                </a:solidFill>
              </a:rPr>
              <a:t> </a:t>
            </a:r>
            <a:r>
              <a:rPr lang="da-DK" sz="1400" dirty="0" err="1">
                <a:solidFill>
                  <a:schemeClr val="bg1"/>
                </a:solidFill>
              </a:rPr>
              <a:t>implementation</a:t>
            </a:r>
            <a:r>
              <a:rPr lang="da-DK" sz="1400" dirty="0">
                <a:solidFill>
                  <a:schemeClr val="bg1"/>
                </a:solidFill>
              </a:rPr>
              <a:t> </a:t>
            </a:r>
            <a:r>
              <a:rPr lang="da-DK" sz="1400" dirty="0" err="1">
                <a:solidFill>
                  <a:schemeClr val="bg1"/>
                </a:solidFill>
              </a:rPr>
              <a:t>contains</a:t>
            </a:r>
            <a:r>
              <a:rPr lang="da-DK" sz="1400" dirty="0">
                <a:solidFill>
                  <a:schemeClr val="bg1"/>
                </a:solidFill>
              </a:rPr>
              <a:t> a private </a:t>
            </a:r>
            <a:r>
              <a:rPr lang="da-DK" sz="1400" dirty="0" err="1">
                <a:solidFill>
                  <a:schemeClr val="bg1"/>
                </a:solidFill>
              </a:rPr>
              <a:t>instance</a:t>
            </a:r>
            <a:r>
              <a:rPr lang="da-DK" sz="1400" dirty="0">
                <a:solidFill>
                  <a:schemeClr val="bg1"/>
                </a:solidFill>
              </a:rPr>
              <a:t> of </a:t>
            </a:r>
            <a:r>
              <a:rPr lang="da-DK" sz="1400" dirty="0" err="1">
                <a:solidFill>
                  <a:schemeClr val="bg1"/>
                </a:solidFill>
              </a:rPr>
              <a:t>EntityContainer</a:t>
            </a:r>
            <a:r>
              <a:rPr lang="da-DK" sz="1400" dirty="0">
                <a:solidFill>
                  <a:schemeClr val="bg1"/>
                </a:solidFill>
              </a:rPr>
              <a:t>&lt;T&gt;</a:t>
            </a:r>
          </a:p>
          <a:p>
            <a:pPr algn="l"/>
            <a:endParaRPr lang="da-DK" sz="1600" dirty="0">
              <a:solidFill>
                <a:schemeClr val="bg1"/>
              </a:solidFill>
            </a:endParaRPr>
          </a:p>
          <a:p>
            <a:pPr algn="l"/>
            <a:endParaRPr lang="da-DK" sz="1100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61949E0-C1F4-48A4-AC13-8C7FCE6B98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94106" y="4710507"/>
            <a:ext cx="3987270" cy="681279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66C12866-8C52-43C6-AF88-32EB37497B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73453" y="5604487"/>
            <a:ext cx="4028575" cy="960944"/>
          </a:xfrm>
          <a:prstGeom prst="rect">
            <a:avLst/>
          </a:prstGeom>
        </p:spPr>
      </p:pic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81744226-35C9-4B7A-912B-B9B3BE0E919E}"/>
              </a:ext>
            </a:extLst>
          </p:cNvPr>
          <p:cNvCxnSpPr>
            <a:cxnSpLocks/>
          </p:cNvCxnSpPr>
          <p:nvPr/>
        </p:nvCxnSpPr>
        <p:spPr>
          <a:xfrm flipV="1">
            <a:off x="4399631" y="3544663"/>
            <a:ext cx="0" cy="3313337"/>
          </a:xfrm>
          <a:prstGeom prst="line">
            <a:avLst/>
          </a:prstGeom>
          <a:ln w="6350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TextBox 156">
            <a:extLst>
              <a:ext uri="{FF2B5EF4-FFF2-40B4-BE49-F238E27FC236}">
                <a16:creationId xmlns:a16="http://schemas.microsoft.com/office/drawing/2014/main" id="{4267445F-A61F-4411-BC19-E369FAD62AA0}"/>
              </a:ext>
            </a:extLst>
          </p:cNvPr>
          <p:cNvSpPr txBox="1"/>
          <p:nvPr/>
        </p:nvSpPr>
        <p:spPr>
          <a:xfrm>
            <a:off x="268449" y="5915050"/>
            <a:ext cx="3838130" cy="152349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100" b="1" i="1" dirty="0" err="1">
                <a:solidFill>
                  <a:schemeClr val="bg1"/>
                </a:solidFill>
              </a:rPr>
              <a:t>EntityContainer</a:t>
            </a:r>
            <a:r>
              <a:rPr lang="da-DK" sz="1100" b="1" i="1" dirty="0">
                <a:solidFill>
                  <a:schemeClr val="bg1"/>
                </a:solidFill>
              </a:rPr>
              <a:t>&lt;T&gt; must </a:t>
            </a:r>
            <a:r>
              <a:rPr lang="da-DK" sz="1100" b="1" i="1" dirty="0" err="1">
                <a:solidFill>
                  <a:schemeClr val="bg1"/>
                </a:solidFill>
              </a:rPr>
              <a:t>be</a:t>
            </a:r>
            <a:r>
              <a:rPr lang="da-DK" sz="1100" b="1" i="1" dirty="0">
                <a:solidFill>
                  <a:schemeClr val="bg1"/>
                </a:solidFill>
              </a:rPr>
              <a:t> removed from base!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79FB330A-E18A-4027-AE61-5ADBAD4784BE}"/>
              </a:ext>
            </a:extLst>
          </p:cNvPr>
          <p:cNvSpPr/>
          <p:nvPr/>
        </p:nvSpPr>
        <p:spPr>
          <a:xfrm>
            <a:off x="142154" y="5554378"/>
            <a:ext cx="4163003" cy="921457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pic>
        <p:nvPicPr>
          <p:cNvPr id="160" name="Picture 159">
            <a:extLst>
              <a:ext uri="{FF2B5EF4-FFF2-40B4-BE49-F238E27FC236}">
                <a16:creationId xmlns:a16="http://schemas.microsoft.com/office/drawing/2014/main" id="{96D22A32-5789-45A4-A26F-F1704D5378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7729" y="4376641"/>
            <a:ext cx="3965939" cy="376739"/>
          </a:xfrm>
          <a:prstGeom prst="rect">
            <a:avLst/>
          </a:prstGeom>
        </p:spPr>
      </p:pic>
      <p:pic>
        <p:nvPicPr>
          <p:cNvPr id="162" name="Picture 161">
            <a:extLst>
              <a:ext uri="{FF2B5EF4-FFF2-40B4-BE49-F238E27FC236}">
                <a16:creationId xmlns:a16="http://schemas.microsoft.com/office/drawing/2014/main" id="{4071CBDE-1CF9-4654-9E94-099FA45582B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9029" y="4822386"/>
            <a:ext cx="4016129" cy="559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21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B83D7A1-35EE-41FC-ACD6-598F6B160E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B83D7A1-35EE-41FC-ACD6-598F6B160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AAD318-25EA-460C-9025-27ED462392E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83000"/>
              </a:lnSpc>
              <a:spcBef>
                <a:spcPct val="0"/>
              </a:spcBef>
              <a:spcAft>
                <a:spcPct val="0"/>
              </a:spcAft>
            </a:pPr>
            <a:endParaRPr lang="da-DK" sz="6500" noProof="0" dirty="0" err="1">
              <a:solidFill>
                <a:srgbClr val="2F363B"/>
              </a:solidFill>
              <a:latin typeface="Impact" panose="020B0806030902050204" pitchFamily="34" charset="0"/>
              <a:ea typeface="+mj-ea"/>
              <a:cs typeface="+mj-cs"/>
              <a:sym typeface="Impact" panose="020B080603090205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9311F0-821A-4AAC-BDE9-AA253B2BFD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4EBB27-4B6C-4A1A-B488-3E5D35BB8C43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790861-E968-43BB-932B-A867BD494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258545A-D17C-4782-84C3-353DE1415C4F}"/>
              </a:ext>
            </a:extLst>
          </p:cNvPr>
          <p:cNvSpPr/>
          <p:nvPr/>
        </p:nvSpPr>
        <p:spPr>
          <a:xfrm>
            <a:off x="9191625" y="190500"/>
            <a:ext cx="600075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576BB51-FDF6-4A0B-BEF5-116339DDC56F}"/>
              </a:ext>
            </a:extLst>
          </p:cNvPr>
          <p:cNvSpPr/>
          <p:nvPr/>
        </p:nvSpPr>
        <p:spPr>
          <a:xfrm>
            <a:off x="8933657" y="5257800"/>
            <a:ext cx="702344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16DF48A-3F85-4373-9319-44BAFFA12CBB}"/>
              </a:ext>
            </a:extLst>
          </p:cNvPr>
          <p:cNvSpPr/>
          <p:nvPr/>
        </p:nvSpPr>
        <p:spPr>
          <a:xfrm>
            <a:off x="7167210" y="1190014"/>
            <a:ext cx="1865874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A0C70F3-82E4-4B15-92BB-EBF46FFF5C51}"/>
              </a:ext>
            </a:extLst>
          </p:cNvPr>
          <p:cNvGrpSpPr/>
          <p:nvPr/>
        </p:nvGrpSpPr>
        <p:grpSpPr>
          <a:xfrm>
            <a:off x="7247344" y="469887"/>
            <a:ext cx="1254685" cy="2109380"/>
            <a:chOff x="8344847" y="2491869"/>
            <a:chExt cx="1254685" cy="2109380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4678040-DA56-4B83-941F-7C8B520DF713}"/>
                </a:ext>
              </a:extLst>
            </p:cNvPr>
            <p:cNvGrpSpPr/>
            <p:nvPr/>
          </p:nvGrpSpPr>
          <p:grpSpPr>
            <a:xfrm>
              <a:off x="8344847" y="2494789"/>
              <a:ext cx="1167072" cy="2106460"/>
              <a:chOff x="8643138" y="2494789"/>
              <a:chExt cx="1167072" cy="2106460"/>
            </a:xfrm>
            <a:solidFill>
              <a:schemeClr val="accent2"/>
            </a:solidFill>
          </p:grpSpPr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FE46C5C2-8800-4A5A-BD84-5F52BD69433A}"/>
                  </a:ext>
                </a:extLst>
              </p:cNvPr>
              <p:cNvSpPr/>
              <p:nvPr/>
            </p:nvSpPr>
            <p:spPr>
              <a:xfrm>
                <a:off x="9262340" y="2494789"/>
                <a:ext cx="286199" cy="204428"/>
              </a:xfrm>
              <a:custGeom>
                <a:avLst/>
                <a:gdLst>
                  <a:gd name="connsiteX0" fmla="*/ 25119 w 286199"/>
                  <a:gd name="connsiteY0" fmla="*/ 202358 h 204428"/>
                  <a:gd name="connsiteX1" fmla="*/ 45562 w 286199"/>
                  <a:gd name="connsiteY1" fmla="*/ 149790 h 204428"/>
                  <a:gd name="connsiteX2" fmla="*/ 53155 w 286199"/>
                  <a:gd name="connsiteY2" fmla="*/ 122923 h 204428"/>
                  <a:gd name="connsiteX3" fmla="*/ 146024 w 286199"/>
                  <a:gd name="connsiteY3" fmla="*/ 135772 h 204428"/>
                  <a:gd name="connsiteX4" fmla="*/ 231884 w 286199"/>
                  <a:gd name="connsiteY4" fmla="*/ 109489 h 204428"/>
                  <a:gd name="connsiteX5" fmla="*/ 242982 w 286199"/>
                  <a:gd name="connsiteY5" fmla="*/ 107737 h 204428"/>
                  <a:gd name="connsiteX6" fmla="*/ 269265 w 286199"/>
                  <a:gd name="connsiteY6" fmla="*/ 200021 h 204428"/>
                  <a:gd name="connsiteX7" fmla="*/ 279194 w 286199"/>
                  <a:gd name="connsiteY7" fmla="*/ 205278 h 204428"/>
                  <a:gd name="connsiteX8" fmla="*/ 281531 w 286199"/>
                  <a:gd name="connsiteY8" fmla="*/ 204694 h 204428"/>
                  <a:gd name="connsiteX9" fmla="*/ 286204 w 286199"/>
                  <a:gd name="connsiteY9" fmla="*/ 203526 h 204428"/>
                  <a:gd name="connsiteX10" fmla="*/ 286204 w 286199"/>
                  <a:gd name="connsiteY10" fmla="*/ 201189 h 204428"/>
                  <a:gd name="connsiteX11" fmla="*/ 286204 w 286199"/>
                  <a:gd name="connsiteY11" fmla="*/ 178994 h 204428"/>
                  <a:gd name="connsiteX12" fmla="*/ 244149 w 286199"/>
                  <a:gd name="connsiteY12" fmla="*/ 66851 h 204428"/>
                  <a:gd name="connsiteX13" fmla="*/ 113900 w 286199"/>
                  <a:gd name="connsiteY13" fmla="*/ 3770 h 204428"/>
                  <a:gd name="connsiteX14" fmla="*/ 70094 w 286199"/>
                  <a:gd name="connsiteY14" fmla="*/ 34142 h 204428"/>
                  <a:gd name="connsiteX15" fmla="*/ 70094 w 286199"/>
                  <a:gd name="connsiteY15" fmla="*/ 34142 h 204428"/>
                  <a:gd name="connsiteX16" fmla="*/ 12854 w 286199"/>
                  <a:gd name="connsiteY16" fmla="*/ 46408 h 204428"/>
                  <a:gd name="connsiteX17" fmla="*/ 18695 w 286199"/>
                  <a:gd name="connsiteY17" fmla="*/ 100144 h 204428"/>
                  <a:gd name="connsiteX18" fmla="*/ 4093 w 286199"/>
                  <a:gd name="connsiteY18" fmla="*/ 202942 h 204428"/>
                  <a:gd name="connsiteX19" fmla="*/ 4677 w 286199"/>
                  <a:gd name="connsiteY19" fmla="*/ 202942 h 204428"/>
                  <a:gd name="connsiteX20" fmla="*/ 11101 w 286199"/>
                  <a:gd name="connsiteY20" fmla="*/ 204110 h 204428"/>
                  <a:gd name="connsiteX21" fmla="*/ 14022 w 286199"/>
                  <a:gd name="connsiteY21" fmla="*/ 205278 h 204428"/>
                  <a:gd name="connsiteX22" fmla="*/ 25119 w 286199"/>
                  <a:gd name="connsiteY22" fmla="*/ 202358 h 204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86199" h="204428">
                    <a:moveTo>
                      <a:pt x="25119" y="202358"/>
                    </a:moveTo>
                    <a:cubicBezTo>
                      <a:pt x="29792" y="190676"/>
                      <a:pt x="39137" y="167313"/>
                      <a:pt x="45562" y="149790"/>
                    </a:cubicBezTo>
                    <a:lnTo>
                      <a:pt x="53155" y="122923"/>
                    </a:lnTo>
                    <a:cubicBezTo>
                      <a:pt x="70094" y="131100"/>
                      <a:pt x="99298" y="139277"/>
                      <a:pt x="146024" y="135772"/>
                    </a:cubicBezTo>
                    <a:cubicBezTo>
                      <a:pt x="167051" y="134020"/>
                      <a:pt x="212025" y="129932"/>
                      <a:pt x="231884" y="109489"/>
                    </a:cubicBezTo>
                    <a:lnTo>
                      <a:pt x="242982" y="107737"/>
                    </a:lnTo>
                    <a:lnTo>
                      <a:pt x="269265" y="200021"/>
                    </a:lnTo>
                    <a:cubicBezTo>
                      <a:pt x="270433" y="204110"/>
                      <a:pt x="275106" y="207030"/>
                      <a:pt x="279194" y="205278"/>
                    </a:cubicBezTo>
                    <a:cubicBezTo>
                      <a:pt x="279778" y="204694"/>
                      <a:pt x="280947" y="204694"/>
                      <a:pt x="281531" y="204694"/>
                    </a:cubicBezTo>
                    <a:cubicBezTo>
                      <a:pt x="283283" y="204110"/>
                      <a:pt x="284451" y="204110"/>
                      <a:pt x="286204" y="203526"/>
                    </a:cubicBezTo>
                    <a:lnTo>
                      <a:pt x="286204" y="201189"/>
                    </a:lnTo>
                    <a:lnTo>
                      <a:pt x="286204" y="178994"/>
                    </a:lnTo>
                    <a:cubicBezTo>
                      <a:pt x="286204" y="159136"/>
                      <a:pt x="311319" y="97807"/>
                      <a:pt x="244149" y="66851"/>
                    </a:cubicBezTo>
                    <a:cubicBezTo>
                      <a:pt x="237725" y="37063"/>
                      <a:pt x="168803" y="-14336"/>
                      <a:pt x="113900" y="3770"/>
                    </a:cubicBezTo>
                    <a:cubicBezTo>
                      <a:pt x="83527" y="14284"/>
                      <a:pt x="75350" y="24797"/>
                      <a:pt x="70094" y="34142"/>
                    </a:cubicBezTo>
                    <a:lnTo>
                      <a:pt x="70094" y="34142"/>
                    </a:lnTo>
                    <a:cubicBezTo>
                      <a:pt x="50235" y="30638"/>
                      <a:pt x="27456" y="31806"/>
                      <a:pt x="12854" y="46408"/>
                    </a:cubicBezTo>
                    <a:cubicBezTo>
                      <a:pt x="-7005" y="66851"/>
                      <a:pt x="4093" y="89630"/>
                      <a:pt x="18695" y="100144"/>
                    </a:cubicBezTo>
                    <a:cubicBezTo>
                      <a:pt x="-11677" y="157967"/>
                      <a:pt x="4093" y="202942"/>
                      <a:pt x="4093" y="202942"/>
                    </a:cubicBezTo>
                    <a:lnTo>
                      <a:pt x="4677" y="202942"/>
                    </a:lnTo>
                    <a:cubicBezTo>
                      <a:pt x="7013" y="202942"/>
                      <a:pt x="8766" y="203526"/>
                      <a:pt x="11101" y="204110"/>
                    </a:cubicBezTo>
                    <a:cubicBezTo>
                      <a:pt x="12270" y="204694"/>
                      <a:pt x="13438" y="204694"/>
                      <a:pt x="14022" y="205278"/>
                    </a:cubicBezTo>
                    <a:cubicBezTo>
                      <a:pt x="19279" y="207614"/>
                      <a:pt x="23368" y="205862"/>
                      <a:pt x="25119" y="202358"/>
                    </a:cubicBezTo>
                    <a:close/>
                  </a:path>
                </a:pathLst>
              </a:custGeom>
              <a:grpFill/>
              <a:ln w="5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C63A129F-11D1-4A1A-90D0-7F972BA3494A}"/>
                  </a:ext>
                </a:extLst>
              </p:cNvPr>
              <p:cNvSpPr/>
              <p:nvPr/>
            </p:nvSpPr>
            <p:spPr>
              <a:xfrm>
                <a:off x="9080110" y="2957647"/>
                <a:ext cx="730100" cy="566558"/>
              </a:xfrm>
              <a:custGeom>
                <a:avLst/>
                <a:gdLst>
                  <a:gd name="connsiteX0" fmla="*/ 731853 w 730100"/>
                  <a:gd name="connsiteY0" fmla="*/ 180481 h 566557"/>
                  <a:gd name="connsiteX1" fmla="*/ 564806 w 730100"/>
                  <a:gd name="connsiteY1" fmla="*/ 18106 h 566557"/>
                  <a:gd name="connsiteX2" fmla="*/ 519247 w 730100"/>
                  <a:gd name="connsiteY2" fmla="*/ 0 h 566557"/>
                  <a:gd name="connsiteX3" fmla="*/ 448574 w 730100"/>
                  <a:gd name="connsiteY3" fmla="*/ 0 h 566557"/>
                  <a:gd name="connsiteX4" fmla="*/ 352785 w 730100"/>
                  <a:gd name="connsiteY4" fmla="*/ 73010 h 566557"/>
                  <a:gd name="connsiteX5" fmla="*/ 256995 w 730100"/>
                  <a:gd name="connsiteY5" fmla="*/ 0 h 566557"/>
                  <a:gd name="connsiteX6" fmla="*/ 170552 w 730100"/>
                  <a:gd name="connsiteY6" fmla="*/ 0 h 566557"/>
                  <a:gd name="connsiteX7" fmla="*/ 116232 w 730100"/>
                  <a:gd name="connsiteY7" fmla="*/ 27452 h 566557"/>
                  <a:gd name="connsiteX8" fmla="*/ 0 w 730100"/>
                  <a:gd name="connsiteY8" fmla="*/ 179897 h 566557"/>
                  <a:gd name="connsiteX9" fmla="*/ 103383 w 730100"/>
                  <a:gd name="connsiteY9" fmla="*/ 257579 h 566557"/>
                  <a:gd name="connsiteX10" fmla="*/ 103383 w 730100"/>
                  <a:gd name="connsiteY10" fmla="*/ 571815 h 566557"/>
                  <a:gd name="connsiteX11" fmla="*/ 585833 w 730100"/>
                  <a:gd name="connsiteY11" fmla="*/ 571815 h 566557"/>
                  <a:gd name="connsiteX12" fmla="*/ 585833 w 730100"/>
                  <a:gd name="connsiteY12" fmla="*/ 274518 h 566557"/>
                  <a:gd name="connsiteX13" fmla="*/ 612700 w 730100"/>
                  <a:gd name="connsiteY13" fmla="*/ 300801 h 566557"/>
                  <a:gd name="connsiteX14" fmla="*/ 731853 w 730100"/>
                  <a:gd name="connsiteY14" fmla="*/ 180481 h 566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30100" h="566557">
                    <a:moveTo>
                      <a:pt x="731853" y="180481"/>
                    </a:moveTo>
                    <a:lnTo>
                      <a:pt x="564806" y="18106"/>
                    </a:lnTo>
                    <a:cubicBezTo>
                      <a:pt x="553124" y="7009"/>
                      <a:pt x="536770" y="0"/>
                      <a:pt x="519247" y="0"/>
                    </a:cubicBezTo>
                    <a:lnTo>
                      <a:pt x="448574" y="0"/>
                    </a:lnTo>
                    <a:cubicBezTo>
                      <a:pt x="436308" y="42054"/>
                      <a:pt x="397758" y="73010"/>
                      <a:pt x="352785" y="73010"/>
                    </a:cubicBezTo>
                    <a:cubicBezTo>
                      <a:pt x="307811" y="73010"/>
                      <a:pt x="269261" y="42054"/>
                      <a:pt x="256995" y="0"/>
                    </a:cubicBezTo>
                    <a:lnTo>
                      <a:pt x="170552" y="0"/>
                    </a:lnTo>
                    <a:cubicBezTo>
                      <a:pt x="148357" y="0"/>
                      <a:pt x="128498" y="11097"/>
                      <a:pt x="116232" y="27452"/>
                    </a:cubicBezTo>
                    <a:lnTo>
                      <a:pt x="0" y="179897"/>
                    </a:lnTo>
                    <a:lnTo>
                      <a:pt x="103383" y="257579"/>
                    </a:lnTo>
                    <a:lnTo>
                      <a:pt x="103383" y="571815"/>
                    </a:lnTo>
                    <a:lnTo>
                      <a:pt x="585833" y="571815"/>
                    </a:lnTo>
                    <a:lnTo>
                      <a:pt x="585833" y="274518"/>
                    </a:lnTo>
                    <a:lnTo>
                      <a:pt x="612700" y="300801"/>
                    </a:lnTo>
                    <a:lnTo>
                      <a:pt x="731853" y="180481"/>
                    </a:lnTo>
                    <a:close/>
                  </a:path>
                </a:pathLst>
              </a:custGeom>
              <a:grpFill/>
              <a:ln w="5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139" name="Graphic 6">
                <a:extLst>
                  <a:ext uri="{FF2B5EF4-FFF2-40B4-BE49-F238E27FC236}">
                    <a16:creationId xmlns:a16="http://schemas.microsoft.com/office/drawing/2014/main" id="{923641B2-4784-42E9-ACBD-B6F800CADE1F}"/>
                  </a:ext>
                </a:extLst>
              </p:cNvPr>
              <p:cNvGrpSpPr/>
              <p:nvPr/>
            </p:nvGrpSpPr>
            <p:grpSpPr>
              <a:xfrm>
                <a:off x="8643138" y="4442963"/>
                <a:ext cx="309563" cy="157702"/>
                <a:chOff x="8643138" y="4442963"/>
                <a:chExt cx="309563" cy="157702"/>
              </a:xfrm>
              <a:grpFill/>
            </p:grpSpPr>
            <p:sp>
              <p:nvSpPr>
                <p:cNvPr id="141" name="Freeform: Shape 140">
                  <a:extLst>
                    <a:ext uri="{FF2B5EF4-FFF2-40B4-BE49-F238E27FC236}">
                      <a16:creationId xmlns:a16="http://schemas.microsoft.com/office/drawing/2014/main" id="{5032954F-4A71-457E-ADBE-D501F3727F0D}"/>
                    </a:ext>
                  </a:extLst>
                </p:cNvPr>
                <p:cNvSpPr/>
                <p:nvPr/>
              </p:nvSpPr>
              <p:spPr>
                <a:xfrm>
                  <a:off x="8643138" y="4442963"/>
                  <a:ext cx="309563" cy="157702"/>
                </a:xfrm>
                <a:custGeom>
                  <a:avLst/>
                  <a:gdLst>
                    <a:gd name="connsiteX0" fmla="*/ 310812 w 309562"/>
                    <a:gd name="connsiteY0" fmla="*/ 35045 h 157701"/>
                    <a:gd name="connsiteX1" fmla="*/ 309644 w 309562"/>
                    <a:gd name="connsiteY1" fmla="*/ 145436 h 157701"/>
                    <a:gd name="connsiteX2" fmla="*/ 293289 w 309562"/>
                    <a:gd name="connsiteY2" fmla="*/ 161790 h 157701"/>
                    <a:gd name="connsiteX3" fmla="*/ 16435 w 309562"/>
                    <a:gd name="connsiteY3" fmla="*/ 161790 h 157701"/>
                    <a:gd name="connsiteX4" fmla="*/ 81 w 309562"/>
                    <a:gd name="connsiteY4" fmla="*/ 146020 h 157701"/>
                    <a:gd name="connsiteX5" fmla="*/ 106968 w 309562"/>
                    <a:gd name="connsiteY5" fmla="*/ 52567 h 157701"/>
                    <a:gd name="connsiteX6" fmla="*/ 112808 w 309562"/>
                    <a:gd name="connsiteY6" fmla="*/ 52567 h 157701"/>
                    <a:gd name="connsiteX7" fmla="*/ 171216 w 309562"/>
                    <a:gd name="connsiteY7" fmla="*/ 0 h 157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9562" h="157701">
                      <a:moveTo>
                        <a:pt x="310812" y="35045"/>
                      </a:moveTo>
                      <a:lnTo>
                        <a:pt x="309644" y="145436"/>
                      </a:lnTo>
                      <a:cubicBezTo>
                        <a:pt x="309644" y="154197"/>
                        <a:pt x="302051" y="161790"/>
                        <a:pt x="293289" y="161790"/>
                      </a:cubicBezTo>
                      <a:lnTo>
                        <a:pt x="16435" y="161790"/>
                      </a:lnTo>
                      <a:cubicBezTo>
                        <a:pt x="7674" y="161790"/>
                        <a:pt x="665" y="154781"/>
                        <a:pt x="81" y="146020"/>
                      </a:cubicBezTo>
                      <a:cubicBezTo>
                        <a:pt x="-1671" y="99878"/>
                        <a:pt x="24612" y="52567"/>
                        <a:pt x="106968" y="52567"/>
                      </a:cubicBezTo>
                      <a:lnTo>
                        <a:pt x="112808" y="52567"/>
                      </a:lnTo>
                      <a:lnTo>
                        <a:pt x="171216" y="0"/>
                      </a:lnTo>
                    </a:path>
                  </a:pathLst>
                </a:custGeom>
                <a:grpFill/>
                <a:ln w="584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42" name="Freeform: Shape 141">
                  <a:extLst>
                    <a:ext uri="{FF2B5EF4-FFF2-40B4-BE49-F238E27FC236}">
                      <a16:creationId xmlns:a16="http://schemas.microsoft.com/office/drawing/2014/main" id="{935C69BF-31E8-4831-8AFE-9BC4DF6525F8}"/>
                    </a:ext>
                  </a:extLst>
                </p:cNvPr>
                <p:cNvSpPr/>
                <p:nvPr/>
              </p:nvSpPr>
              <p:spPr>
                <a:xfrm>
                  <a:off x="8885028" y="4499035"/>
                  <a:ext cx="64249" cy="70090"/>
                </a:xfrm>
                <a:custGeom>
                  <a:avLst/>
                  <a:gdLst>
                    <a:gd name="connsiteX0" fmla="*/ 67754 w 64248"/>
                    <a:gd name="connsiteY0" fmla="*/ 0 h 70089"/>
                    <a:gd name="connsiteX1" fmla="*/ 67754 w 64248"/>
                    <a:gd name="connsiteY1" fmla="*/ 0 h 70089"/>
                    <a:gd name="connsiteX2" fmla="*/ 0 w 64248"/>
                    <a:gd name="connsiteY2" fmla="*/ 67753 h 70089"/>
                    <a:gd name="connsiteX3" fmla="*/ 0 w 64248"/>
                    <a:gd name="connsiteY3" fmla="*/ 74762 h 70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4248" h="70089">
                      <a:moveTo>
                        <a:pt x="67754" y="0"/>
                      </a:moveTo>
                      <a:lnTo>
                        <a:pt x="67754" y="0"/>
                      </a:lnTo>
                      <a:cubicBezTo>
                        <a:pt x="30373" y="0"/>
                        <a:pt x="0" y="30372"/>
                        <a:pt x="0" y="67753"/>
                      </a:cubicBezTo>
                      <a:lnTo>
                        <a:pt x="0" y="74762"/>
                      </a:lnTo>
                    </a:path>
                  </a:pathLst>
                </a:custGeom>
                <a:grp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43" name="Freeform: Shape 142">
                  <a:extLst>
                    <a:ext uri="{FF2B5EF4-FFF2-40B4-BE49-F238E27FC236}">
                      <a16:creationId xmlns:a16="http://schemas.microsoft.com/office/drawing/2014/main" id="{E0B1D023-50E8-4225-999C-324B65969C07}"/>
                    </a:ext>
                  </a:extLst>
                </p:cNvPr>
                <p:cNvSpPr/>
                <p:nvPr/>
              </p:nvSpPr>
              <p:spPr>
                <a:xfrm>
                  <a:off x="8643803" y="4573797"/>
                  <a:ext cx="262836" cy="5841"/>
                </a:xfrm>
                <a:custGeom>
                  <a:avLst/>
                  <a:gdLst>
                    <a:gd name="connsiteX0" fmla="*/ 0 w 262836"/>
                    <a:gd name="connsiteY0" fmla="*/ 0 h 0"/>
                    <a:gd name="connsiteX1" fmla="*/ 265173 w 262836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2836">
                      <a:moveTo>
                        <a:pt x="0" y="0"/>
                      </a:moveTo>
                      <a:lnTo>
                        <a:pt x="265173" y="0"/>
                      </a:lnTo>
                    </a:path>
                  </a:pathLst>
                </a:custGeom>
                <a:grp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44" name="Freeform: Shape 143">
                  <a:extLst>
                    <a:ext uri="{FF2B5EF4-FFF2-40B4-BE49-F238E27FC236}">
                      <a16:creationId xmlns:a16="http://schemas.microsoft.com/office/drawing/2014/main" id="{C6114B0E-5365-4386-BA47-51ED599F2B0F}"/>
                    </a:ext>
                  </a:extLst>
                </p:cNvPr>
                <p:cNvSpPr/>
                <p:nvPr/>
              </p:nvSpPr>
              <p:spPr>
                <a:xfrm>
                  <a:off x="8772300" y="4480928"/>
                  <a:ext cx="29204" cy="35045"/>
                </a:xfrm>
                <a:custGeom>
                  <a:avLst/>
                  <a:gdLst>
                    <a:gd name="connsiteX0" fmla="*/ 0 w 29204"/>
                    <a:gd name="connsiteY0" fmla="*/ 0 h 35044"/>
                    <a:gd name="connsiteX1" fmla="*/ 33292 w 29204"/>
                    <a:gd name="connsiteY1" fmla="*/ 38549 h 35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204" h="35044">
                      <a:moveTo>
                        <a:pt x="0" y="0"/>
                      </a:moveTo>
                      <a:lnTo>
                        <a:pt x="33292" y="38549"/>
                      </a:lnTo>
                    </a:path>
                  </a:pathLst>
                </a:custGeom>
                <a:grp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45" name="Freeform: Shape 144">
                  <a:extLst>
                    <a:ext uri="{FF2B5EF4-FFF2-40B4-BE49-F238E27FC236}">
                      <a16:creationId xmlns:a16="http://schemas.microsoft.com/office/drawing/2014/main" id="{5E78C10B-625F-4557-8747-2908BC105C8F}"/>
                    </a:ext>
                  </a:extLst>
                </p:cNvPr>
                <p:cNvSpPr/>
                <p:nvPr/>
              </p:nvSpPr>
              <p:spPr>
                <a:xfrm>
                  <a:off x="8791575" y="4464574"/>
                  <a:ext cx="29204" cy="35045"/>
                </a:xfrm>
                <a:custGeom>
                  <a:avLst/>
                  <a:gdLst>
                    <a:gd name="connsiteX0" fmla="*/ 0 w 29204"/>
                    <a:gd name="connsiteY0" fmla="*/ 0 h 35044"/>
                    <a:gd name="connsiteX1" fmla="*/ 33293 w 29204"/>
                    <a:gd name="connsiteY1" fmla="*/ 39133 h 35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204" h="35044">
                      <a:moveTo>
                        <a:pt x="0" y="0"/>
                      </a:moveTo>
                      <a:lnTo>
                        <a:pt x="33293" y="39133"/>
                      </a:lnTo>
                    </a:path>
                  </a:pathLst>
                </a:custGeom>
                <a:grp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6C42B2CE-B11F-4185-B359-02C0951C0022}"/>
                  </a:ext>
                </a:extLst>
              </p:cNvPr>
              <p:cNvSpPr/>
              <p:nvPr/>
            </p:nvSpPr>
            <p:spPr>
              <a:xfrm>
                <a:off x="9421797" y="4472751"/>
                <a:ext cx="157702" cy="128498"/>
              </a:xfrm>
              <a:custGeom>
                <a:avLst/>
                <a:gdLst>
                  <a:gd name="connsiteX0" fmla="*/ 159454 w 157701"/>
                  <a:gd name="connsiteY0" fmla="*/ 0 h 128497"/>
                  <a:gd name="connsiteX1" fmla="*/ 159454 w 157701"/>
                  <a:gd name="connsiteY1" fmla="*/ 114480 h 128497"/>
                  <a:gd name="connsiteX2" fmla="*/ 143100 w 157701"/>
                  <a:gd name="connsiteY2" fmla="*/ 130834 h 128497"/>
                  <a:gd name="connsiteX3" fmla="*/ 16355 w 157701"/>
                  <a:gd name="connsiteY3" fmla="*/ 130834 h 128497"/>
                  <a:gd name="connsiteX4" fmla="*/ 0 w 157701"/>
                  <a:gd name="connsiteY4" fmla="*/ 114480 h 128497"/>
                  <a:gd name="connsiteX5" fmla="*/ 0 w 157701"/>
                  <a:gd name="connsiteY5" fmla="*/ 20443 h 128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701" h="128497">
                    <a:moveTo>
                      <a:pt x="159454" y="0"/>
                    </a:moveTo>
                    <a:lnTo>
                      <a:pt x="159454" y="114480"/>
                    </a:lnTo>
                    <a:cubicBezTo>
                      <a:pt x="159454" y="123825"/>
                      <a:pt x="151861" y="130834"/>
                      <a:pt x="143100" y="130834"/>
                    </a:cubicBezTo>
                    <a:lnTo>
                      <a:pt x="16355" y="130834"/>
                    </a:lnTo>
                    <a:cubicBezTo>
                      <a:pt x="7009" y="130834"/>
                      <a:pt x="0" y="123241"/>
                      <a:pt x="0" y="114480"/>
                    </a:cubicBezTo>
                    <a:lnTo>
                      <a:pt x="0" y="20443"/>
                    </a:lnTo>
                  </a:path>
                </a:pathLst>
              </a:custGeom>
              <a:grpFill/>
              <a:ln w="5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B3DF194B-1E4A-470F-A7CB-7B68E0B4AD6E}"/>
                </a:ext>
              </a:extLst>
            </p:cNvPr>
            <p:cNvGrpSpPr/>
            <p:nvPr/>
          </p:nvGrpSpPr>
          <p:grpSpPr>
            <a:xfrm>
              <a:off x="8422026" y="2491869"/>
              <a:ext cx="1177506" cy="2086601"/>
              <a:chOff x="8720317" y="2491869"/>
              <a:chExt cx="1177506" cy="2086601"/>
            </a:xfrm>
          </p:grpSpPr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82F05E1E-2D2E-456C-AA8C-27DB5EF4CF20}"/>
                  </a:ext>
                </a:extLst>
              </p:cNvPr>
              <p:cNvSpPr/>
              <p:nvPr/>
            </p:nvSpPr>
            <p:spPr>
              <a:xfrm>
                <a:off x="9379160" y="3733305"/>
                <a:ext cx="23363" cy="706737"/>
              </a:xfrm>
              <a:custGeom>
                <a:avLst/>
                <a:gdLst>
                  <a:gd name="connsiteX0" fmla="*/ 23947 w 23363"/>
                  <a:gd name="connsiteY0" fmla="*/ 0 h 706737"/>
                  <a:gd name="connsiteX1" fmla="*/ 0 w 23363"/>
                  <a:gd name="connsiteY1" fmla="*/ 711410 h 706737"/>
                  <a:gd name="connsiteX2" fmla="*/ 5256 w 23363"/>
                  <a:gd name="connsiteY2" fmla="*/ 711994 h 706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363" h="706737">
                    <a:moveTo>
                      <a:pt x="23947" y="0"/>
                    </a:moveTo>
                    <a:lnTo>
                      <a:pt x="0" y="711410"/>
                    </a:lnTo>
                    <a:lnTo>
                      <a:pt x="5256" y="711994"/>
                    </a:ln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5E42FC86-C74F-40FE-8CCB-08D2072D4A04}"/>
                  </a:ext>
                </a:extLst>
              </p:cNvPr>
              <p:cNvSpPr/>
              <p:nvPr/>
            </p:nvSpPr>
            <p:spPr>
              <a:xfrm>
                <a:off x="8764707" y="3465212"/>
                <a:ext cx="683374" cy="1033822"/>
              </a:xfrm>
              <a:custGeom>
                <a:avLst/>
                <a:gdLst>
                  <a:gd name="connsiteX0" fmla="*/ 432219 w 683373"/>
                  <a:gd name="connsiteY0" fmla="*/ 0 h 1033822"/>
                  <a:gd name="connsiteX1" fmla="*/ 422874 w 683373"/>
                  <a:gd name="connsiteY1" fmla="*/ 148356 h 1033822"/>
                  <a:gd name="connsiteX2" fmla="*/ 0 w 683373"/>
                  <a:gd name="connsiteY2" fmla="*/ 915838 h 1033822"/>
                  <a:gd name="connsiteX3" fmla="*/ 214942 w 683373"/>
                  <a:gd name="connsiteY3" fmla="*/ 1034406 h 1033822"/>
                  <a:gd name="connsiteX4" fmla="*/ 630807 w 683373"/>
                  <a:gd name="connsiteY4" fmla="*/ 279775 h 1033822"/>
                  <a:gd name="connsiteX5" fmla="*/ 686294 w 683373"/>
                  <a:gd name="connsiteY5" fmla="*/ 244730 h 1033822"/>
                  <a:gd name="connsiteX6" fmla="*/ 686294 w 683373"/>
                  <a:gd name="connsiteY6" fmla="*/ 244730 h 103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3373" h="1033822">
                    <a:moveTo>
                      <a:pt x="432219" y="0"/>
                    </a:moveTo>
                    <a:lnTo>
                      <a:pt x="422874" y="148356"/>
                    </a:lnTo>
                    <a:lnTo>
                      <a:pt x="0" y="915838"/>
                    </a:lnTo>
                    <a:lnTo>
                      <a:pt x="214942" y="1034406"/>
                    </a:lnTo>
                    <a:lnTo>
                      <a:pt x="630807" y="279775"/>
                    </a:lnTo>
                    <a:cubicBezTo>
                      <a:pt x="641904" y="259332"/>
                      <a:pt x="662931" y="245898"/>
                      <a:pt x="686294" y="244730"/>
                    </a:cubicBezTo>
                    <a:lnTo>
                      <a:pt x="686294" y="244730"/>
                    </a:ln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20EF97AF-9CBD-460A-89C3-26876FD81A2C}"/>
                  </a:ext>
                </a:extLst>
              </p:cNvPr>
              <p:cNvSpPr/>
              <p:nvPr/>
            </p:nvSpPr>
            <p:spPr>
              <a:xfrm>
                <a:off x="9384416" y="3804563"/>
                <a:ext cx="268677" cy="648329"/>
              </a:xfrm>
              <a:custGeom>
                <a:avLst/>
                <a:gdLst>
                  <a:gd name="connsiteX0" fmla="*/ 0 w 268676"/>
                  <a:gd name="connsiteY0" fmla="*/ 640736 h 648329"/>
                  <a:gd name="connsiteX1" fmla="*/ 239473 w 268676"/>
                  <a:gd name="connsiteY1" fmla="*/ 651834 h 648329"/>
                  <a:gd name="connsiteX2" fmla="*/ 269845 w 268676"/>
                  <a:gd name="connsiteY2" fmla="*/ 0 h 648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8676" h="648329">
                    <a:moveTo>
                      <a:pt x="0" y="640736"/>
                    </a:moveTo>
                    <a:lnTo>
                      <a:pt x="239473" y="651834"/>
                    </a:lnTo>
                    <a:lnTo>
                      <a:pt x="269845" y="0"/>
                    </a:ln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DFAA32C5-195C-4231-9EFE-C1C2D8A2D426}"/>
                  </a:ext>
                </a:extLst>
              </p:cNvPr>
              <p:cNvSpPr/>
              <p:nvPr/>
            </p:nvSpPr>
            <p:spPr>
              <a:xfrm>
                <a:off x="9565481" y="2724599"/>
                <a:ext cx="17522" cy="5841"/>
              </a:xfrm>
              <a:custGeom>
                <a:avLst/>
                <a:gdLst>
                  <a:gd name="connsiteX0" fmla="*/ 22195 w 17522"/>
                  <a:gd name="connsiteY0" fmla="*/ 0 h 0"/>
                  <a:gd name="connsiteX1" fmla="*/ 0 w 17522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22">
                    <a:moveTo>
                      <a:pt x="22195" y="0"/>
                    </a:moveTo>
                    <a:lnTo>
                      <a:pt x="0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70" name="Graphic 6">
                <a:extLst>
                  <a:ext uri="{FF2B5EF4-FFF2-40B4-BE49-F238E27FC236}">
                    <a16:creationId xmlns:a16="http://schemas.microsoft.com/office/drawing/2014/main" id="{AC37F76F-ECC9-46CB-AD02-DC026F196C9A}"/>
                  </a:ext>
                </a:extLst>
              </p:cNvPr>
              <p:cNvGrpSpPr/>
              <p:nvPr/>
            </p:nvGrpSpPr>
            <p:grpSpPr>
              <a:xfrm>
                <a:off x="9261722" y="2695562"/>
                <a:ext cx="46726" cy="58408"/>
                <a:chOff x="9261722" y="2695562"/>
                <a:chExt cx="46726" cy="58408"/>
              </a:xfrm>
              <a:noFill/>
            </p:grpSpPr>
            <p:sp>
              <p:nvSpPr>
                <p:cNvPr id="135" name="Freeform: Shape 134">
                  <a:extLst>
                    <a:ext uri="{FF2B5EF4-FFF2-40B4-BE49-F238E27FC236}">
                      <a16:creationId xmlns:a16="http://schemas.microsoft.com/office/drawing/2014/main" id="{883707FB-525B-4A1E-93F3-6F7212721FD6}"/>
                    </a:ext>
                  </a:extLst>
                </p:cNvPr>
                <p:cNvSpPr/>
                <p:nvPr/>
              </p:nvSpPr>
              <p:spPr>
                <a:xfrm>
                  <a:off x="9261722" y="2695562"/>
                  <a:ext cx="46726" cy="58408"/>
                </a:xfrm>
                <a:custGeom>
                  <a:avLst/>
                  <a:gdLst>
                    <a:gd name="connsiteX0" fmla="*/ 47349 w 46726"/>
                    <a:gd name="connsiteY0" fmla="*/ 5673 h 58408"/>
                    <a:gd name="connsiteX1" fmla="*/ 37419 w 46726"/>
                    <a:gd name="connsiteY1" fmla="*/ 1001 h 58408"/>
                    <a:gd name="connsiteX2" fmla="*/ 1206 w 46726"/>
                    <a:gd name="connsiteY2" fmla="*/ 21443 h 58408"/>
                    <a:gd name="connsiteX3" fmla="*/ 21649 w 46726"/>
                    <a:gd name="connsiteY3" fmla="*/ 57656 h 58408"/>
                    <a:gd name="connsiteX4" fmla="*/ 50853 w 46726"/>
                    <a:gd name="connsiteY4" fmla="*/ 49479 h 58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726" h="58408">
                      <a:moveTo>
                        <a:pt x="47349" y="5673"/>
                      </a:moveTo>
                      <a:cubicBezTo>
                        <a:pt x="44428" y="3337"/>
                        <a:pt x="40923" y="1585"/>
                        <a:pt x="37419" y="1001"/>
                      </a:cubicBezTo>
                      <a:cubicBezTo>
                        <a:pt x="21649" y="-3088"/>
                        <a:pt x="5878" y="5673"/>
                        <a:pt x="1206" y="21443"/>
                      </a:cubicBezTo>
                      <a:cubicBezTo>
                        <a:pt x="-3467" y="37214"/>
                        <a:pt x="5878" y="52984"/>
                        <a:pt x="21649" y="57656"/>
                      </a:cubicBezTo>
                      <a:cubicBezTo>
                        <a:pt x="32162" y="60577"/>
                        <a:pt x="43260" y="57072"/>
                        <a:pt x="50853" y="49479"/>
                      </a:cubicBez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36" name="Freeform: Shape 135">
                  <a:extLst>
                    <a:ext uri="{FF2B5EF4-FFF2-40B4-BE49-F238E27FC236}">
                      <a16:creationId xmlns:a16="http://schemas.microsoft.com/office/drawing/2014/main" id="{462968AF-7295-4117-8F4F-14BA5A6C036A}"/>
                    </a:ext>
                  </a:extLst>
                </p:cNvPr>
                <p:cNvSpPr/>
                <p:nvPr/>
              </p:nvSpPr>
              <p:spPr>
                <a:xfrm>
                  <a:off x="9280450" y="2724599"/>
                  <a:ext cx="17522" cy="5841"/>
                </a:xfrm>
                <a:custGeom>
                  <a:avLst/>
                  <a:gdLst>
                    <a:gd name="connsiteX0" fmla="*/ 0 w 17522"/>
                    <a:gd name="connsiteY0" fmla="*/ 0 h 0"/>
                    <a:gd name="connsiteX1" fmla="*/ 22779 w 17522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522">
                      <a:moveTo>
                        <a:pt x="0" y="0"/>
                      </a:moveTo>
                      <a:lnTo>
                        <a:pt x="22779" y="0"/>
                      </a:lnTo>
                    </a:path>
                  </a:pathLst>
                </a:custGeom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5E6DCC6-E3CA-484A-B68F-D54025271AB8}"/>
                  </a:ext>
                </a:extLst>
              </p:cNvPr>
              <p:cNvSpPr/>
              <p:nvPr/>
            </p:nvSpPr>
            <p:spPr>
              <a:xfrm>
                <a:off x="9468524" y="2685465"/>
                <a:ext cx="40886" cy="5841"/>
              </a:xfrm>
              <a:custGeom>
                <a:avLst/>
                <a:gdLst>
                  <a:gd name="connsiteX0" fmla="*/ 5257 w 40885"/>
                  <a:gd name="connsiteY0" fmla="*/ 0 h 5840"/>
                  <a:gd name="connsiteX1" fmla="*/ 37965 w 40885"/>
                  <a:gd name="connsiteY1" fmla="*/ 584 h 5840"/>
                  <a:gd name="connsiteX2" fmla="*/ 42638 w 40885"/>
                  <a:gd name="connsiteY2" fmla="*/ 5257 h 5840"/>
                  <a:gd name="connsiteX3" fmla="*/ 42638 w 40885"/>
                  <a:gd name="connsiteY3" fmla="*/ 5257 h 5840"/>
                  <a:gd name="connsiteX4" fmla="*/ 37381 w 40885"/>
                  <a:gd name="connsiteY4" fmla="*/ 9929 h 5840"/>
                  <a:gd name="connsiteX5" fmla="*/ 4673 w 40885"/>
                  <a:gd name="connsiteY5" fmla="*/ 9345 h 5840"/>
                  <a:gd name="connsiteX6" fmla="*/ 0 w 40885"/>
                  <a:gd name="connsiteY6" fmla="*/ 4673 h 5840"/>
                  <a:gd name="connsiteX7" fmla="*/ 0 w 40885"/>
                  <a:gd name="connsiteY7" fmla="*/ 4673 h 5840"/>
                  <a:gd name="connsiteX8" fmla="*/ 5257 w 40885"/>
                  <a:gd name="connsiteY8" fmla="*/ 0 h 5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85" h="5840">
                    <a:moveTo>
                      <a:pt x="5257" y="0"/>
                    </a:moveTo>
                    <a:lnTo>
                      <a:pt x="37965" y="584"/>
                    </a:lnTo>
                    <a:cubicBezTo>
                      <a:pt x="40886" y="584"/>
                      <a:pt x="42638" y="2920"/>
                      <a:pt x="42638" y="5257"/>
                    </a:cubicBezTo>
                    <a:lnTo>
                      <a:pt x="42638" y="5257"/>
                    </a:lnTo>
                    <a:cubicBezTo>
                      <a:pt x="42638" y="7593"/>
                      <a:pt x="40302" y="9929"/>
                      <a:pt x="37381" y="9929"/>
                    </a:cubicBezTo>
                    <a:lnTo>
                      <a:pt x="4673" y="9345"/>
                    </a:lnTo>
                    <a:cubicBezTo>
                      <a:pt x="1753" y="9345"/>
                      <a:pt x="0" y="7009"/>
                      <a:pt x="0" y="4673"/>
                    </a:cubicBezTo>
                    <a:lnTo>
                      <a:pt x="0" y="4673"/>
                    </a:lnTo>
                    <a:cubicBezTo>
                      <a:pt x="0" y="2336"/>
                      <a:pt x="2336" y="0"/>
                      <a:pt x="5257" y="0"/>
                    </a:cubicBezTo>
                    <a:close/>
                  </a:path>
                </a:pathLst>
              </a:custGeom>
              <a:solidFill>
                <a:srgbClr val="30373B"/>
              </a:solidFill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72A92DA-D0CF-4F92-8EB0-2C1B1ECD06E3}"/>
                  </a:ext>
                </a:extLst>
              </p:cNvPr>
              <p:cNvSpPr/>
              <p:nvPr/>
            </p:nvSpPr>
            <p:spPr>
              <a:xfrm>
                <a:off x="9358019" y="2681262"/>
                <a:ext cx="40886" cy="17522"/>
              </a:xfrm>
              <a:custGeom>
                <a:avLst/>
                <a:gdLst>
                  <a:gd name="connsiteX0" fmla="*/ 5954 w 40885"/>
                  <a:gd name="connsiteY0" fmla="*/ 115 h 17522"/>
                  <a:gd name="connsiteX1" fmla="*/ 37494 w 40885"/>
                  <a:gd name="connsiteY1" fmla="*/ 8876 h 17522"/>
                  <a:gd name="connsiteX2" fmla="*/ 40999 w 40885"/>
                  <a:gd name="connsiteY2" fmla="*/ 14717 h 17522"/>
                  <a:gd name="connsiteX3" fmla="*/ 40999 w 40885"/>
                  <a:gd name="connsiteY3" fmla="*/ 14717 h 17522"/>
                  <a:gd name="connsiteX4" fmla="*/ 35158 w 40885"/>
                  <a:gd name="connsiteY4" fmla="*/ 17637 h 17522"/>
                  <a:gd name="connsiteX5" fmla="*/ 3618 w 40885"/>
                  <a:gd name="connsiteY5" fmla="*/ 8876 h 17522"/>
                  <a:gd name="connsiteX6" fmla="*/ 113 w 40885"/>
                  <a:gd name="connsiteY6" fmla="*/ 3035 h 17522"/>
                  <a:gd name="connsiteX7" fmla="*/ 113 w 40885"/>
                  <a:gd name="connsiteY7" fmla="*/ 3035 h 17522"/>
                  <a:gd name="connsiteX8" fmla="*/ 5954 w 40885"/>
                  <a:gd name="connsiteY8" fmla="*/ 115 h 17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85" h="17522">
                    <a:moveTo>
                      <a:pt x="5954" y="115"/>
                    </a:moveTo>
                    <a:lnTo>
                      <a:pt x="37494" y="8876"/>
                    </a:lnTo>
                    <a:cubicBezTo>
                      <a:pt x="39831" y="9460"/>
                      <a:pt x="41583" y="12380"/>
                      <a:pt x="40999" y="14717"/>
                    </a:cubicBezTo>
                    <a:lnTo>
                      <a:pt x="40999" y="14717"/>
                    </a:lnTo>
                    <a:cubicBezTo>
                      <a:pt x="40415" y="17053"/>
                      <a:pt x="37494" y="18221"/>
                      <a:pt x="35158" y="17637"/>
                    </a:cubicBezTo>
                    <a:lnTo>
                      <a:pt x="3618" y="8876"/>
                    </a:lnTo>
                    <a:cubicBezTo>
                      <a:pt x="1282" y="8292"/>
                      <a:pt x="-471" y="5371"/>
                      <a:pt x="113" y="3035"/>
                    </a:cubicBezTo>
                    <a:lnTo>
                      <a:pt x="113" y="3035"/>
                    </a:lnTo>
                    <a:cubicBezTo>
                      <a:pt x="698" y="1283"/>
                      <a:pt x="3034" y="-470"/>
                      <a:pt x="5954" y="115"/>
                    </a:cubicBezTo>
                    <a:close/>
                  </a:path>
                </a:pathLst>
              </a:custGeom>
              <a:solidFill>
                <a:srgbClr val="30373B"/>
              </a:solidFill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FA9BB6E6-8986-40DF-B846-9C88416C34E9}"/>
                  </a:ext>
                </a:extLst>
              </p:cNvPr>
              <p:cNvSpPr/>
              <p:nvPr/>
            </p:nvSpPr>
            <p:spPr>
              <a:xfrm>
                <a:off x="9441072" y="4500203"/>
                <a:ext cx="140179" cy="75930"/>
              </a:xfrm>
              <a:custGeom>
                <a:avLst/>
                <a:gdLst>
                  <a:gd name="connsiteX0" fmla="*/ 140179 w 140179"/>
                  <a:gd name="connsiteY0" fmla="*/ 78267 h 75930"/>
                  <a:gd name="connsiteX1" fmla="*/ 60160 w 140179"/>
                  <a:gd name="connsiteY1" fmla="*/ 0 h 75930"/>
                  <a:gd name="connsiteX2" fmla="*/ 0 w 140179"/>
                  <a:gd name="connsiteY2" fmla="*/ 26868 h 75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0179" h="75930">
                    <a:moveTo>
                      <a:pt x="140179" y="78267"/>
                    </a:moveTo>
                    <a:cubicBezTo>
                      <a:pt x="140179" y="35045"/>
                      <a:pt x="104551" y="0"/>
                      <a:pt x="60160" y="0"/>
                    </a:cubicBezTo>
                    <a:cubicBezTo>
                      <a:pt x="36213" y="0"/>
                      <a:pt x="14602" y="10514"/>
                      <a:pt x="0" y="26868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E0E073E2-7970-44FD-825B-F1FA63E5B1EA}"/>
                  </a:ext>
                </a:extLst>
              </p:cNvPr>
              <p:cNvSpPr/>
              <p:nvPr/>
            </p:nvSpPr>
            <p:spPr>
              <a:xfrm>
                <a:off x="9498312" y="2695562"/>
                <a:ext cx="105134" cy="163542"/>
              </a:xfrm>
              <a:custGeom>
                <a:avLst/>
                <a:gdLst>
                  <a:gd name="connsiteX0" fmla="*/ 0 w 105134"/>
                  <a:gd name="connsiteY0" fmla="*/ 165127 h 163542"/>
                  <a:gd name="connsiteX1" fmla="*/ 51399 w 105134"/>
                  <a:gd name="connsiteY1" fmla="*/ 90949 h 163542"/>
                  <a:gd name="connsiteX2" fmla="*/ 57824 w 105134"/>
                  <a:gd name="connsiteY2" fmla="*/ 49479 h 163542"/>
                  <a:gd name="connsiteX3" fmla="*/ 87028 w 105134"/>
                  <a:gd name="connsiteY3" fmla="*/ 57656 h 163542"/>
                  <a:gd name="connsiteX4" fmla="*/ 107471 w 105134"/>
                  <a:gd name="connsiteY4" fmla="*/ 21443 h 163542"/>
                  <a:gd name="connsiteX5" fmla="*/ 71258 w 105134"/>
                  <a:gd name="connsiteY5" fmla="*/ 1001 h 163542"/>
                  <a:gd name="connsiteX6" fmla="*/ 61328 w 105134"/>
                  <a:gd name="connsiteY6" fmla="*/ 5673 h 163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134" h="163542">
                    <a:moveTo>
                      <a:pt x="0" y="165127"/>
                    </a:moveTo>
                    <a:cubicBezTo>
                      <a:pt x="39718" y="137675"/>
                      <a:pt x="51399" y="90949"/>
                      <a:pt x="51399" y="90949"/>
                    </a:cubicBezTo>
                    <a:cubicBezTo>
                      <a:pt x="51399" y="90949"/>
                      <a:pt x="58408" y="62329"/>
                      <a:pt x="57824" y="49479"/>
                    </a:cubicBezTo>
                    <a:cubicBezTo>
                      <a:pt x="64833" y="57072"/>
                      <a:pt x="75930" y="60577"/>
                      <a:pt x="87028" y="57656"/>
                    </a:cubicBezTo>
                    <a:cubicBezTo>
                      <a:pt x="102799" y="53568"/>
                      <a:pt x="111560" y="37214"/>
                      <a:pt x="107471" y="21443"/>
                    </a:cubicBezTo>
                    <a:cubicBezTo>
                      <a:pt x="103383" y="5673"/>
                      <a:pt x="87028" y="-3088"/>
                      <a:pt x="71258" y="1001"/>
                    </a:cubicBezTo>
                    <a:cubicBezTo>
                      <a:pt x="67754" y="2169"/>
                      <a:pt x="64249" y="3921"/>
                      <a:pt x="61328" y="5673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F7A427E-9B1C-490E-90D3-F5D4B5A799FA}"/>
                  </a:ext>
                </a:extLst>
              </p:cNvPr>
              <p:cNvSpPr/>
              <p:nvPr/>
            </p:nvSpPr>
            <p:spPr>
              <a:xfrm>
                <a:off x="9460931" y="2860689"/>
                <a:ext cx="35045" cy="11682"/>
              </a:xfrm>
              <a:custGeom>
                <a:avLst/>
                <a:gdLst>
                  <a:gd name="connsiteX0" fmla="*/ 0 w 35044"/>
                  <a:gd name="connsiteY0" fmla="*/ 16354 h 11681"/>
                  <a:gd name="connsiteX1" fmla="*/ 37381 w 35044"/>
                  <a:gd name="connsiteY1" fmla="*/ 0 h 11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44" h="11681">
                    <a:moveTo>
                      <a:pt x="0" y="16354"/>
                    </a:moveTo>
                    <a:cubicBezTo>
                      <a:pt x="14602" y="12850"/>
                      <a:pt x="26868" y="7009"/>
                      <a:pt x="37381" y="0"/>
                    </a:cubicBezTo>
                  </a:path>
                </a:pathLst>
              </a:custGeom>
              <a:noFill/>
              <a:ln w="5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6D04516D-3786-4CE7-95AA-C250EDA88910}"/>
                  </a:ext>
                </a:extLst>
              </p:cNvPr>
              <p:cNvSpPr/>
              <p:nvPr/>
            </p:nvSpPr>
            <p:spPr>
              <a:xfrm>
                <a:off x="9310238" y="2747378"/>
                <a:ext cx="146020" cy="128498"/>
              </a:xfrm>
              <a:custGeom>
                <a:avLst/>
                <a:gdLst>
                  <a:gd name="connsiteX0" fmla="*/ 0 w 146020"/>
                  <a:gd name="connsiteY0" fmla="*/ 0 h 128497"/>
                  <a:gd name="connsiteX1" fmla="*/ 7593 w 146020"/>
                  <a:gd name="connsiteY1" fmla="*/ 42054 h 128497"/>
                  <a:gd name="connsiteX2" fmla="*/ 123241 w 146020"/>
                  <a:gd name="connsiteY2" fmla="*/ 132586 h 128497"/>
                  <a:gd name="connsiteX3" fmla="*/ 150693 w 146020"/>
                  <a:gd name="connsiteY3" fmla="*/ 129666 h 128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6020" h="128497">
                    <a:moveTo>
                      <a:pt x="0" y="0"/>
                    </a:moveTo>
                    <a:cubicBezTo>
                      <a:pt x="584" y="13434"/>
                      <a:pt x="7593" y="42054"/>
                      <a:pt x="7593" y="42054"/>
                    </a:cubicBezTo>
                    <a:cubicBezTo>
                      <a:pt x="7593" y="42054"/>
                      <a:pt x="29788" y="132586"/>
                      <a:pt x="123241" y="132586"/>
                    </a:cubicBezTo>
                    <a:cubicBezTo>
                      <a:pt x="133171" y="132586"/>
                      <a:pt x="142516" y="131418"/>
                      <a:pt x="150693" y="129666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1C2BCDD8-BF73-4EE8-9239-4A9FC5B0BE17}"/>
                  </a:ext>
                </a:extLst>
              </p:cNvPr>
              <p:cNvSpPr/>
              <p:nvPr/>
            </p:nvSpPr>
            <p:spPr>
              <a:xfrm>
                <a:off x="9403691" y="2801113"/>
                <a:ext cx="52567" cy="11682"/>
              </a:xfrm>
              <a:custGeom>
                <a:avLst/>
                <a:gdLst>
                  <a:gd name="connsiteX0" fmla="*/ 0 w 52567"/>
                  <a:gd name="connsiteY0" fmla="*/ 0 h 11681"/>
                  <a:gd name="connsiteX1" fmla="*/ 57824 w 52567"/>
                  <a:gd name="connsiteY1" fmla="*/ 3504 h 11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567" h="11681">
                    <a:moveTo>
                      <a:pt x="0" y="0"/>
                    </a:moveTo>
                    <a:cubicBezTo>
                      <a:pt x="0" y="0"/>
                      <a:pt x="22195" y="35045"/>
                      <a:pt x="57824" y="3504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5050BDA-81A9-426A-946E-81CB0A26C735}"/>
                  </a:ext>
                </a:extLst>
              </p:cNvPr>
              <p:cNvSpPr/>
              <p:nvPr/>
            </p:nvSpPr>
            <p:spPr>
              <a:xfrm>
                <a:off x="9486046" y="2720510"/>
                <a:ext cx="5841" cy="5841"/>
              </a:xfrm>
              <a:custGeom>
                <a:avLst/>
                <a:gdLst>
                  <a:gd name="connsiteX0" fmla="*/ 3504 w 5840"/>
                  <a:gd name="connsiteY0" fmla="*/ 8177 h 5840"/>
                  <a:gd name="connsiteX1" fmla="*/ 3504 w 5840"/>
                  <a:gd name="connsiteY1" fmla="*/ 8177 h 5840"/>
                  <a:gd name="connsiteX2" fmla="*/ 0 w 5840"/>
                  <a:gd name="connsiteY2" fmla="*/ 4673 h 5840"/>
                  <a:gd name="connsiteX3" fmla="*/ 0 w 5840"/>
                  <a:gd name="connsiteY3" fmla="*/ 3505 h 5840"/>
                  <a:gd name="connsiteX4" fmla="*/ 3504 w 5840"/>
                  <a:gd name="connsiteY4" fmla="*/ 0 h 5840"/>
                  <a:gd name="connsiteX5" fmla="*/ 3504 w 5840"/>
                  <a:gd name="connsiteY5" fmla="*/ 0 h 5840"/>
                  <a:gd name="connsiteX6" fmla="*/ 7009 w 5840"/>
                  <a:gd name="connsiteY6" fmla="*/ 3505 h 5840"/>
                  <a:gd name="connsiteX7" fmla="*/ 7009 w 5840"/>
                  <a:gd name="connsiteY7" fmla="*/ 4673 h 5840"/>
                  <a:gd name="connsiteX8" fmla="*/ 3504 w 5840"/>
                  <a:gd name="connsiteY8" fmla="*/ 8177 h 5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40" h="5840">
                    <a:moveTo>
                      <a:pt x="3504" y="8177"/>
                    </a:moveTo>
                    <a:lnTo>
                      <a:pt x="3504" y="8177"/>
                    </a:lnTo>
                    <a:cubicBezTo>
                      <a:pt x="1753" y="8177"/>
                      <a:pt x="0" y="6425"/>
                      <a:pt x="0" y="4673"/>
                    </a:cubicBezTo>
                    <a:lnTo>
                      <a:pt x="0" y="3505"/>
                    </a:lnTo>
                    <a:cubicBezTo>
                      <a:pt x="0" y="1752"/>
                      <a:pt x="1753" y="0"/>
                      <a:pt x="3504" y="0"/>
                    </a:cubicBezTo>
                    <a:lnTo>
                      <a:pt x="3504" y="0"/>
                    </a:lnTo>
                    <a:cubicBezTo>
                      <a:pt x="5257" y="0"/>
                      <a:pt x="7009" y="1752"/>
                      <a:pt x="7009" y="3505"/>
                    </a:cubicBezTo>
                    <a:lnTo>
                      <a:pt x="7009" y="4673"/>
                    </a:lnTo>
                    <a:cubicBezTo>
                      <a:pt x="7593" y="7009"/>
                      <a:pt x="5841" y="8177"/>
                      <a:pt x="3504" y="8177"/>
                    </a:cubicBezTo>
                    <a:close/>
                  </a:path>
                </a:pathLst>
              </a:custGeom>
              <a:solidFill>
                <a:srgbClr val="30373B"/>
              </a:solidFill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3B4DA184-B9E5-4070-99BE-790C5409B23C}"/>
                  </a:ext>
                </a:extLst>
              </p:cNvPr>
              <p:cNvSpPr/>
              <p:nvPr/>
            </p:nvSpPr>
            <p:spPr>
              <a:xfrm>
                <a:off x="9375071" y="2720510"/>
                <a:ext cx="5841" cy="5841"/>
              </a:xfrm>
              <a:custGeom>
                <a:avLst/>
                <a:gdLst>
                  <a:gd name="connsiteX0" fmla="*/ 3504 w 5840"/>
                  <a:gd name="connsiteY0" fmla="*/ 8177 h 5840"/>
                  <a:gd name="connsiteX1" fmla="*/ 3504 w 5840"/>
                  <a:gd name="connsiteY1" fmla="*/ 8177 h 5840"/>
                  <a:gd name="connsiteX2" fmla="*/ 0 w 5840"/>
                  <a:gd name="connsiteY2" fmla="*/ 4673 h 5840"/>
                  <a:gd name="connsiteX3" fmla="*/ 0 w 5840"/>
                  <a:gd name="connsiteY3" fmla="*/ 3505 h 5840"/>
                  <a:gd name="connsiteX4" fmla="*/ 3504 w 5840"/>
                  <a:gd name="connsiteY4" fmla="*/ 0 h 5840"/>
                  <a:gd name="connsiteX5" fmla="*/ 3504 w 5840"/>
                  <a:gd name="connsiteY5" fmla="*/ 0 h 5840"/>
                  <a:gd name="connsiteX6" fmla="*/ 7009 w 5840"/>
                  <a:gd name="connsiteY6" fmla="*/ 3505 h 5840"/>
                  <a:gd name="connsiteX7" fmla="*/ 7009 w 5840"/>
                  <a:gd name="connsiteY7" fmla="*/ 4673 h 5840"/>
                  <a:gd name="connsiteX8" fmla="*/ 3504 w 5840"/>
                  <a:gd name="connsiteY8" fmla="*/ 8177 h 5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40" h="5840">
                    <a:moveTo>
                      <a:pt x="3504" y="8177"/>
                    </a:moveTo>
                    <a:lnTo>
                      <a:pt x="3504" y="8177"/>
                    </a:lnTo>
                    <a:cubicBezTo>
                      <a:pt x="1753" y="8177"/>
                      <a:pt x="0" y="6425"/>
                      <a:pt x="0" y="4673"/>
                    </a:cubicBezTo>
                    <a:lnTo>
                      <a:pt x="0" y="3505"/>
                    </a:lnTo>
                    <a:cubicBezTo>
                      <a:pt x="0" y="1752"/>
                      <a:pt x="1753" y="0"/>
                      <a:pt x="3504" y="0"/>
                    </a:cubicBezTo>
                    <a:lnTo>
                      <a:pt x="3504" y="0"/>
                    </a:lnTo>
                    <a:cubicBezTo>
                      <a:pt x="5257" y="0"/>
                      <a:pt x="7009" y="1752"/>
                      <a:pt x="7009" y="3505"/>
                    </a:cubicBezTo>
                    <a:lnTo>
                      <a:pt x="7009" y="4673"/>
                    </a:lnTo>
                    <a:cubicBezTo>
                      <a:pt x="7009" y="7009"/>
                      <a:pt x="5257" y="8177"/>
                      <a:pt x="3504" y="8177"/>
                    </a:cubicBezTo>
                    <a:close/>
                  </a:path>
                </a:pathLst>
              </a:custGeom>
              <a:solidFill>
                <a:srgbClr val="30373B"/>
              </a:solidFill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BD060002-B66B-4346-982D-CCB9196A6F05}"/>
                  </a:ext>
                </a:extLst>
              </p:cNvPr>
              <p:cNvSpPr/>
              <p:nvPr/>
            </p:nvSpPr>
            <p:spPr>
              <a:xfrm>
                <a:off x="9427638" y="2715253"/>
                <a:ext cx="5841" cy="52567"/>
              </a:xfrm>
              <a:custGeom>
                <a:avLst/>
                <a:gdLst>
                  <a:gd name="connsiteX0" fmla="*/ 584 w 0"/>
                  <a:gd name="connsiteY0" fmla="*/ 0 h 52567"/>
                  <a:gd name="connsiteX1" fmla="*/ 0 w 0"/>
                  <a:gd name="connsiteY1" fmla="*/ 53151 h 52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52567">
                    <a:moveTo>
                      <a:pt x="584" y="0"/>
                    </a:moveTo>
                    <a:cubicBezTo>
                      <a:pt x="584" y="0"/>
                      <a:pt x="7593" y="22779"/>
                      <a:pt x="0" y="53151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FBBBBC8B-BAE5-4103-862C-A2E39EAD5226}"/>
                  </a:ext>
                </a:extLst>
              </p:cNvPr>
              <p:cNvSpPr/>
              <p:nvPr/>
            </p:nvSpPr>
            <p:spPr>
              <a:xfrm>
                <a:off x="9498312" y="2860689"/>
                <a:ext cx="5841" cy="93453"/>
              </a:xfrm>
              <a:custGeom>
                <a:avLst/>
                <a:gdLst>
                  <a:gd name="connsiteX0" fmla="*/ 8177 w 5840"/>
                  <a:gd name="connsiteY0" fmla="*/ 97541 h 93452"/>
                  <a:gd name="connsiteX1" fmla="*/ 0 w 5840"/>
                  <a:gd name="connsiteY1" fmla="*/ 0 h 93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0" h="93452">
                    <a:moveTo>
                      <a:pt x="8177" y="97541"/>
                    </a:moveTo>
                    <a:lnTo>
                      <a:pt x="0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38176499-D668-4C60-86BB-9C661C07A8F3}"/>
                  </a:ext>
                </a:extLst>
              </p:cNvPr>
              <p:cNvSpPr/>
              <p:nvPr/>
            </p:nvSpPr>
            <p:spPr>
              <a:xfrm>
                <a:off x="9359885" y="2862442"/>
                <a:ext cx="5841" cy="99294"/>
              </a:xfrm>
              <a:custGeom>
                <a:avLst/>
                <a:gdLst>
                  <a:gd name="connsiteX0" fmla="*/ 9929 w 5840"/>
                  <a:gd name="connsiteY0" fmla="*/ 0 h 99293"/>
                  <a:gd name="connsiteX1" fmla="*/ 0 w 5840"/>
                  <a:gd name="connsiteY1" fmla="*/ 103966 h 9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0" h="99293">
                    <a:moveTo>
                      <a:pt x="9929" y="0"/>
                    </a:moveTo>
                    <a:lnTo>
                      <a:pt x="0" y="103966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D97DF465-E4A5-48F4-B19E-3F54FF5A1DC6}"/>
                  </a:ext>
                </a:extLst>
              </p:cNvPr>
              <p:cNvSpPr/>
              <p:nvPr/>
            </p:nvSpPr>
            <p:spPr>
              <a:xfrm>
                <a:off x="9421213" y="4572629"/>
                <a:ext cx="157702" cy="5841"/>
              </a:xfrm>
              <a:custGeom>
                <a:avLst/>
                <a:gdLst>
                  <a:gd name="connsiteX0" fmla="*/ 160038 w 157701"/>
                  <a:gd name="connsiteY0" fmla="*/ 0 h 0"/>
                  <a:gd name="connsiteX1" fmla="*/ 0 w 157701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701">
                    <a:moveTo>
                      <a:pt x="160038" y="0"/>
                    </a:moveTo>
                    <a:lnTo>
                      <a:pt x="0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87C62E9B-5E70-4A9F-A374-AB5C6CEACBC4}"/>
                  </a:ext>
                </a:extLst>
              </p:cNvPr>
              <p:cNvSpPr/>
              <p:nvPr/>
            </p:nvSpPr>
            <p:spPr>
              <a:xfrm>
                <a:off x="9299141" y="4369953"/>
                <a:ext cx="251154" cy="5841"/>
              </a:xfrm>
              <a:custGeom>
                <a:avLst/>
                <a:gdLst>
                  <a:gd name="connsiteX0" fmla="*/ 0 w 251154"/>
                  <a:gd name="connsiteY0" fmla="*/ 0 h 0"/>
                  <a:gd name="connsiteX1" fmla="*/ 254659 w 251154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1154">
                    <a:moveTo>
                      <a:pt x="0" y="0"/>
                    </a:moveTo>
                    <a:lnTo>
                      <a:pt x="254659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3B18A851-8FD7-42AB-80A1-DFB9DCA5C4E0}"/>
                  </a:ext>
                </a:extLst>
              </p:cNvPr>
              <p:cNvSpPr/>
              <p:nvPr/>
            </p:nvSpPr>
            <p:spPr>
              <a:xfrm>
                <a:off x="9450417" y="3997894"/>
                <a:ext cx="5841" cy="367971"/>
              </a:xfrm>
              <a:custGeom>
                <a:avLst/>
                <a:gdLst>
                  <a:gd name="connsiteX0" fmla="*/ 0 w 5840"/>
                  <a:gd name="connsiteY0" fmla="*/ 372059 h 367970"/>
                  <a:gd name="connsiteX1" fmla="*/ 11098 w 5840"/>
                  <a:gd name="connsiteY1" fmla="*/ 0 h 367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0" h="367970">
                    <a:moveTo>
                      <a:pt x="0" y="372059"/>
                    </a:moveTo>
                    <a:lnTo>
                      <a:pt x="11098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86" name="Graphic 6">
                <a:extLst>
                  <a:ext uri="{FF2B5EF4-FFF2-40B4-BE49-F238E27FC236}">
                    <a16:creationId xmlns:a16="http://schemas.microsoft.com/office/drawing/2014/main" id="{38226130-A44C-4654-9525-99ACCE19F361}"/>
                  </a:ext>
                </a:extLst>
              </p:cNvPr>
              <p:cNvGrpSpPr/>
              <p:nvPr/>
            </p:nvGrpSpPr>
            <p:grpSpPr>
              <a:xfrm>
                <a:off x="9459763" y="3768934"/>
                <a:ext cx="5841" cy="157702"/>
                <a:chOff x="9459763" y="3768934"/>
                <a:chExt cx="5841" cy="157702"/>
              </a:xfrm>
            </p:grpSpPr>
            <p:sp>
              <p:nvSpPr>
                <p:cNvPr id="133" name="Freeform: Shape 132">
                  <a:extLst>
                    <a:ext uri="{FF2B5EF4-FFF2-40B4-BE49-F238E27FC236}">
                      <a16:creationId xmlns:a16="http://schemas.microsoft.com/office/drawing/2014/main" id="{140D53CA-9C8E-4391-BC2F-3AF4DCE6C178}"/>
                    </a:ext>
                  </a:extLst>
                </p:cNvPr>
                <p:cNvSpPr/>
                <p:nvPr/>
              </p:nvSpPr>
              <p:spPr>
                <a:xfrm>
                  <a:off x="9459763" y="3861803"/>
                  <a:ext cx="5841" cy="70090"/>
                </a:xfrm>
                <a:custGeom>
                  <a:avLst/>
                  <a:gdLst>
                    <a:gd name="connsiteX0" fmla="*/ 0 w 0"/>
                    <a:gd name="connsiteY0" fmla="*/ 70090 h 70089"/>
                    <a:gd name="connsiteX1" fmla="*/ 584 w 0"/>
                    <a:gd name="connsiteY1" fmla="*/ 0 h 70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70089">
                      <a:moveTo>
                        <a:pt x="0" y="70090"/>
                      </a:moveTo>
                      <a:lnTo>
                        <a:pt x="584" y="0"/>
                      </a:lnTo>
                    </a:path>
                  </a:pathLst>
                </a:custGeom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34" name="Freeform: Shape 133">
                  <a:extLst>
                    <a:ext uri="{FF2B5EF4-FFF2-40B4-BE49-F238E27FC236}">
                      <a16:creationId xmlns:a16="http://schemas.microsoft.com/office/drawing/2014/main" id="{B89DCE67-D70C-4DE5-B04E-6C833D63B4E8}"/>
                    </a:ext>
                  </a:extLst>
                </p:cNvPr>
                <p:cNvSpPr/>
                <p:nvPr/>
              </p:nvSpPr>
              <p:spPr>
                <a:xfrm>
                  <a:off x="9460931" y="3768934"/>
                  <a:ext cx="5841" cy="70090"/>
                </a:xfrm>
                <a:custGeom>
                  <a:avLst/>
                  <a:gdLst>
                    <a:gd name="connsiteX0" fmla="*/ 0 w 0"/>
                    <a:gd name="connsiteY0" fmla="*/ 70090 h 70089"/>
                    <a:gd name="connsiteX1" fmla="*/ 584 w 0"/>
                    <a:gd name="connsiteY1" fmla="*/ 0 h 70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70089">
                      <a:moveTo>
                        <a:pt x="0" y="70090"/>
                      </a:moveTo>
                      <a:lnTo>
                        <a:pt x="584" y="0"/>
                      </a:lnTo>
                    </a:path>
                  </a:pathLst>
                </a:custGeom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CD59DFC9-51EE-4A69-AA92-D21692912D8F}"/>
                  </a:ext>
                </a:extLst>
              </p:cNvPr>
              <p:cNvSpPr/>
              <p:nvPr/>
            </p:nvSpPr>
            <p:spPr>
              <a:xfrm>
                <a:off x="8764707" y="4304536"/>
                <a:ext cx="198587" cy="99294"/>
              </a:xfrm>
              <a:custGeom>
                <a:avLst/>
                <a:gdLst>
                  <a:gd name="connsiteX0" fmla="*/ 0 w 198587"/>
                  <a:gd name="connsiteY0" fmla="*/ 0 h 99293"/>
                  <a:gd name="connsiteX1" fmla="*/ 200340 w 198587"/>
                  <a:gd name="connsiteY1" fmla="*/ 100462 h 9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587" h="99293">
                    <a:moveTo>
                      <a:pt x="0" y="0"/>
                    </a:moveTo>
                    <a:lnTo>
                      <a:pt x="200340" y="100462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88" name="Graphic 6">
                <a:extLst>
                  <a:ext uri="{FF2B5EF4-FFF2-40B4-BE49-F238E27FC236}">
                    <a16:creationId xmlns:a16="http://schemas.microsoft.com/office/drawing/2014/main" id="{663369B7-82BB-482E-A3FD-260E734BB67C}"/>
                  </a:ext>
                </a:extLst>
              </p:cNvPr>
              <p:cNvGrpSpPr/>
              <p:nvPr/>
            </p:nvGrpSpPr>
            <p:grpSpPr>
              <a:xfrm>
                <a:off x="9118076" y="3709942"/>
                <a:ext cx="93453" cy="169383"/>
                <a:chOff x="9118076" y="3709942"/>
                <a:chExt cx="93453" cy="169383"/>
              </a:xfrm>
              <a:noFill/>
            </p:grpSpPr>
            <p:sp>
              <p:nvSpPr>
                <p:cNvPr id="131" name="Freeform: Shape 130">
                  <a:extLst>
                    <a:ext uri="{FF2B5EF4-FFF2-40B4-BE49-F238E27FC236}">
                      <a16:creationId xmlns:a16="http://schemas.microsoft.com/office/drawing/2014/main" id="{9B4AB8A5-0FA5-4ED4-BC0C-14B291BE4CFB}"/>
                    </a:ext>
                  </a:extLst>
                </p:cNvPr>
                <p:cNvSpPr/>
                <p:nvPr/>
              </p:nvSpPr>
              <p:spPr>
                <a:xfrm>
                  <a:off x="9118076" y="3820917"/>
                  <a:ext cx="29204" cy="58408"/>
                </a:xfrm>
                <a:custGeom>
                  <a:avLst/>
                  <a:gdLst>
                    <a:gd name="connsiteX0" fmla="*/ 0 w 29204"/>
                    <a:gd name="connsiteY0" fmla="*/ 61328 h 58408"/>
                    <a:gd name="connsiteX1" fmla="*/ 33877 w 29204"/>
                    <a:gd name="connsiteY1" fmla="*/ 0 h 58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204" h="58408">
                      <a:moveTo>
                        <a:pt x="0" y="61328"/>
                      </a:moveTo>
                      <a:cubicBezTo>
                        <a:pt x="12850" y="38549"/>
                        <a:pt x="23947" y="18107"/>
                        <a:pt x="33877" y="0"/>
                      </a:cubicBez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32" name="Freeform: Shape 131">
                  <a:extLst>
                    <a:ext uri="{FF2B5EF4-FFF2-40B4-BE49-F238E27FC236}">
                      <a16:creationId xmlns:a16="http://schemas.microsoft.com/office/drawing/2014/main" id="{EE470C40-55C7-4AA5-9EB5-CE0EA4160037}"/>
                    </a:ext>
                  </a:extLst>
                </p:cNvPr>
                <p:cNvSpPr/>
                <p:nvPr/>
              </p:nvSpPr>
              <p:spPr>
                <a:xfrm>
                  <a:off x="9178820" y="3709942"/>
                  <a:ext cx="29204" cy="58408"/>
                </a:xfrm>
                <a:custGeom>
                  <a:avLst/>
                  <a:gdLst>
                    <a:gd name="connsiteX0" fmla="*/ 0 w 29204"/>
                    <a:gd name="connsiteY0" fmla="*/ 61328 h 58408"/>
                    <a:gd name="connsiteX1" fmla="*/ 33877 w 29204"/>
                    <a:gd name="connsiteY1" fmla="*/ 0 h 58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204" h="58408">
                      <a:moveTo>
                        <a:pt x="0" y="61328"/>
                      </a:moveTo>
                      <a:cubicBezTo>
                        <a:pt x="23947" y="18107"/>
                        <a:pt x="33877" y="0"/>
                        <a:pt x="33877" y="0"/>
                      </a:cubicBez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5AA03382-7092-4D13-8277-72D6CA8E6DBE}"/>
                  </a:ext>
                </a:extLst>
              </p:cNvPr>
              <p:cNvSpPr/>
              <p:nvPr/>
            </p:nvSpPr>
            <p:spPr>
              <a:xfrm>
                <a:off x="8865098" y="3926052"/>
                <a:ext cx="227791" cy="426379"/>
              </a:xfrm>
              <a:custGeom>
                <a:avLst/>
                <a:gdLst>
                  <a:gd name="connsiteX0" fmla="*/ 72 w 227791"/>
                  <a:gd name="connsiteY0" fmla="*/ 428715 h 426378"/>
                  <a:gd name="connsiteX1" fmla="*/ 229031 w 227791"/>
                  <a:gd name="connsiteY1" fmla="*/ 0 h 426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7791" h="426378">
                    <a:moveTo>
                      <a:pt x="72" y="428715"/>
                    </a:moveTo>
                    <a:cubicBezTo>
                      <a:pt x="-3433" y="426963"/>
                      <a:pt x="122144" y="195667"/>
                      <a:pt x="229031" y="0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0E3B01A8-D615-4BBD-87BF-62E0401F8A89}"/>
                  </a:ext>
                </a:extLst>
              </p:cNvPr>
              <p:cNvSpPr/>
              <p:nvPr/>
            </p:nvSpPr>
            <p:spPr>
              <a:xfrm>
                <a:off x="9716758" y="3072126"/>
                <a:ext cx="181065" cy="496468"/>
              </a:xfrm>
              <a:custGeom>
                <a:avLst/>
                <a:gdLst>
                  <a:gd name="connsiteX0" fmla="*/ 0 w 181064"/>
                  <a:gd name="connsiteY0" fmla="*/ 0 h 496468"/>
                  <a:gd name="connsiteX1" fmla="*/ 161206 w 181064"/>
                  <a:gd name="connsiteY1" fmla="*/ 154781 h 496468"/>
                  <a:gd name="connsiteX2" fmla="*/ 175808 w 181064"/>
                  <a:gd name="connsiteY2" fmla="*/ 236553 h 496468"/>
                  <a:gd name="connsiteX3" fmla="*/ 49063 w 181064"/>
                  <a:gd name="connsiteY3" fmla="*/ 498805 h 49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1064" h="496468">
                    <a:moveTo>
                      <a:pt x="0" y="0"/>
                    </a:moveTo>
                    <a:lnTo>
                      <a:pt x="161206" y="154781"/>
                    </a:lnTo>
                    <a:cubicBezTo>
                      <a:pt x="182233" y="176392"/>
                      <a:pt x="188074" y="209101"/>
                      <a:pt x="175808" y="236553"/>
                    </a:cubicBezTo>
                    <a:cubicBezTo>
                      <a:pt x="85860" y="433388"/>
                      <a:pt x="56656" y="483034"/>
                      <a:pt x="49063" y="498805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91" name="Graphic 6">
                <a:extLst>
                  <a:ext uri="{FF2B5EF4-FFF2-40B4-BE49-F238E27FC236}">
                    <a16:creationId xmlns:a16="http://schemas.microsoft.com/office/drawing/2014/main" id="{142FA363-A97F-4E21-822B-BA20B0A01917}"/>
                  </a:ext>
                </a:extLst>
              </p:cNvPr>
              <p:cNvGrpSpPr/>
              <p:nvPr/>
            </p:nvGrpSpPr>
            <p:grpSpPr>
              <a:xfrm>
                <a:off x="9309907" y="2966123"/>
                <a:ext cx="105134" cy="151861"/>
                <a:chOff x="9309907" y="2966123"/>
                <a:chExt cx="105134" cy="151861"/>
              </a:xfrm>
              <a:noFill/>
            </p:grpSpPr>
            <p:grpSp>
              <p:nvGrpSpPr>
                <p:cNvPr id="126" name="Graphic 6">
                  <a:extLst>
                    <a:ext uri="{FF2B5EF4-FFF2-40B4-BE49-F238E27FC236}">
                      <a16:creationId xmlns:a16="http://schemas.microsoft.com/office/drawing/2014/main" id="{36781E94-B28E-4FD8-86A7-12219D8DC481}"/>
                    </a:ext>
                  </a:extLst>
                </p:cNvPr>
                <p:cNvGrpSpPr/>
                <p:nvPr/>
              </p:nvGrpSpPr>
              <p:grpSpPr>
                <a:xfrm>
                  <a:off x="9309907" y="2966123"/>
                  <a:ext cx="105134" cy="151861"/>
                  <a:chOff x="9309907" y="2966123"/>
                  <a:chExt cx="105134" cy="151861"/>
                </a:xfrm>
                <a:noFill/>
              </p:grpSpPr>
              <p:sp>
                <p:nvSpPr>
                  <p:cNvPr id="129" name="Freeform: Shape 128">
                    <a:extLst>
                      <a:ext uri="{FF2B5EF4-FFF2-40B4-BE49-F238E27FC236}">
                        <a16:creationId xmlns:a16="http://schemas.microsoft.com/office/drawing/2014/main" id="{C5349752-562E-42BD-B98A-5FD539956FE2}"/>
                      </a:ext>
                    </a:extLst>
                  </p:cNvPr>
                  <p:cNvSpPr/>
                  <p:nvPr/>
                </p:nvSpPr>
                <p:spPr>
                  <a:xfrm>
                    <a:off x="9309907" y="2989187"/>
                    <a:ext cx="70090" cy="116816"/>
                  </a:xfrm>
                  <a:custGeom>
                    <a:avLst/>
                    <a:gdLst>
                      <a:gd name="connsiteX0" fmla="*/ 75678 w 70089"/>
                      <a:gd name="connsiteY0" fmla="*/ 119152 h 116816"/>
                      <a:gd name="connsiteX1" fmla="*/ 3836 w 70089"/>
                      <a:gd name="connsiteY1" fmla="*/ 76515 h 116816"/>
                      <a:gd name="connsiteX2" fmla="*/ 37129 w 70089"/>
                      <a:gd name="connsiteY2" fmla="*/ 0 h 116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70089" h="116816">
                        <a:moveTo>
                          <a:pt x="75678" y="119152"/>
                        </a:moveTo>
                        <a:cubicBezTo>
                          <a:pt x="42970" y="129666"/>
                          <a:pt x="14350" y="109807"/>
                          <a:pt x="3836" y="76515"/>
                        </a:cubicBezTo>
                        <a:cubicBezTo>
                          <a:pt x="-6677" y="43222"/>
                          <a:pt x="4420" y="10513"/>
                          <a:pt x="37129" y="0"/>
                        </a:cubicBez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30" name="Freeform: Shape 129">
                    <a:extLst>
                      <a:ext uri="{FF2B5EF4-FFF2-40B4-BE49-F238E27FC236}">
                        <a16:creationId xmlns:a16="http://schemas.microsoft.com/office/drawing/2014/main" id="{BB0093F1-9B83-4111-809A-4FD4F3F3BAF9}"/>
                      </a:ext>
                    </a:extLst>
                  </p:cNvPr>
                  <p:cNvSpPr/>
                  <p:nvPr/>
                </p:nvSpPr>
                <p:spPr>
                  <a:xfrm>
                    <a:off x="9345582" y="2966123"/>
                    <a:ext cx="70090" cy="151861"/>
                  </a:xfrm>
                  <a:custGeom>
                    <a:avLst/>
                    <a:gdLst>
                      <a:gd name="connsiteX0" fmla="*/ 61030 w 70089"/>
                      <a:gd name="connsiteY0" fmla="*/ 153898 h 151860"/>
                      <a:gd name="connsiteX1" fmla="*/ 61030 w 70089"/>
                      <a:gd name="connsiteY1" fmla="*/ 153898 h 151860"/>
                      <a:gd name="connsiteX2" fmla="*/ 40587 w 70089"/>
                      <a:gd name="connsiteY2" fmla="*/ 143385 h 151860"/>
                      <a:gd name="connsiteX3" fmla="*/ 869 w 70089"/>
                      <a:gd name="connsiteY3" fmla="*/ 21312 h 151860"/>
                      <a:gd name="connsiteX4" fmla="*/ 11383 w 70089"/>
                      <a:gd name="connsiteY4" fmla="*/ 869 h 151860"/>
                      <a:gd name="connsiteX5" fmla="*/ 11383 w 70089"/>
                      <a:gd name="connsiteY5" fmla="*/ 869 h 151860"/>
                      <a:gd name="connsiteX6" fmla="*/ 31826 w 70089"/>
                      <a:gd name="connsiteY6" fmla="*/ 11383 h 151860"/>
                      <a:gd name="connsiteX7" fmla="*/ 71543 w 70089"/>
                      <a:gd name="connsiteY7" fmla="*/ 133455 h 151860"/>
                      <a:gd name="connsiteX8" fmla="*/ 61030 w 70089"/>
                      <a:gd name="connsiteY8" fmla="*/ 153898 h 1518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70089" h="151860">
                        <a:moveTo>
                          <a:pt x="61030" y="153898"/>
                        </a:moveTo>
                        <a:lnTo>
                          <a:pt x="61030" y="153898"/>
                        </a:lnTo>
                        <a:cubicBezTo>
                          <a:pt x="52268" y="156819"/>
                          <a:pt x="43507" y="152146"/>
                          <a:pt x="40587" y="143385"/>
                        </a:cubicBezTo>
                        <a:lnTo>
                          <a:pt x="869" y="21312"/>
                        </a:lnTo>
                        <a:cubicBezTo>
                          <a:pt x="-2051" y="12551"/>
                          <a:pt x="2622" y="3790"/>
                          <a:pt x="11383" y="869"/>
                        </a:cubicBezTo>
                        <a:lnTo>
                          <a:pt x="11383" y="869"/>
                        </a:lnTo>
                        <a:cubicBezTo>
                          <a:pt x="20144" y="-2051"/>
                          <a:pt x="28905" y="2621"/>
                          <a:pt x="31826" y="11383"/>
                        </a:cubicBezTo>
                        <a:lnTo>
                          <a:pt x="71543" y="133455"/>
                        </a:lnTo>
                        <a:cubicBezTo>
                          <a:pt x="73879" y="142217"/>
                          <a:pt x="69207" y="151562"/>
                          <a:pt x="61030" y="153898"/>
                        </a:cubicBezTo>
                        <a:close/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</p:grpSp>
            <p:sp>
              <p:nvSpPr>
                <p:cNvPr id="127" name="Freeform: Shape 126">
                  <a:extLst>
                    <a:ext uri="{FF2B5EF4-FFF2-40B4-BE49-F238E27FC236}">
                      <a16:creationId xmlns:a16="http://schemas.microsoft.com/office/drawing/2014/main" id="{5252AC4C-339F-4B7B-8FB2-AD4BA05D7B4A}"/>
                    </a:ext>
                  </a:extLst>
                </p:cNvPr>
                <p:cNvSpPr/>
                <p:nvPr/>
              </p:nvSpPr>
              <p:spPr>
                <a:xfrm>
                  <a:off x="9304397" y="2900991"/>
                  <a:ext cx="58408" cy="134338"/>
                </a:xfrm>
                <a:custGeom>
                  <a:avLst/>
                  <a:gdLst>
                    <a:gd name="connsiteX0" fmla="*/ 5257 w 58408"/>
                    <a:gd name="connsiteY0" fmla="*/ 139595 h 134338"/>
                    <a:gd name="connsiteX1" fmla="*/ 0 w 58408"/>
                    <a:gd name="connsiteY1" fmla="*/ 77099 h 134338"/>
                    <a:gd name="connsiteX2" fmla="*/ 52567 w 58408"/>
                    <a:gd name="connsiteY2" fmla="*/ 1752 h 134338"/>
                    <a:gd name="connsiteX3" fmla="*/ 61912 w 58408"/>
                    <a:gd name="connsiteY3" fmla="*/ 0 h 1343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8408" h="134338">
                      <a:moveTo>
                        <a:pt x="5257" y="139595"/>
                      </a:moveTo>
                      <a:lnTo>
                        <a:pt x="0" y="77099"/>
                      </a:lnTo>
                      <a:cubicBezTo>
                        <a:pt x="0" y="23363"/>
                        <a:pt x="21027" y="10513"/>
                        <a:pt x="52567" y="1752"/>
                      </a:cubicBezTo>
                      <a:lnTo>
                        <a:pt x="61912" y="0"/>
                      </a:ln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28" name="Freeform: Shape 127">
                  <a:extLst>
                    <a:ext uri="{FF2B5EF4-FFF2-40B4-BE49-F238E27FC236}">
                      <a16:creationId xmlns:a16="http://schemas.microsoft.com/office/drawing/2014/main" id="{DC496431-CCC0-49A6-8683-BD82CD055559}"/>
                    </a:ext>
                  </a:extLst>
                </p:cNvPr>
                <p:cNvSpPr/>
                <p:nvPr/>
              </p:nvSpPr>
              <p:spPr>
                <a:xfrm>
                  <a:off x="9306150" y="2929611"/>
                  <a:ext cx="52567" cy="70090"/>
                </a:xfrm>
                <a:custGeom>
                  <a:avLst/>
                  <a:gdLst>
                    <a:gd name="connsiteX0" fmla="*/ 0 w 52567"/>
                    <a:gd name="connsiteY0" fmla="*/ 73010 h 70089"/>
                    <a:gd name="connsiteX1" fmla="*/ 47310 w 52567"/>
                    <a:gd name="connsiteY1" fmla="*/ 2336 h 70089"/>
                    <a:gd name="connsiteX2" fmla="*/ 56655 w 52567"/>
                    <a:gd name="connsiteY2" fmla="*/ 0 h 70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2567" h="70089">
                      <a:moveTo>
                        <a:pt x="0" y="73010"/>
                      </a:moveTo>
                      <a:cubicBezTo>
                        <a:pt x="0" y="19275"/>
                        <a:pt x="16354" y="11098"/>
                        <a:pt x="47310" y="2336"/>
                      </a:cubicBezTo>
                      <a:lnTo>
                        <a:pt x="56655" y="0"/>
                      </a:ln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grpSp>
            <p:nvGrpSpPr>
              <p:cNvPr id="92" name="Graphic 6">
                <a:extLst>
                  <a:ext uri="{FF2B5EF4-FFF2-40B4-BE49-F238E27FC236}">
                    <a16:creationId xmlns:a16="http://schemas.microsoft.com/office/drawing/2014/main" id="{6746F6E4-F23D-4415-BF4F-2BB9F5F06B5E}"/>
                  </a:ext>
                </a:extLst>
              </p:cNvPr>
              <p:cNvGrpSpPr/>
              <p:nvPr/>
            </p:nvGrpSpPr>
            <p:grpSpPr>
              <a:xfrm>
                <a:off x="9497600" y="2951772"/>
                <a:ext cx="87612" cy="157702"/>
                <a:chOff x="9497600" y="2951772"/>
                <a:chExt cx="87612" cy="157702"/>
              </a:xfrm>
              <a:noFill/>
            </p:grpSpPr>
            <p:grpSp>
              <p:nvGrpSpPr>
                <p:cNvPr id="121" name="Graphic 6">
                  <a:extLst>
                    <a:ext uri="{FF2B5EF4-FFF2-40B4-BE49-F238E27FC236}">
                      <a16:creationId xmlns:a16="http://schemas.microsoft.com/office/drawing/2014/main" id="{42E8593A-F9FB-4039-B2B1-93F5FD3EFB11}"/>
                    </a:ext>
                  </a:extLst>
                </p:cNvPr>
                <p:cNvGrpSpPr/>
                <p:nvPr/>
              </p:nvGrpSpPr>
              <p:grpSpPr>
                <a:xfrm>
                  <a:off x="9497600" y="2951772"/>
                  <a:ext cx="87612" cy="157702"/>
                  <a:chOff x="9497600" y="2951772"/>
                  <a:chExt cx="87612" cy="157702"/>
                </a:xfrm>
                <a:noFill/>
              </p:grpSpPr>
              <p:sp>
                <p:nvSpPr>
                  <p:cNvPr id="124" name="Freeform: Shape 123">
                    <a:extLst>
                      <a:ext uri="{FF2B5EF4-FFF2-40B4-BE49-F238E27FC236}">
                        <a16:creationId xmlns:a16="http://schemas.microsoft.com/office/drawing/2014/main" id="{2AB35073-22B0-45E4-A7D0-F1BF6DC37B52}"/>
                      </a:ext>
                    </a:extLst>
                  </p:cNvPr>
                  <p:cNvSpPr/>
                  <p:nvPr/>
                </p:nvSpPr>
                <p:spPr>
                  <a:xfrm>
                    <a:off x="9529852" y="2970497"/>
                    <a:ext cx="58408" cy="122657"/>
                  </a:xfrm>
                  <a:custGeom>
                    <a:avLst/>
                    <a:gdLst>
                      <a:gd name="connsiteX0" fmla="*/ 0 w 58408"/>
                      <a:gd name="connsiteY0" fmla="*/ 124409 h 122656"/>
                      <a:gd name="connsiteX1" fmla="*/ 58408 w 58408"/>
                      <a:gd name="connsiteY1" fmla="*/ 64833 h 122656"/>
                      <a:gd name="connsiteX2" fmla="*/ 5841 w 58408"/>
                      <a:gd name="connsiteY2" fmla="*/ 0 h 122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8408" h="122656">
                        <a:moveTo>
                          <a:pt x="0" y="124409"/>
                        </a:moveTo>
                        <a:cubicBezTo>
                          <a:pt x="34461" y="126161"/>
                          <a:pt x="56656" y="99294"/>
                          <a:pt x="58408" y="64833"/>
                        </a:cubicBezTo>
                        <a:cubicBezTo>
                          <a:pt x="60161" y="30372"/>
                          <a:pt x="40302" y="1168"/>
                          <a:pt x="5841" y="0"/>
                        </a:cubicBez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25" name="Freeform: Shape 124">
                    <a:extLst>
                      <a:ext uri="{FF2B5EF4-FFF2-40B4-BE49-F238E27FC236}">
                        <a16:creationId xmlns:a16="http://schemas.microsoft.com/office/drawing/2014/main" id="{2255A692-154C-4B6A-A741-97EC68F1D84A}"/>
                      </a:ext>
                    </a:extLst>
                  </p:cNvPr>
                  <p:cNvSpPr/>
                  <p:nvPr/>
                </p:nvSpPr>
                <p:spPr>
                  <a:xfrm>
                    <a:off x="9497600" y="2951772"/>
                    <a:ext cx="35045" cy="157702"/>
                  </a:xfrm>
                  <a:custGeom>
                    <a:avLst/>
                    <a:gdLst>
                      <a:gd name="connsiteX0" fmla="*/ 15313 w 35044"/>
                      <a:gd name="connsiteY0" fmla="*/ 160072 h 157701"/>
                      <a:gd name="connsiteX1" fmla="*/ 15313 w 35044"/>
                      <a:gd name="connsiteY1" fmla="*/ 160072 h 157701"/>
                      <a:gd name="connsiteX2" fmla="*/ 32252 w 35044"/>
                      <a:gd name="connsiteY2" fmla="*/ 144886 h 157701"/>
                      <a:gd name="connsiteX3" fmla="*/ 38093 w 35044"/>
                      <a:gd name="connsiteY3" fmla="*/ 16972 h 157701"/>
                      <a:gd name="connsiteX4" fmla="*/ 22907 w 35044"/>
                      <a:gd name="connsiteY4" fmla="*/ 34 h 157701"/>
                      <a:gd name="connsiteX5" fmla="*/ 22907 w 35044"/>
                      <a:gd name="connsiteY5" fmla="*/ 34 h 157701"/>
                      <a:gd name="connsiteX6" fmla="*/ 5968 w 35044"/>
                      <a:gd name="connsiteY6" fmla="*/ 15220 h 157701"/>
                      <a:gd name="connsiteX7" fmla="*/ 127 w 35044"/>
                      <a:gd name="connsiteY7" fmla="*/ 143134 h 157701"/>
                      <a:gd name="connsiteX8" fmla="*/ 15313 w 35044"/>
                      <a:gd name="connsiteY8" fmla="*/ 160072 h 157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5044" h="157701">
                        <a:moveTo>
                          <a:pt x="15313" y="160072"/>
                        </a:moveTo>
                        <a:lnTo>
                          <a:pt x="15313" y="160072"/>
                        </a:lnTo>
                        <a:cubicBezTo>
                          <a:pt x="24074" y="160656"/>
                          <a:pt x="31668" y="153647"/>
                          <a:pt x="32252" y="144886"/>
                        </a:cubicBezTo>
                        <a:lnTo>
                          <a:pt x="38093" y="16972"/>
                        </a:lnTo>
                        <a:cubicBezTo>
                          <a:pt x="38676" y="8211"/>
                          <a:pt x="31668" y="618"/>
                          <a:pt x="22907" y="34"/>
                        </a:cubicBezTo>
                        <a:lnTo>
                          <a:pt x="22907" y="34"/>
                        </a:lnTo>
                        <a:cubicBezTo>
                          <a:pt x="14145" y="-550"/>
                          <a:pt x="6552" y="6459"/>
                          <a:pt x="5968" y="15220"/>
                        </a:cubicBezTo>
                        <a:lnTo>
                          <a:pt x="127" y="143134"/>
                        </a:lnTo>
                        <a:cubicBezTo>
                          <a:pt x="-1041" y="151895"/>
                          <a:pt x="5968" y="159488"/>
                          <a:pt x="15313" y="160072"/>
                        </a:cubicBezTo>
                        <a:close/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</p:grpSp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2EF54982-5F50-48B4-B4C2-C713275F1460}"/>
                    </a:ext>
                  </a:extLst>
                </p:cNvPr>
                <p:cNvSpPr/>
                <p:nvPr/>
              </p:nvSpPr>
              <p:spPr>
                <a:xfrm>
                  <a:off x="9500648" y="2891646"/>
                  <a:ext cx="81771" cy="116816"/>
                </a:xfrm>
                <a:custGeom>
                  <a:avLst/>
                  <a:gdLst>
                    <a:gd name="connsiteX0" fmla="*/ 0 w 81771"/>
                    <a:gd name="connsiteY0" fmla="*/ 0 h 116816"/>
                    <a:gd name="connsiteX1" fmla="*/ 73010 w 81771"/>
                    <a:gd name="connsiteY1" fmla="*/ 56656 h 116816"/>
                    <a:gd name="connsiteX2" fmla="*/ 84692 w 81771"/>
                    <a:gd name="connsiteY2" fmla="*/ 118568 h 116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771" h="116816">
                      <a:moveTo>
                        <a:pt x="0" y="0"/>
                      </a:moveTo>
                      <a:cubicBezTo>
                        <a:pt x="32708" y="584"/>
                        <a:pt x="58992" y="4673"/>
                        <a:pt x="73010" y="56656"/>
                      </a:cubicBezTo>
                      <a:lnTo>
                        <a:pt x="84692" y="118568"/>
                      </a:ln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AD4F3AC2-8F16-4DF2-9E2B-304F36FDE808}"/>
                    </a:ext>
                  </a:extLst>
                </p:cNvPr>
                <p:cNvSpPr/>
                <p:nvPr/>
              </p:nvSpPr>
              <p:spPr>
                <a:xfrm>
                  <a:off x="9502985" y="2919097"/>
                  <a:ext cx="70090" cy="52567"/>
                </a:xfrm>
                <a:custGeom>
                  <a:avLst/>
                  <a:gdLst>
                    <a:gd name="connsiteX0" fmla="*/ 75346 w 70089"/>
                    <a:gd name="connsiteY0" fmla="*/ 53151 h 52567"/>
                    <a:gd name="connsiteX1" fmla="*/ 7009 w 70089"/>
                    <a:gd name="connsiteY1" fmla="*/ 0 h 52567"/>
                    <a:gd name="connsiteX2" fmla="*/ 0 w 70089"/>
                    <a:gd name="connsiteY2" fmla="*/ 0 h 52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089" h="52567">
                      <a:moveTo>
                        <a:pt x="75346" y="53151"/>
                      </a:moveTo>
                      <a:cubicBezTo>
                        <a:pt x="61328" y="1168"/>
                        <a:pt x="39133" y="0"/>
                        <a:pt x="7009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ADEC0203-A890-4514-9D14-FA2627A1A252}"/>
                  </a:ext>
                </a:extLst>
              </p:cNvPr>
              <p:cNvSpPr/>
              <p:nvPr/>
            </p:nvSpPr>
            <p:spPr>
              <a:xfrm>
                <a:off x="9288039" y="2592597"/>
                <a:ext cx="17522" cy="99294"/>
              </a:xfrm>
              <a:custGeom>
                <a:avLst/>
                <a:gdLst>
                  <a:gd name="connsiteX0" fmla="*/ 18695 w 17522"/>
                  <a:gd name="connsiteY0" fmla="*/ 0 h 99293"/>
                  <a:gd name="connsiteX1" fmla="*/ 4093 w 17522"/>
                  <a:gd name="connsiteY1" fmla="*/ 102798 h 9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22" h="99293">
                    <a:moveTo>
                      <a:pt x="18695" y="0"/>
                    </a:moveTo>
                    <a:cubicBezTo>
                      <a:pt x="-11678" y="57824"/>
                      <a:pt x="4093" y="102798"/>
                      <a:pt x="4093" y="102798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162D983D-FAF0-4B17-B2B9-609523BCE5C2}"/>
                  </a:ext>
                </a:extLst>
              </p:cNvPr>
              <p:cNvSpPr/>
              <p:nvPr/>
            </p:nvSpPr>
            <p:spPr>
              <a:xfrm>
                <a:off x="9289571" y="2524936"/>
                <a:ext cx="105134" cy="64249"/>
              </a:xfrm>
              <a:custGeom>
                <a:avLst/>
                <a:gdLst>
                  <a:gd name="connsiteX0" fmla="*/ 107695 w 105134"/>
                  <a:gd name="connsiteY0" fmla="*/ 15677 h 64248"/>
                  <a:gd name="connsiteX1" fmla="*/ 10738 w 105134"/>
                  <a:gd name="connsiteY1" fmla="*/ 13925 h 64248"/>
                  <a:gd name="connsiteX2" fmla="*/ 16579 w 105134"/>
                  <a:gd name="connsiteY2" fmla="*/ 67661 h 64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5134" h="64248">
                    <a:moveTo>
                      <a:pt x="107695" y="15677"/>
                    </a:moveTo>
                    <a:cubicBezTo>
                      <a:pt x="95430" y="7500"/>
                      <a:pt x="38774" y="-14111"/>
                      <a:pt x="10738" y="13925"/>
                    </a:cubicBezTo>
                    <a:cubicBezTo>
                      <a:pt x="-9121" y="34368"/>
                      <a:pt x="1977" y="57147"/>
                      <a:pt x="16579" y="67661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953BCEDF-4335-4597-9E1B-F82DDD107F73}"/>
                  </a:ext>
                </a:extLst>
              </p:cNvPr>
              <p:cNvSpPr/>
              <p:nvPr/>
            </p:nvSpPr>
            <p:spPr>
              <a:xfrm>
                <a:off x="9358132" y="2491869"/>
                <a:ext cx="216110" cy="198587"/>
              </a:xfrm>
              <a:custGeom>
                <a:avLst/>
                <a:gdLst>
                  <a:gd name="connsiteX0" fmla="*/ 216110 w 216109"/>
                  <a:gd name="connsiteY0" fmla="*/ 203526 h 198587"/>
                  <a:gd name="connsiteX1" fmla="*/ 216110 w 216109"/>
                  <a:gd name="connsiteY1" fmla="*/ 178994 h 198587"/>
                  <a:gd name="connsiteX2" fmla="*/ 174056 w 216109"/>
                  <a:gd name="connsiteY2" fmla="*/ 66851 h 198587"/>
                  <a:gd name="connsiteX3" fmla="*/ 43806 w 216109"/>
                  <a:gd name="connsiteY3" fmla="*/ 3770 h 198587"/>
                  <a:gd name="connsiteX4" fmla="*/ 0 w 216109"/>
                  <a:gd name="connsiteY4" fmla="*/ 34142 h 198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6109" h="198587">
                    <a:moveTo>
                      <a:pt x="216110" y="203526"/>
                    </a:moveTo>
                    <a:lnTo>
                      <a:pt x="216110" y="178994"/>
                    </a:lnTo>
                    <a:cubicBezTo>
                      <a:pt x="216110" y="159136"/>
                      <a:pt x="241225" y="97807"/>
                      <a:pt x="174056" y="66851"/>
                    </a:cubicBezTo>
                    <a:cubicBezTo>
                      <a:pt x="167631" y="37063"/>
                      <a:pt x="98710" y="-14336"/>
                      <a:pt x="43806" y="3770"/>
                    </a:cubicBezTo>
                    <a:cubicBezTo>
                      <a:pt x="13434" y="14284"/>
                      <a:pt x="5257" y="24797"/>
                      <a:pt x="0" y="34142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8F70548B-DD4B-48EC-B47A-2E974DDA35ED}"/>
                  </a:ext>
                </a:extLst>
              </p:cNvPr>
              <p:cNvSpPr/>
              <p:nvPr/>
            </p:nvSpPr>
            <p:spPr>
              <a:xfrm>
                <a:off x="9533357" y="2656845"/>
                <a:ext cx="5841" cy="29204"/>
              </a:xfrm>
              <a:custGeom>
                <a:avLst/>
                <a:gdLst>
                  <a:gd name="connsiteX0" fmla="*/ 0 w 5840"/>
                  <a:gd name="connsiteY0" fmla="*/ 0 h 29204"/>
                  <a:gd name="connsiteX1" fmla="*/ 7593 w 5840"/>
                  <a:gd name="connsiteY1" fmla="*/ 31540 h 29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0" h="29204">
                    <a:moveTo>
                      <a:pt x="0" y="0"/>
                    </a:moveTo>
                    <a:lnTo>
                      <a:pt x="7593" y="3154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FE8F35C3-5E6D-4FE2-A2A7-C345785826D4}"/>
                  </a:ext>
                </a:extLst>
              </p:cNvPr>
              <p:cNvSpPr/>
              <p:nvPr/>
            </p:nvSpPr>
            <p:spPr>
              <a:xfrm>
                <a:off x="9340026" y="2588508"/>
                <a:ext cx="186906" cy="35045"/>
              </a:xfrm>
              <a:custGeom>
                <a:avLst/>
                <a:gdLst>
                  <a:gd name="connsiteX0" fmla="*/ 0 w 186905"/>
                  <a:gd name="connsiteY0" fmla="*/ 25700 h 35044"/>
                  <a:gd name="connsiteX1" fmla="*/ 92869 w 186905"/>
                  <a:gd name="connsiteY1" fmla="*/ 38549 h 35044"/>
                  <a:gd name="connsiteX2" fmla="*/ 186906 w 186905"/>
                  <a:gd name="connsiteY2" fmla="*/ 0 h 35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905" h="35044">
                    <a:moveTo>
                      <a:pt x="0" y="25700"/>
                    </a:moveTo>
                    <a:cubicBezTo>
                      <a:pt x="16938" y="33877"/>
                      <a:pt x="46142" y="42054"/>
                      <a:pt x="92869" y="38549"/>
                    </a:cubicBezTo>
                    <a:cubicBezTo>
                      <a:pt x="117985" y="36797"/>
                      <a:pt x="175224" y="31540"/>
                      <a:pt x="186906" y="0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EB462BBC-3196-4E99-90CF-EBAE63C5C7D3}"/>
                  </a:ext>
                </a:extLst>
              </p:cNvPr>
              <p:cNvSpPr/>
              <p:nvPr/>
            </p:nvSpPr>
            <p:spPr>
              <a:xfrm>
                <a:off x="9309070" y="2641075"/>
                <a:ext cx="23363" cy="58408"/>
              </a:xfrm>
              <a:custGeom>
                <a:avLst/>
                <a:gdLst>
                  <a:gd name="connsiteX0" fmla="*/ 0 w 23363"/>
                  <a:gd name="connsiteY0" fmla="*/ 60160 h 58408"/>
                  <a:gd name="connsiteX1" fmla="*/ 23947 w 23363"/>
                  <a:gd name="connsiteY1" fmla="*/ 0 h 58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363" h="58408">
                    <a:moveTo>
                      <a:pt x="0" y="60160"/>
                    </a:moveTo>
                    <a:cubicBezTo>
                      <a:pt x="584" y="59576"/>
                      <a:pt x="14602" y="23947"/>
                      <a:pt x="23947" y="0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99" name="Graphic 6">
                <a:extLst>
                  <a:ext uri="{FF2B5EF4-FFF2-40B4-BE49-F238E27FC236}">
                    <a16:creationId xmlns:a16="http://schemas.microsoft.com/office/drawing/2014/main" id="{6DAC6AFD-EE01-45E3-AADF-3D1A220DF93E}"/>
                  </a:ext>
                </a:extLst>
              </p:cNvPr>
              <p:cNvGrpSpPr/>
              <p:nvPr/>
            </p:nvGrpSpPr>
            <p:grpSpPr>
              <a:xfrm>
                <a:off x="9666527" y="3690667"/>
                <a:ext cx="81771" cy="87612"/>
                <a:chOff x="9666527" y="3690667"/>
                <a:chExt cx="81771" cy="87612"/>
              </a:xfrm>
              <a:noFill/>
            </p:grpSpPr>
            <p:grpSp>
              <p:nvGrpSpPr>
                <p:cNvPr id="116" name="Graphic 6">
                  <a:extLst>
                    <a:ext uri="{FF2B5EF4-FFF2-40B4-BE49-F238E27FC236}">
                      <a16:creationId xmlns:a16="http://schemas.microsoft.com/office/drawing/2014/main" id="{66AC0EAA-19D5-4333-B47F-B34CA2683109}"/>
                    </a:ext>
                  </a:extLst>
                </p:cNvPr>
                <p:cNvGrpSpPr/>
                <p:nvPr/>
              </p:nvGrpSpPr>
              <p:grpSpPr>
                <a:xfrm>
                  <a:off x="9666527" y="3690667"/>
                  <a:ext cx="81771" cy="87612"/>
                  <a:chOff x="9666527" y="3690667"/>
                  <a:chExt cx="81771" cy="87612"/>
                </a:xfrm>
                <a:noFill/>
              </p:grpSpPr>
              <p:sp>
                <p:nvSpPr>
                  <p:cNvPr id="119" name="Freeform: Shape 118">
                    <a:extLst>
                      <a:ext uri="{FF2B5EF4-FFF2-40B4-BE49-F238E27FC236}">
                        <a16:creationId xmlns:a16="http://schemas.microsoft.com/office/drawing/2014/main" id="{B2944F63-FC25-4491-BD79-1584EBC3FEEB}"/>
                      </a:ext>
                    </a:extLst>
                  </p:cNvPr>
                  <p:cNvSpPr/>
                  <p:nvPr/>
                </p:nvSpPr>
                <p:spPr>
                  <a:xfrm>
                    <a:off x="9666527" y="3753748"/>
                    <a:ext cx="52567" cy="29204"/>
                  </a:xfrm>
                  <a:custGeom>
                    <a:avLst/>
                    <a:gdLst>
                      <a:gd name="connsiteX0" fmla="*/ 50815 w 52567"/>
                      <a:gd name="connsiteY0" fmla="*/ 0 h 29204"/>
                      <a:gd name="connsiteX1" fmla="*/ 53735 w 52567"/>
                      <a:gd name="connsiteY1" fmla="*/ 23363 h 29204"/>
                      <a:gd name="connsiteX2" fmla="*/ 51983 w 52567"/>
                      <a:gd name="connsiteY2" fmla="*/ 25699 h 29204"/>
                      <a:gd name="connsiteX3" fmla="*/ 30372 w 52567"/>
                      <a:gd name="connsiteY3" fmla="*/ 26868 h 29204"/>
                      <a:gd name="connsiteX4" fmla="*/ 25700 w 52567"/>
                      <a:gd name="connsiteY4" fmla="*/ 23363 h 29204"/>
                      <a:gd name="connsiteX5" fmla="*/ 0 w 52567"/>
                      <a:gd name="connsiteY5" fmla="*/ 1752 h 292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567" h="29204">
                        <a:moveTo>
                          <a:pt x="50815" y="0"/>
                        </a:moveTo>
                        <a:cubicBezTo>
                          <a:pt x="58408" y="5841"/>
                          <a:pt x="58992" y="16354"/>
                          <a:pt x="53735" y="23363"/>
                        </a:cubicBezTo>
                        <a:cubicBezTo>
                          <a:pt x="53151" y="23947"/>
                          <a:pt x="52567" y="25115"/>
                          <a:pt x="51983" y="25699"/>
                        </a:cubicBezTo>
                        <a:cubicBezTo>
                          <a:pt x="46142" y="30956"/>
                          <a:pt x="37381" y="31540"/>
                          <a:pt x="30372" y="26868"/>
                        </a:cubicBezTo>
                        <a:cubicBezTo>
                          <a:pt x="29788" y="26868"/>
                          <a:pt x="28620" y="25115"/>
                          <a:pt x="25700" y="23363"/>
                        </a:cubicBezTo>
                        <a:cubicBezTo>
                          <a:pt x="25700" y="23363"/>
                          <a:pt x="14602" y="15186"/>
                          <a:pt x="0" y="1752"/>
                        </a:cubicBez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20" name="Freeform: Shape 119">
                    <a:extLst>
                      <a:ext uri="{FF2B5EF4-FFF2-40B4-BE49-F238E27FC236}">
                        <a16:creationId xmlns:a16="http://schemas.microsoft.com/office/drawing/2014/main" id="{E97C7ADE-39E2-4B5A-ABFA-F2DAAD6A26D1}"/>
                      </a:ext>
                    </a:extLst>
                  </p:cNvPr>
                  <p:cNvSpPr/>
                  <p:nvPr/>
                </p:nvSpPr>
                <p:spPr>
                  <a:xfrm>
                    <a:off x="9686970" y="3690667"/>
                    <a:ext cx="58408" cy="70090"/>
                  </a:xfrm>
                  <a:custGeom>
                    <a:avLst/>
                    <a:gdLst>
                      <a:gd name="connsiteX0" fmla="*/ 33292 w 58408"/>
                      <a:gd name="connsiteY0" fmla="*/ 0 h 70089"/>
                      <a:gd name="connsiteX1" fmla="*/ 37381 w 58408"/>
                      <a:gd name="connsiteY1" fmla="*/ 22779 h 70089"/>
                      <a:gd name="connsiteX2" fmla="*/ 41470 w 58408"/>
                      <a:gd name="connsiteY2" fmla="*/ 29204 h 70089"/>
                      <a:gd name="connsiteX3" fmla="*/ 55488 w 58408"/>
                      <a:gd name="connsiteY3" fmla="*/ 41470 h 70089"/>
                      <a:gd name="connsiteX4" fmla="*/ 57824 w 58408"/>
                      <a:gd name="connsiteY4" fmla="*/ 64833 h 70089"/>
                      <a:gd name="connsiteX5" fmla="*/ 50231 w 58408"/>
                      <a:gd name="connsiteY5" fmla="*/ 70090 h 70089"/>
                      <a:gd name="connsiteX6" fmla="*/ 34461 w 58408"/>
                      <a:gd name="connsiteY6" fmla="*/ 67169 h 70089"/>
                      <a:gd name="connsiteX7" fmla="*/ 9345 w 58408"/>
                      <a:gd name="connsiteY7" fmla="*/ 43222 h 70089"/>
                      <a:gd name="connsiteX8" fmla="*/ 5257 w 58408"/>
                      <a:gd name="connsiteY8" fmla="*/ 36213 h 70089"/>
                      <a:gd name="connsiteX9" fmla="*/ 0 w 58408"/>
                      <a:gd name="connsiteY9" fmla="*/ 2920 h 700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8408" h="70089">
                        <a:moveTo>
                          <a:pt x="33292" y="0"/>
                        </a:moveTo>
                        <a:cubicBezTo>
                          <a:pt x="33877" y="8761"/>
                          <a:pt x="35629" y="15186"/>
                          <a:pt x="37381" y="22779"/>
                        </a:cubicBezTo>
                        <a:cubicBezTo>
                          <a:pt x="37965" y="25115"/>
                          <a:pt x="39133" y="27452"/>
                          <a:pt x="41470" y="29204"/>
                        </a:cubicBezTo>
                        <a:cubicBezTo>
                          <a:pt x="49647" y="35629"/>
                          <a:pt x="55488" y="41470"/>
                          <a:pt x="55488" y="41470"/>
                        </a:cubicBezTo>
                        <a:cubicBezTo>
                          <a:pt x="61912" y="48479"/>
                          <a:pt x="63665" y="57824"/>
                          <a:pt x="57824" y="64833"/>
                        </a:cubicBezTo>
                        <a:cubicBezTo>
                          <a:pt x="55488" y="67169"/>
                          <a:pt x="53151" y="69506"/>
                          <a:pt x="50231" y="70090"/>
                        </a:cubicBezTo>
                        <a:cubicBezTo>
                          <a:pt x="44974" y="71842"/>
                          <a:pt x="39133" y="71258"/>
                          <a:pt x="34461" y="67169"/>
                        </a:cubicBezTo>
                        <a:cubicBezTo>
                          <a:pt x="33877" y="66585"/>
                          <a:pt x="22779" y="57824"/>
                          <a:pt x="9345" y="43222"/>
                        </a:cubicBezTo>
                        <a:cubicBezTo>
                          <a:pt x="7593" y="41470"/>
                          <a:pt x="6425" y="38549"/>
                          <a:pt x="5257" y="36213"/>
                        </a:cubicBezTo>
                        <a:cubicBezTo>
                          <a:pt x="2920" y="25699"/>
                          <a:pt x="584" y="14602"/>
                          <a:pt x="0" y="2920"/>
                        </a:cubicBez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</p:grp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F6EBD251-DF89-46CD-A99C-154B170D1D42}"/>
                    </a:ext>
                  </a:extLst>
                </p:cNvPr>
                <p:cNvSpPr/>
                <p:nvPr/>
              </p:nvSpPr>
              <p:spPr>
                <a:xfrm>
                  <a:off x="9720262" y="3570931"/>
                  <a:ext cx="40886" cy="116816"/>
                </a:xfrm>
                <a:custGeom>
                  <a:avLst/>
                  <a:gdLst>
                    <a:gd name="connsiteX0" fmla="*/ 0 w 40885"/>
                    <a:gd name="connsiteY0" fmla="*/ 119736 h 116816"/>
                    <a:gd name="connsiteX1" fmla="*/ 38550 w 40885"/>
                    <a:gd name="connsiteY1" fmla="*/ 44390 h 116816"/>
                    <a:gd name="connsiteX2" fmla="*/ 44975 w 40885"/>
                    <a:gd name="connsiteY2" fmla="*/ 0 h 116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0885" h="116816">
                      <a:moveTo>
                        <a:pt x="0" y="119736"/>
                      </a:moveTo>
                      <a:cubicBezTo>
                        <a:pt x="0" y="119736"/>
                        <a:pt x="43222" y="102214"/>
                        <a:pt x="38550" y="44390"/>
                      </a:cubicBezTo>
                      <a:cubicBezTo>
                        <a:pt x="37381" y="26284"/>
                        <a:pt x="44975" y="0"/>
                        <a:pt x="44975" y="0"/>
                      </a:cubicBez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89E5279C-C1D6-4393-AA2B-EA74DD4EC147}"/>
                    </a:ext>
                  </a:extLst>
                </p:cNvPr>
                <p:cNvSpPr/>
                <p:nvPr/>
              </p:nvSpPr>
              <p:spPr>
                <a:xfrm>
                  <a:off x="9614380" y="3248519"/>
                  <a:ext cx="122657" cy="554876"/>
                </a:xfrm>
                <a:custGeom>
                  <a:avLst/>
                  <a:gdLst>
                    <a:gd name="connsiteX0" fmla="*/ 42802 w 122656"/>
                    <a:gd name="connsiteY0" fmla="*/ 460255 h 554876"/>
                    <a:gd name="connsiteX1" fmla="*/ 59155 w 122656"/>
                    <a:gd name="connsiteY1" fmla="*/ 533265 h 554876"/>
                    <a:gd name="connsiteX2" fmla="*/ 50979 w 122656"/>
                    <a:gd name="connsiteY2" fmla="*/ 555460 h 554876"/>
                    <a:gd name="connsiteX3" fmla="*/ 49810 w 122656"/>
                    <a:gd name="connsiteY3" fmla="*/ 556044 h 554876"/>
                    <a:gd name="connsiteX4" fmla="*/ 28784 w 122656"/>
                    <a:gd name="connsiteY4" fmla="*/ 547283 h 554876"/>
                    <a:gd name="connsiteX5" fmla="*/ 164 w 122656"/>
                    <a:gd name="connsiteY5" fmla="*/ 438060 h 554876"/>
                    <a:gd name="connsiteX6" fmla="*/ 747 w 122656"/>
                    <a:gd name="connsiteY6" fmla="*/ 430467 h 554876"/>
                    <a:gd name="connsiteX7" fmla="*/ 44553 w 122656"/>
                    <a:gd name="connsiteY7" fmla="*/ 293792 h 554876"/>
                    <a:gd name="connsiteX8" fmla="*/ 123989 w 122656"/>
                    <a:gd name="connsiteY8" fmla="*/ 45558 h 554876"/>
                    <a:gd name="connsiteX9" fmla="*/ 78430 w 122656"/>
                    <a:gd name="connsiteY9" fmla="*/ 0 h 554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22656" h="554876">
                      <a:moveTo>
                        <a:pt x="42802" y="460255"/>
                      </a:moveTo>
                      <a:cubicBezTo>
                        <a:pt x="48059" y="497052"/>
                        <a:pt x="58572" y="532681"/>
                        <a:pt x="59155" y="533265"/>
                      </a:cubicBezTo>
                      <a:cubicBezTo>
                        <a:pt x="63244" y="541442"/>
                        <a:pt x="59155" y="551372"/>
                        <a:pt x="50979" y="555460"/>
                      </a:cubicBezTo>
                      <a:cubicBezTo>
                        <a:pt x="50394" y="555460"/>
                        <a:pt x="50394" y="555460"/>
                        <a:pt x="49810" y="556044"/>
                      </a:cubicBezTo>
                      <a:cubicBezTo>
                        <a:pt x="41633" y="559549"/>
                        <a:pt x="32288" y="555460"/>
                        <a:pt x="28784" y="547283"/>
                      </a:cubicBezTo>
                      <a:cubicBezTo>
                        <a:pt x="27616" y="544947"/>
                        <a:pt x="7757" y="489459"/>
                        <a:pt x="164" y="438060"/>
                      </a:cubicBezTo>
                      <a:cubicBezTo>
                        <a:pt x="-420" y="435724"/>
                        <a:pt x="747" y="430467"/>
                        <a:pt x="747" y="430467"/>
                      </a:cubicBezTo>
                      <a:lnTo>
                        <a:pt x="44553" y="293792"/>
                      </a:lnTo>
                      <a:cubicBezTo>
                        <a:pt x="44553" y="293792"/>
                        <a:pt x="91865" y="115064"/>
                        <a:pt x="123989" y="45558"/>
                      </a:cubicBezTo>
                      <a:lnTo>
                        <a:pt x="78430" y="0"/>
                      </a:ln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grpSp>
            <p:nvGrpSpPr>
              <p:cNvPr id="100" name="Graphic 6">
                <a:extLst>
                  <a:ext uri="{FF2B5EF4-FFF2-40B4-BE49-F238E27FC236}">
                    <a16:creationId xmlns:a16="http://schemas.microsoft.com/office/drawing/2014/main" id="{63C7B046-6A89-4E6B-A9AA-AF4FC62F420E}"/>
                  </a:ext>
                </a:extLst>
              </p:cNvPr>
              <p:cNvGrpSpPr/>
              <p:nvPr/>
            </p:nvGrpSpPr>
            <p:grpSpPr>
              <a:xfrm>
                <a:off x="8720317" y="3089065"/>
                <a:ext cx="560717" cy="332926"/>
                <a:chOff x="8720317" y="3089065"/>
                <a:chExt cx="560717" cy="332926"/>
              </a:xfrm>
              <a:noFill/>
            </p:grpSpPr>
            <p:grpSp>
              <p:nvGrpSpPr>
                <p:cNvPr id="107" name="Graphic 6">
                  <a:extLst>
                    <a:ext uri="{FF2B5EF4-FFF2-40B4-BE49-F238E27FC236}">
                      <a16:creationId xmlns:a16="http://schemas.microsoft.com/office/drawing/2014/main" id="{DD8D38EF-C1DA-44D0-B113-FEFE57A7B9A3}"/>
                    </a:ext>
                  </a:extLst>
                </p:cNvPr>
                <p:cNvGrpSpPr/>
                <p:nvPr/>
              </p:nvGrpSpPr>
              <p:grpSpPr>
                <a:xfrm>
                  <a:off x="8720317" y="3089065"/>
                  <a:ext cx="560717" cy="332926"/>
                  <a:chOff x="8720317" y="3089065"/>
                  <a:chExt cx="560717" cy="332926"/>
                </a:xfrm>
                <a:noFill/>
              </p:grpSpPr>
              <p:sp>
                <p:nvSpPr>
                  <p:cNvPr id="113" name="Freeform: Shape 112">
                    <a:extLst>
                      <a:ext uri="{FF2B5EF4-FFF2-40B4-BE49-F238E27FC236}">
                        <a16:creationId xmlns:a16="http://schemas.microsoft.com/office/drawing/2014/main" id="{C41451C4-646B-44F8-9A78-29D981BAE3E8}"/>
                      </a:ext>
                    </a:extLst>
                  </p:cNvPr>
                  <p:cNvSpPr/>
                  <p:nvPr/>
                </p:nvSpPr>
                <p:spPr>
                  <a:xfrm>
                    <a:off x="8818443" y="3089065"/>
                    <a:ext cx="467264" cy="292040"/>
                  </a:xfrm>
                  <a:custGeom>
                    <a:avLst/>
                    <a:gdLst>
                      <a:gd name="connsiteX0" fmla="*/ 0 w 467264"/>
                      <a:gd name="connsiteY0" fmla="*/ 296713 h 292040"/>
                      <a:gd name="connsiteX1" fmla="*/ 0 w 467264"/>
                      <a:gd name="connsiteY1" fmla="*/ 38549 h 292040"/>
                      <a:gd name="connsiteX2" fmla="*/ 38549 w 467264"/>
                      <a:gd name="connsiteY2" fmla="*/ 0 h 292040"/>
                      <a:gd name="connsiteX3" fmla="*/ 428714 w 467264"/>
                      <a:gd name="connsiteY3" fmla="*/ 0 h 292040"/>
                      <a:gd name="connsiteX4" fmla="*/ 467264 w 467264"/>
                      <a:gd name="connsiteY4" fmla="*/ 38549 h 292040"/>
                      <a:gd name="connsiteX5" fmla="*/ 467264 w 467264"/>
                      <a:gd name="connsiteY5" fmla="*/ 296713 h 2920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67264" h="292040">
                        <a:moveTo>
                          <a:pt x="0" y="296713"/>
                        </a:moveTo>
                        <a:lnTo>
                          <a:pt x="0" y="38549"/>
                        </a:lnTo>
                        <a:cubicBezTo>
                          <a:pt x="0" y="17522"/>
                          <a:pt x="16938" y="0"/>
                          <a:pt x="38549" y="0"/>
                        </a:cubicBezTo>
                        <a:lnTo>
                          <a:pt x="428714" y="0"/>
                        </a:lnTo>
                        <a:cubicBezTo>
                          <a:pt x="449742" y="0"/>
                          <a:pt x="467264" y="16938"/>
                          <a:pt x="467264" y="38549"/>
                        </a:cubicBezTo>
                        <a:lnTo>
                          <a:pt x="467264" y="296713"/>
                        </a:ln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14" name="Freeform: Shape 113">
                    <a:extLst>
                      <a:ext uri="{FF2B5EF4-FFF2-40B4-BE49-F238E27FC236}">
                        <a16:creationId xmlns:a16="http://schemas.microsoft.com/office/drawing/2014/main" id="{8F8C3BC5-2327-40E8-8193-8EEED53B080A}"/>
                      </a:ext>
                    </a:extLst>
                  </p:cNvPr>
                  <p:cNvSpPr/>
                  <p:nvPr/>
                </p:nvSpPr>
                <p:spPr>
                  <a:xfrm>
                    <a:off x="8993082" y="3385778"/>
                    <a:ext cx="292040" cy="35045"/>
                  </a:xfrm>
                  <a:custGeom>
                    <a:avLst/>
                    <a:gdLst>
                      <a:gd name="connsiteX0" fmla="*/ 0 w 292040"/>
                      <a:gd name="connsiteY0" fmla="*/ 36797 h 35044"/>
                      <a:gd name="connsiteX1" fmla="*/ 255827 w 292040"/>
                      <a:gd name="connsiteY1" fmla="*/ 36797 h 35044"/>
                      <a:gd name="connsiteX2" fmla="*/ 292625 w 292040"/>
                      <a:gd name="connsiteY2" fmla="*/ 0 h 35044"/>
                      <a:gd name="connsiteX3" fmla="*/ 292625 w 292040"/>
                      <a:gd name="connsiteY3" fmla="*/ 0 h 35044"/>
                      <a:gd name="connsiteX4" fmla="*/ 21027 w 292040"/>
                      <a:gd name="connsiteY4" fmla="*/ 0 h 35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2040" h="35044">
                        <a:moveTo>
                          <a:pt x="0" y="36797"/>
                        </a:moveTo>
                        <a:lnTo>
                          <a:pt x="255827" y="36797"/>
                        </a:lnTo>
                        <a:cubicBezTo>
                          <a:pt x="276270" y="36797"/>
                          <a:pt x="292625" y="20443"/>
                          <a:pt x="292625" y="0"/>
                        </a:cubicBezTo>
                        <a:lnTo>
                          <a:pt x="292625" y="0"/>
                        </a:lnTo>
                        <a:lnTo>
                          <a:pt x="21027" y="0"/>
                        </a:ln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15" name="Freeform: Shape 114">
                    <a:extLst>
                      <a:ext uri="{FF2B5EF4-FFF2-40B4-BE49-F238E27FC236}">
                        <a16:creationId xmlns:a16="http://schemas.microsoft.com/office/drawing/2014/main" id="{A55929DF-4D8C-4E71-90A8-9FB04BA74830}"/>
                      </a:ext>
                    </a:extLst>
                  </p:cNvPr>
                  <p:cNvSpPr/>
                  <p:nvPr/>
                </p:nvSpPr>
                <p:spPr>
                  <a:xfrm>
                    <a:off x="8720317" y="3385778"/>
                    <a:ext cx="151861" cy="35045"/>
                  </a:xfrm>
                  <a:custGeom>
                    <a:avLst/>
                    <a:gdLst>
                      <a:gd name="connsiteX0" fmla="*/ 146604 w 151860"/>
                      <a:gd name="connsiteY0" fmla="*/ 0 h 35044"/>
                      <a:gd name="connsiteX1" fmla="*/ 0 w 151860"/>
                      <a:gd name="connsiteY1" fmla="*/ 0 h 35044"/>
                      <a:gd name="connsiteX2" fmla="*/ 0 w 151860"/>
                      <a:gd name="connsiteY2" fmla="*/ 0 h 35044"/>
                      <a:gd name="connsiteX3" fmla="*/ 36797 w 151860"/>
                      <a:gd name="connsiteY3" fmla="*/ 36797 h 35044"/>
                      <a:gd name="connsiteX4" fmla="*/ 154781 w 151860"/>
                      <a:gd name="connsiteY4" fmla="*/ 36797 h 35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1860" h="35044">
                        <a:moveTo>
                          <a:pt x="146604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ubicBezTo>
                          <a:pt x="0" y="20443"/>
                          <a:pt x="16355" y="36797"/>
                          <a:pt x="36797" y="36797"/>
                        </a:cubicBezTo>
                        <a:lnTo>
                          <a:pt x="154781" y="36797"/>
                        </a:ln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</p:grpSp>
            <p:grpSp>
              <p:nvGrpSpPr>
                <p:cNvPr id="108" name="Graphic 6">
                  <a:extLst>
                    <a:ext uri="{FF2B5EF4-FFF2-40B4-BE49-F238E27FC236}">
                      <a16:creationId xmlns:a16="http://schemas.microsoft.com/office/drawing/2014/main" id="{4E5A83B5-EE2A-44B7-9C3E-1189FE1954BD}"/>
                    </a:ext>
                  </a:extLst>
                </p:cNvPr>
                <p:cNvGrpSpPr/>
                <p:nvPr/>
              </p:nvGrpSpPr>
              <p:grpSpPr>
                <a:xfrm>
                  <a:off x="8958622" y="3197704"/>
                  <a:ext cx="175224" cy="128498"/>
                  <a:chOff x="8958622" y="3197704"/>
                  <a:chExt cx="175224" cy="128498"/>
                </a:xfrm>
                <a:noFill/>
              </p:grpSpPr>
              <p:sp>
                <p:nvSpPr>
                  <p:cNvPr id="110" name="Freeform: Shape 109">
                    <a:extLst>
                      <a:ext uri="{FF2B5EF4-FFF2-40B4-BE49-F238E27FC236}">
                        <a16:creationId xmlns:a16="http://schemas.microsoft.com/office/drawing/2014/main" id="{E94E4D05-B191-46CB-955D-EA0844CF598D}"/>
                      </a:ext>
                    </a:extLst>
                  </p:cNvPr>
                  <p:cNvSpPr/>
                  <p:nvPr/>
                </p:nvSpPr>
                <p:spPr>
                  <a:xfrm>
                    <a:off x="8958622" y="3215226"/>
                    <a:ext cx="40886" cy="87612"/>
                  </a:xfrm>
                  <a:custGeom>
                    <a:avLst/>
                    <a:gdLst>
                      <a:gd name="connsiteX0" fmla="*/ 46142 w 40885"/>
                      <a:gd name="connsiteY0" fmla="*/ 91117 h 87612"/>
                      <a:gd name="connsiteX1" fmla="*/ 0 w 40885"/>
                      <a:gd name="connsiteY1" fmla="*/ 45558 h 87612"/>
                      <a:gd name="connsiteX2" fmla="*/ 46142 w 40885"/>
                      <a:gd name="connsiteY2" fmla="*/ 0 h 87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0885" h="87612">
                        <a:moveTo>
                          <a:pt x="46142" y="91117"/>
                        </a:moveTo>
                        <a:lnTo>
                          <a:pt x="0" y="45558"/>
                        </a:lnTo>
                        <a:lnTo>
                          <a:pt x="46142" y="0"/>
                        </a:ln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11" name="Freeform: Shape 110">
                    <a:extLst>
                      <a:ext uri="{FF2B5EF4-FFF2-40B4-BE49-F238E27FC236}">
                        <a16:creationId xmlns:a16="http://schemas.microsoft.com/office/drawing/2014/main" id="{67552FCC-446B-42B5-B3DF-7AF8ED8B7458}"/>
                      </a:ext>
                    </a:extLst>
                  </p:cNvPr>
                  <p:cNvSpPr/>
                  <p:nvPr/>
                </p:nvSpPr>
                <p:spPr>
                  <a:xfrm>
                    <a:off x="9089456" y="3215226"/>
                    <a:ext cx="40886" cy="87612"/>
                  </a:xfrm>
                  <a:custGeom>
                    <a:avLst/>
                    <a:gdLst>
                      <a:gd name="connsiteX0" fmla="*/ 0 w 40885"/>
                      <a:gd name="connsiteY0" fmla="*/ 91117 h 87612"/>
                      <a:gd name="connsiteX1" fmla="*/ 45559 w 40885"/>
                      <a:gd name="connsiteY1" fmla="*/ 45558 h 87612"/>
                      <a:gd name="connsiteX2" fmla="*/ 0 w 40885"/>
                      <a:gd name="connsiteY2" fmla="*/ 0 h 87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0885" h="87612">
                        <a:moveTo>
                          <a:pt x="0" y="91117"/>
                        </a:moveTo>
                        <a:lnTo>
                          <a:pt x="45559" y="45558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12" name="Freeform: Shape 111">
                    <a:extLst>
                      <a:ext uri="{FF2B5EF4-FFF2-40B4-BE49-F238E27FC236}">
                        <a16:creationId xmlns:a16="http://schemas.microsoft.com/office/drawing/2014/main" id="{7F2E93F7-57D7-4F69-A525-9B02645073C6}"/>
                      </a:ext>
                    </a:extLst>
                  </p:cNvPr>
                  <p:cNvSpPr/>
                  <p:nvPr/>
                </p:nvSpPr>
                <p:spPr>
                  <a:xfrm>
                    <a:off x="9021119" y="3197704"/>
                    <a:ext cx="46726" cy="128498"/>
                  </a:xfrm>
                  <a:custGeom>
                    <a:avLst/>
                    <a:gdLst>
                      <a:gd name="connsiteX0" fmla="*/ 0 w 46726"/>
                      <a:gd name="connsiteY0" fmla="*/ 129666 h 128497"/>
                      <a:gd name="connsiteX1" fmla="*/ 51399 w 46726"/>
                      <a:gd name="connsiteY1" fmla="*/ 0 h 128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6726" h="128497">
                        <a:moveTo>
                          <a:pt x="0" y="129666"/>
                        </a:moveTo>
                        <a:lnTo>
                          <a:pt x="51399" y="0"/>
                        </a:lnTo>
                      </a:path>
                    </a:pathLst>
                  </a:custGeom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</p:grpSp>
            <p:sp>
              <p:nvSpPr>
                <p:cNvPr id="109" name="Freeform: Shape 108">
                  <a:extLst>
                    <a:ext uri="{FF2B5EF4-FFF2-40B4-BE49-F238E27FC236}">
                      <a16:creationId xmlns:a16="http://schemas.microsoft.com/office/drawing/2014/main" id="{2E08865F-68F3-4B7E-B5DC-EF9D0B9E3255}"/>
                    </a:ext>
                  </a:extLst>
                </p:cNvPr>
                <p:cNvSpPr/>
                <p:nvPr/>
              </p:nvSpPr>
              <p:spPr>
                <a:xfrm>
                  <a:off x="8818443" y="3139880"/>
                  <a:ext cx="403015" cy="5841"/>
                </a:xfrm>
                <a:custGeom>
                  <a:avLst/>
                  <a:gdLst>
                    <a:gd name="connsiteX0" fmla="*/ 403600 w 403015"/>
                    <a:gd name="connsiteY0" fmla="*/ 0 h 0"/>
                    <a:gd name="connsiteX1" fmla="*/ 0 w 403015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3015">
                      <a:moveTo>
                        <a:pt x="403600" y="0"/>
                      </a:moveTo>
                      <a:lnTo>
                        <a:pt x="0" y="0"/>
                      </a:lnTo>
                    </a:path>
                  </a:pathLst>
                </a:custGeom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grpSp>
            <p:nvGrpSpPr>
              <p:cNvPr id="101" name="Graphic 6">
                <a:extLst>
                  <a:ext uri="{FF2B5EF4-FFF2-40B4-BE49-F238E27FC236}">
                    <a16:creationId xmlns:a16="http://schemas.microsoft.com/office/drawing/2014/main" id="{1D593FA8-8386-4710-B8EC-F38B53C54B6F}"/>
                  </a:ext>
                </a:extLst>
              </p:cNvPr>
              <p:cNvGrpSpPr/>
              <p:nvPr/>
            </p:nvGrpSpPr>
            <p:grpSpPr>
              <a:xfrm>
                <a:off x="8875485" y="3401800"/>
                <a:ext cx="181065" cy="93453"/>
                <a:chOff x="8875485" y="3401800"/>
                <a:chExt cx="181065" cy="93453"/>
              </a:xfrm>
              <a:noFill/>
            </p:grpSpPr>
            <p:sp>
              <p:nvSpPr>
                <p:cNvPr id="104" name="Freeform: Shape 103">
                  <a:extLst>
                    <a:ext uri="{FF2B5EF4-FFF2-40B4-BE49-F238E27FC236}">
                      <a16:creationId xmlns:a16="http://schemas.microsoft.com/office/drawing/2014/main" id="{82ABE0C0-9EE3-4598-926C-1503FD55CF80}"/>
                    </a:ext>
                  </a:extLst>
                </p:cNvPr>
                <p:cNvSpPr/>
                <p:nvPr/>
              </p:nvSpPr>
              <p:spPr>
                <a:xfrm>
                  <a:off x="8875485" y="3404267"/>
                  <a:ext cx="181065" cy="93453"/>
                </a:xfrm>
                <a:custGeom>
                  <a:avLst/>
                  <a:gdLst>
                    <a:gd name="connsiteX0" fmla="*/ 32322 w 181064"/>
                    <a:gd name="connsiteY0" fmla="*/ 6626 h 93452"/>
                    <a:gd name="connsiteX1" fmla="*/ 10711 w 181064"/>
                    <a:gd name="connsiteY1" fmla="*/ 1370 h 93452"/>
                    <a:gd name="connsiteX2" fmla="*/ 197 w 181064"/>
                    <a:gd name="connsiteY2" fmla="*/ 20644 h 93452"/>
                    <a:gd name="connsiteX3" fmla="*/ 84889 w 181064"/>
                    <a:gd name="connsiteY3" fmla="*/ 94238 h 93452"/>
                    <a:gd name="connsiteX4" fmla="*/ 185351 w 181064"/>
                    <a:gd name="connsiteY4" fmla="*/ 18308 h 93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1064" h="93452">
                      <a:moveTo>
                        <a:pt x="32322" y="6626"/>
                      </a:moveTo>
                      <a:cubicBezTo>
                        <a:pt x="26481" y="-967"/>
                        <a:pt x="17719" y="-967"/>
                        <a:pt x="10711" y="1370"/>
                      </a:cubicBezTo>
                      <a:cubicBezTo>
                        <a:pt x="3117" y="4290"/>
                        <a:pt x="-971" y="13051"/>
                        <a:pt x="197" y="20644"/>
                      </a:cubicBezTo>
                      <a:cubicBezTo>
                        <a:pt x="2534" y="32326"/>
                        <a:pt x="13047" y="88398"/>
                        <a:pt x="84889" y="94238"/>
                      </a:cubicBezTo>
                      <a:cubicBezTo>
                        <a:pt x="127527" y="94238"/>
                        <a:pt x="168996" y="78468"/>
                        <a:pt x="185351" y="18308"/>
                      </a:cubicBez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" name="Freeform: Shape 104">
                  <a:extLst>
                    <a:ext uri="{FF2B5EF4-FFF2-40B4-BE49-F238E27FC236}">
                      <a16:creationId xmlns:a16="http://schemas.microsoft.com/office/drawing/2014/main" id="{E8228C5C-D853-4133-A4BD-3053221BA8C1}"/>
                    </a:ext>
                  </a:extLst>
                </p:cNvPr>
                <p:cNvSpPr/>
                <p:nvPr/>
              </p:nvSpPr>
              <p:spPr>
                <a:xfrm>
                  <a:off x="8906860" y="3401800"/>
                  <a:ext cx="46726" cy="64249"/>
                </a:xfrm>
                <a:custGeom>
                  <a:avLst/>
                  <a:gdLst>
                    <a:gd name="connsiteX0" fmla="*/ 20806 w 46726"/>
                    <a:gd name="connsiteY0" fmla="*/ 65749 h 64248"/>
                    <a:gd name="connsiteX1" fmla="*/ 363 w 46726"/>
                    <a:gd name="connsiteY1" fmla="*/ 19607 h 64248"/>
                    <a:gd name="connsiteX2" fmla="*/ 12629 w 46726"/>
                    <a:gd name="connsiteY2" fmla="*/ 332 h 64248"/>
                    <a:gd name="connsiteX3" fmla="*/ 31904 w 46726"/>
                    <a:gd name="connsiteY3" fmla="*/ 14350 h 64248"/>
                    <a:gd name="connsiteX4" fmla="*/ 47089 w 46726"/>
                    <a:gd name="connsiteY4" fmla="*/ 40050 h 64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726" h="64248">
                      <a:moveTo>
                        <a:pt x="20806" y="65749"/>
                      </a:moveTo>
                      <a:cubicBezTo>
                        <a:pt x="7372" y="46474"/>
                        <a:pt x="1531" y="25447"/>
                        <a:pt x="363" y="19607"/>
                      </a:cubicBezTo>
                      <a:cubicBezTo>
                        <a:pt x="-1389" y="10261"/>
                        <a:pt x="3283" y="2084"/>
                        <a:pt x="12629" y="332"/>
                      </a:cubicBezTo>
                      <a:cubicBezTo>
                        <a:pt x="21974" y="-1420"/>
                        <a:pt x="28399" y="3837"/>
                        <a:pt x="31904" y="14350"/>
                      </a:cubicBezTo>
                      <a:cubicBezTo>
                        <a:pt x="32487" y="16102"/>
                        <a:pt x="40081" y="34209"/>
                        <a:pt x="47089" y="40050"/>
                      </a:cubicBez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6" name="Freeform: Shape 105">
                  <a:extLst>
                    <a:ext uri="{FF2B5EF4-FFF2-40B4-BE49-F238E27FC236}">
                      <a16:creationId xmlns:a16="http://schemas.microsoft.com/office/drawing/2014/main" id="{B60D5C8B-C45B-41BB-8474-A2F72862E90E}"/>
                    </a:ext>
                  </a:extLst>
                </p:cNvPr>
                <p:cNvSpPr/>
                <p:nvPr/>
              </p:nvSpPr>
              <p:spPr>
                <a:xfrm>
                  <a:off x="8953569" y="3402554"/>
                  <a:ext cx="46726" cy="58408"/>
                </a:xfrm>
                <a:custGeom>
                  <a:avLst/>
                  <a:gdLst>
                    <a:gd name="connsiteX0" fmla="*/ 10894 w 46726"/>
                    <a:gd name="connsiteY0" fmla="*/ 63827 h 58408"/>
                    <a:gd name="connsiteX1" fmla="*/ 381 w 46726"/>
                    <a:gd name="connsiteY1" fmla="*/ 41632 h 58408"/>
                    <a:gd name="connsiteX2" fmla="*/ 6805 w 46726"/>
                    <a:gd name="connsiteY2" fmla="*/ 12428 h 58408"/>
                    <a:gd name="connsiteX3" fmla="*/ 25496 w 46726"/>
                    <a:gd name="connsiteY3" fmla="*/ 162 h 58408"/>
                    <a:gd name="connsiteX4" fmla="*/ 38346 w 46726"/>
                    <a:gd name="connsiteY4" fmla="*/ 22357 h 58408"/>
                    <a:gd name="connsiteX5" fmla="*/ 36593 w 46726"/>
                    <a:gd name="connsiteY5" fmla="*/ 26446 h 58408"/>
                    <a:gd name="connsiteX6" fmla="*/ 41266 w 46726"/>
                    <a:gd name="connsiteY6" fmla="*/ 48057 h 58408"/>
                    <a:gd name="connsiteX7" fmla="*/ 50611 w 46726"/>
                    <a:gd name="connsiteY7" fmla="*/ 57986 h 58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726" h="58408">
                      <a:moveTo>
                        <a:pt x="10894" y="63827"/>
                      </a:moveTo>
                      <a:cubicBezTo>
                        <a:pt x="6805" y="57986"/>
                        <a:pt x="1548" y="50393"/>
                        <a:pt x="381" y="41632"/>
                      </a:cubicBezTo>
                      <a:cubicBezTo>
                        <a:pt x="-1372" y="27030"/>
                        <a:pt x="3301" y="17684"/>
                        <a:pt x="6805" y="12428"/>
                      </a:cubicBezTo>
                      <a:cubicBezTo>
                        <a:pt x="12062" y="4251"/>
                        <a:pt x="17319" y="-1006"/>
                        <a:pt x="25496" y="162"/>
                      </a:cubicBezTo>
                      <a:cubicBezTo>
                        <a:pt x="36009" y="1914"/>
                        <a:pt x="41850" y="12428"/>
                        <a:pt x="38346" y="22357"/>
                      </a:cubicBezTo>
                      <a:cubicBezTo>
                        <a:pt x="37762" y="23525"/>
                        <a:pt x="37762" y="24693"/>
                        <a:pt x="36593" y="26446"/>
                      </a:cubicBezTo>
                      <a:cubicBezTo>
                        <a:pt x="33673" y="34039"/>
                        <a:pt x="35425" y="42216"/>
                        <a:pt x="41266" y="48057"/>
                      </a:cubicBezTo>
                      <a:lnTo>
                        <a:pt x="50611" y="57986"/>
                      </a:ln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8156D774-2840-4D2D-BF35-E976C5B1F1CA}"/>
                  </a:ext>
                </a:extLst>
              </p:cNvPr>
              <p:cNvSpPr/>
              <p:nvPr/>
            </p:nvSpPr>
            <p:spPr>
              <a:xfrm>
                <a:off x="9257087" y="3529461"/>
                <a:ext cx="403015" cy="5841"/>
              </a:xfrm>
              <a:custGeom>
                <a:avLst/>
                <a:gdLst>
                  <a:gd name="connsiteX0" fmla="*/ 0 w 403015"/>
                  <a:gd name="connsiteY0" fmla="*/ 0 h 0"/>
                  <a:gd name="connsiteX1" fmla="*/ 404183 w 40301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3015">
                    <a:moveTo>
                      <a:pt x="0" y="0"/>
                    </a:moveTo>
                    <a:lnTo>
                      <a:pt x="404183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68D8FF9D-A89B-4B44-8054-6D75187CE160}"/>
                  </a:ext>
                </a:extLst>
              </p:cNvPr>
              <p:cNvSpPr/>
              <p:nvPr/>
            </p:nvSpPr>
            <p:spPr>
              <a:xfrm>
                <a:off x="9480790" y="3480399"/>
                <a:ext cx="157702" cy="5841"/>
              </a:xfrm>
              <a:custGeom>
                <a:avLst/>
                <a:gdLst>
                  <a:gd name="connsiteX0" fmla="*/ 0 w 157701"/>
                  <a:gd name="connsiteY0" fmla="*/ 0 h 0"/>
                  <a:gd name="connsiteX1" fmla="*/ 157701 w 157701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701">
                    <a:moveTo>
                      <a:pt x="0" y="0"/>
                    </a:moveTo>
                    <a:lnTo>
                      <a:pt x="157701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16B0E0C0-B809-4F68-853F-28E4BB1DAA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136" y="1340037"/>
            <a:ext cx="2410248" cy="117984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1D595CB-1542-4202-A3B0-F89E53F178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64322" y="1333660"/>
            <a:ext cx="2798953" cy="1216936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9B3DE4D7-6285-4F36-B53F-E1D8D4A3C9FE}"/>
              </a:ext>
            </a:extLst>
          </p:cNvPr>
          <p:cNvSpPr/>
          <p:nvPr/>
        </p:nvSpPr>
        <p:spPr>
          <a:xfrm>
            <a:off x="2605887" y="1604420"/>
            <a:ext cx="1510827" cy="576133"/>
          </a:xfrm>
          <a:prstGeom prst="rightArrow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ctr"/>
            <a:r>
              <a:rPr lang="da-DK" sz="1200" b="1" i="1" noProof="0" dirty="0" err="1">
                <a:solidFill>
                  <a:srgbClr val="2F363B"/>
                </a:solidFill>
                <a:latin typeface="Lucida Console" panose="020B0609040504020204" pitchFamily="49" charset="0"/>
              </a:rPr>
              <a:t>Covariance</a:t>
            </a:r>
            <a:endParaRPr lang="da-DK" sz="1100" b="1" i="1" noProof="0" dirty="0">
              <a:solidFill>
                <a:srgbClr val="2F363B"/>
              </a:solidFill>
              <a:latin typeface="Lucida Console" panose="020B0609040504020204" pitchFamily="49" charset="0"/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B1F5EB99-0EAC-49D0-8257-93B56621000F}"/>
              </a:ext>
            </a:extLst>
          </p:cNvPr>
          <p:cNvSpPr/>
          <p:nvPr/>
        </p:nvSpPr>
        <p:spPr>
          <a:xfrm>
            <a:off x="487034" y="2878379"/>
            <a:ext cx="2160768" cy="1334308"/>
          </a:xfrm>
          <a:prstGeom prst="rightArrow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da-DK" sz="1400" b="1" i="1" noProof="0" dirty="0" err="1">
                <a:solidFill>
                  <a:srgbClr val="2F363B"/>
                </a:solidFill>
                <a:latin typeface="Lucida Console" panose="020B0609040504020204" pitchFamily="49" charset="0"/>
              </a:rPr>
              <a:t>Specify</a:t>
            </a:r>
            <a:r>
              <a:rPr lang="da-DK" sz="1400" b="1" i="1" noProof="0" dirty="0">
                <a:solidFill>
                  <a:srgbClr val="2F363B"/>
                </a:solidFill>
                <a:latin typeface="Lucida Console" panose="020B0609040504020204" pitchFamily="49" charset="0"/>
              </a:rPr>
              <a:t> type in interface</a:t>
            </a:r>
          </a:p>
        </p:txBody>
      </p:sp>
      <p:sp>
        <p:nvSpPr>
          <p:cNvPr id="32" name="Arrow: Down 31">
            <a:extLst>
              <a:ext uri="{FF2B5EF4-FFF2-40B4-BE49-F238E27FC236}">
                <a16:creationId xmlns:a16="http://schemas.microsoft.com/office/drawing/2014/main" id="{672FD528-727F-4EC1-B086-CFB64EFF8297}"/>
              </a:ext>
            </a:extLst>
          </p:cNvPr>
          <p:cNvSpPr/>
          <p:nvPr/>
        </p:nvSpPr>
        <p:spPr>
          <a:xfrm>
            <a:off x="4294469" y="4020986"/>
            <a:ext cx="3136454" cy="979722"/>
          </a:xfrm>
          <a:prstGeom prst="downArrow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ctr"/>
            <a:endParaRPr lang="da-DK" sz="1100" b="1" i="1" noProof="0" dirty="0">
              <a:solidFill>
                <a:srgbClr val="2F363B"/>
              </a:solidFill>
              <a:latin typeface="Lucida Console" panose="020B0609040504020204" pitchFamily="49" charset="0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30032D90-74FA-4189-982A-C3CD7008B7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62934" y="5078304"/>
            <a:ext cx="4916980" cy="1776724"/>
          </a:xfrm>
          <a:prstGeom prst="rect">
            <a:avLst/>
          </a:prstGeom>
        </p:spPr>
      </p:pic>
      <p:sp>
        <p:nvSpPr>
          <p:cNvPr id="149" name="Oval 148">
            <a:extLst>
              <a:ext uri="{FF2B5EF4-FFF2-40B4-BE49-F238E27FC236}">
                <a16:creationId xmlns:a16="http://schemas.microsoft.com/office/drawing/2014/main" id="{99F3654F-50AA-4A9E-84F0-AABB67510257}"/>
              </a:ext>
            </a:extLst>
          </p:cNvPr>
          <p:cNvSpPr/>
          <p:nvPr/>
        </p:nvSpPr>
        <p:spPr>
          <a:xfrm>
            <a:off x="663156" y="4356760"/>
            <a:ext cx="2668477" cy="854737"/>
          </a:xfrm>
          <a:prstGeom prst="ellipse">
            <a:avLst/>
          </a:prstGeom>
          <a:noFill/>
          <a:ln w="6350">
            <a:solidFill>
              <a:schemeClr val="bg1"/>
            </a:solidFill>
          </a:ln>
          <a:effectLst>
            <a:glow rad="1016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0DFA68D7-B88E-48E5-B7F9-B8AF1532688D}"/>
              </a:ext>
            </a:extLst>
          </p:cNvPr>
          <p:cNvSpPr txBox="1"/>
          <p:nvPr/>
        </p:nvSpPr>
        <p:spPr>
          <a:xfrm>
            <a:off x="840639" y="4662766"/>
            <a:ext cx="2172749" cy="304699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bg1"/>
                </a:solidFill>
              </a:rPr>
              <a:t>Liskov</a:t>
            </a:r>
            <a:r>
              <a:rPr lang="da-DK" sz="1100" b="1" dirty="0">
                <a:solidFill>
                  <a:schemeClr val="bg1"/>
                </a:solidFill>
              </a:rPr>
              <a:t> Substitution </a:t>
            </a:r>
            <a:r>
              <a:rPr lang="da-DK" sz="1100" b="1" dirty="0" err="1">
                <a:solidFill>
                  <a:schemeClr val="bg1"/>
                </a:solidFill>
              </a:rPr>
              <a:t>Principle</a:t>
            </a:r>
            <a:r>
              <a:rPr lang="da-DK" sz="1100" b="1" dirty="0">
                <a:solidFill>
                  <a:schemeClr val="bg1"/>
                </a:solidFill>
              </a:rPr>
              <a:t> is </a:t>
            </a:r>
            <a:r>
              <a:rPr lang="da-DK" sz="1100" b="1" dirty="0" err="1">
                <a:solidFill>
                  <a:schemeClr val="bg1"/>
                </a:solidFill>
              </a:rPr>
              <a:t>now</a:t>
            </a:r>
            <a:r>
              <a:rPr lang="da-DK" sz="1100" b="1" dirty="0">
                <a:solidFill>
                  <a:schemeClr val="bg1"/>
                </a:solidFill>
              </a:rPr>
              <a:t> </a:t>
            </a:r>
            <a:r>
              <a:rPr lang="da-DK" sz="1100" b="1" dirty="0" err="1">
                <a:solidFill>
                  <a:srgbClr val="00B050"/>
                </a:solidFill>
              </a:rPr>
              <a:t>satisfied</a:t>
            </a:r>
            <a:endParaRPr lang="da-DK" sz="1100" b="1" dirty="0">
              <a:solidFill>
                <a:srgbClr val="00B050"/>
              </a:solidFill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C9F75D7F-4C65-4EE9-A1AC-D2E03C8F766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00484" y="3063159"/>
            <a:ext cx="5601545" cy="846066"/>
          </a:xfrm>
          <a:prstGeom prst="rect">
            <a:avLst/>
          </a:prstGeom>
        </p:spPr>
      </p:pic>
      <p:grpSp>
        <p:nvGrpSpPr>
          <p:cNvPr id="151" name="Group 150">
            <a:extLst>
              <a:ext uri="{FF2B5EF4-FFF2-40B4-BE49-F238E27FC236}">
                <a16:creationId xmlns:a16="http://schemas.microsoft.com/office/drawing/2014/main" id="{83CDD8C7-ADB2-4677-AD57-614DF4B6BAA4}"/>
              </a:ext>
            </a:extLst>
          </p:cNvPr>
          <p:cNvGrpSpPr/>
          <p:nvPr/>
        </p:nvGrpSpPr>
        <p:grpSpPr>
          <a:xfrm>
            <a:off x="5134465" y="4062651"/>
            <a:ext cx="1482093" cy="670430"/>
            <a:chOff x="-79197" y="5951395"/>
            <a:chExt cx="1764857" cy="572597"/>
          </a:xfrm>
        </p:grpSpPr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360514F2-EEEE-450C-B505-3E29005CDEAC}"/>
                </a:ext>
              </a:extLst>
            </p:cNvPr>
            <p:cNvSpPr/>
            <p:nvPr/>
          </p:nvSpPr>
          <p:spPr>
            <a:xfrm>
              <a:off x="-79197" y="6001918"/>
              <a:ext cx="103637" cy="388640"/>
            </a:xfrm>
            <a:custGeom>
              <a:avLst/>
              <a:gdLst>
                <a:gd name="connsiteX0" fmla="*/ 79887 w 103637"/>
                <a:gd name="connsiteY0" fmla="*/ 86364 h 388639"/>
                <a:gd name="connsiteX1" fmla="*/ 79023 w 103637"/>
                <a:gd name="connsiteY1" fmla="*/ 86796 h 388639"/>
                <a:gd name="connsiteX2" fmla="*/ 80319 w 103637"/>
                <a:gd name="connsiteY2" fmla="*/ 88955 h 388639"/>
                <a:gd name="connsiteX3" fmla="*/ 79455 w 103637"/>
                <a:gd name="connsiteY3" fmla="*/ 89387 h 388639"/>
                <a:gd name="connsiteX4" fmla="*/ 76864 w 103637"/>
                <a:gd name="connsiteY4" fmla="*/ 88524 h 388639"/>
                <a:gd name="connsiteX5" fmla="*/ 76001 w 103637"/>
                <a:gd name="connsiteY5" fmla="*/ 88955 h 388639"/>
                <a:gd name="connsiteX6" fmla="*/ 75569 w 103637"/>
                <a:gd name="connsiteY6" fmla="*/ 89387 h 388639"/>
                <a:gd name="connsiteX7" fmla="*/ 76001 w 103637"/>
                <a:gd name="connsiteY7" fmla="*/ 90251 h 388639"/>
                <a:gd name="connsiteX8" fmla="*/ 76433 w 103637"/>
                <a:gd name="connsiteY8" fmla="*/ 89387 h 388639"/>
                <a:gd name="connsiteX9" fmla="*/ 77296 w 103637"/>
                <a:gd name="connsiteY9" fmla="*/ 90251 h 388639"/>
                <a:gd name="connsiteX10" fmla="*/ 77728 w 103637"/>
                <a:gd name="connsiteY10" fmla="*/ 91546 h 388639"/>
                <a:gd name="connsiteX11" fmla="*/ 79023 w 103637"/>
                <a:gd name="connsiteY11" fmla="*/ 93274 h 388639"/>
                <a:gd name="connsiteX12" fmla="*/ 80319 w 103637"/>
                <a:gd name="connsiteY12" fmla="*/ 94137 h 388639"/>
                <a:gd name="connsiteX13" fmla="*/ 80319 w 103637"/>
                <a:gd name="connsiteY13" fmla="*/ 96728 h 388639"/>
                <a:gd name="connsiteX14" fmla="*/ 79887 w 103637"/>
                <a:gd name="connsiteY14" fmla="*/ 96728 h 388639"/>
                <a:gd name="connsiteX15" fmla="*/ 79023 w 103637"/>
                <a:gd name="connsiteY15" fmla="*/ 96296 h 388639"/>
                <a:gd name="connsiteX16" fmla="*/ 78160 w 103637"/>
                <a:gd name="connsiteY16" fmla="*/ 95865 h 388639"/>
                <a:gd name="connsiteX17" fmla="*/ 77728 w 103637"/>
                <a:gd name="connsiteY17" fmla="*/ 96296 h 388639"/>
                <a:gd name="connsiteX18" fmla="*/ 77728 w 103637"/>
                <a:gd name="connsiteY18" fmla="*/ 96728 h 388639"/>
                <a:gd name="connsiteX19" fmla="*/ 77296 w 103637"/>
                <a:gd name="connsiteY19" fmla="*/ 99319 h 388639"/>
                <a:gd name="connsiteX20" fmla="*/ 75569 w 103637"/>
                <a:gd name="connsiteY20" fmla="*/ 104933 h 388639"/>
                <a:gd name="connsiteX21" fmla="*/ 75137 w 103637"/>
                <a:gd name="connsiteY21" fmla="*/ 105796 h 388639"/>
                <a:gd name="connsiteX22" fmla="*/ 74273 w 103637"/>
                <a:gd name="connsiteY22" fmla="*/ 108387 h 388639"/>
                <a:gd name="connsiteX23" fmla="*/ 74273 w 103637"/>
                <a:gd name="connsiteY23" fmla="*/ 109683 h 388639"/>
                <a:gd name="connsiteX24" fmla="*/ 72978 w 103637"/>
                <a:gd name="connsiteY24" fmla="*/ 111842 h 388639"/>
                <a:gd name="connsiteX25" fmla="*/ 72546 w 103637"/>
                <a:gd name="connsiteY25" fmla="*/ 112274 h 388639"/>
                <a:gd name="connsiteX26" fmla="*/ 71251 w 103637"/>
                <a:gd name="connsiteY26" fmla="*/ 117024 h 388639"/>
                <a:gd name="connsiteX27" fmla="*/ 70819 w 103637"/>
                <a:gd name="connsiteY27" fmla="*/ 117456 h 388639"/>
                <a:gd name="connsiteX28" fmla="*/ 71682 w 103637"/>
                <a:gd name="connsiteY28" fmla="*/ 118319 h 388639"/>
                <a:gd name="connsiteX29" fmla="*/ 70819 w 103637"/>
                <a:gd name="connsiteY29" fmla="*/ 120910 h 388639"/>
                <a:gd name="connsiteX30" fmla="*/ 70819 w 103637"/>
                <a:gd name="connsiteY30" fmla="*/ 121774 h 388639"/>
                <a:gd name="connsiteX31" fmla="*/ 71682 w 103637"/>
                <a:gd name="connsiteY31" fmla="*/ 123501 h 388639"/>
                <a:gd name="connsiteX32" fmla="*/ 72546 w 103637"/>
                <a:gd name="connsiteY32" fmla="*/ 123501 h 388639"/>
                <a:gd name="connsiteX33" fmla="*/ 72978 w 103637"/>
                <a:gd name="connsiteY33" fmla="*/ 125228 h 388639"/>
                <a:gd name="connsiteX34" fmla="*/ 71251 w 103637"/>
                <a:gd name="connsiteY34" fmla="*/ 129547 h 388639"/>
                <a:gd name="connsiteX35" fmla="*/ 70387 w 103637"/>
                <a:gd name="connsiteY35" fmla="*/ 129978 h 388639"/>
                <a:gd name="connsiteX36" fmla="*/ 69523 w 103637"/>
                <a:gd name="connsiteY36" fmla="*/ 131706 h 388639"/>
                <a:gd name="connsiteX37" fmla="*/ 69955 w 103637"/>
                <a:gd name="connsiteY37" fmla="*/ 133001 h 388639"/>
                <a:gd name="connsiteX38" fmla="*/ 68228 w 103637"/>
                <a:gd name="connsiteY38" fmla="*/ 136456 h 388639"/>
                <a:gd name="connsiteX39" fmla="*/ 67796 w 103637"/>
                <a:gd name="connsiteY39" fmla="*/ 137320 h 388639"/>
                <a:gd name="connsiteX40" fmla="*/ 68228 w 103637"/>
                <a:gd name="connsiteY40" fmla="*/ 138183 h 388639"/>
                <a:gd name="connsiteX41" fmla="*/ 68228 w 103637"/>
                <a:gd name="connsiteY41" fmla="*/ 139910 h 388639"/>
                <a:gd name="connsiteX42" fmla="*/ 67796 w 103637"/>
                <a:gd name="connsiteY42" fmla="*/ 140342 h 388639"/>
                <a:gd name="connsiteX43" fmla="*/ 67364 w 103637"/>
                <a:gd name="connsiteY43" fmla="*/ 140342 h 388639"/>
                <a:gd name="connsiteX44" fmla="*/ 65205 w 103637"/>
                <a:gd name="connsiteY44" fmla="*/ 141206 h 388639"/>
                <a:gd name="connsiteX45" fmla="*/ 65205 w 103637"/>
                <a:gd name="connsiteY45" fmla="*/ 142501 h 388639"/>
                <a:gd name="connsiteX46" fmla="*/ 65637 w 103637"/>
                <a:gd name="connsiteY46" fmla="*/ 143365 h 388639"/>
                <a:gd name="connsiteX47" fmla="*/ 63910 w 103637"/>
                <a:gd name="connsiteY47" fmla="*/ 146820 h 388639"/>
                <a:gd name="connsiteX48" fmla="*/ 62614 w 103637"/>
                <a:gd name="connsiteY48" fmla="*/ 151138 h 388639"/>
                <a:gd name="connsiteX49" fmla="*/ 62614 w 103637"/>
                <a:gd name="connsiteY49" fmla="*/ 152865 h 388639"/>
                <a:gd name="connsiteX50" fmla="*/ 62182 w 103637"/>
                <a:gd name="connsiteY50" fmla="*/ 154161 h 388639"/>
                <a:gd name="connsiteX51" fmla="*/ 61751 w 103637"/>
                <a:gd name="connsiteY51" fmla="*/ 154161 h 388639"/>
                <a:gd name="connsiteX52" fmla="*/ 62182 w 103637"/>
                <a:gd name="connsiteY52" fmla="*/ 154592 h 388639"/>
                <a:gd name="connsiteX53" fmla="*/ 62614 w 103637"/>
                <a:gd name="connsiteY53" fmla="*/ 155024 h 388639"/>
                <a:gd name="connsiteX54" fmla="*/ 63478 w 103637"/>
                <a:gd name="connsiteY54" fmla="*/ 156320 h 388639"/>
                <a:gd name="connsiteX55" fmla="*/ 63046 w 103637"/>
                <a:gd name="connsiteY55" fmla="*/ 157615 h 388639"/>
                <a:gd name="connsiteX56" fmla="*/ 62182 w 103637"/>
                <a:gd name="connsiteY56" fmla="*/ 158479 h 388639"/>
                <a:gd name="connsiteX57" fmla="*/ 62614 w 103637"/>
                <a:gd name="connsiteY57" fmla="*/ 161070 h 388639"/>
                <a:gd name="connsiteX58" fmla="*/ 62182 w 103637"/>
                <a:gd name="connsiteY58" fmla="*/ 162797 h 388639"/>
                <a:gd name="connsiteX59" fmla="*/ 62182 w 103637"/>
                <a:gd name="connsiteY59" fmla="*/ 165820 h 388639"/>
                <a:gd name="connsiteX60" fmla="*/ 58728 w 103637"/>
                <a:gd name="connsiteY60" fmla="*/ 172297 h 388639"/>
                <a:gd name="connsiteX61" fmla="*/ 58728 w 103637"/>
                <a:gd name="connsiteY61" fmla="*/ 172729 h 388639"/>
                <a:gd name="connsiteX62" fmla="*/ 58728 w 103637"/>
                <a:gd name="connsiteY62" fmla="*/ 173593 h 388639"/>
                <a:gd name="connsiteX63" fmla="*/ 58296 w 103637"/>
                <a:gd name="connsiteY63" fmla="*/ 176615 h 388639"/>
                <a:gd name="connsiteX64" fmla="*/ 58728 w 103637"/>
                <a:gd name="connsiteY64" fmla="*/ 177911 h 388639"/>
                <a:gd name="connsiteX65" fmla="*/ 58296 w 103637"/>
                <a:gd name="connsiteY65" fmla="*/ 178343 h 388639"/>
                <a:gd name="connsiteX66" fmla="*/ 54410 w 103637"/>
                <a:gd name="connsiteY66" fmla="*/ 189570 h 388639"/>
                <a:gd name="connsiteX67" fmla="*/ 54841 w 103637"/>
                <a:gd name="connsiteY67" fmla="*/ 195615 h 388639"/>
                <a:gd name="connsiteX68" fmla="*/ 55273 w 103637"/>
                <a:gd name="connsiteY68" fmla="*/ 196479 h 388639"/>
                <a:gd name="connsiteX69" fmla="*/ 54410 w 103637"/>
                <a:gd name="connsiteY69" fmla="*/ 197775 h 388639"/>
                <a:gd name="connsiteX70" fmla="*/ 53546 w 103637"/>
                <a:gd name="connsiteY70" fmla="*/ 200797 h 388639"/>
                <a:gd name="connsiteX71" fmla="*/ 52250 w 103637"/>
                <a:gd name="connsiteY71" fmla="*/ 203388 h 388639"/>
                <a:gd name="connsiteX72" fmla="*/ 52250 w 103637"/>
                <a:gd name="connsiteY72" fmla="*/ 205115 h 388639"/>
                <a:gd name="connsiteX73" fmla="*/ 51819 w 103637"/>
                <a:gd name="connsiteY73" fmla="*/ 206411 h 388639"/>
                <a:gd name="connsiteX74" fmla="*/ 51387 w 103637"/>
                <a:gd name="connsiteY74" fmla="*/ 207706 h 388639"/>
                <a:gd name="connsiteX75" fmla="*/ 51819 w 103637"/>
                <a:gd name="connsiteY75" fmla="*/ 208570 h 388639"/>
                <a:gd name="connsiteX76" fmla="*/ 52682 w 103637"/>
                <a:gd name="connsiteY76" fmla="*/ 209866 h 388639"/>
                <a:gd name="connsiteX77" fmla="*/ 52250 w 103637"/>
                <a:gd name="connsiteY77" fmla="*/ 210297 h 388639"/>
                <a:gd name="connsiteX78" fmla="*/ 51387 w 103637"/>
                <a:gd name="connsiteY78" fmla="*/ 212457 h 388639"/>
                <a:gd name="connsiteX79" fmla="*/ 51819 w 103637"/>
                <a:gd name="connsiteY79" fmla="*/ 214616 h 388639"/>
                <a:gd name="connsiteX80" fmla="*/ 51819 w 103637"/>
                <a:gd name="connsiteY80" fmla="*/ 215911 h 388639"/>
                <a:gd name="connsiteX81" fmla="*/ 50523 w 103637"/>
                <a:gd name="connsiteY81" fmla="*/ 218070 h 388639"/>
                <a:gd name="connsiteX82" fmla="*/ 49228 w 103637"/>
                <a:gd name="connsiteY82" fmla="*/ 218502 h 388639"/>
                <a:gd name="connsiteX83" fmla="*/ 49660 w 103637"/>
                <a:gd name="connsiteY83" fmla="*/ 219366 h 388639"/>
                <a:gd name="connsiteX84" fmla="*/ 50091 w 103637"/>
                <a:gd name="connsiteY84" fmla="*/ 220661 h 388639"/>
                <a:gd name="connsiteX85" fmla="*/ 48796 w 103637"/>
                <a:gd name="connsiteY85" fmla="*/ 223252 h 388639"/>
                <a:gd name="connsiteX86" fmla="*/ 47932 w 103637"/>
                <a:gd name="connsiteY86" fmla="*/ 224116 h 388639"/>
                <a:gd name="connsiteX87" fmla="*/ 47500 w 103637"/>
                <a:gd name="connsiteY87" fmla="*/ 225411 h 388639"/>
                <a:gd name="connsiteX88" fmla="*/ 47500 w 103637"/>
                <a:gd name="connsiteY88" fmla="*/ 226275 h 388639"/>
                <a:gd name="connsiteX89" fmla="*/ 47069 w 103637"/>
                <a:gd name="connsiteY89" fmla="*/ 227570 h 388639"/>
                <a:gd name="connsiteX90" fmla="*/ 46637 w 103637"/>
                <a:gd name="connsiteY90" fmla="*/ 228002 h 388639"/>
                <a:gd name="connsiteX91" fmla="*/ 47932 w 103637"/>
                <a:gd name="connsiteY91" fmla="*/ 229298 h 388639"/>
                <a:gd name="connsiteX92" fmla="*/ 48364 w 103637"/>
                <a:gd name="connsiteY92" fmla="*/ 230593 h 388639"/>
                <a:gd name="connsiteX93" fmla="*/ 47932 w 103637"/>
                <a:gd name="connsiteY93" fmla="*/ 231889 h 388639"/>
                <a:gd name="connsiteX94" fmla="*/ 47500 w 103637"/>
                <a:gd name="connsiteY94" fmla="*/ 232752 h 388639"/>
                <a:gd name="connsiteX95" fmla="*/ 47500 w 103637"/>
                <a:gd name="connsiteY95" fmla="*/ 233616 h 388639"/>
                <a:gd name="connsiteX96" fmla="*/ 45341 w 103637"/>
                <a:gd name="connsiteY96" fmla="*/ 237934 h 388639"/>
                <a:gd name="connsiteX97" fmla="*/ 45341 w 103637"/>
                <a:gd name="connsiteY97" fmla="*/ 239229 h 388639"/>
                <a:gd name="connsiteX98" fmla="*/ 45773 w 103637"/>
                <a:gd name="connsiteY98" fmla="*/ 240093 h 388639"/>
                <a:gd name="connsiteX99" fmla="*/ 45341 w 103637"/>
                <a:gd name="connsiteY99" fmla="*/ 241389 h 388639"/>
                <a:gd name="connsiteX100" fmla="*/ 44910 w 103637"/>
                <a:gd name="connsiteY100" fmla="*/ 241389 h 388639"/>
                <a:gd name="connsiteX101" fmla="*/ 42319 w 103637"/>
                <a:gd name="connsiteY101" fmla="*/ 253911 h 388639"/>
                <a:gd name="connsiteX102" fmla="*/ 42319 w 103637"/>
                <a:gd name="connsiteY102" fmla="*/ 254775 h 388639"/>
                <a:gd name="connsiteX103" fmla="*/ 41887 w 103637"/>
                <a:gd name="connsiteY103" fmla="*/ 255207 h 388639"/>
                <a:gd name="connsiteX104" fmla="*/ 41887 w 103637"/>
                <a:gd name="connsiteY104" fmla="*/ 255639 h 388639"/>
                <a:gd name="connsiteX105" fmla="*/ 42319 w 103637"/>
                <a:gd name="connsiteY105" fmla="*/ 256502 h 388639"/>
                <a:gd name="connsiteX106" fmla="*/ 42319 w 103637"/>
                <a:gd name="connsiteY106" fmla="*/ 258230 h 388639"/>
                <a:gd name="connsiteX107" fmla="*/ 42750 w 103637"/>
                <a:gd name="connsiteY107" fmla="*/ 259093 h 388639"/>
                <a:gd name="connsiteX108" fmla="*/ 42750 w 103637"/>
                <a:gd name="connsiteY108" fmla="*/ 259957 h 388639"/>
                <a:gd name="connsiteX109" fmla="*/ 40591 w 103637"/>
                <a:gd name="connsiteY109" fmla="*/ 264275 h 388639"/>
                <a:gd name="connsiteX110" fmla="*/ 39728 w 103637"/>
                <a:gd name="connsiteY110" fmla="*/ 266002 h 388639"/>
                <a:gd name="connsiteX111" fmla="*/ 40159 w 103637"/>
                <a:gd name="connsiteY111" fmla="*/ 267298 h 388639"/>
                <a:gd name="connsiteX112" fmla="*/ 40159 w 103637"/>
                <a:gd name="connsiteY112" fmla="*/ 268162 h 388639"/>
                <a:gd name="connsiteX113" fmla="*/ 39728 w 103637"/>
                <a:gd name="connsiteY113" fmla="*/ 269889 h 388639"/>
                <a:gd name="connsiteX114" fmla="*/ 38864 w 103637"/>
                <a:gd name="connsiteY114" fmla="*/ 275503 h 388639"/>
                <a:gd name="connsiteX115" fmla="*/ 37137 w 103637"/>
                <a:gd name="connsiteY115" fmla="*/ 281548 h 388639"/>
                <a:gd name="connsiteX116" fmla="*/ 36705 w 103637"/>
                <a:gd name="connsiteY116" fmla="*/ 282843 h 388639"/>
                <a:gd name="connsiteX117" fmla="*/ 34978 w 103637"/>
                <a:gd name="connsiteY117" fmla="*/ 290616 h 388639"/>
                <a:gd name="connsiteX118" fmla="*/ 34114 w 103637"/>
                <a:gd name="connsiteY118" fmla="*/ 292344 h 388639"/>
                <a:gd name="connsiteX119" fmla="*/ 34114 w 103637"/>
                <a:gd name="connsiteY119" fmla="*/ 293639 h 388639"/>
                <a:gd name="connsiteX120" fmla="*/ 34546 w 103637"/>
                <a:gd name="connsiteY120" fmla="*/ 296230 h 388639"/>
                <a:gd name="connsiteX121" fmla="*/ 34546 w 103637"/>
                <a:gd name="connsiteY121" fmla="*/ 298821 h 388639"/>
                <a:gd name="connsiteX122" fmla="*/ 34114 w 103637"/>
                <a:gd name="connsiteY122" fmla="*/ 300116 h 388639"/>
                <a:gd name="connsiteX123" fmla="*/ 33682 w 103637"/>
                <a:gd name="connsiteY123" fmla="*/ 300980 h 388639"/>
                <a:gd name="connsiteX124" fmla="*/ 33682 w 103637"/>
                <a:gd name="connsiteY124" fmla="*/ 302275 h 388639"/>
                <a:gd name="connsiteX125" fmla="*/ 34114 w 103637"/>
                <a:gd name="connsiteY125" fmla="*/ 302707 h 388639"/>
                <a:gd name="connsiteX126" fmla="*/ 33682 w 103637"/>
                <a:gd name="connsiteY126" fmla="*/ 304866 h 388639"/>
                <a:gd name="connsiteX127" fmla="*/ 33250 w 103637"/>
                <a:gd name="connsiteY127" fmla="*/ 307457 h 388639"/>
                <a:gd name="connsiteX128" fmla="*/ 33682 w 103637"/>
                <a:gd name="connsiteY128" fmla="*/ 310048 h 388639"/>
                <a:gd name="connsiteX129" fmla="*/ 33682 w 103637"/>
                <a:gd name="connsiteY129" fmla="*/ 310912 h 388639"/>
                <a:gd name="connsiteX130" fmla="*/ 32387 w 103637"/>
                <a:gd name="connsiteY130" fmla="*/ 317389 h 388639"/>
                <a:gd name="connsiteX131" fmla="*/ 32387 w 103637"/>
                <a:gd name="connsiteY131" fmla="*/ 318685 h 388639"/>
                <a:gd name="connsiteX132" fmla="*/ 31091 w 103637"/>
                <a:gd name="connsiteY132" fmla="*/ 322571 h 388639"/>
                <a:gd name="connsiteX133" fmla="*/ 31091 w 103637"/>
                <a:gd name="connsiteY133" fmla="*/ 324298 h 388639"/>
                <a:gd name="connsiteX134" fmla="*/ 31523 w 103637"/>
                <a:gd name="connsiteY134" fmla="*/ 325162 h 388639"/>
                <a:gd name="connsiteX135" fmla="*/ 31091 w 103637"/>
                <a:gd name="connsiteY135" fmla="*/ 327321 h 388639"/>
                <a:gd name="connsiteX136" fmla="*/ 29796 w 103637"/>
                <a:gd name="connsiteY136" fmla="*/ 337685 h 388639"/>
                <a:gd name="connsiteX137" fmla="*/ 30228 w 103637"/>
                <a:gd name="connsiteY137" fmla="*/ 341571 h 388639"/>
                <a:gd name="connsiteX138" fmla="*/ 30228 w 103637"/>
                <a:gd name="connsiteY138" fmla="*/ 357117 h 388639"/>
                <a:gd name="connsiteX139" fmla="*/ 31955 w 103637"/>
                <a:gd name="connsiteY139" fmla="*/ 367481 h 388639"/>
                <a:gd name="connsiteX140" fmla="*/ 32818 w 103637"/>
                <a:gd name="connsiteY140" fmla="*/ 368776 h 388639"/>
                <a:gd name="connsiteX141" fmla="*/ 33250 w 103637"/>
                <a:gd name="connsiteY141" fmla="*/ 370503 h 388639"/>
                <a:gd name="connsiteX142" fmla="*/ 33250 w 103637"/>
                <a:gd name="connsiteY142" fmla="*/ 372231 h 388639"/>
                <a:gd name="connsiteX143" fmla="*/ 35409 w 103637"/>
                <a:gd name="connsiteY143" fmla="*/ 376117 h 388639"/>
                <a:gd name="connsiteX144" fmla="*/ 41887 w 103637"/>
                <a:gd name="connsiteY144" fmla="*/ 379140 h 388639"/>
                <a:gd name="connsiteX145" fmla="*/ 43182 w 103637"/>
                <a:gd name="connsiteY145" fmla="*/ 379572 h 388639"/>
                <a:gd name="connsiteX146" fmla="*/ 45341 w 103637"/>
                <a:gd name="connsiteY146" fmla="*/ 379572 h 388639"/>
                <a:gd name="connsiteX147" fmla="*/ 45341 w 103637"/>
                <a:gd name="connsiteY147" fmla="*/ 380003 h 388639"/>
                <a:gd name="connsiteX148" fmla="*/ 43614 w 103637"/>
                <a:gd name="connsiteY148" fmla="*/ 380435 h 388639"/>
                <a:gd name="connsiteX149" fmla="*/ 41887 w 103637"/>
                <a:gd name="connsiteY149" fmla="*/ 380435 h 388639"/>
                <a:gd name="connsiteX150" fmla="*/ 38864 w 103637"/>
                <a:gd name="connsiteY150" fmla="*/ 380003 h 388639"/>
                <a:gd name="connsiteX151" fmla="*/ 38864 w 103637"/>
                <a:gd name="connsiteY151" fmla="*/ 380867 h 388639"/>
                <a:gd name="connsiteX152" fmla="*/ 43182 w 103637"/>
                <a:gd name="connsiteY152" fmla="*/ 381731 h 388639"/>
                <a:gd name="connsiteX153" fmla="*/ 44046 w 103637"/>
                <a:gd name="connsiteY153" fmla="*/ 381731 h 388639"/>
                <a:gd name="connsiteX154" fmla="*/ 46205 w 103637"/>
                <a:gd name="connsiteY154" fmla="*/ 382163 h 388639"/>
                <a:gd name="connsiteX155" fmla="*/ 48364 w 103637"/>
                <a:gd name="connsiteY155" fmla="*/ 383890 h 388639"/>
                <a:gd name="connsiteX156" fmla="*/ 47932 w 103637"/>
                <a:gd name="connsiteY156" fmla="*/ 385185 h 388639"/>
                <a:gd name="connsiteX157" fmla="*/ 44478 w 103637"/>
                <a:gd name="connsiteY157" fmla="*/ 388640 h 388639"/>
                <a:gd name="connsiteX158" fmla="*/ 44478 w 103637"/>
                <a:gd name="connsiteY158" fmla="*/ 389072 h 388639"/>
                <a:gd name="connsiteX159" fmla="*/ 46205 w 103637"/>
                <a:gd name="connsiteY159" fmla="*/ 389072 h 388639"/>
                <a:gd name="connsiteX160" fmla="*/ 47500 w 103637"/>
                <a:gd name="connsiteY160" fmla="*/ 389504 h 388639"/>
                <a:gd name="connsiteX161" fmla="*/ 48364 w 103637"/>
                <a:gd name="connsiteY161" fmla="*/ 390367 h 388639"/>
                <a:gd name="connsiteX162" fmla="*/ 48796 w 103637"/>
                <a:gd name="connsiteY162" fmla="*/ 390799 h 388639"/>
                <a:gd name="connsiteX163" fmla="*/ 48364 w 103637"/>
                <a:gd name="connsiteY163" fmla="*/ 392095 h 388639"/>
                <a:gd name="connsiteX164" fmla="*/ 46205 w 103637"/>
                <a:gd name="connsiteY164" fmla="*/ 392526 h 388639"/>
                <a:gd name="connsiteX165" fmla="*/ 46205 w 103637"/>
                <a:gd name="connsiteY165" fmla="*/ 392095 h 388639"/>
                <a:gd name="connsiteX166" fmla="*/ 46637 w 103637"/>
                <a:gd name="connsiteY166" fmla="*/ 391663 h 388639"/>
                <a:gd name="connsiteX167" fmla="*/ 46637 w 103637"/>
                <a:gd name="connsiteY167" fmla="*/ 391231 h 388639"/>
                <a:gd name="connsiteX168" fmla="*/ 45773 w 103637"/>
                <a:gd name="connsiteY168" fmla="*/ 390799 h 388639"/>
                <a:gd name="connsiteX169" fmla="*/ 44046 w 103637"/>
                <a:gd name="connsiteY169" fmla="*/ 390799 h 388639"/>
                <a:gd name="connsiteX170" fmla="*/ 40159 w 103637"/>
                <a:gd name="connsiteY170" fmla="*/ 392095 h 388639"/>
                <a:gd name="connsiteX171" fmla="*/ 40159 w 103637"/>
                <a:gd name="connsiteY171" fmla="*/ 392526 h 388639"/>
                <a:gd name="connsiteX172" fmla="*/ 40591 w 103637"/>
                <a:gd name="connsiteY172" fmla="*/ 393390 h 388639"/>
                <a:gd name="connsiteX173" fmla="*/ 44046 w 103637"/>
                <a:gd name="connsiteY173" fmla="*/ 393390 h 388639"/>
                <a:gd name="connsiteX174" fmla="*/ 44046 w 103637"/>
                <a:gd name="connsiteY174" fmla="*/ 393822 h 388639"/>
                <a:gd name="connsiteX175" fmla="*/ 43614 w 103637"/>
                <a:gd name="connsiteY175" fmla="*/ 393822 h 388639"/>
                <a:gd name="connsiteX176" fmla="*/ 38864 w 103637"/>
                <a:gd name="connsiteY176" fmla="*/ 395549 h 388639"/>
                <a:gd name="connsiteX177" fmla="*/ 38000 w 103637"/>
                <a:gd name="connsiteY177" fmla="*/ 396413 h 388639"/>
                <a:gd name="connsiteX178" fmla="*/ 37137 w 103637"/>
                <a:gd name="connsiteY178" fmla="*/ 395549 h 388639"/>
                <a:gd name="connsiteX179" fmla="*/ 34546 w 103637"/>
                <a:gd name="connsiteY179" fmla="*/ 395117 h 388639"/>
                <a:gd name="connsiteX180" fmla="*/ 34114 w 103637"/>
                <a:gd name="connsiteY180" fmla="*/ 395549 h 388639"/>
                <a:gd name="connsiteX181" fmla="*/ 32387 w 103637"/>
                <a:gd name="connsiteY181" fmla="*/ 396413 h 388639"/>
                <a:gd name="connsiteX182" fmla="*/ 31091 w 103637"/>
                <a:gd name="connsiteY182" fmla="*/ 395117 h 388639"/>
                <a:gd name="connsiteX183" fmla="*/ 28500 w 103637"/>
                <a:gd name="connsiteY183" fmla="*/ 394254 h 388639"/>
                <a:gd name="connsiteX184" fmla="*/ 24182 w 103637"/>
                <a:gd name="connsiteY184" fmla="*/ 394254 h 388639"/>
                <a:gd name="connsiteX185" fmla="*/ 22455 w 103637"/>
                <a:gd name="connsiteY185" fmla="*/ 393390 h 388639"/>
                <a:gd name="connsiteX186" fmla="*/ 21159 w 103637"/>
                <a:gd name="connsiteY186" fmla="*/ 392095 h 388639"/>
                <a:gd name="connsiteX187" fmla="*/ 19000 w 103637"/>
                <a:gd name="connsiteY187" fmla="*/ 391231 h 388639"/>
                <a:gd name="connsiteX188" fmla="*/ 22455 w 103637"/>
                <a:gd name="connsiteY188" fmla="*/ 396413 h 388639"/>
                <a:gd name="connsiteX189" fmla="*/ 22455 w 103637"/>
                <a:gd name="connsiteY189" fmla="*/ 396844 h 388639"/>
                <a:gd name="connsiteX190" fmla="*/ 21591 w 103637"/>
                <a:gd name="connsiteY190" fmla="*/ 396844 h 388639"/>
                <a:gd name="connsiteX191" fmla="*/ 18137 w 103637"/>
                <a:gd name="connsiteY191" fmla="*/ 393390 h 388639"/>
                <a:gd name="connsiteX192" fmla="*/ 16409 w 103637"/>
                <a:gd name="connsiteY192" fmla="*/ 392526 h 388639"/>
                <a:gd name="connsiteX193" fmla="*/ 15977 w 103637"/>
                <a:gd name="connsiteY193" fmla="*/ 392526 h 388639"/>
                <a:gd name="connsiteX194" fmla="*/ 14682 w 103637"/>
                <a:gd name="connsiteY194" fmla="*/ 391663 h 388639"/>
                <a:gd name="connsiteX195" fmla="*/ 13818 w 103637"/>
                <a:gd name="connsiteY195" fmla="*/ 390799 h 388639"/>
                <a:gd name="connsiteX196" fmla="*/ 11227 w 103637"/>
                <a:gd name="connsiteY196" fmla="*/ 386913 h 388639"/>
                <a:gd name="connsiteX197" fmla="*/ 10796 w 103637"/>
                <a:gd name="connsiteY197" fmla="*/ 386481 h 388639"/>
                <a:gd name="connsiteX198" fmla="*/ 10364 w 103637"/>
                <a:gd name="connsiteY198" fmla="*/ 386049 h 388639"/>
                <a:gd name="connsiteX199" fmla="*/ 9932 w 103637"/>
                <a:gd name="connsiteY199" fmla="*/ 386481 h 388639"/>
                <a:gd name="connsiteX200" fmla="*/ 9068 w 103637"/>
                <a:gd name="connsiteY200" fmla="*/ 386481 h 388639"/>
                <a:gd name="connsiteX201" fmla="*/ 8205 w 103637"/>
                <a:gd name="connsiteY201" fmla="*/ 385185 h 388639"/>
                <a:gd name="connsiteX202" fmla="*/ 8205 w 103637"/>
                <a:gd name="connsiteY202" fmla="*/ 384754 h 388639"/>
                <a:gd name="connsiteX203" fmla="*/ 7341 w 103637"/>
                <a:gd name="connsiteY203" fmla="*/ 382594 h 388639"/>
                <a:gd name="connsiteX204" fmla="*/ 5614 w 103637"/>
                <a:gd name="connsiteY204" fmla="*/ 377412 h 388639"/>
                <a:gd name="connsiteX205" fmla="*/ 5182 w 103637"/>
                <a:gd name="connsiteY205" fmla="*/ 376549 h 388639"/>
                <a:gd name="connsiteX206" fmla="*/ 5182 w 103637"/>
                <a:gd name="connsiteY206" fmla="*/ 374390 h 388639"/>
                <a:gd name="connsiteX207" fmla="*/ 4750 w 103637"/>
                <a:gd name="connsiteY207" fmla="*/ 373094 h 388639"/>
                <a:gd name="connsiteX208" fmla="*/ 4750 w 103637"/>
                <a:gd name="connsiteY208" fmla="*/ 372231 h 388639"/>
                <a:gd name="connsiteX209" fmla="*/ 5182 w 103637"/>
                <a:gd name="connsiteY209" fmla="*/ 370503 h 388639"/>
                <a:gd name="connsiteX210" fmla="*/ 4750 w 103637"/>
                <a:gd name="connsiteY210" fmla="*/ 369208 h 388639"/>
                <a:gd name="connsiteX211" fmla="*/ 3886 w 103637"/>
                <a:gd name="connsiteY211" fmla="*/ 367049 h 388639"/>
                <a:gd name="connsiteX212" fmla="*/ 3886 w 103637"/>
                <a:gd name="connsiteY212" fmla="*/ 366185 h 388639"/>
                <a:gd name="connsiteX213" fmla="*/ 4318 w 103637"/>
                <a:gd name="connsiteY213" fmla="*/ 365753 h 388639"/>
                <a:gd name="connsiteX214" fmla="*/ 3886 w 103637"/>
                <a:gd name="connsiteY214" fmla="*/ 365322 h 388639"/>
                <a:gd name="connsiteX215" fmla="*/ 2591 w 103637"/>
                <a:gd name="connsiteY215" fmla="*/ 361003 h 388639"/>
                <a:gd name="connsiteX216" fmla="*/ 3455 w 103637"/>
                <a:gd name="connsiteY216" fmla="*/ 359276 h 388639"/>
                <a:gd name="connsiteX217" fmla="*/ 2591 w 103637"/>
                <a:gd name="connsiteY217" fmla="*/ 357980 h 388639"/>
                <a:gd name="connsiteX218" fmla="*/ 432 w 103637"/>
                <a:gd name="connsiteY218" fmla="*/ 356253 h 388639"/>
                <a:gd name="connsiteX219" fmla="*/ 0 w 103637"/>
                <a:gd name="connsiteY219" fmla="*/ 355821 h 388639"/>
                <a:gd name="connsiteX220" fmla="*/ 432 w 103637"/>
                <a:gd name="connsiteY220" fmla="*/ 354958 h 388639"/>
                <a:gd name="connsiteX221" fmla="*/ 3023 w 103637"/>
                <a:gd name="connsiteY221" fmla="*/ 339844 h 388639"/>
                <a:gd name="connsiteX222" fmla="*/ 2591 w 103637"/>
                <a:gd name="connsiteY222" fmla="*/ 337685 h 388639"/>
                <a:gd name="connsiteX223" fmla="*/ 3455 w 103637"/>
                <a:gd name="connsiteY223" fmla="*/ 332935 h 388639"/>
                <a:gd name="connsiteX224" fmla="*/ 3886 w 103637"/>
                <a:gd name="connsiteY224" fmla="*/ 329912 h 388639"/>
                <a:gd name="connsiteX225" fmla="*/ 3886 w 103637"/>
                <a:gd name="connsiteY225" fmla="*/ 324298 h 388639"/>
                <a:gd name="connsiteX226" fmla="*/ 4318 w 103637"/>
                <a:gd name="connsiteY226" fmla="*/ 321276 h 388639"/>
                <a:gd name="connsiteX227" fmla="*/ 4750 w 103637"/>
                <a:gd name="connsiteY227" fmla="*/ 319548 h 388639"/>
                <a:gd name="connsiteX228" fmla="*/ 4750 w 103637"/>
                <a:gd name="connsiteY228" fmla="*/ 319117 h 388639"/>
                <a:gd name="connsiteX229" fmla="*/ 4318 w 103637"/>
                <a:gd name="connsiteY229" fmla="*/ 318253 h 388639"/>
                <a:gd name="connsiteX230" fmla="*/ 3886 w 103637"/>
                <a:gd name="connsiteY230" fmla="*/ 316957 h 388639"/>
                <a:gd name="connsiteX231" fmla="*/ 3886 w 103637"/>
                <a:gd name="connsiteY231" fmla="*/ 315662 h 388639"/>
                <a:gd name="connsiteX232" fmla="*/ 2159 w 103637"/>
                <a:gd name="connsiteY232" fmla="*/ 316094 h 388639"/>
                <a:gd name="connsiteX233" fmla="*/ 1727 w 103637"/>
                <a:gd name="connsiteY233" fmla="*/ 316526 h 388639"/>
                <a:gd name="connsiteX234" fmla="*/ 864 w 103637"/>
                <a:gd name="connsiteY234" fmla="*/ 315662 h 388639"/>
                <a:gd name="connsiteX235" fmla="*/ 864 w 103637"/>
                <a:gd name="connsiteY235" fmla="*/ 314367 h 388639"/>
                <a:gd name="connsiteX236" fmla="*/ 1295 w 103637"/>
                <a:gd name="connsiteY236" fmla="*/ 311344 h 388639"/>
                <a:gd name="connsiteX237" fmla="*/ 2591 w 103637"/>
                <a:gd name="connsiteY237" fmla="*/ 303139 h 388639"/>
                <a:gd name="connsiteX238" fmla="*/ 2159 w 103637"/>
                <a:gd name="connsiteY238" fmla="*/ 300116 h 388639"/>
                <a:gd name="connsiteX239" fmla="*/ 2159 w 103637"/>
                <a:gd name="connsiteY239" fmla="*/ 299253 h 388639"/>
                <a:gd name="connsiteX240" fmla="*/ 3886 w 103637"/>
                <a:gd name="connsiteY240" fmla="*/ 297957 h 388639"/>
                <a:gd name="connsiteX241" fmla="*/ 3455 w 103637"/>
                <a:gd name="connsiteY241" fmla="*/ 296662 h 388639"/>
                <a:gd name="connsiteX242" fmla="*/ 2591 w 103637"/>
                <a:gd name="connsiteY242" fmla="*/ 294503 h 388639"/>
                <a:gd name="connsiteX243" fmla="*/ 2591 w 103637"/>
                <a:gd name="connsiteY243" fmla="*/ 294071 h 388639"/>
                <a:gd name="connsiteX244" fmla="*/ 3886 w 103637"/>
                <a:gd name="connsiteY244" fmla="*/ 291048 h 388639"/>
                <a:gd name="connsiteX245" fmla="*/ 3886 w 103637"/>
                <a:gd name="connsiteY245" fmla="*/ 290185 h 388639"/>
                <a:gd name="connsiteX246" fmla="*/ 3455 w 103637"/>
                <a:gd name="connsiteY246" fmla="*/ 288889 h 388639"/>
                <a:gd name="connsiteX247" fmla="*/ 3886 w 103637"/>
                <a:gd name="connsiteY247" fmla="*/ 288457 h 388639"/>
                <a:gd name="connsiteX248" fmla="*/ 5182 w 103637"/>
                <a:gd name="connsiteY248" fmla="*/ 288889 h 388639"/>
                <a:gd name="connsiteX249" fmla="*/ 5614 w 103637"/>
                <a:gd name="connsiteY249" fmla="*/ 288889 h 388639"/>
                <a:gd name="connsiteX250" fmla="*/ 5614 w 103637"/>
                <a:gd name="connsiteY250" fmla="*/ 288457 h 388639"/>
                <a:gd name="connsiteX251" fmla="*/ 6046 w 103637"/>
                <a:gd name="connsiteY251" fmla="*/ 287162 h 388639"/>
                <a:gd name="connsiteX252" fmla="*/ 5182 w 103637"/>
                <a:gd name="connsiteY252" fmla="*/ 285866 h 388639"/>
                <a:gd name="connsiteX253" fmla="*/ 4750 w 103637"/>
                <a:gd name="connsiteY253" fmla="*/ 285434 h 388639"/>
                <a:gd name="connsiteX254" fmla="*/ 5182 w 103637"/>
                <a:gd name="connsiteY254" fmla="*/ 285434 h 388639"/>
                <a:gd name="connsiteX255" fmla="*/ 7341 w 103637"/>
                <a:gd name="connsiteY255" fmla="*/ 285866 h 388639"/>
                <a:gd name="connsiteX256" fmla="*/ 7773 w 103637"/>
                <a:gd name="connsiteY256" fmla="*/ 286298 h 388639"/>
                <a:gd name="connsiteX257" fmla="*/ 8636 w 103637"/>
                <a:gd name="connsiteY257" fmla="*/ 285434 h 388639"/>
                <a:gd name="connsiteX258" fmla="*/ 9068 w 103637"/>
                <a:gd name="connsiteY258" fmla="*/ 284139 h 388639"/>
                <a:gd name="connsiteX259" fmla="*/ 8636 w 103637"/>
                <a:gd name="connsiteY259" fmla="*/ 282843 h 388639"/>
                <a:gd name="connsiteX260" fmla="*/ 7773 w 103637"/>
                <a:gd name="connsiteY260" fmla="*/ 282843 h 388639"/>
                <a:gd name="connsiteX261" fmla="*/ 6909 w 103637"/>
                <a:gd name="connsiteY261" fmla="*/ 283275 h 388639"/>
                <a:gd name="connsiteX262" fmla="*/ 4750 w 103637"/>
                <a:gd name="connsiteY262" fmla="*/ 282843 h 388639"/>
                <a:gd name="connsiteX263" fmla="*/ 4750 w 103637"/>
                <a:gd name="connsiteY263" fmla="*/ 279389 h 388639"/>
                <a:gd name="connsiteX264" fmla="*/ 6477 w 103637"/>
                <a:gd name="connsiteY264" fmla="*/ 276798 h 388639"/>
                <a:gd name="connsiteX265" fmla="*/ 6477 w 103637"/>
                <a:gd name="connsiteY265" fmla="*/ 277230 h 388639"/>
                <a:gd name="connsiteX266" fmla="*/ 6909 w 103637"/>
                <a:gd name="connsiteY266" fmla="*/ 278093 h 388639"/>
                <a:gd name="connsiteX267" fmla="*/ 7341 w 103637"/>
                <a:gd name="connsiteY267" fmla="*/ 277230 h 388639"/>
                <a:gd name="connsiteX268" fmla="*/ 8636 w 103637"/>
                <a:gd name="connsiteY268" fmla="*/ 275071 h 388639"/>
                <a:gd name="connsiteX269" fmla="*/ 8636 w 103637"/>
                <a:gd name="connsiteY269" fmla="*/ 274639 h 388639"/>
                <a:gd name="connsiteX270" fmla="*/ 9500 w 103637"/>
                <a:gd name="connsiteY270" fmla="*/ 275503 h 388639"/>
                <a:gd name="connsiteX271" fmla="*/ 9932 w 103637"/>
                <a:gd name="connsiteY271" fmla="*/ 275934 h 388639"/>
                <a:gd name="connsiteX272" fmla="*/ 10796 w 103637"/>
                <a:gd name="connsiteY272" fmla="*/ 275503 h 388639"/>
                <a:gd name="connsiteX273" fmla="*/ 11227 w 103637"/>
                <a:gd name="connsiteY273" fmla="*/ 273775 h 388639"/>
                <a:gd name="connsiteX274" fmla="*/ 11227 w 103637"/>
                <a:gd name="connsiteY274" fmla="*/ 273343 h 388639"/>
                <a:gd name="connsiteX275" fmla="*/ 12091 w 103637"/>
                <a:gd name="connsiteY275" fmla="*/ 272912 h 388639"/>
                <a:gd name="connsiteX276" fmla="*/ 13818 w 103637"/>
                <a:gd name="connsiteY276" fmla="*/ 270753 h 388639"/>
                <a:gd name="connsiteX277" fmla="*/ 13818 w 103637"/>
                <a:gd name="connsiteY277" fmla="*/ 269889 h 388639"/>
                <a:gd name="connsiteX278" fmla="*/ 11659 w 103637"/>
                <a:gd name="connsiteY278" fmla="*/ 269889 h 388639"/>
                <a:gd name="connsiteX279" fmla="*/ 11227 w 103637"/>
                <a:gd name="connsiteY279" fmla="*/ 269457 h 388639"/>
                <a:gd name="connsiteX280" fmla="*/ 11659 w 103637"/>
                <a:gd name="connsiteY280" fmla="*/ 268593 h 388639"/>
                <a:gd name="connsiteX281" fmla="*/ 11659 w 103637"/>
                <a:gd name="connsiteY281" fmla="*/ 268162 h 388639"/>
                <a:gd name="connsiteX282" fmla="*/ 12523 w 103637"/>
                <a:gd name="connsiteY282" fmla="*/ 267298 h 388639"/>
                <a:gd name="connsiteX283" fmla="*/ 12091 w 103637"/>
                <a:gd name="connsiteY283" fmla="*/ 266866 h 388639"/>
                <a:gd name="connsiteX284" fmla="*/ 12091 w 103637"/>
                <a:gd name="connsiteY284" fmla="*/ 265571 h 388639"/>
                <a:gd name="connsiteX285" fmla="*/ 13386 w 103637"/>
                <a:gd name="connsiteY285" fmla="*/ 262116 h 388639"/>
                <a:gd name="connsiteX286" fmla="*/ 13386 w 103637"/>
                <a:gd name="connsiteY286" fmla="*/ 261684 h 388639"/>
                <a:gd name="connsiteX287" fmla="*/ 12091 w 103637"/>
                <a:gd name="connsiteY287" fmla="*/ 260821 h 388639"/>
                <a:gd name="connsiteX288" fmla="*/ 11659 w 103637"/>
                <a:gd name="connsiteY288" fmla="*/ 261252 h 388639"/>
                <a:gd name="connsiteX289" fmla="*/ 11659 w 103637"/>
                <a:gd name="connsiteY289" fmla="*/ 259957 h 388639"/>
                <a:gd name="connsiteX290" fmla="*/ 13386 w 103637"/>
                <a:gd name="connsiteY290" fmla="*/ 259525 h 388639"/>
                <a:gd name="connsiteX291" fmla="*/ 14682 w 103637"/>
                <a:gd name="connsiteY291" fmla="*/ 259093 h 388639"/>
                <a:gd name="connsiteX292" fmla="*/ 14250 w 103637"/>
                <a:gd name="connsiteY292" fmla="*/ 258230 h 388639"/>
                <a:gd name="connsiteX293" fmla="*/ 15546 w 103637"/>
                <a:gd name="connsiteY293" fmla="*/ 254775 h 388639"/>
                <a:gd name="connsiteX294" fmla="*/ 15114 w 103637"/>
                <a:gd name="connsiteY294" fmla="*/ 253480 h 388639"/>
                <a:gd name="connsiteX295" fmla="*/ 14250 w 103637"/>
                <a:gd name="connsiteY295" fmla="*/ 253048 h 388639"/>
                <a:gd name="connsiteX296" fmla="*/ 12091 w 103637"/>
                <a:gd name="connsiteY296" fmla="*/ 255639 h 388639"/>
                <a:gd name="connsiteX297" fmla="*/ 11659 w 103637"/>
                <a:gd name="connsiteY297" fmla="*/ 256071 h 388639"/>
                <a:gd name="connsiteX298" fmla="*/ 11659 w 103637"/>
                <a:gd name="connsiteY298" fmla="*/ 255639 h 388639"/>
                <a:gd name="connsiteX299" fmla="*/ 11227 w 103637"/>
                <a:gd name="connsiteY299" fmla="*/ 253048 h 388639"/>
                <a:gd name="connsiteX300" fmla="*/ 10796 w 103637"/>
                <a:gd name="connsiteY300" fmla="*/ 250889 h 388639"/>
                <a:gd name="connsiteX301" fmla="*/ 11659 w 103637"/>
                <a:gd name="connsiteY301" fmla="*/ 247866 h 388639"/>
                <a:gd name="connsiteX302" fmla="*/ 13818 w 103637"/>
                <a:gd name="connsiteY302" fmla="*/ 247002 h 388639"/>
                <a:gd name="connsiteX303" fmla="*/ 14682 w 103637"/>
                <a:gd name="connsiteY303" fmla="*/ 247002 h 388639"/>
                <a:gd name="connsiteX304" fmla="*/ 14682 w 103637"/>
                <a:gd name="connsiteY304" fmla="*/ 248298 h 388639"/>
                <a:gd name="connsiteX305" fmla="*/ 13818 w 103637"/>
                <a:gd name="connsiteY305" fmla="*/ 249593 h 388639"/>
                <a:gd name="connsiteX306" fmla="*/ 12091 w 103637"/>
                <a:gd name="connsiteY306" fmla="*/ 250457 h 388639"/>
                <a:gd name="connsiteX307" fmla="*/ 14250 w 103637"/>
                <a:gd name="connsiteY307" fmla="*/ 251321 h 388639"/>
                <a:gd name="connsiteX308" fmla="*/ 14682 w 103637"/>
                <a:gd name="connsiteY308" fmla="*/ 252184 h 388639"/>
                <a:gd name="connsiteX309" fmla="*/ 15546 w 103637"/>
                <a:gd name="connsiteY309" fmla="*/ 251321 h 388639"/>
                <a:gd name="connsiteX310" fmla="*/ 15977 w 103637"/>
                <a:gd name="connsiteY310" fmla="*/ 250889 h 388639"/>
                <a:gd name="connsiteX311" fmla="*/ 17273 w 103637"/>
                <a:gd name="connsiteY311" fmla="*/ 246139 h 388639"/>
                <a:gd name="connsiteX312" fmla="*/ 17273 w 103637"/>
                <a:gd name="connsiteY312" fmla="*/ 245275 h 388639"/>
                <a:gd name="connsiteX313" fmla="*/ 15977 w 103637"/>
                <a:gd name="connsiteY313" fmla="*/ 243979 h 388639"/>
                <a:gd name="connsiteX314" fmla="*/ 14250 w 103637"/>
                <a:gd name="connsiteY314" fmla="*/ 243979 h 388639"/>
                <a:gd name="connsiteX315" fmla="*/ 13386 w 103637"/>
                <a:gd name="connsiteY315" fmla="*/ 243548 h 388639"/>
                <a:gd name="connsiteX316" fmla="*/ 13386 w 103637"/>
                <a:gd name="connsiteY316" fmla="*/ 242684 h 388639"/>
                <a:gd name="connsiteX317" fmla="*/ 14250 w 103637"/>
                <a:gd name="connsiteY317" fmla="*/ 242252 h 388639"/>
                <a:gd name="connsiteX318" fmla="*/ 14682 w 103637"/>
                <a:gd name="connsiteY318" fmla="*/ 241389 h 388639"/>
                <a:gd name="connsiteX319" fmla="*/ 13818 w 103637"/>
                <a:gd name="connsiteY319" fmla="*/ 238798 h 388639"/>
                <a:gd name="connsiteX320" fmla="*/ 13386 w 103637"/>
                <a:gd name="connsiteY320" fmla="*/ 238366 h 388639"/>
                <a:gd name="connsiteX321" fmla="*/ 14250 w 103637"/>
                <a:gd name="connsiteY321" fmla="*/ 237934 h 388639"/>
                <a:gd name="connsiteX322" fmla="*/ 15114 w 103637"/>
                <a:gd name="connsiteY322" fmla="*/ 237934 h 388639"/>
                <a:gd name="connsiteX323" fmla="*/ 15546 w 103637"/>
                <a:gd name="connsiteY323" fmla="*/ 236639 h 388639"/>
                <a:gd name="connsiteX324" fmla="*/ 14250 w 103637"/>
                <a:gd name="connsiteY324" fmla="*/ 236207 h 388639"/>
                <a:gd name="connsiteX325" fmla="*/ 13818 w 103637"/>
                <a:gd name="connsiteY325" fmla="*/ 235775 h 388639"/>
                <a:gd name="connsiteX326" fmla="*/ 15114 w 103637"/>
                <a:gd name="connsiteY326" fmla="*/ 230161 h 388639"/>
                <a:gd name="connsiteX327" fmla="*/ 15114 w 103637"/>
                <a:gd name="connsiteY327" fmla="*/ 227570 h 388639"/>
                <a:gd name="connsiteX328" fmla="*/ 15977 w 103637"/>
                <a:gd name="connsiteY328" fmla="*/ 224547 h 388639"/>
                <a:gd name="connsiteX329" fmla="*/ 16409 w 103637"/>
                <a:gd name="connsiteY329" fmla="*/ 224116 h 388639"/>
                <a:gd name="connsiteX330" fmla="*/ 15977 w 103637"/>
                <a:gd name="connsiteY330" fmla="*/ 223684 h 388639"/>
                <a:gd name="connsiteX331" fmla="*/ 15977 w 103637"/>
                <a:gd name="connsiteY331" fmla="*/ 222820 h 388639"/>
                <a:gd name="connsiteX332" fmla="*/ 16841 w 103637"/>
                <a:gd name="connsiteY332" fmla="*/ 220229 h 388639"/>
                <a:gd name="connsiteX333" fmla="*/ 17705 w 103637"/>
                <a:gd name="connsiteY333" fmla="*/ 218934 h 388639"/>
                <a:gd name="connsiteX334" fmla="*/ 19864 w 103637"/>
                <a:gd name="connsiteY334" fmla="*/ 214616 h 388639"/>
                <a:gd name="connsiteX335" fmla="*/ 19864 w 103637"/>
                <a:gd name="connsiteY335" fmla="*/ 213752 h 388639"/>
                <a:gd name="connsiteX336" fmla="*/ 19432 w 103637"/>
                <a:gd name="connsiteY336" fmla="*/ 212025 h 388639"/>
                <a:gd name="connsiteX337" fmla="*/ 19000 w 103637"/>
                <a:gd name="connsiteY337" fmla="*/ 211161 h 388639"/>
                <a:gd name="connsiteX338" fmla="*/ 19864 w 103637"/>
                <a:gd name="connsiteY338" fmla="*/ 210297 h 388639"/>
                <a:gd name="connsiteX339" fmla="*/ 20727 w 103637"/>
                <a:gd name="connsiteY339" fmla="*/ 209866 h 388639"/>
                <a:gd name="connsiteX340" fmla="*/ 20727 w 103637"/>
                <a:gd name="connsiteY340" fmla="*/ 212888 h 388639"/>
                <a:gd name="connsiteX341" fmla="*/ 21159 w 103637"/>
                <a:gd name="connsiteY341" fmla="*/ 215479 h 388639"/>
                <a:gd name="connsiteX342" fmla="*/ 20727 w 103637"/>
                <a:gd name="connsiteY342" fmla="*/ 217638 h 388639"/>
                <a:gd name="connsiteX343" fmla="*/ 19432 w 103637"/>
                <a:gd name="connsiteY343" fmla="*/ 223252 h 388639"/>
                <a:gd name="connsiteX344" fmla="*/ 19000 w 103637"/>
                <a:gd name="connsiteY344" fmla="*/ 224116 h 388639"/>
                <a:gd name="connsiteX345" fmla="*/ 19000 w 103637"/>
                <a:gd name="connsiteY345" fmla="*/ 225411 h 388639"/>
                <a:gd name="connsiteX346" fmla="*/ 19432 w 103637"/>
                <a:gd name="connsiteY346" fmla="*/ 225411 h 388639"/>
                <a:gd name="connsiteX347" fmla="*/ 19432 w 103637"/>
                <a:gd name="connsiteY347" fmla="*/ 226275 h 388639"/>
                <a:gd name="connsiteX348" fmla="*/ 19864 w 103637"/>
                <a:gd name="connsiteY348" fmla="*/ 225411 h 388639"/>
                <a:gd name="connsiteX349" fmla="*/ 20727 w 103637"/>
                <a:gd name="connsiteY349" fmla="*/ 224547 h 388639"/>
                <a:gd name="connsiteX350" fmla="*/ 20727 w 103637"/>
                <a:gd name="connsiteY350" fmla="*/ 221957 h 388639"/>
                <a:gd name="connsiteX351" fmla="*/ 22455 w 103637"/>
                <a:gd name="connsiteY351" fmla="*/ 217207 h 388639"/>
                <a:gd name="connsiteX352" fmla="*/ 23318 w 103637"/>
                <a:gd name="connsiteY352" fmla="*/ 213752 h 388639"/>
                <a:gd name="connsiteX353" fmla="*/ 23318 w 103637"/>
                <a:gd name="connsiteY353" fmla="*/ 213320 h 388639"/>
                <a:gd name="connsiteX354" fmla="*/ 24182 w 103637"/>
                <a:gd name="connsiteY354" fmla="*/ 210729 h 388639"/>
                <a:gd name="connsiteX355" fmla="*/ 24614 w 103637"/>
                <a:gd name="connsiteY355" fmla="*/ 209866 h 388639"/>
                <a:gd name="connsiteX356" fmla="*/ 24182 w 103637"/>
                <a:gd name="connsiteY356" fmla="*/ 208570 h 388639"/>
                <a:gd name="connsiteX357" fmla="*/ 24182 w 103637"/>
                <a:gd name="connsiteY357" fmla="*/ 206843 h 388639"/>
                <a:gd name="connsiteX358" fmla="*/ 24614 w 103637"/>
                <a:gd name="connsiteY358" fmla="*/ 205115 h 388639"/>
                <a:gd name="connsiteX359" fmla="*/ 23750 w 103637"/>
                <a:gd name="connsiteY359" fmla="*/ 204252 h 388639"/>
                <a:gd name="connsiteX360" fmla="*/ 23318 w 103637"/>
                <a:gd name="connsiteY360" fmla="*/ 204684 h 388639"/>
                <a:gd name="connsiteX361" fmla="*/ 22455 w 103637"/>
                <a:gd name="connsiteY361" fmla="*/ 205115 h 388639"/>
                <a:gd name="connsiteX362" fmla="*/ 22455 w 103637"/>
                <a:gd name="connsiteY362" fmla="*/ 204252 h 388639"/>
                <a:gd name="connsiteX363" fmla="*/ 21159 w 103637"/>
                <a:gd name="connsiteY363" fmla="*/ 203820 h 388639"/>
                <a:gd name="connsiteX364" fmla="*/ 20296 w 103637"/>
                <a:gd name="connsiteY364" fmla="*/ 202956 h 388639"/>
                <a:gd name="connsiteX365" fmla="*/ 21159 w 103637"/>
                <a:gd name="connsiteY365" fmla="*/ 201661 h 388639"/>
                <a:gd name="connsiteX366" fmla="*/ 21591 w 103637"/>
                <a:gd name="connsiteY366" fmla="*/ 199934 h 388639"/>
                <a:gd name="connsiteX367" fmla="*/ 21159 w 103637"/>
                <a:gd name="connsiteY367" fmla="*/ 198638 h 388639"/>
                <a:gd name="connsiteX368" fmla="*/ 22455 w 103637"/>
                <a:gd name="connsiteY368" fmla="*/ 196047 h 388639"/>
                <a:gd name="connsiteX369" fmla="*/ 22455 w 103637"/>
                <a:gd name="connsiteY369" fmla="*/ 195615 h 388639"/>
                <a:gd name="connsiteX370" fmla="*/ 22023 w 103637"/>
                <a:gd name="connsiteY370" fmla="*/ 194320 h 388639"/>
                <a:gd name="connsiteX371" fmla="*/ 22887 w 103637"/>
                <a:gd name="connsiteY371" fmla="*/ 191297 h 388639"/>
                <a:gd name="connsiteX372" fmla="*/ 23318 w 103637"/>
                <a:gd name="connsiteY372" fmla="*/ 193025 h 388639"/>
                <a:gd name="connsiteX373" fmla="*/ 24182 w 103637"/>
                <a:gd name="connsiteY373" fmla="*/ 193025 h 388639"/>
                <a:gd name="connsiteX374" fmla="*/ 24614 w 103637"/>
                <a:gd name="connsiteY374" fmla="*/ 192593 h 388639"/>
                <a:gd name="connsiteX375" fmla="*/ 24182 w 103637"/>
                <a:gd name="connsiteY375" fmla="*/ 192161 h 388639"/>
                <a:gd name="connsiteX376" fmla="*/ 25046 w 103637"/>
                <a:gd name="connsiteY376" fmla="*/ 190865 h 388639"/>
                <a:gd name="connsiteX377" fmla="*/ 25046 w 103637"/>
                <a:gd name="connsiteY377" fmla="*/ 190434 h 388639"/>
                <a:gd name="connsiteX378" fmla="*/ 24614 w 103637"/>
                <a:gd name="connsiteY378" fmla="*/ 190002 h 388639"/>
                <a:gd name="connsiteX379" fmla="*/ 23318 w 103637"/>
                <a:gd name="connsiteY379" fmla="*/ 191297 h 388639"/>
                <a:gd name="connsiteX380" fmla="*/ 22887 w 103637"/>
                <a:gd name="connsiteY380" fmla="*/ 191297 h 388639"/>
                <a:gd name="connsiteX381" fmla="*/ 24182 w 103637"/>
                <a:gd name="connsiteY381" fmla="*/ 186115 h 388639"/>
                <a:gd name="connsiteX382" fmla="*/ 24614 w 103637"/>
                <a:gd name="connsiteY382" fmla="*/ 183956 h 388639"/>
                <a:gd name="connsiteX383" fmla="*/ 24614 w 103637"/>
                <a:gd name="connsiteY383" fmla="*/ 183093 h 388639"/>
                <a:gd name="connsiteX384" fmla="*/ 25909 w 103637"/>
                <a:gd name="connsiteY384" fmla="*/ 180070 h 388639"/>
                <a:gd name="connsiteX385" fmla="*/ 26773 w 103637"/>
                <a:gd name="connsiteY385" fmla="*/ 177911 h 388639"/>
                <a:gd name="connsiteX386" fmla="*/ 27637 w 103637"/>
                <a:gd name="connsiteY386" fmla="*/ 175320 h 388639"/>
                <a:gd name="connsiteX387" fmla="*/ 28500 w 103637"/>
                <a:gd name="connsiteY387" fmla="*/ 174888 h 388639"/>
                <a:gd name="connsiteX388" fmla="*/ 28932 w 103637"/>
                <a:gd name="connsiteY388" fmla="*/ 174456 h 388639"/>
                <a:gd name="connsiteX389" fmla="*/ 29364 w 103637"/>
                <a:gd name="connsiteY389" fmla="*/ 175320 h 388639"/>
                <a:gd name="connsiteX390" fmla="*/ 30228 w 103637"/>
                <a:gd name="connsiteY390" fmla="*/ 175752 h 388639"/>
                <a:gd name="connsiteX391" fmla="*/ 30659 w 103637"/>
                <a:gd name="connsiteY391" fmla="*/ 175752 h 388639"/>
                <a:gd name="connsiteX392" fmla="*/ 31955 w 103637"/>
                <a:gd name="connsiteY392" fmla="*/ 174888 h 388639"/>
                <a:gd name="connsiteX393" fmla="*/ 32387 w 103637"/>
                <a:gd name="connsiteY393" fmla="*/ 174024 h 388639"/>
                <a:gd name="connsiteX394" fmla="*/ 31955 w 103637"/>
                <a:gd name="connsiteY394" fmla="*/ 171865 h 388639"/>
                <a:gd name="connsiteX395" fmla="*/ 29796 w 103637"/>
                <a:gd name="connsiteY395" fmla="*/ 170570 h 388639"/>
                <a:gd name="connsiteX396" fmla="*/ 28932 w 103637"/>
                <a:gd name="connsiteY396" fmla="*/ 169706 h 388639"/>
                <a:gd name="connsiteX397" fmla="*/ 29796 w 103637"/>
                <a:gd name="connsiteY397" fmla="*/ 168842 h 388639"/>
                <a:gd name="connsiteX398" fmla="*/ 30659 w 103637"/>
                <a:gd name="connsiteY398" fmla="*/ 169706 h 388639"/>
                <a:gd name="connsiteX399" fmla="*/ 31091 w 103637"/>
                <a:gd name="connsiteY399" fmla="*/ 169274 h 388639"/>
                <a:gd name="connsiteX400" fmla="*/ 31523 w 103637"/>
                <a:gd name="connsiteY400" fmla="*/ 168842 h 388639"/>
                <a:gd name="connsiteX401" fmla="*/ 30659 w 103637"/>
                <a:gd name="connsiteY401" fmla="*/ 166683 h 388639"/>
                <a:gd name="connsiteX402" fmla="*/ 30228 w 103637"/>
                <a:gd name="connsiteY402" fmla="*/ 164092 h 388639"/>
                <a:gd name="connsiteX403" fmla="*/ 30228 w 103637"/>
                <a:gd name="connsiteY403" fmla="*/ 162797 h 388639"/>
                <a:gd name="connsiteX404" fmla="*/ 30659 w 103637"/>
                <a:gd name="connsiteY404" fmla="*/ 162797 h 388639"/>
                <a:gd name="connsiteX405" fmla="*/ 31955 w 103637"/>
                <a:gd name="connsiteY405" fmla="*/ 164524 h 388639"/>
                <a:gd name="connsiteX406" fmla="*/ 32387 w 103637"/>
                <a:gd name="connsiteY406" fmla="*/ 165820 h 388639"/>
                <a:gd name="connsiteX407" fmla="*/ 32818 w 103637"/>
                <a:gd name="connsiteY407" fmla="*/ 166252 h 388639"/>
                <a:gd name="connsiteX408" fmla="*/ 33250 w 103637"/>
                <a:gd name="connsiteY408" fmla="*/ 165820 h 388639"/>
                <a:gd name="connsiteX409" fmla="*/ 33250 w 103637"/>
                <a:gd name="connsiteY409" fmla="*/ 165388 h 388639"/>
                <a:gd name="connsiteX410" fmla="*/ 33682 w 103637"/>
                <a:gd name="connsiteY410" fmla="*/ 164092 h 388639"/>
                <a:gd name="connsiteX411" fmla="*/ 34978 w 103637"/>
                <a:gd name="connsiteY411" fmla="*/ 163661 h 388639"/>
                <a:gd name="connsiteX412" fmla="*/ 34978 w 103637"/>
                <a:gd name="connsiteY412" fmla="*/ 163229 h 388639"/>
                <a:gd name="connsiteX413" fmla="*/ 34114 w 103637"/>
                <a:gd name="connsiteY413" fmla="*/ 161933 h 388639"/>
                <a:gd name="connsiteX414" fmla="*/ 33682 w 103637"/>
                <a:gd name="connsiteY414" fmla="*/ 161501 h 388639"/>
                <a:gd name="connsiteX415" fmla="*/ 32818 w 103637"/>
                <a:gd name="connsiteY415" fmla="*/ 161501 h 388639"/>
                <a:gd name="connsiteX416" fmla="*/ 30659 w 103637"/>
                <a:gd name="connsiteY416" fmla="*/ 160638 h 388639"/>
                <a:gd name="connsiteX417" fmla="*/ 30659 w 103637"/>
                <a:gd name="connsiteY417" fmla="*/ 159774 h 388639"/>
                <a:gd name="connsiteX418" fmla="*/ 31955 w 103637"/>
                <a:gd name="connsiteY418" fmla="*/ 158911 h 388639"/>
                <a:gd name="connsiteX419" fmla="*/ 32387 w 103637"/>
                <a:gd name="connsiteY419" fmla="*/ 159774 h 388639"/>
                <a:gd name="connsiteX420" fmla="*/ 32387 w 103637"/>
                <a:gd name="connsiteY420" fmla="*/ 160638 h 388639"/>
                <a:gd name="connsiteX421" fmla="*/ 32818 w 103637"/>
                <a:gd name="connsiteY421" fmla="*/ 160638 h 388639"/>
                <a:gd name="connsiteX422" fmla="*/ 34114 w 103637"/>
                <a:gd name="connsiteY422" fmla="*/ 160206 h 388639"/>
                <a:gd name="connsiteX423" fmla="*/ 33250 w 103637"/>
                <a:gd name="connsiteY423" fmla="*/ 158479 h 388639"/>
                <a:gd name="connsiteX424" fmla="*/ 32387 w 103637"/>
                <a:gd name="connsiteY424" fmla="*/ 157615 h 388639"/>
                <a:gd name="connsiteX425" fmla="*/ 32387 w 103637"/>
                <a:gd name="connsiteY425" fmla="*/ 157183 h 388639"/>
                <a:gd name="connsiteX426" fmla="*/ 31955 w 103637"/>
                <a:gd name="connsiteY426" fmla="*/ 156752 h 388639"/>
                <a:gd name="connsiteX427" fmla="*/ 30659 w 103637"/>
                <a:gd name="connsiteY427" fmla="*/ 155024 h 388639"/>
                <a:gd name="connsiteX428" fmla="*/ 30659 w 103637"/>
                <a:gd name="connsiteY428" fmla="*/ 152433 h 388639"/>
                <a:gd name="connsiteX429" fmla="*/ 31091 w 103637"/>
                <a:gd name="connsiteY429" fmla="*/ 151570 h 388639"/>
                <a:gd name="connsiteX430" fmla="*/ 32818 w 103637"/>
                <a:gd name="connsiteY430" fmla="*/ 151570 h 388639"/>
                <a:gd name="connsiteX431" fmla="*/ 33250 w 103637"/>
                <a:gd name="connsiteY431" fmla="*/ 151138 h 388639"/>
                <a:gd name="connsiteX432" fmla="*/ 33250 w 103637"/>
                <a:gd name="connsiteY432" fmla="*/ 150274 h 388639"/>
                <a:gd name="connsiteX433" fmla="*/ 32387 w 103637"/>
                <a:gd name="connsiteY433" fmla="*/ 149410 h 388639"/>
                <a:gd name="connsiteX434" fmla="*/ 32387 w 103637"/>
                <a:gd name="connsiteY434" fmla="*/ 148979 h 388639"/>
                <a:gd name="connsiteX435" fmla="*/ 31523 w 103637"/>
                <a:gd name="connsiteY435" fmla="*/ 147251 h 388639"/>
                <a:gd name="connsiteX436" fmla="*/ 31955 w 103637"/>
                <a:gd name="connsiteY436" fmla="*/ 146820 h 388639"/>
                <a:gd name="connsiteX437" fmla="*/ 33682 w 103637"/>
                <a:gd name="connsiteY437" fmla="*/ 141206 h 388639"/>
                <a:gd name="connsiteX438" fmla="*/ 35409 w 103637"/>
                <a:gd name="connsiteY438" fmla="*/ 138615 h 388639"/>
                <a:gd name="connsiteX439" fmla="*/ 35841 w 103637"/>
                <a:gd name="connsiteY439" fmla="*/ 137751 h 388639"/>
                <a:gd name="connsiteX440" fmla="*/ 36273 w 103637"/>
                <a:gd name="connsiteY440" fmla="*/ 135160 h 388639"/>
                <a:gd name="connsiteX441" fmla="*/ 37137 w 103637"/>
                <a:gd name="connsiteY441" fmla="*/ 132569 h 388639"/>
                <a:gd name="connsiteX442" fmla="*/ 37137 w 103637"/>
                <a:gd name="connsiteY442" fmla="*/ 132138 h 388639"/>
                <a:gd name="connsiteX443" fmla="*/ 38000 w 103637"/>
                <a:gd name="connsiteY443" fmla="*/ 129547 h 388639"/>
                <a:gd name="connsiteX444" fmla="*/ 39728 w 103637"/>
                <a:gd name="connsiteY444" fmla="*/ 127819 h 388639"/>
                <a:gd name="connsiteX445" fmla="*/ 39728 w 103637"/>
                <a:gd name="connsiteY445" fmla="*/ 126092 h 388639"/>
                <a:gd name="connsiteX446" fmla="*/ 40159 w 103637"/>
                <a:gd name="connsiteY446" fmla="*/ 124365 h 388639"/>
                <a:gd name="connsiteX447" fmla="*/ 41023 w 103637"/>
                <a:gd name="connsiteY447" fmla="*/ 121774 h 388639"/>
                <a:gd name="connsiteX448" fmla="*/ 40591 w 103637"/>
                <a:gd name="connsiteY448" fmla="*/ 120478 h 388639"/>
                <a:gd name="connsiteX449" fmla="*/ 40591 w 103637"/>
                <a:gd name="connsiteY449" fmla="*/ 119615 h 388639"/>
                <a:gd name="connsiteX450" fmla="*/ 42319 w 103637"/>
                <a:gd name="connsiteY450" fmla="*/ 119183 h 388639"/>
                <a:gd name="connsiteX451" fmla="*/ 44910 w 103637"/>
                <a:gd name="connsiteY451" fmla="*/ 114433 h 388639"/>
                <a:gd name="connsiteX452" fmla="*/ 44046 w 103637"/>
                <a:gd name="connsiteY452" fmla="*/ 113569 h 388639"/>
                <a:gd name="connsiteX453" fmla="*/ 43182 w 103637"/>
                <a:gd name="connsiteY453" fmla="*/ 112706 h 388639"/>
                <a:gd name="connsiteX454" fmla="*/ 42319 w 103637"/>
                <a:gd name="connsiteY454" fmla="*/ 111842 h 388639"/>
                <a:gd name="connsiteX455" fmla="*/ 43182 w 103637"/>
                <a:gd name="connsiteY455" fmla="*/ 110978 h 388639"/>
                <a:gd name="connsiteX456" fmla="*/ 44478 w 103637"/>
                <a:gd name="connsiteY456" fmla="*/ 108819 h 388639"/>
                <a:gd name="connsiteX457" fmla="*/ 45773 w 103637"/>
                <a:gd name="connsiteY457" fmla="*/ 105365 h 388639"/>
                <a:gd name="connsiteX458" fmla="*/ 46205 w 103637"/>
                <a:gd name="connsiteY458" fmla="*/ 101910 h 388639"/>
                <a:gd name="connsiteX459" fmla="*/ 47069 w 103637"/>
                <a:gd name="connsiteY459" fmla="*/ 101046 h 388639"/>
                <a:gd name="connsiteX460" fmla="*/ 47500 w 103637"/>
                <a:gd name="connsiteY460" fmla="*/ 101478 h 388639"/>
                <a:gd name="connsiteX461" fmla="*/ 48364 w 103637"/>
                <a:gd name="connsiteY461" fmla="*/ 100183 h 388639"/>
                <a:gd name="connsiteX462" fmla="*/ 49660 w 103637"/>
                <a:gd name="connsiteY462" fmla="*/ 95001 h 388639"/>
                <a:gd name="connsiteX463" fmla="*/ 50091 w 103637"/>
                <a:gd name="connsiteY463" fmla="*/ 94137 h 388639"/>
                <a:gd name="connsiteX464" fmla="*/ 49660 w 103637"/>
                <a:gd name="connsiteY464" fmla="*/ 94137 h 388639"/>
                <a:gd name="connsiteX465" fmla="*/ 48364 w 103637"/>
                <a:gd name="connsiteY465" fmla="*/ 93705 h 388639"/>
                <a:gd name="connsiteX466" fmla="*/ 49228 w 103637"/>
                <a:gd name="connsiteY466" fmla="*/ 91978 h 388639"/>
                <a:gd name="connsiteX467" fmla="*/ 52250 w 103637"/>
                <a:gd name="connsiteY467" fmla="*/ 91114 h 388639"/>
                <a:gd name="connsiteX468" fmla="*/ 52682 w 103637"/>
                <a:gd name="connsiteY468" fmla="*/ 90683 h 388639"/>
                <a:gd name="connsiteX469" fmla="*/ 53114 w 103637"/>
                <a:gd name="connsiteY469" fmla="*/ 88524 h 388639"/>
                <a:gd name="connsiteX470" fmla="*/ 53114 w 103637"/>
                <a:gd name="connsiteY470" fmla="*/ 88092 h 388639"/>
                <a:gd name="connsiteX471" fmla="*/ 53978 w 103637"/>
                <a:gd name="connsiteY471" fmla="*/ 85933 h 388639"/>
                <a:gd name="connsiteX472" fmla="*/ 54410 w 103637"/>
                <a:gd name="connsiteY472" fmla="*/ 85501 h 388639"/>
                <a:gd name="connsiteX473" fmla="*/ 53546 w 103637"/>
                <a:gd name="connsiteY473" fmla="*/ 83773 h 388639"/>
                <a:gd name="connsiteX474" fmla="*/ 53546 w 103637"/>
                <a:gd name="connsiteY474" fmla="*/ 82046 h 388639"/>
                <a:gd name="connsiteX475" fmla="*/ 55705 w 103637"/>
                <a:gd name="connsiteY475" fmla="*/ 79024 h 388639"/>
                <a:gd name="connsiteX476" fmla="*/ 57001 w 103637"/>
                <a:gd name="connsiteY476" fmla="*/ 75137 h 388639"/>
                <a:gd name="connsiteX477" fmla="*/ 57001 w 103637"/>
                <a:gd name="connsiteY477" fmla="*/ 74705 h 388639"/>
                <a:gd name="connsiteX478" fmla="*/ 55705 w 103637"/>
                <a:gd name="connsiteY478" fmla="*/ 73842 h 388639"/>
                <a:gd name="connsiteX479" fmla="*/ 55273 w 103637"/>
                <a:gd name="connsiteY479" fmla="*/ 74273 h 388639"/>
                <a:gd name="connsiteX480" fmla="*/ 55273 w 103637"/>
                <a:gd name="connsiteY480" fmla="*/ 76001 h 388639"/>
                <a:gd name="connsiteX481" fmla="*/ 54410 w 103637"/>
                <a:gd name="connsiteY481" fmla="*/ 76433 h 388639"/>
                <a:gd name="connsiteX482" fmla="*/ 53978 w 103637"/>
                <a:gd name="connsiteY482" fmla="*/ 76433 h 388639"/>
                <a:gd name="connsiteX483" fmla="*/ 53978 w 103637"/>
                <a:gd name="connsiteY483" fmla="*/ 73842 h 388639"/>
                <a:gd name="connsiteX484" fmla="*/ 54841 w 103637"/>
                <a:gd name="connsiteY484" fmla="*/ 73410 h 388639"/>
                <a:gd name="connsiteX485" fmla="*/ 57001 w 103637"/>
                <a:gd name="connsiteY485" fmla="*/ 71251 h 388639"/>
                <a:gd name="connsiteX486" fmla="*/ 57864 w 103637"/>
                <a:gd name="connsiteY486" fmla="*/ 70819 h 388639"/>
                <a:gd name="connsiteX487" fmla="*/ 57864 w 103637"/>
                <a:gd name="connsiteY487" fmla="*/ 69523 h 388639"/>
                <a:gd name="connsiteX488" fmla="*/ 57432 w 103637"/>
                <a:gd name="connsiteY488" fmla="*/ 68660 h 388639"/>
                <a:gd name="connsiteX489" fmla="*/ 57432 w 103637"/>
                <a:gd name="connsiteY489" fmla="*/ 68228 h 388639"/>
                <a:gd name="connsiteX490" fmla="*/ 58296 w 103637"/>
                <a:gd name="connsiteY490" fmla="*/ 65205 h 388639"/>
                <a:gd name="connsiteX491" fmla="*/ 58728 w 103637"/>
                <a:gd name="connsiteY491" fmla="*/ 61751 h 388639"/>
                <a:gd name="connsiteX492" fmla="*/ 60023 w 103637"/>
                <a:gd name="connsiteY492" fmla="*/ 58728 h 388639"/>
                <a:gd name="connsiteX493" fmla="*/ 61319 w 103637"/>
                <a:gd name="connsiteY493" fmla="*/ 57001 h 388639"/>
                <a:gd name="connsiteX494" fmla="*/ 61751 w 103637"/>
                <a:gd name="connsiteY494" fmla="*/ 55705 h 388639"/>
                <a:gd name="connsiteX495" fmla="*/ 63478 w 103637"/>
                <a:gd name="connsiteY495" fmla="*/ 54410 h 388639"/>
                <a:gd name="connsiteX496" fmla="*/ 63910 w 103637"/>
                <a:gd name="connsiteY496" fmla="*/ 53978 h 388639"/>
                <a:gd name="connsiteX497" fmla="*/ 63046 w 103637"/>
                <a:gd name="connsiteY497" fmla="*/ 53114 h 388639"/>
                <a:gd name="connsiteX498" fmla="*/ 63478 w 103637"/>
                <a:gd name="connsiteY498" fmla="*/ 52251 h 388639"/>
                <a:gd name="connsiteX499" fmla="*/ 63910 w 103637"/>
                <a:gd name="connsiteY499" fmla="*/ 49228 h 388639"/>
                <a:gd name="connsiteX500" fmla="*/ 63910 w 103637"/>
                <a:gd name="connsiteY500" fmla="*/ 47500 h 388639"/>
                <a:gd name="connsiteX501" fmla="*/ 64773 w 103637"/>
                <a:gd name="connsiteY501" fmla="*/ 44909 h 388639"/>
                <a:gd name="connsiteX502" fmla="*/ 64773 w 103637"/>
                <a:gd name="connsiteY502" fmla="*/ 42750 h 388639"/>
                <a:gd name="connsiteX503" fmla="*/ 73410 w 103637"/>
                <a:gd name="connsiteY503" fmla="*/ 12955 h 388639"/>
                <a:gd name="connsiteX504" fmla="*/ 72978 w 103637"/>
                <a:gd name="connsiteY504" fmla="*/ 10364 h 388639"/>
                <a:gd name="connsiteX505" fmla="*/ 73842 w 103637"/>
                <a:gd name="connsiteY505" fmla="*/ 8636 h 388639"/>
                <a:gd name="connsiteX506" fmla="*/ 75137 w 103637"/>
                <a:gd name="connsiteY506" fmla="*/ 6045 h 388639"/>
                <a:gd name="connsiteX507" fmla="*/ 74705 w 103637"/>
                <a:gd name="connsiteY507" fmla="*/ 5182 h 388639"/>
                <a:gd name="connsiteX508" fmla="*/ 75569 w 103637"/>
                <a:gd name="connsiteY508" fmla="*/ 3455 h 388639"/>
                <a:gd name="connsiteX509" fmla="*/ 76433 w 103637"/>
                <a:gd name="connsiteY509" fmla="*/ 2159 h 388639"/>
                <a:gd name="connsiteX510" fmla="*/ 77296 w 103637"/>
                <a:gd name="connsiteY510" fmla="*/ 432 h 388639"/>
                <a:gd name="connsiteX511" fmla="*/ 77728 w 103637"/>
                <a:gd name="connsiteY511" fmla="*/ 0 h 388639"/>
                <a:gd name="connsiteX512" fmla="*/ 78160 w 103637"/>
                <a:gd name="connsiteY512" fmla="*/ 1296 h 388639"/>
                <a:gd name="connsiteX513" fmla="*/ 78592 w 103637"/>
                <a:gd name="connsiteY513" fmla="*/ 1727 h 388639"/>
                <a:gd name="connsiteX514" fmla="*/ 79455 w 103637"/>
                <a:gd name="connsiteY514" fmla="*/ 2591 h 388639"/>
                <a:gd name="connsiteX515" fmla="*/ 79887 w 103637"/>
                <a:gd name="connsiteY515" fmla="*/ 2159 h 388639"/>
                <a:gd name="connsiteX516" fmla="*/ 79887 w 103637"/>
                <a:gd name="connsiteY516" fmla="*/ 1296 h 388639"/>
                <a:gd name="connsiteX517" fmla="*/ 81183 w 103637"/>
                <a:gd name="connsiteY517" fmla="*/ 432 h 388639"/>
                <a:gd name="connsiteX518" fmla="*/ 83342 w 103637"/>
                <a:gd name="connsiteY518" fmla="*/ 1296 h 388639"/>
                <a:gd name="connsiteX519" fmla="*/ 84205 w 103637"/>
                <a:gd name="connsiteY519" fmla="*/ 1727 h 388639"/>
                <a:gd name="connsiteX520" fmla="*/ 85501 w 103637"/>
                <a:gd name="connsiteY520" fmla="*/ 432 h 388639"/>
                <a:gd name="connsiteX521" fmla="*/ 86364 w 103637"/>
                <a:gd name="connsiteY521" fmla="*/ 0 h 388639"/>
                <a:gd name="connsiteX522" fmla="*/ 89387 w 103637"/>
                <a:gd name="connsiteY522" fmla="*/ 1296 h 388639"/>
                <a:gd name="connsiteX523" fmla="*/ 90251 w 103637"/>
                <a:gd name="connsiteY523" fmla="*/ 1727 h 388639"/>
                <a:gd name="connsiteX524" fmla="*/ 90683 w 103637"/>
                <a:gd name="connsiteY524" fmla="*/ 1296 h 388639"/>
                <a:gd name="connsiteX525" fmla="*/ 92410 w 103637"/>
                <a:gd name="connsiteY525" fmla="*/ 0 h 388639"/>
                <a:gd name="connsiteX526" fmla="*/ 92842 w 103637"/>
                <a:gd name="connsiteY526" fmla="*/ 432 h 388639"/>
                <a:gd name="connsiteX527" fmla="*/ 94569 w 103637"/>
                <a:gd name="connsiteY527" fmla="*/ 1727 h 388639"/>
                <a:gd name="connsiteX528" fmla="*/ 97160 w 103637"/>
                <a:gd name="connsiteY528" fmla="*/ 2159 h 388639"/>
                <a:gd name="connsiteX529" fmla="*/ 97592 w 103637"/>
                <a:gd name="connsiteY529" fmla="*/ 1727 h 388639"/>
                <a:gd name="connsiteX530" fmla="*/ 99319 w 103637"/>
                <a:gd name="connsiteY530" fmla="*/ 2159 h 388639"/>
                <a:gd name="connsiteX531" fmla="*/ 99751 w 103637"/>
                <a:gd name="connsiteY531" fmla="*/ 2159 h 388639"/>
                <a:gd name="connsiteX532" fmla="*/ 100183 w 103637"/>
                <a:gd name="connsiteY532" fmla="*/ 2591 h 388639"/>
                <a:gd name="connsiteX533" fmla="*/ 102342 w 103637"/>
                <a:gd name="connsiteY533" fmla="*/ 6477 h 388639"/>
                <a:gd name="connsiteX534" fmla="*/ 103637 w 103637"/>
                <a:gd name="connsiteY534" fmla="*/ 7773 h 388639"/>
                <a:gd name="connsiteX535" fmla="*/ 104501 w 103637"/>
                <a:gd name="connsiteY535" fmla="*/ 8636 h 388639"/>
                <a:gd name="connsiteX536" fmla="*/ 104069 w 103637"/>
                <a:gd name="connsiteY536" fmla="*/ 9932 h 388639"/>
                <a:gd name="connsiteX537" fmla="*/ 102774 w 103637"/>
                <a:gd name="connsiteY537" fmla="*/ 11659 h 388639"/>
                <a:gd name="connsiteX538" fmla="*/ 100183 w 103637"/>
                <a:gd name="connsiteY538" fmla="*/ 15977 h 388639"/>
                <a:gd name="connsiteX539" fmla="*/ 97160 w 103637"/>
                <a:gd name="connsiteY539" fmla="*/ 33682 h 388639"/>
                <a:gd name="connsiteX540" fmla="*/ 97160 w 103637"/>
                <a:gd name="connsiteY540" fmla="*/ 34114 h 388639"/>
                <a:gd name="connsiteX541" fmla="*/ 97592 w 103637"/>
                <a:gd name="connsiteY541" fmla="*/ 35841 h 388639"/>
                <a:gd name="connsiteX542" fmla="*/ 96296 w 103637"/>
                <a:gd name="connsiteY542" fmla="*/ 38864 h 388639"/>
                <a:gd name="connsiteX543" fmla="*/ 95001 w 103637"/>
                <a:gd name="connsiteY543" fmla="*/ 43614 h 388639"/>
                <a:gd name="connsiteX544" fmla="*/ 95001 w 103637"/>
                <a:gd name="connsiteY544" fmla="*/ 45341 h 388639"/>
                <a:gd name="connsiteX545" fmla="*/ 93274 w 103637"/>
                <a:gd name="connsiteY545" fmla="*/ 47069 h 388639"/>
                <a:gd name="connsiteX546" fmla="*/ 91978 w 103637"/>
                <a:gd name="connsiteY546" fmla="*/ 46205 h 388639"/>
                <a:gd name="connsiteX547" fmla="*/ 90683 w 103637"/>
                <a:gd name="connsiteY547" fmla="*/ 46205 h 388639"/>
                <a:gd name="connsiteX548" fmla="*/ 89819 w 103637"/>
                <a:gd name="connsiteY548" fmla="*/ 47932 h 388639"/>
                <a:gd name="connsiteX549" fmla="*/ 90251 w 103637"/>
                <a:gd name="connsiteY549" fmla="*/ 49228 h 388639"/>
                <a:gd name="connsiteX550" fmla="*/ 91114 w 103637"/>
                <a:gd name="connsiteY550" fmla="*/ 50523 h 388639"/>
                <a:gd name="connsiteX551" fmla="*/ 92410 w 103637"/>
                <a:gd name="connsiteY551" fmla="*/ 53114 h 388639"/>
                <a:gd name="connsiteX552" fmla="*/ 91546 w 103637"/>
                <a:gd name="connsiteY552" fmla="*/ 56569 h 388639"/>
                <a:gd name="connsiteX553" fmla="*/ 89387 w 103637"/>
                <a:gd name="connsiteY553" fmla="*/ 57864 h 388639"/>
                <a:gd name="connsiteX554" fmla="*/ 88524 w 103637"/>
                <a:gd name="connsiteY554" fmla="*/ 58296 h 388639"/>
                <a:gd name="connsiteX555" fmla="*/ 89387 w 103637"/>
                <a:gd name="connsiteY555" fmla="*/ 59592 h 388639"/>
                <a:gd name="connsiteX556" fmla="*/ 89819 w 103637"/>
                <a:gd name="connsiteY556" fmla="*/ 60887 h 388639"/>
                <a:gd name="connsiteX557" fmla="*/ 88955 w 103637"/>
                <a:gd name="connsiteY557" fmla="*/ 62182 h 388639"/>
                <a:gd name="connsiteX558" fmla="*/ 87660 w 103637"/>
                <a:gd name="connsiteY558" fmla="*/ 64341 h 388639"/>
                <a:gd name="connsiteX559" fmla="*/ 86364 w 103637"/>
                <a:gd name="connsiteY559" fmla="*/ 65637 h 388639"/>
                <a:gd name="connsiteX560" fmla="*/ 85933 w 103637"/>
                <a:gd name="connsiteY560" fmla="*/ 66501 h 388639"/>
                <a:gd name="connsiteX561" fmla="*/ 86796 w 103637"/>
                <a:gd name="connsiteY561" fmla="*/ 67796 h 388639"/>
                <a:gd name="connsiteX562" fmla="*/ 87660 w 103637"/>
                <a:gd name="connsiteY562" fmla="*/ 68228 h 388639"/>
                <a:gd name="connsiteX563" fmla="*/ 88524 w 103637"/>
                <a:gd name="connsiteY563" fmla="*/ 69092 h 388639"/>
                <a:gd name="connsiteX564" fmla="*/ 88524 w 103637"/>
                <a:gd name="connsiteY564" fmla="*/ 69523 h 388639"/>
                <a:gd name="connsiteX565" fmla="*/ 87660 w 103637"/>
                <a:gd name="connsiteY565" fmla="*/ 70387 h 388639"/>
                <a:gd name="connsiteX566" fmla="*/ 85933 w 103637"/>
                <a:gd name="connsiteY566" fmla="*/ 72114 h 388639"/>
                <a:gd name="connsiteX567" fmla="*/ 84637 w 103637"/>
                <a:gd name="connsiteY567" fmla="*/ 71682 h 388639"/>
                <a:gd name="connsiteX568" fmla="*/ 83342 w 103637"/>
                <a:gd name="connsiteY568" fmla="*/ 71682 h 388639"/>
                <a:gd name="connsiteX569" fmla="*/ 82910 w 103637"/>
                <a:gd name="connsiteY569" fmla="*/ 72114 h 388639"/>
                <a:gd name="connsiteX570" fmla="*/ 82910 w 103637"/>
                <a:gd name="connsiteY570" fmla="*/ 73410 h 388639"/>
                <a:gd name="connsiteX571" fmla="*/ 84637 w 103637"/>
                <a:gd name="connsiteY571" fmla="*/ 73410 h 388639"/>
                <a:gd name="connsiteX572" fmla="*/ 86364 w 103637"/>
                <a:gd name="connsiteY572" fmla="*/ 74273 h 388639"/>
                <a:gd name="connsiteX573" fmla="*/ 85501 w 103637"/>
                <a:gd name="connsiteY573" fmla="*/ 77296 h 388639"/>
                <a:gd name="connsiteX574" fmla="*/ 84205 w 103637"/>
                <a:gd name="connsiteY574" fmla="*/ 77728 h 388639"/>
                <a:gd name="connsiteX575" fmla="*/ 82478 w 103637"/>
                <a:gd name="connsiteY575" fmla="*/ 76433 h 388639"/>
                <a:gd name="connsiteX576" fmla="*/ 81614 w 103637"/>
                <a:gd name="connsiteY576" fmla="*/ 76433 h 388639"/>
                <a:gd name="connsiteX577" fmla="*/ 81614 w 103637"/>
                <a:gd name="connsiteY577" fmla="*/ 77296 h 388639"/>
                <a:gd name="connsiteX578" fmla="*/ 82046 w 103637"/>
                <a:gd name="connsiteY578" fmla="*/ 79024 h 388639"/>
                <a:gd name="connsiteX579" fmla="*/ 81614 w 103637"/>
                <a:gd name="connsiteY579" fmla="*/ 80751 h 388639"/>
                <a:gd name="connsiteX580" fmla="*/ 81183 w 103637"/>
                <a:gd name="connsiteY580" fmla="*/ 86796 h 388639"/>
                <a:gd name="connsiteX581" fmla="*/ 79887 w 103637"/>
                <a:gd name="connsiteY581" fmla="*/ 86364 h 388639"/>
                <a:gd name="connsiteX582" fmla="*/ 8205 w 103637"/>
                <a:gd name="connsiteY582" fmla="*/ 380867 h 388639"/>
                <a:gd name="connsiteX583" fmla="*/ 11227 w 103637"/>
                <a:gd name="connsiteY583" fmla="*/ 384754 h 388639"/>
                <a:gd name="connsiteX584" fmla="*/ 12091 w 103637"/>
                <a:gd name="connsiteY584" fmla="*/ 384754 h 388639"/>
                <a:gd name="connsiteX585" fmla="*/ 12955 w 103637"/>
                <a:gd name="connsiteY585" fmla="*/ 383890 h 388639"/>
                <a:gd name="connsiteX586" fmla="*/ 11659 w 103637"/>
                <a:gd name="connsiteY586" fmla="*/ 381299 h 388639"/>
                <a:gd name="connsiteX587" fmla="*/ 11659 w 103637"/>
                <a:gd name="connsiteY587" fmla="*/ 380435 h 388639"/>
                <a:gd name="connsiteX588" fmla="*/ 10796 w 103637"/>
                <a:gd name="connsiteY588" fmla="*/ 378276 h 388639"/>
                <a:gd name="connsiteX589" fmla="*/ 8636 w 103637"/>
                <a:gd name="connsiteY589" fmla="*/ 377844 h 388639"/>
                <a:gd name="connsiteX590" fmla="*/ 7773 w 103637"/>
                <a:gd name="connsiteY590" fmla="*/ 377844 h 388639"/>
                <a:gd name="connsiteX591" fmla="*/ 8205 w 103637"/>
                <a:gd name="connsiteY591" fmla="*/ 378276 h 388639"/>
                <a:gd name="connsiteX592" fmla="*/ 8205 w 103637"/>
                <a:gd name="connsiteY592" fmla="*/ 380867 h 388639"/>
                <a:gd name="connsiteX593" fmla="*/ 9068 w 103637"/>
                <a:gd name="connsiteY593" fmla="*/ 268593 h 388639"/>
                <a:gd name="connsiteX594" fmla="*/ 9068 w 103637"/>
                <a:gd name="connsiteY594" fmla="*/ 268162 h 388639"/>
                <a:gd name="connsiteX595" fmla="*/ 9932 w 103637"/>
                <a:gd name="connsiteY595" fmla="*/ 267730 h 388639"/>
                <a:gd name="connsiteX596" fmla="*/ 10796 w 103637"/>
                <a:gd name="connsiteY596" fmla="*/ 268593 h 388639"/>
                <a:gd name="connsiteX597" fmla="*/ 9500 w 103637"/>
                <a:gd name="connsiteY597" fmla="*/ 269457 h 388639"/>
                <a:gd name="connsiteX598" fmla="*/ 9068 w 103637"/>
                <a:gd name="connsiteY598" fmla="*/ 268593 h 388639"/>
                <a:gd name="connsiteX599" fmla="*/ 13818 w 103637"/>
                <a:gd name="connsiteY599" fmla="*/ 393822 h 388639"/>
                <a:gd name="connsiteX600" fmla="*/ 13386 w 103637"/>
                <a:gd name="connsiteY600" fmla="*/ 393390 h 388639"/>
                <a:gd name="connsiteX601" fmla="*/ 10364 w 103637"/>
                <a:gd name="connsiteY601" fmla="*/ 391231 h 388639"/>
                <a:gd name="connsiteX602" fmla="*/ 9932 w 103637"/>
                <a:gd name="connsiteY602" fmla="*/ 389504 h 388639"/>
                <a:gd name="connsiteX603" fmla="*/ 9932 w 103637"/>
                <a:gd name="connsiteY603" fmla="*/ 388640 h 388639"/>
                <a:gd name="connsiteX604" fmla="*/ 10796 w 103637"/>
                <a:gd name="connsiteY604" fmla="*/ 388640 h 388639"/>
                <a:gd name="connsiteX605" fmla="*/ 13386 w 103637"/>
                <a:gd name="connsiteY605" fmla="*/ 391663 h 388639"/>
                <a:gd name="connsiteX606" fmla="*/ 14250 w 103637"/>
                <a:gd name="connsiteY606" fmla="*/ 393390 h 388639"/>
                <a:gd name="connsiteX607" fmla="*/ 13818 w 103637"/>
                <a:gd name="connsiteY607" fmla="*/ 393822 h 388639"/>
                <a:gd name="connsiteX608" fmla="*/ 18137 w 103637"/>
                <a:gd name="connsiteY608" fmla="*/ 233184 h 388639"/>
                <a:gd name="connsiteX609" fmla="*/ 17273 w 103637"/>
                <a:gd name="connsiteY609" fmla="*/ 235343 h 388639"/>
                <a:gd name="connsiteX610" fmla="*/ 17273 w 103637"/>
                <a:gd name="connsiteY610" fmla="*/ 239661 h 388639"/>
                <a:gd name="connsiteX611" fmla="*/ 18568 w 103637"/>
                <a:gd name="connsiteY611" fmla="*/ 240525 h 388639"/>
                <a:gd name="connsiteX612" fmla="*/ 19000 w 103637"/>
                <a:gd name="connsiteY612" fmla="*/ 239229 h 388639"/>
                <a:gd name="connsiteX613" fmla="*/ 18568 w 103637"/>
                <a:gd name="connsiteY613" fmla="*/ 237934 h 388639"/>
                <a:gd name="connsiteX614" fmla="*/ 19432 w 103637"/>
                <a:gd name="connsiteY614" fmla="*/ 235775 h 388639"/>
                <a:gd name="connsiteX615" fmla="*/ 20296 w 103637"/>
                <a:gd name="connsiteY615" fmla="*/ 234479 h 388639"/>
                <a:gd name="connsiteX616" fmla="*/ 19864 w 103637"/>
                <a:gd name="connsiteY616" fmla="*/ 232752 h 388639"/>
                <a:gd name="connsiteX617" fmla="*/ 19432 w 103637"/>
                <a:gd name="connsiteY617" fmla="*/ 231889 h 388639"/>
                <a:gd name="connsiteX618" fmla="*/ 18137 w 103637"/>
                <a:gd name="connsiteY618" fmla="*/ 233184 h 388639"/>
                <a:gd name="connsiteX619" fmla="*/ 19864 w 103637"/>
                <a:gd name="connsiteY619" fmla="*/ 230161 h 388639"/>
                <a:gd name="connsiteX620" fmla="*/ 19432 w 103637"/>
                <a:gd name="connsiteY620" fmla="*/ 230161 h 388639"/>
                <a:gd name="connsiteX621" fmla="*/ 19432 w 103637"/>
                <a:gd name="connsiteY621" fmla="*/ 231457 h 388639"/>
                <a:gd name="connsiteX622" fmla="*/ 19864 w 103637"/>
                <a:gd name="connsiteY622" fmla="*/ 230593 h 388639"/>
                <a:gd name="connsiteX623" fmla="*/ 19864 w 103637"/>
                <a:gd name="connsiteY623" fmla="*/ 230161 h 388639"/>
                <a:gd name="connsiteX624" fmla="*/ 20727 w 103637"/>
                <a:gd name="connsiteY624" fmla="*/ 209434 h 388639"/>
                <a:gd name="connsiteX625" fmla="*/ 19864 w 103637"/>
                <a:gd name="connsiteY625" fmla="*/ 207275 h 388639"/>
                <a:gd name="connsiteX626" fmla="*/ 19864 w 103637"/>
                <a:gd name="connsiteY626" fmla="*/ 206411 h 388639"/>
                <a:gd name="connsiteX627" fmla="*/ 20727 w 103637"/>
                <a:gd name="connsiteY627" fmla="*/ 205115 h 388639"/>
                <a:gd name="connsiteX628" fmla="*/ 21591 w 103637"/>
                <a:gd name="connsiteY628" fmla="*/ 206411 h 388639"/>
                <a:gd name="connsiteX629" fmla="*/ 22455 w 103637"/>
                <a:gd name="connsiteY629" fmla="*/ 207275 h 388639"/>
                <a:gd name="connsiteX630" fmla="*/ 20727 w 103637"/>
                <a:gd name="connsiteY630" fmla="*/ 209434 h 388639"/>
                <a:gd name="connsiteX631" fmla="*/ 25046 w 103637"/>
                <a:gd name="connsiteY631" fmla="*/ 200797 h 388639"/>
                <a:gd name="connsiteX632" fmla="*/ 25046 w 103637"/>
                <a:gd name="connsiteY632" fmla="*/ 199934 h 388639"/>
                <a:gd name="connsiteX633" fmla="*/ 24614 w 103637"/>
                <a:gd name="connsiteY633" fmla="*/ 199934 h 388639"/>
                <a:gd name="connsiteX634" fmla="*/ 23318 w 103637"/>
                <a:gd name="connsiteY634" fmla="*/ 201661 h 388639"/>
                <a:gd name="connsiteX635" fmla="*/ 23750 w 103637"/>
                <a:gd name="connsiteY635" fmla="*/ 202093 h 388639"/>
                <a:gd name="connsiteX636" fmla="*/ 25046 w 103637"/>
                <a:gd name="connsiteY636" fmla="*/ 200797 h 388639"/>
                <a:gd name="connsiteX637" fmla="*/ 26341 w 103637"/>
                <a:gd name="connsiteY637" fmla="*/ 193456 h 388639"/>
                <a:gd name="connsiteX638" fmla="*/ 26773 w 103637"/>
                <a:gd name="connsiteY638" fmla="*/ 192593 h 388639"/>
                <a:gd name="connsiteX639" fmla="*/ 25909 w 103637"/>
                <a:gd name="connsiteY639" fmla="*/ 192161 h 388639"/>
                <a:gd name="connsiteX640" fmla="*/ 26341 w 103637"/>
                <a:gd name="connsiteY640" fmla="*/ 192593 h 388639"/>
                <a:gd name="connsiteX641" fmla="*/ 25909 w 103637"/>
                <a:gd name="connsiteY641" fmla="*/ 193456 h 388639"/>
                <a:gd name="connsiteX642" fmla="*/ 26341 w 103637"/>
                <a:gd name="connsiteY642" fmla="*/ 194320 h 388639"/>
                <a:gd name="connsiteX643" fmla="*/ 26341 w 103637"/>
                <a:gd name="connsiteY643" fmla="*/ 193456 h 388639"/>
                <a:gd name="connsiteX644" fmla="*/ 28932 w 103637"/>
                <a:gd name="connsiteY644" fmla="*/ 177479 h 388639"/>
                <a:gd name="connsiteX645" fmla="*/ 28500 w 103637"/>
                <a:gd name="connsiteY645" fmla="*/ 177479 h 388639"/>
                <a:gd name="connsiteX646" fmla="*/ 28500 w 103637"/>
                <a:gd name="connsiteY646" fmla="*/ 178343 h 388639"/>
                <a:gd name="connsiteX647" fmla="*/ 28932 w 103637"/>
                <a:gd name="connsiteY647" fmla="*/ 179206 h 388639"/>
                <a:gd name="connsiteX648" fmla="*/ 29364 w 103637"/>
                <a:gd name="connsiteY648" fmla="*/ 179638 h 388639"/>
                <a:gd name="connsiteX649" fmla="*/ 29796 w 103637"/>
                <a:gd name="connsiteY649" fmla="*/ 178774 h 388639"/>
                <a:gd name="connsiteX650" fmla="*/ 29364 w 103637"/>
                <a:gd name="connsiteY650" fmla="*/ 177911 h 388639"/>
                <a:gd name="connsiteX651" fmla="*/ 28932 w 103637"/>
                <a:gd name="connsiteY651" fmla="*/ 177479 h 388639"/>
                <a:gd name="connsiteX652" fmla="*/ 34114 w 103637"/>
                <a:gd name="connsiteY652" fmla="*/ 143365 h 388639"/>
                <a:gd name="connsiteX653" fmla="*/ 34114 w 103637"/>
                <a:gd name="connsiteY653" fmla="*/ 143797 h 388639"/>
                <a:gd name="connsiteX654" fmla="*/ 34546 w 103637"/>
                <a:gd name="connsiteY654" fmla="*/ 144229 h 388639"/>
                <a:gd name="connsiteX655" fmla="*/ 35409 w 103637"/>
                <a:gd name="connsiteY655" fmla="*/ 143797 h 388639"/>
                <a:gd name="connsiteX656" fmla="*/ 34978 w 103637"/>
                <a:gd name="connsiteY656" fmla="*/ 142501 h 388639"/>
                <a:gd name="connsiteX657" fmla="*/ 34114 w 103637"/>
                <a:gd name="connsiteY657" fmla="*/ 143365 h 388639"/>
                <a:gd name="connsiteX658" fmla="*/ 34978 w 103637"/>
                <a:gd name="connsiteY658" fmla="*/ 142501 h 388639"/>
                <a:gd name="connsiteX659" fmla="*/ 36705 w 103637"/>
                <a:gd name="connsiteY659" fmla="*/ 140774 h 388639"/>
                <a:gd name="connsiteX660" fmla="*/ 35841 w 103637"/>
                <a:gd name="connsiteY660" fmla="*/ 140342 h 388639"/>
                <a:gd name="connsiteX661" fmla="*/ 35841 w 103637"/>
                <a:gd name="connsiteY661" fmla="*/ 140774 h 388639"/>
                <a:gd name="connsiteX662" fmla="*/ 34978 w 103637"/>
                <a:gd name="connsiteY662" fmla="*/ 142501 h 388639"/>
                <a:gd name="connsiteX663" fmla="*/ 38432 w 103637"/>
                <a:gd name="connsiteY663" fmla="*/ 393822 h 388639"/>
                <a:gd name="connsiteX664" fmla="*/ 38432 w 103637"/>
                <a:gd name="connsiteY664" fmla="*/ 392526 h 388639"/>
                <a:gd name="connsiteX665" fmla="*/ 37137 w 103637"/>
                <a:gd name="connsiteY665" fmla="*/ 392526 h 388639"/>
                <a:gd name="connsiteX666" fmla="*/ 37137 w 103637"/>
                <a:gd name="connsiteY666" fmla="*/ 393822 h 388639"/>
                <a:gd name="connsiteX667" fmla="*/ 37569 w 103637"/>
                <a:gd name="connsiteY667" fmla="*/ 394254 h 388639"/>
                <a:gd name="connsiteX668" fmla="*/ 38432 w 103637"/>
                <a:gd name="connsiteY668" fmla="*/ 393822 h 388639"/>
                <a:gd name="connsiteX669" fmla="*/ 37569 w 103637"/>
                <a:gd name="connsiteY669" fmla="*/ 129115 h 388639"/>
                <a:gd name="connsiteX670" fmla="*/ 38000 w 103637"/>
                <a:gd name="connsiteY670" fmla="*/ 129547 h 388639"/>
                <a:gd name="connsiteX671" fmla="*/ 37569 w 103637"/>
                <a:gd name="connsiteY671" fmla="*/ 129115 h 388639"/>
                <a:gd name="connsiteX672" fmla="*/ 38000 w 103637"/>
                <a:gd name="connsiteY672" fmla="*/ 137751 h 388639"/>
                <a:gd name="connsiteX673" fmla="*/ 37569 w 103637"/>
                <a:gd name="connsiteY673" fmla="*/ 138183 h 388639"/>
                <a:gd name="connsiteX674" fmla="*/ 38000 w 103637"/>
                <a:gd name="connsiteY674" fmla="*/ 138183 h 388639"/>
                <a:gd name="connsiteX675" fmla="*/ 38000 w 103637"/>
                <a:gd name="connsiteY675" fmla="*/ 137751 h 388639"/>
                <a:gd name="connsiteX676" fmla="*/ 39728 w 103637"/>
                <a:gd name="connsiteY676" fmla="*/ 136456 h 388639"/>
                <a:gd name="connsiteX677" fmla="*/ 38864 w 103637"/>
                <a:gd name="connsiteY677" fmla="*/ 135592 h 388639"/>
                <a:gd name="connsiteX678" fmla="*/ 38432 w 103637"/>
                <a:gd name="connsiteY678" fmla="*/ 136456 h 388639"/>
                <a:gd name="connsiteX679" fmla="*/ 38864 w 103637"/>
                <a:gd name="connsiteY679" fmla="*/ 136888 h 388639"/>
                <a:gd name="connsiteX680" fmla="*/ 39728 w 103637"/>
                <a:gd name="connsiteY680" fmla="*/ 136456 h 388639"/>
                <a:gd name="connsiteX681" fmla="*/ 40591 w 103637"/>
                <a:gd name="connsiteY681" fmla="*/ 390367 h 388639"/>
                <a:gd name="connsiteX682" fmla="*/ 40159 w 103637"/>
                <a:gd name="connsiteY682" fmla="*/ 389504 h 388639"/>
                <a:gd name="connsiteX683" fmla="*/ 39728 w 103637"/>
                <a:gd name="connsiteY683" fmla="*/ 389504 h 388639"/>
                <a:gd name="connsiteX684" fmla="*/ 39728 w 103637"/>
                <a:gd name="connsiteY684" fmla="*/ 390367 h 388639"/>
                <a:gd name="connsiteX685" fmla="*/ 40591 w 103637"/>
                <a:gd name="connsiteY685" fmla="*/ 390799 h 388639"/>
                <a:gd name="connsiteX686" fmla="*/ 40591 w 103637"/>
                <a:gd name="connsiteY686" fmla="*/ 390367 h 388639"/>
                <a:gd name="connsiteX687" fmla="*/ 43614 w 103637"/>
                <a:gd name="connsiteY687" fmla="*/ 384754 h 388639"/>
                <a:gd name="connsiteX688" fmla="*/ 43182 w 103637"/>
                <a:gd name="connsiteY688" fmla="*/ 384754 h 388639"/>
                <a:gd name="connsiteX689" fmla="*/ 41887 w 103637"/>
                <a:gd name="connsiteY689" fmla="*/ 386913 h 388639"/>
                <a:gd name="connsiteX690" fmla="*/ 41887 w 103637"/>
                <a:gd name="connsiteY690" fmla="*/ 387776 h 388639"/>
                <a:gd name="connsiteX691" fmla="*/ 42319 w 103637"/>
                <a:gd name="connsiteY691" fmla="*/ 387776 h 388639"/>
                <a:gd name="connsiteX692" fmla="*/ 43614 w 103637"/>
                <a:gd name="connsiteY692" fmla="*/ 385617 h 388639"/>
                <a:gd name="connsiteX693" fmla="*/ 43614 w 103637"/>
                <a:gd name="connsiteY693" fmla="*/ 384754 h 388639"/>
                <a:gd name="connsiteX694" fmla="*/ 48364 w 103637"/>
                <a:gd name="connsiteY694" fmla="*/ 93705 h 388639"/>
                <a:gd name="connsiteX695" fmla="*/ 48796 w 103637"/>
                <a:gd name="connsiteY695" fmla="*/ 94137 h 388639"/>
                <a:gd name="connsiteX696" fmla="*/ 48364 w 103637"/>
                <a:gd name="connsiteY696" fmla="*/ 93705 h 388639"/>
                <a:gd name="connsiteX697" fmla="*/ 57432 w 103637"/>
                <a:gd name="connsiteY697" fmla="*/ 91114 h 388639"/>
                <a:gd name="connsiteX698" fmla="*/ 56569 w 103637"/>
                <a:gd name="connsiteY698" fmla="*/ 94137 h 388639"/>
                <a:gd name="connsiteX699" fmla="*/ 56569 w 103637"/>
                <a:gd name="connsiteY699" fmla="*/ 94569 h 388639"/>
                <a:gd name="connsiteX700" fmla="*/ 57001 w 103637"/>
                <a:gd name="connsiteY700" fmla="*/ 94569 h 388639"/>
                <a:gd name="connsiteX701" fmla="*/ 58296 w 103637"/>
                <a:gd name="connsiteY701" fmla="*/ 91546 h 388639"/>
                <a:gd name="connsiteX702" fmla="*/ 58728 w 103637"/>
                <a:gd name="connsiteY702" fmla="*/ 91114 h 388639"/>
                <a:gd name="connsiteX703" fmla="*/ 57432 w 103637"/>
                <a:gd name="connsiteY703" fmla="*/ 91114 h 388639"/>
                <a:gd name="connsiteX704" fmla="*/ 58728 w 103637"/>
                <a:gd name="connsiteY704" fmla="*/ 76864 h 388639"/>
                <a:gd name="connsiteX705" fmla="*/ 59160 w 103637"/>
                <a:gd name="connsiteY705" fmla="*/ 75137 h 388639"/>
                <a:gd name="connsiteX706" fmla="*/ 58728 w 103637"/>
                <a:gd name="connsiteY706" fmla="*/ 75137 h 388639"/>
                <a:gd name="connsiteX707" fmla="*/ 58296 w 103637"/>
                <a:gd name="connsiteY707" fmla="*/ 76864 h 388639"/>
                <a:gd name="connsiteX708" fmla="*/ 58728 w 103637"/>
                <a:gd name="connsiteY708" fmla="*/ 76864 h 388639"/>
                <a:gd name="connsiteX709" fmla="*/ 61751 w 103637"/>
                <a:gd name="connsiteY709" fmla="*/ 65205 h 388639"/>
                <a:gd name="connsiteX710" fmla="*/ 61751 w 103637"/>
                <a:gd name="connsiteY710" fmla="*/ 64773 h 388639"/>
                <a:gd name="connsiteX711" fmla="*/ 61319 w 103637"/>
                <a:gd name="connsiteY711" fmla="*/ 64773 h 388639"/>
                <a:gd name="connsiteX712" fmla="*/ 60887 w 103637"/>
                <a:gd name="connsiteY712" fmla="*/ 66069 h 388639"/>
                <a:gd name="connsiteX713" fmla="*/ 61751 w 103637"/>
                <a:gd name="connsiteY713" fmla="*/ 65205 h 388639"/>
                <a:gd name="connsiteX714" fmla="*/ 61751 w 103637"/>
                <a:gd name="connsiteY714" fmla="*/ 68660 h 388639"/>
                <a:gd name="connsiteX715" fmla="*/ 61319 w 103637"/>
                <a:gd name="connsiteY715" fmla="*/ 69092 h 388639"/>
                <a:gd name="connsiteX716" fmla="*/ 61319 w 103637"/>
                <a:gd name="connsiteY716" fmla="*/ 69523 h 388639"/>
                <a:gd name="connsiteX717" fmla="*/ 62614 w 103637"/>
                <a:gd name="connsiteY717" fmla="*/ 71251 h 388639"/>
                <a:gd name="connsiteX718" fmla="*/ 63910 w 103637"/>
                <a:gd name="connsiteY718" fmla="*/ 71682 h 388639"/>
                <a:gd name="connsiteX719" fmla="*/ 64773 w 103637"/>
                <a:gd name="connsiteY719" fmla="*/ 71251 h 388639"/>
                <a:gd name="connsiteX720" fmla="*/ 66069 w 103637"/>
                <a:gd name="connsiteY720" fmla="*/ 70387 h 388639"/>
                <a:gd name="connsiteX721" fmla="*/ 66932 w 103637"/>
                <a:gd name="connsiteY721" fmla="*/ 70387 h 388639"/>
                <a:gd name="connsiteX722" fmla="*/ 66932 w 103637"/>
                <a:gd name="connsiteY722" fmla="*/ 69523 h 388639"/>
                <a:gd name="connsiteX723" fmla="*/ 65637 w 103637"/>
                <a:gd name="connsiteY723" fmla="*/ 67796 h 388639"/>
                <a:gd name="connsiteX724" fmla="*/ 64341 w 103637"/>
                <a:gd name="connsiteY724" fmla="*/ 67364 h 388639"/>
                <a:gd name="connsiteX725" fmla="*/ 63478 w 103637"/>
                <a:gd name="connsiteY725" fmla="*/ 68228 h 388639"/>
                <a:gd name="connsiteX726" fmla="*/ 62182 w 103637"/>
                <a:gd name="connsiteY726" fmla="*/ 68660 h 388639"/>
                <a:gd name="connsiteX727" fmla="*/ 61751 w 103637"/>
                <a:gd name="connsiteY727" fmla="*/ 68660 h 388639"/>
                <a:gd name="connsiteX728" fmla="*/ 62614 w 103637"/>
                <a:gd name="connsiteY728" fmla="*/ 147251 h 388639"/>
                <a:gd name="connsiteX729" fmla="*/ 62182 w 103637"/>
                <a:gd name="connsiteY729" fmla="*/ 147251 h 388639"/>
                <a:gd name="connsiteX730" fmla="*/ 62182 w 103637"/>
                <a:gd name="connsiteY730" fmla="*/ 148115 h 388639"/>
                <a:gd name="connsiteX731" fmla="*/ 62614 w 103637"/>
                <a:gd name="connsiteY731" fmla="*/ 148115 h 388639"/>
                <a:gd name="connsiteX732" fmla="*/ 62614 w 103637"/>
                <a:gd name="connsiteY732" fmla="*/ 147251 h 388639"/>
                <a:gd name="connsiteX733" fmla="*/ 63910 w 103637"/>
                <a:gd name="connsiteY733" fmla="*/ 57432 h 388639"/>
                <a:gd name="connsiteX734" fmla="*/ 64341 w 103637"/>
                <a:gd name="connsiteY734" fmla="*/ 57001 h 388639"/>
                <a:gd name="connsiteX735" fmla="*/ 64341 w 103637"/>
                <a:gd name="connsiteY735" fmla="*/ 56137 h 388639"/>
                <a:gd name="connsiteX736" fmla="*/ 63478 w 103637"/>
                <a:gd name="connsiteY736" fmla="*/ 57001 h 388639"/>
                <a:gd name="connsiteX737" fmla="*/ 63910 w 103637"/>
                <a:gd name="connsiteY737" fmla="*/ 57432 h 388639"/>
                <a:gd name="connsiteX738" fmla="*/ 64341 w 103637"/>
                <a:gd name="connsiteY738" fmla="*/ 152865 h 388639"/>
                <a:gd name="connsiteX739" fmla="*/ 63910 w 103637"/>
                <a:gd name="connsiteY739" fmla="*/ 153729 h 388639"/>
                <a:gd name="connsiteX740" fmla="*/ 64341 w 103637"/>
                <a:gd name="connsiteY740" fmla="*/ 152865 h 388639"/>
                <a:gd name="connsiteX741" fmla="*/ 66501 w 103637"/>
                <a:gd name="connsiteY741" fmla="*/ 64341 h 388639"/>
                <a:gd name="connsiteX742" fmla="*/ 64773 w 103637"/>
                <a:gd name="connsiteY742" fmla="*/ 64773 h 388639"/>
                <a:gd name="connsiteX743" fmla="*/ 64341 w 103637"/>
                <a:gd name="connsiteY743" fmla="*/ 65205 h 388639"/>
                <a:gd name="connsiteX744" fmla="*/ 64773 w 103637"/>
                <a:gd name="connsiteY744" fmla="*/ 66069 h 388639"/>
                <a:gd name="connsiteX745" fmla="*/ 66069 w 103637"/>
                <a:gd name="connsiteY745" fmla="*/ 66501 h 388639"/>
                <a:gd name="connsiteX746" fmla="*/ 66501 w 103637"/>
                <a:gd name="connsiteY746" fmla="*/ 66069 h 388639"/>
                <a:gd name="connsiteX747" fmla="*/ 66501 w 103637"/>
                <a:gd name="connsiteY747" fmla="*/ 64341 h 388639"/>
                <a:gd name="connsiteX748" fmla="*/ 66069 w 103637"/>
                <a:gd name="connsiteY748" fmla="*/ 94569 h 388639"/>
                <a:gd name="connsiteX749" fmla="*/ 65205 w 103637"/>
                <a:gd name="connsiteY749" fmla="*/ 92410 h 388639"/>
                <a:gd name="connsiteX750" fmla="*/ 64773 w 103637"/>
                <a:gd name="connsiteY750" fmla="*/ 91978 h 388639"/>
                <a:gd name="connsiteX751" fmla="*/ 64341 w 103637"/>
                <a:gd name="connsiteY751" fmla="*/ 91978 h 388639"/>
                <a:gd name="connsiteX752" fmla="*/ 64341 w 103637"/>
                <a:gd name="connsiteY752" fmla="*/ 93274 h 388639"/>
                <a:gd name="connsiteX753" fmla="*/ 65637 w 103637"/>
                <a:gd name="connsiteY753" fmla="*/ 95001 h 388639"/>
                <a:gd name="connsiteX754" fmla="*/ 66069 w 103637"/>
                <a:gd name="connsiteY754" fmla="*/ 94569 h 388639"/>
                <a:gd name="connsiteX755" fmla="*/ 66069 w 103637"/>
                <a:gd name="connsiteY755" fmla="*/ 88092 h 388639"/>
                <a:gd name="connsiteX756" fmla="*/ 65637 w 103637"/>
                <a:gd name="connsiteY756" fmla="*/ 87660 h 388639"/>
                <a:gd name="connsiteX757" fmla="*/ 65205 w 103637"/>
                <a:gd name="connsiteY757" fmla="*/ 88092 h 388639"/>
                <a:gd name="connsiteX758" fmla="*/ 66501 w 103637"/>
                <a:gd name="connsiteY758" fmla="*/ 88524 h 388639"/>
                <a:gd name="connsiteX759" fmla="*/ 66069 w 103637"/>
                <a:gd name="connsiteY759" fmla="*/ 88092 h 388639"/>
                <a:gd name="connsiteX760" fmla="*/ 66069 w 103637"/>
                <a:gd name="connsiteY760" fmla="*/ 58728 h 388639"/>
                <a:gd name="connsiteX761" fmla="*/ 66932 w 103637"/>
                <a:gd name="connsiteY761" fmla="*/ 59160 h 388639"/>
                <a:gd name="connsiteX762" fmla="*/ 67364 w 103637"/>
                <a:gd name="connsiteY762" fmla="*/ 59592 h 388639"/>
                <a:gd name="connsiteX763" fmla="*/ 67796 w 103637"/>
                <a:gd name="connsiteY763" fmla="*/ 59592 h 388639"/>
                <a:gd name="connsiteX764" fmla="*/ 67796 w 103637"/>
                <a:gd name="connsiteY764" fmla="*/ 57432 h 388639"/>
                <a:gd name="connsiteX765" fmla="*/ 68228 w 103637"/>
                <a:gd name="connsiteY765" fmla="*/ 57001 h 388639"/>
                <a:gd name="connsiteX766" fmla="*/ 67796 w 103637"/>
                <a:gd name="connsiteY766" fmla="*/ 56569 h 388639"/>
                <a:gd name="connsiteX767" fmla="*/ 66932 w 103637"/>
                <a:gd name="connsiteY767" fmla="*/ 57001 h 388639"/>
                <a:gd name="connsiteX768" fmla="*/ 66069 w 103637"/>
                <a:gd name="connsiteY768" fmla="*/ 58728 h 388639"/>
                <a:gd name="connsiteX769" fmla="*/ 67364 w 103637"/>
                <a:gd name="connsiteY769" fmla="*/ 63046 h 388639"/>
                <a:gd name="connsiteX770" fmla="*/ 66932 w 103637"/>
                <a:gd name="connsiteY770" fmla="*/ 61751 h 388639"/>
                <a:gd name="connsiteX771" fmla="*/ 66069 w 103637"/>
                <a:gd name="connsiteY771" fmla="*/ 61751 h 388639"/>
                <a:gd name="connsiteX772" fmla="*/ 66501 w 103637"/>
                <a:gd name="connsiteY772" fmla="*/ 64341 h 388639"/>
                <a:gd name="connsiteX773" fmla="*/ 67364 w 103637"/>
                <a:gd name="connsiteY773" fmla="*/ 63046 h 388639"/>
                <a:gd name="connsiteX774" fmla="*/ 69523 w 103637"/>
                <a:gd name="connsiteY774" fmla="*/ 76433 h 388639"/>
                <a:gd name="connsiteX775" fmla="*/ 68228 w 103637"/>
                <a:gd name="connsiteY775" fmla="*/ 76864 h 388639"/>
                <a:gd name="connsiteX776" fmla="*/ 66932 w 103637"/>
                <a:gd name="connsiteY776" fmla="*/ 80319 h 388639"/>
                <a:gd name="connsiteX777" fmla="*/ 66932 w 103637"/>
                <a:gd name="connsiteY777" fmla="*/ 82046 h 388639"/>
                <a:gd name="connsiteX778" fmla="*/ 66069 w 103637"/>
                <a:gd name="connsiteY778" fmla="*/ 85501 h 388639"/>
                <a:gd name="connsiteX779" fmla="*/ 66501 w 103637"/>
                <a:gd name="connsiteY779" fmla="*/ 85933 h 388639"/>
                <a:gd name="connsiteX780" fmla="*/ 66932 w 103637"/>
                <a:gd name="connsiteY780" fmla="*/ 85933 h 388639"/>
                <a:gd name="connsiteX781" fmla="*/ 67364 w 103637"/>
                <a:gd name="connsiteY781" fmla="*/ 83342 h 388639"/>
                <a:gd name="connsiteX782" fmla="*/ 69955 w 103637"/>
                <a:gd name="connsiteY782" fmla="*/ 79455 h 388639"/>
                <a:gd name="connsiteX783" fmla="*/ 70387 w 103637"/>
                <a:gd name="connsiteY783" fmla="*/ 78592 h 388639"/>
                <a:gd name="connsiteX784" fmla="*/ 69955 w 103637"/>
                <a:gd name="connsiteY784" fmla="*/ 77296 h 388639"/>
                <a:gd name="connsiteX785" fmla="*/ 69523 w 103637"/>
                <a:gd name="connsiteY785" fmla="*/ 76433 h 388639"/>
                <a:gd name="connsiteX786" fmla="*/ 69523 w 103637"/>
                <a:gd name="connsiteY786" fmla="*/ 121342 h 388639"/>
                <a:gd name="connsiteX787" fmla="*/ 67796 w 103637"/>
                <a:gd name="connsiteY787" fmla="*/ 119615 h 388639"/>
                <a:gd name="connsiteX788" fmla="*/ 67364 w 103637"/>
                <a:gd name="connsiteY788" fmla="*/ 119183 h 388639"/>
                <a:gd name="connsiteX789" fmla="*/ 66932 w 103637"/>
                <a:gd name="connsiteY789" fmla="*/ 119615 h 388639"/>
                <a:gd name="connsiteX790" fmla="*/ 66932 w 103637"/>
                <a:gd name="connsiteY790" fmla="*/ 120047 h 388639"/>
                <a:gd name="connsiteX791" fmla="*/ 68660 w 103637"/>
                <a:gd name="connsiteY791" fmla="*/ 122206 h 388639"/>
                <a:gd name="connsiteX792" fmla="*/ 69523 w 103637"/>
                <a:gd name="connsiteY792" fmla="*/ 121342 h 388639"/>
                <a:gd name="connsiteX793" fmla="*/ 69523 w 103637"/>
                <a:gd name="connsiteY793" fmla="*/ 74273 h 388639"/>
                <a:gd name="connsiteX794" fmla="*/ 70387 w 103637"/>
                <a:gd name="connsiteY794" fmla="*/ 74705 h 388639"/>
                <a:gd name="connsiteX795" fmla="*/ 70387 w 103637"/>
                <a:gd name="connsiteY795" fmla="*/ 74273 h 388639"/>
                <a:gd name="connsiteX796" fmla="*/ 68660 w 103637"/>
                <a:gd name="connsiteY796" fmla="*/ 73410 h 388639"/>
                <a:gd name="connsiteX797" fmla="*/ 68660 w 103637"/>
                <a:gd name="connsiteY797" fmla="*/ 73842 h 388639"/>
                <a:gd name="connsiteX798" fmla="*/ 69523 w 103637"/>
                <a:gd name="connsiteY798" fmla="*/ 74273 h 388639"/>
                <a:gd name="connsiteX799" fmla="*/ 68660 w 103637"/>
                <a:gd name="connsiteY799" fmla="*/ 88524 h 388639"/>
                <a:gd name="connsiteX800" fmla="*/ 68660 w 103637"/>
                <a:gd name="connsiteY800" fmla="*/ 88955 h 388639"/>
                <a:gd name="connsiteX801" fmla="*/ 69523 w 103637"/>
                <a:gd name="connsiteY801" fmla="*/ 89387 h 388639"/>
                <a:gd name="connsiteX802" fmla="*/ 69955 w 103637"/>
                <a:gd name="connsiteY802" fmla="*/ 88955 h 388639"/>
                <a:gd name="connsiteX803" fmla="*/ 68660 w 103637"/>
                <a:gd name="connsiteY803" fmla="*/ 88524 h 388639"/>
                <a:gd name="connsiteX804" fmla="*/ 77296 w 103637"/>
                <a:gd name="connsiteY804" fmla="*/ 62182 h 388639"/>
                <a:gd name="connsiteX805" fmla="*/ 75569 w 103637"/>
                <a:gd name="connsiteY805" fmla="*/ 58728 h 388639"/>
                <a:gd name="connsiteX806" fmla="*/ 74273 w 103637"/>
                <a:gd name="connsiteY806" fmla="*/ 57432 h 388639"/>
                <a:gd name="connsiteX807" fmla="*/ 73410 w 103637"/>
                <a:gd name="connsiteY807" fmla="*/ 57432 h 388639"/>
                <a:gd name="connsiteX808" fmla="*/ 72114 w 103637"/>
                <a:gd name="connsiteY808" fmla="*/ 58728 h 388639"/>
                <a:gd name="connsiteX809" fmla="*/ 72546 w 103637"/>
                <a:gd name="connsiteY809" fmla="*/ 59592 h 388639"/>
                <a:gd name="connsiteX810" fmla="*/ 72114 w 103637"/>
                <a:gd name="connsiteY810" fmla="*/ 60455 h 388639"/>
                <a:gd name="connsiteX811" fmla="*/ 70819 w 103637"/>
                <a:gd name="connsiteY811" fmla="*/ 65205 h 388639"/>
                <a:gd name="connsiteX812" fmla="*/ 69955 w 103637"/>
                <a:gd name="connsiteY812" fmla="*/ 68228 h 388639"/>
                <a:gd name="connsiteX813" fmla="*/ 69523 w 103637"/>
                <a:gd name="connsiteY813" fmla="*/ 68660 h 388639"/>
                <a:gd name="connsiteX814" fmla="*/ 69523 w 103637"/>
                <a:gd name="connsiteY814" fmla="*/ 70387 h 388639"/>
                <a:gd name="connsiteX815" fmla="*/ 70819 w 103637"/>
                <a:gd name="connsiteY815" fmla="*/ 70819 h 388639"/>
                <a:gd name="connsiteX816" fmla="*/ 72114 w 103637"/>
                <a:gd name="connsiteY816" fmla="*/ 69092 h 388639"/>
                <a:gd name="connsiteX817" fmla="*/ 76001 w 103637"/>
                <a:gd name="connsiteY817" fmla="*/ 65205 h 388639"/>
                <a:gd name="connsiteX818" fmla="*/ 76864 w 103637"/>
                <a:gd name="connsiteY818" fmla="*/ 65205 h 388639"/>
                <a:gd name="connsiteX819" fmla="*/ 77296 w 103637"/>
                <a:gd name="connsiteY819" fmla="*/ 64341 h 388639"/>
                <a:gd name="connsiteX820" fmla="*/ 77296 w 103637"/>
                <a:gd name="connsiteY820" fmla="*/ 62182 h 388639"/>
                <a:gd name="connsiteX821" fmla="*/ 70819 w 103637"/>
                <a:gd name="connsiteY821" fmla="*/ 125228 h 388639"/>
                <a:gd name="connsiteX822" fmla="*/ 70819 w 103637"/>
                <a:gd name="connsiteY822" fmla="*/ 124365 h 388639"/>
                <a:gd name="connsiteX823" fmla="*/ 70387 w 103637"/>
                <a:gd name="connsiteY823" fmla="*/ 124365 h 388639"/>
                <a:gd name="connsiteX824" fmla="*/ 70387 w 103637"/>
                <a:gd name="connsiteY824" fmla="*/ 125228 h 388639"/>
                <a:gd name="connsiteX825" fmla="*/ 70819 w 103637"/>
                <a:gd name="connsiteY825" fmla="*/ 125228 h 388639"/>
                <a:gd name="connsiteX826" fmla="*/ 73410 w 103637"/>
                <a:gd name="connsiteY826" fmla="*/ 120047 h 388639"/>
                <a:gd name="connsiteX827" fmla="*/ 73842 w 103637"/>
                <a:gd name="connsiteY827" fmla="*/ 120478 h 388639"/>
                <a:gd name="connsiteX828" fmla="*/ 72978 w 103637"/>
                <a:gd name="connsiteY828" fmla="*/ 120910 h 388639"/>
                <a:gd name="connsiteX829" fmla="*/ 72546 w 103637"/>
                <a:gd name="connsiteY829" fmla="*/ 120478 h 388639"/>
                <a:gd name="connsiteX830" fmla="*/ 73410 w 103637"/>
                <a:gd name="connsiteY830" fmla="*/ 120047 h 388639"/>
                <a:gd name="connsiteX831" fmla="*/ 74273 w 103637"/>
                <a:gd name="connsiteY831" fmla="*/ 71251 h 388639"/>
                <a:gd name="connsiteX832" fmla="*/ 73410 w 103637"/>
                <a:gd name="connsiteY832" fmla="*/ 71251 h 388639"/>
                <a:gd name="connsiteX833" fmla="*/ 72978 w 103637"/>
                <a:gd name="connsiteY833" fmla="*/ 71682 h 388639"/>
                <a:gd name="connsiteX834" fmla="*/ 72978 w 103637"/>
                <a:gd name="connsiteY834" fmla="*/ 72978 h 388639"/>
                <a:gd name="connsiteX835" fmla="*/ 73410 w 103637"/>
                <a:gd name="connsiteY835" fmla="*/ 74273 h 388639"/>
                <a:gd name="connsiteX836" fmla="*/ 75137 w 103637"/>
                <a:gd name="connsiteY836" fmla="*/ 74273 h 388639"/>
                <a:gd name="connsiteX837" fmla="*/ 74705 w 103637"/>
                <a:gd name="connsiteY837" fmla="*/ 72978 h 388639"/>
                <a:gd name="connsiteX838" fmla="*/ 74273 w 103637"/>
                <a:gd name="connsiteY838" fmla="*/ 71251 h 388639"/>
                <a:gd name="connsiteX839" fmla="*/ 73410 w 103637"/>
                <a:gd name="connsiteY839" fmla="*/ 61751 h 388639"/>
                <a:gd name="connsiteX840" fmla="*/ 73842 w 103637"/>
                <a:gd name="connsiteY840" fmla="*/ 60887 h 388639"/>
                <a:gd name="connsiteX841" fmla="*/ 74273 w 103637"/>
                <a:gd name="connsiteY841" fmla="*/ 61751 h 388639"/>
                <a:gd name="connsiteX842" fmla="*/ 73842 w 103637"/>
                <a:gd name="connsiteY842" fmla="*/ 62614 h 388639"/>
                <a:gd name="connsiteX843" fmla="*/ 73410 w 103637"/>
                <a:gd name="connsiteY843" fmla="*/ 61751 h 388639"/>
                <a:gd name="connsiteX844" fmla="*/ 73410 w 103637"/>
                <a:gd name="connsiteY844" fmla="*/ 82046 h 388639"/>
                <a:gd name="connsiteX845" fmla="*/ 74273 w 103637"/>
                <a:gd name="connsiteY845" fmla="*/ 82910 h 388639"/>
                <a:gd name="connsiteX846" fmla="*/ 74705 w 103637"/>
                <a:gd name="connsiteY846" fmla="*/ 82046 h 388639"/>
                <a:gd name="connsiteX847" fmla="*/ 73842 w 103637"/>
                <a:gd name="connsiteY847" fmla="*/ 81614 h 388639"/>
                <a:gd name="connsiteX848" fmla="*/ 73410 w 103637"/>
                <a:gd name="connsiteY848" fmla="*/ 82046 h 388639"/>
                <a:gd name="connsiteX849" fmla="*/ 76001 w 103637"/>
                <a:gd name="connsiteY849" fmla="*/ 86796 h 388639"/>
                <a:gd name="connsiteX850" fmla="*/ 76433 w 103637"/>
                <a:gd name="connsiteY850" fmla="*/ 85933 h 388639"/>
                <a:gd name="connsiteX851" fmla="*/ 76001 w 103637"/>
                <a:gd name="connsiteY851" fmla="*/ 85501 h 388639"/>
                <a:gd name="connsiteX852" fmla="*/ 75569 w 103637"/>
                <a:gd name="connsiteY852" fmla="*/ 85501 h 388639"/>
                <a:gd name="connsiteX853" fmla="*/ 74705 w 103637"/>
                <a:gd name="connsiteY853" fmla="*/ 85933 h 388639"/>
                <a:gd name="connsiteX854" fmla="*/ 76001 w 103637"/>
                <a:gd name="connsiteY854" fmla="*/ 86796 h 388639"/>
                <a:gd name="connsiteX855" fmla="*/ 80751 w 103637"/>
                <a:gd name="connsiteY855" fmla="*/ 50523 h 388639"/>
                <a:gd name="connsiteX856" fmla="*/ 80319 w 103637"/>
                <a:gd name="connsiteY856" fmla="*/ 51387 h 388639"/>
                <a:gd name="connsiteX857" fmla="*/ 80319 w 103637"/>
                <a:gd name="connsiteY857" fmla="*/ 51819 h 388639"/>
                <a:gd name="connsiteX858" fmla="*/ 79023 w 103637"/>
                <a:gd name="connsiteY858" fmla="*/ 53978 h 388639"/>
                <a:gd name="connsiteX859" fmla="*/ 78160 w 103637"/>
                <a:gd name="connsiteY859" fmla="*/ 53978 h 388639"/>
                <a:gd name="connsiteX860" fmla="*/ 78160 w 103637"/>
                <a:gd name="connsiteY860" fmla="*/ 54410 h 388639"/>
                <a:gd name="connsiteX861" fmla="*/ 79887 w 103637"/>
                <a:gd name="connsiteY861" fmla="*/ 55273 h 388639"/>
                <a:gd name="connsiteX862" fmla="*/ 80319 w 103637"/>
                <a:gd name="connsiteY862" fmla="*/ 54841 h 388639"/>
                <a:gd name="connsiteX863" fmla="*/ 80751 w 103637"/>
                <a:gd name="connsiteY863" fmla="*/ 54410 h 388639"/>
                <a:gd name="connsiteX864" fmla="*/ 81614 w 103637"/>
                <a:gd name="connsiteY864" fmla="*/ 54841 h 388639"/>
                <a:gd name="connsiteX865" fmla="*/ 82910 w 103637"/>
                <a:gd name="connsiteY865" fmla="*/ 54841 h 388639"/>
                <a:gd name="connsiteX866" fmla="*/ 82910 w 103637"/>
                <a:gd name="connsiteY866" fmla="*/ 54410 h 388639"/>
                <a:gd name="connsiteX867" fmla="*/ 82046 w 103637"/>
                <a:gd name="connsiteY867" fmla="*/ 53546 h 388639"/>
                <a:gd name="connsiteX868" fmla="*/ 81183 w 103637"/>
                <a:gd name="connsiteY868" fmla="*/ 51819 h 388639"/>
                <a:gd name="connsiteX869" fmla="*/ 81614 w 103637"/>
                <a:gd name="connsiteY869" fmla="*/ 50955 h 388639"/>
                <a:gd name="connsiteX870" fmla="*/ 80751 w 103637"/>
                <a:gd name="connsiteY870" fmla="*/ 50523 h 388639"/>
                <a:gd name="connsiteX871" fmla="*/ 80751 w 103637"/>
                <a:gd name="connsiteY871" fmla="*/ 3023 h 388639"/>
                <a:gd name="connsiteX872" fmla="*/ 81183 w 103637"/>
                <a:gd name="connsiteY872" fmla="*/ 2591 h 388639"/>
                <a:gd name="connsiteX873" fmla="*/ 80751 w 103637"/>
                <a:gd name="connsiteY873" fmla="*/ 2591 h 388639"/>
                <a:gd name="connsiteX874" fmla="*/ 80751 w 103637"/>
                <a:gd name="connsiteY874" fmla="*/ 3023 h 388639"/>
                <a:gd name="connsiteX875" fmla="*/ 81183 w 103637"/>
                <a:gd name="connsiteY875" fmla="*/ 86796 h 388639"/>
                <a:gd name="connsiteX876" fmla="*/ 82046 w 103637"/>
                <a:gd name="connsiteY876" fmla="*/ 86796 h 388639"/>
                <a:gd name="connsiteX877" fmla="*/ 82046 w 103637"/>
                <a:gd name="connsiteY877" fmla="*/ 88092 h 388639"/>
                <a:gd name="connsiteX878" fmla="*/ 82478 w 103637"/>
                <a:gd name="connsiteY878" fmla="*/ 88524 h 388639"/>
                <a:gd name="connsiteX879" fmla="*/ 81183 w 103637"/>
                <a:gd name="connsiteY879" fmla="*/ 88092 h 388639"/>
                <a:gd name="connsiteX880" fmla="*/ 81183 w 103637"/>
                <a:gd name="connsiteY880" fmla="*/ 86796 h 388639"/>
                <a:gd name="connsiteX881" fmla="*/ 81183 w 103637"/>
                <a:gd name="connsiteY881" fmla="*/ 91546 h 388639"/>
                <a:gd name="connsiteX882" fmla="*/ 81614 w 103637"/>
                <a:gd name="connsiteY882" fmla="*/ 90683 h 388639"/>
                <a:gd name="connsiteX883" fmla="*/ 82046 w 103637"/>
                <a:gd name="connsiteY883" fmla="*/ 91114 h 388639"/>
                <a:gd name="connsiteX884" fmla="*/ 81614 w 103637"/>
                <a:gd name="connsiteY884" fmla="*/ 91978 h 388639"/>
                <a:gd name="connsiteX885" fmla="*/ 81183 w 103637"/>
                <a:gd name="connsiteY885" fmla="*/ 91546 h 388639"/>
                <a:gd name="connsiteX886" fmla="*/ 85501 w 103637"/>
                <a:gd name="connsiteY886" fmla="*/ 53546 h 388639"/>
                <a:gd name="connsiteX887" fmla="*/ 85933 w 103637"/>
                <a:gd name="connsiteY887" fmla="*/ 50523 h 388639"/>
                <a:gd name="connsiteX888" fmla="*/ 85501 w 103637"/>
                <a:gd name="connsiteY888" fmla="*/ 50523 h 388639"/>
                <a:gd name="connsiteX889" fmla="*/ 84637 w 103637"/>
                <a:gd name="connsiteY889" fmla="*/ 52251 h 388639"/>
                <a:gd name="connsiteX890" fmla="*/ 85069 w 103637"/>
                <a:gd name="connsiteY890" fmla="*/ 53546 h 388639"/>
                <a:gd name="connsiteX891" fmla="*/ 85501 w 103637"/>
                <a:gd name="connsiteY891" fmla="*/ 53546 h 388639"/>
                <a:gd name="connsiteX892" fmla="*/ 85501 w 103637"/>
                <a:gd name="connsiteY892" fmla="*/ 69092 h 388639"/>
                <a:gd name="connsiteX893" fmla="*/ 85933 w 103637"/>
                <a:gd name="connsiteY893" fmla="*/ 69523 h 388639"/>
                <a:gd name="connsiteX894" fmla="*/ 86364 w 103637"/>
                <a:gd name="connsiteY894" fmla="*/ 69092 h 388639"/>
                <a:gd name="connsiteX895" fmla="*/ 85933 w 103637"/>
                <a:gd name="connsiteY895" fmla="*/ 68660 h 388639"/>
                <a:gd name="connsiteX896" fmla="*/ 85501 w 103637"/>
                <a:gd name="connsiteY896" fmla="*/ 69092 h 388639"/>
                <a:gd name="connsiteX897" fmla="*/ 86364 w 103637"/>
                <a:gd name="connsiteY897" fmla="*/ 62182 h 388639"/>
                <a:gd name="connsiteX898" fmla="*/ 86796 w 103637"/>
                <a:gd name="connsiteY898" fmla="*/ 62182 h 388639"/>
                <a:gd name="connsiteX899" fmla="*/ 86796 w 103637"/>
                <a:gd name="connsiteY899" fmla="*/ 61751 h 388639"/>
                <a:gd name="connsiteX900" fmla="*/ 86364 w 103637"/>
                <a:gd name="connsiteY900" fmla="*/ 61751 h 388639"/>
                <a:gd name="connsiteX901" fmla="*/ 86364 w 103637"/>
                <a:gd name="connsiteY901" fmla="*/ 62182 h 388639"/>
                <a:gd name="connsiteX902" fmla="*/ 90251 w 103637"/>
                <a:gd name="connsiteY902" fmla="*/ 54841 h 388639"/>
                <a:gd name="connsiteX903" fmla="*/ 90251 w 103637"/>
                <a:gd name="connsiteY903" fmla="*/ 55705 h 388639"/>
                <a:gd name="connsiteX904" fmla="*/ 90683 w 103637"/>
                <a:gd name="connsiteY904" fmla="*/ 55705 h 388639"/>
                <a:gd name="connsiteX905" fmla="*/ 90251 w 103637"/>
                <a:gd name="connsiteY905" fmla="*/ 54841 h 388639"/>
                <a:gd name="connsiteX906" fmla="*/ 93274 w 103637"/>
                <a:gd name="connsiteY906" fmla="*/ 44909 h 388639"/>
                <a:gd name="connsiteX907" fmla="*/ 92410 w 103637"/>
                <a:gd name="connsiteY907" fmla="*/ 44478 h 388639"/>
                <a:gd name="connsiteX908" fmla="*/ 91978 w 103637"/>
                <a:gd name="connsiteY908" fmla="*/ 44478 h 388639"/>
                <a:gd name="connsiteX909" fmla="*/ 92842 w 103637"/>
                <a:gd name="connsiteY909" fmla="*/ 44909 h 388639"/>
                <a:gd name="connsiteX910" fmla="*/ 93274 w 103637"/>
                <a:gd name="connsiteY910" fmla="*/ 44909 h 388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</a:cxnLst>
              <a:rect l="l" t="t" r="r" b="b"/>
              <a:pathLst>
                <a:path w="103637" h="388639">
                  <a:moveTo>
                    <a:pt x="79887" y="86364"/>
                  </a:moveTo>
                  <a:cubicBezTo>
                    <a:pt x="79455" y="86364"/>
                    <a:pt x="79023" y="86364"/>
                    <a:pt x="79023" y="86796"/>
                  </a:cubicBezTo>
                  <a:cubicBezTo>
                    <a:pt x="79023" y="87660"/>
                    <a:pt x="79887" y="88524"/>
                    <a:pt x="80319" y="88955"/>
                  </a:cubicBezTo>
                  <a:cubicBezTo>
                    <a:pt x="80319" y="89387"/>
                    <a:pt x="79887" y="89387"/>
                    <a:pt x="79455" y="89387"/>
                  </a:cubicBezTo>
                  <a:cubicBezTo>
                    <a:pt x="79023" y="88955"/>
                    <a:pt x="78160" y="88955"/>
                    <a:pt x="76864" y="88524"/>
                  </a:cubicBezTo>
                  <a:cubicBezTo>
                    <a:pt x="76433" y="88524"/>
                    <a:pt x="76001" y="88524"/>
                    <a:pt x="76001" y="88955"/>
                  </a:cubicBezTo>
                  <a:cubicBezTo>
                    <a:pt x="75569" y="88955"/>
                    <a:pt x="75569" y="89387"/>
                    <a:pt x="75569" y="89387"/>
                  </a:cubicBezTo>
                  <a:cubicBezTo>
                    <a:pt x="75569" y="90251"/>
                    <a:pt x="76001" y="90251"/>
                    <a:pt x="76001" y="90251"/>
                  </a:cubicBezTo>
                  <a:lnTo>
                    <a:pt x="76433" y="89387"/>
                  </a:lnTo>
                  <a:cubicBezTo>
                    <a:pt x="76864" y="89387"/>
                    <a:pt x="77296" y="89387"/>
                    <a:pt x="77296" y="90251"/>
                  </a:cubicBezTo>
                  <a:cubicBezTo>
                    <a:pt x="77728" y="90683"/>
                    <a:pt x="77728" y="91114"/>
                    <a:pt x="77728" y="91546"/>
                  </a:cubicBezTo>
                  <a:cubicBezTo>
                    <a:pt x="78160" y="92410"/>
                    <a:pt x="78160" y="93274"/>
                    <a:pt x="79023" y="93274"/>
                  </a:cubicBezTo>
                  <a:cubicBezTo>
                    <a:pt x="79887" y="93705"/>
                    <a:pt x="80319" y="94137"/>
                    <a:pt x="80319" y="94137"/>
                  </a:cubicBezTo>
                  <a:lnTo>
                    <a:pt x="80319" y="96728"/>
                  </a:lnTo>
                  <a:lnTo>
                    <a:pt x="79887" y="96728"/>
                  </a:lnTo>
                  <a:cubicBezTo>
                    <a:pt x="79887" y="96728"/>
                    <a:pt x="79455" y="96296"/>
                    <a:pt x="79023" y="96296"/>
                  </a:cubicBezTo>
                  <a:cubicBezTo>
                    <a:pt x="78592" y="95865"/>
                    <a:pt x="78160" y="95865"/>
                    <a:pt x="78160" y="95865"/>
                  </a:cubicBezTo>
                  <a:cubicBezTo>
                    <a:pt x="77728" y="95865"/>
                    <a:pt x="77728" y="96296"/>
                    <a:pt x="77728" y="96296"/>
                  </a:cubicBezTo>
                  <a:lnTo>
                    <a:pt x="77728" y="96728"/>
                  </a:lnTo>
                  <a:cubicBezTo>
                    <a:pt x="77728" y="97592"/>
                    <a:pt x="77296" y="98024"/>
                    <a:pt x="77296" y="99319"/>
                  </a:cubicBezTo>
                  <a:cubicBezTo>
                    <a:pt x="76433" y="101046"/>
                    <a:pt x="75569" y="103205"/>
                    <a:pt x="75569" y="104933"/>
                  </a:cubicBezTo>
                  <a:cubicBezTo>
                    <a:pt x="75569" y="105365"/>
                    <a:pt x="75569" y="105365"/>
                    <a:pt x="75137" y="105796"/>
                  </a:cubicBezTo>
                  <a:cubicBezTo>
                    <a:pt x="74705" y="106228"/>
                    <a:pt x="74273" y="107524"/>
                    <a:pt x="74273" y="108387"/>
                  </a:cubicBezTo>
                  <a:lnTo>
                    <a:pt x="74273" y="109683"/>
                  </a:lnTo>
                  <a:cubicBezTo>
                    <a:pt x="73842" y="110546"/>
                    <a:pt x="73842" y="111410"/>
                    <a:pt x="72978" y="111842"/>
                  </a:cubicBezTo>
                  <a:lnTo>
                    <a:pt x="72546" y="112274"/>
                  </a:lnTo>
                  <a:lnTo>
                    <a:pt x="71251" y="117024"/>
                  </a:lnTo>
                  <a:lnTo>
                    <a:pt x="70819" y="117456"/>
                  </a:lnTo>
                  <a:cubicBezTo>
                    <a:pt x="70819" y="117888"/>
                    <a:pt x="71251" y="117888"/>
                    <a:pt x="71682" y="118319"/>
                  </a:cubicBezTo>
                  <a:cubicBezTo>
                    <a:pt x="71682" y="119615"/>
                    <a:pt x="71251" y="120478"/>
                    <a:pt x="70819" y="120910"/>
                  </a:cubicBezTo>
                  <a:lnTo>
                    <a:pt x="70819" y="121774"/>
                  </a:lnTo>
                  <a:cubicBezTo>
                    <a:pt x="70819" y="122637"/>
                    <a:pt x="71251" y="123069"/>
                    <a:pt x="71682" y="123501"/>
                  </a:cubicBezTo>
                  <a:lnTo>
                    <a:pt x="72546" y="123501"/>
                  </a:lnTo>
                  <a:cubicBezTo>
                    <a:pt x="72978" y="123933"/>
                    <a:pt x="72978" y="124365"/>
                    <a:pt x="72978" y="125228"/>
                  </a:cubicBezTo>
                  <a:cubicBezTo>
                    <a:pt x="72114" y="126524"/>
                    <a:pt x="71682" y="128251"/>
                    <a:pt x="71251" y="129547"/>
                  </a:cubicBezTo>
                  <a:cubicBezTo>
                    <a:pt x="71251" y="129978"/>
                    <a:pt x="70819" y="129978"/>
                    <a:pt x="70387" y="129978"/>
                  </a:cubicBezTo>
                  <a:cubicBezTo>
                    <a:pt x="69523" y="129978"/>
                    <a:pt x="69523" y="130842"/>
                    <a:pt x="69523" y="131706"/>
                  </a:cubicBezTo>
                  <a:cubicBezTo>
                    <a:pt x="69523" y="132138"/>
                    <a:pt x="69955" y="132569"/>
                    <a:pt x="69955" y="133001"/>
                  </a:cubicBezTo>
                  <a:cubicBezTo>
                    <a:pt x="69955" y="133865"/>
                    <a:pt x="69523" y="135160"/>
                    <a:pt x="68228" y="136456"/>
                  </a:cubicBezTo>
                  <a:cubicBezTo>
                    <a:pt x="67796" y="136888"/>
                    <a:pt x="67796" y="136888"/>
                    <a:pt x="67796" y="137320"/>
                  </a:cubicBezTo>
                  <a:cubicBezTo>
                    <a:pt x="67796" y="137751"/>
                    <a:pt x="67796" y="137751"/>
                    <a:pt x="68228" y="138183"/>
                  </a:cubicBezTo>
                  <a:lnTo>
                    <a:pt x="68228" y="139910"/>
                  </a:lnTo>
                  <a:cubicBezTo>
                    <a:pt x="68228" y="140342"/>
                    <a:pt x="68228" y="140342"/>
                    <a:pt x="67796" y="140342"/>
                  </a:cubicBezTo>
                  <a:lnTo>
                    <a:pt x="67364" y="140342"/>
                  </a:lnTo>
                  <a:lnTo>
                    <a:pt x="65205" y="141206"/>
                  </a:lnTo>
                  <a:lnTo>
                    <a:pt x="65205" y="142501"/>
                  </a:lnTo>
                  <a:cubicBezTo>
                    <a:pt x="65205" y="142933"/>
                    <a:pt x="65637" y="142933"/>
                    <a:pt x="65637" y="143365"/>
                  </a:cubicBezTo>
                  <a:cubicBezTo>
                    <a:pt x="64773" y="144229"/>
                    <a:pt x="65637" y="146388"/>
                    <a:pt x="63910" y="146820"/>
                  </a:cubicBezTo>
                  <a:cubicBezTo>
                    <a:pt x="63910" y="148547"/>
                    <a:pt x="63478" y="149842"/>
                    <a:pt x="62614" y="151138"/>
                  </a:cubicBezTo>
                  <a:lnTo>
                    <a:pt x="62614" y="152865"/>
                  </a:lnTo>
                  <a:cubicBezTo>
                    <a:pt x="62614" y="153297"/>
                    <a:pt x="62614" y="153729"/>
                    <a:pt x="62182" y="154161"/>
                  </a:cubicBezTo>
                  <a:lnTo>
                    <a:pt x="61751" y="154161"/>
                  </a:lnTo>
                  <a:cubicBezTo>
                    <a:pt x="61751" y="154161"/>
                    <a:pt x="61751" y="154592"/>
                    <a:pt x="62182" y="154592"/>
                  </a:cubicBezTo>
                  <a:cubicBezTo>
                    <a:pt x="62182" y="155024"/>
                    <a:pt x="62614" y="155024"/>
                    <a:pt x="62614" y="155024"/>
                  </a:cubicBezTo>
                  <a:cubicBezTo>
                    <a:pt x="63478" y="155456"/>
                    <a:pt x="63478" y="155888"/>
                    <a:pt x="63478" y="156320"/>
                  </a:cubicBezTo>
                  <a:cubicBezTo>
                    <a:pt x="63478" y="156752"/>
                    <a:pt x="63478" y="157183"/>
                    <a:pt x="63046" y="157615"/>
                  </a:cubicBezTo>
                  <a:cubicBezTo>
                    <a:pt x="62614" y="157615"/>
                    <a:pt x="62182" y="158047"/>
                    <a:pt x="62182" y="158479"/>
                  </a:cubicBezTo>
                  <a:cubicBezTo>
                    <a:pt x="62614" y="159774"/>
                    <a:pt x="62614" y="160638"/>
                    <a:pt x="62614" y="161070"/>
                  </a:cubicBezTo>
                  <a:cubicBezTo>
                    <a:pt x="62182" y="161501"/>
                    <a:pt x="62182" y="162365"/>
                    <a:pt x="62182" y="162797"/>
                  </a:cubicBezTo>
                  <a:lnTo>
                    <a:pt x="62182" y="165820"/>
                  </a:lnTo>
                  <a:cubicBezTo>
                    <a:pt x="60887" y="168411"/>
                    <a:pt x="60887" y="170138"/>
                    <a:pt x="58728" y="172297"/>
                  </a:cubicBezTo>
                  <a:cubicBezTo>
                    <a:pt x="58728" y="172297"/>
                    <a:pt x="58296" y="172729"/>
                    <a:pt x="58728" y="172729"/>
                  </a:cubicBezTo>
                  <a:lnTo>
                    <a:pt x="58728" y="173593"/>
                  </a:lnTo>
                  <a:cubicBezTo>
                    <a:pt x="58728" y="174888"/>
                    <a:pt x="58296" y="175752"/>
                    <a:pt x="58296" y="176615"/>
                  </a:cubicBezTo>
                  <a:cubicBezTo>
                    <a:pt x="58296" y="177047"/>
                    <a:pt x="58296" y="177479"/>
                    <a:pt x="58728" y="177911"/>
                  </a:cubicBezTo>
                  <a:lnTo>
                    <a:pt x="58296" y="178343"/>
                  </a:lnTo>
                  <a:cubicBezTo>
                    <a:pt x="55273" y="185252"/>
                    <a:pt x="54410" y="187843"/>
                    <a:pt x="54410" y="189570"/>
                  </a:cubicBezTo>
                  <a:cubicBezTo>
                    <a:pt x="54410" y="190865"/>
                    <a:pt x="54841" y="192161"/>
                    <a:pt x="54841" y="195615"/>
                  </a:cubicBezTo>
                  <a:cubicBezTo>
                    <a:pt x="54841" y="195615"/>
                    <a:pt x="55273" y="196047"/>
                    <a:pt x="55273" y="196479"/>
                  </a:cubicBezTo>
                  <a:cubicBezTo>
                    <a:pt x="55273" y="196911"/>
                    <a:pt x="54841" y="197343"/>
                    <a:pt x="54410" y="197775"/>
                  </a:cubicBezTo>
                  <a:cubicBezTo>
                    <a:pt x="53546" y="198206"/>
                    <a:pt x="53546" y="199070"/>
                    <a:pt x="53546" y="200797"/>
                  </a:cubicBezTo>
                  <a:cubicBezTo>
                    <a:pt x="53546" y="201661"/>
                    <a:pt x="53114" y="202093"/>
                    <a:pt x="52250" y="203388"/>
                  </a:cubicBezTo>
                  <a:lnTo>
                    <a:pt x="52250" y="205115"/>
                  </a:lnTo>
                  <a:cubicBezTo>
                    <a:pt x="52250" y="205979"/>
                    <a:pt x="52250" y="206411"/>
                    <a:pt x="51819" y="206411"/>
                  </a:cubicBezTo>
                  <a:cubicBezTo>
                    <a:pt x="51387" y="206843"/>
                    <a:pt x="51387" y="207275"/>
                    <a:pt x="51387" y="207706"/>
                  </a:cubicBezTo>
                  <a:cubicBezTo>
                    <a:pt x="51387" y="208138"/>
                    <a:pt x="51387" y="208138"/>
                    <a:pt x="51819" y="208570"/>
                  </a:cubicBezTo>
                  <a:cubicBezTo>
                    <a:pt x="52250" y="209002"/>
                    <a:pt x="52682" y="209434"/>
                    <a:pt x="52682" y="209866"/>
                  </a:cubicBezTo>
                  <a:lnTo>
                    <a:pt x="52250" y="210297"/>
                  </a:lnTo>
                  <a:cubicBezTo>
                    <a:pt x="51819" y="210729"/>
                    <a:pt x="51387" y="211593"/>
                    <a:pt x="51387" y="212457"/>
                  </a:cubicBezTo>
                  <a:cubicBezTo>
                    <a:pt x="51387" y="212888"/>
                    <a:pt x="51387" y="213320"/>
                    <a:pt x="51819" y="214616"/>
                  </a:cubicBezTo>
                  <a:lnTo>
                    <a:pt x="51819" y="215911"/>
                  </a:lnTo>
                  <a:cubicBezTo>
                    <a:pt x="51387" y="217207"/>
                    <a:pt x="51387" y="217638"/>
                    <a:pt x="50523" y="218070"/>
                  </a:cubicBezTo>
                  <a:cubicBezTo>
                    <a:pt x="49660" y="218070"/>
                    <a:pt x="49228" y="218070"/>
                    <a:pt x="49228" y="218502"/>
                  </a:cubicBezTo>
                  <a:cubicBezTo>
                    <a:pt x="49228" y="218502"/>
                    <a:pt x="49660" y="218934"/>
                    <a:pt x="49660" y="219366"/>
                  </a:cubicBezTo>
                  <a:cubicBezTo>
                    <a:pt x="50091" y="219797"/>
                    <a:pt x="50091" y="220229"/>
                    <a:pt x="50091" y="220661"/>
                  </a:cubicBezTo>
                  <a:cubicBezTo>
                    <a:pt x="50091" y="221525"/>
                    <a:pt x="49228" y="222388"/>
                    <a:pt x="48796" y="223252"/>
                  </a:cubicBezTo>
                  <a:cubicBezTo>
                    <a:pt x="48796" y="223684"/>
                    <a:pt x="48364" y="224116"/>
                    <a:pt x="47932" y="224116"/>
                  </a:cubicBezTo>
                  <a:cubicBezTo>
                    <a:pt x="47500" y="224547"/>
                    <a:pt x="47500" y="224979"/>
                    <a:pt x="47500" y="225411"/>
                  </a:cubicBezTo>
                  <a:lnTo>
                    <a:pt x="47500" y="226275"/>
                  </a:lnTo>
                  <a:cubicBezTo>
                    <a:pt x="47500" y="226707"/>
                    <a:pt x="47069" y="227138"/>
                    <a:pt x="47069" y="227570"/>
                  </a:cubicBezTo>
                  <a:lnTo>
                    <a:pt x="46637" y="228002"/>
                  </a:lnTo>
                  <a:lnTo>
                    <a:pt x="47932" y="229298"/>
                  </a:lnTo>
                  <a:cubicBezTo>
                    <a:pt x="48364" y="229729"/>
                    <a:pt x="48364" y="230161"/>
                    <a:pt x="48364" y="230593"/>
                  </a:cubicBezTo>
                  <a:cubicBezTo>
                    <a:pt x="48364" y="231025"/>
                    <a:pt x="48364" y="231457"/>
                    <a:pt x="47932" y="231889"/>
                  </a:cubicBezTo>
                  <a:cubicBezTo>
                    <a:pt x="47500" y="232320"/>
                    <a:pt x="47500" y="232320"/>
                    <a:pt x="47500" y="232752"/>
                  </a:cubicBezTo>
                  <a:lnTo>
                    <a:pt x="47500" y="233616"/>
                  </a:lnTo>
                  <a:cubicBezTo>
                    <a:pt x="47069" y="235775"/>
                    <a:pt x="46637" y="236639"/>
                    <a:pt x="45341" y="237934"/>
                  </a:cubicBezTo>
                  <a:lnTo>
                    <a:pt x="45341" y="239229"/>
                  </a:lnTo>
                  <a:cubicBezTo>
                    <a:pt x="45341" y="239661"/>
                    <a:pt x="45773" y="239661"/>
                    <a:pt x="45773" y="240093"/>
                  </a:cubicBezTo>
                  <a:cubicBezTo>
                    <a:pt x="45773" y="240525"/>
                    <a:pt x="45341" y="240957"/>
                    <a:pt x="45341" y="241389"/>
                  </a:cubicBezTo>
                  <a:lnTo>
                    <a:pt x="44910" y="241389"/>
                  </a:lnTo>
                  <a:cubicBezTo>
                    <a:pt x="43614" y="246570"/>
                    <a:pt x="43182" y="251321"/>
                    <a:pt x="42319" y="253911"/>
                  </a:cubicBezTo>
                  <a:lnTo>
                    <a:pt x="42319" y="254775"/>
                  </a:lnTo>
                  <a:cubicBezTo>
                    <a:pt x="42319" y="255207"/>
                    <a:pt x="41887" y="254775"/>
                    <a:pt x="41887" y="255207"/>
                  </a:cubicBezTo>
                  <a:lnTo>
                    <a:pt x="41887" y="255639"/>
                  </a:lnTo>
                  <a:cubicBezTo>
                    <a:pt x="42319" y="256071"/>
                    <a:pt x="42319" y="256502"/>
                    <a:pt x="42319" y="256502"/>
                  </a:cubicBezTo>
                  <a:lnTo>
                    <a:pt x="42319" y="258230"/>
                  </a:lnTo>
                  <a:cubicBezTo>
                    <a:pt x="42750" y="258661"/>
                    <a:pt x="42750" y="258661"/>
                    <a:pt x="42750" y="259093"/>
                  </a:cubicBezTo>
                  <a:lnTo>
                    <a:pt x="42750" y="259957"/>
                  </a:lnTo>
                  <a:cubicBezTo>
                    <a:pt x="41887" y="261252"/>
                    <a:pt x="40591" y="262548"/>
                    <a:pt x="40591" y="264275"/>
                  </a:cubicBezTo>
                  <a:cubicBezTo>
                    <a:pt x="40159" y="264707"/>
                    <a:pt x="39728" y="265571"/>
                    <a:pt x="39728" y="266002"/>
                  </a:cubicBezTo>
                  <a:cubicBezTo>
                    <a:pt x="39728" y="266434"/>
                    <a:pt x="40159" y="266866"/>
                    <a:pt x="40159" y="267298"/>
                  </a:cubicBezTo>
                  <a:lnTo>
                    <a:pt x="40159" y="268162"/>
                  </a:lnTo>
                  <a:cubicBezTo>
                    <a:pt x="40159" y="269025"/>
                    <a:pt x="40159" y="269457"/>
                    <a:pt x="39728" y="269889"/>
                  </a:cubicBezTo>
                  <a:cubicBezTo>
                    <a:pt x="38864" y="271184"/>
                    <a:pt x="39296" y="273343"/>
                    <a:pt x="38864" y="275503"/>
                  </a:cubicBezTo>
                  <a:cubicBezTo>
                    <a:pt x="38432" y="277230"/>
                    <a:pt x="38000" y="279821"/>
                    <a:pt x="37137" y="281548"/>
                  </a:cubicBezTo>
                  <a:cubicBezTo>
                    <a:pt x="36705" y="281980"/>
                    <a:pt x="36705" y="282412"/>
                    <a:pt x="36705" y="282843"/>
                  </a:cubicBezTo>
                  <a:cubicBezTo>
                    <a:pt x="36705" y="285434"/>
                    <a:pt x="35841" y="288025"/>
                    <a:pt x="34978" y="290616"/>
                  </a:cubicBezTo>
                  <a:cubicBezTo>
                    <a:pt x="34546" y="291048"/>
                    <a:pt x="34114" y="291480"/>
                    <a:pt x="34114" y="292344"/>
                  </a:cubicBezTo>
                  <a:lnTo>
                    <a:pt x="34114" y="293639"/>
                  </a:lnTo>
                  <a:cubicBezTo>
                    <a:pt x="34546" y="294503"/>
                    <a:pt x="34546" y="295366"/>
                    <a:pt x="34546" y="296230"/>
                  </a:cubicBezTo>
                  <a:lnTo>
                    <a:pt x="34546" y="298821"/>
                  </a:lnTo>
                  <a:cubicBezTo>
                    <a:pt x="34546" y="299253"/>
                    <a:pt x="34546" y="299685"/>
                    <a:pt x="34114" y="300116"/>
                  </a:cubicBezTo>
                  <a:cubicBezTo>
                    <a:pt x="33682" y="300548"/>
                    <a:pt x="33682" y="300548"/>
                    <a:pt x="33682" y="300980"/>
                  </a:cubicBezTo>
                  <a:lnTo>
                    <a:pt x="33682" y="302275"/>
                  </a:lnTo>
                  <a:cubicBezTo>
                    <a:pt x="33682" y="302275"/>
                    <a:pt x="33682" y="302707"/>
                    <a:pt x="34114" y="302707"/>
                  </a:cubicBezTo>
                  <a:cubicBezTo>
                    <a:pt x="33682" y="303139"/>
                    <a:pt x="33682" y="304003"/>
                    <a:pt x="33682" y="304866"/>
                  </a:cubicBezTo>
                  <a:cubicBezTo>
                    <a:pt x="33250" y="306162"/>
                    <a:pt x="33250" y="306594"/>
                    <a:pt x="33250" y="307457"/>
                  </a:cubicBezTo>
                  <a:cubicBezTo>
                    <a:pt x="33250" y="308321"/>
                    <a:pt x="33250" y="309185"/>
                    <a:pt x="33682" y="310048"/>
                  </a:cubicBezTo>
                  <a:lnTo>
                    <a:pt x="33682" y="310912"/>
                  </a:lnTo>
                  <a:cubicBezTo>
                    <a:pt x="32387" y="313071"/>
                    <a:pt x="32818" y="315662"/>
                    <a:pt x="32387" y="317389"/>
                  </a:cubicBezTo>
                  <a:lnTo>
                    <a:pt x="32387" y="318685"/>
                  </a:lnTo>
                  <a:cubicBezTo>
                    <a:pt x="32387" y="319980"/>
                    <a:pt x="31955" y="321707"/>
                    <a:pt x="31091" y="322571"/>
                  </a:cubicBezTo>
                  <a:lnTo>
                    <a:pt x="31091" y="324298"/>
                  </a:lnTo>
                  <a:cubicBezTo>
                    <a:pt x="31523" y="324730"/>
                    <a:pt x="31523" y="324730"/>
                    <a:pt x="31523" y="325162"/>
                  </a:cubicBezTo>
                  <a:cubicBezTo>
                    <a:pt x="31523" y="325594"/>
                    <a:pt x="31091" y="326458"/>
                    <a:pt x="31091" y="327321"/>
                  </a:cubicBezTo>
                  <a:cubicBezTo>
                    <a:pt x="30659" y="330776"/>
                    <a:pt x="30659" y="334230"/>
                    <a:pt x="29796" y="337685"/>
                  </a:cubicBezTo>
                  <a:cubicBezTo>
                    <a:pt x="29796" y="338980"/>
                    <a:pt x="30228" y="340276"/>
                    <a:pt x="30228" y="341571"/>
                  </a:cubicBezTo>
                  <a:lnTo>
                    <a:pt x="30228" y="357117"/>
                  </a:lnTo>
                  <a:cubicBezTo>
                    <a:pt x="31091" y="360571"/>
                    <a:pt x="31955" y="363594"/>
                    <a:pt x="31955" y="367481"/>
                  </a:cubicBezTo>
                  <a:cubicBezTo>
                    <a:pt x="32387" y="367912"/>
                    <a:pt x="32818" y="368344"/>
                    <a:pt x="32818" y="368776"/>
                  </a:cubicBezTo>
                  <a:cubicBezTo>
                    <a:pt x="33250" y="369208"/>
                    <a:pt x="33250" y="370072"/>
                    <a:pt x="33250" y="370503"/>
                  </a:cubicBezTo>
                  <a:lnTo>
                    <a:pt x="33250" y="372231"/>
                  </a:lnTo>
                  <a:cubicBezTo>
                    <a:pt x="34546" y="373094"/>
                    <a:pt x="34978" y="374822"/>
                    <a:pt x="35409" y="376117"/>
                  </a:cubicBezTo>
                  <a:lnTo>
                    <a:pt x="41887" y="379140"/>
                  </a:lnTo>
                  <a:cubicBezTo>
                    <a:pt x="42319" y="379572"/>
                    <a:pt x="42750" y="379572"/>
                    <a:pt x="43182" y="379572"/>
                  </a:cubicBezTo>
                  <a:lnTo>
                    <a:pt x="45341" y="379572"/>
                  </a:lnTo>
                  <a:lnTo>
                    <a:pt x="45341" y="380003"/>
                  </a:lnTo>
                  <a:cubicBezTo>
                    <a:pt x="44478" y="380435"/>
                    <a:pt x="44046" y="380435"/>
                    <a:pt x="43614" y="380435"/>
                  </a:cubicBezTo>
                  <a:lnTo>
                    <a:pt x="41887" y="380435"/>
                  </a:lnTo>
                  <a:cubicBezTo>
                    <a:pt x="40591" y="380003"/>
                    <a:pt x="39728" y="380003"/>
                    <a:pt x="38864" y="380003"/>
                  </a:cubicBezTo>
                  <a:lnTo>
                    <a:pt x="38864" y="380867"/>
                  </a:lnTo>
                  <a:cubicBezTo>
                    <a:pt x="40159" y="380867"/>
                    <a:pt x="41887" y="381731"/>
                    <a:pt x="43182" y="381731"/>
                  </a:cubicBezTo>
                  <a:lnTo>
                    <a:pt x="44046" y="381731"/>
                  </a:lnTo>
                  <a:cubicBezTo>
                    <a:pt x="44478" y="381731"/>
                    <a:pt x="45341" y="382163"/>
                    <a:pt x="46205" y="382163"/>
                  </a:cubicBezTo>
                  <a:cubicBezTo>
                    <a:pt x="47069" y="382594"/>
                    <a:pt x="48364" y="383458"/>
                    <a:pt x="48364" y="383890"/>
                  </a:cubicBezTo>
                  <a:cubicBezTo>
                    <a:pt x="48364" y="384754"/>
                    <a:pt x="48364" y="385185"/>
                    <a:pt x="47932" y="385185"/>
                  </a:cubicBezTo>
                  <a:cubicBezTo>
                    <a:pt x="46205" y="385185"/>
                    <a:pt x="45341" y="386913"/>
                    <a:pt x="44478" y="388640"/>
                  </a:cubicBezTo>
                  <a:lnTo>
                    <a:pt x="44478" y="389072"/>
                  </a:lnTo>
                  <a:lnTo>
                    <a:pt x="46205" y="389072"/>
                  </a:lnTo>
                  <a:cubicBezTo>
                    <a:pt x="46637" y="389072"/>
                    <a:pt x="47069" y="389072"/>
                    <a:pt x="47500" y="389504"/>
                  </a:cubicBezTo>
                  <a:cubicBezTo>
                    <a:pt x="47500" y="390367"/>
                    <a:pt x="47932" y="390367"/>
                    <a:pt x="48364" y="390367"/>
                  </a:cubicBezTo>
                  <a:cubicBezTo>
                    <a:pt x="48796" y="390367"/>
                    <a:pt x="48796" y="390799"/>
                    <a:pt x="48796" y="390799"/>
                  </a:cubicBezTo>
                  <a:cubicBezTo>
                    <a:pt x="48796" y="391231"/>
                    <a:pt x="48796" y="391663"/>
                    <a:pt x="48364" y="392095"/>
                  </a:cubicBezTo>
                  <a:cubicBezTo>
                    <a:pt x="47932" y="392526"/>
                    <a:pt x="47069" y="392526"/>
                    <a:pt x="46205" y="392526"/>
                  </a:cubicBezTo>
                  <a:lnTo>
                    <a:pt x="46205" y="392095"/>
                  </a:lnTo>
                  <a:cubicBezTo>
                    <a:pt x="46205" y="391663"/>
                    <a:pt x="46205" y="391663"/>
                    <a:pt x="46637" y="391663"/>
                  </a:cubicBezTo>
                  <a:lnTo>
                    <a:pt x="46637" y="391231"/>
                  </a:lnTo>
                  <a:cubicBezTo>
                    <a:pt x="46205" y="390799"/>
                    <a:pt x="45773" y="390799"/>
                    <a:pt x="45773" y="390799"/>
                  </a:cubicBezTo>
                  <a:lnTo>
                    <a:pt x="44046" y="390799"/>
                  </a:lnTo>
                  <a:lnTo>
                    <a:pt x="40159" y="392095"/>
                  </a:lnTo>
                  <a:lnTo>
                    <a:pt x="40159" y="392526"/>
                  </a:lnTo>
                  <a:lnTo>
                    <a:pt x="40591" y="393390"/>
                  </a:lnTo>
                  <a:lnTo>
                    <a:pt x="44046" y="393390"/>
                  </a:lnTo>
                  <a:lnTo>
                    <a:pt x="44046" y="393822"/>
                  </a:lnTo>
                  <a:lnTo>
                    <a:pt x="43614" y="393822"/>
                  </a:lnTo>
                  <a:cubicBezTo>
                    <a:pt x="41887" y="394254"/>
                    <a:pt x="40159" y="394685"/>
                    <a:pt x="38864" y="395549"/>
                  </a:cubicBezTo>
                  <a:cubicBezTo>
                    <a:pt x="38432" y="395981"/>
                    <a:pt x="38432" y="396413"/>
                    <a:pt x="38000" y="396413"/>
                  </a:cubicBezTo>
                  <a:cubicBezTo>
                    <a:pt x="37569" y="396413"/>
                    <a:pt x="37137" y="395981"/>
                    <a:pt x="37137" y="395549"/>
                  </a:cubicBezTo>
                  <a:cubicBezTo>
                    <a:pt x="36273" y="395117"/>
                    <a:pt x="35409" y="395117"/>
                    <a:pt x="34546" y="395117"/>
                  </a:cubicBezTo>
                  <a:cubicBezTo>
                    <a:pt x="34546" y="395117"/>
                    <a:pt x="34114" y="395117"/>
                    <a:pt x="34114" y="395549"/>
                  </a:cubicBezTo>
                  <a:cubicBezTo>
                    <a:pt x="33682" y="396413"/>
                    <a:pt x="33250" y="396413"/>
                    <a:pt x="32387" y="396413"/>
                  </a:cubicBezTo>
                  <a:cubicBezTo>
                    <a:pt x="31955" y="395549"/>
                    <a:pt x="31091" y="395549"/>
                    <a:pt x="31091" y="395117"/>
                  </a:cubicBezTo>
                  <a:cubicBezTo>
                    <a:pt x="30228" y="394685"/>
                    <a:pt x="29364" y="394254"/>
                    <a:pt x="28500" y="394254"/>
                  </a:cubicBezTo>
                  <a:lnTo>
                    <a:pt x="24182" y="394254"/>
                  </a:lnTo>
                  <a:cubicBezTo>
                    <a:pt x="23318" y="394254"/>
                    <a:pt x="22887" y="393822"/>
                    <a:pt x="22455" y="393390"/>
                  </a:cubicBezTo>
                  <a:lnTo>
                    <a:pt x="21159" y="392095"/>
                  </a:lnTo>
                  <a:cubicBezTo>
                    <a:pt x="20296" y="391231"/>
                    <a:pt x="19864" y="391231"/>
                    <a:pt x="19000" y="391231"/>
                  </a:cubicBezTo>
                  <a:cubicBezTo>
                    <a:pt x="20296" y="393390"/>
                    <a:pt x="20727" y="395117"/>
                    <a:pt x="22455" y="396413"/>
                  </a:cubicBezTo>
                  <a:lnTo>
                    <a:pt x="22455" y="396844"/>
                  </a:lnTo>
                  <a:lnTo>
                    <a:pt x="21591" y="396844"/>
                  </a:lnTo>
                  <a:cubicBezTo>
                    <a:pt x="20727" y="395549"/>
                    <a:pt x="19432" y="394254"/>
                    <a:pt x="18137" y="393390"/>
                  </a:cubicBezTo>
                  <a:cubicBezTo>
                    <a:pt x="17705" y="392958"/>
                    <a:pt x="16841" y="392526"/>
                    <a:pt x="16409" y="392526"/>
                  </a:cubicBezTo>
                  <a:lnTo>
                    <a:pt x="15977" y="392526"/>
                  </a:lnTo>
                  <a:cubicBezTo>
                    <a:pt x="15546" y="392526"/>
                    <a:pt x="15114" y="392526"/>
                    <a:pt x="14682" y="391663"/>
                  </a:cubicBezTo>
                  <a:lnTo>
                    <a:pt x="13818" y="390799"/>
                  </a:lnTo>
                  <a:cubicBezTo>
                    <a:pt x="12955" y="389504"/>
                    <a:pt x="12091" y="388640"/>
                    <a:pt x="11227" y="386913"/>
                  </a:cubicBezTo>
                  <a:cubicBezTo>
                    <a:pt x="11227" y="386913"/>
                    <a:pt x="11227" y="386481"/>
                    <a:pt x="10796" y="386481"/>
                  </a:cubicBezTo>
                  <a:lnTo>
                    <a:pt x="10364" y="386049"/>
                  </a:lnTo>
                  <a:lnTo>
                    <a:pt x="9932" y="386481"/>
                  </a:lnTo>
                  <a:lnTo>
                    <a:pt x="9068" y="386481"/>
                  </a:lnTo>
                  <a:cubicBezTo>
                    <a:pt x="9068" y="386049"/>
                    <a:pt x="8636" y="385617"/>
                    <a:pt x="8205" y="385185"/>
                  </a:cubicBezTo>
                  <a:lnTo>
                    <a:pt x="8205" y="384754"/>
                  </a:lnTo>
                  <a:cubicBezTo>
                    <a:pt x="8205" y="383458"/>
                    <a:pt x="7341" y="383026"/>
                    <a:pt x="7341" y="382594"/>
                  </a:cubicBezTo>
                  <a:cubicBezTo>
                    <a:pt x="6477" y="380867"/>
                    <a:pt x="6046" y="379572"/>
                    <a:pt x="5614" y="377412"/>
                  </a:cubicBezTo>
                  <a:cubicBezTo>
                    <a:pt x="5182" y="376981"/>
                    <a:pt x="5182" y="376981"/>
                    <a:pt x="5182" y="376549"/>
                  </a:cubicBezTo>
                  <a:lnTo>
                    <a:pt x="5182" y="374390"/>
                  </a:lnTo>
                  <a:cubicBezTo>
                    <a:pt x="5182" y="373958"/>
                    <a:pt x="5182" y="373526"/>
                    <a:pt x="4750" y="373094"/>
                  </a:cubicBezTo>
                  <a:lnTo>
                    <a:pt x="4750" y="372231"/>
                  </a:lnTo>
                  <a:cubicBezTo>
                    <a:pt x="5182" y="371799"/>
                    <a:pt x="5182" y="370935"/>
                    <a:pt x="5182" y="370503"/>
                  </a:cubicBezTo>
                  <a:cubicBezTo>
                    <a:pt x="5182" y="370072"/>
                    <a:pt x="5182" y="369640"/>
                    <a:pt x="4750" y="369208"/>
                  </a:cubicBezTo>
                  <a:cubicBezTo>
                    <a:pt x="4318" y="368776"/>
                    <a:pt x="3886" y="367912"/>
                    <a:pt x="3886" y="367049"/>
                  </a:cubicBezTo>
                  <a:lnTo>
                    <a:pt x="3886" y="366185"/>
                  </a:lnTo>
                  <a:lnTo>
                    <a:pt x="4318" y="365753"/>
                  </a:lnTo>
                  <a:cubicBezTo>
                    <a:pt x="4318" y="365753"/>
                    <a:pt x="3886" y="365753"/>
                    <a:pt x="3886" y="365322"/>
                  </a:cubicBezTo>
                  <a:cubicBezTo>
                    <a:pt x="2591" y="364458"/>
                    <a:pt x="2591" y="362731"/>
                    <a:pt x="2591" y="361003"/>
                  </a:cubicBezTo>
                  <a:cubicBezTo>
                    <a:pt x="2591" y="360140"/>
                    <a:pt x="3455" y="359708"/>
                    <a:pt x="3455" y="359276"/>
                  </a:cubicBezTo>
                  <a:cubicBezTo>
                    <a:pt x="3455" y="358844"/>
                    <a:pt x="3455" y="358844"/>
                    <a:pt x="2591" y="357980"/>
                  </a:cubicBezTo>
                  <a:cubicBezTo>
                    <a:pt x="1727" y="357549"/>
                    <a:pt x="1727" y="356253"/>
                    <a:pt x="432" y="356253"/>
                  </a:cubicBezTo>
                  <a:cubicBezTo>
                    <a:pt x="0" y="356253"/>
                    <a:pt x="0" y="356253"/>
                    <a:pt x="0" y="355821"/>
                  </a:cubicBezTo>
                  <a:cubicBezTo>
                    <a:pt x="0" y="355821"/>
                    <a:pt x="0" y="355390"/>
                    <a:pt x="432" y="354958"/>
                  </a:cubicBezTo>
                  <a:cubicBezTo>
                    <a:pt x="2159" y="354526"/>
                    <a:pt x="3023" y="341571"/>
                    <a:pt x="3023" y="339844"/>
                  </a:cubicBezTo>
                  <a:cubicBezTo>
                    <a:pt x="3023" y="338980"/>
                    <a:pt x="2591" y="338549"/>
                    <a:pt x="2591" y="337685"/>
                  </a:cubicBezTo>
                  <a:cubicBezTo>
                    <a:pt x="3455" y="336389"/>
                    <a:pt x="3455" y="334230"/>
                    <a:pt x="3455" y="332935"/>
                  </a:cubicBezTo>
                  <a:cubicBezTo>
                    <a:pt x="3886" y="332071"/>
                    <a:pt x="3886" y="330776"/>
                    <a:pt x="3886" y="329912"/>
                  </a:cubicBezTo>
                  <a:lnTo>
                    <a:pt x="3886" y="324298"/>
                  </a:lnTo>
                  <a:cubicBezTo>
                    <a:pt x="3886" y="323435"/>
                    <a:pt x="3886" y="322139"/>
                    <a:pt x="4318" y="321276"/>
                  </a:cubicBezTo>
                  <a:cubicBezTo>
                    <a:pt x="4318" y="320412"/>
                    <a:pt x="4318" y="319980"/>
                    <a:pt x="4750" y="319548"/>
                  </a:cubicBezTo>
                  <a:lnTo>
                    <a:pt x="4750" y="319117"/>
                  </a:lnTo>
                  <a:cubicBezTo>
                    <a:pt x="4750" y="319117"/>
                    <a:pt x="4750" y="318685"/>
                    <a:pt x="4318" y="318253"/>
                  </a:cubicBezTo>
                  <a:cubicBezTo>
                    <a:pt x="3886" y="317821"/>
                    <a:pt x="3886" y="317389"/>
                    <a:pt x="3886" y="316957"/>
                  </a:cubicBezTo>
                  <a:cubicBezTo>
                    <a:pt x="3886" y="316094"/>
                    <a:pt x="3886" y="315662"/>
                    <a:pt x="3886" y="315662"/>
                  </a:cubicBezTo>
                  <a:cubicBezTo>
                    <a:pt x="3886" y="315662"/>
                    <a:pt x="3023" y="316094"/>
                    <a:pt x="2159" y="316094"/>
                  </a:cubicBezTo>
                  <a:lnTo>
                    <a:pt x="1727" y="316526"/>
                  </a:lnTo>
                  <a:cubicBezTo>
                    <a:pt x="1295" y="316526"/>
                    <a:pt x="1295" y="316094"/>
                    <a:pt x="864" y="315662"/>
                  </a:cubicBezTo>
                  <a:lnTo>
                    <a:pt x="864" y="314367"/>
                  </a:lnTo>
                  <a:cubicBezTo>
                    <a:pt x="864" y="313503"/>
                    <a:pt x="864" y="312639"/>
                    <a:pt x="1295" y="311344"/>
                  </a:cubicBezTo>
                  <a:cubicBezTo>
                    <a:pt x="1727" y="308753"/>
                    <a:pt x="2591" y="305730"/>
                    <a:pt x="2591" y="303139"/>
                  </a:cubicBezTo>
                  <a:cubicBezTo>
                    <a:pt x="2591" y="301844"/>
                    <a:pt x="2591" y="300980"/>
                    <a:pt x="2159" y="300116"/>
                  </a:cubicBezTo>
                  <a:lnTo>
                    <a:pt x="2159" y="299253"/>
                  </a:lnTo>
                  <a:cubicBezTo>
                    <a:pt x="2591" y="299253"/>
                    <a:pt x="3455" y="298821"/>
                    <a:pt x="3886" y="297957"/>
                  </a:cubicBezTo>
                  <a:cubicBezTo>
                    <a:pt x="3886" y="297525"/>
                    <a:pt x="3886" y="297094"/>
                    <a:pt x="3455" y="296662"/>
                  </a:cubicBezTo>
                  <a:cubicBezTo>
                    <a:pt x="3023" y="296230"/>
                    <a:pt x="2591" y="294935"/>
                    <a:pt x="2591" y="294503"/>
                  </a:cubicBezTo>
                  <a:lnTo>
                    <a:pt x="2591" y="294071"/>
                  </a:lnTo>
                  <a:cubicBezTo>
                    <a:pt x="2591" y="293207"/>
                    <a:pt x="3455" y="292344"/>
                    <a:pt x="3886" y="291048"/>
                  </a:cubicBezTo>
                  <a:lnTo>
                    <a:pt x="3886" y="290185"/>
                  </a:lnTo>
                  <a:cubicBezTo>
                    <a:pt x="3886" y="289753"/>
                    <a:pt x="3455" y="289321"/>
                    <a:pt x="3455" y="288889"/>
                  </a:cubicBezTo>
                  <a:cubicBezTo>
                    <a:pt x="3455" y="288889"/>
                    <a:pt x="3455" y="288457"/>
                    <a:pt x="3886" y="288457"/>
                  </a:cubicBezTo>
                  <a:cubicBezTo>
                    <a:pt x="4318" y="288457"/>
                    <a:pt x="4318" y="288889"/>
                    <a:pt x="5182" y="288889"/>
                  </a:cubicBezTo>
                  <a:lnTo>
                    <a:pt x="5614" y="288889"/>
                  </a:lnTo>
                  <a:lnTo>
                    <a:pt x="5614" y="288457"/>
                  </a:lnTo>
                  <a:cubicBezTo>
                    <a:pt x="5614" y="288025"/>
                    <a:pt x="6046" y="287594"/>
                    <a:pt x="6046" y="287162"/>
                  </a:cubicBezTo>
                  <a:cubicBezTo>
                    <a:pt x="6046" y="286730"/>
                    <a:pt x="5614" y="285866"/>
                    <a:pt x="5182" y="285866"/>
                  </a:cubicBezTo>
                  <a:cubicBezTo>
                    <a:pt x="4750" y="285866"/>
                    <a:pt x="4750" y="285434"/>
                    <a:pt x="4750" y="285434"/>
                  </a:cubicBezTo>
                  <a:lnTo>
                    <a:pt x="5182" y="285434"/>
                  </a:lnTo>
                  <a:cubicBezTo>
                    <a:pt x="6046" y="285434"/>
                    <a:pt x="6477" y="285434"/>
                    <a:pt x="7341" y="285866"/>
                  </a:cubicBezTo>
                  <a:cubicBezTo>
                    <a:pt x="7341" y="286298"/>
                    <a:pt x="7773" y="286298"/>
                    <a:pt x="7773" y="286298"/>
                  </a:cubicBezTo>
                  <a:cubicBezTo>
                    <a:pt x="8205" y="286298"/>
                    <a:pt x="8636" y="285866"/>
                    <a:pt x="8636" y="285434"/>
                  </a:cubicBezTo>
                  <a:cubicBezTo>
                    <a:pt x="9068" y="285003"/>
                    <a:pt x="9068" y="284571"/>
                    <a:pt x="9068" y="284139"/>
                  </a:cubicBezTo>
                  <a:cubicBezTo>
                    <a:pt x="8636" y="283707"/>
                    <a:pt x="8636" y="283707"/>
                    <a:pt x="8636" y="282843"/>
                  </a:cubicBezTo>
                  <a:cubicBezTo>
                    <a:pt x="8636" y="282412"/>
                    <a:pt x="8205" y="282843"/>
                    <a:pt x="7773" y="282843"/>
                  </a:cubicBezTo>
                  <a:cubicBezTo>
                    <a:pt x="7773" y="283275"/>
                    <a:pt x="7341" y="283275"/>
                    <a:pt x="6909" y="283275"/>
                  </a:cubicBezTo>
                  <a:cubicBezTo>
                    <a:pt x="6477" y="283275"/>
                    <a:pt x="5614" y="282843"/>
                    <a:pt x="4750" y="282843"/>
                  </a:cubicBezTo>
                  <a:lnTo>
                    <a:pt x="4750" y="279389"/>
                  </a:lnTo>
                  <a:cubicBezTo>
                    <a:pt x="4750" y="278525"/>
                    <a:pt x="5614" y="277230"/>
                    <a:pt x="6477" y="276798"/>
                  </a:cubicBezTo>
                  <a:lnTo>
                    <a:pt x="6477" y="277230"/>
                  </a:lnTo>
                  <a:cubicBezTo>
                    <a:pt x="6477" y="277662"/>
                    <a:pt x="6909" y="278093"/>
                    <a:pt x="6909" y="278093"/>
                  </a:cubicBezTo>
                  <a:cubicBezTo>
                    <a:pt x="6909" y="278093"/>
                    <a:pt x="6909" y="277662"/>
                    <a:pt x="7341" y="277230"/>
                  </a:cubicBezTo>
                  <a:lnTo>
                    <a:pt x="8636" y="275071"/>
                  </a:lnTo>
                  <a:lnTo>
                    <a:pt x="8636" y="274639"/>
                  </a:lnTo>
                  <a:lnTo>
                    <a:pt x="9500" y="275503"/>
                  </a:lnTo>
                  <a:cubicBezTo>
                    <a:pt x="9500" y="275934"/>
                    <a:pt x="9500" y="275934"/>
                    <a:pt x="9932" y="275934"/>
                  </a:cubicBezTo>
                  <a:cubicBezTo>
                    <a:pt x="9932" y="275934"/>
                    <a:pt x="10364" y="275934"/>
                    <a:pt x="10796" y="275503"/>
                  </a:cubicBezTo>
                  <a:cubicBezTo>
                    <a:pt x="10796" y="275071"/>
                    <a:pt x="11227" y="274207"/>
                    <a:pt x="11227" y="273775"/>
                  </a:cubicBezTo>
                  <a:lnTo>
                    <a:pt x="11227" y="273343"/>
                  </a:lnTo>
                  <a:cubicBezTo>
                    <a:pt x="11227" y="272912"/>
                    <a:pt x="11659" y="272912"/>
                    <a:pt x="12091" y="272912"/>
                  </a:cubicBezTo>
                  <a:cubicBezTo>
                    <a:pt x="13386" y="272912"/>
                    <a:pt x="13818" y="271616"/>
                    <a:pt x="13818" y="270753"/>
                  </a:cubicBezTo>
                  <a:lnTo>
                    <a:pt x="13818" y="269889"/>
                  </a:lnTo>
                  <a:lnTo>
                    <a:pt x="11659" y="269889"/>
                  </a:lnTo>
                  <a:cubicBezTo>
                    <a:pt x="11227" y="269889"/>
                    <a:pt x="11227" y="269889"/>
                    <a:pt x="11227" y="269457"/>
                  </a:cubicBezTo>
                  <a:lnTo>
                    <a:pt x="11659" y="268593"/>
                  </a:lnTo>
                  <a:lnTo>
                    <a:pt x="11659" y="268162"/>
                  </a:lnTo>
                  <a:cubicBezTo>
                    <a:pt x="11659" y="267730"/>
                    <a:pt x="12523" y="267730"/>
                    <a:pt x="12523" y="267298"/>
                  </a:cubicBezTo>
                  <a:cubicBezTo>
                    <a:pt x="12523" y="267298"/>
                    <a:pt x="12091" y="267298"/>
                    <a:pt x="12091" y="266866"/>
                  </a:cubicBezTo>
                  <a:cubicBezTo>
                    <a:pt x="11659" y="266866"/>
                    <a:pt x="12091" y="266434"/>
                    <a:pt x="12091" y="265571"/>
                  </a:cubicBezTo>
                  <a:cubicBezTo>
                    <a:pt x="13386" y="264707"/>
                    <a:pt x="13386" y="263843"/>
                    <a:pt x="13386" y="262116"/>
                  </a:cubicBezTo>
                  <a:lnTo>
                    <a:pt x="13386" y="261684"/>
                  </a:lnTo>
                  <a:cubicBezTo>
                    <a:pt x="13386" y="261252"/>
                    <a:pt x="12955" y="261252"/>
                    <a:pt x="12091" y="260821"/>
                  </a:cubicBezTo>
                  <a:cubicBezTo>
                    <a:pt x="12091" y="260821"/>
                    <a:pt x="12091" y="261252"/>
                    <a:pt x="11659" y="261252"/>
                  </a:cubicBezTo>
                  <a:lnTo>
                    <a:pt x="11659" y="259957"/>
                  </a:lnTo>
                  <a:cubicBezTo>
                    <a:pt x="12091" y="259957"/>
                    <a:pt x="12955" y="259957"/>
                    <a:pt x="13386" y="259525"/>
                  </a:cubicBezTo>
                  <a:cubicBezTo>
                    <a:pt x="13818" y="259525"/>
                    <a:pt x="14682" y="259525"/>
                    <a:pt x="14682" y="259093"/>
                  </a:cubicBezTo>
                  <a:cubicBezTo>
                    <a:pt x="14682" y="259093"/>
                    <a:pt x="14682" y="258661"/>
                    <a:pt x="14250" y="258230"/>
                  </a:cubicBezTo>
                  <a:cubicBezTo>
                    <a:pt x="14250" y="256502"/>
                    <a:pt x="14682" y="255639"/>
                    <a:pt x="15546" y="254775"/>
                  </a:cubicBezTo>
                  <a:cubicBezTo>
                    <a:pt x="15546" y="254775"/>
                    <a:pt x="15546" y="253911"/>
                    <a:pt x="15114" y="253480"/>
                  </a:cubicBezTo>
                  <a:cubicBezTo>
                    <a:pt x="14682" y="253048"/>
                    <a:pt x="14250" y="253048"/>
                    <a:pt x="14250" y="253048"/>
                  </a:cubicBezTo>
                  <a:cubicBezTo>
                    <a:pt x="13818" y="253911"/>
                    <a:pt x="12955" y="255207"/>
                    <a:pt x="12091" y="255639"/>
                  </a:cubicBezTo>
                  <a:cubicBezTo>
                    <a:pt x="12091" y="256071"/>
                    <a:pt x="11659" y="256071"/>
                    <a:pt x="11659" y="256071"/>
                  </a:cubicBezTo>
                  <a:lnTo>
                    <a:pt x="11659" y="255639"/>
                  </a:lnTo>
                  <a:cubicBezTo>
                    <a:pt x="11659" y="254775"/>
                    <a:pt x="11659" y="253911"/>
                    <a:pt x="11227" y="253048"/>
                  </a:cubicBezTo>
                  <a:cubicBezTo>
                    <a:pt x="10796" y="252184"/>
                    <a:pt x="10796" y="251321"/>
                    <a:pt x="10796" y="250889"/>
                  </a:cubicBezTo>
                  <a:cubicBezTo>
                    <a:pt x="10796" y="250025"/>
                    <a:pt x="11227" y="248730"/>
                    <a:pt x="11659" y="247866"/>
                  </a:cubicBezTo>
                  <a:cubicBezTo>
                    <a:pt x="11659" y="247434"/>
                    <a:pt x="12955" y="247434"/>
                    <a:pt x="13818" y="247002"/>
                  </a:cubicBezTo>
                  <a:lnTo>
                    <a:pt x="14682" y="247002"/>
                  </a:lnTo>
                  <a:lnTo>
                    <a:pt x="14682" y="248298"/>
                  </a:lnTo>
                  <a:cubicBezTo>
                    <a:pt x="14682" y="249161"/>
                    <a:pt x="14250" y="249161"/>
                    <a:pt x="13818" y="249593"/>
                  </a:cubicBezTo>
                  <a:cubicBezTo>
                    <a:pt x="12523" y="250025"/>
                    <a:pt x="12091" y="250457"/>
                    <a:pt x="12091" y="250457"/>
                  </a:cubicBezTo>
                  <a:cubicBezTo>
                    <a:pt x="12091" y="250889"/>
                    <a:pt x="12955" y="250889"/>
                    <a:pt x="14250" y="251321"/>
                  </a:cubicBezTo>
                  <a:cubicBezTo>
                    <a:pt x="14250" y="251752"/>
                    <a:pt x="14250" y="252184"/>
                    <a:pt x="14682" y="252184"/>
                  </a:cubicBezTo>
                  <a:lnTo>
                    <a:pt x="15546" y="251321"/>
                  </a:lnTo>
                  <a:cubicBezTo>
                    <a:pt x="15977" y="251321"/>
                    <a:pt x="15546" y="250889"/>
                    <a:pt x="15977" y="250889"/>
                  </a:cubicBezTo>
                  <a:lnTo>
                    <a:pt x="17273" y="246139"/>
                  </a:lnTo>
                  <a:lnTo>
                    <a:pt x="17273" y="245275"/>
                  </a:lnTo>
                  <a:cubicBezTo>
                    <a:pt x="17273" y="244411"/>
                    <a:pt x="16841" y="244411"/>
                    <a:pt x="15977" y="243979"/>
                  </a:cubicBezTo>
                  <a:lnTo>
                    <a:pt x="14250" y="243979"/>
                  </a:lnTo>
                  <a:lnTo>
                    <a:pt x="13386" y="243548"/>
                  </a:lnTo>
                  <a:lnTo>
                    <a:pt x="13386" y="242684"/>
                  </a:lnTo>
                  <a:cubicBezTo>
                    <a:pt x="13818" y="242684"/>
                    <a:pt x="14250" y="242252"/>
                    <a:pt x="14250" y="242252"/>
                  </a:cubicBezTo>
                  <a:cubicBezTo>
                    <a:pt x="14682" y="241820"/>
                    <a:pt x="14682" y="241820"/>
                    <a:pt x="14682" y="241389"/>
                  </a:cubicBezTo>
                  <a:cubicBezTo>
                    <a:pt x="14250" y="240957"/>
                    <a:pt x="13818" y="239661"/>
                    <a:pt x="13818" y="238798"/>
                  </a:cubicBezTo>
                  <a:lnTo>
                    <a:pt x="13386" y="238366"/>
                  </a:lnTo>
                  <a:cubicBezTo>
                    <a:pt x="13386" y="238366"/>
                    <a:pt x="13818" y="237934"/>
                    <a:pt x="14250" y="237934"/>
                  </a:cubicBezTo>
                  <a:lnTo>
                    <a:pt x="15114" y="237934"/>
                  </a:lnTo>
                  <a:cubicBezTo>
                    <a:pt x="15114" y="237502"/>
                    <a:pt x="15546" y="237502"/>
                    <a:pt x="15546" y="236639"/>
                  </a:cubicBezTo>
                  <a:cubicBezTo>
                    <a:pt x="15114" y="236639"/>
                    <a:pt x="14682" y="236207"/>
                    <a:pt x="14250" y="236207"/>
                  </a:cubicBezTo>
                  <a:cubicBezTo>
                    <a:pt x="14250" y="236207"/>
                    <a:pt x="13818" y="236207"/>
                    <a:pt x="13818" y="235775"/>
                  </a:cubicBezTo>
                  <a:lnTo>
                    <a:pt x="15114" y="230161"/>
                  </a:lnTo>
                  <a:lnTo>
                    <a:pt x="15114" y="227570"/>
                  </a:lnTo>
                  <a:lnTo>
                    <a:pt x="15977" y="224547"/>
                  </a:lnTo>
                  <a:lnTo>
                    <a:pt x="16409" y="224116"/>
                  </a:lnTo>
                  <a:cubicBezTo>
                    <a:pt x="16409" y="224116"/>
                    <a:pt x="15977" y="224116"/>
                    <a:pt x="15977" y="223684"/>
                  </a:cubicBezTo>
                  <a:lnTo>
                    <a:pt x="15977" y="222820"/>
                  </a:lnTo>
                  <a:cubicBezTo>
                    <a:pt x="15977" y="221525"/>
                    <a:pt x="16409" y="221093"/>
                    <a:pt x="16841" y="220229"/>
                  </a:cubicBezTo>
                  <a:cubicBezTo>
                    <a:pt x="17273" y="219366"/>
                    <a:pt x="17705" y="218934"/>
                    <a:pt x="17705" y="218934"/>
                  </a:cubicBezTo>
                  <a:cubicBezTo>
                    <a:pt x="19000" y="218502"/>
                    <a:pt x="19864" y="216343"/>
                    <a:pt x="19864" y="214616"/>
                  </a:cubicBezTo>
                  <a:lnTo>
                    <a:pt x="19864" y="213752"/>
                  </a:lnTo>
                  <a:cubicBezTo>
                    <a:pt x="19864" y="213320"/>
                    <a:pt x="19864" y="212457"/>
                    <a:pt x="19432" y="212025"/>
                  </a:cubicBezTo>
                  <a:cubicBezTo>
                    <a:pt x="19432" y="212025"/>
                    <a:pt x="19000" y="211593"/>
                    <a:pt x="19000" y="211161"/>
                  </a:cubicBezTo>
                  <a:cubicBezTo>
                    <a:pt x="19000" y="210729"/>
                    <a:pt x="19432" y="210729"/>
                    <a:pt x="19864" y="210297"/>
                  </a:cubicBezTo>
                  <a:cubicBezTo>
                    <a:pt x="19864" y="210297"/>
                    <a:pt x="20296" y="209866"/>
                    <a:pt x="20727" y="209866"/>
                  </a:cubicBezTo>
                  <a:lnTo>
                    <a:pt x="20727" y="212888"/>
                  </a:lnTo>
                  <a:cubicBezTo>
                    <a:pt x="21159" y="213752"/>
                    <a:pt x="21159" y="214616"/>
                    <a:pt x="21159" y="215479"/>
                  </a:cubicBezTo>
                  <a:cubicBezTo>
                    <a:pt x="21159" y="216343"/>
                    <a:pt x="21159" y="216775"/>
                    <a:pt x="20727" y="217638"/>
                  </a:cubicBezTo>
                  <a:cubicBezTo>
                    <a:pt x="20296" y="219366"/>
                    <a:pt x="20296" y="221525"/>
                    <a:pt x="19432" y="223252"/>
                  </a:cubicBezTo>
                  <a:cubicBezTo>
                    <a:pt x="19000" y="223684"/>
                    <a:pt x="19000" y="223684"/>
                    <a:pt x="19000" y="224116"/>
                  </a:cubicBezTo>
                  <a:lnTo>
                    <a:pt x="19000" y="225411"/>
                  </a:lnTo>
                  <a:lnTo>
                    <a:pt x="19432" y="225411"/>
                  </a:lnTo>
                  <a:lnTo>
                    <a:pt x="19432" y="226275"/>
                  </a:lnTo>
                  <a:cubicBezTo>
                    <a:pt x="19432" y="226275"/>
                    <a:pt x="19864" y="225843"/>
                    <a:pt x="19864" y="225411"/>
                  </a:cubicBezTo>
                  <a:cubicBezTo>
                    <a:pt x="20296" y="225411"/>
                    <a:pt x="20296" y="224979"/>
                    <a:pt x="20727" y="224547"/>
                  </a:cubicBezTo>
                  <a:lnTo>
                    <a:pt x="20727" y="221957"/>
                  </a:lnTo>
                  <a:cubicBezTo>
                    <a:pt x="21159" y="220661"/>
                    <a:pt x="21591" y="218502"/>
                    <a:pt x="22455" y="217207"/>
                  </a:cubicBezTo>
                  <a:cubicBezTo>
                    <a:pt x="22887" y="215911"/>
                    <a:pt x="22455" y="214616"/>
                    <a:pt x="23318" y="213752"/>
                  </a:cubicBezTo>
                  <a:cubicBezTo>
                    <a:pt x="23750" y="213752"/>
                    <a:pt x="23318" y="213320"/>
                    <a:pt x="23318" y="213320"/>
                  </a:cubicBezTo>
                  <a:cubicBezTo>
                    <a:pt x="23318" y="212457"/>
                    <a:pt x="23750" y="211593"/>
                    <a:pt x="24182" y="210729"/>
                  </a:cubicBezTo>
                  <a:cubicBezTo>
                    <a:pt x="24614" y="210297"/>
                    <a:pt x="24614" y="210297"/>
                    <a:pt x="24614" y="209866"/>
                  </a:cubicBezTo>
                  <a:cubicBezTo>
                    <a:pt x="24182" y="209434"/>
                    <a:pt x="24182" y="209002"/>
                    <a:pt x="24182" y="208570"/>
                  </a:cubicBezTo>
                  <a:lnTo>
                    <a:pt x="24182" y="206843"/>
                  </a:lnTo>
                  <a:cubicBezTo>
                    <a:pt x="24614" y="206411"/>
                    <a:pt x="24614" y="205979"/>
                    <a:pt x="24614" y="205115"/>
                  </a:cubicBezTo>
                  <a:cubicBezTo>
                    <a:pt x="24614" y="204684"/>
                    <a:pt x="24182" y="204252"/>
                    <a:pt x="23750" y="204252"/>
                  </a:cubicBezTo>
                  <a:cubicBezTo>
                    <a:pt x="23750" y="204684"/>
                    <a:pt x="23318" y="204684"/>
                    <a:pt x="23318" y="204684"/>
                  </a:cubicBezTo>
                  <a:cubicBezTo>
                    <a:pt x="22887" y="204684"/>
                    <a:pt x="22455" y="205115"/>
                    <a:pt x="22455" y="205115"/>
                  </a:cubicBezTo>
                  <a:lnTo>
                    <a:pt x="22455" y="204252"/>
                  </a:lnTo>
                  <a:lnTo>
                    <a:pt x="21159" y="203820"/>
                  </a:lnTo>
                  <a:cubicBezTo>
                    <a:pt x="20727" y="203388"/>
                    <a:pt x="20296" y="203388"/>
                    <a:pt x="20296" y="202956"/>
                  </a:cubicBezTo>
                  <a:cubicBezTo>
                    <a:pt x="20296" y="202093"/>
                    <a:pt x="20727" y="202093"/>
                    <a:pt x="21159" y="201661"/>
                  </a:cubicBezTo>
                  <a:cubicBezTo>
                    <a:pt x="21591" y="201229"/>
                    <a:pt x="21591" y="200797"/>
                    <a:pt x="21591" y="199934"/>
                  </a:cubicBezTo>
                  <a:cubicBezTo>
                    <a:pt x="21591" y="199502"/>
                    <a:pt x="21159" y="199070"/>
                    <a:pt x="21159" y="198638"/>
                  </a:cubicBezTo>
                  <a:cubicBezTo>
                    <a:pt x="21159" y="197775"/>
                    <a:pt x="21591" y="197343"/>
                    <a:pt x="22455" y="196047"/>
                  </a:cubicBezTo>
                  <a:lnTo>
                    <a:pt x="22455" y="195615"/>
                  </a:lnTo>
                  <a:cubicBezTo>
                    <a:pt x="22023" y="195184"/>
                    <a:pt x="22023" y="194752"/>
                    <a:pt x="22023" y="194320"/>
                  </a:cubicBezTo>
                  <a:cubicBezTo>
                    <a:pt x="22023" y="193456"/>
                    <a:pt x="22455" y="192161"/>
                    <a:pt x="22887" y="191297"/>
                  </a:cubicBezTo>
                  <a:cubicBezTo>
                    <a:pt x="22887" y="191729"/>
                    <a:pt x="22887" y="192161"/>
                    <a:pt x="23318" y="193025"/>
                  </a:cubicBezTo>
                  <a:lnTo>
                    <a:pt x="24182" y="193025"/>
                  </a:lnTo>
                  <a:lnTo>
                    <a:pt x="24614" y="192593"/>
                  </a:lnTo>
                  <a:cubicBezTo>
                    <a:pt x="24614" y="192593"/>
                    <a:pt x="24182" y="192593"/>
                    <a:pt x="24182" y="192161"/>
                  </a:cubicBezTo>
                  <a:cubicBezTo>
                    <a:pt x="24614" y="191729"/>
                    <a:pt x="25046" y="191297"/>
                    <a:pt x="25046" y="190865"/>
                  </a:cubicBezTo>
                  <a:lnTo>
                    <a:pt x="25046" y="190434"/>
                  </a:lnTo>
                  <a:lnTo>
                    <a:pt x="24614" y="190002"/>
                  </a:lnTo>
                  <a:cubicBezTo>
                    <a:pt x="24182" y="190002"/>
                    <a:pt x="23750" y="190865"/>
                    <a:pt x="23318" y="191297"/>
                  </a:cubicBezTo>
                  <a:lnTo>
                    <a:pt x="22887" y="191297"/>
                  </a:lnTo>
                  <a:cubicBezTo>
                    <a:pt x="22887" y="189138"/>
                    <a:pt x="22887" y="187411"/>
                    <a:pt x="24182" y="186115"/>
                  </a:cubicBezTo>
                  <a:cubicBezTo>
                    <a:pt x="24614" y="185684"/>
                    <a:pt x="24614" y="184388"/>
                    <a:pt x="24614" y="183956"/>
                  </a:cubicBezTo>
                  <a:lnTo>
                    <a:pt x="24614" y="183093"/>
                  </a:lnTo>
                  <a:cubicBezTo>
                    <a:pt x="24614" y="181797"/>
                    <a:pt x="25046" y="180933"/>
                    <a:pt x="25909" y="180070"/>
                  </a:cubicBezTo>
                  <a:cubicBezTo>
                    <a:pt x="26341" y="179206"/>
                    <a:pt x="26341" y="177911"/>
                    <a:pt x="26773" y="177911"/>
                  </a:cubicBezTo>
                  <a:lnTo>
                    <a:pt x="27637" y="175320"/>
                  </a:lnTo>
                  <a:cubicBezTo>
                    <a:pt x="28068" y="175320"/>
                    <a:pt x="28068" y="174888"/>
                    <a:pt x="28500" y="174888"/>
                  </a:cubicBezTo>
                  <a:lnTo>
                    <a:pt x="28932" y="174456"/>
                  </a:lnTo>
                  <a:cubicBezTo>
                    <a:pt x="28932" y="174456"/>
                    <a:pt x="28932" y="174888"/>
                    <a:pt x="29364" y="175320"/>
                  </a:cubicBezTo>
                  <a:cubicBezTo>
                    <a:pt x="29796" y="175752"/>
                    <a:pt x="29796" y="175752"/>
                    <a:pt x="30228" y="175752"/>
                  </a:cubicBezTo>
                  <a:lnTo>
                    <a:pt x="30659" y="175752"/>
                  </a:lnTo>
                  <a:cubicBezTo>
                    <a:pt x="31091" y="175320"/>
                    <a:pt x="31955" y="175320"/>
                    <a:pt x="31955" y="174888"/>
                  </a:cubicBezTo>
                  <a:cubicBezTo>
                    <a:pt x="32387" y="174888"/>
                    <a:pt x="32387" y="174456"/>
                    <a:pt x="32387" y="174024"/>
                  </a:cubicBezTo>
                  <a:cubicBezTo>
                    <a:pt x="32387" y="173161"/>
                    <a:pt x="32387" y="172297"/>
                    <a:pt x="31955" y="171865"/>
                  </a:cubicBezTo>
                  <a:cubicBezTo>
                    <a:pt x="31091" y="171433"/>
                    <a:pt x="30228" y="171433"/>
                    <a:pt x="29796" y="170570"/>
                  </a:cubicBezTo>
                  <a:cubicBezTo>
                    <a:pt x="29364" y="170570"/>
                    <a:pt x="28932" y="169706"/>
                    <a:pt x="28932" y="169706"/>
                  </a:cubicBezTo>
                  <a:lnTo>
                    <a:pt x="29796" y="168842"/>
                  </a:lnTo>
                  <a:cubicBezTo>
                    <a:pt x="30228" y="168842"/>
                    <a:pt x="30228" y="169274"/>
                    <a:pt x="30659" y="169706"/>
                  </a:cubicBezTo>
                  <a:cubicBezTo>
                    <a:pt x="31091" y="169706"/>
                    <a:pt x="31091" y="169706"/>
                    <a:pt x="31091" y="169274"/>
                  </a:cubicBezTo>
                  <a:cubicBezTo>
                    <a:pt x="31523" y="169274"/>
                    <a:pt x="31523" y="169274"/>
                    <a:pt x="31523" y="168842"/>
                  </a:cubicBezTo>
                  <a:cubicBezTo>
                    <a:pt x="31523" y="168411"/>
                    <a:pt x="31091" y="167115"/>
                    <a:pt x="30659" y="166683"/>
                  </a:cubicBezTo>
                  <a:cubicBezTo>
                    <a:pt x="30228" y="166252"/>
                    <a:pt x="30228" y="165388"/>
                    <a:pt x="30228" y="164092"/>
                  </a:cubicBezTo>
                  <a:lnTo>
                    <a:pt x="30228" y="162797"/>
                  </a:lnTo>
                  <a:lnTo>
                    <a:pt x="30659" y="162797"/>
                  </a:lnTo>
                  <a:cubicBezTo>
                    <a:pt x="31091" y="163229"/>
                    <a:pt x="31955" y="164092"/>
                    <a:pt x="31955" y="164524"/>
                  </a:cubicBezTo>
                  <a:cubicBezTo>
                    <a:pt x="31955" y="165388"/>
                    <a:pt x="32387" y="165388"/>
                    <a:pt x="32387" y="165820"/>
                  </a:cubicBezTo>
                  <a:lnTo>
                    <a:pt x="32818" y="166252"/>
                  </a:lnTo>
                  <a:lnTo>
                    <a:pt x="33250" y="165820"/>
                  </a:lnTo>
                  <a:lnTo>
                    <a:pt x="33250" y="165388"/>
                  </a:lnTo>
                  <a:cubicBezTo>
                    <a:pt x="33250" y="164524"/>
                    <a:pt x="33250" y="164092"/>
                    <a:pt x="33682" y="164092"/>
                  </a:cubicBezTo>
                  <a:cubicBezTo>
                    <a:pt x="34114" y="163661"/>
                    <a:pt x="34546" y="163661"/>
                    <a:pt x="34978" y="163661"/>
                  </a:cubicBezTo>
                  <a:lnTo>
                    <a:pt x="34978" y="163229"/>
                  </a:lnTo>
                  <a:cubicBezTo>
                    <a:pt x="34546" y="162797"/>
                    <a:pt x="34546" y="161933"/>
                    <a:pt x="34114" y="161933"/>
                  </a:cubicBezTo>
                  <a:cubicBezTo>
                    <a:pt x="34114" y="161501"/>
                    <a:pt x="33682" y="161501"/>
                    <a:pt x="33682" y="161501"/>
                  </a:cubicBezTo>
                  <a:lnTo>
                    <a:pt x="32818" y="161501"/>
                  </a:lnTo>
                  <a:cubicBezTo>
                    <a:pt x="31955" y="161501"/>
                    <a:pt x="31091" y="161070"/>
                    <a:pt x="30659" y="160638"/>
                  </a:cubicBezTo>
                  <a:lnTo>
                    <a:pt x="30659" y="159774"/>
                  </a:lnTo>
                  <a:cubicBezTo>
                    <a:pt x="30659" y="159774"/>
                    <a:pt x="31091" y="158911"/>
                    <a:pt x="31955" y="158911"/>
                  </a:cubicBezTo>
                  <a:lnTo>
                    <a:pt x="32387" y="159774"/>
                  </a:lnTo>
                  <a:lnTo>
                    <a:pt x="32387" y="160638"/>
                  </a:lnTo>
                  <a:lnTo>
                    <a:pt x="32818" y="160638"/>
                  </a:lnTo>
                  <a:cubicBezTo>
                    <a:pt x="33250" y="160638"/>
                    <a:pt x="33682" y="160638"/>
                    <a:pt x="34114" y="160206"/>
                  </a:cubicBezTo>
                  <a:cubicBezTo>
                    <a:pt x="34114" y="159774"/>
                    <a:pt x="34114" y="158911"/>
                    <a:pt x="33250" y="158479"/>
                  </a:cubicBezTo>
                  <a:cubicBezTo>
                    <a:pt x="32818" y="158047"/>
                    <a:pt x="32387" y="158047"/>
                    <a:pt x="32387" y="157615"/>
                  </a:cubicBezTo>
                  <a:lnTo>
                    <a:pt x="32387" y="157183"/>
                  </a:lnTo>
                  <a:cubicBezTo>
                    <a:pt x="32387" y="156752"/>
                    <a:pt x="32387" y="156752"/>
                    <a:pt x="31955" y="156752"/>
                  </a:cubicBezTo>
                  <a:cubicBezTo>
                    <a:pt x="31091" y="156320"/>
                    <a:pt x="30659" y="155888"/>
                    <a:pt x="30659" y="155024"/>
                  </a:cubicBezTo>
                  <a:lnTo>
                    <a:pt x="30659" y="152433"/>
                  </a:lnTo>
                  <a:cubicBezTo>
                    <a:pt x="31091" y="152001"/>
                    <a:pt x="31091" y="151570"/>
                    <a:pt x="31091" y="151570"/>
                  </a:cubicBezTo>
                  <a:lnTo>
                    <a:pt x="32818" y="151570"/>
                  </a:lnTo>
                  <a:lnTo>
                    <a:pt x="33250" y="151138"/>
                  </a:lnTo>
                  <a:lnTo>
                    <a:pt x="33250" y="150274"/>
                  </a:lnTo>
                  <a:cubicBezTo>
                    <a:pt x="33250" y="149842"/>
                    <a:pt x="32818" y="149842"/>
                    <a:pt x="32387" y="149410"/>
                  </a:cubicBezTo>
                  <a:cubicBezTo>
                    <a:pt x="32387" y="149410"/>
                    <a:pt x="31955" y="149410"/>
                    <a:pt x="32387" y="148979"/>
                  </a:cubicBezTo>
                  <a:cubicBezTo>
                    <a:pt x="31955" y="148547"/>
                    <a:pt x="31523" y="147683"/>
                    <a:pt x="31523" y="147251"/>
                  </a:cubicBezTo>
                  <a:cubicBezTo>
                    <a:pt x="31523" y="146820"/>
                    <a:pt x="31523" y="146820"/>
                    <a:pt x="31955" y="146820"/>
                  </a:cubicBezTo>
                  <a:cubicBezTo>
                    <a:pt x="32818" y="145524"/>
                    <a:pt x="32818" y="143365"/>
                    <a:pt x="33682" y="141206"/>
                  </a:cubicBezTo>
                  <a:cubicBezTo>
                    <a:pt x="33682" y="140342"/>
                    <a:pt x="34546" y="139479"/>
                    <a:pt x="35409" y="138615"/>
                  </a:cubicBezTo>
                  <a:cubicBezTo>
                    <a:pt x="35841" y="138615"/>
                    <a:pt x="35841" y="138183"/>
                    <a:pt x="35841" y="137751"/>
                  </a:cubicBezTo>
                  <a:cubicBezTo>
                    <a:pt x="35841" y="136888"/>
                    <a:pt x="35841" y="135592"/>
                    <a:pt x="36273" y="135160"/>
                  </a:cubicBezTo>
                  <a:cubicBezTo>
                    <a:pt x="37137" y="134297"/>
                    <a:pt x="36705" y="133001"/>
                    <a:pt x="37137" y="132569"/>
                  </a:cubicBezTo>
                  <a:lnTo>
                    <a:pt x="37137" y="132138"/>
                  </a:lnTo>
                  <a:cubicBezTo>
                    <a:pt x="37137" y="131274"/>
                    <a:pt x="38000" y="130842"/>
                    <a:pt x="38000" y="129547"/>
                  </a:cubicBezTo>
                  <a:cubicBezTo>
                    <a:pt x="38864" y="129547"/>
                    <a:pt x="39728" y="129115"/>
                    <a:pt x="39728" y="127819"/>
                  </a:cubicBezTo>
                  <a:lnTo>
                    <a:pt x="39728" y="126092"/>
                  </a:lnTo>
                  <a:cubicBezTo>
                    <a:pt x="39728" y="125660"/>
                    <a:pt x="39728" y="125228"/>
                    <a:pt x="40159" y="124365"/>
                  </a:cubicBezTo>
                  <a:cubicBezTo>
                    <a:pt x="40591" y="123933"/>
                    <a:pt x="41023" y="122637"/>
                    <a:pt x="41023" y="121774"/>
                  </a:cubicBezTo>
                  <a:cubicBezTo>
                    <a:pt x="41023" y="121342"/>
                    <a:pt x="41023" y="120910"/>
                    <a:pt x="40591" y="120478"/>
                  </a:cubicBezTo>
                  <a:lnTo>
                    <a:pt x="40591" y="119615"/>
                  </a:lnTo>
                  <a:cubicBezTo>
                    <a:pt x="41455" y="119615"/>
                    <a:pt x="41887" y="119183"/>
                    <a:pt x="42319" y="119183"/>
                  </a:cubicBezTo>
                  <a:cubicBezTo>
                    <a:pt x="43614" y="118319"/>
                    <a:pt x="44478" y="116592"/>
                    <a:pt x="44910" y="114433"/>
                  </a:cubicBezTo>
                  <a:cubicBezTo>
                    <a:pt x="44910" y="114001"/>
                    <a:pt x="44478" y="113569"/>
                    <a:pt x="44046" y="113569"/>
                  </a:cubicBezTo>
                  <a:cubicBezTo>
                    <a:pt x="43614" y="113569"/>
                    <a:pt x="43614" y="113569"/>
                    <a:pt x="43182" y="112706"/>
                  </a:cubicBezTo>
                  <a:cubicBezTo>
                    <a:pt x="42750" y="112706"/>
                    <a:pt x="42319" y="112274"/>
                    <a:pt x="42319" y="111842"/>
                  </a:cubicBezTo>
                  <a:cubicBezTo>
                    <a:pt x="42319" y="111410"/>
                    <a:pt x="42750" y="111410"/>
                    <a:pt x="43182" y="110978"/>
                  </a:cubicBezTo>
                  <a:cubicBezTo>
                    <a:pt x="44046" y="110546"/>
                    <a:pt x="44478" y="109683"/>
                    <a:pt x="44478" y="108819"/>
                  </a:cubicBezTo>
                  <a:lnTo>
                    <a:pt x="45773" y="105365"/>
                  </a:lnTo>
                  <a:cubicBezTo>
                    <a:pt x="45773" y="104069"/>
                    <a:pt x="45773" y="102774"/>
                    <a:pt x="46205" y="101910"/>
                  </a:cubicBezTo>
                  <a:cubicBezTo>
                    <a:pt x="46637" y="101910"/>
                    <a:pt x="46637" y="101046"/>
                    <a:pt x="47069" y="101046"/>
                  </a:cubicBezTo>
                  <a:cubicBezTo>
                    <a:pt x="47069" y="101478"/>
                    <a:pt x="47500" y="101478"/>
                    <a:pt x="47500" y="101478"/>
                  </a:cubicBezTo>
                  <a:cubicBezTo>
                    <a:pt x="47932" y="101478"/>
                    <a:pt x="47932" y="100615"/>
                    <a:pt x="48364" y="100183"/>
                  </a:cubicBezTo>
                  <a:cubicBezTo>
                    <a:pt x="48796" y="98456"/>
                    <a:pt x="49660" y="97160"/>
                    <a:pt x="49660" y="95001"/>
                  </a:cubicBezTo>
                  <a:cubicBezTo>
                    <a:pt x="50091" y="94569"/>
                    <a:pt x="50091" y="94137"/>
                    <a:pt x="50091" y="94137"/>
                  </a:cubicBezTo>
                  <a:lnTo>
                    <a:pt x="49660" y="94137"/>
                  </a:lnTo>
                  <a:cubicBezTo>
                    <a:pt x="49228" y="94137"/>
                    <a:pt x="48796" y="94137"/>
                    <a:pt x="48364" y="93705"/>
                  </a:cubicBezTo>
                  <a:cubicBezTo>
                    <a:pt x="48364" y="93274"/>
                    <a:pt x="48364" y="92410"/>
                    <a:pt x="49228" y="91978"/>
                  </a:cubicBezTo>
                  <a:cubicBezTo>
                    <a:pt x="50523" y="91978"/>
                    <a:pt x="51387" y="91546"/>
                    <a:pt x="52250" y="91114"/>
                  </a:cubicBezTo>
                  <a:cubicBezTo>
                    <a:pt x="52250" y="91114"/>
                    <a:pt x="52682" y="91114"/>
                    <a:pt x="52682" y="90683"/>
                  </a:cubicBezTo>
                  <a:cubicBezTo>
                    <a:pt x="52682" y="90251"/>
                    <a:pt x="52682" y="88955"/>
                    <a:pt x="53114" y="88524"/>
                  </a:cubicBezTo>
                  <a:lnTo>
                    <a:pt x="53114" y="88092"/>
                  </a:lnTo>
                  <a:cubicBezTo>
                    <a:pt x="53114" y="86796"/>
                    <a:pt x="53546" y="86364"/>
                    <a:pt x="53978" y="85933"/>
                  </a:cubicBezTo>
                  <a:cubicBezTo>
                    <a:pt x="53978" y="85933"/>
                    <a:pt x="54410" y="85933"/>
                    <a:pt x="54410" y="85501"/>
                  </a:cubicBezTo>
                  <a:cubicBezTo>
                    <a:pt x="54410" y="85069"/>
                    <a:pt x="53978" y="84637"/>
                    <a:pt x="53546" y="83773"/>
                  </a:cubicBezTo>
                  <a:lnTo>
                    <a:pt x="53546" y="82046"/>
                  </a:lnTo>
                  <a:cubicBezTo>
                    <a:pt x="54410" y="81614"/>
                    <a:pt x="55273" y="79887"/>
                    <a:pt x="55705" y="79024"/>
                  </a:cubicBezTo>
                  <a:cubicBezTo>
                    <a:pt x="56569" y="77296"/>
                    <a:pt x="57001" y="76433"/>
                    <a:pt x="57001" y="75137"/>
                  </a:cubicBezTo>
                  <a:lnTo>
                    <a:pt x="57001" y="74705"/>
                  </a:lnTo>
                  <a:cubicBezTo>
                    <a:pt x="57001" y="74273"/>
                    <a:pt x="56569" y="74273"/>
                    <a:pt x="55705" y="73842"/>
                  </a:cubicBezTo>
                  <a:cubicBezTo>
                    <a:pt x="55705" y="73842"/>
                    <a:pt x="54841" y="73842"/>
                    <a:pt x="55273" y="74273"/>
                  </a:cubicBezTo>
                  <a:lnTo>
                    <a:pt x="55273" y="76001"/>
                  </a:lnTo>
                  <a:cubicBezTo>
                    <a:pt x="54841" y="76001"/>
                    <a:pt x="54841" y="76433"/>
                    <a:pt x="54410" y="76433"/>
                  </a:cubicBezTo>
                  <a:lnTo>
                    <a:pt x="53978" y="76433"/>
                  </a:lnTo>
                  <a:lnTo>
                    <a:pt x="53978" y="73842"/>
                  </a:lnTo>
                  <a:cubicBezTo>
                    <a:pt x="53978" y="73410"/>
                    <a:pt x="54410" y="73410"/>
                    <a:pt x="54841" y="73410"/>
                  </a:cubicBezTo>
                  <a:cubicBezTo>
                    <a:pt x="55705" y="73410"/>
                    <a:pt x="56569" y="72978"/>
                    <a:pt x="57001" y="71251"/>
                  </a:cubicBezTo>
                  <a:cubicBezTo>
                    <a:pt x="57001" y="71251"/>
                    <a:pt x="57432" y="70819"/>
                    <a:pt x="57864" y="70819"/>
                  </a:cubicBezTo>
                  <a:lnTo>
                    <a:pt x="57864" y="69523"/>
                  </a:lnTo>
                  <a:cubicBezTo>
                    <a:pt x="57432" y="69092"/>
                    <a:pt x="57432" y="69092"/>
                    <a:pt x="57432" y="68660"/>
                  </a:cubicBezTo>
                  <a:lnTo>
                    <a:pt x="57432" y="68228"/>
                  </a:lnTo>
                  <a:lnTo>
                    <a:pt x="58296" y="65205"/>
                  </a:lnTo>
                  <a:cubicBezTo>
                    <a:pt x="58728" y="64341"/>
                    <a:pt x="58728" y="63046"/>
                    <a:pt x="58728" y="61751"/>
                  </a:cubicBezTo>
                  <a:cubicBezTo>
                    <a:pt x="58728" y="60455"/>
                    <a:pt x="58728" y="59592"/>
                    <a:pt x="60023" y="58728"/>
                  </a:cubicBezTo>
                  <a:cubicBezTo>
                    <a:pt x="60887" y="58728"/>
                    <a:pt x="60887" y="57432"/>
                    <a:pt x="61319" y="57001"/>
                  </a:cubicBezTo>
                  <a:cubicBezTo>
                    <a:pt x="61751" y="56569"/>
                    <a:pt x="61751" y="56137"/>
                    <a:pt x="61751" y="55705"/>
                  </a:cubicBezTo>
                  <a:cubicBezTo>
                    <a:pt x="62182" y="54841"/>
                    <a:pt x="62614" y="54410"/>
                    <a:pt x="63478" y="54410"/>
                  </a:cubicBezTo>
                  <a:cubicBezTo>
                    <a:pt x="63478" y="54410"/>
                    <a:pt x="63910" y="54410"/>
                    <a:pt x="63910" y="53978"/>
                  </a:cubicBezTo>
                  <a:cubicBezTo>
                    <a:pt x="63478" y="53546"/>
                    <a:pt x="63046" y="53546"/>
                    <a:pt x="63046" y="53114"/>
                  </a:cubicBezTo>
                  <a:cubicBezTo>
                    <a:pt x="63046" y="52682"/>
                    <a:pt x="63478" y="52682"/>
                    <a:pt x="63478" y="52251"/>
                  </a:cubicBezTo>
                  <a:cubicBezTo>
                    <a:pt x="63478" y="51387"/>
                    <a:pt x="63478" y="50523"/>
                    <a:pt x="63910" y="49228"/>
                  </a:cubicBezTo>
                  <a:lnTo>
                    <a:pt x="63910" y="47500"/>
                  </a:lnTo>
                  <a:cubicBezTo>
                    <a:pt x="64773" y="47069"/>
                    <a:pt x="64773" y="45773"/>
                    <a:pt x="64773" y="44909"/>
                  </a:cubicBezTo>
                  <a:lnTo>
                    <a:pt x="64773" y="42750"/>
                  </a:lnTo>
                  <a:cubicBezTo>
                    <a:pt x="68660" y="32819"/>
                    <a:pt x="66932" y="21159"/>
                    <a:pt x="73410" y="12955"/>
                  </a:cubicBezTo>
                  <a:cubicBezTo>
                    <a:pt x="73410" y="11659"/>
                    <a:pt x="73410" y="11227"/>
                    <a:pt x="72978" y="10364"/>
                  </a:cubicBezTo>
                  <a:cubicBezTo>
                    <a:pt x="72978" y="9932"/>
                    <a:pt x="72978" y="9068"/>
                    <a:pt x="73842" y="8636"/>
                  </a:cubicBezTo>
                  <a:cubicBezTo>
                    <a:pt x="74705" y="8205"/>
                    <a:pt x="75137" y="7341"/>
                    <a:pt x="75137" y="6045"/>
                  </a:cubicBezTo>
                  <a:cubicBezTo>
                    <a:pt x="75137" y="5614"/>
                    <a:pt x="74705" y="5614"/>
                    <a:pt x="74705" y="5182"/>
                  </a:cubicBezTo>
                  <a:cubicBezTo>
                    <a:pt x="74705" y="4750"/>
                    <a:pt x="75137" y="3886"/>
                    <a:pt x="75569" y="3455"/>
                  </a:cubicBezTo>
                  <a:lnTo>
                    <a:pt x="76433" y="2159"/>
                  </a:lnTo>
                  <a:cubicBezTo>
                    <a:pt x="76433" y="1727"/>
                    <a:pt x="76864" y="1296"/>
                    <a:pt x="77296" y="432"/>
                  </a:cubicBezTo>
                  <a:lnTo>
                    <a:pt x="77728" y="0"/>
                  </a:lnTo>
                  <a:cubicBezTo>
                    <a:pt x="78160" y="0"/>
                    <a:pt x="78160" y="432"/>
                    <a:pt x="78160" y="1296"/>
                  </a:cubicBezTo>
                  <a:cubicBezTo>
                    <a:pt x="78592" y="1296"/>
                    <a:pt x="78592" y="1727"/>
                    <a:pt x="78592" y="1727"/>
                  </a:cubicBezTo>
                  <a:lnTo>
                    <a:pt x="79455" y="2591"/>
                  </a:lnTo>
                  <a:lnTo>
                    <a:pt x="79887" y="2159"/>
                  </a:lnTo>
                  <a:lnTo>
                    <a:pt x="79887" y="1296"/>
                  </a:lnTo>
                  <a:cubicBezTo>
                    <a:pt x="80319" y="432"/>
                    <a:pt x="80751" y="432"/>
                    <a:pt x="81183" y="432"/>
                  </a:cubicBezTo>
                  <a:cubicBezTo>
                    <a:pt x="82046" y="1296"/>
                    <a:pt x="82910" y="1296"/>
                    <a:pt x="83342" y="1296"/>
                  </a:cubicBezTo>
                  <a:cubicBezTo>
                    <a:pt x="83773" y="1296"/>
                    <a:pt x="83773" y="1727"/>
                    <a:pt x="84205" y="1727"/>
                  </a:cubicBezTo>
                  <a:cubicBezTo>
                    <a:pt x="84637" y="1727"/>
                    <a:pt x="85069" y="1296"/>
                    <a:pt x="85501" y="432"/>
                  </a:cubicBezTo>
                  <a:cubicBezTo>
                    <a:pt x="85501" y="0"/>
                    <a:pt x="85933" y="0"/>
                    <a:pt x="86364" y="0"/>
                  </a:cubicBezTo>
                  <a:cubicBezTo>
                    <a:pt x="87660" y="0"/>
                    <a:pt x="88524" y="432"/>
                    <a:pt x="89387" y="1296"/>
                  </a:cubicBezTo>
                  <a:cubicBezTo>
                    <a:pt x="89819" y="1727"/>
                    <a:pt x="89819" y="1727"/>
                    <a:pt x="90251" y="1727"/>
                  </a:cubicBezTo>
                  <a:cubicBezTo>
                    <a:pt x="90251" y="1727"/>
                    <a:pt x="90683" y="1727"/>
                    <a:pt x="90683" y="1296"/>
                  </a:cubicBezTo>
                  <a:cubicBezTo>
                    <a:pt x="91114" y="432"/>
                    <a:pt x="91978" y="0"/>
                    <a:pt x="92410" y="0"/>
                  </a:cubicBezTo>
                  <a:cubicBezTo>
                    <a:pt x="92842" y="0"/>
                    <a:pt x="92842" y="432"/>
                    <a:pt x="92842" y="432"/>
                  </a:cubicBezTo>
                  <a:cubicBezTo>
                    <a:pt x="93705" y="432"/>
                    <a:pt x="94137" y="1296"/>
                    <a:pt x="94569" y="1727"/>
                  </a:cubicBezTo>
                  <a:cubicBezTo>
                    <a:pt x="95865" y="2159"/>
                    <a:pt x="96296" y="2159"/>
                    <a:pt x="97160" y="2159"/>
                  </a:cubicBezTo>
                  <a:cubicBezTo>
                    <a:pt x="97160" y="1727"/>
                    <a:pt x="97592" y="1727"/>
                    <a:pt x="97592" y="1727"/>
                  </a:cubicBezTo>
                  <a:cubicBezTo>
                    <a:pt x="98024" y="1727"/>
                    <a:pt x="98887" y="2159"/>
                    <a:pt x="99319" y="2159"/>
                  </a:cubicBezTo>
                  <a:lnTo>
                    <a:pt x="99751" y="2159"/>
                  </a:lnTo>
                  <a:lnTo>
                    <a:pt x="100183" y="2591"/>
                  </a:lnTo>
                  <a:lnTo>
                    <a:pt x="102342" y="6477"/>
                  </a:lnTo>
                  <a:cubicBezTo>
                    <a:pt x="102774" y="7341"/>
                    <a:pt x="103205" y="7773"/>
                    <a:pt x="103637" y="7773"/>
                  </a:cubicBezTo>
                  <a:cubicBezTo>
                    <a:pt x="104069" y="8205"/>
                    <a:pt x="104501" y="8205"/>
                    <a:pt x="104501" y="8636"/>
                  </a:cubicBezTo>
                  <a:cubicBezTo>
                    <a:pt x="104501" y="9068"/>
                    <a:pt x="104069" y="9500"/>
                    <a:pt x="104069" y="9932"/>
                  </a:cubicBezTo>
                  <a:lnTo>
                    <a:pt x="102774" y="11659"/>
                  </a:lnTo>
                  <a:cubicBezTo>
                    <a:pt x="102774" y="13387"/>
                    <a:pt x="102342" y="14682"/>
                    <a:pt x="100183" y="15977"/>
                  </a:cubicBezTo>
                  <a:cubicBezTo>
                    <a:pt x="99751" y="15977"/>
                    <a:pt x="97160" y="31091"/>
                    <a:pt x="97160" y="33682"/>
                  </a:cubicBezTo>
                  <a:lnTo>
                    <a:pt x="97160" y="34114"/>
                  </a:lnTo>
                  <a:cubicBezTo>
                    <a:pt x="97592" y="34546"/>
                    <a:pt x="97592" y="35409"/>
                    <a:pt x="97592" y="35841"/>
                  </a:cubicBezTo>
                  <a:cubicBezTo>
                    <a:pt x="97592" y="37137"/>
                    <a:pt x="96728" y="38000"/>
                    <a:pt x="96296" y="38864"/>
                  </a:cubicBezTo>
                  <a:cubicBezTo>
                    <a:pt x="95433" y="40160"/>
                    <a:pt x="95001" y="41887"/>
                    <a:pt x="95001" y="43614"/>
                  </a:cubicBezTo>
                  <a:lnTo>
                    <a:pt x="95001" y="45341"/>
                  </a:lnTo>
                  <a:cubicBezTo>
                    <a:pt x="94569" y="45773"/>
                    <a:pt x="93705" y="46205"/>
                    <a:pt x="93274" y="47069"/>
                  </a:cubicBezTo>
                  <a:cubicBezTo>
                    <a:pt x="92842" y="47069"/>
                    <a:pt x="92410" y="46205"/>
                    <a:pt x="91978" y="46205"/>
                  </a:cubicBezTo>
                  <a:lnTo>
                    <a:pt x="90683" y="46205"/>
                  </a:lnTo>
                  <a:cubicBezTo>
                    <a:pt x="90251" y="47069"/>
                    <a:pt x="89819" y="47500"/>
                    <a:pt x="89819" y="47932"/>
                  </a:cubicBezTo>
                  <a:cubicBezTo>
                    <a:pt x="89819" y="48364"/>
                    <a:pt x="90251" y="48796"/>
                    <a:pt x="90251" y="49228"/>
                  </a:cubicBezTo>
                  <a:cubicBezTo>
                    <a:pt x="90251" y="50091"/>
                    <a:pt x="90683" y="50523"/>
                    <a:pt x="91114" y="50523"/>
                  </a:cubicBezTo>
                  <a:cubicBezTo>
                    <a:pt x="91978" y="50955"/>
                    <a:pt x="92410" y="51819"/>
                    <a:pt x="92410" y="53114"/>
                  </a:cubicBezTo>
                  <a:cubicBezTo>
                    <a:pt x="92410" y="53978"/>
                    <a:pt x="92410" y="55705"/>
                    <a:pt x="91546" y="56569"/>
                  </a:cubicBezTo>
                  <a:cubicBezTo>
                    <a:pt x="90683" y="57432"/>
                    <a:pt x="90251" y="57864"/>
                    <a:pt x="89387" y="57864"/>
                  </a:cubicBezTo>
                  <a:cubicBezTo>
                    <a:pt x="88955" y="57864"/>
                    <a:pt x="88524" y="57864"/>
                    <a:pt x="88524" y="58296"/>
                  </a:cubicBezTo>
                  <a:cubicBezTo>
                    <a:pt x="88524" y="58728"/>
                    <a:pt x="88955" y="59160"/>
                    <a:pt x="89387" y="59592"/>
                  </a:cubicBezTo>
                  <a:cubicBezTo>
                    <a:pt x="89819" y="60023"/>
                    <a:pt x="89819" y="60455"/>
                    <a:pt x="89819" y="60887"/>
                  </a:cubicBezTo>
                  <a:cubicBezTo>
                    <a:pt x="89387" y="61751"/>
                    <a:pt x="89387" y="62182"/>
                    <a:pt x="88955" y="62182"/>
                  </a:cubicBezTo>
                  <a:cubicBezTo>
                    <a:pt x="88955" y="63046"/>
                    <a:pt x="88955" y="63478"/>
                    <a:pt x="87660" y="64341"/>
                  </a:cubicBezTo>
                  <a:lnTo>
                    <a:pt x="86364" y="65637"/>
                  </a:lnTo>
                  <a:cubicBezTo>
                    <a:pt x="85933" y="65637"/>
                    <a:pt x="85933" y="66069"/>
                    <a:pt x="85933" y="66501"/>
                  </a:cubicBezTo>
                  <a:cubicBezTo>
                    <a:pt x="85933" y="66932"/>
                    <a:pt x="86364" y="67364"/>
                    <a:pt x="86796" y="67796"/>
                  </a:cubicBezTo>
                  <a:cubicBezTo>
                    <a:pt x="86796" y="67796"/>
                    <a:pt x="87228" y="68228"/>
                    <a:pt x="87660" y="68228"/>
                  </a:cubicBezTo>
                  <a:cubicBezTo>
                    <a:pt x="88092" y="68660"/>
                    <a:pt x="88524" y="68660"/>
                    <a:pt x="88524" y="69092"/>
                  </a:cubicBezTo>
                  <a:lnTo>
                    <a:pt x="88524" y="69523"/>
                  </a:lnTo>
                  <a:lnTo>
                    <a:pt x="87660" y="70387"/>
                  </a:lnTo>
                  <a:cubicBezTo>
                    <a:pt x="87228" y="71682"/>
                    <a:pt x="86796" y="72114"/>
                    <a:pt x="85933" y="72114"/>
                  </a:cubicBezTo>
                  <a:cubicBezTo>
                    <a:pt x="85501" y="72114"/>
                    <a:pt x="85069" y="71682"/>
                    <a:pt x="84637" y="71682"/>
                  </a:cubicBezTo>
                  <a:lnTo>
                    <a:pt x="83342" y="71682"/>
                  </a:lnTo>
                  <a:lnTo>
                    <a:pt x="82910" y="72114"/>
                  </a:lnTo>
                  <a:lnTo>
                    <a:pt x="82910" y="73410"/>
                  </a:lnTo>
                  <a:lnTo>
                    <a:pt x="84637" y="73410"/>
                  </a:lnTo>
                  <a:cubicBezTo>
                    <a:pt x="85069" y="73410"/>
                    <a:pt x="85501" y="73842"/>
                    <a:pt x="86364" y="74273"/>
                  </a:cubicBezTo>
                  <a:cubicBezTo>
                    <a:pt x="86364" y="75137"/>
                    <a:pt x="85933" y="76433"/>
                    <a:pt x="85501" y="77296"/>
                  </a:cubicBezTo>
                  <a:cubicBezTo>
                    <a:pt x="85069" y="77728"/>
                    <a:pt x="84637" y="77728"/>
                    <a:pt x="84205" y="77728"/>
                  </a:cubicBezTo>
                  <a:lnTo>
                    <a:pt x="82478" y="76433"/>
                  </a:lnTo>
                  <a:lnTo>
                    <a:pt x="81614" y="76433"/>
                  </a:lnTo>
                  <a:lnTo>
                    <a:pt x="81614" y="77296"/>
                  </a:lnTo>
                  <a:cubicBezTo>
                    <a:pt x="81614" y="77728"/>
                    <a:pt x="82046" y="78592"/>
                    <a:pt x="82046" y="79024"/>
                  </a:cubicBezTo>
                  <a:cubicBezTo>
                    <a:pt x="82046" y="79887"/>
                    <a:pt x="81614" y="80319"/>
                    <a:pt x="81614" y="80751"/>
                  </a:cubicBezTo>
                  <a:cubicBezTo>
                    <a:pt x="81614" y="82910"/>
                    <a:pt x="81614" y="85069"/>
                    <a:pt x="81183" y="86796"/>
                  </a:cubicBezTo>
                  <a:cubicBezTo>
                    <a:pt x="80751" y="86364"/>
                    <a:pt x="80319" y="86364"/>
                    <a:pt x="79887" y="86364"/>
                  </a:cubicBezTo>
                  <a:close/>
                  <a:moveTo>
                    <a:pt x="8205" y="380867"/>
                  </a:moveTo>
                  <a:cubicBezTo>
                    <a:pt x="8205" y="382594"/>
                    <a:pt x="9500" y="383890"/>
                    <a:pt x="11227" y="384754"/>
                  </a:cubicBezTo>
                  <a:lnTo>
                    <a:pt x="12091" y="384754"/>
                  </a:lnTo>
                  <a:cubicBezTo>
                    <a:pt x="12523" y="384754"/>
                    <a:pt x="12955" y="384322"/>
                    <a:pt x="12955" y="383890"/>
                  </a:cubicBezTo>
                  <a:cubicBezTo>
                    <a:pt x="12091" y="383458"/>
                    <a:pt x="11659" y="382163"/>
                    <a:pt x="11659" y="381299"/>
                  </a:cubicBezTo>
                  <a:lnTo>
                    <a:pt x="11659" y="380435"/>
                  </a:lnTo>
                  <a:cubicBezTo>
                    <a:pt x="11659" y="379572"/>
                    <a:pt x="11659" y="379140"/>
                    <a:pt x="10796" y="378276"/>
                  </a:cubicBezTo>
                  <a:cubicBezTo>
                    <a:pt x="9932" y="378276"/>
                    <a:pt x="9068" y="377844"/>
                    <a:pt x="8636" y="377844"/>
                  </a:cubicBezTo>
                  <a:lnTo>
                    <a:pt x="7773" y="377844"/>
                  </a:lnTo>
                  <a:cubicBezTo>
                    <a:pt x="7773" y="377844"/>
                    <a:pt x="7773" y="378276"/>
                    <a:pt x="8205" y="378276"/>
                  </a:cubicBezTo>
                  <a:lnTo>
                    <a:pt x="8205" y="380867"/>
                  </a:lnTo>
                  <a:close/>
                  <a:moveTo>
                    <a:pt x="9068" y="268593"/>
                  </a:moveTo>
                  <a:cubicBezTo>
                    <a:pt x="9068" y="268593"/>
                    <a:pt x="8636" y="268162"/>
                    <a:pt x="9068" y="268162"/>
                  </a:cubicBezTo>
                  <a:cubicBezTo>
                    <a:pt x="9068" y="267730"/>
                    <a:pt x="9500" y="267730"/>
                    <a:pt x="9932" y="267730"/>
                  </a:cubicBezTo>
                  <a:lnTo>
                    <a:pt x="10796" y="268593"/>
                  </a:lnTo>
                  <a:cubicBezTo>
                    <a:pt x="10364" y="268593"/>
                    <a:pt x="9932" y="269457"/>
                    <a:pt x="9500" y="269457"/>
                  </a:cubicBezTo>
                  <a:cubicBezTo>
                    <a:pt x="9500" y="269457"/>
                    <a:pt x="9068" y="269457"/>
                    <a:pt x="9068" y="268593"/>
                  </a:cubicBezTo>
                  <a:close/>
                  <a:moveTo>
                    <a:pt x="13818" y="393822"/>
                  </a:moveTo>
                  <a:cubicBezTo>
                    <a:pt x="13386" y="393822"/>
                    <a:pt x="13386" y="393390"/>
                    <a:pt x="13386" y="393390"/>
                  </a:cubicBezTo>
                  <a:cubicBezTo>
                    <a:pt x="12091" y="392095"/>
                    <a:pt x="11227" y="391231"/>
                    <a:pt x="10364" y="391231"/>
                  </a:cubicBezTo>
                  <a:cubicBezTo>
                    <a:pt x="9932" y="390799"/>
                    <a:pt x="9932" y="389935"/>
                    <a:pt x="9932" y="389504"/>
                  </a:cubicBezTo>
                  <a:lnTo>
                    <a:pt x="9932" y="388640"/>
                  </a:lnTo>
                  <a:lnTo>
                    <a:pt x="10796" y="388640"/>
                  </a:lnTo>
                  <a:cubicBezTo>
                    <a:pt x="11227" y="389504"/>
                    <a:pt x="12091" y="390799"/>
                    <a:pt x="13386" y="391663"/>
                  </a:cubicBezTo>
                  <a:cubicBezTo>
                    <a:pt x="13386" y="392095"/>
                    <a:pt x="13386" y="392526"/>
                    <a:pt x="14250" y="393390"/>
                  </a:cubicBezTo>
                  <a:lnTo>
                    <a:pt x="13818" y="393822"/>
                  </a:lnTo>
                  <a:close/>
                  <a:moveTo>
                    <a:pt x="18137" y="233184"/>
                  </a:moveTo>
                  <a:cubicBezTo>
                    <a:pt x="17705" y="233616"/>
                    <a:pt x="17705" y="234048"/>
                    <a:pt x="17273" y="235343"/>
                  </a:cubicBezTo>
                  <a:lnTo>
                    <a:pt x="17273" y="239661"/>
                  </a:lnTo>
                  <a:cubicBezTo>
                    <a:pt x="17273" y="240525"/>
                    <a:pt x="18137" y="240525"/>
                    <a:pt x="18568" y="240525"/>
                  </a:cubicBezTo>
                  <a:cubicBezTo>
                    <a:pt x="18568" y="239661"/>
                    <a:pt x="19000" y="239661"/>
                    <a:pt x="19000" y="239229"/>
                  </a:cubicBezTo>
                  <a:cubicBezTo>
                    <a:pt x="19000" y="238798"/>
                    <a:pt x="18568" y="238366"/>
                    <a:pt x="18568" y="237934"/>
                  </a:cubicBezTo>
                  <a:cubicBezTo>
                    <a:pt x="18568" y="236639"/>
                    <a:pt x="18568" y="236207"/>
                    <a:pt x="19432" y="235775"/>
                  </a:cubicBezTo>
                  <a:cubicBezTo>
                    <a:pt x="19864" y="235343"/>
                    <a:pt x="20296" y="235343"/>
                    <a:pt x="20296" y="234479"/>
                  </a:cubicBezTo>
                  <a:cubicBezTo>
                    <a:pt x="20296" y="234048"/>
                    <a:pt x="19864" y="233184"/>
                    <a:pt x="19864" y="232752"/>
                  </a:cubicBezTo>
                  <a:cubicBezTo>
                    <a:pt x="19432" y="232320"/>
                    <a:pt x="19432" y="231889"/>
                    <a:pt x="19432" y="231889"/>
                  </a:cubicBezTo>
                  <a:lnTo>
                    <a:pt x="18137" y="233184"/>
                  </a:lnTo>
                  <a:close/>
                  <a:moveTo>
                    <a:pt x="19864" y="230161"/>
                  </a:moveTo>
                  <a:lnTo>
                    <a:pt x="19432" y="230161"/>
                  </a:lnTo>
                  <a:lnTo>
                    <a:pt x="19432" y="231457"/>
                  </a:lnTo>
                  <a:cubicBezTo>
                    <a:pt x="19432" y="231025"/>
                    <a:pt x="19864" y="231025"/>
                    <a:pt x="19864" y="230593"/>
                  </a:cubicBezTo>
                  <a:cubicBezTo>
                    <a:pt x="20296" y="230593"/>
                    <a:pt x="19864" y="230161"/>
                    <a:pt x="19864" y="230161"/>
                  </a:cubicBezTo>
                  <a:close/>
                  <a:moveTo>
                    <a:pt x="20727" y="209434"/>
                  </a:moveTo>
                  <a:cubicBezTo>
                    <a:pt x="20296" y="209002"/>
                    <a:pt x="19864" y="208138"/>
                    <a:pt x="19864" y="207275"/>
                  </a:cubicBezTo>
                  <a:lnTo>
                    <a:pt x="19864" y="206411"/>
                  </a:lnTo>
                  <a:cubicBezTo>
                    <a:pt x="19864" y="205979"/>
                    <a:pt x="20296" y="205115"/>
                    <a:pt x="20727" y="205115"/>
                  </a:cubicBezTo>
                  <a:cubicBezTo>
                    <a:pt x="21159" y="205115"/>
                    <a:pt x="21591" y="205979"/>
                    <a:pt x="21591" y="206411"/>
                  </a:cubicBezTo>
                  <a:cubicBezTo>
                    <a:pt x="22455" y="206411"/>
                    <a:pt x="22455" y="206843"/>
                    <a:pt x="22455" y="207275"/>
                  </a:cubicBezTo>
                  <a:lnTo>
                    <a:pt x="20727" y="209434"/>
                  </a:lnTo>
                  <a:close/>
                  <a:moveTo>
                    <a:pt x="25046" y="200797"/>
                  </a:moveTo>
                  <a:lnTo>
                    <a:pt x="25046" y="199934"/>
                  </a:lnTo>
                  <a:lnTo>
                    <a:pt x="24614" y="199934"/>
                  </a:lnTo>
                  <a:lnTo>
                    <a:pt x="23318" y="201661"/>
                  </a:lnTo>
                  <a:cubicBezTo>
                    <a:pt x="23318" y="201661"/>
                    <a:pt x="23318" y="202093"/>
                    <a:pt x="23750" y="202093"/>
                  </a:cubicBezTo>
                  <a:cubicBezTo>
                    <a:pt x="24614" y="202093"/>
                    <a:pt x="25046" y="201661"/>
                    <a:pt x="25046" y="200797"/>
                  </a:cubicBezTo>
                  <a:close/>
                  <a:moveTo>
                    <a:pt x="26341" y="193456"/>
                  </a:moveTo>
                  <a:cubicBezTo>
                    <a:pt x="26341" y="193025"/>
                    <a:pt x="26341" y="193025"/>
                    <a:pt x="26773" y="192593"/>
                  </a:cubicBezTo>
                  <a:lnTo>
                    <a:pt x="25909" y="192161"/>
                  </a:lnTo>
                  <a:lnTo>
                    <a:pt x="26341" y="192593"/>
                  </a:lnTo>
                  <a:cubicBezTo>
                    <a:pt x="25909" y="192593"/>
                    <a:pt x="25909" y="193025"/>
                    <a:pt x="25909" y="193456"/>
                  </a:cubicBezTo>
                  <a:cubicBezTo>
                    <a:pt x="25909" y="193456"/>
                    <a:pt x="26341" y="193456"/>
                    <a:pt x="26341" y="194320"/>
                  </a:cubicBezTo>
                  <a:lnTo>
                    <a:pt x="26341" y="193456"/>
                  </a:lnTo>
                  <a:close/>
                  <a:moveTo>
                    <a:pt x="28932" y="177479"/>
                  </a:moveTo>
                  <a:lnTo>
                    <a:pt x="28500" y="177479"/>
                  </a:lnTo>
                  <a:cubicBezTo>
                    <a:pt x="28068" y="177479"/>
                    <a:pt x="28500" y="177911"/>
                    <a:pt x="28500" y="178343"/>
                  </a:cubicBezTo>
                  <a:cubicBezTo>
                    <a:pt x="28068" y="178343"/>
                    <a:pt x="28500" y="178774"/>
                    <a:pt x="28932" y="179206"/>
                  </a:cubicBezTo>
                  <a:cubicBezTo>
                    <a:pt x="28932" y="179638"/>
                    <a:pt x="29364" y="179638"/>
                    <a:pt x="29364" y="179638"/>
                  </a:cubicBezTo>
                  <a:cubicBezTo>
                    <a:pt x="29364" y="179638"/>
                    <a:pt x="29364" y="179206"/>
                    <a:pt x="29796" y="178774"/>
                  </a:cubicBezTo>
                  <a:cubicBezTo>
                    <a:pt x="29364" y="178343"/>
                    <a:pt x="29364" y="177911"/>
                    <a:pt x="29364" y="177911"/>
                  </a:cubicBezTo>
                  <a:lnTo>
                    <a:pt x="28932" y="177479"/>
                  </a:lnTo>
                  <a:close/>
                  <a:moveTo>
                    <a:pt x="34114" y="143365"/>
                  </a:moveTo>
                  <a:cubicBezTo>
                    <a:pt x="34114" y="143365"/>
                    <a:pt x="33682" y="143365"/>
                    <a:pt x="34114" y="143797"/>
                  </a:cubicBezTo>
                  <a:lnTo>
                    <a:pt x="34546" y="144229"/>
                  </a:lnTo>
                  <a:cubicBezTo>
                    <a:pt x="34978" y="143797"/>
                    <a:pt x="34978" y="143797"/>
                    <a:pt x="35409" y="143797"/>
                  </a:cubicBezTo>
                  <a:cubicBezTo>
                    <a:pt x="34978" y="143365"/>
                    <a:pt x="34978" y="142933"/>
                    <a:pt x="34978" y="142501"/>
                  </a:cubicBezTo>
                  <a:lnTo>
                    <a:pt x="34114" y="143365"/>
                  </a:lnTo>
                  <a:close/>
                  <a:moveTo>
                    <a:pt x="34978" y="142501"/>
                  </a:moveTo>
                  <a:cubicBezTo>
                    <a:pt x="35841" y="142501"/>
                    <a:pt x="36273" y="141206"/>
                    <a:pt x="36705" y="140774"/>
                  </a:cubicBezTo>
                  <a:cubicBezTo>
                    <a:pt x="36273" y="140342"/>
                    <a:pt x="35841" y="140342"/>
                    <a:pt x="35841" y="140342"/>
                  </a:cubicBezTo>
                  <a:cubicBezTo>
                    <a:pt x="35841" y="140342"/>
                    <a:pt x="35409" y="140342"/>
                    <a:pt x="35841" y="140774"/>
                  </a:cubicBezTo>
                  <a:lnTo>
                    <a:pt x="34978" y="142501"/>
                  </a:lnTo>
                  <a:close/>
                  <a:moveTo>
                    <a:pt x="38432" y="393822"/>
                  </a:moveTo>
                  <a:lnTo>
                    <a:pt x="38432" y="392526"/>
                  </a:lnTo>
                  <a:lnTo>
                    <a:pt x="37137" y="392526"/>
                  </a:lnTo>
                  <a:lnTo>
                    <a:pt x="37137" y="393822"/>
                  </a:lnTo>
                  <a:cubicBezTo>
                    <a:pt x="37137" y="393822"/>
                    <a:pt x="37569" y="393822"/>
                    <a:pt x="37569" y="394254"/>
                  </a:cubicBezTo>
                  <a:cubicBezTo>
                    <a:pt x="38000" y="393822"/>
                    <a:pt x="38432" y="393822"/>
                    <a:pt x="38432" y="393822"/>
                  </a:cubicBezTo>
                  <a:close/>
                  <a:moveTo>
                    <a:pt x="37569" y="129115"/>
                  </a:moveTo>
                  <a:cubicBezTo>
                    <a:pt x="38000" y="129115"/>
                    <a:pt x="38000" y="129547"/>
                    <a:pt x="38000" y="129547"/>
                  </a:cubicBezTo>
                  <a:cubicBezTo>
                    <a:pt x="38000" y="129547"/>
                    <a:pt x="37569" y="129547"/>
                    <a:pt x="37569" y="129115"/>
                  </a:cubicBezTo>
                  <a:close/>
                  <a:moveTo>
                    <a:pt x="38000" y="137751"/>
                  </a:moveTo>
                  <a:lnTo>
                    <a:pt x="37569" y="138183"/>
                  </a:lnTo>
                  <a:lnTo>
                    <a:pt x="38000" y="138183"/>
                  </a:lnTo>
                  <a:lnTo>
                    <a:pt x="38000" y="137751"/>
                  </a:lnTo>
                  <a:close/>
                  <a:moveTo>
                    <a:pt x="39728" y="136456"/>
                  </a:moveTo>
                  <a:cubicBezTo>
                    <a:pt x="39728" y="135592"/>
                    <a:pt x="39296" y="135592"/>
                    <a:pt x="38864" y="135592"/>
                  </a:cubicBezTo>
                  <a:cubicBezTo>
                    <a:pt x="38864" y="135592"/>
                    <a:pt x="38432" y="135592"/>
                    <a:pt x="38432" y="136456"/>
                  </a:cubicBezTo>
                  <a:cubicBezTo>
                    <a:pt x="38432" y="136888"/>
                    <a:pt x="38432" y="136888"/>
                    <a:pt x="38864" y="136888"/>
                  </a:cubicBezTo>
                  <a:lnTo>
                    <a:pt x="39728" y="136456"/>
                  </a:lnTo>
                  <a:close/>
                  <a:moveTo>
                    <a:pt x="40591" y="390367"/>
                  </a:moveTo>
                  <a:cubicBezTo>
                    <a:pt x="40591" y="389504"/>
                    <a:pt x="40159" y="389504"/>
                    <a:pt x="40159" y="389504"/>
                  </a:cubicBezTo>
                  <a:lnTo>
                    <a:pt x="39728" y="389504"/>
                  </a:lnTo>
                  <a:lnTo>
                    <a:pt x="39728" y="390367"/>
                  </a:lnTo>
                  <a:cubicBezTo>
                    <a:pt x="40159" y="390367"/>
                    <a:pt x="40159" y="390367"/>
                    <a:pt x="40591" y="390799"/>
                  </a:cubicBezTo>
                  <a:lnTo>
                    <a:pt x="40591" y="390367"/>
                  </a:lnTo>
                  <a:close/>
                  <a:moveTo>
                    <a:pt x="43614" y="384754"/>
                  </a:moveTo>
                  <a:lnTo>
                    <a:pt x="43182" y="384754"/>
                  </a:lnTo>
                  <a:lnTo>
                    <a:pt x="41887" y="386913"/>
                  </a:lnTo>
                  <a:lnTo>
                    <a:pt x="41887" y="387776"/>
                  </a:lnTo>
                  <a:lnTo>
                    <a:pt x="42319" y="387776"/>
                  </a:lnTo>
                  <a:cubicBezTo>
                    <a:pt x="43614" y="386913"/>
                    <a:pt x="43614" y="386481"/>
                    <a:pt x="43614" y="385617"/>
                  </a:cubicBezTo>
                  <a:lnTo>
                    <a:pt x="43614" y="384754"/>
                  </a:lnTo>
                  <a:close/>
                  <a:moveTo>
                    <a:pt x="48364" y="93705"/>
                  </a:moveTo>
                  <a:cubicBezTo>
                    <a:pt x="48364" y="94137"/>
                    <a:pt x="48796" y="94137"/>
                    <a:pt x="48796" y="94137"/>
                  </a:cubicBezTo>
                  <a:lnTo>
                    <a:pt x="48364" y="93705"/>
                  </a:lnTo>
                  <a:close/>
                  <a:moveTo>
                    <a:pt x="57432" y="91114"/>
                  </a:moveTo>
                  <a:cubicBezTo>
                    <a:pt x="57001" y="91978"/>
                    <a:pt x="56569" y="93274"/>
                    <a:pt x="56569" y="94137"/>
                  </a:cubicBezTo>
                  <a:lnTo>
                    <a:pt x="56569" y="94569"/>
                  </a:lnTo>
                  <a:lnTo>
                    <a:pt x="57001" y="94569"/>
                  </a:lnTo>
                  <a:cubicBezTo>
                    <a:pt x="57001" y="93705"/>
                    <a:pt x="57432" y="92410"/>
                    <a:pt x="58296" y="91546"/>
                  </a:cubicBezTo>
                  <a:cubicBezTo>
                    <a:pt x="58728" y="91546"/>
                    <a:pt x="58728" y="91546"/>
                    <a:pt x="58728" y="91114"/>
                  </a:cubicBezTo>
                  <a:lnTo>
                    <a:pt x="57432" y="91114"/>
                  </a:lnTo>
                  <a:close/>
                  <a:moveTo>
                    <a:pt x="58728" y="76864"/>
                  </a:moveTo>
                  <a:cubicBezTo>
                    <a:pt x="59160" y="76433"/>
                    <a:pt x="59160" y="76001"/>
                    <a:pt x="59160" y="75137"/>
                  </a:cubicBezTo>
                  <a:lnTo>
                    <a:pt x="58728" y="75137"/>
                  </a:lnTo>
                  <a:cubicBezTo>
                    <a:pt x="58296" y="76001"/>
                    <a:pt x="58296" y="76433"/>
                    <a:pt x="58296" y="76864"/>
                  </a:cubicBezTo>
                  <a:lnTo>
                    <a:pt x="58728" y="76864"/>
                  </a:lnTo>
                  <a:close/>
                  <a:moveTo>
                    <a:pt x="61751" y="65205"/>
                  </a:moveTo>
                  <a:lnTo>
                    <a:pt x="61751" y="64773"/>
                  </a:lnTo>
                  <a:lnTo>
                    <a:pt x="61319" y="64773"/>
                  </a:lnTo>
                  <a:cubicBezTo>
                    <a:pt x="61319" y="65205"/>
                    <a:pt x="60887" y="65637"/>
                    <a:pt x="60887" y="66069"/>
                  </a:cubicBezTo>
                  <a:cubicBezTo>
                    <a:pt x="61319" y="65637"/>
                    <a:pt x="61319" y="65205"/>
                    <a:pt x="61751" y="65205"/>
                  </a:cubicBezTo>
                  <a:close/>
                  <a:moveTo>
                    <a:pt x="61751" y="68660"/>
                  </a:moveTo>
                  <a:cubicBezTo>
                    <a:pt x="61319" y="68660"/>
                    <a:pt x="61319" y="68660"/>
                    <a:pt x="61319" y="69092"/>
                  </a:cubicBezTo>
                  <a:lnTo>
                    <a:pt x="61319" y="69523"/>
                  </a:lnTo>
                  <a:lnTo>
                    <a:pt x="62614" y="71251"/>
                  </a:lnTo>
                  <a:cubicBezTo>
                    <a:pt x="63046" y="71682"/>
                    <a:pt x="63478" y="71682"/>
                    <a:pt x="63910" y="71682"/>
                  </a:cubicBezTo>
                  <a:cubicBezTo>
                    <a:pt x="64341" y="71682"/>
                    <a:pt x="64773" y="71682"/>
                    <a:pt x="64773" y="71251"/>
                  </a:cubicBezTo>
                  <a:cubicBezTo>
                    <a:pt x="65205" y="70819"/>
                    <a:pt x="65637" y="70387"/>
                    <a:pt x="66069" y="70387"/>
                  </a:cubicBezTo>
                  <a:lnTo>
                    <a:pt x="66932" y="70387"/>
                  </a:lnTo>
                  <a:lnTo>
                    <a:pt x="66932" y="69523"/>
                  </a:lnTo>
                  <a:lnTo>
                    <a:pt x="65637" y="67796"/>
                  </a:lnTo>
                  <a:cubicBezTo>
                    <a:pt x="65205" y="67364"/>
                    <a:pt x="64773" y="67364"/>
                    <a:pt x="64341" y="67364"/>
                  </a:cubicBezTo>
                  <a:lnTo>
                    <a:pt x="63478" y="68228"/>
                  </a:lnTo>
                  <a:cubicBezTo>
                    <a:pt x="63046" y="68660"/>
                    <a:pt x="62614" y="68660"/>
                    <a:pt x="62182" y="68660"/>
                  </a:cubicBezTo>
                  <a:lnTo>
                    <a:pt x="61751" y="68660"/>
                  </a:lnTo>
                  <a:close/>
                  <a:moveTo>
                    <a:pt x="62614" y="147251"/>
                  </a:moveTo>
                  <a:lnTo>
                    <a:pt x="62182" y="147251"/>
                  </a:lnTo>
                  <a:lnTo>
                    <a:pt x="62182" y="148115"/>
                  </a:lnTo>
                  <a:lnTo>
                    <a:pt x="62614" y="148115"/>
                  </a:lnTo>
                  <a:lnTo>
                    <a:pt x="62614" y="147251"/>
                  </a:lnTo>
                  <a:close/>
                  <a:moveTo>
                    <a:pt x="63910" y="57432"/>
                  </a:moveTo>
                  <a:lnTo>
                    <a:pt x="64341" y="57001"/>
                  </a:lnTo>
                  <a:lnTo>
                    <a:pt x="64341" y="56137"/>
                  </a:lnTo>
                  <a:cubicBezTo>
                    <a:pt x="63910" y="56137"/>
                    <a:pt x="63478" y="56569"/>
                    <a:pt x="63478" y="57001"/>
                  </a:cubicBezTo>
                  <a:lnTo>
                    <a:pt x="63910" y="57432"/>
                  </a:lnTo>
                  <a:close/>
                  <a:moveTo>
                    <a:pt x="64341" y="152865"/>
                  </a:moveTo>
                  <a:cubicBezTo>
                    <a:pt x="64341" y="152865"/>
                    <a:pt x="64341" y="153729"/>
                    <a:pt x="63910" y="153729"/>
                  </a:cubicBezTo>
                  <a:cubicBezTo>
                    <a:pt x="63910" y="152865"/>
                    <a:pt x="64341" y="152865"/>
                    <a:pt x="64341" y="152865"/>
                  </a:cubicBezTo>
                  <a:close/>
                  <a:moveTo>
                    <a:pt x="66501" y="64341"/>
                  </a:moveTo>
                  <a:cubicBezTo>
                    <a:pt x="66069" y="64341"/>
                    <a:pt x="65205" y="64341"/>
                    <a:pt x="64773" y="64773"/>
                  </a:cubicBezTo>
                  <a:cubicBezTo>
                    <a:pt x="64341" y="64773"/>
                    <a:pt x="64341" y="65205"/>
                    <a:pt x="64341" y="65205"/>
                  </a:cubicBezTo>
                  <a:cubicBezTo>
                    <a:pt x="64341" y="65637"/>
                    <a:pt x="64773" y="66069"/>
                    <a:pt x="64773" y="66069"/>
                  </a:cubicBezTo>
                  <a:cubicBezTo>
                    <a:pt x="65205" y="66069"/>
                    <a:pt x="65637" y="66501"/>
                    <a:pt x="66069" y="66501"/>
                  </a:cubicBezTo>
                  <a:cubicBezTo>
                    <a:pt x="66501" y="66501"/>
                    <a:pt x="66501" y="66501"/>
                    <a:pt x="66501" y="66069"/>
                  </a:cubicBezTo>
                  <a:lnTo>
                    <a:pt x="66501" y="64341"/>
                  </a:lnTo>
                  <a:close/>
                  <a:moveTo>
                    <a:pt x="66069" y="94569"/>
                  </a:moveTo>
                  <a:cubicBezTo>
                    <a:pt x="66069" y="93705"/>
                    <a:pt x="65205" y="93274"/>
                    <a:pt x="65205" y="92410"/>
                  </a:cubicBezTo>
                  <a:cubicBezTo>
                    <a:pt x="65205" y="91978"/>
                    <a:pt x="64773" y="91978"/>
                    <a:pt x="64773" y="91978"/>
                  </a:cubicBezTo>
                  <a:lnTo>
                    <a:pt x="64341" y="91978"/>
                  </a:lnTo>
                  <a:lnTo>
                    <a:pt x="64341" y="93274"/>
                  </a:lnTo>
                  <a:cubicBezTo>
                    <a:pt x="64341" y="94137"/>
                    <a:pt x="64773" y="94569"/>
                    <a:pt x="65637" y="95001"/>
                  </a:cubicBezTo>
                  <a:cubicBezTo>
                    <a:pt x="65637" y="94569"/>
                    <a:pt x="66069" y="94569"/>
                    <a:pt x="66069" y="94569"/>
                  </a:cubicBezTo>
                  <a:close/>
                  <a:moveTo>
                    <a:pt x="66069" y="88092"/>
                  </a:moveTo>
                  <a:cubicBezTo>
                    <a:pt x="66069" y="88092"/>
                    <a:pt x="65637" y="88092"/>
                    <a:pt x="65637" y="87660"/>
                  </a:cubicBezTo>
                  <a:cubicBezTo>
                    <a:pt x="65637" y="87660"/>
                    <a:pt x="65637" y="88092"/>
                    <a:pt x="65205" y="88092"/>
                  </a:cubicBezTo>
                  <a:cubicBezTo>
                    <a:pt x="65637" y="88092"/>
                    <a:pt x="66069" y="88524"/>
                    <a:pt x="66501" y="88524"/>
                  </a:cubicBezTo>
                  <a:lnTo>
                    <a:pt x="66069" y="88092"/>
                  </a:lnTo>
                  <a:close/>
                  <a:moveTo>
                    <a:pt x="66069" y="58728"/>
                  </a:moveTo>
                  <a:cubicBezTo>
                    <a:pt x="66501" y="59160"/>
                    <a:pt x="66501" y="59160"/>
                    <a:pt x="66932" y="59160"/>
                  </a:cubicBezTo>
                  <a:lnTo>
                    <a:pt x="67364" y="59592"/>
                  </a:lnTo>
                  <a:lnTo>
                    <a:pt x="67796" y="59592"/>
                  </a:lnTo>
                  <a:lnTo>
                    <a:pt x="67796" y="57432"/>
                  </a:lnTo>
                  <a:lnTo>
                    <a:pt x="68228" y="57001"/>
                  </a:lnTo>
                  <a:cubicBezTo>
                    <a:pt x="68228" y="57001"/>
                    <a:pt x="67796" y="57001"/>
                    <a:pt x="67796" y="56569"/>
                  </a:cubicBezTo>
                  <a:cubicBezTo>
                    <a:pt x="67796" y="56137"/>
                    <a:pt x="66932" y="56569"/>
                    <a:pt x="66932" y="57001"/>
                  </a:cubicBezTo>
                  <a:lnTo>
                    <a:pt x="66069" y="58728"/>
                  </a:lnTo>
                  <a:close/>
                  <a:moveTo>
                    <a:pt x="67364" y="63046"/>
                  </a:moveTo>
                  <a:cubicBezTo>
                    <a:pt x="67364" y="62614"/>
                    <a:pt x="66932" y="62182"/>
                    <a:pt x="66932" y="61751"/>
                  </a:cubicBezTo>
                  <a:lnTo>
                    <a:pt x="66069" y="61751"/>
                  </a:lnTo>
                  <a:cubicBezTo>
                    <a:pt x="66069" y="62614"/>
                    <a:pt x="66069" y="63478"/>
                    <a:pt x="66501" y="64341"/>
                  </a:cubicBezTo>
                  <a:cubicBezTo>
                    <a:pt x="66932" y="63910"/>
                    <a:pt x="67364" y="63478"/>
                    <a:pt x="67364" y="63046"/>
                  </a:cubicBezTo>
                  <a:close/>
                  <a:moveTo>
                    <a:pt x="69523" y="76433"/>
                  </a:moveTo>
                  <a:cubicBezTo>
                    <a:pt x="68660" y="76433"/>
                    <a:pt x="68228" y="76433"/>
                    <a:pt x="68228" y="76864"/>
                  </a:cubicBezTo>
                  <a:cubicBezTo>
                    <a:pt x="67364" y="77728"/>
                    <a:pt x="66932" y="79024"/>
                    <a:pt x="66932" y="80319"/>
                  </a:cubicBezTo>
                  <a:lnTo>
                    <a:pt x="66932" y="82046"/>
                  </a:lnTo>
                  <a:cubicBezTo>
                    <a:pt x="66069" y="82910"/>
                    <a:pt x="66501" y="83773"/>
                    <a:pt x="66069" y="85501"/>
                  </a:cubicBezTo>
                  <a:lnTo>
                    <a:pt x="66501" y="85933"/>
                  </a:lnTo>
                  <a:lnTo>
                    <a:pt x="66932" y="85933"/>
                  </a:lnTo>
                  <a:cubicBezTo>
                    <a:pt x="67364" y="85069"/>
                    <a:pt x="67364" y="84637"/>
                    <a:pt x="67364" y="83342"/>
                  </a:cubicBezTo>
                  <a:cubicBezTo>
                    <a:pt x="68228" y="82478"/>
                    <a:pt x="68660" y="80751"/>
                    <a:pt x="69955" y="79455"/>
                  </a:cubicBezTo>
                  <a:cubicBezTo>
                    <a:pt x="69955" y="79455"/>
                    <a:pt x="70387" y="79024"/>
                    <a:pt x="70387" y="78592"/>
                  </a:cubicBezTo>
                  <a:cubicBezTo>
                    <a:pt x="70387" y="78160"/>
                    <a:pt x="69955" y="77728"/>
                    <a:pt x="69955" y="77296"/>
                  </a:cubicBezTo>
                  <a:cubicBezTo>
                    <a:pt x="69955" y="76864"/>
                    <a:pt x="69955" y="76433"/>
                    <a:pt x="69523" y="76433"/>
                  </a:cubicBezTo>
                  <a:close/>
                  <a:moveTo>
                    <a:pt x="69523" y="121342"/>
                  </a:moveTo>
                  <a:cubicBezTo>
                    <a:pt x="68660" y="120910"/>
                    <a:pt x="68228" y="120047"/>
                    <a:pt x="67796" y="119615"/>
                  </a:cubicBezTo>
                  <a:cubicBezTo>
                    <a:pt x="67364" y="119615"/>
                    <a:pt x="67364" y="119183"/>
                    <a:pt x="67364" y="119183"/>
                  </a:cubicBezTo>
                  <a:lnTo>
                    <a:pt x="66932" y="119615"/>
                  </a:lnTo>
                  <a:lnTo>
                    <a:pt x="66932" y="120047"/>
                  </a:lnTo>
                  <a:cubicBezTo>
                    <a:pt x="66932" y="121342"/>
                    <a:pt x="67796" y="121342"/>
                    <a:pt x="68660" y="122206"/>
                  </a:cubicBezTo>
                  <a:lnTo>
                    <a:pt x="69523" y="121342"/>
                  </a:lnTo>
                  <a:close/>
                  <a:moveTo>
                    <a:pt x="69523" y="74273"/>
                  </a:moveTo>
                  <a:cubicBezTo>
                    <a:pt x="69523" y="74273"/>
                    <a:pt x="69955" y="74705"/>
                    <a:pt x="70387" y="74705"/>
                  </a:cubicBezTo>
                  <a:lnTo>
                    <a:pt x="70387" y="74273"/>
                  </a:lnTo>
                  <a:cubicBezTo>
                    <a:pt x="70387" y="74273"/>
                    <a:pt x="69955" y="73842"/>
                    <a:pt x="68660" y="73410"/>
                  </a:cubicBezTo>
                  <a:cubicBezTo>
                    <a:pt x="68228" y="73410"/>
                    <a:pt x="68660" y="73842"/>
                    <a:pt x="68660" y="73842"/>
                  </a:cubicBezTo>
                  <a:lnTo>
                    <a:pt x="69523" y="74273"/>
                  </a:lnTo>
                  <a:close/>
                  <a:moveTo>
                    <a:pt x="68660" y="88524"/>
                  </a:moveTo>
                  <a:lnTo>
                    <a:pt x="68660" y="88955"/>
                  </a:lnTo>
                  <a:lnTo>
                    <a:pt x="69523" y="89387"/>
                  </a:lnTo>
                  <a:cubicBezTo>
                    <a:pt x="69955" y="89387"/>
                    <a:pt x="69955" y="88955"/>
                    <a:pt x="69955" y="88955"/>
                  </a:cubicBezTo>
                  <a:cubicBezTo>
                    <a:pt x="69955" y="88955"/>
                    <a:pt x="69523" y="88524"/>
                    <a:pt x="68660" y="88524"/>
                  </a:cubicBezTo>
                  <a:close/>
                  <a:moveTo>
                    <a:pt x="77296" y="62182"/>
                  </a:moveTo>
                  <a:cubicBezTo>
                    <a:pt x="76864" y="60887"/>
                    <a:pt x="76864" y="59592"/>
                    <a:pt x="75569" y="58728"/>
                  </a:cubicBezTo>
                  <a:cubicBezTo>
                    <a:pt x="75569" y="57864"/>
                    <a:pt x="75137" y="57432"/>
                    <a:pt x="74273" y="57432"/>
                  </a:cubicBezTo>
                  <a:lnTo>
                    <a:pt x="73410" y="57432"/>
                  </a:lnTo>
                  <a:cubicBezTo>
                    <a:pt x="72978" y="57432"/>
                    <a:pt x="72546" y="57864"/>
                    <a:pt x="72114" y="58728"/>
                  </a:cubicBezTo>
                  <a:cubicBezTo>
                    <a:pt x="72546" y="59160"/>
                    <a:pt x="72546" y="59160"/>
                    <a:pt x="72546" y="59592"/>
                  </a:cubicBezTo>
                  <a:cubicBezTo>
                    <a:pt x="72546" y="60023"/>
                    <a:pt x="72546" y="60023"/>
                    <a:pt x="72114" y="60455"/>
                  </a:cubicBezTo>
                  <a:cubicBezTo>
                    <a:pt x="71251" y="61751"/>
                    <a:pt x="71251" y="63478"/>
                    <a:pt x="70819" y="65205"/>
                  </a:cubicBezTo>
                  <a:cubicBezTo>
                    <a:pt x="70819" y="66069"/>
                    <a:pt x="70819" y="67364"/>
                    <a:pt x="69955" y="68228"/>
                  </a:cubicBezTo>
                  <a:cubicBezTo>
                    <a:pt x="69955" y="68228"/>
                    <a:pt x="69523" y="68228"/>
                    <a:pt x="69523" y="68660"/>
                  </a:cubicBezTo>
                  <a:lnTo>
                    <a:pt x="69523" y="70387"/>
                  </a:lnTo>
                  <a:cubicBezTo>
                    <a:pt x="69955" y="70387"/>
                    <a:pt x="70387" y="70819"/>
                    <a:pt x="70819" y="70819"/>
                  </a:cubicBezTo>
                  <a:lnTo>
                    <a:pt x="72114" y="69092"/>
                  </a:lnTo>
                  <a:cubicBezTo>
                    <a:pt x="72978" y="67364"/>
                    <a:pt x="74705" y="66501"/>
                    <a:pt x="76001" y="65205"/>
                  </a:cubicBezTo>
                  <a:lnTo>
                    <a:pt x="76864" y="65205"/>
                  </a:lnTo>
                  <a:cubicBezTo>
                    <a:pt x="77296" y="64773"/>
                    <a:pt x="77296" y="64341"/>
                    <a:pt x="77296" y="64341"/>
                  </a:cubicBezTo>
                  <a:lnTo>
                    <a:pt x="77296" y="62182"/>
                  </a:lnTo>
                  <a:close/>
                  <a:moveTo>
                    <a:pt x="70819" y="125228"/>
                  </a:moveTo>
                  <a:lnTo>
                    <a:pt x="70819" y="124365"/>
                  </a:lnTo>
                  <a:lnTo>
                    <a:pt x="70387" y="124365"/>
                  </a:lnTo>
                  <a:lnTo>
                    <a:pt x="70387" y="125228"/>
                  </a:lnTo>
                  <a:lnTo>
                    <a:pt x="70819" y="125228"/>
                  </a:lnTo>
                  <a:close/>
                  <a:moveTo>
                    <a:pt x="73410" y="120047"/>
                  </a:moveTo>
                  <a:lnTo>
                    <a:pt x="73842" y="120478"/>
                  </a:lnTo>
                  <a:cubicBezTo>
                    <a:pt x="73842" y="120910"/>
                    <a:pt x="73410" y="120910"/>
                    <a:pt x="72978" y="120910"/>
                  </a:cubicBezTo>
                  <a:cubicBezTo>
                    <a:pt x="72978" y="120910"/>
                    <a:pt x="72978" y="120478"/>
                    <a:pt x="72546" y="120478"/>
                  </a:cubicBezTo>
                  <a:cubicBezTo>
                    <a:pt x="72978" y="120047"/>
                    <a:pt x="73410" y="120047"/>
                    <a:pt x="73410" y="120047"/>
                  </a:cubicBezTo>
                  <a:close/>
                  <a:moveTo>
                    <a:pt x="74273" y="71251"/>
                  </a:moveTo>
                  <a:lnTo>
                    <a:pt x="73410" y="71251"/>
                  </a:lnTo>
                  <a:cubicBezTo>
                    <a:pt x="73410" y="71251"/>
                    <a:pt x="72978" y="71251"/>
                    <a:pt x="72978" y="71682"/>
                  </a:cubicBezTo>
                  <a:lnTo>
                    <a:pt x="72978" y="72978"/>
                  </a:lnTo>
                  <a:cubicBezTo>
                    <a:pt x="72978" y="73410"/>
                    <a:pt x="72978" y="73842"/>
                    <a:pt x="73410" y="74273"/>
                  </a:cubicBezTo>
                  <a:lnTo>
                    <a:pt x="75137" y="74273"/>
                  </a:lnTo>
                  <a:cubicBezTo>
                    <a:pt x="75137" y="73842"/>
                    <a:pt x="75137" y="73842"/>
                    <a:pt x="74705" y="72978"/>
                  </a:cubicBezTo>
                  <a:cubicBezTo>
                    <a:pt x="74705" y="72114"/>
                    <a:pt x="74705" y="71682"/>
                    <a:pt x="74273" y="71251"/>
                  </a:cubicBezTo>
                  <a:close/>
                  <a:moveTo>
                    <a:pt x="73410" y="61751"/>
                  </a:moveTo>
                  <a:lnTo>
                    <a:pt x="73842" y="60887"/>
                  </a:lnTo>
                  <a:cubicBezTo>
                    <a:pt x="74273" y="60887"/>
                    <a:pt x="74273" y="61751"/>
                    <a:pt x="74273" y="61751"/>
                  </a:cubicBezTo>
                  <a:cubicBezTo>
                    <a:pt x="74273" y="61751"/>
                    <a:pt x="74273" y="62182"/>
                    <a:pt x="73842" y="62614"/>
                  </a:cubicBezTo>
                  <a:cubicBezTo>
                    <a:pt x="73842" y="62182"/>
                    <a:pt x="73410" y="61751"/>
                    <a:pt x="73410" y="61751"/>
                  </a:cubicBezTo>
                  <a:close/>
                  <a:moveTo>
                    <a:pt x="73410" y="82046"/>
                  </a:moveTo>
                  <a:cubicBezTo>
                    <a:pt x="73410" y="82478"/>
                    <a:pt x="74273" y="82910"/>
                    <a:pt x="74273" y="82910"/>
                  </a:cubicBezTo>
                  <a:cubicBezTo>
                    <a:pt x="74705" y="82910"/>
                    <a:pt x="74705" y="82478"/>
                    <a:pt x="74705" y="82046"/>
                  </a:cubicBezTo>
                  <a:cubicBezTo>
                    <a:pt x="74273" y="81614"/>
                    <a:pt x="74273" y="81614"/>
                    <a:pt x="73842" y="81614"/>
                  </a:cubicBezTo>
                  <a:lnTo>
                    <a:pt x="73410" y="82046"/>
                  </a:lnTo>
                  <a:close/>
                  <a:moveTo>
                    <a:pt x="76001" y="86796"/>
                  </a:moveTo>
                  <a:cubicBezTo>
                    <a:pt x="76001" y="86796"/>
                    <a:pt x="76433" y="86364"/>
                    <a:pt x="76433" y="85933"/>
                  </a:cubicBezTo>
                  <a:cubicBezTo>
                    <a:pt x="76433" y="85501"/>
                    <a:pt x="76433" y="85501"/>
                    <a:pt x="76001" y="85501"/>
                  </a:cubicBezTo>
                  <a:lnTo>
                    <a:pt x="75569" y="85501"/>
                  </a:lnTo>
                  <a:cubicBezTo>
                    <a:pt x="75137" y="85501"/>
                    <a:pt x="75137" y="85501"/>
                    <a:pt x="74705" y="85933"/>
                  </a:cubicBezTo>
                  <a:cubicBezTo>
                    <a:pt x="74705" y="86364"/>
                    <a:pt x="75569" y="86796"/>
                    <a:pt x="76001" y="86796"/>
                  </a:cubicBezTo>
                  <a:close/>
                  <a:moveTo>
                    <a:pt x="80751" y="50523"/>
                  </a:moveTo>
                  <a:cubicBezTo>
                    <a:pt x="80319" y="50523"/>
                    <a:pt x="80319" y="50955"/>
                    <a:pt x="80319" y="51387"/>
                  </a:cubicBezTo>
                  <a:lnTo>
                    <a:pt x="80319" y="51819"/>
                  </a:lnTo>
                  <a:cubicBezTo>
                    <a:pt x="80319" y="53114"/>
                    <a:pt x="79455" y="53546"/>
                    <a:pt x="79023" y="53978"/>
                  </a:cubicBezTo>
                  <a:lnTo>
                    <a:pt x="78160" y="53978"/>
                  </a:lnTo>
                  <a:lnTo>
                    <a:pt x="78160" y="54410"/>
                  </a:lnTo>
                  <a:cubicBezTo>
                    <a:pt x="78592" y="54841"/>
                    <a:pt x="79455" y="55273"/>
                    <a:pt x="79887" y="55273"/>
                  </a:cubicBezTo>
                  <a:cubicBezTo>
                    <a:pt x="79887" y="55273"/>
                    <a:pt x="80319" y="55273"/>
                    <a:pt x="80319" y="54841"/>
                  </a:cubicBezTo>
                  <a:cubicBezTo>
                    <a:pt x="80319" y="54841"/>
                    <a:pt x="80319" y="54410"/>
                    <a:pt x="80751" y="54410"/>
                  </a:cubicBezTo>
                  <a:cubicBezTo>
                    <a:pt x="80751" y="54410"/>
                    <a:pt x="81183" y="54841"/>
                    <a:pt x="81614" y="54841"/>
                  </a:cubicBezTo>
                  <a:lnTo>
                    <a:pt x="82910" y="54841"/>
                  </a:lnTo>
                  <a:lnTo>
                    <a:pt x="82910" y="54410"/>
                  </a:lnTo>
                  <a:cubicBezTo>
                    <a:pt x="82910" y="53978"/>
                    <a:pt x="82046" y="53546"/>
                    <a:pt x="82046" y="53546"/>
                  </a:cubicBezTo>
                  <a:cubicBezTo>
                    <a:pt x="81614" y="52682"/>
                    <a:pt x="81183" y="52251"/>
                    <a:pt x="81183" y="51819"/>
                  </a:cubicBezTo>
                  <a:cubicBezTo>
                    <a:pt x="81183" y="51387"/>
                    <a:pt x="81614" y="51387"/>
                    <a:pt x="81614" y="50955"/>
                  </a:cubicBezTo>
                  <a:cubicBezTo>
                    <a:pt x="81183" y="50955"/>
                    <a:pt x="81183" y="50523"/>
                    <a:pt x="80751" y="50523"/>
                  </a:cubicBezTo>
                  <a:close/>
                  <a:moveTo>
                    <a:pt x="80751" y="3023"/>
                  </a:moveTo>
                  <a:lnTo>
                    <a:pt x="81183" y="2591"/>
                  </a:lnTo>
                  <a:lnTo>
                    <a:pt x="80751" y="2591"/>
                  </a:lnTo>
                  <a:lnTo>
                    <a:pt x="80751" y="3023"/>
                  </a:lnTo>
                  <a:close/>
                  <a:moveTo>
                    <a:pt x="81183" y="86796"/>
                  </a:moveTo>
                  <a:lnTo>
                    <a:pt x="82046" y="86796"/>
                  </a:lnTo>
                  <a:lnTo>
                    <a:pt x="82046" y="88092"/>
                  </a:lnTo>
                  <a:cubicBezTo>
                    <a:pt x="82478" y="88092"/>
                    <a:pt x="82478" y="88524"/>
                    <a:pt x="82478" y="88524"/>
                  </a:cubicBezTo>
                  <a:cubicBezTo>
                    <a:pt x="82046" y="88092"/>
                    <a:pt x="81614" y="88092"/>
                    <a:pt x="81183" y="88092"/>
                  </a:cubicBezTo>
                  <a:lnTo>
                    <a:pt x="81183" y="86796"/>
                  </a:lnTo>
                  <a:close/>
                  <a:moveTo>
                    <a:pt x="81183" y="91546"/>
                  </a:moveTo>
                  <a:cubicBezTo>
                    <a:pt x="81183" y="91114"/>
                    <a:pt x="81183" y="90683"/>
                    <a:pt x="81614" y="90683"/>
                  </a:cubicBezTo>
                  <a:cubicBezTo>
                    <a:pt x="81614" y="90683"/>
                    <a:pt x="82046" y="90683"/>
                    <a:pt x="82046" y="91114"/>
                  </a:cubicBezTo>
                  <a:cubicBezTo>
                    <a:pt x="82046" y="91114"/>
                    <a:pt x="82046" y="91546"/>
                    <a:pt x="81614" y="91978"/>
                  </a:cubicBezTo>
                  <a:cubicBezTo>
                    <a:pt x="81183" y="91978"/>
                    <a:pt x="81183" y="91546"/>
                    <a:pt x="81183" y="91546"/>
                  </a:cubicBezTo>
                  <a:close/>
                  <a:moveTo>
                    <a:pt x="85501" y="53546"/>
                  </a:moveTo>
                  <a:cubicBezTo>
                    <a:pt x="85933" y="52251"/>
                    <a:pt x="85933" y="51387"/>
                    <a:pt x="85933" y="50523"/>
                  </a:cubicBezTo>
                  <a:lnTo>
                    <a:pt x="85501" y="50523"/>
                  </a:lnTo>
                  <a:lnTo>
                    <a:pt x="84637" y="52251"/>
                  </a:lnTo>
                  <a:cubicBezTo>
                    <a:pt x="84637" y="52251"/>
                    <a:pt x="85069" y="53114"/>
                    <a:pt x="85069" y="53546"/>
                  </a:cubicBezTo>
                  <a:lnTo>
                    <a:pt x="85501" y="53546"/>
                  </a:lnTo>
                  <a:close/>
                  <a:moveTo>
                    <a:pt x="85501" y="69092"/>
                  </a:moveTo>
                  <a:cubicBezTo>
                    <a:pt x="85501" y="69523"/>
                    <a:pt x="85933" y="69523"/>
                    <a:pt x="85933" y="69523"/>
                  </a:cubicBezTo>
                  <a:cubicBezTo>
                    <a:pt x="85933" y="69523"/>
                    <a:pt x="86364" y="69523"/>
                    <a:pt x="86364" y="69092"/>
                  </a:cubicBezTo>
                  <a:cubicBezTo>
                    <a:pt x="86364" y="69092"/>
                    <a:pt x="85933" y="69092"/>
                    <a:pt x="85933" y="68660"/>
                  </a:cubicBezTo>
                  <a:lnTo>
                    <a:pt x="85501" y="69092"/>
                  </a:lnTo>
                  <a:close/>
                  <a:moveTo>
                    <a:pt x="86364" y="62182"/>
                  </a:moveTo>
                  <a:lnTo>
                    <a:pt x="86796" y="62182"/>
                  </a:lnTo>
                  <a:lnTo>
                    <a:pt x="86796" y="61751"/>
                  </a:lnTo>
                  <a:lnTo>
                    <a:pt x="86364" y="61751"/>
                  </a:lnTo>
                  <a:lnTo>
                    <a:pt x="86364" y="62182"/>
                  </a:lnTo>
                  <a:close/>
                  <a:moveTo>
                    <a:pt x="90251" y="54841"/>
                  </a:moveTo>
                  <a:lnTo>
                    <a:pt x="90251" y="55705"/>
                  </a:lnTo>
                  <a:lnTo>
                    <a:pt x="90683" y="55705"/>
                  </a:lnTo>
                  <a:lnTo>
                    <a:pt x="90251" y="54841"/>
                  </a:lnTo>
                  <a:close/>
                  <a:moveTo>
                    <a:pt x="93274" y="44909"/>
                  </a:moveTo>
                  <a:cubicBezTo>
                    <a:pt x="92842" y="44478"/>
                    <a:pt x="92842" y="44478"/>
                    <a:pt x="92410" y="44478"/>
                  </a:cubicBezTo>
                  <a:lnTo>
                    <a:pt x="91978" y="44478"/>
                  </a:lnTo>
                  <a:cubicBezTo>
                    <a:pt x="92410" y="44909"/>
                    <a:pt x="92842" y="44909"/>
                    <a:pt x="92842" y="44909"/>
                  </a:cubicBezTo>
                  <a:lnTo>
                    <a:pt x="93274" y="44909"/>
                  </a:lnTo>
                  <a:close/>
                </a:path>
              </a:pathLst>
            </a:custGeom>
            <a:solidFill>
              <a:srgbClr val="000000"/>
            </a:solidFill>
            <a:ln w="86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1B9692A8-AD43-4E6C-986E-6B4AA535BB23}"/>
                </a:ext>
              </a:extLst>
            </p:cNvPr>
            <p:cNvSpPr/>
            <p:nvPr/>
          </p:nvSpPr>
          <p:spPr>
            <a:xfrm>
              <a:off x="9327" y="6154352"/>
              <a:ext cx="319548" cy="215911"/>
            </a:xfrm>
            <a:custGeom>
              <a:avLst/>
              <a:gdLst>
                <a:gd name="connsiteX0" fmla="*/ 324730 w 319548"/>
                <a:gd name="connsiteY0" fmla="*/ 137319 h 215911"/>
                <a:gd name="connsiteX1" fmla="*/ 323003 w 319548"/>
                <a:gd name="connsiteY1" fmla="*/ 143365 h 215911"/>
                <a:gd name="connsiteX2" fmla="*/ 317389 w 319548"/>
                <a:gd name="connsiteY2" fmla="*/ 146820 h 215911"/>
                <a:gd name="connsiteX3" fmla="*/ 312207 w 319548"/>
                <a:gd name="connsiteY3" fmla="*/ 150274 h 215911"/>
                <a:gd name="connsiteX4" fmla="*/ 310480 w 319548"/>
                <a:gd name="connsiteY4" fmla="*/ 151569 h 215911"/>
                <a:gd name="connsiteX5" fmla="*/ 309185 w 319548"/>
                <a:gd name="connsiteY5" fmla="*/ 152865 h 215911"/>
                <a:gd name="connsiteX6" fmla="*/ 305730 w 319548"/>
                <a:gd name="connsiteY6" fmla="*/ 157183 h 215911"/>
                <a:gd name="connsiteX7" fmla="*/ 302707 w 319548"/>
                <a:gd name="connsiteY7" fmla="*/ 159774 h 215911"/>
                <a:gd name="connsiteX8" fmla="*/ 300980 w 319548"/>
                <a:gd name="connsiteY8" fmla="*/ 160206 h 215911"/>
                <a:gd name="connsiteX9" fmla="*/ 297957 w 319548"/>
                <a:gd name="connsiteY9" fmla="*/ 159774 h 215911"/>
                <a:gd name="connsiteX10" fmla="*/ 288025 w 319548"/>
                <a:gd name="connsiteY10" fmla="*/ 156751 h 215911"/>
                <a:gd name="connsiteX11" fmla="*/ 284571 w 319548"/>
                <a:gd name="connsiteY11" fmla="*/ 154592 h 215911"/>
                <a:gd name="connsiteX12" fmla="*/ 277662 w 319548"/>
                <a:gd name="connsiteY12" fmla="*/ 149842 h 215911"/>
                <a:gd name="connsiteX13" fmla="*/ 262116 w 319548"/>
                <a:gd name="connsiteY13" fmla="*/ 131706 h 215911"/>
                <a:gd name="connsiteX14" fmla="*/ 259525 w 319548"/>
                <a:gd name="connsiteY14" fmla="*/ 117887 h 215911"/>
                <a:gd name="connsiteX15" fmla="*/ 259093 w 319548"/>
                <a:gd name="connsiteY15" fmla="*/ 106228 h 215911"/>
                <a:gd name="connsiteX16" fmla="*/ 259093 w 319548"/>
                <a:gd name="connsiteY16" fmla="*/ 102774 h 215911"/>
                <a:gd name="connsiteX17" fmla="*/ 259957 w 319548"/>
                <a:gd name="connsiteY17" fmla="*/ 88955 h 215911"/>
                <a:gd name="connsiteX18" fmla="*/ 259957 w 319548"/>
                <a:gd name="connsiteY18" fmla="*/ 87660 h 215911"/>
                <a:gd name="connsiteX19" fmla="*/ 261252 w 319548"/>
                <a:gd name="connsiteY19" fmla="*/ 77296 h 215911"/>
                <a:gd name="connsiteX20" fmla="*/ 261252 w 319548"/>
                <a:gd name="connsiteY20" fmla="*/ 75569 h 215911"/>
                <a:gd name="connsiteX21" fmla="*/ 259093 w 319548"/>
                <a:gd name="connsiteY21" fmla="*/ 69092 h 215911"/>
                <a:gd name="connsiteX22" fmla="*/ 258661 w 319548"/>
                <a:gd name="connsiteY22" fmla="*/ 68228 h 215911"/>
                <a:gd name="connsiteX23" fmla="*/ 258230 w 319548"/>
                <a:gd name="connsiteY23" fmla="*/ 68228 h 215911"/>
                <a:gd name="connsiteX24" fmla="*/ 255639 w 319548"/>
                <a:gd name="connsiteY24" fmla="*/ 70819 h 215911"/>
                <a:gd name="connsiteX25" fmla="*/ 250025 w 319548"/>
                <a:gd name="connsiteY25" fmla="*/ 77296 h 215911"/>
                <a:gd name="connsiteX26" fmla="*/ 248730 w 319548"/>
                <a:gd name="connsiteY26" fmla="*/ 78592 h 215911"/>
                <a:gd name="connsiteX27" fmla="*/ 244411 w 319548"/>
                <a:gd name="connsiteY27" fmla="*/ 82046 h 215911"/>
                <a:gd name="connsiteX28" fmla="*/ 243548 w 319548"/>
                <a:gd name="connsiteY28" fmla="*/ 82910 h 215911"/>
                <a:gd name="connsiteX29" fmla="*/ 243116 w 319548"/>
                <a:gd name="connsiteY29" fmla="*/ 82910 h 215911"/>
                <a:gd name="connsiteX30" fmla="*/ 241820 w 319548"/>
                <a:gd name="connsiteY30" fmla="*/ 82046 h 215911"/>
                <a:gd name="connsiteX31" fmla="*/ 241389 w 319548"/>
                <a:gd name="connsiteY31" fmla="*/ 82478 h 215911"/>
                <a:gd name="connsiteX32" fmla="*/ 240525 w 319548"/>
                <a:gd name="connsiteY32" fmla="*/ 85069 h 215911"/>
                <a:gd name="connsiteX33" fmla="*/ 236207 w 319548"/>
                <a:gd name="connsiteY33" fmla="*/ 88955 h 215911"/>
                <a:gd name="connsiteX34" fmla="*/ 235343 w 319548"/>
                <a:gd name="connsiteY34" fmla="*/ 89819 h 215911"/>
                <a:gd name="connsiteX35" fmla="*/ 235775 w 319548"/>
                <a:gd name="connsiteY35" fmla="*/ 91114 h 215911"/>
                <a:gd name="connsiteX36" fmla="*/ 235775 w 319548"/>
                <a:gd name="connsiteY36" fmla="*/ 91546 h 215911"/>
                <a:gd name="connsiteX37" fmla="*/ 234048 w 319548"/>
                <a:gd name="connsiteY37" fmla="*/ 92410 h 215911"/>
                <a:gd name="connsiteX38" fmla="*/ 233616 w 319548"/>
                <a:gd name="connsiteY38" fmla="*/ 92410 h 215911"/>
                <a:gd name="connsiteX39" fmla="*/ 232752 w 319548"/>
                <a:gd name="connsiteY39" fmla="*/ 93273 h 215911"/>
                <a:gd name="connsiteX40" fmla="*/ 231888 w 319548"/>
                <a:gd name="connsiteY40" fmla="*/ 95433 h 215911"/>
                <a:gd name="connsiteX41" fmla="*/ 232320 w 319548"/>
                <a:gd name="connsiteY41" fmla="*/ 96296 h 215911"/>
                <a:gd name="connsiteX42" fmla="*/ 231025 w 319548"/>
                <a:gd name="connsiteY42" fmla="*/ 98455 h 215911"/>
                <a:gd name="connsiteX43" fmla="*/ 229729 w 319548"/>
                <a:gd name="connsiteY43" fmla="*/ 101478 h 215911"/>
                <a:gd name="connsiteX44" fmla="*/ 229729 w 319548"/>
                <a:gd name="connsiteY44" fmla="*/ 102774 h 215911"/>
                <a:gd name="connsiteX45" fmla="*/ 224548 w 319548"/>
                <a:gd name="connsiteY45" fmla="*/ 107524 h 215911"/>
                <a:gd name="connsiteX46" fmla="*/ 223252 w 319548"/>
                <a:gd name="connsiteY46" fmla="*/ 110978 h 215911"/>
                <a:gd name="connsiteX47" fmla="*/ 221525 w 319548"/>
                <a:gd name="connsiteY47" fmla="*/ 113137 h 215911"/>
                <a:gd name="connsiteX48" fmla="*/ 218934 w 319548"/>
                <a:gd name="connsiteY48" fmla="*/ 114433 h 215911"/>
                <a:gd name="connsiteX49" fmla="*/ 215479 w 319548"/>
                <a:gd name="connsiteY49" fmla="*/ 117024 h 215911"/>
                <a:gd name="connsiteX50" fmla="*/ 214184 w 319548"/>
                <a:gd name="connsiteY50" fmla="*/ 117887 h 215911"/>
                <a:gd name="connsiteX51" fmla="*/ 211161 w 319548"/>
                <a:gd name="connsiteY51" fmla="*/ 121774 h 215911"/>
                <a:gd name="connsiteX52" fmla="*/ 211161 w 319548"/>
                <a:gd name="connsiteY52" fmla="*/ 122206 h 215911"/>
                <a:gd name="connsiteX53" fmla="*/ 213320 w 319548"/>
                <a:gd name="connsiteY53" fmla="*/ 122206 h 215911"/>
                <a:gd name="connsiteX54" fmla="*/ 214184 w 319548"/>
                <a:gd name="connsiteY54" fmla="*/ 122637 h 215911"/>
                <a:gd name="connsiteX55" fmla="*/ 209866 w 319548"/>
                <a:gd name="connsiteY55" fmla="*/ 132137 h 215911"/>
                <a:gd name="connsiteX56" fmla="*/ 202956 w 319548"/>
                <a:gd name="connsiteY56" fmla="*/ 138615 h 215911"/>
                <a:gd name="connsiteX57" fmla="*/ 201229 w 319548"/>
                <a:gd name="connsiteY57" fmla="*/ 142069 h 215911"/>
                <a:gd name="connsiteX58" fmla="*/ 199934 w 319548"/>
                <a:gd name="connsiteY58" fmla="*/ 145956 h 215911"/>
                <a:gd name="connsiteX59" fmla="*/ 197775 w 319548"/>
                <a:gd name="connsiteY59" fmla="*/ 148979 h 215911"/>
                <a:gd name="connsiteX60" fmla="*/ 190865 w 319548"/>
                <a:gd name="connsiteY60" fmla="*/ 159774 h 215911"/>
                <a:gd name="connsiteX61" fmla="*/ 190002 w 319548"/>
                <a:gd name="connsiteY61" fmla="*/ 161501 h 215911"/>
                <a:gd name="connsiteX62" fmla="*/ 189570 w 319548"/>
                <a:gd name="connsiteY62" fmla="*/ 161933 h 215911"/>
                <a:gd name="connsiteX63" fmla="*/ 189570 w 319548"/>
                <a:gd name="connsiteY63" fmla="*/ 162365 h 215911"/>
                <a:gd name="connsiteX64" fmla="*/ 182661 w 319548"/>
                <a:gd name="connsiteY64" fmla="*/ 172729 h 215911"/>
                <a:gd name="connsiteX65" fmla="*/ 181365 w 319548"/>
                <a:gd name="connsiteY65" fmla="*/ 174456 h 215911"/>
                <a:gd name="connsiteX66" fmla="*/ 175320 w 319548"/>
                <a:gd name="connsiteY66" fmla="*/ 183524 h 215911"/>
                <a:gd name="connsiteX67" fmla="*/ 174024 w 319548"/>
                <a:gd name="connsiteY67" fmla="*/ 187411 h 215911"/>
                <a:gd name="connsiteX68" fmla="*/ 171002 w 319548"/>
                <a:gd name="connsiteY68" fmla="*/ 192161 h 215911"/>
                <a:gd name="connsiteX69" fmla="*/ 167547 w 319548"/>
                <a:gd name="connsiteY69" fmla="*/ 193888 h 215911"/>
                <a:gd name="connsiteX70" fmla="*/ 165820 w 319548"/>
                <a:gd name="connsiteY70" fmla="*/ 194320 h 215911"/>
                <a:gd name="connsiteX71" fmla="*/ 161933 w 319548"/>
                <a:gd name="connsiteY71" fmla="*/ 192161 h 215911"/>
                <a:gd name="connsiteX72" fmla="*/ 152433 w 319548"/>
                <a:gd name="connsiteY72" fmla="*/ 183956 h 215911"/>
                <a:gd name="connsiteX73" fmla="*/ 149410 w 319548"/>
                <a:gd name="connsiteY73" fmla="*/ 182229 h 215911"/>
                <a:gd name="connsiteX74" fmla="*/ 142933 w 319548"/>
                <a:gd name="connsiteY74" fmla="*/ 176183 h 215911"/>
                <a:gd name="connsiteX75" fmla="*/ 141206 w 319548"/>
                <a:gd name="connsiteY75" fmla="*/ 174024 h 215911"/>
                <a:gd name="connsiteX76" fmla="*/ 139910 w 319548"/>
                <a:gd name="connsiteY76" fmla="*/ 170570 h 215911"/>
                <a:gd name="connsiteX77" fmla="*/ 138615 w 319548"/>
                <a:gd name="connsiteY77" fmla="*/ 160638 h 215911"/>
                <a:gd name="connsiteX78" fmla="*/ 139479 w 319548"/>
                <a:gd name="connsiteY78" fmla="*/ 142933 h 215911"/>
                <a:gd name="connsiteX79" fmla="*/ 139910 w 319548"/>
                <a:gd name="connsiteY79" fmla="*/ 135592 h 215911"/>
                <a:gd name="connsiteX80" fmla="*/ 142501 w 319548"/>
                <a:gd name="connsiteY80" fmla="*/ 109683 h 215911"/>
                <a:gd name="connsiteX81" fmla="*/ 145956 w 319548"/>
                <a:gd name="connsiteY81" fmla="*/ 91546 h 215911"/>
                <a:gd name="connsiteX82" fmla="*/ 145956 w 319548"/>
                <a:gd name="connsiteY82" fmla="*/ 90251 h 215911"/>
                <a:gd name="connsiteX83" fmla="*/ 145956 w 319548"/>
                <a:gd name="connsiteY83" fmla="*/ 87660 h 215911"/>
                <a:gd name="connsiteX84" fmla="*/ 148979 w 319548"/>
                <a:gd name="connsiteY84" fmla="*/ 68228 h 215911"/>
                <a:gd name="connsiteX85" fmla="*/ 152433 w 319548"/>
                <a:gd name="connsiteY85" fmla="*/ 52250 h 215911"/>
                <a:gd name="connsiteX86" fmla="*/ 152865 w 319548"/>
                <a:gd name="connsiteY86" fmla="*/ 48364 h 215911"/>
                <a:gd name="connsiteX87" fmla="*/ 152865 w 319548"/>
                <a:gd name="connsiteY87" fmla="*/ 46637 h 215911"/>
                <a:gd name="connsiteX88" fmla="*/ 151138 w 319548"/>
                <a:gd name="connsiteY88" fmla="*/ 44478 h 215911"/>
                <a:gd name="connsiteX89" fmla="*/ 150706 w 319548"/>
                <a:gd name="connsiteY89" fmla="*/ 44478 h 215911"/>
                <a:gd name="connsiteX90" fmla="*/ 148115 w 319548"/>
                <a:gd name="connsiteY90" fmla="*/ 47069 h 215911"/>
                <a:gd name="connsiteX91" fmla="*/ 144229 w 319548"/>
                <a:gd name="connsiteY91" fmla="*/ 48364 h 215911"/>
                <a:gd name="connsiteX92" fmla="*/ 141206 w 319548"/>
                <a:gd name="connsiteY92" fmla="*/ 52250 h 215911"/>
                <a:gd name="connsiteX93" fmla="*/ 139047 w 319548"/>
                <a:gd name="connsiteY93" fmla="*/ 53978 h 215911"/>
                <a:gd name="connsiteX94" fmla="*/ 134729 w 319548"/>
                <a:gd name="connsiteY94" fmla="*/ 58296 h 215911"/>
                <a:gd name="connsiteX95" fmla="*/ 125660 w 319548"/>
                <a:gd name="connsiteY95" fmla="*/ 66501 h 215911"/>
                <a:gd name="connsiteX96" fmla="*/ 122637 w 319548"/>
                <a:gd name="connsiteY96" fmla="*/ 69523 h 215911"/>
                <a:gd name="connsiteX97" fmla="*/ 117887 w 319548"/>
                <a:gd name="connsiteY97" fmla="*/ 75137 h 215911"/>
                <a:gd name="connsiteX98" fmla="*/ 114001 w 319548"/>
                <a:gd name="connsiteY98" fmla="*/ 79455 h 215911"/>
                <a:gd name="connsiteX99" fmla="*/ 110978 w 319548"/>
                <a:gd name="connsiteY99" fmla="*/ 82046 h 215911"/>
                <a:gd name="connsiteX100" fmla="*/ 109251 w 319548"/>
                <a:gd name="connsiteY100" fmla="*/ 84637 h 215911"/>
                <a:gd name="connsiteX101" fmla="*/ 109251 w 319548"/>
                <a:gd name="connsiteY101" fmla="*/ 85933 h 215911"/>
                <a:gd name="connsiteX102" fmla="*/ 107524 w 319548"/>
                <a:gd name="connsiteY102" fmla="*/ 88092 h 215911"/>
                <a:gd name="connsiteX103" fmla="*/ 96728 w 319548"/>
                <a:gd name="connsiteY103" fmla="*/ 103637 h 215911"/>
                <a:gd name="connsiteX104" fmla="*/ 92842 w 319548"/>
                <a:gd name="connsiteY104" fmla="*/ 106660 h 215911"/>
                <a:gd name="connsiteX105" fmla="*/ 91978 w 319548"/>
                <a:gd name="connsiteY105" fmla="*/ 107524 h 215911"/>
                <a:gd name="connsiteX106" fmla="*/ 91114 w 319548"/>
                <a:gd name="connsiteY106" fmla="*/ 106660 h 215911"/>
                <a:gd name="connsiteX107" fmla="*/ 89819 w 319548"/>
                <a:gd name="connsiteY107" fmla="*/ 106228 h 215911"/>
                <a:gd name="connsiteX108" fmla="*/ 88524 w 319548"/>
                <a:gd name="connsiteY108" fmla="*/ 106660 h 215911"/>
                <a:gd name="connsiteX109" fmla="*/ 88524 w 319548"/>
                <a:gd name="connsiteY109" fmla="*/ 108819 h 215911"/>
                <a:gd name="connsiteX110" fmla="*/ 88524 w 319548"/>
                <a:gd name="connsiteY110" fmla="*/ 109683 h 215911"/>
                <a:gd name="connsiteX111" fmla="*/ 89387 w 319548"/>
                <a:gd name="connsiteY111" fmla="*/ 111842 h 215911"/>
                <a:gd name="connsiteX112" fmla="*/ 87660 w 319548"/>
                <a:gd name="connsiteY112" fmla="*/ 114865 h 215911"/>
                <a:gd name="connsiteX113" fmla="*/ 82478 w 319548"/>
                <a:gd name="connsiteY113" fmla="*/ 117887 h 215911"/>
                <a:gd name="connsiteX114" fmla="*/ 80751 w 319548"/>
                <a:gd name="connsiteY114" fmla="*/ 120046 h 215911"/>
                <a:gd name="connsiteX115" fmla="*/ 76433 w 319548"/>
                <a:gd name="connsiteY115" fmla="*/ 129115 h 215911"/>
                <a:gd name="connsiteX116" fmla="*/ 75569 w 319548"/>
                <a:gd name="connsiteY116" fmla="*/ 130842 h 215911"/>
                <a:gd name="connsiteX117" fmla="*/ 75569 w 319548"/>
                <a:gd name="connsiteY117" fmla="*/ 131706 h 215911"/>
                <a:gd name="connsiteX118" fmla="*/ 76001 w 319548"/>
                <a:gd name="connsiteY118" fmla="*/ 133001 h 215911"/>
                <a:gd name="connsiteX119" fmla="*/ 75569 w 319548"/>
                <a:gd name="connsiteY119" fmla="*/ 134297 h 215911"/>
                <a:gd name="connsiteX120" fmla="*/ 71682 w 319548"/>
                <a:gd name="connsiteY120" fmla="*/ 139478 h 215911"/>
                <a:gd name="connsiteX121" fmla="*/ 70819 w 319548"/>
                <a:gd name="connsiteY121" fmla="*/ 142933 h 215911"/>
                <a:gd name="connsiteX122" fmla="*/ 69955 w 319548"/>
                <a:gd name="connsiteY122" fmla="*/ 144229 h 215911"/>
                <a:gd name="connsiteX123" fmla="*/ 69523 w 319548"/>
                <a:gd name="connsiteY123" fmla="*/ 144229 h 215911"/>
                <a:gd name="connsiteX124" fmla="*/ 67364 w 319548"/>
                <a:gd name="connsiteY124" fmla="*/ 144660 h 215911"/>
                <a:gd name="connsiteX125" fmla="*/ 66932 w 319548"/>
                <a:gd name="connsiteY125" fmla="*/ 147251 h 215911"/>
                <a:gd name="connsiteX126" fmla="*/ 65205 w 319548"/>
                <a:gd name="connsiteY126" fmla="*/ 148547 h 215911"/>
                <a:gd name="connsiteX127" fmla="*/ 63910 w 319548"/>
                <a:gd name="connsiteY127" fmla="*/ 149410 h 215911"/>
                <a:gd name="connsiteX128" fmla="*/ 60023 w 319548"/>
                <a:gd name="connsiteY128" fmla="*/ 155888 h 215911"/>
                <a:gd name="connsiteX129" fmla="*/ 59160 w 319548"/>
                <a:gd name="connsiteY129" fmla="*/ 158479 h 215911"/>
                <a:gd name="connsiteX130" fmla="*/ 59591 w 319548"/>
                <a:gd name="connsiteY130" fmla="*/ 160206 h 215911"/>
                <a:gd name="connsiteX131" fmla="*/ 58296 w 319548"/>
                <a:gd name="connsiteY131" fmla="*/ 163661 h 215911"/>
                <a:gd name="connsiteX132" fmla="*/ 58296 w 319548"/>
                <a:gd name="connsiteY132" fmla="*/ 163229 h 215911"/>
                <a:gd name="connsiteX133" fmla="*/ 57001 w 319548"/>
                <a:gd name="connsiteY133" fmla="*/ 161070 h 215911"/>
                <a:gd name="connsiteX134" fmla="*/ 57001 w 319548"/>
                <a:gd name="connsiteY134" fmla="*/ 161501 h 215911"/>
                <a:gd name="connsiteX135" fmla="*/ 53114 w 319548"/>
                <a:gd name="connsiteY135" fmla="*/ 167115 h 215911"/>
                <a:gd name="connsiteX136" fmla="*/ 50091 w 319548"/>
                <a:gd name="connsiteY136" fmla="*/ 172297 h 215911"/>
                <a:gd name="connsiteX137" fmla="*/ 50955 w 319548"/>
                <a:gd name="connsiteY137" fmla="*/ 174888 h 215911"/>
                <a:gd name="connsiteX138" fmla="*/ 51819 w 319548"/>
                <a:gd name="connsiteY138" fmla="*/ 175752 h 215911"/>
                <a:gd name="connsiteX139" fmla="*/ 51387 w 319548"/>
                <a:gd name="connsiteY139" fmla="*/ 176183 h 215911"/>
                <a:gd name="connsiteX140" fmla="*/ 49228 w 319548"/>
                <a:gd name="connsiteY140" fmla="*/ 177479 h 215911"/>
                <a:gd name="connsiteX141" fmla="*/ 49228 w 319548"/>
                <a:gd name="connsiteY141" fmla="*/ 178774 h 215911"/>
                <a:gd name="connsiteX142" fmla="*/ 49228 w 319548"/>
                <a:gd name="connsiteY142" fmla="*/ 180070 h 215911"/>
                <a:gd name="connsiteX143" fmla="*/ 47069 w 319548"/>
                <a:gd name="connsiteY143" fmla="*/ 183093 h 215911"/>
                <a:gd name="connsiteX144" fmla="*/ 44046 w 319548"/>
                <a:gd name="connsiteY144" fmla="*/ 188274 h 215911"/>
                <a:gd name="connsiteX145" fmla="*/ 42319 w 319548"/>
                <a:gd name="connsiteY145" fmla="*/ 191297 h 215911"/>
                <a:gd name="connsiteX146" fmla="*/ 41023 w 319548"/>
                <a:gd name="connsiteY146" fmla="*/ 192161 h 215911"/>
                <a:gd name="connsiteX147" fmla="*/ 42319 w 319548"/>
                <a:gd name="connsiteY147" fmla="*/ 192593 h 215911"/>
                <a:gd name="connsiteX148" fmla="*/ 42750 w 319548"/>
                <a:gd name="connsiteY148" fmla="*/ 193024 h 215911"/>
                <a:gd name="connsiteX149" fmla="*/ 37137 w 319548"/>
                <a:gd name="connsiteY149" fmla="*/ 202093 h 215911"/>
                <a:gd name="connsiteX150" fmla="*/ 32387 w 319548"/>
                <a:gd name="connsiteY150" fmla="*/ 210729 h 215911"/>
                <a:gd name="connsiteX151" fmla="*/ 30659 w 319548"/>
                <a:gd name="connsiteY151" fmla="*/ 212888 h 215911"/>
                <a:gd name="connsiteX152" fmla="*/ 25046 w 319548"/>
                <a:gd name="connsiteY152" fmla="*/ 216343 h 215911"/>
                <a:gd name="connsiteX153" fmla="*/ 22887 w 319548"/>
                <a:gd name="connsiteY153" fmla="*/ 215911 h 215911"/>
                <a:gd name="connsiteX154" fmla="*/ 20296 w 319548"/>
                <a:gd name="connsiteY154" fmla="*/ 215911 h 215911"/>
                <a:gd name="connsiteX155" fmla="*/ 19000 w 319548"/>
                <a:gd name="connsiteY155" fmla="*/ 215911 h 215911"/>
                <a:gd name="connsiteX156" fmla="*/ 15546 w 319548"/>
                <a:gd name="connsiteY156" fmla="*/ 212025 h 215911"/>
                <a:gd name="connsiteX157" fmla="*/ 6477 w 319548"/>
                <a:gd name="connsiteY157" fmla="*/ 202956 h 215911"/>
                <a:gd name="connsiteX158" fmla="*/ 5182 w 319548"/>
                <a:gd name="connsiteY158" fmla="*/ 201661 h 215911"/>
                <a:gd name="connsiteX159" fmla="*/ 864 w 319548"/>
                <a:gd name="connsiteY159" fmla="*/ 194320 h 215911"/>
                <a:gd name="connsiteX160" fmla="*/ 0 w 319548"/>
                <a:gd name="connsiteY160" fmla="*/ 180070 h 215911"/>
                <a:gd name="connsiteX161" fmla="*/ 432 w 319548"/>
                <a:gd name="connsiteY161" fmla="*/ 177911 h 215911"/>
                <a:gd name="connsiteX162" fmla="*/ 1727 w 319548"/>
                <a:gd name="connsiteY162" fmla="*/ 167115 h 215911"/>
                <a:gd name="connsiteX163" fmla="*/ 2159 w 319548"/>
                <a:gd name="connsiteY163" fmla="*/ 162365 h 215911"/>
                <a:gd name="connsiteX164" fmla="*/ 1727 w 319548"/>
                <a:gd name="connsiteY164" fmla="*/ 159774 h 215911"/>
                <a:gd name="connsiteX165" fmla="*/ 2591 w 319548"/>
                <a:gd name="connsiteY165" fmla="*/ 155888 h 215911"/>
                <a:gd name="connsiteX166" fmla="*/ 3455 w 319548"/>
                <a:gd name="connsiteY166" fmla="*/ 152865 h 215911"/>
                <a:gd name="connsiteX167" fmla="*/ 3886 w 319548"/>
                <a:gd name="connsiteY167" fmla="*/ 141638 h 215911"/>
                <a:gd name="connsiteX168" fmla="*/ 4750 w 319548"/>
                <a:gd name="connsiteY168" fmla="*/ 139478 h 215911"/>
                <a:gd name="connsiteX169" fmla="*/ 7341 w 319548"/>
                <a:gd name="connsiteY169" fmla="*/ 135592 h 215911"/>
                <a:gd name="connsiteX170" fmla="*/ 9068 w 319548"/>
                <a:gd name="connsiteY170" fmla="*/ 129978 h 215911"/>
                <a:gd name="connsiteX171" fmla="*/ 8636 w 319548"/>
                <a:gd name="connsiteY171" fmla="*/ 126956 h 215911"/>
                <a:gd name="connsiteX172" fmla="*/ 7773 w 319548"/>
                <a:gd name="connsiteY172" fmla="*/ 124365 h 215911"/>
                <a:gd name="connsiteX173" fmla="*/ 8205 w 319548"/>
                <a:gd name="connsiteY173" fmla="*/ 122206 h 215911"/>
                <a:gd name="connsiteX174" fmla="*/ 8205 w 319548"/>
                <a:gd name="connsiteY174" fmla="*/ 120910 h 215911"/>
                <a:gd name="connsiteX175" fmla="*/ 8205 w 319548"/>
                <a:gd name="connsiteY175" fmla="*/ 120478 h 215911"/>
                <a:gd name="connsiteX176" fmla="*/ 8636 w 319548"/>
                <a:gd name="connsiteY176" fmla="*/ 119615 h 215911"/>
                <a:gd name="connsiteX177" fmla="*/ 10796 w 319548"/>
                <a:gd name="connsiteY177" fmla="*/ 116160 h 215911"/>
                <a:gd name="connsiteX178" fmla="*/ 10796 w 319548"/>
                <a:gd name="connsiteY178" fmla="*/ 115728 h 215911"/>
                <a:gd name="connsiteX179" fmla="*/ 11227 w 319548"/>
                <a:gd name="connsiteY179" fmla="*/ 111410 h 215911"/>
                <a:gd name="connsiteX180" fmla="*/ 13818 w 319548"/>
                <a:gd name="connsiteY180" fmla="*/ 104069 h 215911"/>
                <a:gd name="connsiteX181" fmla="*/ 15977 w 319548"/>
                <a:gd name="connsiteY181" fmla="*/ 95001 h 215911"/>
                <a:gd name="connsiteX182" fmla="*/ 17273 w 319548"/>
                <a:gd name="connsiteY182" fmla="*/ 90683 h 215911"/>
                <a:gd name="connsiteX183" fmla="*/ 17273 w 319548"/>
                <a:gd name="connsiteY183" fmla="*/ 89387 h 215911"/>
                <a:gd name="connsiteX184" fmla="*/ 18137 w 319548"/>
                <a:gd name="connsiteY184" fmla="*/ 87660 h 215911"/>
                <a:gd name="connsiteX185" fmla="*/ 22023 w 319548"/>
                <a:gd name="connsiteY185" fmla="*/ 74273 h 215911"/>
                <a:gd name="connsiteX186" fmla="*/ 22023 w 319548"/>
                <a:gd name="connsiteY186" fmla="*/ 73410 h 215911"/>
                <a:gd name="connsiteX187" fmla="*/ 26341 w 319548"/>
                <a:gd name="connsiteY187" fmla="*/ 62182 h 215911"/>
                <a:gd name="connsiteX188" fmla="*/ 29364 w 319548"/>
                <a:gd name="connsiteY188" fmla="*/ 56569 h 215911"/>
                <a:gd name="connsiteX189" fmla="*/ 30659 w 319548"/>
                <a:gd name="connsiteY189" fmla="*/ 50955 h 215911"/>
                <a:gd name="connsiteX190" fmla="*/ 31955 w 319548"/>
                <a:gd name="connsiteY190" fmla="*/ 47500 h 215911"/>
                <a:gd name="connsiteX191" fmla="*/ 33682 w 319548"/>
                <a:gd name="connsiteY191" fmla="*/ 43614 h 215911"/>
                <a:gd name="connsiteX192" fmla="*/ 34114 w 319548"/>
                <a:gd name="connsiteY192" fmla="*/ 42319 h 215911"/>
                <a:gd name="connsiteX193" fmla="*/ 35409 w 319548"/>
                <a:gd name="connsiteY193" fmla="*/ 38432 h 215911"/>
                <a:gd name="connsiteX194" fmla="*/ 37569 w 319548"/>
                <a:gd name="connsiteY194" fmla="*/ 31091 h 215911"/>
                <a:gd name="connsiteX195" fmla="*/ 38000 w 319548"/>
                <a:gd name="connsiteY195" fmla="*/ 30228 h 215911"/>
                <a:gd name="connsiteX196" fmla="*/ 37137 w 319548"/>
                <a:gd name="connsiteY196" fmla="*/ 28500 h 215911"/>
                <a:gd name="connsiteX197" fmla="*/ 38432 w 319548"/>
                <a:gd name="connsiteY197" fmla="*/ 22023 h 215911"/>
                <a:gd name="connsiteX198" fmla="*/ 40591 w 319548"/>
                <a:gd name="connsiteY198" fmla="*/ 15545 h 215911"/>
                <a:gd name="connsiteX199" fmla="*/ 43614 w 319548"/>
                <a:gd name="connsiteY199" fmla="*/ 2159 h 215911"/>
                <a:gd name="connsiteX200" fmla="*/ 46637 w 319548"/>
                <a:gd name="connsiteY200" fmla="*/ 432 h 215911"/>
                <a:gd name="connsiteX201" fmla="*/ 47500 w 319548"/>
                <a:gd name="connsiteY201" fmla="*/ 432 h 215911"/>
                <a:gd name="connsiteX202" fmla="*/ 49228 w 319548"/>
                <a:gd name="connsiteY202" fmla="*/ 0 h 215911"/>
                <a:gd name="connsiteX203" fmla="*/ 50955 w 319548"/>
                <a:gd name="connsiteY203" fmla="*/ 1295 h 215911"/>
                <a:gd name="connsiteX204" fmla="*/ 54841 w 319548"/>
                <a:gd name="connsiteY204" fmla="*/ 2591 h 215911"/>
                <a:gd name="connsiteX205" fmla="*/ 56137 w 319548"/>
                <a:gd name="connsiteY205" fmla="*/ 2591 h 215911"/>
                <a:gd name="connsiteX206" fmla="*/ 61751 w 319548"/>
                <a:gd name="connsiteY206" fmla="*/ 3886 h 215911"/>
                <a:gd name="connsiteX207" fmla="*/ 64342 w 319548"/>
                <a:gd name="connsiteY207" fmla="*/ 5182 h 215911"/>
                <a:gd name="connsiteX208" fmla="*/ 65205 w 319548"/>
                <a:gd name="connsiteY208" fmla="*/ 8205 h 215911"/>
                <a:gd name="connsiteX209" fmla="*/ 67364 w 319548"/>
                <a:gd name="connsiteY209" fmla="*/ 13386 h 215911"/>
                <a:gd name="connsiteX210" fmla="*/ 66069 w 319548"/>
                <a:gd name="connsiteY210" fmla="*/ 18136 h 215911"/>
                <a:gd name="connsiteX211" fmla="*/ 61319 w 319548"/>
                <a:gd name="connsiteY211" fmla="*/ 40159 h 215911"/>
                <a:gd name="connsiteX212" fmla="*/ 61319 w 319548"/>
                <a:gd name="connsiteY212" fmla="*/ 41023 h 215911"/>
                <a:gd name="connsiteX213" fmla="*/ 60887 w 319548"/>
                <a:gd name="connsiteY213" fmla="*/ 43182 h 215911"/>
                <a:gd name="connsiteX214" fmla="*/ 59160 w 319548"/>
                <a:gd name="connsiteY214" fmla="*/ 47069 h 215911"/>
                <a:gd name="connsiteX215" fmla="*/ 59160 w 319548"/>
                <a:gd name="connsiteY215" fmla="*/ 48364 h 215911"/>
                <a:gd name="connsiteX216" fmla="*/ 58728 w 319548"/>
                <a:gd name="connsiteY216" fmla="*/ 53114 h 215911"/>
                <a:gd name="connsiteX217" fmla="*/ 54841 w 319548"/>
                <a:gd name="connsiteY217" fmla="*/ 62182 h 215911"/>
                <a:gd name="connsiteX218" fmla="*/ 53114 w 319548"/>
                <a:gd name="connsiteY218" fmla="*/ 68660 h 215911"/>
                <a:gd name="connsiteX219" fmla="*/ 48796 w 319548"/>
                <a:gd name="connsiteY219" fmla="*/ 78160 h 215911"/>
                <a:gd name="connsiteX220" fmla="*/ 47500 w 319548"/>
                <a:gd name="connsiteY220" fmla="*/ 85501 h 215911"/>
                <a:gd name="connsiteX221" fmla="*/ 45341 w 319548"/>
                <a:gd name="connsiteY221" fmla="*/ 91546 h 215911"/>
                <a:gd name="connsiteX222" fmla="*/ 42319 w 319548"/>
                <a:gd name="connsiteY222" fmla="*/ 98455 h 215911"/>
                <a:gd name="connsiteX223" fmla="*/ 41887 w 319548"/>
                <a:gd name="connsiteY223" fmla="*/ 100614 h 215911"/>
                <a:gd name="connsiteX224" fmla="*/ 36705 w 319548"/>
                <a:gd name="connsiteY224" fmla="*/ 120478 h 215911"/>
                <a:gd name="connsiteX225" fmla="*/ 35409 w 319548"/>
                <a:gd name="connsiteY225" fmla="*/ 124365 h 215911"/>
                <a:gd name="connsiteX226" fmla="*/ 33682 w 319548"/>
                <a:gd name="connsiteY226" fmla="*/ 134297 h 215911"/>
                <a:gd name="connsiteX227" fmla="*/ 33682 w 319548"/>
                <a:gd name="connsiteY227" fmla="*/ 136456 h 215911"/>
                <a:gd name="connsiteX228" fmla="*/ 32387 w 319548"/>
                <a:gd name="connsiteY228" fmla="*/ 142069 h 215911"/>
                <a:gd name="connsiteX229" fmla="*/ 30659 w 319548"/>
                <a:gd name="connsiteY229" fmla="*/ 152001 h 215911"/>
                <a:gd name="connsiteX230" fmla="*/ 31091 w 319548"/>
                <a:gd name="connsiteY230" fmla="*/ 152433 h 215911"/>
                <a:gd name="connsiteX231" fmla="*/ 31523 w 319548"/>
                <a:gd name="connsiteY231" fmla="*/ 152433 h 215911"/>
                <a:gd name="connsiteX232" fmla="*/ 34114 w 319548"/>
                <a:gd name="connsiteY232" fmla="*/ 150274 h 215911"/>
                <a:gd name="connsiteX233" fmla="*/ 35409 w 319548"/>
                <a:gd name="connsiteY233" fmla="*/ 148547 h 215911"/>
                <a:gd name="connsiteX234" fmla="*/ 44910 w 319548"/>
                <a:gd name="connsiteY234" fmla="*/ 133865 h 215911"/>
                <a:gd name="connsiteX235" fmla="*/ 47932 w 319548"/>
                <a:gd name="connsiteY235" fmla="*/ 129978 h 215911"/>
                <a:gd name="connsiteX236" fmla="*/ 56137 w 319548"/>
                <a:gd name="connsiteY236" fmla="*/ 116592 h 215911"/>
                <a:gd name="connsiteX237" fmla="*/ 56569 w 319548"/>
                <a:gd name="connsiteY237" fmla="*/ 114865 h 215911"/>
                <a:gd name="connsiteX238" fmla="*/ 63478 w 319548"/>
                <a:gd name="connsiteY238" fmla="*/ 104501 h 215911"/>
                <a:gd name="connsiteX239" fmla="*/ 67364 w 319548"/>
                <a:gd name="connsiteY239" fmla="*/ 100614 h 215911"/>
                <a:gd name="connsiteX240" fmla="*/ 69092 w 319548"/>
                <a:gd name="connsiteY240" fmla="*/ 96728 h 215911"/>
                <a:gd name="connsiteX241" fmla="*/ 68660 w 319548"/>
                <a:gd name="connsiteY241" fmla="*/ 99319 h 215911"/>
                <a:gd name="connsiteX242" fmla="*/ 67796 w 319548"/>
                <a:gd name="connsiteY242" fmla="*/ 101910 h 215911"/>
                <a:gd name="connsiteX243" fmla="*/ 66069 w 319548"/>
                <a:gd name="connsiteY243" fmla="*/ 104501 h 215911"/>
                <a:gd name="connsiteX244" fmla="*/ 62182 w 319548"/>
                <a:gd name="connsiteY244" fmla="*/ 111410 h 215911"/>
                <a:gd name="connsiteX245" fmla="*/ 62182 w 319548"/>
                <a:gd name="connsiteY245" fmla="*/ 111842 h 215911"/>
                <a:gd name="connsiteX246" fmla="*/ 62182 w 319548"/>
                <a:gd name="connsiteY246" fmla="*/ 112274 h 215911"/>
                <a:gd name="connsiteX247" fmla="*/ 63046 w 319548"/>
                <a:gd name="connsiteY247" fmla="*/ 111842 h 215911"/>
                <a:gd name="connsiteX248" fmla="*/ 64773 w 319548"/>
                <a:gd name="connsiteY248" fmla="*/ 110978 h 215911"/>
                <a:gd name="connsiteX249" fmla="*/ 70819 w 319548"/>
                <a:gd name="connsiteY249" fmla="*/ 103205 h 215911"/>
                <a:gd name="connsiteX250" fmla="*/ 75137 w 319548"/>
                <a:gd name="connsiteY250" fmla="*/ 96728 h 215911"/>
                <a:gd name="connsiteX251" fmla="*/ 82910 w 319548"/>
                <a:gd name="connsiteY251" fmla="*/ 87660 h 215911"/>
                <a:gd name="connsiteX252" fmla="*/ 84205 w 319548"/>
                <a:gd name="connsiteY252" fmla="*/ 85933 h 215911"/>
                <a:gd name="connsiteX253" fmla="*/ 88092 w 319548"/>
                <a:gd name="connsiteY253" fmla="*/ 80751 h 215911"/>
                <a:gd name="connsiteX254" fmla="*/ 88955 w 319548"/>
                <a:gd name="connsiteY254" fmla="*/ 80751 h 215911"/>
                <a:gd name="connsiteX255" fmla="*/ 90251 w 319548"/>
                <a:gd name="connsiteY255" fmla="*/ 80751 h 215911"/>
                <a:gd name="connsiteX256" fmla="*/ 90683 w 319548"/>
                <a:gd name="connsiteY256" fmla="*/ 79887 h 215911"/>
                <a:gd name="connsiteX257" fmla="*/ 90683 w 319548"/>
                <a:gd name="connsiteY257" fmla="*/ 79023 h 215911"/>
                <a:gd name="connsiteX258" fmla="*/ 89819 w 319548"/>
                <a:gd name="connsiteY258" fmla="*/ 77296 h 215911"/>
                <a:gd name="connsiteX259" fmla="*/ 90683 w 319548"/>
                <a:gd name="connsiteY259" fmla="*/ 75569 h 215911"/>
                <a:gd name="connsiteX260" fmla="*/ 93274 w 319548"/>
                <a:gd name="connsiteY260" fmla="*/ 72546 h 215911"/>
                <a:gd name="connsiteX261" fmla="*/ 100183 w 319548"/>
                <a:gd name="connsiteY261" fmla="*/ 62182 h 215911"/>
                <a:gd name="connsiteX262" fmla="*/ 101910 w 319548"/>
                <a:gd name="connsiteY262" fmla="*/ 59591 h 215911"/>
                <a:gd name="connsiteX263" fmla="*/ 105796 w 319548"/>
                <a:gd name="connsiteY263" fmla="*/ 57864 h 215911"/>
                <a:gd name="connsiteX264" fmla="*/ 108819 w 319548"/>
                <a:gd name="connsiteY264" fmla="*/ 56569 h 215911"/>
                <a:gd name="connsiteX265" fmla="*/ 110115 w 319548"/>
                <a:gd name="connsiteY265" fmla="*/ 55705 h 215911"/>
                <a:gd name="connsiteX266" fmla="*/ 111842 w 319548"/>
                <a:gd name="connsiteY266" fmla="*/ 57000 h 215911"/>
                <a:gd name="connsiteX267" fmla="*/ 112274 w 319548"/>
                <a:gd name="connsiteY267" fmla="*/ 57000 h 215911"/>
                <a:gd name="connsiteX268" fmla="*/ 112706 w 319548"/>
                <a:gd name="connsiteY268" fmla="*/ 57000 h 215911"/>
                <a:gd name="connsiteX269" fmla="*/ 112706 w 319548"/>
                <a:gd name="connsiteY269" fmla="*/ 55705 h 215911"/>
                <a:gd name="connsiteX270" fmla="*/ 112274 w 319548"/>
                <a:gd name="connsiteY270" fmla="*/ 54841 h 215911"/>
                <a:gd name="connsiteX271" fmla="*/ 112274 w 319548"/>
                <a:gd name="connsiteY271" fmla="*/ 53114 h 215911"/>
                <a:gd name="connsiteX272" fmla="*/ 112274 w 319548"/>
                <a:gd name="connsiteY272" fmla="*/ 52250 h 215911"/>
                <a:gd name="connsiteX273" fmla="*/ 118319 w 319548"/>
                <a:gd name="connsiteY273" fmla="*/ 46637 h 215911"/>
                <a:gd name="connsiteX274" fmla="*/ 120047 w 319548"/>
                <a:gd name="connsiteY274" fmla="*/ 43614 h 215911"/>
                <a:gd name="connsiteX275" fmla="*/ 120047 w 319548"/>
                <a:gd name="connsiteY275" fmla="*/ 42750 h 215911"/>
                <a:gd name="connsiteX276" fmla="*/ 120478 w 319548"/>
                <a:gd name="connsiteY276" fmla="*/ 41023 h 215911"/>
                <a:gd name="connsiteX277" fmla="*/ 124365 w 319548"/>
                <a:gd name="connsiteY277" fmla="*/ 37137 h 215911"/>
                <a:gd name="connsiteX278" fmla="*/ 128251 w 319548"/>
                <a:gd name="connsiteY278" fmla="*/ 33682 h 215911"/>
                <a:gd name="connsiteX279" fmla="*/ 129547 w 319548"/>
                <a:gd name="connsiteY279" fmla="*/ 31955 h 215911"/>
                <a:gd name="connsiteX280" fmla="*/ 129115 w 319548"/>
                <a:gd name="connsiteY280" fmla="*/ 31523 h 215911"/>
                <a:gd name="connsiteX281" fmla="*/ 128683 w 319548"/>
                <a:gd name="connsiteY281" fmla="*/ 31091 h 215911"/>
                <a:gd name="connsiteX282" fmla="*/ 126956 w 319548"/>
                <a:gd name="connsiteY282" fmla="*/ 31523 h 215911"/>
                <a:gd name="connsiteX283" fmla="*/ 125228 w 319548"/>
                <a:gd name="connsiteY283" fmla="*/ 31523 h 215911"/>
                <a:gd name="connsiteX284" fmla="*/ 130842 w 319548"/>
                <a:gd name="connsiteY284" fmla="*/ 24614 h 215911"/>
                <a:gd name="connsiteX285" fmla="*/ 133865 w 319548"/>
                <a:gd name="connsiteY285" fmla="*/ 23318 h 215911"/>
                <a:gd name="connsiteX286" fmla="*/ 134297 w 319548"/>
                <a:gd name="connsiteY286" fmla="*/ 24182 h 215911"/>
                <a:gd name="connsiteX287" fmla="*/ 131274 w 319548"/>
                <a:gd name="connsiteY287" fmla="*/ 26773 h 215911"/>
                <a:gd name="connsiteX288" fmla="*/ 130410 w 319548"/>
                <a:gd name="connsiteY288" fmla="*/ 28068 h 215911"/>
                <a:gd name="connsiteX289" fmla="*/ 130842 w 319548"/>
                <a:gd name="connsiteY289" fmla="*/ 29796 h 215911"/>
                <a:gd name="connsiteX290" fmla="*/ 131706 w 319548"/>
                <a:gd name="connsiteY290" fmla="*/ 29796 h 215911"/>
                <a:gd name="connsiteX291" fmla="*/ 134729 w 319548"/>
                <a:gd name="connsiteY291" fmla="*/ 27637 h 215911"/>
                <a:gd name="connsiteX292" fmla="*/ 140342 w 319548"/>
                <a:gd name="connsiteY292" fmla="*/ 25046 h 215911"/>
                <a:gd name="connsiteX293" fmla="*/ 141638 w 319548"/>
                <a:gd name="connsiteY293" fmla="*/ 24182 h 215911"/>
                <a:gd name="connsiteX294" fmla="*/ 147683 w 319548"/>
                <a:gd name="connsiteY294" fmla="*/ 21159 h 215911"/>
                <a:gd name="connsiteX295" fmla="*/ 151138 w 319548"/>
                <a:gd name="connsiteY295" fmla="*/ 19864 h 215911"/>
                <a:gd name="connsiteX296" fmla="*/ 152865 w 319548"/>
                <a:gd name="connsiteY296" fmla="*/ 15977 h 215911"/>
                <a:gd name="connsiteX297" fmla="*/ 152865 w 319548"/>
                <a:gd name="connsiteY297" fmla="*/ 15545 h 215911"/>
                <a:gd name="connsiteX298" fmla="*/ 152433 w 319548"/>
                <a:gd name="connsiteY298" fmla="*/ 15114 h 215911"/>
                <a:gd name="connsiteX299" fmla="*/ 148979 w 319548"/>
                <a:gd name="connsiteY299" fmla="*/ 14250 h 215911"/>
                <a:gd name="connsiteX300" fmla="*/ 148547 w 319548"/>
                <a:gd name="connsiteY300" fmla="*/ 13818 h 215911"/>
                <a:gd name="connsiteX301" fmla="*/ 148979 w 319548"/>
                <a:gd name="connsiteY301" fmla="*/ 13386 h 215911"/>
                <a:gd name="connsiteX302" fmla="*/ 156320 w 319548"/>
                <a:gd name="connsiteY302" fmla="*/ 11227 h 215911"/>
                <a:gd name="connsiteX303" fmla="*/ 158479 w 319548"/>
                <a:gd name="connsiteY303" fmla="*/ 10796 h 215911"/>
                <a:gd name="connsiteX304" fmla="*/ 159774 w 319548"/>
                <a:gd name="connsiteY304" fmla="*/ 11227 h 215911"/>
                <a:gd name="connsiteX305" fmla="*/ 161501 w 319548"/>
                <a:gd name="connsiteY305" fmla="*/ 11659 h 215911"/>
                <a:gd name="connsiteX306" fmla="*/ 164092 w 319548"/>
                <a:gd name="connsiteY306" fmla="*/ 10796 h 215911"/>
                <a:gd name="connsiteX307" fmla="*/ 164956 w 319548"/>
                <a:gd name="connsiteY307" fmla="*/ 10364 h 215911"/>
                <a:gd name="connsiteX308" fmla="*/ 165820 w 319548"/>
                <a:gd name="connsiteY308" fmla="*/ 10796 h 215911"/>
                <a:gd name="connsiteX309" fmla="*/ 171433 w 319548"/>
                <a:gd name="connsiteY309" fmla="*/ 11659 h 215911"/>
                <a:gd name="connsiteX310" fmla="*/ 175752 w 319548"/>
                <a:gd name="connsiteY310" fmla="*/ 15114 h 215911"/>
                <a:gd name="connsiteX311" fmla="*/ 178343 w 319548"/>
                <a:gd name="connsiteY311" fmla="*/ 16841 h 215911"/>
                <a:gd name="connsiteX312" fmla="*/ 180502 w 319548"/>
                <a:gd name="connsiteY312" fmla="*/ 21159 h 215911"/>
                <a:gd name="connsiteX313" fmla="*/ 180502 w 319548"/>
                <a:gd name="connsiteY313" fmla="*/ 22023 h 215911"/>
                <a:gd name="connsiteX314" fmla="*/ 180070 w 319548"/>
                <a:gd name="connsiteY314" fmla="*/ 29796 h 215911"/>
                <a:gd name="connsiteX315" fmla="*/ 179638 w 319548"/>
                <a:gd name="connsiteY315" fmla="*/ 36705 h 215911"/>
                <a:gd name="connsiteX316" fmla="*/ 180070 w 319548"/>
                <a:gd name="connsiteY316" fmla="*/ 43614 h 215911"/>
                <a:gd name="connsiteX317" fmla="*/ 177911 w 319548"/>
                <a:gd name="connsiteY317" fmla="*/ 53978 h 215911"/>
                <a:gd name="connsiteX318" fmla="*/ 176615 w 319548"/>
                <a:gd name="connsiteY318" fmla="*/ 60455 h 215911"/>
                <a:gd name="connsiteX319" fmla="*/ 174888 w 319548"/>
                <a:gd name="connsiteY319" fmla="*/ 70387 h 215911"/>
                <a:gd name="connsiteX320" fmla="*/ 172297 w 319548"/>
                <a:gd name="connsiteY320" fmla="*/ 83773 h 215911"/>
                <a:gd name="connsiteX321" fmla="*/ 171433 w 319548"/>
                <a:gd name="connsiteY321" fmla="*/ 87228 h 215911"/>
                <a:gd name="connsiteX322" fmla="*/ 171002 w 319548"/>
                <a:gd name="connsiteY322" fmla="*/ 88955 h 215911"/>
                <a:gd name="connsiteX323" fmla="*/ 170138 w 319548"/>
                <a:gd name="connsiteY323" fmla="*/ 94569 h 215911"/>
                <a:gd name="connsiteX324" fmla="*/ 169274 w 319548"/>
                <a:gd name="connsiteY324" fmla="*/ 103205 h 215911"/>
                <a:gd name="connsiteX325" fmla="*/ 167547 w 319548"/>
                <a:gd name="connsiteY325" fmla="*/ 115728 h 215911"/>
                <a:gd name="connsiteX326" fmla="*/ 167547 w 319548"/>
                <a:gd name="connsiteY326" fmla="*/ 117887 h 215911"/>
                <a:gd name="connsiteX327" fmla="*/ 165820 w 319548"/>
                <a:gd name="connsiteY327" fmla="*/ 132569 h 215911"/>
                <a:gd name="connsiteX328" fmla="*/ 165820 w 319548"/>
                <a:gd name="connsiteY328" fmla="*/ 139047 h 215911"/>
                <a:gd name="connsiteX329" fmla="*/ 165388 w 319548"/>
                <a:gd name="connsiteY329" fmla="*/ 144229 h 215911"/>
                <a:gd name="connsiteX330" fmla="*/ 165820 w 319548"/>
                <a:gd name="connsiteY330" fmla="*/ 146388 h 215911"/>
                <a:gd name="connsiteX331" fmla="*/ 170570 w 319548"/>
                <a:gd name="connsiteY331" fmla="*/ 141638 h 215911"/>
                <a:gd name="connsiteX332" fmla="*/ 177479 w 319548"/>
                <a:gd name="connsiteY332" fmla="*/ 132569 h 215911"/>
                <a:gd name="connsiteX333" fmla="*/ 183524 w 319548"/>
                <a:gd name="connsiteY333" fmla="*/ 122206 h 215911"/>
                <a:gd name="connsiteX334" fmla="*/ 187411 w 319548"/>
                <a:gd name="connsiteY334" fmla="*/ 117024 h 215911"/>
                <a:gd name="connsiteX335" fmla="*/ 190002 w 319548"/>
                <a:gd name="connsiteY335" fmla="*/ 113569 h 215911"/>
                <a:gd name="connsiteX336" fmla="*/ 191297 w 319548"/>
                <a:gd name="connsiteY336" fmla="*/ 112705 h 215911"/>
                <a:gd name="connsiteX337" fmla="*/ 201229 w 319548"/>
                <a:gd name="connsiteY337" fmla="*/ 98024 h 215911"/>
                <a:gd name="connsiteX338" fmla="*/ 205547 w 319548"/>
                <a:gd name="connsiteY338" fmla="*/ 91546 h 215911"/>
                <a:gd name="connsiteX339" fmla="*/ 210297 w 319548"/>
                <a:gd name="connsiteY339" fmla="*/ 87228 h 215911"/>
                <a:gd name="connsiteX340" fmla="*/ 211161 w 319548"/>
                <a:gd name="connsiteY340" fmla="*/ 86796 h 215911"/>
                <a:gd name="connsiteX341" fmla="*/ 212888 w 319548"/>
                <a:gd name="connsiteY341" fmla="*/ 87660 h 215911"/>
                <a:gd name="connsiteX342" fmla="*/ 214184 w 319548"/>
                <a:gd name="connsiteY342" fmla="*/ 87228 h 215911"/>
                <a:gd name="connsiteX343" fmla="*/ 213320 w 319548"/>
                <a:gd name="connsiteY343" fmla="*/ 86364 h 215911"/>
                <a:gd name="connsiteX344" fmla="*/ 212888 w 319548"/>
                <a:gd name="connsiteY344" fmla="*/ 85069 h 215911"/>
                <a:gd name="connsiteX345" fmla="*/ 213320 w 319548"/>
                <a:gd name="connsiteY345" fmla="*/ 83773 h 215911"/>
                <a:gd name="connsiteX346" fmla="*/ 215479 w 319548"/>
                <a:gd name="connsiteY346" fmla="*/ 80319 h 215911"/>
                <a:gd name="connsiteX347" fmla="*/ 220661 w 319548"/>
                <a:gd name="connsiteY347" fmla="*/ 71682 h 215911"/>
                <a:gd name="connsiteX348" fmla="*/ 225411 w 319548"/>
                <a:gd name="connsiteY348" fmla="*/ 65205 h 215911"/>
                <a:gd name="connsiteX349" fmla="*/ 244411 w 319548"/>
                <a:gd name="connsiteY349" fmla="*/ 47932 h 215911"/>
                <a:gd name="connsiteX350" fmla="*/ 256071 w 319548"/>
                <a:gd name="connsiteY350" fmla="*/ 40159 h 215911"/>
                <a:gd name="connsiteX351" fmla="*/ 269889 w 319548"/>
                <a:gd name="connsiteY351" fmla="*/ 37137 h 215911"/>
                <a:gd name="connsiteX352" fmla="*/ 273343 w 319548"/>
                <a:gd name="connsiteY352" fmla="*/ 36705 h 215911"/>
                <a:gd name="connsiteX353" fmla="*/ 275071 w 319548"/>
                <a:gd name="connsiteY353" fmla="*/ 36705 h 215911"/>
                <a:gd name="connsiteX354" fmla="*/ 281116 w 319548"/>
                <a:gd name="connsiteY354" fmla="*/ 39728 h 215911"/>
                <a:gd name="connsiteX355" fmla="*/ 285866 w 319548"/>
                <a:gd name="connsiteY355" fmla="*/ 41887 h 215911"/>
                <a:gd name="connsiteX356" fmla="*/ 289321 w 319548"/>
                <a:gd name="connsiteY356" fmla="*/ 47932 h 215911"/>
                <a:gd name="connsiteX357" fmla="*/ 290184 w 319548"/>
                <a:gd name="connsiteY357" fmla="*/ 50091 h 215911"/>
                <a:gd name="connsiteX358" fmla="*/ 290616 w 319548"/>
                <a:gd name="connsiteY358" fmla="*/ 59160 h 215911"/>
                <a:gd name="connsiteX359" fmla="*/ 290184 w 319548"/>
                <a:gd name="connsiteY359" fmla="*/ 67796 h 215911"/>
                <a:gd name="connsiteX360" fmla="*/ 289321 w 319548"/>
                <a:gd name="connsiteY360" fmla="*/ 76864 h 215911"/>
                <a:gd name="connsiteX361" fmla="*/ 288025 w 319548"/>
                <a:gd name="connsiteY361" fmla="*/ 88092 h 215911"/>
                <a:gd name="connsiteX362" fmla="*/ 288025 w 319548"/>
                <a:gd name="connsiteY362" fmla="*/ 91546 h 215911"/>
                <a:gd name="connsiteX363" fmla="*/ 288025 w 319548"/>
                <a:gd name="connsiteY363" fmla="*/ 92842 h 215911"/>
                <a:gd name="connsiteX364" fmla="*/ 287594 w 319548"/>
                <a:gd name="connsiteY364" fmla="*/ 107524 h 215911"/>
                <a:gd name="connsiteX365" fmla="*/ 293639 w 319548"/>
                <a:gd name="connsiteY365" fmla="*/ 128251 h 215911"/>
                <a:gd name="connsiteX366" fmla="*/ 296662 w 319548"/>
                <a:gd name="connsiteY366" fmla="*/ 132137 h 215911"/>
                <a:gd name="connsiteX367" fmla="*/ 300548 w 319548"/>
                <a:gd name="connsiteY367" fmla="*/ 133865 h 215911"/>
                <a:gd name="connsiteX368" fmla="*/ 301844 w 319548"/>
                <a:gd name="connsiteY368" fmla="*/ 133865 h 215911"/>
                <a:gd name="connsiteX369" fmla="*/ 304003 w 319548"/>
                <a:gd name="connsiteY369" fmla="*/ 133433 h 215911"/>
                <a:gd name="connsiteX370" fmla="*/ 314367 w 319548"/>
                <a:gd name="connsiteY370" fmla="*/ 127819 h 215911"/>
                <a:gd name="connsiteX371" fmla="*/ 317389 w 319548"/>
                <a:gd name="connsiteY371" fmla="*/ 127388 h 215911"/>
                <a:gd name="connsiteX372" fmla="*/ 319980 w 319548"/>
                <a:gd name="connsiteY372" fmla="*/ 127819 h 215911"/>
                <a:gd name="connsiteX373" fmla="*/ 322571 w 319548"/>
                <a:gd name="connsiteY373" fmla="*/ 129978 h 215911"/>
                <a:gd name="connsiteX374" fmla="*/ 324298 w 319548"/>
                <a:gd name="connsiteY374" fmla="*/ 133001 h 215911"/>
                <a:gd name="connsiteX375" fmla="*/ 324298 w 319548"/>
                <a:gd name="connsiteY375" fmla="*/ 134297 h 215911"/>
                <a:gd name="connsiteX376" fmla="*/ 324730 w 319548"/>
                <a:gd name="connsiteY376" fmla="*/ 137319 h 215911"/>
                <a:gd name="connsiteX377" fmla="*/ 53546 w 319548"/>
                <a:gd name="connsiteY377" fmla="*/ 128683 h 215911"/>
                <a:gd name="connsiteX378" fmla="*/ 53546 w 319548"/>
                <a:gd name="connsiteY378" fmla="*/ 127388 h 215911"/>
                <a:gd name="connsiteX379" fmla="*/ 53114 w 319548"/>
                <a:gd name="connsiteY379" fmla="*/ 127388 h 215911"/>
                <a:gd name="connsiteX380" fmla="*/ 51387 w 319548"/>
                <a:gd name="connsiteY380" fmla="*/ 129547 h 215911"/>
                <a:gd name="connsiteX381" fmla="*/ 53114 w 319548"/>
                <a:gd name="connsiteY381" fmla="*/ 129978 h 215911"/>
                <a:gd name="connsiteX382" fmla="*/ 53546 w 319548"/>
                <a:gd name="connsiteY382" fmla="*/ 128683 h 215911"/>
                <a:gd name="connsiteX383" fmla="*/ 60023 w 319548"/>
                <a:gd name="connsiteY383" fmla="*/ 116160 h 215911"/>
                <a:gd name="connsiteX384" fmla="*/ 56137 w 319548"/>
                <a:gd name="connsiteY384" fmla="*/ 120910 h 215911"/>
                <a:gd name="connsiteX385" fmla="*/ 55705 w 319548"/>
                <a:gd name="connsiteY385" fmla="*/ 123069 h 215911"/>
                <a:gd name="connsiteX386" fmla="*/ 56137 w 319548"/>
                <a:gd name="connsiteY386" fmla="*/ 123501 h 215911"/>
                <a:gd name="connsiteX387" fmla="*/ 57432 w 319548"/>
                <a:gd name="connsiteY387" fmla="*/ 121342 h 215911"/>
                <a:gd name="connsiteX388" fmla="*/ 59591 w 319548"/>
                <a:gd name="connsiteY388" fmla="*/ 118319 h 215911"/>
                <a:gd name="connsiteX389" fmla="*/ 60455 w 319548"/>
                <a:gd name="connsiteY389" fmla="*/ 117024 h 215911"/>
                <a:gd name="connsiteX390" fmla="*/ 60023 w 319548"/>
                <a:gd name="connsiteY390" fmla="*/ 116160 h 215911"/>
                <a:gd name="connsiteX391" fmla="*/ 57001 w 319548"/>
                <a:gd name="connsiteY391" fmla="*/ 165388 h 215911"/>
                <a:gd name="connsiteX392" fmla="*/ 58296 w 319548"/>
                <a:gd name="connsiteY392" fmla="*/ 164092 h 215911"/>
                <a:gd name="connsiteX393" fmla="*/ 57864 w 319548"/>
                <a:gd name="connsiteY393" fmla="*/ 166252 h 215911"/>
                <a:gd name="connsiteX394" fmla="*/ 57432 w 319548"/>
                <a:gd name="connsiteY394" fmla="*/ 165820 h 215911"/>
                <a:gd name="connsiteX395" fmla="*/ 57001 w 319548"/>
                <a:gd name="connsiteY395" fmla="*/ 165388 h 215911"/>
                <a:gd name="connsiteX396" fmla="*/ 60455 w 319548"/>
                <a:gd name="connsiteY396" fmla="*/ 155888 h 215911"/>
                <a:gd name="connsiteX397" fmla="*/ 61319 w 319548"/>
                <a:gd name="connsiteY397" fmla="*/ 156320 h 215911"/>
                <a:gd name="connsiteX398" fmla="*/ 60455 w 319548"/>
                <a:gd name="connsiteY398" fmla="*/ 157615 h 215911"/>
                <a:gd name="connsiteX399" fmla="*/ 60455 w 319548"/>
                <a:gd name="connsiteY399" fmla="*/ 155888 h 215911"/>
                <a:gd name="connsiteX400" fmla="*/ 70387 w 319548"/>
                <a:gd name="connsiteY400" fmla="*/ 95864 h 215911"/>
                <a:gd name="connsiteX401" fmla="*/ 70819 w 319548"/>
                <a:gd name="connsiteY401" fmla="*/ 95864 h 215911"/>
                <a:gd name="connsiteX402" fmla="*/ 69092 w 319548"/>
                <a:gd name="connsiteY402" fmla="*/ 96728 h 215911"/>
                <a:gd name="connsiteX403" fmla="*/ 70387 w 319548"/>
                <a:gd name="connsiteY403" fmla="*/ 95864 h 215911"/>
                <a:gd name="connsiteX404" fmla="*/ 70819 w 319548"/>
                <a:gd name="connsiteY404" fmla="*/ 95864 h 215911"/>
                <a:gd name="connsiteX405" fmla="*/ 70819 w 319548"/>
                <a:gd name="connsiteY405" fmla="*/ 93705 h 215911"/>
                <a:gd name="connsiteX406" fmla="*/ 72114 w 319548"/>
                <a:gd name="connsiteY406" fmla="*/ 93705 h 215911"/>
                <a:gd name="connsiteX407" fmla="*/ 72546 w 319548"/>
                <a:gd name="connsiteY407" fmla="*/ 94137 h 215911"/>
                <a:gd name="connsiteX408" fmla="*/ 70819 w 319548"/>
                <a:gd name="connsiteY408" fmla="*/ 95864 h 215911"/>
                <a:gd name="connsiteX409" fmla="*/ 74273 w 319548"/>
                <a:gd name="connsiteY409" fmla="*/ 134297 h 215911"/>
                <a:gd name="connsiteX410" fmla="*/ 73842 w 319548"/>
                <a:gd name="connsiteY410" fmla="*/ 133433 h 215911"/>
                <a:gd name="connsiteX411" fmla="*/ 72978 w 319548"/>
                <a:gd name="connsiteY411" fmla="*/ 133865 h 215911"/>
                <a:gd name="connsiteX412" fmla="*/ 73842 w 319548"/>
                <a:gd name="connsiteY412" fmla="*/ 134297 h 215911"/>
                <a:gd name="connsiteX413" fmla="*/ 74273 w 319548"/>
                <a:gd name="connsiteY413" fmla="*/ 134297 h 215911"/>
                <a:gd name="connsiteX414" fmla="*/ 120478 w 319548"/>
                <a:gd name="connsiteY414" fmla="*/ 34546 h 215911"/>
                <a:gd name="connsiteX415" fmla="*/ 121342 w 319548"/>
                <a:gd name="connsiteY415" fmla="*/ 34546 h 215911"/>
                <a:gd name="connsiteX416" fmla="*/ 122206 w 319548"/>
                <a:gd name="connsiteY416" fmla="*/ 34114 h 215911"/>
                <a:gd name="connsiteX417" fmla="*/ 121774 w 319548"/>
                <a:gd name="connsiteY417" fmla="*/ 35409 h 215911"/>
                <a:gd name="connsiteX418" fmla="*/ 119615 w 319548"/>
                <a:gd name="connsiteY418" fmla="*/ 38432 h 215911"/>
                <a:gd name="connsiteX419" fmla="*/ 117024 w 319548"/>
                <a:gd name="connsiteY419" fmla="*/ 39296 h 215911"/>
                <a:gd name="connsiteX420" fmla="*/ 120478 w 319548"/>
                <a:gd name="connsiteY420" fmla="*/ 34546 h 215911"/>
                <a:gd name="connsiteX421" fmla="*/ 125228 w 319548"/>
                <a:gd name="connsiteY421" fmla="*/ 31523 h 215911"/>
                <a:gd name="connsiteX422" fmla="*/ 124365 w 319548"/>
                <a:gd name="connsiteY422" fmla="*/ 32387 h 215911"/>
                <a:gd name="connsiteX423" fmla="*/ 123501 w 319548"/>
                <a:gd name="connsiteY423" fmla="*/ 33250 h 215911"/>
                <a:gd name="connsiteX424" fmla="*/ 122637 w 319548"/>
                <a:gd name="connsiteY424" fmla="*/ 34114 h 215911"/>
                <a:gd name="connsiteX425" fmla="*/ 122206 w 319548"/>
                <a:gd name="connsiteY425" fmla="*/ 34114 h 215911"/>
                <a:gd name="connsiteX426" fmla="*/ 125228 w 319548"/>
                <a:gd name="connsiteY426" fmla="*/ 31523 h 215911"/>
                <a:gd name="connsiteX427" fmla="*/ 136888 w 319548"/>
                <a:gd name="connsiteY427" fmla="*/ 21159 h 215911"/>
                <a:gd name="connsiteX428" fmla="*/ 142070 w 319548"/>
                <a:gd name="connsiteY428" fmla="*/ 17273 h 215911"/>
                <a:gd name="connsiteX429" fmla="*/ 142501 w 319548"/>
                <a:gd name="connsiteY429" fmla="*/ 16841 h 215911"/>
                <a:gd name="connsiteX430" fmla="*/ 144229 w 319548"/>
                <a:gd name="connsiteY430" fmla="*/ 17273 h 215911"/>
                <a:gd name="connsiteX431" fmla="*/ 144229 w 319548"/>
                <a:gd name="connsiteY431" fmla="*/ 17705 h 215911"/>
                <a:gd name="connsiteX432" fmla="*/ 143365 w 319548"/>
                <a:gd name="connsiteY432" fmla="*/ 18568 h 215911"/>
                <a:gd name="connsiteX433" fmla="*/ 138183 w 319548"/>
                <a:gd name="connsiteY433" fmla="*/ 21159 h 215911"/>
                <a:gd name="connsiteX434" fmla="*/ 136888 w 319548"/>
                <a:gd name="connsiteY434" fmla="*/ 21159 h 215911"/>
                <a:gd name="connsiteX435" fmla="*/ 146388 w 319548"/>
                <a:gd name="connsiteY435" fmla="*/ 15977 h 215911"/>
                <a:gd name="connsiteX436" fmla="*/ 146388 w 319548"/>
                <a:gd name="connsiteY436" fmla="*/ 16409 h 215911"/>
                <a:gd name="connsiteX437" fmla="*/ 145524 w 319548"/>
                <a:gd name="connsiteY437" fmla="*/ 16409 h 215911"/>
                <a:gd name="connsiteX438" fmla="*/ 144660 w 319548"/>
                <a:gd name="connsiteY438" fmla="*/ 17273 h 215911"/>
                <a:gd name="connsiteX439" fmla="*/ 144229 w 319548"/>
                <a:gd name="connsiteY439" fmla="*/ 17273 h 215911"/>
                <a:gd name="connsiteX440" fmla="*/ 145092 w 319548"/>
                <a:gd name="connsiteY440" fmla="*/ 16409 h 215911"/>
                <a:gd name="connsiteX441" fmla="*/ 145524 w 319548"/>
                <a:gd name="connsiteY441" fmla="*/ 16409 h 215911"/>
                <a:gd name="connsiteX442" fmla="*/ 146388 w 319548"/>
                <a:gd name="connsiteY442" fmla="*/ 15977 h 215911"/>
                <a:gd name="connsiteX443" fmla="*/ 209002 w 319548"/>
                <a:gd name="connsiteY443" fmla="*/ 130410 h 215911"/>
                <a:gd name="connsiteX444" fmla="*/ 208570 w 319548"/>
                <a:gd name="connsiteY444" fmla="*/ 129978 h 215911"/>
                <a:gd name="connsiteX445" fmla="*/ 208570 w 319548"/>
                <a:gd name="connsiteY445" fmla="*/ 130842 h 215911"/>
                <a:gd name="connsiteX446" fmla="*/ 209002 w 319548"/>
                <a:gd name="connsiteY446" fmla="*/ 130410 h 215911"/>
                <a:gd name="connsiteX447" fmla="*/ 215911 w 319548"/>
                <a:gd name="connsiteY447" fmla="*/ 120046 h 215911"/>
                <a:gd name="connsiteX448" fmla="*/ 215479 w 319548"/>
                <a:gd name="connsiteY448" fmla="*/ 120478 h 215911"/>
                <a:gd name="connsiteX449" fmla="*/ 215479 w 319548"/>
                <a:gd name="connsiteY449" fmla="*/ 120046 h 215911"/>
                <a:gd name="connsiteX450" fmla="*/ 215479 w 319548"/>
                <a:gd name="connsiteY450" fmla="*/ 119615 h 215911"/>
                <a:gd name="connsiteX451" fmla="*/ 215911 w 319548"/>
                <a:gd name="connsiteY451" fmla="*/ 120046 h 21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</a:cxnLst>
              <a:rect l="l" t="t" r="r" b="b"/>
              <a:pathLst>
                <a:path w="319548" h="215911">
                  <a:moveTo>
                    <a:pt x="324730" y="137319"/>
                  </a:moveTo>
                  <a:cubicBezTo>
                    <a:pt x="324730" y="139478"/>
                    <a:pt x="324298" y="141638"/>
                    <a:pt x="323003" y="143365"/>
                  </a:cubicBezTo>
                  <a:cubicBezTo>
                    <a:pt x="321276" y="144660"/>
                    <a:pt x="319548" y="145956"/>
                    <a:pt x="317389" y="146820"/>
                  </a:cubicBezTo>
                  <a:cubicBezTo>
                    <a:pt x="316094" y="147251"/>
                    <a:pt x="314798" y="148979"/>
                    <a:pt x="312207" y="150274"/>
                  </a:cubicBezTo>
                  <a:cubicBezTo>
                    <a:pt x="311776" y="150706"/>
                    <a:pt x="311344" y="151569"/>
                    <a:pt x="310480" y="151569"/>
                  </a:cubicBezTo>
                  <a:cubicBezTo>
                    <a:pt x="310048" y="152001"/>
                    <a:pt x="309185" y="152433"/>
                    <a:pt x="309185" y="152865"/>
                  </a:cubicBezTo>
                  <a:cubicBezTo>
                    <a:pt x="309185" y="155024"/>
                    <a:pt x="307889" y="156751"/>
                    <a:pt x="305730" y="157183"/>
                  </a:cubicBezTo>
                  <a:lnTo>
                    <a:pt x="302707" y="159774"/>
                  </a:lnTo>
                  <a:cubicBezTo>
                    <a:pt x="301844" y="160206"/>
                    <a:pt x="301844" y="160206"/>
                    <a:pt x="300980" y="160206"/>
                  </a:cubicBezTo>
                  <a:cubicBezTo>
                    <a:pt x="300116" y="160206"/>
                    <a:pt x="299253" y="160206"/>
                    <a:pt x="297957" y="159774"/>
                  </a:cubicBezTo>
                  <a:cubicBezTo>
                    <a:pt x="294503" y="159774"/>
                    <a:pt x="291912" y="157183"/>
                    <a:pt x="288025" y="156751"/>
                  </a:cubicBezTo>
                  <a:lnTo>
                    <a:pt x="284571" y="154592"/>
                  </a:lnTo>
                  <a:cubicBezTo>
                    <a:pt x="281980" y="152865"/>
                    <a:pt x="279821" y="150706"/>
                    <a:pt x="277662" y="149842"/>
                  </a:cubicBezTo>
                  <a:cubicBezTo>
                    <a:pt x="270321" y="145524"/>
                    <a:pt x="265571" y="138183"/>
                    <a:pt x="262116" y="131706"/>
                  </a:cubicBezTo>
                  <a:cubicBezTo>
                    <a:pt x="260821" y="126524"/>
                    <a:pt x="259525" y="122637"/>
                    <a:pt x="259525" y="117887"/>
                  </a:cubicBezTo>
                  <a:cubicBezTo>
                    <a:pt x="259525" y="113569"/>
                    <a:pt x="259525" y="110546"/>
                    <a:pt x="259093" y="106228"/>
                  </a:cubicBezTo>
                  <a:cubicBezTo>
                    <a:pt x="259093" y="104933"/>
                    <a:pt x="259093" y="104069"/>
                    <a:pt x="259093" y="102774"/>
                  </a:cubicBezTo>
                  <a:cubicBezTo>
                    <a:pt x="259093" y="98024"/>
                    <a:pt x="259525" y="93705"/>
                    <a:pt x="259957" y="88955"/>
                  </a:cubicBezTo>
                  <a:lnTo>
                    <a:pt x="259957" y="87660"/>
                  </a:lnTo>
                  <a:cubicBezTo>
                    <a:pt x="259957" y="83773"/>
                    <a:pt x="260821" y="80751"/>
                    <a:pt x="261252" y="77296"/>
                  </a:cubicBezTo>
                  <a:cubicBezTo>
                    <a:pt x="261252" y="76432"/>
                    <a:pt x="261252" y="76001"/>
                    <a:pt x="261252" y="75569"/>
                  </a:cubicBezTo>
                  <a:cubicBezTo>
                    <a:pt x="261252" y="73410"/>
                    <a:pt x="260821" y="71251"/>
                    <a:pt x="259093" y="69092"/>
                  </a:cubicBezTo>
                  <a:cubicBezTo>
                    <a:pt x="259093" y="68660"/>
                    <a:pt x="259093" y="68228"/>
                    <a:pt x="258661" y="68228"/>
                  </a:cubicBezTo>
                  <a:lnTo>
                    <a:pt x="258230" y="68228"/>
                  </a:lnTo>
                  <a:cubicBezTo>
                    <a:pt x="257366" y="69092"/>
                    <a:pt x="256071" y="69523"/>
                    <a:pt x="255639" y="70819"/>
                  </a:cubicBezTo>
                  <a:cubicBezTo>
                    <a:pt x="254343" y="72546"/>
                    <a:pt x="250889" y="74705"/>
                    <a:pt x="250025" y="77296"/>
                  </a:cubicBezTo>
                  <a:cubicBezTo>
                    <a:pt x="250025" y="78160"/>
                    <a:pt x="249593" y="78592"/>
                    <a:pt x="248730" y="78592"/>
                  </a:cubicBezTo>
                  <a:cubicBezTo>
                    <a:pt x="247002" y="79023"/>
                    <a:pt x="246570" y="80751"/>
                    <a:pt x="244411" y="82046"/>
                  </a:cubicBezTo>
                  <a:cubicBezTo>
                    <a:pt x="243980" y="82478"/>
                    <a:pt x="243980" y="82910"/>
                    <a:pt x="243548" y="82910"/>
                  </a:cubicBezTo>
                  <a:lnTo>
                    <a:pt x="243116" y="82910"/>
                  </a:lnTo>
                  <a:cubicBezTo>
                    <a:pt x="242684" y="82910"/>
                    <a:pt x="242252" y="82046"/>
                    <a:pt x="241820" y="82046"/>
                  </a:cubicBezTo>
                  <a:lnTo>
                    <a:pt x="241389" y="82478"/>
                  </a:lnTo>
                  <a:cubicBezTo>
                    <a:pt x="240525" y="83342"/>
                    <a:pt x="240957" y="84205"/>
                    <a:pt x="240525" y="85069"/>
                  </a:cubicBezTo>
                  <a:cubicBezTo>
                    <a:pt x="239661" y="87228"/>
                    <a:pt x="237934" y="88524"/>
                    <a:pt x="236207" y="88955"/>
                  </a:cubicBezTo>
                  <a:cubicBezTo>
                    <a:pt x="235775" y="88955"/>
                    <a:pt x="235343" y="89387"/>
                    <a:pt x="235343" y="89819"/>
                  </a:cubicBezTo>
                  <a:cubicBezTo>
                    <a:pt x="235343" y="90251"/>
                    <a:pt x="235343" y="90251"/>
                    <a:pt x="235775" y="91114"/>
                  </a:cubicBezTo>
                  <a:lnTo>
                    <a:pt x="235775" y="91546"/>
                  </a:lnTo>
                  <a:cubicBezTo>
                    <a:pt x="235775" y="91978"/>
                    <a:pt x="235343" y="92410"/>
                    <a:pt x="234048" y="92410"/>
                  </a:cubicBezTo>
                  <a:cubicBezTo>
                    <a:pt x="233616" y="92410"/>
                    <a:pt x="233616" y="92410"/>
                    <a:pt x="233616" y="92410"/>
                  </a:cubicBezTo>
                  <a:cubicBezTo>
                    <a:pt x="233184" y="92410"/>
                    <a:pt x="232752" y="92842"/>
                    <a:pt x="232752" y="93273"/>
                  </a:cubicBezTo>
                  <a:cubicBezTo>
                    <a:pt x="231888" y="94569"/>
                    <a:pt x="231888" y="95001"/>
                    <a:pt x="231888" y="95433"/>
                  </a:cubicBezTo>
                  <a:cubicBezTo>
                    <a:pt x="232320" y="95864"/>
                    <a:pt x="232320" y="95864"/>
                    <a:pt x="232320" y="96296"/>
                  </a:cubicBezTo>
                  <a:cubicBezTo>
                    <a:pt x="232320" y="97160"/>
                    <a:pt x="231457" y="98024"/>
                    <a:pt x="231025" y="98455"/>
                  </a:cubicBezTo>
                  <a:cubicBezTo>
                    <a:pt x="230161" y="98887"/>
                    <a:pt x="229729" y="99751"/>
                    <a:pt x="229729" y="101478"/>
                  </a:cubicBezTo>
                  <a:cubicBezTo>
                    <a:pt x="229729" y="101910"/>
                    <a:pt x="229729" y="102342"/>
                    <a:pt x="229729" y="102774"/>
                  </a:cubicBezTo>
                  <a:cubicBezTo>
                    <a:pt x="227138" y="104501"/>
                    <a:pt x="225411" y="105796"/>
                    <a:pt x="224548" y="107524"/>
                  </a:cubicBezTo>
                  <a:cubicBezTo>
                    <a:pt x="224548" y="109251"/>
                    <a:pt x="223684" y="110115"/>
                    <a:pt x="223252" y="110978"/>
                  </a:cubicBezTo>
                  <a:lnTo>
                    <a:pt x="221525" y="113137"/>
                  </a:lnTo>
                  <a:cubicBezTo>
                    <a:pt x="220661" y="113137"/>
                    <a:pt x="218934" y="113137"/>
                    <a:pt x="218934" y="114433"/>
                  </a:cubicBezTo>
                  <a:cubicBezTo>
                    <a:pt x="218934" y="116592"/>
                    <a:pt x="217207" y="117024"/>
                    <a:pt x="215479" y="117024"/>
                  </a:cubicBezTo>
                  <a:cubicBezTo>
                    <a:pt x="214616" y="117024"/>
                    <a:pt x="214184" y="117887"/>
                    <a:pt x="214184" y="117887"/>
                  </a:cubicBezTo>
                  <a:cubicBezTo>
                    <a:pt x="212456" y="119183"/>
                    <a:pt x="211593" y="120478"/>
                    <a:pt x="211161" y="121774"/>
                  </a:cubicBezTo>
                  <a:lnTo>
                    <a:pt x="211161" y="122206"/>
                  </a:lnTo>
                  <a:lnTo>
                    <a:pt x="213320" y="122206"/>
                  </a:lnTo>
                  <a:cubicBezTo>
                    <a:pt x="213320" y="122206"/>
                    <a:pt x="214184" y="122206"/>
                    <a:pt x="214184" y="122637"/>
                  </a:cubicBezTo>
                  <a:cubicBezTo>
                    <a:pt x="211593" y="125228"/>
                    <a:pt x="211593" y="129115"/>
                    <a:pt x="209866" y="132137"/>
                  </a:cubicBezTo>
                  <a:cubicBezTo>
                    <a:pt x="208570" y="134728"/>
                    <a:pt x="205116" y="137319"/>
                    <a:pt x="202956" y="138615"/>
                  </a:cubicBezTo>
                  <a:cubicBezTo>
                    <a:pt x="202093" y="139047"/>
                    <a:pt x="201229" y="140342"/>
                    <a:pt x="201229" y="142069"/>
                  </a:cubicBezTo>
                  <a:lnTo>
                    <a:pt x="199934" y="145956"/>
                  </a:lnTo>
                  <a:cubicBezTo>
                    <a:pt x="198638" y="146820"/>
                    <a:pt x="198206" y="148547"/>
                    <a:pt x="197775" y="148979"/>
                  </a:cubicBezTo>
                  <a:cubicBezTo>
                    <a:pt x="195615" y="152865"/>
                    <a:pt x="194320" y="158047"/>
                    <a:pt x="190865" y="159774"/>
                  </a:cubicBezTo>
                  <a:cubicBezTo>
                    <a:pt x="190434" y="160206"/>
                    <a:pt x="190002" y="160638"/>
                    <a:pt x="190002" y="161501"/>
                  </a:cubicBezTo>
                  <a:cubicBezTo>
                    <a:pt x="189570" y="161501"/>
                    <a:pt x="189570" y="161933"/>
                    <a:pt x="189570" y="161933"/>
                  </a:cubicBezTo>
                  <a:cubicBezTo>
                    <a:pt x="189570" y="162365"/>
                    <a:pt x="189570" y="162365"/>
                    <a:pt x="189570" y="162365"/>
                  </a:cubicBezTo>
                  <a:cubicBezTo>
                    <a:pt x="186115" y="165388"/>
                    <a:pt x="185252" y="168842"/>
                    <a:pt x="182661" y="172729"/>
                  </a:cubicBezTo>
                  <a:lnTo>
                    <a:pt x="181365" y="174456"/>
                  </a:lnTo>
                  <a:cubicBezTo>
                    <a:pt x="180502" y="177911"/>
                    <a:pt x="178343" y="180933"/>
                    <a:pt x="175320" y="183524"/>
                  </a:cubicBezTo>
                  <a:cubicBezTo>
                    <a:pt x="174456" y="184388"/>
                    <a:pt x="174024" y="185684"/>
                    <a:pt x="174024" y="187411"/>
                  </a:cubicBezTo>
                  <a:cubicBezTo>
                    <a:pt x="174024" y="190002"/>
                    <a:pt x="173161" y="191297"/>
                    <a:pt x="171002" y="192161"/>
                  </a:cubicBezTo>
                  <a:cubicBezTo>
                    <a:pt x="169274" y="192593"/>
                    <a:pt x="168411" y="193456"/>
                    <a:pt x="167547" y="193888"/>
                  </a:cubicBezTo>
                  <a:cubicBezTo>
                    <a:pt x="167115" y="194320"/>
                    <a:pt x="166252" y="194320"/>
                    <a:pt x="165820" y="194320"/>
                  </a:cubicBezTo>
                  <a:cubicBezTo>
                    <a:pt x="164524" y="194320"/>
                    <a:pt x="163229" y="193456"/>
                    <a:pt x="161933" y="192161"/>
                  </a:cubicBezTo>
                  <a:cubicBezTo>
                    <a:pt x="159342" y="189570"/>
                    <a:pt x="155888" y="187411"/>
                    <a:pt x="152433" y="183956"/>
                  </a:cubicBezTo>
                  <a:cubicBezTo>
                    <a:pt x="152001" y="183093"/>
                    <a:pt x="149842" y="182229"/>
                    <a:pt x="149410" y="182229"/>
                  </a:cubicBezTo>
                  <a:cubicBezTo>
                    <a:pt x="145956" y="180502"/>
                    <a:pt x="144229" y="177911"/>
                    <a:pt x="142933" y="176183"/>
                  </a:cubicBezTo>
                  <a:cubicBezTo>
                    <a:pt x="141638" y="175752"/>
                    <a:pt x="141638" y="175320"/>
                    <a:pt x="141206" y="174024"/>
                  </a:cubicBezTo>
                  <a:lnTo>
                    <a:pt x="139910" y="170570"/>
                  </a:lnTo>
                  <a:cubicBezTo>
                    <a:pt x="138615" y="167115"/>
                    <a:pt x="139047" y="164524"/>
                    <a:pt x="138615" y="160638"/>
                  </a:cubicBezTo>
                  <a:lnTo>
                    <a:pt x="139479" y="142933"/>
                  </a:lnTo>
                  <a:cubicBezTo>
                    <a:pt x="139479" y="140342"/>
                    <a:pt x="139910" y="137751"/>
                    <a:pt x="139910" y="135592"/>
                  </a:cubicBezTo>
                  <a:cubicBezTo>
                    <a:pt x="140342" y="126524"/>
                    <a:pt x="141638" y="117887"/>
                    <a:pt x="142501" y="109683"/>
                  </a:cubicBezTo>
                  <a:lnTo>
                    <a:pt x="145956" y="91546"/>
                  </a:lnTo>
                  <a:lnTo>
                    <a:pt x="145956" y="90251"/>
                  </a:lnTo>
                  <a:cubicBezTo>
                    <a:pt x="145956" y="89387"/>
                    <a:pt x="145956" y="88524"/>
                    <a:pt x="145956" y="87660"/>
                  </a:cubicBezTo>
                  <a:cubicBezTo>
                    <a:pt x="145956" y="80751"/>
                    <a:pt x="147251" y="75137"/>
                    <a:pt x="148979" y="68228"/>
                  </a:cubicBezTo>
                  <a:cubicBezTo>
                    <a:pt x="149410" y="63478"/>
                    <a:pt x="150706" y="57864"/>
                    <a:pt x="152433" y="52250"/>
                  </a:cubicBezTo>
                  <a:cubicBezTo>
                    <a:pt x="152865" y="50523"/>
                    <a:pt x="152865" y="49660"/>
                    <a:pt x="152865" y="48364"/>
                  </a:cubicBezTo>
                  <a:cubicBezTo>
                    <a:pt x="152865" y="47932"/>
                    <a:pt x="152865" y="47069"/>
                    <a:pt x="152865" y="46637"/>
                  </a:cubicBezTo>
                  <a:cubicBezTo>
                    <a:pt x="152865" y="45341"/>
                    <a:pt x="152001" y="44478"/>
                    <a:pt x="151138" y="44478"/>
                  </a:cubicBezTo>
                  <a:lnTo>
                    <a:pt x="150706" y="44478"/>
                  </a:lnTo>
                  <a:cubicBezTo>
                    <a:pt x="149842" y="45341"/>
                    <a:pt x="149410" y="47069"/>
                    <a:pt x="148115" y="47069"/>
                  </a:cubicBezTo>
                  <a:cubicBezTo>
                    <a:pt x="146388" y="47069"/>
                    <a:pt x="145092" y="47500"/>
                    <a:pt x="144229" y="48364"/>
                  </a:cubicBezTo>
                  <a:lnTo>
                    <a:pt x="141206" y="52250"/>
                  </a:lnTo>
                  <a:cubicBezTo>
                    <a:pt x="140342" y="53114"/>
                    <a:pt x="139479" y="53114"/>
                    <a:pt x="139047" y="53978"/>
                  </a:cubicBezTo>
                  <a:cubicBezTo>
                    <a:pt x="137751" y="55273"/>
                    <a:pt x="135592" y="56569"/>
                    <a:pt x="134729" y="58296"/>
                  </a:cubicBezTo>
                  <a:cubicBezTo>
                    <a:pt x="131706" y="60455"/>
                    <a:pt x="129547" y="64773"/>
                    <a:pt x="125660" y="66501"/>
                  </a:cubicBezTo>
                  <a:cubicBezTo>
                    <a:pt x="124365" y="66932"/>
                    <a:pt x="123501" y="68228"/>
                    <a:pt x="122637" y="69523"/>
                  </a:cubicBezTo>
                  <a:cubicBezTo>
                    <a:pt x="120910" y="71682"/>
                    <a:pt x="120047" y="73410"/>
                    <a:pt x="117887" y="75137"/>
                  </a:cubicBezTo>
                  <a:cubicBezTo>
                    <a:pt x="116160" y="76001"/>
                    <a:pt x="115728" y="77728"/>
                    <a:pt x="114001" y="79455"/>
                  </a:cubicBezTo>
                  <a:cubicBezTo>
                    <a:pt x="113569" y="80751"/>
                    <a:pt x="112706" y="81614"/>
                    <a:pt x="110978" y="82046"/>
                  </a:cubicBezTo>
                  <a:cubicBezTo>
                    <a:pt x="110115" y="82910"/>
                    <a:pt x="109251" y="82910"/>
                    <a:pt x="109251" y="84637"/>
                  </a:cubicBezTo>
                  <a:cubicBezTo>
                    <a:pt x="109251" y="85069"/>
                    <a:pt x="109251" y="85501"/>
                    <a:pt x="109251" y="85933"/>
                  </a:cubicBezTo>
                  <a:lnTo>
                    <a:pt x="107524" y="88092"/>
                  </a:lnTo>
                  <a:cubicBezTo>
                    <a:pt x="103637" y="92410"/>
                    <a:pt x="99319" y="97160"/>
                    <a:pt x="96728" y="103637"/>
                  </a:cubicBezTo>
                  <a:cubicBezTo>
                    <a:pt x="95433" y="104501"/>
                    <a:pt x="93705" y="105365"/>
                    <a:pt x="92842" y="106660"/>
                  </a:cubicBezTo>
                  <a:cubicBezTo>
                    <a:pt x="92410" y="107524"/>
                    <a:pt x="92410" y="107524"/>
                    <a:pt x="91978" y="107524"/>
                  </a:cubicBezTo>
                  <a:cubicBezTo>
                    <a:pt x="91546" y="107524"/>
                    <a:pt x="91546" y="107524"/>
                    <a:pt x="91114" y="106660"/>
                  </a:cubicBezTo>
                  <a:cubicBezTo>
                    <a:pt x="90683" y="106228"/>
                    <a:pt x="90251" y="106228"/>
                    <a:pt x="89819" y="106228"/>
                  </a:cubicBezTo>
                  <a:cubicBezTo>
                    <a:pt x="89387" y="106228"/>
                    <a:pt x="88524" y="106228"/>
                    <a:pt x="88524" y="106660"/>
                  </a:cubicBezTo>
                  <a:cubicBezTo>
                    <a:pt x="88524" y="107524"/>
                    <a:pt x="88524" y="108387"/>
                    <a:pt x="88524" y="108819"/>
                  </a:cubicBezTo>
                  <a:cubicBezTo>
                    <a:pt x="88524" y="109251"/>
                    <a:pt x="88524" y="109683"/>
                    <a:pt x="88524" y="109683"/>
                  </a:cubicBezTo>
                  <a:cubicBezTo>
                    <a:pt x="88955" y="110546"/>
                    <a:pt x="89387" y="111410"/>
                    <a:pt x="89387" y="111842"/>
                  </a:cubicBezTo>
                  <a:cubicBezTo>
                    <a:pt x="89387" y="113137"/>
                    <a:pt x="88524" y="113569"/>
                    <a:pt x="87660" y="114865"/>
                  </a:cubicBezTo>
                  <a:cubicBezTo>
                    <a:pt x="86364" y="116592"/>
                    <a:pt x="85069" y="117456"/>
                    <a:pt x="82478" y="117887"/>
                  </a:cubicBezTo>
                  <a:cubicBezTo>
                    <a:pt x="81614" y="118751"/>
                    <a:pt x="80751" y="119183"/>
                    <a:pt x="80751" y="120046"/>
                  </a:cubicBezTo>
                  <a:cubicBezTo>
                    <a:pt x="80319" y="123501"/>
                    <a:pt x="78592" y="126092"/>
                    <a:pt x="76433" y="129115"/>
                  </a:cubicBezTo>
                  <a:cubicBezTo>
                    <a:pt x="76001" y="129547"/>
                    <a:pt x="75569" y="129978"/>
                    <a:pt x="75569" y="130842"/>
                  </a:cubicBezTo>
                  <a:cubicBezTo>
                    <a:pt x="75569" y="131274"/>
                    <a:pt x="75569" y="131274"/>
                    <a:pt x="75569" y="131706"/>
                  </a:cubicBezTo>
                  <a:cubicBezTo>
                    <a:pt x="75569" y="132137"/>
                    <a:pt x="76001" y="132569"/>
                    <a:pt x="76001" y="133001"/>
                  </a:cubicBezTo>
                  <a:cubicBezTo>
                    <a:pt x="76001" y="133433"/>
                    <a:pt x="75569" y="133865"/>
                    <a:pt x="75569" y="134297"/>
                  </a:cubicBezTo>
                  <a:cubicBezTo>
                    <a:pt x="74705" y="136024"/>
                    <a:pt x="75137" y="139478"/>
                    <a:pt x="71682" y="139478"/>
                  </a:cubicBezTo>
                  <a:cubicBezTo>
                    <a:pt x="70819" y="139910"/>
                    <a:pt x="70819" y="141638"/>
                    <a:pt x="70819" y="142933"/>
                  </a:cubicBezTo>
                  <a:cubicBezTo>
                    <a:pt x="70819" y="143797"/>
                    <a:pt x="70387" y="144229"/>
                    <a:pt x="69955" y="144229"/>
                  </a:cubicBezTo>
                  <a:lnTo>
                    <a:pt x="69523" y="144229"/>
                  </a:lnTo>
                  <a:cubicBezTo>
                    <a:pt x="68228" y="144229"/>
                    <a:pt x="67796" y="144229"/>
                    <a:pt x="67364" y="144660"/>
                  </a:cubicBezTo>
                  <a:cubicBezTo>
                    <a:pt x="66932" y="145524"/>
                    <a:pt x="66932" y="145956"/>
                    <a:pt x="66932" y="147251"/>
                  </a:cubicBezTo>
                  <a:cubicBezTo>
                    <a:pt x="66501" y="148115"/>
                    <a:pt x="66501" y="148547"/>
                    <a:pt x="65205" y="148547"/>
                  </a:cubicBezTo>
                  <a:cubicBezTo>
                    <a:pt x="64342" y="148547"/>
                    <a:pt x="64342" y="148979"/>
                    <a:pt x="63910" y="149410"/>
                  </a:cubicBezTo>
                  <a:cubicBezTo>
                    <a:pt x="63046" y="151138"/>
                    <a:pt x="61319" y="153297"/>
                    <a:pt x="60023" y="155888"/>
                  </a:cubicBezTo>
                  <a:cubicBezTo>
                    <a:pt x="60023" y="157183"/>
                    <a:pt x="58728" y="158047"/>
                    <a:pt x="59160" y="158479"/>
                  </a:cubicBezTo>
                  <a:cubicBezTo>
                    <a:pt x="59591" y="158910"/>
                    <a:pt x="59591" y="159774"/>
                    <a:pt x="59591" y="160206"/>
                  </a:cubicBezTo>
                  <a:cubicBezTo>
                    <a:pt x="59591" y="161070"/>
                    <a:pt x="59160" y="162365"/>
                    <a:pt x="58296" y="163661"/>
                  </a:cubicBezTo>
                  <a:lnTo>
                    <a:pt x="58296" y="163229"/>
                  </a:lnTo>
                  <a:cubicBezTo>
                    <a:pt x="57864" y="161933"/>
                    <a:pt x="57432" y="161070"/>
                    <a:pt x="57001" y="161070"/>
                  </a:cubicBezTo>
                  <a:cubicBezTo>
                    <a:pt x="57001" y="161070"/>
                    <a:pt x="57001" y="161070"/>
                    <a:pt x="57001" y="161501"/>
                  </a:cubicBezTo>
                  <a:cubicBezTo>
                    <a:pt x="56137" y="163661"/>
                    <a:pt x="54841" y="165388"/>
                    <a:pt x="53114" y="167115"/>
                  </a:cubicBezTo>
                  <a:cubicBezTo>
                    <a:pt x="52682" y="168411"/>
                    <a:pt x="51387" y="170570"/>
                    <a:pt x="50091" y="172297"/>
                  </a:cubicBezTo>
                  <a:cubicBezTo>
                    <a:pt x="50091" y="173161"/>
                    <a:pt x="50523" y="173592"/>
                    <a:pt x="50955" y="174888"/>
                  </a:cubicBezTo>
                  <a:cubicBezTo>
                    <a:pt x="51387" y="175320"/>
                    <a:pt x="51819" y="175752"/>
                    <a:pt x="51819" y="175752"/>
                  </a:cubicBezTo>
                  <a:lnTo>
                    <a:pt x="51387" y="176183"/>
                  </a:lnTo>
                  <a:cubicBezTo>
                    <a:pt x="49660" y="176615"/>
                    <a:pt x="49228" y="176615"/>
                    <a:pt x="49228" y="177479"/>
                  </a:cubicBezTo>
                  <a:cubicBezTo>
                    <a:pt x="49228" y="177911"/>
                    <a:pt x="49228" y="178342"/>
                    <a:pt x="49228" y="178774"/>
                  </a:cubicBezTo>
                  <a:cubicBezTo>
                    <a:pt x="49228" y="179206"/>
                    <a:pt x="49228" y="179638"/>
                    <a:pt x="49228" y="180070"/>
                  </a:cubicBezTo>
                  <a:cubicBezTo>
                    <a:pt x="49228" y="181365"/>
                    <a:pt x="48796" y="182229"/>
                    <a:pt x="47069" y="183093"/>
                  </a:cubicBezTo>
                  <a:cubicBezTo>
                    <a:pt x="45341" y="183956"/>
                    <a:pt x="45341" y="186547"/>
                    <a:pt x="44046" y="188274"/>
                  </a:cubicBezTo>
                  <a:cubicBezTo>
                    <a:pt x="44046" y="190002"/>
                    <a:pt x="43182" y="190865"/>
                    <a:pt x="42319" y="191297"/>
                  </a:cubicBezTo>
                  <a:cubicBezTo>
                    <a:pt x="41023" y="191297"/>
                    <a:pt x="41023" y="191729"/>
                    <a:pt x="41023" y="192161"/>
                  </a:cubicBezTo>
                  <a:lnTo>
                    <a:pt x="42319" y="192593"/>
                  </a:lnTo>
                  <a:cubicBezTo>
                    <a:pt x="42319" y="192593"/>
                    <a:pt x="42319" y="193024"/>
                    <a:pt x="42750" y="193024"/>
                  </a:cubicBezTo>
                  <a:cubicBezTo>
                    <a:pt x="40591" y="195184"/>
                    <a:pt x="38864" y="198638"/>
                    <a:pt x="37137" y="202093"/>
                  </a:cubicBezTo>
                  <a:cubicBezTo>
                    <a:pt x="35841" y="203820"/>
                    <a:pt x="33682" y="207275"/>
                    <a:pt x="32387" y="210729"/>
                  </a:cubicBezTo>
                  <a:lnTo>
                    <a:pt x="30659" y="212888"/>
                  </a:lnTo>
                  <a:cubicBezTo>
                    <a:pt x="30228" y="215047"/>
                    <a:pt x="28068" y="216343"/>
                    <a:pt x="25046" y="216343"/>
                  </a:cubicBezTo>
                  <a:cubicBezTo>
                    <a:pt x="24614" y="216343"/>
                    <a:pt x="24182" y="215911"/>
                    <a:pt x="22887" y="215911"/>
                  </a:cubicBezTo>
                  <a:cubicBezTo>
                    <a:pt x="22023" y="215911"/>
                    <a:pt x="21159" y="215911"/>
                    <a:pt x="20296" y="215911"/>
                  </a:cubicBezTo>
                  <a:cubicBezTo>
                    <a:pt x="19864" y="215911"/>
                    <a:pt x="19432" y="215911"/>
                    <a:pt x="19000" y="215911"/>
                  </a:cubicBezTo>
                  <a:cubicBezTo>
                    <a:pt x="17273" y="214616"/>
                    <a:pt x="15977" y="212888"/>
                    <a:pt x="15546" y="212025"/>
                  </a:cubicBezTo>
                  <a:cubicBezTo>
                    <a:pt x="12955" y="209002"/>
                    <a:pt x="9068" y="205547"/>
                    <a:pt x="6477" y="202956"/>
                  </a:cubicBezTo>
                  <a:cubicBezTo>
                    <a:pt x="6046" y="202525"/>
                    <a:pt x="5614" y="201661"/>
                    <a:pt x="5182" y="201661"/>
                  </a:cubicBezTo>
                  <a:cubicBezTo>
                    <a:pt x="1727" y="199934"/>
                    <a:pt x="1295" y="197774"/>
                    <a:pt x="864" y="194320"/>
                  </a:cubicBezTo>
                  <a:cubicBezTo>
                    <a:pt x="432" y="189138"/>
                    <a:pt x="0" y="183956"/>
                    <a:pt x="0" y="180070"/>
                  </a:cubicBezTo>
                  <a:cubicBezTo>
                    <a:pt x="0" y="179206"/>
                    <a:pt x="0" y="178342"/>
                    <a:pt x="432" y="177911"/>
                  </a:cubicBezTo>
                  <a:cubicBezTo>
                    <a:pt x="1727" y="174456"/>
                    <a:pt x="1727" y="170570"/>
                    <a:pt x="1727" y="167115"/>
                  </a:cubicBezTo>
                  <a:cubicBezTo>
                    <a:pt x="1727" y="165388"/>
                    <a:pt x="2159" y="164092"/>
                    <a:pt x="2159" y="162365"/>
                  </a:cubicBezTo>
                  <a:cubicBezTo>
                    <a:pt x="1727" y="161501"/>
                    <a:pt x="1727" y="160638"/>
                    <a:pt x="1727" y="159774"/>
                  </a:cubicBezTo>
                  <a:cubicBezTo>
                    <a:pt x="1727" y="158479"/>
                    <a:pt x="2159" y="157183"/>
                    <a:pt x="2591" y="155888"/>
                  </a:cubicBezTo>
                  <a:cubicBezTo>
                    <a:pt x="3455" y="155024"/>
                    <a:pt x="3455" y="153297"/>
                    <a:pt x="3455" y="152865"/>
                  </a:cubicBezTo>
                  <a:cubicBezTo>
                    <a:pt x="3886" y="148979"/>
                    <a:pt x="3886" y="145524"/>
                    <a:pt x="3886" y="141638"/>
                  </a:cubicBezTo>
                  <a:cubicBezTo>
                    <a:pt x="3886" y="141206"/>
                    <a:pt x="4318" y="139910"/>
                    <a:pt x="4750" y="139478"/>
                  </a:cubicBezTo>
                  <a:cubicBezTo>
                    <a:pt x="6477" y="139047"/>
                    <a:pt x="6477" y="137319"/>
                    <a:pt x="7341" y="135592"/>
                  </a:cubicBezTo>
                  <a:cubicBezTo>
                    <a:pt x="7773" y="133865"/>
                    <a:pt x="8205" y="131706"/>
                    <a:pt x="9068" y="129978"/>
                  </a:cubicBezTo>
                  <a:cubicBezTo>
                    <a:pt x="9068" y="128683"/>
                    <a:pt x="9068" y="128251"/>
                    <a:pt x="8636" y="126956"/>
                  </a:cubicBezTo>
                  <a:cubicBezTo>
                    <a:pt x="8205" y="126092"/>
                    <a:pt x="7773" y="125228"/>
                    <a:pt x="7773" y="124365"/>
                  </a:cubicBezTo>
                  <a:cubicBezTo>
                    <a:pt x="7773" y="123933"/>
                    <a:pt x="8205" y="123069"/>
                    <a:pt x="8205" y="122206"/>
                  </a:cubicBezTo>
                  <a:lnTo>
                    <a:pt x="8205" y="120910"/>
                  </a:lnTo>
                  <a:cubicBezTo>
                    <a:pt x="8205" y="120910"/>
                    <a:pt x="8205" y="120910"/>
                    <a:pt x="8205" y="120478"/>
                  </a:cubicBezTo>
                  <a:cubicBezTo>
                    <a:pt x="8205" y="120478"/>
                    <a:pt x="8205" y="120046"/>
                    <a:pt x="8636" y="119615"/>
                  </a:cubicBezTo>
                  <a:cubicBezTo>
                    <a:pt x="9500" y="118319"/>
                    <a:pt x="10796" y="117456"/>
                    <a:pt x="10796" y="116160"/>
                  </a:cubicBezTo>
                  <a:lnTo>
                    <a:pt x="10796" y="115728"/>
                  </a:lnTo>
                  <a:cubicBezTo>
                    <a:pt x="10796" y="114001"/>
                    <a:pt x="11227" y="112274"/>
                    <a:pt x="11227" y="111410"/>
                  </a:cubicBezTo>
                  <a:cubicBezTo>
                    <a:pt x="13386" y="109251"/>
                    <a:pt x="13386" y="105796"/>
                    <a:pt x="13818" y="104069"/>
                  </a:cubicBezTo>
                  <a:cubicBezTo>
                    <a:pt x="14250" y="101478"/>
                    <a:pt x="14682" y="98024"/>
                    <a:pt x="15977" y="95001"/>
                  </a:cubicBezTo>
                  <a:lnTo>
                    <a:pt x="17273" y="90683"/>
                  </a:lnTo>
                  <a:cubicBezTo>
                    <a:pt x="17273" y="90251"/>
                    <a:pt x="17273" y="89819"/>
                    <a:pt x="17273" y="89387"/>
                  </a:cubicBezTo>
                  <a:cubicBezTo>
                    <a:pt x="17273" y="88955"/>
                    <a:pt x="17273" y="88092"/>
                    <a:pt x="18137" y="87660"/>
                  </a:cubicBezTo>
                  <a:cubicBezTo>
                    <a:pt x="20727" y="83342"/>
                    <a:pt x="20296" y="78160"/>
                    <a:pt x="22023" y="74273"/>
                  </a:cubicBezTo>
                  <a:lnTo>
                    <a:pt x="22023" y="73410"/>
                  </a:lnTo>
                  <a:cubicBezTo>
                    <a:pt x="22023" y="67796"/>
                    <a:pt x="24614" y="65637"/>
                    <a:pt x="26341" y="62182"/>
                  </a:cubicBezTo>
                  <a:cubicBezTo>
                    <a:pt x="28068" y="60023"/>
                    <a:pt x="28500" y="58296"/>
                    <a:pt x="29364" y="56569"/>
                  </a:cubicBezTo>
                  <a:cubicBezTo>
                    <a:pt x="29364" y="54409"/>
                    <a:pt x="29364" y="52250"/>
                    <a:pt x="30659" y="50955"/>
                  </a:cubicBezTo>
                  <a:cubicBezTo>
                    <a:pt x="31091" y="49660"/>
                    <a:pt x="31955" y="48364"/>
                    <a:pt x="31955" y="47500"/>
                  </a:cubicBezTo>
                  <a:cubicBezTo>
                    <a:pt x="32387" y="46637"/>
                    <a:pt x="32387" y="44909"/>
                    <a:pt x="33682" y="43614"/>
                  </a:cubicBezTo>
                  <a:cubicBezTo>
                    <a:pt x="34114" y="43614"/>
                    <a:pt x="34114" y="42750"/>
                    <a:pt x="34114" y="42319"/>
                  </a:cubicBezTo>
                  <a:cubicBezTo>
                    <a:pt x="34114" y="40591"/>
                    <a:pt x="34114" y="39728"/>
                    <a:pt x="35409" y="38432"/>
                  </a:cubicBezTo>
                  <a:cubicBezTo>
                    <a:pt x="35841" y="35841"/>
                    <a:pt x="37137" y="33250"/>
                    <a:pt x="37569" y="31091"/>
                  </a:cubicBezTo>
                  <a:cubicBezTo>
                    <a:pt x="37569" y="30659"/>
                    <a:pt x="38000" y="30659"/>
                    <a:pt x="38000" y="30228"/>
                  </a:cubicBezTo>
                  <a:cubicBezTo>
                    <a:pt x="38000" y="29796"/>
                    <a:pt x="37569" y="28932"/>
                    <a:pt x="37137" y="28500"/>
                  </a:cubicBezTo>
                  <a:lnTo>
                    <a:pt x="38432" y="22023"/>
                  </a:lnTo>
                  <a:cubicBezTo>
                    <a:pt x="39728" y="20296"/>
                    <a:pt x="40591" y="18136"/>
                    <a:pt x="40591" y="15545"/>
                  </a:cubicBezTo>
                  <a:lnTo>
                    <a:pt x="43614" y="2159"/>
                  </a:lnTo>
                  <a:cubicBezTo>
                    <a:pt x="44046" y="1295"/>
                    <a:pt x="44910" y="432"/>
                    <a:pt x="46637" y="432"/>
                  </a:cubicBezTo>
                  <a:cubicBezTo>
                    <a:pt x="47069" y="432"/>
                    <a:pt x="47069" y="432"/>
                    <a:pt x="47500" y="432"/>
                  </a:cubicBezTo>
                  <a:cubicBezTo>
                    <a:pt x="47932" y="432"/>
                    <a:pt x="48796" y="432"/>
                    <a:pt x="49228" y="0"/>
                  </a:cubicBezTo>
                  <a:cubicBezTo>
                    <a:pt x="50091" y="0"/>
                    <a:pt x="50955" y="432"/>
                    <a:pt x="50955" y="1295"/>
                  </a:cubicBezTo>
                  <a:cubicBezTo>
                    <a:pt x="51819" y="2159"/>
                    <a:pt x="53114" y="2591"/>
                    <a:pt x="54841" y="2591"/>
                  </a:cubicBezTo>
                  <a:cubicBezTo>
                    <a:pt x="55273" y="2591"/>
                    <a:pt x="55705" y="2591"/>
                    <a:pt x="56137" y="2591"/>
                  </a:cubicBezTo>
                  <a:cubicBezTo>
                    <a:pt x="57864" y="2591"/>
                    <a:pt x="60023" y="3886"/>
                    <a:pt x="61751" y="3886"/>
                  </a:cubicBezTo>
                  <a:cubicBezTo>
                    <a:pt x="63046" y="3886"/>
                    <a:pt x="63478" y="4318"/>
                    <a:pt x="64342" y="5182"/>
                  </a:cubicBezTo>
                  <a:lnTo>
                    <a:pt x="65205" y="8205"/>
                  </a:lnTo>
                  <a:cubicBezTo>
                    <a:pt x="66501" y="9500"/>
                    <a:pt x="67364" y="11659"/>
                    <a:pt x="67364" y="13386"/>
                  </a:cubicBezTo>
                  <a:cubicBezTo>
                    <a:pt x="67364" y="15114"/>
                    <a:pt x="66932" y="16409"/>
                    <a:pt x="66069" y="18136"/>
                  </a:cubicBezTo>
                  <a:cubicBezTo>
                    <a:pt x="64342" y="25046"/>
                    <a:pt x="63478" y="33250"/>
                    <a:pt x="61319" y="40159"/>
                  </a:cubicBezTo>
                  <a:cubicBezTo>
                    <a:pt x="61319" y="40591"/>
                    <a:pt x="61319" y="40591"/>
                    <a:pt x="61319" y="41023"/>
                  </a:cubicBezTo>
                  <a:cubicBezTo>
                    <a:pt x="61319" y="41887"/>
                    <a:pt x="60887" y="42319"/>
                    <a:pt x="60887" y="43182"/>
                  </a:cubicBezTo>
                  <a:cubicBezTo>
                    <a:pt x="60455" y="44478"/>
                    <a:pt x="60023" y="46205"/>
                    <a:pt x="59160" y="47069"/>
                  </a:cubicBezTo>
                  <a:lnTo>
                    <a:pt x="59160" y="48364"/>
                  </a:lnTo>
                  <a:cubicBezTo>
                    <a:pt x="59160" y="49660"/>
                    <a:pt x="58728" y="51387"/>
                    <a:pt x="58728" y="53114"/>
                  </a:cubicBezTo>
                  <a:cubicBezTo>
                    <a:pt x="57432" y="56137"/>
                    <a:pt x="55705" y="58296"/>
                    <a:pt x="54841" y="62182"/>
                  </a:cubicBezTo>
                  <a:lnTo>
                    <a:pt x="53114" y="68660"/>
                  </a:lnTo>
                  <a:cubicBezTo>
                    <a:pt x="51819" y="71682"/>
                    <a:pt x="50523" y="75137"/>
                    <a:pt x="48796" y="78160"/>
                  </a:cubicBezTo>
                  <a:cubicBezTo>
                    <a:pt x="48796" y="80319"/>
                    <a:pt x="47932" y="82478"/>
                    <a:pt x="47500" y="85501"/>
                  </a:cubicBezTo>
                  <a:cubicBezTo>
                    <a:pt x="46637" y="87228"/>
                    <a:pt x="45773" y="88955"/>
                    <a:pt x="45341" y="91546"/>
                  </a:cubicBezTo>
                  <a:cubicBezTo>
                    <a:pt x="44478" y="93705"/>
                    <a:pt x="44046" y="96728"/>
                    <a:pt x="42319" y="98455"/>
                  </a:cubicBezTo>
                  <a:cubicBezTo>
                    <a:pt x="41887" y="99319"/>
                    <a:pt x="41887" y="100183"/>
                    <a:pt x="41887" y="100614"/>
                  </a:cubicBezTo>
                  <a:lnTo>
                    <a:pt x="36705" y="120478"/>
                  </a:lnTo>
                  <a:cubicBezTo>
                    <a:pt x="36705" y="121342"/>
                    <a:pt x="35841" y="123069"/>
                    <a:pt x="35409" y="124365"/>
                  </a:cubicBezTo>
                  <a:cubicBezTo>
                    <a:pt x="34546" y="127388"/>
                    <a:pt x="34114" y="131274"/>
                    <a:pt x="33682" y="134297"/>
                  </a:cubicBezTo>
                  <a:cubicBezTo>
                    <a:pt x="33682" y="135160"/>
                    <a:pt x="33682" y="136024"/>
                    <a:pt x="33682" y="136456"/>
                  </a:cubicBezTo>
                  <a:cubicBezTo>
                    <a:pt x="33682" y="138615"/>
                    <a:pt x="33250" y="140342"/>
                    <a:pt x="32387" y="142069"/>
                  </a:cubicBezTo>
                  <a:cubicBezTo>
                    <a:pt x="31091" y="145092"/>
                    <a:pt x="30659" y="148547"/>
                    <a:pt x="30659" y="152001"/>
                  </a:cubicBezTo>
                  <a:cubicBezTo>
                    <a:pt x="30659" y="152001"/>
                    <a:pt x="30659" y="152433"/>
                    <a:pt x="31091" y="152433"/>
                  </a:cubicBezTo>
                  <a:cubicBezTo>
                    <a:pt x="31091" y="152865"/>
                    <a:pt x="31523" y="152433"/>
                    <a:pt x="31523" y="152433"/>
                  </a:cubicBezTo>
                  <a:cubicBezTo>
                    <a:pt x="32387" y="151138"/>
                    <a:pt x="33682" y="151138"/>
                    <a:pt x="34114" y="150274"/>
                  </a:cubicBezTo>
                  <a:cubicBezTo>
                    <a:pt x="34546" y="149410"/>
                    <a:pt x="35409" y="148979"/>
                    <a:pt x="35409" y="148547"/>
                  </a:cubicBezTo>
                  <a:cubicBezTo>
                    <a:pt x="38864" y="143797"/>
                    <a:pt x="43182" y="139047"/>
                    <a:pt x="44910" y="133865"/>
                  </a:cubicBezTo>
                  <a:cubicBezTo>
                    <a:pt x="46205" y="132569"/>
                    <a:pt x="47069" y="131274"/>
                    <a:pt x="47932" y="129978"/>
                  </a:cubicBezTo>
                  <a:cubicBezTo>
                    <a:pt x="50955" y="125228"/>
                    <a:pt x="53978" y="120910"/>
                    <a:pt x="56137" y="116592"/>
                  </a:cubicBezTo>
                  <a:cubicBezTo>
                    <a:pt x="56137" y="116160"/>
                    <a:pt x="56137" y="115728"/>
                    <a:pt x="56569" y="114865"/>
                  </a:cubicBezTo>
                  <a:cubicBezTo>
                    <a:pt x="59160" y="111410"/>
                    <a:pt x="61751" y="108819"/>
                    <a:pt x="63478" y="104501"/>
                  </a:cubicBezTo>
                  <a:cubicBezTo>
                    <a:pt x="65205" y="103205"/>
                    <a:pt x="66501" y="102342"/>
                    <a:pt x="67364" y="100614"/>
                  </a:cubicBezTo>
                  <a:cubicBezTo>
                    <a:pt x="67364" y="98455"/>
                    <a:pt x="68228" y="97592"/>
                    <a:pt x="69092" y="96728"/>
                  </a:cubicBezTo>
                  <a:cubicBezTo>
                    <a:pt x="69092" y="97592"/>
                    <a:pt x="68660" y="98024"/>
                    <a:pt x="68660" y="99319"/>
                  </a:cubicBezTo>
                  <a:lnTo>
                    <a:pt x="67796" y="101910"/>
                  </a:lnTo>
                  <a:cubicBezTo>
                    <a:pt x="67796" y="102774"/>
                    <a:pt x="67364" y="104069"/>
                    <a:pt x="66069" y="104501"/>
                  </a:cubicBezTo>
                  <a:cubicBezTo>
                    <a:pt x="63478" y="105796"/>
                    <a:pt x="63478" y="109251"/>
                    <a:pt x="62182" y="111410"/>
                  </a:cubicBezTo>
                  <a:lnTo>
                    <a:pt x="62182" y="111842"/>
                  </a:lnTo>
                  <a:cubicBezTo>
                    <a:pt x="62182" y="111842"/>
                    <a:pt x="62182" y="111842"/>
                    <a:pt x="62182" y="112274"/>
                  </a:cubicBezTo>
                  <a:cubicBezTo>
                    <a:pt x="62614" y="112274"/>
                    <a:pt x="63046" y="112274"/>
                    <a:pt x="63046" y="111842"/>
                  </a:cubicBezTo>
                  <a:cubicBezTo>
                    <a:pt x="63478" y="111842"/>
                    <a:pt x="64342" y="111410"/>
                    <a:pt x="64773" y="110978"/>
                  </a:cubicBezTo>
                  <a:cubicBezTo>
                    <a:pt x="66069" y="108387"/>
                    <a:pt x="67796" y="105365"/>
                    <a:pt x="70819" y="103205"/>
                  </a:cubicBezTo>
                  <a:cubicBezTo>
                    <a:pt x="73410" y="102342"/>
                    <a:pt x="73842" y="100183"/>
                    <a:pt x="75137" y="96728"/>
                  </a:cubicBezTo>
                  <a:cubicBezTo>
                    <a:pt x="76864" y="93273"/>
                    <a:pt x="78592" y="89819"/>
                    <a:pt x="82910" y="87660"/>
                  </a:cubicBezTo>
                  <a:lnTo>
                    <a:pt x="84205" y="85933"/>
                  </a:lnTo>
                  <a:cubicBezTo>
                    <a:pt x="85069" y="82478"/>
                    <a:pt x="86364" y="81614"/>
                    <a:pt x="88092" y="80751"/>
                  </a:cubicBezTo>
                  <a:cubicBezTo>
                    <a:pt x="88524" y="80751"/>
                    <a:pt x="88524" y="80751"/>
                    <a:pt x="88955" y="80751"/>
                  </a:cubicBezTo>
                  <a:cubicBezTo>
                    <a:pt x="89387" y="80751"/>
                    <a:pt x="89819" y="80751"/>
                    <a:pt x="90251" y="80751"/>
                  </a:cubicBezTo>
                  <a:cubicBezTo>
                    <a:pt x="90683" y="80751"/>
                    <a:pt x="90683" y="80319"/>
                    <a:pt x="90683" y="79887"/>
                  </a:cubicBezTo>
                  <a:cubicBezTo>
                    <a:pt x="90683" y="79455"/>
                    <a:pt x="90683" y="79455"/>
                    <a:pt x="90683" y="79023"/>
                  </a:cubicBezTo>
                  <a:cubicBezTo>
                    <a:pt x="90251" y="78160"/>
                    <a:pt x="89819" y="77728"/>
                    <a:pt x="89819" y="77296"/>
                  </a:cubicBezTo>
                  <a:cubicBezTo>
                    <a:pt x="89819" y="76864"/>
                    <a:pt x="90251" y="76001"/>
                    <a:pt x="90683" y="75569"/>
                  </a:cubicBezTo>
                  <a:cubicBezTo>
                    <a:pt x="91978" y="75137"/>
                    <a:pt x="92842" y="73410"/>
                    <a:pt x="93274" y="72546"/>
                  </a:cubicBezTo>
                  <a:cubicBezTo>
                    <a:pt x="96296" y="68660"/>
                    <a:pt x="96728" y="65205"/>
                    <a:pt x="100183" y="62182"/>
                  </a:cubicBezTo>
                  <a:cubicBezTo>
                    <a:pt x="101046" y="61751"/>
                    <a:pt x="101478" y="60455"/>
                    <a:pt x="101910" y="59591"/>
                  </a:cubicBezTo>
                  <a:cubicBezTo>
                    <a:pt x="102774" y="58728"/>
                    <a:pt x="104069" y="57864"/>
                    <a:pt x="105796" y="57864"/>
                  </a:cubicBezTo>
                  <a:cubicBezTo>
                    <a:pt x="107524" y="57864"/>
                    <a:pt x="107956" y="57432"/>
                    <a:pt x="108819" y="56569"/>
                  </a:cubicBezTo>
                  <a:cubicBezTo>
                    <a:pt x="109251" y="56137"/>
                    <a:pt x="109683" y="55705"/>
                    <a:pt x="110115" y="55705"/>
                  </a:cubicBezTo>
                  <a:cubicBezTo>
                    <a:pt x="110546" y="55705"/>
                    <a:pt x="111410" y="56137"/>
                    <a:pt x="111842" y="57000"/>
                  </a:cubicBezTo>
                  <a:cubicBezTo>
                    <a:pt x="111842" y="57000"/>
                    <a:pt x="111842" y="57000"/>
                    <a:pt x="112274" y="57000"/>
                  </a:cubicBezTo>
                  <a:lnTo>
                    <a:pt x="112706" y="57000"/>
                  </a:lnTo>
                  <a:lnTo>
                    <a:pt x="112706" y="55705"/>
                  </a:lnTo>
                  <a:cubicBezTo>
                    <a:pt x="112706" y="55273"/>
                    <a:pt x="112706" y="55273"/>
                    <a:pt x="112274" y="54841"/>
                  </a:cubicBezTo>
                  <a:cubicBezTo>
                    <a:pt x="112274" y="54409"/>
                    <a:pt x="112274" y="53546"/>
                    <a:pt x="112274" y="53114"/>
                  </a:cubicBezTo>
                  <a:cubicBezTo>
                    <a:pt x="112274" y="52682"/>
                    <a:pt x="112274" y="52250"/>
                    <a:pt x="112274" y="52250"/>
                  </a:cubicBezTo>
                  <a:lnTo>
                    <a:pt x="118319" y="46637"/>
                  </a:lnTo>
                  <a:cubicBezTo>
                    <a:pt x="119183" y="45341"/>
                    <a:pt x="120047" y="44909"/>
                    <a:pt x="120047" y="43614"/>
                  </a:cubicBezTo>
                  <a:cubicBezTo>
                    <a:pt x="120047" y="43614"/>
                    <a:pt x="120047" y="43182"/>
                    <a:pt x="120047" y="42750"/>
                  </a:cubicBezTo>
                  <a:cubicBezTo>
                    <a:pt x="120047" y="42319"/>
                    <a:pt x="120047" y="41455"/>
                    <a:pt x="120478" y="41023"/>
                  </a:cubicBezTo>
                  <a:cubicBezTo>
                    <a:pt x="121774" y="39296"/>
                    <a:pt x="123069" y="38864"/>
                    <a:pt x="124365" y="37137"/>
                  </a:cubicBezTo>
                  <a:cubicBezTo>
                    <a:pt x="125228" y="35409"/>
                    <a:pt x="126956" y="34546"/>
                    <a:pt x="128251" y="33682"/>
                  </a:cubicBezTo>
                  <a:lnTo>
                    <a:pt x="129547" y="31955"/>
                  </a:lnTo>
                  <a:lnTo>
                    <a:pt x="129115" y="31523"/>
                  </a:lnTo>
                  <a:cubicBezTo>
                    <a:pt x="129115" y="31091"/>
                    <a:pt x="128683" y="31091"/>
                    <a:pt x="128683" y="31091"/>
                  </a:cubicBezTo>
                  <a:cubicBezTo>
                    <a:pt x="128251" y="31523"/>
                    <a:pt x="127388" y="31523"/>
                    <a:pt x="126956" y="31523"/>
                  </a:cubicBezTo>
                  <a:cubicBezTo>
                    <a:pt x="126524" y="31523"/>
                    <a:pt x="125660" y="31523"/>
                    <a:pt x="125228" y="31523"/>
                  </a:cubicBezTo>
                  <a:cubicBezTo>
                    <a:pt x="126524" y="28068"/>
                    <a:pt x="128683" y="26341"/>
                    <a:pt x="130842" y="24614"/>
                  </a:cubicBezTo>
                  <a:cubicBezTo>
                    <a:pt x="132138" y="24182"/>
                    <a:pt x="133001" y="24182"/>
                    <a:pt x="133865" y="23318"/>
                  </a:cubicBezTo>
                  <a:cubicBezTo>
                    <a:pt x="134297" y="23750"/>
                    <a:pt x="134297" y="24182"/>
                    <a:pt x="134297" y="24182"/>
                  </a:cubicBezTo>
                  <a:lnTo>
                    <a:pt x="131274" y="26773"/>
                  </a:lnTo>
                  <a:cubicBezTo>
                    <a:pt x="130842" y="26773"/>
                    <a:pt x="130410" y="27637"/>
                    <a:pt x="130410" y="28068"/>
                  </a:cubicBezTo>
                  <a:cubicBezTo>
                    <a:pt x="130410" y="28500"/>
                    <a:pt x="130410" y="29364"/>
                    <a:pt x="130842" y="29796"/>
                  </a:cubicBezTo>
                  <a:lnTo>
                    <a:pt x="131706" y="29796"/>
                  </a:lnTo>
                  <a:lnTo>
                    <a:pt x="134729" y="27637"/>
                  </a:lnTo>
                  <a:cubicBezTo>
                    <a:pt x="136456" y="25909"/>
                    <a:pt x="138183" y="25046"/>
                    <a:pt x="140342" y="25046"/>
                  </a:cubicBezTo>
                  <a:cubicBezTo>
                    <a:pt x="140774" y="25046"/>
                    <a:pt x="141206" y="24614"/>
                    <a:pt x="141638" y="24182"/>
                  </a:cubicBezTo>
                  <a:cubicBezTo>
                    <a:pt x="142933" y="22023"/>
                    <a:pt x="145524" y="22887"/>
                    <a:pt x="147683" y="21159"/>
                  </a:cubicBezTo>
                  <a:cubicBezTo>
                    <a:pt x="148547" y="20296"/>
                    <a:pt x="150274" y="21159"/>
                    <a:pt x="151138" y="19864"/>
                  </a:cubicBezTo>
                  <a:lnTo>
                    <a:pt x="152865" y="15977"/>
                  </a:lnTo>
                  <a:lnTo>
                    <a:pt x="152865" y="15545"/>
                  </a:lnTo>
                  <a:cubicBezTo>
                    <a:pt x="152865" y="15114"/>
                    <a:pt x="152865" y="15114"/>
                    <a:pt x="152433" y="15114"/>
                  </a:cubicBezTo>
                  <a:cubicBezTo>
                    <a:pt x="151138" y="15114"/>
                    <a:pt x="149842" y="15114"/>
                    <a:pt x="148979" y="14250"/>
                  </a:cubicBezTo>
                  <a:lnTo>
                    <a:pt x="148547" y="13818"/>
                  </a:lnTo>
                  <a:lnTo>
                    <a:pt x="148979" y="13386"/>
                  </a:lnTo>
                  <a:cubicBezTo>
                    <a:pt x="151138" y="12091"/>
                    <a:pt x="153729" y="11227"/>
                    <a:pt x="156320" y="11227"/>
                  </a:cubicBezTo>
                  <a:cubicBezTo>
                    <a:pt x="157183" y="11227"/>
                    <a:pt x="158047" y="10796"/>
                    <a:pt x="158479" y="10796"/>
                  </a:cubicBezTo>
                  <a:cubicBezTo>
                    <a:pt x="158911" y="10796"/>
                    <a:pt x="159342" y="11227"/>
                    <a:pt x="159774" y="11227"/>
                  </a:cubicBezTo>
                  <a:cubicBezTo>
                    <a:pt x="160206" y="11227"/>
                    <a:pt x="161070" y="11659"/>
                    <a:pt x="161501" y="11659"/>
                  </a:cubicBezTo>
                  <a:cubicBezTo>
                    <a:pt x="162365" y="11659"/>
                    <a:pt x="163229" y="11227"/>
                    <a:pt x="164092" y="10796"/>
                  </a:cubicBezTo>
                  <a:cubicBezTo>
                    <a:pt x="164092" y="10364"/>
                    <a:pt x="164524" y="10364"/>
                    <a:pt x="164956" y="10364"/>
                  </a:cubicBezTo>
                  <a:cubicBezTo>
                    <a:pt x="165388" y="10364"/>
                    <a:pt x="165388" y="10364"/>
                    <a:pt x="165820" y="10796"/>
                  </a:cubicBezTo>
                  <a:cubicBezTo>
                    <a:pt x="167115" y="11659"/>
                    <a:pt x="168842" y="11659"/>
                    <a:pt x="171433" y="11659"/>
                  </a:cubicBezTo>
                  <a:cubicBezTo>
                    <a:pt x="172729" y="11659"/>
                    <a:pt x="174456" y="12523"/>
                    <a:pt x="175752" y="15114"/>
                  </a:cubicBezTo>
                  <a:lnTo>
                    <a:pt x="178343" y="16841"/>
                  </a:lnTo>
                  <a:cubicBezTo>
                    <a:pt x="179638" y="19000"/>
                    <a:pt x="180502" y="20296"/>
                    <a:pt x="180502" y="21159"/>
                  </a:cubicBezTo>
                  <a:lnTo>
                    <a:pt x="180502" y="22023"/>
                  </a:lnTo>
                  <a:cubicBezTo>
                    <a:pt x="180070" y="25046"/>
                    <a:pt x="180070" y="27205"/>
                    <a:pt x="180070" y="29796"/>
                  </a:cubicBezTo>
                  <a:cubicBezTo>
                    <a:pt x="180070" y="32387"/>
                    <a:pt x="180070" y="34546"/>
                    <a:pt x="179638" y="36705"/>
                  </a:cubicBezTo>
                  <a:cubicBezTo>
                    <a:pt x="179638" y="38864"/>
                    <a:pt x="179638" y="41023"/>
                    <a:pt x="180070" y="43614"/>
                  </a:cubicBezTo>
                  <a:cubicBezTo>
                    <a:pt x="180070" y="47069"/>
                    <a:pt x="178774" y="49660"/>
                    <a:pt x="177911" y="53978"/>
                  </a:cubicBezTo>
                  <a:lnTo>
                    <a:pt x="176615" y="60455"/>
                  </a:lnTo>
                  <a:cubicBezTo>
                    <a:pt x="175752" y="63910"/>
                    <a:pt x="175320" y="66932"/>
                    <a:pt x="174888" y="70387"/>
                  </a:cubicBezTo>
                  <a:cubicBezTo>
                    <a:pt x="174024" y="75137"/>
                    <a:pt x="173593" y="79455"/>
                    <a:pt x="172297" y="83773"/>
                  </a:cubicBezTo>
                  <a:cubicBezTo>
                    <a:pt x="172297" y="85933"/>
                    <a:pt x="172297" y="86364"/>
                    <a:pt x="171433" y="87228"/>
                  </a:cubicBezTo>
                  <a:cubicBezTo>
                    <a:pt x="171433" y="87660"/>
                    <a:pt x="171433" y="88524"/>
                    <a:pt x="171002" y="88955"/>
                  </a:cubicBezTo>
                  <a:cubicBezTo>
                    <a:pt x="170570" y="90251"/>
                    <a:pt x="170570" y="91978"/>
                    <a:pt x="170138" y="94569"/>
                  </a:cubicBezTo>
                  <a:lnTo>
                    <a:pt x="169274" y="103205"/>
                  </a:lnTo>
                  <a:cubicBezTo>
                    <a:pt x="168411" y="107092"/>
                    <a:pt x="167547" y="111410"/>
                    <a:pt x="167547" y="115728"/>
                  </a:cubicBezTo>
                  <a:cubicBezTo>
                    <a:pt x="167547" y="116592"/>
                    <a:pt x="167547" y="117024"/>
                    <a:pt x="167547" y="117887"/>
                  </a:cubicBezTo>
                  <a:cubicBezTo>
                    <a:pt x="167115" y="122206"/>
                    <a:pt x="166252" y="126956"/>
                    <a:pt x="165820" y="132569"/>
                  </a:cubicBezTo>
                  <a:lnTo>
                    <a:pt x="165820" y="139047"/>
                  </a:lnTo>
                  <a:cubicBezTo>
                    <a:pt x="165388" y="141206"/>
                    <a:pt x="165388" y="142933"/>
                    <a:pt x="165388" y="144229"/>
                  </a:cubicBezTo>
                  <a:cubicBezTo>
                    <a:pt x="165388" y="145956"/>
                    <a:pt x="165388" y="146388"/>
                    <a:pt x="165820" y="146388"/>
                  </a:cubicBezTo>
                  <a:cubicBezTo>
                    <a:pt x="167547" y="145092"/>
                    <a:pt x="169706" y="143797"/>
                    <a:pt x="170570" y="141638"/>
                  </a:cubicBezTo>
                  <a:cubicBezTo>
                    <a:pt x="172297" y="137751"/>
                    <a:pt x="174456" y="135592"/>
                    <a:pt x="177479" y="132569"/>
                  </a:cubicBezTo>
                  <a:cubicBezTo>
                    <a:pt x="179638" y="128251"/>
                    <a:pt x="181797" y="125660"/>
                    <a:pt x="183524" y="122206"/>
                  </a:cubicBezTo>
                  <a:cubicBezTo>
                    <a:pt x="185252" y="121342"/>
                    <a:pt x="186547" y="119183"/>
                    <a:pt x="187411" y="117024"/>
                  </a:cubicBezTo>
                  <a:lnTo>
                    <a:pt x="190002" y="113569"/>
                  </a:lnTo>
                  <a:cubicBezTo>
                    <a:pt x="190434" y="113569"/>
                    <a:pt x="190865" y="112705"/>
                    <a:pt x="191297" y="112705"/>
                  </a:cubicBezTo>
                  <a:cubicBezTo>
                    <a:pt x="194752" y="107092"/>
                    <a:pt x="198206" y="103205"/>
                    <a:pt x="201229" y="98024"/>
                  </a:cubicBezTo>
                  <a:lnTo>
                    <a:pt x="205547" y="91546"/>
                  </a:lnTo>
                  <a:cubicBezTo>
                    <a:pt x="207275" y="89819"/>
                    <a:pt x="209002" y="88955"/>
                    <a:pt x="210297" y="87228"/>
                  </a:cubicBezTo>
                  <a:cubicBezTo>
                    <a:pt x="210729" y="86796"/>
                    <a:pt x="210729" y="86796"/>
                    <a:pt x="211161" y="86796"/>
                  </a:cubicBezTo>
                  <a:cubicBezTo>
                    <a:pt x="211593" y="86796"/>
                    <a:pt x="212456" y="87228"/>
                    <a:pt x="212888" y="87660"/>
                  </a:cubicBezTo>
                  <a:cubicBezTo>
                    <a:pt x="213320" y="87660"/>
                    <a:pt x="213752" y="87660"/>
                    <a:pt x="214184" y="87228"/>
                  </a:cubicBezTo>
                  <a:cubicBezTo>
                    <a:pt x="213752" y="87228"/>
                    <a:pt x="213752" y="86796"/>
                    <a:pt x="213320" y="86364"/>
                  </a:cubicBezTo>
                  <a:cubicBezTo>
                    <a:pt x="212888" y="86364"/>
                    <a:pt x="212888" y="85501"/>
                    <a:pt x="212888" y="85069"/>
                  </a:cubicBezTo>
                  <a:cubicBezTo>
                    <a:pt x="212888" y="84637"/>
                    <a:pt x="212888" y="84205"/>
                    <a:pt x="213320" y="83773"/>
                  </a:cubicBezTo>
                  <a:cubicBezTo>
                    <a:pt x="214616" y="82910"/>
                    <a:pt x="215047" y="81614"/>
                    <a:pt x="215479" y="80319"/>
                  </a:cubicBezTo>
                  <a:cubicBezTo>
                    <a:pt x="215479" y="76432"/>
                    <a:pt x="217638" y="74273"/>
                    <a:pt x="220661" y="71682"/>
                  </a:cubicBezTo>
                  <a:cubicBezTo>
                    <a:pt x="222388" y="68660"/>
                    <a:pt x="223684" y="67364"/>
                    <a:pt x="225411" y="65205"/>
                  </a:cubicBezTo>
                  <a:cubicBezTo>
                    <a:pt x="231457" y="58728"/>
                    <a:pt x="237934" y="52682"/>
                    <a:pt x="244411" y="47932"/>
                  </a:cubicBezTo>
                  <a:cubicBezTo>
                    <a:pt x="247002" y="44909"/>
                    <a:pt x="251752" y="41887"/>
                    <a:pt x="256071" y="40159"/>
                  </a:cubicBezTo>
                  <a:cubicBezTo>
                    <a:pt x="259957" y="38000"/>
                    <a:pt x="264707" y="37568"/>
                    <a:pt x="269889" y="37137"/>
                  </a:cubicBezTo>
                  <a:cubicBezTo>
                    <a:pt x="270321" y="37137"/>
                    <a:pt x="272048" y="36705"/>
                    <a:pt x="273343" y="36705"/>
                  </a:cubicBezTo>
                  <a:cubicBezTo>
                    <a:pt x="273775" y="36705"/>
                    <a:pt x="274639" y="36705"/>
                    <a:pt x="275071" y="36705"/>
                  </a:cubicBezTo>
                  <a:cubicBezTo>
                    <a:pt x="277230" y="36705"/>
                    <a:pt x="279389" y="37137"/>
                    <a:pt x="281116" y="39728"/>
                  </a:cubicBezTo>
                  <a:cubicBezTo>
                    <a:pt x="282844" y="40159"/>
                    <a:pt x="284139" y="41455"/>
                    <a:pt x="285866" y="41887"/>
                  </a:cubicBezTo>
                  <a:cubicBezTo>
                    <a:pt x="288457" y="43614"/>
                    <a:pt x="289321" y="45341"/>
                    <a:pt x="289321" y="47932"/>
                  </a:cubicBezTo>
                  <a:cubicBezTo>
                    <a:pt x="289321" y="48796"/>
                    <a:pt x="289753" y="49228"/>
                    <a:pt x="290184" y="50091"/>
                  </a:cubicBezTo>
                  <a:cubicBezTo>
                    <a:pt x="290184" y="53546"/>
                    <a:pt x="290616" y="56137"/>
                    <a:pt x="290616" y="59160"/>
                  </a:cubicBezTo>
                  <a:cubicBezTo>
                    <a:pt x="290616" y="62182"/>
                    <a:pt x="290184" y="64773"/>
                    <a:pt x="290184" y="67796"/>
                  </a:cubicBezTo>
                  <a:cubicBezTo>
                    <a:pt x="290184" y="70819"/>
                    <a:pt x="289321" y="73841"/>
                    <a:pt x="289321" y="76864"/>
                  </a:cubicBezTo>
                  <a:cubicBezTo>
                    <a:pt x="288889" y="79887"/>
                    <a:pt x="288889" y="83773"/>
                    <a:pt x="288025" y="88092"/>
                  </a:cubicBezTo>
                  <a:cubicBezTo>
                    <a:pt x="288025" y="89387"/>
                    <a:pt x="288025" y="90683"/>
                    <a:pt x="288025" y="91546"/>
                  </a:cubicBezTo>
                  <a:cubicBezTo>
                    <a:pt x="288025" y="91978"/>
                    <a:pt x="288025" y="92410"/>
                    <a:pt x="288025" y="92842"/>
                  </a:cubicBezTo>
                  <a:cubicBezTo>
                    <a:pt x="287594" y="98024"/>
                    <a:pt x="287594" y="103205"/>
                    <a:pt x="287594" y="107524"/>
                  </a:cubicBezTo>
                  <a:cubicBezTo>
                    <a:pt x="287594" y="114433"/>
                    <a:pt x="290184" y="121774"/>
                    <a:pt x="293639" y="128251"/>
                  </a:cubicBezTo>
                  <a:cubicBezTo>
                    <a:pt x="294935" y="129115"/>
                    <a:pt x="295798" y="130410"/>
                    <a:pt x="296662" y="132137"/>
                  </a:cubicBezTo>
                  <a:cubicBezTo>
                    <a:pt x="297525" y="133433"/>
                    <a:pt x="299253" y="133865"/>
                    <a:pt x="300548" y="133865"/>
                  </a:cubicBezTo>
                  <a:cubicBezTo>
                    <a:pt x="300980" y="133865"/>
                    <a:pt x="301412" y="133865"/>
                    <a:pt x="301844" y="133865"/>
                  </a:cubicBezTo>
                  <a:cubicBezTo>
                    <a:pt x="302707" y="133433"/>
                    <a:pt x="303139" y="133433"/>
                    <a:pt x="304003" y="133433"/>
                  </a:cubicBezTo>
                  <a:cubicBezTo>
                    <a:pt x="307889" y="131706"/>
                    <a:pt x="310912" y="129978"/>
                    <a:pt x="314367" y="127819"/>
                  </a:cubicBezTo>
                  <a:cubicBezTo>
                    <a:pt x="315230" y="127388"/>
                    <a:pt x="316526" y="127388"/>
                    <a:pt x="317389" y="127388"/>
                  </a:cubicBezTo>
                  <a:cubicBezTo>
                    <a:pt x="318253" y="127388"/>
                    <a:pt x="318685" y="127388"/>
                    <a:pt x="319980" y="127819"/>
                  </a:cubicBezTo>
                  <a:cubicBezTo>
                    <a:pt x="320844" y="127819"/>
                    <a:pt x="322139" y="129115"/>
                    <a:pt x="322571" y="129978"/>
                  </a:cubicBezTo>
                  <a:lnTo>
                    <a:pt x="324298" y="133001"/>
                  </a:lnTo>
                  <a:lnTo>
                    <a:pt x="324298" y="134297"/>
                  </a:lnTo>
                  <a:cubicBezTo>
                    <a:pt x="324730" y="135160"/>
                    <a:pt x="324730" y="136456"/>
                    <a:pt x="324730" y="137319"/>
                  </a:cubicBezTo>
                  <a:close/>
                  <a:moveTo>
                    <a:pt x="53546" y="128683"/>
                  </a:moveTo>
                  <a:cubicBezTo>
                    <a:pt x="53546" y="128251"/>
                    <a:pt x="53546" y="127819"/>
                    <a:pt x="53546" y="127388"/>
                  </a:cubicBezTo>
                  <a:lnTo>
                    <a:pt x="53114" y="127388"/>
                  </a:lnTo>
                  <a:cubicBezTo>
                    <a:pt x="52250" y="127388"/>
                    <a:pt x="51387" y="128251"/>
                    <a:pt x="51387" y="129547"/>
                  </a:cubicBezTo>
                  <a:cubicBezTo>
                    <a:pt x="51387" y="129978"/>
                    <a:pt x="51819" y="129978"/>
                    <a:pt x="53114" y="129978"/>
                  </a:cubicBezTo>
                  <a:cubicBezTo>
                    <a:pt x="53546" y="129978"/>
                    <a:pt x="53546" y="129547"/>
                    <a:pt x="53546" y="128683"/>
                  </a:cubicBezTo>
                  <a:close/>
                  <a:moveTo>
                    <a:pt x="60023" y="116160"/>
                  </a:moveTo>
                  <a:cubicBezTo>
                    <a:pt x="58296" y="117456"/>
                    <a:pt x="56569" y="119183"/>
                    <a:pt x="56137" y="120910"/>
                  </a:cubicBezTo>
                  <a:cubicBezTo>
                    <a:pt x="56137" y="121342"/>
                    <a:pt x="55705" y="122206"/>
                    <a:pt x="55705" y="123069"/>
                  </a:cubicBezTo>
                  <a:cubicBezTo>
                    <a:pt x="55705" y="123501"/>
                    <a:pt x="56137" y="123501"/>
                    <a:pt x="56137" y="123501"/>
                  </a:cubicBezTo>
                  <a:cubicBezTo>
                    <a:pt x="56569" y="123501"/>
                    <a:pt x="57001" y="122637"/>
                    <a:pt x="57432" y="121342"/>
                  </a:cubicBezTo>
                  <a:cubicBezTo>
                    <a:pt x="58296" y="120910"/>
                    <a:pt x="58296" y="120046"/>
                    <a:pt x="59591" y="118319"/>
                  </a:cubicBezTo>
                  <a:cubicBezTo>
                    <a:pt x="59591" y="118319"/>
                    <a:pt x="60023" y="117456"/>
                    <a:pt x="60455" y="117024"/>
                  </a:cubicBezTo>
                  <a:lnTo>
                    <a:pt x="60023" y="116160"/>
                  </a:lnTo>
                  <a:close/>
                  <a:moveTo>
                    <a:pt x="57001" y="165388"/>
                  </a:moveTo>
                  <a:lnTo>
                    <a:pt x="58296" y="164092"/>
                  </a:lnTo>
                  <a:cubicBezTo>
                    <a:pt x="58296" y="164524"/>
                    <a:pt x="57864" y="165388"/>
                    <a:pt x="57864" y="166252"/>
                  </a:cubicBezTo>
                  <a:cubicBezTo>
                    <a:pt x="57864" y="166252"/>
                    <a:pt x="57432" y="166252"/>
                    <a:pt x="57432" y="165820"/>
                  </a:cubicBezTo>
                  <a:lnTo>
                    <a:pt x="57001" y="165388"/>
                  </a:lnTo>
                  <a:close/>
                  <a:moveTo>
                    <a:pt x="60455" y="155888"/>
                  </a:moveTo>
                  <a:cubicBezTo>
                    <a:pt x="60455" y="156320"/>
                    <a:pt x="61319" y="156320"/>
                    <a:pt x="61319" y="156320"/>
                  </a:cubicBezTo>
                  <a:cubicBezTo>
                    <a:pt x="61319" y="157183"/>
                    <a:pt x="60455" y="157183"/>
                    <a:pt x="60455" y="157615"/>
                  </a:cubicBezTo>
                  <a:lnTo>
                    <a:pt x="60455" y="155888"/>
                  </a:lnTo>
                  <a:close/>
                  <a:moveTo>
                    <a:pt x="70387" y="95864"/>
                  </a:moveTo>
                  <a:lnTo>
                    <a:pt x="70819" y="95864"/>
                  </a:lnTo>
                  <a:lnTo>
                    <a:pt x="69092" y="96728"/>
                  </a:lnTo>
                  <a:cubicBezTo>
                    <a:pt x="69523" y="96296"/>
                    <a:pt x="70387" y="95864"/>
                    <a:pt x="70387" y="95864"/>
                  </a:cubicBezTo>
                  <a:close/>
                  <a:moveTo>
                    <a:pt x="70819" y="95864"/>
                  </a:moveTo>
                  <a:lnTo>
                    <a:pt x="70819" y="93705"/>
                  </a:lnTo>
                  <a:lnTo>
                    <a:pt x="72114" y="93705"/>
                  </a:lnTo>
                  <a:lnTo>
                    <a:pt x="72546" y="94137"/>
                  </a:lnTo>
                  <a:cubicBezTo>
                    <a:pt x="72114" y="95001"/>
                    <a:pt x="71682" y="95001"/>
                    <a:pt x="70819" y="95864"/>
                  </a:cubicBezTo>
                  <a:close/>
                  <a:moveTo>
                    <a:pt x="74273" y="134297"/>
                  </a:moveTo>
                  <a:lnTo>
                    <a:pt x="73842" y="133433"/>
                  </a:lnTo>
                  <a:cubicBezTo>
                    <a:pt x="73410" y="133433"/>
                    <a:pt x="73410" y="133865"/>
                    <a:pt x="72978" y="133865"/>
                  </a:cubicBezTo>
                  <a:cubicBezTo>
                    <a:pt x="73410" y="134297"/>
                    <a:pt x="73410" y="134297"/>
                    <a:pt x="73842" y="134297"/>
                  </a:cubicBezTo>
                  <a:lnTo>
                    <a:pt x="74273" y="134297"/>
                  </a:lnTo>
                  <a:close/>
                  <a:moveTo>
                    <a:pt x="120478" y="34546"/>
                  </a:moveTo>
                  <a:cubicBezTo>
                    <a:pt x="120478" y="34546"/>
                    <a:pt x="120910" y="34546"/>
                    <a:pt x="121342" y="34546"/>
                  </a:cubicBezTo>
                  <a:cubicBezTo>
                    <a:pt x="121774" y="34546"/>
                    <a:pt x="121774" y="34546"/>
                    <a:pt x="122206" y="34114"/>
                  </a:cubicBezTo>
                  <a:cubicBezTo>
                    <a:pt x="122206" y="34546"/>
                    <a:pt x="122206" y="35409"/>
                    <a:pt x="121774" y="35409"/>
                  </a:cubicBezTo>
                  <a:lnTo>
                    <a:pt x="119615" y="38432"/>
                  </a:lnTo>
                  <a:cubicBezTo>
                    <a:pt x="118751" y="39296"/>
                    <a:pt x="117887" y="39296"/>
                    <a:pt x="117024" y="39296"/>
                  </a:cubicBezTo>
                  <a:cubicBezTo>
                    <a:pt x="117887" y="37137"/>
                    <a:pt x="118751" y="35841"/>
                    <a:pt x="120478" y="34546"/>
                  </a:cubicBezTo>
                  <a:close/>
                  <a:moveTo>
                    <a:pt x="125228" y="31523"/>
                  </a:moveTo>
                  <a:cubicBezTo>
                    <a:pt x="125228" y="31955"/>
                    <a:pt x="124365" y="31955"/>
                    <a:pt x="124365" y="32387"/>
                  </a:cubicBezTo>
                  <a:cubicBezTo>
                    <a:pt x="123933" y="32818"/>
                    <a:pt x="123501" y="32818"/>
                    <a:pt x="123501" y="33250"/>
                  </a:cubicBezTo>
                  <a:cubicBezTo>
                    <a:pt x="123069" y="33682"/>
                    <a:pt x="122637" y="33682"/>
                    <a:pt x="122637" y="34114"/>
                  </a:cubicBezTo>
                  <a:lnTo>
                    <a:pt x="122206" y="34114"/>
                  </a:lnTo>
                  <a:lnTo>
                    <a:pt x="125228" y="31523"/>
                  </a:lnTo>
                  <a:close/>
                  <a:moveTo>
                    <a:pt x="136888" y="21159"/>
                  </a:moveTo>
                  <a:cubicBezTo>
                    <a:pt x="139047" y="20296"/>
                    <a:pt x="140774" y="19000"/>
                    <a:pt x="142070" y="17273"/>
                  </a:cubicBezTo>
                  <a:cubicBezTo>
                    <a:pt x="142070" y="17273"/>
                    <a:pt x="142070" y="16841"/>
                    <a:pt x="142501" y="16841"/>
                  </a:cubicBezTo>
                  <a:cubicBezTo>
                    <a:pt x="142933" y="16841"/>
                    <a:pt x="143365" y="17273"/>
                    <a:pt x="144229" y="17273"/>
                  </a:cubicBezTo>
                  <a:lnTo>
                    <a:pt x="144229" y="17705"/>
                  </a:lnTo>
                  <a:cubicBezTo>
                    <a:pt x="144229" y="18136"/>
                    <a:pt x="143797" y="18568"/>
                    <a:pt x="143365" y="18568"/>
                  </a:cubicBezTo>
                  <a:cubicBezTo>
                    <a:pt x="142070" y="19864"/>
                    <a:pt x="140342" y="21159"/>
                    <a:pt x="138183" y="21159"/>
                  </a:cubicBezTo>
                  <a:lnTo>
                    <a:pt x="136888" y="21159"/>
                  </a:lnTo>
                  <a:close/>
                  <a:moveTo>
                    <a:pt x="146388" y="15977"/>
                  </a:moveTo>
                  <a:lnTo>
                    <a:pt x="146388" y="16409"/>
                  </a:lnTo>
                  <a:lnTo>
                    <a:pt x="145524" y="16409"/>
                  </a:lnTo>
                  <a:cubicBezTo>
                    <a:pt x="145092" y="16841"/>
                    <a:pt x="144660" y="16841"/>
                    <a:pt x="144660" y="17273"/>
                  </a:cubicBezTo>
                  <a:lnTo>
                    <a:pt x="144229" y="17273"/>
                  </a:lnTo>
                  <a:lnTo>
                    <a:pt x="145092" y="16409"/>
                  </a:lnTo>
                  <a:lnTo>
                    <a:pt x="145524" y="16409"/>
                  </a:lnTo>
                  <a:cubicBezTo>
                    <a:pt x="145524" y="15977"/>
                    <a:pt x="145524" y="15977"/>
                    <a:pt x="146388" y="15977"/>
                  </a:cubicBezTo>
                  <a:close/>
                  <a:moveTo>
                    <a:pt x="209002" y="130410"/>
                  </a:moveTo>
                  <a:cubicBezTo>
                    <a:pt x="208570" y="130410"/>
                    <a:pt x="208570" y="129978"/>
                    <a:pt x="208570" y="129978"/>
                  </a:cubicBezTo>
                  <a:lnTo>
                    <a:pt x="208570" y="130842"/>
                  </a:lnTo>
                  <a:lnTo>
                    <a:pt x="209002" y="130410"/>
                  </a:lnTo>
                  <a:close/>
                  <a:moveTo>
                    <a:pt x="215911" y="120046"/>
                  </a:moveTo>
                  <a:cubicBezTo>
                    <a:pt x="215911" y="120046"/>
                    <a:pt x="215479" y="120046"/>
                    <a:pt x="215479" y="120478"/>
                  </a:cubicBezTo>
                  <a:cubicBezTo>
                    <a:pt x="215479" y="120046"/>
                    <a:pt x="215479" y="120046"/>
                    <a:pt x="215479" y="120046"/>
                  </a:cubicBezTo>
                  <a:lnTo>
                    <a:pt x="215479" y="119615"/>
                  </a:lnTo>
                  <a:cubicBezTo>
                    <a:pt x="215911" y="119615"/>
                    <a:pt x="215911" y="119615"/>
                    <a:pt x="215911" y="120046"/>
                  </a:cubicBezTo>
                  <a:close/>
                </a:path>
              </a:pathLst>
            </a:custGeom>
            <a:solidFill>
              <a:srgbClr val="000000"/>
            </a:solidFill>
            <a:ln w="86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B813593D-436A-4D16-820C-74721AB69EEE}"/>
                </a:ext>
              </a:extLst>
            </p:cNvPr>
            <p:cNvSpPr/>
            <p:nvPr/>
          </p:nvSpPr>
          <p:spPr>
            <a:xfrm>
              <a:off x="320670" y="6118079"/>
              <a:ext cx="250457" cy="405913"/>
            </a:xfrm>
            <a:custGeom>
              <a:avLst/>
              <a:gdLst>
                <a:gd name="connsiteX0" fmla="*/ 104501 w 250456"/>
                <a:gd name="connsiteY0" fmla="*/ 91114 h 405912"/>
                <a:gd name="connsiteX1" fmla="*/ 103637 w 250456"/>
                <a:gd name="connsiteY1" fmla="*/ 92410 h 405912"/>
                <a:gd name="connsiteX2" fmla="*/ 102342 w 250456"/>
                <a:gd name="connsiteY2" fmla="*/ 93705 h 405912"/>
                <a:gd name="connsiteX3" fmla="*/ 100183 w 250456"/>
                <a:gd name="connsiteY3" fmla="*/ 96728 h 405912"/>
                <a:gd name="connsiteX4" fmla="*/ 101478 w 250456"/>
                <a:gd name="connsiteY4" fmla="*/ 97160 h 405912"/>
                <a:gd name="connsiteX5" fmla="*/ 99751 w 250456"/>
                <a:gd name="connsiteY5" fmla="*/ 99319 h 405912"/>
                <a:gd name="connsiteX6" fmla="*/ 98024 w 250456"/>
                <a:gd name="connsiteY6" fmla="*/ 101910 h 405912"/>
                <a:gd name="connsiteX7" fmla="*/ 96296 w 250456"/>
                <a:gd name="connsiteY7" fmla="*/ 102774 h 405912"/>
                <a:gd name="connsiteX8" fmla="*/ 95433 w 250456"/>
                <a:gd name="connsiteY8" fmla="*/ 102342 h 405912"/>
                <a:gd name="connsiteX9" fmla="*/ 94569 w 250456"/>
                <a:gd name="connsiteY9" fmla="*/ 103206 h 405912"/>
                <a:gd name="connsiteX10" fmla="*/ 95433 w 250456"/>
                <a:gd name="connsiteY10" fmla="*/ 103637 h 405912"/>
                <a:gd name="connsiteX11" fmla="*/ 95865 w 250456"/>
                <a:gd name="connsiteY11" fmla="*/ 104069 h 405912"/>
                <a:gd name="connsiteX12" fmla="*/ 92842 w 250456"/>
                <a:gd name="connsiteY12" fmla="*/ 109683 h 405912"/>
                <a:gd name="connsiteX13" fmla="*/ 91546 w 250456"/>
                <a:gd name="connsiteY13" fmla="*/ 111842 h 405912"/>
                <a:gd name="connsiteX14" fmla="*/ 89819 w 250456"/>
                <a:gd name="connsiteY14" fmla="*/ 114001 h 405912"/>
                <a:gd name="connsiteX15" fmla="*/ 88955 w 250456"/>
                <a:gd name="connsiteY15" fmla="*/ 115297 h 405912"/>
                <a:gd name="connsiteX16" fmla="*/ 88524 w 250456"/>
                <a:gd name="connsiteY16" fmla="*/ 115728 h 405912"/>
                <a:gd name="connsiteX17" fmla="*/ 88092 w 250456"/>
                <a:gd name="connsiteY17" fmla="*/ 115728 h 405912"/>
                <a:gd name="connsiteX18" fmla="*/ 88092 w 250456"/>
                <a:gd name="connsiteY18" fmla="*/ 114433 h 405912"/>
                <a:gd name="connsiteX19" fmla="*/ 87228 w 250456"/>
                <a:gd name="connsiteY19" fmla="*/ 114433 h 405912"/>
                <a:gd name="connsiteX20" fmla="*/ 85933 w 250456"/>
                <a:gd name="connsiteY20" fmla="*/ 115728 h 405912"/>
                <a:gd name="connsiteX21" fmla="*/ 85933 w 250456"/>
                <a:gd name="connsiteY21" fmla="*/ 116592 h 405912"/>
                <a:gd name="connsiteX22" fmla="*/ 86796 w 250456"/>
                <a:gd name="connsiteY22" fmla="*/ 116592 h 405912"/>
                <a:gd name="connsiteX23" fmla="*/ 86796 w 250456"/>
                <a:gd name="connsiteY23" fmla="*/ 117024 h 405912"/>
                <a:gd name="connsiteX24" fmla="*/ 87228 w 250456"/>
                <a:gd name="connsiteY24" fmla="*/ 117456 h 405912"/>
                <a:gd name="connsiteX25" fmla="*/ 86796 w 250456"/>
                <a:gd name="connsiteY25" fmla="*/ 117888 h 405912"/>
                <a:gd name="connsiteX26" fmla="*/ 85069 w 250456"/>
                <a:gd name="connsiteY26" fmla="*/ 117888 h 405912"/>
                <a:gd name="connsiteX27" fmla="*/ 84205 w 250456"/>
                <a:gd name="connsiteY27" fmla="*/ 118319 h 405912"/>
                <a:gd name="connsiteX28" fmla="*/ 84205 w 250456"/>
                <a:gd name="connsiteY28" fmla="*/ 119615 h 405912"/>
                <a:gd name="connsiteX29" fmla="*/ 85069 w 250456"/>
                <a:gd name="connsiteY29" fmla="*/ 120047 h 405912"/>
                <a:gd name="connsiteX30" fmla="*/ 85501 w 250456"/>
                <a:gd name="connsiteY30" fmla="*/ 120910 h 405912"/>
                <a:gd name="connsiteX31" fmla="*/ 85069 w 250456"/>
                <a:gd name="connsiteY31" fmla="*/ 121342 h 405912"/>
                <a:gd name="connsiteX32" fmla="*/ 83342 w 250456"/>
                <a:gd name="connsiteY32" fmla="*/ 122206 h 405912"/>
                <a:gd name="connsiteX33" fmla="*/ 80751 w 250456"/>
                <a:gd name="connsiteY33" fmla="*/ 123069 h 405912"/>
                <a:gd name="connsiteX34" fmla="*/ 80751 w 250456"/>
                <a:gd name="connsiteY34" fmla="*/ 123501 h 405912"/>
                <a:gd name="connsiteX35" fmla="*/ 81614 w 250456"/>
                <a:gd name="connsiteY35" fmla="*/ 124797 h 405912"/>
                <a:gd name="connsiteX36" fmla="*/ 81614 w 250456"/>
                <a:gd name="connsiteY36" fmla="*/ 125228 h 405912"/>
                <a:gd name="connsiteX37" fmla="*/ 81183 w 250456"/>
                <a:gd name="connsiteY37" fmla="*/ 125660 h 405912"/>
                <a:gd name="connsiteX38" fmla="*/ 80751 w 250456"/>
                <a:gd name="connsiteY38" fmla="*/ 126092 h 405912"/>
                <a:gd name="connsiteX39" fmla="*/ 80319 w 250456"/>
                <a:gd name="connsiteY39" fmla="*/ 126956 h 405912"/>
                <a:gd name="connsiteX40" fmla="*/ 80751 w 250456"/>
                <a:gd name="connsiteY40" fmla="*/ 127819 h 405912"/>
                <a:gd name="connsiteX41" fmla="*/ 81183 w 250456"/>
                <a:gd name="connsiteY41" fmla="*/ 128683 h 405912"/>
                <a:gd name="connsiteX42" fmla="*/ 80751 w 250456"/>
                <a:gd name="connsiteY42" fmla="*/ 129978 h 405912"/>
                <a:gd name="connsiteX43" fmla="*/ 79887 w 250456"/>
                <a:gd name="connsiteY43" fmla="*/ 131706 h 405912"/>
                <a:gd name="connsiteX44" fmla="*/ 78592 w 250456"/>
                <a:gd name="connsiteY44" fmla="*/ 132138 h 405912"/>
                <a:gd name="connsiteX45" fmla="*/ 77296 w 250456"/>
                <a:gd name="connsiteY45" fmla="*/ 132569 h 405912"/>
                <a:gd name="connsiteX46" fmla="*/ 77296 w 250456"/>
                <a:gd name="connsiteY46" fmla="*/ 133433 h 405912"/>
                <a:gd name="connsiteX47" fmla="*/ 77728 w 250456"/>
                <a:gd name="connsiteY47" fmla="*/ 133865 h 405912"/>
                <a:gd name="connsiteX48" fmla="*/ 77296 w 250456"/>
                <a:gd name="connsiteY48" fmla="*/ 134729 h 405912"/>
                <a:gd name="connsiteX49" fmla="*/ 76433 w 250456"/>
                <a:gd name="connsiteY49" fmla="*/ 134729 h 405912"/>
                <a:gd name="connsiteX50" fmla="*/ 75569 w 250456"/>
                <a:gd name="connsiteY50" fmla="*/ 135160 h 405912"/>
                <a:gd name="connsiteX51" fmla="*/ 75137 w 250456"/>
                <a:gd name="connsiteY51" fmla="*/ 136888 h 405912"/>
                <a:gd name="connsiteX52" fmla="*/ 75137 w 250456"/>
                <a:gd name="connsiteY52" fmla="*/ 137320 h 405912"/>
                <a:gd name="connsiteX53" fmla="*/ 76001 w 250456"/>
                <a:gd name="connsiteY53" fmla="*/ 139047 h 405912"/>
                <a:gd name="connsiteX54" fmla="*/ 75569 w 250456"/>
                <a:gd name="connsiteY54" fmla="*/ 139910 h 405912"/>
                <a:gd name="connsiteX55" fmla="*/ 72978 w 250456"/>
                <a:gd name="connsiteY55" fmla="*/ 145524 h 405912"/>
                <a:gd name="connsiteX56" fmla="*/ 70819 w 250456"/>
                <a:gd name="connsiteY56" fmla="*/ 146820 h 405912"/>
                <a:gd name="connsiteX57" fmla="*/ 69955 w 250456"/>
                <a:gd name="connsiteY57" fmla="*/ 147683 h 405912"/>
                <a:gd name="connsiteX58" fmla="*/ 69523 w 250456"/>
                <a:gd name="connsiteY58" fmla="*/ 148547 h 405912"/>
                <a:gd name="connsiteX59" fmla="*/ 69955 w 250456"/>
                <a:gd name="connsiteY59" fmla="*/ 148979 h 405912"/>
                <a:gd name="connsiteX60" fmla="*/ 70387 w 250456"/>
                <a:gd name="connsiteY60" fmla="*/ 148979 h 405912"/>
                <a:gd name="connsiteX61" fmla="*/ 71251 w 250456"/>
                <a:gd name="connsiteY61" fmla="*/ 149410 h 405912"/>
                <a:gd name="connsiteX62" fmla="*/ 70819 w 250456"/>
                <a:gd name="connsiteY62" fmla="*/ 149842 h 405912"/>
                <a:gd name="connsiteX63" fmla="*/ 68660 w 250456"/>
                <a:gd name="connsiteY63" fmla="*/ 151570 h 405912"/>
                <a:gd name="connsiteX64" fmla="*/ 68228 w 250456"/>
                <a:gd name="connsiteY64" fmla="*/ 152001 h 405912"/>
                <a:gd name="connsiteX65" fmla="*/ 68660 w 250456"/>
                <a:gd name="connsiteY65" fmla="*/ 152433 h 405912"/>
                <a:gd name="connsiteX66" fmla="*/ 69092 w 250456"/>
                <a:gd name="connsiteY66" fmla="*/ 153297 h 405912"/>
                <a:gd name="connsiteX67" fmla="*/ 68660 w 250456"/>
                <a:gd name="connsiteY67" fmla="*/ 154161 h 405912"/>
                <a:gd name="connsiteX68" fmla="*/ 67364 w 250456"/>
                <a:gd name="connsiteY68" fmla="*/ 157615 h 405912"/>
                <a:gd name="connsiteX69" fmla="*/ 66932 w 250456"/>
                <a:gd name="connsiteY69" fmla="*/ 158911 h 405912"/>
                <a:gd name="connsiteX70" fmla="*/ 64342 w 250456"/>
                <a:gd name="connsiteY70" fmla="*/ 162365 h 405912"/>
                <a:gd name="connsiteX71" fmla="*/ 63478 w 250456"/>
                <a:gd name="connsiteY71" fmla="*/ 164092 h 405912"/>
                <a:gd name="connsiteX72" fmla="*/ 62182 w 250456"/>
                <a:gd name="connsiteY72" fmla="*/ 167547 h 405912"/>
                <a:gd name="connsiteX73" fmla="*/ 60455 w 250456"/>
                <a:gd name="connsiteY73" fmla="*/ 171433 h 405912"/>
                <a:gd name="connsiteX74" fmla="*/ 59160 w 250456"/>
                <a:gd name="connsiteY74" fmla="*/ 173161 h 405912"/>
                <a:gd name="connsiteX75" fmla="*/ 58728 w 250456"/>
                <a:gd name="connsiteY75" fmla="*/ 174456 h 405912"/>
                <a:gd name="connsiteX76" fmla="*/ 58728 w 250456"/>
                <a:gd name="connsiteY76" fmla="*/ 175320 h 405912"/>
                <a:gd name="connsiteX77" fmla="*/ 57864 w 250456"/>
                <a:gd name="connsiteY77" fmla="*/ 178774 h 405912"/>
                <a:gd name="connsiteX78" fmla="*/ 57001 w 250456"/>
                <a:gd name="connsiteY78" fmla="*/ 180934 h 405912"/>
                <a:gd name="connsiteX79" fmla="*/ 53978 w 250456"/>
                <a:gd name="connsiteY79" fmla="*/ 190434 h 405912"/>
                <a:gd name="connsiteX80" fmla="*/ 53114 w 250456"/>
                <a:gd name="connsiteY80" fmla="*/ 197343 h 405912"/>
                <a:gd name="connsiteX81" fmla="*/ 53546 w 250456"/>
                <a:gd name="connsiteY81" fmla="*/ 199070 h 405912"/>
                <a:gd name="connsiteX82" fmla="*/ 53546 w 250456"/>
                <a:gd name="connsiteY82" fmla="*/ 199502 h 405912"/>
                <a:gd name="connsiteX83" fmla="*/ 52682 w 250456"/>
                <a:gd name="connsiteY83" fmla="*/ 200797 h 405912"/>
                <a:gd name="connsiteX84" fmla="*/ 51387 w 250456"/>
                <a:gd name="connsiteY84" fmla="*/ 202525 h 405912"/>
                <a:gd name="connsiteX85" fmla="*/ 50091 w 250456"/>
                <a:gd name="connsiteY85" fmla="*/ 202956 h 405912"/>
                <a:gd name="connsiteX86" fmla="*/ 49660 w 250456"/>
                <a:gd name="connsiteY86" fmla="*/ 202956 h 405912"/>
                <a:gd name="connsiteX87" fmla="*/ 47500 w 250456"/>
                <a:gd name="connsiteY87" fmla="*/ 201229 h 405912"/>
                <a:gd name="connsiteX88" fmla="*/ 47069 w 250456"/>
                <a:gd name="connsiteY88" fmla="*/ 200797 h 405912"/>
                <a:gd name="connsiteX89" fmla="*/ 46205 w 250456"/>
                <a:gd name="connsiteY89" fmla="*/ 201661 h 405912"/>
                <a:gd name="connsiteX90" fmla="*/ 45341 w 250456"/>
                <a:gd name="connsiteY90" fmla="*/ 203820 h 405912"/>
                <a:gd name="connsiteX91" fmla="*/ 44478 w 250456"/>
                <a:gd name="connsiteY91" fmla="*/ 204684 h 405912"/>
                <a:gd name="connsiteX92" fmla="*/ 44046 w 250456"/>
                <a:gd name="connsiteY92" fmla="*/ 203820 h 405912"/>
                <a:gd name="connsiteX93" fmla="*/ 42750 w 250456"/>
                <a:gd name="connsiteY93" fmla="*/ 202525 h 405912"/>
                <a:gd name="connsiteX94" fmla="*/ 42319 w 250456"/>
                <a:gd name="connsiteY94" fmla="*/ 202956 h 405912"/>
                <a:gd name="connsiteX95" fmla="*/ 42319 w 250456"/>
                <a:gd name="connsiteY95" fmla="*/ 203820 h 405912"/>
                <a:gd name="connsiteX96" fmla="*/ 41455 w 250456"/>
                <a:gd name="connsiteY96" fmla="*/ 207275 h 405912"/>
                <a:gd name="connsiteX97" fmla="*/ 41023 w 250456"/>
                <a:gd name="connsiteY97" fmla="*/ 209002 h 405912"/>
                <a:gd name="connsiteX98" fmla="*/ 40591 w 250456"/>
                <a:gd name="connsiteY98" fmla="*/ 209866 h 405912"/>
                <a:gd name="connsiteX99" fmla="*/ 41887 w 250456"/>
                <a:gd name="connsiteY99" fmla="*/ 210297 h 405912"/>
                <a:gd name="connsiteX100" fmla="*/ 42750 w 250456"/>
                <a:gd name="connsiteY100" fmla="*/ 210729 h 405912"/>
                <a:gd name="connsiteX101" fmla="*/ 41887 w 250456"/>
                <a:gd name="connsiteY101" fmla="*/ 212888 h 405912"/>
                <a:gd name="connsiteX102" fmla="*/ 39728 w 250456"/>
                <a:gd name="connsiteY102" fmla="*/ 218934 h 405912"/>
                <a:gd name="connsiteX103" fmla="*/ 39296 w 250456"/>
                <a:gd name="connsiteY103" fmla="*/ 222820 h 405912"/>
                <a:gd name="connsiteX104" fmla="*/ 38432 w 250456"/>
                <a:gd name="connsiteY104" fmla="*/ 223684 h 405912"/>
                <a:gd name="connsiteX105" fmla="*/ 38000 w 250456"/>
                <a:gd name="connsiteY105" fmla="*/ 223684 h 405912"/>
                <a:gd name="connsiteX106" fmla="*/ 38432 w 250456"/>
                <a:gd name="connsiteY106" fmla="*/ 224116 h 405912"/>
                <a:gd name="connsiteX107" fmla="*/ 39296 w 250456"/>
                <a:gd name="connsiteY107" fmla="*/ 224979 h 405912"/>
                <a:gd name="connsiteX108" fmla="*/ 38432 w 250456"/>
                <a:gd name="connsiteY108" fmla="*/ 226275 h 405912"/>
                <a:gd name="connsiteX109" fmla="*/ 38864 w 250456"/>
                <a:gd name="connsiteY109" fmla="*/ 227138 h 405912"/>
                <a:gd name="connsiteX110" fmla="*/ 38432 w 250456"/>
                <a:gd name="connsiteY110" fmla="*/ 228866 h 405912"/>
                <a:gd name="connsiteX111" fmla="*/ 38432 w 250456"/>
                <a:gd name="connsiteY111" fmla="*/ 229298 h 405912"/>
                <a:gd name="connsiteX112" fmla="*/ 38000 w 250456"/>
                <a:gd name="connsiteY112" fmla="*/ 229729 h 405912"/>
                <a:gd name="connsiteX113" fmla="*/ 37569 w 250456"/>
                <a:gd name="connsiteY113" fmla="*/ 230593 h 405912"/>
                <a:gd name="connsiteX114" fmla="*/ 37569 w 250456"/>
                <a:gd name="connsiteY114" fmla="*/ 231025 h 405912"/>
                <a:gd name="connsiteX115" fmla="*/ 38000 w 250456"/>
                <a:gd name="connsiteY115" fmla="*/ 234911 h 405912"/>
                <a:gd name="connsiteX116" fmla="*/ 36273 w 250456"/>
                <a:gd name="connsiteY116" fmla="*/ 237070 h 405912"/>
                <a:gd name="connsiteX117" fmla="*/ 35841 w 250456"/>
                <a:gd name="connsiteY117" fmla="*/ 237934 h 405912"/>
                <a:gd name="connsiteX118" fmla="*/ 36273 w 250456"/>
                <a:gd name="connsiteY118" fmla="*/ 238798 h 405912"/>
                <a:gd name="connsiteX119" fmla="*/ 37137 w 250456"/>
                <a:gd name="connsiteY119" fmla="*/ 240093 h 405912"/>
                <a:gd name="connsiteX120" fmla="*/ 37137 w 250456"/>
                <a:gd name="connsiteY120" fmla="*/ 240525 h 405912"/>
                <a:gd name="connsiteX121" fmla="*/ 35409 w 250456"/>
                <a:gd name="connsiteY121" fmla="*/ 246139 h 405912"/>
                <a:gd name="connsiteX122" fmla="*/ 35409 w 250456"/>
                <a:gd name="connsiteY122" fmla="*/ 247434 h 405912"/>
                <a:gd name="connsiteX123" fmla="*/ 34978 w 250456"/>
                <a:gd name="connsiteY123" fmla="*/ 247866 h 405912"/>
                <a:gd name="connsiteX124" fmla="*/ 34546 w 250456"/>
                <a:gd name="connsiteY124" fmla="*/ 249593 h 405912"/>
                <a:gd name="connsiteX125" fmla="*/ 34114 w 250456"/>
                <a:gd name="connsiteY125" fmla="*/ 250889 h 405912"/>
                <a:gd name="connsiteX126" fmla="*/ 33682 w 250456"/>
                <a:gd name="connsiteY126" fmla="*/ 253911 h 405912"/>
                <a:gd name="connsiteX127" fmla="*/ 33682 w 250456"/>
                <a:gd name="connsiteY127" fmla="*/ 256071 h 405912"/>
                <a:gd name="connsiteX128" fmla="*/ 34114 w 250456"/>
                <a:gd name="connsiteY128" fmla="*/ 256934 h 405912"/>
                <a:gd name="connsiteX129" fmla="*/ 33682 w 250456"/>
                <a:gd name="connsiteY129" fmla="*/ 258230 h 405912"/>
                <a:gd name="connsiteX130" fmla="*/ 31955 w 250456"/>
                <a:gd name="connsiteY130" fmla="*/ 262980 h 405912"/>
                <a:gd name="connsiteX131" fmla="*/ 31955 w 250456"/>
                <a:gd name="connsiteY131" fmla="*/ 264707 h 405912"/>
                <a:gd name="connsiteX132" fmla="*/ 31091 w 250456"/>
                <a:gd name="connsiteY132" fmla="*/ 266434 h 405912"/>
                <a:gd name="connsiteX133" fmla="*/ 30659 w 250456"/>
                <a:gd name="connsiteY133" fmla="*/ 267730 h 405912"/>
                <a:gd name="connsiteX134" fmla="*/ 30659 w 250456"/>
                <a:gd name="connsiteY134" fmla="*/ 269457 h 405912"/>
                <a:gd name="connsiteX135" fmla="*/ 30228 w 250456"/>
                <a:gd name="connsiteY135" fmla="*/ 270321 h 405912"/>
                <a:gd name="connsiteX136" fmla="*/ 30659 w 250456"/>
                <a:gd name="connsiteY136" fmla="*/ 271184 h 405912"/>
                <a:gd name="connsiteX137" fmla="*/ 31091 w 250456"/>
                <a:gd name="connsiteY137" fmla="*/ 271616 h 405912"/>
                <a:gd name="connsiteX138" fmla="*/ 31091 w 250456"/>
                <a:gd name="connsiteY138" fmla="*/ 273775 h 405912"/>
                <a:gd name="connsiteX139" fmla="*/ 30228 w 250456"/>
                <a:gd name="connsiteY139" fmla="*/ 275934 h 405912"/>
                <a:gd name="connsiteX140" fmla="*/ 30228 w 250456"/>
                <a:gd name="connsiteY140" fmla="*/ 276366 h 405912"/>
                <a:gd name="connsiteX141" fmla="*/ 30659 w 250456"/>
                <a:gd name="connsiteY141" fmla="*/ 278094 h 405912"/>
                <a:gd name="connsiteX142" fmla="*/ 30228 w 250456"/>
                <a:gd name="connsiteY142" fmla="*/ 279821 h 405912"/>
                <a:gd name="connsiteX143" fmla="*/ 29796 w 250456"/>
                <a:gd name="connsiteY143" fmla="*/ 280253 h 405912"/>
                <a:gd name="connsiteX144" fmla="*/ 30228 w 250456"/>
                <a:gd name="connsiteY144" fmla="*/ 281548 h 405912"/>
                <a:gd name="connsiteX145" fmla="*/ 29364 w 250456"/>
                <a:gd name="connsiteY145" fmla="*/ 283275 h 405912"/>
                <a:gd name="connsiteX146" fmla="*/ 28932 w 250456"/>
                <a:gd name="connsiteY146" fmla="*/ 284139 h 405912"/>
                <a:gd name="connsiteX147" fmla="*/ 28932 w 250456"/>
                <a:gd name="connsiteY147" fmla="*/ 284571 h 405912"/>
                <a:gd name="connsiteX148" fmla="*/ 29796 w 250456"/>
                <a:gd name="connsiteY148" fmla="*/ 285003 h 405912"/>
                <a:gd name="connsiteX149" fmla="*/ 29364 w 250456"/>
                <a:gd name="connsiteY149" fmla="*/ 286298 h 405912"/>
                <a:gd name="connsiteX150" fmla="*/ 29364 w 250456"/>
                <a:gd name="connsiteY150" fmla="*/ 291048 h 405912"/>
                <a:gd name="connsiteX151" fmla="*/ 29796 w 250456"/>
                <a:gd name="connsiteY151" fmla="*/ 295366 h 405912"/>
                <a:gd name="connsiteX152" fmla="*/ 29364 w 250456"/>
                <a:gd name="connsiteY152" fmla="*/ 297957 h 405912"/>
                <a:gd name="connsiteX153" fmla="*/ 29364 w 250456"/>
                <a:gd name="connsiteY153" fmla="*/ 302707 h 405912"/>
                <a:gd name="connsiteX154" fmla="*/ 28500 w 250456"/>
                <a:gd name="connsiteY154" fmla="*/ 306162 h 405912"/>
                <a:gd name="connsiteX155" fmla="*/ 28068 w 250456"/>
                <a:gd name="connsiteY155" fmla="*/ 306594 h 405912"/>
                <a:gd name="connsiteX156" fmla="*/ 28500 w 250456"/>
                <a:gd name="connsiteY156" fmla="*/ 307026 h 405912"/>
                <a:gd name="connsiteX157" fmla="*/ 28932 w 250456"/>
                <a:gd name="connsiteY157" fmla="*/ 308321 h 405912"/>
                <a:gd name="connsiteX158" fmla="*/ 28500 w 250456"/>
                <a:gd name="connsiteY158" fmla="*/ 309185 h 405912"/>
                <a:gd name="connsiteX159" fmla="*/ 28068 w 250456"/>
                <a:gd name="connsiteY159" fmla="*/ 310048 h 405912"/>
                <a:gd name="connsiteX160" fmla="*/ 28932 w 250456"/>
                <a:gd name="connsiteY160" fmla="*/ 310912 h 405912"/>
                <a:gd name="connsiteX161" fmla="*/ 28500 w 250456"/>
                <a:gd name="connsiteY161" fmla="*/ 311344 h 405912"/>
                <a:gd name="connsiteX162" fmla="*/ 28068 w 250456"/>
                <a:gd name="connsiteY162" fmla="*/ 312207 h 405912"/>
                <a:gd name="connsiteX163" fmla="*/ 27637 w 250456"/>
                <a:gd name="connsiteY163" fmla="*/ 313071 h 405912"/>
                <a:gd name="connsiteX164" fmla="*/ 28068 w 250456"/>
                <a:gd name="connsiteY164" fmla="*/ 313935 h 405912"/>
                <a:gd name="connsiteX165" fmla="*/ 28068 w 250456"/>
                <a:gd name="connsiteY165" fmla="*/ 317389 h 405912"/>
                <a:gd name="connsiteX166" fmla="*/ 27205 w 250456"/>
                <a:gd name="connsiteY166" fmla="*/ 321276 h 405912"/>
                <a:gd name="connsiteX167" fmla="*/ 27205 w 250456"/>
                <a:gd name="connsiteY167" fmla="*/ 322571 h 405912"/>
                <a:gd name="connsiteX168" fmla="*/ 28068 w 250456"/>
                <a:gd name="connsiteY168" fmla="*/ 324298 h 405912"/>
                <a:gd name="connsiteX169" fmla="*/ 27637 w 250456"/>
                <a:gd name="connsiteY169" fmla="*/ 325594 h 405912"/>
                <a:gd name="connsiteX170" fmla="*/ 27205 w 250456"/>
                <a:gd name="connsiteY170" fmla="*/ 326889 h 405912"/>
                <a:gd name="connsiteX171" fmla="*/ 27637 w 250456"/>
                <a:gd name="connsiteY171" fmla="*/ 329048 h 405912"/>
                <a:gd name="connsiteX172" fmla="*/ 27205 w 250456"/>
                <a:gd name="connsiteY172" fmla="*/ 332935 h 405912"/>
                <a:gd name="connsiteX173" fmla="*/ 26773 w 250456"/>
                <a:gd name="connsiteY173" fmla="*/ 335094 h 405912"/>
                <a:gd name="connsiteX174" fmla="*/ 27205 w 250456"/>
                <a:gd name="connsiteY174" fmla="*/ 335958 h 405912"/>
                <a:gd name="connsiteX175" fmla="*/ 27637 w 250456"/>
                <a:gd name="connsiteY175" fmla="*/ 337685 h 405912"/>
                <a:gd name="connsiteX176" fmla="*/ 27205 w 250456"/>
                <a:gd name="connsiteY176" fmla="*/ 343299 h 405912"/>
                <a:gd name="connsiteX177" fmla="*/ 26773 w 250456"/>
                <a:gd name="connsiteY177" fmla="*/ 345026 h 405912"/>
                <a:gd name="connsiteX178" fmla="*/ 27205 w 250456"/>
                <a:gd name="connsiteY178" fmla="*/ 346753 h 405912"/>
                <a:gd name="connsiteX179" fmla="*/ 27637 w 250456"/>
                <a:gd name="connsiteY179" fmla="*/ 348049 h 405912"/>
                <a:gd name="connsiteX180" fmla="*/ 26773 w 250456"/>
                <a:gd name="connsiteY180" fmla="*/ 350208 h 405912"/>
                <a:gd name="connsiteX181" fmla="*/ 26341 w 250456"/>
                <a:gd name="connsiteY181" fmla="*/ 351503 h 405912"/>
                <a:gd name="connsiteX182" fmla="*/ 27205 w 250456"/>
                <a:gd name="connsiteY182" fmla="*/ 355390 h 405912"/>
                <a:gd name="connsiteX183" fmla="*/ 27637 w 250456"/>
                <a:gd name="connsiteY183" fmla="*/ 357981 h 405912"/>
                <a:gd name="connsiteX184" fmla="*/ 27205 w 250456"/>
                <a:gd name="connsiteY184" fmla="*/ 360571 h 405912"/>
                <a:gd name="connsiteX185" fmla="*/ 27205 w 250456"/>
                <a:gd name="connsiteY185" fmla="*/ 364458 h 405912"/>
                <a:gd name="connsiteX186" fmla="*/ 27637 w 250456"/>
                <a:gd name="connsiteY186" fmla="*/ 366185 h 405912"/>
                <a:gd name="connsiteX187" fmla="*/ 27205 w 250456"/>
                <a:gd name="connsiteY187" fmla="*/ 368344 h 405912"/>
                <a:gd name="connsiteX188" fmla="*/ 27637 w 250456"/>
                <a:gd name="connsiteY188" fmla="*/ 369640 h 405912"/>
                <a:gd name="connsiteX189" fmla="*/ 28068 w 250456"/>
                <a:gd name="connsiteY189" fmla="*/ 370503 h 405912"/>
                <a:gd name="connsiteX190" fmla="*/ 28500 w 250456"/>
                <a:gd name="connsiteY190" fmla="*/ 376549 h 405912"/>
                <a:gd name="connsiteX191" fmla="*/ 28500 w 250456"/>
                <a:gd name="connsiteY191" fmla="*/ 377844 h 405912"/>
                <a:gd name="connsiteX192" fmla="*/ 27637 w 250456"/>
                <a:gd name="connsiteY192" fmla="*/ 379572 h 405912"/>
                <a:gd name="connsiteX193" fmla="*/ 28068 w 250456"/>
                <a:gd name="connsiteY193" fmla="*/ 381299 h 405912"/>
                <a:gd name="connsiteX194" fmla="*/ 28068 w 250456"/>
                <a:gd name="connsiteY194" fmla="*/ 382163 h 405912"/>
                <a:gd name="connsiteX195" fmla="*/ 27637 w 250456"/>
                <a:gd name="connsiteY195" fmla="*/ 383890 h 405912"/>
                <a:gd name="connsiteX196" fmla="*/ 28500 w 250456"/>
                <a:gd name="connsiteY196" fmla="*/ 389935 h 405912"/>
                <a:gd name="connsiteX197" fmla="*/ 28932 w 250456"/>
                <a:gd name="connsiteY197" fmla="*/ 391231 h 405912"/>
                <a:gd name="connsiteX198" fmla="*/ 28500 w 250456"/>
                <a:gd name="connsiteY198" fmla="*/ 392095 h 405912"/>
                <a:gd name="connsiteX199" fmla="*/ 28068 w 250456"/>
                <a:gd name="connsiteY199" fmla="*/ 393390 h 405912"/>
                <a:gd name="connsiteX200" fmla="*/ 28068 w 250456"/>
                <a:gd name="connsiteY200" fmla="*/ 394254 h 405912"/>
                <a:gd name="connsiteX201" fmla="*/ 27637 w 250456"/>
                <a:gd name="connsiteY201" fmla="*/ 395117 h 405912"/>
                <a:gd name="connsiteX202" fmla="*/ 26773 w 250456"/>
                <a:gd name="connsiteY202" fmla="*/ 395117 h 405912"/>
                <a:gd name="connsiteX203" fmla="*/ 26341 w 250456"/>
                <a:gd name="connsiteY203" fmla="*/ 394686 h 405912"/>
                <a:gd name="connsiteX204" fmla="*/ 25909 w 250456"/>
                <a:gd name="connsiteY204" fmla="*/ 395117 h 405912"/>
                <a:gd name="connsiteX205" fmla="*/ 23318 w 250456"/>
                <a:gd name="connsiteY205" fmla="*/ 398140 h 405912"/>
                <a:gd name="connsiteX206" fmla="*/ 22455 w 250456"/>
                <a:gd name="connsiteY206" fmla="*/ 399004 h 405912"/>
                <a:gd name="connsiteX207" fmla="*/ 21159 w 250456"/>
                <a:gd name="connsiteY207" fmla="*/ 399867 h 405912"/>
                <a:gd name="connsiteX208" fmla="*/ 20296 w 250456"/>
                <a:gd name="connsiteY208" fmla="*/ 399435 h 405912"/>
                <a:gd name="connsiteX209" fmla="*/ 17705 w 250456"/>
                <a:gd name="connsiteY209" fmla="*/ 398572 h 405912"/>
                <a:gd name="connsiteX210" fmla="*/ 17273 w 250456"/>
                <a:gd name="connsiteY210" fmla="*/ 399004 h 405912"/>
                <a:gd name="connsiteX211" fmla="*/ 16841 w 250456"/>
                <a:gd name="connsiteY211" fmla="*/ 400731 h 405912"/>
                <a:gd name="connsiteX212" fmla="*/ 16409 w 250456"/>
                <a:gd name="connsiteY212" fmla="*/ 401595 h 405912"/>
                <a:gd name="connsiteX213" fmla="*/ 15546 w 250456"/>
                <a:gd name="connsiteY213" fmla="*/ 401595 h 405912"/>
                <a:gd name="connsiteX214" fmla="*/ 13386 w 250456"/>
                <a:gd name="connsiteY214" fmla="*/ 399004 h 405912"/>
                <a:gd name="connsiteX215" fmla="*/ 13386 w 250456"/>
                <a:gd name="connsiteY215" fmla="*/ 398572 h 405912"/>
                <a:gd name="connsiteX216" fmla="*/ 12091 w 250456"/>
                <a:gd name="connsiteY216" fmla="*/ 396845 h 405912"/>
                <a:gd name="connsiteX217" fmla="*/ 11659 w 250456"/>
                <a:gd name="connsiteY217" fmla="*/ 396845 h 405912"/>
                <a:gd name="connsiteX218" fmla="*/ 11659 w 250456"/>
                <a:gd name="connsiteY218" fmla="*/ 398572 h 405912"/>
                <a:gd name="connsiteX219" fmla="*/ 12091 w 250456"/>
                <a:gd name="connsiteY219" fmla="*/ 399867 h 405912"/>
                <a:gd name="connsiteX220" fmla="*/ 12523 w 250456"/>
                <a:gd name="connsiteY220" fmla="*/ 400731 h 405912"/>
                <a:gd name="connsiteX221" fmla="*/ 11659 w 250456"/>
                <a:gd name="connsiteY221" fmla="*/ 401595 h 405912"/>
                <a:gd name="connsiteX222" fmla="*/ 11227 w 250456"/>
                <a:gd name="connsiteY222" fmla="*/ 402458 h 405912"/>
                <a:gd name="connsiteX223" fmla="*/ 10796 w 250456"/>
                <a:gd name="connsiteY223" fmla="*/ 402890 h 405912"/>
                <a:gd name="connsiteX224" fmla="*/ 10364 w 250456"/>
                <a:gd name="connsiteY224" fmla="*/ 402458 h 405912"/>
                <a:gd name="connsiteX225" fmla="*/ 9500 w 250456"/>
                <a:gd name="connsiteY225" fmla="*/ 400299 h 405912"/>
                <a:gd name="connsiteX226" fmla="*/ 8636 w 250456"/>
                <a:gd name="connsiteY226" fmla="*/ 400299 h 405912"/>
                <a:gd name="connsiteX227" fmla="*/ 8205 w 250456"/>
                <a:gd name="connsiteY227" fmla="*/ 402026 h 405912"/>
                <a:gd name="connsiteX228" fmla="*/ 8636 w 250456"/>
                <a:gd name="connsiteY228" fmla="*/ 402890 h 405912"/>
                <a:gd name="connsiteX229" fmla="*/ 8636 w 250456"/>
                <a:gd name="connsiteY229" fmla="*/ 404617 h 405912"/>
                <a:gd name="connsiteX230" fmla="*/ 9068 w 250456"/>
                <a:gd name="connsiteY230" fmla="*/ 405913 h 405912"/>
                <a:gd name="connsiteX231" fmla="*/ 8636 w 250456"/>
                <a:gd name="connsiteY231" fmla="*/ 405913 h 405912"/>
                <a:gd name="connsiteX232" fmla="*/ 7341 w 250456"/>
                <a:gd name="connsiteY232" fmla="*/ 405481 h 405912"/>
                <a:gd name="connsiteX233" fmla="*/ 6477 w 250456"/>
                <a:gd name="connsiteY233" fmla="*/ 404186 h 405912"/>
                <a:gd name="connsiteX234" fmla="*/ 6046 w 250456"/>
                <a:gd name="connsiteY234" fmla="*/ 401595 h 405912"/>
                <a:gd name="connsiteX235" fmla="*/ 5614 w 250456"/>
                <a:gd name="connsiteY235" fmla="*/ 399435 h 405912"/>
                <a:gd name="connsiteX236" fmla="*/ 5614 w 250456"/>
                <a:gd name="connsiteY236" fmla="*/ 398140 h 405912"/>
                <a:gd name="connsiteX237" fmla="*/ 4318 w 250456"/>
                <a:gd name="connsiteY237" fmla="*/ 395981 h 405912"/>
                <a:gd name="connsiteX238" fmla="*/ 3455 w 250456"/>
                <a:gd name="connsiteY238" fmla="*/ 394254 h 405912"/>
                <a:gd name="connsiteX239" fmla="*/ 3886 w 250456"/>
                <a:gd name="connsiteY239" fmla="*/ 392526 h 405912"/>
                <a:gd name="connsiteX240" fmla="*/ 3455 w 250456"/>
                <a:gd name="connsiteY240" fmla="*/ 390799 h 405912"/>
                <a:gd name="connsiteX241" fmla="*/ 2591 w 250456"/>
                <a:gd name="connsiteY241" fmla="*/ 389504 h 405912"/>
                <a:gd name="connsiteX242" fmla="*/ 3023 w 250456"/>
                <a:gd name="connsiteY242" fmla="*/ 388208 h 405912"/>
                <a:gd name="connsiteX243" fmla="*/ 2591 w 250456"/>
                <a:gd name="connsiteY243" fmla="*/ 386913 h 405912"/>
                <a:gd name="connsiteX244" fmla="*/ 1727 w 250456"/>
                <a:gd name="connsiteY244" fmla="*/ 385185 h 405912"/>
                <a:gd name="connsiteX245" fmla="*/ 2159 w 250456"/>
                <a:gd name="connsiteY245" fmla="*/ 383890 h 405912"/>
                <a:gd name="connsiteX246" fmla="*/ 3023 w 250456"/>
                <a:gd name="connsiteY246" fmla="*/ 380435 h 405912"/>
                <a:gd name="connsiteX247" fmla="*/ 3023 w 250456"/>
                <a:gd name="connsiteY247" fmla="*/ 379140 h 405912"/>
                <a:gd name="connsiteX248" fmla="*/ 3455 w 250456"/>
                <a:gd name="connsiteY248" fmla="*/ 378276 h 405912"/>
                <a:gd name="connsiteX249" fmla="*/ 3023 w 250456"/>
                <a:gd name="connsiteY249" fmla="*/ 376981 h 405912"/>
                <a:gd name="connsiteX250" fmla="*/ 2159 w 250456"/>
                <a:gd name="connsiteY250" fmla="*/ 374822 h 405912"/>
                <a:gd name="connsiteX251" fmla="*/ 2591 w 250456"/>
                <a:gd name="connsiteY251" fmla="*/ 373526 h 405912"/>
                <a:gd name="connsiteX252" fmla="*/ 2159 w 250456"/>
                <a:gd name="connsiteY252" fmla="*/ 373094 h 405912"/>
                <a:gd name="connsiteX253" fmla="*/ 1295 w 250456"/>
                <a:gd name="connsiteY253" fmla="*/ 372231 h 405912"/>
                <a:gd name="connsiteX254" fmla="*/ 864 w 250456"/>
                <a:gd name="connsiteY254" fmla="*/ 367049 h 405912"/>
                <a:gd name="connsiteX255" fmla="*/ 0 w 250456"/>
                <a:gd name="connsiteY255" fmla="*/ 364890 h 405912"/>
                <a:gd name="connsiteX256" fmla="*/ 432 w 250456"/>
                <a:gd name="connsiteY256" fmla="*/ 363162 h 405912"/>
                <a:gd name="connsiteX257" fmla="*/ 432 w 250456"/>
                <a:gd name="connsiteY257" fmla="*/ 350640 h 405912"/>
                <a:gd name="connsiteX258" fmla="*/ 864 w 250456"/>
                <a:gd name="connsiteY258" fmla="*/ 347617 h 405912"/>
                <a:gd name="connsiteX259" fmla="*/ 432 w 250456"/>
                <a:gd name="connsiteY259" fmla="*/ 346321 h 405912"/>
                <a:gd name="connsiteX260" fmla="*/ 432 w 250456"/>
                <a:gd name="connsiteY260" fmla="*/ 344594 h 405912"/>
                <a:gd name="connsiteX261" fmla="*/ 864 w 250456"/>
                <a:gd name="connsiteY261" fmla="*/ 342867 h 405912"/>
                <a:gd name="connsiteX262" fmla="*/ 864 w 250456"/>
                <a:gd name="connsiteY262" fmla="*/ 339412 h 405912"/>
                <a:gd name="connsiteX263" fmla="*/ 1727 w 250456"/>
                <a:gd name="connsiteY263" fmla="*/ 337253 h 405912"/>
                <a:gd name="connsiteX264" fmla="*/ 2159 w 250456"/>
                <a:gd name="connsiteY264" fmla="*/ 336390 h 405912"/>
                <a:gd name="connsiteX265" fmla="*/ 2159 w 250456"/>
                <a:gd name="connsiteY265" fmla="*/ 335958 h 405912"/>
                <a:gd name="connsiteX266" fmla="*/ 1727 w 250456"/>
                <a:gd name="connsiteY266" fmla="*/ 334662 h 405912"/>
                <a:gd name="connsiteX267" fmla="*/ 2591 w 250456"/>
                <a:gd name="connsiteY267" fmla="*/ 332071 h 405912"/>
                <a:gd name="connsiteX268" fmla="*/ 3023 w 250456"/>
                <a:gd name="connsiteY268" fmla="*/ 330776 h 405912"/>
                <a:gd name="connsiteX269" fmla="*/ 2591 w 250456"/>
                <a:gd name="connsiteY269" fmla="*/ 329912 h 405912"/>
                <a:gd name="connsiteX270" fmla="*/ 2159 w 250456"/>
                <a:gd name="connsiteY270" fmla="*/ 329480 h 405912"/>
                <a:gd name="connsiteX271" fmla="*/ 2591 w 250456"/>
                <a:gd name="connsiteY271" fmla="*/ 328185 h 405912"/>
                <a:gd name="connsiteX272" fmla="*/ 1727 w 250456"/>
                <a:gd name="connsiteY272" fmla="*/ 325162 h 405912"/>
                <a:gd name="connsiteX273" fmla="*/ 1295 w 250456"/>
                <a:gd name="connsiteY273" fmla="*/ 323867 h 405912"/>
                <a:gd name="connsiteX274" fmla="*/ 1295 w 250456"/>
                <a:gd name="connsiteY274" fmla="*/ 316958 h 405912"/>
                <a:gd name="connsiteX275" fmla="*/ 1727 w 250456"/>
                <a:gd name="connsiteY275" fmla="*/ 314798 h 405912"/>
                <a:gd name="connsiteX276" fmla="*/ 1727 w 250456"/>
                <a:gd name="connsiteY276" fmla="*/ 307889 h 405912"/>
                <a:gd name="connsiteX277" fmla="*/ 2591 w 250456"/>
                <a:gd name="connsiteY277" fmla="*/ 304435 h 405912"/>
                <a:gd name="connsiteX278" fmla="*/ 2591 w 250456"/>
                <a:gd name="connsiteY278" fmla="*/ 302275 h 405912"/>
                <a:gd name="connsiteX279" fmla="*/ 3023 w 250456"/>
                <a:gd name="connsiteY279" fmla="*/ 297526 h 405912"/>
                <a:gd name="connsiteX280" fmla="*/ 3455 w 250456"/>
                <a:gd name="connsiteY280" fmla="*/ 296230 h 405912"/>
                <a:gd name="connsiteX281" fmla="*/ 3886 w 250456"/>
                <a:gd name="connsiteY281" fmla="*/ 295366 h 405912"/>
                <a:gd name="connsiteX282" fmla="*/ 3886 w 250456"/>
                <a:gd name="connsiteY282" fmla="*/ 294503 h 405912"/>
                <a:gd name="connsiteX283" fmla="*/ 3455 w 250456"/>
                <a:gd name="connsiteY283" fmla="*/ 293207 h 405912"/>
                <a:gd name="connsiteX284" fmla="*/ 3455 w 250456"/>
                <a:gd name="connsiteY284" fmla="*/ 285866 h 405912"/>
                <a:gd name="connsiteX285" fmla="*/ 3886 w 250456"/>
                <a:gd name="connsiteY285" fmla="*/ 283707 h 405912"/>
                <a:gd name="connsiteX286" fmla="*/ 4750 w 250456"/>
                <a:gd name="connsiteY286" fmla="*/ 278957 h 405912"/>
                <a:gd name="connsiteX287" fmla="*/ 5182 w 250456"/>
                <a:gd name="connsiteY287" fmla="*/ 278094 h 405912"/>
                <a:gd name="connsiteX288" fmla="*/ 4750 w 250456"/>
                <a:gd name="connsiteY288" fmla="*/ 276798 h 405912"/>
                <a:gd name="connsiteX289" fmla="*/ 4318 w 250456"/>
                <a:gd name="connsiteY289" fmla="*/ 275503 h 405912"/>
                <a:gd name="connsiteX290" fmla="*/ 5614 w 250456"/>
                <a:gd name="connsiteY290" fmla="*/ 271184 h 405912"/>
                <a:gd name="connsiteX291" fmla="*/ 6909 w 250456"/>
                <a:gd name="connsiteY291" fmla="*/ 269025 h 405912"/>
                <a:gd name="connsiteX292" fmla="*/ 7341 w 250456"/>
                <a:gd name="connsiteY292" fmla="*/ 268162 h 405912"/>
                <a:gd name="connsiteX293" fmla="*/ 6909 w 250456"/>
                <a:gd name="connsiteY293" fmla="*/ 266866 h 405912"/>
                <a:gd name="connsiteX294" fmla="*/ 6046 w 250456"/>
                <a:gd name="connsiteY294" fmla="*/ 266002 h 405912"/>
                <a:gd name="connsiteX295" fmla="*/ 6477 w 250456"/>
                <a:gd name="connsiteY295" fmla="*/ 265139 h 405912"/>
                <a:gd name="connsiteX296" fmla="*/ 7341 w 250456"/>
                <a:gd name="connsiteY296" fmla="*/ 261684 h 405912"/>
                <a:gd name="connsiteX297" fmla="*/ 7341 w 250456"/>
                <a:gd name="connsiteY297" fmla="*/ 260821 h 405912"/>
                <a:gd name="connsiteX298" fmla="*/ 7773 w 250456"/>
                <a:gd name="connsiteY298" fmla="*/ 259525 h 405912"/>
                <a:gd name="connsiteX299" fmla="*/ 7773 w 250456"/>
                <a:gd name="connsiteY299" fmla="*/ 258662 h 405912"/>
                <a:gd name="connsiteX300" fmla="*/ 8205 w 250456"/>
                <a:gd name="connsiteY300" fmla="*/ 255639 h 405912"/>
                <a:gd name="connsiteX301" fmla="*/ 9500 w 250456"/>
                <a:gd name="connsiteY301" fmla="*/ 249593 h 405912"/>
                <a:gd name="connsiteX302" fmla="*/ 9932 w 250456"/>
                <a:gd name="connsiteY302" fmla="*/ 248730 h 405912"/>
                <a:gd name="connsiteX303" fmla="*/ 10364 w 250456"/>
                <a:gd name="connsiteY303" fmla="*/ 247866 h 405912"/>
                <a:gd name="connsiteX304" fmla="*/ 9932 w 250456"/>
                <a:gd name="connsiteY304" fmla="*/ 246570 h 405912"/>
                <a:gd name="connsiteX305" fmla="*/ 9500 w 250456"/>
                <a:gd name="connsiteY305" fmla="*/ 243979 h 405912"/>
                <a:gd name="connsiteX306" fmla="*/ 11227 w 250456"/>
                <a:gd name="connsiteY306" fmla="*/ 241389 h 405912"/>
                <a:gd name="connsiteX307" fmla="*/ 11659 w 250456"/>
                <a:gd name="connsiteY307" fmla="*/ 240525 h 405912"/>
                <a:gd name="connsiteX308" fmla="*/ 11659 w 250456"/>
                <a:gd name="connsiteY308" fmla="*/ 240093 h 405912"/>
                <a:gd name="connsiteX309" fmla="*/ 11227 w 250456"/>
                <a:gd name="connsiteY309" fmla="*/ 239230 h 405912"/>
                <a:gd name="connsiteX310" fmla="*/ 10796 w 250456"/>
                <a:gd name="connsiteY310" fmla="*/ 238366 h 405912"/>
                <a:gd name="connsiteX311" fmla="*/ 11659 w 250456"/>
                <a:gd name="connsiteY311" fmla="*/ 237502 h 405912"/>
                <a:gd name="connsiteX312" fmla="*/ 12091 w 250456"/>
                <a:gd name="connsiteY312" fmla="*/ 237070 h 405912"/>
                <a:gd name="connsiteX313" fmla="*/ 11659 w 250456"/>
                <a:gd name="connsiteY313" fmla="*/ 236639 h 405912"/>
                <a:gd name="connsiteX314" fmla="*/ 10796 w 250456"/>
                <a:gd name="connsiteY314" fmla="*/ 236207 h 405912"/>
                <a:gd name="connsiteX315" fmla="*/ 11659 w 250456"/>
                <a:gd name="connsiteY315" fmla="*/ 235343 h 405912"/>
                <a:gd name="connsiteX316" fmla="*/ 12091 w 250456"/>
                <a:gd name="connsiteY316" fmla="*/ 234479 h 405912"/>
                <a:gd name="connsiteX317" fmla="*/ 12523 w 250456"/>
                <a:gd name="connsiteY317" fmla="*/ 233616 h 405912"/>
                <a:gd name="connsiteX318" fmla="*/ 12091 w 250456"/>
                <a:gd name="connsiteY318" fmla="*/ 232752 h 405912"/>
                <a:gd name="connsiteX319" fmla="*/ 11659 w 250456"/>
                <a:gd name="connsiteY319" fmla="*/ 232320 h 405912"/>
                <a:gd name="connsiteX320" fmla="*/ 11227 w 250456"/>
                <a:gd name="connsiteY320" fmla="*/ 231457 h 405912"/>
                <a:gd name="connsiteX321" fmla="*/ 11659 w 250456"/>
                <a:gd name="connsiteY321" fmla="*/ 230593 h 405912"/>
                <a:gd name="connsiteX322" fmla="*/ 13386 w 250456"/>
                <a:gd name="connsiteY322" fmla="*/ 228866 h 405912"/>
                <a:gd name="connsiteX323" fmla="*/ 13818 w 250456"/>
                <a:gd name="connsiteY323" fmla="*/ 228002 h 405912"/>
                <a:gd name="connsiteX324" fmla="*/ 13386 w 250456"/>
                <a:gd name="connsiteY324" fmla="*/ 226707 h 405912"/>
                <a:gd name="connsiteX325" fmla="*/ 12955 w 250456"/>
                <a:gd name="connsiteY325" fmla="*/ 225843 h 405912"/>
                <a:gd name="connsiteX326" fmla="*/ 13386 w 250456"/>
                <a:gd name="connsiteY326" fmla="*/ 224547 h 405912"/>
                <a:gd name="connsiteX327" fmla="*/ 12955 w 250456"/>
                <a:gd name="connsiteY327" fmla="*/ 222388 h 405912"/>
                <a:gd name="connsiteX328" fmla="*/ 12955 w 250456"/>
                <a:gd name="connsiteY328" fmla="*/ 221525 h 405912"/>
                <a:gd name="connsiteX329" fmla="*/ 14682 w 250456"/>
                <a:gd name="connsiteY329" fmla="*/ 218502 h 405912"/>
                <a:gd name="connsiteX330" fmla="*/ 14682 w 250456"/>
                <a:gd name="connsiteY330" fmla="*/ 218070 h 405912"/>
                <a:gd name="connsiteX331" fmla="*/ 14250 w 250456"/>
                <a:gd name="connsiteY331" fmla="*/ 216775 h 405912"/>
                <a:gd name="connsiteX332" fmla="*/ 15977 w 250456"/>
                <a:gd name="connsiteY332" fmla="*/ 213752 h 405912"/>
                <a:gd name="connsiteX333" fmla="*/ 16409 w 250456"/>
                <a:gd name="connsiteY333" fmla="*/ 213320 h 405912"/>
                <a:gd name="connsiteX334" fmla="*/ 15546 w 250456"/>
                <a:gd name="connsiteY334" fmla="*/ 212457 h 405912"/>
                <a:gd name="connsiteX335" fmla="*/ 14682 w 250456"/>
                <a:gd name="connsiteY335" fmla="*/ 211593 h 405912"/>
                <a:gd name="connsiteX336" fmla="*/ 15114 w 250456"/>
                <a:gd name="connsiteY336" fmla="*/ 211161 h 405912"/>
                <a:gd name="connsiteX337" fmla="*/ 15546 w 250456"/>
                <a:gd name="connsiteY337" fmla="*/ 210729 h 405912"/>
                <a:gd name="connsiteX338" fmla="*/ 15546 w 250456"/>
                <a:gd name="connsiteY338" fmla="*/ 209866 h 405912"/>
                <a:gd name="connsiteX339" fmla="*/ 16409 w 250456"/>
                <a:gd name="connsiteY339" fmla="*/ 209002 h 405912"/>
                <a:gd name="connsiteX340" fmla="*/ 17273 w 250456"/>
                <a:gd name="connsiteY340" fmla="*/ 208138 h 405912"/>
                <a:gd name="connsiteX341" fmla="*/ 16841 w 250456"/>
                <a:gd name="connsiteY341" fmla="*/ 206843 h 405912"/>
                <a:gd name="connsiteX342" fmla="*/ 17273 w 250456"/>
                <a:gd name="connsiteY342" fmla="*/ 205115 h 405912"/>
                <a:gd name="connsiteX343" fmla="*/ 17273 w 250456"/>
                <a:gd name="connsiteY343" fmla="*/ 204684 h 405912"/>
                <a:gd name="connsiteX344" fmla="*/ 17705 w 250456"/>
                <a:gd name="connsiteY344" fmla="*/ 201661 h 405912"/>
                <a:gd name="connsiteX345" fmla="*/ 33250 w 250456"/>
                <a:gd name="connsiteY345" fmla="*/ 129547 h 405912"/>
                <a:gd name="connsiteX346" fmla="*/ 33250 w 250456"/>
                <a:gd name="connsiteY346" fmla="*/ 129115 h 405912"/>
                <a:gd name="connsiteX347" fmla="*/ 36705 w 250456"/>
                <a:gd name="connsiteY347" fmla="*/ 122206 h 405912"/>
                <a:gd name="connsiteX348" fmla="*/ 37569 w 250456"/>
                <a:gd name="connsiteY348" fmla="*/ 120910 h 405912"/>
                <a:gd name="connsiteX349" fmla="*/ 38000 w 250456"/>
                <a:gd name="connsiteY349" fmla="*/ 119615 h 405912"/>
                <a:gd name="connsiteX350" fmla="*/ 38000 w 250456"/>
                <a:gd name="connsiteY350" fmla="*/ 118751 h 405912"/>
                <a:gd name="connsiteX351" fmla="*/ 38432 w 250456"/>
                <a:gd name="connsiteY351" fmla="*/ 117024 h 405912"/>
                <a:gd name="connsiteX352" fmla="*/ 39728 w 250456"/>
                <a:gd name="connsiteY352" fmla="*/ 114865 h 405912"/>
                <a:gd name="connsiteX353" fmla="*/ 41023 w 250456"/>
                <a:gd name="connsiteY353" fmla="*/ 111842 h 405912"/>
                <a:gd name="connsiteX354" fmla="*/ 41023 w 250456"/>
                <a:gd name="connsiteY354" fmla="*/ 110546 h 405912"/>
                <a:gd name="connsiteX355" fmla="*/ 42750 w 250456"/>
                <a:gd name="connsiteY355" fmla="*/ 105365 h 405912"/>
                <a:gd name="connsiteX356" fmla="*/ 43182 w 250456"/>
                <a:gd name="connsiteY356" fmla="*/ 104501 h 405912"/>
                <a:gd name="connsiteX357" fmla="*/ 44046 w 250456"/>
                <a:gd name="connsiteY357" fmla="*/ 99319 h 405912"/>
                <a:gd name="connsiteX358" fmla="*/ 44478 w 250456"/>
                <a:gd name="connsiteY358" fmla="*/ 98024 h 405912"/>
                <a:gd name="connsiteX359" fmla="*/ 53978 w 250456"/>
                <a:gd name="connsiteY359" fmla="*/ 72114 h 405912"/>
                <a:gd name="connsiteX360" fmla="*/ 56569 w 250456"/>
                <a:gd name="connsiteY360" fmla="*/ 65637 h 405912"/>
                <a:gd name="connsiteX361" fmla="*/ 58728 w 250456"/>
                <a:gd name="connsiteY361" fmla="*/ 59160 h 405912"/>
                <a:gd name="connsiteX362" fmla="*/ 60455 w 250456"/>
                <a:gd name="connsiteY362" fmla="*/ 54841 h 405912"/>
                <a:gd name="connsiteX363" fmla="*/ 61751 w 250456"/>
                <a:gd name="connsiteY363" fmla="*/ 50955 h 405912"/>
                <a:gd name="connsiteX364" fmla="*/ 63478 w 250456"/>
                <a:gd name="connsiteY364" fmla="*/ 47500 h 405912"/>
                <a:gd name="connsiteX365" fmla="*/ 63478 w 250456"/>
                <a:gd name="connsiteY365" fmla="*/ 46637 h 405912"/>
                <a:gd name="connsiteX366" fmla="*/ 66069 w 250456"/>
                <a:gd name="connsiteY366" fmla="*/ 40591 h 405912"/>
                <a:gd name="connsiteX367" fmla="*/ 66932 w 250456"/>
                <a:gd name="connsiteY367" fmla="*/ 37569 h 405912"/>
                <a:gd name="connsiteX368" fmla="*/ 67796 w 250456"/>
                <a:gd name="connsiteY368" fmla="*/ 35841 h 405912"/>
                <a:gd name="connsiteX369" fmla="*/ 68228 w 250456"/>
                <a:gd name="connsiteY369" fmla="*/ 35409 h 405912"/>
                <a:gd name="connsiteX370" fmla="*/ 68228 w 250456"/>
                <a:gd name="connsiteY370" fmla="*/ 34546 h 405912"/>
                <a:gd name="connsiteX371" fmla="*/ 69523 w 250456"/>
                <a:gd name="connsiteY371" fmla="*/ 31091 h 405912"/>
                <a:gd name="connsiteX372" fmla="*/ 72546 w 250456"/>
                <a:gd name="connsiteY372" fmla="*/ 22455 h 405912"/>
                <a:gd name="connsiteX373" fmla="*/ 74273 w 250456"/>
                <a:gd name="connsiteY373" fmla="*/ 17705 h 405912"/>
                <a:gd name="connsiteX374" fmla="*/ 75137 w 250456"/>
                <a:gd name="connsiteY374" fmla="*/ 14250 h 405912"/>
                <a:gd name="connsiteX375" fmla="*/ 76433 w 250456"/>
                <a:gd name="connsiteY375" fmla="*/ 11659 h 405912"/>
                <a:gd name="connsiteX376" fmla="*/ 79023 w 250456"/>
                <a:gd name="connsiteY376" fmla="*/ 5614 h 405912"/>
                <a:gd name="connsiteX377" fmla="*/ 79455 w 250456"/>
                <a:gd name="connsiteY377" fmla="*/ 4318 h 405912"/>
                <a:gd name="connsiteX378" fmla="*/ 82478 w 250456"/>
                <a:gd name="connsiteY378" fmla="*/ 1727 h 405912"/>
                <a:gd name="connsiteX379" fmla="*/ 83774 w 250456"/>
                <a:gd name="connsiteY379" fmla="*/ 864 h 405912"/>
                <a:gd name="connsiteX380" fmla="*/ 85501 w 250456"/>
                <a:gd name="connsiteY380" fmla="*/ 432 h 405912"/>
                <a:gd name="connsiteX381" fmla="*/ 86796 w 250456"/>
                <a:gd name="connsiteY381" fmla="*/ 0 h 405912"/>
                <a:gd name="connsiteX382" fmla="*/ 87660 w 250456"/>
                <a:gd name="connsiteY382" fmla="*/ 432 h 405912"/>
                <a:gd name="connsiteX383" fmla="*/ 90683 w 250456"/>
                <a:gd name="connsiteY383" fmla="*/ 3887 h 405912"/>
                <a:gd name="connsiteX384" fmla="*/ 91114 w 250456"/>
                <a:gd name="connsiteY384" fmla="*/ 4318 h 405912"/>
                <a:gd name="connsiteX385" fmla="*/ 92410 w 250456"/>
                <a:gd name="connsiteY385" fmla="*/ 3455 h 405912"/>
                <a:gd name="connsiteX386" fmla="*/ 93705 w 250456"/>
                <a:gd name="connsiteY386" fmla="*/ 4318 h 405912"/>
                <a:gd name="connsiteX387" fmla="*/ 94569 w 250456"/>
                <a:gd name="connsiteY387" fmla="*/ 5182 h 405912"/>
                <a:gd name="connsiteX388" fmla="*/ 95001 w 250456"/>
                <a:gd name="connsiteY388" fmla="*/ 5614 h 405912"/>
                <a:gd name="connsiteX389" fmla="*/ 95433 w 250456"/>
                <a:gd name="connsiteY389" fmla="*/ 5182 h 405912"/>
                <a:gd name="connsiteX390" fmla="*/ 96728 w 250456"/>
                <a:gd name="connsiteY390" fmla="*/ 5614 h 405912"/>
                <a:gd name="connsiteX391" fmla="*/ 98455 w 250456"/>
                <a:gd name="connsiteY391" fmla="*/ 6046 h 405912"/>
                <a:gd name="connsiteX392" fmla="*/ 100183 w 250456"/>
                <a:gd name="connsiteY392" fmla="*/ 5614 h 405912"/>
                <a:gd name="connsiteX393" fmla="*/ 102342 w 250456"/>
                <a:gd name="connsiteY393" fmla="*/ 6477 h 405912"/>
                <a:gd name="connsiteX394" fmla="*/ 103206 w 250456"/>
                <a:gd name="connsiteY394" fmla="*/ 6477 h 405912"/>
                <a:gd name="connsiteX395" fmla="*/ 104069 w 250456"/>
                <a:gd name="connsiteY395" fmla="*/ 6046 h 405912"/>
                <a:gd name="connsiteX396" fmla="*/ 106228 w 250456"/>
                <a:gd name="connsiteY396" fmla="*/ 7341 h 405912"/>
                <a:gd name="connsiteX397" fmla="*/ 106660 w 250456"/>
                <a:gd name="connsiteY397" fmla="*/ 8205 h 405912"/>
                <a:gd name="connsiteX398" fmla="*/ 105365 w 250456"/>
                <a:gd name="connsiteY398" fmla="*/ 10796 h 405912"/>
                <a:gd name="connsiteX399" fmla="*/ 104069 w 250456"/>
                <a:gd name="connsiteY399" fmla="*/ 13818 h 405912"/>
                <a:gd name="connsiteX400" fmla="*/ 104069 w 250456"/>
                <a:gd name="connsiteY400" fmla="*/ 14682 h 405912"/>
                <a:gd name="connsiteX401" fmla="*/ 102774 w 250456"/>
                <a:gd name="connsiteY401" fmla="*/ 18137 h 405912"/>
                <a:gd name="connsiteX402" fmla="*/ 101478 w 250456"/>
                <a:gd name="connsiteY402" fmla="*/ 21591 h 405912"/>
                <a:gd name="connsiteX403" fmla="*/ 98887 w 250456"/>
                <a:gd name="connsiteY403" fmla="*/ 25909 h 405912"/>
                <a:gd name="connsiteX404" fmla="*/ 97592 w 250456"/>
                <a:gd name="connsiteY404" fmla="*/ 28500 h 405912"/>
                <a:gd name="connsiteX405" fmla="*/ 97160 w 250456"/>
                <a:gd name="connsiteY405" fmla="*/ 30228 h 405912"/>
                <a:gd name="connsiteX406" fmla="*/ 96728 w 250456"/>
                <a:gd name="connsiteY406" fmla="*/ 31955 h 405912"/>
                <a:gd name="connsiteX407" fmla="*/ 95433 w 250456"/>
                <a:gd name="connsiteY407" fmla="*/ 34114 h 405912"/>
                <a:gd name="connsiteX408" fmla="*/ 95001 w 250456"/>
                <a:gd name="connsiteY408" fmla="*/ 36273 h 405912"/>
                <a:gd name="connsiteX409" fmla="*/ 95001 w 250456"/>
                <a:gd name="connsiteY409" fmla="*/ 36705 h 405912"/>
                <a:gd name="connsiteX410" fmla="*/ 93705 w 250456"/>
                <a:gd name="connsiteY410" fmla="*/ 39296 h 405912"/>
                <a:gd name="connsiteX411" fmla="*/ 92842 w 250456"/>
                <a:gd name="connsiteY411" fmla="*/ 41023 h 405912"/>
                <a:gd name="connsiteX412" fmla="*/ 92842 w 250456"/>
                <a:gd name="connsiteY412" fmla="*/ 41887 h 405912"/>
                <a:gd name="connsiteX413" fmla="*/ 93274 w 250456"/>
                <a:gd name="connsiteY413" fmla="*/ 42750 h 405912"/>
                <a:gd name="connsiteX414" fmla="*/ 93705 w 250456"/>
                <a:gd name="connsiteY414" fmla="*/ 43614 h 405912"/>
                <a:gd name="connsiteX415" fmla="*/ 93274 w 250456"/>
                <a:gd name="connsiteY415" fmla="*/ 44478 h 405912"/>
                <a:gd name="connsiteX416" fmla="*/ 91978 w 250456"/>
                <a:gd name="connsiteY416" fmla="*/ 46637 h 405912"/>
                <a:gd name="connsiteX417" fmla="*/ 91978 w 250456"/>
                <a:gd name="connsiteY417" fmla="*/ 47069 h 405912"/>
                <a:gd name="connsiteX418" fmla="*/ 89819 w 250456"/>
                <a:gd name="connsiteY418" fmla="*/ 50091 h 405912"/>
                <a:gd name="connsiteX419" fmla="*/ 88092 w 250456"/>
                <a:gd name="connsiteY419" fmla="*/ 52682 h 405912"/>
                <a:gd name="connsiteX420" fmla="*/ 87660 w 250456"/>
                <a:gd name="connsiteY420" fmla="*/ 53114 h 405912"/>
                <a:gd name="connsiteX421" fmla="*/ 88092 w 250456"/>
                <a:gd name="connsiteY421" fmla="*/ 53546 h 405912"/>
                <a:gd name="connsiteX422" fmla="*/ 88955 w 250456"/>
                <a:gd name="connsiteY422" fmla="*/ 55273 h 405912"/>
                <a:gd name="connsiteX423" fmla="*/ 88955 w 250456"/>
                <a:gd name="connsiteY423" fmla="*/ 56137 h 405912"/>
                <a:gd name="connsiteX424" fmla="*/ 87660 w 250456"/>
                <a:gd name="connsiteY424" fmla="*/ 58296 h 405912"/>
                <a:gd name="connsiteX425" fmla="*/ 86796 w 250456"/>
                <a:gd name="connsiteY425" fmla="*/ 59592 h 405912"/>
                <a:gd name="connsiteX426" fmla="*/ 85501 w 250456"/>
                <a:gd name="connsiteY426" fmla="*/ 61751 h 405912"/>
                <a:gd name="connsiteX427" fmla="*/ 84637 w 250456"/>
                <a:gd name="connsiteY427" fmla="*/ 66501 h 405912"/>
                <a:gd name="connsiteX428" fmla="*/ 84205 w 250456"/>
                <a:gd name="connsiteY428" fmla="*/ 67364 h 405912"/>
                <a:gd name="connsiteX429" fmla="*/ 82910 w 250456"/>
                <a:gd name="connsiteY429" fmla="*/ 69523 h 405912"/>
                <a:gd name="connsiteX430" fmla="*/ 82910 w 250456"/>
                <a:gd name="connsiteY430" fmla="*/ 70387 h 405912"/>
                <a:gd name="connsiteX431" fmla="*/ 82046 w 250456"/>
                <a:gd name="connsiteY431" fmla="*/ 72114 h 405912"/>
                <a:gd name="connsiteX432" fmla="*/ 82046 w 250456"/>
                <a:gd name="connsiteY432" fmla="*/ 73842 h 405912"/>
                <a:gd name="connsiteX433" fmla="*/ 81183 w 250456"/>
                <a:gd name="connsiteY433" fmla="*/ 76001 h 405912"/>
                <a:gd name="connsiteX434" fmla="*/ 80319 w 250456"/>
                <a:gd name="connsiteY434" fmla="*/ 77728 h 405912"/>
                <a:gd name="connsiteX435" fmla="*/ 79887 w 250456"/>
                <a:gd name="connsiteY435" fmla="*/ 78160 h 405912"/>
                <a:gd name="connsiteX436" fmla="*/ 78592 w 250456"/>
                <a:gd name="connsiteY436" fmla="*/ 81614 h 405912"/>
                <a:gd name="connsiteX437" fmla="*/ 77296 w 250456"/>
                <a:gd name="connsiteY437" fmla="*/ 84205 h 405912"/>
                <a:gd name="connsiteX438" fmla="*/ 77728 w 250456"/>
                <a:gd name="connsiteY438" fmla="*/ 85933 h 405912"/>
                <a:gd name="connsiteX439" fmla="*/ 77728 w 250456"/>
                <a:gd name="connsiteY439" fmla="*/ 86364 h 405912"/>
                <a:gd name="connsiteX440" fmla="*/ 75569 w 250456"/>
                <a:gd name="connsiteY440" fmla="*/ 87660 h 405912"/>
                <a:gd name="connsiteX441" fmla="*/ 76001 w 250456"/>
                <a:gd name="connsiteY441" fmla="*/ 88524 h 405912"/>
                <a:gd name="connsiteX442" fmla="*/ 76864 w 250456"/>
                <a:gd name="connsiteY442" fmla="*/ 89387 h 405912"/>
                <a:gd name="connsiteX443" fmla="*/ 76433 w 250456"/>
                <a:gd name="connsiteY443" fmla="*/ 89819 h 405912"/>
                <a:gd name="connsiteX444" fmla="*/ 73842 w 250456"/>
                <a:gd name="connsiteY444" fmla="*/ 92842 h 405912"/>
                <a:gd name="connsiteX445" fmla="*/ 73410 w 250456"/>
                <a:gd name="connsiteY445" fmla="*/ 94569 h 405912"/>
                <a:gd name="connsiteX446" fmla="*/ 73842 w 250456"/>
                <a:gd name="connsiteY446" fmla="*/ 95433 h 405912"/>
                <a:gd name="connsiteX447" fmla="*/ 74705 w 250456"/>
                <a:gd name="connsiteY447" fmla="*/ 95001 h 405912"/>
                <a:gd name="connsiteX448" fmla="*/ 76864 w 250456"/>
                <a:gd name="connsiteY448" fmla="*/ 91978 h 405912"/>
                <a:gd name="connsiteX449" fmla="*/ 79023 w 250456"/>
                <a:gd name="connsiteY449" fmla="*/ 88955 h 405912"/>
                <a:gd name="connsiteX450" fmla="*/ 83342 w 250456"/>
                <a:gd name="connsiteY450" fmla="*/ 83774 h 405912"/>
                <a:gd name="connsiteX451" fmla="*/ 85501 w 250456"/>
                <a:gd name="connsiteY451" fmla="*/ 81614 h 405912"/>
                <a:gd name="connsiteX452" fmla="*/ 92842 w 250456"/>
                <a:gd name="connsiteY452" fmla="*/ 73842 h 405912"/>
                <a:gd name="connsiteX453" fmla="*/ 95865 w 250456"/>
                <a:gd name="connsiteY453" fmla="*/ 70819 h 405912"/>
                <a:gd name="connsiteX454" fmla="*/ 97160 w 250456"/>
                <a:gd name="connsiteY454" fmla="*/ 69955 h 405912"/>
                <a:gd name="connsiteX455" fmla="*/ 102342 w 250456"/>
                <a:gd name="connsiteY455" fmla="*/ 65205 h 405912"/>
                <a:gd name="connsiteX456" fmla="*/ 110546 w 250456"/>
                <a:gd name="connsiteY456" fmla="*/ 59592 h 405912"/>
                <a:gd name="connsiteX457" fmla="*/ 117456 w 250456"/>
                <a:gd name="connsiteY457" fmla="*/ 55705 h 405912"/>
                <a:gd name="connsiteX458" fmla="*/ 120478 w 250456"/>
                <a:gd name="connsiteY458" fmla="*/ 54410 h 405912"/>
                <a:gd name="connsiteX459" fmla="*/ 127819 w 250456"/>
                <a:gd name="connsiteY459" fmla="*/ 51819 h 405912"/>
                <a:gd name="connsiteX460" fmla="*/ 133865 w 250456"/>
                <a:gd name="connsiteY460" fmla="*/ 50523 h 405912"/>
                <a:gd name="connsiteX461" fmla="*/ 142070 w 250456"/>
                <a:gd name="connsiteY461" fmla="*/ 50523 h 405912"/>
                <a:gd name="connsiteX462" fmla="*/ 145092 w 250456"/>
                <a:gd name="connsiteY462" fmla="*/ 50955 h 405912"/>
                <a:gd name="connsiteX463" fmla="*/ 145956 w 250456"/>
                <a:gd name="connsiteY463" fmla="*/ 51387 h 405912"/>
                <a:gd name="connsiteX464" fmla="*/ 148547 w 250456"/>
                <a:gd name="connsiteY464" fmla="*/ 52251 h 405912"/>
                <a:gd name="connsiteX465" fmla="*/ 159342 w 250456"/>
                <a:gd name="connsiteY465" fmla="*/ 56137 h 405912"/>
                <a:gd name="connsiteX466" fmla="*/ 161501 w 250456"/>
                <a:gd name="connsiteY466" fmla="*/ 57001 h 405912"/>
                <a:gd name="connsiteX467" fmla="*/ 166252 w 250456"/>
                <a:gd name="connsiteY467" fmla="*/ 61319 h 405912"/>
                <a:gd name="connsiteX468" fmla="*/ 167547 w 250456"/>
                <a:gd name="connsiteY468" fmla="*/ 63046 h 405912"/>
                <a:gd name="connsiteX469" fmla="*/ 167979 w 250456"/>
                <a:gd name="connsiteY469" fmla="*/ 63478 h 405912"/>
                <a:gd name="connsiteX470" fmla="*/ 171002 w 250456"/>
                <a:gd name="connsiteY470" fmla="*/ 66932 h 405912"/>
                <a:gd name="connsiteX471" fmla="*/ 171865 w 250456"/>
                <a:gd name="connsiteY471" fmla="*/ 67796 h 405912"/>
                <a:gd name="connsiteX472" fmla="*/ 173161 w 250456"/>
                <a:gd name="connsiteY472" fmla="*/ 68660 h 405912"/>
                <a:gd name="connsiteX473" fmla="*/ 174456 w 250456"/>
                <a:gd name="connsiteY473" fmla="*/ 70387 h 405912"/>
                <a:gd name="connsiteX474" fmla="*/ 174888 w 250456"/>
                <a:gd name="connsiteY474" fmla="*/ 71251 h 405912"/>
                <a:gd name="connsiteX475" fmla="*/ 174888 w 250456"/>
                <a:gd name="connsiteY475" fmla="*/ 72978 h 405912"/>
                <a:gd name="connsiteX476" fmla="*/ 176615 w 250456"/>
                <a:gd name="connsiteY476" fmla="*/ 74273 h 405912"/>
                <a:gd name="connsiteX477" fmla="*/ 177911 w 250456"/>
                <a:gd name="connsiteY477" fmla="*/ 74273 h 405912"/>
                <a:gd name="connsiteX478" fmla="*/ 178774 w 250456"/>
                <a:gd name="connsiteY478" fmla="*/ 75569 h 405912"/>
                <a:gd name="connsiteX479" fmla="*/ 178774 w 250456"/>
                <a:gd name="connsiteY479" fmla="*/ 76001 h 405912"/>
                <a:gd name="connsiteX480" fmla="*/ 177479 w 250456"/>
                <a:gd name="connsiteY480" fmla="*/ 77728 h 405912"/>
                <a:gd name="connsiteX481" fmla="*/ 177911 w 250456"/>
                <a:gd name="connsiteY481" fmla="*/ 78592 h 405912"/>
                <a:gd name="connsiteX482" fmla="*/ 178774 w 250456"/>
                <a:gd name="connsiteY482" fmla="*/ 82910 h 405912"/>
                <a:gd name="connsiteX483" fmla="*/ 179206 w 250456"/>
                <a:gd name="connsiteY483" fmla="*/ 83774 h 405912"/>
                <a:gd name="connsiteX484" fmla="*/ 179638 w 250456"/>
                <a:gd name="connsiteY484" fmla="*/ 84637 h 405912"/>
                <a:gd name="connsiteX485" fmla="*/ 180933 w 250456"/>
                <a:gd name="connsiteY485" fmla="*/ 90251 h 405912"/>
                <a:gd name="connsiteX486" fmla="*/ 181365 w 250456"/>
                <a:gd name="connsiteY486" fmla="*/ 92410 h 405912"/>
                <a:gd name="connsiteX487" fmla="*/ 181365 w 250456"/>
                <a:gd name="connsiteY487" fmla="*/ 94137 h 405912"/>
                <a:gd name="connsiteX488" fmla="*/ 181797 w 250456"/>
                <a:gd name="connsiteY488" fmla="*/ 97592 h 405912"/>
                <a:gd name="connsiteX489" fmla="*/ 182661 w 250456"/>
                <a:gd name="connsiteY489" fmla="*/ 98456 h 405912"/>
                <a:gd name="connsiteX490" fmla="*/ 186547 w 250456"/>
                <a:gd name="connsiteY490" fmla="*/ 97160 h 405912"/>
                <a:gd name="connsiteX491" fmla="*/ 187843 w 250456"/>
                <a:gd name="connsiteY491" fmla="*/ 96728 h 405912"/>
                <a:gd name="connsiteX492" fmla="*/ 189138 w 250456"/>
                <a:gd name="connsiteY492" fmla="*/ 96728 h 405912"/>
                <a:gd name="connsiteX493" fmla="*/ 190002 w 250456"/>
                <a:gd name="connsiteY493" fmla="*/ 96296 h 405912"/>
                <a:gd name="connsiteX494" fmla="*/ 197343 w 250456"/>
                <a:gd name="connsiteY494" fmla="*/ 91978 h 405912"/>
                <a:gd name="connsiteX495" fmla="*/ 200797 w 250456"/>
                <a:gd name="connsiteY495" fmla="*/ 90683 h 405912"/>
                <a:gd name="connsiteX496" fmla="*/ 201229 w 250456"/>
                <a:gd name="connsiteY496" fmla="*/ 90683 h 405912"/>
                <a:gd name="connsiteX497" fmla="*/ 206411 w 250456"/>
                <a:gd name="connsiteY497" fmla="*/ 88524 h 405912"/>
                <a:gd name="connsiteX498" fmla="*/ 211161 w 250456"/>
                <a:gd name="connsiteY498" fmla="*/ 87228 h 405912"/>
                <a:gd name="connsiteX499" fmla="*/ 212457 w 250456"/>
                <a:gd name="connsiteY499" fmla="*/ 86796 h 405912"/>
                <a:gd name="connsiteX500" fmla="*/ 225843 w 250456"/>
                <a:gd name="connsiteY500" fmla="*/ 85069 h 405912"/>
                <a:gd name="connsiteX501" fmla="*/ 229298 w 250456"/>
                <a:gd name="connsiteY501" fmla="*/ 85069 h 405912"/>
                <a:gd name="connsiteX502" fmla="*/ 230161 w 250456"/>
                <a:gd name="connsiteY502" fmla="*/ 85501 h 405912"/>
                <a:gd name="connsiteX503" fmla="*/ 231025 w 250456"/>
                <a:gd name="connsiteY503" fmla="*/ 86364 h 405912"/>
                <a:gd name="connsiteX504" fmla="*/ 231457 w 250456"/>
                <a:gd name="connsiteY504" fmla="*/ 86364 h 405912"/>
                <a:gd name="connsiteX505" fmla="*/ 238798 w 250456"/>
                <a:gd name="connsiteY505" fmla="*/ 85933 h 405912"/>
                <a:gd name="connsiteX506" fmla="*/ 240093 w 250456"/>
                <a:gd name="connsiteY506" fmla="*/ 85933 h 405912"/>
                <a:gd name="connsiteX507" fmla="*/ 243116 w 250456"/>
                <a:gd name="connsiteY507" fmla="*/ 85501 h 405912"/>
                <a:gd name="connsiteX508" fmla="*/ 243548 w 250456"/>
                <a:gd name="connsiteY508" fmla="*/ 85933 h 405912"/>
                <a:gd name="connsiteX509" fmla="*/ 243116 w 250456"/>
                <a:gd name="connsiteY509" fmla="*/ 85933 h 405912"/>
                <a:gd name="connsiteX510" fmla="*/ 241820 w 250456"/>
                <a:gd name="connsiteY510" fmla="*/ 86796 h 405912"/>
                <a:gd name="connsiteX511" fmla="*/ 241820 w 250456"/>
                <a:gd name="connsiteY511" fmla="*/ 87228 h 405912"/>
                <a:gd name="connsiteX512" fmla="*/ 242252 w 250456"/>
                <a:gd name="connsiteY512" fmla="*/ 87660 h 405912"/>
                <a:gd name="connsiteX513" fmla="*/ 246139 w 250456"/>
                <a:gd name="connsiteY513" fmla="*/ 87228 h 405912"/>
                <a:gd name="connsiteX514" fmla="*/ 250025 w 250456"/>
                <a:gd name="connsiteY514" fmla="*/ 86796 h 405912"/>
                <a:gd name="connsiteX515" fmla="*/ 251752 w 250456"/>
                <a:gd name="connsiteY515" fmla="*/ 86796 h 405912"/>
                <a:gd name="connsiteX516" fmla="*/ 251321 w 250456"/>
                <a:gd name="connsiteY516" fmla="*/ 87228 h 405912"/>
                <a:gd name="connsiteX517" fmla="*/ 248730 w 250456"/>
                <a:gd name="connsiteY517" fmla="*/ 88092 h 405912"/>
                <a:gd name="connsiteX518" fmla="*/ 248298 w 250456"/>
                <a:gd name="connsiteY518" fmla="*/ 88524 h 405912"/>
                <a:gd name="connsiteX519" fmla="*/ 248730 w 250456"/>
                <a:gd name="connsiteY519" fmla="*/ 88955 h 405912"/>
                <a:gd name="connsiteX520" fmla="*/ 248298 w 250456"/>
                <a:gd name="connsiteY520" fmla="*/ 89819 h 405912"/>
                <a:gd name="connsiteX521" fmla="*/ 247866 w 250456"/>
                <a:gd name="connsiteY521" fmla="*/ 90251 h 405912"/>
                <a:gd name="connsiteX522" fmla="*/ 247866 w 250456"/>
                <a:gd name="connsiteY522" fmla="*/ 90683 h 405912"/>
                <a:gd name="connsiteX523" fmla="*/ 248298 w 250456"/>
                <a:gd name="connsiteY523" fmla="*/ 91114 h 405912"/>
                <a:gd name="connsiteX524" fmla="*/ 248730 w 250456"/>
                <a:gd name="connsiteY524" fmla="*/ 91114 h 405912"/>
                <a:gd name="connsiteX525" fmla="*/ 248298 w 250456"/>
                <a:gd name="connsiteY525" fmla="*/ 91546 h 405912"/>
                <a:gd name="connsiteX526" fmla="*/ 247434 w 250456"/>
                <a:gd name="connsiteY526" fmla="*/ 91978 h 405912"/>
                <a:gd name="connsiteX527" fmla="*/ 245275 w 250456"/>
                <a:gd name="connsiteY527" fmla="*/ 93274 h 405912"/>
                <a:gd name="connsiteX528" fmla="*/ 245275 w 250456"/>
                <a:gd name="connsiteY528" fmla="*/ 93705 h 405912"/>
                <a:gd name="connsiteX529" fmla="*/ 246139 w 250456"/>
                <a:gd name="connsiteY529" fmla="*/ 94569 h 405912"/>
                <a:gd name="connsiteX530" fmla="*/ 245707 w 250456"/>
                <a:gd name="connsiteY530" fmla="*/ 95865 h 405912"/>
                <a:gd name="connsiteX531" fmla="*/ 245707 w 250456"/>
                <a:gd name="connsiteY531" fmla="*/ 96296 h 405912"/>
                <a:gd name="connsiteX532" fmla="*/ 245275 w 250456"/>
                <a:gd name="connsiteY532" fmla="*/ 96728 h 405912"/>
                <a:gd name="connsiteX533" fmla="*/ 243548 w 250456"/>
                <a:gd name="connsiteY533" fmla="*/ 97160 h 405912"/>
                <a:gd name="connsiteX534" fmla="*/ 236207 w 250456"/>
                <a:gd name="connsiteY534" fmla="*/ 98024 h 405912"/>
                <a:gd name="connsiteX535" fmla="*/ 234479 w 250456"/>
                <a:gd name="connsiteY535" fmla="*/ 98024 h 405912"/>
                <a:gd name="connsiteX536" fmla="*/ 230593 w 250456"/>
                <a:gd name="connsiteY536" fmla="*/ 99319 h 405912"/>
                <a:gd name="connsiteX537" fmla="*/ 228434 w 250456"/>
                <a:gd name="connsiteY537" fmla="*/ 99751 h 405912"/>
                <a:gd name="connsiteX538" fmla="*/ 225843 w 250456"/>
                <a:gd name="connsiteY538" fmla="*/ 100183 h 405912"/>
                <a:gd name="connsiteX539" fmla="*/ 210729 w 250456"/>
                <a:gd name="connsiteY539" fmla="*/ 105796 h 405912"/>
                <a:gd name="connsiteX540" fmla="*/ 200365 w 250456"/>
                <a:gd name="connsiteY540" fmla="*/ 108387 h 405912"/>
                <a:gd name="connsiteX541" fmla="*/ 197343 w 250456"/>
                <a:gd name="connsiteY541" fmla="*/ 109683 h 405912"/>
                <a:gd name="connsiteX542" fmla="*/ 188706 w 250456"/>
                <a:gd name="connsiteY542" fmla="*/ 114433 h 405912"/>
                <a:gd name="connsiteX543" fmla="*/ 181365 w 250456"/>
                <a:gd name="connsiteY543" fmla="*/ 117888 h 405912"/>
                <a:gd name="connsiteX544" fmla="*/ 180502 w 250456"/>
                <a:gd name="connsiteY544" fmla="*/ 120047 h 405912"/>
                <a:gd name="connsiteX545" fmla="*/ 180933 w 250456"/>
                <a:gd name="connsiteY545" fmla="*/ 120478 h 405912"/>
                <a:gd name="connsiteX546" fmla="*/ 181797 w 250456"/>
                <a:gd name="connsiteY546" fmla="*/ 120910 h 405912"/>
                <a:gd name="connsiteX547" fmla="*/ 182229 w 250456"/>
                <a:gd name="connsiteY547" fmla="*/ 121774 h 405912"/>
                <a:gd name="connsiteX548" fmla="*/ 180933 w 250456"/>
                <a:gd name="connsiteY548" fmla="*/ 123069 h 405912"/>
                <a:gd name="connsiteX549" fmla="*/ 180502 w 250456"/>
                <a:gd name="connsiteY549" fmla="*/ 123501 h 405912"/>
                <a:gd name="connsiteX550" fmla="*/ 180933 w 250456"/>
                <a:gd name="connsiteY550" fmla="*/ 123933 h 405912"/>
                <a:gd name="connsiteX551" fmla="*/ 181365 w 250456"/>
                <a:gd name="connsiteY551" fmla="*/ 124365 h 405912"/>
                <a:gd name="connsiteX552" fmla="*/ 181797 w 250456"/>
                <a:gd name="connsiteY552" fmla="*/ 125228 h 405912"/>
                <a:gd name="connsiteX553" fmla="*/ 181365 w 250456"/>
                <a:gd name="connsiteY553" fmla="*/ 126092 h 405912"/>
                <a:gd name="connsiteX554" fmla="*/ 180502 w 250456"/>
                <a:gd name="connsiteY554" fmla="*/ 126092 h 405912"/>
                <a:gd name="connsiteX555" fmla="*/ 179638 w 250456"/>
                <a:gd name="connsiteY555" fmla="*/ 127388 h 405912"/>
                <a:gd name="connsiteX556" fmla="*/ 179638 w 250456"/>
                <a:gd name="connsiteY556" fmla="*/ 128251 h 405912"/>
                <a:gd name="connsiteX557" fmla="*/ 179206 w 250456"/>
                <a:gd name="connsiteY557" fmla="*/ 128683 h 405912"/>
                <a:gd name="connsiteX558" fmla="*/ 178774 w 250456"/>
                <a:gd name="connsiteY558" fmla="*/ 129547 h 405912"/>
                <a:gd name="connsiteX559" fmla="*/ 179206 w 250456"/>
                <a:gd name="connsiteY559" fmla="*/ 129978 h 405912"/>
                <a:gd name="connsiteX560" fmla="*/ 179638 w 250456"/>
                <a:gd name="connsiteY560" fmla="*/ 130842 h 405912"/>
                <a:gd name="connsiteX561" fmla="*/ 179638 w 250456"/>
                <a:gd name="connsiteY561" fmla="*/ 131274 h 405912"/>
                <a:gd name="connsiteX562" fmla="*/ 178343 w 250456"/>
                <a:gd name="connsiteY562" fmla="*/ 133001 h 405912"/>
                <a:gd name="connsiteX563" fmla="*/ 178343 w 250456"/>
                <a:gd name="connsiteY563" fmla="*/ 133865 h 405912"/>
                <a:gd name="connsiteX564" fmla="*/ 178774 w 250456"/>
                <a:gd name="connsiteY564" fmla="*/ 135160 h 405912"/>
                <a:gd name="connsiteX565" fmla="*/ 179638 w 250456"/>
                <a:gd name="connsiteY565" fmla="*/ 136024 h 405912"/>
                <a:gd name="connsiteX566" fmla="*/ 179206 w 250456"/>
                <a:gd name="connsiteY566" fmla="*/ 137320 h 405912"/>
                <a:gd name="connsiteX567" fmla="*/ 178774 w 250456"/>
                <a:gd name="connsiteY567" fmla="*/ 138183 h 405912"/>
                <a:gd name="connsiteX568" fmla="*/ 179206 w 250456"/>
                <a:gd name="connsiteY568" fmla="*/ 139910 h 405912"/>
                <a:gd name="connsiteX569" fmla="*/ 176615 w 250456"/>
                <a:gd name="connsiteY569" fmla="*/ 144660 h 405912"/>
                <a:gd name="connsiteX570" fmla="*/ 176183 w 250456"/>
                <a:gd name="connsiteY570" fmla="*/ 145092 h 405912"/>
                <a:gd name="connsiteX571" fmla="*/ 176615 w 250456"/>
                <a:gd name="connsiteY571" fmla="*/ 145524 h 405912"/>
                <a:gd name="connsiteX572" fmla="*/ 176183 w 250456"/>
                <a:gd name="connsiteY572" fmla="*/ 146820 h 405912"/>
                <a:gd name="connsiteX573" fmla="*/ 175320 w 250456"/>
                <a:gd name="connsiteY573" fmla="*/ 147683 h 405912"/>
                <a:gd name="connsiteX574" fmla="*/ 174888 w 250456"/>
                <a:gd name="connsiteY574" fmla="*/ 147683 h 405912"/>
                <a:gd name="connsiteX575" fmla="*/ 173161 w 250456"/>
                <a:gd name="connsiteY575" fmla="*/ 148979 h 405912"/>
                <a:gd name="connsiteX576" fmla="*/ 173161 w 250456"/>
                <a:gd name="connsiteY576" fmla="*/ 150706 h 405912"/>
                <a:gd name="connsiteX577" fmla="*/ 171865 w 250456"/>
                <a:gd name="connsiteY577" fmla="*/ 152433 h 405912"/>
                <a:gd name="connsiteX578" fmla="*/ 171865 w 250456"/>
                <a:gd name="connsiteY578" fmla="*/ 152865 h 405912"/>
                <a:gd name="connsiteX579" fmla="*/ 172297 w 250456"/>
                <a:gd name="connsiteY579" fmla="*/ 153729 h 405912"/>
                <a:gd name="connsiteX580" fmla="*/ 171433 w 250456"/>
                <a:gd name="connsiteY580" fmla="*/ 154592 h 405912"/>
                <a:gd name="connsiteX581" fmla="*/ 171433 w 250456"/>
                <a:gd name="connsiteY581" fmla="*/ 155024 h 405912"/>
                <a:gd name="connsiteX582" fmla="*/ 172297 w 250456"/>
                <a:gd name="connsiteY582" fmla="*/ 155456 h 405912"/>
                <a:gd name="connsiteX583" fmla="*/ 172729 w 250456"/>
                <a:gd name="connsiteY583" fmla="*/ 155024 h 405912"/>
                <a:gd name="connsiteX584" fmla="*/ 173161 w 250456"/>
                <a:gd name="connsiteY584" fmla="*/ 153729 h 405912"/>
                <a:gd name="connsiteX585" fmla="*/ 173593 w 250456"/>
                <a:gd name="connsiteY585" fmla="*/ 153297 h 405912"/>
                <a:gd name="connsiteX586" fmla="*/ 174456 w 250456"/>
                <a:gd name="connsiteY586" fmla="*/ 154161 h 405912"/>
                <a:gd name="connsiteX587" fmla="*/ 174024 w 250456"/>
                <a:gd name="connsiteY587" fmla="*/ 156320 h 405912"/>
                <a:gd name="connsiteX588" fmla="*/ 171865 w 250456"/>
                <a:gd name="connsiteY588" fmla="*/ 158911 h 405912"/>
                <a:gd name="connsiteX589" fmla="*/ 171433 w 250456"/>
                <a:gd name="connsiteY589" fmla="*/ 159342 h 405912"/>
                <a:gd name="connsiteX590" fmla="*/ 171865 w 250456"/>
                <a:gd name="connsiteY590" fmla="*/ 160206 h 405912"/>
                <a:gd name="connsiteX591" fmla="*/ 171433 w 250456"/>
                <a:gd name="connsiteY591" fmla="*/ 160638 h 405912"/>
                <a:gd name="connsiteX592" fmla="*/ 170138 w 250456"/>
                <a:gd name="connsiteY592" fmla="*/ 161933 h 405912"/>
                <a:gd name="connsiteX593" fmla="*/ 169706 w 250456"/>
                <a:gd name="connsiteY593" fmla="*/ 162797 h 405912"/>
                <a:gd name="connsiteX594" fmla="*/ 170138 w 250456"/>
                <a:gd name="connsiteY594" fmla="*/ 163661 h 405912"/>
                <a:gd name="connsiteX595" fmla="*/ 169274 w 250456"/>
                <a:gd name="connsiteY595" fmla="*/ 163661 h 405912"/>
                <a:gd name="connsiteX596" fmla="*/ 168411 w 250456"/>
                <a:gd name="connsiteY596" fmla="*/ 164092 h 405912"/>
                <a:gd name="connsiteX597" fmla="*/ 167979 w 250456"/>
                <a:gd name="connsiteY597" fmla="*/ 164524 h 405912"/>
                <a:gd name="connsiteX598" fmla="*/ 168842 w 250456"/>
                <a:gd name="connsiteY598" fmla="*/ 164956 h 405912"/>
                <a:gd name="connsiteX599" fmla="*/ 170138 w 250456"/>
                <a:gd name="connsiteY599" fmla="*/ 163661 h 405912"/>
                <a:gd name="connsiteX600" fmla="*/ 170570 w 250456"/>
                <a:gd name="connsiteY600" fmla="*/ 164092 h 405912"/>
                <a:gd name="connsiteX601" fmla="*/ 170138 w 250456"/>
                <a:gd name="connsiteY601" fmla="*/ 166683 h 405912"/>
                <a:gd name="connsiteX602" fmla="*/ 170138 w 250456"/>
                <a:gd name="connsiteY602" fmla="*/ 167115 h 405912"/>
                <a:gd name="connsiteX603" fmla="*/ 169274 w 250456"/>
                <a:gd name="connsiteY603" fmla="*/ 167979 h 405912"/>
                <a:gd name="connsiteX604" fmla="*/ 168411 w 250456"/>
                <a:gd name="connsiteY604" fmla="*/ 168842 h 405912"/>
                <a:gd name="connsiteX605" fmla="*/ 167979 w 250456"/>
                <a:gd name="connsiteY605" fmla="*/ 170138 h 405912"/>
                <a:gd name="connsiteX606" fmla="*/ 166683 w 250456"/>
                <a:gd name="connsiteY606" fmla="*/ 171433 h 405912"/>
                <a:gd name="connsiteX607" fmla="*/ 164956 w 250456"/>
                <a:gd name="connsiteY607" fmla="*/ 171433 h 405912"/>
                <a:gd name="connsiteX608" fmla="*/ 164524 w 250456"/>
                <a:gd name="connsiteY608" fmla="*/ 171433 h 405912"/>
                <a:gd name="connsiteX609" fmla="*/ 164956 w 250456"/>
                <a:gd name="connsiteY609" fmla="*/ 171865 h 405912"/>
                <a:gd name="connsiteX610" fmla="*/ 166683 w 250456"/>
                <a:gd name="connsiteY610" fmla="*/ 172729 h 405912"/>
                <a:gd name="connsiteX611" fmla="*/ 166683 w 250456"/>
                <a:gd name="connsiteY611" fmla="*/ 173593 h 405912"/>
                <a:gd name="connsiteX612" fmla="*/ 165388 w 250456"/>
                <a:gd name="connsiteY612" fmla="*/ 175752 h 405912"/>
                <a:gd name="connsiteX613" fmla="*/ 164524 w 250456"/>
                <a:gd name="connsiteY613" fmla="*/ 177047 h 405912"/>
                <a:gd name="connsiteX614" fmla="*/ 164524 w 250456"/>
                <a:gd name="connsiteY614" fmla="*/ 177479 h 405912"/>
                <a:gd name="connsiteX615" fmla="*/ 164092 w 250456"/>
                <a:gd name="connsiteY615" fmla="*/ 178343 h 405912"/>
                <a:gd name="connsiteX616" fmla="*/ 162797 w 250456"/>
                <a:gd name="connsiteY616" fmla="*/ 179638 h 405912"/>
                <a:gd name="connsiteX617" fmla="*/ 162365 w 250456"/>
                <a:gd name="connsiteY617" fmla="*/ 180070 h 405912"/>
                <a:gd name="connsiteX618" fmla="*/ 160638 w 250456"/>
                <a:gd name="connsiteY618" fmla="*/ 183956 h 405912"/>
                <a:gd name="connsiteX619" fmla="*/ 158911 w 250456"/>
                <a:gd name="connsiteY619" fmla="*/ 186547 h 405912"/>
                <a:gd name="connsiteX620" fmla="*/ 158047 w 250456"/>
                <a:gd name="connsiteY620" fmla="*/ 188706 h 405912"/>
                <a:gd name="connsiteX621" fmla="*/ 155888 w 250456"/>
                <a:gd name="connsiteY621" fmla="*/ 192593 h 405912"/>
                <a:gd name="connsiteX622" fmla="*/ 155024 w 250456"/>
                <a:gd name="connsiteY622" fmla="*/ 193888 h 405912"/>
                <a:gd name="connsiteX623" fmla="*/ 151570 w 250456"/>
                <a:gd name="connsiteY623" fmla="*/ 199070 h 405912"/>
                <a:gd name="connsiteX624" fmla="*/ 151570 w 250456"/>
                <a:gd name="connsiteY624" fmla="*/ 199934 h 405912"/>
                <a:gd name="connsiteX625" fmla="*/ 148979 w 250456"/>
                <a:gd name="connsiteY625" fmla="*/ 202525 h 405912"/>
                <a:gd name="connsiteX626" fmla="*/ 146820 w 250456"/>
                <a:gd name="connsiteY626" fmla="*/ 205547 h 405912"/>
                <a:gd name="connsiteX627" fmla="*/ 143797 w 250456"/>
                <a:gd name="connsiteY627" fmla="*/ 209002 h 405912"/>
                <a:gd name="connsiteX628" fmla="*/ 142933 w 250456"/>
                <a:gd name="connsiteY628" fmla="*/ 209866 h 405912"/>
                <a:gd name="connsiteX629" fmla="*/ 138615 w 250456"/>
                <a:gd name="connsiteY629" fmla="*/ 215047 h 405912"/>
                <a:gd name="connsiteX630" fmla="*/ 137319 w 250456"/>
                <a:gd name="connsiteY630" fmla="*/ 216343 h 405912"/>
                <a:gd name="connsiteX631" fmla="*/ 132138 w 250456"/>
                <a:gd name="connsiteY631" fmla="*/ 221957 h 405912"/>
                <a:gd name="connsiteX632" fmla="*/ 130842 w 250456"/>
                <a:gd name="connsiteY632" fmla="*/ 223252 h 405912"/>
                <a:gd name="connsiteX633" fmla="*/ 126092 w 250456"/>
                <a:gd name="connsiteY633" fmla="*/ 226707 h 405912"/>
                <a:gd name="connsiteX634" fmla="*/ 120910 w 250456"/>
                <a:gd name="connsiteY634" fmla="*/ 231457 h 405912"/>
                <a:gd name="connsiteX635" fmla="*/ 120478 w 250456"/>
                <a:gd name="connsiteY635" fmla="*/ 232320 h 405912"/>
                <a:gd name="connsiteX636" fmla="*/ 118751 w 250456"/>
                <a:gd name="connsiteY636" fmla="*/ 233184 h 405912"/>
                <a:gd name="connsiteX637" fmla="*/ 117456 w 250456"/>
                <a:gd name="connsiteY637" fmla="*/ 234479 h 405912"/>
                <a:gd name="connsiteX638" fmla="*/ 114865 w 250456"/>
                <a:gd name="connsiteY638" fmla="*/ 236207 h 405912"/>
                <a:gd name="connsiteX639" fmla="*/ 111842 w 250456"/>
                <a:gd name="connsiteY639" fmla="*/ 238798 h 405912"/>
                <a:gd name="connsiteX640" fmla="*/ 110115 w 250456"/>
                <a:gd name="connsiteY640" fmla="*/ 240093 h 405912"/>
                <a:gd name="connsiteX641" fmla="*/ 107956 w 250456"/>
                <a:gd name="connsiteY641" fmla="*/ 242684 h 405912"/>
                <a:gd name="connsiteX642" fmla="*/ 106660 w 250456"/>
                <a:gd name="connsiteY642" fmla="*/ 244411 h 405912"/>
                <a:gd name="connsiteX643" fmla="*/ 104501 w 250456"/>
                <a:gd name="connsiteY643" fmla="*/ 246139 h 405912"/>
                <a:gd name="connsiteX644" fmla="*/ 101478 w 250456"/>
                <a:gd name="connsiteY644" fmla="*/ 247002 h 405912"/>
                <a:gd name="connsiteX645" fmla="*/ 100615 w 250456"/>
                <a:gd name="connsiteY645" fmla="*/ 247002 h 405912"/>
                <a:gd name="connsiteX646" fmla="*/ 100615 w 250456"/>
                <a:gd name="connsiteY646" fmla="*/ 247434 h 405912"/>
                <a:gd name="connsiteX647" fmla="*/ 99319 w 250456"/>
                <a:gd name="connsiteY647" fmla="*/ 248298 h 405912"/>
                <a:gd name="connsiteX648" fmla="*/ 98024 w 250456"/>
                <a:gd name="connsiteY648" fmla="*/ 249161 h 405912"/>
                <a:gd name="connsiteX649" fmla="*/ 95001 w 250456"/>
                <a:gd name="connsiteY649" fmla="*/ 250457 h 405912"/>
                <a:gd name="connsiteX650" fmla="*/ 92842 w 250456"/>
                <a:gd name="connsiteY650" fmla="*/ 250457 h 405912"/>
                <a:gd name="connsiteX651" fmla="*/ 92410 w 250456"/>
                <a:gd name="connsiteY651" fmla="*/ 250889 h 405912"/>
                <a:gd name="connsiteX652" fmla="*/ 91978 w 250456"/>
                <a:gd name="connsiteY652" fmla="*/ 251321 h 405912"/>
                <a:gd name="connsiteX653" fmla="*/ 91546 w 250456"/>
                <a:gd name="connsiteY653" fmla="*/ 251321 h 405912"/>
                <a:gd name="connsiteX654" fmla="*/ 91978 w 250456"/>
                <a:gd name="connsiteY654" fmla="*/ 251752 h 405912"/>
                <a:gd name="connsiteX655" fmla="*/ 92410 w 250456"/>
                <a:gd name="connsiteY655" fmla="*/ 251752 h 405912"/>
                <a:gd name="connsiteX656" fmla="*/ 91978 w 250456"/>
                <a:gd name="connsiteY656" fmla="*/ 252616 h 405912"/>
                <a:gd name="connsiteX657" fmla="*/ 87660 w 250456"/>
                <a:gd name="connsiteY657" fmla="*/ 253480 h 405912"/>
                <a:gd name="connsiteX658" fmla="*/ 85933 w 250456"/>
                <a:gd name="connsiteY658" fmla="*/ 253480 h 405912"/>
                <a:gd name="connsiteX659" fmla="*/ 82478 w 250456"/>
                <a:gd name="connsiteY659" fmla="*/ 252616 h 405912"/>
                <a:gd name="connsiteX660" fmla="*/ 80751 w 250456"/>
                <a:gd name="connsiteY660" fmla="*/ 253048 h 405912"/>
                <a:gd name="connsiteX661" fmla="*/ 78592 w 250456"/>
                <a:gd name="connsiteY661" fmla="*/ 253911 h 405912"/>
                <a:gd name="connsiteX662" fmla="*/ 75569 w 250456"/>
                <a:gd name="connsiteY662" fmla="*/ 253911 h 405912"/>
                <a:gd name="connsiteX663" fmla="*/ 72114 w 250456"/>
                <a:gd name="connsiteY663" fmla="*/ 255207 h 405912"/>
                <a:gd name="connsiteX664" fmla="*/ 67364 w 250456"/>
                <a:gd name="connsiteY664" fmla="*/ 257366 h 405912"/>
                <a:gd name="connsiteX665" fmla="*/ 63910 w 250456"/>
                <a:gd name="connsiteY665" fmla="*/ 257798 h 405912"/>
                <a:gd name="connsiteX666" fmla="*/ 60455 w 250456"/>
                <a:gd name="connsiteY666" fmla="*/ 256502 h 405912"/>
                <a:gd name="connsiteX667" fmla="*/ 59591 w 250456"/>
                <a:gd name="connsiteY667" fmla="*/ 256071 h 405912"/>
                <a:gd name="connsiteX668" fmla="*/ 58296 w 250456"/>
                <a:gd name="connsiteY668" fmla="*/ 256071 h 405912"/>
                <a:gd name="connsiteX669" fmla="*/ 57001 w 250456"/>
                <a:gd name="connsiteY669" fmla="*/ 253911 h 405912"/>
                <a:gd name="connsiteX670" fmla="*/ 57432 w 250456"/>
                <a:gd name="connsiteY670" fmla="*/ 252184 h 405912"/>
                <a:gd name="connsiteX671" fmla="*/ 57864 w 250456"/>
                <a:gd name="connsiteY671" fmla="*/ 249593 h 405912"/>
                <a:gd name="connsiteX672" fmla="*/ 57864 w 250456"/>
                <a:gd name="connsiteY672" fmla="*/ 246139 h 405912"/>
                <a:gd name="connsiteX673" fmla="*/ 58296 w 250456"/>
                <a:gd name="connsiteY673" fmla="*/ 243116 h 405912"/>
                <a:gd name="connsiteX674" fmla="*/ 58296 w 250456"/>
                <a:gd name="connsiteY674" fmla="*/ 242684 h 405912"/>
                <a:gd name="connsiteX675" fmla="*/ 58728 w 250456"/>
                <a:gd name="connsiteY675" fmla="*/ 239661 h 405912"/>
                <a:gd name="connsiteX676" fmla="*/ 59160 w 250456"/>
                <a:gd name="connsiteY676" fmla="*/ 238366 h 405912"/>
                <a:gd name="connsiteX677" fmla="*/ 60455 w 250456"/>
                <a:gd name="connsiteY677" fmla="*/ 234911 h 405912"/>
                <a:gd name="connsiteX678" fmla="*/ 61319 w 250456"/>
                <a:gd name="connsiteY678" fmla="*/ 234048 h 405912"/>
                <a:gd name="connsiteX679" fmla="*/ 61319 w 250456"/>
                <a:gd name="connsiteY679" fmla="*/ 233184 h 405912"/>
                <a:gd name="connsiteX680" fmla="*/ 60455 w 250456"/>
                <a:gd name="connsiteY680" fmla="*/ 231457 h 405912"/>
                <a:gd name="connsiteX681" fmla="*/ 60887 w 250456"/>
                <a:gd name="connsiteY681" fmla="*/ 230593 h 405912"/>
                <a:gd name="connsiteX682" fmla="*/ 61751 w 250456"/>
                <a:gd name="connsiteY682" fmla="*/ 228434 h 405912"/>
                <a:gd name="connsiteX683" fmla="*/ 62182 w 250456"/>
                <a:gd name="connsiteY683" fmla="*/ 228002 h 405912"/>
                <a:gd name="connsiteX684" fmla="*/ 63478 w 250456"/>
                <a:gd name="connsiteY684" fmla="*/ 225843 h 405912"/>
                <a:gd name="connsiteX685" fmla="*/ 64342 w 250456"/>
                <a:gd name="connsiteY685" fmla="*/ 224979 h 405912"/>
                <a:gd name="connsiteX686" fmla="*/ 63910 w 250456"/>
                <a:gd name="connsiteY686" fmla="*/ 224547 h 405912"/>
                <a:gd name="connsiteX687" fmla="*/ 63046 w 250456"/>
                <a:gd name="connsiteY687" fmla="*/ 223252 h 405912"/>
                <a:gd name="connsiteX688" fmla="*/ 63478 w 250456"/>
                <a:gd name="connsiteY688" fmla="*/ 221957 h 405912"/>
                <a:gd name="connsiteX689" fmla="*/ 64773 w 250456"/>
                <a:gd name="connsiteY689" fmla="*/ 219798 h 405912"/>
                <a:gd name="connsiteX690" fmla="*/ 66069 w 250456"/>
                <a:gd name="connsiteY690" fmla="*/ 218502 h 405912"/>
                <a:gd name="connsiteX691" fmla="*/ 67364 w 250456"/>
                <a:gd name="connsiteY691" fmla="*/ 218502 h 405912"/>
                <a:gd name="connsiteX692" fmla="*/ 67796 w 250456"/>
                <a:gd name="connsiteY692" fmla="*/ 217207 h 405912"/>
                <a:gd name="connsiteX693" fmla="*/ 66932 w 250456"/>
                <a:gd name="connsiteY693" fmla="*/ 216343 h 405912"/>
                <a:gd name="connsiteX694" fmla="*/ 66501 w 250456"/>
                <a:gd name="connsiteY694" fmla="*/ 216343 h 405912"/>
                <a:gd name="connsiteX695" fmla="*/ 66069 w 250456"/>
                <a:gd name="connsiteY695" fmla="*/ 215911 h 405912"/>
                <a:gd name="connsiteX696" fmla="*/ 66501 w 250456"/>
                <a:gd name="connsiteY696" fmla="*/ 215047 h 405912"/>
                <a:gd name="connsiteX697" fmla="*/ 66932 w 250456"/>
                <a:gd name="connsiteY697" fmla="*/ 214616 h 405912"/>
                <a:gd name="connsiteX698" fmla="*/ 68660 w 250456"/>
                <a:gd name="connsiteY698" fmla="*/ 212457 h 405912"/>
                <a:gd name="connsiteX699" fmla="*/ 69523 w 250456"/>
                <a:gd name="connsiteY699" fmla="*/ 212888 h 405912"/>
                <a:gd name="connsiteX700" fmla="*/ 69955 w 250456"/>
                <a:gd name="connsiteY700" fmla="*/ 212888 h 405912"/>
                <a:gd name="connsiteX701" fmla="*/ 71682 w 250456"/>
                <a:gd name="connsiteY701" fmla="*/ 214616 h 405912"/>
                <a:gd name="connsiteX702" fmla="*/ 72546 w 250456"/>
                <a:gd name="connsiteY702" fmla="*/ 213752 h 405912"/>
                <a:gd name="connsiteX703" fmla="*/ 72978 w 250456"/>
                <a:gd name="connsiteY703" fmla="*/ 213320 h 405912"/>
                <a:gd name="connsiteX704" fmla="*/ 72546 w 250456"/>
                <a:gd name="connsiteY704" fmla="*/ 212888 h 405912"/>
                <a:gd name="connsiteX705" fmla="*/ 70387 w 250456"/>
                <a:gd name="connsiteY705" fmla="*/ 212025 h 405912"/>
                <a:gd name="connsiteX706" fmla="*/ 70819 w 250456"/>
                <a:gd name="connsiteY706" fmla="*/ 210729 h 405912"/>
                <a:gd name="connsiteX707" fmla="*/ 71251 w 250456"/>
                <a:gd name="connsiteY707" fmla="*/ 208138 h 405912"/>
                <a:gd name="connsiteX708" fmla="*/ 72978 w 250456"/>
                <a:gd name="connsiteY708" fmla="*/ 205547 h 405912"/>
                <a:gd name="connsiteX709" fmla="*/ 73842 w 250456"/>
                <a:gd name="connsiteY709" fmla="*/ 202525 h 405912"/>
                <a:gd name="connsiteX710" fmla="*/ 75569 w 250456"/>
                <a:gd name="connsiteY710" fmla="*/ 199934 h 405912"/>
                <a:gd name="connsiteX711" fmla="*/ 76433 w 250456"/>
                <a:gd name="connsiteY711" fmla="*/ 199070 h 405912"/>
                <a:gd name="connsiteX712" fmla="*/ 77296 w 250456"/>
                <a:gd name="connsiteY712" fmla="*/ 197775 h 405912"/>
                <a:gd name="connsiteX713" fmla="*/ 77728 w 250456"/>
                <a:gd name="connsiteY713" fmla="*/ 196911 h 405912"/>
                <a:gd name="connsiteX714" fmla="*/ 77296 w 250456"/>
                <a:gd name="connsiteY714" fmla="*/ 195615 h 405912"/>
                <a:gd name="connsiteX715" fmla="*/ 77296 w 250456"/>
                <a:gd name="connsiteY715" fmla="*/ 195184 h 405912"/>
                <a:gd name="connsiteX716" fmla="*/ 77728 w 250456"/>
                <a:gd name="connsiteY716" fmla="*/ 194752 h 405912"/>
                <a:gd name="connsiteX717" fmla="*/ 79455 w 250456"/>
                <a:gd name="connsiteY717" fmla="*/ 194752 h 405912"/>
                <a:gd name="connsiteX718" fmla="*/ 80319 w 250456"/>
                <a:gd name="connsiteY718" fmla="*/ 193456 h 405912"/>
                <a:gd name="connsiteX719" fmla="*/ 79887 w 250456"/>
                <a:gd name="connsiteY719" fmla="*/ 192593 h 405912"/>
                <a:gd name="connsiteX720" fmla="*/ 80319 w 250456"/>
                <a:gd name="connsiteY720" fmla="*/ 191729 h 405912"/>
                <a:gd name="connsiteX721" fmla="*/ 82046 w 250456"/>
                <a:gd name="connsiteY721" fmla="*/ 190002 h 405912"/>
                <a:gd name="connsiteX722" fmla="*/ 82478 w 250456"/>
                <a:gd name="connsiteY722" fmla="*/ 189570 h 405912"/>
                <a:gd name="connsiteX723" fmla="*/ 82046 w 250456"/>
                <a:gd name="connsiteY723" fmla="*/ 188706 h 405912"/>
                <a:gd name="connsiteX724" fmla="*/ 82478 w 250456"/>
                <a:gd name="connsiteY724" fmla="*/ 187843 h 405912"/>
                <a:gd name="connsiteX725" fmla="*/ 84205 w 250456"/>
                <a:gd name="connsiteY725" fmla="*/ 187411 h 405912"/>
                <a:gd name="connsiteX726" fmla="*/ 84637 w 250456"/>
                <a:gd name="connsiteY726" fmla="*/ 187411 h 405912"/>
                <a:gd name="connsiteX727" fmla="*/ 84637 w 250456"/>
                <a:gd name="connsiteY727" fmla="*/ 186979 h 405912"/>
                <a:gd name="connsiteX728" fmla="*/ 85501 w 250456"/>
                <a:gd name="connsiteY728" fmla="*/ 185252 h 405912"/>
                <a:gd name="connsiteX729" fmla="*/ 88524 w 250456"/>
                <a:gd name="connsiteY729" fmla="*/ 182229 h 405912"/>
                <a:gd name="connsiteX730" fmla="*/ 88955 w 250456"/>
                <a:gd name="connsiteY730" fmla="*/ 180934 h 405912"/>
                <a:gd name="connsiteX731" fmla="*/ 88524 w 250456"/>
                <a:gd name="connsiteY731" fmla="*/ 180070 h 405912"/>
                <a:gd name="connsiteX732" fmla="*/ 89819 w 250456"/>
                <a:gd name="connsiteY732" fmla="*/ 179206 h 405912"/>
                <a:gd name="connsiteX733" fmla="*/ 90251 w 250456"/>
                <a:gd name="connsiteY733" fmla="*/ 178774 h 405912"/>
                <a:gd name="connsiteX734" fmla="*/ 91546 w 250456"/>
                <a:gd name="connsiteY734" fmla="*/ 177911 h 405912"/>
                <a:gd name="connsiteX735" fmla="*/ 92410 w 250456"/>
                <a:gd name="connsiteY735" fmla="*/ 176615 h 405912"/>
                <a:gd name="connsiteX736" fmla="*/ 95001 w 250456"/>
                <a:gd name="connsiteY736" fmla="*/ 174024 h 405912"/>
                <a:gd name="connsiteX737" fmla="*/ 97160 w 250456"/>
                <a:gd name="connsiteY737" fmla="*/ 171002 h 405912"/>
                <a:gd name="connsiteX738" fmla="*/ 98455 w 250456"/>
                <a:gd name="connsiteY738" fmla="*/ 168411 h 405912"/>
                <a:gd name="connsiteX739" fmla="*/ 98887 w 250456"/>
                <a:gd name="connsiteY739" fmla="*/ 167979 h 405912"/>
                <a:gd name="connsiteX740" fmla="*/ 100615 w 250456"/>
                <a:gd name="connsiteY740" fmla="*/ 165820 h 405912"/>
                <a:gd name="connsiteX741" fmla="*/ 101910 w 250456"/>
                <a:gd name="connsiteY741" fmla="*/ 164524 h 405912"/>
                <a:gd name="connsiteX742" fmla="*/ 104069 w 250456"/>
                <a:gd name="connsiteY742" fmla="*/ 161933 h 405912"/>
                <a:gd name="connsiteX743" fmla="*/ 105796 w 250456"/>
                <a:gd name="connsiteY743" fmla="*/ 159342 h 405912"/>
                <a:gd name="connsiteX744" fmla="*/ 106660 w 250456"/>
                <a:gd name="connsiteY744" fmla="*/ 158479 h 405912"/>
                <a:gd name="connsiteX745" fmla="*/ 107956 w 250456"/>
                <a:gd name="connsiteY745" fmla="*/ 158047 h 405912"/>
                <a:gd name="connsiteX746" fmla="*/ 108819 w 250456"/>
                <a:gd name="connsiteY746" fmla="*/ 157183 h 405912"/>
                <a:gd name="connsiteX747" fmla="*/ 110978 w 250456"/>
                <a:gd name="connsiteY747" fmla="*/ 153729 h 405912"/>
                <a:gd name="connsiteX748" fmla="*/ 114001 w 250456"/>
                <a:gd name="connsiteY748" fmla="*/ 150274 h 405912"/>
                <a:gd name="connsiteX749" fmla="*/ 115728 w 250456"/>
                <a:gd name="connsiteY749" fmla="*/ 147251 h 405912"/>
                <a:gd name="connsiteX750" fmla="*/ 117887 w 250456"/>
                <a:gd name="connsiteY750" fmla="*/ 145956 h 405912"/>
                <a:gd name="connsiteX751" fmla="*/ 119615 w 250456"/>
                <a:gd name="connsiteY751" fmla="*/ 143797 h 405912"/>
                <a:gd name="connsiteX752" fmla="*/ 120910 w 250456"/>
                <a:gd name="connsiteY752" fmla="*/ 142933 h 405912"/>
                <a:gd name="connsiteX753" fmla="*/ 122206 w 250456"/>
                <a:gd name="connsiteY753" fmla="*/ 142070 h 405912"/>
                <a:gd name="connsiteX754" fmla="*/ 123933 w 250456"/>
                <a:gd name="connsiteY754" fmla="*/ 140774 h 405912"/>
                <a:gd name="connsiteX755" fmla="*/ 124365 w 250456"/>
                <a:gd name="connsiteY755" fmla="*/ 139910 h 405912"/>
                <a:gd name="connsiteX756" fmla="*/ 126092 w 250456"/>
                <a:gd name="connsiteY756" fmla="*/ 137320 h 405912"/>
                <a:gd name="connsiteX757" fmla="*/ 128683 w 250456"/>
                <a:gd name="connsiteY757" fmla="*/ 133865 h 405912"/>
                <a:gd name="connsiteX758" fmla="*/ 129115 w 250456"/>
                <a:gd name="connsiteY758" fmla="*/ 133433 h 405912"/>
                <a:gd name="connsiteX759" fmla="*/ 132138 w 250456"/>
                <a:gd name="connsiteY759" fmla="*/ 131706 h 405912"/>
                <a:gd name="connsiteX760" fmla="*/ 134729 w 250456"/>
                <a:gd name="connsiteY760" fmla="*/ 129978 h 405912"/>
                <a:gd name="connsiteX761" fmla="*/ 137751 w 250456"/>
                <a:gd name="connsiteY761" fmla="*/ 126956 h 405912"/>
                <a:gd name="connsiteX762" fmla="*/ 146388 w 250456"/>
                <a:gd name="connsiteY762" fmla="*/ 120910 h 405912"/>
                <a:gd name="connsiteX763" fmla="*/ 149410 w 250456"/>
                <a:gd name="connsiteY763" fmla="*/ 118751 h 405912"/>
                <a:gd name="connsiteX764" fmla="*/ 151138 w 250456"/>
                <a:gd name="connsiteY764" fmla="*/ 117456 h 405912"/>
                <a:gd name="connsiteX765" fmla="*/ 152865 w 250456"/>
                <a:gd name="connsiteY765" fmla="*/ 116160 h 405912"/>
                <a:gd name="connsiteX766" fmla="*/ 154592 w 250456"/>
                <a:gd name="connsiteY766" fmla="*/ 114001 h 405912"/>
                <a:gd name="connsiteX767" fmla="*/ 155024 w 250456"/>
                <a:gd name="connsiteY767" fmla="*/ 109683 h 405912"/>
                <a:gd name="connsiteX768" fmla="*/ 155024 w 250456"/>
                <a:gd name="connsiteY768" fmla="*/ 108819 h 405912"/>
                <a:gd name="connsiteX769" fmla="*/ 154592 w 250456"/>
                <a:gd name="connsiteY769" fmla="*/ 107956 h 405912"/>
                <a:gd name="connsiteX770" fmla="*/ 155024 w 250456"/>
                <a:gd name="connsiteY770" fmla="*/ 107092 h 405912"/>
                <a:gd name="connsiteX771" fmla="*/ 154592 w 250456"/>
                <a:gd name="connsiteY771" fmla="*/ 104501 h 405912"/>
                <a:gd name="connsiteX772" fmla="*/ 154592 w 250456"/>
                <a:gd name="connsiteY772" fmla="*/ 100183 h 405912"/>
                <a:gd name="connsiteX773" fmla="*/ 154161 w 250456"/>
                <a:gd name="connsiteY773" fmla="*/ 97160 h 405912"/>
                <a:gd name="connsiteX774" fmla="*/ 154161 w 250456"/>
                <a:gd name="connsiteY774" fmla="*/ 95001 h 405912"/>
                <a:gd name="connsiteX775" fmla="*/ 153297 w 250456"/>
                <a:gd name="connsiteY775" fmla="*/ 93274 h 405912"/>
                <a:gd name="connsiteX776" fmla="*/ 153729 w 250456"/>
                <a:gd name="connsiteY776" fmla="*/ 92410 h 405912"/>
                <a:gd name="connsiteX777" fmla="*/ 153297 w 250456"/>
                <a:gd name="connsiteY777" fmla="*/ 89819 h 405912"/>
                <a:gd name="connsiteX778" fmla="*/ 151570 w 250456"/>
                <a:gd name="connsiteY778" fmla="*/ 85501 h 405912"/>
                <a:gd name="connsiteX779" fmla="*/ 151138 w 250456"/>
                <a:gd name="connsiteY779" fmla="*/ 84205 h 405912"/>
                <a:gd name="connsiteX780" fmla="*/ 151138 w 250456"/>
                <a:gd name="connsiteY780" fmla="*/ 83342 h 405912"/>
                <a:gd name="connsiteX781" fmla="*/ 150706 w 250456"/>
                <a:gd name="connsiteY781" fmla="*/ 82046 h 405912"/>
                <a:gd name="connsiteX782" fmla="*/ 147683 w 250456"/>
                <a:gd name="connsiteY782" fmla="*/ 78160 h 405912"/>
                <a:gd name="connsiteX783" fmla="*/ 148115 w 250456"/>
                <a:gd name="connsiteY783" fmla="*/ 76864 h 405912"/>
                <a:gd name="connsiteX784" fmla="*/ 146388 w 250456"/>
                <a:gd name="connsiteY784" fmla="*/ 75569 h 405912"/>
                <a:gd name="connsiteX785" fmla="*/ 145092 w 250456"/>
                <a:gd name="connsiteY785" fmla="*/ 74705 h 405912"/>
                <a:gd name="connsiteX786" fmla="*/ 141206 w 250456"/>
                <a:gd name="connsiteY786" fmla="*/ 70819 h 405912"/>
                <a:gd name="connsiteX787" fmla="*/ 139910 w 250456"/>
                <a:gd name="connsiteY787" fmla="*/ 70387 h 405912"/>
                <a:gd name="connsiteX788" fmla="*/ 133433 w 250456"/>
                <a:gd name="connsiteY788" fmla="*/ 68660 h 405912"/>
                <a:gd name="connsiteX789" fmla="*/ 131274 w 250456"/>
                <a:gd name="connsiteY789" fmla="*/ 69523 h 405912"/>
                <a:gd name="connsiteX790" fmla="*/ 130842 w 250456"/>
                <a:gd name="connsiteY790" fmla="*/ 69523 h 405912"/>
                <a:gd name="connsiteX791" fmla="*/ 123933 w 250456"/>
                <a:gd name="connsiteY791" fmla="*/ 73410 h 405912"/>
                <a:gd name="connsiteX792" fmla="*/ 122206 w 250456"/>
                <a:gd name="connsiteY792" fmla="*/ 74273 h 405912"/>
                <a:gd name="connsiteX793" fmla="*/ 119183 w 250456"/>
                <a:gd name="connsiteY793" fmla="*/ 75569 h 405912"/>
                <a:gd name="connsiteX794" fmla="*/ 118319 w 250456"/>
                <a:gd name="connsiteY794" fmla="*/ 75569 h 405912"/>
                <a:gd name="connsiteX795" fmla="*/ 118751 w 250456"/>
                <a:gd name="connsiteY795" fmla="*/ 76433 h 405912"/>
                <a:gd name="connsiteX796" fmla="*/ 118319 w 250456"/>
                <a:gd name="connsiteY796" fmla="*/ 77296 h 405912"/>
                <a:gd name="connsiteX797" fmla="*/ 116592 w 250456"/>
                <a:gd name="connsiteY797" fmla="*/ 79887 h 405912"/>
                <a:gd name="connsiteX798" fmla="*/ 115728 w 250456"/>
                <a:gd name="connsiteY798" fmla="*/ 80751 h 405912"/>
                <a:gd name="connsiteX799" fmla="*/ 114433 w 250456"/>
                <a:gd name="connsiteY799" fmla="*/ 80751 h 405912"/>
                <a:gd name="connsiteX800" fmla="*/ 114433 w 250456"/>
                <a:gd name="connsiteY800" fmla="*/ 81614 h 405912"/>
                <a:gd name="connsiteX801" fmla="*/ 113569 w 250456"/>
                <a:gd name="connsiteY801" fmla="*/ 82478 h 405912"/>
                <a:gd name="connsiteX802" fmla="*/ 111410 w 250456"/>
                <a:gd name="connsiteY802" fmla="*/ 85501 h 405912"/>
                <a:gd name="connsiteX803" fmla="*/ 110115 w 250456"/>
                <a:gd name="connsiteY803" fmla="*/ 85933 h 405912"/>
                <a:gd name="connsiteX804" fmla="*/ 109251 w 250456"/>
                <a:gd name="connsiteY804" fmla="*/ 85933 h 405912"/>
                <a:gd name="connsiteX805" fmla="*/ 108387 w 250456"/>
                <a:gd name="connsiteY805" fmla="*/ 86796 h 405912"/>
                <a:gd name="connsiteX806" fmla="*/ 107956 w 250456"/>
                <a:gd name="connsiteY806" fmla="*/ 87660 h 405912"/>
                <a:gd name="connsiteX807" fmla="*/ 107956 w 250456"/>
                <a:gd name="connsiteY807" fmla="*/ 88524 h 405912"/>
                <a:gd name="connsiteX808" fmla="*/ 106660 w 250456"/>
                <a:gd name="connsiteY808" fmla="*/ 89387 h 405912"/>
                <a:gd name="connsiteX809" fmla="*/ 105796 w 250456"/>
                <a:gd name="connsiteY809" fmla="*/ 89387 h 405912"/>
                <a:gd name="connsiteX810" fmla="*/ 104501 w 250456"/>
                <a:gd name="connsiteY810" fmla="*/ 91114 h 405912"/>
                <a:gd name="connsiteX811" fmla="*/ 105365 w 250456"/>
                <a:gd name="connsiteY811" fmla="*/ 91114 h 405912"/>
                <a:gd name="connsiteX812" fmla="*/ 105365 w 250456"/>
                <a:gd name="connsiteY812" fmla="*/ 91546 h 405912"/>
                <a:gd name="connsiteX813" fmla="*/ 104933 w 250456"/>
                <a:gd name="connsiteY813" fmla="*/ 91978 h 405912"/>
                <a:gd name="connsiteX814" fmla="*/ 104501 w 250456"/>
                <a:gd name="connsiteY814" fmla="*/ 91114 h 405912"/>
                <a:gd name="connsiteX815" fmla="*/ 3455 w 250456"/>
                <a:gd name="connsiteY815" fmla="*/ 313503 h 405912"/>
                <a:gd name="connsiteX816" fmla="*/ 3023 w 250456"/>
                <a:gd name="connsiteY816" fmla="*/ 313071 h 405912"/>
                <a:gd name="connsiteX817" fmla="*/ 3023 w 250456"/>
                <a:gd name="connsiteY817" fmla="*/ 313935 h 405912"/>
                <a:gd name="connsiteX818" fmla="*/ 3455 w 250456"/>
                <a:gd name="connsiteY818" fmla="*/ 313503 h 405912"/>
                <a:gd name="connsiteX819" fmla="*/ 65205 w 250456"/>
                <a:gd name="connsiteY819" fmla="*/ 225843 h 405912"/>
                <a:gd name="connsiteX820" fmla="*/ 64342 w 250456"/>
                <a:gd name="connsiteY820" fmla="*/ 228866 h 405912"/>
                <a:gd name="connsiteX821" fmla="*/ 64773 w 250456"/>
                <a:gd name="connsiteY821" fmla="*/ 228866 h 405912"/>
                <a:gd name="connsiteX822" fmla="*/ 65637 w 250456"/>
                <a:gd name="connsiteY822" fmla="*/ 226707 h 405912"/>
                <a:gd name="connsiteX823" fmla="*/ 65205 w 250456"/>
                <a:gd name="connsiteY823" fmla="*/ 225843 h 405912"/>
                <a:gd name="connsiteX824" fmla="*/ 151138 w 250456"/>
                <a:gd name="connsiteY824" fmla="*/ 140774 h 405912"/>
                <a:gd name="connsiteX825" fmla="*/ 151138 w 250456"/>
                <a:gd name="connsiteY825" fmla="*/ 139910 h 405912"/>
                <a:gd name="connsiteX826" fmla="*/ 150706 w 250456"/>
                <a:gd name="connsiteY826" fmla="*/ 138615 h 405912"/>
                <a:gd name="connsiteX827" fmla="*/ 149842 w 250456"/>
                <a:gd name="connsiteY827" fmla="*/ 139479 h 405912"/>
                <a:gd name="connsiteX828" fmla="*/ 145956 w 250456"/>
                <a:gd name="connsiteY828" fmla="*/ 142070 h 405912"/>
                <a:gd name="connsiteX829" fmla="*/ 145092 w 250456"/>
                <a:gd name="connsiteY829" fmla="*/ 142501 h 405912"/>
                <a:gd name="connsiteX830" fmla="*/ 145092 w 250456"/>
                <a:gd name="connsiteY830" fmla="*/ 142933 h 405912"/>
                <a:gd name="connsiteX831" fmla="*/ 143797 w 250456"/>
                <a:gd name="connsiteY831" fmla="*/ 144660 h 405912"/>
                <a:gd name="connsiteX832" fmla="*/ 142070 w 250456"/>
                <a:gd name="connsiteY832" fmla="*/ 146820 h 405912"/>
                <a:gd name="connsiteX833" fmla="*/ 141206 w 250456"/>
                <a:gd name="connsiteY833" fmla="*/ 148115 h 405912"/>
                <a:gd name="connsiteX834" fmla="*/ 138183 w 250456"/>
                <a:gd name="connsiteY834" fmla="*/ 150274 h 405912"/>
                <a:gd name="connsiteX835" fmla="*/ 137751 w 250456"/>
                <a:gd name="connsiteY835" fmla="*/ 149842 h 405912"/>
                <a:gd name="connsiteX836" fmla="*/ 137319 w 250456"/>
                <a:gd name="connsiteY836" fmla="*/ 148547 h 405912"/>
                <a:gd name="connsiteX837" fmla="*/ 138183 w 250456"/>
                <a:gd name="connsiteY837" fmla="*/ 147251 h 405912"/>
                <a:gd name="connsiteX838" fmla="*/ 138183 w 250456"/>
                <a:gd name="connsiteY838" fmla="*/ 146820 h 405912"/>
                <a:gd name="connsiteX839" fmla="*/ 137751 w 250456"/>
                <a:gd name="connsiteY839" fmla="*/ 145524 h 405912"/>
                <a:gd name="connsiteX840" fmla="*/ 135160 w 250456"/>
                <a:gd name="connsiteY840" fmla="*/ 145956 h 405912"/>
                <a:gd name="connsiteX841" fmla="*/ 134297 w 250456"/>
                <a:gd name="connsiteY841" fmla="*/ 146820 h 405912"/>
                <a:gd name="connsiteX842" fmla="*/ 134297 w 250456"/>
                <a:gd name="connsiteY842" fmla="*/ 148115 h 405912"/>
                <a:gd name="connsiteX843" fmla="*/ 133865 w 250456"/>
                <a:gd name="connsiteY843" fmla="*/ 148115 h 405912"/>
                <a:gd name="connsiteX844" fmla="*/ 133001 w 250456"/>
                <a:gd name="connsiteY844" fmla="*/ 147683 h 405912"/>
                <a:gd name="connsiteX845" fmla="*/ 132569 w 250456"/>
                <a:gd name="connsiteY845" fmla="*/ 147251 h 405912"/>
                <a:gd name="connsiteX846" fmla="*/ 132138 w 250456"/>
                <a:gd name="connsiteY846" fmla="*/ 146820 h 405912"/>
                <a:gd name="connsiteX847" fmla="*/ 131706 w 250456"/>
                <a:gd name="connsiteY847" fmla="*/ 147251 h 405912"/>
                <a:gd name="connsiteX848" fmla="*/ 130842 w 250456"/>
                <a:gd name="connsiteY848" fmla="*/ 148115 h 405912"/>
                <a:gd name="connsiteX849" fmla="*/ 130410 w 250456"/>
                <a:gd name="connsiteY849" fmla="*/ 148979 h 405912"/>
                <a:gd name="connsiteX850" fmla="*/ 130410 w 250456"/>
                <a:gd name="connsiteY850" fmla="*/ 149842 h 405912"/>
                <a:gd name="connsiteX851" fmla="*/ 129115 w 250456"/>
                <a:gd name="connsiteY851" fmla="*/ 152865 h 405912"/>
                <a:gd name="connsiteX852" fmla="*/ 128683 w 250456"/>
                <a:gd name="connsiteY852" fmla="*/ 153729 h 405912"/>
                <a:gd name="connsiteX853" fmla="*/ 128683 w 250456"/>
                <a:gd name="connsiteY853" fmla="*/ 154592 h 405912"/>
                <a:gd name="connsiteX854" fmla="*/ 129115 w 250456"/>
                <a:gd name="connsiteY854" fmla="*/ 154592 h 405912"/>
                <a:gd name="connsiteX855" fmla="*/ 130842 w 250456"/>
                <a:gd name="connsiteY855" fmla="*/ 152865 h 405912"/>
                <a:gd name="connsiteX856" fmla="*/ 133433 w 250456"/>
                <a:gd name="connsiteY856" fmla="*/ 151138 h 405912"/>
                <a:gd name="connsiteX857" fmla="*/ 134729 w 250456"/>
                <a:gd name="connsiteY857" fmla="*/ 152001 h 405912"/>
                <a:gd name="connsiteX858" fmla="*/ 135160 w 250456"/>
                <a:gd name="connsiteY858" fmla="*/ 152433 h 405912"/>
                <a:gd name="connsiteX859" fmla="*/ 135592 w 250456"/>
                <a:gd name="connsiteY859" fmla="*/ 153297 h 405912"/>
                <a:gd name="connsiteX860" fmla="*/ 135160 w 250456"/>
                <a:gd name="connsiteY860" fmla="*/ 153729 h 405912"/>
                <a:gd name="connsiteX861" fmla="*/ 133001 w 250456"/>
                <a:gd name="connsiteY861" fmla="*/ 155888 h 405912"/>
                <a:gd name="connsiteX862" fmla="*/ 131706 w 250456"/>
                <a:gd name="connsiteY862" fmla="*/ 157183 h 405912"/>
                <a:gd name="connsiteX863" fmla="*/ 130410 w 250456"/>
                <a:gd name="connsiteY863" fmla="*/ 158047 h 405912"/>
                <a:gd name="connsiteX864" fmla="*/ 126956 w 250456"/>
                <a:gd name="connsiteY864" fmla="*/ 161502 h 405912"/>
                <a:gd name="connsiteX865" fmla="*/ 126092 w 250456"/>
                <a:gd name="connsiteY865" fmla="*/ 162365 h 405912"/>
                <a:gd name="connsiteX866" fmla="*/ 123069 w 250456"/>
                <a:gd name="connsiteY866" fmla="*/ 167115 h 405912"/>
                <a:gd name="connsiteX867" fmla="*/ 121342 w 250456"/>
                <a:gd name="connsiteY867" fmla="*/ 169274 h 405912"/>
                <a:gd name="connsiteX868" fmla="*/ 120910 w 250456"/>
                <a:gd name="connsiteY868" fmla="*/ 170138 h 405912"/>
                <a:gd name="connsiteX869" fmla="*/ 118751 w 250456"/>
                <a:gd name="connsiteY869" fmla="*/ 172297 h 405912"/>
                <a:gd name="connsiteX870" fmla="*/ 117887 w 250456"/>
                <a:gd name="connsiteY870" fmla="*/ 173161 h 405912"/>
                <a:gd name="connsiteX871" fmla="*/ 115728 w 250456"/>
                <a:gd name="connsiteY871" fmla="*/ 176183 h 405912"/>
                <a:gd name="connsiteX872" fmla="*/ 114865 w 250456"/>
                <a:gd name="connsiteY872" fmla="*/ 177047 h 405912"/>
                <a:gd name="connsiteX873" fmla="*/ 110978 w 250456"/>
                <a:gd name="connsiteY873" fmla="*/ 182229 h 405912"/>
                <a:gd name="connsiteX874" fmla="*/ 110115 w 250456"/>
                <a:gd name="connsiteY874" fmla="*/ 182661 h 405912"/>
                <a:gd name="connsiteX875" fmla="*/ 109683 w 250456"/>
                <a:gd name="connsiteY875" fmla="*/ 182661 h 405912"/>
                <a:gd name="connsiteX876" fmla="*/ 108819 w 250456"/>
                <a:gd name="connsiteY876" fmla="*/ 182229 h 405912"/>
                <a:gd name="connsiteX877" fmla="*/ 109683 w 250456"/>
                <a:gd name="connsiteY877" fmla="*/ 181797 h 405912"/>
                <a:gd name="connsiteX878" fmla="*/ 110978 w 250456"/>
                <a:gd name="connsiteY878" fmla="*/ 179638 h 405912"/>
                <a:gd name="connsiteX879" fmla="*/ 110978 w 250456"/>
                <a:gd name="connsiteY879" fmla="*/ 179206 h 405912"/>
                <a:gd name="connsiteX880" fmla="*/ 110115 w 250456"/>
                <a:gd name="connsiteY880" fmla="*/ 178343 h 405912"/>
                <a:gd name="connsiteX881" fmla="*/ 110115 w 250456"/>
                <a:gd name="connsiteY881" fmla="*/ 177047 h 405912"/>
                <a:gd name="connsiteX882" fmla="*/ 111842 w 250456"/>
                <a:gd name="connsiteY882" fmla="*/ 176183 h 405912"/>
                <a:gd name="connsiteX883" fmla="*/ 112706 w 250456"/>
                <a:gd name="connsiteY883" fmla="*/ 176183 h 405912"/>
                <a:gd name="connsiteX884" fmla="*/ 113137 w 250456"/>
                <a:gd name="connsiteY884" fmla="*/ 176183 h 405912"/>
                <a:gd name="connsiteX885" fmla="*/ 113569 w 250456"/>
                <a:gd name="connsiteY885" fmla="*/ 176183 h 405912"/>
                <a:gd name="connsiteX886" fmla="*/ 114001 w 250456"/>
                <a:gd name="connsiteY886" fmla="*/ 175320 h 405912"/>
                <a:gd name="connsiteX887" fmla="*/ 113137 w 250456"/>
                <a:gd name="connsiteY887" fmla="*/ 173593 h 405912"/>
                <a:gd name="connsiteX888" fmla="*/ 114001 w 250456"/>
                <a:gd name="connsiteY888" fmla="*/ 172297 h 405912"/>
                <a:gd name="connsiteX889" fmla="*/ 116160 w 250456"/>
                <a:gd name="connsiteY889" fmla="*/ 170138 h 405912"/>
                <a:gd name="connsiteX890" fmla="*/ 116592 w 250456"/>
                <a:gd name="connsiteY890" fmla="*/ 169706 h 405912"/>
                <a:gd name="connsiteX891" fmla="*/ 118751 w 250456"/>
                <a:gd name="connsiteY891" fmla="*/ 166252 h 405912"/>
                <a:gd name="connsiteX892" fmla="*/ 121774 w 250456"/>
                <a:gd name="connsiteY892" fmla="*/ 164524 h 405912"/>
                <a:gd name="connsiteX893" fmla="*/ 122206 w 250456"/>
                <a:gd name="connsiteY893" fmla="*/ 163661 h 405912"/>
                <a:gd name="connsiteX894" fmla="*/ 122206 w 250456"/>
                <a:gd name="connsiteY894" fmla="*/ 162797 h 405912"/>
                <a:gd name="connsiteX895" fmla="*/ 124365 w 250456"/>
                <a:gd name="connsiteY895" fmla="*/ 160206 h 405912"/>
                <a:gd name="connsiteX896" fmla="*/ 125228 w 250456"/>
                <a:gd name="connsiteY896" fmla="*/ 159774 h 405912"/>
                <a:gd name="connsiteX897" fmla="*/ 126092 w 250456"/>
                <a:gd name="connsiteY897" fmla="*/ 160206 h 405912"/>
                <a:gd name="connsiteX898" fmla="*/ 127388 w 250456"/>
                <a:gd name="connsiteY898" fmla="*/ 159774 h 405912"/>
                <a:gd name="connsiteX899" fmla="*/ 128683 w 250456"/>
                <a:gd name="connsiteY899" fmla="*/ 158479 h 405912"/>
                <a:gd name="connsiteX900" fmla="*/ 130410 w 250456"/>
                <a:gd name="connsiteY900" fmla="*/ 155888 h 405912"/>
                <a:gd name="connsiteX901" fmla="*/ 130410 w 250456"/>
                <a:gd name="connsiteY901" fmla="*/ 155456 h 405912"/>
                <a:gd name="connsiteX902" fmla="*/ 129978 w 250456"/>
                <a:gd name="connsiteY902" fmla="*/ 155456 h 405912"/>
                <a:gd name="connsiteX903" fmla="*/ 127819 w 250456"/>
                <a:gd name="connsiteY903" fmla="*/ 157183 h 405912"/>
                <a:gd name="connsiteX904" fmla="*/ 126956 w 250456"/>
                <a:gd name="connsiteY904" fmla="*/ 157615 h 405912"/>
                <a:gd name="connsiteX905" fmla="*/ 126524 w 250456"/>
                <a:gd name="connsiteY905" fmla="*/ 157183 h 405912"/>
                <a:gd name="connsiteX906" fmla="*/ 125660 w 250456"/>
                <a:gd name="connsiteY906" fmla="*/ 156320 h 405912"/>
                <a:gd name="connsiteX907" fmla="*/ 124365 w 250456"/>
                <a:gd name="connsiteY907" fmla="*/ 157183 h 405912"/>
                <a:gd name="connsiteX908" fmla="*/ 121774 w 250456"/>
                <a:gd name="connsiteY908" fmla="*/ 159342 h 405912"/>
                <a:gd name="connsiteX909" fmla="*/ 120478 w 250456"/>
                <a:gd name="connsiteY909" fmla="*/ 161502 h 405912"/>
                <a:gd name="connsiteX910" fmla="*/ 120478 w 250456"/>
                <a:gd name="connsiteY910" fmla="*/ 162365 h 405912"/>
                <a:gd name="connsiteX911" fmla="*/ 117024 w 250456"/>
                <a:gd name="connsiteY911" fmla="*/ 166683 h 405912"/>
                <a:gd name="connsiteX912" fmla="*/ 114001 w 250456"/>
                <a:gd name="connsiteY912" fmla="*/ 169274 h 405912"/>
                <a:gd name="connsiteX913" fmla="*/ 113137 w 250456"/>
                <a:gd name="connsiteY913" fmla="*/ 169706 h 405912"/>
                <a:gd name="connsiteX914" fmla="*/ 111842 w 250456"/>
                <a:gd name="connsiteY914" fmla="*/ 169706 h 405912"/>
                <a:gd name="connsiteX915" fmla="*/ 109683 w 250456"/>
                <a:gd name="connsiteY915" fmla="*/ 171002 h 405912"/>
                <a:gd name="connsiteX916" fmla="*/ 108819 w 250456"/>
                <a:gd name="connsiteY916" fmla="*/ 171433 h 405912"/>
                <a:gd name="connsiteX917" fmla="*/ 107092 w 250456"/>
                <a:gd name="connsiteY917" fmla="*/ 171433 h 405912"/>
                <a:gd name="connsiteX918" fmla="*/ 105796 w 250456"/>
                <a:gd name="connsiteY918" fmla="*/ 173161 h 405912"/>
                <a:gd name="connsiteX919" fmla="*/ 105796 w 250456"/>
                <a:gd name="connsiteY919" fmla="*/ 175320 h 405912"/>
                <a:gd name="connsiteX920" fmla="*/ 105365 w 250456"/>
                <a:gd name="connsiteY920" fmla="*/ 175752 h 405912"/>
                <a:gd name="connsiteX921" fmla="*/ 104933 w 250456"/>
                <a:gd name="connsiteY921" fmla="*/ 175320 h 405912"/>
                <a:gd name="connsiteX922" fmla="*/ 104069 w 250456"/>
                <a:gd name="connsiteY922" fmla="*/ 174456 h 405912"/>
                <a:gd name="connsiteX923" fmla="*/ 103206 w 250456"/>
                <a:gd name="connsiteY923" fmla="*/ 175320 h 405912"/>
                <a:gd name="connsiteX924" fmla="*/ 101046 w 250456"/>
                <a:gd name="connsiteY924" fmla="*/ 177047 h 405912"/>
                <a:gd name="connsiteX925" fmla="*/ 100183 w 250456"/>
                <a:gd name="connsiteY925" fmla="*/ 178343 h 405912"/>
                <a:gd name="connsiteX926" fmla="*/ 101046 w 250456"/>
                <a:gd name="connsiteY926" fmla="*/ 179206 h 405912"/>
                <a:gd name="connsiteX927" fmla="*/ 102342 w 250456"/>
                <a:gd name="connsiteY927" fmla="*/ 180502 h 405912"/>
                <a:gd name="connsiteX928" fmla="*/ 102774 w 250456"/>
                <a:gd name="connsiteY928" fmla="*/ 180934 h 405912"/>
                <a:gd name="connsiteX929" fmla="*/ 102774 w 250456"/>
                <a:gd name="connsiteY929" fmla="*/ 181365 h 405912"/>
                <a:gd name="connsiteX930" fmla="*/ 101910 w 250456"/>
                <a:gd name="connsiteY930" fmla="*/ 181797 h 405912"/>
                <a:gd name="connsiteX931" fmla="*/ 101046 w 250456"/>
                <a:gd name="connsiteY931" fmla="*/ 183093 h 405912"/>
                <a:gd name="connsiteX932" fmla="*/ 101478 w 250456"/>
                <a:gd name="connsiteY932" fmla="*/ 183524 h 405912"/>
                <a:gd name="connsiteX933" fmla="*/ 101478 w 250456"/>
                <a:gd name="connsiteY933" fmla="*/ 184388 h 405912"/>
                <a:gd name="connsiteX934" fmla="*/ 100615 w 250456"/>
                <a:gd name="connsiteY934" fmla="*/ 185684 h 405912"/>
                <a:gd name="connsiteX935" fmla="*/ 98887 w 250456"/>
                <a:gd name="connsiteY935" fmla="*/ 186115 h 405912"/>
                <a:gd name="connsiteX936" fmla="*/ 97592 w 250456"/>
                <a:gd name="connsiteY936" fmla="*/ 185684 h 405912"/>
                <a:gd name="connsiteX937" fmla="*/ 97160 w 250456"/>
                <a:gd name="connsiteY937" fmla="*/ 185252 h 405912"/>
                <a:gd name="connsiteX938" fmla="*/ 96728 w 250456"/>
                <a:gd name="connsiteY938" fmla="*/ 185684 h 405912"/>
                <a:gd name="connsiteX939" fmla="*/ 95001 w 250456"/>
                <a:gd name="connsiteY939" fmla="*/ 186115 h 405912"/>
                <a:gd name="connsiteX940" fmla="*/ 93274 w 250456"/>
                <a:gd name="connsiteY940" fmla="*/ 186979 h 405912"/>
                <a:gd name="connsiteX941" fmla="*/ 93274 w 250456"/>
                <a:gd name="connsiteY941" fmla="*/ 187411 h 405912"/>
                <a:gd name="connsiteX942" fmla="*/ 92842 w 250456"/>
                <a:gd name="connsiteY942" fmla="*/ 186979 h 405912"/>
                <a:gd name="connsiteX943" fmla="*/ 91978 w 250456"/>
                <a:gd name="connsiteY943" fmla="*/ 186547 h 405912"/>
                <a:gd name="connsiteX944" fmla="*/ 91546 w 250456"/>
                <a:gd name="connsiteY944" fmla="*/ 187411 h 405912"/>
                <a:gd name="connsiteX945" fmla="*/ 91114 w 250456"/>
                <a:gd name="connsiteY945" fmla="*/ 187843 h 405912"/>
                <a:gd name="connsiteX946" fmla="*/ 91546 w 250456"/>
                <a:gd name="connsiteY946" fmla="*/ 188274 h 405912"/>
                <a:gd name="connsiteX947" fmla="*/ 93274 w 250456"/>
                <a:gd name="connsiteY947" fmla="*/ 190865 h 405912"/>
                <a:gd name="connsiteX948" fmla="*/ 93274 w 250456"/>
                <a:gd name="connsiteY948" fmla="*/ 191297 h 405912"/>
                <a:gd name="connsiteX949" fmla="*/ 94569 w 250456"/>
                <a:gd name="connsiteY949" fmla="*/ 191729 h 405912"/>
                <a:gd name="connsiteX950" fmla="*/ 95001 w 250456"/>
                <a:gd name="connsiteY950" fmla="*/ 191729 h 405912"/>
                <a:gd name="connsiteX951" fmla="*/ 96728 w 250456"/>
                <a:gd name="connsiteY951" fmla="*/ 190865 h 405912"/>
                <a:gd name="connsiteX952" fmla="*/ 97160 w 250456"/>
                <a:gd name="connsiteY952" fmla="*/ 190865 h 405912"/>
                <a:gd name="connsiteX953" fmla="*/ 97160 w 250456"/>
                <a:gd name="connsiteY953" fmla="*/ 191729 h 405912"/>
                <a:gd name="connsiteX954" fmla="*/ 99319 w 250456"/>
                <a:gd name="connsiteY954" fmla="*/ 192593 h 405912"/>
                <a:gd name="connsiteX955" fmla="*/ 100183 w 250456"/>
                <a:gd name="connsiteY955" fmla="*/ 191729 h 405912"/>
                <a:gd name="connsiteX956" fmla="*/ 101046 w 250456"/>
                <a:gd name="connsiteY956" fmla="*/ 189570 h 405912"/>
                <a:gd name="connsiteX957" fmla="*/ 101478 w 250456"/>
                <a:gd name="connsiteY957" fmla="*/ 188706 h 405912"/>
                <a:gd name="connsiteX958" fmla="*/ 104501 w 250456"/>
                <a:gd name="connsiteY958" fmla="*/ 184388 h 405912"/>
                <a:gd name="connsiteX959" fmla="*/ 106660 w 250456"/>
                <a:gd name="connsiteY959" fmla="*/ 183956 h 405912"/>
                <a:gd name="connsiteX960" fmla="*/ 108387 w 250456"/>
                <a:gd name="connsiteY960" fmla="*/ 184820 h 405912"/>
                <a:gd name="connsiteX961" fmla="*/ 108387 w 250456"/>
                <a:gd name="connsiteY961" fmla="*/ 185684 h 405912"/>
                <a:gd name="connsiteX962" fmla="*/ 107524 w 250456"/>
                <a:gd name="connsiteY962" fmla="*/ 186547 h 405912"/>
                <a:gd name="connsiteX963" fmla="*/ 104933 w 250456"/>
                <a:gd name="connsiteY963" fmla="*/ 190865 h 405912"/>
                <a:gd name="connsiteX964" fmla="*/ 104069 w 250456"/>
                <a:gd name="connsiteY964" fmla="*/ 191297 h 405912"/>
                <a:gd name="connsiteX965" fmla="*/ 101910 w 250456"/>
                <a:gd name="connsiteY965" fmla="*/ 195184 h 405912"/>
                <a:gd name="connsiteX966" fmla="*/ 100183 w 250456"/>
                <a:gd name="connsiteY966" fmla="*/ 196911 h 405912"/>
                <a:gd name="connsiteX967" fmla="*/ 99319 w 250456"/>
                <a:gd name="connsiteY967" fmla="*/ 197775 h 405912"/>
                <a:gd name="connsiteX968" fmla="*/ 96728 w 250456"/>
                <a:gd name="connsiteY968" fmla="*/ 202093 h 405912"/>
                <a:gd name="connsiteX969" fmla="*/ 95001 w 250456"/>
                <a:gd name="connsiteY969" fmla="*/ 203820 h 405912"/>
                <a:gd name="connsiteX970" fmla="*/ 94569 w 250456"/>
                <a:gd name="connsiteY970" fmla="*/ 202956 h 405912"/>
                <a:gd name="connsiteX971" fmla="*/ 95001 w 250456"/>
                <a:gd name="connsiteY971" fmla="*/ 201661 h 405912"/>
                <a:gd name="connsiteX972" fmla="*/ 95001 w 250456"/>
                <a:gd name="connsiteY972" fmla="*/ 200366 h 405912"/>
                <a:gd name="connsiteX973" fmla="*/ 91114 w 250456"/>
                <a:gd name="connsiteY973" fmla="*/ 198638 h 405912"/>
                <a:gd name="connsiteX974" fmla="*/ 90251 w 250456"/>
                <a:gd name="connsiteY974" fmla="*/ 198638 h 405912"/>
                <a:gd name="connsiteX975" fmla="*/ 89387 w 250456"/>
                <a:gd name="connsiteY975" fmla="*/ 198206 h 405912"/>
                <a:gd name="connsiteX976" fmla="*/ 88092 w 250456"/>
                <a:gd name="connsiteY976" fmla="*/ 198638 h 405912"/>
                <a:gd name="connsiteX977" fmla="*/ 87228 w 250456"/>
                <a:gd name="connsiteY977" fmla="*/ 199502 h 405912"/>
                <a:gd name="connsiteX978" fmla="*/ 86364 w 250456"/>
                <a:gd name="connsiteY978" fmla="*/ 199070 h 405912"/>
                <a:gd name="connsiteX979" fmla="*/ 85501 w 250456"/>
                <a:gd name="connsiteY979" fmla="*/ 197775 h 405912"/>
                <a:gd name="connsiteX980" fmla="*/ 85933 w 250456"/>
                <a:gd name="connsiteY980" fmla="*/ 196047 h 405912"/>
                <a:gd name="connsiteX981" fmla="*/ 86364 w 250456"/>
                <a:gd name="connsiteY981" fmla="*/ 195615 h 405912"/>
                <a:gd name="connsiteX982" fmla="*/ 85933 w 250456"/>
                <a:gd name="connsiteY982" fmla="*/ 195615 h 405912"/>
                <a:gd name="connsiteX983" fmla="*/ 84637 w 250456"/>
                <a:gd name="connsiteY983" fmla="*/ 196047 h 405912"/>
                <a:gd name="connsiteX984" fmla="*/ 82478 w 250456"/>
                <a:gd name="connsiteY984" fmla="*/ 199934 h 405912"/>
                <a:gd name="connsiteX985" fmla="*/ 78592 w 250456"/>
                <a:gd name="connsiteY985" fmla="*/ 207275 h 405912"/>
                <a:gd name="connsiteX986" fmla="*/ 78592 w 250456"/>
                <a:gd name="connsiteY986" fmla="*/ 207706 h 405912"/>
                <a:gd name="connsiteX987" fmla="*/ 77296 w 250456"/>
                <a:gd name="connsiteY987" fmla="*/ 209866 h 405912"/>
                <a:gd name="connsiteX988" fmla="*/ 76433 w 250456"/>
                <a:gd name="connsiteY988" fmla="*/ 210297 h 405912"/>
                <a:gd name="connsiteX989" fmla="*/ 76001 w 250456"/>
                <a:gd name="connsiteY989" fmla="*/ 211161 h 405912"/>
                <a:gd name="connsiteX990" fmla="*/ 76864 w 250456"/>
                <a:gd name="connsiteY990" fmla="*/ 211593 h 405912"/>
                <a:gd name="connsiteX991" fmla="*/ 79887 w 250456"/>
                <a:gd name="connsiteY991" fmla="*/ 210297 h 405912"/>
                <a:gd name="connsiteX992" fmla="*/ 81183 w 250456"/>
                <a:gd name="connsiteY992" fmla="*/ 209866 h 405912"/>
                <a:gd name="connsiteX993" fmla="*/ 79455 w 250456"/>
                <a:gd name="connsiteY993" fmla="*/ 212457 h 405912"/>
                <a:gd name="connsiteX994" fmla="*/ 77728 w 250456"/>
                <a:gd name="connsiteY994" fmla="*/ 212457 h 405912"/>
                <a:gd name="connsiteX995" fmla="*/ 76864 w 250456"/>
                <a:gd name="connsiteY995" fmla="*/ 212888 h 405912"/>
                <a:gd name="connsiteX996" fmla="*/ 76433 w 250456"/>
                <a:gd name="connsiteY996" fmla="*/ 212888 h 405912"/>
                <a:gd name="connsiteX997" fmla="*/ 75569 w 250456"/>
                <a:gd name="connsiteY997" fmla="*/ 213752 h 405912"/>
                <a:gd name="connsiteX998" fmla="*/ 73842 w 250456"/>
                <a:gd name="connsiteY998" fmla="*/ 216775 h 405912"/>
                <a:gd name="connsiteX999" fmla="*/ 73410 w 250456"/>
                <a:gd name="connsiteY999" fmla="*/ 219366 h 405912"/>
                <a:gd name="connsiteX1000" fmla="*/ 72546 w 250456"/>
                <a:gd name="connsiteY1000" fmla="*/ 221525 h 405912"/>
                <a:gd name="connsiteX1001" fmla="*/ 72546 w 250456"/>
                <a:gd name="connsiteY1001" fmla="*/ 221957 h 405912"/>
                <a:gd name="connsiteX1002" fmla="*/ 72978 w 250456"/>
                <a:gd name="connsiteY1002" fmla="*/ 222388 h 405912"/>
                <a:gd name="connsiteX1003" fmla="*/ 73410 w 250456"/>
                <a:gd name="connsiteY1003" fmla="*/ 221957 h 405912"/>
                <a:gd name="connsiteX1004" fmla="*/ 74273 w 250456"/>
                <a:gd name="connsiteY1004" fmla="*/ 220229 h 405912"/>
                <a:gd name="connsiteX1005" fmla="*/ 74273 w 250456"/>
                <a:gd name="connsiteY1005" fmla="*/ 219798 h 405912"/>
                <a:gd name="connsiteX1006" fmla="*/ 75137 w 250456"/>
                <a:gd name="connsiteY1006" fmla="*/ 218502 h 405912"/>
                <a:gd name="connsiteX1007" fmla="*/ 76001 w 250456"/>
                <a:gd name="connsiteY1007" fmla="*/ 217638 h 405912"/>
                <a:gd name="connsiteX1008" fmla="*/ 77296 w 250456"/>
                <a:gd name="connsiteY1008" fmla="*/ 217207 h 405912"/>
                <a:gd name="connsiteX1009" fmla="*/ 78160 w 250456"/>
                <a:gd name="connsiteY1009" fmla="*/ 218070 h 405912"/>
                <a:gd name="connsiteX1010" fmla="*/ 77296 w 250456"/>
                <a:gd name="connsiteY1010" fmla="*/ 219798 h 405912"/>
                <a:gd name="connsiteX1011" fmla="*/ 75569 w 250456"/>
                <a:gd name="connsiteY1011" fmla="*/ 221093 h 405912"/>
                <a:gd name="connsiteX1012" fmla="*/ 75569 w 250456"/>
                <a:gd name="connsiteY1012" fmla="*/ 221525 h 405912"/>
                <a:gd name="connsiteX1013" fmla="*/ 76001 w 250456"/>
                <a:gd name="connsiteY1013" fmla="*/ 221525 h 405912"/>
                <a:gd name="connsiteX1014" fmla="*/ 76864 w 250456"/>
                <a:gd name="connsiteY1014" fmla="*/ 221093 h 405912"/>
                <a:gd name="connsiteX1015" fmla="*/ 78160 w 250456"/>
                <a:gd name="connsiteY1015" fmla="*/ 221957 h 405912"/>
                <a:gd name="connsiteX1016" fmla="*/ 79023 w 250456"/>
                <a:gd name="connsiteY1016" fmla="*/ 222820 h 405912"/>
                <a:gd name="connsiteX1017" fmla="*/ 79455 w 250456"/>
                <a:gd name="connsiteY1017" fmla="*/ 222388 h 405912"/>
                <a:gd name="connsiteX1018" fmla="*/ 80319 w 250456"/>
                <a:gd name="connsiteY1018" fmla="*/ 223252 h 405912"/>
                <a:gd name="connsiteX1019" fmla="*/ 79887 w 250456"/>
                <a:gd name="connsiteY1019" fmla="*/ 225843 h 405912"/>
                <a:gd name="connsiteX1020" fmla="*/ 80751 w 250456"/>
                <a:gd name="connsiteY1020" fmla="*/ 226707 h 405912"/>
                <a:gd name="connsiteX1021" fmla="*/ 81183 w 250456"/>
                <a:gd name="connsiteY1021" fmla="*/ 226707 h 405912"/>
                <a:gd name="connsiteX1022" fmla="*/ 81614 w 250456"/>
                <a:gd name="connsiteY1022" fmla="*/ 227138 h 405912"/>
                <a:gd name="connsiteX1023" fmla="*/ 82478 w 250456"/>
                <a:gd name="connsiteY1023" fmla="*/ 229729 h 405912"/>
                <a:gd name="connsiteX1024" fmla="*/ 80751 w 250456"/>
                <a:gd name="connsiteY1024" fmla="*/ 231889 h 405912"/>
                <a:gd name="connsiteX1025" fmla="*/ 79887 w 250456"/>
                <a:gd name="connsiteY1025" fmla="*/ 233616 h 405912"/>
                <a:gd name="connsiteX1026" fmla="*/ 79887 w 250456"/>
                <a:gd name="connsiteY1026" fmla="*/ 234048 h 405912"/>
                <a:gd name="connsiteX1027" fmla="*/ 79023 w 250456"/>
                <a:gd name="connsiteY1027" fmla="*/ 234048 h 405912"/>
                <a:gd name="connsiteX1028" fmla="*/ 76864 w 250456"/>
                <a:gd name="connsiteY1028" fmla="*/ 233616 h 405912"/>
                <a:gd name="connsiteX1029" fmla="*/ 76433 w 250456"/>
                <a:gd name="connsiteY1029" fmla="*/ 231889 h 405912"/>
                <a:gd name="connsiteX1030" fmla="*/ 75569 w 250456"/>
                <a:gd name="connsiteY1030" fmla="*/ 231889 h 405912"/>
                <a:gd name="connsiteX1031" fmla="*/ 75569 w 250456"/>
                <a:gd name="connsiteY1031" fmla="*/ 232320 h 405912"/>
                <a:gd name="connsiteX1032" fmla="*/ 75137 w 250456"/>
                <a:gd name="connsiteY1032" fmla="*/ 234911 h 405912"/>
                <a:gd name="connsiteX1033" fmla="*/ 74705 w 250456"/>
                <a:gd name="connsiteY1033" fmla="*/ 236207 h 405912"/>
                <a:gd name="connsiteX1034" fmla="*/ 74273 w 250456"/>
                <a:gd name="connsiteY1034" fmla="*/ 236207 h 405912"/>
                <a:gd name="connsiteX1035" fmla="*/ 72978 w 250456"/>
                <a:gd name="connsiteY1035" fmla="*/ 235775 h 405912"/>
                <a:gd name="connsiteX1036" fmla="*/ 72546 w 250456"/>
                <a:gd name="connsiteY1036" fmla="*/ 235343 h 405912"/>
                <a:gd name="connsiteX1037" fmla="*/ 72114 w 250456"/>
                <a:gd name="connsiteY1037" fmla="*/ 235775 h 405912"/>
                <a:gd name="connsiteX1038" fmla="*/ 71682 w 250456"/>
                <a:gd name="connsiteY1038" fmla="*/ 236639 h 405912"/>
                <a:gd name="connsiteX1039" fmla="*/ 72546 w 250456"/>
                <a:gd name="connsiteY1039" fmla="*/ 237934 h 405912"/>
                <a:gd name="connsiteX1040" fmla="*/ 73842 w 250456"/>
                <a:gd name="connsiteY1040" fmla="*/ 240093 h 405912"/>
                <a:gd name="connsiteX1041" fmla="*/ 74705 w 250456"/>
                <a:gd name="connsiteY1041" fmla="*/ 240525 h 405912"/>
                <a:gd name="connsiteX1042" fmla="*/ 75569 w 250456"/>
                <a:gd name="connsiteY1042" fmla="*/ 240525 h 405912"/>
                <a:gd name="connsiteX1043" fmla="*/ 79455 w 250456"/>
                <a:gd name="connsiteY1043" fmla="*/ 239230 h 405912"/>
                <a:gd name="connsiteX1044" fmla="*/ 80751 w 250456"/>
                <a:gd name="connsiteY1044" fmla="*/ 237934 h 405912"/>
                <a:gd name="connsiteX1045" fmla="*/ 83342 w 250456"/>
                <a:gd name="connsiteY1045" fmla="*/ 237502 h 405912"/>
                <a:gd name="connsiteX1046" fmla="*/ 83774 w 250456"/>
                <a:gd name="connsiteY1046" fmla="*/ 237070 h 405912"/>
                <a:gd name="connsiteX1047" fmla="*/ 85069 w 250456"/>
                <a:gd name="connsiteY1047" fmla="*/ 236207 h 405912"/>
                <a:gd name="connsiteX1048" fmla="*/ 91546 w 250456"/>
                <a:gd name="connsiteY1048" fmla="*/ 231889 h 405912"/>
                <a:gd name="connsiteX1049" fmla="*/ 94137 w 250456"/>
                <a:gd name="connsiteY1049" fmla="*/ 230161 h 405912"/>
                <a:gd name="connsiteX1050" fmla="*/ 100183 w 250456"/>
                <a:gd name="connsiteY1050" fmla="*/ 224979 h 405912"/>
                <a:gd name="connsiteX1051" fmla="*/ 106228 w 250456"/>
                <a:gd name="connsiteY1051" fmla="*/ 219798 h 405912"/>
                <a:gd name="connsiteX1052" fmla="*/ 108387 w 250456"/>
                <a:gd name="connsiteY1052" fmla="*/ 217207 h 405912"/>
                <a:gd name="connsiteX1053" fmla="*/ 111842 w 250456"/>
                <a:gd name="connsiteY1053" fmla="*/ 214184 h 405912"/>
                <a:gd name="connsiteX1054" fmla="*/ 116160 w 250456"/>
                <a:gd name="connsiteY1054" fmla="*/ 209434 h 405912"/>
                <a:gd name="connsiteX1055" fmla="*/ 117024 w 250456"/>
                <a:gd name="connsiteY1055" fmla="*/ 209002 h 405912"/>
                <a:gd name="connsiteX1056" fmla="*/ 124365 w 250456"/>
                <a:gd name="connsiteY1056" fmla="*/ 200366 h 405912"/>
                <a:gd name="connsiteX1057" fmla="*/ 131706 w 250456"/>
                <a:gd name="connsiteY1057" fmla="*/ 190434 h 405912"/>
                <a:gd name="connsiteX1058" fmla="*/ 136024 w 250456"/>
                <a:gd name="connsiteY1058" fmla="*/ 182229 h 405912"/>
                <a:gd name="connsiteX1059" fmla="*/ 142501 w 250456"/>
                <a:gd name="connsiteY1059" fmla="*/ 167979 h 405912"/>
                <a:gd name="connsiteX1060" fmla="*/ 142933 w 250456"/>
                <a:gd name="connsiteY1060" fmla="*/ 167547 h 405912"/>
                <a:gd name="connsiteX1061" fmla="*/ 147683 w 250456"/>
                <a:gd name="connsiteY1061" fmla="*/ 153729 h 405912"/>
                <a:gd name="connsiteX1062" fmla="*/ 150274 w 250456"/>
                <a:gd name="connsiteY1062" fmla="*/ 145092 h 405912"/>
                <a:gd name="connsiteX1063" fmla="*/ 150706 w 250456"/>
                <a:gd name="connsiteY1063" fmla="*/ 143797 h 405912"/>
                <a:gd name="connsiteX1064" fmla="*/ 151138 w 250456"/>
                <a:gd name="connsiteY1064" fmla="*/ 140774 h 405912"/>
                <a:gd name="connsiteX1065" fmla="*/ 72978 w 250456"/>
                <a:gd name="connsiteY1065" fmla="*/ 234048 h 405912"/>
                <a:gd name="connsiteX1066" fmla="*/ 73410 w 250456"/>
                <a:gd name="connsiteY1066" fmla="*/ 233616 h 405912"/>
                <a:gd name="connsiteX1067" fmla="*/ 73410 w 250456"/>
                <a:gd name="connsiteY1067" fmla="*/ 232752 h 405912"/>
                <a:gd name="connsiteX1068" fmla="*/ 72978 w 250456"/>
                <a:gd name="connsiteY1068" fmla="*/ 232320 h 405912"/>
                <a:gd name="connsiteX1069" fmla="*/ 72546 w 250456"/>
                <a:gd name="connsiteY1069" fmla="*/ 233184 h 405912"/>
                <a:gd name="connsiteX1070" fmla="*/ 72978 w 250456"/>
                <a:gd name="connsiteY1070" fmla="*/ 234048 h 405912"/>
                <a:gd name="connsiteX1071" fmla="*/ 74273 w 250456"/>
                <a:gd name="connsiteY1071" fmla="*/ 210729 h 405912"/>
                <a:gd name="connsiteX1072" fmla="*/ 75137 w 250456"/>
                <a:gd name="connsiteY1072" fmla="*/ 209866 h 405912"/>
                <a:gd name="connsiteX1073" fmla="*/ 74273 w 250456"/>
                <a:gd name="connsiteY1073" fmla="*/ 209002 h 405912"/>
                <a:gd name="connsiteX1074" fmla="*/ 73410 w 250456"/>
                <a:gd name="connsiteY1074" fmla="*/ 209434 h 405912"/>
                <a:gd name="connsiteX1075" fmla="*/ 73410 w 250456"/>
                <a:gd name="connsiteY1075" fmla="*/ 210729 h 405912"/>
                <a:gd name="connsiteX1076" fmla="*/ 72978 w 250456"/>
                <a:gd name="connsiteY1076" fmla="*/ 211593 h 405912"/>
                <a:gd name="connsiteX1077" fmla="*/ 74273 w 250456"/>
                <a:gd name="connsiteY1077" fmla="*/ 210729 h 405912"/>
                <a:gd name="connsiteX1078" fmla="*/ 75137 w 250456"/>
                <a:gd name="connsiteY1078" fmla="*/ 207706 h 405912"/>
                <a:gd name="connsiteX1079" fmla="*/ 75569 w 250456"/>
                <a:gd name="connsiteY1079" fmla="*/ 207706 h 405912"/>
                <a:gd name="connsiteX1080" fmla="*/ 78160 w 250456"/>
                <a:gd name="connsiteY1080" fmla="*/ 204252 h 405912"/>
                <a:gd name="connsiteX1081" fmla="*/ 77728 w 250456"/>
                <a:gd name="connsiteY1081" fmla="*/ 204252 h 405912"/>
                <a:gd name="connsiteX1082" fmla="*/ 76864 w 250456"/>
                <a:gd name="connsiteY1082" fmla="*/ 204684 h 405912"/>
                <a:gd name="connsiteX1083" fmla="*/ 76001 w 250456"/>
                <a:gd name="connsiteY1083" fmla="*/ 205979 h 405912"/>
                <a:gd name="connsiteX1084" fmla="*/ 75137 w 250456"/>
                <a:gd name="connsiteY1084" fmla="*/ 207275 h 405912"/>
                <a:gd name="connsiteX1085" fmla="*/ 75137 w 250456"/>
                <a:gd name="connsiteY1085" fmla="*/ 207706 h 405912"/>
                <a:gd name="connsiteX1086" fmla="*/ 82046 w 250456"/>
                <a:gd name="connsiteY1086" fmla="*/ 206411 h 405912"/>
                <a:gd name="connsiteX1087" fmla="*/ 82478 w 250456"/>
                <a:gd name="connsiteY1087" fmla="*/ 205547 h 405912"/>
                <a:gd name="connsiteX1088" fmla="*/ 82046 w 250456"/>
                <a:gd name="connsiteY1088" fmla="*/ 204252 h 405912"/>
                <a:gd name="connsiteX1089" fmla="*/ 83342 w 250456"/>
                <a:gd name="connsiteY1089" fmla="*/ 202525 h 405912"/>
                <a:gd name="connsiteX1090" fmla="*/ 84637 w 250456"/>
                <a:gd name="connsiteY1090" fmla="*/ 202093 h 405912"/>
                <a:gd name="connsiteX1091" fmla="*/ 85069 w 250456"/>
                <a:gd name="connsiteY1091" fmla="*/ 202093 h 405912"/>
                <a:gd name="connsiteX1092" fmla="*/ 85501 w 250456"/>
                <a:gd name="connsiteY1092" fmla="*/ 202525 h 405912"/>
                <a:gd name="connsiteX1093" fmla="*/ 85501 w 250456"/>
                <a:gd name="connsiteY1093" fmla="*/ 203820 h 405912"/>
                <a:gd name="connsiteX1094" fmla="*/ 85933 w 250456"/>
                <a:gd name="connsiteY1094" fmla="*/ 204252 h 405912"/>
                <a:gd name="connsiteX1095" fmla="*/ 86364 w 250456"/>
                <a:gd name="connsiteY1095" fmla="*/ 204252 h 405912"/>
                <a:gd name="connsiteX1096" fmla="*/ 87228 w 250456"/>
                <a:gd name="connsiteY1096" fmla="*/ 204684 h 405912"/>
                <a:gd name="connsiteX1097" fmla="*/ 87228 w 250456"/>
                <a:gd name="connsiteY1097" fmla="*/ 205979 h 405912"/>
                <a:gd name="connsiteX1098" fmla="*/ 86364 w 250456"/>
                <a:gd name="connsiteY1098" fmla="*/ 207706 h 405912"/>
                <a:gd name="connsiteX1099" fmla="*/ 85501 w 250456"/>
                <a:gd name="connsiteY1099" fmla="*/ 208138 h 405912"/>
                <a:gd name="connsiteX1100" fmla="*/ 85069 w 250456"/>
                <a:gd name="connsiteY1100" fmla="*/ 208138 h 405912"/>
                <a:gd name="connsiteX1101" fmla="*/ 83774 w 250456"/>
                <a:gd name="connsiteY1101" fmla="*/ 209866 h 405912"/>
                <a:gd name="connsiteX1102" fmla="*/ 81183 w 250456"/>
                <a:gd name="connsiteY1102" fmla="*/ 209866 h 405912"/>
                <a:gd name="connsiteX1103" fmla="*/ 82046 w 250456"/>
                <a:gd name="connsiteY1103" fmla="*/ 206411 h 405912"/>
                <a:gd name="connsiteX1104" fmla="*/ 83774 w 250456"/>
                <a:gd name="connsiteY1104" fmla="*/ 226707 h 405912"/>
                <a:gd name="connsiteX1105" fmla="*/ 84205 w 250456"/>
                <a:gd name="connsiteY1105" fmla="*/ 227570 h 405912"/>
                <a:gd name="connsiteX1106" fmla="*/ 83774 w 250456"/>
                <a:gd name="connsiteY1106" fmla="*/ 228002 h 405912"/>
                <a:gd name="connsiteX1107" fmla="*/ 83342 w 250456"/>
                <a:gd name="connsiteY1107" fmla="*/ 228002 h 405912"/>
                <a:gd name="connsiteX1108" fmla="*/ 83342 w 250456"/>
                <a:gd name="connsiteY1108" fmla="*/ 227138 h 405912"/>
                <a:gd name="connsiteX1109" fmla="*/ 83774 w 250456"/>
                <a:gd name="connsiteY1109" fmla="*/ 226707 h 405912"/>
                <a:gd name="connsiteX1110" fmla="*/ 83774 w 250456"/>
                <a:gd name="connsiteY1110" fmla="*/ 193888 h 405912"/>
                <a:gd name="connsiteX1111" fmla="*/ 84205 w 250456"/>
                <a:gd name="connsiteY1111" fmla="*/ 193888 h 405912"/>
                <a:gd name="connsiteX1112" fmla="*/ 85069 w 250456"/>
                <a:gd name="connsiteY1112" fmla="*/ 193025 h 405912"/>
                <a:gd name="connsiteX1113" fmla="*/ 84637 w 250456"/>
                <a:gd name="connsiteY1113" fmla="*/ 193025 h 405912"/>
                <a:gd name="connsiteX1114" fmla="*/ 84637 w 250456"/>
                <a:gd name="connsiteY1114" fmla="*/ 192593 h 405912"/>
                <a:gd name="connsiteX1115" fmla="*/ 83774 w 250456"/>
                <a:gd name="connsiteY1115" fmla="*/ 193456 h 405912"/>
                <a:gd name="connsiteX1116" fmla="*/ 83774 w 250456"/>
                <a:gd name="connsiteY1116" fmla="*/ 193888 h 405912"/>
                <a:gd name="connsiteX1117" fmla="*/ 87228 w 250456"/>
                <a:gd name="connsiteY1117" fmla="*/ 201661 h 405912"/>
                <a:gd name="connsiteX1118" fmla="*/ 86796 w 250456"/>
                <a:gd name="connsiteY1118" fmla="*/ 201661 h 405912"/>
                <a:gd name="connsiteX1119" fmla="*/ 85933 w 250456"/>
                <a:gd name="connsiteY1119" fmla="*/ 201229 h 405912"/>
                <a:gd name="connsiteX1120" fmla="*/ 87228 w 250456"/>
                <a:gd name="connsiteY1120" fmla="*/ 200366 h 405912"/>
                <a:gd name="connsiteX1121" fmla="*/ 87228 w 250456"/>
                <a:gd name="connsiteY1121" fmla="*/ 201661 h 405912"/>
                <a:gd name="connsiteX1122" fmla="*/ 90251 w 250456"/>
                <a:gd name="connsiteY1122" fmla="*/ 196047 h 405912"/>
                <a:gd name="connsiteX1123" fmla="*/ 90683 w 250456"/>
                <a:gd name="connsiteY1123" fmla="*/ 196479 h 405912"/>
                <a:gd name="connsiteX1124" fmla="*/ 94569 w 250456"/>
                <a:gd name="connsiteY1124" fmla="*/ 195615 h 405912"/>
                <a:gd name="connsiteX1125" fmla="*/ 94569 w 250456"/>
                <a:gd name="connsiteY1125" fmla="*/ 195184 h 405912"/>
                <a:gd name="connsiteX1126" fmla="*/ 93274 w 250456"/>
                <a:gd name="connsiteY1126" fmla="*/ 194320 h 405912"/>
                <a:gd name="connsiteX1127" fmla="*/ 90683 w 250456"/>
                <a:gd name="connsiteY1127" fmla="*/ 195615 h 405912"/>
                <a:gd name="connsiteX1128" fmla="*/ 90251 w 250456"/>
                <a:gd name="connsiteY1128" fmla="*/ 196047 h 405912"/>
                <a:gd name="connsiteX1129" fmla="*/ 91546 w 250456"/>
                <a:gd name="connsiteY1129" fmla="*/ 184388 h 405912"/>
                <a:gd name="connsiteX1130" fmla="*/ 91978 w 250456"/>
                <a:gd name="connsiteY1130" fmla="*/ 183956 h 405912"/>
                <a:gd name="connsiteX1131" fmla="*/ 91546 w 250456"/>
                <a:gd name="connsiteY1131" fmla="*/ 183956 h 405912"/>
                <a:gd name="connsiteX1132" fmla="*/ 91546 w 250456"/>
                <a:gd name="connsiteY1132" fmla="*/ 184388 h 405912"/>
                <a:gd name="connsiteX1133" fmla="*/ 102342 w 250456"/>
                <a:gd name="connsiteY1133" fmla="*/ 96296 h 405912"/>
                <a:gd name="connsiteX1134" fmla="*/ 101478 w 250456"/>
                <a:gd name="connsiteY1134" fmla="*/ 96728 h 405912"/>
                <a:gd name="connsiteX1135" fmla="*/ 101910 w 250456"/>
                <a:gd name="connsiteY1135" fmla="*/ 95865 h 405912"/>
                <a:gd name="connsiteX1136" fmla="*/ 102342 w 250456"/>
                <a:gd name="connsiteY1136" fmla="*/ 95865 h 405912"/>
                <a:gd name="connsiteX1137" fmla="*/ 102342 w 250456"/>
                <a:gd name="connsiteY1137" fmla="*/ 96296 h 405912"/>
                <a:gd name="connsiteX1138" fmla="*/ 103206 w 250456"/>
                <a:gd name="connsiteY1138" fmla="*/ 178343 h 405912"/>
                <a:gd name="connsiteX1139" fmla="*/ 102774 w 250456"/>
                <a:gd name="connsiteY1139" fmla="*/ 178774 h 405912"/>
                <a:gd name="connsiteX1140" fmla="*/ 102342 w 250456"/>
                <a:gd name="connsiteY1140" fmla="*/ 178774 h 405912"/>
                <a:gd name="connsiteX1141" fmla="*/ 102342 w 250456"/>
                <a:gd name="connsiteY1141" fmla="*/ 178343 h 405912"/>
                <a:gd name="connsiteX1142" fmla="*/ 103206 w 250456"/>
                <a:gd name="connsiteY1142" fmla="*/ 178343 h 405912"/>
                <a:gd name="connsiteX1143" fmla="*/ 107956 w 250456"/>
                <a:gd name="connsiteY1143" fmla="*/ 168411 h 405912"/>
                <a:gd name="connsiteX1144" fmla="*/ 108819 w 250456"/>
                <a:gd name="connsiteY1144" fmla="*/ 168842 h 405912"/>
                <a:gd name="connsiteX1145" fmla="*/ 109683 w 250456"/>
                <a:gd name="connsiteY1145" fmla="*/ 167979 h 405912"/>
                <a:gd name="connsiteX1146" fmla="*/ 109683 w 250456"/>
                <a:gd name="connsiteY1146" fmla="*/ 167547 h 405912"/>
                <a:gd name="connsiteX1147" fmla="*/ 108819 w 250456"/>
                <a:gd name="connsiteY1147" fmla="*/ 167115 h 405912"/>
                <a:gd name="connsiteX1148" fmla="*/ 107956 w 250456"/>
                <a:gd name="connsiteY1148" fmla="*/ 167547 h 405912"/>
                <a:gd name="connsiteX1149" fmla="*/ 107956 w 250456"/>
                <a:gd name="connsiteY1149" fmla="*/ 168411 h 405912"/>
                <a:gd name="connsiteX1150" fmla="*/ 115728 w 250456"/>
                <a:gd name="connsiteY1150" fmla="*/ 164092 h 405912"/>
                <a:gd name="connsiteX1151" fmla="*/ 116592 w 250456"/>
                <a:gd name="connsiteY1151" fmla="*/ 164092 h 405912"/>
                <a:gd name="connsiteX1152" fmla="*/ 117456 w 250456"/>
                <a:gd name="connsiteY1152" fmla="*/ 163661 h 405912"/>
                <a:gd name="connsiteX1153" fmla="*/ 117024 w 250456"/>
                <a:gd name="connsiteY1153" fmla="*/ 163229 h 405912"/>
                <a:gd name="connsiteX1154" fmla="*/ 116592 w 250456"/>
                <a:gd name="connsiteY1154" fmla="*/ 162797 h 405912"/>
                <a:gd name="connsiteX1155" fmla="*/ 116160 w 250456"/>
                <a:gd name="connsiteY1155" fmla="*/ 163229 h 405912"/>
                <a:gd name="connsiteX1156" fmla="*/ 115728 w 250456"/>
                <a:gd name="connsiteY1156" fmla="*/ 164092 h 405912"/>
                <a:gd name="connsiteX1157" fmla="*/ 119183 w 250456"/>
                <a:gd name="connsiteY1157" fmla="*/ 167979 h 405912"/>
                <a:gd name="connsiteX1158" fmla="*/ 118319 w 250456"/>
                <a:gd name="connsiteY1158" fmla="*/ 168842 h 405912"/>
                <a:gd name="connsiteX1159" fmla="*/ 118319 w 250456"/>
                <a:gd name="connsiteY1159" fmla="*/ 169274 h 405912"/>
                <a:gd name="connsiteX1160" fmla="*/ 118751 w 250456"/>
                <a:gd name="connsiteY1160" fmla="*/ 169274 h 405912"/>
                <a:gd name="connsiteX1161" fmla="*/ 119615 w 250456"/>
                <a:gd name="connsiteY1161" fmla="*/ 167979 h 405912"/>
                <a:gd name="connsiteX1162" fmla="*/ 119183 w 250456"/>
                <a:gd name="connsiteY1162" fmla="*/ 167979 h 405912"/>
                <a:gd name="connsiteX1163" fmla="*/ 118751 w 250456"/>
                <a:gd name="connsiteY1163" fmla="*/ 234479 h 405912"/>
                <a:gd name="connsiteX1164" fmla="*/ 119615 w 250456"/>
                <a:gd name="connsiteY1164" fmla="*/ 234479 h 405912"/>
                <a:gd name="connsiteX1165" fmla="*/ 119183 w 250456"/>
                <a:gd name="connsiteY1165" fmla="*/ 234911 h 405912"/>
                <a:gd name="connsiteX1166" fmla="*/ 118751 w 250456"/>
                <a:gd name="connsiteY1166" fmla="*/ 234911 h 405912"/>
                <a:gd name="connsiteX1167" fmla="*/ 118751 w 250456"/>
                <a:gd name="connsiteY1167" fmla="*/ 234479 h 405912"/>
                <a:gd name="connsiteX1168" fmla="*/ 120910 w 250456"/>
                <a:gd name="connsiteY1168" fmla="*/ 232320 h 405912"/>
                <a:gd name="connsiteX1169" fmla="*/ 122206 w 250456"/>
                <a:gd name="connsiteY1169" fmla="*/ 232320 h 405912"/>
                <a:gd name="connsiteX1170" fmla="*/ 121342 w 250456"/>
                <a:gd name="connsiteY1170" fmla="*/ 234048 h 405912"/>
                <a:gd name="connsiteX1171" fmla="*/ 119615 w 250456"/>
                <a:gd name="connsiteY1171" fmla="*/ 234479 h 405912"/>
                <a:gd name="connsiteX1172" fmla="*/ 120910 w 250456"/>
                <a:gd name="connsiteY1172" fmla="*/ 232320 h 405912"/>
                <a:gd name="connsiteX1173" fmla="*/ 122206 w 250456"/>
                <a:gd name="connsiteY1173" fmla="*/ 154592 h 405912"/>
                <a:gd name="connsiteX1174" fmla="*/ 123069 w 250456"/>
                <a:gd name="connsiteY1174" fmla="*/ 155456 h 405912"/>
                <a:gd name="connsiteX1175" fmla="*/ 124365 w 250456"/>
                <a:gd name="connsiteY1175" fmla="*/ 154592 h 405912"/>
                <a:gd name="connsiteX1176" fmla="*/ 124365 w 250456"/>
                <a:gd name="connsiteY1176" fmla="*/ 154161 h 405912"/>
                <a:gd name="connsiteX1177" fmla="*/ 123933 w 250456"/>
                <a:gd name="connsiteY1177" fmla="*/ 153729 h 405912"/>
                <a:gd name="connsiteX1178" fmla="*/ 123069 w 250456"/>
                <a:gd name="connsiteY1178" fmla="*/ 154161 h 405912"/>
                <a:gd name="connsiteX1179" fmla="*/ 122637 w 250456"/>
                <a:gd name="connsiteY1179" fmla="*/ 154592 h 405912"/>
                <a:gd name="connsiteX1180" fmla="*/ 122206 w 250456"/>
                <a:gd name="connsiteY1180" fmla="*/ 154592 h 405912"/>
                <a:gd name="connsiteX1181" fmla="*/ 142933 w 250456"/>
                <a:gd name="connsiteY1181" fmla="*/ 141206 h 405912"/>
                <a:gd name="connsiteX1182" fmla="*/ 143797 w 250456"/>
                <a:gd name="connsiteY1182" fmla="*/ 140342 h 405912"/>
                <a:gd name="connsiteX1183" fmla="*/ 144660 w 250456"/>
                <a:gd name="connsiteY1183" fmla="*/ 137751 h 405912"/>
                <a:gd name="connsiteX1184" fmla="*/ 144660 w 250456"/>
                <a:gd name="connsiteY1184" fmla="*/ 137320 h 405912"/>
                <a:gd name="connsiteX1185" fmla="*/ 144229 w 250456"/>
                <a:gd name="connsiteY1185" fmla="*/ 136888 h 405912"/>
                <a:gd name="connsiteX1186" fmla="*/ 142933 w 250456"/>
                <a:gd name="connsiteY1186" fmla="*/ 137751 h 405912"/>
                <a:gd name="connsiteX1187" fmla="*/ 142070 w 250456"/>
                <a:gd name="connsiteY1187" fmla="*/ 139047 h 405912"/>
                <a:gd name="connsiteX1188" fmla="*/ 141638 w 250456"/>
                <a:gd name="connsiteY1188" fmla="*/ 140342 h 405912"/>
                <a:gd name="connsiteX1189" fmla="*/ 142933 w 250456"/>
                <a:gd name="connsiteY1189" fmla="*/ 141206 h 405912"/>
                <a:gd name="connsiteX1190" fmla="*/ 147683 w 250456"/>
                <a:gd name="connsiteY1190" fmla="*/ 138615 h 405912"/>
                <a:gd name="connsiteX1191" fmla="*/ 148547 w 250456"/>
                <a:gd name="connsiteY1191" fmla="*/ 138183 h 405912"/>
                <a:gd name="connsiteX1192" fmla="*/ 148547 w 250456"/>
                <a:gd name="connsiteY1192" fmla="*/ 137751 h 405912"/>
                <a:gd name="connsiteX1193" fmla="*/ 148115 w 250456"/>
                <a:gd name="connsiteY1193" fmla="*/ 137751 h 405912"/>
                <a:gd name="connsiteX1194" fmla="*/ 147683 w 250456"/>
                <a:gd name="connsiteY1194" fmla="*/ 138183 h 405912"/>
                <a:gd name="connsiteX1195" fmla="*/ 147683 w 250456"/>
                <a:gd name="connsiteY1195" fmla="*/ 138615 h 405912"/>
                <a:gd name="connsiteX1196" fmla="*/ 166252 w 250456"/>
                <a:gd name="connsiteY1196" fmla="*/ 166683 h 405912"/>
                <a:gd name="connsiteX1197" fmla="*/ 166252 w 250456"/>
                <a:gd name="connsiteY1197" fmla="*/ 166252 h 405912"/>
                <a:gd name="connsiteX1198" fmla="*/ 164956 w 250456"/>
                <a:gd name="connsiteY1198" fmla="*/ 166683 h 405912"/>
                <a:gd name="connsiteX1199" fmla="*/ 165388 w 250456"/>
                <a:gd name="connsiteY1199" fmla="*/ 167115 h 405912"/>
                <a:gd name="connsiteX1200" fmla="*/ 166252 w 250456"/>
                <a:gd name="connsiteY1200" fmla="*/ 166683 h 405912"/>
                <a:gd name="connsiteX1201" fmla="*/ 177047 w 250456"/>
                <a:gd name="connsiteY1201" fmla="*/ 138183 h 405912"/>
                <a:gd name="connsiteX1202" fmla="*/ 176615 w 250456"/>
                <a:gd name="connsiteY1202" fmla="*/ 138183 h 405912"/>
                <a:gd name="connsiteX1203" fmla="*/ 177479 w 250456"/>
                <a:gd name="connsiteY1203" fmla="*/ 139479 h 405912"/>
                <a:gd name="connsiteX1204" fmla="*/ 177911 w 250456"/>
                <a:gd name="connsiteY1204" fmla="*/ 139479 h 405912"/>
                <a:gd name="connsiteX1205" fmla="*/ 177911 w 250456"/>
                <a:gd name="connsiteY1205" fmla="*/ 139047 h 405912"/>
                <a:gd name="connsiteX1206" fmla="*/ 177047 w 250456"/>
                <a:gd name="connsiteY1206" fmla="*/ 138183 h 405912"/>
                <a:gd name="connsiteX1207" fmla="*/ 199502 w 250456"/>
                <a:gd name="connsiteY1207" fmla="*/ 107524 h 405912"/>
                <a:gd name="connsiteX1208" fmla="*/ 199070 w 250456"/>
                <a:gd name="connsiteY1208" fmla="*/ 107524 h 405912"/>
                <a:gd name="connsiteX1209" fmla="*/ 198638 w 250456"/>
                <a:gd name="connsiteY1209" fmla="*/ 107956 h 405912"/>
                <a:gd name="connsiteX1210" fmla="*/ 199502 w 250456"/>
                <a:gd name="connsiteY1210" fmla="*/ 107524 h 405912"/>
                <a:gd name="connsiteX1211" fmla="*/ 234479 w 250456"/>
                <a:gd name="connsiteY1211" fmla="*/ 85069 h 405912"/>
                <a:gd name="connsiteX1212" fmla="*/ 234479 w 250456"/>
                <a:gd name="connsiteY1212" fmla="*/ 84637 h 405912"/>
                <a:gd name="connsiteX1213" fmla="*/ 234479 w 250456"/>
                <a:gd name="connsiteY1213" fmla="*/ 85069 h 405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</a:cxnLst>
              <a:rect l="l" t="t" r="r" b="b"/>
              <a:pathLst>
                <a:path w="250456" h="405912">
                  <a:moveTo>
                    <a:pt x="104501" y="91114"/>
                  </a:moveTo>
                  <a:cubicBezTo>
                    <a:pt x="104069" y="91114"/>
                    <a:pt x="104069" y="91978"/>
                    <a:pt x="103637" y="92410"/>
                  </a:cubicBezTo>
                  <a:cubicBezTo>
                    <a:pt x="103637" y="93274"/>
                    <a:pt x="103206" y="93705"/>
                    <a:pt x="102342" y="93705"/>
                  </a:cubicBezTo>
                  <a:cubicBezTo>
                    <a:pt x="101046" y="94137"/>
                    <a:pt x="100183" y="95001"/>
                    <a:pt x="100183" y="96728"/>
                  </a:cubicBezTo>
                  <a:cubicBezTo>
                    <a:pt x="100615" y="97160"/>
                    <a:pt x="101046" y="97160"/>
                    <a:pt x="101478" y="97160"/>
                  </a:cubicBezTo>
                  <a:lnTo>
                    <a:pt x="99751" y="99319"/>
                  </a:lnTo>
                  <a:cubicBezTo>
                    <a:pt x="99319" y="100183"/>
                    <a:pt x="98887" y="101046"/>
                    <a:pt x="98024" y="101910"/>
                  </a:cubicBezTo>
                  <a:cubicBezTo>
                    <a:pt x="97592" y="102342"/>
                    <a:pt x="96728" y="102774"/>
                    <a:pt x="96296" y="102774"/>
                  </a:cubicBezTo>
                  <a:cubicBezTo>
                    <a:pt x="95865" y="102774"/>
                    <a:pt x="95865" y="102774"/>
                    <a:pt x="95433" y="102342"/>
                  </a:cubicBezTo>
                  <a:cubicBezTo>
                    <a:pt x="95001" y="102342"/>
                    <a:pt x="94569" y="102774"/>
                    <a:pt x="94569" y="103206"/>
                  </a:cubicBezTo>
                  <a:cubicBezTo>
                    <a:pt x="94569" y="103637"/>
                    <a:pt x="94569" y="103637"/>
                    <a:pt x="95433" y="103637"/>
                  </a:cubicBezTo>
                  <a:cubicBezTo>
                    <a:pt x="95865" y="103637"/>
                    <a:pt x="96296" y="104069"/>
                    <a:pt x="95865" y="104069"/>
                  </a:cubicBezTo>
                  <a:cubicBezTo>
                    <a:pt x="95001" y="106228"/>
                    <a:pt x="94137" y="107956"/>
                    <a:pt x="92842" y="109683"/>
                  </a:cubicBezTo>
                  <a:cubicBezTo>
                    <a:pt x="91978" y="110115"/>
                    <a:pt x="91546" y="110978"/>
                    <a:pt x="91546" y="111842"/>
                  </a:cubicBezTo>
                  <a:cubicBezTo>
                    <a:pt x="91114" y="112706"/>
                    <a:pt x="90683" y="113569"/>
                    <a:pt x="89819" y="114001"/>
                  </a:cubicBezTo>
                  <a:lnTo>
                    <a:pt x="88955" y="115297"/>
                  </a:lnTo>
                  <a:lnTo>
                    <a:pt x="88524" y="115728"/>
                  </a:lnTo>
                  <a:lnTo>
                    <a:pt x="88092" y="115728"/>
                  </a:lnTo>
                  <a:lnTo>
                    <a:pt x="88092" y="114433"/>
                  </a:lnTo>
                  <a:lnTo>
                    <a:pt x="87228" y="114433"/>
                  </a:lnTo>
                  <a:lnTo>
                    <a:pt x="85933" y="115728"/>
                  </a:lnTo>
                  <a:lnTo>
                    <a:pt x="85933" y="116592"/>
                  </a:lnTo>
                  <a:cubicBezTo>
                    <a:pt x="85501" y="117024"/>
                    <a:pt x="86364" y="116592"/>
                    <a:pt x="86796" y="116592"/>
                  </a:cubicBezTo>
                  <a:cubicBezTo>
                    <a:pt x="86796" y="116592"/>
                    <a:pt x="87228" y="116592"/>
                    <a:pt x="86796" y="117024"/>
                  </a:cubicBezTo>
                  <a:cubicBezTo>
                    <a:pt x="87228" y="117024"/>
                    <a:pt x="87228" y="117456"/>
                    <a:pt x="87228" y="117456"/>
                  </a:cubicBezTo>
                  <a:cubicBezTo>
                    <a:pt x="87228" y="117888"/>
                    <a:pt x="86796" y="117888"/>
                    <a:pt x="86796" y="117888"/>
                  </a:cubicBezTo>
                  <a:lnTo>
                    <a:pt x="85069" y="117888"/>
                  </a:lnTo>
                  <a:cubicBezTo>
                    <a:pt x="84637" y="117888"/>
                    <a:pt x="84637" y="117888"/>
                    <a:pt x="84205" y="118319"/>
                  </a:cubicBezTo>
                  <a:lnTo>
                    <a:pt x="84205" y="119615"/>
                  </a:lnTo>
                  <a:cubicBezTo>
                    <a:pt x="84205" y="120047"/>
                    <a:pt x="84637" y="120047"/>
                    <a:pt x="85069" y="120047"/>
                  </a:cubicBezTo>
                  <a:cubicBezTo>
                    <a:pt x="85501" y="120478"/>
                    <a:pt x="85501" y="120478"/>
                    <a:pt x="85501" y="120910"/>
                  </a:cubicBezTo>
                  <a:cubicBezTo>
                    <a:pt x="85501" y="120910"/>
                    <a:pt x="85501" y="121342"/>
                    <a:pt x="85069" y="121342"/>
                  </a:cubicBezTo>
                  <a:cubicBezTo>
                    <a:pt x="85069" y="121774"/>
                    <a:pt x="83774" y="122206"/>
                    <a:pt x="83342" y="122206"/>
                  </a:cubicBezTo>
                  <a:cubicBezTo>
                    <a:pt x="82478" y="122638"/>
                    <a:pt x="81614" y="123069"/>
                    <a:pt x="80751" y="123069"/>
                  </a:cubicBezTo>
                  <a:cubicBezTo>
                    <a:pt x="80751" y="123069"/>
                    <a:pt x="80319" y="123501"/>
                    <a:pt x="80751" y="123501"/>
                  </a:cubicBezTo>
                  <a:cubicBezTo>
                    <a:pt x="80751" y="123933"/>
                    <a:pt x="81183" y="124365"/>
                    <a:pt x="81614" y="124797"/>
                  </a:cubicBezTo>
                  <a:lnTo>
                    <a:pt x="81614" y="125228"/>
                  </a:lnTo>
                  <a:cubicBezTo>
                    <a:pt x="81614" y="125660"/>
                    <a:pt x="81614" y="125660"/>
                    <a:pt x="81183" y="125660"/>
                  </a:cubicBezTo>
                  <a:lnTo>
                    <a:pt x="80751" y="126092"/>
                  </a:lnTo>
                  <a:cubicBezTo>
                    <a:pt x="80751" y="126092"/>
                    <a:pt x="80319" y="126524"/>
                    <a:pt x="80319" y="126956"/>
                  </a:cubicBezTo>
                  <a:cubicBezTo>
                    <a:pt x="80319" y="127388"/>
                    <a:pt x="80751" y="127388"/>
                    <a:pt x="80751" y="127819"/>
                  </a:cubicBezTo>
                  <a:cubicBezTo>
                    <a:pt x="80751" y="128251"/>
                    <a:pt x="81183" y="128251"/>
                    <a:pt x="81183" y="128683"/>
                  </a:cubicBezTo>
                  <a:cubicBezTo>
                    <a:pt x="81183" y="129115"/>
                    <a:pt x="80751" y="129547"/>
                    <a:pt x="80751" y="129978"/>
                  </a:cubicBezTo>
                  <a:cubicBezTo>
                    <a:pt x="80319" y="130410"/>
                    <a:pt x="79887" y="130842"/>
                    <a:pt x="79887" y="131706"/>
                  </a:cubicBezTo>
                  <a:cubicBezTo>
                    <a:pt x="79887" y="131706"/>
                    <a:pt x="79023" y="132138"/>
                    <a:pt x="78592" y="132138"/>
                  </a:cubicBezTo>
                  <a:cubicBezTo>
                    <a:pt x="78592" y="131706"/>
                    <a:pt x="77728" y="132138"/>
                    <a:pt x="77296" y="132569"/>
                  </a:cubicBezTo>
                  <a:lnTo>
                    <a:pt x="77296" y="133433"/>
                  </a:lnTo>
                  <a:cubicBezTo>
                    <a:pt x="77296" y="133865"/>
                    <a:pt x="77296" y="133865"/>
                    <a:pt x="77728" y="133865"/>
                  </a:cubicBezTo>
                  <a:cubicBezTo>
                    <a:pt x="77728" y="134297"/>
                    <a:pt x="77728" y="134729"/>
                    <a:pt x="77296" y="134729"/>
                  </a:cubicBezTo>
                  <a:lnTo>
                    <a:pt x="76433" y="134729"/>
                  </a:lnTo>
                  <a:lnTo>
                    <a:pt x="75569" y="135160"/>
                  </a:lnTo>
                  <a:cubicBezTo>
                    <a:pt x="75137" y="135592"/>
                    <a:pt x="75137" y="136456"/>
                    <a:pt x="75137" y="136888"/>
                  </a:cubicBezTo>
                  <a:lnTo>
                    <a:pt x="75137" y="137320"/>
                  </a:lnTo>
                  <a:cubicBezTo>
                    <a:pt x="75569" y="137751"/>
                    <a:pt x="76001" y="138615"/>
                    <a:pt x="76001" y="139047"/>
                  </a:cubicBezTo>
                  <a:cubicBezTo>
                    <a:pt x="76001" y="139479"/>
                    <a:pt x="75569" y="139479"/>
                    <a:pt x="75569" y="139910"/>
                  </a:cubicBezTo>
                  <a:lnTo>
                    <a:pt x="72978" y="145524"/>
                  </a:lnTo>
                  <a:cubicBezTo>
                    <a:pt x="72546" y="145956"/>
                    <a:pt x="71682" y="146820"/>
                    <a:pt x="70819" y="146820"/>
                  </a:cubicBezTo>
                  <a:cubicBezTo>
                    <a:pt x="70387" y="146820"/>
                    <a:pt x="69955" y="147251"/>
                    <a:pt x="69955" y="147683"/>
                  </a:cubicBezTo>
                  <a:cubicBezTo>
                    <a:pt x="69955" y="148115"/>
                    <a:pt x="69523" y="148547"/>
                    <a:pt x="69523" y="148547"/>
                  </a:cubicBezTo>
                  <a:cubicBezTo>
                    <a:pt x="69523" y="148979"/>
                    <a:pt x="69955" y="148979"/>
                    <a:pt x="69955" y="148979"/>
                  </a:cubicBezTo>
                  <a:lnTo>
                    <a:pt x="70387" y="148979"/>
                  </a:lnTo>
                  <a:cubicBezTo>
                    <a:pt x="70819" y="149410"/>
                    <a:pt x="71251" y="149410"/>
                    <a:pt x="71251" y="149410"/>
                  </a:cubicBezTo>
                  <a:lnTo>
                    <a:pt x="70819" y="149842"/>
                  </a:lnTo>
                  <a:cubicBezTo>
                    <a:pt x="70387" y="150706"/>
                    <a:pt x="69955" y="151570"/>
                    <a:pt x="68660" y="151570"/>
                  </a:cubicBezTo>
                  <a:cubicBezTo>
                    <a:pt x="68228" y="151570"/>
                    <a:pt x="68228" y="152001"/>
                    <a:pt x="68228" y="152001"/>
                  </a:cubicBezTo>
                  <a:cubicBezTo>
                    <a:pt x="68228" y="152001"/>
                    <a:pt x="68228" y="152433"/>
                    <a:pt x="68660" y="152433"/>
                  </a:cubicBezTo>
                  <a:cubicBezTo>
                    <a:pt x="68660" y="152865"/>
                    <a:pt x="69092" y="152865"/>
                    <a:pt x="69092" y="153297"/>
                  </a:cubicBezTo>
                  <a:cubicBezTo>
                    <a:pt x="69092" y="153729"/>
                    <a:pt x="68660" y="154161"/>
                    <a:pt x="68660" y="154161"/>
                  </a:cubicBezTo>
                  <a:cubicBezTo>
                    <a:pt x="67796" y="155024"/>
                    <a:pt x="67364" y="156320"/>
                    <a:pt x="67364" y="157615"/>
                  </a:cubicBezTo>
                  <a:cubicBezTo>
                    <a:pt x="67364" y="158047"/>
                    <a:pt x="67364" y="158479"/>
                    <a:pt x="66932" y="158911"/>
                  </a:cubicBezTo>
                  <a:cubicBezTo>
                    <a:pt x="66069" y="159774"/>
                    <a:pt x="65637" y="161502"/>
                    <a:pt x="64342" y="162365"/>
                  </a:cubicBezTo>
                  <a:cubicBezTo>
                    <a:pt x="63478" y="162797"/>
                    <a:pt x="63478" y="163661"/>
                    <a:pt x="63478" y="164092"/>
                  </a:cubicBezTo>
                  <a:cubicBezTo>
                    <a:pt x="63478" y="165388"/>
                    <a:pt x="63478" y="166252"/>
                    <a:pt x="62182" y="167547"/>
                  </a:cubicBezTo>
                  <a:cubicBezTo>
                    <a:pt x="61319" y="168411"/>
                    <a:pt x="61319" y="170138"/>
                    <a:pt x="60455" y="171433"/>
                  </a:cubicBezTo>
                  <a:cubicBezTo>
                    <a:pt x="60455" y="172297"/>
                    <a:pt x="60023" y="172729"/>
                    <a:pt x="59160" y="173161"/>
                  </a:cubicBezTo>
                  <a:cubicBezTo>
                    <a:pt x="58728" y="173593"/>
                    <a:pt x="58728" y="174024"/>
                    <a:pt x="58728" y="174456"/>
                  </a:cubicBezTo>
                  <a:lnTo>
                    <a:pt x="58728" y="175320"/>
                  </a:lnTo>
                  <a:cubicBezTo>
                    <a:pt x="58728" y="176615"/>
                    <a:pt x="58296" y="177911"/>
                    <a:pt x="57864" y="178774"/>
                  </a:cubicBezTo>
                  <a:cubicBezTo>
                    <a:pt x="57432" y="179638"/>
                    <a:pt x="57432" y="180502"/>
                    <a:pt x="57001" y="180934"/>
                  </a:cubicBezTo>
                  <a:lnTo>
                    <a:pt x="53978" y="190434"/>
                  </a:lnTo>
                  <a:cubicBezTo>
                    <a:pt x="53114" y="192593"/>
                    <a:pt x="53114" y="195184"/>
                    <a:pt x="53114" y="197343"/>
                  </a:cubicBezTo>
                  <a:cubicBezTo>
                    <a:pt x="53114" y="197775"/>
                    <a:pt x="53114" y="198638"/>
                    <a:pt x="53546" y="199070"/>
                  </a:cubicBezTo>
                  <a:lnTo>
                    <a:pt x="53546" y="199502"/>
                  </a:lnTo>
                  <a:cubicBezTo>
                    <a:pt x="53546" y="199934"/>
                    <a:pt x="53114" y="200366"/>
                    <a:pt x="52682" y="200797"/>
                  </a:cubicBezTo>
                  <a:cubicBezTo>
                    <a:pt x="51819" y="201229"/>
                    <a:pt x="51387" y="201661"/>
                    <a:pt x="51387" y="202525"/>
                  </a:cubicBezTo>
                  <a:cubicBezTo>
                    <a:pt x="50955" y="202956"/>
                    <a:pt x="50523" y="202956"/>
                    <a:pt x="50091" y="202956"/>
                  </a:cubicBezTo>
                  <a:lnTo>
                    <a:pt x="49660" y="202956"/>
                  </a:lnTo>
                  <a:lnTo>
                    <a:pt x="47500" y="201229"/>
                  </a:lnTo>
                  <a:lnTo>
                    <a:pt x="47069" y="200797"/>
                  </a:lnTo>
                  <a:cubicBezTo>
                    <a:pt x="46637" y="200797"/>
                    <a:pt x="46637" y="201229"/>
                    <a:pt x="46205" y="201661"/>
                  </a:cubicBezTo>
                  <a:lnTo>
                    <a:pt x="45341" y="203820"/>
                  </a:lnTo>
                  <a:cubicBezTo>
                    <a:pt x="45341" y="204252"/>
                    <a:pt x="44910" y="204684"/>
                    <a:pt x="44478" y="204684"/>
                  </a:cubicBezTo>
                  <a:cubicBezTo>
                    <a:pt x="44046" y="204684"/>
                    <a:pt x="44046" y="204252"/>
                    <a:pt x="44046" y="203820"/>
                  </a:cubicBezTo>
                  <a:cubicBezTo>
                    <a:pt x="44046" y="202956"/>
                    <a:pt x="43614" y="202525"/>
                    <a:pt x="42750" y="202525"/>
                  </a:cubicBezTo>
                  <a:lnTo>
                    <a:pt x="42319" y="202956"/>
                  </a:lnTo>
                  <a:lnTo>
                    <a:pt x="42319" y="203820"/>
                  </a:lnTo>
                  <a:cubicBezTo>
                    <a:pt x="42319" y="205115"/>
                    <a:pt x="41455" y="205979"/>
                    <a:pt x="41455" y="207275"/>
                  </a:cubicBezTo>
                  <a:cubicBezTo>
                    <a:pt x="41455" y="207706"/>
                    <a:pt x="41023" y="208570"/>
                    <a:pt x="41023" y="209002"/>
                  </a:cubicBezTo>
                  <a:cubicBezTo>
                    <a:pt x="41023" y="209434"/>
                    <a:pt x="40591" y="209866"/>
                    <a:pt x="40591" y="209866"/>
                  </a:cubicBezTo>
                  <a:cubicBezTo>
                    <a:pt x="40591" y="210297"/>
                    <a:pt x="41023" y="210297"/>
                    <a:pt x="41887" y="210297"/>
                  </a:cubicBezTo>
                  <a:cubicBezTo>
                    <a:pt x="42319" y="210297"/>
                    <a:pt x="42750" y="210297"/>
                    <a:pt x="42750" y="210729"/>
                  </a:cubicBezTo>
                  <a:lnTo>
                    <a:pt x="41887" y="212888"/>
                  </a:lnTo>
                  <a:cubicBezTo>
                    <a:pt x="40591" y="214616"/>
                    <a:pt x="39728" y="216775"/>
                    <a:pt x="39728" y="218934"/>
                  </a:cubicBezTo>
                  <a:cubicBezTo>
                    <a:pt x="39728" y="220229"/>
                    <a:pt x="39296" y="221525"/>
                    <a:pt x="39296" y="222820"/>
                  </a:cubicBezTo>
                  <a:cubicBezTo>
                    <a:pt x="39296" y="223252"/>
                    <a:pt x="38864" y="223252"/>
                    <a:pt x="38432" y="223684"/>
                  </a:cubicBezTo>
                  <a:lnTo>
                    <a:pt x="38000" y="223684"/>
                  </a:lnTo>
                  <a:lnTo>
                    <a:pt x="38432" y="224116"/>
                  </a:lnTo>
                  <a:cubicBezTo>
                    <a:pt x="39296" y="224547"/>
                    <a:pt x="39296" y="224547"/>
                    <a:pt x="39296" y="224979"/>
                  </a:cubicBezTo>
                  <a:cubicBezTo>
                    <a:pt x="38864" y="225411"/>
                    <a:pt x="38432" y="225843"/>
                    <a:pt x="38432" y="226275"/>
                  </a:cubicBezTo>
                  <a:cubicBezTo>
                    <a:pt x="38432" y="226707"/>
                    <a:pt x="38864" y="226707"/>
                    <a:pt x="38864" y="227138"/>
                  </a:cubicBezTo>
                  <a:cubicBezTo>
                    <a:pt x="39296" y="227570"/>
                    <a:pt x="38000" y="228434"/>
                    <a:pt x="38432" y="228866"/>
                  </a:cubicBezTo>
                  <a:lnTo>
                    <a:pt x="38432" y="229298"/>
                  </a:lnTo>
                  <a:cubicBezTo>
                    <a:pt x="38432" y="229729"/>
                    <a:pt x="38432" y="229729"/>
                    <a:pt x="38000" y="229729"/>
                  </a:cubicBezTo>
                  <a:cubicBezTo>
                    <a:pt x="38000" y="230161"/>
                    <a:pt x="37569" y="230161"/>
                    <a:pt x="37569" y="230593"/>
                  </a:cubicBezTo>
                  <a:lnTo>
                    <a:pt x="37569" y="231025"/>
                  </a:lnTo>
                  <a:cubicBezTo>
                    <a:pt x="38000" y="232320"/>
                    <a:pt x="38000" y="233616"/>
                    <a:pt x="38000" y="234911"/>
                  </a:cubicBezTo>
                  <a:cubicBezTo>
                    <a:pt x="37569" y="235775"/>
                    <a:pt x="37137" y="236639"/>
                    <a:pt x="36273" y="237070"/>
                  </a:cubicBezTo>
                  <a:cubicBezTo>
                    <a:pt x="35841" y="237502"/>
                    <a:pt x="35841" y="237502"/>
                    <a:pt x="35841" y="237934"/>
                  </a:cubicBezTo>
                  <a:cubicBezTo>
                    <a:pt x="35841" y="238366"/>
                    <a:pt x="35841" y="238366"/>
                    <a:pt x="36273" y="238798"/>
                  </a:cubicBezTo>
                  <a:cubicBezTo>
                    <a:pt x="36705" y="239230"/>
                    <a:pt x="37137" y="239661"/>
                    <a:pt x="37137" y="240093"/>
                  </a:cubicBezTo>
                  <a:lnTo>
                    <a:pt x="37137" y="240525"/>
                  </a:lnTo>
                  <a:cubicBezTo>
                    <a:pt x="36705" y="242684"/>
                    <a:pt x="36705" y="244411"/>
                    <a:pt x="35409" y="246139"/>
                  </a:cubicBezTo>
                  <a:lnTo>
                    <a:pt x="35409" y="247434"/>
                  </a:lnTo>
                  <a:cubicBezTo>
                    <a:pt x="35409" y="247866"/>
                    <a:pt x="35409" y="247866"/>
                    <a:pt x="34978" y="247866"/>
                  </a:cubicBezTo>
                  <a:cubicBezTo>
                    <a:pt x="34546" y="248298"/>
                    <a:pt x="34546" y="248730"/>
                    <a:pt x="34546" y="249593"/>
                  </a:cubicBezTo>
                  <a:cubicBezTo>
                    <a:pt x="34546" y="250025"/>
                    <a:pt x="34114" y="250457"/>
                    <a:pt x="34114" y="250889"/>
                  </a:cubicBezTo>
                  <a:cubicBezTo>
                    <a:pt x="34114" y="252184"/>
                    <a:pt x="34114" y="253048"/>
                    <a:pt x="33682" y="253911"/>
                  </a:cubicBezTo>
                  <a:lnTo>
                    <a:pt x="33682" y="256071"/>
                  </a:lnTo>
                  <a:cubicBezTo>
                    <a:pt x="34114" y="256071"/>
                    <a:pt x="34114" y="256502"/>
                    <a:pt x="34114" y="256934"/>
                  </a:cubicBezTo>
                  <a:cubicBezTo>
                    <a:pt x="34114" y="257366"/>
                    <a:pt x="34114" y="257798"/>
                    <a:pt x="33682" y="258230"/>
                  </a:cubicBezTo>
                  <a:cubicBezTo>
                    <a:pt x="32818" y="259525"/>
                    <a:pt x="31955" y="261252"/>
                    <a:pt x="31955" y="262980"/>
                  </a:cubicBezTo>
                  <a:lnTo>
                    <a:pt x="31955" y="264707"/>
                  </a:lnTo>
                  <a:lnTo>
                    <a:pt x="31091" y="266434"/>
                  </a:lnTo>
                  <a:cubicBezTo>
                    <a:pt x="30659" y="266866"/>
                    <a:pt x="30659" y="267298"/>
                    <a:pt x="30659" y="267730"/>
                  </a:cubicBezTo>
                  <a:lnTo>
                    <a:pt x="30659" y="269457"/>
                  </a:lnTo>
                  <a:cubicBezTo>
                    <a:pt x="30228" y="269889"/>
                    <a:pt x="30228" y="269889"/>
                    <a:pt x="30228" y="270321"/>
                  </a:cubicBezTo>
                  <a:cubicBezTo>
                    <a:pt x="30228" y="270753"/>
                    <a:pt x="30228" y="271184"/>
                    <a:pt x="30659" y="271184"/>
                  </a:cubicBezTo>
                  <a:lnTo>
                    <a:pt x="31091" y="271616"/>
                  </a:lnTo>
                  <a:lnTo>
                    <a:pt x="31091" y="273775"/>
                  </a:lnTo>
                  <a:cubicBezTo>
                    <a:pt x="31091" y="274639"/>
                    <a:pt x="31091" y="275503"/>
                    <a:pt x="30228" y="275934"/>
                  </a:cubicBezTo>
                  <a:cubicBezTo>
                    <a:pt x="30228" y="275934"/>
                    <a:pt x="29796" y="276366"/>
                    <a:pt x="30228" y="276366"/>
                  </a:cubicBezTo>
                  <a:cubicBezTo>
                    <a:pt x="30228" y="277230"/>
                    <a:pt x="30659" y="277662"/>
                    <a:pt x="30659" y="278094"/>
                  </a:cubicBezTo>
                  <a:cubicBezTo>
                    <a:pt x="30659" y="278525"/>
                    <a:pt x="30228" y="279389"/>
                    <a:pt x="30228" y="279821"/>
                  </a:cubicBezTo>
                  <a:lnTo>
                    <a:pt x="29796" y="280253"/>
                  </a:lnTo>
                  <a:cubicBezTo>
                    <a:pt x="30228" y="280684"/>
                    <a:pt x="30228" y="281116"/>
                    <a:pt x="30228" y="281548"/>
                  </a:cubicBezTo>
                  <a:cubicBezTo>
                    <a:pt x="30228" y="281980"/>
                    <a:pt x="29796" y="282843"/>
                    <a:pt x="29364" y="283275"/>
                  </a:cubicBezTo>
                  <a:cubicBezTo>
                    <a:pt x="28932" y="283275"/>
                    <a:pt x="28932" y="283707"/>
                    <a:pt x="28932" y="284139"/>
                  </a:cubicBezTo>
                  <a:lnTo>
                    <a:pt x="28932" y="284571"/>
                  </a:lnTo>
                  <a:cubicBezTo>
                    <a:pt x="29364" y="284571"/>
                    <a:pt x="29796" y="284571"/>
                    <a:pt x="29796" y="285003"/>
                  </a:cubicBezTo>
                  <a:cubicBezTo>
                    <a:pt x="29796" y="285434"/>
                    <a:pt x="29364" y="285866"/>
                    <a:pt x="29364" y="286298"/>
                  </a:cubicBezTo>
                  <a:lnTo>
                    <a:pt x="29364" y="291048"/>
                  </a:lnTo>
                  <a:cubicBezTo>
                    <a:pt x="29364" y="292344"/>
                    <a:pt x="29796" y="293639"/>
                    <a:pt x="29796" y="295366"/>
                  </a:cubicBezTo>
                  <a:cubicBezTo>
                    <a:pt x="29796" y="296230"/>
                    <a:pt x="29796" y="297094"/>
                    <a:pt x="29364" y="297957"/>
                  </a:cubicBezTo>
                  <a:lnTo>
                    <a:pt x="29364" y="302707"/>
                  </a:lnTo>
                  <a:lnTo>
                    <a:pt x="28500" y="306162"/>
                  </a:lnTo>
                  <a:lnTo>
                    <a:pt x="28068" y="306594"/>
                  </a:lnTo>
                  <a:cubicBezTo>
                    <a:pt x="28068" y="306594"/>
                    <a:pt x="28068" y="307026"/>
                    <a:pt x="28500" y="307026"/>
                  </a:cubicBezTo>
                  <a:cubicBezTo>
                    <a:pt x="28500" y="307457"/>
                    <a:pt x="28932" y="307889"/>
                    <a:pt x="28932" y="308321"/>
                  </a:cubicBezTo>
                  <a:cubicBezTo>
                    <a:pt x="28932" y="308753"/>
                    <a:pt x="28500" y="308753"/>
                    <a:pt x="28500" y="309185"/>
                  </a:cubicBezTo>
                  <a:cubicBezTo>
                    <a:pt x="28500" y="309185"/>
                    <a:pt x="28068" y="309617"/>
                    <a:pt x="28068" y="310048"/>
                  </a:cubicBezTo>
                  <a:cubicBezTo>
                    <a:pt x="28500" y="310480"/>
                    <a:pt x="28932" y="310480"/>
                    <a:pt x="28932" y="310912"/>
                  </a:cubicBezTo>
                  <a:lnTo>
                    <a:pt x="28500" y="311344"/>
                  </a:lnTo>
                  <a:cubicBezTo>
                    <a:pt x="28068" y="311776"/>
                    <a:pt x="28068" y="311776"/>
                    <a:pt x="28068" y="312207"/>
                  </a:cubicBezTo>
                  <a:cubicBezTo>
                    <a:pt x="27637" y="312639"/>
                    <a:pt x="27637" y="312639"/>
                    <a:pt x="27637" y="313071"/>
                  </a:cubicBezTo>
                  <a:cubicBezTo>
                    <a:pt x="27637" y="313503"/>
                    <a:pt x="27637" y="313503"/>
                    <a:pt x="28068" y="313935"/>
                  </a:cubicBezTo>
                  <a:lnTo>
                    <a:pt x="28068" y="317389"/>
                  </a:lnTo>
                  <a:cubicBezTo>
                    <a:pt x="28068" y="318685"/>
                    <a:pt x="27205" y="319980"/>
                    <a:pt x="27205" y="321276"/>
                  </a:cubicBezTo>
                  <a:lnTo>
                    <a:pt x="27205" y="322571"/>
                  </a:lnTo>
                  <a:cubicBezTo>
                    <a:pt x="27637" y="323003"/>
                    <a:pt x="28068" y="323867"/>
                    <a:pt x="28068" y="324298"/>
                  </a:cubicBezTo>
                  <a:cubicBezTo>
                    <a:pt x="28068" y="324730"/>
                    <a:pt x="27637" y="325162"/>
                    <a:pt x="27637" y="325594"/>
                  </a:cubicBezTo>
                  <a:cubicBezTo>
                    <a:pt x="27205" y="326026"/>
                    <a:pt x="27205" y="326458"/>
                    <a:pt x="27205" y="326889"/>
                  </a:cubicBezTo>
                  <a:cubicBezTo>
                    <a:pt x="27205" y="327321"/>
                    <a:pt x="27205" y="328185"/>
                    <a:pt x="27637" y="329048"/>
                  </a:cubicBezTo>
                  <a:cubicBezTo>
                    <a:pt x="27637" y="330344"/>
                    <a:pt x="27637" y="331639"/>
                    <a:pt x="27205" y="332935"/>
                  </a:cubicBezTo>
                  <a:cubicBezTo>
                    <a:pt x="27205" y="333367"/>
                    <a:pt x="26773" y="334230"/>
                    <a:pt x="26773" y="335094"/>
                  </a:cubicBezTo>
                  <a:cubicBezTo>
                    <a:pt x="26773" y="335526"/>
                    <a:pt x="26773" y="335526"/>
                    <a:pt x="27205" y="335958"/>
                  </a:cubicBezTo>
                  <a:cubicBezTo>
                    <a:pt x="27637" y="336390"/>
                    <a:pt x="27637" y="336821"/>
                    <a:pt x="27637" y="337685"/>
                  </a:cubicBezTo>
                  <a:cubicBezTo>
                    <a:pt x="27205" y="339412"/>
                    <a:pt x="27205" y="341571"/>
                    <a:pt x="27205" y="343299"/>
                  </a:cubicBezTo>
                  <a:cubicBezTo>
                    <a:pt x="26773" y="344162"/>
                    <a:pt x="26773" y="344594"/>
                    <a:pt x="26773" y="345026"/>
                  </a:cubicBezTo>
                  <a:cubicBezTo>
                    <a:pt x="26773" y="345458"/>
                    <a:pt x="26773" y="346321"/>
                    <a:pt x="27205" y="346753"/>
                  </a:cubicBezTo>
                  <a:cubicBezTo>
                    <a:pt x="27205" y="347185"/>
                    <a:pt x="27637" y="347617"/>
                    <a:pt x="27637" y="348049"/>
                  </a:cubicBezTo>
                  <a:cubicBezTo>
                    <a:pt x="27637" y="348912"/>
                    <a:pt x="27205" y="349344"/>
                    <a:pt x="26773" y="350208"/>
                  </a:cubicBezTo>
                  <a:cubicBezTo>
                    <a:pt x="26341" y="350640"/>
                    <a:pt x="26341" y="351071"/>
                    <a:pt x="26341" y="351503"/>
                  </a:cubicBezTo>
                  <a:lnTo>
                    <a:pt x="27205" y="355390"/>
                  </a:lnTo>
                  <a:cubicBezTo>
                    <a:pt x="27205" y="356253"/>
                    <a:pt x="27637" y="357117"/>
                    <a:pt x="27637" y="357981"/>
                  </a:cubicBezTo>
                  <a:cubicBezTo>
                    <a:pt x="27637" y="358844"/>
                    <a:pt x="27205" y="359708"/>
                    <a:pt x="27205" y="360571"/>
                  </a:cubicBezTo>
                  <a:lnTo>
                    <a:pt x="27205" y="364458"/>
                  </a:lnTo>
                  <a:cubicBezTo>
                    <a:pt x="27637" y="364890"/>
                    <a:pt x="27637" y="365753"/>
                    <a:pt x="27637" y="366185"/>
                  </a:cubicBezTo>
                  <a:cubicBezTo>
                    <a:pt x="27205" y="367049"/>
                    <a:pt x="27205" y="367481"/>
                    <a:pt x="27205" y="368344"/>
                  </a:cubicBezTo>
                  <a:cubicBezTo>
                    <a:pt x="27205" y="368776"/>
                    <a:pt x="27205" y="369208"/>
                    <a:pt x="27637" y="369640"/>
                  </a:cubicBezTo>
                  <a:cubicBezTo>
                    <a:pt x="28068" y="369640"/>
                    <a:pt x="28068" y="370072"/>
                    <a:pt x="28068" y="370503"/>
                  </a:cubicBezTo>
                  <a:cubicBezTo>
                    <a:pt x="28068" y="372663"/>
                    <a:pt x="28068" y="374390"/>
                    <a:pt x="28500" y="376549"/>
                  </a:cubicBezTo>
                  <a:lnTo>
                    <a:pt x="28500" y="377844"/>
                  </a:lnTo>
                  <a:cubicBezTo>
                    <a:pt x="28068" y="378276"/>
                    <a:pt x="27637" y="378708"/>
                    <a:pt x="27637" y="379572"/>
                  </a:cubicBezTo>
                  <a:cubicBezTo>
                    <a:pt x="27637" y="380003"/>
                    <a:pt x="28068" y="380867"/>
                    <a:pt x="28068" y="381299"/>
                  </a:cubicBezTo>
                  <a:lnTo>
                    <a:pt x="28068" y="382163"/>
                  </a:lnTo>
                  <a:cubicBezTo>
                    <a:pt x="28068" y="382594"/>
                    <a:pt x="28068" y="383458"/>
                    <a:pt x="27637" y="383890"/>
                  </a:cubicBezTo>
                  <a:cubicBezTo>
                    <a:pt x="27637" y="386049"/>
                    <a:pt x="28068" y="387776"/>
                    <a:pt x="28500" y="389935"/>
                  </a:cubicBezTo>
                  <a:cubicBezTo>
                    <a:pt x="28500" y="390367"/>
                    <a:pt x="28932" y="390799"/>
                    <a:pt x="28932" y="391231"/>
                  </a:cubicBezTo>
                  <a:cubicBezTo>
                    <a:pt x="28932" y="391663"/>
                    <a:pt x="28500" y="391663"/>
                    <a:pt x="28500" y="392095"/>
                  </a:cubicBezTo>
                  <a:cubicBezTo>
                    <a:pt x="28068" y="392526"/>
                    <a:pt x="28068" y="392958"/>
                    <a:pt x="28068" y="393390"/>
                  </a:cubicBezTo>
                  <a:lnTo>
                    <a:pt x="28068" y="394254"/>
                  </a:lnTo>
                  <a:cubicBezTo>
                    <a:pt x="28068" y="394686"/>
                    <a:pt x="27637" y="395117"/>
                    <a:pt x="27637" y="395117"/>
                  </a:cubicBezTo>
                  <a:cubicBezTo>
                    <a:pt x="27637" y="395549"/>
                    <a:pt x="27205" y="395117"/>
                    <a:pt x="26773" y="395117"/>
                  </a:cubicBezTo>
                  <a:cubicBezTo>
                    <a:pt x="26341" y="395117"/>
                    <a:pt x="26341" y="394686"/>
                    <a:pt x="26341" y="394686"/>
                  </a:cubicBezTo>
                  <a:lnTo>
                    <a:pt x="25909" y="395117"/>
                  </a:lnTo>
                  <a:cubicBezTo>
                    <a:pt x="25478" y="396413"/>
                    <a:pt x="24614" y="397708"/>
                    <a:pt x="23318" y="398140"/>
                  </a:cubicBezTo>
                  <a:cubicBezTo>
                    <a:pt x="23318" y="398140"/>
                    <a:pt x="22455" y="398572"/>
                    <a:pt x="22455" y="399004"/>
                  </a:cubicBezTo>
                  <a:cubicBezTo>
                    <a:pt x="22023" y="399435"/>
                    <a:pt x="21591" y="399867"/>
                    <a:pt x="21159" y="399867"/>
                  </a:cubicBezTo>
                  <a:cubicBezTo>
                    <a:pt x="20727" y="399867"/>
                    <a:pt x="20727" y="399435"/>
                    <a:pt x="20296" y="399435"/>
                  </a:cubicBezTo>
                  <a:cubicBezTo>
                    <a:pt x="19864" y="399004"/>
                    <a:pt x="18568" y="399435"/>
                    <a:pt x="17705" y="398572"/>
                  </a:cubicBezTo>
                  <a:cubicBezTo>
                    <a:pt x="18137" y="398140"/>
                    <a:pt x="17273" y="398572"/>
                    <a:pt x="17273" y="399004"/>
                  </a:cubicBezTo>
                  <a:cubicBezTo>
                    <a:pt x="17273" y="399435"/>
                    <a:pt x="17273" y="400299"/>
                    <a:pt x="16841" y="400731"/>
                  </a:cubicBezTo>
                  <a:cubicBezTo>
                    <a:pt x="16841" y="401163"/>
                    <a:pt x="16841" y="401163"/>
                    <a:pt x="16409" y="401595"/>
                  </a:cubicBezTo>
                  <a:lnTo>
                    <a:pt x="15546" y="401595"/>
                  </a:lnTo>
                  <a:cubicBezTo>
                    <a:pt x="14682" y="400731"/>
                    <a:pt x="13818" y="400299"/>
                    <a:pt x="13386" y="399004"/>
                  </a:cubicBezTo>
                  <a:lnTo>
                    <a:pt x="13386" y="398572"/>
                  </a:lnTo>
                  <a:cubicBezTo>
                    <a:pt x="13386" y="397708"/>
                    <a:pt x="12955" y="397708"/>
                    <a:pt x="12091" y="396845"/>
                  </a:cubicBezTo>
                  <a:lnTo>
                    <a:pt x="11659" y="396845"/>
                  </a:lnTo>
                  <a:lnTo>
                    <a:pt x="11659" y="398572"/>
                  </a:lnTo>
                  <a:cubicBezTo>
                    <a:pt x="11659" y="399004"/>
                    <a:pt x="11659" y="399435"/>
                    <a:pt x="12091" y="399867"/>
                  </a:cubicBezTo>
                  <a:cubicBezTo>
                    <a:pt x="12091" y="400299"/>
                    <a:pt x="12523" y="400299"/>
                    <a:pt x="12523" y="400731"/>
                  </a:cubicBezTo>
                  <a:cubicBezTo>
                    <a:pt x="12523" y="401163"/>
                    <a:pt x="12091" y="401163"/>
                    <a:pt x="11659" y="401595"/>
                  </a:cubicBezTo>
                  <a:cubicBezTo>
                    <a:pt x="11659" y="402026"/>
                    <a:pt x="11227" y="402458"/>
                    <a:pt x="11227" y="402458"/>
                  </a:cubicBezTo>
                  <a:lnTo>
                    <a:pt x="10796" y="402890"/>
                  </a:lnTo>
                  <a:cubicBezTo>
                    <a:pt x="10796" y="402890"/>
                    <a:pt x="10364" y="402890"/>
                    <a:pt x="10364" y="402458"/>
                  </a:cubicBezTo>
                  <a:cubicBezTo>
                    <a:pt x="9932" y="402026"/>
                    <a:pt x="9500" y="401163"/>
                    <a:pt x="9500" y="400299"/>
                  </a:cubicBezTo>
                  <a:lnTo>
                    <a:pt x="8636" y="400299"/>
                  </a:lnTo>
                  <a:cubicBezTo>
                    <a:pt x="8636" y="400731"/>
                    <a:pt x="8205" y="401595"/>
                    <a:pt x="8205" y="402026"/>
                  </a:cubicBezTo>
                  <a:cubicBezTo>
                    <a:pt x="8205" y="402458"/>
                    <a:pt x="8205" y="402890"/>
                    <a:pt x="8636" y="402890"/>
                  </a:cubicBezTo>
                  <a:lnTo>
                    <a:pt x="8636" y="404617"/>
                  </a:lnTo>
                  <a:cubicBezTo>
                    <a:pt x="8636" y="405049"/>
                    <a:pt x="8636" y="405481"/>
                    <a:pt x="9068" y="405913"/>
                  </a:cubicBezTo>
                  <a:cubicBezTo>
                    <a:pt x="9068" y="405913"/>
                    <a:pt x="8636" y="406345"/>
                    <a:pt x="8636" y="405913"/>
                  </a:cubicBezTo>
                  <a:cubicBezTo>
                    <a:pt x="8205" y="405913"/>
                    <a:pt x="7773" y="405481"/>
                    <a:pt x="7341" y="405481"/>
                  </a:cubicBezTo>
                  <a:cubicBezTo>
                    <a:pt x="6909" y="405049"/>
                    <a:pt x="6477" y="404617"/>
                    <a:pt x="6477" y="404186"/>
                  </a:cubicBezTo>
                  <a:cubicBezTo>
                    <a:pt x="6477" y="403322"/>
                    <a:pt x="6477" y="402458"/>
                    <a:pt x="6046" y="401595"/>
                  </a:cubicBezTo>
                  <a:cubicBezTo>
                    <a:pt x="5614" y="401163"/>
                    <a:pt x="5614" y="400299"/>
                    <a:pt x="5614" y="399435"/>
                  </a:cubicBezTo>
                  <a:lnTo>
                    <a:pt x="5614" y="398140"/>
                  </a:lnTo>
                  <a:cubicBezTo>
                    <a:pt x="5614" y="397276"/>
                    <a:pt x="5182" y="396413"/>
                    <a:pt x="4318" y="395981"/>
                  </a:cubicBezTo>
                  <a:cubicBezTo>
                    <a:pt x="3886" y="395549"/>
                    <a:pt x="3455" y="395117"/>
                    <a:pt x="3455" y="394254"/>
                  </a:cubicBezTo>
                  <a:cubicBezTo>
                    <a:pt x="3455" y="393822"/>
                    <a:pt x="3886" y="392958"/>
                    <a:pt x="3886" y="392526"/>
                  </a:cubicBezTo>
                  <a:cubicBezTo>
                    <a:pt x="3886" y="392095"/>
                    <a:pt x="3886" y="391663"/>
                    <a:pt x="3455" y="390799"/>
                  </a:cubicBezTo>
                  <a:cubicBezTo>
                    <a:pt x="3023" y="390367"/>
                    <a:pt x="2591" y="389935"/>
                    <a:pt x="2591" y="389504"/>
                  </a:cubicBezTo>
                  <a:cubicBezTo>
                    <a:pt x="2591" y="389072"/>
                    <a:pt x="2591" y="388640"/>
                    <a:pt x="3023" y="388208"/>
                  </a:cubicBezTo>
                  <a:cubicBezTo>
                    <a:pt x="3023" y="387776"/>
                    <a:pt x="3023" y="387344"/>
                    <a:pt x="2591" y="386913"/>
                  </a:cubicBezTo>
                  <a:cubicBezTo>
                    <a:pt x="2159" y="386481"/>
                    <a:pt x="1727" y="385617"/>
                    <a:pt x="1727" y="385185"/>
                  </a:cubicBezTo>
                  <a:cubicBezTo>
                    <a:pt x="1727" y="384754"/>
                    <a:pt x="2159" y="384322"/>
                    <a:pt x="2159" y="383890"/>
                  </a:cubicBezTo>
                  <a:cubicBezTo>
                    <a:pt x="2591" y="382594"/>
                    <a:pt x="3023" y="381731"/>
                    <a:pt x="3023" y="380435"/>
                  </a:cubicBezTo>
                  <a:lnTo>
                    <a:pt x="3023" y="379140"/>
                  </a:lnTo>
                  <a:cubicBezTo>
                    <a:pt x="3455" y="378708"/>
                    <a:pt x="3455" y="378708"/>
                    <a:pt x="3455" y="378276"/>
                  </a:cubicBezTo>
                  <a:cubicBezTo>
                    <a:pt x="3455" y="377844"/>
                    <a:pt x="3023" y="377413"/>
                    <a:pt x="3023" y="376981"/>
                  </a:cubicBezTo>
                  <a:cubicBezTo>
                    <a:pt x="2591" y="376549"/>
                    <a:pt x="2159" y="375685"/>
                    <a:pt x="2159" y="374822"/>
                  </a:cubicBezTo>
                  <a:cubicBezTo>
                    <a:pt x="2159" y="374390"/>
                    <a:pt x="2159" y="373958"/>
                    <a:pt x="2591" y="373526"/>
                  </a:cubicBezTo>
                  <a:cubicBezTo>
                    <a:pt x="3023" y="373526"/>
                    <a:pt x="2591" y="373094"/>
                    <a:pt x="2159" y="373094"/>
                  </a:cubicBezTo>
                  <a:cubicBezTo>
                    <a:pt x="1727" y="373094"/>
                    <a:pt x="1295" y="373094"/>
                    <a:pt x="1295" y="372231"/>
                  </a:cubicBezTo>
                  <a:cubicBezTo>
                    <a:pt x="1295" y="370503"/>
                    <a:pt x="864" y="368776"/>
                    <a:pt x="864" y="367049"/>
                  </a:cubicBezTo>
                  <a:cubicBezTo>
                    <a:pt x="432" y="366617"/>
                    <a:pt x="432" y="365753"/>
                    <a:pt x="0" y="364890"/>
                  </a:cubicBezTo>
                  <a:cubicBezTo>
                    <a:pt x="0" y="364458"/>
                    <a:pt x="0" y="364026"/>
                    <a:pt x="432" y="363162"/>
                  </a:cubicBezTo>
                  <a:lnTo>
                    <a:pt x="432" y="350640"/>
                  </a:lnTo>
                  <a:cubicBezTo>
                    <a:pt x="432" y="349776"/>
                    <a:pt x="864" y="348480"/>
                    <a:pt x="864" y="347617"/>
                  </a:cubicBezTo>
                  <a:cubicBezTo>
                    <a:pt x="864" y="347185"/>
                    <a:pt x="864" y="346753"/>
                    <a:pt x="432" y="346321"/>
                  </a:cubicBezTo>
                  <a:lnTo>
                    <a:pt x="432" y="344594"/>
                  </a:lnTo>
                  <a:cubicBezTo>
                    <a:pt x="432" y="344162"/>
                    <a:pt x="432" y="343730"/>
                    <a:pt x="864" y="342867"/>
                  </a:cubicBezTo>
                  <a:lnTo>
                    <a:pt x="864" y="339412"/>
                  </a:lnTo>
                  <a:lnTo>
                    <a:pt x="1727" y="337253"/>
                  </a:lnTo>
                  <a:cubicBezTo>
                    <a:pt x="2159" y="337253"/>
                    <a:pt x="2159" y="336821"/>
                    <a:pt x="2159" y="336390"/>
                  </a:cubicBezTo>
                  <a:lnTo>
                    <a:pt x="2159" y="335958"/>
                  </a:lnTo>
                  <a:cubicBezTo>
                    <a:pt x="1727" y="335526"/>
                    <a:pt x="1727" y="335094"/>
                    <a:pt x="1727" y="334662"/>
                  </a:cubicBezTo>
                  <a:cubicBezTo>
                    <a:pt x="1727" y="333799"/>
                    <a:pt x="2159" y="332935"/>
                    <a:pt x="2591" y="332071"/>
                  </a:cubicBezTo>
                  <a:cubicBezTo>
                    <a:pt x="2591" y="331639"/>
                    <a:pt x="3023" y="331208"/>
                    <a:pt x="3023" y="330776"/>
                  </a:cubicBezTo>
                  <a:cubicBezTo>
                    <a:pt x="3023" y="330344"/>
                    <a:pt x="2591" y="330344"/>
                    <a:pt x="2591" y="329912"/>
                  </a:cubicBezTo>
                  <a:cubicBezTo>
                    <a:pt x="2159" y="329912"/>
                    <a:pt x="2159" y="329480"/>
                    <a:pt x="2159" y="329480"/>
                  </a:cubicBezTo>
                  <a:cubicBezTo>
                    <a:pt x="2591" y="329048"/>
                    <a:pt x="2591" y="328617"/>
                    <a:pt x="2591" y="328185"/>
                  </a:cubicBezTo>
                  <a:cubicBezTo>
                    <a:pt x="2591" y="327321"/>
                    <a:pt x="2159" y="326026"/>
                    <a:pt x="1727" y="325162"/>
                  </a:cubicBezTo>
                  <a:cubicBezTo>
                    <a:pt x="1727" y="324730"/>
                    <a:pt x="1727" y="324298"/>
                    <a:pt x="1295" y="323867"/>
                  </a:cubicBezTo>
                  <a:lnTo>
                    <a:pt x="1295" y="316958"/>
                  </a:lnTo>
                  <a:cubicBezTo>
                    <a:pt x="1295" y="316094"/>
                    <a:pt x="1727" y="315230"/>
                    <a:pt x="1727" y="314798"/>
                  </a:cubicBezTo>
                  <a:lnTo>
                    <a:pt x="1727" y="307889"/>
                  </a:lnTo>
                  <a:lnTo>
                    <a:pt x="2591" y="304435"/>
                  </a:lnTo>
                  <a:lnTo>
                    <a:pt x="2591" y="302275"/>
                  </a:lnTo>
                  <a:cubicBezTo>
                    <a:pt x="2591" y="300548"/>
                    <a:pt x="2591" y="299253"/>
                    <a:pt x="3023" y="297526"/>
                  </a:cubicBezTo>
                  <a:cubicBezTo>
                    <a:pt x="3023" y="297094"/>
                    <a:pt x="3023" y="296662"/>
                    <a:pt x="3455" y="296230"/>
                  </a:cubicBezTo>
                  <a:cubicBezTo>
                    <a:pt x="3886" y="295798"/>
                    <a:pt x="3886" y="295798"/>
                    <a:pt x="3886" y="295366"/>
                  </a:cubicBezTo>
                  <a:lnTo>
                    <a:pt x="3886" y="294503"/>
                  </a:lnTo>
                  <a:cubicBezTo>
                    <a:pt x="3455" y="294071"/>
                    <a:pt x="3455" y="293639"/>
                    <a:pt x="3455" y="293207"/>
                  </a:cubicBezTo>
                  <a:lnTo>
                    <a:pt x="3455" y="285866"/>
                  </a:lnTo>
                  <a:cubicBezTo>
                    <a:pt x="3455" y="285434"/>
                    <a:pt x="3455" y="284571"/>
                    <a:pt x="3886" y="283707"/>
                  </a:cubicBezTo>
                  <a:cubicBezTo>
                    <a:pt x="3886" y="281980"/>
                    <a:pt x="4318" y="280684"/>
                    <a:pt x="4750" y="278957"/>
                  </a:cubicBezTo>
                  <a:cubicBezTo>
                    <a:pt x="4750" y="278525"/>
                    <a:pt x="5182" y="278525"/>
                    <a:pt x="5182" y="278094"/>
                  </a:cubicBezTo>
                  <a:cubicBezTo>
                    <a:pt x="5182" y="277662"/>
                    <a:pt x="4750" y="277230"/>
                    <a:pt x="4750" y="276798"/>
                  </a:cubicBezTo>
                  <a:cubicBezTo>
                    <a:pt x="4318" y="276366"/>
                    <a:pt x="4318" y="275934"/>
                    <a:pt x="4318" y="275503"/>
                  </a:cubicBezTo>
                  <a:cubicBezTo>
                    <a:pt x="5614" y="274207"/>
                    <a:pt x="5614" y="272480"/>
                    <a:pt x="5614" y="271184"/>
                  </a:cubicBezTo>
                  <a:cubicBezTo>
                    <a:pt x="5614" y="270321"/>
                    <a:pt x="6046" y="269457"/>
                    <a:pt x="6909" y="269025"/>
                  </a:cubicBezTo>
                  <a:cubicBezTo>
                    <a:pt x="6909" y="268593"/>
                    <a:pt x="7341" y="268593"/>
                    <a:pt x="7341" y="268162"/>
                  </a:cubicBezTo>
                  <a:cubicBezTo>
                    <a:pt x="7341" y="267730"/>
                    <a:pt x="6909" y="267298"/>
                    <a:pt x="6909" y="266866"/>
                  </a:cubicBezTo>
                  <a:cubicBezTo>
                    <a:pt x="6477" y="266434"/>
                    <a:pt x="6046" y="266434"/>
                    <a:pt x="6046" y="266002"/>
                  </a:cubicBezTo>
                  <a:cubicBezTo>
                    <a:pt x="6046" y="265571"/>
                    <a:pt x="6477" y="265139"/>
                    <a:pt x="6477" y="265139"/>
                  </a:cubicBezTo>
                  <a:cubicBezTo>
                    <a:pt x="7341" y="263843"/>
                    <a:pt x="7341" y="262980"/>
                    <a:pt x="7341" y="261684"/>
                  </a:cubicBezTo>
                  <a:lnTo>
                    <a:pt x="7341" y="260821"/>
                  </a:lnTo>
                  <a:cubicBezTo>
                    <a:pt x="7341" y="260389"/>
                    <a:pt x="7341" y="259957"/>
                    <a:pt x="7773" y="259525"/>
                  </a:cubicBezTo>
                  <a:lnTo>
                    <a:pt x="7773" y="258662"/>
                  </a:lnTo>
                  <a:cubicBezTo>
                    <a:pt x="7773" y="257798"/>
                    <a:pt x="8205" y="256502"/>
                    <a:pt x="8205" y="255639"/>
                  </a:cubicBezTo>
                  <a:cubicBezTo>
                    <a:pt x="8205" y="253480"/>
                    <a:pt x="8636" y="251752"/>
                    <a:pt x="9500" y="249593"/>
                  </a:cubicBezTo>
                  <a:cubicBezTo>
                    <a:pt x="9500" y="249161"/>
                    <a:pt x="9932" y="249161"/>
                    <a:pt x="9932" y="248730"/>
                  </a:cubicBezTo>
                  <a:cubicBezTo>
                    <a:pt x="10364" y="248298"/>
                    <a:pt x="10364" y="248298"/>
                    <a:pt x="10364" y="247866"/>
                  </a:cubicBezTo>
                  <a:cubicBezTo>
                    <a:pt x="10364" y="247866"/>
                    <a:pt x="10364" y="247434"/>
                    <a:pt x="9932" y="246570"/>
                  </a:cubicBezTo>
                  <a:cubicBezTo>
                    <a:pt x="9500" y="245707"/>
                    <a:pt x="9500" y="244843"/>
                    <a:pt x="9500" y="243979"/>
                  </a:cubicBezTo>
                  <a:cubicBezTo>
                    <a:pt x="9932" y="242684"/>
                    <a:pt x="9932" y="241820"/>
                    <a:pt x="11227" y="241389"/>
                  </a:cubicBezTo>
                  <a:cubicBezTo>
                    <a:pt x="11227" y="241389"/>
                    <a:pt x="11659" y="240957"/>
                    <a:pt x="11659" y="240525"/>
                  </a:cubicBezTo>
                  <a:lnTo>
                    <a:pt x="11659" y="240093"/>
                  </a:lnTo>
                  <a:cubicBezTo>
                    <a:pt x="11659" y="239661"/>
                    <a:pt x="11659" y="239661"/>
                    <a:pt x="11227" y="239230"/>
                  </a:cubicBezTo>
                  <a:cubicBezTo>
                    <a:pt x="11227" y="238798"/>
                    <a:pt x="10796" y="238366"/>
                    <a:pt x="10796" y="238366"/>
                  </a:cubicBezTo>
                  <a:cubicBezTo>
                    <a:pt x="10796" y="237934"/>
                    <a:pt x="11227" y="237934"/>
                    <a:pt x="11659" y="237502"/>
                  </a:cubicBezTo>
                  <a:lnTo>
                    <a:pt x="12091" y="237070"/>
                  </a:lnTo>
                  <a:cubicBezTo>
                    <a:pt x="12523" y="237070"/>
                    <a:pt x="12091" y="236639"/>
                    <a:pt x="11659" y="236639"/>
                  </a:cubicBezTo>
                  <a:cubicBezTo>
                    <a:pt x="11227" y="236639"/>
                    <a:pt x="10796" y="236207"/>
                    <a:pt x="10796" y="236207"/>
                  </a:cubicBezTo>
                  <a:lnTo>
                    <a:pt x="11659" y="235343"/>
                  </a:lnTo>
                  <a:cubicBezTo>
                    <a:pt x="11659" y="235343"/>
                    <a:pt x="11659" y="234911"/>
                    <a:pt x="12091" y="234479"/>
                  </a:cubicBezTo>
                  <a:cubicBezTo>
                    <a:pt x="12091" y="234479"/>
                    <a:pt x="12523" y="234048"/>
                    <a:pt x="12523" y="233616"/>
                  </a:cubicBezTo>
                  <a:cubicBezTo>
                    <a:pt x="12523" y="233184"/>
                    <a:pt x="12091" y="233184"/>
                    <a:pt x="12091" y="232752"/>
                  </a:cubicBezTo>
                  <a:cubicBezTo>
                    <a:pt x="11659" y="232752"/>
                    <a:pt x="11659" y="232320"/>
                    <a:pt x="11659" y="232320"/>
                  </a:cubicBezTo>
                  <a:cubicBezTo>
                    <a:pt x="11227" y="231889"/>
                    <a:pt x="11227" y="231889"/>
                    <a:pt x="11227" y="231457"/>
                  </a:cubicBezTo>
                  <a:cubicBezTo>
                    <a:pt x="11227" y="231025"/>
                    <a:pt x="11227" y="231025"/>
                    <a:pt x="11659" y="230593"/>
                  </a:cubicBezTo>
                  <a:lnTo>
                    <a:pt x="13386" y="228866"/>
                  </a:lnTo>
                  <a:cubicBezTo>
                    <a:pt x="13386" y="228434"/>
                    <a:pt x="13818" y="228434"/>
                    <a:pt x="13818" y="228002"/>
                  </a:cubicBezTo>
                  <a:cubicBezTo>
                    <a:pt x="13818" y="227570"/>
                    <a:pt x="13386" y="227138"/>
                    <a:pt x="13386" y="226707"/>
                  </a:cubicBezTo>
                  <a:cubicBezTo>
                    <a:pt x="12955" y="226707"/>
                    <a:pt x="12955" y="226275"/>
                    <a:pt x="12955" y="225843"/>
                  </a:cubicBezTo>
                  <a:cubicBezTo>
                    <a:pt x="13386" y="225411"/>
                    <a:pt x="13386" y="224979"/>
                    <a:pt x="13386" y="224547"/>
                  </a:cubicBezTo>
                  <a:cubicBezTo>
                    <a:pt x="12955" y="224116"/>
                    <a:pt x="12955" y="223252"/>
                    <a:pt x="12955" y="222388"/>
                  </a:cubicBezTo>
                  <a:lnTo>
                    <a:pt x="12955" y="221525"/>
                  </a:lnTo>
                  <a:cubicBezTo>
                    <a:pt x="13386" y="220661"/>
                    <a:pt x="13386" y="219366"/>
                    <a:pt x="14682" y="218502"/>
                  </a:cubicBezTo>
                  <a:lnTo>
                    <a:pt x="14682" y="218070"/>
                  </a:lnTo>
                  <a:cubicBezTo>
                    <a:pt x="14682" y="217638"/>
                    <a:pt x="14250" y="217207"/>
                    <a:pt x="14250" y="216775"/>
                  </a:cubicBezTo>
                  <a:cubicBezTo>
                    <a:pt x="14250" y="215479"/>
                    <a:pt x="15114" y="214616"/>
                    <a:pt x="15977" y="213752"/>
                  </a:cubicBezTo>
                  <a:lnTo>
                    <a:pt x="16409" y="213320"/>
                  </a:lnTo>
                  <a:lnTo>
                    <a:pt x="15546" y="212457"/>
                  </a:lnTo>
                  <a:cubicBezTo>
                    <a:pt x="15114" y="212457"/>
                    <a:pt x="14682" y="212025"/>
                    <a:pt x="14682" y="211593"/>
                  </a:cubicBezTo>
                  <a:cubicBezTo>
                    <a:pt x="14682" y="211593"/>
                    <a:pt x="14682" y="211161"/>
                    <a:pt x="15114" y="211161"/>
                  </a:cubicBezTo>
                  <a:lnTo>
                    <a:pt x="15546" y="210729"/>
                  </a:lnTo>
                  <a:lnTo>
                    <a:pt x="15546" y="209866"/>
                  </a:lnTo>
                  <a:cubicBezTo>
                    <a:pt x="15546" y="209434"/>
                    <a:pt x="15977" y="209002"/>
                    <a:pt x="16409" y="209002"/>
                  </a:cubicBezTo>
                  <a:cubicBezTo>
                    <a:pt x="16841" y="209002"/>
                    <a:pt x="17273" y="208570"/>
                    <a:pt x="17273" y="208138"/>
                  </a:cubicBezTo>
                  <a:cubicBezTo>
                    <a:pt x="16841" y="207706"/>
                    <a:pt x="16841" y="207275"/>
                    <a:pt x="16841" y="206843"/>
                  </a:cubicBezTo>
                  <a:cubicBezTo>
                    <a:pt x="16841" y="206411"/>
                    <a:pt x="16841" y="205979"/>
                    <a:pt x="17273" y="205115"/>
                  </a:cubicBezTo>
                  <a:lnTo>
                    <a:pt x="17273" y="204684"/>
                  </a:lnTo>
                  <a:cubicBezTo>
                    <a:pt x="17273" y="203820"/>
                    <a:pt x="17273" y="202525"/>
                    <a:pt x="17705" y="201661"/>
                  </a:cubicBezTo>
                  <a:cubicBezTo>
                    <a:pt x="24182" y="177047"/>
                    <a:pt x="26341" y="154161"/>
                    <a:pt x="33250" y="129547"/>
                  </a:cubicBezTo>
                  <a:lnTo>
                    <a:pt x="33250" y="129115"/>
                  </a:lnTo>
                  <a:cubicBezTo>
                    <a:pt x="34546" y="126956"/>
                    <a:pt x="35841" y="124797"/>
                    <a:pt x="36705" y="122206"/>
                  </a:cubicBezTo>
                  <a:cubicBezTo>
                    <a:pt x="37137" y="121774"/>
                    <a:pt x="37569" y="121342"/>
                    <a:pt x="37569" y="120910"/>
                  </a:cubicBezTo>
                  <a:cubicBezTo>
                    <a:pt x="38000" y="120478"/>
                    <a:pt x="38000" y="120047"/>
                    <a:pt x="38000" y="119615"/>
                  </a:cubicBezTo>
                  <a:lnTo>
                    <a:pt x="38000" y="118751"/>
                  </a:lnTo>
                  <a:cubicBezTo>
                    <a:pt x="38000" y="118319"/>
                    <a:pt x="38000" y="117456"/>
                    <a:pt x="38432" y="117024"/>
                  </a:cubicBezTo>
                  <a:cubicBezTo>
                    <a:pt x="39296" y="116160"/>
                    <a:pt x="39728" y="115728"/>
                    <a:pt x="39728" y="114865"/>
                  </a:cubicBezTo>
                  <a:cubicBezTo>
                    <a:pt x="39728" y="114001"/>
                    <a:pt x="39728" y="112706"/>
                    <a:pt x="41023" y="111842"/>
                  </a:cubicBezTo>
                  <a:lnTo>
                    <a:pt x="41023" y="110546"/>
                  </a:lnTo>
                  <a:cubicBezTo>
                    <a:pt x="41455" y="108819"/>
                    <a:pt x="41887" y="107092"/>
                    <a:pt x="42750" y="105365"/>
                  </a:cubicBezTo>
                  <a:cubicBezTo>
                    <a:pt x="43182" y="105365"/>
                    <a:pt x="43182" y="104933"/>
                    <a:pt x="43182" y="104501"/>
                  </a:cubicBezTo>
                  <a:cubicBezTo>
                    <a:pt x="43182" y="102774"/>
                    <a:pt x="44046" y="101046"/>
                    <a:pt x="44046" y="99319"/>
                  </a:cubicBezTo>
                  <a:cubicBezTo>
                    <a:pt x="44046" y="98887"/>
                    <a:pt x="44478" y="98456"/>
                    <a:pt x="44478" y="98024"/>
                  </a:cubicBezTo>
                  <a:lnTo>
                    <a:pt x="53978" y="72114"/>
                  </a:lnTo>
                  <a:cubicBezTo>
                    <a:pt x="54410" y="69955"/>
                    <a:pt x="55273" y="67796"/>
                    <a:pt x="56569" y="65637"/>
                  </a:cubicBezTo>
                  <a:cubicBezTo>
                    <a:pt x="57001" y="63478"/>
                    <a:pt x="57864" y="61319"/>
                    <a:pt x="58728" y="59160"/>
                  </a:cubicBezTo>
                  <a:cubicBezTo>
                    <a:pt x="59160" y="57432"/>
                    <a:pt x="59591" y="56137"/>
                    <a:pt x="60455" y="54841"/>
                  </a:cubicBezTo>
                  <a:lnTo>
                    <a:pt x="61751" y="50955"/>
                  </a:lnTo>
                  <a:cubicBezTo>
                    <a:pt x="62614" y="50091"/>
                    <a:pt x="63046" y="48796"/>
                    <a:pt x="63478" y="47500"/>
                  </a:cubicBezTo>
                  <a:lnTo>
                    <a:pt x="63478" y="46637"/>
                  </a:lnTo>
                  <a:lnTo>
                    <a:pt x="66069" y="40591"/>
                  </a:lnTo>
                  <a:cubicBezTo>
                    <a:pt x="66069" y="39728"/>
                    <a:pt x="66501" y="38432"/>
                    <a:pt x="66932" y="37569"/>
                  </a:cubicBezTo>
                  <a:lnTo>
                    <a:pt x="67796" y="35841"/>
                  </a:lnTo>
                  <a:lnTo>
                    <a:pt x="68228" y="35409"/>
                  </a:lnTo>
                  <a:lnTo>
                    <a:pt x="68228" y="34546"/>
                  </a:lnTo>
                  <a:cubicBezTo>
                    <a:pt x="68228" y="33250"/>
                    <a:pt x="69092" y="32387"/>
                    <a:pt x="69523" y="31091"/>
                  </a:cubicBezTo>
                  <a:cubicBezTo>
                    <a:pt x="70819" y="28068"/>
                    <a:pt x="71251" y="25478"/>
                    <a:pt x="72546" y="22455"/>
                  </a:cubicBezTo>
                  <a:cubicBezTo>
                    <a:pt x="72978" y="21159"/>
                    <a:pt x="73410" y="19432"/>
                    <a:pt x="74273" y="17705"/>
                  </a:cubicBezTo>
                  <a:lnTo>
                    <a:pt x="75137" y="14250"/>
                  </a:lnTo>
                  <a:cubicBezTo>
                    <a:pt x="75137" y="13387"/>
                    <a:pt x="76001" y="12523"/>
                    <a:pt x="76433" y="11659"/>
                  </a:cubicBezTo>
                  <a:cubicBezTo>
                    <a:pt x="76864" y="9500"/>
                    <a:pt x="78160" y="7773"/>
                    <a:pt x="79023" y="5614"/>
                  </a:cubicBezTo>
                  <a:cubicBezTo>
                    <a:pt x="79023" y="5182"/>
                    <a:pt x="79455" y="4750"/>
                    <a:pt x="79455" y="4318"/>
                  </a:cubicBezTo>
                  <a:lnTo>
                    <a:pt x="82478" y="1727"/>
                  </a:lnTo>
                  <a:cubicBezTo>
                    <a:pt x="82910" y="1296"/>
                    <a:pt x="83342" y="864"/>
                    <a:pt x="83774" y="864"/>
                  </a:cubicBezTo>
                  <a:cubicBezTo>
                    <a:pt x="84205" y="432"/>
                    <a:pt x="85069" y="432"/>
                    <a:pt x="85501" y="432"/>
                  </a:cubicBezTo>
                  <a:cubicBezTo>
                    <a:pt x="85933" y="0"/>
                    <a:pt x="86364" y="0"/>
                    <a:pt x="86796" y="0"/>
                  </a:cubicBezTo>
                  <a:cubicBezTo>
                    <a:pt x="87228" y="0"/>
                    <a:pt x="87228" y="0"/>
                    <a:pt x="87660" y="432"/>
                  </a:cubicBezTo>
                  <a:cubicBezTo>
                    <a:pt x="88524" y="1727"/>
                    <a:pt x="90251" y="2159"/>
                    <a:pt x="90683" y="3887"/>
                  </a:cubicBezTo>
                  <a:lnTo>
                    <a:pt x="91114" y="4318"/>
                  </a:lnTo>
                  <a:cubicBezTo>
                    <a:pt x="91546" y="3887"/>
                    <a:pt x="91978" y="3455"/>
                    <a:pt x="92410" y="3455"/>
                  </a:cubicBezTo>
                  <a:cubicBezTo>
                    <a:pt x="92842" y="3455"/>
                    <a:pt x="93274" y="3887"/>
                    <a:pt x="93705" y="4318"/>
                  </a:cubicBezTo>
                  <a:lnTo>
                    <a:pt x="94569" y="5182"/>
                  </a:lnTo>
                  <a:cubicBezTo>
                    <a:pt x="94569" y="5614"/>
                    <a:pt x="95001" y="5614"/>
                    <a:pt x="95001" y="5614"/>
                  </a:cubicBezTo>
                  <a:lnTo>
                    <a:pt x="95433" y="5182"/>
                  </a:lnTo>
                  <a:cubicBezTo>
                    <a:pt x="95865" y="5182"/>
                    <a:pt x="96296" y="5182"/>
                    <a:pt x="96728" y="5614"/>
                  </a:cubicBezTo>
                  <a:cubicBezTo>
                    <a:pt x="97160" y="6046"/>
                    <a:pt x="97592" y="6046"/>
                    <a:pt x="98455" y="6046"/>
                  </a:cubicBezTo>
                  <a:cubicBezTo>
                    <a:pt x="98887" y="6046"/>
                    <a:pt x="99319" y="5614"/>
                    <a:pt x="100183" y="5614"/>
                  </a:cubicBezTo>
                  <a:cubicBezTo>
                    <a:pt x="100615" y="5614"/>
                    <a:pt x="101478" y="6046"/>
                    <a:pt x="102342" y="6477"/>
                  </a:cubicBezTo>
                  <a:lnTo>
                    <a:pt x="103206" y="6477"/>
                  </a:lnTo>
                  <a:cubicBezTo>
                    <a:pt x="103637" y="6046"/>
                    <a:pt x="103637" y="6046"/>
                    <a:pt x="104069" y="6046"/>
                  </a:cubicBezTo>
                  <a:cubicBezTo>
                    <a:pt x="104933" y="6046"/>
                    <a:pt x="105796" y="6909"/>
                    <a:pt x="106228" y="7341"/>
                  </a:cubicBezTo>
                  <a:cubicBezTo>
                    <a:pt x="106660" y="7773"/>
                    <a:pt x="106660" y="8205"/>
                    <a:pt x="106660" y="8205"/>
                  </a:cubicBezTo>
                  <a:cubicBezTo>
                    <a:pt x="105796" y="9068"/>
                    <a:pt x="105796" y="9932"/>
                    <a:pt x="105365" y="10796"/>
                  </a:cubicBezTo>
                  <a:lnTo>
                    <a:pt x="104069" y="13818"/>
                  </a:lnTo>
                  <a:lnTo>
                    <a:pt x="104069" y="14682"/>
                  </a:lnTo>
                  <a:cubicBezTo>
                    <a:pt x="103206" y="15977"/>
                    <a:pt x="102774" y="17273"/>
                    <a:pt x="102774" y="18137"/>
                  </a:cubicBezTo>
                  <a:cubicBezTo>
                    <a:pt x="101910" y="19432"/>
                    <a:pt x="101910" y="20728"/>
                    <a:pt x="101478" y="21591"/>
                  </a:cubicBezTo>
                  <a:cubicBezTo>
                    <a:pt x="100183" y="23318"/>
                    <a:pt x="99751" y="24614"/>
                    <a:pt x="98887" y="25909"/>
                  </a:cubicBezTo>
                  <a:cubicBezTo>
                    <a:pt x="98455" y="26773"/>
                    <a:pt x="98455" y="27637"/>
                    <a:pt x="97592" y="28500"/>
                  </a:cubicBezTo>
                  <a:cubicBezTo>
                    <a:pt x="97592" y="28932"/>
                    <a:pt x="97592" y="29364"/>
                    <a:pt x="97160" y="30228"/>
                  </a:cubicBezTo>
                  <a:cubicBezTo>
                    <a:pt x="97160" y="30659"/>
                    <a:pt x="96728" y="31091"/>
                    <a:pt x="96728" y="31955"/>
                  </a:cubicBezTo>
                  <a:cubicBezTo>
                    <a:pt x="96728" y="32819"/>
                    <a:pt x="95865" y="33682"/>
                    <a:pt x="95433" y="34114"/>
                  </a:cubicBezTo>
                  <a:cubicBezTo>
                    <a:pt x="95001" y="34978"/>
                    <a:pt x="95001" y="35409"/>
                    <a:pt x="95001" y="36273"/>
                  </a:cubicBezTo>
                  <a:lnTo>
                    <a:pt x="95001" y="36705"/>
                  </a:lnTo>
                  <a:cubicBezTo>
                    <a:pt x="95001" y="37569"/>
                    <a:pt x="94137" y="38432"/>
                    <a:pt x="93705" y="39296"/>
                  </a:cubicBezTo>
                  <a:cubicBezTo>
                    <a:pt x="93705" y="39728"/>
                    <a:pt x="93274" y="40591"/>
                    <a:pt x="92842" y="41023"/>
                  </a:cubicBezTo>
                  <a:lnTo>
                    <a:pt x="92842" y="41887"/>
                  </a:lnTo>
                  <a:cubicBezTo>
                    <a:pt x="92842" y="42319"/>
                    <a:pt x="92842" y="42319"/>
                    <a:pt x="93274" y="42750"/>
                  </a:cubicBezTo>
                  <a:cubicBezTo>
                    <a:pt x="93274" y="43182"/>
                    <a:pt x="93705" y="43182"/>
                    <a:pt x="93705" y="43614"/>
                  </a:cubicBezTo>
                  <a:cubicBezTo>
                    <a:pt x="93705" y="44046"/>
                    <a:pt x="93274" y="44046"/>
                    <a:pt x="93274" y="44478"/>
                  </a:cubicBezTo>
                  <a:cubicBezTo>
                    <a:pt x="93274" y="45341"/>
                    <a:pt x="92842" y="46205"/>
                    <a:pt x="91978" y="46637"/>
                  </a:cubicBezTo>
                  <a:lnTo>
                    <a:pt x="91978" y="47069"/>
                  </a:lnTo>
                  <a:lnTo>
                    <a:pt x="89819" y="50091"/>
                  </a:lnTo>
                  <a:cubicBezTo>
                    <a:pt x="88955" y="50955"/>
                    <a:pt x="88524" y="51819"/>
                    <a:pt x="88092" y="52682"/>
                  </a:cubicBezTo>
                  <a:lnTo>
                    <a:pt x="87660" y="53114"/>
                  </a:lnTo>
                  <a:cubicBezTo>
                    <a:pt x="87660" y="53114"/>
                    <a:pt x="87660" y="53546"/>
                    <a:pt x="88092" y="53546"/>
                  </a:cubicBezTo>
                  <a:cubicBezTo>
                    <a:pt x="88524" y="53978"/>
                    <a:pt x="88955" y="54410"/>
                    <a:pt x="88955" y="55273"/>
                  </a:cubicBezTo>
                  <a:lnTo>
                    <a:pt x="88955" y="56137"/>
                  </a:lnTo>
                  <a:cubicBezTo>
                    <a:pt x="88955" y="56569"/>
                    <a:pt x="88524" y="57432"/>
                    <a:pt x="87660" y="58296"/>
                  </a:cubicBezTo>
                  <a:cubicBezTo>
                    <a:pt x="87660" y="58728"/>
                    <a:pt x="87228" y="59592"/>
                    <a:pt x="86796" y="59592"/>
                  </a:cubicBezTo>
                  <a:cubicBezTo>
                    <a:pt x="85933" y="60023"/>
                    <a:pt x="85501" y="60455"/>
                    <a:pt x="85501" y="61751"/>
                  </a:cubicBezTo>
                  <a:cubicBezTo>
                    <a:pt x="85069" y="63046"/>
                    <a:pt x="84637" y="64773"/>
                    <a:pt x="84637" y="66501"/>
                  </a:cubicBezTo>
                  <a:cubicBezTo>
                    <a:pt x="84205" y="66932"/>
                    <a:pt x="84205" y="66932"/>
                    <a:pt x="84205" y="67364"/>
                  </a:cubicBezTo>
                  <a:cubicBezTo>
                    <a:pt x="82910" y="67796"/>
                    <a:pt x="82910" y="68660"/>
                    <a:pt x="82910" y="69523"/>
                  </a:cubicBezTo>
                  <a:lnTo>
                    <a:pt x="82910" y="70387"/>
                  </a:lnTo>
                  <a:cubicBezTo>
                    <a:pt x="82910" y="70819"/>
                    <a:pt x="82046" y="71251"/>
                    <a:pt x="82046" y="72114"/>
                  </a:cubicBezTo>
                  <a:lnTo>
                    <a:pt x="82046" y="73842"/>
                  </a:lnTo>
                  <a:cubicBezTo>
                    <a:pt x="82046" y="74705"/>
                    <a:pt x="81614" y="75137"/>
                    <a:pt x="81183" y="76001"/>
                  </a:cubicBezTo>
                  <a:cubicBezTo>
                    <a:pt x="80751" y="76433"/>
                    <a:pt x="80319" y="76864"/>
                    <a:pt x="80319" y="77728"/>
                  </a:cubicBezTo>
                  <a:cubicBezTo>
                    <a:pt x="80319" y="77728"/>
                    <a:pt x="80319" y="78160"/>
                    <a:pt x="79887" y="78160"/>
                  </a:cubicBezTo>
                  <a:cubicBezTo>
                    <a:pt x="79023" y="79024"/>
                    <a:pt x="78592" y="80319"/>
                    <a:pt x="78592" y="81614"/>
                  </a:cubicBezTo>
                  <a:cubicBezTo>
                    <a:pt x="77728" y="82478"/>
                    <a:pt x="77728" y="83342"/>
                    <a:pt x="77296" y="84205"/>
                  </a:cubicBezTo>
                  <a:cubicBezTo>
                    <a:pt x="77296" y="84637"/>
                    <a:pt x="77728" y="85069"/>
                    <a:pt x="77728" y="85933"/>
                  </a:cubicBezTo>
                  <a:lnTo>
                    <a:pt x="77728" y="86364"/>
                  </a:lnTo>
                  <a:lnTo>
                    <a:pt x="75569" y="87660"/>
                  </a:lnTo>
                  <a:cubicBezTo>
                    <a:pt x="75569" y="88092"/>
                    <a:pt x="75569" y="88092"/>
                    <a:pt x="76001" y="88524"/>
                  </a:cubicBezTo>
                  <a:cubicBezTo>
                    <a:pt x="76433" y="88955"/>
                    <a:pt x="76864" y="88955"/>
                    <a:pt x="76864" y="89387"/>
                  </a:cubicBezTo>
                  <a:lnTo>
                    <a:pt x="76433" y="89819"/>
                  </a:lnTo>
                  <a:cubicBezTo>
                    <a:pt x="75137" y="90683"/>
                    <a:pt x="74705" y="91546"/>
                    <a:pt x="73842" y="92842"/>
                  </a:cubicBezTo>
                  <a:cubicBezTo>
                    <a:pt x="73842" y="93274"/>
                    <a:pt x="73842" y="94137"/>
                    <a:pt x="73410" y="94569"/>
                  </a:cubicBezTo>
                  <a:cubicBezTo>
                    <a:pt x="73410" y="95001"/>
                    <a:pt x="73410" y="95865"/>
                    <a:pt x="73842" y="95433"/>
                  </a:cubicBezTo>
                  <a:lnTo>
                    <a:pt x="74705" y="95001"/>
                  </a:lnTo>
                  <a:cubicBezTo>
                    <a:pt x="74705" y="93705"/>
                    <a:pt x="76001" y="93274"/>
                    <a:pt x="76864" y="91978"/>
                  </a:cubicBezTo>
                  <a:cubicBezTo>
                    <a:pt x="77296" y="90683"/>
                    <a:pt x="78592" y="90251"/>
                    <a:pt x="79023" y="88955"/>
                  </a:cubicBezTo>
                  <a:cubicBezTo>
                    <a:pt x="80751" y="87228"/>
                    <a:pt x="82046" y="85501"/>
                    <a:pt x="83342" y="83774"/>
                  </a:cubicBezTo>
                  <a:cubicBezTo>
                    <a:pt x="83774" y="82910"/>
                    <a:pt x="85069" y="82046"/>
                    <a:pt x="85501" y="81614"/>
                  </a:cubicBezTo>
                  <a:cubicBezTo>
                    <a:pt x="87660" y="78592"/>
                    <a:pt x="90251" y="76001"/>
                    <a:pt x="92842" y="73842"/>
                  </a:cubicBezTo>
                  <a:cubicBezTo>
                    <a:pt x="94137" y="72978"/>
                    <a:pt x="95433" y="72114"/>
                    <a:pt x="95865" y="70819"/>
                  </a:cubicBezTo>
                  <a:lnTo>
                    <a:pt x="97160" y="69955"/>
                  </a:lnTo>
                  <a:cubicBezTo>
                    <a:pt x="98455" y="68228"/>
                    <a:pt x="100615" y="66932"/>
                    <a:pt x="102342" y="65205"/>
                  </a:cubicBezTo>
                  <a:cubicBezTo>
                    <a:pt x="104933" y="63046"/>
                    <a:pt x="107956" y="61319"/>
                    <a:pt x="110546" y="59592"/>
                  </a:cubicBezTo>
                  <a:lnTo>
                    <a:pt x="117456" y="55705"/>
                  </a:lnTo>
                  <a:cubicBezTo>
                    <a:pt x="118319" y="54841"/>
                    <a:pt x="119615" y="54841"/>
                    <a:pt x="120478" y="54410"/>
                  </a:cubicBezTo>
                  <a:cubicBezTo>
                    <a:pt x="122637" y="53546"/>
                    <a:pt x="125660" y="52251"/>
                    <a:pt x="127819" y="51819"/>
                  </a:cubicBezTo>
                  <a:cubicBezTo>
                    <a:pt x="129978" y="50955"/>
                    <a:pt x="132138" y="50523"/>
                    <a:pt x="133865" y="50523"/>
                  </a:cubicBezTo>
                  <a:lnTo>
                    <a:pt x="142070" y="50523"/>
                  </a:lnTo>
                  <a:cubicBezTo>
                    <a:pt x="142933" y="50955"/>
                    <a:pt x="143797" y="50955"/>
                    <a:pt x="145092" y="50955"/>
                  </a:cubicBezTo>
                  <a:cubicBezTo>
                    <a:pt x="145524" y="50955"/>
                    <a:pt x="145956" y="50955"/>
                    <a:pt x="145956" y="51387"/>
                  </a:cubicBezTo>
                  <a:cubicBezTo>
                    <a:pt x="146820" y="52251"/>
                    <a:pt x="147683" y="52251"/>
                    <a:pt x="148547" y="52251"/>
                  </a:cubicBezTo>
                  <a:cubicBezTo>
                    <a:pt x="152001" y="53114"/>
                    <a:pt x="155888" y="54410"/>
                    <a:pt x="159342" y="56137"/>
                  </a:cubicBezTo>
                  <a:cubicBezTo>
                    <a:pt x="160206" y="56137"/>
                    <a:pt x="160638" y="56569"/>
                    <a:pt x="161501" y="57001"/>
                  </a:cubicBezTo>
                  <a:lnTo>
                    <a:pt x="166252" y="61319"/>
                  </a:lnTo>
                  <a:cubicBezTo>
                    <a:pt x="167115" y="61751"/>
                    <a:pt x="167547" y="62182"/>
                    <a:pt x="167547" y="63046"/>
                  </a:cubicBezTo>
                  <a:lnTo>
                    <a:pt x="167979" y="63478"/>
                  </a:lnTo>
                  <a:cubicBezTo>
                    <a:pt x="169274" y="64342"/>
                    <a:pt x="170570" y="65637"/>
                    <a:pt x="171002" y="66932"/>
                  </a:cubicBezTo>
                  <a:cubicBezTo>
                    <a:pt x="171433" y="67364"/>
                    <a:pt x="171433" y="67796"/>
                    <a:pt x="171865" y="67796"/>
                  </a:cubicBezTo>
                  <a:cubicBezTo>
                    <a:pt x="172729" y="67796"/>
                    <a:pt x="173161" y="68228"/>
                    <a:pt x="173161" y="68660"/>
                  </a:cubicBezTo>
                  <a:cubicBezTo>
                    <a:pt x="173593" y="69523"/>
                    <a:pt x="173593" y="69955"/>
                    <a:pt x="174456" y="70387"/>
                  </a:cubicBezTo>
                  <a:cubicBezTo>
                    <a:pt x="174456" y="70387"/>
                    <a:pt x="174888" y="70819"/>
                    <a:pt x="174888" y="71251"/>
                  </a:cubicBezTo>
                  <a:lnTo>
                    <a:pt x="174888" y="72978"/>
                  </a:lnTo>
                  <a:cubicBezTo>
                    <a:pt x="175320" y="73842"/>
                    <a:pt x="175752" y="74273"/>
                    <a:pt x="176615" y="74273"/>
                  </a:cubicBezTo>
                  <a:lnTo>
                    <a:pt x="177911" y="74273"/>
                  </a:lnTo>
                  <a:cubicBezTo>
                    <a:pt x="178343" y="74273"/>
                    <a:pt x="178774" y="75137"/>
                    <a:pt x="178774" y="75569"/>
                  </a:cubicBezTo>
                  <a:lnTo>
                    <a:pt x="178774" y="76001"/>
                  </a:lnTo>
                  <a:cubicBezTo>
                    <a:pt x="177911" y="76433"/>
                    <a:pt x="177479" y="77296"/>
                    <a:pt x="177479" y="77728"/>
                  </a:cubicBezTo>
                  <a:cubicBezTo>
                    <a:pt x="177479" y="78160"/>
                    <a:pt x="177911" y="78160"/>
                    <a:pt x="177911" y="78592"/>
                  </a:cubicBezTo>
                  <a:cubicBezTo>
                    <a:pt x="178343" y="79887"/>
                    <a:pt x="178774" y="81183"/>
                    <a:pt x="178774" y="82910"/>
                  </a:cubicBezTo>
                  <a:cubicBezTo>
                    <a:pt x="178774" y="82910"/>
                    <a:pt x="178774" y="83342"/>
                    <a:pt x="179206" y="83774"/>
                  </a:cubicBezTo>
                  <a:cubicBezTo>
                    <a:pt x="179206" y="83774"/>
                    <a:pt x="179638" y="84205"/>
                    <a:pt x="179638" y="84637"/>
                  </a:cubicBezTo>
                  <a:cubicBezTo>
                    <a:pt x="179638" y="86796"/>
                    <a:pt x="180070" y="88524"/>
                    <a:pt x="180933" y="90251"/>
                  </a:cubicBezTo>
                  <a:cubicBezTo>
                    <a:pt x="181365" y="91114"/>
                    <a:pt x="181365" y="91978"/>
                    <a:pt x="181365" y="92410"/>
                  </a:cubicBezTo>
                  <a:lnTo>
                    <a:pt x="181365" y="94137"/>
                  </a:lnTo>
                  <a:cubicBezTo>
                    <a:pt x="181365" y="95001"/>
                    <a:pt x="181797" y="96296"/>
                    <a:pt x="181797" y="97592"/>
                  </a:cubicBezTo>
                  <a:cubicBezTo>
                    <a:pt x="181797" y="98024"/>
                    <a:pt x="182229" y="98456"/>
                    <a:pt x="182661" y="98456"/>
                  </a:cubicBezTo>
                  <a:lnTo>
                    <a:pt x="186547" y="97160"/>
                  </a:lnTo>
                  <a:cubicBezTo>
                    <a:pt x="186979" y="96728"/>
                    <a:pt x="187411" y="96728"/>
                    <a:pt x="187843" y="96728"/>
                  </a:cubicBezTo>
                  <a:lnTo>
                    <a:pt x="189138" y="96728"/>
                  </a:lnTo>
                  <a:cubicBezTo>
                    <a:pt x="189570" y="96728"/>
                    <a:pt x="189570" y="96728"/>
                    <a:pt x="190002" y="96296"/>
                  </a:cubicBezTo>
                  <a:cubicBezTo>
                    <a:pt x="191729" y="94137"/>
                    <a:pt x="194320" y="93274"/>
                    <a:pt x="197343" y="91978"/>
                  </a:cubicBezTo>
                  <a:lnTo>
                    <a:pt x="200797" y="90683"/>
                  </a:lnTo>
                  <a:lnTo>
                    <a:pt x="201229" y="90683"/>
                  </a:lnTo>
                  <a:cubicBezTo>
                    <a:pt x="202956" y="89387"/>
                    <a:pt x="204684" y="88955"/>
                    <a:pt x="206411" y="88524"/>
                  </a:cubicBezTo>
                  <a:cubicBezTo>
                    <a:pt x="208138" y="87660"/>
                    <a:pt x="209866" y="87228"/>
                    <a:pt x="211161" y="87228"/>
                  </a:cubicBezTo>
                  <a:cubicBezTo>
                    <a:pt x="211593" y="87228"/>
                    <a:pt x="212025" y="87228"/>
                    <a:pt x="212457" y="86796"/>
                  </a:cubicBezTo>
                  <a:cubicBezTo>
                    <a:pt x="213752" y="86364"/>
                    <a:pt x="225843" y="85069"/>
                    <a:pt x="225843" y="85069"/>
                  </a:cubicBezTo>
                  <a:lnTo>
                    <a:pt x="229298" y="85069"/>
                  </a:lnTo>
                  <a:lnTo>
                    <a:pt x="230161" y="85501"/>
                  </a:lnTo>
                  <a:cubicBezTo>
                    <a:pt x="230161" y="85933"/>
                    <a:pt x="230593" y="86364"/>
                    <a:pt x="231025" y="86364"/>
                  </a:cubicBezTo>
                  <a:lnTo>
                    <a:pt x="231457" y="86364"/>
                  </a:lnTo>
                  <a:cubicBezTo>
                    <a:pt x="234048" y="85933"/>
                    <a:pt x="236639" y="85933"/>
                    <a:pt x="238798" y="85933"/>
                  </a:cubicBezTo>
                  <a:lnTo>
                    <a:pt x="240093" y="85933"/>
                  </a:lnTo>
                  <a:cubicBezTo>
                    <a:pt x="241389" y="85501"/>
                    <a:pt x="242252" y="85501"/>
                    <a:pt x="243116" y="85501"/>
                  </a:cubicBezTo>
                  <a:cubicBezTo>
                    <a:pt x="243548" y="85501"/>
                    <a:pt x="243548" y="85501"/>
                    <a:pt x="243548" y="85933"/>
                  </a:cubicBezTo>
                  <a:lnTo>
                    <a:pt x="243116" y="85933"/>
                  </a:lnTo>
                  <a:lnTo>
                    <a:pt x="241820" y="86796"/>
                  </a:lnTo>
                  <a:lnTo>
                    <a:pt x="241820" y="87228"/>
                  </a:lnTo>
                  <a:lnTo>
                    <a:pt x="242252" y="87660"/>
                  </a:lnTo>
                  <a:cubicBezTo>
                    <a:pt x="243548" y="87228"/>
                    <a:pt x="244843" y="87228"/>
                    <a:pt x="246139" y="87228"/>
                  </a:cubicBezTo>
                  <a:cubicBezTo>
                    <a:pt x="247434" y="87228"/>
                    <a:pt x="248730" y="87228"/>
                    <a:pt x="250025" y="86796"/>
                  </a:cubicBezTo>
                  <a:lnTo>
                    <a:pt x="251752" y="86796"/>
                  </a:lnTo>
                  <a:cubicBezTo>
                    <a:pt x="251752" y="87228"/>
                    <a:pt x="251752" y="87228"/>
                    <a:pt x="251321" y="87228"/>
                  </a:cubicBezTo>
                  <a:cubicBezTo>
                    <a:pt x="250457" y="87660"/>
                    <a:pt x="249593" y="88092"/>
                    <a:pt x="248730" y="88092"/>
                  </a:cubicBezTo>
                  <a:cubicBezTo>
                    <a:pt x="248298" y="88092"/>
                    <a:pt x="248298" y="88524"/>
                    <a:pt x="248298" y="88524"/>
                  </a:cubicBezTo>
                  <a:lnTo>
                    <a:pt x="248730" y="88955"/>
                  </a:lnTo>
                  <a:cubicBezTo>
                    <a:pt x="248730" y="89387"/>
                    <a:pt x="248730" y="89387"/>
                    <a:pt x="248298" y="89819"/>
                  </a:cubicBezTo>
                  <a:lnTo>
                    <a:pt x="247866" y="90251"/>
                  </a:lnTo>
                  <a:lnTo>
                    <a:pt x="247866" y="90683"/>
                  </a:lnTo>
                  <a:cubicBezTo>
                    <a:pt x="247866" y="91114"/>
                    <a:pt x="248298" y="91114"/>
                    <a:pt x="248298" y="91114"/>
                  </a:cubicBezTo>
                  <a:lnTo>
                    <a:pt x="248730" y="91114"/>
                  </a:lnTo>
                  <a:lnTo>
                    <a:pt x="248298" y="91546"/>
                  </a:lnTo>
                  <a:cubicBezTo>
                    <a:pt x="247866" y="91546"/>
                    <a:pt x="247866" y="91978"/>
                    <a:pt x="247434" y="91978"/>
                  </a:cubicBezTo>
                  <a:cubicBezTo>
                    <a:pt x="246570" y="91978"/>
                    <a:pt x="245707" y="92410"/>
                    <a:pt x="245275" y="93274"/>
                  </a:cubicBezTo>
                  <a:lnTo>
                    <a:pt x="245275" y="93705"/>
                  </a:lnTo>
                  <a:cubicBezTo>
                    <a:pt x="245707" y="94137"/>
                    <a:pt x="246139" y="94137"/>
                    <a:pt x="246139" y="94569"/>
                  </a:cubicBezTo>
                  <a:cubicBezTo>
                    <a:pt x="246139" y="95001"/>
                    <a:pt x="245707" y="95433"/>
                    <a:pt x="245707" y="95865"/>
                  </a:cubicBezTo>
                  <a:lnTo>
                    <a:pt x="245707" y="96296"/>
                  </a:lnTo>
                  <a:lnTo>
                    <a:pt x="245275" y="96728"/>
                  </a:lnTo>
                  <a:cubicBezTo>
                    <a:pt x="244843" y="97160"/>
                    <a:pt x="243980" y="97160"/>
                    <a:pt x="243548" y="97160"/>
                  </a:cubicBezTo>
                  <a:cubicBezTo>
                    <a:pt x="240957" y="97592"/>
                    <a:pt x="238798" y="98024"/>
                    <a:pt x="236207" y="98024"/>
                  </a:cubicBezTo>
                  <a:lnTo>
                    <a:pt x="234479" y="98024"/>
                  </a:lnTo>
                  <a:cubicBezTo>
                    <a:pt x="233184" y="98456"/>
                    <a:pt x="231889" y="98456"/>
                    <a:pt x="230593" y="99319"/>
                  </a:cubicBezTo>
                  <a:cubicBezTo>
                    <a:pt x="229729" y="99319"/>
                    <a:pt x="229298" y="99751"/>
                    <a:pt x="228434" y="99751"/>
                  </a:cubicBezTo>
                  <a:cubicBezTo>
                    <a:pt x="227570" y="99751"/>
                    <a:pt x="227138" y="99751"/>
                    <a:pt x="225843" y="100183"/>
                  </a:cubicBezTo>
                  <a:cubicBezTo>
                    <a:pt x="227138" y="98887"/>
                    <a:pt x="209866" y="106228"/>
                    <a:pt x="210729" y="105796"/>
                  </a:cubicBezTo>
                  <a:lnTo>
                    <a:pt x="200365" y="108387"/>
                  </a:lnTo>
                  <a:cubicBezTo>
                    <a:pt x="199502" y="108819"/>
                    <a:pt x="198206" y="108819"/>
                    <a:pt x="197343" y="109683"/>
                  </a:cubicBezTo>
                  <a:cubicBezTo>
                    <a:pt x="194320" y="110978"/>
                    <a:pt x="191297" y="112706"/>
                    <a:pt x="188706" y="114433"/>
                  </a:cubicBezTo>
                  <a:lnTo>
                    <a:pt x="181365" y="117888"/>
                  </a:lnTo>
                  <a:cubicBezTo>
                    <a:pt x="180933" y="118319"/>
                    <a:pt x="180933" y="119183"/>
                    <a:pt x="180502" y="120047"/>
                  </a:cubicBezTo>
                  <a:lnTo>
                    <a:pt x="180933" y="120478"/>
                  </a:lnTo>
                  <a:cubicBezTo>
                    <a:pt x="181365" y="120478"/>
                    <a:pt x="181797" y="120910"/>
                    <a:pt x="181797" y="120910"/>
                  </a:cubicBezTo>
                  <a:cubicBezTo>
                    <a:pt x="182229" y="120910"/>
                    <a:pt x="182661" y="121774"/>
                    <a:pt x="182229" y="121774"/>
                  </a:cubicBezTo>
                  <a:cubicBezTo>
                    <a:pt x="181797" y="122638"/>
                    <a:pt x="181365" y="122638"/>
                    <a:pt x="180933" y="123069"/>
                  </a:cubicBezTo>
                  <a:lnTo>
                    <a:pt x="180502" y="123501"/>
                  </a:lnTo>
                  <a:cubicBezTo>
                    <a:pt x="180502" y="123501"/>
                    <a:pt x="180502" y="123933"/>
                    <a:pt x="180933" y="123933"/>
                  </a:cubicBezTo>
                  <a:lnTo>
                    <a:pt x="181365" y="124365"/>
                  </a:lnTo>
                  <a:cubicBezTo>
                    <a:pt x="181797" y="124365"/>
                    <a:pt x="181797" y="124797"/>
                    <a:pt x="181797" y="125228"/>
                  </a:cubicBezTo>
                  <a:cubicBezTo>
                    <a:pt x="181797" y="125660"/>
                    <a:pt x="181797" y="125660"/>
                    <a:pt x="181365" y="126092"/>
                  </a:cubicBezTo>
                  <a:lnTo>
                    <a:pt x="180502" y="126092"/>
                  </a:lnTo>
                  <a:cubicBezTo>
                    <a:pt x="179638" y="126524"/>
                    <a:pt x="179638" y="126524"/>
                    <a:pt x="179638" y="127388"/>
                  </a:cubicBezTo>
                  <a:lnTo>
                    <a:pt x="179638" y="128251"/>
                  </a:lnTo>
                  <a:cubicBezTo>
                    <a:pt x="179638" y="128251"/>
                    <a:pt x="179638" y="128683"/>
                    <a:pt x="179206" y="128683"/>
                  </a:cubicBezTo>
                  <a:cubicBezTo>
                    <a:pt x="178774" y="129115"/>
                    <a:pt x="178774" y="129547"/>
                    <a:pt x="178774" y="129547"/>
                  </a:cubicBezTo>
                  <a:cubicBezTo>
                    <a:pt x="178774" y="129978"/>
                    <a:pt x="178774" y="129978"/>
                    <a:pt x="179206" y="129978"/>
                  </a:cubicBezTo>
                  <a:cubicBezTo>
                    <a:pt x="179638" y="130410"/>
                    <a:pt x="179638" y="130410"/>
                    <a:pt x="179638" y="130842"/>
                  </a:cubicBezTo>
                  <a:lnTo>
                    <a:pt x="179638" y="131274"/>
                  </a:lnTo>
                  <a:lnTo>
                    <a:pt x="178343" y="133001"/>
                  </a:lnTo>
                  <a:lnTo>
                    <a:pt x="178343" y="133865"/>
                  </a:lnTo>
                  <a:cubicBezTo>
                    <a:pt x="178343" y="134297"/>
                    <a:pt x="178343" y="134729"/>
                    <a:pt x="178774" y="135160"/>
                  </a:cubicBezTo>
                  <a:lnTo>
                    <a:pt x="179638" y="136024"/>
                  </a:lnTo>
                  <a:cubicBezTo>
                    <a:pt x="179638" y="136456"/>
                    <a:pt x="179206" y="136888"/>
                    <a:pt x="179206" y="137320"/>
                  </a:cubicBezTo>
                  <a:cubicBezTo>
                    <a:pt x="178774" y="137751"/>
                    <a:pt x="178774" y="137751"/>
                    <a:pt x="178774" y="138183"/>
                  </a:cubicBezTo>
                  <a:cubicBezTo>
                    <a:pt x="178774" y="138615"/>
                    <a:pt x="179206" y="139479"/>
                    <a:pt x="179206" y="139910"/>
                  </a:cubicBezTo>
                  <a:cubicBezTo>
                    <a:pt x="178774" y="141638"/>
                    <a:pt x="178343" y="143365"/>
                    <a:pt x="176615" y="144660"/>
                  </a:cubicBezTo>
                  <a:cubicBezTo>
                    <a:pt x="176183" y="144660"/>
                    <a:pt x="176183" y="145092"/>
                    <a:pt x="176183" y="145092"/>
                  </a:cubicBezTo>
                  <a:cubicBezTo>
                    <a:pt x="176183" y="145092"/>
                    <a:pt x="176183" y="145524"/>
                    <a:pt x="176615" y="145524"/>
                  </a:cubicBezTo>
                  <a:cubicBezTo>
                    <a:pt x="176615" y="145956"/>
                    <a:pt x="176615" y="146388"/>
                    <a:pt x="176183" y="146820"/>
                  </a:cubicBezTo>
                  <a:cubicBezTo>
                    <a:pt x="175752" y="147251"/>
                    <a:pt x="175752" y="147683"/>
                    <a:pt x="175320" y="147683"/>
                  </a:cubicBezTo>
                  <a:lnTo>
                    <a:pt x="174888" y="147683"/>
                  </a:lnTo>
                  <a:cubicBezTo>
                    <a:pt x="174024" y="147683"/>
                    <a:pt x="174024" y="148115"/>
                    <a:pt x="173161" y="148979"/>
                  </a:cubicBezTo>
                  <a:lnTo>
                    <a:pt x="173161" y="150706"/>
                  </a:lnTo>
                  <a:lnTo>
                    <a:pt x="171865" y="152433"/>
                  </a:lnTo>
                  <a:lnTo>
                    <a:pt x="171865" y="152865"/>
                  </a:lnTo>
                  <a:cubicBezTo>
                    <a:pt x="171865" y="153297"/>
                    <a:pt x="172297" y="153297"/>
                    <a:pt x="172297" y="153729"/>
                  </a:cubicBezTo>
                  <a:cubicBezTo>
                    <a:pt x="172297" y="154161"/>
                    <a:pt x="171865" y="154161"/>
                    <a:pt x="171433" y="154592"/>
                  </a:cubicBezTo>
                  <a:lnTo>
                    <a:pt x="171433" y="155024"/>
                  </a:lnTo>
                  <a:cubicBezTo>
                    <a:pt x="171433" y="155456"/>
                    <a:pt x="171865" y="155456"/>
                    <a:pt x="172297" y="155456"/>
                  </a:cubicBezTo>
                  <a:cubicBezTo>
                    <a:pt x="172297" y="155888"/>
                    <a:pt x="172729" y="155456"/>
                    <a:pt x="172729" y="155024"/>
                  </a:cubicBezTo>
                  <a:cubicBezTo>
                    <a:pt x="173161" y="154592"/>
                    <a:pt x="173161" y="154161"/>
                    <a:pt x="173161" y="153729"/>
                  </a:cubicBezTo>
                  <a:cubicBezTo>
                    <a:pt x="173593" y="153729"/>
                    <a:pt x="173593" y="153297"/>
                    <a:pt x="173593" y="153297"/>
                  </a:cubicBezTo>
                  <a:cubicBezTo>
                    <a:pt x="174024" y="153729"/>
                    <a:pt x="174456" y="153729"/>
                    <a:pt x="174456" y="154161"/>
                  </a:cubicBezTo>
                  <a:cubicBezTo>
                    <a:pt x="174456" y="155024"/>
                    <a:pt x="174456" y="155888"/>
                    <a:pt x="174024" y="156320"/>
                  </a:cubicBezTo>
                  <a:cubicBezTo>
                    <a:pt x="173161" y="157183"/>
                    <a:pt x="173161" y="158479"/>
                    <a:pt x="171865" y="158911"/>
                  </a:cubicBezTo>
                  <a:cubicBezTo>
                    <a:pt x="171865" y="158911"/>
                    <a:pt x="171865" y="159342"/>
                    <a:pt x="171433" y="159342"/>
                  </a:cubicBezTo>
                  <a:cubicBezTo>
                    <a:pt x="171433" y="159774"/>
                    <a:pt x="171865" y="159774"/>
                    <a:pt x="171865" y="160206"/>
                  </a:cubicBezTo>
                  <a:cubicBezTo>
                    <a:pt x="171865" y="160206"/>
                    <a:pt x="171865" y="160638"/>
                    <a:pt x="171433" y="160638"/>
                  </a:cubicBezTo>
                  <a:cubicBezTo>
                    <a:pt x="171002" y="161070"/>
                    <a:pt x="170138" y="161502"/>
                    <a:pt x="170138" y="161933"/>
                  </a:cubicBezTo>
                  <a:cubicBezTo>
                    <a:pt x="169706" y="162365"/>
                    <a:pt x="169706" y="162365"/>
                    <a:pt x="169706" y="162797"/>
                  </a:cubicBezTo>
                  <a:cubicBezTo>
                    <a:pt x="169706" y="163229"/>
                    <a:pt x="169706" y="163229"/>
                    <a:pt x="170138" y="163661"/>
                  </a:cubicBezTo>
                  <a:lnTo>
                    <a:pt x="169274" y="163661"/>
                  </a:lnTo>
                  <a:cubicBezTo>
                    <a:pt x="168842" y="163661"/>
                    <a:pt x="168411" y="163661"/>
                    <a:pt x="168411" y="164092"/>
                  </a:cubicBezTo>
                  <a:cubicBezTo>
                    <a:pt x="167979" y="164092"/>
                    <a:pt x="167979" y="164524"/>
                    <a:pt x="167979" y="164524"/>
                  </a:cubicBezTo>
                  <a:cubicBezTo>
                    <a:pt x="167979" y="164956"/>
                    <a:pt x="168411" y="164956"/>
                    <a:pt x="168842" y="164956"/>
                  </a:cubicBezTo>
                  <a:cubicBezTo>
                    <a:pt x="169706" y="164956"/>
                    <a:pt x="170138" y="164092"/>
                    <a:pt x="170138" y="163661"/>
                  </a:cubicBezTo>
                  <a:lnTo>
                    <a:pt x="170570" y="164092"/>
                  </a:lnTo>
                  <a:cubicBezTo>
                    <a:pt x="170570" y="164956"/>
                    <a:pt x="170138" y="165820"/>
                    <a:pt x="170138" y="166683"/>
                  </a:cubicBezTo>
                  <a:lnTo>
                    <a:pt x="170138" y="167115"/>
                  </a:lnTo>
                  <a:cubicBezTo>
                    <a:pt x="170138" y="167547"/>
                    <a:pt x="169706" y="167547"/>
                    <a:pt x="169274" y="167979"/>
                  </a:cubicBezTo>
                  <a:cubicBezTo>
                    <a:pt x="168842" y="167979"/>
                    <a:pt x="168842" y="168411"/>
                    <a:pt x="168411" y="168842"/>
                  </a:cubicBezTo>
                  <a:cubicBezTo>
                    <a:pt x="168411" y="169274"/>
                    <a:pt x="167979" y="169706"/>
                    <a:pt x="167979" y="170138"/>
                  </a:cubicBezTo>
                  <a:cubicBezTo>
                    <a:pt x="167547" y="170570"/>
                    <a:pt x="167547" y="171002"/>
                    <a:pt x="166683" y="171433"/>
                  </a:cubicBezTo>
                  <a:lnTo>
                    <a:pt x="164956" y="171433"/>
                  </a:lnTo>
                  <a:cubicBezTo>
                    <a:pt x="165388" y="171002"/>
                    <a:pt x="164524" y="171433"/>
                    <a:pt x="164524" y="171433"/>
                  </a:cubicBezTo>
                  <a:lnTo>
                    <a:pt x="164956" y="171865"/>
                  </a:lnTo>
                  <a:lnTo>
                    <a:pt x="166683" y="172729"/>
                  </a:lnTo>
                  <a:lnTo>
                    <a:pt x="166683" y="173593"/>
                  </a:lnTo>
                  <a:lnTo>
                    <a:pt x="165388" y="175752"/>
                  </a:lnTo>
                  <a:cubicBezTo>
                    <a:pt x="164956" y="176183"/>
                    <a:pt x="164524" y="176615"/>
                    <a:pt x="164524" y="177047"/>
                  </a:cubicBezTo>
                  <a:lnTo>
                    <a:pt x="164524" y="177479"/>
                  </a:lnTo>
                  <a:cubicBezTo>
                    <a:pt x="164524" y="177911"/>
                    <a:pt x="164524" y="178343"/>
                    <a:pt x="164092" y="178343"/>
                  </a:cubicBezTo>
                  <a:lnTo>
                    <a:pt x="162797" y="179638"/>
                  </a:lnTo>
                  <a:cubicBezTo>
                    <a:pt x="162365" y="179638"/>
                    <a:pt x="162365" y="180070"/>
                    <a:pt x="162365" y="180070"/>
                  </a:cubicBezTo>
                  <a:cubicBezTo>
                    <a:pt x="162365" y="181797"/>
                    <a:pt x="161933" y="183093"/>
                    <a:pt x="160638" y="183956"/>
                  </a:cubicBezTo>
                  <a:cubicBezTo>
                    <a:pt x="160206" y="184820"/>
                    <a:pt x="159774" y="185684"/>
                    <a:pt x="158911" y="186547"/>
                  </a:cubicBezTo>
                  <a:cubicBezTo>
                    <a:pt x="158911" y="187411"/>
                    <a:pt x="158479" y="187843"/>
                    <a:pt x="158047" y="188706"/>
                  </a:cubicBezTo>
                  <a:cubicBezTo>
                    <a:pt x="157615" y="190002"/>
                    <a:pt x="156320" y="191297"/>
                    <a:pt x="155888" y="192593"/>
                  </a:cubicBezTo>
                  <a:cubicBezTo>
                    <a:pt x="155888" y="193025"/>
                    <a:pt x="155456" y="193456"/>
                    <a:pt x="155024" y="193888"/>
                  </a:cubicBezTo>
                  <a:cubicBezTo>
                    <a:pt x="153729" y="195184"/>
                    <a:pt x="152001" y="196911"/>
                    <a:pt x="151570" y="199070"/>
                  </a:cubicBezTo>
                  <a:lnTo>
                    <a:pt x="151570" y="199934"/>
                  </a:lnTo>
                  <a:cubicBezTo>
                    <a:pt x="150706" y="200797"/>
                    <a:pt x="149410" y="201661"/>
                    <a:pt x="148979" y="202525"/>
                  </a:cubicBezTo>
                  <a:cubicBezTo>
                    <a:pt x="148115" y="203388"/>
                    <a:pt x="146820" y="204252"/>
                    <a:pt x="146820" y="205547"/>
                  </a:cubicBezTo>
                  <a:cubicBezTo>
                    <a:pt x="145524" y="206411"/>
                    <a:pt x="144660" y="207706"/>
                    <a:pt x="143797" y="209002"/>
                  </a:cubicBezTo>
                  <a:cubicBezTo>
                    <a:pt x="143365" y="209434"/>
                    <a:pt x="142933" y="209434"/>
                    <a:pt x="142933" y="209866"/>
                  </a:cubicBezTo>
                  <a:lnTo>
                    <a:pt x="138615" y="215047"/>
                  </a:lnTo>
                  <a:cubicBezTo>
                    <a:pt x="138183" y="215479"/>
                    <a:pt x="137319" y="215911"/>
                    <a:pt x="137319" y="216343"/>
                  </a:cubicBezTo>
                  <a:cubicBezTo>
                    <a:pt x="135160" y="218070"/>
                    <a:pt x="133865" y="219798"/>
                    <a:pt x="132138" y="221957"/>
                  </a:cubicBezTo>
                  <a:lnTo>
                    <a:pt x="130842" y="223252"/>
                  </a:lnTo>
                  <a:cubicBezTo>
                    <a:pt x="129115" y="224116"/>
                    <a:pt x="127819" y="225411"/>
                    <a:pt x="126092" y="226707"/>
                  </a:cubicBezTo>
                  <a:lnTo>
                    <a:pt x="120910" y="231457"/>
                  </a:lnTo>
                  <a:cubicBezTo>
                    <a:pt x="120910" y="231457"/>
                    <a:pt x="120910" y="231889"/>
                    <a:pt x="120478" y="232320"/>
                  </a:cubicBezTo>
                  <a:lnTo>
                    <a:pt x="118751" y="233184"/>
                  </a:lnTo>
                  <a:cubicBezTo>
                    <a:pt x="118319" y="233616"/>
                    <a:pt x="117887" y="234479"/>
                    <a:pt x="117456" y="234479"/>
                  </a:cubicBezTo>
                  <a:cubicBezTo>
                    <a:pt x="116160" y="234911"/>
                    <a:pt x="115297" y="235775"/>
                    <a:pt x="114865" y="236207"/>
                  </a:cubicBezTo>
                  <a:lnTo>
                    <a:pt x="111842" y="238798"/>
                  </a:lnTo>
                  <a:cubicBezTo>
                    <a:pt x="111410" y="239661"/>
                    <a:pt x="110978" y="239661"/>
                    <a:pt x="110115" y="240093"/>
                  </a:cubicBezTo>
                  <a:cubicBezTo>
                    <a:pt x="108819" y="240525"/>
                    <a:pt x="107956" y="241389"/>
                    <a:pt x="107956" y="242684"/>
                  </a:cubicBezTo>
                  <a:cubicBezTo>
                    <a:pt x="107524" y="243116"/>
                    <a:pt x="106660" y="243548"/>
                    <a:pt x="106660" y="244411"/>
                  </a:cubicBezTo>
                  <a:cubicBezTo>
                    <a:pt x="106228" y="245275"/>
                    <a:pt x="104933" y="245707"/>
                    <a:pt x="104501" y="246139"/>
                  </a:cubicBezTo>
                  <a:cubicBezTo>
                    <a:pt x="103206" y="246570"/>
                    <a:pt x="102342" y="247002"/>
                    <a:pt x="101478" y="247002"/>
                  </a:cubicBezTo>
                  <a:lnTo>
                    <a:pt x="100615" y="247002"/>
                  </a:lnTo>
                  <a:lnTo>
                    <a:pt x="100615" y="247434"/>
                  </a:lnTo>
                  <a:cubicBezTo>
                    <a:pt x="100615" y="248298"/>
                    <a:pt x="100183" y="248298"/>
                    <a:pt x="99319" y="248298"/>
                  </a:cubicBezTo>
                  <a:cubicBezTo>
                    <a:pt x="98887" y="248298"/>
                    <a:pt x="98455" y="248730"/>
                    <a:pt x="98024" y="249161"/>
                  </a:cubicBezTo>
                  <a:cubicBezTo>
                    <a:pt x="97592" y="250025"/>
                    <a:pt x="95865" y="250457"/>
                    <a:pt x="95001" y="250457"/>
                  </a:cubicBezTo>
                  <a:lnTo>
                    <a:pt x="92842" y="250457"/>
                  </a:lnTo>
                  <a:cubicBezTo>
                    <a:pt x="92842" y="250889"/>
                    <a:pt x="92842" y="250889"/>
                    <a:pt x="92410" y="250889"/>
                  </a:cubicBezTo>
                  <a:cubicBezTo>
                    <a:pt x="92410" y="250889"/>
                    <a:pt x="91978" y="250889"/>
                    <a:pt x="91978" y="251321"/>
                  </a:cubicBezTo>
                  <a:lnTo>
                    <a:pt x="91546" y="251321"/>
                  </a:lnTo>
                  <a:cubicBezTo>
                    <a:pt x="91978" y="251321"/>
                    <a:pt x="91978" y="251752"/>
                    <a:pt x="91978" y="251752"/>
                  </a:cubicBezTo>
                  <a:lnTo>
                    <a:pt x="92410" y="251752"/>
                  </a:lnTo>
                  <a:cubicBezTo>
                    <a:pt x="91978" y="251752"/>
                    <a:pt x="91978" y="252184"/>
                    <a:pt x="91978" y="252616"/>
                  </a:cubicBezTo>
                  <a:cubicBezTo>
                    <a:pt x="90251" y="253048"/>
                    <a:pt x="88955" y="253480"/>
                    <a:pt x="87660" y="253480"/>
                  </a:cubicBezTo>
                  <a:lnTo>
                    <a:pt x="85933" y="253480"/>
                  </a:lnTo>
                  <a:lnTo>
                    <a:pt x="82478" y="252616"/>
                  </a:lnTo>
                  <a:cubicBezTo>
                    <a:pt x="82046" y="252616"/>
                    <a:pt x="81183" y="252616"/>
                    <a:pt x="80751" y="253048"/>
                  </a:cubicBezTo>
                  <a:cubicBezTo>
                    <a:pt x="80319" y="253911"/>
                    <a:pt x="79455" y="253911"/>
                    <a:pt x="78592" y="253911"/>
                  </a:cubicBezTo>
                  <a:lnTo>
                    <a:pt x="75569" y="253911"/>
                  </a:lnTo>
                  <a:cubicBezTo>
                    <a:pt x="74705" y="254775"/>
                    <a:pt x="72978" y="254775"/>
                    <a:pt x="72114" y="255207"/>
                  </a:cubicBezTo>
                  <a:cubicBezTo>
                    <a:pt x="70387" y="256071"/>
                    <a:pt x="68660" y="256502"/>
                    <a:pt x="67364" y="257366"/>
                  </a:cubicBezTo>
                  <a:cubicBezTo>
                    <a:pt x="66069" y="257366"/>
                    <a:pt x="65205" y="257798"/>
                    <a:pt x="63910" y="257798"/>
                  </a:cubicBezTo>
                  <a:cubicBezTo>
                    <a:pt x="62614" y="257798"/>
                    <a:pt x="61319" y="257366"/>
                    <a:pt x="60455" y="256502"/>
                  </a:cubicBezTo>
                  <a:cubicBezTo>
                    <a:pt x="60455" y="256071"/>
                    <a:pt x="60023" y="256071"/>
                    <a:pt x="59591" y="256071"/>
                  </a:cubicBezTo>
                  <a:lnTo>
                    <a:pt x="58296" y="256071"/>
                  </a:lnTo>
                  <a:cubicBezTo>
                    <a:pt x="57001" y="256071"/>
                    <a:pt x="57001" y="255207"/>
                    <a:pt x="57001" y="253911"/>
                  </a:cubicBezTo>
                  <a:cubicBezTo>
                    <a:pt x="57001" y="253480"/>
                    <a:pt x="57432" y="252616"/>
                    <a:pt x="57432" y="252184"/>
                  </a:cubicBezTo>
                  <a:cubicBezTo>
                    <a:pt x="57864" y="251321"/>
                    <a:pt x="57864" y="250457"/>
                    <a:pt x="57864" y="249593"/>
                  </a:cubicBezTo>
                  <a:lnTo>
                    <a:pt x="57864" y="246139"/>
                  </a:lnTo>
                  <a:cubicBezTo>
                    <a:pt x="57864" y="245275"/>
                    <a:pt x="58296" y="243979"/>
                    <a:pt x="58296" y="243116"/>
                  </a:cubicBezTo>
                  <a:lnTo>
                    <a:pt x="58296" y="242684"/>
                  </a:lnTo>
                  <a:cubicBezTo>
                    <a:pt x="58296" y="241820"/>
                    <a:pt x="58728" y="240525"/>
                    <a:pt x="58728" y="239661"/>
                  </a:cubicBezTo>
                  <a:cubicBezTo>
                    <a:pt x="58728" y="239230"/>
                    <a:pt x="59160" y="238798"/>
                    <a:pt x="59160" y="238366"/>
                  </a:cubicBezTo>
                  <a:cubicBezTo>
                    <a:pt x="60023" y="237502"/>
                    <a:pt x="60455" y="236207"/>
                    <a:pt x="60455" y="234911"/>
                  </a:cubicBezTo>
                  <a:cubicBezTo>
                    <a:pt x="60455" y="234479"/>
                    <a:pt x="60887" y="234048"/>
                    <a:pt x="61319" y="234048"/>
                  </a:cubicBezTo>
                  <a:lnTo>
                    <a:pt x="61319" y="233184"/>
                  </a:lnTo>
                  <a:cubicBezTo>
                    <a:pt x="60887" y="232752"/>
                    <a:pt x="60455" y="231889"/>
                    <a:pt x="60455" y="231457"/>
                  </a:cubicBezTo>
                  <a:cubicBezTo>
                    <a:pt x="60455" y="231025"/>
                    <a:pt x="60887" y="231025"/>
                    <a:pt x="60887" y="230593"/>
                  </a:cubicBezTo>
                  <a:lnTo>
                    <a:pt x="61751" y="228434"/>
                  </a:lnTo>
                  <a:cubicBezTo>
                    <a:pt x="61751" y="228434"/>
                    <a:pt x="61751" y="228002"/>
                    <a:pt x="62182" y="228002"/>
                  </a:cubicBezTo>
                  <a:cubicBezTo>
                    <a:pt x="63478" y="228002"/>
                    <a:pt x="63046" y="226707"/>
                    <a:pt x="63478" y="225843"/>
                  </a:cubicBezTo>
                  <a:cubicBezTo>
                    <a:pt x="63910" y="225411"/>
                    <a:pt x="64342" y="225411"/>
                    <a:pt x="64342" y="224979"/>
                  </a:cubicBezTo>
                  <a:lnTo>
                    <a:pt x="63910" y="224547"/>
                  </a:lnTo>
                  <a:cubicBezTo>
                    <a:pt x="63046" y="224116"/>
                    <a:pt x="63046" y="223684"/>
                    <a:pt x="63046" y="223252"/>
                  </a:cubicBezTo>
                  <a:cubicBezTo>
                    <a:pt x="63046" y="222820"/>
                    <a:pt x="63046" y="222388"/>
                    <a:pt x="63478" y="221957"/>
                  </a:cubicBezTo>
                  <a:cubicBezTo>
                    <a:pt x="63910" y="221093"/>
                    <a:pt x="64773" y="220661"/>
                    <a:pt x="64773" y="219798"/>
                  </a:cubicBezTo>
                  <a:cubicBezTo>
                    <a:pt x="64773" y="218934"/>
                    <a:pt x="65205" y="218934"/>
                    <a:pt x="66069" y="218502"/>
                  </a:cubicBezTo>
                  <a:lnTo>
                    <a:pt x="67364" y="218502"/>
                  </a:lnTo>
                  <a:cubicBezTo>
                    <a:pt x="67796" y="218070"/>
                    <a:pt x="67796" y="217638"/>
                    <a:pt x="67796" y="217207"/>
                  </a:cubicBezTo>
                  <a:cubicBezTo>
                    <a:pt x="67796" y="216775"/>
                    <a:pt x="67364" y="216343"/>
                    <a:pt x="66932" y="216343"/>
                  </a:cubicBezTo>
                  <a:lnTo>
                    <a:pt x="66501" y="216343"/>
                  </a:lnTo>
                  <a:cubicBezTo>
                    <a:pt x="66069" y="216343"/>
                    <a:pt x="66069" y="216343"/>
                    <a:pt x="66069" y="215911"/>
                  </a:cubicBezTo>
                  <a:cubicBezTo>
                    <a:pt x="66069" y="215479"/>
                    <a:pt x="66069" y="215479"/>
                    <a:pt x="66501" y="215047"/>
                  </a:cubicBezTo>
                  <a:cubicBezTo>
                    <a:pt x="66501" y="215047"/>
                    <a:pt x="66501" y="214616"/>
                    <a:pt x="66932" y="214616"/>
                  </a:cubicBezTo>
                  <a:lnTo>
                    <a:pt x="68660" y="212457"/>
                  </a:lnTo>
                  <a:cubicBezTo>
                    <a:pt x="69092" y="212457"/>
                    <a:pt x="69523" y="212457"/>
                    <a:pt x="69523" y="212888"/>
                  </a:cubicBezTo>
                  <a:lnTo>
                    <a:pt x="69955" y="212888"/>
                  </a:lnTo>
                  <a:cubicBezTo>
                    <a:pt x="69955" y="214184"/>
                    <a:pt x="70819" y="214184"/>
                    <a:pt x="71682" y="214616"/>
                  </a:cubicBezTo>
                  <a:cubicBezTo>
                    <a:pt x="72114" y="214616"/>
                    <a:pt x="72546" y="214616"/>
                    <a:pt x="72546" y="213752"/>
                  </a:cubicBezTo>
                  <a:lnTo>
                    <a:pt x="72978" y="213320"/>
                  </a:lnTo>
                  <a:cubicBezTo>
                    <a:pt x="72978" y="212888"/>
                    <a:pt x="72978" y="212888"/>
                    <a:pt x="72546" y="212888"/>
                  </a:cubicBezTo>
                  <a:cubicBezTo>
                    <a:pt x="71251" y="212457"/>
                    <a:pt x="70387" y="212457"/>
                    <a:pt x="70387" y="212025"/>
                  </a:cubicBezTo>
                  <a:cubicBezTo>
                    <a:pt x="70387" y="211593"/>
                    <a:pt x="70819" y="211161"/>
                    <a:pt x="70819" y="210729"/>
                  </a:cubicBezTo>
                  <a:cubicBezTo>
                    <a:pt x="70819" y="209866"/>
                    <a:pt x="71251" y="209002"/>
                    <a:pt x="71251" y="208138"/>
                  </a:cubicBezTo>
                  <a:cubicBezTo>
                    <a:pt x="72114" y="207275"/>
                    <a:pt x="71682" y="205979"/>
                    <a:pt x="72978" y="205547"/>
                  </a:cubicBezTo>
                  <a:cubicBezTo>
                    <a:pt x="73842" y="204684"/>
                    <a:pt x="73410" y="203388"/>
                    <a:pt x="73842" y="202525"/>
                  </a:cubicBezTo>
                  <a:cubicBezTo>
                    <a:pt x="74273" y="201661"/>
                    <a:pt x="75137" y="201229"/>
                    <a:pt x="75569" y="199934"/>
                  </a:cubicBezTo>
                  <a:cubicBezTo>
                    <a:pt x="75569" y="199502"/>
                    <a:pt x="76001" y="199502"/>
                    <a:pt x="76433" y="199070"/>
                  </a:cubicBezTo>
                  <a:cubicBezTo>
                    <a:pt x="76864" y="198638"/>
                    <a:pt x="77296" y="198206"/>
                    <a:pt x="77296" y="197775"/>
                  </a:cubicBezTo>
                  <a:cubicBezTo>
                    <a:pt x="77296" y="197343"/>
                    <a:pt x="77728" y="197343"/>
                    <a:pt x="77728" y="196911"/>
                  </a:cubicBezTo>
                  <a:cubicBezTo>
                    <a:pt x="77728" y="196479"/>
                    <a:pt x="77296" y="196047"/>
                    <a:pt x="77296" y="195615"/>
                  </a:cubicBezTo>
                  <a:lnTo>
                    <a:pt x="77296" y="195184"/>
                  </a:lnTo>
                  <a:cubicBezTo>
                    <a:pt x="77296" y="194752"/>
                    <a:pt x="77296" y="194752"/>
                    <a:pt x="77728" y="194752"/>
                  </a:cubicBezTo>
                  <a:lnTo>
                    <a:pt x="79455" y="194752"/>
                  </a:lnTo>
                  <a:cubicBezTo>
                    <a:pt x="79887" y="194752"/>
                    <a:pt x="80319" y="193888"/>
                    <a:pt x="80319" y="193456"/>
                  </a:cubicBezTo>
                  <a:cubicBezTo>
                    <a:pt x="79887" y="193025"/>
                    <a:pt x="79887" y="193025"/>
                    <a:pt x="79887" y="192593"/>
                  </a:cubicBezTo>
                  <a:cubicBezTo>
                    <a:pt x="79887" y="192161"/>
                    <a:pt x="79887" y="192161"/>
                    <a:pt x="80319" y="191729"/>
                  </a:cubicBezTo>
                  <a:lnTo>
                    <a:pt x="82046" y="190002"/>
                  </a:lnTo>
                  <a:cubicBezTo>
                    <a:pt x="82046" y="190002"/>
                    <a:pt x="82478" y="190002"/>
                    <a:pt x="82478" y="189570"/>
                  </a:cubicBezTo>
                  <a:cubicBezTo>
                    <a:pt x="82478" y="189570"/>
                    <a:pt x="82046" y="189138"/>
                    <a:pt x="82046" y="188706"/>
                  </a:cubicBezTo>
                  <a:cubicBezTo>
                    <a:pt x="82046" y="188274"/>
                    <a:pt x="82046" y="187843"/>
                    <a:pt x="82478" y="187843"/>
                  </a:cubicBezTo>
                  <a:cubicBezTo>
                    <a:pt x="82910" y="187843"/>
                    <a:pt x="83774" y="187843"/>
                    <a:pt x="84205" y="187411"/>
                  </a:cubicBezTo>
                  <a:lnTo>
                    <a:pt x="84637" y="187411"/>
                  </a:lnTo>
                  <a:lnTo>
                    <a:pt x="84637" y="186979"/>
                  </a:lnTo>
                  <a:cubicBezTo>
                    <a:pt x="84637" y="186115"/>
                    <a:pt x="85069" y="185684"/>
                    <a:pt x="85501" y="185252"/>
                  </a:cubicBezTo>
                  <a:cubicBezTo>
                    <a:pt x="86364" y="184388"/>
                    <a:pt x="87228" y="183093"/>
                    <a:pt x="88524" y="182229"/>
                  </a:cubicBezTo>
                  <a:cubicBezTo>
                    <a:pt x="88524" y="181797"/>
                    <a:pt x="88524" y="181365"/>
                    <a:pt x="88955" y="180934"/>
                  </a:cubicBezTo>
                  <a:cubicBezTo>
                    <a:pt x="88955" y="180502"/>
                    <a:pt x="88524" y="180070"/>
                    <a:pt x="88524" y="180070"/>
                  </a:cubicBezTo>
                  <a:cubicBezTo>
                    <a:pt x="88524" y="179638"/>
                    <a:pt x="88955" y="179638"/>
                    <a:pt x="89819" y="179206"/>
                  </a:cubicBezTo>
                  <a:lnTo>
                    <a:pt x="90251" y="178774"/>
                  </a:lnTo>
                  <a:cubicBezTo>
                    <a:pt x="90683" y="178774"/>
                    <a:pt x="91114" y="178343"/>
                    <a:pt x="91546" y="177911"/>
                  </a:cubicBezTo>
                  <a:cubicBezTo>
                    <a:pt x="91546" y="177047"/>
                    <a:pt x="91978" y="176615"/>
                    <a:pt x="92410" y="176615"/>
                  </a:cubicBezTo>
                  <a:cubicBezTo>
                    <a:pt x="93705" y="175752"/>
                    <a:pt x="94569" y="174888"/>
                    <a:pt x="95001" y="174024"/>
                  </a:cubicBezTo>
                  <a:cubicBezTo>
                    <a:pt x="95865" y="173161"/>
                    <a:pt x="96728" y="172297"/>
                    <a:pt x="97160" y="171002"/>
                  </a:cubicBezTo>
                  <a:lnTo>
                    <a:pt x="98455" y="168411"/>
                  </a:lnTo>
                  <a:cubicBezTo>
                    <a:pt x="98455" y="167979"/>
                    <a:pt x="98887" y="167979"/>
                    <a:pt x="98887" y="167979"/>
                  </a:cubicBezTo>
                  <a:cubicBezTo>
                    <a:pt x="99751" y="167547"/>
                    <a:pt x="100183" y="167115"/>
                    <a:pt x="100615" y="165820"/>
                  </a:cubicBezTo>
                  <a:cubicBezTo>
                    <a:pt x="100615" y="165388"/>
                    <a:pt x="101478" y="164524"/>
                    <a:pt x="101910" y="164524"/>
                  </a:cubicBezTo>
                  <a:cubicBezTo>
                    <a:pt x="102774" y="163661"/>
                    <a:pt x="103637" y="163229"/>
                    <a:pt x="104069" y="161933"/>
                  </a:cubicBezTo>
                  <a:cubicBezTo>
                    <a:pt x="104501" y="161070"/>
                    <a:pt x="105365" y="160638"/>
                    <a:pt x="105796" y="159342"/>
                  </a:cubicBezTo>
                  <a:lnTo>
                    <a:pt x="106660" y="158479"/>
                  </a:lnTo>
                  <a:cubicBezTo>
                    <a:pt x="107092" y="158479"/>
                    <a:pt x="107524" y="158047"/>
                    <a:pt x="107956" y="158047"/>
                  </a:cubicBezTo>
                  <a:cubicBezTo>
                    <a:pt x="108387" y="158047"/>
                    <a:pt x="108819" y="157615"/>
                    <a:pt x="108819" y="157183"/>
                  </a:cubicBezTo>
                  <a:cubicBezTo>
                    <a:pt x="109251" y="155888"/>
                    <a:pt x="110115" y="154592"/>
                    <a:pt x="110978" y="153729"/>
                  </a:cubicBezTo>
                  <a:cubicBezTo>
                    <a:pt x="112274" y="152865"/>
                    <a:pt x="113137" y="151570"/>
                    <a:pt x="114001" y="150274"/>
                  </a:cubicBezTo>
                  <a:cubicBezTo>
                    <a:pt x="114433" y="149410"/>
                    <a:pt x="115728" y="148547"/>
                    <a:pt x="115728" y="147251"/>
                  </a:cubicBezTo>
                  <a:lnTo>
                    <a:pt x="117887" y="145956"/>
                  </a:lnTo>
                  <a:cubicBezTo>
                    <a:pt x="118751" y="145524"/>
                    <a:pt x="119183" y="144660"/>
                    <a:pt x="119615" y="143797"/>
                  </a:cubicBezTo>
                  <a:cubicBezTo>
                    <a:pt x="120047" y="143365"/>
                    <a:pt x="120047" y="142933"/>
                    <a:pt x="120910" y="142933"/>
                  </a:cubicBezTo>
                  <a:cubicBezTo>
                    <a:pt x="121342" y="142933"/>
                    <a:pt x="122206" y="142501"/>
                    <a:pt x="122206" y="142070"/>
                  </a:cubicBezTo>
                  <a:lnTo>
                    <a:pt x="123933" y="140774"/>
                  </a:lnTo>
                  <a:cubicBezTo>
                    <a:pt x="123933" y="140342"/>
                    <a:pt x="124365" y="140342"/>
                    <a:pt x="124365" y="139910"/>
                  </a:cubicBezTo>
                  <a:cubicBezTo>
                    <a:pt x="124365" y="138615"/>
                    <a:pt x="125228" y="138183"/>
                    <a:pt x="126092" y="137320"/>
                  </a:cubicBezTo>
                  <a:cubicBezTo>
                    <a:pt x="127388" y="136456"/>
                    <a:pt x="128683" y="135592"/>
                    <a:pt x="128683" y="133865"/>
                  </a:cubicBezTo>
                  <a:lnTo>
                    <a:pt x="129115" y="133433"/>
                  </a:lnTo>
                  <a:cubicBezTo>
                    <a:pt x="130410" y="133001"/>
                    <a:pt x="130842" y="132138"/>
                    <a:pt x="132138" y="131706"/>
                  </a:cubicBezTo>
                  <a:lnTo>
                    <a:pt x="134729" y="129978"/>
                  </a:lnTo>
                  <a:cubicBezTo>
                    <a:pt x="136024" y="129115"/>
                    <a:pt x="136888" y="128251"/>
                    <a:pt x="137751" y="126956"/>
                  </a:cubicBezTo>
                  <a:lnTo>
                    <a:pt x="146388" y="120910"/>
                  </a:lnTo>
                  <a:cubicBezTo>
                    <a:pt x="147251" y="120047"/>
                    <a:pt x="148115" y="119183"/>
                    <a:pt x="149410" y="118751"/>
                  </a:cubicBezTo>
                  <a:lnTo>
                    <a:pt x="151138" y="117456"/>
                  </a:lnTo>
                  <a:cubicBezTo>
                    <a:pt x="151570" y="117024"/>
                    <a:pt x="152433" y="116160"/>
                    <a:pt x="152865" y="116160"/>
                  </a:cubicBezTo>
                  <a:cubicBezTo>
                    <a:pt x="154161" y="115728"/>
                    <a:pt x="154161" y="114865"/>
                    <a:pt x="154592" y="114001"/>
                  </a:cubicBezTo>
                  <a:cubicBezTo>
                    <a:pt x="154592" y="112706"/>
                    <a:pt x="155024" y="110978"/>
                    <a:pt x="155024" y="109683"/>
                  </a:cubicBezTo>
                  <a:lnTo>
                    <a:pt x="155024" y="108819"/>
                  </a:lnTo>
                  <a:cubicBezTo>
                    <a:pt x="154592" y="108819"/>
                    <a:pt x="154592" y="108387"/>
                    <a:pt x="154592" y="107956"/>
                  </a:cubicBezTo>
                  <a:cubicBezTo>
                    <a:pt x="154592" y="107524"/>
                    <a:pt x="154592" y="107524"/>
                    <a:pt x="155024" y="107092"/>
                  </a:cubicBezTo>
                  <a:cubicBezTo>
                    <a:pt x="155024" y="106228"/>
                    <a:pt x="155024" y="105365"/>
                    <a:pt x="154592" y="104501"/>
                  </a:cubicBezTo>
                  <a:lnTo>
                    <a:pt x="154592" y="100183"/>
                  </a:lnTo>
                  <a:cubicBezTo>
                    <a:pt x="154592" y="99319"/>
                    <a:pt x="154161" y="98024"/>
                    <a:pt x="154161" y="97160"/>
                  </a:cubicBezTo>
                  <a:lnTo>
                    <a:pt x="154161" y="95001"/>
                  </a:lnTo>
                  <a:cubicBezTo>
                    <a:pt x="153729" y="94569"/>
                    <a:pt x="153297" y="93705"/>
                    <a:pt x="153297" y="93274"/>
                  </a:cubicBezTo>
                  <a:cubicBezTo>
                    <a:pt x="153297" y="92842"/>
                    <a:pt x="153297" y="92842"/>
                    <a:pt x="153729" y="92410"/>
                  </a:cubicBezTo>
                  <a:cubicBezTo>
                    <a:pt x="153729" y="91546"/>
                    <a:pt x="153297" y="90683"/>
                    <a:pt x="153297" y="89819"/>
                  </a:cubicBezTo>
                  <a:cubicBezTo>
                    <a:pt x="152433" y="88524"/>
                    <a:pt x="152001" y="87228"/>
                    <a:pt x="151570" y="85501"/>
                  </a:cubicBezTo>
                  <a:cubicBezTo>
                    <a:pt x="151138" y="85069"/>
                    <a:pt x="151138" y="84637"/>
                    <a:pt x="151138" y="84205"/>
                  </a:cubicBezTo>
                  <a:lnTo>
                    <a:pt x="151138" y="83342"/>
                  </a:lnTo>
                  <a:cubicBezTo>
                    <a:pt x="151138" y="82910"/>
                    <a:pt x="151138" y="82478"/>
                    <a:pt x="150706" y="82046"/>
                  </a:cubicBezTo>
                  <a:cubicBezTo>
                    <a:pt x="149842" y="80751"/>
                    <a:pt x="148979" y="79455"/>
                    <a:pt x="147683" y="78160"/>
                  </a:cubicBezTo>
                  <a:cubicBezTo>
                    <a:pt x="147683" y="77728"/>
                    <a:pt x="148115" y="77296"/>
                    <a:pt x="148115" y="76864"/>
                  </a:cubicBezTo>
                  <a:cubicBezTo>
                    <a:pt x="148115" y="76001"/>
                    <a:pt x="147251" y="75569"/>
                    <a:pt x="146388" y="75569"/>
                  </a:cubicBezTo>
                  <a:lnTo>
                    <a:pt x="145092" y="74705"/>
                  </a:lnTo>
                  <a:cubicBezTo>
                    <a:pt x="143797" y="72978"/>
                    <a:pt x="142501" y="72114"/>
                    <a:pt x="141206" y="70819"/>
                  </a:cubicBezTo>
                  <a:cubicBezTo>
                    <a:pt x="140774" y="70819"/>
                    <a:pt x="140342" y="70387"/>
                    <a:pt x="139910" y="70387"/>
                  </a:cubicBezTo>
                  <a:cubicBezTo>
                    <a:pt x="136888" y="68660"/>
                    <a:pt x="136888" y="68660"/>
                    <a:pt x="133433" y="68660"/>
                  </a:cubicBezTo>
                  <a:cubicBezTo>
                    <a:pt x="132569" y="69092"/>
                    <a:pt x="131706" y="69092"/>
                    <a:pt x="131274" y="69523"/>
                  </a:cubicBezTo>
                  <a:lnTo>
                    <a:pt x="130842" y="69523"/>
                  </a:lnTo>
                  <a:cubicBezTo>
                    <a:pt x="128251" y="69955"/>
                    <a:pt x="126524" y="72114"/>
                    <a:pt x="123933" y="73410"/>
                  </a:cubicBezTo>
                  <a:cubicBezTo>
                    <a:pt x="123069" y="73842"/>
                    <a:pt x="122637" y="74273"/>
                    <a:pt x="122206" y="74273"/>
                  </a:cubicBezTo>
                  <a:cubicBezTo>
                    <a:pt x="121342" y="75137"/>
                    <a:pt x="120478" y="75569"/>
                    <a:pt x="119183" y="75569"/>
                  </a:cubicBezTo>
                  <a:lnTo>
                    <a:pt x="118319" y="75569"/>
                  </a:lnTo>
                  <a:cubicBezTo>
                    <a:pt x="118319" y="75569"/>
                    <a:pt x="118751" y="76001"/>
                    <a:pt x="118751" y="76433"/>
                  </a:cubicBezTo>
                  <a:cubicBezTo>
                    <a:pt x="118751" y="76864"/>
                    <a:pt x="118751" y="77296"/>
                    <a:pt x="118319" y="77296"/>
                  </a:cubicBezTo>
                  <a:cubicBezTo>
                    <a:pt x="117456" y="78160"/>
                    <a:pt x="117024" y="79024"/>
                    <a:pt x="116592" y="79887"/>
                  </a:cubicBezTo>
                  <a:lnTo>
                    <a:pt x="115728" y="80751"/>
                  </a:lnTo>
                  <a:lnTo>
                    <a:pt x="114433" y="80751"/>
                  </a:lnTo>
                  <a:lnTo>
                    <a:pt x="114433" y="81614"/>
                  </a:lnTo>
                  <a:cubicBezTo>
                    <a:pt x="114433" y="82046"/>
                    <a:pt x="114433" y="82046"/>
                    <a:pt x="113569" y="82478"/>
                  </a:cubicBezTo>
                  <a:lnTo>
                    <a:pt x="111410" y="85501"/>
                  </a:lnTo>
                  <a:cubicBezTo>
                    <a:pt x="110978" y="85933"/>
                    <a:pt x="110546" y="85933"/>
                    <a:pt x="110115" y="85933"/>
                  </a:cubicBezTo>
                  <a:lnTo>
                    <a:pt x="109251" y="85933"/>
                  </a:lnTo>
                  <a:cubicBezTo>
                    <a:pt x="108819" y="85933"/>
                    <a:pt x="108387" y="86364"/>
                    <a:pt x="108387" y="86796"/>
                  </a:cubicBezTo>
                  <a:cubicBezTo>
                    <a:pt x="108387" y="87228"/>
                    <a:pt x="108387" y="87228"/>
                    <a:pt x="107956" y="87660"/>
                  </a:cubicBezTo>
                  <a:lnTo>
                    <a:pt x="107956" y="88524"/>
                  </a:lnTo>
                  <a:cubicBezTo>
                    <a:pt x="107956" y="89387"/>
                    <a:pt x="107524" y="89387"/>
                    <a:pt x="106660" y="89387"/>
                  </a:cubicBezTo>
                  <a:lnTo>
                    <a:pt x="105796" y="89387"/>
                  </a:lnTo>
                  <a:cubicBezTo>
                    <a:pt x="104933" y="89387"/>
                    <a:pt x="104501" y="90251"/>
                    <a:pt x="104501" y="91114"/>
                  </a:cubicBezTo>
                  <a:lnTo>
                    <a:pt x="105365" y="91114"/>
                  </a:lnTo>
                  <a:lnTo>
                    <a:pt x="105365" y="91546"/>
                  </a:lnTo>
                  <a:cubicBezTo>
                    <a:pt x="105365" y="91546"/>
                    <a:pt x="105365" y="91978"/>
                    <a:pt x="104933" y="91978"/>
                  </a:cubicBezTo>
                  <a:lnTo>
                    <a:pt x="104501" y="91114"/>
                  </a:lnTo>
                  <a:close/>
                  <a:moveTo>
                    <a:pt x="3455" y="313503"/>
                  </a:moveTo>
                  <a:lnTo>
                    <a:pt x="3023" y="313071"/>
                  </a:lnTo>
                  <a:lnTo>
                    <a:pt x="3023" y="313935"/>
                  </a:lnTo>
                  <a:cubicBezTo>
                    <a:pt x="3023" y="313935"/>
                    <a:pt x="3455" y="313935"/>
                    <a:pt x="3455" y="313503"/>
                  </a:cubicBezTo>
                  <a:close/>
                  <a:moveTo>
                    <a:pt x="65205" y="225843"/>
                  </a:moveTo>
                  <a:cubicBezTo>
                    <a:pt x="64773" y="226707"/>
                    <a:pt x="64342" y="227570"/>
                    <a:pt x="64342" y="228866"/>
                  </a:cubicBezTo>
                  <a:lnTo>
                    <a:pt x="64773" y="228866"/>
                  </a:lnTo>
                  <a:lnTo>
                    <a:pt x="65637" y="226707"/>
                  </a:lnTo>
                  <a:lnTo>
                    <a:pt x="65205" y="225843"/>
                  </a:lnTo>
                  <a:close/>
                  <a:moveTo>
                    <a:pt x="151138" y="140774"/>
                  </a:moveTo>
                  <a:lnTo>
                    <a:pt x="151138" y="139910"/>
                  </a:lnTo>
                  <a:cubicBezTo>
                    <a:pt x="151138" y="139479"/>
                    <a:pt x="151138" y="139047"/>
                    <a:pt x="150706" y="138615"/>
                  </a:cubicBezTo>
                  <a:cubicBezTo>
                    <a:pt x="150274" y="138615"/>
                    <a:pt x="150274" y="139047"/>
                    <a:pt x="149842" y="139479"/>
                  </a:cubicBezTo>
                  <a:cubicBezTo>
                    <a:pt x="148979" y="140342"/>
                    <a:pt x="147683" y="141206"/>
                    <a:pt x="145956" y="142070"/>
                  </a:cubicBezTo>
                  <a:cubicBezTo>
                    <a:pt x="145524" y="142070"/>
                    <a:pt x="145092" y="142501"/>
                    <a:pt x="145092" y="142501"/>
                  </a:cubicBezTo>
                  <a:lnTo>
                    <a:pt x="145092" y="142933"/>
                  </a:lnTo>
                  <a:cubicBezTo>
                    <a:pt x="145092" y="143365"/>
                    <a:pt x="144660" y="143797"/>
                    <a:pt x="143797" y="144660"/>
                  </a:cubicBezTo>
                  <a:lnTo>
                    <a:pt x="142070" y="146820"/>
                  </a:lnTo>
                  <a:cubicBezTo>
                    <a:pt x="142070" y="147251"/>
                    <a:pt x="141206" y="147683"/>
                    <a:pt x="141206" y="148115"/>
                  </a:cubicBezTo>
                  <a:cubicBezTo>
                    <a:pt x="139910" y="148547"/>
                    <a:pt x="139047" y="149410"/>
                    <a:pt x="138183" y="150274"/>
                  </a:cubicBezTo>
                  <a:cubicBezTo>
                    <a:pt x="138183" y="150274"/>
                    <a:pt x="137751" y="150274"/>
                    <a:pt x="137751" y="149842"/>
                  </a:cubicBezTo>
                  <a:cubicBezTo>
                    <a:pt x="137319" y="149410"/>
                    <a:pt x="137319" y="148979"/>
                    <a:pt x="137319" y="148547"/>
                  </a:cubicBezTo>
                  <a:cubicBezTo>
                    <a:pt x="137319" y="148115"/>
                    <a:pt x="137319" y="147683"/>
                    <a:pt x="138183" y="147251"/>
                  </a:cubicBezTo>
                  <a:lnTo>
                    <a:pt x="138183" y="146820"/>
                  </a:lnTo>
                  <a:cubicBezTo>
                    <a:pt x="138183" y="146388"/>
                    <a:pt x="138183" y="145524"/>
                    <a:pt x="137751" y="145524"/>
                  </a:cubicBezTo>
                  <a:cubicBezTo>
                    <a:pt x="136888" y="145524"/>
                    <a:pt x="136024" y="145524"/>
                    <a:pt x="135160" y="145956"/>
                  </a:cubicBezTo>
                  <a:cubicBezTo>
                    <a:pt x="134729" y="145956"/>
                    <a:pt x="134729" y="146388"/>
                    <a:pt x="134297" y="146820"/>
                  </a:cubicBezTo>
                  <a:lnTo>
                    <a:pt x="134297" y="148115"/>
                  </a:lnTo>
                  <a:lnTo>
                    <a:pt x="133865" y="148115"/>
                  </a:lnTo>
                  <a:cubicBezTo>
                    <a:pt x="133433" y="148115"/>
                    <a:pt x="133433" y="147683"/>
                    <a:pt x="133001" y="147683"/>
                  </a:cubicBezTo>
                  <a:lnTo>
                    <a:pt x="132569" y="147251"/>
                  </a:lnTo>
                  <a:cubicBezTo>
                    <a:pt x="132138" y="147251"/>
                    <a:pt x="132138" y="146820"/>
                    <a:pt x="132138" y="146820"/>
                  </a:cubicBezTo>
                  <a:lnTo>
                    <a:pt x="131706" y="147251"/>
                  </a:lnTo>
                  <a:cubicBezTo>
                    <a:pt x="131274" y="147683"/>
                    <a:pt x="130842" y="147683"/>
                    <a:pt x="130842" y="148115"/>
                  </a:cubicBezTo>
                  <a:cubicBezTo>
                    <a:pt x="130410" y="148547"/>
                    <a:pt x="130410" y="148547"/>
                    <a:pt x="130410" y="148979"/>
                  </a:cubicBezTo>
                  <a:lnTo>
                    <a:pt x="130410" y="149842"/>
                  </a:lnTo>
                  <a:cubicBezTo>
                    <a:pt x="130410" y="150706"/>
                    <a:pt x="129978" y="152001"/>
                    <a:pt x="129115" y="152865"/>
                  </a:cubicBezTo>
                  <a:cubicBezTo>
                    <a:pt x="129115" y="153297"/>
                    <a:pt x="128683" y="153729"/>
                    <a:pt x="128683" y="153729"/>
                  </a:cubicBezTo>
                  <a:lnTo>
                    <a:pt x="128683" y="154592"/>
                  </a:lnTo>
                  <a:lnTo>
                    <a:pt x="129115" y="154592"/>
                  </a:lnTo>
                  <a:lnTo>
                    <a:pt x="130842" y="152865"/>
                  </a:lnTo>
                  <a:cubicBezTo>
                    <a:pt x="131274" y="152001"/>
                    <a:pt x="132138" y="151570"/>
                    <a:pt x="133433" y="151138"/>
                  </a:cubicBezTo>
                  <a:cubicBezTo>
                    <a:pt x="133865" y="151138"/>
                    <a:pt x="133865" y="152001"/>
                    <a:pt x="134729" y="152001"/>
                  </a:cubicBezTo>
                  <a:cubicBezTo>
                    <a:pt x="134729" y="152433"/>
                    <a:pt x="135160" y="152433"/>
                    <a:pt x="135160" y="152433"/>
                  </a:cubicBezTo>
                  <a:cubicBezTo>
                    <a:pt x="135160" y="152865"/>
                    <a:pt x="135592" y="153297"/>
                    <a:pt x="135592" y="153297"/>
                  </a:cubicBezTo>
                  <a:cubicBezTo>
                    <a:pt x="135592" y="153729"/>
                    <a:pt x="135160" y="153729"/>
                    <a:pt x="135160" y="153729"/>
                  </a:cubicBezTo>
                  <a:cubicBezTo>
                    <a:pt x="134297" y="154161"/>
                    <a:pt x="133433" y="155024"/>
                    <a:pt x="133001" y="155888"/>
                  </a:cubicBezTo>
                  <a:cubicBezTo>
                    <a:pt x="133001" y="156320"/>
                    <a:pt x="131706" y="156752"/>
                    <a:pt x="131706" y="157183"/>
                  </a:cubicBezTo>
                  <a:cubicBezTo>
                    <a:pt x="131274" y="157615"/>
                    <a:pt x="130842" y="158047"/>
                    <a:pt x="130410" y="158047"/>
                  </a:cubicBezTo>
                  <a:cubicBezTo>
                    <a:pt x="129978" y="159774"/>
                    <a:pt x="128683" y="160638"/>
                    <a:pt x="126956" y="161502"/>
                  </a:cubicBezTo>
                  <a:cubicBezTo>
                    <a:pt x="126524" y="161502"/>
                    <a:pt x="126524" y="161933"/>
                    <a:pt x="126092" y="162365"/>
                  </a:cubicBezTo>
                  <a:cubicBezTo>
                    <a:pt x="125660" y="164092"/>
                    <a:pt x="124365" y="165820"/>
                    <a:pt x="123069" y="167115"/>
                  </a:cubicBezTo>
                  <a:cubicBezTo>
                    <a:pt x="123069" y="167979"/>
                    <a:pt x="122206" y="168842"/>
                    <a:pt x="121342" y="169274"/>
                  </a:cubicBezTo>
                  <a:cubicBezTo>
                    <a:pt x="121342" y="169274"/>
                    <a:pt x="120910" y="169706"/>
                    <a:pt x="120910" y="170138"/>
                  </a:cubicBezTo>
                  <a:cubicBezTo>
                    <a:pt x="120910" y="171002"/>
                    <a:pt x="119615" y="171865"/>
                    <a:pt x="118751" y="172297"/>
                  </a:cubicBezTo>
                  <a:cubicBezTo>
                    <a:pt x="118319" y="172297"/>
                    <a:pt x="117887" y="172729"/>
                    <a:pt x="117887" y="173161"/>
                  </a:cubicBezTo>
                  <a:cubicBezTo>
                    <a:pt x="117887" y="174456"/>
                    <a:pt x="116592" y="174888"/>
                    <a:pt x="115728" y="176183"/>
                  </a:cubicBezTo>
                  <a:cubicBezTo>
                    <a:pt x="115728" y="176183"/>
                    <a:pt x="114865" y="176615"/>
                    <a:pt x="114865" y="177047"/>
                  </a:cubicBezTo>
                  <a:cubicBezTo>
                    <a:pt x="114001" y="179206"/>
                    <a:pt x="112706" y="180502"/>
                    <a:pt x="110978" y="182229"/>
                  </a:cubicBezTo>
                  <a:cubicBezTo>
                    <a:pt x="110978" y="182661"/>
                    <a:pt x="110546" y="182661"/>
                    <a:pt x="110115" y="182661"/>
                  </a:cubicBezTo>
                  <a:lnTo>
                    <a:pt x="109683" y="182661"/>
                  </a:lnTo>
                  <a:cubicBezTo>
                    <a:pt x="109251" y="182661"/>
                    <a:pt x="108819" y="182229"/>
                    <a:pt x="108819" y="182229"/>
                  </a:cubicBezTo>
                  <a:cubicBezTo>
                    <a:pt x="108819" y="182229"/>
                    <a:pt x="109251" y="182229"/>
                    <a:pt x="109683" y="181797"/>
                  </a:cubicBezTo>
                  <a:cubicBezTo>
                    <a:pt x="110115" y="181365"/>
                    <a:pt x="110978" y="180502"/>
                    <a:pt x="110978" y="179638"/>
                  </a:cubicBezTo>
                  <a:lnTo>
                    <a:pt x="110978" y="179206"/>
                  </a:lnTo>
                  <a:cubicBezTo>
                    <a:pt x="110978" y="178774"/>
                    <a:pt x="110546" y="178774"/>
                    <a:pt x="110115" y="178343"/>
                  </a:cubicBezTo>
                  <a:lnTo>
                    <a:pt x="110115" y="177047"/>
                  </a:lnTo>
                  <a:cubicBezTo>
                    <a:pt x="110546" y="176615"/>
                    <a:pt x="111410" y="176183"/>
                    <a:pt x="111842" y="176183"/>
                  </a:cubicBezTo>
                  <a:lnTo>
                    <a:pt x="112706" y="176183"/>
                  </a:lnTo>
                  <a:cubicBezTo>
                    <a:pt x="112706" y="176183"/>
                    <a:pt x="112274" y="176615"/>
                    <a:pt x="113137" y="176183"/>
                  </a:cubicBezTo>
                  <a:lnTo>
                    <a:pt x="113569" y="176183"/>
                  </a:lnTo>
                  <a:cubicBezTo>
                    <a:pt x="114001" y="175752"/>
                    <a:pt x="114001" y="175320"/>
                    <a:pt x="114001" y="175320"/>
                  </a:cubicBezTo>
                  <a:cubicBezTo>
                    <a:pt x="113137" y="174888"/>
                    <a:pt x="113137" y="174024"/>
                    <a:pt x="113137" y="173593"/>
                  </a:cubicBezTo>
                  <a:cubicBezTo>
                    <a:pt x="113137" y="173161"/>
                    <a:pt x="113137" y="172729"/>
                    <a:pt x="114001" y="172297"/>
                  </a:cubicBezTo>
                  <a:cubicBezTo>
                    <a:pt x="114433" y="171433"/>
                    <a:pt x="115297" y="170570"/>
                    <a:pt x="116160" y="170138"/>
                  </a:cubicBezTo>
                  <a:cubicBezTo>
                    <a:pt x="116592" y="170138"/>
                    <a:pt x="116592" y="169706"/>
                    <a:pt x="116592" y="169706"/>
                  </a:cubicBezTo>
                  <a:cubicBezTo>
                    <a:pt x="116592" y="168411"/>
                    <a:pt x="117887" y="167547"/>
                    <a:pt x="118751" y="166252"/>
                  </a:cubicBezTo>
                  <a:cubicBezTo>
                    <a:pt x="119615" y="165388"/>
                    <a:pt x="120478" y="164524"/>
                    <a:pt x="121774" y="164524"/>
                  </a:cubicBezTo>
                  <a:cubicBezTo>
                    <a:pt x="122206" y="164524"/>
                    <a:pt x="122206" y="164092"/>
                    <a:pt x="122206" y="163661"/>
                  </a:cubicBezTo>
                  <a:cubicBezTo>
                    <a:pt x="122206" y="163229"/>
                    <a:pt x="121774" y="162797"/>
                    <a:pt x="122206" y="162797"/>
                  </a:cubicBezTo>
                  <a:cubicBezTo>
                    <a:pt x="122637" y="161933"/>
                    <a:pt x="123501" y="161070"/>
                    <a:pt x="124365" y="160206"/>
                  </a:cubicBezTo>
                  <a:cubicBezTo>
                    <a:pt x="124797" y="159774"/>
                    <a:pt x="124797" y="159774"/>
                    <a:pt x="125228" y="159774"/>
                  </a:cubicBezTo>
                  <a:cubicBezTo>
                    <a:pt x="125660" y="160206"/>
                    <a:pt x="125660" y="160206"/>
                    <a:pt x="126092" y="160206"/>
                  </a:cubicBezTo>
                  <a:cubicBezTo>
                    <a:pt x="126524" y="160206"/>
                    <a:pt x="126956" y="160206"/>
                    <a:pt x="127388" y="159774"/>
                  </a:cubicBezTo>
                  <a:cubicBezTo>
                    <a:pt x="128251" y="159342"/>
                    <a:pt x="128683" y="158911"/>
                    <a:pt x="128683" y="158479"/>
                  </a:cubicBezTo>
                  <a:cubicBezTo>
                    <a:pt x="129115" y="157615"/>
                    <a:pt x="129547" y="156752"/>
                    <a:pt x="130410" y="155888"/>
                  </a:cubicBezTo>
                  <a:lnTo>
                    <a:pt x="130410" y="155456"/>
                  </a:lnTo>
                  <a:lnTo>
                    <a:pt x="129978" y="155456"/>
                  </a:lnTo>
                  <a:lnTo>
                    <a:pt x="127819" y="157183"/>
                  </a:lnTo>
                  <a:cubicBezTo>
                    <a:pt x="127388" y="157615"/>
                    <a:pt x="126956" y="157615"/>
                    <a:pt x="126956" y="157615"/>
                  </a:cubicBezTo>
                  <a:cubicBezTo>
                    <a:pt x="126524" y="157615"/>
                    <a:pt x="126524" y="157615"/>
                    <a:pt x="126524" y="157183"/>
                  </a:cubicBezTo>
                  <a:lnTo>
                    <a:pt x="125660" y="156320"/>
                  </a:lnTo>
                  <a:cubicBezTo>
                    <a:pt x="125228" y="156320"/>
                    <a:pt x="124797" y="156752"/>
                    <a:pt x="124365" y="157183"/>
                  </a:cubicBezTo>
                  <a:cubicBezTo>
                    <a:pt x="123501" y="157615"/>
                    <a:pt x="122637" y="158479"/>
                    <a:pt x="121774" y="159342"/>
                  </a:cubicBezTo>
                  <a:cubicBezTo>
                    <a:pt x="120910" y="160206"/>
                    <a:pt x="120478" y="160638"/>
                    <a:pt x="120478" y="161502"/>
                  </a:cubicBezTo>
                  <a:cubicBezTo>
                    <a:pt x="120910" y="161502"/>
                    <a:pt x="120478" y="161933"/>
                    <a:pt x="120478" y="162365"/>
                  </a:cubicBezTo>
                  <a:cubicBezTo>
                    <a:pt x="119615" y="164092"/>
                    <a:pt x="118751" y="165388"/>
                    <a:pt x="117024" y="166683"/>
                  </a:cubicBezTo>
                  <a:lnTo>
                    <a:pt x="114001" y="169274"/>
                  </a:lnTo>
                  <a:cubicBezTo>
                    <a:pt x="114001" y="169706"/>
                    <a:pt x="113569" y="169706"/>
                    <a:pt x="113137" y="169706"/>
                  </a:cubicBezTo>
                  <a:lnTo>
                    <a:pt x="111842" y="169706"/>
                  </a:lnTo>
                  <a:cubicBezTo>
                    <a:pt x="110978" y="169706"/>
                    <a:pt x="110115" y="169706"/>
                    <a:pt x="109683" y="171002"/>
                  </a:cubicBezTo>
                  <a:cubicBezTo>
                    <a:pt x="109251" y="171433"/>
                    <a:pt x="109251" y="171433"/>
                    <a:pt x="108819" y="171433"/>
                  </a:cubicBezTo>
                  <a:lnTo>
                    <a:pt x="107092" y="171433"/>
                  </a:lnTo>
                  <a:cubicBezTo>
                    <a:pt x="106228" y="171865"/>
                    <a:pt x="105796" y="172297"/>
                    <a:pt x="105796" y="173161"/>
                  </a:cubicBezTo>
                  <a:lnTo>
                    <a:pt x="105796" y="175320"/>
                  </a:lnTo>
                  <a:cubicBezTo>
                    <a:pt x="105796" y="175752"/>
                    <a:pt x="105365" y="175752"/>
                    <a:pt x="105365" y="175752"/>
                  </a:cubicBezTo>
                  <a:cubicBezTo>
                    <a:pt x="105365" y="175752"/>
                    <a:pt x="104933" y="175752"/>
                    <a:pt x="104933" y="175320"/>
                  </a:cubicBezTo>
                  <a:cubicBezTo>
                    <a:pt x="104501" y="175320"/>
                    <a:pt x="104933" y="174456"/>
                    <a:pt x="104069" y="174456"/>
                  </a:cubicBezTo>
                  <a:cubicBezTo>
                    <a:pt x="103637" y="174456"/>
                    <a:pt x="103637" y="174888"/>
                    <a:pt x="103206" y="175320"/>
                  </a:cubicBezTo>
                  <a:lnTo>
                    <a:pt x="101046" y="177047"/>
                  </a:lnTo>
                  <a:cubicBezTo>
                    <a:pt x="100615" y="177479"/>
                    <a:pt x="100183" y="177911"/>
                    <a:pt x="100183" y="178343"/>
                  </a:cubicBezTo>
                  <a:cubicBezTo>
                    <a:pt x="100183" y="178774"/>
                    <a:pt x="100615" y="179206"/>
                    <a:pt x="101046" y="179206"/>
                  </a:cubicBezTo>
                  <a:lnTo>
                    <a:pt x="102342" y="180502"/>
                  </a:lnTo>
                  <a:cubicBezTo>
                    <a:pt x="102774" y="180502"/>
                    <a:pt x="102774" y="180502"/>
                    <a:pt x="102774" y="180934"/>
                  </a:cubicBezTo>
                  <a:lnTo>
                    <a:pt x="102774" y="181365"/>
                  </a:lnTo>
                  <a:cubicBezTo>
                    <a:pt x="102774" y="181797"/>
                    <a:pt x="102342" y="181797"/>
                    <a:pt x="101910" y="181797"/>
                  </a:cubicBezTo>
                  <a:cubicBezTo>
                    <a:pt x="101478" y="182229"/>
                    <a:pt x="101046" y="182229"/>
                    <a:pt x="101046" y="183093"/>
                  </a:cubicBezTo>
                  <a:cubicBezTo>
                    <a:pt x="101478" y="183093"/>
                    <a:pt x="101478" y="183524"/>
                    <a:pt x="101478" y="183524"/>
                  </a:cubicBezTo>
                  <a:lnTo>
                    <a:pt x="101478" y="184388"/>
                  </a:lnTo>
                  <a:cubicBezTo>
                    <a:pt x="101478" y="185252"/>
                    <a:pt x="101046" y="185252"/>
                    <a:pt x="100615" y="185684"/>
                  </a:cubicBezTo>
                  <a:cubicBezTo>
                    <a:pt x="100183" y="185684"/>
                    <a:pt x="99751" y="185684"/>
                    <a:pt x="98887" y="186115"/>
                  </a:cubicBezTo>
                  <a:cubicBezTo>
                    <a:pt x="98455" y="186115"/>
                    <a:pt x="97592" y="186115"/>
                    <a:pt x="97592" y="185684"/>
                  </a:cubicBezTo>
                  <a:cubicBezTo>
                    <a:pt x="97160" y="185684"/>
                    <a:pt x="97160" y="185252"/>
                    <a:pt x="97160" y="185252"/>
                  </a:cubicBezTo>
                  <a:lnTo>
                    <a:pt x="96728" y="185684"/>
                  </a:lnTo>
                  <a:cubicBezTo>
                    <a:pt x="95865" y="186115"/>
                    <a:pt x="95433" y="186115"/>
                    <a:pt x="95001" y="186115"/>
                  </a:cubicBezTo>
                  <a:cubicBezTo>
                    <a:pt x="94137" y="186115"/>
                    <a:pt x="93705" y="186547"/>
                    <a:pt x="93274" y="186979"/>
                  </a:cubicBezTo>
                  <a:lnTo>
                    <a:pt x="93274" y="187411"/>
                  </a:lnTo>
                  <a:cubicBezTo>
                    <a:pt x="93274" y="187411"/>
                    <a:pt x="92842" y="187411"/>
                    <a:pt x="92842" y="186979"/>
                  </a:cubicBezTo>
                  <a:cubicBezTo>
                    <a:pt x="92410" y="186547"/>
                    <a:pt x="92410" y="186547"/>
                    <a:pt x="91978" y="186547"/>
                  </a:cubicBezTo>
                  <a:cubicBezTo>
                    <a:pt x="91546" y="186979"/>
                    <a:pt x="91546" y="186979"/>
                    <a:pt x="91546" y="187411"/>
                  </a:cubicBezTo>
                  <a:lnTo>
                    <a:pt x="91114" y="187843"/>
                  </a:lnTo>
                  <a:cubicBezTo>
                    <a:pt x="91114" y="187843"/>
                    <a:pt x="91114" y="188274"/>
                    <a:pt x="91546" y="188274"/>
                  </a:cubicBezTo>
                  <a:cubicBezTo>
                    <a:pt x="92410" y="189138"/>
                    <a:pt x="93274" y="189570"/>
                    <a:pt x="93274" y="190865"/>
                  </a:cubicBezTo>
                  <a:lnTo>
                    <a:pt x="93274" y="191297"/>
                  </a:lnTo>
                  <a:cubicBezTo>
                    <a:pt x="93274" y="191729"/>
                    <a:pt x="93705" y="191729"/>
                    <a:pt x="94569" y="191729"/>
                  </a:cubicBezTo>
                  <a:lnTo>
                    <a:pt x="95001" y="191729"/>
                  </a:lnTo>
                  <a:cubicBezTo>
                    <a:pt x="95433" y="191297"/>
                    <a:pt x="96296" y="190865"/>
                    <a:pt x="96728" y="190865"/>
                  </a:cubicBezTo>
                  <a:lnTo>
                    <a:pt x="97160" y="190865"/>
                  </a:lnTo>
                  <a:lnTo>
                    <a:pt x="97160" y="191729"/>
                  </a:lnTo>
                  <a:cubicBezTo>
                    <a:pt x="98024" y="192593"/>
                    <a:pt x="98455" y="192593"/>
                    <a:pt x="99319" y="192593"/>
                  </a:cubicBezTo>
                  <a:cubicBezTo>
                    <a:pt x="99751" y="192593"/>
                    <a:pt x="100183" y="192161"/>
                    <a:pt x="100183" y="191729"/>
                  </a:cubicBezTo>
                  <a:cubicBezTo>
                    <a:pt x="100183" y="190865"/>
                    <a:pt x="100183" y="190434"/>
                    <a:pt x="101046" y="189570"/>
                  </a:cubicBezTo>
                  <a:cubicBezTo>
                    <a:pt x="101046" y="189570"/>
                    <a:pt x="101046" y="189138"/>
                    <a:pt x="101478" y="188706"/>
                  </a:cubicBezTo>
                  <a:cubicBezTo>
                    <a:pt x="101910" y="186979"/>
                    <a:pt x="103637" y="185684"/>
                    <a:pt x="104501" y="184388"/>
                  </a:cubicBezTo>
                  <a:cubicBezTo>
                    <a:pt x="105365" y="183956"/>
                    <a:pt x="105796" y="183956"/>
                    <a:pt x="106660" y="183956"/>
                  </a:cubicBezTo>
                  <a:lnTo>
                    <a:pt x="108387" y="184820"/>
                  </a:lnTo>
                  <a:lnTo>
                    <a:pt x="108387" y="185684"/>
                  </a:lnTo>
                  <a:lnTo>
                    <a:pt x="107524" y="186547"/>
                  </a:lnTo>
                  <a:cubicBezTo>
                    <a:pt x="106228" y="187843"/>
                    <a:pt x="105365" y="189138"/>
                    <a:pt x="104933" y="190865"/>
                  </a:cubicBezTo>
                  <a:lnTo>
                    <a:pt x="104069" y="191297"/>
                  </a:lnTo>
                  <a:lnTo>
                    <a:pt x="101910" y="195184"/>
                  </a:lnTo>
                  <a:cubicBezTo>
                    <a:pt x="101478" y="195615"/>
                    <a:pt x="100615" y="196047"/>
                    <a:pt x="100183" y="196911"/>
                  </a:cubicBezTo>
                  <a:cubicBezTo>
                    <a:pt x="99751" y="196911"/>
                    <a:pt x="99319" y="197343"/>
                    <a:pt x="99319" y="197775"/>
                  </a:cubicBezTo>
                  <a:cubicBezTo>
                    <a:pt x="98887" y="199070"/>
                    <a:pt x="98024" y="200797"/>
                    <a:pt x="96728" y="202093"/>
                  </a:cubicBezTo>
                  <a:cubicBezTo>
                    <a:pt x="96296" y="202956"/>
                    <a:pt x="96296" y="203820"/>
                    <a:pt x="95001" y="203820"/>
                  </a:cubicBezTo>
                  <a:cubicBezTo>
                    <a:pt x="94569" y="203820"/>
                    <a:pt x="94569" y="203388"/>
                    <a:pt x="94569" y="202956"/>
                  </a:cubicBezTo>
                  <a:cubicBezTo>
                    <a:pt x="94569" y="202525"/>
                    <a:pt x="94569" y="202093"/>
                    <a:pt x="95001" y="201661"/>
                  </a:cubicBezTo>
                  <a:lnTo>
                    <a:pt x="95001" y="200366"/>
                  </a:lnTo>
                  <a:cubicBezTo>
                    <a:pt x="93705" y="199502"/>
                    <a:pt x="92842" y="198638"/>
                    <a:pt x="91114" y="198638"/>
                  </a:cubicBezTo>
                  <a:lnTo>
                    <a:pt x="90251" y="198638"/>
                  </a:lnTo>
                  <a:cubicBezTo>
                    <a:pt x="89819" y="198638"/>
                    <a:pt x="89819" y="198206"/>
                    <a:pt x="89387" y="198206"/>
                  </a:cubicBezTo>
                  <a:cubicBezTo>
                    <a:pt x="88955" y="198206"/>
                    <a:pt x="88524" y="198206"/>
                    <a:pt x="88092" y="198638"/>
                  </a:cubicBezTo>
                  <a:cubicBezTo>
                    <a:pt x="87660" y="199070"/>
                    <a:pt x="87660" y="199502"/>
                    <a:pt x="87228" y="199502"/>
                  </a:cubicBezTo>
                  <a:cubicBezTo>
                    <a:pt x="87228" y="199502"/>
                    <a:pt x="86796" y="199070"/>
                    <a:pt x="86364" y="199070"/>
                  </a:cubicBezTo>
                  <a:cubicBezTo>
                    <a:pt x="85501" y="198206"/>
                    <a:pt x="85501" y="198206"/>
                    <a:pt x="85501" y="197775"/>
                  </a:cubicBezTo>
                  <a:cubicBezTo>
                    <a:pt x="85501" y="197343"/>
                    <a:pt x="85501" y="196911"/>
                    <a:pt x="85933" y="196047"/>
                  </a:cubicBezTo>
                  <a:lnTo>
                    <a:pt x="86364" y="195615"/>
                  </a:lnTo>
                  <a:lnTo>
                    <a:pt x="85933" y="195615"/>
                  </a:lnTo>
                  <a:cubicBezTo>
                    <a:pt x="85501" y="195615"/>
                    <a:pt x="85501" y="195615"/>
                    <a:pt x="84637" y="196047"/>
                  </a:cubicBezTo>
                  <a:cubicBezTo>
                    <a:pt x="84205" y="197343"/>
                    <a:pt x="83342" y="198638"/>
                    <a:pt x="82478" y="199934"/>
                  </a:cubicBezTo>
                  <a:cubicBezTo>
                    <a:pt x="80751" y="202093"/>
                    <a:pt x="79887" y="204684"/>
                    <a:pt x="78592" y="207275"/>
                  </a:cubicBezTo>
                  <a:lnTo>
                    <a:pt x="78592" y="207706"/>
                  </a:lnTo>
                  <a:cubicBezTo>
                    <a:pt x="78592" y="208570"/>
                    <a:pt x="78160" y="209002"/>
                    <a:pt x="77296" y="209866"/>
                  </a:cubicBezTo>
                  <a:cubicBezTo>
                    <a:pt x="77296" y="209866"/>
                    <a:pt x="76864" y="209866"/>
                    <a:pt x="76433" y="210297"/>
                  </a:cubicBezTo>
                  <a:cubicBezTo>
                    <a:pt x="76433" y="210297"/>
                    <a:pt x="76433" y="210729"/>
                    <a:pt x="76001" y="211161"/>
                  </a:cubicBezTo>
                  <a:cubicBezTo>
                    <a:pt x="76001" y="211593"/>
                    <a:pt x="76433" y="211593"/>
                    <a:pt x="76864" y="211593"/>
                  </a:cubicBezTo>
                  <a:cubicBezTo>
                    <a:pt x="77728" y="211161"/>
                    <a:pt x="78592" y="211161"/>
                    <a:pt x="79887" y="210297"/>
                  </a:cubicBezTo>
                  <a:cubicBezTo>
                    <a:pt x="80319" y="210297"/>
                    <a:pt x="80751" y="210297"/>
                    <a:pt x="81183" y="209866"/>
                  </a:cubicBezTo>
                  <a:cubicBezTo>
                    <a:pt x="80751" y="211161"/>
                    <a:pt x="80319" y="212025"/>
                    <a:pt x="79455" y="212457"/>
                  </a:cubicBezTo>
                  <a:lnTo>
                    <a:pt x="77728" y="212457"/>
                  </a:lnTo>
                  <a:cubicBezTo>
                    <a:pt x="77296" y="212888"/>
                    <a:pt x="76864" y="212888"/>
                    <a:pt x="76864" y="212888"/>
                  </a:cubicBezTo>
                  <a:lnTo>
                    <a:pt x="76433" y="212888"/>
                  </a:lnTo>
                  <a:cubicBezTo>
                    <a:pt x="76001" y="212888"/>
                    <a:pt x="75569" y="213320"/>
                    <a:pt x="75569" y="213752"/>
                  </a:cubicBezTo>
                  <a:cubicBezTo>
                    <a:pt x="75569" y="214616"/>
                    <a:pt x="74705" y="215479"/>
                    <a:pt x="73842" y="216775"/>
                  </a:cubicBezTo>
                  <a:cubicBezTo>
                    <a:pt x="73410" y="217638"/>
                    <a:pt x="73410" y="218502"/>
                    <a:pt x="73410" y="219366"/>
                  </a:cubicBezTo>
                  <a:cubicBezTo>
                    <a:pt x="73410" y="220229"/>
                    <a:pt x="72978" y="221093"/>
                    <a:pt x="72546" y="221525"/>
                  </a:cubicBezTo>
                  <a:lnTo>
                    <a:pt x="72546" y="221957"/>
                  </a:lnTo>
                  <a:cubicBezTo>
                    <a:pt x="72546" y="222388"/>
                    <a:pt x="72978" y="222388"/>
                    <a:pt x="72978" y="222388"/>
                  </a:cubicBezTo>
                  <a:lnTo>
                    <a:pt x="73410" y="221957"/>
                  </a:lnTo>
                  <a:cubicBezTo>
                    <a:pt x="73842" y="221525"/>
                    <a:pt x="74273" y="221093"/>
                    <a:pt x="74273" y="220229"/>
                  </a:cubicBezTo>
                  <a:lnTo>
                    <a:pt x="74273" y="219798"/>
                  </a:lnTo>
                  <a:cubicBezTo>
                    <a:pt x="74273" y="219366"/>
                    <a:pt x="74705" y="218934"/>
                    <a:pt x="75137" y="218502"/>
                  </a:cubicBezTo>
                  <a:cubicBezTo>
                    <a:pt x="75137" y="218070"/>
                    <a:pt x="75569" y="217638"/>
                    <a:pt x="76001" y="217638"/>
                  </a:cubicBezTo>
                  <a:cubicBezTo>
                    <a:pt x="76433" y="217207"/>
                    <a:pt x="76864" y="217207"/>
                    <a:pt x="77296" y="217207"/>
                  </a:cubicBezTo>
                  <a:cubicBezTo>
                    <a:pt x="77728" y="217207"/>
                    <a:pt x="78160" y="217638"/>
                    <a:pt x="78160" y="218070"/>
                  </a:cubicBezTo>
                  <a:cubicBezTo>
                    <a:pt x="78160" y="218934"/>
                    <a:pt x="77728" y="219366"/>
                    <a:pt x="77296" y="219798"/>
                  </a:cubicBezTo>
                  <a:cubicBezTo>
                    <a:pt x="76864" y="220229"/>
                    <a:pt x="76001" y="220229"/>
                    <a:pt x="75569" y="221093"/>
                  </a:cubicBezTo>
                  <a:cubicBezTo>
                    <a:pt x="75569" y="221525"/>
                    <a:pt x="75137" y="221525"/>
                    <a:pt x="75569" y="221525"/>
                  </a:cubicBezTo>
                  <a:cubicBezTo>
                    <a:pt x="75569" y="221525"/>
                    <a:pt x="75569" y="221957"/>
                    <a:pt x="76001" y="221525"/>
                  </a:cubicBezTo>
                  <a:cubicBezTo>
                    <a:pt x="76001" y="221525"/>
                    <a:pt x="76433" y="221093"/>
                    <a:pt x="76864" y="221093"/>
                  </a:cubicBezTo>
                  <a:cubicBezTo>
                    <a:pt x="77296" y="221093"/>
                    <a:pt x="77728" y="221525"/>
                    <a:pt x="78160" y="221957"/>
                  </a:cubicBezTo>
                  <a:cubicBezTo>
                    <a:pt x="78592" y="222388"/>
                    <a:pt x="78592" y="222820"/>
                    <a:pt x="79023" y="222820"/>
                  </a:cubicBezTo>
                  <a:lnTo>
                    <a:pt x="79455" y="222388"/>
                  </a:lnTo>
                  <a:cubicBezTo>
                    <a:pt x="79887" y="222388"/>
                    <a:pt x="80319" y="222820"/>
                    <a:pt x="80319" y="223252"/>
                  </a:cubicBezTo>
                  <a:cubicBezTo>
                    <a:pt x="80319" y="224116"/>
                    <a:pt x="80319" y="224979"/>
                    <a:pt x="79887" y="225843"/>
                  </a:cubicBezTo>
                  <a:cubicBezTo>
                    <a:pt x="79887" y="226275"/>
                    <a:pt x="80319" y="226707"/>
                    <a:pt x="80751" y="226707"/>
                  </a:cubicBezTo>
                  <a:lnTo>
                    <a:pt x="81183" y="226707"/>
                  </a:lnTo>
                  <a:cubicBezTo>
                    <a:pt x="81183" y="226707"/>
                    <a:pt x="81614" y="226707"/>
                    <a:pt x="81614" y="227138"/>
                  </a:cubicBezTo>
                  <a:lnTo>
                    <a:pt x="82478" y="229729"/>
                  </a:lnTo>
                  <a:cubicBezTo>
                    <a:pt x="81614" y="230161"/>
                    <a:pt x="81183" y="231025"/>
                    <a:pt x="80751" y="231889"/>
                  </a:cubicBezTo>
                  <a:cubicBezTo>
                    <a:pt x="80319" y="232320"/>
                    <a:pt x="79887" y="233184"/>
                    <a:pt x="79887" y="233616"/>
                  </a:cubicBezTo>
                  <a:lnTo>
                    <a:pt x="79887" y="234048"/>
                  </a:lnTo>
                  <a:lnTo>
                    <a:pt x="79023" y="234048"/>
                  </a:lnTo>
                  <a:cubicBezTo>
                    <a:pt x="78160" y="234048"/>
                    <a:pt x="77296" y="234048"/>
                    <a:pt x="76864" y="233616"/>
                  </a:cubicBezTo>
                  <a:cubicBezTo>
                    <a:pt x="76864" y="233184"/>
                    <a:pt x="76433" y="232320"/>
                    <a:pt x="76433" y="231889"/>
                  </a:cubicBezTo>
                  <a:lnTo>
                    <a:pt x="75569" y="231889"/>
                  </a:lnTo>
                  <a:lnTo>
                    <a:pt x="75569" y="232320"/>
                  </a:lnTo>
                  <a:cubicBezTo>
                    <a:pt x="75137" y="233184"/>
                    <a:pt x="75137" y="234048"/>
                    <a:pt x="75137" y="234911"/>
                  </a:cubicBezTo>
                  <a:cubicBezTo>
                    <a:pt x="75137" y="235343"/>
                    <a:pt x="74705" y="235775"/>
                    <a:pt x="74705" y="236207"/>
                  </a:cubicBezTo>
                  <a:lnTo>
                    <a:pt x="74273" y="236207"/>
                  </a:lnTo>
                  <a:cubicBezTo>
                    <a:pt x="73842" y="236207"/>
                    <a:pt x="73410" y="235775"/>
                    <a:pt x="72978" y="235775"/>
                  </a:cubicBezTo>
                  <a:lnTo>
                    <a:pt x="72546" y="235343"/>
                  </a:lnTo>
                  <a:lnTo>
                    <a:pt x="72114" y="235775"/>
                  </a:lnTo>
                  <a:cubicBezTo>
                    <a:pt x="71682" y="236207"/>
                    <a:pt x="71682" y="236639"/>
                    <a:pt x="71682" y="236639"/>
                  </a:cubicBezTo>
                  <a:cubicBezTo>
                    <a:pt x="71682" y="237070"/>
                    <a:pt x="72114" y="237934"/>
                    <a:pt x="72546" y="237934"/>
                  </a:cubicBezTo>
                  <a:cubicBezTo>
                    <a:pt x="72978" y="238798"/>
                    <a:pt x="73842" y="239230"/>
                    <a:pt x="73842" y="240093"/>
                  </a:cubicBezTo>
                  <a:cubicBezTo>
                    <a:pt x="73842" y="240525"/>
                    <a:pt x="74273" y="240525"/>
                    <a:pt x="74705" y="240525"/>
                  </a:cubicBezTo>
                  <a:lnTo>
                    <a:pt x="75569" y="240525"/>
                  </a:lnTo>
                  <a:cubicBezTo>
                    <a:pt x="76864" y="240093"/>
                    <a:pt x="77728" y="240525"/>
                    <a:pt x="79455" y="239230"/>
                  </a:cubicBezTo>
                  <a:cubicBezTo>
                    <a:pt x="79887" y="238798"/>
                    <a:pt x="80319" y="238798"/>
                    <a:pt x="80751" y="237934"/>
                  </a:cubicBezTo>
                  <a:cubicBezTo>
                    <a:pt x="81614" y="237502"/>
                    <a:pt x="82478" y="237502"/>
                    <a:pt x="83342" y="237502"/>
                  </a:cubicBezTo>
                  <a:cubicBezTo>
                    <a:pt x="83342" y="237070"/>
                    <a:pt x="83774" y="237070"/>
                    <a:pt x="83774" y="237070"/>
                  </a:cubicBezTo>
                  <a:cubicBezTo>
                    <a:pt x="84205" y="236639"/>
                    <a:pt x="84637" y="236207"/>
                    <a:pt x="85069" y="236207"/>
                  </a:cubicBezTo>
                  <a:cubicBezTo>
                    <a:pt x="87660" y="234911"/>
                    <a:pt x="89387" y="232752"/>
                    <a:pt x="91546" y="231889"/>
                  </a:cubicBezTo>
                  <a:cubicBezTo>
                    <a:pt x="92410" y="231457"/>
                    <a:pt x="92842" y="230593"/>
                    <a:pt x="94137" y="230161"/>
                  </a:cubicBezTo>
                  <a:lnTo>
                    <a:pt x="100183" y="224979"/>
                  </a:lnTo>
                  <a:cubicBezTo>
                    <a:pt x="102342" y="223684"/>
                    <a:pt x="103637" y="221525"/>
                    <a:pt x="106228" y="219798"/>
                  </a:cubicBezTo>
                  <a:cubicBezTo>
                    <a:pt x="106660" y="218934"/>
                    <a:pt x="107524" y="218070"/>
                    <a:pt x="108387" y="217207"/>
                  </a:cubicBezTo>
                  <a:lnTo>
                    <a:pt x="111842" y="214184"/>
                  </a:lnTo>
                  <a:cubicBezTo>
                    <a:pt x="113569" y="212888"/>
                    <a:pt x="114865" y="211161"/>
                    <a:pt x="116160" y="209434"/>
                  </a:cubicBezTo>
                  <a:cubicBezTo>
                    <a:pt x="116592" y="209002"/>
                    <a:pt x="116592" y="209002"/>
                    <a:pt x="117024" y="209002"/>
                  </a:cubicBezTo>
                  <a:lnTo>
                    <a:pt x="124365" y="200366"/>
                  </a:lnTo>
                  <a:cubicBezTo>
                    <a:pt x="126956" y="197343"/>
                    <a:pt x="129115" y="193888"/>
                    <a:pt x="131706" y="190434"/>
                  </a:cubicBezTo>
                  <a:cubicBezTo>
                    <a:pt x="133433" y="187843"/>
                    <a:pt x="135160" y="184820"/>
                    <a:pt x="136024" y="182229"/>
                  </a:cubicBezTo>
                  <a:cubicBezTo>
                    <a:pt x="138615" y="177479"/>
                    <a:pt x="141206" y="173161"/>
                    <a:pt x="142501" y="167979"/>
                  </a:cubicBezTo>
                  <a:cubicBezTo>
                    <a:pt x="142501" y="167979"/>
                    <a:pt x="142933" y="167979"/>
                    <a:pt x="142933" y="167547"/>
                  </a:cubicBezTo>
                  <a:lnTo>
                    <a:pt x="147683" y="153729"/>
                  </a:lnTo>
                  <a:cubicBezTo>
                    <a:pt x="148979" y="150706"/>
                    <a:pt x="148979" y="147683"/>
                    <a:pt x="150274" y="145092"/>
                  </a:cubicBezTo>
                  <a:cubicBezTo>
                    <a:pt x="150706" y="144660"/>
                    <a:pt x="150706" y="144229"/>
                    <a:pt x="150706" y="143797"/>
                  </a:cubicBezTo>
                  <a:cubicBezTo>
                    <a:pt x="150706" y="142933"/>
                    <a:pt x="151138" y="141638"/>
                    <a:pt x="151138" y="140774"/>
                  </a:cubicBezTo>
                  <a:close/>
                  <a:moveTo>
                    <a:pt x="72978" y="234048"/>
                  </a:moveTo>
                  <a:cubicBezTo>
                    <a:pt x="73410" y="234048"/>
                    <a:pt x="73410" y="234048"/>
                    <a:pt x="73410" y="233616"/>
                  </a:cubicBezTo>
                  <a:lnTo>
                    <a:pt x="73410" y="232752"/>
                  </a:lnTo>
                  <a:cubicBezTo>
                    <a:pt x="73410" y="232320"/>
                    <a:pt x="72978" y="232320"/>
                    <a:pt x="72978" y="232320"/>
                  </a:cubicBezTo>
                  <a:cubicBezTo>
                    <a:pt x="72546" y="232752"/>
                    <a:pt x="72546" y="232752"/>
                    <a:pt x="72546" y="233184"/>
                  </a:cubicBezTo>
                  <a:lnTo>
                    <a:pt x="72978" y="234048"/>
                  </a:lnTo>
                  <a:close/>
                  <a:moveTo>
                    <a:pt x="74273" y="210729"/>
                  </a:moveTo>
                  <a:cubicBezTo>
                    <a:pt x="74705" y="210729"/>
                    <a:pt x="74705" y="210297"/>
                    <a:pt x="75137" y="209866"/>
                  </a:cubicBezTo>
                  <a:cubicBezTo>
                    <a:pt x="75137" y="209434"/>
                    <a:pt x="74705" y="209002"/>
                    <a:pt x="74273" y="209002"/>
                  </a:cubicBezTo>
                  <a:cubicBezTo>
                    <a:pt x="74273" y="209002"/>
                    <a:pt x="73842" y="209002"/>
                    <a:pt x="73410" y="209434"/>
                  </a:cubicBezTo>
                  <a:cubicBezTo>
                    <a:pt x="72978" y="209434"/>
                    <a:pt x="73410" y="209866"/>
                    <a:pt x="73410" y="210729"/>
                  </a:cubicBezTo>
                  <a:cubicBezTo>
                    <a:pt x="73410" y="210729"/>
                    <a:pt x="72978" y="211161"/>
                    <a:pt x="72978" y="211593"/>
                  </a:cubicBezTo>
                  <a:cubicBezTo>
                    <a:pt x="72978" y="211593"/>
                    <a:pt x="73842" y="211593"/>
                    <a:pt x="74273" y="210729"/>
                  </a:cubicBezTo>
                  <a:close/>
                  <a:moveTo>
                    <a:pt x="75137" y="207706"/>
                  </a:moveTo>
                  <a:lnTo>
                    <a:pt x="75569" y="207706"/>
                  </a:lnTo>
                  <a:cubicBezTo>
                    <a:pt x="76864" y="206843"/>
                    <a:pt x="77296" y="205115"/>
                    <a:pt x="78160" y="204252"/>
                  </a:cubicBezTo>
                  <a:lnTo>
                    <a:pt x="77728" y="204252"/>
                  </a:lnTo>
                  <a:cubicBezTo>
                    <a:pt x="77296" y="204252"/>
                    <a:pt x="77296" y="204252"/>
                    <a:pt x="76864" y="204684"/>
                  </a:cubicBezTo>
                  <a:cubicBezTo>
                    <a:pt x="76864" y="205115"/>
                    <a:pt x="76864" y="205547"/>
                    <a:pt x="76001" y="205979"/>
                  </a:cubicBezTo>
                  <a:cubicBezTo>
                    <a:pt x="76001" y="206411"/>
                    <a:pt x="75569" y="206843"/>
                    <a:pt x="75137" y="207275"/>
                  </a:cubicBezTo>
                  <a:lnTo>
                    <a:pt x="75137" y="207706"/>
                  </a:lnTo>
                  <a:close/>
                  <a:moveTo>
                    <a:pt x="82046" y="206411"/>
                  </a:moveTo>
                  <a:cubicBezTo>
                    <a:pt x="82046" y="206411"/>
                    <a:pt x="82046" y="205979"/>
                    <a:pt x="82478" y="205547"/>
                  </a:cubicBezTo>
                  <a:cubicBezTo>
                    <a:pt x="82478" y="205115"/>
                    <a:pt x="82046" y="204684"/>
                    <a:pt x="82046" y="204252"/>
                  </a:cubicBezTo>
                  <a:cubicBezTo>
                    <a:pt x="82046" y="202956"/>
                    <a:pt x="82478" y="202525"/>
                    <a:pt x="83342" y="202525"/>
                  </a:cubicBezTo>
                  <a:cubicBezTo>
                    <a:pt x="83774" y="202525"/>
                    <a:pt x="84205" y="202093"/>
                    <a:pt x="84637" y="202093"/>
                  </a:cubicBezTo>
                  <a:lnTo>
                    <a:pt x="85069" y="202093"/>
                  </a:lnTo>
                  <a:cubicBezTo>
                    <a:pt x="85501" y="202093"/>
                    <a:pt x="85501" y="202093"/>
                    <a:pt x="85501" y="202525"/>
                  </a:cubicBezTo>
                  <a:lnTo>
                    <a:pt x="85501" y="203820"/>
                  </a:lnTo>
                  <a:cubicBezTo>
                    <a:pt x="85501" y="204252"/>
                    <a:pt x="85933" y="204252"/>
                    <a:pt x="85933" y="204252"/>
                  </a:cubicBezTo>
                  <a:lnTo>
                    <a:pt x="86364" y="204252"/>
                  </a:lnTo>
                  <a:cubicBezTo>
                    <a:pt x="86364" y="204252"/>
                    <a:pt x="86796" y="204252"/>
                    <a:pt x="87228" y="204684"/>
                  </a:cubicBezTo>
                  <a:lnTo>
                    <a:pt x="87228" y="205979"/>
                  </a:lnTo>
                  <a:lnTo>
                    <a:pt x="86364" y="207706"/>
                  </a:lnTo>
                  <a:cubicBezTo>
                    <a:pt x="86364" y="208138"/>
                    <a:pt x="85933" y="208138"/>
                    <a:pt x="85501" y="208138"/>
                  </a:cubicBezTo>
                  <a:lnTo>
                    <a:pt x="85069" y="208138"/>
                  </a:lnTo>
                  <a:cubicBezTo>
                    <a:pt x="84205" y="208570"/>
                    <a:pt x="84637" y="209866"/>
                    <a:pt x="83774" y="209866"/>
                  </a:cubicBezTo>
                  <a:lnTo>
                    <a:pt x="81183" y="209866"/>
                  </a:lnTo>
                  <a:cubicBezTo>
                    <a:pt x="81183" y="208570"/>
                    <a:pt x="81183" y="207706"/>
                    <a:pt x="82046" y="206411"/>
                  </a:cubicBezTo>
                  <a:close/>
                  <a:moveTo>
                    <a:pt x="83774" y="226707"/>
                  </a:moveTo>
                  <a:cubicBezTo>
                    <a:pt x="84205" y="227138"/>
                    <a:pt x="84205" y="227570"/>
                    <a:pt x="84205" y="227570"/>
                  </a:cubicBezTo>
                  <a:lnTo>
                    <a:pt x="83774" y="228002"/>
                  </a:lnTo>
                  <a:lnTo>
                    <a:pt x="83342" y="228002"/>
                  </a:lnTo>
                  <a:lnTo>
                    <a:pt x="83342" y="227138"/>
                  </a:lnTo>
                  <a:cubicBezTo>
                    <a:pt x="83342" y="227138"/>
                    <a:pt x="83774" y="227138"/>
                    <a:pt x="83774" y="226707"/>
                  </a:cubicBezTo>
                  <a:close/>
                  <a:moveTo>
                    <a:pt x="83774" y="193888"/>
                  </a:moveTo>
                  <a:lnTo>
                    <a:pt x="84205" y="193888"/>
                  </a:lnTo>
                  <a:lnTo>
                    <a:pt x="85069" y="193025"/>
                  </a:lnTo>
                  <a:lnTo>
                    <a:pt x="84637" y="193025"/>
                  </a:lnTo>
                  <a:lnTo>
                    <a:pt x="84637" y="192593"/>
                  </a:lnTo>
                  <a:lnTo>
                    <a:pt x="83774" y="193456"/>
                  </a:lnTo>
                  <a:lnTo>
                    <a:pt x="83774" y="193888"/>
                  </a:lnTo>
                  <a:close/>
                  <a:moveTo>
                    <a:pt x="87228" y="201661"/>
                  </a:moveTo>
                  <a:lnTo>
                    <a:pt x="86796" y="201661"/>
                  </a:lnTo>
                  <a:cubicBezTo>
                    <a:pt x="86364" y="201661"/>
                    <a:pt x="85933" y="201661"/>
                    <a:pt x="85933" y="201229"/>
                  </a:cubicBezTo>
                  <a:lnTo>
                    <a:pt x="87228" y="200366"/>
                  </a:lnTo>
                  <a:lnTo>
                    <a:pt x="87228" y="201661"/>
                  </a:lnTo>
                  <a:close/>
                  <a:moveTo>
                    <a:pt x="90251" y="196047"/>
                  </a:moveTo>
                  <a:lnTo>
                    <a:pt x="90683" y="196479"/>
                  </a:lnTo>
                  <a:lnTo>
                    <a:pt x="94569" y="195615"/>
                  </a:lnTo>
                  <a:lnTo>
                    <a:pt x="94569" y="195184"/>
                  </a:lnTo>
                  <a:cubicBezTo>
                    <a:pt x="94137" y="194752"/>
                    <a:pt x="93705" y="194320"/>
                    <a:pt x="93274" y="194320"/>
                  </a:cubicBezTo>
                  <a:cubicBezTo>
                    <a:pt x="91978" y="194320"/>
                    <a:pt x="91546" y="194752"/>
                    <a:pt x="90683" y="195615"/>
                  </a:cubicBezTo>
                  <a:lnTo>
                    <a:pt x="90251" y="196047"/>
                  </a:lnTo>
                  <a:close/>
                  <a:moveTo>
                    <a:pt x="91546" y="184388"/>
                  </a:moveTo>
                  <a:cubicBezTo>
                    <a:pt x="91978" y="184388"/>
                    <a:pt x="91978" y="184388"/>
                    <a:pt x="91978" y="183956"/>
                  </a:cubicBezTo>
                  <a:lnTo>
                    <a:pt x="91546" y="183956"/>
                  </a:lnTo>
                  <a:lnTo>
                    <a:pt x="91546" y="184388"/>
                  </a:lnTo>
                  <a:close/>
                  <a:moveTo>
                    <a:pt x="102342" y="96296"/>
                  </a:moveTo>
                  <a:cubicBezTo>
                    <a:pt x="101910" y="96296"/>
                    <a:pt x="101910" y="96728"/>
                    <a:pt x="101478" y="96728"/>
                  </a:cubicBezTo>
                  <a:cubicBezTo>
                    <a:pt x="101478" y="96296"/>
                    <a:pt x="101478" y="96296"/>
                    <a:pt x="101910" y="95865"/>
                  </a:cubicBezTo>
                  <a:lnTo>
                    <a:pt x="102342" y="95865"/>
                  </a:lnTo>
                  <a:lnTo>
                    <a:pt x="102342" y="96296"/>
                  </a:lnTo>
                  <a:close/>
                  <a:moveTo>
                    <a:pt x="103206" y="178343"/>
                  </a:moveTo>
                  <a:cubicBezTo>
                    <a:pt x="102774" y="178343"/>
                    <a:pt x="102774" y="178774"/>
                    <a:pt x="102774" y="178774"/>
                  </a:cubicBezTo>
                  <a:lnTo>
                    <a:pt x="102342" y="178774"/>
                  </a:lnTo>
                  <a:lnTo>
                    <a:pt x="102342" y="178343"/>
                  </a:lnTo>
                  <a:lnTo>
                    <a:pt x="103206" y="178343"/>
                  </a:lnTo>
                  <a:close/>
                  <a:moveTo>
                    <a:pt x="107956" y="168411"/>
                  </a:moveTo>
                  <a:cubicBezTo>
                    <a:pt x="107956" y="168411"/>
                    <a:pt x="108387" y="168842"/>
                    <a:pt x="108819" y="168842"/>
                  </a:cubicBezTo>
                  <a:cubicBezTo>
                    <a:pt x="108819" y="168411"/>
                    <a:pt x="109251" y="167979"/>
                    <a:pt x="109683" y="167979"/>
                  </a:cubicBezTo>
                  <a:lnTo>
                    <a:pt x="109683" y="167547"/>
                  </a:lnTo>
                  <a:cubicBezTo>
                    <a:pt x="109251" y="167547"/>
                    <a:pt x="109251" y="167115"/>
                    <a:pt x="108819" y="167115"/>
                  </a:cubicBezTo>
                  <a:cubicBezTo>
                    <a:pt x="108387" y="167115"/>
                    <a:pt x="107956" y="167547"/>
                    <a:pt x="107956" y="167547"/>
                  </a:cubicBezTo>
                  <a:lnTo>
                    <a:pt x="107956" y="168411"/>
                  </a:lnTo>
                  <a:close/>
                  <a:moveTo>
                    <a:pt x="115728" y="164092"/>
                  </a:moveTo>
                  <a:lnTo>
                    <a:pt x="116592" y="164092"/>
                  </a:lnTo>
                  <a:cubicBezTo>
                    <a:pt x="117024" y="164092"/>
                    <a:pt x="117024" y="163661"/>
                    <a:pt x="117456" y="163661"/>
                  </a:cubicBezTo>
                  <a:cubicBezTo>
                    <a:pt x="117456" y="163229"/>
                    <a:pt x="117024" y="163229"/>
                    <a:pt x="117024" y="163229"/>
                  </a:cubicBezTo>
                  <a:lnTo>
                    <a:pt x="116592" y="162797"/>
                  </a:lnTo>
                  <a:lnTo>
                    <a:pt x="116160" y="163229"/>
                  </a:lnTo>
                  <a:cubicBezTo>
                    <a:pt x="115728" y="163229"/>
                    <a:pt x="115728" y="163661"/>
                    <a:pt x="115728" y="164092"/>
                  </a:cubicBezTo>
                  <a:close/>
                  <a:moveTo>
                    <a:pt x="119183" y="167979"/>
                  </a:moveTo>
                  <a:cubicBezTo>
                    <a:pt x="118751" y="167979"/>
                    <a:pt x="118319" y="168411"/>
                    <a:pt x="118319" y="168842"/>
                  </a:cubicBezTo>
                  <a:lnTo>
                    <a:pt x="118319" y="169274"/>
                  </a:lnTo>
                  <a:lnTo>
                    <a:pt x="118751" y="169274"/>
                  </a:lnTo>
                  <a:cubicBezTo>
                    <a:pt x="119183" y="169274"/>
                    <a:pt x="119615" y="168411"/>
                    <a:pt x="119615" y="167979"/>
                  </a:cubicBezTo>
                  <a:lnTo>
                    <a:pt x="119183" y="167979"/>
                  </a:lnTo>
                  <a:close/>
                  <a:moveTo>
                    <a:pt x="118751" y="234479"/>
                  </a:moveTo>
                  <a:lnTo>
                    <a:pt x="119615" y="234479"/>
                  </a:lnTo>
                  <a:lnTo>
                    <a:pt x="119183" y="234911"/>
                  </a:lnTo>
                  <a:lnTo>
                    <a:pt x="118751" y="234911"/>
                  </a:lnTo>
                  <a:lnTo>
                    <a:pt x="118751" y="234479"/>
                  </a:lnTo>
                  <a:close/>
                  <a:moveTo>
                    <a:pt x="120910" y="232320"/>
                  </a:moveTo>
                  <a:lnTo>
                    <a:pt x="122206" y="232320"/>
                  </a:lnTo>
                  <a:cubicBezTo>
                    <a:pt x="122206" y="232752"/>
                    <a:pt x="121774" y="233616"/>
                    <a:pt x="121342" y="234048"/>
                  </a:cubicBezTo>
                  <a:cubicBezTo>
                    <a:pt x="120910" y="234479"/>
                    <a:pt x="120047" y="234479"/>
                    <a:pt x="119615" y="234479"/>
                  </a:cubicBezTo>
                  <a:cubicBezTo>
                    <a:pt x="120047" y="233616"/>
                    <a:pt x="120910" y="233184"/>
                    <a:pt x="120910" y="232320"/>
                  </a:cubicBezTo>
                  <a:close/>
                  <a:moveTo>
                    <a:pt x="122206" y="154592"/>
                  </a:moveTo>
                  <a:cubicBezTo>
                    <a:pt x="122637" y="155024"/>
                    <a:pt x="123069" y="155024"/>
                    <a:pt x="123069" y="155456"/>
                  </a:cubicBezTo>
                  <a:cubicBezTo>
                    <a:pt x="123933" y="155456"/>
                    <a:pt x="124365" y="155456"/>
                    <a:pt x="124365" y="154592"/>
                  </a:cubicBezTo>
                  <a:lnTo>
                    <a:pt x="124365" y="154161"/>
                  </a:lnTo>
                  <a:lnTo>
                    <a:pt x="123933" y="153729"/>
                  </a:lnTo>
                  <a:cubicBezTo>
                    <a:pt x="123501" y="153729"/>
                    <a:pt x="123501" y="154161"/>
                    <a:pt x="123069" y="154161"/>
                  </a:cubicBezTo>
                  <a:cubicBezTo>
                    <a:pt x="123069" y="154161"/>
                    <a:pt x="122637" y="154161"/>
                    <a:pt x="122637" y="154592"/>
                  </a:cubicBezTo>
                  <a:lnTo>
                    <a:pt x="122206" y="154592"/>
                  </a:lnTo>
                  <a:close/>
                  <a:moveTo>
                    <a:pt x="142933" y="141206"/>
                  </a:moveTo>
                  <a:cubicBezTo>
                    <a:pt x="143797" y="141206"/>
                    <a:pt x="143797" y="141206"/>
                    <a:pt x="143797" y="140342"/>
                  </a:cubicBezTo>
                  <a:cubicBezTo>
                    <a:pt x="144229" y="139479"/>
                    <a:pt x="143797" y="138183"/>
                    <a:pt x="144660" y="137751"/>
                  </a:cubicBezTo>
                  <a:lnTo>
                    <a:pt x="144660" y="137320"/>
                  </a:lnTo>
                  <a:cubicBezTo>
                    <a:pt x="144660" y="136888"/>
                    <a:pt x="144660" y="136888"/>
                    <a:pt x="144229" y="136888"/>
                  </a:cubicBezTo>
                  <a:cubicBezTo>
                    <a:pt x="143365" y="136888"/>
                    <a:pt x="143365" y="136888"/>
                    <a:pt x="142933" y="137751"/>
                  </a:cubicBezTo>
                  <a:lnTo>
                    <a:pt x="142070" y="139047"/>
                  </a:lnTo>
                  <a:cubicBezTo>
                    <a:pt x="142070" y="139479"/>
                    <a:pt x="142070" y="139910"/>
                    <a:pt x="141638" y="140342"/>
                  </a:cubicBezTo>
                  <a:cubicBezTo>
                    <a:pt x="141638" y="140774"/>
                    <a:pt x="142070" y="141206"/>
                    <a:pt x="142933" y="141206"/>
                  </a:cubicBezTo>
                  <a:close/>
                  <a:moveTo>
                    <a:pt x="147683" y="138615"/>
                  </a:moveTo>
                  <a:cubicBezTo>
                    <a:pt x="148115" y="138615"/>
                    <a:pt x="148115" y="138183"/>
                    <a:pt x="148547" y="138183"/>
                  </a:cubicBezTo>
                  <a:lnTo>
                    <a:pt x="148547" y="137751"/>
                  </a:lnTo>
                  <a:lnTo>
                    <a:pt x="148115" y="137751"/>
                  </a:lnTo>
                  <a:lnTo>
                    <a:pt x="147683" y="138183"/>
                  </a:lnTo>
                  <a:lnTo>
                    <a:pt x="147683" y="138615"/>
                  </a:lnTo>
                  <a:close/>
                  <a:moveTo>
                    <a:pt x="166252" y="166683"/>
                  </a:moveTo>
                  <a:cubicBezTo>
                    <a:pt x="165820" y="166683"/>
                    <a:pt x="166252" y="166252"/>
                    <a:pt x="166252" y="166252"/>
                  </a:cubicBezTo>
                  <a:cubicBezTo>
                    <a:pt x="165820" y="166252"/>
                    <a:pt x="165388" y="166252"/>
                    <a:pt x="164956" y="166683"/>
                  </a:cubicBezTo>
                  <a:cubicBezTo>
                    <a:pt x="164956" y="166683"/>
                    <a:pt x="164956" y="167115"/>
                    <a:pt x="165388" y="167115"/>
                  </a:cubicBezTo>
                  <a:cubicBezTo>
                    <a:pt x="165388" y="167115"/>
                    <a:pt x="165820" y="167115"/>
                    <a:pt x="166252" y="166683"/>
                  </a:cubicBezTo>
                  <a:close/>
                  <a:moveTo>
                    <a:pt x="177047" y="138183"/>
                  </a:moveTo>
                  <a:lnTo>
                    <a:pt x="176615" y="138183"/>
                  </a:lnTo>
                  <a:lnTo>
                    <a:pt x="177479" y="139479"/>
                  </a:lnTo>
                  <a:lnTo>
                    <a:pt x="177911" y="139479"/>
                  </a:lnTo>
                  <a:lnTo>
                    <a:pt x="177911" y="139047"/>
                  </a:lnTo>
                  <a:cubicBezTo>
                    <a:pt x="177911" y="138615"/>
                    <a:pt x="177479" y="138615"/>
                    <a:pt x="177047" y="138183"/>
                  </a:cubicBezTo>
                  <a:close/>
                  <a:moveTo>
                    <a:pt x="199502" y="107524"/>
                  </a:moveTo>
                  <a:lnTo>
                    <a:pt x="199070" y="107524"/>
                  </a:lnTo>
                  <a:cubicBezTo>
                    <a:pt x="199070" y="107524"/>
                    <a:pt x="198638" y="107524"/>
                    <a:pt x="198638" y="107956"/>
                  </a:cubicBezTo>
                  <a:cubicBezTo>
                    <a:pt x="199070" y="107956"/>
                    <a:pt x="199070" y="107524"/>
                    <a:pt x="199502" y="107524"/>
                  </a:cubicBezTo>
                  <a:close/>
                  <a:moveTo>
                    <a:pt x="234479" y="85069"/>
                  </a:moveTo>
                  <a:cubicBezTo>
                    <a:pt x="234911" y="84637"/>
                    <a:pt x="234479" y="84637"/>
                    <a:pt x="234479" y="84637"/>
                  </a:cubicBezTo>
                  <a:lnTo>
                    <a:pt x="234479" y="85069"/>
                  </a:lnTo>
                  <a:close/>
                </a:path>
              </a:pathLst>
            </a:custGeom>
            <a:solidFill>
              <a:srgbClr val="000000"/>
            </a:solidFill>
            <a:ln w="86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BC9EE29F-1222-41FA-8FF7-6D59E3F4DB1D}"/>
                </a:ext>
              </a:extLst>
            </p:cNvPr>
            <p:cNvSpPr/>
            <p:nvPr/>
          </p:nvSpPr>
          <p:spPr>
            <a:xfrm>
              <a:off x="538309" y="5951395"/>
              <a:ext cx="146820" cy="397276"/>
            </a:xfrm>
            <a:custGeom>
              <a:avLst/>
              <a:gdLst>
                <a:gd name="connsiteX0" fmla="*/ 7773 w 146819"/>
                <a:gd name="connsiteY0" fmla="*/ 375685 h 397276"/>
                <a:gd name="connsiteX1" fmla="*/ 6909 w 146819"/>
                <a:gd name="connsiteY1" fmla="*/ 374822 h 397276"/>
                <a:gd name="connsiteX2" fmla="*/ 7773 w 146819"/>
                <a:gd name="connsiteY2" fmla="*/ 372662 h 397276"/>
                <a:gd name="connsiteX3" fmla="*/ 7341 w 146819"/>
                <a:gd name="connsiteY3" fmla="*/ 372231 h 397276"/>
                <a:gd name="connsiteX4" fmla="*/ 5614 w 146819"/>
                <a:gd name="connsiteY4" fmla="*/ 369640 h 397276"/>
                <a:gd name="connsiteX5" fmla="*/ 5182 w 146819"/>
                <a:gd name="connsiteY5" fmla="*/ 369640 h 397276"/>
                <a:gd name="connsiteX6" fmla="*/ 5614 w 146819"/>
                <a:gd name="connsiteY6" fmla="*/ 367912 h 397276"/>
                <a:gd name="connsiteX7" fmla="*/ 5614 w 146819"/>
                <a:gd name="connsiteY7" fmla="*/ 364890 h 397276"/>
                <a:gd name="connsiteX8" fmla="*/ 4750 w 146819"/>
                <a:gd name="connsiteY8" fmla="*/ 362299 h 397276"/>
                <a:gd name="connsiteX9" fmla="*/ 2159 w 146819"/>
                <a:gd name="connsiteY9" fmla="*/ 358412 h 397276"/>
                <a:gd name="connsiteX10" fmla="*/ 2591 w 146819"/>
                <a:gd name="connsiteY10" fmla="*/ 357117 h 397276"/>
                <a:gd name="connsiteX11" fmla="*/ 2159 w 146819"/>
                <a:gd name="connsiteY11" fmla="*/ 356685 h 397276"/>
                <a:gd name="connsiteX12" fmla="*/ 1295 w 146819"/>
                <a:gd name="connsiteY12" fmla="*/ 352367 h 397276"/>
                <a:gd name="connsiteX13" fmla="*/ 432 w 146819"/>
                <a:gd name="connsiteY13" fmla="*/ 350639 h 397276"/>
                <a:gd name="connsiteX14" fmla="*/ 432 w 146819"/>
                <a:gd name="connsiteY14" fmla="*/ 350208 h 397276"/>
                <a:gd name="connsiteX15" fmla="*/ 0 w 146819"/>
                <a:gd name="connsiteY15" fmla="*/ 342435 h 397276"/>
                <a:gd name="connsiteX16" fmla="*/ 1295 w 146819"/>
                <a:gd name="connsiteY16" fmla="*/ 320412 h 397276"/>
                <a:gd name="connsiteX17" fmla="*/ 2591 w 146819"/>
                <a:gd name="connsiteY17" fmla="*/ 317821 h 397276"/>
                <a:gd name="connsiteX18" fmla="*/ 3023 w 146819"/>
                <a:gd name="connsiteY18" fmla="*/ 314798 h 397276"/>
                <a:gd name="connsiteX19" fmla="*/ 3886 w 146819"/>
                <a:gd name="connsiteY19" fmla="*/ 313935 h 397276"/>
                <a:gd name="connsiteX20" fmla="*/ 3455 w 146819"/>
                <a:gd name="connsiteY20" fmla="*/ 313071 h 397276"/>
                <a:gd name="connsiteX21" fmla="*/ 4318 w 146819"/>
                <a:gd name="connsiteY21" fmla="*/ 309616 h 397276"/>
                <a:gd name="connsiteX22" fmla="*/ 3023 w 146819"/>
                <a:gd name="connsiteY22" fmla="*/ 307889 h 397276"/>
                <a:gd name="connsiteX23" fmla="*/ 3455 w 146819"/>
                <a:gd name="connsiteY23" fmla="*/ 306594 h 397276"/>
                <a:gd name="connsiteX24" fmla="*/ 3455 w 146819"/>
                <a:gd name="connsiteY24" fmla="*/ 305730 h 397276"/>
                <a:gd name="connsiteX25" fmla="*/ 4318 w 146819"/>
                <a:gd name="connsiteY25" fmla="*/ 302707 h 397276"/>
                <a:gd name="connsiteX26" fmla="*/ 3455 w 146819"/>
                <a:gd name="connsiteY26" fmla="*/ 301412 h 397276"/>
                <a:gd name="connsiteX27" fmla="*/ 3455 w 146819"/>
                <a:gd name="connsiteY27" fmla="*/ 300116 h 397276"/>
                <a:gd name="connsiteX28" fmla="*/ 5182 w 146819"/>
                <a:gd name="connsiteY28" fmla="*/ 296662 h 397276"/>
                <a:gd name="connsiteX29" fmla="*/ 5182 w 146819"/>
                <a:gd name="connsiteY29" fmla="*/ 295798 h 397276"/>
                <a:gd name="connsiteX30" fmla="*/ 5614 w 146819"/>
                <a:gd name="connsiteY30" fmla="*/ 294503 h 397276"/>
                <a:gd name="connsiteX31" fmla="*/ 5614 w 146819"/>
                <a:gd name="connsiteY31" fmla="*/ 291480 h 397276"/>
                <a:gd name="connsiteX32" fmla="*/ 6045 w 146819"/>
                <a:gd name="connsiteY32" fmla="*/ 286298 h 397276"/>
                <a:gd name="connsiteX33" fmla="*/ 6045 w 146819"/>
                <a:gd name="connsiteY33" fmla="*/ 284571 h 397276"/>
                <a:gd name="connsiteX34" fmla="*/ 6477 w 146819"/>
                <a:gd name="connsiteY34" fmla="*/ 283707 h 397276"/>
                <a:gd name="connsiteX35" fmla="*/ 6477 w 146819"/>
                <a:gd name="connsiteY35" fmla="*/ 282843 h 397276"/>
                <a:gd name="connsiteX36" fmla="*/ 6045 w 146819"/>
                <a:gd name="connsiteY36" fmla="*/ 281980 h 397276"/>
                <a:gd name="connsiteX37" fmla="*/ 7341 w 146819"/>
                <a:gd name="connsiteY37" fmla="*/ 277230 h 397276"/>
                <a:gd name="connsiteX38" fmla="*/ 7341 w 146819"/>
                <a:gd name="connsiteY38" fmla="*/ 276366 h 397276"/>
                <a:gd name="connsiteX39" fmla="*/ 8636 w 146819"/>
                <a:gd name="connsiteY39" fmla="*/ 273775 h 397276"/>
                <a:gd name="connsiteX40" fmla="*/ 8636 w 146819"/>
                <a:gd name="connsiteY40" fmla="*/ 269889 h 397276"/>
                <a:gd name="connsiteX41" fmla="*/ 9068 w 146819"/>
                <a:gd name="connsiteY41" fmla="*/ 269025 h 397276"/>
                <a:gd name="connsiteX42" fmla="*/ 9500 w 146819"/>
                <a:gd name="connsiteY42" fmla="*/ 268593 h 397276"/>
                <a:gd name="connsiteX43" fmla="*/ 9068 w 146819"/>
                <a:gd name="connsiteY43" fmla="*/ 267298 h 397276"/>
                <a:gd name="connsiteX44" fmla="*/ 9500 w 146819"/>
                <a:gd name="connsiteY44" fmla="*/ 265139 h 397276"/>
                <a:gd name="connsiteX45" fmla="*/ 10364 w 146819"/>
                <a:gd name="connsiteY45" fmla="*/ 262980 h 397276"/>
                <a:gd name="connsiteX46" fmla="*/ 10364 w 146819"/>
                <a:gd name="connsiteY46" fmla="*/ 262548 h 397276"/>
                <a:gd name="connsiteX47" fmla="*/ 9932 w 146819"/>
                <a:gd name="connsiteY47" fmla="*/ 260821 h 397276"/>
                <a:gd name="connsiteX48" fmla="*/ 9932 w 146819"/>
                <a:gd name="connsiteY48" fmla="*/ 259957 h 397276"/>
                <a:gd name="connsiteX49" fmla="*/ 10796 w 146819"/>
                <a:gd name="connsiteY49" fmla="*/ 258661 h 397276"/>
                <a:gd name="connsiteX50" fmla="*/ 11227 w 146819"/>
                <a:gd name="connsiteY50" fmla="*/ 258230 h 397276"/>
                <a:gd name="connsiteX51" fmla="*/ 10796 w 146819"/>
                <a:gd name="connsiteY51" fmla="*/ 257798 h 397276"/>
                <a:gd name="connsiteX52" fmla="*/ 12091 w 146819"/>
                <a:gd name="connsiteY52" fmla="*/ 254775 h 397276"/>
                <a:gd name="connsiteX53" fmla="*/ 11659 w 146819"/>
                <a:gd name="connsiteY53" fmla="*/ 254343 h 397276"/>
                <a:gd name="connsiteX54" fmla="*/ 12091 w 146819"/>
                <a:gd name="connsiteY54" fmla="*/ 251752 h 397276"/>
                <a:gd name="connsiteX55" fmla="*/ 12091 w 146819"/>
                <a:gd name="connsiteY55" fmla="*/ 250457 h 397276"/>
                <a:gd name="connsiteX56" fmla="*/ 13387 w 146819"/>
                <a:gd name="connsiteY56" fmla="*/ 245275 h 397276"/>
                <a:gd name="connsiteX57" fmla="*/ 13818 w 146819"/>
                <a:gd name="connsiteY57" fmla="*/ 244843 h 397276"/>
                <a:gd name="connsiteX58" fmla="*/ 13387 w 146819"/>
                <a:gd name="connsiteY58" fmla="*/ 244411 h 397276"/>
                <a:gd name="connsiteX59" fmla="*/ 14682 w 146819"/>
                <a:gd name="connsiteY59" fmla="*/ 241389 h 397276"/>
                <a:gd name="connsiteX60" fmla="*/ 15114 w 146819"/>
                <a:gd name="connsiteY60" fmla="*/ 238798 h 397276"/>
                <a:gd name="connsiteX61" fmla="*/ 15114 w 146819"/>
                <a:gd name="connsiteY61" fmla="*/ 238366 h 397276"/>
                <a:gd name="connsiteX62" fmla="*/ 14682 w 146819"/>
                <a:gd name="connsiteY62" fmla="*/ 237502 h 397276"/>
                <a:gd name="connsiteX63" fmla="*/ 15114 w 146819"/>
                <a:gd name="connsiteY63" fmla="*/ 236638 h 397276"/>
                <a:gd name="connsiteX64" fmla="*/ 17273 w 146819"/>
                <a:gd name="connsiteY64" fmla="*/ 233616 h 397276"/>
                <a:gd name="connsiteX65" fmla="*/ 16409 w 146819"/>
                <a:gd name="connsiteY65" fmla="*/ 231025 h 397276"/>
                <a:gd name="connsiteX66" fmla="*/ 16409 w 146819"/>
                <a:gd name="connsiteY66" fmla="*/ 230161 h 397276"/>
                <a:gd name="connsiteX67" fmla="*/ 18568 w 146819"/>
                <a:gd name="connsiteY67" fmla="*/ 224979 h 397276"/>
                <a:gd name="connsiteX68" fmla="*/ 19432 w 146819"/>
                <a:gd name="connsiteY68" fmla="*/ 221957 h 397276"/>
                <a:gd name="connsiteX69" fmla="*/ 19000 w 146819"/>
                <a:gd name="connsiteY69" fmla="*/ 221525 h 397276"/>
                <a:gd name="connsiteX70" fmla="*/ 20296 w 146819"/>
                <a:gd name="connsiteY70" fmla="*/ 218934 h 397276"/>
                <a:gd name="connsiteX71" fmla="*/ 21159 w 146819"/>
                <a:gd name="connsiteY71" fmla="*/ 214184 h 397276"/>
                <a:gd name="connsiteX72" fmla="*/ 21159 w 146819"/>
                <a:gd name="connsiteY72" fmla="*/ 212456 h 397276"/>
                <a:gd name="connsiteX73" fmla="*/ 22455 w 146819"/>
                <a:gd name="connsiteY73" fmla="*/ 207706 h 397276"/>
                <a:gd name="connsiteX74" fmla="*/ 23318 w 146819"/>
                <a:gd name="connsiteY74" fmla="*/ 205115 h 397276"/>
                <a:gd name="connsiteX75" fmla="*/ 23750 w 146819"/>
                <a:gd name="connsiteY75" fmla="*/ 202525 h 397276"/>
                <a:gd name="connsiteX76" fmla="*/ 25477 w 146819"/>
                <a:gd name="connsiteY76" fmla="*/ 198206 h 397276"/>
                <a:gd name="connsiteX77" fmla="*/ 25046 w 146819"/>
                <a:gd name="connsiteY77" fmla="*/ 197343 h 397276"/>
                <a:gd name="connsiteX78" fmla="*/ 25477 w 146819"/>
                <a:gd name="connsiteY78" fmla="*/ 194752 h 397276"/>
                <a:gd name="connsiteX79" fmla="*/ 25477 w 146819"/>
                <a:gd name="connsiteY79" fmla="*/ 193456 h 397276"/>
                <a:gd name="connsiteX80" fmla="*/ 25909 w 146819"/>
                <a:gd name="connsiteY80" fmla="*/ 193024 h 397276"/>
                <a:gd name="connsiteX81" fmla="*/ 25477 w 146819"/>
                <a:gd name="connsiteY81" fmla="*/ 191297 h 397276"/>
                <a:gd name="connsiteX82" fmla="*/ 27205 w 146819"/>
                <a:gd name="connsiteY82" fmla="*/ 189570 h 397276"/>
                <a:gd name="connsiteX83" fmla="*/ 27205 w 146819"/>
                <a:gd name="connsiteY83" fmla="*/ 186979 h 397276"/>
                <a:gd name="connsiteX84" fmla="*/ 28500 w 146819"/>
                <a:gd name="connsiteY84" fmla="*/ 185252 h 397276"/>
                <a:gd name="connsiteX85" fmla="*/ 28068 w 146819"/>
                <a:gd name="connsiteY85" fmla="*/ 184388 h 397276"/>
                <a:gd name="connsiteX86" fmla="*/ 28068 w 146819"/>
                <a:gd name="connsiteY86" fmla="*/ 183524 h 397276"/>
                <a:gd name="connsiteX87" fmla="*/ 29364 w 146819"/>
                <a:gd name="connsiteY87" fmla="*/ 180502 h 397276"/>
                <a:gd name="connsiteX88" fmla="*/ 30228 w 146819"/>
                <a:gd name="connsiteY88" fmla="*/ 179206 h 397276"/>
                <a:gd name="connsiteX89" fmla="*/ 30659 w 146819"/>
                <a:gd name="connsiteY89" fmla="*/ 177911 h 397276"/>
                <a:gd name="connsiteX90" fmla="*/ 30228 w 146819"/>
                <a:gd name="connsiteY90" fmla="*/ 177479 h 397276"/>
                <a:gd name="connsiteX91" fmla="*/ 30228 w 146819"/>
                <a:gd name="connsiteY91" fmla="*/ 176183 h 397276"/>
                <a:gd name="connsiteX92" fmla="*/ 31955 w 146819"/>
                <a:gd name="connsiteY92" fmla="*/ 174024 h 397276"/>
                <a:gd name="connsiteX93" fmla="*/ 31955 w 146819"/>
                <a:gd name="connsiteY93" fmla="*/ 173161 h 397276"/>
                <a:gd name="connsiteX94" fmla="*/ 31955 w 146819"/>
                <a:gd name="connsiteY94" fmla="*/ 170570 h 397276"/>
                <a:gd name="connsiteX95" fmla="*/ 32387 w 146819"/>
                <a:gd name="connsiteY95" fmla="*/ 169274 h 397276"/>
                <a:gd name="connsiteX96" fmla="*/ 33250 w 146819"/>
                <a:gd name="connsiteY96" fmla="*/ 167115 h 397276"/>
                <a:gd name="connsiteX97" fmla="*/ 33682 w 146819"/>
                <a:gd name="connsiteY97" fmla="*/ 164524 h 397276"/>
                <a:gd name="connsiteX98" fmla="*/ 34114 w 146819"/>
                <a:gd name="connsiteY98" fmla="*/ 161070 h 397276"/>
                <a:gd name="connsiteX99" fmla="*/ 35841 w 146819"/>
                <a:gd name="connsiteY99" fmla="*/ 158910 h 397276"/>
                <a:gd name="connsiteX100" fmla="*/ 36273 w 146819"/>
                <a:gd name="connsiteY100" fmla="*/ 154160 h 397276"/>
                <a:gd name="connsiteX101" fmla="*/ 36705 w 146819"/>
                <a:gd name="connsiteY101" fmla="*/ 151138 h 397276"/>
                <a:gd name="connsiteX102" fmla="*/ 37569 w 146819"/>
                <a:gd name="connsiteY102" fmla="*/ 149410 h 397276"/>
                <a:gd name="connsiteX103" fmla="*/ 37137 w 146819"/>
                <a:gd name="connsiteY103" fmla="*/ 147683 h 397276"/>
                <a:gd name="connsiteX104" fmla="*/ 37569 w 146819"/>
                <a:gd name="connsiteY104" fmla="*/ 146820 h 397276"/>
                <a:gd name="connsiteX105" fmla="*/ 38864 w 146819"/>
                <a:gd name="connsiteY105" fmla="*/ 145092 h 397276"/>
                <a:gd name="connsiteX106" fmla="*/ 39728 w 146819"/>
                <a:gd name="connsiteY106" fmla="*/ 139910 h 397276"/>
                <a:gd name="connsiteX107" fmla="*/ 40591 w 146819"/>
                <a:gd name="connsiteY107" fmla="*/ 137319 h 397276"/>
                <a:gd name="connsiteX108" fmla="*/ 41887 w 146819"/>
                <a:gd name="connsiteY108" fmla="*/ 131706 h 397276"/>
                <a:gd name="connsiteX109" fmla="*/ 42750 w 146819"/>
                <a:gd name="connsiteY109" fmla="*/ 130410 h 397276"/>
                <a:gd name="connsiteX110" fmla="*/ 44478 w 146819"/>
                <a:gd name="connsiteY110" fmla="*/ 126956 h 397276"/>
                <a:gd name="connsiteX111" fmla="*/ 44909 w 146819"/>
                <a:gd name="connsiteY111" fmla="*/ 125228 h 397276"/>
                <a:gd name="connsiteX112" fmla="*/ 44909 w 146819"/>
                <a:gd name="connsiteY112" fmla="*/ 124365 h 397276"/>
                <a:gd name="connsiteX113" fmla="*/ 47069 w 146819"/>
                <a:gd name="connsiteY113" fmla="*/ 117887 h 397276"/>
                <a:gd name="connsiteX114" fmla="*/ 47500 w 146819"/>
                <a:gd name="connsiteY114" fmla="*/ 117887 h 397276"/>
                <a:gd name="connsiteX115" fmla="*/ 47500 w 146819"/>
                <a:gd name="connsiteY115" fmla="*/ 117456 h 397276"/>
                <a:gd name="connsiteX116" fmla="*/ 48364 w 146819"/>
                <a:gd name="connsiteY116" fmla="*/ 115728 h 397276"/>
                <a:gd name="connsiteX117" fmla="*/ 48796 w 146819"/>
                <a:gd name="connsiteY117" fmla="*/ 112274 h 397276"/>
                <a:gd name="connsiteX118" fmla="*/ 50091 w 146819"/>
                <a:gd name="connsiteY118" fmla="*/ 111842 h 397276"/>
                <a:gd name="connsiteX119" fmla="*/ 49660 w 146819"/>
                <a:gd name="connsiteY119" fmla="*/ 110115 h 397276"/>
                <a:gd name="connsiteX120" fmla="*/ 50091 w 146819"/>
                <a:gd name="connsiteY120" fmla="*/ 107092 h 397276"/>
                <a:gd name="connsiteX121" fmla="*/ 50955 w 146819"/>
                <a:gd name="connsiteY121" fmla="*/ 103205 h 397276"/>
                <a:gd name="connsiteX122" fmla="*/ 52251 w 146819"/>
                <a:gd name="connsiteY122" fmla="*/ 100183 h 397276"/>
                <a:gd name="connsiteX123" fmla="*/ 52682 w 146819"/>
                <a:gd name="connsiteY123" fmla="*/ 99319 h 397276"/>
                <a:gd name="connsiteX124" fmla="*/ 53978 w 146819"/>
                <a:gd name="connsiteY124" fmla="*/ 95433 h 397276"/>
                <a:gd name="connsiteX125" fmla="*/ 53978 w 146819"/>
                <a:gd name="connsiteY125" fmla="*/ 94569 h 397276"/>
                <a:gd name="connsiteX126" fmla="*/ 54841 w 146819"/>
                <a:gd name="connsiteY126" fmla="*/ 92842 h 397276"/>
                <a:gd name="connsiteX127" fmla="*/ 54841 w 146819"/>
                <a:gd name="connsiteY127" fmla="*/ 91978 h 397276"/>
                <a:gd name="connsiteX128" fmla="*/ 55705 w 146819"/>
                <a:gd name="connsiteY128" fmla="*/ 88955 h 397276"/>
                <a:gd name="connsiteX129" fmla="*/ 56569 w 146819"/>
                <a:gd name="connsiteY129" fmla="*/ 88524 h 397276"/>
                <a:gd name="connsiteX130" fmla="*/ 56137 w 146819"/>
                <a:gd name="connsiteY130" fmla="*/ 87660 h 397276"/>
                <a:gd name="connsiteX131" fmla="*/ 58296 w 146819"/>
                <a:gd name="connsiteY131" fmla="*/ 85501 h 397276"/>
                <a:gd name="connsiteX132" fmla="*/ 57432 w 146819"/>
                <a:gd name="connsiteY132" fmla="*/ 83773 h 397276"/>
                <a:gd name="connsiteX133" fmla="*/ 58296 w 146819"/>
                <a:gd name="connsiteY133" fmla="*/ 82910 h 397276"/>
                <a:gd name="connsiteX134" fmla="*/ 61319 w 146819"/>
                <a:gd name="connsiteY134" fmla="*/ 72114 h 397276"/>
                <a:gd name="connsiteX135" fmla="*/ 61751 w 146819"/>
                <a:gd name="connsiteY135" fmla="*/ 71682 h 397276"/>
                <a:gd name="connsiteX136" fmla="*/ 62614 w 146819"/>
                <a:gd name="connsiteY136" fmla="*/ 69523 h 397276"/>
                <a:gd name="connsiteX137" fmla="*/ 62614 w 146819"/>
                <a:gd name="connsiteY137" fmla="*/ 69092 h 397276"/>
                <a:gd name="connsiteX138" fmla="*/ 64341 w 146819"/>
                <a:gd name="connsiteY138" fmla="*/ 66069 h 397276"/>
                <a:gd name="connsiteX139" fmla="*/ 64773 w 146819"/>
                <a:gd name="connsiteY139" fmla="*/ 63910 h 397276"/>
                <a:gd name="connsiteX140" fmla="*/ 64773 w 146819"/>
                <a:gd name="connsiteY140" fmla="*/ 63478 h 397276"/>
                <a:gd name="connsiteX141" fmla="*/ 66932 w 146819"/>
                <a:gd name="connsiteY141" fmla="*/ 58296 h 397276"/>
                <a:gd name="connsiteX142" fmla="*/ 66932 w 146819"/>
                <a:gd name="connsiteY142" fmla="*/ 57864 h 397276"/>
                <a:gd name="connsiteX143" fmla="*/ 68228 w 146819"/>
                <a:gd name="connsiteY143" fmla="*/ 54841 h 397276"/>
                <a:gd name="connsiteX144" fmla="*/ 69092 w 146819"/>
                <a:gd name="connsiteY144" fmla="*/ 53546 h 397276"/>
                <a:gd name="connsiteX145" fmla="*/ 69092 w 146819"/>
                <a:gd name="connsiteY145" fmla="*/ 52250 h 397276"/>
                <a:gd name="connsiteX146" fmla="*/ 69523 w 146819"/>
                <a:gd name="connsiteY146" fmla="*/ 51387 h 397276"/>
                <a:gd name="connsiteX147" fmla="*/ 72546 w 146819"/>
                <a:gd name="connsiteY147" fmla="*/ 44478 h 397276"/>
                <a:gd name="connsiteX148" fmla="*/ 75137 w 146819"/>
                <a:gd name="connsiteY148" fmla="*/ 35841 h 397276"/>
                <a:gd name="connsiteX149" fmla="*/ 75137 w 146819"/>
                <a:gd name="connsiteY149" fmla="*/ 35409 h 397276"/>
                <a:gd name="connsiteX150" fmla="*/ 77728 w 146819"/>
                <a:gd name="connsiteY150" fmla="*/ 30228 h 397276"/>
                <a:gd name="connsiteX151" fmla="*/ 80319 w 146819"/>
                <a:gd name="connsiteY151" fmla="*/ 25046 h 397276"/>
                <a:gd name="connsiteX152" fmla="*/ 80751 w 146819"/>
                <a:gd name="connsiteY152" fmla="*/ 24182 h 397276"/>
                <a:gd name="connsiteX153" fmla="*/ 81614 w 146819"/>
                <a:gd name="connsiteY153" fmla="*/ 21591 h 397276"/>
                <a:gd name="connsiteX154" fmla="*/ 82478 w 146819"/>
                <a:gd name="connsiteY154" fmla="*/ 19864 h 397276"/>
                <a:gd name="connsiteX155" fmla="*/ 82478 w 146819"/>
                <a:gd name="connsiteY155" fmla="*/ 18568 h 397276"/>
                <a:gd name="connsiteX156" fmla="*/ 84205 w 146819"/>
                <a:gd name="connsiteY156" fmla="*/ 15545 h 397276"/>
                <a:gd name="connsiteX157" fmla="*/ 86796 w 146819"/>
                <a:gd name="connsiteY157" fmla="*/ 12091 h 397276"/>
                <a:gd name="connsiteX158" fmla="*/ 89387 w 146819"/>
                <a:gd name="connsiteY158" fmla="*/ 8636 h 397276"/>
                <a:gd name="connsiteX159" fmla="*/ 93274 w 146819"/>
                <a:gd name="connsiteY159" fmla="*/ 4750 h 397276"/>
                <a:gd name="connsiteX160" fmla="*/ 95433 w 146819"/>
                <a:gd name="connsiteY160" fmla="*/ 2159 h 397276"/>
                <a:gd name="connsiteX161" fmla="*/ 97160 w 146819"/>
                <a:gd name="connsiteY161" fmla="*/ 1727 h 397276"/>
                <a:gd name="connsiteX162" fmla="*/ 101910 w 146819"/>
                <a:gd name="connsiteY162" fmla="*/ 432 h 397276"/>
                <a:gd name="connsiteX163" fmla="*/ 106660 w 146819"/>
                <a:gd name="connsiteY163" fmla="*/ 0 h 397276"/>
                <a:gd name="connsiteX164" fmla="*/ 108819 w 146819"/>
                <a:gd name="connsiteY164" fmla="*/ 432 h 397276"/>
                <a:gd name="connsiteX165" fmla="*/ 110546 w 146819"/>
                <a:gd name="connsiteY165" fmla="*/ 432 h 397276"/>
                <a:gd name="connsiteX166" fmla="*/ 113137 w 146819"/>
                <a:gd name="connsiteY166" fmla="*/ 1727 h 397276"/>
                <a:gd name="connsiteX167" fmla="*/ 115728 w 146819"/>
                <a:gd name="connsiteY167" fmla="*/ 4318 h 397276"/>
                <a:gd name="connsiteX168" fmla="*/ 119615 w 146819"/>
                <a:gd name="connsiteY168" fmla="*/ 6909 h 397276"/>
                <a:gd name="connsiteX169" fmla="*/ 121774 w 146819"/>
                <a:gd name="connsiteY169" fmla="*/ 9068 h 397276"/>
                <a:gd name="connsiteX170" fmla="*/ 123501 w 146819"/>
                <a:gd name="connsiteY170" fmla="*/ 12523 h 397276"/>
                <a:gd name="connsiteX171" fmla="*/ 124365 w 146819"/>
                <a:gd name="connsiteY171" fmla="*/ 14250 h 397276"/>
                <a:gd name="connsiteX172" fmla="*/ 126524 w 146819"/>
                <a:gd name="connsiteY172" fmla="*/ 17273 h 397276"/>
                <a:gd name="connsiteX173" fmla="*/ 126956 w 146819"/>
                <a:gd name="connsiteY173" fmla="*/ 18568 h 397276"/>
                <a:gd name="connsiteX174" fmla="*/ 127819 w 146819"/>
                <a:gd name="connsiteY174" fmla="*/ 19864 h 397276"/>
                <a:gd name="connsiteX175" fmla="*/ 129115 w 146819"/>
                <a:gd name="connsiteY175" fmla="*/ 23750 h 397276"/>
                <a:gd name="connsiteX176" fmla="*/ 129115 w 146819"/>
                <a:gd name="connsiteY176" fmla="*/ 30659 h 397276"/>
                <a:gd name="connsiteX177" fmla="*/ 129978 w 146819"/>
                <a:gd name="connsiteY177" fmla="*/ 34114 h 397276"/>
                <a:gd name="connsiteX178" fmla="*/ 131706 w 146819"/>
                <a:gd name="connsiteY178" fmla="*/ 39296 h 397276"/>
                <a:gd name="connsiteX179" fmla="*/ 131706 w 146819"/>
                <a:gd name="connsiteY179" fmla="*/ 41455 h 397276"/>
                <a:gd name="connsiteX180" fmla="*/ 131274 w 146819"/>
                <a:gd name="connsiteY180" fmla="*/ 42319 h 397276"/>
                <a:gd name="connsiteX181" fmla="*/ 132138 w 146819"/>
                <a:gd name="connsiteY181" fmla="*/ 44478 h 397276"/>
                <a:gd name="connsiteX182" fmla="*/ 131706 w 146819"/>
                <a:gd name="connsiteY182" fmla="*/ 47069 h 397276"/>
                <a:gd name="connsiteX183" fmla="*/ 132138 w 146819"/>
                <a:gd name="connsiteY183" fmla="*/ 50091 h 397276"/>
                <a:gd name="connsiteX184" fmla="*/ 133001 w 146819"/>
                <a:gd name="connsiteY184" fmla="*/ 53546 h 397276"/>
                <a:gd name="connsiteX185" fmla="*/ 133001 w 146819"/>
                <a:gd name="connsiteY185" fmla="*/ 54409 h 397276"/>
                <a:gd name="connsiteX186" fmla="*/ 132569 w 146819"/>
                <a:gd name="connsiteY186" fmla="*/ 57864 h 397276"/>
                <a:gd name="connsiteX187" fmla="*/ 132569 w 146819"/>
                <a:gd name="connsiteY187" fmla="*/ 59591 h 397276"/>
                <a:gd name="connsiteX188" fmla="*/ 133001 w 146819"/>
                <a:gd name="connsiteY188" fmla="*/ 60887 h 397276"/>
                <a:gd name="connsiteX189" fmla="*/ 132569 w 146819"/>
                <a:gd name="connsiteY189" fmla="*/ 63046 h 397276"/>
                <a:gd name="connsiteX190" fmla="*/ 132138 w 146819"/>
                <a:gd name="connsiteY190" fmla="*/ 65205 h 397276"/>
                <a:gd name="connsiteX191" fmla="*/ 130842 w 146819"/>
                <a:gd name="connsiteY191" fmla="*/ 66932 h 397276"/>
                <a:gd name="connsiteX192" fmla="*/ 131274 w 146819"/>
                <a:gd name="connsiteY192" fmla="*/ 68660 h 397276"/>
                <a:gd name="connsiteX193" fmla="*/ 131274 w 146819"/>
                <a:gd name="connsiteY193" fmla="*/ 70819 h 397276"/>
                <a:gd name="connsiteX194" fmla="*/ 128683 w 146819"/>
                <a:gd name="connsiteY194" fmla="*/ 72978 h 397276"/>
                <a:gd name="connsiteX195" fmla="*/ 129978 w 146819"/>
                <a:gd name="connsiteY195" fmla="*/ 73841 h 397276"/>
                <a:gd name="connsiteX196" fmla="*/ 129978 w 146819"/>
                <a:gd name="connsiteY196" fmla="*/ 74705 h 397276"/>
                <a:gd name="connsiteX197" fmla="*/ 129547 w 146819"/>
                <a:gd name="connsiteY197" fmla="*/ 75137 h 397276"/>
                <a:gd name="connsiteX198" fmla="*/ 130410 w 146819"/>
                <a:gd name="connsiteY198" fmla="*/ 76432 h 397276"/>
                <a:gd name="connsiteX199" fmla="*/ 130410 w 146819"/>
                <a:gd name="connsiteY199" fmla="*/ 77296 h 397276"/>
                <a:gd name="connsiteX200" fmla="*/ 128683 w 146819"/>
                <a:gd name="connsiteY200" fmla="*/ 79455 h 397276"/>
                <a:gd name="connsiteX201" fmla="*/ 129978 w 146819"/>
                <a:gd name="connsiteY201" fmla="*/ 82046 h 397276"/>
                <a:gd name="connsiteX202" fmla="*/ 130410 w 146819"/>
                <a:gd name="connsiteY202" fmla="*/ 82046 h 397276"/>
                <a:gd name="connsiteX203" fmla="*/ 130410 w 146819"/>
                <a:gd name="connsiteY203" fmla="*/ 85933 h 397276"/>
                <a:gd name="connsiteX204" fmla="*/ 126956 w 146819"/>
                <a:gd name="connsiteY204" fmla="*/ 91546 h 397276"/>
                <a:gd name="connsiteX205" fmla="*/ 127388 w 146819"/>
                <a:gd name="connsiteY205" fmla="*/ 92410 h 397276"/>
                <a:gd name="connsiteX206" fmla="*/ 126956 w 146819"/>
                <a:gd name="connsiteY206" fmla="*/ 92842 h 397276"/>
                <a:gd name="connsiteX207" fmla="*/ 125660 w 146819"/>
                <a:gd name="connsiteY207" fmla="*/ 93705 h 397276"/>
                <a:gd name="connsiteX208" fmla="*/ 125660 w 146819"/>
                <a:gd name="connsiteY208" fmla="*/ 95001 h 397276"/>
                <a:gd name="connsiteX209" fmla="*/ 123933 w 146819"/>
                <a:gd name="connsiteY209" fmla="*/ 97160 h 397276"/>
                <a:gd name="connsiteX210" fmla="*/ 123933 w 146819"/>
                <a:gd name="connsiteY210" fmla="*/ 97592 h 397276"/>
                <a:gd name="connsiteX211" fmla="*/ 123501 w 146819"/>
                <a:gd name="connsiteY211" fmla="*/ 100614 h 397276"/>
                <a:gd name="connsiteX212" fmla="*/ 123069 w 146819"/>
                <a:gd name="connsiteY212" fmla="*/ 102774 h 397276"/>
                <a:gd name="connsiteX213" fmla="*/ 122637 w 146819"/>
                <a:gd name="connsiteY213" fmla="*/ 104501 h 397276"/>
                <a:gd name="connsiteX214" fmla="*/ 120478 w 146819"/>
                <a:gd name="connsiteY214" fmla="*/ 108387 h 397276"/>
                <a:gd name="connsiteX215" fmla="*/ 120478 w 146819"/>
                <a:gd name="connsiteY215" fmla="*/ 109251 h 397276"/>
                <a:gd name="connsiteX216" fmla="*/ 120047 w 146819"/>
                <a:gd name="connsiteY216" fmla="*/ 110978 h 397276"/>
                <a:gd name="connsiteX217" fmla="*/ 119615 w 146819"/>
                <a:gd name="connsiteY217" fmla="*/ 112274 h 397276"/>
                <a:gd name="connsiteX218" fmla="*/ 120047 w 146819"/>
                <a:gd name="connsiteY218" fmla="*/ 114001 h 397276"/>
                <a:gd name="connsiteX219" fmla="*/ 120478 w 146819"/>
                <a:gd name="connsiteY219" fmla="*/ 114433 h 397276"/>
                <a:gd name="connsiteX220" fmla="*/ 120047 w 146819"/>
                <a:gd name="connsiteY220" fmla="*/ 114865 h 397276"/>
                <a:gd name="connsiteX221" fmla="*/ 119183 w 146819"/>
                <a:gd name="connsiteY221" fmla="*/ 117456 h 397276"/>
                <a:gd name="connsiteX222" fmla="*/ 119615 w 146819"/>
                <a:gd name="connsiteY222" fmla="*/ 117887 h 397276"/>
                <a:gd name="connsiteX223" fmla="*/ 120047 w 146819"/>
                <a:gd name="connsiteY223" fmla="*/ 117887 h 397276"/>
                <a:gd name="connsiteX224" fmla="*/ 119615 w 146819"/>
                <a:gd name="connsiteY224" fmla="*/ 119183 h 397276"/>
                <a:gd name="connsiteX225" fmla="*/ 119183 w 146819"/>
                <a:gd name="connsiteY225" fmla="*/ 120046 h 397276"/>
                <a:gd name="connsiteX226" fmla="*/ 118319 w 146819"/>
                <a:gd name="connsiteY226" fmla="*/ 120910 h 397276"/>
                <a:gd name="connsiteX227" fmla="*/ 118751 w 146819"/>
                <a:gd name="connsiteY227" fmla="*/ 120910 h 397276"/>
                <a:gd name="connsiteX228" fmla="*/ 117887 w 146819"/>
                <a:gd name="connsiteY228" fmla="*/ 123933 h 397276"/>
                <a:gd name="connsiteX229" fmla="*/ 117887 w 146819"/>
                <a:gd name="connsiteY229" fmla="*/ 124797 h 397276"/>
                <a:gd name="connsiteX230" fmla="*/ 115728 w 146819"/>
                <a:gd name="connsiteY230" fmla="*/ 125660 h 397276"/>
                <a:gd name="connsiteX231" fmla="*/ 114865 w 146819"/>
                <a:gd name="connsiteY231" fmla="*/ 126956 h 397276"/>
                <a:gd name="connsiteX232" fmla="*/ 116160 w 146819"/>
                <a:gd name="connsiteY232" fmla="*/ 128251 h 397276"/>
                <a:gd name="connsiteX233" fmla="*/ 117456 w 146819"/>
                <a:gd name="connsiteY233" fmla="*/ 128683 h 397276"/>
                <a:gd name="connsiteX234" fmla="*/ 116160 w 146819"/>
                <a:gd name="connsiteY234" fmla="*/ 129115 h 397276"/>
                <a:gd name="connsiteX235" fmla="*/ 114001 w 146819"/>
                <a:gd name="connsiteY235" fmla="*/ 131706 h 397276"/>
                <a:gd name="connsiteX236" fmla="*/ 112706 w 146819"/>
                <a:gd name="connsiteY236" fmla="*/ 133865 h 397276"/>
                <a:gd name="connsiteX237" fmla="*/ 111842 w 146819"/>
                <a:gd name="connsiteY237" fmla="*/ 136888 h 397276"/>
                <a:gd name="connsiteX238" fmla="*/ 111842 w 146819"/>
                <a:gd name="connsiteY238" fmla="*/ 137319 h 397276"/>
                <a:gd name="connsiteX239" fmla="*/ 111842 w 146819"/>
                <a:gd name="connsiteY239" fmla="*/ 138183 h 397276"/>
                <a:gd name="connsiteX240" fmla="*/ 111410 w 146819"/>
                <a:gd name="connsiteY240" fmla="*/ 138183 h 397276"/>
                <a:gd name="connsiteX241" fmla="*/ 110115 w 146819"/>
                <a:gd name="connsiteY241" fmla="*/ 140342 h 397276"/>
                <a:gd name="connsiteX242" fmla="*/ 109683 w 146819"/>
                <a:gd name="connsiteY242" fmla="*/ 142501 h 397276"/>
                <a:gd name="connsiteX243" fmla="*/ 109683 w 146819"/>
                <a:gd name="connsiteY243" fmla="*/ 142933 h 397276"/>
                <a:gd name="connsiteX244" fmla="*/ 110115 w 146819"/>
                <a:gd name="connsiteY244" fmla="*/ 142501 h 397276"/>
                <a:gd name="connsiteX245" fmla="*/ 111842 w 146819"/>
                <a:gd name="connsiteY245" fmla="*/ 139910 h 397276"/>
                <a:gd name="connsiteX246" fmla="*/ 112274 w 146819"/>
                <a:gd name="connsiteY246" fmla="*/ 140342 h 397276"/>
                <a:gd name="connsiteX247" fmla="*/ 111842 w 146819"/>
                <a:gd name="connsiteY247" fmla="*/ 140774 h 397276"/>
                <a:gd name="connsiteX248" fmla="*/ 110978 w 146819"/>
                <a:gd name="connsiteY248" fmla="*/ 144229 h 397276"/>
                <a:gd name="connsiteX249" fmla="*/ 109683 w 146819"/>
                <a:gd name="connsiteY249" fmla="*/ 145092 h 397276"/>
                <a:gd name="connsiteX250" fmla="*/ 104933 w 146819"/>
                <a:gd name="connsiteY250" fmla="*/ 145956 h 397276"/>
                <a:gd name="connsiteX251" fmla="*/ 104069 w 146819"/>
                <a:gd name="connsiteY251" fmla="*/ 146388 h 397276"/>
                <a:gd name="connsiteX252" fmla="*/ 102774 w 146819"/>
                <a:gd name="connsiteY252" fmla="*/ 149842 h 397276"/>
                <a:gd name="connsiteX253" fmla="*/ 102342 w 146819"/>
                <a:gd name="connsiteY253" fmla="*/ 150706 h 397276"/>
                <a:gd name="connsiteX254" fmla="*/ 104069 w 146819"/>
                <a:gd name="connsiteY254" fmla="*/ 152433 h 397276"/>
                <a:gd name="connsiteX255" fmla="*/ 105365 w 146819"/>
                <a:gd name="connsiteY255" fmla="*/ 152433 h 397276"/>
                <a:gd name="connsiteX256" fmla="*/ 104933 w 146819"/>
                <a:gd name="connsiteY256" fmla="*/ 152865 h 397276"/>
                <a:gd name="connsiteX257" fmla="*/ 104933 w 146819"/>
                <a:gd name="connsiteY257" fmla="*/ 153297 h 397276"/>
                <a:gd name="connsiteX258" fmla="*/ 104501 w 146819"/>
                <a:gd name="connsiteY258" fmla="*/ 153729 h 397276"/>
                <a:gd name="connsiteX259" fmla="*/ 106228 w 146819"/>
                <a:gd name="connsiteY259" fmla="*/ 153729 h 397276"/>
                <a:gd name="connsiteX260" fmla="*/ 106228 w 146819"/>
                <a:gd name="connsiteY260" fmla="*/ 154592 h 397276"/>
                <a:gd name="connsiteX261" fmla="*/ 105365 w 146819"/>
                <a:gd name="connsiteY261" fmla="*/ 155456 h 397276"/>
                <a:gd name="connsiteX262" fmla="*/ 104501 w 146819"/>
                <a:gd name="connsiteY262" fmla="*/ 155888 h 397276"/>
                <a:gd name="connsiteX263" fmla="*/ 104933 w 146819"/>
                <a:gd name="connsiteY263" fmla="*/ 156751 h 397276"/>
                <a:gd name="connsiteX264" fmla="*/ 104069 w 146819"/>
                <a:gd name="connsiteY264" fmla="*/ 157183 h 397276"/>
                <a:gd name="connsiteX265" fmla="*/ 102342 w 146819"/>
                <a:gd name="connsiteY265" fmla="*/ 158910 h 397276"/>
                <a:gd name="connsiteX266" fmla="*/ 101478 w 146819"/>
                <a:gd name="connsiteY266" fmla="*/ 158910 h 397276"/>
                <a:gd name="connsiteX267" fmla="*/ 99319 w 146819"/>
                <a:gd name="connsiteY267" fmla="*/ 159342 h 397276"/>
                <a:gd name="connsiteX268" fmla="*/ 98887 w 146819"/>
                <a:gd name="connsiteY268" fmla="*/ 159774 h 397276"/>
                <a:gd name="connsiteX269" fmla="*/ 98455 w 146819"/>
                <a:gd name="connsiteY269" fmla="*/ 161070 h 397276"/>
                <a:gd name="connsiteX270" fmla="*/ 98887 w 146819"/>
                <a:gd name="connsiteY270" fmla="*/ 161070 h 397276"/>
                <a:gd name="connsiteX271" fmla="*/ 99751 w 146819"/>
                <a:gd name="connsiteY271" fmla="*/ 162797 h 397276"/>
                <a:gd name="connsiteX272" fmla="*/ 99319 w 146819"/>
                <a:gd name="connsiteY272" fmla="*/ 163229 h 397276"/>
                <a:gd name="connsiteX273" fmla="*/ 99319 w 146819"/>
                <a:gd name="connsiteY273" fmla="*/ 163661 h 397276"/>
                <a:gd name="connsiteX274" fmla="*/ 100183 w 146819"/>
                <a:gd name="connsiteY274" fmla="*/ 164524 h 397276"/>
                <a:gd name="connsiteX275" fmla="*/ 99319 w 146819"/>
                <a:gd name="connsiteY275" fmla="*/ 166252 h 397276"/>
                <a:gd name="connsiteX276" fmla="*/ 99319 w 146819"/>
                <a:gd name="connsiteY276" fmla="*/ 166683 h 397276"/>
                <a:gd name="connsiteX277" fmla="*/ 101046 w 146819"/>
                <a:gd name="connsiteY277" fmla="*/ 166683 h 397276"/>
                <a:gd name="connsiteX278" fmla="*/ 100615 w 146819"/>
                <a:gd name="connsiteY278" fmla="*/ 167115 h 397276"/>
                <a:gd name="connsiteX279" fmla="*/ 98887 w 146819"/>
                <a:gd name="connsiteY279" fmla="*/ 169274 h 397276"/>
                <a:gd name="connsiteX280" fmla="*/ 98024 w 146819"/>
                <a:gd name="connsiteY280" fmla="*/ 170570 h 397276"/>
                <a:gd name="connsiteX281" fmla="*/ 98024 w 146819"/>
                <a:gd name="connsiteY281" fmla="*/ 171433 h 397276"/>
                <a:gd name="connsiteX282" fmla="*/ 97160 w 146819"/>
                <a:gd name="connsiteY282" fmla="*/ 172729 h 397276"/>
                <a:gd name="connsiteX283" fmla="*/ 97592 w 146819"/>
                <a:gd name="connsiteY283" fmla="*/ 173161 h 397276"/>
                <a:gd name="connsiteX284" fmla="*/ 95865 w 146819"/>
                <a:gd name="connsiteY284" fmla="*/ 173161 h 397276"/>
                <a:gd name="connsiteX285" fmla="*/ 95433 w 146819"/>
                <a:gd name="connsiteY285" fmla="*/ 174888 h 397276"/>
                <a:gd name="connsiteX286" fmla="*/ 95001 w 146819"/>
                <a:gd name="connsiteY286" fmla="*/ 176615 h 397276"/>
                <a:gd name="connsiteX287" fmla="*/ 95001 w 146819"/>
                <a:gd name="connsiteY287" fmla="*/ 177911 h 397276"/>
                <a:gd name="connsiteX288" fmla="*/ 94137 w 146819"/>
                <a:gd name="connsiteY288" fmla="*/ 178342 h 397276"/>
                <a:gd name="connsiteX289" fmla="*/ 93705 w 146819"/>
                <a:gd name="connsiteY289" fmla="*/ 177911 h 397276"/>
                <a:gd name="connsiteX290" fmla="*/ 91978 w 146819"/>
                <a:gd name="connsiteY290" fmla="*/ 175752 h 397276"/>
                <a:gd name="connsiteX291" fmla="*/ 91115 w 146819"/>
                <a:gd name="connsiteY291" fmla="*/ 175320 h 397276"/>
                <a:gd name="connsiteX292" fmla="*/ 90251 w 146819"/>
                <a:gd name="connsiteY292" fmla="*/ 177479 h 397276"/>
                <a:gd name="connsiteX293" fmla="*/ 90251 w 146819"/>
                <a:gd name="connsiteY293" fmla="*/ 177911 h 397276"/>
                <a:gd name="connsiteX294" fmla="*/ 91546 w 146819"/>
                <a:gd name="connsiteY294" fmla="*/ 179638 h 397276"/>
                <a:gd name="connsiteX295" fmla="*/ 90683 w 146819"/>
                <a:gd name="connsiteY295" fmla="*/ 180502 h 397276"/>
                <a:gd name="connsiteX296" fmla="*/ 90683 w 146819"/>
                <a:gd name="connsiteY296" fmla="*/ 181797 h 397276"/>
                <a:gd name="connsiteX297" fmla="*/ 91546 w 146819"/>
                <a:gd name="connsiteY297" fmla="*/ 181797 h 397276"/>
                <a:gd name="connsiteX298" fmla="*/ 91546 w 146819"/>
                <a:gd name="connsiteY298" fmla="*/ 182229 h 397276"/>
                <a:gd name="connsiteX299" fmla="*/ 89819 w 146819"/>
                <a:gd name="connsiteY299" fmla="*/ 183093 h 397276"/>
                <a:gd name="connsiteX300" fmla="*/ 86796 w 146819"/>
                <a:gd name="connsiteY300" fmla="*/ 186115 h 397276"/>
                <a:gd name="connsiteX301" fmla="*/ 87228 w 146819"/>
                <a:gd name="connsiteY301" fmla="*/ 186115 h 397276"/>
                <a:gd name="connsiteX302" fmla="*/ 89819 w 146819"/>
                <a:gd name="connsiteY302" fmla="*/ 184820 h 397276"/>
                <a:gd name="connsiteX303" fmla="*/ 91115 w 146819"/>
                <a:gd name="connsiteY303" fmla="*/ 184820 h 397276"/>
                <a:gd name="connsiteX304" fmla="*/ 90251 w 146819"/>
                <a:gd name="connsiteY304" fmla="*/ 186115 h 397276"/>
                <a:gd name="connsiteX305" fmla="*/ 89387 w 146819"/>
                <a:gd name="connsiteY305" fmla="*/ 186547 h 397276"/>
                <a:gd name="connsiteX306" fmla="*/ 87660 w 146819"/>
                <a:gd name="connsiteY306" fmla="*/ 188274 h 397276"/>
                <a:gd name="connsiteX307" fmla="*/ 88092 w 146819"/>
                <a:gd name="connsiteY307" fmla="*/ 189138 h 397276"/>
                <a:gd name="connsiteX308" fmla="*/ 87228 w 146819"/>
                <a:gd name="connsiteY308" fmla="*/ 190002 h 397276"/>
                <a:gd name="connsiteX309" fmla="*/ 87660 w 146819"/>
                <a:gd name="connsiteY309" fmla="*/ 191297 h 397276"/>
                <a:gd name="connsiteX310" fmla="*/ 88092 w 146819"/>
                <a:gd name="connsiteY310" fmla="*/ 192161 h 397276"/>
                <a:gd name="connsiteX311" fmla="*/ 87660 w 146819"/>
                <a:gd name="connsiteY311" fmla="*/ 192593 h 397276"/>
                <a:gd name="connsiteX312" fmla="*/ 86796 w 146819"/>
                <a:gd name="connsiteY312" fmla="*/ 193456 h 397276"/>
                <a:gd name="connsiteX313" fmla="*/ 86364 w 146819"/>
                <a:gd name="connsiteY313" fmla="*/ 194752 h 397276"/>
                <a:gd name="connsiteX314" fmla="*/ 84637 w 146819"/>
                <a:gd name="connsiteY314" fmla="*/ 195184 h 397276"/>
                <a:gd name="connsiteX315" fmla="*/ 83342 w 146819"/>
                <a:gd name="connsiteY315" fmla="*/ 194752 h 397276"/>
                <a:gd name="connsiteX316" fmla="*/ 81614 w 146819"/>
                <a:gd name="connsiteY316" fmla="*/ 195615 h 397276"/>
                <a:gd name="connsiteX317" fmla="*/ 80319 w 146819"/>
                <a:gd name="connsiteY317" fmla="*/ 196479 h 397276"/>
                <a:gd name="connsiteX318" fmla="*/ 82046 w 146819"/>
                <a:gd name="connsiteY318" fmla="*/ 197774 h 397276"/>
                <a:gd name="connsiteX319" fmla="*/ 82478 w 146819"/>
                <a:gd name="connsiteY319" fmla="*/ 196479 h 397276"/>
                <a:gd name="connsiteX320" fmla="*/ 83773 w 146819"/>
                <a:gd name="connsiteY320" fmla="*/ 198206 h 397276"/>
                <a:gd name="connsiteX321" fmla="*/ 82478 w 146819"/>
                <a:gd name="connsiteY321" fmla="*/ 200365 h 397276"/>
                <a:gd name="connsiteX322" fmla="*/ 82046 w 146819"/>
                <a:gd name="connsiteY322" fmla="*/ 201661 h 397276"/>
                <a:gd name="connsiteX323" fmla="*/ 81614 w 146819"/>
                <a:gd name="connsiteY323" fmla="*/ 203820 h 397276"/>
                <a:gd name="connsiteX324" fmla="*/ 80319 w 146819"/>
                <a:gd name="connsiteY324" fmla="*/ 204684 h 397276"/>
                <a:gd name="connsiteX325" fmla="*/ 81614 w 146819"/>
                <a:gd name="connsiteY325" fmla="*/ 205115 h 397276"/>
                <a:gd name="connsiteX326" fmla="*/ 81614 w 146819"/>
                <a:gd name="connsiteY326" fmla="*/ 205979 h 397276"/>
                <a:gd name="connsiteX327" fmla="*/ 80319 w 146819"/>
                <a:gd name="connsiteY327" fmla="*/ 206843 h 397276"/>
                <a:gd name="connsiteX328" fmla="*/ 79455 w 146819"/>
                <a:gd name="connsiteY328" fmla="*/ 207275 h 397276"/>
                <a:gd name="connsiteX329" fmla="*/ 78592 w 146819"/>
                <a:gd name="connsiteY329" fmla="*/ 208570 h 397276"/>
                <a:gd name="connsiteX330" fmla="*/ 77728 w 146819"/>
                <a:gd name="connsiteY330" fmla="*/ 210297 h 397276"/>
                <a:gd name="connsiteX331" fmla="*/ 77728 w 146819"/>
                <a:gd name="connsiteY331" fmla="*/ 213320 h 397276"/>
                <a:gd name="connsiteX332" fmla="*/ 76001 w 146819"/>
                <a:gd name="connsiteY332" fmla="*/ 215047 h 397276"/>
                <a:gd name="connsiteX333" fmla="*/ 77296 w 146819"/>
                <a:gd name="connsiteY333" fmla="*/ 216775 h 397276"/>
                <a:gd name="connsiteX334" fmla="*/ 75569 w 146819"/>
                <a:gd name="connsiteY334" fmla="*/ 216775 h 397276"/>
                <a:gd name="connsiteX335" fmla="*/ 73842 w 146819"/>
                <a:gd name="connsiteY335" fmla="*/ 218070 h 397276"/>
                <a:gd name="connsiteX336" fmla="*/ 74705 w 146819"/>
                <a:gd name="connsiteY336" fmla="*/ 218934 h 397276"/>
                <a:gd name="connsiteX337" fmla="*/ 73842 w 146819"/>
                <a:gd name="connsiteY337" fmla="*/ 220661 h 397276"/>
                <a:gd name="connsiteX338" fmla="*/ 73842 w 146819"/>
                <a:gd name="connsiteY338" fmla="*/ 221525 h 397276"/>
                <a:gd name="connsiteX339" fmla="*/ 73410 w 146819"/>
                <a:gd name="connsiteY339" fmla="*/ 223684 h 397276"/>
                <a:gd name="connsiteX340" fmla="*/ 70819 w 146819"/>
                <a:gd name="connsiteY340" fmla="*/ 227138 h 397276"/>
                <a:gd name="connsiteX341" fmla="*/ 70819 w 146819"/>
                <a:gd name="connsiteY341" fmla="*/ 228866 h 397276"/>
                <a:gd name="connsiteX342" fmla="*/ 69523 w 146819"/>
                <a:gd name="connsiteY342" fmla="*/ 230593 h 397276"/>
                <a:gd name="connsiteX343" fmla="*/ 68660 w 146819"/>
                <a:gd name="connsiteY343" fmla="*/ 233616 h 397276"/>
                <a:gd name="connsiteX344" fmla="*/ 66501 w 146819"/>
                <a:gd name="connsiteY344" fmla="*/ 237070 h 397276"/>
                <a:gd name="connsiteX345" fmla="*/ 66501 w 146819"/>
                <a:gd name="connsiteY345" fmla="*/ 238366 h 397276"/>
                <a:gd name="connsiteX346" fmla="*/ 63046 w 146819"/>
                <a:gd name="connsiteY346" fmla="*/ 240525 h 397276"/>
                <a:gd name="connsiteX347" fmla="*/ 62614 w 146819"/>
                <a:gd name="connsiteY347" fmla="*/ 241389 h 397276"/>
                <a:gd name="connsiteX348" fmla="*/ 62614 w 146819"/>
                <a:gd name="connsiteY348" fmla="*/ 242252 h 397276"/>
                <a:gd name="connsiteX349" fmla="*/ 32387 w 146819"/>
                <a:gd name="connsiteY349" fmla="*/ 301412 h 397276"/>
                <a:gd name="connsiteX350" fmla="*/ 32387 w 146819"/>
                <a:gd name="connsiteY350" fmla="*/ 302275 h 397276"/>
                <a:gd name="connsiteX351" fmla="*/ 30659 w 146819"/>
                <a:gd name="connsiteY351" fmla="*/ 306162 h 397276"/>
                <a:gd name="connsiteX352" fmla="*/ 30659 w 146819"/>
                <a:gd name="connsiteY352" fmla="*/ 307457 h 397276"/>
                <a:gd name="connsiteX353" fmla="*/ 31091 w 146819"/>
                <a:gd name="connsiteY353" fmla="*/ 308753 h 397276"/>
                <a:gd name="connsiteX354" fmla="*/ 30659 w 146819"/>
                <a:gd name="connsiteY354" fmla="*/ 309185 h 397276"/>
                <a:gd name="connsiteX355" fmla="*/ 30228 w 146819"/>
                <a:gd name="connsiteY355" fmla="*/ 310480 h 397276"/>
                <a:gd name="connsiteX356" fmla="*/ 27637 w 146819"/>
                <a:gd name="connsiteY356" fmla="*/ 313071 h 397276"/>
                <a:gd name="connsiteX357" fmla="*/ 30228 w 146819"/>
                <a:gd name="connsiteY357" fmla="*/ 315230 h 397276"/>
                <a:gd name="connsiteX358" fmla="*/ 30228 w 146819"/>
                <a:gd name="connsiteY358" fmla="*/ 315662 h 397276"/>
                <a:gd name="connsiteX359" fmla="*/ 30659 w 146819"/>
                <a:gd name="connsiteY359" fmla="*/ 316526 h 397276"/>
                <a:gd name="connsiteX360" fmla="*/ 30659 w 146819"/>
                <a:gd name="connsiteY360" fmla="*/ 322571 h 397276"/>
                <a:gd name="connsiteX361" fmla="*/ 30228 w 146819"/>
                <a:gd name="connsiteY361" fmla="*/ 325594 h 397276"/>
                <a:gd name="connsiteX362" fmla="*/ 30228 w 146819"/>
                <a:gd name="connsiteY362" fmla="*/ 330344 h 397276"/>
                <a:gd name="connsiteX363" fmla="*/ 31955 w 146819"/>
                <a:gd name="connsiteY363" fmla="*/ 332503 h 397276"/>
                <a:gd name="connsiteX364" fmla="*/ 31523 w 146819"/>
                <a:gd name="connsiteY364" fmla="*/ 338117 h 397276"/>
                <a:gd name="connsiteX365" fmla="*/ 31955 w 146819"/>
                <a:gd name="connsiteY365" fmla="*/ 339844 h 397276"/>
                <a:gd name="connsiteX366" fmla="*/ 31523 w 146819"/>
                <a:gd name="connsiteY366" fmla="*/ 340708 h 397276"/>
                <a:gd name="connsiteX367" fmla="*/ 32387 w 146819"/>
                <a:gd name="connsiteY367" fmla="*/ 342435 h 397276"/>
                <a:gd name="connsiteX368" fmla="*/ 31955 w 146819"/>
                <a:gd name="connsiteY368" fmla="*/ 343730 h 397276"/>
                <a:gd name="connsiteX369" fmla="*/ 31955 w 146819"/>
                <a:gd name="connsiteY369" fmla="*/ 346321 h 397276"/>
                <a:gd name="connsiteX370" fmla="*/ 32387 w 146819"/>
                <a:gd name="connsiteY370" fmla="*/ 347617 h 397276"/>
                <a:gd name="connsiteX371" fmla="*/ 31523 w 146819"/>
                <a:gd name="connsiteY371" fmla="*/ 349776 h 397276"/>
                <a:gd name="connsiteX372" fmla="*/ 32387 w 146819"/>
                <a:gd name="connsiteY372" fmla="*/ 349776 h 397276"/>
                <a:gd name="connsiteX373" fmla="*/ 32819 w 146819"/>
                <a:gd name="connsiteY373" fmla="*/ 351503 h 397276"/>
                <a:gd name="connsiteX374" fmla="*/ 32387 w 146819"/>
                <a:gd name="connsiteY374" fmla="*/ 352367 h 397276"/>
                <a:gd name="connsiteX375" fmla="*/ 32819 w 146819"/>
                <a:gd name="connsiteY375" fmla="*/ 354094 h 397276"/>
                <a:gd name="connsiteX376" fmla="*/ 32819 w 146819"/>
                <a:gd name="connsiteY376" fmla="*/ 354526 h 397276"/>
                <a:gd name="connsiteX377" fmla="*/ 33682 w 146819"/>
                <a:gd name="connsiteY377" fmla="*/ 357117 h 397276"/>
                <a:gd name="connsiteX378" fmla="*/ 33682 w 146819"/>
                <a:gd name="connsiteY378" fmla="*/ 357980 h 397276"/>
                <a:gd name="connsiteX379" fmla="*/ 34978 w 146819"/>
                <a:gd name="connsiteY379" fmla="*/ 361435 h 397276"/>
                <a:gd name="connsiteX380" fmla="*/ 34978 w 146819"/>
                <a:gd name="connsiteY380" fmla="*/ 362299 h 397276"/>
                <a:gd name="connsiteX381" fmla="*/ 35841 w 146819"/>
                <a:gd name="connsiteY381" fmla="*/ 364458 h 397276"/>
                <a:gd name="connsiteX382" fmla="*/ 59591 w 146819"/>
                <a:gd name="connsiteY382" fmla="*/ 376981 h 397276"/>
                <a:gd name="connsiteX383" fmla="*/ 66069 w 146819"/>
                <a:gd name="connsiteY383" fmla="*/ 376117 h 397276"/>
                <a:gd name="connsiteX384" fmla="*/ 144660 w 146819"/>
                <a:gd name="connsiteY384" fmla="*/ 283275 h 397276"/>
                <a:gd name="connsiteX385" fmla="*/ 146820 w 146819"/>
                <a:gd name="connsiteY385" fmla="*/ 281548 h 397276"/>
                <a:gd name="connsiteX386" fmla="*/ 148115 w 146819"/>
                <a:gd name="connsiteY386" fmla="*/ 283275 h 397276"/>
                <a:gd name="connsiteX387" fmla="*/ 52682 w 146819"/>
                <a:gd name="connsiteY387" fmla="*/ 400299 h 397276"/>
                <a:gd name="connsiteX388" fmla="*/ 50955 w 146819"/>
                <a:gd name="connsiteY388" fmla="*/ 400299 h 397276"/>
                <a:gd name="connsiteX389" fmla="*/ 8205 w 146819"/>
                <a:gd name="connsiteY389" fmla="*/ 378708 h 397276"/>
                <a:gd name="connsiteX390" fmla="*/ 7773 w 146819"/>
                <a:gd name="connsiteY390" fmla="*/ 375685 h 397276"/>
                <a:gd name="connsiteX391" fmla="*/ 93705 w 146819"/>
                <a:gd name="connsiteY391" fmla="*/ 47932 h 397276"/>
                <a:gd name="connsiteX392" fmla="*/ 92842 w 146819"/>
                <a:gd name="connsiteY392" fmla="*/ 48364 h 397276"/>
                <a:gd name="connsiteX393" fmla="*/ 91978 w 146819"/>
                <a:gd name="connsiteY393" fmla="*/ 49228 h 397276"/>
                <a:gd name="connsiteX394" fmla="*/ 92410 w 146819"/>
                <a:gd name="connsiteY394" fmla="*/ 49660 h 397276"/>
                <a:gd name="connsiteX395" fmla="*/ 94137 w 146819"/>
                <a:gd name="connsiteY395" fmla="*/ 50091 h 397276"/>
                <a:gd name="connsiteX396" fmla="*/ 91546 w 146819"/>
                <a:gd name="connsiteY396" fmla="*/ 52682 h 397276"/>
                <a:gd name="connsiteX397" fmla="*/ 90251 w 146819"/>
                <a:gd name="connsiteY397" fmla="*/ 54841 h 397276"/>
                <a:gd name="connsiteX398" fmla="*/ 90251 w 146819"/>
                <a:gd name="connsiteY398" fmla="*/ 55273 h 397276"/>
                <a:gd name="connsiteX399" fmla="*/ 89819 w 146819"/>
                <a:gd name="connsiteY399" fmla="*/ 57000 h 397276"/>
                <a:gd name="connsiteX400" fmla="*/ 87660 w 146819"/>
                <a:gd name="connsiteY400" fmla="*/ 57864 h 397276"/>
                <a:gd name="connsiteX401" fmla="*/ 87660 w 146819"/>
                <a:gd name="connsiteY401" fmla="*/ 58728 h 397276"/>
                <a:gd name="connsiteX402" fmla="*/ 88092 w 146819"/>
                <a:gd name="connsiteY402" fmla="*/ 59591 h 397276"/>
                <a:gd name="connsiteX403" fmla="*/ 89819 w 146819"/>
                <a:gd name="connsiteY403" fmla="*/ 60887 h 397276"/>
                <a:gd name="connsiteX404" fmla="*/ 90251 w 146819"/>
                <a:gd name="connsiteY404" fmla="*/ 61319 h 397276"/>
                <a:gd name="connsiteX405" fmla="*/ 89819 w 146819"/>
                <a:gd name="connsiteY405" fmla="*/ 61319 h 397276"/>
                <a:gd name="connsiteX406" fmla="*/ 87660 w 146819"/>
                <a:gd name="connsiteY406" fmla="*/ 61751 h 397276"/>
                <a:gd name="connsiteX407" fmla="*/ 87660 w 146819"/>
                <a:gd name="connsiteY407" fmla="*/ 62614 h 397276"/>
                <a:gd name="connsiteX408" fmla="*/ 86796 w 146819"/>
                <a:gd name="connsiteY408" fmla="*/ 64341 h 397276"/>
                <a:gd name="connsiteX409" fmla="*/ 86364 w 146819"/>
                <a:gd name="connsiteY409" fmla="*/ 64341 h 397276"/>
                <a:gd name="connsiteX410" fmla="*/ 84637 w 146819"/>
                <a:gd name="connsiteY410" fmla="*/ 67364 h 397276"/>
                <a:gd name="connsiteX411" fmla="*/ 84205 w 146819"/>
                <a:gd name="connsiteY411" fmla="*/ 69523 h 397276"/>
                <a:gd name="connsiteX412" fmla="*/ 84205 w 146819"/>
                <a:gd name="connsiteY412" fmla="*/ 69955 h 397276"/>
                <a:gd name="connsiteX413" fmla="*/ 85933 w 146819"/>
                <a:gd name="connsiteY413" fmla="*/ 69523 h 397276"/>
                <a:gd name="connsiteX414" fmla="*/ 87660 w 146819"/>
                <a:gd name="connsiteY414" fmla="*/ 69523 h 397276"/>
                <a:gd name="connsiteX415" fmla="*/ 87660 w 146819"/>
                <a:gd name="connsiteY415" fmla="*/ 69955 h 397276"/>
                <a:gd name="connsiteX416" fmla="*/ 86796 w 146819"/>
                <a:gd name="connsiteY416" fmla="*/ 70387 h 397276"/>
                <a:gd name="connsiteX417" fmla="*/ 86364 w 146819"/>
                <a:gd name="connsiteY417" fmla="*/ 72114 h 397276"/>
                <a:gd name="connsiteX418" fmla="*/ 86364 w 146819"/>
                <a:gd name="connsiteY418" fmla="*/ 72546 h 397276"/>
                <a:gd name="connsiteX419" fmla="*/ 85933 w 146819"/>
                <a:gd name="connsiteY419" fmla="*/ 74705 h 397276"/>
                <a:gd name="connsiteX420" fmla="*/ 85501 w 146819"/>
                <a:gd name="connsiteY420" fmla="*/ 78592 h 397276"/>
                <a:gd name="connsiteX421" fmla="*/ 84637 w 146819"/>
                <a:gd name="connsiteY421" fmla="*/ 80319 h 397276"/>
                <a:gd name="connsiteX422" fmla="*/ 85069 w 146819"/>
                <a:gd name="connsiteY422" fmla="*/ 81614 h 397276"/>
                <a:gd name="connsiteX423" fmla="*/ 83773 w 146819"/>
                <a:gd name="connsiteY423" fmla="*/ 82478 h 397276"/>
                <a:gd name="connsiteX424" fmla="*/ 83342 w 146819"/>
                <a:gd name="connsiteY424" fmla="*/ 84205 h 397276"/>
                <a:gd name="connsiteX425" fmla="*/ 82910 w 146819"/>
                <a:gd name="connsiteY425" fmla="*/ 86364 h 397276"/>
                <a:gd name="connsiteX426" fmla="*/ 83342 w 146819"/>
                <a:gd name="connsiteY426" fmla="*/ 88955 h 397276"/>
                <a:gd name="connsiteX427" fmla="*/ 82910 w 146819"/>
                <a:gd name="connsiteY427" fmla="*/ 91978 h 397276"/>
                <a:gd name="connsiteX428" fmla="*/ 82046 w 146819"/>
                <a:gd name="connsiteY428" fmla="*/ 91978 h 397276"/>
                <a:gd name="connsiteX429" fmla="*/ 81183 w 146819"/>
                <a:gd name="connsiteY429" fmla="*/ 94569 h 397276"/>
                <a:gd name="connsiteX430" fmla="*/ 81183 w 146819"/>
                <a:gd name="connsiteY430" fmla="*/ 95001 h 397276"/>
                <a:gd name="connsiteX431" fmla="*/ 70819 w 146819"/>
                <a:gd name="connsiteY431" fmla="*/ 115296 h 397276"/>
                <a:gd name="connsiteX432" fmla="*/ 71683 w 146819"/>
                <a:gd name="connsiteY432" fmla="*/ 119615 h 397276"/>
                <a:gd name="connsiteX433" fmla="*/ 71683 w 146819"/>
                <a:gd name="connsiteY433" fmla="*/ 121342 h 397276"/>
                <a:gd name="connsiteX434" fmla="*/ 70387 w 146819"/>
                <a:gd name="connsiteY434" fmla="*/ 127388 h 397276"/>
                <a:gd name="connsiteX435" fmla="*/ 70387 w 146819"/>
                <a:gd name="connsiteY435" fmla="*/ 131274 h 397276"/>
                <a:gd name="connsiteX436" fmla="*/ 69955 w 146819"/>
                <a:gd name="connsiteY436" fmla="*/ 131706 h 397276"/>
                <a:gd name="connsiteX437" fmla="*/ 66932 w 146819"/>
                <a:gd name="connsiteY437" fmla="*/ 137319 h 397276"/>
                <a:gd name="connsiteX438" fmla="*/ 65637 w 146819"/>
                <a:gd name="connsiteY438" fmla="*/ 142501 h 397276"/>
                <a:gd name="connsiteX439" fmla="*/ 63046 w 146819"/>
                <a:gd name="connsiteY439" fmla="*/ 142501 h 397276"/>
                <a:gd name="connsiteX440" fmla="*/ 63046 w 146819"/>
                <a:gd name="connsiteY440" fmla="*/ 144660 h 397276"/>
                <a:gd name="connsiteX441" fmla="*/ 64341 w 146819"/>
                <a:gd name="connsiteY441" fmla="*/ 144660 h 397276"/>
                <a:gd name="connsiteX442" fmla="*/ 64773 w 146819"/>
                <a:gd name="connsiteY442" fmla="*/ 145956 h 397276"/>
                <a:gd name="connsiteX443" fmla="*/ 63910 w 146819"/>
                <a:gd name="connsiteY443" fmla="*/ 147683 h 397276"/>
                <a:gd name="connsiteX444" fmla="*/ 63046 w 146819"/>
                <a:gd name="connsiteY444" fmla="*/ 148979 h 397276"/>
                <a:gd name="connsiteX445" fmla="*/ 62614 w 146819"/>
                <a:gd name="connsiteY445" fmla="*/ 149410 h 397276"/>
                <a:gd name="connsiteX446" fmla="*/ 61319 w 146819"/>
                <a:gd name="connsiteY446" fmla="*/ 152001 h 397276"/>
                <a:gd name="connsiteX447" fmla="*/ 60887 w 146819"/>
                <a:gd name="connsiteY447" fmla="*/ 152865 h 397276"/>
                <a:gd name="connsiteX448" fmla="*/ 60455 w 146819"/>
                <a:gd name="connsiteY448" fmla="*/ 154592 h 397276"/>
                <a:gd name="connsiteX449" fmla="*/ 60455 w 146819"/>
                <a:gd name="connsiteY449" fmla="*/ 155456 h 397276"/>
                <a:gd name="connsiteX450" fmla="*/ 62182 w 146819"/>
                <a:gd name="connsiteY450" fmla="*/ 155888 h 397276"/>
                <a:gd name="connsiteX451" fmla="*/ 59591 w 146819"/>
                <a:gd name="connsiteY451" fmla="*/ 165820 h 397276"/>
                <a:gd name="connsiteX452" fmla="*/ 59591 w 146819"/>
                <a:gd name="connsiteY452" fmla="*/ 167115 h 397276"/>
                <a:gd name="connsiteX453" fmla="*/ 58296 w 146819"/>
                <a:gd name="connsiteY453" fmla="*/ 171433 h 397276"/>
                <a:gd name="connsiteX454" fmla="*/ 58296 w 146819"/>
                <a:gd name="connsiteY454" fmla="*/ 171865 h 397276"/>
                <a:gd name="connsiteX455" fmla="*/ 56569 w 146819"/>
                <a:gd name="connsiteY455" fmla="*/ 175752 h 397276"/>
                <a:gd name="connsiteX456" fmla="*/ 56569 w 146819"/>
                <a:gd name="connsiteY456" fmla="*/ 177479 h 397276"/>
                <a:gd name="connsiteX457" fmla="*/ 55273 w 146819"/>
                <a:gd name="connsiteY457" fmla="*/ 182661 h 397276"/>
                <a:gd name="connsiteX458" fmla="*/ 54410 w 146819"/>
                <a:gd name="connsiteY458" fmla="*/ 183093 h 397276"/>
                <a:gd name="connsiteX459" fmla="*/ 54410 w 146819"/>
                <a:gd name="connsiteY459" fmla="*/ 182229 h 397276"/>
                <a:gd name="connsiteX460" fmla="*/ 53546 w 146819"/>
                <a:gd name="connsiteY460" fmla="*/ 182229 h 397276"/>
                <a:gd name="connsiteX461" fmla="*/ 52682 w 146819"/>
                <a:gd name="connsiteY461" fmla="*/ 183524 h 397276"/>
                <a:gd name="connsiteX462" fmla="*/ 52682 w 146819"/>
                <a:gd name="connsiteY462" fmla="*/ 184388 h 397276"/>
                <a:gd name="connsiteX463" fmla="*/ 53546 w 146819"/>
                <a:gd name="connsiteY463" fmla="*/ 184388 h 397276"/>
                <a:gd name="connsiteX464" fmla="*/ 53978 w 146819"/>
                <a:gd name="connsiteY464" fmla="*/ 186115 h 397276"/>
                <a:gd name="connsiteX465" fmla="*/ 53114 w 146819"/>
                <a:gd name="connsiteY465" fmla="*/ 187411 h 397276"/>
                <a:gd name="connsiteX466" fmla="*/ 53978 w 146819"/>
                <a:gd name="connsiteY466" fmla="*/ 188706 h 397276"/>
                <a:gd name="connsiteX467" fmla="*/ 50955 w 146819"/>
                <a:gd name="connsiteY467" fmla="*/ 196047 h 397276"/>
                <a:gd name="connsiteX468" fmla="*/ 50955 w 146819"/>
                <a:gd name="connsiteY468" fmla="*/ 197343 h 397276"/>
                <a:gd name="connsiteX469" fmla="*/ 50955 w 146819"/>
                <a:gd name="connsiteY469" fmla="*/ 197774 h 397276"/>
                <a:gd name="connsiteX470" fmla="*/ 49228 w 146819"/>
                <a:gd name="connsiteY470" fmla="*/ 200365 h 397276"/>
                <a:gd name="connsiteX471" fmla="*/ 49228 w 146819"/>
                <a:gd name="connsiteY471" fmla="*/ 202093 h 397276"/>
                <a:gd name="connsiteX472" fmla="*/ 48796 w 146819"/>
                <a:gd name="connsiteY472" fmla="*/ 205979 h 397276"/>
                <a:gd name="connsiteX473" fmla="*/ 48796 w 146819"/>
                <a:gd name="connsiteY473" fmla="*/ 206411 h 397276"/>
                <a:gd name="connsiteX474" fmla="*/ 46637 w 146819"/>
                <a:gd name="connsiteY474" fmla="*/ 212888 h 397276"/>
                <a:gd name="connsiteX475" fmla="*/ 46637 w 146819"/>
                <a:gd name="connsiteY475" fmla="*/ 214184 h 397276"/>
                <a:gd name="connsiteX476" fmla="*/ 46205 w 146819"/>
                <a:gd name="connsiteY476" fmla="*/ 217206 h 397276"/>
                <a:gd name="connsiteX477" fmla="*/ 44909 w 146819"/>
                <a:gd name="connsiteY477" fmla="*/ 222820 h 397276"/>
                <a:gd name="connsiteX478" fmla="*/ 44046 w 146819"/>
                <a:gd name="connsiteY478" fmla="*/ 223684 h 397276"/>
                <a:gd name="connsiteX479" fmla="*/ 44046 w 146819"/>
                <a:gd name="connsiteY479" fmla="*/ 225411 h 397276"/>
                <a:gd name="connsiteX480" fmla="*/ 42750 w 146819"/>
                <a:gd name="connsiteY480" fmla="*/ 226707 h 397276"/>
                <a:gd name="connsiteX481" fmla="*/ 42750 w 146819"/>
                <a:gd name="connsiteY481" fmla="*/ 232752 h 397276"/>
                <a:gd name="connsiteX482" fmla="*/ 42319 w 146819"/>
                <a:gd name="connsiteY482" fmla="*/ 234911 h 397276"/>
                <a:gd name="connsiteX483" fmla="*/ 41887 w 146819"/>
                <a:gd name="connsiteY483" fmla="*/ 236207 h 397276"/>
                <a:gd name="connsiteX484" fmla="*/ 41455 w 146819"/>
                <a:gd name="connsiteY484" fmla="*/ 237502 h 397276"/>
                <a:gd name="connsiteX485" fmla="*/ 41887 w 146819"/>
                <a:gd name="connsiteY485" fmla="*/ 239661 h 397276"/>
                <a:gd name="connsiteX486" fmla="*/ 42319 w 146819"/>
                <a:gd name="connsiteY486" fmla="*/ 240093 h 397276"/>
                <a:gd name="connsiteX487" fmla="*/ 42750 w 146819"/>
                <a:gd name="connsiteY487" fmla="*/ 239661 h 397276"/>
                <a:gd name="connsiteX488" fmla="*/ 44046 w 146819"/>
                <a:gd name="connsiteY488" fmla="*/ 236207 h 397276"/>
                <a:gd name="connsiteX489" fmla="*/ 44478 w 146819"/>
                <a:gd name="connsiteY489" fmla="*/ 235775 h 397276"/>
                <a:gd name="connsiteX490" fmla="*/ 45773 w 146819"/>
                <a:gd name="connsiteY490" fmla="*/ 233616 h 397276"/>
                <a:gd name="connsiteX491" fmla="*/ 47500 w 146819"/>
                <a:gd name="connsiteY491" fmla="*/ 230161 h 397276"/>
                <a:gd name="connsiteX492" fmla="*/ 50523 w 146819"/>
                <a:gd name="connsiteY492" fmla="*/ 225411 h 397276"/>
                <a:gd name="connsiteX493" fmla="*/ 50955 w 146819"/>
                <a:gd name="connsiteY493" fmla="*/ 224547 h 397276"/>
                <a:gd name="connsiteX494" fmla="*/ 52251 w 146819"/>
                <a:gd name="connsiteY494" fmla="*/ 223684 h 397276"/>
                <a:gd name="connsiteX495" fmla="*/ 54841 w 146819"/>
                <a:gd name="connsiteY495" fmla="*/ 216775 h 397276"/>
                <a:gd name="connsiteX496" fmla="*/ 57001 w 146819"/>
                <a:gd name="connsiteY496" fmla="*/ 214184 h 397276"/>
                <a:gd name="connsiteX497" fmla="*/ 57001 w 146819"/>
                <a:gd name="connsiteY497" fmla="*/ 213320 h 397276"/>
                <a:gd name="connsiteX498" fmla="*/ 57432 w 146819"/>
                <a:gd name="connsiteY498" fmla="*/ 211161 h 397276"/>
                <a:gd name="connsiteX499" fmla="*/ 60023 w 146819"/>
                <a:gd name="connsiteY499" fmla="*/ 206411 h 397276"/>
                <a:gd name="connsiteX500" fmla="*/ 63046 w 146819"/>
                <a:gd name="connsiteY500" fmla="*/ 200365 h 397276"/>
                <a:gd name="connsiteX501" fmla="*/ 66069 w 146819"/>
                <a:gd name="connsiteY501" fmla="*/ 193888 h 397276"/>
                <a:gd name="connsiteX502" fmla="*/ 68660 w 146819"/>
                <a:gd name="connsiteY502" fmla="*/ 191729 h 397276"/>
                <a:gd name="connsiteX503" fmla="*/ 70819 w 146819"/>
                <a:gd name="connsiteY503" fmla="*/ 186547 h 397276"/>
                <a:gd name="connsiteX504" fmla="*/ 73842 w 146819"/>
                <a:gd name="connsiteY504" fmla="*/ 179638 h 397276"/>
                <a:gd name="connsiteX505" fmla="*/ 78160 w 146819"/>
                <a:gd name="connsiteY505" fmla="*/ 172729 h 397276"/>
                <a:gd name="connsiteX506" fmla="*/ 79887 w 146819"/>
                <a:gd name="connsiteY506" fmla="*/ 168842 h 397276"/>
                <a:gd name="connsiteX507" fmla="*/ 80751 w 146819"/>
                <a:gd name="connsiteY507" fmla="*/ 167115 h 397276"/>
                <a:gd name="connsiteX508" fmla="*/ 80751 w 146819"/>
                <a:gd name="connsiteY508" fmla="*/ 166683 h 397276"/>
                <a:gd name="connsiteX509" fmla="*/ 81614 w 146819"/>
                <a:gd name="connsiteY509" fmla="*/ 164524 h 397276"/>
                <a:gd name="connsiteX510" fmla="*/ 83342 w 146819"/>
                <a:gd name="connsiteY510" fmla="*/ 161933 h 397276"/>
                <a:gd name="connsiteX511" fmla="*/ 83773 w 146819"/>
                <a:gd name="connsiteY511" fmla="*/ 161501 h 397276"/>
                <a:gd name="connsiteX512" fmla="*/ 87660 w 146819"/>
                <a:gd name="connsiteY512" fmla="*/ 152001 h 397276"/>
                <a:gd name="connsiteX513" fmla="*/ 88092 w 146819"/>
                <a:gd name="connsiteY513" fmla="*/ 149410 h 397276"/>
                <a:gd name="connsiteX514" fmla="*/ 90683 w 146819"/>
                <a:gd name="connsiteY514" fmla="*/ 142933 h 397276"/>
                <a:gd name="connsiteX515" fmla="*/ 94569 w 146819"/>
                <a:gd name="connsiteY515" fmla="*/ 139047 h 397276"/>
                <a:gd name="connsiteX516" fmla="*/ 94569 w 146819"/>
                <a:gd name="connsiteY516" fmla="*/ 137319 h 397276"/>
                <a:gd name="connsiteX517" fmla="*/ 95433 w 146819"/>
                <a:gd name="connsiteY517" fmla="*/ 135160 h 397276"/>
                <a:gd name="connsiteX518" fmla="*/ 97592 w 146819"/>
                <a:gd name="connsiteY518" fmla="*/ 126956 h 397276"/>
                <a:gd name="connsiteX519" fmla="*/ 100183 w 146819"/>
                <a:gd name="connsiteY519" fmla="*/ 121774 h 397276"/>
                <a:gd name="connsiteX520" fmla="*/ 101478 w 146819"/>
                <a:gd name="connsiteY520" fmla="*/ 117887 h 397276"/>
                <a:gd name="connsiteX521" fmla="*/ 101910 w 146819"/>
                <a:gd name="connsiteY521" fmla="*/ 114865 h 397276"/>
                <a:gd name="connsiteX522" fmla="*/ 102342 w 146819"/>
                <a:gd name="connsiteY522" fmla="*/ 112705 h 397276"/>
                <a:gd name="connsiteX523" fmla="*/ 103637 w 146819"/>
                <a:gd name="connsiteY523" fmla="*/ 108387 h 397276"/>
                <a:gd name="connsiteX524" fmla="*/ 105796 w 146819"/>
                <a:gd name="connsiteY524" fmla="*/ 101910 h 397276"/>
                <a:gd name="connsiteX525" fmla="*/ 106660 w 146819"/>
                <a:gd name="connsiteY525" fmla="*/ 100614 h 397276"/>
                <a:gd name="connsiteX526" fmla="*/ 107524 w 146819"/>
                <a:gd name="connsiteY526" fmla="*/ 96728 h 397276"/>
                <a:gd name="connsiteX527" fmla="*/ 107956 w 146819"/>
                <a:gd name="connsiteY527" fmla="*/ 92842 h 397276"/>
                <a:gd name="connsiteX528" fmla="*/ 107956 w 146819"/>
                <a:gd name="connsiteY528" fmla="*/ 90683 h 397276"/>
                <a:gd name="connsiteX529" fmla="*/ 108819 w 146819"/>
                <a:gd name="connsiteY529" fmla="*/ 84205 h 397276"/>
                <a:gd name="connsiteX530" fmla="*/ 109683 w 146819"/>
                <a:gd name="connsiteY530" fmla="*/ 77728 h 397276"/>
                <a:gd name="connsiteX531" fmla="*/ 109683 w 146819"/>
                <a:gd name="connsiteY531" fmla="*/ 75137 h 397276"/>
                <a:gd name="connsiteX532" fmla="*/ 110115 w 146819"/>
                <a:gd name="connsiteY532" fmla="*/ 72546 h 397276"/>
                <a:gd name="connsiteX533" fmla="*/ 110115 w 146819"/>
                <a:gd name="connsiteY533" fmla="*/ 72114 h 397276"/>
                <a:gd name="connsiteX534" fmla="*/ 110978 w 146819"/>
                <a:gd name="connsiteY534" fmla="*/ 65205 h 397276"/>
                <a:gd name="connsiteX535" fmla="*/ 110978 w 146819"/>
                <a:gd name="connsiteY535" fmla="*/ 61319 h 397276"/>
                <a:gd name="connsiteX536" fmla="*/ 110115 w 146819"/>
                <a:gd name="connsiteY536" fmla="*/ 57864 h 397276"/>
                <a:gd name="connsiteX537" fmla="*/ 109683 w 146819"/>
                <a:gd name="connsiteY537" fmla="*/ 54841 h 397276"/>
                <a:gd name="connsiteX538" fmla="*/ 110115 w 146819"/>
                <a:gd name="connsiteY538" fmla="*/ 53546 h 397276"/>
                <a:gd name="connsiteX539" fmla="*/ 109683 w 146819"/>
                <a:gd name="connsiteY539" fmla="*/ 50955 h 397276"/>
                <a:gd name="connsiteX540" fmla="*/ 109683 w 146819"/>
                <a:gd name="connsiteY540" fmla="*/ 47932 h 397276"/>
                <a:gd name="connsiteX541" fmla="*/ 109251 w 146819"/>
                <a:gd name="connsiteY541" fmla="*/ 46205 h 397276"/>
                <a:gd name="connsiteX542" fmla="*/ 107092 w 146819"/>
                <a:gd name="connsiteY542" fmla="*/ 42319 h 397276"/>
                <a:gd name="connsiteX543" fmla="*/ 106228 w 146819"/>
                <a:gd name="connsiteY543" fmla="*/ 40591 h 397276"/>
                <a:gd name="connsiteX544" fmla="*/ 106228 w 146819"/>
                <a:gd name="connsiteY544" fmla="*/ 38864 h 397276"/>
                <a:gd name="connsiteX545" fmla="*/ 106228 w 146819"/>
                <a:gd name="connsiteY545" fmla="*/ 38000 h 397276"/>
                <a:gd name="connsiteX546" fmla="*/ 101046 w 146819"/>
                <a:gd name="connsiteY546" fmla="*/ 34546 h 397276"/>
                <a:gd name="connsiteX547" fmla="*/ 101046 w 146819"/>
                <a:gd name="connsiteY547" fmla="*/ 32818 h 397276"/>
                <a:gd name="connsiteX548" fmla="*/ 99319 w 146819"/>
                <a:gd name="connsiteY548" fmla="*/ 32818 h 397276"/>
                <a:gd name="connsiteX549" fmla="*/ 98887 w 146819"/>
                <a:gd name="connsiteY549" fmla="*/ 33682 h 397276"/>
                <a:gd name="connsiteX550" fmla="*/ 98887 w 146819"/>
                <a:gd name="connsiteY550" fmla="*/ 37568 h 397276"/>
                <a:gd name="connsiteX551" fmla="*/ 96728 w 146819"/>
                <a:gd name="connsiteY551" fmla="*/ 38432 h 397276"/>
                <a:gd name="connsiteX552" fmla="*/ 95001 w 146819"/>
                <a:gd name="connsiteY552" fmla="*/ 40591 h 397276"/>
                <a:gd name="connsiteX553" fmla="*/ 94569 w 146819"/>
                <a:gd name="connsiteY553" fmla="*/ 42319 h 397276"/>
                <a:gd name="connsiteX554" fmla="*/ 95001 w 146819"/>
                <a:gd name="connsiteY554" fmla="*/ 44046 h 397276"/>
                <a:gd name="connsiteX555" fmla="*/ 94569 w 146819"/>
                <a:gd name="connsiteY555" fmla="*/ 47069 h 397276"/>
                <a:gd name="connsiteX556" fmla="*/ 93274 w 146819"/>
                <a:gd name="connsiteY556" fmla="*/ 47500 h 397276"/>
                <a:gd name="connsiteX557" fmla="*/ 93705 w 146819"/>
                <a:gd name="connsiteY557" fmla="*/ 47932 h 397276"/>
                <a:gd name="connsiteX558" fmla="*/ 86796 w 146819"/>
                <a:gd name="connsiteY558" fmla="*/ 189570 h 397276"/>
                <a:gd name="connsiteX559" fmla="*/ 85933 w 146819"/>
                <a:gd name="connsiteY559" fmla="*/ 189138 h 397276"/>
                <a:gd name="connsiteX560" fmla="*/ 85501 w 146819"/>
                <a:gd name="connsiteY560" fmla="*/ 189138 h 397276"/>
                <a:gd name="connsiteX561" fmla="*/ 83773 w 146819"/>
                <a:gd name="connsiteY561" fmla="*/ 190865 h 397276"/>
                <a:gd name="connsiteX562" fmla="*/ 86796 w 146819"/>
                <a:gd name="connsiteY562" fmla="*/ 189570 h 397276"/>
                <a:gd name="connsiteX563" fmla="*/ 91978 w 146819"/>
                <a:gd name="connsiteY563" fmla="*/ 53546 h 397276"/>
                <a:gd name="connsiteX564" fmla="*/ 90251 w 146819"/>
                <a:gd name="connsiteY564" fmla="*/ 54841 h 397276"/>
                <a:gd name="connsiteX565" fmla="*/ 90683 w 146819"/>
                <a:gd name="connsiteY565" fmla="*/ 55273 h 397276"/>
                <a:gd name="connsiteX566" fmla="*/ 91978 w 146819"/>
                <a:gd name="connsiteY566" fmla="*/ 56137 h 397276"/>
                <a:gd name="connsiteX567" fmla="*/ 92842 w 146819"/>
                <a:gd name="connsiteY567" fmla="*/ 55273 h 397276"/>
                <a:gd name="connsiteX568" fmla="*/ 92842 w 146819"/>
                <a:gd name="connsiteY568" fmla="*/ 54841 h 397276"/>
                <a:gd name="connsiteX569" fmla="*/ 91978 w 146819"/>
                <a:gd name="connsiteY569" fmla="*/ 53546 h 397276"/>
                <a:gd name="connsiteX570" fmla="*/ 93705 w 146819"/>
                <a:gd name="connsiteY570" fmla="*/ 47932 h 397276"/>
                <a:gd name="connsiteX571" fmla="*/ 95433 w 146819"/>
                <a:gd name="connsiteY571" fmla="*/ 48364 h 397276"/>
                <a:gd name="connsiteX572" fmla="*/ 95865 w 146819"/>
                <a:gd name="connsiteY572" fmla="*/ 46205 h 397276"/>
                <a:gd name="connsiteX573" fmla="*/ 94569 w 146819"/>
                <a:gd name="connsiteY573" fmla="*/ 47069 h 397276"/>
                <a:gd name="connsiteX574" fmla="*/ 94569 w 146819"/>
                <a:gd name="connsiteY574" fmla="*/ 47932 h 397276"/>
                <a:gd name="connsiteX575" fmla="*/ 93705 w 146819"/>
                <a:gd name="connsiteY575" fmla="*/ 47932 h 397276"/>
                <a:gd name="connsiteX576" fmla="*/ 96728 w 146819"/>
                <a:gd name="connsiteY576" fmla="*/ 43182 h 397276"/>
                <a:gd name="connsiteX577" fmla="*/ 95865 w 146819"/>
                <a:gd name="connsiteY577" fmla="*/ 42750 h 397276"/>
                <a:gd name="connsiteX578" fmla="*/ 95433 w 146819"/>
                <a:gd name="connsiteY578" fmla="*/ 43182 h 397276"/>
                <a:gd name="connsiteX579" fmla="*/ 95865 w 146819"/>
                <a:gd name="connsiteY579" fmla="*/ 44478 h 397276"/>
                <a:gd name="connsiteX580" fmla="*/ 97160 w 146819"/>
                <a:gd name="connsiteY580" fmla="*/ 44478 h 397276"/>
                <a:gd name="connsiteX581" fmla="*/ 96728 w 146819"/>
                <a:gd name="connsiteY581" fmla="*/ 43182 h 397276"/>
                <a:gd name="connsiteX582" fmla="*/ 101478 w 146819"/>
                <a:gd name="connsiteY582" fmla="*/ 158479 h 397276"/>
                <a:gd name="connsiteX583" fmla="*/ 101910 w 146819"/>
                <a:gd name="connsiteY583" fmla="*/ 157183 h 397276"/>
                <a:gd name="connsiteX584" fmla="*/ 100615 w 146819"/>
                <a:gd name="connsiteY584" fmla="*/ 155888 h 397276"/>
                <a:gd name="connsiteX585" fmla="*/ 99319 w 146819"/>
                <a:gd name="connsiteY585" fmla="*/ 158479 h 397276"/>
                <a:gd name="connsiteX586" fmla="*/ 101478 w 146819"/>
                <a:gd name="connsiteY586" fmla="*/ 158479 h 397276"/>
                <a:gd name="connsiteX587" fmla="*/ 121774 w 146819"/>
                <a:gd name="connsiteY587" fmla="*/ 119615 h 397276"/>
                <a:gd name="connsiteX588" fmla="*/ 121774 w 146819"/>
                <a:gd name="connsiteY588" fmla="*/ 119183 h 397276"/>
                <a:gd name="connsiteX589" fmla="*/ 122206 w 146819"/>
                <a:gd name="connsiteY589" fmla="*/ 119615 h 397276"/>
                <a:gd name="connsiteX590" fmla="*/ 120478 w 146819"/>
                <a:gd name="connsiteY590" fmla="*/ 120910 h 397276"/>
                <a:gd name="connsiteX591" fmla="*/ 121774 w 146819"/>
                <a:gd name="connsiteY591" fmla="*/ 119615 h 397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</a:cxnLst>
              <a:rect l="l" t="t" r="r" b="b"/>
              <a:pathLst>
                <a:path w="146819" h="397276">
                  <a:moveTo>
                    <a:pt x="7773" y="375685"/>
                  </a:moveTo>
                  <a:cubicBezTo>
                    <a:pt x="7773" y="375685"/>
                    <a:pt x="7773" y="375253"/>
                    <a:pt x="6909" y="374822"/>
                  </a:cubicBezTo>
                  <a:cubicBezTo>
                    <a:pt x="6909" y="374390"/>
                    <a:pt x="7773" y="373526"/>
                    <a:pt x="7773" y="372662"/>
                  </a:cubicBezTo>
                  <a:cubicBezTo>
                    <a:pt x="7773" y="372662"/>
                    <a:pt x="7341" y="372662"/>
                    <a:pt x="7341" y="372231"/>
                  </a:cubicBezTo>
                  <a:cubicBezTo>
                    <a:pt x="6477" y="371799"/>
                    <a:pt x="6045" y="370503"/>
                    <a:pt x="5614" y="369640"/>
                  </a:cubicBezTo>
                  <a:lnTo>
                    <a:pt x="5182" y="369640"/>
                  </a:lnTo>
                  <a:cubicBezTo>
                    <a:pt x="5614" y="368776"/>
                    <a:pt x="5614" y="367912"/>
                    <a:pt x="5614" y="367912"/>
                  </a:cubicBezTo>
                  <a:lnTo>
                    <a:pt x="5614" y="364890"/>
                  </a:lnTo>
                  <a:cubicBezTo>
                    <a:pt x="5614" y="364026"/>
                    <a:pt x="5182" y="363162"/>
                    <a:pt x="4750" y="362299"/>
                  </a:cubicBezTo>
                  <a:cubicBezTo>
                    <a:pt x="4750" y="361867"/>
                    <a:pt x="2159" y="359276"/>
                    <a:pt x="2159" y="358412"/>
                  </a:cubicBezTo>
                  <a:cubicBezTo>
                    <a:pt x="2159" y="357980"/>
                    <a:pt x="2591" y="357549"/>
                    <a:pt x="2591" y="357117"/>
                  </a:cubicBezTo>
                  <a:cubicBezTo>
                    <a:pt x="2591" y="357117"/>
                    <a:pt x="2591" y="356685"/>
                    <a:pt x="2159" y="356685"/>
                  </a:cubicBezTo>
                  <a:cubicBezTo>
                    <a:pt x="1295" y="355821"/>
                    <a:pt x="1295" y="354094"/>
                    <a:pt x="1295" y="352367"/>
                  </a:cubicBezTo>
                  <a:cubicBezTo>
                    <a:pt x="1295" y="351503"/>
                    <a:pt x="432" y="351503"/>
                    <a:pt x="432" y="350639"/>
                  </a:cubicBezTo>
                  <a:lnTo>
                    <a:pt x="432" y="350208"/>
                  </a:lnTo>
                  <a:cubicBezTo>
                    <a:pt x="0" y="347617"/>
                    <a:pt x="0" y="345026"/>
                    <a:pt x="0" y="342435"/>
                  </a:cubicBezTo>
                  <a:cubicBezTo>
                    <a:pt x="0" y="335958"/>
                    <a:pt x="1295" y="328185"/>
                    <a:pt x="1295" y="320412"/>
                  </a:cubicBezTo>
                  <a:cubicBezTo>
                    <a:pt x="1727" y="319548"/>
                    <a:pt x="2591" y="318253"/>
                    <a:pt x="2591" y="317821"/>
                  </a:cubicBezTo>
                  <a:cubicBezTo>
                    <a:pt x="2591" y="316526"/>
                    <a:pt x="2591" y="315230"/>
                    <a:pt x="3023" y="314798"/>
                  </a:cubicBezTo>
                  <a:cubicBezTo>
                    <a:pt x="3886" y="314366"/>
                    <a:pt x="3886" y="314366"/>
                    <a:pt x="3886" y="313935"/>
                  </a:cubicBezTo>
                  <a:cubicBezTo>
                    <a:pt x="3886" y="313503"/>
                    <a:pt x="3886" y="313503"/>
                    <a:pt x="3455" y="313071"/>
                  </a:cubicBezTo>
                  <a:cubicBezTo>
                    <a:pt x="3455" y="312207"/>
                    <a:pt x="3886" y="310048"/>
                    <a:pt x="4318" y="309616"/>
                  </a:cubicBezTo>
                  <a:cubicBezTo>
                    <a:pt x="3455" y="309185"/>
                    <a:pt x="3023" y="308321"/>
                    <a:pt x="3023" y="307889"/>
                  </a:cubicBezTo>
                  <a:cubicBezTo>
                    <a:pt x="3023" y="307457"/>
                    <a:pt x="3455" y="307025"/>
                    <a:pt x="3455" y="306594"/>
                  </a:cubicBezTo>
                  <a:lnTo>
                    <a:pt x="3455" y="305730"/>
                  </a:lnTo>
                  <a:cubicBezTo>
                    <a:pt x="3455" y="304435"/>
                    <a:pt x="4318" y="303571"/>
                    <a:pt x="4318" y="302707"/>
                  </a:cubicBezTo>
                  <a:cubicBezTo>
                    <a:pt x="4318" y="302275"/>
                    <a:pt x="3886" y="301844"/>
                    <a:pt x="3455" y="301412"/>
                  </a:cubicBezTo>
                  <a:lnTo>
                    <a:pt x="3455" y="300116"/>
                  </a:lnTo>
                  <a:cubicBezTo>
                    <a:pt x="4750" y="299253"/>
                    <a:pt x="5182" y="297525"/>
                    <a:pt x="5182" y="296662"/>
                  </a:cubicBezTo>
                  <a:lnTo>
                    <a:pt x="5182" y="295798"/>
                  </a:lnTo>
                  <a:cubicBezTo>
                    <a:pt x="5182" y="295366"/>
                    <a:pt x="5182" y="294934"/>
                    <a:pt x="5614" y="294503"/>
                  </a:cubicBezTo>
                  <a:lnTo>
                    <a:pt x="5614" y="291480"/>
                  </a:lnTo>
                  <a:cubicBezTo>
                    <a:pt x="5614" y="289753"/>
                    <a:pt x="5614" y="288025"/>
                    <a:pt x="6045" y="286298"/>
                  </a:cubicBezTo>
                  <a:lnTo>
                    <a:pt x="6045" y="284571"/>
                  </a:lnTo>
                  <a:cubicBezTo>
                    <a:pt x="6477" y="284139"/>
                    <a:pt x="6477" y="284139"/>
                    <a:pt x="6477" y="283707"/>
                  </a:cubicBezTo>
                  <a:lnTo>
                    <a:pt x="6477" y="282843"/>
                  </a:lnTo>
                  <a:cubicBezTo>
                    <a:pt x="6045" y="282412"/>
                    <a:pt x="6045" y="281980"/>
                    <a:pt x="6045" y="281980"/>
                  </a:cubicBezTo>
                  <a:cubicBezTo>
                    <a:pt x="6477" y="280253"/>
                    <a:pt x="7341" y="278957"/>
                    <a:pt x="7341" y="277230"/>
                  </a:cubicBezTo>
                  <a:lnTo>
                    <a:pt x="7341" y="276366"/>
                  </a:lnTo>
                  <a:cubicBezTo>
                    <a:pt x="8205" y="275934"/>
                    <a:pt x="8205" y="274207"/>
                    <a:pt x="8636" y="273775"/>
                  </a:cubicBezTo>
                  <a:lnTo>
                    <a:pt x="8636" y="269889"/>
                  </a:lnTo>
                  <a:cubicBezTo>
                    <a:pt x="8636" y="269457"/>
                    <a:pt x="8636" y="269457"/>
                    <a:pt x="9068" y="269025"/>
                  </a:cubicBezTo>
                  <a:lnTo>
                    <a:pt x="9500" y="268593"/>
                  </a:lnTo>
                  <a:cubicBezTo>
                    <a:pt x="9068" y="268161"/>
                    <a:pt x="9068" y="267730"/>
                    <a:pt x="9068" y="267298"/>
                  </a:cubicBezTo>
                  <a:cubicBezTo>
                    <a:pt x="9068" y="266434"/>
                    <a:pt x="9500" y="265571"/>
                    <a:pt x="9500" y="265139"/>
                  </a:cubicBezTo>
                  <a:cubicBezTo>
                    <a:pt x="9932" y="263843"/>
                    <a:pt x="9932" y="262980"/>
                    <a:pt x="10364" y="262980"/>
                  </a:cubicBezTo>
                  <a:cubicBezTo>
                    <a:pt x="10364" y="262548"/>
                    <a:pt x="10796" y="262548"/>
                    <a:pt x="10364" y="262548"/>
                  </a:cubicBezTo>
                  <a:cubicBezTo>
                    <a:pt x="9932" y="261684"/>
                    <a:pt x="9932" y="261252"/>
                    <a:pt x="9932" y="260821"/>
                  </a:cubicBezTo>
                  <a:lnTo>
                    <a:pt x="9932" y="259957"/>
                  </a:lnTo>
                  <a:cubicBezTo>
                    <a:pt x="9932" y="259525"/>
                    <a:pt x="10364" y="259525"/>
                    <a:pt x="10796" y="258661"/>
                  </a:cubicBezTo>
                  <a:cubicBezTo>
                    <a:pt x="10796" y="258661"/>
                    <a:pt x="11227" y="258661"/>
                    <a:pt x="11227" y="258230"/>
                  </a:cubicBezTo>
                  <a:cubicBezTo>
                    <a:pt x="11227" y="258230"/>
                    <a:pt x="11227" y="257798"/>
                    <a:pt x="10796" y="257798"/>
                  </a:cubicBezTo>
                  <a:cubicBezTo>
                    <a:pt x="10796" y="256934"/>
                    <a:pt x="12091" y="255639"/>
                    <a:pt x="12091" y="254775"/>
                  </a:cubicBezTo>
                  <a:lnTo>
                    <a:pt x="11659" y="254343"/>
                  </a:lnTo>
                  <a:cubicBezTo>
                    <a:pt x="12091" y="253479"/>
                    <a:pt x="12091" y="251752"/>
                    <a:pt x="12091" y="251752"/>
                  </a:cubicBezTo>
                  <a:lnTo>
                    <a:pt x="12091" y="250457"/>
                  </a:lnTo>
                  <a:cubicBezTo>
                    <a:pt x="12523" y="248729"/>
                    <a:pt x="12523" y="247434"/>
                    <a:pt x="13387" y="245275"/>
                  </a:cubicBezTo>
                  <a:cubicBezTo>
                    <a:pt x="13818" y="245275"/>
                    <a:pt x="13818" y="244843"/>
                    <a:pt x="13818" y="244843"/>
                  </a:cubicBezTo>
                  <a:cubicBezTo>
                    <a:pt x="13818" y="244843"/>
                    <a:pt x="13818" y="244411"/>
                    <a:pt x="13387" y="244411"/>
                  </a:cubicBezTo>
                  <a:cubicBezTo>
                    <a:pt x="13818" y="243548"/>
                    <a:pt x="14250" y="241820"/>
                    <a:pt x="14682" y="241389"/>
                  </a:cubicBezTo>
                  <a:cubicBezTo>
                    <a:pt x="14682" y="240525"/>
                    <a:pt x="15114" y="239661"/>
                    <a:pt x="15114" y="238798"/>
                  </a:cubicBezTo>
                  <a:lnTo>
                    <a:pt x="15114" y="238366"/>
                  </a:lnTo>
                  <a:cubicBezTo>
                    <a:pt x="14682" y="237934"/>
                    <a:pt x="14682" y="237502"/>
                    <a:pt x="14682" y="237502"/>
                  </a:cubicBezTo>
                  <a:cubicBezTo>
                    <a:pt x="14682" y="236638"/>
                    <a:pt x="15114" y="236638"/>
                    <a:pt x="15114" y="236638"/>
                  </a:cubicBezTo>
                  <a:cubicBezTo>
                    <a:pt x="15546" y="235775"/>
                    <a:pt x="15977" y="234911"/>
                    <a:pt x="17273" y="233616"/>
                  </a:cubicBezTo>
                  <a:cubicBezTo>
                    <a:pt x="17273" y="233184"/>
                    <a:pt x="16409" y="231888"/>
                    <a:pt x="16409" y="231025"/>
                  </a:cubicBezTo>
                  <a:lnTo>
                    <a:pt x="16409" y="230161"/>
                  </a:lnTo>
                  <a:cubicBezTo>
                    <a:pt x="18137" y="228002"/>
                    <a:pt x="18137" y="227138"/>
                    <a:pt x="18568" y="224979"/>
                  </a:cubicBezTo>
                  <a:cubicBezTo>
                    <a:pt x="18568" y="224547"/>
                    <a:pt x="19000" y="222388"/>
                    <a:pt x="19432" y="221957"/>
                  </a:cubicBezTo>
                  <a:lnTo>
                    <a:pt x="19000" y="221525"/>
                  </a:lnTo>
                  <a:cubicBezTo>
                    <a:pt x="19000" y="219797"/>
                    <a:pt x="19432" y="219366"/>
                    <a:pt x="20296" y="218934"/>
                  </a:cubicBezTo>
                  <a:lnTo>
                    <a:pt x="21159" y="214184"/>
                  </a:lnTo>
                  <a:lnTo>
                    <a:pt x="21159" y="212456"/>
                  </a:lnTo>
                  <a:cubicBezTo>
                    <a:pt x="21159" y="210729"/>
                    <a:pt x="21591" y="209434"/>
                    <a:pt x="22455" y="207706"/>
                  </a:cubicBezTo>
                  <a:cubicBezTo>
                    <a:pt x="22455" y="207275"/>
                    <a:pt x="23318" y="205547"/>
                    <a:pt x="23318" y="205115"/>
                  </a:cubicBezTo>
                  <a:cubicBezTo>
                    <a:pt x="23750" y="204252"/>
                    <a:pt x="23750" y="202525"/>
                    <a:pt x="23750" y="202525"/>
                  </a:cubicBezTo>
                  <a:cubicBezTo>
                    <a:pt x="24182" y="200797"/>
                    <a:pt x="24182" y="199934"/>
                    <a:pt x="25477" y="198206"/>
                  </a:cubicBezTo>
                  <a:lnTo>
                    <a:pt x="25046" y="197343"/>
                  </a:lnTo>
                  <a:cubicBezTo>
                    <a:pt x="25046" y="195615"/>
                    <a:pt x="25046" y="195184"/>
                    <a:pt x="25477" y="194752"/>
                  </a:cubicBezTo>
                  <a:lnTo>
                    <a:pt x="25477" y="193456"/>
                  </a:lnTo>
                  <a:cubicBezTo>
                    <a:pt x="25909" y="193456"/>
                    <a:pt x="25909" y="193024"/>
                    <a:pt x="25909" y="193024"/>
                  </a:cubicBezTo>
                  <a:cubicBezTo>
                    <a:pt x="25909" y="192593"/>
                    <a:pt x="25477" y="192161"/>
                    <a:pt x="25477" y="191297"/>
                  </a:cubicBezTo>
                  <a:cubicBezTo>
                    <a:pt x="26773" y="190433"/>
                    <a:pt x="27205" y="189570"/>
                    <a:pt x="27205" y="189570"/>
                  </a:cubicBezTo>
                  <a:lnTo>
                    <a:pt x="27205" y="186979"/>
                  </a:lnTo>
                  <a:cubicBezTo>
                    <a:pt x="27637" y="186547"/>
                    <a:pt x="28500" y="186115"/>
                    <a:pt x="28500" y="185252"/>
                  </a:cubicBezTo>
                  <a:cubicBezTo>
                    <a:pt x="28500" y="184820"/>
                    <a:pt x="28068" y="184388"/>
                    <a:pt x="28068" y="184388"/>
                  </a:cubicBezTo>
                  <a:lnTo>
                    <a:pt x="28068" y="183524"/>
                  </a:lnTo>
                  <a:cubicBezTo>
                    <a:pt x="29364" y="182661"/>
                    <a:pt x="29364" y="181797"/>
                    <a:pt x="29364" y="180502"/>
                  </a:cubicBezTo>
                  <a:cubicBezTo>
                    <a:pt x="29364" y="180070"/>
                    <a:pt x="29796" y="179638"/>
                    <a:pt x="30228" y="179206"/>
                  </a:cubicBezTo>
                  <a:cubicBezTo>
                    <a:pt x="30228" y="178774"/>
                    <a:pt x="30659" y="178342"/>
                    <a:pt x="30659" y="177911"/>
                  </a:cubicBezTo>
                  <a:cubicBezTo>
                    <a:pt x="30659" y="177911"/>
                    <a:pt x="30659" y="177479"/>
                    <a:pt x="30228" y="177479"/>
                  </a:cubicBezTo>
                  <a:lnTo>
                    <a:pt x="30228" y="176183"/>
                  </a:lnTo>
                  <a:cubicBezTo>
                    <a:pt x="30228" y="175752"/>
                    <a:pt x="31955" y="175320"/>
                    <a:pt x="31955" y="174024"/>
                  </a:cubicBezTo>
                  <a:cubicBezTo>
                    <a:pt x="31955" y="173592"/>
                    <a:pt x="32387" y="173161"/>
                    <a:pt x="31955" y="173161"/>
                  </a:cubicBezTo>
                  <a:lnTo>
                    <a:pt x="31955" y="170570"/>
                  </a:lnTo>
                  <a:cubicBezTo>
                    <a:pt x="32387" y="170138"/>
                    <a:pt x="32387" y="169706"/>
                    <a:pt x="32387" y="169274"/>
                  </a:cubicBezTo>
                  <a:cubicBezTo>
                    <a:pt x="32819" y="168842"/>
                    <a:pt x="32819" y="167115"/>
                    <a:pt x="33250" y="167115"/>
                  </a:cubicBezTo>
                  <a:cubicBezTo>
                    <a:pt x="33250" y="166252"/>
                    <a:pt x="33250" y="165820"/>
                    <a:pt x="33682" y="164524"/>
                  </a:cubicBezTo>
                  <a:cubicBezTo>
                    <a:pt x="33682" y="163229"/>
                    <a:pt x="33682" y="162365"/>
                    <a:pt x="34114" y="161070"/>
                  </a:cubicBezTo>
                  <a:cubicBezTo>
                    <a:pt x="34114" y="160638"/>
                    <a:pt x="35841" y="158910"/>
                    <a:pt x="35841" y="158910"/>
                  </a:cubicBezTo>
                  <a:cubicBezTo>
                    <a:pt x="35841" y="157183"/>
                    <a:pt x="35841" y="156320"/>
                    <a:pt x="36273" y="154160"/>
                  </a:cubicBezTo>
                  <a:cubicBezTo>
                    <a:pt x="36273" y="153297"/>
                    <a:pt x="36705" y="152433"/>
                    <a:pt x="36705" y="151138"/>
                  </a:cubicBezTo>
                  <a:cubicBezTo>
                    <a:pt x="37569" y="150274"/>
                    <a:pt x="37569" y="149842"/>
                    <a:pt x="37569" y="149410"/>
                  </a:cubicBezTo>
                  <a:cubicBezTo>
                    <a:pt x="37137" y="148547"/>
                    <a:pt x="37137" y="148115"/>
                    <a:pt x="37137" y="147683"/>
                  </a:cubicBezTo>
                  <a:cubicBezTo>
                    <a:pt x="37137" y="147251"/>
                    <a:pt x="37137" y="147251"/>
                    <a:pt x="37569" y="146820"/>
                  </a:cubicBezTo>
                  <a:cubicBezTo>
                    <a:pt x="37569" y="146388"/>
                    <a:pt x="38432" y="145524"/>
                    <a:pt x="38864" y="145092"/>
                  </a:cubicBezTo>
                  <a:cubicBezTo>
                    <a:pt x="38864" y="143365"/>
                    <a:pt x="39296" y="140774"/>
                    <a:pt x="39728" y="139910"/>
                  </a:cubicBezTo>
                  <a:cubicBezTo>
                    <a:pt x="39728" y="138183"/>
                    <a:pt x="40591" y="137751"/>
                    <a:pt x="40591" y="137319"/>
                  </a:cubicBezTo>
                  <a:lnTo>
                    <a:pt x="41887" y="131706"/>
                  </a:lnTo>
                  <a:cubicBezTo>
                    <a:pt x="41887" y="131706"/>
                    <a:pt x="42319" y="131274"/>
                    <a:pt x="42750" y="130410"/>
                  </a:cubicBezTo>
                  <a:cubicBezTo>
                    <a:pt x="42750" y="129547"/>
                    <a:pt x="44046" y="128683"/>
                    <a:pt x="44478" y="126956"/>
                  </a:cubicBezTo>
                  <a:cubicBezTo>
                    <a:pt x="44909" y="126092"/>
                    <a:pt x="45341" y="125228"/>
                    <a:pt x="44909" y="125228"/>
                  </a:cubicBezTo>
                  <a:lnTo>
                    <a:pt x="44909" y="124365"/>
                  </a:lnTo>
                  <a:cubicBezTo>
                    <a:pt x="45773" y="121774"/>
                    <a:pt x="46205" y="119615"/>
                    <a:pt x="47069" y="117887"/>
                  </a:cubicBezTo>
                  <a:lnTo>
                    <a:pt x="47500" y="117887"/>
                  </a:lnTo>
                  <a:lnTo>
                    <a:pt x="47500" y="117456"/>
                  </a:lnTo>
                  <a:cubicBezTo>
                    <a:pt x="47500" y="116592"/>
                    <a:pt x="47932" y="116592"/>
                    <a:pt x="48364" y="115728"/>
                  </a:cubicBezTo>
                  <a:cubicBezTo>
                    <a:pt x="48364" y="115296"/>
                    <a:pt x="48796" y="113137"/>
                    <a:pt x="48796" y="112274"/>
                  </a:cubicBezTo>
                  <a:cubicBezTo>
                    <a:pt x="50091" y="112274"/>
                    <a:pt x="50091" y="111842"/>
                    <a:pt x="50091" y="111842"/>
                  </a:cubicBezTo>
                  <a:cubicBezTo>
                    <a:pt x="49660" y="111410"/>
                    <a:pt x="49660" y="110546"/>
                    <a:pt x="49660" y="110115"/>
                  </a:cubicBezTo>
                  <a:cubicBezTo>
                    <a:pt x="49660" y="109251"/>
                    <a:pt x="50091" y="108387"/>
                    <a:pt x="50091" y="107092"/>
                  </a:cubicBezTo>
                  <a:cubicBezTo>
                    <a:pt x="50523" y="105796"/>
                    <a:pt x="50955" y="104501"/>
                    <a:pt x="50955" y="103205"/>
                  </a:cubicBezTo>
                  <a:cubicBezTo>
                    <a:pt x="50955" y="102774"/>
                    <a:pt x="50955" y="101478"/>
                    <a:pt x="52251" y="100183"/>
                  </a:cubicBezTo>
                  <a:cubicBezTo>
                    <a:pt x="52682" y="100183"/>
                    <a:pt x="52682" y="99751"/>
                    <a:pt x="52682" y="99319"/>
                  </a:cubicBezTo>
                  <a:cubicBezTo>
                    <a:pt x="52682" y="98024"/>
                    <a:pt x="53546" y="96728"/>
                    <a:pt x="53978" y="95433"/>
                  </a:cubicBezTo>
                  <a:lnTo>
                    <a:pt x="53978" y="94569"/>
                  </a:lnTo>
                  <a:cubicBezTo>
                    <a:pt x="53978" y="93705"/>
                    <a:pt x="54841" y="93705"/>
                    <a:pt x="54841" y="92842"/>
                  </a:cubicBezTo>
                  <a:lnTo>
                    <a:pt x="54841" y="91978"/>
                  </a:lnTo>
                  <a:cubicBezTo>
                    <a:pt x="54841" y="91114"/>
                    <a:pt x="55273" y="89819"/>
                    <a:pt x="55705" y="88955"/>
                  </a:cubicBezTo>
                  <a:cubicBezTo>
                    <a:pt x="56569" y="88955"/>
                    <a:pt x="56569" y="88524"/>
                    <a:pt x="56569" y="88524"/>
                  </a:cubicBezTo>
                  <a:cubicBezTo>
                    <a:pt x="56137" y="88092"/>
                    <a:pt x="56137" y="88092"/>
                    <a:pt x="56137" y="87660"/>
                  </a:cubicBezTo>
                  <a:cubicBezTo>
                    <a:pt x="56137" y="86796"/>
                    <a:pt x="57001" y="86364"/>
                    <a:pt x="58296" y="85501"/>
                  </a:cubicBezTo>
                  <a:cubicBezTo>
                    <a:pt x="58296" y="85501"/>
                    <a:pt x="58296" y="85069"/>
                    <a:pt x="57432" y="83773"/>
                  </a:cubicBezTo>
                  <a:cubicBezTo>
                    <a:pt x="57432" y="83342"/>
                    <a:pt x="57432" y="83342"/>
                    <a:pt x="58296" y="82910"/>
                  </a:cubicBezTo>
                  <a:cubicBezTo>
                    <a:pt x="60023" y="79887"/>
                    <a:pt x="60887" y="76864"/>
                    <a:pt x="61319" y="72114"/>
                  </a:cubicBezTo>
                  <a:lnTo>
                    <a:pt x="61751" y="71682"/>
                  </a:lnTo>
                  <a:cubicBezTo>
                    <a:pt x="62182" y="71251"/>
                    <a:pt x="62182" y="69955"/>
                    <a:pt x="62614" y="69523"/>
                  </a:cubicBezTo>
                  <a:lnTo>
                    <a:pt x="62614" y="69092"/>
                  </a:lnTo>
                  <a:cubicBezTo>
                    <a:pt x="62614" y="67796"/>
                    <a:pt x="63910" y="67364"/>
                    <a:pt x="64341" y="66069"/>
                  </a:cubicBezTo>
                  <a:cubicBezTo>
                    <a:pt x="64773" y="66069"/>
                    <a:pt x="64773" y="65205"/>
                    <a:pt x="64773" y="63910"/>
                  </a:cubicBezTo>
                  <a:lnTo>
                    <a:pt x="64773" y="63478"/>
                  </a:lnTo>
                  <a:cubicBezTo>
                    <a:pt x="65637" y="62182"/>
                    <a:pt x="65637" y="60455"/>
                    <a:pt x="66932" y="58296"/>
                  </a:cubicBezTo>
                  <a:lnTo>
                    <a:pt x="66932" y="57864"/>
                  </a:lnTo>
                  <a:cubicBezTo>
                    <a:pt x="67364" y="56569"/>
                    <a:pt x="67364" y="55705"/>
                    <a:pt x="68228" y="54841"/>
                  </a:cubicBezTo>
                  <a:cubicBezTo>
                    <a:pt x="68660" y="54409"/>
                    <a:pt x="69092" y="54409"/>
                    <a:pt x="69092" y="53546"/>
                  </a:cubicBezTo>
                  <a:lnTo>
                    <a:pt x="69092" y="52250"/>
                  </a:lnTo>
                  <a:cubicBezTo>
                    <a:pt x="69092" y="52250"/>
                    <a:pt x="69092" y="51819"/>
                    <a:pt x="69523" y="51387"/>
                  </a:cubicBezTo>
                  <a:cubicBezTo>
                    <a:pt x="69955" y="49228"/>
                    <a:pt x="70387" y="47500"/>
                    <a:pt x="72546" y="44478"/>
                  </a:cubicBezTo>
                  <a:cubicBezTo>
                    <a:pt x="72978" y="41887"/>
                    <a:pt x="73410" y="39296"/>
                    <a:pt x="75137" y="35841"/>
                  </a:cubicBezTo>
                  <a:lnTo>
                    <a:pt x="75137" y="35409"/>
                  </a:lnTo>
                  <a:lnTo>
                    <a:pt x="77728" y="30228"/>
                  </a:lnTo>
                  <a:cubicBezTo>
                    <a:pt x="78160" y="28500"/>
                    <a:pt x="79023" y="27637"/>
                    <a:pt x="80319" y="25046"/>
                  </a:cubicBezTo>
                  <a:cubicBezTo>
                    <a:pt x="80319" y="25046"/>
                    <a:pt x="80319" y="24614"/>
                    <a:pt x="80751" y="24182"/>
                  </a:cubicBezTo>
                  <a:cubicBezTo>
                    <a:pt x="80751" y="22455"/>
                    <a:pt x="81183" y="22023"/>
                    <a:pt x="81614" y="21591"/>
                  </a:cubicBezTo>
                  <a:lnTo>
                    <a:pt x="82478" y="19864"/>
                  </a:lnTo>
                  <a:lnTo>
                    <a:pt x="82478" y="18568"/>
                  </a:lnTo>
                  <a:cubicBezTo>
                    <a:pt x="82910" y="17705"/>
                    <a:pt x="84205" y="16409"/>
                    <a:pt x="84205" y="15545"/>
                  </a:cubicBezTo>
                  <a:cubicBezTo>
                    <a:pt x="85501" y="14682"/>
                    <a:pt x="86364" y="13386"/>
                    <a:pt x="86796" y="12091"/>
                  </a:cubicBezTo>
                  <a:lnTo>
                    <a:pt x="89387" y="8636"/>
                  </a:lnTo>
                  <a:cubicBezTo>
                    <a:pt x="90251" y="7341"/>
                    <a:pt x="91115" y="5614"/>
                    <a:pt x="93274" y="4750"/>
                  </a:cubicBezTo>
                  <a:cubicBezTo>
                    <a:pt x="93705" y="4318"/>
                    <a:pt x="94137" y="2591"/>
                    <a:pt x="95433" y="2159"/>
                  </a:cubicBezTo>
                  <a:cubicBezTo>
                    <a:pt x="96728" y="2159"/>
                    <a:pt x="96728" y="2159"/>
                    <a:pt x="97160" y="1727"/>
                  </a:cubicBezTo>
                  <a:cubicBezTo>
                    <a:pt x="98887" y="1295"/>
                    <a:pt x="100183" y="1295"/>
                    <a:pt x="101910" y="432"/>
                  </a:cubicBezTo>
                  <a:cubicBezTo>
                    <a:pt x="103205" y="0"/>
                    <a:pt x="104501" y="0"/>
                    <a:pt x="106660" y="0"/>
                  </a:cubicBezTo>
                  <a:cubicBezTo>
                    <a:pt x="107524" y="0"/>
                    <a:pt x="107956" y="0"/>
                    <a:pt x="108819" y="432"/>
                  </a:cubicBezTo>
                  <a:lnTo>
                    <a:pt x="110546" y="432"/>
                  </a:lnTo>
                  <a:cubicBezTo>
                    <a:pt x="111842" y="432"/>
                    <a:pt x="112706" y="1295"/>
                    <a:pt x="113137" y="1727"/>
                  </a:cubicBezTo>
                  <a:cubicBezTo>
                    <a:pt x="114433" y="2159"/>
                    <a:pt x="114865" y="2591"/>
                    <a:pt x="115728" y="4318"/>
                  </a:cubicBezTo>
                  <a:cubicBezTo>
                    <a:pt x="117024" y="4750"/>
                    <a:pt x="117887" y="5614"/>
                    <a:pt x="119615" y="6909"/>
                  </a:cubicBezTo>
                  <a:cubicBezTo>
                    <a:pt x="119615" y="7773"/>
                    <a:pt x="121342" y="8205"/>
                    <a:pt x="121774" y="9068"/>
                  </a:cubicBezTo>
                  <a:lnTo>
                    <a:pt x="123501" y="12523"/>
                  </a:lnTo>
                  <a:cubicBezTo>
                    <a:pt x="123501" y="12523"/>
                    <a:pt x="124365" y="13818"/>
                    <a:pt x="124365" y="14250"/>
                  </a:cubicBezTo>
                  <a:cubicBezTo>
                    <a:pt x="126524" y="14682"/>
                    <a:pt x="126524" y="15977"/>
                    <a:pt x="126524" y="17273"/>
                  </a:cubicBezTo>
                  <a:cubicBezTo>
                    <a:pt x="126524" y="17705"/>
                    <a:pt x="126956" y="18136"/>
                    <a:pt x="126956" y="18568"/>
                  </a:cubicBezTo>
                  <a:cubicBezTo>
                    <a:pt x="127388" y="18568"/>
                    <a:pt x="127388" y="19432"/>
                    <a:pt x="127819" y="19864"/>
                  </a:cubicBezTo>
                  <a:cubicBezTo>
                    <a:pt x="127819" y="21591"/>
                    <a:pt x="129115" y="22023"/>
                    <a:pt x="129115" y="23750"/>
                  </a:cubicBezTo>
                  <a:lnTo>
                    <a:pt x="129115" y="30659"/>
                  </a:lnTo>
                  <a:cubicBezTo>
                    <a:pt x="129115" y="32818"/>
                    <a:pt x="129115" y="34114"/>
                    <a:pt x="129978" y="34114"/>
                  </a:cubicBezTo>
                  <a:cubicBezTo>
                    <a:pt x="131706" y="35841"/>
                    <a:pt x="131274" y="38000"/>
                    <a:pt x="131706" y="39296"/>
                  </a:cubicBezTo>
                  <a:lnTo>
                    <a:pt x="131706" y="41455"/>
                  </a:lnTo>
                  <a:cubicBezTo>
                    <a:pt x="131274" y="41887"/>
                    <a:pt x="131274" y="42319"/>
                    <a:pt x="131274" y="42319"/>
                  </a:cubicBezTo>
                  <a:cubicBezTo>
                    <a:pt x="131706" y="44046"/>
                    <a:pt x="132569" y="44046"/>
                    <a:pt x="132138" y="44478"/>
                  </a:cubicBezTo>
                  <a:cubicBezTo>
                    <a:pt x="132138" y="45773"/>
                    <a:pt x="132138" y="46637"/>
                    <a:pt x="131706" y="47069"/>
                  </a:cubicBezTo>
                  <a:cubicBezTo>
                    <a:pt x="131706" y="48364"/>
                    <a:pt x="132138" y="49228"/>
                    <a:pt x="132138" y="50091"/>
                  </a:cubicBezTo>
                  <a:cubicBezTo>
                    <a:pt x="132138" y="50955"/>
                    <a:pt x="132569" y="52682"/>
                    <a:pt x="133001" y="53546"/>
                  </a:cubicBezTo>
                  <a:lnTo>
                    <a:pt x="133001" y="54409"/>
                  </a:lnTo>
                  <a:cubicBezTo>
                    <a:pt x="132569" y="55705"/>
                    <a:pt x="132569" y="57000"/>
                    <a:pt x="132569" y="57864"/>
                  </a:cubicBezTo>
                  <a:lnTo>
                    <a:pt x="132569" y="59591"/>
                  </a:lnTo>
                  <a:cubicBezTo>
                    <a:pt x="132569" y="60023"/>
                    <a:pt x="133001" y="60455"/>
                    <a:pt x="133001" y="60887"/>
                  </a:cubicBezTo>
                  <a:cubicBezTo>
                    <a:pt x="132569" y="62182"/>
                    <a:pt x="132569" y="62614"/>
                    <a:pt x="132569" y="63046"/>
                  </a:cubicBezTo>
                  <a:cubicBezTo>
                    <a:pt x="132569" y="63910"/>
                    <a:pt x="132569" y="64341"/>
                    <a:pt x="132138" y="65205"/>
                  </a:cubicBezTo>
                  <a:cubicBezTo>
                    <a:pt x="131274" y="65637"/>
                    <a:pt x="130842" y="66069"/>
                    <a:pt x="130842" y="66932"/>
                  </a:cubicBezTo>
                  <a:cubicBezTo>
                    <a:pt x="130842" y="67364"/>
                    <a:pt x="130842" y="68228"/>
                    <a:pt x="131274" y="68660"/>
                  </a:cubicBezTo>
                  <a:lnTo>
                    <a:pt x="131274" y="70819"/>
                  </a:lnTo>
                  <a:cubicBezTo>
                    <a:pt x="131274" y="71251"/>
                    <a:pt x="130842" y="72546"/>
                    <a:pt x="128683" y="72978"/>
                  </a:cubicBezTo>
                  <a:cubicBezTo>
                    <a:pt x="128683" y="73410"/>
                    <a:pt x="128683" y="73841"/>
                    <a:pt x="129978" y="73841"/>
                  </a:cubicBezTo>
                  <a:lnTo>
                    <a:pt x="129978" y="74705"/>
                  </a:lnTo>
                  <a:cubicBezTo>
                    <a:pt x="129547" y="74705"/>
                    <a:pt x="129547" y="75137"/>
                    <a:pt x="129547" y="75137"/>
                  </a:cubicBezTo>
                  <a:cubicBezTo>
                    <a:pt x="129547" y="75569"/>
                    <a:pt x="129978" y="76001"/>
                    <a:pt x="130410" y="76432"/>
                  </a:cubicBezTo>
                  <a:lnTo>
                    <a:pt x="130410" y="77296"/>
                  </a:lnTo>
                  <a:cubicBezTo>
                    <a:pt x="129115" y="78160"/>
                    <a:pt x="128683" y="78592"/>
                    <a:pt x="128683" y="79455"/>
                  </a:cubicBezTo>
                  <a:cubicBezTo>
                    <a:pt x="128683" y="80319"/>
                    <a:pt x="129115" y="80751"/>
                    <a:pt x="129978" y="82046"/>
                  </a:cubicBezTo>
                  <a:lnTo>
                    <a:pt x="130410" y="82046"/>
                  </a:lnTo>
                  <a:lnTo>
                    <a:pt x="130410" y="85933"/>
                  </a:lnTo>
                  <a:cubicBezTo>
                    <a:pt x="129978" y="88092"/>
                    <a:pt x="128251" y="90683"/>
                    <a:pt x="126956" y="91546"/>
                  </a:cubicBezTo>
                  <a:cubicBezTo>
                    <a:pt x="126956" y="91978"/>
                    <a:pt x="127388" y="92410"/>
                    <a:pt x="127388" y="92410"/>
                  </a:cubicBezTo>
                  <a:cubicBezTo>
                    <a:pt x="127388" y="92842"/>
                    <a:pt x="126956" y="92842"/>
                    <a:pt x="126956" y="92842"/>
                  </a:cubicBezTo>
                  <a:cubicBezTo>
                    <a:pt x="126092" y="92842"/>
                    <a:pt x="125660" y="92842"/>
                    <a:pt x="125660" y="93705"/>
                  </a:cubicBezTo>
                  <a:lnTo>
                    <a:pt x="125660" y="95001"/>
                  </a:lnTo>
                  <a:cubicBezTo>
                    <a:pt x="124365" y="95864"/>
                    <a:pt x="123933" y="96296"/>
                    <a:pt x="123933" y="97160"/>
                  </a:cubicBezTo>
                  <a:lnTo>
                    <a:pt x="123933" y="97592"/>
                  </a:lnTo>
                  <a:cubicBezTo>
                    <a:pt x="123933" y="98455"/>
                    <a:pt x="123501" y="99319"/>
                    <a:pt x="123501" y="100614"/>
                  </a:cubicBezTo>
                  <a:cubicBezTo>
                    <a:pt x="123069" y="101910"/>
                    <a:pt x="123069" y="102342"/>
                    <a:pt x="123069" y="102774"/>
                  </a:cubicBezTo>
                  <a:cubicBezTo>
                    <a:pt x="123069" y="103637"/>
                    <a:pt x="122637" y="104069"/>
                    <a:pt x="122637" y="104501"/>
                  </a:cubicBezTo>
                  <a:cubicBezTo>
                    <a:pt x="122206" y="106228"/>
                    <a:pt x="122206" y="107956"/>
                    <a:pt x="120478" y="108387"/>
                  </a:cubicBezTo>
                  <a:lnTo>
                    <a:pt x="120478" y="109251"/>
                  </a:lnTo>
                  <a:cubicBezTo>
                    <a:pt x="120478" y="109251"/>
                    <a:pt x="120478" y="110546"/>
                    <a:pt x="120047" y="110978"/>
                  </a:cubicBezTo>
                  <a:cubicBezTo>
                    <a:pt x="119615" y="111410"/>
                    <a:pt x="119615" y="111842"/>
                    <a:pt x="119615" y="112274"/>
                  </a:cubicBezTo>
                  <a:cubicBezTo>
                    <a:pt x="119615" y="112705"/>
                    <a:pt x="119615" y="113569"/>
                    <a:pt x="120047" y="114001"/>
                  </a:cubicBezTo>
                  <a:lnTo>
                    <a:pt x="120478" y="114433"/>
                  </a:lnTo>
                  <a:cubicBezTo>
                    <a:pt x="120478" y="114433"/>
                    <a:pt x="120478" y="114865"/>
                    <a:pt x="120047" y="114865"/>
                  </a:cubicBezTo>
                  <a:cubicBezTo>
                    <a:pt x="119183" y="115728"/>
                    <a:pt x="119183" y="117456"/>
                    <a:pt x="119183" y="117456"/>
                  </a:cubicBezTo>
                  <a:cubicBezTo>
                    <a:pt x="119183" y="117887"/>
                    <a:pt x="119183" y="117887"/>
                    <a:pt x="119615" y="117887"/>
                  </a:cubicBezTo>
                  <a:lnTo>
                    <a:pt x="120047" y="117887"/>
                  </a:lnTo>
                  <a:cubicBezTo>
                    <a:pt x="120047" y="118751"/>
                    <a:pt x="120047" y="119183"/>
                    <a:pt x="119615" y="119183"/>
                  </a:cubicBezTo>
                  <a:cubicBezTo>
                    <a:pt x="119183" y="119615"/>
                    <a:pt x="119183" y="119615"/>
                    <a:pt x="119183" y="120046"/>
                  </a:cubicBezTo>
                  <a:cubicBezTo>
                    <a:pt x="119183" y="120046"/>
                    <a:pt x="118319" y="120478"/>
                    <a:pt x="118319" y="120910"/>
                  </a:cubicBezTo>
                  <a:lnTo>
                    <a:pt x="118751" y="120910"/>
                  </a:lnTo>
                  <a:cubicBezTo>
                    <a:pt x="118751" y="121774"/>
                    <a:pt x="118751" y="123069"/>
                    <a:pt x="117887" y="123933"/>
                  </a:cubicBezTo>
                  <a:lnTo>
                    <a:pt x="117887" y="124797"/>
                  </a:lnTo>
                  <a:cubicBezTo>
                    <a:pt x="117887" y="125228"/>
                    <a:pt x="117456" y="125228"/>
                    <a:pt x="115728" y="125660"/>
                  </a:cubicBezTo>
                  <a:cubicBezTo>
                    <a:pt x="115728" y="125660"/>
                    <a:pt x="114865" y="126524"/>
                    <a:pt x="114865" y="126956"/>
                  </a:cubicBezTo>
                  <a:cubicBezTo>
                    <a:pt x="114865" y="128251"/>
                    <a:pt x="115297" y="128251"/>
                    <a:pt x="116160" y="128251"/>
                  </a:cubicBezTo>
                  <a:cubicBezTo>
                    <a:pt x="117456" y="128251"/>
                    <a:pt x="117456" y="128251"/>
                    <a:pt x="117456" y="128683"/>
                  </a:cubicBezTo>
                  <a:lnTo>
                    <a:pt x="116160" y="129115"/>
                  </a:lnTo>
                  <a:cubicBezTo>
                    <a:pt x="115297" y="129978"/>
                    <a:pt x="114433" y="130842"/>
                    <a:pt x="114001" y="131706"/>
                  </a:cubicBezTo>
                  <a:cubicBezTo>
                    <a:pt x="112706" y="131706"/>
                    <a:pt x="113137" y="133001"/>
                    <a:pt x="112706" y="133865"/>
                  </a:cubicBezTo>
                  <a:cubicBezTo>
                    <a:pt x="112274" y="134728"/>
                    <a:pt x="111842" y="136024"/>
                    <a:pt x="111842" y="136888"/>
                  </a:cubicBezTo>
                  <a:cubicBezTo>
                    <a:pt x="111410" y="137319"/>
                    <a:pt x="111842" y="137319"/>
                    <a:pt x="111842" y="137319"/>
                  </a:cubicBezTo>
                  <a:lnTo>
                    <a:pt x="111842" y="138183"/>
                  </a:lnTo>
                  <a:lnTo>
                    <a:pt x="111410" y="138183"/>
                  </a:lnTo>
                  <a:cubicBezTo>
                    <a:pt x="111410" y="139478"/>
                    <a:pt x="110115" y="139478"/>
                    <a:pt x="110115" y="140342"/>
                  </a:cubicBezTo>
                  <a:cubicBezTo>
                    <a:pt x="110115" y="140774"/>
                    <a:pt x="109683" y="141206"/>
                    <a:pt x="109683" y="142501"/>
                  </a:cubicBezTo>
                  <a:lnTo>
                    <a:pt x="109683" y="142933"/>
                  </a:lnTo>
                  <a:cubicBezTo>
                    <a:pt x="110115" y="142933"/>
                    <a:pt x="110115" y="142501"/>
                    <a:pt x="110115" y="142501"/>
                  </a:cubicBezTo>
                  <a:cubicBezTo>
                    <a:pt x="110115" y="141638"/>
                    <a:pt x="111842" y="139910"/>
                    <a:pt x="111842" y="139910"/>
                  </a:cubicBezTo>
                  <a:cubicBezTo>
                    <a:pt x="112274" y="139910"/>
                    <a:pt x="112274" y="139910"/>
                    <a:pt x="112274" y="140342"/>
                  </a:cubicBezTo>
                  <a:lnTo>
                    <a:pt x="111842" y="140774"/>
                  </a:lnTo>
                  <a:cubicBezTo>
                    <a:pt x="111410" y="141206"/>
                    <a:pt x="110978" y="142933"/>
                    <a:pt x="110978" y="144229"/>
                  </a:cubicBezTo>
                  <a:cubicBezTo>
                    <a:pt x="110978" y="144660"/>
                    <a:pt x="110115" y="145092"/>
                    <a:pt x="109683" y="145092"/>
                  </a:cubicBezTo>
                  <a:cubicBezTo>
                    <a:pt x="107956" y="145092"/>
                    <a:pt x="107092" y="145092"/>
                    <a:pt x="104933" y="145956"/>
                  </a:cubicBezTo>
                  <a:cubicBezTo>
                    <a:pt x="104933" y="145956"/>
                    <a:pt x="104069" y="145956"/>
                    <a:pt x="104069" y="146388"/>
                  </a:cubicBezTo>
                  <a:cubicBezTo>
                    <a:pt x="102774" y="146820"/>
                    <a:pt x="102774" y="148979"/>
                    <a:pt x="102774" y="149842"/>
                  </a:cubicBezTo>
                  <a:cubicBezTo>
                    <a:pt x="102774" y="150274"/>
                    <a:pt x="102342" y="150274"/>
                    <a:pt x="102342" y="150706"/>
                  </a:cubicBezTo>
                  <a:cubicBezTo>
                    <a:pt x="102342" y="151138"/>
                    <a:pt x="102774" y="152001"/>
                    <a:pt x="104069" y="152433"/>
                  </a:cubicBezTo>
                  <a:lnTo>
                    <a:pt x="105365" y="152433"/>
                  </a:lnTo>
                  <a:cubicBezTo>
                    <a:pt x="105365" y="152433"/>
                    <a:pt x="105365" y="152865"/>
                    <a:pt x="104933" y="152865"/>
                  </a:cubicBezTo>
                  <a:lnTo>
                    <a:pt x="104933" y="153297"/>
                  </a:lnTo>
                  <a:cubicBezTo>
                    <a:pt x="104501" y="153297"/>
                    <a:pt x="104501" y="153729"/>
                    <a:pt x="104501" y="153729"/>
                  </a:cubicBezTo>
                  <a:lnTo>
                    <a:pt x="106228" y="153729"/>
                  </a:lnTo>
                  <a:lnTo>
                    <a:pt x="106228" y="154592"/>
                  </a:lnTo>
                  <a:cubicBezTo>
                    <a:pt x="105796" y="154592"/>
                    <a:pt x="105365" y="155456"/>
                    <a:pt x="105365" y="155456"/>
                  </a:cubicBezTo>
                  <a:cubicBezTo>
                    <a:pt x="104501" y="155456"/>
                    <a:pt x="104501" y="155888"/>
                    <a:pt x="104501" y="155888"/>
                  </a:cubicBezTo>
                  <a:cubicBezTo>
                    <a:pt x="104501" y="156320"/>
                    <a:pt x="104933" y="156751"/>
                    <a:pt x="104933" y="156751"/>
                  </a:cubicBezTo>
                  <a:cubicBezTo>
                    <a:pt x="104933" y="157183"/>
                    <a:pt x="104501" y="157183"/>
                    <a:pt x="104069" y="157183"/>
                  </a:cubicBezTo>
                  <a:cubicBezTo>
                    <a:pt x="104069" y="158047"/>
                    <a:pt x="103205" y="158910"/>
                    <a:pt x="102342" y="158910"/>
                  </a:cubicBezTo>
                  <a:lnTo>
                    <a:pt x="101478" y="158910"/>
                  </a:lnTo>
                  <a:cubicBezTo>
                    <a:pt x="101046" y="159342"/>
                    <a:pt x="101046" y="159342"/>
                    <a:pt x="99319" y="159342"/>
                  </a:cubicBezTo>
                  <a:cubicBezTo>
                    <a:pt x="99319" y="159342"/>
                    <a:pt x="98887" y="159342"/>
                    <a:pt x="98887" y="159774"/>
                  </a:cubicBezTo>
                  <a:cubicBezTo>
                    <a:pt x="98887" y="159774"/>
                    <a:pt x="98455" y="160638"/>
                    <a:pt x="98455" y="161070"/>
                  </a:cubicBezTo>
                  <a:lnTo>
                    <a:pt x="98887" y="161070"/>
                  </a:lnTo>
                  <a:cubicBezTo>
                    <a:pt x="99319" y="161501"/>
                    <a:pt x="99751" y="162365"/>
                    <a:pt x="99751" y="162797"/>
                  </a:cubicBezTo>
                  <a:cubicBezTo>
                    <a:pt x="99751" y="162797"/>
                    <a:pt x="99751" y="163229"/>
                    <a:pt x="99319" y="163229"/>
                  </a:cubicBezTo>
                  <a:lnTo>
                    <a:pt x="99319" y="163661"/>
                  </a:lnTo>
                  <a:cubicBezTo>
                    <a:pt x="99751" y="163661"/>
                    <a:pt x="100183" y="164092"/>
                    <a:pt x="100183" y="164524"/>
                  </a:cubicBezTo>
                  <a:cubicBezTo>
                    <a:pt x="100183" y="164956"/>
                    <a:pt x="99319" y="165820"/>
                    <a:pt x="99319" y="166252"/>
                  </a:cubicBezTo>
                  <a:lnTo>
                    <a:pt x="99319" y="166683"/>
                  </a:lnTo>
                  <a:lnTo>
                    <a:pt x="101046" y="166683"/>
                  </a:lnTo>
                  <a:lnTo>
                    <a:pt x="100615" y="167115"/>
                  </a:lnTo>
                  <a:cubicBezTo>
                    <a:pt x="98887" y="168411"/>
                    <a:pt x="98887" y="168842"/>
                    <a:pt x="98887" y="169274"/>
                  </a:cubicBezTo>
                  <a:cubicBezTo>
                    <a:pt x="98887" y="169706"/>
                    <a:pt x="98455" y="169706"/>
                    <a:pt x="98024" y="170570"/>
                  </a:cubicBezTo>
                  <a:lnTo>
                    <a:pt x="98024" y="171433"/>
                  </a:lnTo>
                  <a:cubicBezTo>
                    <a:pt x="98024" y="172297"/>
                    <a:pt x="97592" y="172729"/>
                    <a:pt x="97160" y="172729"/>
                  </a:cubicBezTo>
                  <a:lnTo>
                    <a:pt x="97592" y="173161"/>
                  </a:lnTo>
                  <a:lnTo>
                    <a:pt x="95865" y="173161"/>
                  </a:lnTo>
                  <a:lnTo>
                    <a:pt x="95433" y="174888"/>
                  </a:lnTo>
                  <a:cubicBezTo>
                    <a:pt x="95001" y="175320"/>
                    <a:pt x="95001" y="176183"/>
                    <a:pt x="95001" y="176615"/>
                  </a:cubicBezTo>
                  <a:lnTo>
                    <a:pt x="95001" y="177911"/>
                  </a:lnTo>
                  <a:cubicBezTo>
                    <a:pt x="94569" y="178342"/>
                    <a:pt x="94137" y="178342"/>
                    <a:pt x="94137" y="178342"/>
                  </a:cubicBezTo>
                  <a:cubicBezTo>
                    <a:pt x="94137" y="178342"/>
                    <a:pt x="93705" y="178342"/>
                    <a:pt x="93705" y="177911"/>
                  </a:cubicBezTo>
                  <a:cubicBezTo>
                    <a:pt x="93274" y="177479"/>
                    <a:pt x="91978" y="177047"/>
                    <a:pt x="91978" y="175752"/>
                  </a:cubicBezTo>
                  <a:cubicBezTo>
                    <a:pt x="91978" y="175320"/>
                    <a:pt x="91546" y="175320"/>
                    <a:pt x="91115" y="175320"/>
                  </a:cubicBezTo>
                  <a:cubicBezTo>
                    <a:pt x="90683" y="175752"/>
                    <a:pt x="90251" y="176615"/>
                    <a:pt x="90251" y="177479"/>
                  </a:cubicBezTo>
                  <a:lnTo>
                    <a:pt x="90251" y="177911"/>
                  </a:lnTo>
                  <a:cubicBezTo>
                    <a:pt x="91115" y="178342"/>
                    <a:pt x="91115" y="179206"/>
                    <a:pt x="91546" y="179638"/>
                  </a:cubicBezTo>
                  <a:lnTo>
                    <a:pt x="90683" y="180502"/>
                  </a:lnTo>
                  <a:lnTo>
                    <a:pt x="90683" y="181797"/>
                  </a:lnTo>
                  <a:lnTo>
                    <a:pt x="91546" y="181797"/>
                  </a:lnTo>
                  <a:lnTo>
                    <a:pt x="91546" y="182229"/>
                  </a:lnTo>
                  <a:cubicBezTo>
                    <a:pt x="91115" y="182229"/>
                    <a:pt x="90683" y="183093"/>
                    <a:pt x="89819" y="183093"/>
                  </a:cubicBezTo>
                  <a:cubicBezTo>
                    <a:pt x="88524" y="183524"/>
                    <a:pt x="86796" y="186115"/>
                    <a:pt x="86796" y="186115"/>
                  </a:cubicBezTo>
                  <a:lnTo>
                    <a:pt x="87228" y="186115"/>
                  </a:lnTo>
                  <a:cubicBezTo>
                    <a:pt x="87660" y="186115"/>
                    <a:pt x="88955" y="184820"/>
                    <a:pt x="89819" y="184820"/>
                  </a:cubicBezTo>
                  <a:lnTo>
                    <a:pt x="91115" y="184820"/>
                  </a:lnTo>
                  <a:cubicBezTo>
                    <a:pt x="91115" y="184820"/>
                    <a:pt x="90683" y="186115"/>
                    <a:pt x="90251" y="186115"/>
                  </a:cubicBezTo>
                  <a:cubicBezTo>
                    <a:pt x="90251" y="186115"/>
                    <a:pt x="89387" y="186115"/>
                    <a:pt x="89387" y="186547"/>
                  </a:cubicBezTo>
                  <a:cubicBezTo>
                    <a:pt x="88092" y="186979"/>
                    <a:pt x="87660" y="187411"/>
                    <a:pt x="87660" y="188274"/>
                  </a:cubicBezTo>
                  <a:cubicBezTo>
                    <a:pt x="87660" y="188706"/>
                    <a:pt x="88092" y="189138"/>
                    <a:pt x="88092" y="189138"/>
                  </a:cubicBezTo>
                  <a:cubicBezTo>
                    <a:pt x="88092" y="189570"/>
                    <a:pt x="88092" y="189570"/>
                    <a:pt x="87228" y="190002"/>
                  </a:cubicBezTo>
                  <a:cubicBezTo>
                    <a:pt x="87228" y="190865"/>
                    <a:pt x="87660" y="191297"/>
                    <a:pt x="87660" y="191297"/>
                  </a:cubicBezTo>
                  <a:cubicBezTo>
                    <a:pt x="88092" y="191729"/>
                    <a:pt x="88092" y="192161"/>
                    <a:pt x="88092" y="192161"/>
                  </a:cubicBezTo>
                  <a:cubicBezTo>
                    <a:pt x="88092" y="192593"/>
                    <a:pt x="88092" y="192593"/>
                    <a:pt x="87660" y="192593"/>
                  </a:cubicBezTo>
                  <a:cubicBezTo>
                    <a:pt x="87660" y="193024"/>
                    <a:pt x="87228" y="193456"/>
                    <a:pt x="86796" y="193456"/>
                  </a:cubicBezTo>
                  <a:cubicBezTo>
                    <a:pt x="86796" y="194320"/>
                    <a:pt x="86364" y="194752"/>
                    <a:pt x="86364" y="194752"/>
                  </a:cubicBezTo>
                  <a:cubicBezTo>
                    <a:pt x="86364" y="195184"/>
                    <a:pt x="84637" y="195184"/>
                    <a:pt x="84637" y="195184"/>
                  </a:cubicBezTo>
                  <a:cubicBezTo>
                    <a:pt x="84205" y="194752"/>
                    <a:pt x="83773" y="194752"/>
                    <a:pt x="83342" y="194752"/>
                  </a:cubicBezTo>
                  <a:cubicBezTo>
                    <a:pt x="82910" y="194752"/>
                    <a:pt x="82046" y="195184"/>
                    <a:pt x="81614" y="195615"/>
                  </a:cubicBezTo>
                  <a:cubicBezTo>
                    <a:pt x="80319" y="195615"/>
                    <a:pt x="80319" y="195615"/>
                    <a:pt x="80319" y="196479"/>
                  </a:cubicBezTo>
                  <a:lnTo>
                    <a:pt x="82046" y="197774"/>
                  </a:lnTo>
                  <a:cubicBezTo>
                    <a:pt x="82046" y="196479"/>
                    <a:pt x="82478" y="196479"/>
                    <a:pt x="82478" y="196479"/>
                  </a:cubicBezTo>
                  <a:cubicBezTo>
                    <a:pt x="82910" y="196479"/>
                    <a:pt x="83773" y="197774"/>
                    <a:pt x="83773" y="198206"/>
                  </a:cubicBezTo>
                  <a:lnTo>
                    <a:pt x="82478" y="200365"/>
                  </a:lnTo>
                  <a:cubicBezTo>
                    <a:pt x="82046" y="200797"/>
                    <a:pt x="82046" y="201229"/>
                    <a:pt x="82046" y="201661"/>
                  </a:cubicBezTo>
                  <a:cubicBezTo>
                    <a:pt x="82046" y="202093"/>
                    <a:pt x="82046" y="202093"/>
                    <a:pt x="81614" y="203820"/>
                  </a:cubicBezTo>
                  <a:cubicBezTo>
                    <a:pt x="81614" y="203820"/>
                    <a:pt x="80319" y="204252"/>
                    <a:pt x="80319" y="204684"/>
                  </a:cubicBezTo>
                  <a:cubicBezTo>
                    <a:pt x="80319" y="204684"/>
                    <a:pt x="81183" y="205115"/>
                    <a:pt x="81614" y="205115"/>
                  </a:cubicBezTo>
                  <a:lnTo>
                    <a:pt x="81614" y="205979"/>
                  </a:lnTo>
                  <a:cubicBezTo>
                    <a:pt x="81614" y="206411"/>
                    <a:pt x="81183" y="206843"/>
                    <a:pt x="80319" y="206843"/>
                  </a:cubicBezTo>
                  <a:cubicBezTo>
                    <a:pt x="79887" y="206843"/>
                    <a:pt x="79455" y="206843"/>
                    <a:pt x="79455" y="207275"/>
                  </a:cubicBezTo>
                  <a:cubicBezTo>
                    <a:pt x="79455" y="207275"/>
                    <a:pt x="79455" y="207706"/>
                    <a:pt x="78592" y="208570"/>
                  </a:cubicBezTo>
                  <a:cubicBezTo>
                    <a:pt x="78592" y="209002"/>
                    <a:pt x="77728" y="210297"/>
                    <a:pt x="77728" y="210297"/>
                  </a:cubicBezTo>
                  <a:lnTo>
                    <a:pt x="77728" y="213320"/>
                  </a:lnTo>
                  <a:cubicBezTo>
                    <a:pt x="77728" y="213752"/>
                    <a:pt x="76001" y="214616"/>
                    <a:pt x="76001" y="215047"/>
                  </a:cubicBezTo>
                  <a:cubicBezTo>
                    <a:pt x="76001" y="215911"/>
                    <a:pt x="77296" y="216775"/>
                    <a:pt x="77296" y="216775"/>
                  </a:cubicBezTo>
                  <a:lnTo>
                    <a:pt x="75569" y="216775"/>
                  </a:lnTo>
                  <a:cubicBezTo>
                    <a:pt x="74273" y="216775"/>
                    <a:pt x="73842" y="217638"/>
                    <a:pt x="73842" y="218070"/>
                  </a:cubicBezTo>
                  <a:cubicBezTo>
                    <a:pt x="74273" y="218070"/>
                    <a:pt x="74705" y="218502"/>
                    <a:pt x="74705" y="218934"/>
                  </a:cubicBezTo>
                  <a:cubicBezTo>
                    <a:pt x="74705" y="219366"/>
                    <a:pt x="73842" y="220229"/>
                    <a:pt x="73842" y="220661"/>
                  </a:cubicBezTo>
                  <a:lnTo>
                    <a:pt x="73842" y="221525"/>
                  </a:lnTo>
                  <a:cubicBezTo>
                    <a:pt x="73842" y="221957"/>
                    <a:pt x="73842" y="222388"/>
                    <a:pt x="73410" y="223684"/>
                  </a:cubicBezTo>
                  <a:cubicBezTo>
                    <a:pt x="72114" y="224116"/>
                    <a:pt x="71683" y="224979"/>
                    <a:pt x="70819" y="227138"/>
                  </a:cubicBezTo>
                  <a:lnTo>
                    <a:pt x="70819" y="228866"/>
                  </a:lnTo>
                  <a:cubicBezTo>
                    <a:pt x="70819" y="229729"/>
                    <a:pt x="70387" y="230161"/>
                    <a:pt x="69523" y="230593"/>
                  </a:cubicBezTo>
                  <a:cubicBezTo>
                    <a:pt x="69092" y="232320"/>
                    <a:pt x="68660" y="232752"/>
                    <a:pt x="68660" y="233616"/>
                  </a:cubicBezTo>
                  <a:cubicBezTo>
                    <a:pt x="67364" y="235343"/>
                    <a:pt x="66501" y="236207"/>
                    <a:pt x="66501" y="237070"/>
                  </a:cubicBezTo>
                  <a:lnTo>
                    <a:pt x="66501" y="238366"/>
                  </a:lnTo>
                  <a:cubicBezTo>
                    <a:pt x="66069" y="239661"/>
                    <a:pt x="63478" y="240093"/>
                    <a:pt x="63046" y="240525"/>
                  </a:cubicBezTo>
                  <a:cubicBezTo>
                    <a:pt x="62614" y="240957"/>
                    <a:pt x="62614" y="240957"/>
                    <a:pt x="62614" y="241389"/>
                  </a:cubicBezTo>
                  <a:cubicBezTo>
                    <a:pt x="62614" y="241820"/>
                    <a:pt x="62614" y="242252"/>
                    <a:pt x="62614" y="242252"/>
                  </a:cubicBezTo>
                  <a:cubicBezTo>
                    <a:pt x="60023" y="242684"/>
                    <a:pt x="32387" y="294503"/>
                    <a:pt x="32387" y="301412"/>
                  </a:cubicBezTo>
                  <a:cubicBezTo>
                    <a:pt x="32387" y="301844"/>
                    <a:pt x="32387" y="302275"/>
                    <a:pt x="32387" y="302275"/>
                  </a:cubicBezTo>
                  <a:cubicBezTo>
                    <a:pt x="32819" y="302707"/>
                    <a:pt x="31091" y="305298"/>
                    <a:pt x="30659" y="306162"/>
                  </a:cubicBezTo>
                  <a:lnTo>
                    <a:pt x="30659" y="307457"/>
                  </a:lnTo>
                  <a:cubicBezTo>
                    <a:pt x="30659" y="308321"/>
                    <a:pt x="31091" y="308753"/>
                    <a:pt x="31091" y="308753"/>
                  </a:cubicBezTo>
                  <a:cubicBezTo>
                    <a:pt x="31091" y="309185"/>
                    <a:pt x="30659" y="309185"/>
                    <a:pt x="30659" y="309185"/>
                  </a:cubicBezTo>
                  <a:cubicBezTo>
                    <a:pt x="30228" y="309185"/>
                    <a:pt x="30228" y="310480"/>
                    <a:pt x="30228" y="310480"/>
                  </a:cubicBezTo>
                  <a:cubicBezTo>
                    <a:pt x="28932" y="312207"/>
                    <a:pt x="27637" y="312639"/>
                    <a:pt x="27637" y="313071"/>
                  </a:cubicBezTo>
                  <a:cubicBezTo>
                    <a:pt x="27637" y="313503"/>
                    <a:pt x="28500" y="313935"/>
                    <a:pt x="30228" y="315230"/>
                  </a:cubicBezTo>
                  <a:lnTo>
                    <a:pt x="30228" y="315662"/>
                  </a:lnTo>
                  <a:cubicBezTo>
                    <a:pt x="30659" y="316094"/>
                    <a:pt x="30659" y="316094"/>
                    <a:pt x="30659" y="316526"/>
                  </a:cubicBezTo>
                  <a:lnTo>
                    <a:pt x="30659" y="322571"/>
                  </a:lnTo>
                  <a:cubicBezTo>
                    <a:pt x="30659" y="323867"/>
                    <a:pt x="30659" y="324730"/>
                    <a:pt x="30228" y="325594"/>
                  </a:cubicBezTo>
                  <a:lnTo>
                    <a:pt x="30228" y="330344"/>
                  </a:lnTo>
                  <a:cubicBezTo>
                    <a:pt x="30228" y="331639"/>
                    <a:pt x="31523" y="331207"/>
                    <a:pt x="31955" y="332503"/>
                  </a:cubicBezTo>
                  <a:cubicBezTo>
                    <a:pt x="31523" y="333367"/>
                    <a:pt x="31523" y="336821"/>
                    <a:pt x="31523" y="338117"/>
                  </a:cubicBezTo>
                  <a:cubicBezTo>
                    <a:pt x="31955" y="338549"/>
                    <a:pt x="31955" y="339412"/>
                    <a:pt x="31955" y="339844"/>
                  </a:cubicBezTo>
                  <a:cubicBezTo>
                    <a:pt x="31955" y="340276"/>
                    <a:pt x="31955" y="340708"/>
                    <a:pt x="31523" y="340708"/>
                  </a:cubicBezTo>
                  <a:cubicBezTo>
                    <a:pt x="31955" y="341139"/>
                    <a:pt x="32387" y="341571"/>
                    <a:pt x="32387" y="342435"/>
                  </a:cubicBezTo>
                  <a:cubicBezTo>
                    <a:pt x="32387" y="342867"/>
                    <a:pt x="31955" y="343299"/>
                    <a:pt x="31955" y="343730"/>
                  </a:cubicBezTo>
                  <a:lnTo>
                    <a:pt x="31955" y="346321"/>
                  </a:lnTo>
                  <a:cubicBezTo>
                    <a:pt x="32387" y="346753"/>
                    <a:pt x="32387" y="347185"/>
                    <a:pt x="32387" y="347617"/>
                  </a:cubicBezTo>
                  <a:cubicBezTo>
                    <a:pt x="32387" y="348049"/>
                    <a:pt x="32387" y="348912"/>
                    <a:pt x="31523" y="349776"/>
                  </a:cubicBezTo>
                  <a:lnTo>
                    <a:pt x="32387" y="349776"/>
                  </a:lnTo>
                  <a:cubicBezTo>
                    <a:pt x="32819" y="350208"/>
                    <a:pt x="32819" y="350208"/>
                    <a:pt x="32819" y="351503"/>
                  </a:cubicBezTo>
                  <a:cubicBezTo>
                    <a:pt x="32387" y="351935"/>
                    <a:pt x="32387" y="352367"/>
                    <a:pt x="32387" y="352367"/>
                  </a:cubicBezTo>
                  <a:cubicBezTo>
                    <a:pt x="32387" y="352799"/>
                    <a:pt x="32387" y="353662"/>
                    <a:pt x="32819" y="354094"/>
                  </a:cubicBezTo>
                  <a:lnTo>
                    <a:pt x="32819" y="354526"/>
                  </a:lnTo>
                  <a:cubicBezTo>
                    <a:pt x="33682" y="355390"/>
                    <a:pt x="33682" y="356253"/>
                    <a:pt x="33682" y="357117"/>
                  </a:cubicBezTo>
                  <a:lnTo>
                    <a:pt x="33682" y="357980"/>
                  </a:lnTo>
                  <a:cubicBezTo>
                    <a:pt x="33682" y="358844"/>
                    <a:pt x="33682" y="359708"/>
                    <a:pt x="34978" y="361435"/>
                  </a:cubicBezTo>
                  <a:lnTo>
                    <a:pt x="34978" y="362299"/>
                  </a:lnTo>
                  <a:cubicBezTo>
                    <a:pt x="35409" y="363162"/>
                    <a:pt x="35841" y="363594"/>
                    <a:pt x="35841" y="364458"/>
                  </a:cubicBezTo>
                  <a:cubicBezTo>
                    <a:pt x="35841" y="364458"/>
                    <a:pt x="43182" y="376981"/>
                    <a:pt x="59591" y="376981"/>
                  </a:cubicBezTo>
                  <a:cubicBezTo>
                    <a:pt x="61319" y="376981"/>
                    <a:pt x="63478" y="376549"/>
                    <a:pt x="66069" y="376117"/>
                  </a:cubicBezTo>
                  <a:cubicBezTo>
                    <a:pt x="86796" y="372231"/>
                    <a:pt x="144660" y="283275"/>
                    <a:pt x="144660" y="283275"/>
                  </a:cubicBezTo>
                  <a:cubicBezTo>
                    <a:pt x="144660" y="283275"/>
                    <a:pt x="145956" y="281548"/>
                    <a:pt x="146820" y="281548"/>
                  </a:cubicBezTo>
                  <a:cubicBezTo>
                    <a:pt x="147251" y="281548"/>
                    <a:pt x="147683" y="281980"/>
                    <a:pt x="148115" y="283275"/>
                  </a:cubicBezTo>
                  <a:cubicBezTo>
                    <a:pt x="148979" y="287162"/>
                    <a:pt x="93705" y="400299"/>
                    <a:pt x="52682" y="400299"/>
                  </a:cubicBezTo>
                  <a:cubicBezTo>
                    <a:pt x="52251" y="400299"/>
                    <a:pt x="51387" y="400299"/>
                    <a:pt x="50955" y="400299"/>
                  </a:cubicBezTo>
                  <a:cubicBezTo>
                    <a:pt x="38432" y="399435"/>
                    <a:pt x="23318" y="397708"/>
                    <a:pt x="8205" y="378708"/>
                  </a:cubicBezTo>
                  <a:cubicBezTo>
                    <a:pt x="8205" y="377844"/>
                    <a:pt x="7773" y="376981"/>
                    <a:pt x="7773" y="375685"/>
                  </a:cubicBezTo>
                  <a:close/>
                  <a:moveTo>
                    <a:pt x="93705" y="47932"/>
                  </a:moveTo>
                  <a:cubicBezTo>
                    <a:pt x="93274" y="47932"/>
                    <a:pt x="92842" y="48364"/>
                    <a:pt x="92842" y="48364"/>
                  </a:cubicBezTo>
                  <a:cubicBezTo>
                    <a:pt x="92410" y="48364"/>
                    <a:pt x="91978" y="48796"/>
                    <a:pt x="91978" y="49228"/>
                  </a:cubicBezTo>
                  <a:cubicBezTo>
                    <a:pt x="91978" y="49660"/>
                    <a:pt x="91978" y="49660"/>
                    <a:pt x="92410" y="49660"/>
                  </a:cubicBezTo>
                  <a:cubicBezTo>
                    <a:pt x="94137" y="49660"/>
                    <a:pt x="94137" y="49660"/>
                    <a:pt x="94137" y="50091"/>
                  </a:cubicBezTo>
                  <a:cubicBezTo>
                    <a:pt x="92410" y="50955"/>
                    <a:pt x="91546" y="52250"/>
                    <a:pt x="91546" y="52682"/>
                  </a:cubicBezTo>
                  <a:cubicBezTo>
                    <a:pt x="91115" y="53114"/>
                    <a:pt x="90683" y="53546"/>
                    <a:pt x="90251" y="54841"/>
                  </a:cubicBezTo>
                  <a:lnTo>
                    <a:pt x="90251" y="55273"/>
                  </a:lnTo>
                  <a:cubicBezTo>
                    <a:pt x="90251" y="55705"/>
                    <a:pt x="90251" y="57000"/>
                    <a:pt x="89819" y="57000"/>
                  </a:cubicBezTo>
                  <a:cubicBezTo>
                    <a:pt x="89387" y="57432"/>
                    <a:pt x="88524" y="57864"/>
                    <a:pt x="87660" y="57864"/>
                  </a:cubicBezTo>
                  <a:lnTo>
                    <a:pt x="87660" y="58728"/>
                  </a:lnTo>
                  <a:cubicBezTo>
                    <a:pt x="87660" y="59160"/>
                    <a:pt x="87660" y="59591"/>
                    <a:pt x="88092" y="59591"/>
                  </a:cubicBezTo>
                  <a:cubicBezTo>
                    <a:pt x="88955" y="59591"/>
                    <a:pt x="89819" y="60887"/>
                    <a:pt x="89819" y="60887"/>
                  </a:cubicBezTo>
                  <a:lnTo>
                    <a:pt x="90251" y="61319"/>
                  </a:lnTo>
                  <a:lnTo>
                    <a:pt x="89819" y="61319"/>
                  </a:lnTo>
                  <a:cubicBezTo>
                    <a:pt x="88524" y="61319"/>
                    <a:pt x="88524" y="61751"/>
                    <a:pt x="87660" y="61751"/>
                  </a:cubicBezTo>
                  <a:lnTo>
                    <a:pt x="87660" y="62614"/>
                  </a:lnTo>
                  <a:cubicBezTo>
                    <a:pt x="87660" y="63910"/>
                    <a:pt x="86796" y="64341"/>
                    <a:pt x="86796" y="64341"/>
                  </a:cubicBezTo>
                  <a:lnTo>
                    <a:pt x="86364" y="64341"/>
                  </a:lnTo>
                  <a:cubicBezTo>
                    <a:pt x="85933" y="65205"/>
                    <a:pt x="84637" y="66501"/>
                    <a:pt x="84637" y="67364"/>
                  </a:cubicBezTo>
                  <a:cubicBezTo>
                    <a:pt x="84637" y="68228"/>
                    <a:pt x="84205" y="68660"/>
                    <a:pt x="84205" y="69523"/>
                  </a:cubicBezTo>
                  <a:lnTo>
                    <a:pt x="84205" y="69955"/>
                  </a:lnTo>
                  <a:cubicBezTo>
                    <a:pt x="85501" y="69523"/>
                    <a:pt x="85501" y="69523"/>
                    <a:pt x="85933" y="69523"/>
                  </a:cubicBezTo>
                  <a:lnTo>
                    <a:pt x="87660" y="69523"/>
                  </a:lnTo>
                  <a:lnTo>
                    <a:pt x="87660" y="69955"/>
                  </a:lnTo>
                  <a:cubicBezTo>
                    <a:pt x="87660" y="69955"/>
                    <a:pt x="87660" y="70387"/>
                    <a:pt x="86796" y="70387"/>
                  </a:cubicBezTo>
                  <a:cubicBezTo>
                    <a:pt x="86364" y="70819"/>
                    <a:pt x="86364" y="71251"/>
                    <a:pt x="86364" y="72114"/>
                  </a:cubicBezTo>
                  <a:lnTo>
                    <a:pt x="86364" y="72546"/>
                  </a:lnTo>
                  <a:cubicBezTo>
                    <a:pt x="86364" y="72978"/>
                    <a:pt x="86364" y="73841"/>
                    <a:pt x="85933" y="74705"/>
                  </a:cubicBezTo>
                  <a:cubicBezTo>
                    <a:pt x="85501" y="75137"/>
                    <a:pt x="85501" y="78160"/>
                    <a:pt x="85501" y="78592"/>
                  </a:cubicBezTo>
                  <a:cubicBezTo>
                    <a:pt x="85501" y="79023"/>
                    <a:pt x="84637" y="79887"/>
                    <a:pt x="84637" y="80319"/>
                  </a:cubicBezTo>
                  <a:cubicBezTo>
                    <a:pt x="84637" y="80751"/>
                    <a:pt x="84637" y="80751"/>
                    <a:pt x="85069" y="81614"/>
                  </a:cubicBezTo>
                  <a:cubicBezTo>
                    <a:pt x="85069" y="81614"/>
                    <a:pt x="83773" y="82046"/>
                    <a:pt x="83773" y="82478"/>
                  </a:cubicBezTo>
                  <a:cubicBezTo>
                    <a:pt x="83342" y="82910"/>
                    <a:pt x="83342" y="84205"/>
                    <a:pt x="83342" y="84205"/>
                  </a:cubicBezTo>
                  <a:cubicBezTo>
                    <a:pt x="83342" y="84637"/>
                    <a:pt x="83342" y="85069"/>
                    <a:pt x="82910" y="86364"/>
                  </a:cubicBezTo>
                  <a:cubicBezTo>
                    <a:pt x="82910" y="87228"/>
                    <a:pt x="83342" y="88092"/>
                    <a:pt x="83342" y="88955"/>
                  </a:cubicBezTo>
                  <a:cubicBezTo>
                    <a:pt x="83342" y="90251"/>
                    <a:pt x="82910" y="91114"/>
                    <a:pt x="82910" y="91978"/>
                  </a:cubicBezTo>
                  <a:lnTo>
                    <a:pt x="82046" y="91978"/>
                  </a:lnTo>
                  <a:cubicBezTo>
                    <a:pt x="81614" y="92842"/>
                    <a:pt x="82046" y="93273"/>
                    <a:pt x="81183" y="94569"/>
                  </a:cubicBezTo>
                  <a:lnTo>
                    <a:pt x="81183" y="95001"/>
                  </a:lnTo>
                  <a:cubicBezTo>
                    <a:pt x="81183" y="95001"/>
                    <a:pt x="70819" y="106228"/>
                    <a:pt x="70819" y="115296"/>
                  </a:cubicBezTo>
                  <a:cubicBezTo>
                    <a:pt x="70819" y="117024"/>
                    <a:pt x="70819" y="118319"/>
                    <a:pt x="71683" y="119615"/>
                  </a:cubicBezTo>
                  <a:lnTo>
                    <a:pt x="71683" y="121342"/>
                  </a:lnTo>
                  <a:cubicBezTo>
                    <a:pt x="71251" y="124365"/>
                    <a:pt x="70819" y="126524"/>
                    <a:pt x="70387" y="127388"/>
                  </a:cubicBezTo>
                  <a:lnTo>
                    <a:pt x="70387" y="131274"/>
                  </a:lnTo>
                  <a:lnTo>
                    <a:pt x="69955" y="131706"/>
                  </a:lnTo>
                  <a:cubicBezTo>
                    <a:pt x="67796" y="133865"/>
                    <a:pt x="67364" y="136024"/>
                    <a:pt x="66932" y="137319"/>
                  </a:cubicBezTo>
                  <a:cubicBezTo>
                    <a:pt x="66932" y="139047"/>
                    <a:pt x="66501" y="139478"/>
                    <a:pt x="65637" y="142501"/>
                  </a:cubicBezTo>
                  <a:lnTo>
                    <a:pt x="63046" y="142501"/>
                  </a:lnTo>
                  <a:lnTo>
                    <a:pt x="63046" y="144660"/>
                  </a:lnTo>
                  <a:lnTo>
                    <a:pt x="64341" y="144660"/>
                  </a:lnTo>
                  <a:cubicBezTo>
                    <a:pt x="64341" y="145092"/>
                    <a:pt x="64773" y="145956"/>
                    <a:pt x="64773" y="145956"/>
                  </a:cubicBezTo>
                  <a:cubicBezTo>
                    <a:pt x="64341" y="146820"/>
                    <a:pt x="63910" y="147251"/>
                    <a:pt x="63910" y="147683"/>
                  </a:cubicBezTo>
                  <a:cubicBezTo>
                    <a:pt x="63910" y="147683"/>
                    <a:pt x="63046" y="148547"/>
                    <a:pt x="63046" y="148979"/>
                  </a:cubicBezTo>
                  <a:lnTo>
                    <a:pt x="62614" y="149410"/>
                  </a:lnTo>
                  <a:cubicBezTo>
                    <a:pt x="61319" y="149842"/>
                    <a:pt x="61319" y="150706"/>
                    <a:pt x="61319" y="152001"/>
                  </a:cubicBezTo>
                  <a:cubicBezTo>
                    <a:pt x="61319" y="152001"/>
                    <a:pt x="60887" y="152433"/>
                    <a:pt x="60887" y="152865"/>
                  </a:cubicBezTo>
                  <a:cubicBezTo>
                    <a:pt x="60887" y="153297"/>
                    <a:pt x="60887" y="153729"/>
                    <a:pt x="60455" y="154592"/>
                  </a:cubicBezTo>
                  <a:lnTo>
                    <a:pt x="60455" y="155456"/>
                  </a:lnTo>
                  <a:lnTo>
                    <a:pt x="62182" y="155888"/>
                  </a:lnTo>
                  <a:cubicBezTo>
                    <a:pt x="61751" y="158479"/>
                    <a:pt x="60023" y="162797"/>
                    <a:pt x="59591" y="165820"/>
                  </a:cubicBezTo>
                  <a:lnTo>
                    <a:pt x="59591" y="167115"/>
                  </a:lnTo>
                  <a:cubicBezTo>
                    <a:pt x="58728" y="169274"/>
                    <a:pt x="58296" y="170570"/>
                    <a:pt x="58296" y="171433"/>
                  </a:cubicBezTo>
                  <a:lnTo>
                    <a:pt x="58296" y="171865"/>
                  </a:lnTo>
                  <a:cubicBezTo>
                    <a:pt x="57864" y="174024"/>
                    <a:pt x="57001" y="174888"/>
                    <a:pt x="56569" y="175752"/>
                  </a:cubicBezTo>
                  <a:lnTo>
                    <a:pt x="56569" y="177479"/>
                  </a:lnTo>
                  <a:lnTo>
                    <a:pt x="55273" y="182661"/>
                  </a:lnTo>
                  <a:cubicBezTo>
                    <a:pt x="55273" y="182661"/>
                    <a:pt x="54841" y="183093"/>
                    <a:pt x="54410" y="183093"/>
                  </a:cubicBezTo>
                  <a:lnTo>
                    <a:pt x="54410" y="182229"/>
                  </a:lnTo>
                  <a:lnTo>
                    <a:pt x="53546" y="182229"/>
                  </a:lnTo>
                  <a:cubicBezTo>
                    <a:pt x="53114" y="182661"/>
                    <a:pt x="52682" y="183093"/>
                    <a:pt x="52682" y="183524"/>
                  </a:cubicBezTo>
                  <a:lnTo>
                    <a:pt x="52682" y="184388"/>
                  </a:lnTo>
                  <a:lnTo>
                    <a:pt x="53546" y="184388"/>
                  </a:lnTo>
                  <a:lnTo>
                    <a:pt x="53978" y="186115"/>
                  </a:lnTo>
                  <a:cubicBezTo>
                    <a:pt x="53546" y="186547"/>
                    <a:pt x="53114" y="186979"/>
                    <a:pt x="53114" y="187411"/>
                  </a:cubicBezTo>
                  <a:cubicBezTo>
                    <a:pt x="53114" y="187843"/>
                    <a:pt x="53546" y="188274"/>
                    <a:pt x="53978" y="188706"/>
                  </a:cubicBezTo>
                  <a:cubicBezTo>
                    <a:pt x="52682" y="191729"/>
                    <a:pt x="52682" y="193456"/>
                    <a:pt x="50955" y="196047"/>
                  </a:cubicBezTo>
                  <a:cubicBezTo>
                    <a:pt x="50955" y="196479"/>
                    <a:pt x="50955" y="196911"/>
                    <a:pt x="50955" y="197343"/>
                  </a:cubicBezTo>
                  <a:lnTo>
                    <a:pt x="50955" y="197774"/>
                  </a:lnTo>
                  <a:cubicBezTo>
                    <a:pt x="50955" y="198638"/>
                    <a:pt x="49228" y="199934"/>
                    <a:pt x="49228" y="200365"/>
                  </a:cubicBezTo>
                  <a:lnTo>
                    <a:pt x="49228" y="202093"/>
                  </a:lnTo>
                  <a:cubicBezTo>
                    <a:pt x="49228" y="202956"/>
                    <a:pt x="48796" y="205115"/>
                    <a:pt x="48796" y="205979"/>
                  </a:cubicBezTo>
                  <a:lnTo>
                    <a:pt x="48796" y="206411"/>
                  </a:lnTo>
                  <a:cubicBezTo>
                    <a:pt x="48364" y="208138"/>
                    <a:pt x="47932" y="210729"/>
                    <a:pt x="46637" y="212888"/>
                  </a:cubicBezTo>
                  <a:lnTo>
                    <a:pt x="46637" y="214184"/>
                  </a:lnTo>
                  <a:cubicBezTo>
                    <a:pt x="46637" y="215479"/>
                    <a:pt x="46637" y="216775"/>
                    <a:pt x="46205" y="217206"/>
                  </a:cubicBezTo>
                  <a:cubicBezTo>
                    <a:pt x="46205" y="219366"/>
                    <a:pt x="45341" y="222388"/>
                    <a:pt x="44909" y="222820"/>
                  </a:cubicBezTo>
                  <a:cubicBezTo>
                    <a:pt x="44046" y="222820"/>
                    <a:pt x="44046" y="223684"/>
                    <a:pt x="44046" y="223684"/>
                  </a:cubicBezTo>
                  <a:lnTo>
                    <a:pt x="44046" y="225411"/>
                  </a:lnTo>
                  <a:cubicBezTo>
                    <a:pt x="44046" y="225843"/>
                    <a:pt x="43182" y="226275"/>
                    <a:pt x="42750" y="226707"/>
                  </a:cubicBezTo>
                  <a:lnTo>
                    <a:pt x="42750" y="232752"/>
                  </a:lnTo>
                  <a:cubicBezTo>
                    <a:pt x="42750" y="233616"/>
                    <a:pt x="42750" y="233616"/>
                    <a:pt x="42319" y="234911"/>
                  </a:cubicBezTo>
                  <a:cubicBezTo>
                    <a:pt x="41887" y="235775"/>
                    <a:pt x="41887" y="236207"/>
                    <a:pt x="41887" y="236207"/>
                  </a:cubicBezTo>
                  <a:cubicBezTo>
                    <a:pt x="41455" y="236638"/>
                    <a:pt x="41455" y="237070"/>
                    <a:pt x="41455" y="237502"/>
                  </a:cubicBezTo>
                  <a:cubicBezTo>
                    <a:pt x="41455" y="237934"/>
                    <a:pt x="41455" y="239229"/>
                    <a:pt x="41887" y="239661"/>
                  </a:cubicBezTo>
                  <a:cubicBezTo>
                    <a:pt x="41887" y="239661"/>
                    <a:pt x="42319" y="239661"/>
                    <a:pt x="42319" y="240093"/>
                  </a:cubicBezTo>
                  <a:cubicBezTo>
                    <a:pt x="42750" y="240093"/>
                    <a:pt x="42750" y="239661"/>
                    <a:pt x="42750" y="239661"/>
                  </a:cubicBezTo>
                  <a:cubicBezTo>
                    <a:pt x="42750" y="237934"/>
                    <a:pt x="43614" y="236638"/>
                    <a:pt x="44046" y="236207"/>
                  </a:cubicBezTo>
                  <a:cubicBezTo>
                    <a:pt x="44046" y="236207"/>
                    <a:pt x="44046" y="235775"/>
                    <a:pt x="44478" y="235775"/>
                  </a:cubicBezTo>
                  <a:cubicBezTo>
                    <a:pt x="44909" y="234911"/>
                    <a:pt x="45773" y="234047"/>
                    <a:pt x="45773" y="233616"/>
                  </a:cubicBezTo>
                  <a:cubicBezTo>
                    <a:pt x="45773" y="233184"/>
                    <a:pt x="47069" y="231025"/>
                    <a:pt x="47500" y="230161"/>
                  </a:cubicBezTo>
                  <a:cubicBezTo>
                    <a:pt x="47500" y="228002"/>
                    <a:pt x="48796" y="226707"/>
                    <a:pt x="50523" y="225411"/>
                  </a:cubicBezTo>
                  <a:lnTo>
                    <a:pt x="50955" y="224547"/>
                  </a:lnTo>
                  <a:cubicBezTo>
                    <a:pt x="51819" y="224116"/>
                    <a:pt x="51819" y="223684"/>
                    <a:pt x="52251" y="223684"/>
                  </a:cubicBezTo>
                  <a:cubicBezTo>
                    <a:pt x="52682" y="221525"/>
                    <a:pt x="53546" y="218934"/>
                    <a:pt x="54841" y="216775"/>
                  </a:cubicBezTo>
                  <a:cubicBezTo>
                    <a:pt x="55705" y="215479"/>
                    <a:pt x="56569" y="214184"/>
                    <a:pt x="57001" y="214184"/>
                  </a:cubicBezTo>
                  <a:lnTo>
                    <a:pt x="57001" y="213320"/>
                  </a:lnTo>
                  <a:cubicBezTo>
                    <a:pt x="57001" y="212888"/>
                    <a:pt x="57432" y="211161"/>
                    <a:pt x="57432" y="211161"/>
                  </a:cubicBezTo>
                  <a:cubicBezTo>
                    <a:pt x="59160" y="210729"/>
                    <a:pt x="60023" y="208138"/>
                    <a:pt x="60023" y="206411"/>
                  </a:cubicBezTo>
                  <a:lnTo>
                    <a:pt x="63046" y="200365"/>
                  </a:lnTo>
                  <a:cubicBezTo>
                    <a:pt x="63478" y="199934"/>
                    <a:pt x="65637" y="196047"/>
                    <a:pt x="66069" y="193888"/>
                  </a:cubicBezTo>
                  <a:lnTo>
                    <a:pt x="68660" y="191729"/>
                  </a:lnTo>
                  <a:cubicBezTo>
                    <a:pt x="69523" y="189570"/>
                    <a:pt x="70819" y="189138"/>
                    <a:pt x="70819" y="186547"/>
                  </a:cubicBezTo>
                  <a:cubicBezTo>
                    <a:pt x="71683" y="183956"/>
                    <a:pt x="73410" y="182229"/>
                    <a:pt x="73842" y="179638"/>
                  </a:cubicBezTo>
                  <a:cubicBezTo>
                    <a:pt x="75137" y="178342"/>
                    <a:pt x="76433" y="175320"/>
                    <a:pt x="78160" y="172729"/>
                  </a:cubicBezTo>
                  <a:cubicBezTo>
                    <a:pt x="78160" y="171865"/>
                    <a:pt x="78592" y="171001"/>
                    <a:pt x="79887" y="168842"/>
                  </a:cubicBezTo>
                  <a:lnTo>
                    <a:pt x="80751" y="167115"/>
                  </a:lnTo>
                  <a:lnTo>
                    <a:pt x="80751" y="166683"/>
                  </a:lnTo>
                  <a:cubicBezTo>
                    <a:pt x="80751" y="166252"/>
                    <a:pt x="81183" y="165820"/>
                    <a:pt x="81614" y="164524"/>
                  </a:cubicBezTo>
                  <a:cubicBezTo>
                    <a:pt x="82478" y="164092"/>
                    <a:pt x="82478" y="164092"/>
                    <a:pt x="83342" y="161933"/>
                  </a:cubicBezTo>
                  <a:lnTo>
                    <a:pt x="83773" y="161501"/>
                  </a:lnTo>
                  <a:cubicBezTo>
                    <a:pt x="84205" y="158479"/>
                    <a:pt x="85933" y="155024"/>
                    <a:pt x="87660" y="152001"/>
                  </a:cubicBezTo>
                  <a:cubicBezTo>
                    <a:pt x="88092" y="150274"/>
                    <a:pt x="88092" y="149842"/>
                    <a:pt x="88092" y="149410"/>
                  </a:cubicBezTo>
                  <a:cubicBezTo>
                    <a:pt x="89819" y="147683"/>
                    <a:pt x="90683" y="143365"/>
                    <a:pt x="90683" y="142933"/>
                  </a:cubicBezTo>
                  <a:cubicBezTo>
                    <a:pt x="91546" y="142501"/>
                    <a:pt x="91978" y="140342"/>
                    <a:pt x="94569" y="139047"/>
                  </a:cubicBezTo>
                  <a:lnTo>
                    <a:pt x="94569" y="137319"/>
                  </a:lnTo>
                  <a:cubicBezTo>
                    <a:pt x="95433" y="136456"/>
                    <a:pt x="95433" y="136024"/>
                    <a:pt x="95433" y="135160"/>
                  </a:cubicBezTo>
                  <a:cubicBezTo>
                    <a:pt x="97160" y="131706"/>
                    <a:pt x="97160" y="129115"/>
                    <a:pt x="97592" y="126956"/>
                  </a:cubicBezTo>
                  <a:cubicBezTo>
                    <a:pt x="98455" y="125660"/>
                    <a:pt x="98455" y="123069"/>
                    <a:pt x="100183" y="121774"/>
                  </a:cubicBezTo>
                  <a:cubicBezTo>
                    <a:pt x="101046" y="120910"/>
                    <a:pt x="100615" y="120046"/>
                    <a:pt x="101478" y="117887"/>
                  </a:cubicBezTo>
                  <a:cubicBezTo>
                    <a:pt x="101478" y="116592"/>
                    <a:pt x="101478" y="116592"/>
                    <a:pt x="101910" y="114865"/>
                  </a:cubicBezTo>
                  <a:cubicBezTo>
                    <a:pt x="101910" y="114433"/>
                    <a:pt x="102342" y="114001"/>
                    <a:pt x="102342" y="112705"/>
                  </a:cubicBezTo>
                  <a:cubicBezTo>
                    <a:pt x="102774" y="111410"/>
                    <a:pt x="103637" y="109683"/>
                    <a:pt x="103637" y="108387"/>
                  </a:cubicBezTo>
                  <a:cubicBezTo>
                    <a:pt x="104933" y="106228"/>
                    <a:pt x="105796" y="104501"/>
                    <a:pt x="105796" y="101910"/>
                  </a:cubicBezTo>
                  <a:cubicBezTo>
                    <a:pt x="106228" y="101910"/>
                    <a:pt x="106228" y="101046"/>
                    <a:pt x="106660" y="100614"/>
                  </a:cubicBezTo>
                  <a:cubicBezTo>
                    <a:pt x="106660" y="98887"/>
                    <a:pt x="106660" y="98024"/>
                    <a:pt x="107524" y="96728"/>
                  </a:cubicBezTo>
                  <a:cubicBezTo>
                    <a:pt x="107956" y="95001"/>
                    <a:pt x="107956" y="94569"/>
                    <a:pt x="107956" y="92842"/>
                  </a:cubicBezTo>
                  <a:lnTo>
                    <a:pt x="107956" y="90683"/>
                  </a:lnTo>
                  <a:cubicBezTo>
                    <a:pt x="108819" y="87660"/>
                    <a:pt x="108387" y="85501"/>
                    <a:pt x="108819" y="84205"/>
                  </a:cubicBezTo>
                  <a:cubicBezTo>
                    <a:pt x="109683" y="82478"/>
                    <a:pt x="109683" y="79887"/>
                    <a:pt x="109683" y="77728"/>
                  </a:cubicBezTo>
                  <a:lnTo>
                    <a:pt x="109683" y="75137"/>
                  </a:lnTo>
                  <a:cubicBezTo>
                    <a:pt x="109683" y="74705"/>
                    <a:pt x="110115" y="73841"/>
                    <a:pt x="110115" y="72546"/>
                  </a:cubicBezTo>
                  <a:lnTo>
                    <a:pt x="110115" y="72114"/>
                  </a:lnTo>
                  <a:cubicBezTo>
                    <a:pt x="110115" y="69523"/>
                    <a:pt x="110978" y="67796"/>
                    <a:pt x="110978" y="65205"/>
                  </a:cubicBezTo>
                  <a:lnTo>
                    <a:pt x="110978" y="61319"/>
                  </a:lnTo>
                  <a:cubicBezTo>
                    <a:pt x="110546" y="59591"/>
                    <a:pt x="110115" y="58728"/>
                    <a:pt x="110115" y="57864"/>
                  </a:cubicBezTo>
                  <a:cubicBezTo>
                    <a:pt x="110115" y="57000"/>
                    <a:pt x="110115" y="55273"/>
                    <a:pt x="109683" y="54841"/>
                  </a:cubicBezTo>
                  <a:cubicBezTo>
                    <a:pt x="109683" y="53978"/>
                    <a:pt x="109683" y="53978"/>
                    <a:pt x="110115" y="53546"/>
                  </a:cubicBezTo>
                  <a:cubicBezTo>
                    <a:pt x="110115" y="52682"/>
                    <a:pt x="109683" y="51819"/>
                    <a:pt x="109683" y="50955"/>
                  </a:cubicBezTo>
                  <a:lnTo>
                    <a:pt x="109683" y="47932"/>
                  </a:lnTo>
                  <a:cubicBezTo>
                    <a:pt x="109251" y="47069"/>
                    <a:pt x="109251" y="46637"/>
                    <a:pt x="109251" y="46205"/>
                  </a:cubicBezTo>
                  <a:cubicBezTo>
                    <a:pt x="108819" y="44046"/>
                    <a:pt x="107092" y="43614"/>
                    <a:pt x="107092" y="42319"/>
                  </a:cubicBezTo>
                  <a:cubicBezTo>
                    <a:pt x="106660" y="41887"/>
                    <a:pt x="106228" y="41023"/>
                    <a:pt x="106228" y="40591"/>
                  </a:cubicBezTo>
                  <a:cubicBezTo>
                    <a:pt x="106228" y="40159"/>
                    <a:pt x="106228" y="39296"/>
                    <a:pt x="106228" y="38864"/>
                  </a:cubicBezTo>
                  <a:cubicBezTo>
                    <a:pt x="106228" y="38432"/>
                    <a:pt x="106228" y="38000"/>
                    <a:pt x="106228" y="38000"/>
                  </a:cubicBezTo>
                  <a:cubicBezTo>
                    <a:pt x="104069" y="35841"/>
                    <a:pt x="103637" y="34977"/>
                    <a:pt x="101046" y="34546"/>
                  </a:cubicBezTo>
                  <a:lnTo>
                    <a:pt x="101046" y="32818"/>
                  </a:lnTo>
                  <a:cubicBezTo>
                    <a:pt x="101046" y="32387"/>
                    <a:pt x="100615" y="32818"/>
                    <a:pt x="99319" y="32818"/>
                  </a:cubicBezTo>
                  <a:cubicBezTo>
                    <a:pt x="99319" y="33250"/>
                    <a:pt x="98887" y="33250"/>
                    <a:pt x="98887" y="33682"/>
                  </a:cubicBezTo>
                  <a:lnTo>
                    <a:pt x="98887" y="37568"/>
                  </a:lnTo>
                  <a:cubicBezTo>
                    <a:pt x="98455" y="38000"/>
                    <a:pt x="97592" y="38432"/>
                    <a:pt x="96728" y="38432"/>
                  </a:cubicBezTo>
                  <a:cubicBezTo>
                    <a:pt x="95433" y="39728"/>
                    <a:pt x="95001" y="40159"/>
                    <a:pt x="95001" y="40591"/>
                  </a:cubicBezTo>
                  <a:cubicBezTo>
                    <a:pt x="95001" y="41455"/>
                    <a:pt x="95001" y="41887"/>
                    <a:pt x="94569" y="42319"/>
                  </a:cubicBezTo>
                  <a:cubicBezTo>
                    <a:pt x="94569" y="42750"/>
                    <a:pt x="94569" y="43614"/>
                    <a:pt x="95001" y="44046"/>
                  </a:cubicBezTo>
                  <a:cubicBezTo>
                    <a:pt x="94569" y="44478"/>
                    <a:pt x="94569" y="46205"/>
                    <a:pt x="94569" y="47069"/>
                  </a:cubicBezTo>
                  <a:cubicBezTo>
                    <a:pt x="94137" y="47069"/>
                    <a:pt x="93705" y="47500"/>
                    <a:pt x="93274" y="47500"/>
                  </a:cubicBezTo>
                  <a:lnTo>
                    <a:pt x="93705" y="47932"/>
                  </a:lnTo>
                  <a:close/>
                  <a:moveTo>
                    <a:pt x="86796" y="189570"/>
                  </a:moveTo>
                  <a:cubicBezTo>
                    <a:pt x="86796" y="189570"/>
                    <a:pt x="86796" y="189138"/>
                    <a:pt x="85933" y="189138"/>
                  </a:cubicBezTo>
                  <a:lnTo>
                    <a:pt x="85501" y="189138"/>
                  </a:lnTo>
                  <a:cubicBezTo>
                    <a:pt x="85501" y="189570"/>
                    <a:pt x="84205" y="190002"/>
                    <a:pt x="83773" y="190865"/>
                  </a:cubicBezTo>
                  <a:cubicBezTo>
                    <a:pt x="83773" y="190865"/>
                    <a:pt x="85501" y="190865"/>
                    <a:pt x="86796" y="189570"/>
                  </a:cubicBezTo>
                  <a:close/>
                  <a:moveTo>
                    <a:pt x="91978" y="53546"/>
                  </a:moveTo>
                  <a:cubicBezTo>
                    <a:pt x="90683" y="53978"/>
                    <a:pt x="90251" y="54409"/>
                    <a:pt x="90251" y="54841"/>
                  </a:cubicBezTo>
                  <a:cubicBezTo>
                    <a:pt x="90251" y="55273"/>
                    <a:pt x="90251" y="55273"/>
                    <a:pt x="90683" y="55273"/>
                  </a:cubicBezTo>
                  <a:lnTo>
                    <a:pt x="91978" y="56137"/>
                  </a:lnTo>
                  <a:cubicBezTo>
                    <a:pt x="92410" y="55273"/>
                    <a:pt x="92410" y="55273"/>
                    <a:pt x="92842" y="55273"/>
                  </a:cubicBezTo>
                  <a:lnTo>
                    <a:pt x="92842" y="54841"/>
                  </a:lnTo>
                  <a:cubicBezTo>
                    <a:pt x="92842" y="54409"/>
                    <a:pt x="92842" y="54409"/>
                    <a:pt x="91978" y="53546"/>
                  </a:cubicBezTo>
                  <a:close/>
                  <a:moveTo>
                    <a:pt x="93705" y="47932"/>
                  </a:moveTo>
                  <a:cubicBezTo>
                    <a:pt x="94569" y="48364"/>
                    <a:pt x="95001" y="48364"/>
                    <a:pt x="95433" y="48364"/>
                  </a:cubicBezTo>
                  <a:cubicBezTo>
                    <a:pt x="95433" y="48364"/>
                    <a:pt x="95865" y="46637"/>
                    <a:pt x="95865" y="46205"/>
                  </a:cubicBezTo>
                  <a:cubicBezTo>
                    <a:pt x="95433" y="46205"/>
                    <a:pt x="95001" y="46637"/>
                    <a:pt x="94569" y="47069"/>
                  </a:cubicBezTo>
                  <a:lnTo>
                    <a:pt x="94569" y="47932"/>
                  </a:lnTo>
                  <a:lnTo>
                    <a:pt x="93705" y="47932"/>
                  </a:lnTo>
                  <a:close/>
                  <a:moveTo>
                    <a:pt x="96728" y="43182"/>
                  </a:moveTo>
                  <a:lnTo>
                    <a:pt x="95865" y="42750"/>
                  </a:lnTo>
                  <a:cubicBezTo>
                    <a:pt x="95865" y="42750"/>
                    <a:pt x="95433" y="42750"/>
                    <a:pt x="95433" y="43182"/>
                  </a:cubicBezTo>
                  <a:cubicBezTo>
                    <a:pt x="95433" y="43614"/>
                    <a:pt x="95865" y="44046"/>
                    <a:pt x="95865" y="44478"/>
                  </a:cubicBezTo>
                  <a:lnTo>
                    <a:pt x="97160" y="44478"/>
                  </a:lnTo>
                  <a:lnTo>
                    <a:pt x="96728" y="43182"/>
                  </a:lnTo>
                  <a:close/>
                  <a:moveTo>
                    <a:pt x="101478" y="158479"/>
                  </a:moveTo>
                  <a:cubicBezTo>
                    <a:pt x="101478" y="158047"/>
                    <a:pt x="101910" y="157183"/>
                    <a:pt x="101910" y="157183"/>
                  </a:cubicBezTo>
                  <a:cubicBezTo>
                    <a:pt x="101046" y="155888"/>
                    <a:pt x="100615" y="155888"/>
                    <a:pt x="100615" y="155888"/>
                  </a:cubicBezTo>
                  <a:cubicBezTo>
                    <a:pt x="99319" y="157183"/>
                    <a:pt x="99319" y="157183"/>
                    <a:pt x="99319" y="158479"/>
                  </a:cubicBezTo>
                  <a:lnTo>
                    <a:pt x="101478" y="158479"/>
                  </a:lnTo>
                  <a:close/>
                  <a:moveTo>
                    <a:pt x="121774" y="119615"/>
                  </a:moveTo>
                  <a:lnTo>
                    <a:pt x="121774" y="119183"/>
                  </a:lnTo>
                  <a:cubicBezTo>
                    <a:pt x="122206" y="119183"/>
                    <a:pt x="122206" y="119615"/>
                    <a:pt x="122206" y="119615"/>
                  </a:cubicBezTo>
                  <a:cubicBezTo>
                    <a:pt x="122206" y="119615"/>
                    <a:pt x="121774" y="120046"/>
                    <a:pt x="120478" y="120910"/>
                  </a:cubicBezTo>
                  <a:cubicBezTo>
                    <a:pt x="121774" y="120046"/>
                    <a:pt x="121774" y="119615"/>
                    <a:pt x="121774" y="119615"/>
                  </a:cubicBezTo>
                  <a:close/>
                </a:path>
              </a:pathLst>
            </a:custGeom>
            <a:solidFill>
              <a:srgbClr val="000000"/>
            </a:solidFill>
            <a:ln w="86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985F5B39-93C6-4A40-BB2F-AD479CBB82FA}"/>
                </a:ext>
              </a:extLst>
            </p:cNvPr>
            <p:cNvSpPr/>
            <p:nvPr/>
          </p:nvSpPr>
          <p:spPr>
            <a:xfrm>
              <a:off x="661378" y="6153056"/>
              <a:ext cx="172729" cy="198638"/>
            </a:xfrm>
            <a:custGeom>
              <a:avLst/>
              <a:gdLst>
                <a:gd name="connsiteX0" fmla="*/ 165388 w 172728"/>
                <a:gd name="connsiteY0" fmla="*/ 101478 h 198638"/>
                <a:gd name="connsiteX1" fmla="*/ 164092 w 172728"/>
                <a:gd name="connsiteY1" fmla="*/ 104501 h 198638"/>
                <a:gd name="connsiteX2" fmla="*/ 160638 w 172728"/>
                <a:gd name="connsiteY2" fmla="*/ 107524 h 198638"/>
                <a:gd name="connsiteX3" fmla="*/ 159774 w 172728"/>
                <a:gd name="connsiteY3" fmla="*/ 109251 h 198638"/>
                <a:gd name="connsiteX4" fmla="*/ 159342 w 172728"/>
                <a:gd name="connsiteY4" fmla="*/ 110115 h 198638"/>
                <a:gd name="connsiteX5" fmla="*/ 160206 w 172728"/>
                <a:gd name="connsiteY5" fmla="*/ 111842 h 198638"/>
                <a:gd name="connsiteX6" fmla="*/ 161070 w 172728"/>
                <a:gd name="connsiteY6" fmla="*/ 112274 h 198638"/>
                <a:gd name="connsiteX7" fmla="*/ 162797 w 172728"/>
                <a:gd name="connsiteY7" fmla="*/ 112706 h 198638"/>
                <a:gd name="connsiteX8" fmla="*/ 163229 w 172728"/>
                <a:gd name="connsiteY8" fmla="*/ 112274 h 198638"/>
                <a:gd name="connsiteX9" fmla="*/ 164092 w 172728"/>
                <a:gd name="connsiteY9" fmla="*/ 112706 h 198638"/>
                <a:gd name="connsiteX10" fmla="*/ 160638 w 172728"/>
                <a:gd name="connsiteY10" fmla="*/ 117888 h 198638"/>
                <a:gd name="connsiteX11" fmla="*/ 159342 w 172728"/>
                <a:gd name="connsiteY11" fmla="*/ 120478 h 198638"/>
                <a:gd name="connsiteX12" fmla="*/ 158047 w 172728"/>
                <a:gd name="connsiteY12" fmla="*/ 120910 h 198638"/>
                <a:gd name="connsiteX13" fmla="*/ 158479 w 172728"/>
                <a:gd name="connsiteY13" fmla="*/ 119615 h 198638"/>
                <a:gd name="connsiteX14" fmla="*/ 158047 w 172728"/>
                <a:gd name="connsiteY14" fmla="*/ 117888 h 198638"/>
                <a:gd name="connsiteX15" fmla="*/ 159342 w 172728"/>
                <a:gd name="connsiteY15" fmla="*/ 114433 h 198638"/>
                <a:gd name="connsiteX16" fmla="*/ 159774 w 172728"/>
                <a:gd name="connsiteY16" fmla="*/ 113569 h 198638"/>
                <a:gd name="connsiteX17" fmla="*/ 159342 w 172728"/>
                <a:gd name="connsiteY17" fmla="*/ 113569 h 198638"/>
                <a:gd name="connsiteX18" fmla="*/ 158479 w 172728"/>
                <a:gd name="connsiteY18" fmla="*/ 113569 h 198638"/>
                <a:gd name="connsiteX19" fmla="*/ 156751 w 172728"/>
                <a:gd name="connsiteY19" fmla="*/ 115728 h 198638"/>
                <a:gd name="connsiteX20" fmla="*/ 155456 w 172728"/>
                <a:gd name="connsiteY20" fmla="*/ 117024 h 198638"/>
                <a:gd name="connsiteX21" fmla="*/ 155024 w 172728"/>
                <a:gd name="connsiteY21" fmla="*/ 117024 h 198638"/>
                <a:gd name="connsiteX22" fmla="*/ 154161 w 172728"/>
                <a:gd name="connsiteY22" fmla="*/ 116592 h 198638"/>
                <a:gd name="connsiteX23" fmla="*/ 154161 w 172728"/>
                <a:gd name="connsiteY23" fmla="*/ 115728 h 198638"/>
                <a:gd name="connsiteX24" fmla="*/ 153729 w 172728"/>
                <a:gd name="connsiteY24" fmla="*/ 114865 h 198638"/>
                <a:gd name="connsiteX25" fmla="*/ 153297 w 172728"/>
                <a:gd name="connsiteY25" fmla="*/ 115728 h 198638"/>
                <a:gd name="connsiteX26" fmla="*/ 152001 w 172728"/>
                <a:gd name="connsiteY26" fmla="*/ 116592 h 198638"/>
                <a:gd name="connsiteX27" fmla="*/ 152001 w 172728"/>
                <a:gd name="connsiteY27" fmla="*/ 119615 h 198638"/>
                <a:gd name="connsiteX28" fmla="*/ 151570 w 172728"/>
                <a:gd name="connsiteY28" fmla="*/ 120047 h 198638"/>
                <a:gd name="connsiteX29" fmla="*/ 148547 w 172728"/>
                <a:gd name="connsiteY29" fmla="*/ 118751 h 198638"/>
                <a:gd name="connsiteX30" fmla="*/ 147683 w 172728"/>
                <a:gd name="connsiteY30" fmla="*/ 119183 h 198638"/>
                <a:gd name="connsiteX31" fmla="*/ 148115 w 172728"/>
                <a:gd name="connsiteY31" fmla="*/ 120478 h 198638"/>
                <a:gd name="connsiteX32" fmla="*/ 147251 w 172728"/>
                <a:gd name="connsiteY32" fmla="*/ 121774 h 198638"/>
                <a:gd name="connsiteX33" fmla="*/ 143797 w 172728"/>
                <a:gd name="connsiteY33" fmla="*/ 126956 h 198638"/>
                <a:gd name="connsiteX34" fmla="*/ 143365 w 172728"/>
                <a:gd name="connsiteY34" fmla="*/ 127388 h 198638"/>
                <a:gd name="connsiteX35" fmla="*/ 142501 w 172728"/>
                <a:gd name="connsiteY35" fmla="*/ 127388 h 198638"/>
                <a:gd name="connsiteX36" fmla="*/ 142069 w 172728"/>
                <a:gd name="connsiteY36" fmla="*/ 127819 h 198638"/>
                <a:gd name="connsiteX37" fmla="*/ 142069 w 172728"/>
                <a:gd name="connsiteY37" fmla="*/ 128683 h 198638"/>
                <a:gd name="connsiteX38" fmla="*/ 141206 w 172728"/>
                <a:gd name="connsiteY38" fmla="*/ 130842 h 198638"/>
                <a:gd name="connsiteX39" fmla="*/ 138615 w 172728"/>
                <a:gd name="connsiteY39" fmla="*/ 133001 h 198638"/>
                <a:gd name="connsiteX40" fmla="*/ 136456 w 172728"/>
                <a:gd name="connsiteY40" fmla="*/ 133865 h 198638"/>
                <a:gd name="connsiteX41" fmla="*/ 135592 w 172728"/>
                <a:gd name="connsiteY41" fmla="*/ 134729 h 198638"/>
                <a:gd name="connsiteX42" fmla="*/ 134729 w 172728"/>
                <a:gd name="connsiteY42" fmla="*/ 135160 h 198638"/>
                <a:gd name="connsiteX43" fmla="*/ 135592 w 172728"/>
                <a:gd name="connsiteY43" fmla="*/ 135592 h 198638"/>
                <a:gd name="connsiteX44" fmla="*/ 136024 w 172728"/>
                <a:gd name="connsiteY44" fmla="*/ 136024 h 198638"/>
                <a:gd name="connsiteX45" fmla="*/ 136888 w 172728"/>
                <a:gd name="connsiteY45" fmla="*/ 136888 h 198638"/>
                <a:gd name="connsiteX46" fmla="*/ 135160 w 172728"/>
                <a:gd name="connsiteY46" fmla="*/ 139047 h 198638"/>
                <a:gd name="connsiteX47" fmla="*/ 133433 w 172728"/>
                <a:gd name="connsiteY47" fmla="*/ 139910 h 198638"/>
                <a:gd name="connsiteX48" fmla="*/ 130410 w 172728"/>
                <a:gd name="connsiteY48" fmla="*/ 141638 h 198638"/>
                <a:gd name="connsiteX49" fmla="*/ 129115 w 172728"/>
                <a:gd name="connsiteY49" fmla="*/ 145092 h 198638"/>
                <a:gd name="connsiteX50" fmla="*/ 128251 w 172728"/>
                <a:gd name="connsiteY50" fmla="*/ 148115 h 198638"/>
                <a:gd name="connsiteX51" fmla="*/ 128683 w 172728"/>
                <a:gd name="connsiteY51" fmla="*/ 148979 h 198638"/>
                <a:gd name="connsiteX52" fmla="*/ 129115 w 172728"/>
                <a:gd name="connsiteY52" fmla="*/ 149410 h 198638"/>
                <a:gd name="connsiteX53" fmla="*/ 128683 w 172728"/>
                <a:gd name="connsiteY53" fmla="*/ 149842 h 198638"/>
                <a:gd name="connsiteX54" fmla="*/ 128251 w 172728"/>
                <a:gd name="connsiteY54" fmla="*/ 150706 h 198638"/>
                <a:gd name="connsiteX55" fmla="*/ 128683 w 172728"/>
                <a:gd name="connsiteY55" fmla="*/ 151570 h 198638"/>
                <a:gd name="connsiteX56" fmla="*/ 129115 w 172728"/>
                <a:gd name="connsiteY56" fmla="*/ 152001 h 198638"/>
                <a:gd name="connsiteX57" fmla="*/ 129547 w 172728"/>
                <a:gd name="connsiteY57" fmla="*/ 151570 h 198638"/>
                <a:gd name="connsiteX58" fmla="*/ 131274 w 172728"/>
                <a:gd name="connsiteY58" fmla="*/ 149410 h 198638"/>
                <a:gd name="connsiteX59" fmla="*/ 131274 w 172728"/>
                <a:gd name="connsiteY59" fmla="*/ 148979 h 198638"/>
                <a:gd name="connsiteX60" fmla="*/ 132569 w 172728"/>
                <a:gd name="connsiteY60" fmla="*/ 147683 h 198638"/>
                <a:gd name="connsiteX61" fmla="*/ 135160 w 172728"/>
                <a:gd name="connsiteY61" fmla="*/ 145956 h 198638"/>
                <a:gd name="connsiteX62" fmla="*/ 136024 w 172728"/>
                <a:gd name="connsiteY62" fmla="*/ 144229 h 198638"/>
                <a:gd name="connsiteX63" fmla="*/ 136888 w 172728"/>
                <a:gd name="connsiteY63" fmla="*/ 144660 h 198638"/>
                <a:gd name="connsiteX64" fmla="*/ 135160 w 172728"/>
                <a:gd name="connsiteY64" fmla="*/ 147251 h 198638"/>
                <a:gd name="connsiteX65" fmla="*/ 134729 w 172728"/>
                <a:gd name="connsiteY65" fmla="*/ 147683 h 198638"/>
                <a:gd name="connsiteX66" fmla="*/ 134729 w 172728"/>
                <a:gd name="connsiteY66" fmla="*/ 148115 h 198638"/>
                <a:gd name="connsiteX67" fmla="*/ 132138 w 172728"/>
                <a:gd name="connsiteY67" fmla="*/ 151570 h 198638"/>
                <a:gd name="connsiteX68" fmla="*/ 129547 w 172728"/>
                <a:gd name="connsiteY68" fmla="*/ 154592 h 198638"/>
                <a:gd name="connsiteX69" fmla="*/ 125660 w 172728"/>
                <a:gd name="connsiteY69" fmla="*/ 158047 h 198638"/>
                <a:gd name="connsiteX70" fmla="*/ 124365 w 172728"/>
                <a:gd name="connsiteY70" fmla="*/ 158911 h 198638"/>
                <a:gd name="connsiteX71" fmla="*/ 123933 w 172728"/>
                <a:gd name="connsiteY71" fmla="*/ 158911 h 198638"/>
                <a:gd name="connsiteX72" fmla="*/ 122206 w 172728"/>
                <a:gd name="connsiteY72" fmla="*/ 157183 h 198638"/>
                <a:gd name="connsiteX73" fmla="*/ 121774 w 172728"/>
                <a:gd name="connsiteY73" fmla="*/ 156752 h 198638"/>
                <a:gd name="connsiteX74" fmla="*/ 121774 w 172728"/>
                <a:gd name="connsiteY74" fmla="*/ 156320 h 198638"/>
                <a:gd name="connsiteX75" fmla="*/ 122206 w 172728"/>
                <a:gd name="connsiteY75" fmla="*/ 155888 h 198638"/>
                <a:gd name="connsiteX76" fmla="*/ 123069 w 172728"/>
                <a:gd name="connsiteY76" fmla="*/ 155024 h 198638"/>
                <a:gd name="connsiteX77" fmla="*/ 123501 w 172728"/>
                <a:gd name="connsiteY77" fmla="*/ 154592 h 198638"/>
                <a:gd name="connsiteX78" fmla="*/ 123069 w 172728"/>
                <a:gd name="connsiteY78" fmla="*/ 154161 h 198638"/>
                <a:gd name="connsiteX79" fmla="*/ 122206 w 172728"/>
                <a:gd name="connsiteY79" fmla="*/ 153297 h 198638"/>
                <a:gd name="connsiteX80" fmla="*/ 123069 w 172728"/>
                <a:gd name="connsiteY80" fmla="*/ 152865 h 198638"/>
                <a:gd name="connsiteX81" fmla="*/ 123069 w 172728"/>
                <a:gd name="connsiteY81" fmla="*/ 152433 h 198638"/>
                <a:gd name="connsiteX82" fmla="*/ 123501 w 172728"/>
                <a:gd name="connsiteY82" fmla="*/ 152001 h 198638"/>
                <a:gd name="connsiteX83" fmla="*/ 123501 w 172728"/>
                <a:gd name="connsiteY83" fmla="*/ 151570 h 198638"/>
                <a:gd name="connsiteX84" fmla="*/ 122637 w 172728"/>
                <a:gd name="connsiteY84" fmla="*/ 151138 h 198638"/>
                <a:gd name="connsiteX85" fmla="*/ 122206 w 172728"/>
                <a:gd name="connsiteY85" fmla="*/ 151138 h 198638"/>
                <a:gd name="connsiteX86" fmla="*/ 118751 w 172728"/>
                <a:gd name="connsiteY86" fmla="*/ 154592 h 198638"/>
                <a:gd name="connsiteX87" fmla="*/ 118319 w 172728"/>
                <a:gd name="connsiteY87" fmla="*/ 155024 h 198638"/>
                <a:gd name="connsiteX88" fmla="*/ 118751 w 172728"/>
                <a:gd name="connsiteY88" fmla="*/ 155456 h 198638"/>
                <a:gd name="connsiteX89" fmla="*/ 119615 w 172728"/>
                <a:gd name="connsiteY89" fmla="*/ 155456 h 198638"/>
                <a:gd name="connsiteX90" fmla="*/ 120047 w 172728"/>
                <a:gd name="connsiteY90" fmla="*/ 155888 h 198638"/>
                <a:gd name="connsiteX91" fmla="*/ 119183 w 172728"/>
                <a:gd name="connsiteY91" fmla="*/ 156320 h 198638"/>
                <a:gd name="connsiteX92" fmla="*/ 117456 w 172728"/>
                <a:gd name="connsiteY92" fmla="*/ 158911 h 198638"/>
                <a:gd name="connsiteX93" fmla="*/ 117456 w 172728"/>
                <a:gd name="connsiteY93" fmla="*/ 159774 h 198638"/>
                <a:gd name="connsiteX94" fmla="*/ 117887 w 172728"/>
                <a:gd name="connsiteY94" fmla="*/ 161501 h 198638"/>
                <a:gd name="connsiteX95" fmla="*/ 117887 w 172728"/>
                <a:gd name="connsiteY95" fmla="*/ 161933 h 198638"/>
                <a:gd name="connsiteX96" fmla="*/ 117024 w 172728"/>
                <a:gd name="connsiteY96" fmla="*/ 162797 h 198638"/>
                <a:gd name="connsiteX97" fmla="*/ 116592 w 172728"/>
                <a:gd name="connsiteY97" fmla="*/ 163229 h 198638"/>
                <a:gd name="connsiteX98" fmla="*/ 117024 w 172728"/>
                <a:gd name="connsiteY98" fmla="*/ 163229 h 198638"/>
                <a:gd name="connsiteX99" fmla="*/ 117456 w 172728"/>
                <a:gd name="connsiteY99" fmla="*/ 164092 h 198638"/>
                <a:gd name="connsiteX100" fmla="*/ 117887 w 172728"/>
                <a:gd name="connsiteY100" fmla="*/ 164956 h 198638"/>
                <a:gd name="connsiteX101" fmla="*/ 116592 w 172728"/>
                <a:gd name="connsiteY101" fmla="*/ 166252 h 198638"/>
                <a:gd name="connsiteX102" fmla="*/ 114433 w 172728"/>
                <a:gd name="connsiteY102" fmla="*/ 166683 h 198638"/>
                <a:gd name="connsiteX103" fmla="*/ 113569 w 172728"/>
                <a:gd name="connsiteY103" fmla="*/ 167547 h 198638"/>
                <a:gd name="connsiteX104" fmla="*/ 114001 w 172728"/>
                <a:gd name="connsiteY104" fmla="*/ 168411 h 198638"/>
                <a:gd name="connsiteX105" fmla="*/ 114433 w 172728"/>
                <a:gd name="connsiteY105" fmla="*/ 169274 h 198638"/>
                <a:gd name="connsiteX106" fmla="*/ 114433 w 172728"/>
                <a:gd name="connsiteY106" fmla="*/ 169706 h 198638"/>
                <a:gd name="connsiteX107" fmla="*/ 113569 w 172728"/>
                <a:gd name="connsiteY107" fmla="*/ 169706 h 198638"/>
                <a:gd name="connsiteX108" fmla="*/ 111410 w 172728"/>
                <a:gd name="connsiteY108" fmla="*/ 168842 h 198638"/>
                <a:gd name="connsiteX109" fmla="*/ 110546 w 172728"/>
                <a:gd name="connsiteY109" fmla="*/ 168842 h 198638"/>
                <a:gd name="connsiteX110" fmla="*/ 109683 w 172728"/>
                <a:gd name="connsiteY110" fmla="*/ 167979 h 198638"/>
                <a:gd name="connsiteX111" fmla="*/ 110978 w 172728"/>
                <a:gd name="connsiteY111" fmla="*/ 166683 h 198638"/>
                <a:gd name="connsiteX112" fmla="*/ 110546 w 172728"/>
                <a:gd name="connsiteY112" fmla="*/ 166252 h 198638"/>
                <a:gd name="connsiteX113" fmla="*/ 110978 w 172728"/>
                <a:gd name="connsiteY113" fmla="*/ 165820 h 198638"/>
                <a:gd name="connsiteX114" fmla="*/ 109251 w 172728"/>
                <a:gd name="connsiteY114" fmla="*/ 166252 h 198638"/>
                <a:gd name="connsiteX115" fmla="*/ 104933 w 172728"/>
                <a:gd name="connsiteY115" fmla="*/ 166252 h 198638"/>
                <a:gd name="connsiteX116" fmla="*/ 104501 w 172728"/>
                <a:gd name="connsiteY116" fmla="*/ 167547 h 198638"/>
                <a:gd name="connsiteX117" fmla="*/ 107524 w 172728"/>
                <a:gd name="connsiteY117" fmla="*/ 170138 h 198638"/>
                <a:gd name="connsiteX118" fmla="*/ 107956 w 172728"/>
                <a:gd name="connsiteY118" fmla="*/ 170570 h 198638"/>
                <a:gd name="connsiteX119" fmla="*/ 107956 w 172728"/>
                <a:gd name="connsiteY119" fmla="*/ 171002 h 198638"/>
                <a:gd name="connsiteX120" fmla="*/ 108387 w 172728"/>
                <a:gd name="connsiteY120" fmla="*/ 171865 h 198638"/>
                <a:gd name="connsiteX121" fmla="*/ 108387 w 172728"/>
                <a:gd name="connsiteY121" fmla="*/ 173161 h 198638"/>
                <a:gd name="connsiteX122" fmla="*/ 104501 w 172728"/>
                <a:gd name="connsiteY122" fmla="*/ 177911 h 198638"/>
                <a:gd name="connsiteX123" fmla="*/ 102774 w 172728"/>
                <a:gd name="connsiteY123" fmla="*/ 179206 h 198638"/>
                <a:gd name="connsiteX124" fmla="*/ 100183 w 172728"/>
                <a:gd name="connsiteY124" fmla="*/ 182229 h 198638"/>
                <a:gd name="connsiteX125" fmla="*/ 96296 w 172728"/>
                <a:gd name="connsiteY125" fmla="*/ 185252 h 198638"/>
                <a:gd name="connsiteX126" fmla="*/ 93274 w 172728"/>
                <a:gd name="connsiteY126" fmla="*/ 187411 h 198638"/>
                <a:gd name="connsiteX127" fmla="*/ 88955 w 172728"/>
                <a:gd name="connsiteY127" fmla="*/ 190434 h 198638"/>
                <a:gd name="connsiteX128" fmla="*/ 86364 w 172728"/>
                <a:gd name="connsiteY128" fmla="*/ 192161 h 198638"/>
                <a:gd name="connsiteX129" fmla="*/ 82910 w 172728"/>
                <a:gd name="connsiteY129" fmla="*/ 193888 h 198638"/>
                <a:gd name="connsiteX130" fmla="*/ 73842 w 172728"/>
                <a:gd name="connsiteY130" fmla="*/ 198206 h 198638"/>
                <a:gd name="connsiteX131" fmla="*/ 71683 w 172728"/>
                <a:gd name="connsiteY131" fmla="*/ 200365 h 198638"/>
                <a:gd name="connsiteX132" fmla="*/ 68660 w 172728"/>
                <a:gd name="connsiteY132" fmla="*/ 200365 h 198638"/>
                <a:gd name="connsiteX133" fmla="*/ 67364 w 172728"/>
                <a:gd name="connsiteY133" fmla="*/ 200797 h 198638"/>
                <a:gd name="connsiteX134" fmla="*/ 64341 w 172728"/>
                <a:gd name="connsiteY134" fmla="*/ 202093 h 198638"/>
                <a:gd name="connsiteX135" fmla="*/ 61319 w 172728"/>
                <a:gd name="connsiteY135" fmla="*/ 202525 h 198638"/>
                <a:gd name="connsiteX136" fmla="*/ 59160 w 172728"/>
                <a:gd name="connsiteY136" fmla="*/ 203388 h 198638"/>
                <a:gd name="connsiteX137" fmla="*/ 58296 w 172728"/>
                <a:gd name="connsiteY137" fmla="*/ 203820 h 198638"/>
                <a:gd name="connsiteX138" fmla="*/ 57864 w 172728"/>
                <a:gd name="connsiteY138" fmla="*/ 203388 h 198638"/>
                <a:gd name="connsiteX139" fmla="*/ 55705 w 172728"/>
                <a:gd name="connsiteY139" fmla="*/ 202956 h 198638"/>
                <a:gd name="connsiteX140" fmla="*/ 53546 w 172728"/>
                <a:gd name="connsiteY140" fmla="*/ 203388 h 198638"/>
                <a:gd name="connsiteX141" fmla="*/ 51387 w 172728"/>
                <a:gd name="connsiteY141" fmla="*/ 203820 h 198638"/>
                <a:gd name="connsiteX142" fmla="*/ 46205 w 172728"/>
                <a:gd name="connsiteY142" fmla="*/ 203820 h 198638"/>
                <a:gd name="connsiteX143" fmla="*/ 44046 w 172728"/>
                <a:gd name="connsiteY143" fmla="*/ 203388 h 198638"/>
                <a:gd name="connsiteX144" fmla="*/ 37137 w 172728"/>
                <a:gd name="connsiteY144" fmla="*/ 203388 h 198638"/>
                <a:gd name="connsiteX145" fmla="*/ 35409 w 172728"/>
                <a:gd name="connsiteY145" fmla="*/ 202956 h 198638"/>
                <a:gd name="connsiteX146" fmla="*/ 34114 w 172728"/>
                <a:gd name="connsiteY146" fmla="*/ 202525 h 198638"/>
                <a:gd name="connsiteX147" fmla="*/ 27637 w 172728"/>
                <a:gd name="connsiteY147" fmla="*/ 201229 h 198638"/>
                <a:gd name="connsiteX148" fmla="*/ 26773 w 172728"/>
                <a:gd name="connsiteY148" fmla="*/ 200797 h 198638"/>
                <a:gd name="connsiteX149" fmla="*/ 24182 w 172728"/>
                <a:gd name="connsiteY149" fmla="*/ 199502 h 198638"/>
                <a:gd name="connsiteX150" fmla="*/ 22455 w 172728"/>
                <a:gd name="connsiteY150" fmla="*/ 198206 h 198638"/>
                <a:gd name="connsiteX151" fmla="*/ 19864 w 172728"/>
                <a:gd name="connsiteY151" fmla="*/ 196479 h 198638"/>
                <a:gd name="connsiteX152" fmla="*/ 16841 w 172728"/>
                <a:gd name="connsiteY152" fmla="*/ 196479 h 198638"/>
                <a:gd name="connsiteX153" fmla="*/ 16409 w 172728"/>
                <a:gd name="connsiteY153" fmla="*/ 195615 h 198638"/>
                <a:gd name="connsiteX154" fmla="*/ 17273 w 172728"/>
                <a:gd name="connsiteY154" fmla="*/ 194752 h 198638"/>
                <a:gd name="connsiteX155" fmla="*/ 17273 w 172728"/>
                <a:gd name="connsiteY155" fmla="*/ 194320 h 198638"/>
                <a:gd name="connsiteX156" fmla="*/ 16841 w 172728"/>
                <a:gd name="connsiteY156" fmla="*/ 193888 h 198638"/>
                <a:gd name="connsiteX157" fmla="*/ 15977 w 172728"/>
                <a:gd name="connsiteY157" fmla="*/ 193456 h 198638"/>
                <a:gd name="connsiteX158" fmla="*/ 13387 w 172728"/>
                <a:gd name="connsiteY158" fmla="*/ 192593 h 198638"/>
                <a:gd name="connsiteX159" fmla="*/ 12955 w 172728"/>
                <a:gd name="connsiteY159" fmla="*/ 192593 h 198638"/>
                <a:gd name="connsiteX160" fmla="*/ 12523 w 172728"/>
                <a:gd name="connsiteY160" fmla="*/ 192161 h 198638"/>
                <a:gd name="connsiteX161" fmla="*/ 12955 w 172728"/>
                <a:gd name="connsiteY161" fmla="*/ 191297 h 198638"/>
                <a:gd name="connsiteX162" fmla="*/ 12955 w 172728"/>
                <a:gd name="connsiteY162" fmla="*/ 190434 h 198638"/>
                <a:gd name="connsiteX163" fmla="*/ 11227 w 172728"/>
                <a:gd name="connsiteY163" fmla="*/ 190434 h 198638"/>
                <a:gd name="connsiteX164" fmla="*/ 10796 w 172728"/>
                <a:gd name="connsiteY164" fmla="*/ 189138 h 198638"/>
                <a:gd name="connsiteX165" fmla="*/ 11227 w 172728"/>
                <a:gd name="connsiteY165" fmla="*/ 189138 h 198638"/>
                <a:gd name="connsiteX166" fmla="*/ 12091 w 172728"/>
                <a:gd name="connsiteY166" fmla="*/ 187411 h 198638"/>
                <a:gd name="connsiteX167" fmla="*/ 10796 w 172728"/>
                <a:gd name="connsiteY167" fmla="*/ 185252 h 198638"/>
                <a:gd name="connsiteX168" fmla="*/ 3455 w 172728"/>
                <a:gd name="connsiteY168" fmla="*/ 174888 h 198638"/>
                <a:gd name="connsiteX169" fmla="*/ 2591 w 172728"/>
                <a:gd name="connsiteY169" fmla="*/ 172297 h 198638"/>
                <a:gd name="connsiteX170" fmla="*/ 1295 w 172728"/>
                <a:gd name="connsiteY170" fmla="*/ 167979 h 198638"/>
                <a:gd name="connsiteX171" fmla="*/ 1295 w 172728"/>
                <a:gd name="connsiteY171" fmla="*/ 163229 h 198638"/>
                <a:gd name="connsiteX172" fmla="*/ 864 w 172728"/>
                <a:gd name="connsiteY172" fmla="*/ 161070 h 198638"/>
                <a:gd name="connsiteX173" fmla="*/ 1295 w 172728"/>
                <a:gd name="connsiteY173" fmla="*/ 159774 h 198638"/>
                <a:gd name="connsiteX174" fmla="*/ 1295 w 172728"/>
                <a:gd name="connsiteY174" fmla="*/ 157183 h 198638"/>
                <a:gd name="connsiteX175" fmla="*/ 1727 w 172728"/>
                <a:gd name="connsiteY175" fmla="*/ 155888 h 198638"/>
                <a:gd name="connsiteX176" fmla="*/ 1295 w 172728"/>
                <a:gd name="connsiteY176" fmla="*/ 154592 h 198638"/>
                <a:gd name="connsiteX177" fmla="*/ 864 w 172728"/>
                <a:gd name="connsiteY177" fmla="*/ 152001 h 198638"/>
                <a:gd name="connsiteX178" fmla="*/ 864 w 172728"/>
                <a:gd name="connsiteY178" fmla="*/ 151138 h 198638"/>
                <a:gd name="connsiteX179" fmla="*/ 1295 w 172728"/>
                <a:gd name="connsiteY179" fmla="*/ 149410 h 198638"/>
                <a:gd name="connsiteX180" fmla="*/ 432 w 172728"/>
                <a:gd name="connsiteY180" fmla="*/ 148115 h 198638"/>
                <a:gd name="connsiteX181" fmla="*/ 0 w 172728"/>
                <a:gd name="connsiteY181" fmla="*/ 146820 h 198638"/>
                <a:gd name="connsiteX182" fmla="*/ 864 w 172728"/>
                <a:gd name="connsiteY182" fmla="*/ 144660 h 198638"/>
                <a:gd name="connsiteX183" fmla="*/ 432 w 172728"/>
                <a:gd name="connsiteY183" fmla="*/ 142501 h 198638"/>
                <a:gd name="connsiteX184" fmla="*/ 864 w 172728"/>
                <a:gd name="connsiteY184" fmla="*/ 136888 h 198638"/>
                <a:gd name="connsiteX185" fmla="*/ 432 w 172728"/>
                <a:gd name="connsiteY185" fmla="*/ 135592 h 198638"/>
                <a:gd name="connsiteX186" fmla="*/ 1295 w 172728"/>
                <a:gd name="connsiteY186" fmla="*/ 133433 h 198638"/>
                <a:gd name="connsiteX187" fmla="*/ 1727 w 172728"/>
                <a:gd name="connsiteY187" fmla="*/ 132569 h 198638"/>
                <a:gd name="connsiteX188" fmla="*/ 2591 w 172728"/>
                <a:gd name="connsiteY188" fmla="*/ 133865 h 198638"/>
                <a:gd name="connsiteX189" fmla="*/ 2591 w 172728"/>
                <a:gd name="connsiteY189" fmla="*/ 134729 h 198638"/>
                <a:gd name="connsiteX190" fmla="*/ 3023 w 172728"/>
                <a:gd name="connsiteY190" fmla="*/ 134297 h 198638"/>
                <a:gd name="connsiteX191" fmla="*/ 3023 w 172728"/>
                <a:gd name="connsiteY191" fmla="*/ 130410 h 198638"/>
                <a:gd name="connsiteX192" fmla="*/ 3455 w 172728"/>
                <a:gd name="connsiteY192" fmla="*/ 129547 h 198638"/>
                <a:gd name="connsiteX193" fmla="*/ 4318 w 172728"/>
                <a:gd name="connsiteY193" fmla="*/ 128683 h 198638"/>
                <a:gd name="connsiteX194" fmla="*/ 3886 w 172728"/>
                <a:gd name="connsiteY194" fmla="*/ 128683 h 198638"/>
                <a:gd name="connsiteX195" fmla="*/ 3023 w 172728"/>
                <a:gd name="connsiteY195" fmla="*/ 125228 h 198638"/>
                <a:gd name="connsiteX196" fmla="*/ 3023 w 172728"/>
                <a:gd name="connsiteY196" fmla="*/ 124365 h 198638"/>
                <a:gd name="connsiteX197" fmla="*/ 2591 w 172728"/>
                <a:gd name="connsiteY197" fmla="*/ 123501 h 198638"/>
                <a:gd name="connsiteX198" fmla="*/ 3023 w 172728"/>
                <a:gd name="connsiteY198" fmla="*/ 120910 h 198638"/>
                <a:gd name="connsiteX199" fmla="*/ 3023 w 172728"/>
                <a:gd name="connsiteY199" fmla="*/ 119615 h 198638"/>
                <a:gd name="connsiteX200" fmla="*/ 3455 w 172728"/>
                <a:gd name="connsiteY200" fmla="*/ 117888 h 198638"/>
                <a:gd name="connsiteX201" fmla="*/ 4318 w 172728"/>
                <a:gd name="connsiteY201" fmla="*/ 117456 h 198638"/>
                <a:gd name="connsiteX202" fmla="*/ 5182 w 172728"/>
                <a:gd name="connsiteY202" fmla="*/ 116592 h 198638"/>
                <a:gd name="connsiteX203" fmla="*/ 5614 w 172728"/>
                <a:gd name="connsiteY203" fmla="*/ 116160 h 198638"/>
                <a:gd name="connsiteX204" fmla="*/ 5614 w 172728"/>
                <a:gd name="connsiteY204" fmla="*/ 115728 h 198638"/>
                <a:gd name="connsiteX205" fmla="*/ 5182 w 172728"/>
                <a:gd name="connsiteY205" fmla="*/ 115297 h 198638"/>
                <a:gd name="connsiteX206" fmla="*/ 4318 w 172728"/>
                <a:gd name="connsiteY206" fmla="*/ 115728 h 198638"/>
                <a:gd name="connsiteX207" fmla="*/ 3886 w 172728"/>
                <a:gd name="connsiteY207" fmla="*/ 115728 h 198638"/>
                <a:gd name="connsiteX208" fmla="*/ 4318 w 172728"/>
                <a:gd name="connsiteY208" fmla="*/ 114433 h 198638"/>
                <a:gd name="connsiteX209" fmla="*/ 4750 w 172728"/>
                <a:gd name="connsiteY209" fmla="*/ 113137 h 198638"/>
                <a:gd name="connsiteX210" fmla="*/ 3886 w 172728"/>
                <a:gd name="connsiteY210" fmla="*/ 110978 h 198638"/>
                <a:gd name="connsiteX211" fmla="*/ 4318 w 172728"/>
                <a:gd name="connsiteY211" fmla="*/ 110115 h 198638"/>
                <a:gd name="connsiteX212" fmla="*/ 3886 w 172728"/>
                <a:gd name="connsiteY212" fmla="*/ 108819 h 198638"/>
                <a:gd name="connsiteX213" fmla="*/ 3886 w 172728"/>
                <a:gd name="connsiteY213" fmla="*/ 108387 h 198638"/>
                <a:gd name="connsiteX214" fmla="*/ 5614 w 172728"/>
                <a:gd name="connsiteY214" fmla="*/ 104069 h 198638"/>
                <a:gd name="connsiteX215" fmla="*/ 5182 w 172728"/>
                <a:gd name="connsiteY215" fmla="*/ 102342 h 198638"/>
                <a:gd name="connsiteX216" fmla="*/ 6045 w 172728"/>
                <a:gd name="connsiteY216" fmla="*/ 98887 h 198638"/>
                <a:gd name="connsiteX217" fmla="*/ 6045 w 172728"/>
                <a:gd name="connsiteY217" fmla="*/ 98024 h 198638"/>
                <a:gd name="connsiteX218" fmla="*/ 7341 w 172728"/>
                <a:gd name="connsiteY218" fmla="*/ 96728 h 198638"/>
                <a:gd name="connsiteX219" fmla="*/ 7773 w 172728"/>
                <a:gd name="connsiteY219" fmla="*/ 95865 h 198638"/>
                <a:gd name="connsiteX220" fmla="*/ 7341 w 172728"/>
                <a:gd name="connsiteY220" fmla="*/ 94569 h 198638"/>
                <a:gd name="connsiteX221" fmla="*/ 7773 w 172728"/>
                <a:gd name="connsiteY221" fmla="*/ 92410 h 198638"/>
                <a:gd name="connsiteX222" fmla="*/ 8205 w 172728"/>
                <a:gd name="connsiteY222" fmla="*/ 91546 h 198638"/>
                <a:gd name="connsiteX223" fmla="*/ 9068 w 172728"/>
                <a:gd name="connsiteY223" fmla="*/ 89819 h 198638"/>
                <a:gd name="connsiteX224" fmla="*/ 9068 w 172728"/>
                <a:gd name="connsiteY224" fmla="*/ 87228 h 198638"/>
                <a:gd name="connsiteX225" fmla="*/ 9500 w 172728"/>
                <a:gd name="connsiteY225" fmla="*/ 82910 h 198638"/>
                <a:gd name="connsiteX226" fmla="*/ 12091 w 172728"/>
                <a:gd name="connsiteY226" fmla="*/ 78592 h 198638"/>
                <a:gd name="connsiteX227" fmla="*/ 12955 w 172728"/>
                <a:gd name="connsiteY227" fmla="*/ 76433 h 198638"/>
                <a:gd name="connsiteX228" fmla="*/ 12523 w 172728"/>
                <a:gd name="connsiteY228" fmla="*/ 74705 h 198638"/>
                <a:gd name="connsiteX229" fmla="*/ 13387 w 172728"/>
                <a:gd name="connsiteY229" fmla="*/ 72546 h 198638"/>
                <a:gd name="connsiteX230" fmla="*/ 16841 w 172728"/>
                <a:gd name="connsiteY230" fmla="*/ 64773 h 198638"/>
                <a:gd name="connsiteX231" fmla="*/ 17705 w 172728"/>
                <a:gd name="connsiteY231" fmla="*/ 61319 h 198638"/>
                <a:gd name="connsiteX232" fmla="*/ 19000 w 172728"/>
                <a:gd name="connsiteY232" fmla="*/ 57864 h 198638"/>
                <a:gd name="connsiteX233" fmla="*/ 20296 w 172728"/>
                <a:gd name="connsiteY233" fmla="*/ 57001 h 198638"/>
                <a:gd name="connsiteX234" fmla="*/ 22023 w 172728"/>
                <a:gd name="connsiteY234" fmla="*/ 52251 h 198638"/>
                <a:gd name="connsiteX235" fmla="*/ 25046 w 172728"/>
                <a:gd name="connsiteY235" fmla="*/ 46205 h 198638"/>
                <a:gd name="connsiteX236" fmla="*/ 25909 w 172728"/>
                <a:gd name="connsiteY236" fmla="*/ 42750 h 198638"/>
                <a:gd name="connsiteX237" fmla="*/ 26773 w 172728"/>
                <a:gd name="connsiteY237" fmla="*/ 41455 h 198638"/>
                <a:gd name="connsiteX238" fmla="*/ 29796 w 172728"/>
                <a:gd name="connsiteY238" fmla="*/ 37569 h 198638"/>
                <a:gd name="connsiteX239" fmla="*/ 33250 w 172728"/>
                <a:gd name="connsiteY239" fmla="*/ 31523 h 198638"/>
                <a:gd name="connsiteX240" fmla="*/ 33250 w 172728"/>
                <a:gd name="connsiteY240" fmla="*/ 31091 h 198638"/>
                <a:gd name="connsiteX241" fmla="*/ 35409 w 172728"/>
                <a:gd name="connsiteY241" fmla="*/ 27637 h 198638"/>
                <a:gd name="connsiteX242" fmla="*/ 35409 w 172728"/>
                <a:gd name="connsiteY242" fmla="*/ 27205 h 198638"/>
                <a:gd name="connsiteX243" fmla="*/ 40159 w 172728"/>
                <a:gd name="connsiteY243" fmla="*/ 19432 h 198638"/>
                <a:gd name="connsiteX244" fmla="*/ 46205 w 172728"/>
                <a:gd name="connsiteY244" fmla="*/ 12955 h 198638"/>
                <a:gd name="connsiteX245" fmla="*/ 47500 w 172728"/>
                <a:gd name="connsiteY245" fmla="*/ 10796 h 198638"/>
                <a:gd name="connsiteX246" fmla="*/ 50091 w 172728"/>
                <a:gd name="connsiteY246" fmla="*/ 9068 h 198638"/>
                <a:gd name="connsiteX247" fmla="*/ 54410 w 172728"/>
                <a:gd name="connsiteY247" fmla="*/ 6045 h 198638"/>
                <a:gd name="connsiteX248" fmla="*/ 55273 w 172728"/>
                <a:gd name="connsiteY248" fmla="*/ 5614 h 198638"/>
                <a:gd name="connsiteX249" fmla="*/ 60887 w 172728"/>
                <a:gd name="connsiteY249" fmla="*/ 2159 h 198638"/>
                <a:gd name="connsiteX250" fmla="*/ 64341 w 172728"/>
                <a:gd name="connsiteY250" fmla="*/ 864 h 198638"/>
                <a:gd name="connsiteX251" fmla="*/ 68228 w 172728"/>
                <a:gd name="connsiteY251" fmla="*/ 0 h 198638"/>
                <a:gd name="connsiteX252" fmla="*/ 76001 w 172728"/>
                <a:gd name="connsiteY252" fmla="*/ 0 h 198638"/>
                <a:gd name="connsiteX253" fmla="*/ 79023 w 172728"/>
                <a:gd name="connsiteY253" fmla="*/ 2159 h 198638"/>
                <a:gd name="connsiteX254" fmla="*/ 79887 w 172728"/>
                <a:gd name="connsiteY254" fmla="*/ 3023 h 198638"/>
                <a:gd name="connsiteX255" fmla="*/ 83773 w 172728"/>
                <a:gd name="connsiteY255" fmla="*/ 5614 h 198638"/>
                <a:gd name="connsiteX256" fmla="*/ 85501 w 172728"/>
                <a:gd name="connsiteY256" fmla="*/ 6909 h 198638"/>
                <a:gd name="connsiteX257" fmla="*/ 86796 w 172728"/>
                <a:gd name="connsiteY257" fmla="*/ 7773 h 198638"/>
                <a:gd name="connsiteX258" fmla="*/ 87660 w 172728"/>
                <a:gd name="connsiteY258" fmla="*/ 9068 h 198638"/>
                <a:gd name="connsiteX259" fmla="*/ 90251 w 172728"/>
                <a:gd name="connsiteY259" fmla="*/ 9932 h 198638"/>
                <a:gd name="connsiteX260" fmla="*/ 91115 w 172728"/>
                <a:gd name="connsiteY260" fmla="*/ 9932 h 198638"/>
                <a:gd name="connsiteX261" fmla="*/ 93705 w 172728"/>
                <a:gd name="connsiteY261" fmla="*/ 11659 h 198638"/>
                <a:gd name="connsiteX262" fmla="*/ 94137 w 172728"/>
                <a:gd name="connsiteY262" fmla="*/ 12955 h 198638"/>
                <a:gd name="connsiteX263" fmla="*/ 93705 w 172728"/>
                <a:gd name="connsiteY263" fmla="*/ 13818 h 198638"/>
                <a:gd name="connsiteX264" fmla="*/ 90683 w 172728"/>
                <a:gd name="connsiteY264" fmla="*/ 14682 h 198638"/>
                <a:gd name="connsiteX265" fmla="*/ 90251 w 172728"/>
                <a:gd name="connsiteY265" fmla="*/ 15114 h 198638"/>
                <a:gd name="connsiteX266" fmla="*/ 89819 w 172728"/>
                <a:gd name="connsiteY266" fmla="*/ 13818 h 198638"/>
                <a:gd name="connsiteX267" fmla="*/ 89819 w 172728"/>
                <a:gd name="connsiteY267" fmla="*/ 12955 h 198638"/>
                <a:gd name="connsiteX268" fmla="*/ 88524 w 172728"/>
                <a:gd name="connsiteY268" fmla="*/ 12955 h 198638"/>
                <a:gd name="connsiteX269" fmla="*/ 86796 w 172728"/>
                <a:gd name="connsiteY269" fmla="*/ 15546 h 198638"/>
                <a:gd name="connsiteX270" fmla="*/ 87228 w 172728"/>
                <a:gd name="connsiteY270" fmla="*/ 16409 h 198638"/>
                <a:gd name="connsiteX271" fmla="*/ 87660 w 172728"/>
                <a:gd name="connsiteY271" fmla="*/ 16841 h 198638"/>
                <a:gd name="connsiteX272" fmla="*/ 88524 w 172728"/>
                <a:gd name="connsiteY272" fmla="*/ 19000 h 198638"/>
                <a:gd name="connsiteX273" fmla="*/ 89387 w 172728"/>
                <a:gd name="connsiteY273" fmla="*/ 19864 h 198638"/>
                <a:gd name="connsiteX274" fmla="*/ 90251 w 172728"/>
                <a:gd name="connsiteY274" fmla="*/ 19432 h 198638"/>
                <a:gd name="connsiteX275" fmla="*/ 91115 w 172728"/>
                <a:gd name="connsiteY275" fmla="*/ 20728 h 198638"/>
                <a:gd name="connsiteX276" fmla="*/ 91978 w 172728"/>
                <a:gd name="connsiteY276" fmla="*/ 22455 h 198638"/>
                <a:gd name="connsiteX277" fmla="*/ 91546 w 172728"/>
                <a:gd name="connsiteY277" fmla="*/ 23318 h 198638"/>
                <a:gd name="connsiteX278" fmla="*/ 92410 w 172728"/>
                <a:gd name="connsiteY278" fmla="*/ 25046 h 198638"/>
                <a:gd name="connsiteX279" fmla="*/ 93274 w 172728"/>
                <a:gd name="connsiteY279" fmla="*/ 25046 h 198638"/>
                <a:gd name="connsiteX280" fmla="*/ 93274 w 172728"/>
                <a:gd name="connsiteY280" fmla="*/ 22887 h 198638"/>
                <a:gd name="connsiteX281" fmla="*/ 92842 w 172728"/>
                <a:gd name="connsiteY281" fmla="*/ 19000 h 198638"/>
                <a:gd name="connsiteX282" fmla="*/ 95001 w 172728"/>
                <a:gd name="connsiteY282" fmla="*/ 16841 h 198638"/>
                <a:gd name="connsiteX283" fmla="*/ 96728 w 172728"/>
                <a:gd name="connsiteY283" fmla="*/ 17273 h 198638"/>
                <a:gd name="connsiteX284" fmla="*/ 96296 w 172728"/>
                <a:gd name="connsiteY284" fmla="*/ 18137 h 198638"/>
                <a:gd name="connsiteX285" fmla="*/ 98455 w 172728"/>
                <a:gd name="connsiteY285" fmla="*/ 19864 h 198638"/>
                <a:gd name="connsiteX286" fmla="*/ 98887 w 172728"/>
                <a:gd name="connsiteY286" fmla="*/ 21159 h 198638"/>
                <a:gd name="connsiteX287" fmla="*/ 98887 w 172728"/>
                <a:gd name="connsiteY287" fmla="*/ 21591 h 198638"/>
                <a:gd name="connsiteX288" fmla="*/ 97592 w 172728"/>
                <a:gd name="connsiteY288" fmla="*/ 22887 h 198638"/>
                <a:gd name="connsiteX289" fmla="*/ 98455 w 172728"/>
                <a:gd name="connsiteY289" fmla="*/ 24182 h 198638"/>
                <a:gd name="connsiteX290" fmla="*/ 99319 w 172728"/>
                <a:gd name="connsiteY290" fmla="*/ 25046 h 198638"/>
                <a:gd name="connsiteX291" fmla="*/ 98887 w 172728"/>
                <a:gd name="connsiteY291" fmla="*/ 26341 h 198638"/>
                <a:gd name="connsiteX292" fmla="*/ 98455 w 172728"/>
                <a:gd name="connsiteY292" fmla="*/ 27205 h 198638"/>
                <a:gd name="connsiteX293" fmla="*/ 97160 w 172728"/>
                <a:gd name="connsiteY293" fmla="*/ 28932 h 198638"/>
                <a:gd name="connsiteX294" fmla="*/ 97592 w 172728"/>
                <a:gd name="connsiteY294" fmla="*/ 30228 h 198638"/>
                <a:gd name="connsiteX295" fmla="*/ 98024 w 172728"/>
                <a:gd name="connsiteY295" fmla="*/ 30659 h 198638"/>
                <a:gd name="connsiteX296" fmla="*/ 99319 w 172728"/>
                <a:gd name="connsiteY296" fmla="*/ 30659 h 198638"/>
                <a:gd name="connsiteX297" fmla="*/ 99319 w 172728"/>
                <a:gd name="connsiteY297" fmla="*/ 31091 h 198638"/>
                <a:gd name="connsiteX298" fmla="*/ 98024 w 172728"/>
                <a:gd name="connsiteY298" fmla="*/ 34114 h 198638"/>
                <a:gd name="connsiteX299" fmla="*/ 97592 w 172728"/>
                <a:gd name="connsiteY299" fmla="*/ 34978 h 198638"/>
                <a:gd name="connsiteX300" fmla="*/ 98024 w 172728"/>
                <a:gd name="connsiteY300" fmla="*/ 36273 h 198638"/>
                <a:gd name="connsiteX301" fmla="*/ 98887 w 172728"/>
                <a:gd name="connsiteY301" fmla="*/ 38432 h 198638"/>
                <a:gd name="connsiteX302" fmla="*/ 98887 w 172728"/>
                <a:gd name="connsiteY302" fmla="*/ 40160 h 198638"/>
                <a:gd name="connsiteX303" fmla="*/ 98024 w 172728"/>
                <a:gd name="connsiteY303" fmla="*/ 41455 h 198638"/>
                <a:gd name="connsiteX304" fmla="*/ 96296 w 172728"/>
                <a:gd name="connsiteY304" fmla="*/ 45341 h 198638"/>
                <a:gd name="connsiteX305" fmla="*/ 96728 w 172728"/>
                <a:gd name="connsiteY305" fmla="*/ 46637 h 198638"/>
                <a:gd name="connsiteX306" fmla="*/ 93274 w 172728"/>
                <a:gd name="connsiteY306" fmla="*/ 53546 h 198638"/>
                <a:gd name="connsiteX307" fmla="*/ 93705 w 172728"/>
                <a:gd name="connsiteY307" fmla="*/ 54841 h 198638"/>
                <a:gd name="connsiteX308" fmla="*/ 92410 w 172728"/>
                <a:gd name="connsiteY308" fmla="*/ 57864 h 198638"/>
                <a:gd name="connsiteX309" fmla="*/ 90683 w 172728"/>
                <a:gd name="connsiteY309" fmla="*/ 62182 h 198638"/>
                <a:gd name="connsiteX310" fmla="*/ 90683 w 172728"/>
                <a:gd name="connsiteY310" fmla="*/ 63046 h 198638"/>
                <a:gd name="connsiteX311" fmla="*/ 87228 w 172728"/>
                <a:gd name="connsiteY311" fmla="*/ 69092 h 198638"/>
                <a:gd name="connsiteX312" fmla="*/ 85501 w 172728"/>
                <a:gd name="connsiteY312" fmla="*/ 70819 h 198638"/>
                <a:gd name="connsiteX313" fmla="*/ 83342 w 172728"/>
                <a:gd name="connsiteY313" fmla="*/ 74273 h 198638"/>
                <a:gd name="connsiteX314" fmla="*/ 83342 w 172728"/>
                <a:gd name="connsiteY314" fmla="*/ 74705 h 198638"/>
                <a:gd name="connsiteX315" fmla="*/ 82478 w 172728"/>
                <a:gd name="connsiteY315" fmla="*/ 75569 h 198638"/>
                <a:gd name="connsiteX316" fmla="*/ 81183 w 172728"/>
                <a:gd name="connsiteY316" fmla="*/ 78160 h 198638"/>
                <a:gd name="connsiteX317" fmla="*/ 81183 w 172728"/>
                <a:gd name="connsiteY317" fmla="*/ 78592 h 198638"/>
                <a:gd name="connsiteX318" fmla="*/ 80319 w 172728"/>
                <a:gd name="connsiteY318" fmla="*/ 79887 h 198638"/>
                <a:gd name="connsiteX319" fmla="*/ 77728 w 172728"/>
                <a:gd name="connsiteY319" fmla="*/ 82046 h 198638"/>
                <a:gd name="connsiteX320" fmla="*/ 73410 w 172728"/>
                <a:gd name="connsiteY320" fmla="*/ 87660 h 198638"/>
                <a:gd name="connsiteX321" fmla="*/ 66932 w 172728"/>
                <a:gd name="connsiteY321" fmla="*/ 95433 h 198638"/>
                <a:gd name="connsiteX322" fmla="*/ 63910 w 172728"/>
                <a:gd name="connsiteY322" fmla="*/ 97592 h 198638"/>
                <a:gd name="connsiteX323" fmla="*/ 62182 w 172728"/>
                <a:gd name="connsiteY323" fmla="*/ 98456 h 198638"/>
                <a:gd name="connsiteX324" fmla="*/ 59160 w 172728"/>
                <a:gd name="connsiteY324" fmla="*/ 101046 h 198638"/>
                <a:gd name="connsiteX325" fmla="*/ 53978 w 172728"/>
                <a:gd name="connsiteY325" fmla="*/ 102774 h 198638"/>
                <a:gd name="connsiteX326" fmla="*/ 52251 w 172728"/>
                <a:gd name="connsiteY326" fmla="*/ 103205 h 198638"/>
                <a:gd name="connsiteX327" fmla="*/ 44909 w 172728"/>
                <a:gd name="connsiteY327" fmla="*/ 104501 h 198638"/>
                <a:gd name="connsiteX328" fmla="*/ 40591 w 172728"/>
                <a:gd name="connsiteY328" fmla="*/ 105365 h 198638"/>
                <a:gd name="connsiteX329" fmla="*/ 38432 w 172728"/>
                <a:gd name="connsiteY329" fmla="*/ 105796 h 198638"/>
                <a:gd name="connsiteX330" fmla="*/ 35409 w 172728"/>
                <a:gd name="connsiteY330" fmla="*/ 104933 h 198638"/>
                <a:gd name="connsiteX331" fmla="*/ 33250 w 172728"/>
                <a:gd name="connsiteY331" fmla="*/ 104501 h 198638"/>
                <a:gd name="connsiteX332" fmla="*/ 32387 w 172728"/>
                <a:gd name="connsiteY332" fmla="*/ 105365 h 198638"/>
                <a:gd name="connsiteX333" fmla="*/ 30228 w 172728"/>
                <a:gd name="connsiteY333" fmla="*/ 110978 h 198638"/>
                <a:gd name="connsiteX334" fmla="*/ 30659 w 172728"/>
                <a:gd name="connsiteY334" fmla="*/ 113569 h 198638"/>
                <a:gd name="connsiteX335" fmla="*/ 31091 w 172728"/>
                <a:gd name="connsiteY335" fmla="*/ 115728 h 198638"/>
                <a:gd name="connsiteX336" fmla="*/ 30659 w 172728"/>
                <a:gd name="connsiteY336" fmla="*/ 116592 h 198638"/>
                <a:gd name="connsiteX337" fmla="*/ 29364 w 172728"/>
                <a:gd name="connsiteY337" fmla="*/ 118751 h 198638"/>
                <a:gd name="connsiteX338" fmla="*/ 29796 w 172728"/>
                <a:gd name="connsiteY338" fmla="*/ 120047 h 198638"/>
                <a:gd name="connsiteX339" fmla="*/ 28500 w 172728"/>
                <a:gd name="connsiteY339" fmla="*/ 123501 h 198638"/>
                <a:gd name="connsiteX340" fmla="*/ 28500 w 172728"/>
                <a:gd name="connsiteY340" fmla="*/ 128683 h 198638"/>
                <a:gd name="connsiteX341" fmla="*/ 28932 w 172728"/>
                <a:gd name="connsiteY341" fmla="*/ 130842 h 198638"/>
                <a:gd name="connsiteX342" fmla="*/ 28500 w 172728"/>
                <a:gd name="connsiteY342" fmla="*/ 131706 h 198638"/>
                <a:gd name="connsiteX343" fmla="*/ 28068 w 172728"/>
                <a:gd name="connsiteY343" fmla="*/ 134297 h 198638"/>
                <a:gd name="connsiteX344" fmla="*/ 27637 w 172728"/>
                <a:gd name="connsiteY344" fmla="*/ 135592 h 198638"/>
                <a:gd name="connsiteX345" fmla="*/ 28068 w 172728"/>
                <a:gd name="connsiteY345" fmla="*/ 136888 h 198638"/>
                <a:gd name="connsiteX346" fmla="*/ 28500 w 172728"/>
                <a:gd name="connsiteY346" fmla="*/ 138183 h 198638"/>
                <a:gd name="connsiteX347" fmla="*/ 28068 w 172728"/>
                <a:gd name="connsiteY347" fmla="*/ 139047 h 198638"/>
                <a:gd name="connsiteX348" fmla="*/ 28068 w 172728"/>
                <a:gd name="connsiteY348" fmla="*/ 139479 h 198638"/>
                <a:gd name="connsiteX349" fmla="*/ 28500 w 172728"/>
                <a:gd name="connsiteY349" fmla="*/ 140774 h 198638"/>
                <a:gd name="connsiteX350" fmla="*/ 28068 w 172728"/>
                <a:gd name="connsiteY350" fmla="*/ 143365 h 198638"/>
                <a:gd name="connsiteX351" fmla="*/ 28068 w 172728"/>
                <a:gd name="connsiteY351" fmla="*/ 145956 h 198638"/>
                <a:gd name="connsiteX352" fmla="*/ 28932 w 172728"/>
                <a:gd name="connsiteY352" fmla="*/ 148115 h 198638"/>
                <a:gd name="connsiteX353" fmla="*/ 28932 w 172728"/>
                <a:gd name="connsiteY353" fmla="*/ 153729 h 198638"/>
                <a:gd name="connsiteX354" fmla="*/ 28068 w 172728"/>
                <a:gd name="connsiteY354" fmla="*/ 156320 h 198638"/>
                <a:gd name="connsiteX355" fmla="*/ 28932 w 172728"/>
                <a:gd name="connsiteY355" fmla="*/ 158047 h 198638"/>
                <a:gd name="connsiteX356" fmla="*/ 28932 w 172728"/>
                <a:gd name="connsiteY356" fmla="*/ 159342 h 198638"/>
                <a:gd name="connsiteX357" fmla="*/ 29364 w 172728"/>
                <a:gd name="connsiteY357" fmla="*/ 160206 h 198638"/>
                <a:gd name="connsiteX358" fmla="*/ 31523 w 172728"/>
                <a:gd name="connsiteY358" fmla="*/ 164092 h 198638"/>
                <a:gd name="connsiteX359" fmla="*/ 31523 w 172728"/>
                <a:gd name="connsiteY359" fmla="*/ 165820 h 198638"/>
                <a:gd name="connsiteX360" fmla="*/ 31091 w 172728"/>
                <a:gd name="connsiteY360" fmla="*/ 167115 h 198638"/>
                <a:gd name="connsiteX361" fmla="*/ 32819 w 172728"/>
                <a:gd name="connsiteY361" fmla="*/ 169274 h 198638"/>
                <a:gd name="connsiteX362" fmla="*/ 34978 w 172728"/>
                <a:gd name="connsiteY362" fmla="*/ 173593 h 198638"/>
                <a:gd name="connsiteX363" fmla="*/ 35409 w 172728"/>
                <a:gd name="connsiteY363" fmla="*/ 174024 h 198638"/>
                <a:gd name="connsiteX364" fmla="*/ 37137 w 172728"/>
                <a:gd name="connsiteY364" fmla="*/ 177479 h 198638"/>
                <a:gd name="connsiteX365" fmla="*/ 37137 w 172728"/>
                <a:gd name="connsiteY365" fmla="*/ 177911 h 198638"/>
                <a:gd name="connsiteX366" fmla="*/ 39296 w 172728"/>
                <a:gd name="connsiteY366" fmla="*/ 180070 h 198638"/>
                <a:gd name="connsiteX367" fmla="*/ 41023 w 172728"/>
                <a:gd name="connsiteY367" fmla="*/ 182229 h 198638"/>
                <a:gd name="connsiteX368" fmla="*/ 46637 w 172728"/>
                <a:gd name="connsiteY368" fmla="*/ 184820 h 198638"/>
                <a:gd name="connsiteX369" fmla="*/ 48796 w 172728"/>
                <a:gd name="connsiteY369" fmla="*/ 184388 h 198638"/>
                <a:gd name="connsiteX370" fmla="*/ 50955 w 172728"/>
                <a:gd name="connsiteY370" fmla="*/ 183956 h 198638"/>
                <a:gd name="connsiteX371" fmla="*/ 61319 w 172728"/>
                <a:gd name="connsiteY371" fmla="*/ 181365 h 198638"/>
                <a:gd name="connsiteX372" fmla="*/ 68660 w 172728"/>
                <a:gd name="connsiteY372" fmla="*/ 177047 h 198638"/>
                <a:gd name="connsiteX373" fmla="*/ 73410 w 172728"/>
                <a:gd name="connsiteY373" fmla="*/ 174888 h 198638"/>
                <a:gd name="connsiteX374" fmla="*/ 81183 w 172728"/>
                <a:gd name="connsiteY374" fmla="*/ 168842 h 198638"/>
                <a:gd name="connsiteX375" fmla="*/ 87228 w 172728"/>
                <a:gd name="connsiteY375" fmla="*/ 164092 h 198638"/>
                <a:gd name="connsiteX376" fmla="*/ 91546 w 172728"/>
                <a:gd name="connsiteY376" fmla="*/ 159342 h 198638"/>
                <a:gd name="connsiteX377" fmla="*/ 97592 w 172728"/>
                <a:gd name="connsiteY377" fmla="*/ 154161 h 198638"/>
                <a:gd name="connsiteX378" fmla="*/ 100615 w 172728"/>
                <a:gd name="connsiteY378" fmla="*/ 151138 h 198638"/>
                <a:gd name="connsiteX379" fmla="*/ 101910 w 172728"/>
                <a:gd name="connsiteY379" fmla="*/ 149842 h 198638"/>
                <a:gd name="connsiteX380" fmla="*/ 102342 w 172728"/>
                <a:gd name="connsiteY380" fmla="*/ 148547 h 198638"/>
                <a:gd name="connsiteX381" fmla="*/ 107092 w 172728"/>
                <a:gd name="connsiteY381" fmla="*/ 145092 h 198638"/>
                <a:gd name="connsiteX382" fmla="*/ 110978 w 172728"/>
                <a:gd name="connsiteY382" fmla="*/ 140774 h 198638"/>
                <a:gd name="connsiteX383" fmla="*/ 116592 w 172728"/>
                <a:gd name="connsiteY383" fmla="*/ 133865 h 198638"/>
                <a:gd name="connsiteX384" fmla="*/ 124797 w 172728"/>
                <a:gd name="connsiteY384" fmla="*/ 124797 h 198638"/>
                <a:gd name="connsiteX385" fmla="*/ 125228 w 172728"/>
                <a:gd name="connsiteY385" fmla="*/ 124365 h 198638"/>
                <a:gd name="connsiteX386" fmla="*/ 129115 w 172728"/>
                <a:gd name="connsiteY386" fmla="*/ 120047 h 198638"/>
                <a:gd name="connsiteX387" fmla="*/ 134297 w 172728"/>
                <a:gd name="connsiteY387" fmla="*/ 113569 h 198638"/>
                <a:gd name="connsiteX388" fmla="*/ 136024 w 172728"/>
                <a:gd name="connsiteY388" fmla="*/ 110546 h 198638"/>
                <a:gd name="connsiteX389" fmla="*/ 142069 w 172728"/>
                <a:gd name="connsiteY389" fmla="*/ 103637 h 198638"/>
                <a:gd name="connsiteX390" fmla="*/ 141638 w 172728"/>
                <a:gd name="connsiteY390" fmla="*/ 103205 h 198638"/>
                <a:gd name="connsiteX391" fmla="*/ 146820 w 172728"/>
                <a:gd name="connsiteY391" fmla="*/ 95433 h 198638"/>
                <a:gd name="connsiteX392" fmla="*/ 147251 w 172728"/>
                <a:gd name="connsiteY392" fmla="*/ 93705 h 198638"/>
                <a:gd name="connsiteX393" fmla="*/ 150274 w 172728"/>
                <a:gd name="connsiteY393" fmla="*/ 90683 h 198638"/>
                <a:gd name="connsiteX394" fmla="*/ 151570 w 172728"/>
                <a:gd name="connsiteY394" fmla="*/ 86796 h 198638"/>
                <a:gd name="connsiteX395" fmla="*/ 152001 w 172728"/>
                <a:gd name="connsiteY395" fmla="*/ 87228 h 198638"/>
                <a:gd name="connsiteX396" fmla="*/ 152001 w 172728"/>
                <a:gd name="connsiteY396" fmla="*/ 88092 h 198638"/>
                <a:gd name="connsiteX397" fmla="*/ 152433 w 172728"/>
                <a:gd name="connsiteY397" fmla="*/ 88092 h 198638"/>
                <a:gd name="connsiteX398" fmla="*/ 153297 w 172728"/>
                <a:gd name="connsiteY398" fmla="*/ 86796 h 198638"/>
                <a:gd name="connsiteX399" fmla="*/ 153297 w 172728"/>
                <a:gd name="connsiteY399" fmla="*/ 85933 h 198638"/>
                <a:gd name="connsiteX400" fmla="*/ 154161 w 172728"/>
                <a:gd name="connsiteY400" fmla="*/ 83342 h 198638"/>
                <a:gd name="connsiteX401" fmla="*/ 154592 w 172728"/>
                <a:gd name="connsiteY401" fmla="*/ 82046 h 198638"/>
                <a:gd name="connsiteX402" fmla="*/ 155888 w 172728"/>
                <a:gd name="connsiteY402" fmla="*/ 80319 h 198638"/>
                <a:gd name="connsiteX403" fmla="*/ 156751 w 172728"/>
                <a:gd name="connsiteY403" fmla="*/ 76864 h 198638"/>
                <a:gd name="connsiteX404" fmla="*/ 158047 w 172728"/>
                <a:gd name="connsiteY404" fmla="*/ 75137 h 198638"/>
                <a:gd name="connsiteX405" fmla="*/ 158911 w 172728"/>
                <a:gd name="connsiteY405" fmla="*/ 74273 h 198638"/>
                <a:gd name="connsiteX406" fmla="*/ 158911 w 172728"/>
                <a:gd name="connsiteY406" fmla="*/ 72978 h 198638"/>
                <a:gd name="connsiteX407" fmla="*/ 161501 w 172728"/>
                <a:gd name="connsiteY407" fmla="*/ 70387 h 198638"/>
                <a:gd name="connsiteX408" fmla="*/ 161501 w 172728"/>
                <a:gd name="connsiteY408" fmla="*/ 69955 h 198638"/>
                <a:gd name="connsiteX409" fmla="*/ 161933 w 172728"/>
                <a:gd name="connsiteY409" fmla="*/ 69092 h 198638"/>
                <a:gd name="connsiteX410" fmla="*/ 161933 w 172728"/>
                <a:gd name="connsiteY410" fmla="*/ 68228 h 198638"/>
                <a:gd name="connsiteX411" fmla="*/ 163229 w 172728"/>
                <a:gd name="connsiteY411" fmla="*/ 66501 h 198638"/>
                <a:gd name="connsiteX412" fmla="*/ 164956 w 172728"/>
                <a:gd name="connsiteY412" fmla="*/ 64341 h 198638"/>
                <a:gd name="connsiteX413" fmla="*/ 165388 w 172728"/>
                <a:gd name="connsiteY413" fmla="*/ 64341 h 198638"/>
                <a:gd name="connsiteX414" fmla="*/ 165820 w 172728"/>
                <a:gd name="connsiteY414" fmla="*/ 64773 h 198638"/>
                <a:gd name="connsiteX415" fmla="*/ 166252 w 172728"/>
                <a:gd name="connsiteY415" fmla="*/ 66069 h 198638"/>
                <a:gd name="connsiteX416" fmla="*/ 167115 w 172728"/>
                <a:gd name="connsiteY416" fmla="*/ 66501 h 198638"/>
                <a:gd name="connsiteX417" fmla="*/ 168411 w 172728"/>
                <a:gd name="connsiteY417" fmla="*/ 66932 h 198638"/>
                <a:gd name="connsiteX418" fmla="*/ 167979 w 172728"/>
                <a:gd name="connsiteY418" fmla="*/ 67364 h 198638"/>
                <a:gd name="connsiteX419" fmla="*/ 167115 w 172728"/>
                <a:gd name="connsiteY419" fmla="*/ 71251 h 198638"/>
                <a:gd name="connsiteX420" fmla="*/ 164956 w 172728"/>
                <a:gd name="connsiteY420" fmla="*/ 72546 h 198638"/>
                <a:gd name="connsiteX421" fmla="*/ 164092 w 172728"/>
                <a:gd name="connsiteY421" fmla="*/ 72546 h 198638"/>
                <a:gd name="connsiteX422" fmla="*/ 162797 w 172728"/>
                <a:gd name="connsiteY422" fmla="*/ 73410 h 198638"/>
                <a:gd name="connsiteX423" fmla="*/ 164092 w 172728"/>
                <a:gd name="connsiteY423" fmla="*/ 76433 h 198638"/>
                <a:gd name="connsiteX424" fmla="*/ 164956 w 172728"/>
                <a:gd name="connsiteY424" fmla="*/ 77728 h 198638"/>
                <a:gd name="connsiteX425" fmla="*/ 164956 w 172728"/>
                <a:gd name="connsiteY425" fmla="*/ 78592 h 198638"/>
                <a:gd name="connsiteX426" fmla="*/ 164956 w 172728"/>
                <a:gd name="connsiteY426" fmla="*/ 79455 h 198638"/>
                <a:gd name="connsiteX427" fmla="*/ 164956 w 172728"/>
                <a:gd name="connsiteY427" fmla="*/ 80319 h 198638"/>
                <a:gd name="connsiteX428" fmla="*/ 164092 w 172728"/>
                <a:gd name="connsiteY428" fmla="*/ 83342 h 198638"/>
                <a:gd name="connsiteX429" fmla="*/ 163661 w 172728"/>
                <a:gd name="connsiteY429" fmla="*/ 85069 h 198638"/>
                <a:gd name="connsiteX430" fmla="*/ 163229 w 172728"/>
                <a:gd name="connsiteY430" fmla="*/ 85069 h 198638"/>
                <a:gd name="connsiteX431" fmla="*/ 163229 w 172728"/>
                <a:gd name="connsiteY431" fmla="*/ 82478 h 198638"/>
                <a:gd name="connsiteX432" fmla="*/ 162797 w 172728"/>
                <a:gd name="connsiteY432" fmla="*/ 82478 h 198638"/>
                <a:gd name="connsiteX433" fmla="*/ 161933 w 172728"/>
                <a:gd name="connsiteY433" fmla="*/ 79455 h 198638"/>
                <a:gd name="connsiteX434" fmla="*/ 162365 w 172728"/>
                <a:gd name="connsiteY434" fmla="*/ 78592 h 198638"/>
                <a:gd name="connsiteX435" fmla="*/ 161501 w 172728"/>
                <a:gd name="connsiteY435" fmla="*/ 78160 h 198638"/>
                <a:gd name="connsiteX436" fmla="*/ 161070 w 172728"/>
                <a:gd name="connsiteY436" fmla="*/ 78592 h 198638"/>
                <a:gd name="connsiteX437" fmla="*/ 158911 w 172728"/>
                <a:gd name="connsiteY437" fmla="*/ 82478 h 198638"/>
                <a:gd name="connsiteX438" fmla="*/ 158047 w 172728"/>
                <a:gd name="connsiteY438" fmla="*/ 84637 h 198638"/>
                <a:gd name="connsiteX439" fmla="*/ 156751 w 172728"/>
                <a:gd name="connsiteY439" fmla="*/ 85501 h 198638"/>
                <a:gd name="connsiteX440" fmla="*/ 155456 w 172728"/>
                <a:gd name="connsiteY440" fmla="*/ 86796 h 198638"/>
                <a:gd name="connsiteX441" fmla="*/ 155456 w 172728"/>
                <a:gd name="connsiteY441" fmla="*/ 87228 h 198638"/>
                <a:gd name="connsiteX442" fmla="*/ 155024 w 172728"/>
                <a:gd name="connsiteY442" fmla="*/ 88524 h 198638"/>
                <a:gd name="connsiteX443" fmla="*/ 153729 w 172728"/>
                <a:gd name="connsiteY443" fmla="*/ 93705 h 198638"/>
                <a:gd name="connsiteX444" fmla="*/ 153729 w 172728"/>
                <a:gd name="connsiteY444" fmla="*/ 94137 h 198638"/>
                <a:gd name="connsiteX445" fmla="*/ 154592 w 172728"/>
                <a:gd name="connsiteY445" fmla="*/ 94137 h 198638"/>
                <a:gd name="connsiteX446" fmla="*/ 155888 w 172728"/>
                <a:gd name="connsiteY446" fmla="*/ 92410 h 198638"/>
                <a:gd name="connsiteX447" fmla="*/ 157615 w 172728"/>
                <a:gd name="connsiteY447" fmla="*/ 90683 h 198638"/>
                <a:gd name="connsiteX448" fmla="*/ 159774 w 172728"/>
                <a:gd name="connsiteY448" fmla="*/ 89819 h 198638"/>
                <a:gd name="connsiteX449" fmla="*/ 160206 w 172728"/>
                <a:gd name="connsiteY449" fmla="*/ 89819 h 198638"/>
                <a:gd name="connsiteX450" fmla="*/ 159342 w 172728"/>
                <a:gd name="connsiteY450" fmla="*/ 93274 h 198638"/>
                <a:gd name="connsiteX451" fmla="*/ 158047 w 172728"/>
                <a:gd name="connsiteY451" fmla="*/ 94569 h 198638"/>
                <a:gd name="connsiteX452" fmla="*/ 159342 w 172728"/>
                <a:gd name="connsiteY452" fmla="*/ 96296 h 198638"/>
                <a:gd name="connsiteX453" fmla="*/ 160638 w 172728"/>
                <a:gd name="connsiteY453" fmla="*/ 96728 h 198638"/>
                <a:gd name="connsiteX454" fmla="*/ 161070 w 172728"/>
                <a:gd name="connsiteY454" fmla="*/ 98456 h 198638"/>
                <a:gd name="connsiteX455" fmla="*/ 161070 w 172728"/>
                <a:gd name="connsiteY455" fmla="*/ 99751 h 198638"/>
                <a:gd name="connsiteX456" fmla="*/ 161501 w 172728"/>
                <a:gd name="connsiteY456" fmla="*/ 100615 h 198638"/>
                <a:gd name="connsiteX457" fmla="*/ 164092 w 172728"/>
                <a:gd name="connsiteY457" fmla="*/ 100615 h 198638"/>
                <a:gd name="connsiteX458" fmla="*/ 165388 w 172728"/>
                <a:gd name="connsiteY458" fmla="*/ 101478 h 198638"/>
                <a:gd name="connsiteX459" fmla="*/ 2159 w 172728"/>
                <a:gd name="connsiteY459" fmla="*/ 161070 h 198638"/>
                <a:gd name="connsiteX460" fmla="*/ 2159 w 172728"/>
                <a:gd name="connsiteY460" fmla="*/ 161501 h 198638"/>
                <a:gd name="connsiteX461" fmla="*/ 2591 w 172728"/>
                <a:gd name="connsiteY461" fmla="*/ 161933 h 198638"/>
                <a:gd name="connsiteX462" fmla="*/ 3023 w 172728"/>
                <a:gd name="connsiteY462" fmla="*/ 161933 h 198638"/>
                <a:gd name="connsiteX463" fmla="*/ 2159 w 172728"/>
                <a:gd name="connsiteY463" fmla="*/ 161070 h 198638"/>
                <a:gd name="connsiteX464" fmla="*/ 28068 w 172728"/>
                <a:gd name="connsiteY464" fmla="*/ 63478 h 198638"/>
                <a:gd name="connsiteX465" fmla="*/ 28932 w 172728"/>
                <a:gd name="connsiteY465" fmla="*/ 60887 h 198638"/>
                <a:gd name="connsiteX466" fmla="*/ 28932 w 172728"/>
                <a:gd name="connsiteY466" fmla="*/ 59592 h 198638"/>
                <a:gd name="connsiteX467" fmla="*/ 31091 w 172728"/>
                <a:gd name="connsiteY467" fmla="*/ 56569 h 198638"/>
                <a:gd name="connsiteX468" fmla="*/ 32387 w 172728"/>
                <a:gd name="connsiteY468" fmla="*/ 53114 h 198638"/>
                <a:gd name="connsiteX469" fmla="*/ 32819 w 172728"/>
                <a:gd name="connsiteY469" fmla="*/ 52682 h 198638"/>
                <a:gd name="connsiteX470" fmla="*/ 34114 w 172728"/>
                <a:gd name="connsiteY470" fmla="*/ 50955 h 198638"/>
                <a:gd name="connsiteX471" fmla="*/ 36705 w 172728"/>
                <a:gd name="connsiteY471" fmla="*/ 43182 h 198638"/>
                <a:gd name="connsiteX472" fmla="*/ 36273 w 172728"/>
                <a:gd name="connsiteY472" fmla="*/ 42750 h 198638"/>
                <a:gd name="connsiteX473" fmla="*/ 36273 w 172728"/>
                <a:gd name="connsiteY473" fmla="*/ 42319 h 198638"/>
                <a:gd name="connsiteX474" fmla="*/ 34978 w 172728"/>
                <a:gd name="connsiteY474" fmla="*/ 43614 h 198638"/>
                <a:gd name="connsiteX475" fmla="*/ 34114 w 172728"/>
                <a:gd name="connsiteY475" fmla="*/ 46205 h 198638"/>
                <a:gd name="connsiteX476" fmla="*/ 32387 w 172728"/>
                <a:gd name="connsiteY476" fmla="*/ 50091 h 198638"/>
                <a:gd name="connsiteX477" fmla="*/ 29796 w 172728"/>
                <a:gd name="connsiteY477" fmla="*/ 53546 h 198638"/>
                <a:gd name="connsiteX478" fmla="*/ 28068 w 172728"/>
                <a:gd name="connsiteY478" fmla="*/ 57432 h 198638"/>
                <a:gd name="connsiteX479" fmla="*/ 28500 w 172728"/>
                <a:gd name="connsiteY479" fmla="*/ 58296 h 198638"/>
                <a:gd name="connsiteX480" fmla="*/ 26773 w 172728"/>
                <a:gd name="connsiteY480" fmla="*/ 60887 h 198638"/>
                <a:gd name="connsiteX481" fmla="*/ 25046 w 172728"/>
                <a:gd name="connsiteY481" fmla="*/ 66501 h 198638"/>
                <a:gd name="connsiteX482" fmla="*/ 24182 w 172728"/>
                <a:gd name="connsiteY482" fmla="*/ 70819 h 198638"/>
                <a:gd name="connsiteX483" fmla="*/ 23750 w 172728"/>
                <a:gd name="connsiteY483" fmla="*/ 71251 h 198638"/>
                <a:gd name="connsiteX484" fmla="*/ 24182 w 172728"/>
                <a:gd name="connsiteY484" fmla="*/ 71682 h 198638"/>
                <a:gd name="connsiteX485" fmla="*/ 24614 w 172728"/>
                <a:gd name="connsiteY485" fmla="*/ 71251 h 198638"/>
                <a:gd name="connsiteX486" fmla="*/ 25046 w 172728"/>
                <a:gd name="connsiteY486" fmla="*/ 70387 h 198638"/>
                <a:gd name="connsiteX487" fmla="*/ 25046 w 172728"/>
                <a:gd name="connsiteY487" fmla="*/ 69523 h 198638"/>
                <a:gd name="connsiteX488" fmla="*/ 25909 w 172728"/>
                <a:gd name="connsiteY488" fmla="*/ 67364 h 198638"/>
                <a:gd name="connsiteX489" fmla="*/ 28068 w 172728"/>
                <a:gd name="connsiteY489" fmla="*/ 63478 h 198638"/>
                <a:gd name="connsiteX490" fmla="*/ 41023 w 172728"/>
                <a:gd name="connsiteY490" fmla="*/ 73410 h 198638"/>
                <a:gd name="connsiteX491" fmla="*/ 40159 w 172728"/>
                <a:gd name="connsiteY491" fmla="*/ 76001 h 198638"/>
                <a:gd name="connsiteX492" fmla="*/ 40159 w 172728"/>
                <a:gd name="connsiteY492" fmla="*/ 77728 h 198638"/>
                <a:gd name="connsiteX493" fmla="*/ 44478 w 172728"/>
                <a:gd name="connsiteY493" fmla="*/ 81614 h 198638"/>
                <a:gd name="connsiteX494" fmla="*/ 45773 w 172728"/>
                <a:gd name="connsiteY494" fmla="*/ 81614 h 198638"/>
                <a:gd name="connsiteX495" fmla="*/ 46637 w 172728"/>
                <a:gd name="connsiteY495" fmla="*/ 80751 h 198638"/>
                <a:gd name="connsiteX496" fmla="*/ 50091 w 172728"/>
                <a:gd name="connsiteY496" fmla="*/ 76864 h 198638"/>
                <a:gd name="connsiteX497" fmla="*/ 54841 w 172728"/>
                <a:gd name="connsiteY497" fmla="*/ 70819 h 198638"/>
                <a:gd name="connsiteX498" fmla="*/ 56137 w 172728"/>
                <a:gd name="connsiteY498" fmla="*/ 69092 h 198638"/>
                <a:gd name="connsiteX499" fmla="*/ 58296 w 172728"/>
                <a:gd name="connsiteY499" fmla="*/ 66069 h 198638"/>
                <a:gd name="connsiteX500" fmla="*/ 60455 w 172728"/>
                <a:gd name="connsiteY500" fmla="*/ 62614 h 198638"/>
                <a:gd name="connsiteX501" fmla="*/ 61319 w 172728"/>
                <a:gd name="connsiteY501" fmla="*/ 60023 h 198638"/>
                <a:gd name="connsiteX502" fmla="*/ 64341 w 172728"/>
                <a:gd name="connsiteY502" fmla="*/ 56137 h 198638"/>
                <a:gd name="connsiteX503" fmla="*/ 66501 w 172728"/>
                <a:gd name="connsiteY503" fmla="*/ 51819 h 198638"/>
                <a:gd name="connsiteX504" fmla="*/ 66932 w 172728"/>
                <a:gd name="connsiteY504" fmla="*/ 48364 h 198638"/>
                <a:gd name="connsiteX505" fmla="*/ 68660 w 172728"/>
                <a:gd name="connsiteY505" fmla="*/ 44478 h 198638"/>
                <a:gd name="connsiteX506" fmla="*/ 70387 w 172728"/>
                <a:gd name="connsiteY506" fmla="*/ 40591 h 198638"/>
                <a:gd name="connsiteX507" fmla="*/ 71683 w 172728"/>
                <a:gd name="connsiteY507" fmla="*/ 37137 h 198638"/>
                <a:gd name="connsiteX508" fmla="*/ 71251 w 172728"/>
                <a:gd name="connsiteY508" fmla="*/ 35841 h 198638"/>
                <a:gd name="connsiteX509" fmla="*/ 71251 w 172728"/>
                <a:gd name="connsiteY509" fmla="*/ 34978 h 198638"/>
                <a:gd name="connsiteX510" fmla="*/ 72114 w 172728"/>
                <a:gd name="connsiteY510" fmla="*/ 34114 h 198638"/>
                <a:gd name="connsiteX511" fmla="*/ 72978 w 172728"/>
                <a:gd name="connsiteY511" fmla="*/ 34114 h 198638"/>
                <a:gd name="connsiteX512" fmla="*/ 73410 w 172728"/>
                <a:gd name="connsiteY512" fmla="*/ 33250 h 198638"/>
                <a:gd name="connsiteX513" fmla="*/ 72978 w 172728"/>
                <a:gd name="connsiteY513" fmla="*/ 32819 h 198638"/>
                <a:gd name="connsiteX514" fmla="*/ 72978 w 172728"/>
                <a:gd name="connsiteY514" fmla="*/ 32387 h 198638"/>
                <a:gd name="connsiteX515" fmla="*/ 72546 w 172728"/>
                <a:gd name="connsiteY515" fmla="*/ 31955 h 198638"/>
                <a:gd name="connsiteX516" fmla="*/ 72114 w 172728"/>
                <a:gd name="connsiteY516" fmla="*/ 31091 h 198638"/>
                <a:gd name="connsiteX517" fmla="*/ 72546 w 172728"/>
                <a:gd name="connsiteY517" fmla="*/ 30228 h 198638"/>
                <a:gd name="connsiteX518" fmla="*/ 72978 w 172728"/>
                <a:gd name="connsiteY518" fmla="*/ 29364 h 198638"/>
                <a:gd name="connsiteX519" fmla="*/ 72114 w 172728"/>
                <a:gd name="connsiteY519" fmla="*/ 28932 h 198638"/>
                <a:gd name="connsiteX520" fmla="*/ 72114 w 172728"/>
                <a:gd name="connsiteY520" fmla="*/ 28068 h 198638"/>
                <a:gd name="connsiteX521" fmla="*/ 72978 w 172728"/>
                <a:gd name="connsiteY521" fmla="*/ 26341 h 198638"/>
                <a:gd name="connsiteX522" fmla="*/ 72546 w 172728"/>
                <a:gd name="connsiteY522" fmla="*/ 24614 h 198638"/>
                <a:gd name="connsiteX523" fmla="*/ 71683 w 172728"/>
                <a:gd name="connsiteY523" fmla="*/ 21159 h 198638"/>
                <a:gd name="connsiteX524" fmla="*/ 71683 w 172728"/>
                <a:gd name="connsiteY524" fmla="*/ 20728 h 198638"/>
                <a:gd name="connsiteX525" fmla="*/ 72114 w 172728"/>
                <a:gd name="connsiteY525" fmla="*/ 20296 h 198638"/>
                <a:gd name="connsiteX526" fmla="*/ 72546 w 172728"/>
                <a:gd name="connsiteY526" fmla="*/ 19864 h 198638"/>
                <a:gd name="connsiteX527" fmla="*/ 72978 w 172728"/>
                <a:gd name="connsiteY527" fmla="*/ 19000 h 198638"/>
                <a:gd name="connsiteX528" fmla="*/ 70387 w 172728"/>
                <a:gd name="connsiteY528" fmla="*/ 19000 h 198638"/>
                <a:gd name="connsiteX529" fmla="*/ 66501 w 172728"/>
                <a:gd name="connsiteY529" fmla="*/ 24182 h 198638"/>
                <a:gd name="connsiteX530" fmla="*/ 66069 w 172728"/>
                <a:gd name="connsiteY530" fmla="*/ 24614 h 198638"/>
                <a:gd name="connsiteX531" fmla="*/ 66069 w 172728"/>
                <a:gd name="connsiteY531" fmla="*/ 25046 h 198638"/>
                <a:gd name="connsiteX532" fmla="*/ 60887 w 172728"/>
                <a:gd name="connsiteY532" fmla="*/ 31523 h 198638"/>
                <a:gd name="connsiteX533" fmla="*/ 60455 w 172728"/>
                <a:gd name="connsiteY533" fmla="*/ 31955 h 198638"/>
                <a:gd name="connsiteX534" fmla="*/ 57001 w 172728"/>
                <a:gd name="connsiteY534" fmla="*/ 35841 h 198638"/>
                <a:gd name="connsiteX535" fmla="*/ 56137 w 172728"/>
                <a:gd name="connsiteY535" fmla="*/ 37569 h 198638"/>
                <a:gd name="connsiteX536" fmla="*/ 56137 w 172728"/>
                <a:gd name="connsiteY536" fmla="*/ 38000 h 198638"/>
                <a:gd name="connsiteX537" fmla="*/ 54410 w 172728"/>
                <a:gd name="connsiteY537" fmla="*/ 40591 h 198638"/>
                <a:gd name="connsiteX538" fmla="*/ 52682 w 172728"/>
                <a:gd name="connsiteY538" fmla="*/ 43182 h 198638"/>
                <a:gd name="connsiteX539" fmla="*/ 51819 w 172728"/>
                <a:gd name="connsiteY539" fmla="*/ 44046 h 198638"/>
                <a:gd name="connsiteX540" fmla="*/ 52251 w 172728"/>
                <a:gd name="connsiteY540" fmla="*/ 46637 h 198638"/>
                <a:gd name="connsiteX541" fmla="*/ 50523 w 172728"/>
                <a:gd name="connsiteY541" fmla="*/ 49228 h 198638"/>
                <a:gd name="connsiteX542" fmla="*/ 50523 w 172728"/>
                <a:gd name="connsiteY542" fmla="*/ 50523 h 198638"/>
                <a:gd name="connsiteX543" fmla="*/ 49228 w 172728"/>
                <a:gd name="connsiteY543" fmla="*/ 51819 h 198638"/>
                <a:gd name="connsiteX544" fmla="*/ 47500 w 172728"/>
                <a:gd name="connsiteY544" fmla="*/ 55273 h 198638"/>
                <a:gd name="connsiteX545" fmla="*/ 47500 w 172728"/>
                <a:gd name="connsiteY545" fmla="*/ 56137 h 198638"/>
                <a:gd name="connsiteX546" fmla="*/ 46205 w 172728"/>
                <a:gd name="connsiteY546" fmla="*/ 57864 h 198638"/>
                <a:gd name="connsiteX547" fmla="*/ 44478 w 172728"/>
                <a:gd name="connsiteY547" fmla="*/ 59592 h 198638"/>
                <a:gd name="connsiteX548" fmla="*/ 44478 w 172728"/>
                <a:gd name="connsiteY548" fmla="*/ 60023 h 198638"/>
                <a:gd name="connsiteX549" fmla="*/ 41455 w 172728"/>
                <a:gd name="connsiteY549" fmla="*/ 69523 h 198638"/>
                <a:gd name="connsiteX550" fmla="*/ 41455 w 172728"/>
                <a:gd name="connsiteY550" fmla="*/ 72114 h 198638"/>
                <a:gd name="connsiteX551" fmla="*/ 41023 w 172728"/>
                <a:gd name="connsiteY551" fmla="*/ 73410 h 198638"/>
                <a:gd name="connsiteX552" fmla="*/ 84205 w 172728"/>
                <a:gd name="connsiteY552" fmla="*/ 41023 h 198638"/>
                <a:gd name="connsiteX553" fmla="*/ 85069 w 172728"/>
                <a:gd name="connsiteY553" fmla="*/ 40591 h 198638"/>
                <a:gd name="connsiteX554" fmla="*/ 85501 w 172728"/>
                <a:gd name="connsiteY554" fmla="*/ 39296 h 198638"/>
                <a:gd name="connsiteX555" fmla="*/ 85501 w 172728"/>
                <a:gd name="connsiteY555" fmla="*/ 38864 h 198638"/>
                <a:gd name="connsiteX556" fmla="*/ 85069 w 172728"/>
                <a:gd name="connsiteY556" fmla="*/ 38432 h 198638"/>
                <a:gd name="connsiteX557" fmla="*/ 84637 w 172728"/>
                <a:gd name="connsiteY557" fmla="*/ 38432 h 198638"/>
                <a:gd name="connsiteX558" fmla="*/ 83773 w 172728"/>
                <a:gd name="connsiteY558" fmla="*/ 39728 h 198638"/>
                <a:gd name="connsiteX559" fmla="*/ 84205 w 172728"/>
                <a:gd name="connsiteY559" fmla="*/ 41023 h 198638"/>
                <a:gd name="connsiteX560" fmla="*/ 84205 w 172728"/>
                <a:gd name="connsiteY560" fmla="*/ 19000 h 198638"/>
                <a:gd name="connsiteX561" fmla="*/ 84637 w 172728"/>
                <a:gd name="connsiteY561" fmla="*/ 19864 h 198638"/>
                <a:gd name="connsiteX562" fmla="*/ 85501 w 172728"/>
                <a:gd name="connsiteY562" fmla="*/ 20728 h 198638"/>
                <a:gd name="connsiteX563" fmla="*/ 86364 w 172728"/>
                <a:gd name="connsiteY563" fmla="*/ 19864 h 198638"/>
                <a:gd name="connsiteX564" fmla="*/ 85069 w 172728"/>
                <a:gd name="connsiteY564" fmla="*/ 18137 h 198638"/>
                <a:gd name="connsiteX565" fmla="*/ 84637 w 172728"/>
                <a:gd name="connsiteY565" fmla="*/ 18137 h 198638"/>
                <a:gd name="connsiteX566" fmla="*/ 84205 w 172728"/>
                <a:gd name="connsiteY566" fmla="*/ 19000 h 198638"/>
                <a:gd name="connsiteX567" fmla="*/ 86796 w 172728"/>
                <a:gd name="connsiteY567" fmla="*/ 22455 h 198638"/>
                <a:gd name="connsiteX568" fmla="*/ 85069 w 172728"/>
                <a:gd name="connsiteY568" fmla="*/ 22887 h 198638"/>
                <a:gd name="connsiteX569" fmla="*/ 85069 w 172728"/>
                <a:gd name="connsiteY569" fmla="*/ 25046 h 198638"/>
                <a:gd name="connsiteX570" fmla="*/ 85501 w 172728"/>
                <a:gd name="connsiteY570" fmla="*/ 27205 h 198638"/>
                <a:gd name="connsiteX571" fmla="*/ 84637 w 172728"/>
                <a:gd name="connsiteY571" fmla="*/ 28932 h 198638"/>
                <a:gd name="connsiteX572" fmla="*/ 85501 w 172728"/>
                <a:gd name="connsiteY572" fmla="*/ 31955 h 198638"/>
                <a:gd name="connsiteX573" fmla="*/ 84637 w 172728"/>
                <a:gd name="connsiteY573" fmla="*/ 33250 h 198638"/>
                <a:gd name="connsiteX574" fmla="*/ 84637 w 172728"/>
                <a:gd name="connsiteY574" fmla="*/ 34114 h 198638"/>
                <a:gd name="connsiteX575" fmla="*/ 85069 w 172728"/>
                <a:gd name="connsiteY575" fmla="*/ 34546 h 198638"/>
                <a:gd name="connsiteX576" fmla="*/ 85933 w 172728"/>
                <a:gd name="connsiteY576" fmla="*/ 34114 h 198638"/>
                <a:gd name="connsiteX577" fmla="*/ 87660 w 172728"/>
                <a:gd name="connsiteY577" fmla="*/ 33682 h 198638"/>
                <a:gd name="connsiteX578" fmla="*/ 90683 w 172728"/>
                <a:gd name="connsiteY578" fmla="*/ 29796 h 198638"/>
                <a:gd name="connsiteX579" fmla="*/ 90683 w 172728"/>
                <a:gd name="connsiteY579" fmla="*/ 28068 h 198638"/>
                <a:gd name="connsiteX580" fmla="*/ 89819 w 172728"/>
                <a:gd name="connsiteY580" fmla="*/ 26773 h 198638"/>
                <a:gd name="connsiteX581" fmla="*/ 88092 w 172728"/>
                <a:gd name="connsiteY581" fmla="*/ 25046 h 198638"/>
                <a:gd name="connsiteX582" fmla="*/ 87228 w 172728"/>
                <a:gd name="connsiteY582" fmla="*/ 22887 h 198638"/>
                <a:gd name="connsiteX583" fmla="*/ 86796 w 172728"/>
                <a:gd name="connsiteY583" fmla="*/ 22455 h 198638"/>
                <a:gd name="connsiteX584" fmla="*/ 88524 w 172728"/>
                <a:gd name="connsiteY584" fmla="*/ 24182 h 198638"/>
                <a:gd name="connsiteX585" fmla="*/ 89387 w 172728"/>
                <a:gd name="connsiteY585" fmla="*/ 24614 h 198638"/>
                <a:gd name="connsiteX586" fmla="*/ 89819 w 172728"/>
                <a:gd name="connsiteY586" fmla="*/ 24614 h 198638"/>
                <a:gd name="connsiteX587" fmla="*/ 89819 w 172728"/>
                <a:gd name="connsiteY587" fmla="*/ 23750 h 198638"/>
                <a:gd name="connsiteX588" fmla="*/ 89387 w 172728"/>
                <a:gd name="connsiteY588" fmla="*/ 22887 h 198638"/>
                <a:gd name="connsiteX589" fmla="*/ 88955 w 172728"/>
                <a:gd name="connsiteY589" fmla="*/ 23318 h 198638"/>
                <a:gd name="connsiteX590" fmla="*/ 88524 w 172728"/>
                <a:gd name="connsiteY590" fmla="*/ 24182 h 198638"/>
                <a:gd name="connsiteX591" fmla="*/ 90251 w 172728"/>
                <a:gd name="connsiteY591" fmla="*/ 36273 h 198638"/>
                <a:gd name="connsiteX592" fmla="*/ 90251 w 172728"/>
                <a:gd name="connsiteY592" fmla="*/ 36705 h 198638"/>
                <a:gd name="connsiteX593" fmla="*/ 91115 w 172728"/>
                <a:gd name="connsiteY593" fmla="*/ 40160 h 198638"/>
                <a:gd name="connsiteX594" fmla="*/ 91978 w 172728"/>
                <a:gd name="connsiteY594" fmla="*/ 40160 h 198638"/>
                <a:gd name="connsiteX595" fmla="*/ 93705 w 172728"/>
                <a:gd name="connsiteY595" fmla="*/ 38000 h 198638"/>
                <a:gd name="connsiteX596" fmla="*/ 93274 w 172728"/>
                <a:gd name="connsiteY596" fmla="*/ 37137 h 198638"/>
                <a:gd name="connsiteX597" fmla="*/ 92842 w 172728"/>
                <a:gd name="connsiteY597" fmla="*/ 36273 h 198638"/>
                <a:gd name="connsiteX598" fmla="*/ 93274 w 172728"/>
                <a:gd name="connsiteY598" fmla="*/ 35409 h 198638"/>
                <a:gd name="connsiteX599" fmla="*/ 93274 w 172728"/>
                <a:gd name="connsiteY599" fmla="*/ 34978 h 198638"/>
                <a:gd name="connsiteX600" fmla="*/ 91978 w 172728"/>
                <a:gd name="connsiteY600" fmla="*/ 34546 h 198638"/>
                <a:gd name="connsiteX601" fmla="*/ 90251 w 172728"/>
                <a:gd name="connsiteY601" fmla="*/ 36273 h 198638"/>
                <a:gd name="connsiteX602" fmla="*/ 91978 w 172728"/>
                <a:gd name="connsiteY602" fmla="*/ 31091 h 198638"/>
                <a:gd name="connsiteX603" fmla="*/ 91978 w 172728"/>
                <a:gd name="connsiteY603" fmla="*/ 32819 h 198638"/>
                <a:gd name="connsiteX604" fmla="*/ 92410 w 172728"/>
                <a:gd name="connsiteY604" fmla="*/ 33250 h 198638"/>
                <a:gd name="connsiteX605" fmla="*/ 94569 w 172728"/>
                <a:gd name="connsiteY605" fmla="*/ 31091 h 198638"/>
                <a:gd name="connsiteX606" fmla="*/ 94569 w 172728"/>
                <a:gd name="connsiteY606" fmla="*/ 30659 h 198638"/>
                <a:gd name="connsiteX607" fmla="*/ 92842 w 172728"/>
                <a:gd name="connsiteY607" fmla="*/ 28932 h 198638"/>
                <a:gd name="connsiteX608" fmla="*/ 92410 w 172728"/>
                <a:gd name="connsiteY608" fmla="*/ 28932 h 198638"/>
                <a:gd name="connsiteX609" fmla="*/ 91978 w 172728"/>
                <a:gd name="connsiteY609" fmla="*/ 31091 h 198638"/>
                <a:gd name="connsiteX610" fmla="*/ 111410 w 172728"/>
                <a:gd name="connsiteY610" fmla="*/ 164092 h 198638"/>
                <a:gd name="connsiteX611" fmla="*/ 110978 w 172728"/>
                <a:gd name="connsiteY611" fmla="*/ 163229 h 198638"/>
                <a:gd name="connsiteX612" fmla="*/ 110115 w 172728"/>
                <a:gd name="connsiteY612" fmla="*/ 163229 h 198638"/>
                <a:gd name="connsiteX613" fmla="*/ 109683 w 172728"/>
                <a:gd name="connsiteY613" fmla="*/ 164092 h 198638"/>
                <a:gd name="connsiteX614" fmla="*/ 110546 w 172728"/>
                <a:gd name="connsiteY614" fmla="*/ 164524 h 198638"/>
                <a:gd name="connsiteX615" fmla="*/ 110978 w 172728"/>
                <a:gd name="connsiteY615" fmla="*/ 164524 h 198638"/>
                <a:gd name="connsiteX616" fmla="*/ 111410 w 172728"/>
                <a:gd name="connsiteY616" fmla="*/ 164092 h 198638"/>
                <a:gd name="connsiteX617" fmla="*/ 120910 w 172728"/>
                <a:gd name="connsiteY617" fmla="*/ 161933 h 198638"/>
                <a:gd name="connsiteX618" fmla="*/ 120478 w 172728"/>
                <a:gd name="connsiteY618" fmla="*/ 162365 h 198638"/>
                <a:gd name="connsiteX619" fmla="*/ 120047 w 172728"/>
                <a:gd name="connsiteY619" fmla="*/ 161933 h 198638"/>
                <a:gd name="connsiteX620" fmla="*/ 120478 w 172728"/>
                <a:gd name="connsiteY620" fmla="*/ 161501 h 198638"/>
                <a:gd name="connsiteX621" fmla="*/ 120910 w 172728"/>
                <a:gd name="connsiteY621" fmla="*/ 161933 h 198638"/>
                <a:gd name="connsiteX622" fmla="*/ 144660 w 172728"/>
                <a:gd name="connsiteY622" fmla="*/ 136888 h 198638"/>
                <a:gd name="connsiteX623" fmla="*/ 142501 w 172728"/>
                <a:gd name="connsiteY623" fmla="*/ 139047 h 198638"/>
                <a:gd name="connsiteX624" fmla="*/ 141638 w 172728"/>
                <a:gd name="connsiteY624" fmla="*/ 139910 h 198638"/>
                <a:gd name="connsiteX625" fmla="*/ 141206 w 172728"/>
                <a:gd name="connsiteY625" fmla="*/ 139047 h 198638"/>
                <a:gd name="connsiteX626" fmla="*/ 139910 w 172728"/>
                <a:gd name="connsiteY626" fmla="*/ 137751 h 198638"/>
                <a:gd name="connsiteX627" fmla="*/ 139047 w 172728"/>
                <a:gd name="connsiteY627" fmla="*/ 136888 h 198638"/>
                <a:gd name="connsiteX628" fmla="*/ 139047 w 172728"/>
                <a:gd name="connsiteY628" fmla="*/ 136024 h 198638"/>
                <a:gd name="connsiteX629" fmla="*/ 141206 w 172728"/>
                <a:gd name="connsiteY629" fmla="*/ 134729 h 198638"/>
                <a:gd name="connsiteX630" fmla="*/ 141638 w 172728"/>
                <a:gd name="connsiteY630" fmla="*/ 135160 h 198638"/>
                <a:gd name="connsiteX631" fmla="*/ 143797 w 172728"/>
                <a:gd name="connsiteY631" fmla="*/ 136024 h 198638"/>
                <a:gd name="connsiteX632" fmla="*/ 144660 w 172728"/>
                <a:gd name="connsiteY632" fmla="*/ 136888 h 198638"/>
                <a:gd name="connsiteX633" fmla="*/ 147251 w 172728"/>
                <a:gd name="connsiteY633" fmla="*/ 128251 h 198638"/>
                <a:gd name="connsiteX634" fmla="*/ 147251 w 172728"/>
                <a:gd name="connsiteY634" fmla="*/ 128683 h 198638"/>
                <a:gd name="connsiteX635" fmla="*/ 144660 w 172728"/>
                <a:gd name="connsiteY635" fmla="*/ 131274 h 198638"/>
                <a:gd name="connsiteX636" fmla="*/ 144229 w 172728"/>
                <a:gd name="connsiteY636" fmla="*/ 131274 h 198638"/>
                <a:gd name="connsiteX637" fmla="*/ 143797 w 172728"/>
                <a:gd name="connsiteY637" fmla="*/ 130842 h 198638"/>
                <a:gd name="connsiteX638" fmla="*/ 144229 w 172728"/>
                <a:gd name="connsiteY638" fmla="*/ 129978 h 198638"/>
                <a:gd name="connsiteX639" fmla="*/ 145524 w 172728"/>
                <a:gd name="connsiteY639" fmla="*/ 128683 h 198638"/>
                <a:gd name="connsiteX640" fmla="*/ 145524 w 172728"/>
                <a:gd name="connsiteY640" fmla="*/ 127819 h 198638"/>
                <a:gd name="connsiteX641" fmla="*/ 145956 w 172728"/>
                <a:gd name="connsiteY641" fmla="*/ 127819 h 198638"/>
                <a:gd name="connsiteX642" fmla="*/ 147251 w 172728"/>
                <a:gd name="connsiteY642" fmla="*/ 128251 h 198638"/>
                <a:gd name="connsiteX643" fmla="*/ 157183 w 172728"/>
                <a:gd name="connsiteY643" fmla="*/ 121342 h 198638"/>
                <a:gd name="connsiteX644" fmla="*/ 158047 w 172728"/>
                <a:gd name="connsiteY644" fmla="*/ 120910 h 198638"/>
                <a:gd name="connsiteX645" fmla="*/ 156751 w 172728"/>
                <a:gd name="connsiteY645" fmla="*/ 123933 h 198638"/>
                <a:gd name="connsiteX646" fmla="*/ 155888 w 172728"/>
                <a:gd name="connsiteY646" fmla="*/ 124365 h 198638"/>
                <a:gd name="connsiteX647" fmla="*/ 155888 w 172728"/>
                <a:gd name="connsiteY647" fmla="*/ 123069 h 198638"/>
                <a:gd name="connsiteX648" fmla="*/ 157183 w 172728"/>
                <a:gd name="connsiteY648" fmla="*/ 121342 h 198638"/>
                <a:gd name="connsiteX649" fmla="*/ 158479 w 172728"/>
                <a:gd name="connsiteY649" fmla="*/ 99319 h 198638"/>
                <a:gd name="connsiteX650" fmla="*/ 158047 w 172728"/>
                <a:gd name="connsiteY650" fmla="*/ 97592 h 198638"/>
                <a:gd name="connsiteX651" fmla="*/ 157615 w 172728"/>
                <a:gd name="connsiteY651" fmla="*/ 97592 h 198638"/>
                <a:gd name="connsiteX652" fmla="*/ 157615 w 172728"/>
                <a:gd name="connsiteY652" fmla="*/ 98456 h 198638"/>
                <a:gd name="connsiteX653" fmla="*/ 158047 w 172728"/>
                <a:gd name="connsiteY653" fmla="*/ 99319 h 198638"/>
                <a:gd name="connsiteX654" fmla="*/ 158047 w 172728"/>
                <a:gd name="connsiteY654" fmla="*/ 99751 h 198638"/>
                <a:gd name="connsiteX655" fmla="*/ 158479 w 172728"/>
                <a:gd name="connsiteY655" fmla="*/ 99319 h 198638"/>
                <a:gd name="connsiteX656" fmla="*/ 160206 w 172728"/>
                <a:gd name="connsiteY656" fmla="*/ 87228 h 198638"/>
                <a:gd name="connsiteX657" fmla="*/ 160206 w 172728"/>
                <a:gd name="connsiteY657" fmla="*/ 87660 h 198638"/>
                <a:gd name="connsiteX658" fmla="*/ 158479 w 172728"/>
                <a:gd name="connsiteY658" fmla="*/ 88955 h 198638"/>
                <a:gd name="connsiteX659" fmla="*/ 158047 w 172728"/>
                <a:gd name="connsiteY659" fmla="*/ 88524 h 198638"/>
                <a:gd name="connsiteX660" fmla="*/ 158047 w 172728"/>
                <a:gd name="connsiteY660" fmla="*/ 88092 h 198638"/>
                <a:gd name="connsiteX661" fmla="*/ 159342 w 172728"/>
                <a:gd name="connsiteY661" fmla="*/ 86796 h 198638"/>
                <a:gd name="connsiteX662" fmla="*/ 160206 w 172728"/>
                <a:gd name="connsiteY662" fmla="*/ 87228 h 198638"/>
                <a:gd name="connsiteX663" fmla="*/ 168411 w 172728"/>
                <a:gd name="connsiteY663" fmla="*/ 92410 h 198638"/>
                <a:gd name="connsiteX664" fmla="*/ 168411 w 172728"/>
                <a:gd name="connsiteY664" fmla="*/ 92842 h 198638"/>
                <a:gd name="connsiteX665" fmla="*/ 167547 w 172728"/>
                <a:gd name="connsiteY665" fmla="*/ 95433 h 198638"/>
                <a:gd name="connsiteX666" fmla="*/ 167115 w 172728"/>
                <a:gd name="connsiteY666" fmla="*/ 96728 h 198638"/>
                <a:gd name="connsiteX667" fmla="*/ 166683 w 172728"/>
                <a:gd name="connsiteY667" fmla="*/ 98024 h 198638"/>
                <a:gd name="connsiteX668" fmla="*/ 165388 w 172728"/>
                <a:gd name="connsiteY668" fmla="*/ 99319 h 198638"/>
                <a:gd name="connsiteX669" fmla="*/ 164092 w 172728"/>
                <a:gd name="connsiteY669" fmla="*/ 98024 h 198638"/>
                <a:gd name="connsiteX670" fmla="*/ 165388 w 172728"/>
                <a:gd name="connsiteY670" fmla="*/ 94569 h 198638"/>
                <a:gd name="connsiteX671" fmla="*/ 165388 w 172728"/>
                <a:gd name="connsiteY671" fmla="*/ 93274 h 198638"/>
                <a:gd name="connsiteX672" fmla="*/ 165820 w 172728"/>
                <a:gd name="connsiteY672" fmla="*/ 91546 h 198638"/>
                <a:gd name="connsiteX673" fmla="*/ 167115 w 172728"/>
                <a:gd name="connsiteY673" fmla="*/ 88092 h 198638"/>
                <a:gd name="connsiteX674" fmla="*/ 167115 w 172728"/>
                <a:gd name="connsiteY674" fmla="*/ 87228 h 198638"/>
                <a:gd name="connsiteX675" fmla="*/ 167547 w 172728"/>
                <a:gd name="connsiteY675" fmla="*/ 86364 h 198638"/>
                <a:gd name="connsiteX676" fmla="*/ 167979 w 172728"/>
                <a:gd name="connsiteY676" fmla="*/ 86364 h 198638"/>
                <a:gd name="connsiteX677" fmla="*/ 168411 w 172728"/>
                <a:gd name="connsiteY677" fmla="*/ 86364 h 198638"/>
                <a:gd name="connsiteX678" fmla="*/ 168842 w 172728"/>
                <a:gd name="connsiteY678" fmla="*/ 87228 h 198638"/>
                <a:gd name="connsiteX679" fmla="*/ 168411 w 172728"/>
                <a:gd name="connsiteY679" fmla="*/ 87660 h 198638"/>
                <a:gd name="connsiteX680" fmla="*/ 167547 w 172728"/>
                <a:gd name="connsiteY680" fmla="*/ 89387 h 198638"/>
                <a:gd name="connsiteX681" fmla="*/ 167115 w 172728"/>
                <a:gd name="connsiteY681" fmla="*/ 90251 h 198638"/>
                <a:gd name="connsiteX682" fmla="*/ 167979 w 172728"/>
                <a:gd name="connsiteY682" fmla="*/ 91114 h 198638"/>
                <a:gd name="connsiteX683" fmla="*/ 168411 w 172728"/>
                <a:gd name="connsiteY683" fmla="*/ 92410 h 198638"/>
                <a:gd name="connsiteX684" fmla="*/ 164092 w 172728"/>
                <a:gd name="connsiteY684" fmla="*/ 61751 h 198638"/>
                <a:gd name="connsiteX685" fmla="*/ 164956 w 172728"/>
                <a:gd name="connsiteY685" fmla="*/ 60455 h 198638"/>
                <a:gd name="connsiteX686" fmla="*/ 167115 w 172728"/>
                <a:gd name="connsiteY686" fmla="*/ 60455 h 198638"/>
                <a:gd name="connsiteX687" fmla="*/ 166683 w 172728"/>
                <a:gd name="connsiteY687" fmla="*/ 61751 h 198638"/>
                <a:gd name="connsiteX688" fmla="*/ 167115 w 172728"/>
                <a:gd name="connsiteY688" fmla="*/ 62182 h 198638"/>
                <a:gd name="connsiteX689" fmla="*/ 166252 w 172728"/>
                <a:gd name="connsiteY689" fmla="*/ 63046 h 198638"/>
                <a:gd name="connsiteX690" fmla="*/ 164092 w 172728"/>
                <a:gd name="connsiteY690" fmla="*/ 61751 h 198638"/>
                <a:gd name="connsiteX691" fmla="*/ 169274 w 172728"/>
                <a:gd name="connsiteY691" fmla="*/ 105365 h 198638"/>
                <a:gd name="connsiteX692" fmla="*/ 167979 w 172728"/>
                <a:gd name="connsiteY692" fmla="*/ 106660 h 198638"/>
                <a:gd name="connsiteX693" fmla="*/ 168842 w 172728"/>
                <a:gd name="connsiteY693" fmla="*/ 104501 h 198638"/>
                <a:gd name="connsiteX694" fmla="*/ 169274 w 172728"/>
                <a:gd name="connsiteY694" fmla="*/ 104933 h 198638"/>
                <a:gd name="connsiteX695" fmla="*/ 169274 w 172728"/>
                <a:gd name="connsiteY695" fmla="*/ 105365 h 198638"/>
                <a:gd name="connsiteX696" fmla="*/ 171865 w 172728"/>
                <a:gd name="connsiteY696" fmla="*/ 99751 h 198638"/>
                <a:gd name="connsiteX697" fmla="*/ 171433 w 172728"/>
                <a:gd name="connsiteY697" fmla="*/ 98456 h 198638"/>
                <a:gd name="connsiteX698" fmla="*/ 171865 w 172728"/>
                <a:gd name="connsiteY698" fmla="*/ 97592 h 198638"/>
                <a:gd name="connsiteX699" fmla="*/ 172297 w 172728"/>
                <a:gd name="connsiteY699" fmla="*/ 97160 h 198638"/>
                <a:gd name="connsiteX700" fmla="*/ 172729 w 172728"/>
                <a:gd name="connsiteY700" fmla="*/ 97592 h 198638"/>
                <a:gd name="connsiteX701" fmla="*/ 171865 w 172728"/>
                <a:gd name="connsiteY701" fmla="*/ 99751 h 198638"/>
                <a:gd name="connsiteX702" fmla="*/ 171433 w 172728"/>
                <a:gd name="connsiteY702" fmla="*/ 100183 h 198638"/>
                <a:gd name="connsiteX703" fmla="*/ 171865 w 172728"/>
                <a:gd name="connsiteY703" fmla="*/ 99751 h 19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</a:cxnLst>
              <a:rect l="l" t="t" r="r" b="b"/>
              <a:pathLst>
                <a:path w="172728" h="198638">
                  <a:moveTo>
                    <a:pt x="165388" y="101478"/>
                  </a:moveTo>
                  <a:cubicBezTo>
                    <a:pt x="164092" y="102774"/>
                    <a:pt x="164092" y="103637"/>
                    <a:pt x="164092" y="104501"/>
                  </a:cubicBezTo>
                  <a:cubicBezTo>
                    <a:pt x="163229" y="105796"/>
                    <a:pt x="162365" y="106660"/>
                    <a:pt x="160638" y="107524"/>
                  </a:cubicBezTo>
                  <a:cubicBezTo>
                    <a:pt x="160206" y="107956"/>
                    <a:pt x="159774" y="108819"/>
                    <a:pt x="159774" y="109251"/>
                  </a:cubicBezTo>
                  <a:cubicBezTo>
                    <a:pt x="159774" y="109683"/>
                    <a:pt x="159342" y="109683"/>
                    <a:pt x="159342" y="110115"/>
                  </a:cubicBezTo>
                  <a:cubicBezTo>
                    <a:pt x="159342" y="110546"/>
                    <a:pt x="159774" y="111410"/>
                    <a:pt x="160206" y="111842"/>
                  </a:cubicBezTo>
                  <a:cubicBezTo>
                    <a:pt x="160638" y="111842"/>
                    <a:pt x="161070" y="112274"/>
                    <a:pt x="161070" y="112274"/>
                  </a:cubicBezTo>
                  <a:cubicBezTo>
                    <a:pt x="161933" y="112706"/>
                    <a:pt x="161933" y="112706"/>
                    <a:pt x="162797" y="112706"/>
                  </a:cubicBezTo>
                  <a:lnTo>
                    <a:pt x="163229" y="112274"/>
                  </a:lnTo>
                  <a:cubicBezTo>
                    <a:pt x="163661" y="112274"/>
                    <a:pt x="164092" y="112274"/>
                    <a:pt x="164092" y="112706"/>
                  </a:cubicBezTo>
                  <a:cubicBezTo>
                    <a:pt x="163229" y="114865"/>
                    <a:pt x="161933" y="116592"/>
                    <a:pt x="160638" y="117888"/>
                  </a:cubicBezTo>
                  <a:cubicBezTo>
                    <a:pt x="159774" y="118751"/>
                    <a:pt x="159342" y="119615"/>
                    <a:pt x="159342" y="120478"/>
                  </a:cubicBezTo>
                  <a:cubicBezTo>
                    <a:pt x="159342" y="120910"/>
                    <a:pt x="158479" y="120910"/>
                    <a:pt x="158047" y="120910"/>
                  </a:cubicBezTo>
                  <a:cubicBezTo>
                    <a:pt x="158047" y="120478"/>
                    <a:pt x="158479" y="120047"/>
                    <a:pt x="158479" y="119615"/>
                  </a:cubicBezTo>
                  <a:cubicBezTo>
                    <a:pt x="158479" y="119183"/>
                    <a:pt x="158047" y="118751"/>
                    <a:pt x="158047" y="117888"/>
                  </a:cubicBezTo>
                  <a:cubicBezTo>
                    <a:pt x="158047" y="116592"/>
                    <a:pt x="158911" y="115728"/>
                    <a:pt x="159342" y="114433"/>
                  </a:cubicBezTo>
                  <a:cubicBezTo>
                    <a:pt x="159774" y="114001"/>
                    <a:pt x="159774" y="113569"/>
                    <a:pt x="159774" y="113569"/>
                  </a:cubicBezTo>
                  <a:lnTo>
                    <a:pt x="159342" y="113569"/>
                  </a:lnTo>
                  <a:cubicBezTo>
                    <a:pt x="159342" y="113137"/>
                    <a:pt x="158911" y="113569"/>
                    <a:pt x="158479" y="113569"/>
                  </a:cubicBezTo>
                  <a:cubicBezTo>
                    <a:pt x="157183" y="113569"/>
                    <a:pt x="156751" y="114433"/>
                    <a:pt x="156751" y="115728"/>
                  </a:cubicBezTo>
                  <a:cubicBezTo>
                    <a:pt x="156320" y="116592"/>
                    <a:pt x="155888" y="116592"/>
                    <a:pt x="155456" y="117024"/>
                  </a:cubicBezTo>
                  <a:lnTo>
                    <a:pt x="155024" y="117024"/>
                  </a:lnTo>
                  <a:cubicBezTo>
                    <a:pt x="154592" y="117024"/>
                    <a:pt x="154592" y="117024"/>
                    <a:pt x="154161" y="116592"/>
                  </a:cubicBezTo>
                  <a:lnTo>
                    <a:pt x="154161" y="115728"/>
                  </a:lnTo>
                  <a:cubicBezTo>
                    <a:pt x="154161" y="115297"/>
                    <a:pt x="154161" y="114865"/>
                    <a:pt x="153729" y="114865"/>
                  </a:cubicBezTo>
                  <a:cubicBezTo>
                    <a:pt x="153297" y="114865"/>
                    <a:pt x="153297" y="115297"/>
                    <a:pt x="153297" y="115728"/>
                  </a:cubicBezTo>
                  <a:cubicBezTo>
                    <a:pt x="152433" y="115728"/>
                    <a:pt x="152001" y="116592"/>
                    <a:pt x="152001" y="116592"/>
                  </a:cubicBezTo>
                  <a:lnTo>
                    <a:pt x="152001" y="119615"/>
                  </a:lnTo>
                  <a:cubicBezTo>
                    <a:pt x="151570" y="119615"/>
                    <a:pt x="152001" y="120047"/>
                    <a:pt x="151570" y="120047"/>
                  </a:cubicBezTo>
                  <a:cubicBezTo>
                    <a:pt x="150274" y="119615"/>
                    <a:pt x="148979" y="119615"/>
                    <a:pt x="148547" y="118751"/>
                  </a:cubicBezTo>
                  <a:cubicBezTo>
                    <a:pt x="148547" y="118751"/>
                    <a:pt x="147683" y="118751"/>
                    <a:pt x="147683" y="119183"/>
                  </a:cubicBezTo>
                  <a:cubicBezTo>
                    <a:pt x="147683" y="119615"/>
                    <a:pt x="147683" y="119615"/>
                    <a:pt x="148115" y="120478"/>
                  </a:cubicBezTo>
                  <a:cubicBezTo>
                    <a:pt x="148115" y="120910"/>
                    <a:pt x="148115" y="121342"/>
                    <a:pt x="147251" y="121774"/>
                  </a:cubicBezTo>
                  <a:cubicBezTo>
                    <a:pt x="145524" y="123501"/>
                    <a:pt x="145092" y="124797"/>
                    <a:pt x="143797" y="126956"/>
                  </a:cubicBezTo>
                  <a:cubicBezTo>
                    <a:pt x="143797" y="126956"/>
                    <a:pt x="143797" y="127388"/>
                    <a:pt x="143365" y="127388"/>
                  </a:cubicBezTo>
                  <a:lnTo>
                    <a:pt x="142501" y="127388"/>
                  </a:lnTo>
                  <a:cubicBezTo>
                    <a:pt x="142069" y="127388"/>
                    <a:pt x="142069" y="127388"/>
                    <a:pt x="142069" y="127819"/>
                  </a:cubicBezTo>
                  <a:lnTo>
                    <a:pt x="142069" y="128683"/>
                  </a:lnTo>
                  <a:cubicBezTo>
                    <a:pt x="142069" y="129547"/>
                    <a:pt x="141206" y="129978"/>
                    <a:pt x="141206" y="130842"/>
                  </a:cubicBezTo>
                  <a:cubicBezTo>
                    <a:pt x="140342" y="131706"/>
                    <a:pt x="139047" y="131706"/>
                    <a:pt x="138615" y="133001"/>
                  </a:cubicBezTo>
                  <a:cubicBezTo>
                    <a:pt x="138615" y="133865"/>
                    <a:pt x="137751" y="133865"/>
                    <a:pt x="136456" y="133865"/>
                  </a:cubicBezTo>
                  <a:cubicBezTo>
                    <a:pt x="136456" y="133865"/>
                    <a:pt x="135592" y="134297"/>
                    <a:pt x="135592" y="134729"/>
                  </a:cubicBezTo>
                  <a:cubicBezTo>
                    <a:pt x="135160" y="134729"/>
                    <a:pt x="134729" y="135160"/>
                    <a:pt x="134729" y="135160"/>
                  </a:cubicBezTo>
                  <a:cubicBezTo>
                    <a:pt x="134729" y="135160"/>
                    <a:pt x="135160" y="135592"/>
                    <a:pt x="135592" y="135592"/>
                  </a:cubicBezTo>
                  <a:cubicBezTo>
                    <a:pt x="135592" y="136024"/>
                    <a:pt x="135592" y="136024"/>
                    <a:pt x="136024" y="136024"/>
                  </a:cubicBezTo>
                  <a:lnTo>
                    <a:pt x="136888" y="136888"/>
                  </a:lnTo>
                  <a:cubicBezTo>
                    <a:pt x="136456" y="137751"/>
                    <a:pt x="136024" y="139047"/>
                    <a:pt x="135160" y="139047"/>
                  </a:cubicBezTo>
                  <a:cubicBezTo>
                    <a:pt x="134729" y="139479"/>
                    <a:pt x="133865" y="139910"/>
                    <a:pt x="133433" y="139910"/>
                  </a:cubicBezTo>
                  <a:cubicBezTo>
                    <a:pt x="132138" y="140342"/>
                    <a:pt x="131706" y="140774"/>
                    <a:pt x="130410" y="141638"/>
                  </a:cubicBezTo>
                  <a:cubicBezTo>
                    <a:pt x="129115" y="142501"/>
                    <a:pt x="129115" y="143797"/>
                    <a:pt x="129115" y="145092"/>
                  </a:cubicBezTo>
                  <a:lnTo>
                    <a:pt x="128251" y="148115"/>
                  </a:lnTo>
                  <a:cubicBezTo>
                    <a:pt x="127819" y="148115"/>
                    <a:pt x="128251" y="148547"/>
                    <a:pt x="128683" y="148979"/>
                  </a:cubicBezTo>
                  <a:cubicBezTo>
                    <a:pt x="128683" y="149410"/>
                    <a:pt x="129115" y="149410"/>
                    <a:pt x="129115" y="149410"/>
                  </a:cubicBezTo>
                  <a:lnTo>
                    <a:pt x="128683" y="149842"/>
                  </a:lnTo>
                  <a:cubicBezTo>
                    <a:pt x="128251" y="150274"/>
                    <a:pt x="128251" y="150274"/>
                    <a:pt x="128251" y="150706"/>
                  </a:cubicBezTo>
                  <a:cubicBezTo>
                    <a:pt x="128251" y="151138"/>
                    <a:pt x="128251" y="151570"/>
                    <a:pt x="128683" y="151570"/>
                  </a:cubicBezTo>
                  <a:cubicBezTo>
                    <a:pt x="128683" y="152001"/>
                    <a:pt x="128683" y="152001"/>
                    <a:pt x="129115" y="152001"/>
                  </a:cubicBezTo>
                  <a:cubicBezTo>
                    <a:pt x="129115" y="152001"/>
                    <a:pt x="129547" y="152001"/>
                    <a:pt x="129547" y="151570"/>
                  </a:cubicBezTo>
                  <a:cubicBezTo>
                    <a:pt x="130410" y="151138"/>
                    <a:pt x="131274" y="150274"/>
                    <a:pt x="131274" y="149410"/>
                  </a:cubicBezTo>
                  <a:lnTo>
                    <a:pt x="131274" y="148979"/>
                  </a:lnTo>
                  <a:cubicBezTo>
                    <a:pt x="131274" y="148547"/>
                    <a:pt x="131706" y="147683"/>
                    <a:pt x="132569" y="147683"/>
                  </a:cubicBezTo>
                  <a:cubicBezTo>
                    <a:pt x="133433" y="147683"/>
                    <a:pt x="133865" y="146820"/>
                    <a:pt x="135160" y="145956"/>
                  </a:cubicBezTo>
                  <a:cubicBezTo>
                    <a:pt x="135160" y="145524"/>
                    <a:pt x="135592" y="144660"/>
                    <a:pt x="136024" y="144229"/>
                  </a:cubicBezTo>
                  <a:cubicBezTo>
                    <a:pt x="136456" y="144229"/>
                    <a:pt x="136456" y="144229"/>
                    <a:pt x="136888" y="144660"/>
                  </a:cubicBezTo>
                  <a:cubicBezTo>
                    <a:pt x="136456" y="145524"/>
                    <a:pt x="136024" y="146388"/>
                    <a:pt x="135160" y="147251"/>
                  </a:cubicBezTo>
                  <a:lnTo>
                    <a:pt x="134729" y="147683"/>
                  </a:lnTo>
                  <a:lnTo>
                    <a:pt x="134729" y="148115"/>
                  </a:lnTo>
                  <a:cubicBezTo>
                    <a:pt x="134729" y="149410"/>
                    <a:pt x="133433" y="150274"/>
                    <a:pt x="132138" y="151570"/>
                  </a:cubicBezTo>
                  <a:cubicBezTo>
                    <a:pt x="131706" y="152865"/>
                    <a:pt x="130410" y="153297"/>
                    <a:pt x="129547" y="154592"/>
                  </a:cubicBezTo>
                  <a:cubicBezTo>
                    <a:pt x="128683" y="155888"/>
                    <a:pt x="126956" y="156752"/>
                    <a:pt x="125660" y="158047"/>
                  </a:cubicBezTo>
                  <a:cubicBezTo>
                    <a:pt x="125660" y="158047"/>
                    <a:pt x="125228" y="158479"/>
                    <a:pt x="124365" y="158911"/>
                  </a:cubicBezTo>
                  <a:lnTo>
                    <a:pt x="123933" y="158911"/>
                  </a:lnTo>
                  <a:cubicBezTo>
                    <a:pt x="123501" y="157615"/>
                    <a:pt x="123501" y="157183"/>
                    <a:pt x="122206" y="157183"/>
                  </a:cubicBezTo>
                  <a:cubicBezTo>
                    <a:pt x="122206" y="157183"/>
                    <a:pt x="121774" y="157183"/>
                    <a:pt x="121774" y="156752"/>
                  </a:cubicBezTo>
                  <a:lnTo>
                    <a:pt x="121774" y="156320"/>
                  </a:lnTo>
                  <a:cubicBezTo>
                    <a:pt x="121774" y="155888"/>
                    <a:pt x="121774" y="155888"/>
                    <a:pt x="122206" y="155888"/>
                  </a:cubicBezTo>
                  <a:cubicBezTo>
                    <a:pt x="122637" y="155888"/>
                    <a:pt x="123069" y="155456"/>
                    <a:pt x="123069" y="155024"/>
                  </a:cubicBezTo>
                  <a:lnTo>
                    <a:pt x="123501" y="154592"/>
                  </a:lnTo>
                  <a:cubicBezTo>
                    <a:pt x="123501" y="154592"/>
                    <a:pt x="123069" y="154592"/>
                    <a:pt x="123069" y="154161"/>
                  </a:cubicBezTo>
                  <a:lnTo>
                    <a:pt x="122206" y="153297"/>
                  </a:lnTo>
                  <a:cubicBezTo>
                    <a:pt x="122206" y="153297"/>
                    <a:pt x="122637" y="153297"/>
                    <a:pt x="123069" y="152865"/>
                  </a:cubicBezTo>
                  <a:lnTo>
                    <a:pt x="123069" y="152433"/>
                  </a:lnTo>
                  <a:cubicBezTo>
                    <a:pt x="123069" y="152001"/>
                    <a:pt x="123069" y="152001"/>
                    <a:pt x="123501" y="152001"/>
                  </a:cubicBezTo>
                  <a:lnTo>
                    <a:pt x="123501" y="151570"/>
                  </a:lnTo>
                  <a:cubicBezTo>
                    <a:pt x="123069" y="151138"/>
                    <a:pt x="123069" y="151138"/>
                    <a:pt x="122637" y="151138"/>
                  </a:cubicBezTo>
                  <a:lnTo>
                    <a:pt x="122206" y="151138"/>
                  </a:lnTo>
                  <a:cubicBezTo>
                    <a:pt x="120478" y="152001"/>
                    <a:pt x="119615" y="152865"/>
                    <a:pt x="118751" y="154592"/>
                  </a:cubicBezTo>
                  <a:lnTo>
                    <a:pt x="118319" y="155024"/>
                  </a:lnTo>
                  <a:cubicBezTo>
                    <a:pt x="118319" y="155024"/>
                    <a:pt x="118319" y="155456"/>
                    <a:pt x="118751" y="155456"/>
                  </a:cubicBezTo>
                  <a:lnTo>
                    <a:pt x="119615" y="155456"/>
                  </a:lnTo>
                  <a:lnTo>
                    <a:pt x="120047" y="155888"/>
                  </a:lnTo>
                  <a:cubicBezTo>
                    <a:pt x="120047" y="155888"/>
                    <a:pt x="119615" y="155888"/>
                    <a:pt x="119183" y="156320"/>
                  </a:cubicBezTo>
                  <a:cubicBezTo>
                    <a:pt x="117887" y="157183"/>
                    <a:pt x="118319" y="158479"/>
                    <a:pt x="117456" y="158911"/>
                  </a:cubicBezTo>
                  <a:lnTo>
                    <a:pt x="117456" y="159774"/>
                  </a:lnTo>
                  <a:cubicBezTo>
                    <a:pt x="117887" y="160206"/>
                    <a:pt x="117887" y="161070"/>
                    <a:pt x="117887" y="161501"/>
                  </a:cubicBezTo>
                  <a:lnTo>
                    <a:pt x="117887" y="161933"/>
                  </a:lnTo>
                  <a:cubicBezTo>
                    <a:pt x="117456" y="161933"/>
                    <a:pt x="117024" y="162365"/>
                    <a:pt x="117024" y="162797"/>
                  </a:cubicBezTo>
                  <a:lnTo>
                    <a:pt x="116592" y="163229"/>
                  </a:lnTo>
                  <a:lnTo>
                    <a:pt x="117024" y="163229"/>
                  </a:lnTo>
                  <a:cubicBezTo>
                    <a:pt x="117024" y="163661"/>
                    <a:pt x="117024" y="163661"/>
                    <a:pt x="117456" y="164092"/>
                  </a:cubicBezTo>
                  <a:cubicBezTo>
                    <a:pt x="117887" y="164092"/>
                    <a:pt x="117887" y="164524"/>
                    <a:pt x="117887" y="164956"/>
                  </a:cubicBezTo>
                  <a:cubicBezTo>
                    <a:pt x="117887" y="165820"/>
                    <a:pt x="117024" y="166252"/>
                    <a:pt x="116592" y="166252"/>
                  </a:cubicBezTo>
                  <a:cubicBezTo>
                    <a:pt x="115728" y="166252"/>
                    <a:pt x="115297" y="166252"/>
                    <a:pt x="114433" y="166683"/>
                  </a:cubicBezTo>
                  <a:cubicBezTo>
                    <a:pt x="114001" y="167115"/>
                    <a:pt x="113569" y="167115"/>
                    <a:pt x="113569" y="167547"/>
                  </a:cubicBezTo>
                  <a:cubicBezTo>
                    <a:pt x="113569" y="167979"/>
                    <a:pt x="114001" y="167979"/>
                    <a:pt x="114001" y="168411"/>
                  </a:cubicBezTo>
                  <a:cubicBezTo>
                    <a:pt x="114433" y="168842"/>
                    <a:pt x="114433" y="168842"/>
                    <a:pt x="114433" y="169274"/>
                  </a:cubicBezTo>
                  <a:lnTo>
                    <a:pt x="114433" y="169706"/>
                  </a:lnTo>
                  <a:lnTo>
                    <a:pt x="113569" y="169706"/>
                  </a:lnTo>
                  <a:cubicBezTo>
                    <a:pt x="113137" y="169274"/>
                    <a:pt x="112274" y="168842"/>
                    <a:pt x="111410" y="168842"/>
                  </a:cubicBezTo>
                  <a:lnTo>
                    <a:pt x="110546" y="168842"/>
                  </a:lnTo>
                  <a:cubicBezTo>
                    <a:pt x="110115" y="168411"/>
                    <a:pt x="109683" y="168411"/>
                    <a:pt x="109683" y="167979"/>
                  </a:cubicBezTo>
                  <a:lnTo>
                    <a:pt x="110978" y="166683"/>
                  </a:lnTo>
                  <a:cubicBezTo>
                    <a:pt x="110978" y="166252"/>
                    <a:pt x="110978" y="166252"/>
                    <a:pt x="110546" y="166252"/>
                  </a:cubicBezTo>
                  <a:lnTo>
                    <a:pt x="110978" y="165820"/>
                  </a:lnTo>
                  <a:cubicBezTo>
                    <a:pt x="110546" y="165820"/>
                    <a:pt x="109683" y="166252"/>
                    <a:pt x="109251" y="166252"/>
                  </a:cubicBezTo>
                  <a:lnTo>
                    <a:pt x="104933" y="166252"/>
                  </a:lnTo>
                  <a:cubicBezTo>
                    <a:pt x="104501" y="166252"/>
                    <a:pt x="104501" y="167115"/>
                    <a:pt x="104501" y="167547"/>
                  </a:cubicBezTo>
                  <a:cubicBezTo>
                    <a:pt x="104933" y="168411"/>
                    <a:pt x="106228" y="169706"/>
                    <a:pt x="107524" y="170138"/>
                  </a:cubicBezTo>
                  <a:cubicBezTo>
                    <a:pt x="107956" y="170138"/>
                    <a:pt x="107956" y="170138"/>
                    <a:pt x="107956" y="170570"/>
                  </a:cubicBezTo>
                  <a:lnTo>
                    <a:pt x="107956" y="171002"/>
                  </a:lnTo>
                  <a:cubicBezTo>
                    <a:pt x="107956" y="171002"/>
                    <a:pt x="108387" y="171433"/>
                    <a:pt x="108387" y="171865"/>
                  </a:cubicBezTo>
                  <a:lnTo>
                    <a:pt x="108387" y="173161"/>
                  </a:lnTo>
                  <a:lnTo>
                    <a:pt x="104501" y="177911"/>
                  </a:lnTo>
                  <a:cubicBezTo>
                    <a:pt x="103637" y="177911"/>
                    <a:pt x="103205" y="178343"/>
                    <a:pt x="102774" y="179206"/>
                  </a:cubicBezTo>
                  <a:cubicBezTo>
                    <a:pt x="102342" y="180070"/>
                    <a:pt x="101478" y="181365"/>
                    <a:pt x="100183" y="182229"/>
                  </a:cubicBezTo>
                  <a:lnTo>
                    <a:pt x="96296" y="185252"/>
                  </a:lnTo>
                  <a:cubicBezTo>
                    <a:pt x="95865" y="185684"/>
                    <a:pt x="94137" y="186115"/>
                    <a:pt x="93274" y="187411"/>
                  </a:cubicBezTo>
                  <a:cubicBezTo>
                    <a:pt x="91115" y="187411"/>
                    <a:pt x="90251" y="189138"/>
                    <a:pt x="88955" y="190434"/>
                  </a:cubicBezTo>
                  <a:lnTo>
                    <a:pt x="86364" y="192161"/>
                  </a:lnTo>
                  <a:cubicBezTo>
                    <a:pt x="85069" y="192593"/>
                    <a:pt x="83773" y="193025"/>
                    <a:pt x="82910" y="193888"/>
                  </a:cubicBezTo>
                  <a:cubicBezTo>
                    <a:pt x="80319" y="195184"/>
                    <a:pt x="76864" y="197343"/>
                    <a:pt x="73842" y="198206"/>
                  </a:cubicBezTo>
                  <a:cubicBezTo>
                    <a:pt x="72978" y="198638"/>
                    <a:pt x="72546" y="199502"/>
                    <a:pt x="71683" y="200365"/>
                  </a:cubicBezTo>
                  <a:lnTo>
                    <a:pt x="68660" y="200365"/>
                  </a:lnTo>
                  <a:cubicBezTo>
                    <a:pt x="68660" y="200365"/>
                    <a:pt x="67796" y="200797"/>
                    <a:pt x="67364" y="200797"/>
                  </a:cubicBezTo>
                  <a:lnTo>
                    <a:pt x="64341" y="202093"/>
                  </a:lnTo>
                  <a:cubicBezTo>
                    <a:pt x="63478" y="202093"/>
                    <a:pt x="62182" y="202093"/>
                    <a:pt x="61319" y="202525"/>
                  </a:cubicBezTo>
                  <a:cubicBezTo>
                    <a:pt x="60455" y="202525"/>
                    <a:pt x="60023" y="203388"/>
                    <a:pt x="59160" y="203388"/>
                  </a:cubicBezTo>
                  <a:cubicBezTo>
                    <a:pt x="58728" y="203820"/>
                    <a:pt x="58296" y="203820"/>
                    <a:pt x="58296" y="203820"/>
                  </a:cubicBezTo>
                  <a:cubicBezTo>
                    <a:pt x="57864" y="203820"/>
                    <a:pt x="57864" y="203820"/>
                    <a:pt x="57864" y="203388"/>
                  </a:cubicBezTo>
                  <a:cubicBezTo>
                    <a:pt x="57001" y="203388"/>
                    <a:pt x="56569" y="202956"/>
                    <a:pt x="55705" y="202956"/>
                  </a:cubicBezTo>
                  <a:cubicBezTo>
                    <a:pt x="54841" y="202956"/>
                    <a:pt x="53978" y="203388"/>
                    <a:pt x="53546" y="203388"/>
                  </a:cubicBezTo>
                  <a:cubicBezTo>
                    <a:pt x="52682" y="203820"/>
                    <a:pt x="52251" y="203820"/>
                    <a:pt x="51387" y="203820"/>
                  </a:cubicBezTo>
                  <a:lnTo>
                    <a:pt x="46205" y="203820"/>
                  </a:lnTo>
                  <a:cubicBezTo>
                    <a:pt x="45341" y="203388"/>
                    <a:pt x="44478" y="203388"/>
                    <a:pt x="44046" y="203388"/>
                  </a:cubicBezTo>
                  <a:lnTo>
                    <a:pt x="37137" y="203388"/>
                  </a:lnTo>
                  <a:cubicBezTo>
                    <a:pt x="36705" y="203388"/>
                    <a:pt x="36273" y="202956"/>
                    <a:pt x="35409" y="202956"/>
                  </a:cubicBezTo>
                  <a:cubicBezTo>
                    <a:pt x="34978" y="202956"/>
                    <a:pt x="34114" y="202525"/>
                    <a:pt x="34114" y="202525"/>
                  </a:cubicBezTo>
                  <a:cubicBezTo>
                    <a:pt x="31955" y="202525"/>
                    <a:pt x="29796" y="202093"/>
                    <a:pt x="27637" y="201229"/>
                  </a:cubicBezTo>
                  <a:cubicBezTo>
                    <a:pt x="27637" y="201229"/>
                    <a:pt x="27205" y="201229"/>
                    <a:pt x="26773" y="200797"/>
                  </a:cubicBezTo>
                  <a:cubicBezTo>
                    <a:pt x="25909" y="199502"/>
                    <a:pt x="25909" y="199502"/>
                    <a:pt x="24182" y="199502"/>
                  </a:cubicBezTo>
                  <a:cubicBezTo>
                    <a:pt x="23318" y="199502"/>
                    <a:pt x="22887" y="199070"/>
                    <a:pt x="22455" y="198206"/>
                  </a:cubicBezTo>
                  <a:cubicBezTo>
                    <a:pt x="21591" y="196479"/>
                    <a:pt x="21591" y="196479"/>
                    <a:pt x="19864" y="196479"/>
                  </a:cubicBezTo>
                  <a:lnTo>
                    <a:pt x="16841" y="196479"/>
                  </a:lnTo>
                  <a:cubicBezTo>
                    <a:pt x="16841" y="196479"/>
                    <a:pt x="16409" y="196047"/>
                    <a:pt x="16409" y="195615"/>
                  </a:cubicBezTo>
                  <a:cubicBezTo>
                    <a:pt x="16409" y="195184"/>
                    <a:pt x="16841" y="195184"/>
                    <a:pt x="17273" y="194752"/>
                  </a:cubicBezTo>
                  <a:lnTo>
                    <a:pt x="17273" y="194320"/>
                  </a:lnTo>
                  <a:lnTo>
                    <a:pt x="16841" y="193888"/>
                  </a:lnTo>
                  <a:cubicBezTo>
                    <a:pt x="16841" y="193456"/>
                    <a:pt x="16409" y="193456"/>
                    <a:pt x="15977" y="193456"/>
                  </a:cubicBezTo>
                  <a:cubicBezTo>
                    <a:pt x="15114" y="193456"/>
                    <a:pt x="14250" y="193456"/>
                    <a:pt x="13387" y="192593"/>
                  </a:cubicBezTo>
                  <a:lnTo>
                    <a:pt x="12955" y="192593"/>
                  </a:lnTo>
                  <a:cubicBezTo>
                    <a:pt x="12955" y="192593"/>
                    <a:pt x="12523" y="192593"/>
                    <a:pt x="12523" y="192161"/>
                  </a:cubicBezTo>
                  <a:cubicBezTo>
                    <a:pt x="12523" y="192161"/>
                    <a:pt x="12955" y="191729"/>
                    <a:pt x="12955" y="191297"/>
                  </a:cubicBezTo>
                  <a:lnTo>
                    <a:pt x="12955" y="190434"/>
                  </a:lnTo>
                  <a:lnTo>
                    <a:pt x="11227" y="190434"/>
                  </a:lnTo>
                  <a:cubicBezTo>
                    <a:pt x="10796" y="190434"/>
                    <a:pt x="10796" y="189570"/>
                    <a:pt x="10796" y="189138"/>
                  </a:cubicBezTo>
                  <a:lnTo>
                    <a:pt x="11227" y="189138"/>
                  </a:lnTo>
                  <a:cubicBezTo>
                    <a:pt x="11227" y="188274"/>
                    <a:pt x="12091" y="188274"/>
                    <a:pt x="12091" y="187411"/>
                  </a:cubicBezTo>
                  <a:cubicBezTo>
                    <a:pt x="12091" y="186547"/>
                    <a:pt x="12091" y="185684"/>
                    <a:pt x="10796" y="185252"/>
                  </a:cubicBezTo>
                  <a:cubicBezTo>
                    <a:pt x="3455" y="180933"/>
                    <a:pt x="8205" y="179638"/>
                    <a:pt x="3455" y="174888"/>
                  </a:cubicBezTo>
                  <a:cubicBezTo>
                    <a:pt x="3023" y="174024"/>
                    <a:pt x="2591" y="173161"/>
                    <a:pt x="2591" y="172297"/>
                  </a:cubicBezTo>
                  <a:cubicBezTo>
                    <a:pt x="2159" y="171002"/>
                    <a:pt x="2159" y="169274"/>
                    <a:pt x="1295" y="167979"/>
                  </a:cubicBezTo>
                  <a:lnTo>
                    <a:pt x="1295" y="163229"/>
                  </a:lnTo>
                  <a:cubicBezTo>
                    <a:pt x="864" y="162365"/>
                    <a:pt x="864" y="161933"/>
                    <a:pt x="864" y="161070"/>
                  </a:cubicBezTo>
                  <a:cubicBezTo>
                    <a:pt x="864" y="160638"/>
                    <a:pt x="864" y="160206"/>
                    <a:pt x="1295" y="159774"/>
                  </a:cubicBezTo>
                  <a:lnTo>
                    <a:pt x="1295" y="157183"/>
                  </a:lnTo>
                  <a:cubicBezTo>
                    <a:pt x="1295" y="156752"/>
                    <a:pt x="1727" y="156320"/>
                    <a:pt x="1727" y="155888"/>
                  </a:cubicBezTo>
                  <a:cubicBezTo>
                    <a:pt x="1727" y="155456"/>
                    <a:pt x="1295" y="155024"/>
                    <a:pt x="1295" y="154592"/>
                  </a:cubicBezTo>
                  <a:cubicBezTo>
                    <a:pt x="864" y="153729"/>
                    <a:pt x="864" y="152865"/>
                    <a:pt x="864" y="152001"/>
                  </a:cubicBezTo>
                  <a:lnTo>
                    <a:pt x="864" y="151138"/>
                  </a:lnTo>
                  <a:cubicBezTo>
                    <a:pt x="1295" y="150706"/>
                    <a:pt x="1295" y="149842"/>
                    <a:pt x="1295" y="149410"/>
                  </a:cubicBezTo>
                  <a:cubicBezTo>
                    <a:pt x="1295" y="148979"/>
                    <a:pt x="1295" y="148547"/>
                    <a:pt x="432" y="148115"/>
                  </a:cubicBezTo>
                  <a:cubicBezTo>
                    <a:pt x="432" y="147683"/>
                    <a:pt x="0" y="147251"/>
                    <a:pt x="0" y="146820"/>
                  </a:cubicBezTo>
                  <a:cubicBezTo>
                    <a:pt x="0" y="146388"/>
                    <a:pt x="432" y="145524"/>
                    <a:pt x="864" y="144660"/>
                  </a:cubicBezTo>
                  <a:cubicBezTo>
                    <a:pt x="432" y="143797"/>
                    <a:pt x="432" y="143365"/>
                    <a:pt x="432" y="142501"/>
                  </a:cubicBezTo>
                  <a:cubicBezTo>
                    <a:pt x="864" y="140774"/>
                    <a:pt x="864" y="139047"/>
                    <a:pt x="864" y="136888"/>
                  </a:cubicBezTo>
                  <a:cubicBezTo>
                    <a:pt x="864" y="136456"/>
                    <a:pt x="432" y="136024"/>
                    <a:pt x="432" y="135592"/>
                  </a:cubicBezTo>
                  <a:cubicBezTo>
                    <a:pt x="432" y="134729"/>
                    <a:pt x="864" y="134297"/>
                    <a:pt x="1295" y="133433"/>
                  </a:cubicBezTo>
                  <a:cubicBezTo>
                    <a:pt x="1295" y="133001"/>
                    <a:pt x="1295" y="132569"/>
                    <a:pt x="1727" y="132569"/>
                  </a:cubicBezTo>
                  <a:cubicBezTo>
                    <a:pt x="2591" y="132569"/>
                    <a:pt x="2591" y="133001"/>
                    <a:pt x="2591" y="133865"/>
                  </a:cubicBezTo>
                  <a:lnTo>
                    <a:pt x="2591" y="134729"/>
                  </a:lnTo>
                  <a:cubicBezTo>
                    <a:pt x="3023" y="134729"/>
                    <a:pt x="3023" y="134729"/>
                    <a:pt x="3023" y="134297"/>
                  </a:cubicBezTo>
                  <a:lnTo>
                    <a:pt x="3023" y="130410"/>
                  </a:lnTo>
                  <a:cubicBezTo>
                    <a:pt x="3023" y="129978"/>
                    <a:pt x="3023" y="129978"/>
                    <a:pt x="3455" y="129547"/>
                  </a:cubicBezTo>
                  <a:lnTo>
                    <a:pt x="4318" y="128683"/>
                  </a:lnTo>
                  <a:lnTo>
                    <a:pt x="3886" y="128683"/>
                  </a:lnTo>
                  <a:cubicBezTo>
                    <a:pt x="3023" y="127819"/>
                    <a:pt x="3023" y="126524"/>
                    <a:pt x="3023" y="125228"/>
                  </a:cubicBezTo>
                  <a:lnTo>
                    <a:pt x="3023" y="124365"/>
                  </a:lnTo>
                  <a:cubicBezTo>
                    <a:pt x="3023" y="123933"/>
                    <a:pt x="3023" y="123933"/>
                    <a:pt x="2591" y="123501"/>
                  </a:cubicBezTo>
                  <a:cubicBezTo>
                    <a:pt x="3023" y="122637"/>
                    <a:pt x="3023" y="121774"/>
                    <a:pt x="3023" y="120910"/>
                  </a:cubicBezTo>
                  <a:lnTo>
                    <a:pt x="3023" y="119615"/>
                  </a:lnTo>
                  <a:cubicBezTo>
                    <a:pt x="3023" y="118751"/>
                    <a:pt x="3023" y="118319"/>
                    <a:pt x="3455" y="117888"/>
                  </a:cubicBezTo>
                  <a:cubicBezTo>
                    <a:pt x="3455" y="117456"/>
                    <a:pt x="3886" y="117456"/>
                    <a:pt x="4318" y="117456"/>
                  </a:cubicBezTo>
                  <a:cubicBezTo>
                    <a:pt x="4750" y="117456"/>
                    <a:pt x="5182" y="117024"/>
                    <a:pt x="5182" y="116592"/>
                  </a:cubicBezTo>
                  <a:cubicBezTo>
                    <a:pt x="5614" y="116592"/>
                    <a:pt x="5614" y="116592"/>
                    <a:pt x="5614" y="116160"/>
                  </a:cubicBezTo>
                  <a:lnTo>
                    <a:pt x="5614" y="115728"/>
                  </a:lnTo>
                  <a:lnTo>
                    <a:pt x="5182" y="115297"/>
                  </a:lnTo>
                  <a:cubicBezTo>
                    <a:pt x="4750" y="115297"/>
                    <a:pt x="4750" y="115728"/>
                    <a:pt x="4318" y="115728"/>
                  </a:cubicBezTo>
                  <a:lnTo>
                    <a:pt x="3886" y="115728"/>
                  </a:lnTo>
                  <a:cubicBezTo>
                    <a:pt x="3886" y="114865"/>
                    <a:pt x="3886" y="114865"/>
                    <a:pt x="4318" y="114433"/>
                  </a:cubicBezTo>
                  <a:cubicBezTo>
                    <a:pt x="4750" y="114001"/>
                    <a:pt x="4750" y="113569"/>
                    <a:pt x="4750" y="113137"/>
                  </a:cubicBezTo>
                  <a:cubicBezTo>
                    <a:pt x="4750" y="112706"/>
                    <a:pt x="4318" y="111842"/>
                    <a:pt x="3886" y="110978"/>
                  </a:cubicBezTo>
                  <a:cubicBezTo>
                    <a:pt x="3886" y="110546"/>
                    <a:pt x="4318" y="110546"/>
                    <a:pt x="4318" y="110115"/>
                  </a:cubicBezTo>
                  <a:cubicBezTo>
                    <a:pt x="4318" y="109683"/>
                    <a:pt x="3886" y="109251"/>
                    <a:pt x="3886" y="108819"/>
                  </a:cubicBezTo>
                  <a:lnTo>
                    <a:pt x="3886" y="108387"/>
                  </a:lnTo>
                  <a:cubicBezTo>
                    <a:pt x="5182" y="106660"/>
                    <a:pt x="4318" y="105365"/>
                    <a:pt x="5614" y="104069"/>
                  </a:cubicBezTo>
                  <a:cubicBezTo>
                    <a:pt x="5614" y="103637"/>
                    <a:pt x="5182" y="102774"/>
                    <a:pt x="5182" y="102342"/>
                  </a:cubicBezTo>
                  <a:cubicBezTo>
                    <a:pt x="5614" y="101046"/>
                    <a:pt x="6045" y="100183"/>
                    <a:pt x="6045" y="98887"/>
                  </a:cubicBezTo>
                  <a:lnTo>
                    <a:pt x="6045" y="98024"/>
                  </a:lnTo>
                  <a:cubicBezTo>
                    <a:pt x="6045" y="97592"/>
                    <a:pt x="6477" y="97160"/>
                    <a:pt x="7341" y="96728"/>
                  </a:cubicBezTo>
                  <a:cubicBezTo>
                    <a:pt x="7341" y="96728"/>
                    <a:pt x="7773" y="96296"/>
                    <a:pt x="7773" y="95865"/>
                  </a:cubicBezTo>
                  <a:cubicBezTo>
                    <a:pt x="7341" y="95433"/>
                    <a:pt x="7341" y="95001"/>
                    <a:pt x="7341" y="94569"/>
                  </a:cubicBezTo>
                  <a:cubicBezTo>
                    <a:pt x="7341" y="93705"/>
                    <a:pt x="7773" y="93274"/>
                    <a:pt x="7773" y="92410"/>
                  </a:cubicBezTo>
                  <a:cubicBezTo>
                    <a:pt x="7773" y="91978"/>
                    <a:pt x="8205" y="91546"/>
                    <a:pt x="8205" y="91546"/>
                  </a:cubicBezTo>
                  <a:cubicBezTo>
                    <a:pt x="9068" y="91114"/>
                    <a:pt x="9068" y="90683"/>
                    <a:pt x="9068" y="89819"/>
                  </a:cubicBezTo>
                  <a:lnTo>
                    <a:pt x="9068" y="87228"/>
                  </a:lnTo>
                  <a:cubicBezTo>
                    <a:pt x="9068" y="85933"/>
                    <a:pt x="9500" y="84205"/>
                    <a:pt x="9500" y="82910"/>
                  </a:cubicBezTo>
                  <a:lnTo>
                    <a:pt x="12091" y="78592"/>
                  </a:lnTo>
                  <a:cubicBezTo>
                    <a:pt x="12091" y="77728"/>
                    <a:pt x="12523" y="77296"/>
                    <a:pt x="12955" y="76433"/>
                  </a:cubicBezTo>
                  <a:cubicBezTo>
                    <a:pt x="12955" y="76001"/>
                    <a:pt x="12523" y="75137"/>
                    <a:pt x="12523" y="74705"/>
                  </a:cubicBezTo>
                  <a:cubicBezTo>
                    <a:pt x="12523" y="73842"/>
                    <a:pt x="12955" y="72978"/>
                    <a:pt x="13387" y="72546"/>
                  </a:cubicBezTo>
                  <a:cubicBezTo>
                    <a:pt x="14250" y="69955"/>
                    <a:pt x="15546" y="67364"/>
                    <a:pt x="16841" y="64773"/>
                  </a:cubicBezTo>
                  <a:cubicBezTo>
                    <a:pt x="17273" y="63478"/>
                    <a:pt x="17705" y="62182"/>
                    <a:pt x="17705" y="61319"/>
                  </a:cubicBezTo>
                  <a:lnTo>
                    <a:pt x="19000" y="57864"/>
                  </a:lnTo>
                  <a:lnTo>
                    <a:pt x="20296" y="57001"/>
                  </a:lnTo>
                  <a:cubicBezTo>
                    <a:pt x="21159" y="55273"/>
                    <a:pt x="21591" y="53978"/>
                    <a:pt x="22023" y="52251"/>
                  </a:cubicBezTo>
                  <a:cubicBezTo>
                    <a:pt x="22887" y="50091"/>
                    <a:pt x="23750" y="47932"/>
                    <a:pt x="25046" y="46205"/>
                  </a:cubicBezTo>
                  <a:cubicBezTo>
                    <a:pt x="25046" y="44909"/>
                    <a:pt x="25909" y="44046"/>
                    <a:pt x="25909" y="42750"/>
                  </a:cubicBezTo>
                  <a:lnTo>
                    <a:pt x="26773" y="41455"/>
                  </a:lnTo>
                  <a:lnTo>
                    <a:pt x="29796" y="37569"/>
                  </a:lnTo>
                  <a:cubicBezTo>
                    <a:pt x="29796" y="35409"/>
                    <a:pt x="31091" y="33250"/>
                    <a:pt x="33250" y="31523"/>
                  </a:cubicBezTo>
                  <a:lnTo>
                    <a:pt x="33250" y="31091"/>
                  </a:lnTo>
                  <a:cubicBezTo>
                    <a:pt x="33250" y="29364"/>
                    <a:pt x="34114" y="28932"/>
                    <a:pt x="35409" y="27637"/>
                  </a:cubicBezTo>
                  <a:lnTo>
                    <a:pt x="35409" y="27205"/>
                  </a:lnTo>
                  <a:cubicBezTo>
                    <a:pt x="36273" y="24182"/>
                    <a:pt x="38864" y="22023"/>
                    <a:pt x="40159" y="19432"/>
                  </a:cubicBezTo>
                  <a:lnTo>
                    <a:pt x="46205" y="12955"/>
                  </a:lnTo>
                  <a:cubicBezTo>
                    <a:pt x="46637" y="12523"/>
                    <a:pt x="47069" y="12091"/>
                    <a:pt x="47500" y="10796"/>
                  </a:cubicBezTo>
                  <a:cubicBezTo>
                    <a:pt x="47932" y="9932"/>
                    <a:pt x="48796" y="9068"/>
                    <a:pt x="50091" y="9068"/>
                  </a:cubicBezTo>
                  <a:cubicBezTo>
                    <a:pt x="51819" y="7773"/>
                    <a:pt x="53546" y="7341"/>
                    <a:pt x="54410" y="6045"/>
                  </a:cubicBezTo>
                  <a:cubicBezTo>
                    <a:pt x="54410" y="6045"/>
                    <a:pt x="54841" y="6045"/>
                    <a:pt x="55273" y="5614"/>
                  </a:cubicBezTo>
                  <a:cubicBezTo>
                    <a:pt x="56569" y="4318"/>
                    <a:pt x="58728" y="3455"/>
                    <a:pt x="60887" y="2159"/>
                  </a:cubicBezTo>
                  <a:lnTo>
                    <a:pt x="64341" y="864"/>
                  </a:lnTo>
                  <a:cubicBezTo>
                    <a:pt x="66069" y="432"/>
                    <a:pt x="66932" y="0"/>
                    <a:pt x="68228" y="0"/>
                  </a:cubicBezTo>
                  <a:lnTo>
                    <a:pt x="76001" y="0"/>
                  </a:lnTo>
                  <a:lnTo>
                    <a:pt x="79023" y="2159"/>
                  </a:lnTo>
                  <a:cubicBezTo>
                    <a:pt x="79455" y="2591"/>
                    <a:pt x="79455" y="3023"/>
                    <a:pt x="79887" y="3023"/>
                  </a:cubicBezTo>
                  <a:lnTo>
                    <a:pt x="83773" y="5614"/>
                  </a:lnTo>
                  <a:cubicBezTo>
                    <a:pt x="84205" y="6045"/>
                    <a:pt x="84637" y="6909"/>
                    <a:pt x="85501" y="6909"/>
                  </a:cubicBezTo>
                  <a:cubicBezTo>
                    <a:pt x="85933" y="6909"/>
                    <a:pt x="86364" y="7341"/>
                    <a:pt x="86796" y="7773"/>
                  </a:cubicBezTo>
                  <a:cubicBezTo>
                    <a:pt x="87228" y="7773"/>
                    <a:pt x="87228" y="8636"/>
                    <a:pt x="87660" y="9068"/>
                  </a:cubicBezTo>
                  <a:cubicBezTo>
                    <a:pt x="88092" y="9500"/>
                    <a:pt x="89387" y="9932"/>
                    <a:pt x="90251" y="9932"/>
                  </a:cubicBezTo>
                  <a:lnTo>
                    <a:pt x="91115" y="9932"/>
                  </a:lnTo>
                  <a:cubicBezTo>
                    <a:pt x="92410" y="9932"/>
                    <a:pt x="92842" y="10796"/>
                    <a:pt x="93705" y="11659"/>
                  </a:cubicBezTo>
                  <a:cubicBezTo>
                    <a:pt x="94137" y="12091"/>
                    <a:pt x="94137" y="12523"/>
                    <a:pt x="94137" y="12955"/>
                  </a:cubicBezTo>
                  <a:cubicBezTo>
                    <a:pt x="94137" y="13387"/>
                    <a:pt x="94137" y="13818"/>
                    <a:pt x="93705" y="13818"/>
                  </a:cubicBezTo>
                  <a:lnTo>
                    <a:pt x="90683" y="14682"/>
                  </a:lnTo>
                  <a:cubicBezTo>
                    <a:pt x="90251" y="14682"/>
                    <a:pt x="90251" y="15114"/>
                    <a:pt x="90251" y="15114"/>
                  </a:cubicBezTo>
                  <a:cubicBezTo>
                    <a:pt x="89819" y="15114"/>
                    <a:pt x="89819" y="14682"/>
                    <a:pt x="89819" y="13818"/>
                  </a:cubicBezTo>
                  <a:lnTo>
                    <a:pt x="89819" y="12955"/>
                  </a:lnTo>
                  <a:lnTo>
                    <a:pt x="88524" y="12955"/>
                  </a:lnTo>
                  <a:cubicBezTo>
                    <a:pt x="87660" y="13387"/>
                    <a:pt x="87228" y="14682"/>
                    <a:pt x="86796" y="15546"/>
                  </a:cubicBezTo>
                  <a:cubicBezTo>
                    <a:pt x="86796" y="15977"/>
                    <a:pt x="86796" y="15977"/>
                    <a:pt x="87228" y="16409"/>
                  </a:cubicBezTo>
                  <a:cubicBezTo>
                    <a:pt x="87228" y="16841"/>
                    <a:pt x="87660" y="16841"/>
                    <a:pt x="87660" y="16841"/>
                  </a:cubicBezTo>
                  <a:cubicBezTo>
                    <a:pt x="88524" y="17273"/>
                    <a:pt x="88524" y="18137"/>
                    <a:pt x="88524" y="19000"/>
                  </a:cubicBezTo>
                  <a:cubicBezTo>
                    <a:pt x="88524" y="19864"/>
                    <a:pt x="88955" y="19864"/>
                    <a:pt x="89387" y="19864"/>
                  </a:cubicBezTo>
                  <a:cubicBezTo>
                    <a:pt x="89819" y="19864"/>
                    <a:pt x="90251" y="19432"/>
                    <a:pt x="90251" y="19432"/>
                  </a:cubicBezTo>
                  <a:cubicBezTo>
                    <a:pt x="90683" y="19432"/>
                    <a:pt x="90683" y="19864"/>
                    <a:pt x="91115" y="20728"/>
                  </a:cubicBezTo>
                  <a:cubicBezTo>
                    <a:pt x="91546" y="21159"/>
                    <a:pt x="91978" y="22023"/>
                    <a:pt x="91978" y="22455"/>
                  </a:cubicBezTo>
                  <a:cubicBezTo>
                    <a:pt x="91978" y="22887"/>
                    <a:pt x="91546" y="22887"/>
                    <a:pt x="91546" y="23318"/>
                  </a:cubicBezTo>
                  <a:cubicBezTo>
                    <a:pt x="91546" y="24182"/>
                    <a:pt x="91978" y="24182"/>
                    <a:pt x="92410" y="25046"/>
                  </a:cubicBezTo>
                  <a:lnTo>
                    <a:pt x="93274" y="25046"/>
                  </a:lnTo>
                  <a:lnTo>
                    <a:pt x="93274" y="22887"/>
                  </a:lnTo>
                  <a:cubicBezTo>
                    <a:pt x="93274" y="21591"/>
                    <a:pt x="92842" y="20296"/>
                    <a:pt x="92842" y="19000"/>
                  </a:cubicBezTo>
                  <a:cubicBezTo>
                    <a:pt x="93274" y="18137"/>
                    <a:pt x="94137" y="17273"/>
                    <a:pt x="95001" y="16841"/>
                  </a:cubicBezTo>
                  <a:cubicBezTo>
                    <a:pt x="95433" y="16841"/>
                    <a:pt x="96296" y="16841"/>
                    <a:pt x="96728" y="17273"/>
                  </a:cubicBezTo>
                  <a:cubicBezTo>
                    <a:pt x="96728" y="17705"/>
                    <a:pt x="96296" y="18137"/>
                    <a:pt x="96296" y="18137"/>
                  </a:cubicBezTo>
                  <a:cubicBezTo>
                    <a:pt x="96296" y="19432"/>
                    <a:pt x="97160" y="19864"/>
                    <a:pt x="98455" y="19864"/>
                  </a:cubicBezTo>
                  <a:cubicBezTo>
                    <a:pt x="98887" y="19864"/>
                    <a:pt x="98887" y="20728"/>
                    <a:pt x="98887" y="21159"/>
                  </a:cubicBezTo>
                  <a:lnTo>
                    <a:pt x="98887" y="21591"/>
                  </a:lnTo>
                  <a:cubicBezTo>
                    <a:pt x="98024" y="22455"/>
                    <a:pt x="97592" y="22455"/>
                    <a:pt x="97592" y="22887"/>
                  </a:cubicBezTo>
                  <a:cubicBezTo>
                    <a:pt x="97592" y="23318"/>
                    <a:pt x="98024" y="23750"/>
                    <a:pt x="98455" y="24182"/>
                  </a:cubicBezTo>
                  <a:cubicBezTo>
                    <a:pt x="98455" y="24614"/>
                    <a:pt x="98887" y="25046"/>
                    <a:pt x="99319" y="25046"/>
                  </a:cubicBezTo>
                  <a:cubicBezTo>
                    <a:pt x="99319" y="25477"/>
                    <a:pt x="99319" y="25909"/>
                    <a:pt x="98887" y="26341"/>
                  </a:cubicBezTo>
                  <a:cubicBezTo>
                    <a:pt x="98887" y="26773"/>
                    <a:pt x="98887" y="27205"/>
                    <a:pt x="98455" y="27205"/>
                  </a:cubicBezTo>
                  <a:cubicBezTo>
                    <a:pt x="97592" y="27637"/>
                    <a:pt x="97160" y="28068"/>
                    <a:pt x="97160" y="28932"/>
                  </a:cubicBezTo>
                  <a:cubicBezTo>
                    <a:pt x="97160" y="29364"/>
                    <a:pt x="97592" y="29796"/>
                    <a:pt x="97592" y="30228"/>
                  </a:cubicBezTo>
                  <a:cubicBezTo>
                    <a:pt x="97592" y="30659"/>
                    <a:pt x="97592" y="30659"/>
                    <a:pt x="98024" y="30659"/>
                  </a:cubicBezTo>
                  <a:lnTo>
                    <a:pt x="99319" y="30659"/>
                  </a:lnTo>
                  <a:lnTo>
                    <a:pt x="99319" y="31091"/>
                  </a:lnTo>
                  <a:cubicBezTo>
                    <a:pt x="99319" y="31955"/>
                    <a:pt x="98455" y="33250"/>
                    <a:pt x="98024" y="34114"/>
                  </a:cubicBezTo>
                  <a:cubicBezTo>
                    <a:pt x="97592" y="34546"/>
                    <a:pt x="97592" y="34546"/>
                    <a:pt x="97592" y="34978"/>
                  </a:cubicBezTo>
                  <a:cubicBezTo>
                    <a:pt x="97592" y="35409"/>
                    <a:pt x="97592" y="35841"/>
                    <a:pt x="98024" y="36273"/>
                  </a:cubicBezTo>
                  <a:cubicBezTo>
                    <a:pt x="98887" y="37137"/>
                    <a:pt x="98887" y="37569"/>
                    <a:pt x="98887" y="38432"/>
                  </a:cubicBezTo>
                  <a:lnTo>
                    <a:pt x="98887" y="40160"/>
                  </a:lnTo>
                  <a:cubicBezTo>
                    <a:pt x="98887" y="40591"/>
                    <a:pt x="98455" y="41023"/>
                    <a:pt x="98024" y="41455"/>
                  </a:cubicBezTo>
                  <a:cubicBezTo>
                    <a:pt x="96728" y="42750"/>
                    <a:pt x="96296" y="44046"/>
                    <a:pt x="96296" y="45341"/>
                  </a:cubicBezTo>
                  <a:cubicBezTo>
                    <a:pt x="96728" y="45773"/>
                    <a:pt x="96728" y="46205"/>
                    <a:pt x="96728" y="46637"/>
                  </a:cubicBezTo>
                  <a:cubicBezTo>
                    <a:pt x="95001" y="48796"/>
                    <a:pt x="95001" y="51387"/>
                    <a:pt x="93274" y="53546"/>
                  </a:cubicBezTo>
                  <a:cubicBezTo>
                    <a:pt x="93705" y="53978"/>
                    <a:pt x="93705" y="54410"/>
                    <a:pt x="93705" y="54841"/>
                  </a:cubicBezTo>
                  <a:cubicBezTo>
                    <a:pt x="93705" y="55705"/>
                    <a:pt x="92842" y="57001"/>
                    <a:pt x="92410" y="57864"/>
                  </a:cubicBezTo>
                  <a:cubicBezTo>
                    <a:pt x="91546" y="58728"/>
                    <a:pt x="90683" y="60455"/>
                    <a:pt x="90683" y="62182"/>
                  </a:cubicBezTo>
                  <a:lnTo>
                    <a:pt x="90683" y="63046"/>
                  </a:lnTo>
                  <a:cubicBezTo>
                    <a:pt x="90251" y="65205"/>
                    <a:pt x="88524" y="67364"/>
                    <a:pt x="87228" y="69092"/>
                  </a:cubicBezTo>
                  <a:cubicBezTo>
                    <a:pt x="86364" y="69523"/>
                    <a:pt x="86364" y="70387"/>
                    <a:pt x="85501" y="70819"/>
                  </a:cubicBezTo>
                  <a:cubicBezTo>
                    <a:pt x="84637" y="71682"/>
                    <a:pt x="83342" y="72978"/>
                    <a:pt x="83342" y="74273"/>
                  </a:cubicBezTo>
                  <a:lnTo>
                    <a:pt x="83342" y="74705"/>
                  </a:lnTo>
                  <a:cubicBezTo>
                    <a:pt x="83342" y="75137"/>
                    <a:pt x="82910" y="75137"/>
                    <a:pt x="82478" y="75569"/>
                  </a:cubicBezTo>
                  <a:cubicBezTo>
                    <a:pt x="82478" y="76864"/>
                    <a:pt x="81183" y="77296"/>
                    <a:pt x="81183" y="78160"/>
                  </a:cubicBezTo>
                  <a:lnTo>
                    <a:pt x="81183" y="78592"/>
                  </a:lnTo>
                  <a:cubicBezTo>
                    <a:pt x="81183" y="79455"/>
                    <a:pt x="80751" y="79455"/>
                    <a:pt x="80319" y="79887"/>
                  </a:cubicBezTo>
                  <a:cubicBezTo>
                    <a:pt x="79455" y="80751"/>
                    <a:pt x="78592" y="81614"/>
                    <a:pt x="77728" y="82046"/>
                  </a:cubicBezTo>
                  <a:cubicBezTo>
                    <a:pt x="76001" y="83773"/>
                    <a:pt x="74273" y="85501"/>
                    <a:pt x="73410" y="87660"/>
                  </a:cubicBezTo>
                  <a:cubicBezTo>
                    <a:pt x="71251" y="90683"/>
                    <a:pt x="69092" y="93274"/>
                    <a:pt x="66932" y="95433"/>
                  </a:cubicBezTo>
                  <a:cubicBezTo>
                    <a:pt x="66501" y="96296"/>
                    <a:pt x="65205" y="97160"/>
                    <a:pt x="63910" y="97592"/>
                  </a:cubicBezTo>
                  <a:cubicBezTo>
                    <a:pt x="63046" y="97592"/>
                    <a:pt x="62614" y="97592"/>
                    <a:pt x="62182" y="98456"/>
                  </a:cubicBezTo>
                  <a:lnTo>
                    <a:pt x="59160" y="101046"/>
                  </a:lnTo>
                  <a:cubicBezTo>
                    <a:pt x="57001" y="102342"/>
                    <a:pt x="55705" y="102774"/>
                    <a:pt x="53978" y="102774"/>
                  </a:cubicBezTo>
                  <a:cubicBezTo>
                    <a:pt x="53546" y="102774"/>
                    <a:pt x="53114" y="102774"/>
                    <a:pt x="52251" y="103205"/>
                  </a:cubicBezTo>
                  <a:cubicBezTo>
                    <a:pt x="50523" y="104501"/>
                    <a:pt x="47500" y="104501"/>
                    <a:pt x="44909" y="104501"/>
                  </a:cubicBezTo>
                  <a:cubicBezTo>
                    <a:pt x="43182" y="104501"/>
                    <a:pt x="42319" y="104933"/>
                    <a:pt x="40591" y="105365"/>
                  </a:cubicBezTo>
                  <a:cubicBezTo>
                    <a:pt x="39728" y="105365"/>
                    <a:pt x="39296" y="105796"/>
                    <a:pt x="38432" y="105796"/>
                  </a:cubicBezTo>
                  <a:cubicBezTo>
                    <a:pt x="37569" y="105796"/>
                    <a:pt x="36273" y="105365"/>
                    <a:pt x="35409" y="104933"/>
                  </a:cubicBezTo>
                  <a:cubicBezTo>
                    <a:pt x="34546" y="104501"/>
                    <a:pt x="34114" y="104501"/>
                    <a:pt x="33250" y="104501"/>
                  </a:cubicBezTo>
                  <a:cubicBezTo>
                    <a:pt x="32819" y="104501"/>
                    <a:pt x="32387" y="104501"/>
                    <a:pt x="32387" y="105365"/>
                  </a:cubicBezTo>
                  <a:cubicBezTo>
                    <a:pt x="31091" y="107524"/>
                    <a:pt x="30659" y="109251"/>
                    <a:pt x="30228" y="110978"/>
                  </a:cubicBezTo>
                  <a:cubicBezTo>
                    <a:pt x="30228" y="111842"/>
                    <a:pt x="30228" y="112706"/>
                    <a:pt x="30659" y="113569"/>
                  </a:cubicBezTo>
                  <a:cubicBezTo>
                    <a:pt x="31091" y="114001"/>
                    <a:pt x="31091" y="114865"/>
                    <a:pt x="31091" y="115728"/>
                  </a:cubicBezTo>
                  <a:cubicBezTo>
                    <a:pt x="31091" y="115728"/>
                    <a:pt x="31091" y="116160"/>
                    <a:pt x="30659" y="116592"/>
                  </a:cubicBezTo>
                  <a:cubicBezTo>
                    <a:pt x="29796" y="117024"/>
                    <a:pt x="29364" y="117888"/>
                    <a:pt x="29364" y="118751"/>
                  </a:cubicBezTo>
                  <a:cubicBezTo>
                    <a:pt x="29364" y="119183"/>
                    <a:pt x="29796" y="119615"/>
                    <a:pt x="29796" y="120047"/>
                  </a:cubicBezTo>
                  <a:cubicBezTo>
                    <a:pt x="29364" y="121342"/>
                    <a:pt x="28500" y="122206"/>
                    <a:pt x="28500" y="123501"/>
                  </a:cubicBezTo>
                  <a:lnTo>
                    <a:pt x="28500" y="128683"/>
                  </a:lnTo>
                  <a:cubicBezTo>
                    <a:pt x="28500" y="129547"/>
                    <a:pt x="28932" y="130410"/>
                    <a:pt x="28932" y="130842"/>
                  </a:cubicBezTo>
                  <a:cubicBezTo>
                    <a:pt x="28932" y="131274"/>
                    <a:pt x="28932" y="131274"/>
                    <a:pt x="28500" y="131706"/>
                  </a:cubicBezTo>
                  <a:cubicBezTo>
                    <a:pt x="28068" y="132138"/>
                    <a:pt x="28068" y="133433"/>
                    <a:pt x="28068" y="134297"/>
                  </a:cubicBezTo>
                  <a:cubicBezTo>
                    <a:pt x="28068" y="134729"/>
                    <a:pt x="27637" y="135160"/>
                    <a:pt x="27637" y="135592"/>
                  </a:cubicBezTo>
                  <a:cubicBezTo>
                    <a:pt x="27637" y="136024"/>
                    <a:pt x="28068" y="136888"/>
                    <a:pt x="28068" y="136888"/>
                  </a:cubicBezTo>
                  <a:cubicBezTo>
                    <a:pt x="28068" y="137320"/>
                    <a:pt x="28500" y="137751"/>
                    <a:pt x="28500" y="138183"/>
                  </a:cubicBezTo>
                  <a:cubicBezTo>
                    <a:pt x="28500" y="138615"/>
                    <a:pt x="28068" y="138615"/>
                    <a:pt x="28068" y="139047"/>
                  </a:cubicBezTo>
                  <a:lnTo>
                    <a:pt x="28068" y="139479"/>
                  </a:lnTo>
                  <a:cubicBezTo>
                    <a:pt x="28500" y="139910"/>
                    <a:pt x="28500" y="140342"/>
                    <a:pt x="28500" y="140774"/>
                  </a:cubicBezTo>
                  <a:cubicBezTo>
                    <a:pt x="28500" y="141638"/>
                    <a:pt x="28068" y="142501"/>
                    <a:pt x="28068" y="143365"/>
                  </a:cubicBezTo>
                  <a:lnTo>
                    <a:pt x="28068" y="145956"/>
                  </a:lnTo>
                  <a:cubicBezTo>
                    <a:pt x="28068" y="146820"/>
                    <a:pt x="28068" y="147683"/>
                    <a:pt x="28932" y="148115"/>
                  </a:cubicBezTo>
                  <a:lnTo>
                    <a:pt x="28932" y="153729"/>
                  </a:lnTo>
                  <a:cubicBezTo>
                    <a:pt x="28500" y="154592"/>
                    <a:pt x="28068" y="155456"/>
                    <a:pt x="28068" y="156320"/>
                  </a:cubicBezTo>
                  <a:cubicBezTo>
                    <a:pt x="28068" y="156752"/>
                    <a:pt x="28500" y="157615"/>
                    <a:pt x="28932" y="158047"/>
                  </a:cubicBezTo>
                  <a:lnTo>
                    <a:pt x="28932" y="159342"/>
                  </a:lnTo>
                  <a:cubicBezTo>
                    <a:pt x="28932" y="159774"/>
                    <a:pt x="28932" y="160206"/>
                    <a:pt x="29364" y="160206"/>
                  </a:cubicBezTo>
                  <a:cubicBezTo>
                    <a:pt x="31523" y="161070"/>
                    <a:pt x="31091" y="162797"/>
                    <a:pt x="31523" y="164092"/>
                  </a:cubicBezTo>
                  <a:lnTo>
                    <a:pt x="31523" y="165820"/>
                  </a:lnTo>
                  <a:cubicBezTo>
                    <a:pt x="31523" y="166252"/>
                    <a:pt x="31091" y="166683"/>
                    <a:pt x="31091" y="167115"/>
                  </a:cubicBezTo>
                  <a:cubicBezTo>
                    <a:pt x="31091" y="167979"/>
                    <a:pt x="31523" y="168411"/>
                    <a:pt x="32819" y="169274"/>
                  </a:cubicBezTo>
                  <a:cubicBezTo>
                    <a:pt x="33250" y="170570"/>
                    <a:pt x="33682" y="172297"/>
                    <a:pt x="34978" y="173593"/>
                  </a:cubicBezTo>
                  <a:cubicBezTo>
                    <a:pt x="35409" y="173593"/>
                    <a:pt x="35409" y="174024"/>
                    <a:pt x="35409" y="174024"/>
                  </a:cubicBezTo>
                  <a:cubicBezTo>
                    <a:pt x="35409" y="175752"/>
                    <a:pt x="35841" y="176615"/>
                    <a:pt x="37137" y="177479"/>
                  </a:cubicBezTo>
                  <a:lnTo>
                    <a:pt x="37137" y="177911"/>
                  </a:lnTo>
                  <a:cubicBezTo>
                    <a:pt x="38000" y="178774"/>
                    <a:pt x="38432" y="179638"/>
                    <a:pt x="39296" y="180070"/>
                  </a:cubicBezTo>
                  <a:lnTo>
                    <a:pt x="41023" y="182229"/>
                  </a:lnTo>
                  <a:cubicBezTo>
                    <a:pt x="42750" y="183956"/>
                    <a:pt x="44478" y="184820"/>
                    <a:pt x="46637" y="184820"/>
                  </a:cubicBezTo>
                  <a:cubicBezTo>
                    <a:pt x="47500" y="184820"/>
                    <a:pt x="47932" y="184820"/>
                    <a:pt x="48796" y="184388"/>
                  </a:cubicBezTo>
                  <a:cubicBezTo>
                    <a:pt x="49660" y="183956"/>
                    <a:pt x="50091" y="183956"/>
                    <a:pt x="50955" y="183956"/>
                  </a:cubicBezTo>
                  <a:cubicBezTo>
                    <a:pt x="54410" y="183956"/>
                    <a:pt x="57864" y="182661"/>
                    <a:pt x="61319" y="181365"/>
                  </a:cubicBezTo>
                  <a:cubicBezTo>
                    <a:pt x="64341" y="180070"/>
                    <a:pt x="66932" y="178774"/>
                    <a:pt x="68660" y="177047"/>
                  </a:cubicBezTo>
                  <a:cubicBezTo>
                    <a:pt x="69955" y="176183"/>
                    <a:pt x="72114" y="175752"/>
                    <a:pt x="73410" y="174888"/>
                  </a:cubicBezTo>
                  <a:cubicBezTo>
                    <a:pt x="75569" y="172729"/>
                    <a:pt x="78592" y="171002"/>
                    <a:pt x="81183" y="168842"/>
                  </a:cubicBezTo>
                  <a:cubicBezTo>
                    <a:pt x="83342" y="167547"/>
                    <a:pt x="85069" y="165820"/>
                    <a:pt x="87228" y="164092"/>
                  </a:cubicBezTo>
                  <a:cubicBezTo>
                    <a:pt x="88955" y="162797"/>
                    <a:pt x="90251" y="161070"/>
                    <a:pt x="91546" y="159342"/>
                  </a:cubicBezTo>
                  <a:cubicBezTo>
                    <a:pt x="93705" y="158047"/>
                    <a:pt x="95865" y="155888"/>
                    <a:pt x="97592" y="154161"/>
                  </a:cubicBezTo>
                  <a:cubicBezTo>
                    <a:pt x="98887" y="153297"/>
                    <a:pt x="99319" y="152001"/>
                    <a:pt x="100615" y="151138"/>
                  </a:cubicBezTo>
                  <a:cubicBezTo>
                    <a:pt x="101478" y="150706"/>
                    <a:pt x="101910" y="149842"/>
                    <a:pt x="101910" y="149842"/>
                  </a:cubicBezTo>
                  <a:cubicBezTo>
                    <a:pt x="102342" y="149410"/>
                    <a:pt x="102342" y="148979"/>
                    <a:pt x="102342" y="148547"/>
                  </a:cubicBezTo>
                  <a:cubicBezTo>
                    <a:pt x="104501" y="147683"/>
                    <a:pt x="105796" y="145956"/>
                    <a:pt x="107092" y="145092"/>
                  </a:cubicBezTo>
                  <a:cubicBezTo>
                    <a:pt x="107956" y="143797"/>
                    <a:pt x="109251" y="142069"/>
                    <a:pt x="110978" y="140774"/>
                  </a:cubicBezTo>
                  <a:cubicBezTo>
                    <a:pt x="113137" y="138615"/>
                    <a:pt x="114433" y="136024"/>
                    <a:pt x="116592" y="133865"/>
                  </a:cubicBezTo>
                  <a:lnTo>
                    <a:pt x="124797" y="124797"/>
                  </a:lnTo>
                  <a:cubicBezTo>
                    <a:pt x="124797" y="124797"/>
                    <a:pt x="125228" y="124797"/>
                    <a:pt x="125228" y="124365"/>
                  </a:cubicBezTo>
                  <a:cubicBezTo>
                    <a:pt x="126524" y="123501"/>
                    <a:pt x="127388" y="121774"/>
                    <a:pt x="129115" y="120047"/>
                  </a:cubicBezTo>
                  <a:cubicBezTo>
                    <a:pt x="130410" y="117888"/>
                    <a:pt x="132569" y="115297"/>
                    <a:pt x="134297" y="113569"/>
                  </a:cubicBezTo>
                  <a:cubicBezTo>
                    <a:pt x="135160" y="112706"/>
                    <a:pt x="136024" y="111842"/>
                    <a:pt x="136024" y="110546"/>
                  </a:cubicBezTo>
                  <a:cubicBezTo>
                    <a:pt x="137751" y="107956"/>
                    <a:pt x="139910" y="105796"/>
                    <a:pt x="142069" y="103637"/>
                  </a:cubicBezTo>
                  <a:lnTo>
                    <a:pt x="141638" y="103205"/>
                  </a:lnTo>
                  <a:cubicBezTo>
                    <a:pt x="142933" y="100615"/>
                    <a:pt x="144660" y="98456"/>
                    <a:pt x="146820" y="95433"/>
                  </a:cubicBezTo>
                  <a:cubicBezTo>
                    <a:pt x="146820" y="95001"/>
                    <a:pt x="147251" y="94569"/>
                    <a:pt x="147251" y="93705"/>
                  </a:cubicBezTo>
                  <a:cubicBezTo>
                    <a:pt x="147683" y="92410"/>
                    <a:pt x="149842" y="91978"/>
                    <a:pt x="150274" y="90683"/>
                  </a:cubicBezTo>
                  <a:cubicBezTo>
                    <a:pt x="150274" y="88955"/>
                    <a:pt x="151138" y="88092"/>
                    <a:pt x="151570" y="86796"/>
                  </a:cubicBezTo>
                  <a:cubicBezTo>
                    <a:pt x="152001" y="86796"/>
                    <a:pt x="152001" y="86796"/>
                    <a:pt x="152001" y="87228"/>
                  </a:cubicBezTo>
                  <a:lnTo>
                    <a:pt x="152001" y="88092"/>
                  </a:lnTo>
                  <a:lnTo>
                    <a:pt x="152433" y="88092"/>
                  </a:lnTo>
                  <a:cubicBezTo>
                    <a:pt x="152865" y="87660"/>
                    <a:pt x="153297" y="87228"/>
                    <a:pt x="153297" y="86796"/>
                  </a:cubicBezTo>
                  <a:lnTo>
                    <a:pt x="153297" y="85933"/>
                  </a:lnTo>
                  <a:cubicBezTo>
                    <a:pt x="153297" y="85069"/>
                    <a:pt x="153729" y="84205"/>
                    <a:pt x="154161" y="83342"/>
                  </a:cubicBezTo>
                  <a:cubicBezTo>
                    <a:pt x="154592" y="83342"/>
                    <a:pt x="154592" y="82478"/>
                    <a:pt x="154592" y="82046"/>
                  </a:cubicBezTo>
                  <a:cubicBezTo>
                    <a:pt x="155024" y="81614"/>
                    <a:pt x="155024" y="80319"/>
                    <a:pt x="155888" y="80319"/>
                  </a:cubicBezTo>
                  <a:cubicBezTo>
                    <a:pt x="156751" y="79455"/>
                    <a:pt x="156320" y="78160"/>
                    <a:pt x="156751" y="76864"/>
                  </a:cubicBezTo>
                  <a:cubicBezTo>
                    <a:pt x="156751" y="76001"/>
                    <a:pt x="157183" y="75137"/>
                    <a:pt x="158047" y="75137"/>
                  </a:cubicBezTo>
                  <a:cubicBezTo>
                    <a:pt x="158911" y="75137"/>
                    <a:pt x="158911" y="74705"/>
                    <a:pt x="158911" y="74273"/>
                  </a:cubicBezTo>
                  <a:lnTo>
                    <a:pt x="158911" y="72978"/>
                  </a:lnTo>
                  <a:cubicBezTo>
                    <a:pt x="159342" y="70819"/>
                    <a:pt x="158911" y="71251"/>
                    <a:pt x="161501" y="70387"/>
                  </a:cubicBezTo>
                  <a:lnTo>
                    <a:pt x="161501" y="69955"/>
                  </a:lnTo>
                  <a:cubicBezTo>
                    <a:pt x="161933" y="69523"/>
                    <a:pt x="161933" y="69523"/>
                    <a:pt x="161933" y="69092"/>
                  </a:cubicBezTo>
                  <a:lnTo>
                    <a:pt x="161933" y="68228"/>
                  </a:lnTo>
                  <a:cubicBezTo>
                    <a:pt x="161933" y="67364"/>
                    <a:pt x="162365" y="66501"/>
                    <a:pt x="163229" y="66501"/>
                  </a:cubicBezTo>
                  <a:lnTo>
                    <a:pt x="164956" y="64341"/>
                  </a:lnTo>
                  <a:lnTo>
                    <a:pt x="165388" y="64341"/>
                  </a:lnTo>
                  <a:cubicBezTo>
                    <a:pt x="165388" y="64341"/>
                    <a:pt x="165820" y="64341"/>
                    <a:pt x="165820" y="64773"/>
                  </a:cubicBezTo>
                  <a:cubicBezTo>
                    <a:pt x="165820" y="65205"/>
                    <a:pt x="166252" y="65637"/>
                    <a:pt x="166252" y="66069"/>
                  </a:cubicBezTo>
                  <a:cubicBezTo>
                    <a:pt x="166252" y="66069"/>
                    <a:pt x="166683" y="66501"/>
                    <a:pt x="167115" y="66501"/>
                  </a:cubicBezTo>
                  <a:cubicBezTo>
                    <a:pt x="167979" y="66501"/>
                    <a:pt x="168411" y="66501"/>
                    <a:pt x="168411" y="66932"/>
                  </a:cubicBezTo>
                  <a:cubicBezTo>
                    <a:pt x="168411" y="66932"/>
                    <a:pt x="167979" y="66932"/>
                    <a:pt x="167979" y="67364"/>
                  </a:cubicBezTo>
                  <a:cubicBezTo>
                    <a:pt x="167979" y="69092"/>
                    <a:pt x="167547" y="70387"/>
                    <a:pt x="167115" y="71251"/>
                  </a:cubicBezTo>
                  <a:cubicBezTo>
                    <a:pt x="166683" y="72114"/>
                    <a:pt x="165820" y="72546"/>
                    <a:pt x="164956" y="72546"/>
                  </a:cubicBezTo>
                  <a:lnTo>
                    <a:pt x="164092" y="72546"/>
                  </a:lnTo>
                  <a:cubicBezTo>
                    <a:pt x="163661" y="72546"/>
                    <a:pt x="163229" y="72978"/>
                    <a:pt x="162797" y="73410"/>
                  </a:cubicBezTo>
                  <a:cubicBezTo>
                    <a:pt x="162797" y="74273"/>
                    <a:pt x="163229" y="75569"/>
                    <a:pt x="164092" y="76433"/>
                  </a:cubicBezTo>
                  <a:cubicBezTo>
                    <a:pt x="164524" y="76433"/>
                    <a:pt x="164524" y="77296"/>
                    <a:pt x="164956" y="77728"/>
                  </a:cubicBezTo>
                  <a:cubicBezTo>
                    <a:pt x="164956" y="78160"/>
                    <a:pt x="165388" y="78592"/>
                    <a:pt x="164956" y="78592"/>
                  </a:cubicBezTo>
                  <a:cubicBezTo>
                    <a:pt x="164956" y="79024"/>
                    <a:pt x="164524" y="79455"/>
                    <a:pt x="164956" y="79455"/>
                  </a:cubicBezTo>
                  <a:lnTo>
                    <a:pt x="164956" y="80319"/>
                  </a:lnTo>
                  <a:cubicBezTo>
                    <a:pt x="164956" y="81183"/>
                    <a:pt x="164524" y="82478"/>
                    <a:pt x="164092" y="83342"/>
                  </a:cubicBezTo>
                  <a:cubicBezTo>
                    <a:pt x="164092" y="83773"/>
                    <a:pt x="164092" y="84637"/>
                    <a:pt x="163661" y="85069"/>
                  </a:cubicBezTo>
                  <a:lnTo>
                    <a:pt x="163229" y="85069"/>
                  </a:lnTo>
                  <a:lnTo>
                    <a:pt x="163229" y="82478"/>
                  </a:lnTo>
                  <a:lnTo>
                    <a:pt x="162797" y="82478"/>
                  </a:lnTo>
                  <a:cubicBezTo>
                    <a:pt x="161933" y="81614"/>
                    <a:pt x="162365" y="80319"/>
                    <a:pt x="161933" y="79455"/>
                  </a:cubicBezTo>
                  <a:cubicBezTo>
                    <a:pt x="161933" y="79024"/>
                    <a:pt x="162365" y="78592"/>
                    <a:pt x="162365" y="78592"/>
                  </a:cubicBezTo>
                  <a:cubicBezTo>
                    <a:pt x="162365" y="78592"/>
                    <a:pt x="161933" y="78592"/>
                    <a:pt x="161501" y="78160"/>
                  </a:cubicBezTo>
                  <a:cubicBezTo>
                    <a:pt x="161070" y="78160"/>
                    <a:pt x="161070" y="78592"/>
                    <a:pt x="161070" y="78592"/>
                  </a:cubicBezTo>
                  <a:cubicBezTo>
                    <a:pt x="160638" y="79887"/>
                    <a:pt x="159774" y="81183"/>
                    <a:pt x="158911" y="82478"/>
                  </a:cubicBezTo>
                  <a:lnTo>
                    <a:pt x="158047" y="84637"/>
                  </a:lnTo>
                  <a:cubicBezTo>
                    <a:pt x="157615" y="84637"/>
                    <a:pt x="157183" y="85069"/>
                    <a:pt x="156751" y="85501"/>
                  </a:cubicBezTo>
                  <a:cubicBezTo>
                    <a:pt x="155888" y="85501"/>
                    <a:pt x="155456" y="85933"/>
                    <a:pt x="155456" y="86796"/>
                  </a:cubicBezTo>
                  <a:lnTo>
                    <a:pt x="155456" y="87228"/>
                  </a:lnTo>
                  <a:cubicBezTo>
                    <a:pt x="155456" y="87660"/>
                    <a:pt x="155024" y="88092"/>
                    <a:pt x="155024" y="88524"/>
                  </a:cubicBezTo>
                  <a:cubicBezTo>
                    <a:pt x="155024" y="90683"/>
                    <a:pt x="154161" y="91978"/>
                    <a:pt x="153729" y="93705"/>
                  </a:cubicBezTo>
                  <a:cubicBezTo>
                    <a:pt x="153297" y="93705"/>
                    <a:pt x="153729" y="94137"/>
                    <a:pt x="153729" y="94137"/>
                  </a:cubicBezTo>
                  <a:lnTo>
                    <a:pt x="154592" y="94137"/>
                  </a:lnTo>
                  <a:cubicBezTo>
                    <a:pt x="155024" y="93705"/>
                    <a:pt x="155888" y="93274"/>
                    <a:pt x="155888" y="92410"/>
                  </a:cubicBezTo>
                  <a:cubicBezTo>
                    <a:pt x="156320" y="91546"/>
                    <a:pt x="156751" y="90683"/>
                    <a:pt x="157615" y="90683"/>
                  </a:cubicBezTo>
                  <a:cubicBezTo>
                    <a:pt x="158479" y="90683"/>
                    <a:pt x="159342" y="90683"/>
                    <a:pt x="159774" y="89819"/>
                  </a:cubicBezTo>
                  <a:cubicBezTo>
                    <a:pt x="160206" y="89387"/>
                    <a:pt x="160206" y="89819"/>
                    <a:pt x="160206" y="89819"/>
                  </a:cubicBezTo>
                  <a:cubicBezTo>
                    <a:pt x="160206" y="91114"/>
                    <a:pt x="160206" y="92410"/>
                    <a:pt x="159342" y="93274"/>
                  </a:cubicBezTo>
                  <a:cubicBezTo>
                    <a:pt x="158911" y="93705"/>
                    <a:pt x="158047" y="94137"/>
                    <a:pt x="158047" y="94569"/>
                  </a:cubicBezTo>
                  <a:lnTo>
                    <a:pt x="159342" y="96296"/>
                  </a:lnTo>
                  <a:cubicBezTo>
                    <a:pt x="160206" y="96728"/>
                    <a:pt x="160206" y="96728"/>
                    <a:pt x="160638" y="96728"/>
                  </a:cubicBezTo>
                  <a:cubicBezTo>
                    <a:pt x="161070" y="97160"/>
                    <a:pt x="161070" y="98024"/>
                    <a:pt x="161070" y="98456"/>
                  </a:cubicBezTo>
                  <a:lnTo>
                    <a:pt x="161070" y="99751"/>
                  </a:lnTo>
                  <a:cubicBezTo>
                    <a:pt x="161070" y="99751"/>
                    <a:pt x="161070" y="100615"/>
                    <a:pt x="161501" y="100615"/>
                  </a:cubicBezTo>
                  <a:lnTo>
                    <a:pt x="164092" y="100615"/>
                  </a:lnTo>
                  <a:cubicBezTo>
                    <a:pt x="165388" y="100615"/>
                    <a:pt x="165388" y="101046"/>
                    <a:pt x="165388" y="101478"/>
                  </a:cubicBezTo>
                  <a:close/>
                  <a:moveTo>
                    <a:pt x="2159" y="161070"/>
                  </a:moveTo>
                  <a:lnTo>
                    <a:pt x="2159" y="161501"/>
                  </a:lnTo>
                  <a:lnTo>
                    <a:pt x="2591" y="161933"/>
                  </a:lnTo>
                  <a:lnTo>
                    <a:pt x="3023" y="161933"/>
                  </a:lnTo>
                  <a:cubicBezTo>
                    <a:pt x="3023" y="161501"/>
                    <a:pt x="2591" y="161070"/>
                    <a:pt x="2159" y="161070"/>
                  </a:cubicBezTo>
                  <a:close/>
                  <a:moveTo>
                    <a:pt x="28068" y="63478"/>
                  </a:moveTo>
                  <a:cubicBezTo>
                    <a:pt x="28932" y="62614"/>
                    <a:pt x="28932" y="61751"/>
                    <a:pt x="28932" y="60887"/>
                  </a:cubicBezTo>
                  <a:lnTo>
                    <a:pt x="28932" y="59592"/>
                  </a:lnTo>
                  <a:cubicBezTo>
                    <a:pt x="29364" y="58296"/>
                    <a:pt x="30228" y="57864"/>
                    <a:pt x="31091" y="56569"/>
                  </a:cubicBezTo>
                  <a:cubicBezTo>
                    <a:pt x="31523" y="55273"/>
                    <a:pt x="32387" y="54410"/>
                    <a:pt x="32387" y="53114"/>
                  </a:cubicBezTo>
                  <a:lnTo>
                    <a:pt x="32819" y="52682"/>
                  </a:lnTo>
                  <a:lnTo>
                    <a:pt x="34114" y="50955"/>
                  </a:lnTo>
                  <a:cubicBezTo>
                    <a:pt x="34546" y="48364"/>
                    <a:pt x="35841" y="45773"/>
                    <a:pt x="36705" y="43182"/>
                  </a:cubicBezTo>
                  <a:cubicBezTo>
                    <a:pt x="36705" y="42750"/>
                    <a:pt x="36273" y="42750"/>
                    <a:pt x="36273" y="42750"/>
                  </a:cubicBezTo>
                  <a:lnTo>
                    <a:pt x="36273" y="42319"/>
                  </a:lnTo>
                  <a:cubicBezTo>
                    <a:pt x="35409" y="42750"/>
                    <a:pt x="34978" y="43182"/>
                    <a:pt x="34978" y="43614"/>
                  </a:cubicBezTo>
                  <a:cubicBezTo>
                    <a:pt x="34546" y="44478"/>
                    <a:pt x="34114" y="45341"/>
                    <a:pt x="34114" y="46205"/>
                  </a:cubicBezTo>
                  <a:cubicBezTo>
                    <a:pt x="33250" y="47069"/>
                    <a:pt x="32387" y="48796"/>
                    <a:pt x="32387" y="50091"/>
                  </a:cubicBezTo>
                  <a:cubicBezTo>
                    <a:pt x="31523" y="51387"/>
                    <a:pt x="31091" y="52251"/>
                    <a:pt x="29796" y="53546"/>
                  </a:cubicBezTo>
                  <a:cubicBezTo>
                    <a:pt x="29796" y="54841"/>
                    <a:pt x="29364" y="56137"/>
                    <a:pt x="28068" y="57432"/>
                  </a:cubicBezTo>
                  <a:cubicBezTo>
                    <a:pt x="28068" y="57864"/>
                    <a:pt x="28500" y="57864"/>
                    <a:pt x="28500" y="58296"/>
                  </a:cubicBezTo>
                  <a:cubicBezTo>
                    <a:pt x="28500" y="59160"/>
                    <a:pt x="27205" y="60023"/>
                    <a:pt x="26773" y="60887"/>
                  </a:cubicBezTo>
                  <a:cubicBezTo>
                    <a:pt x="26773" y="62614"/>
                    <a:pt x="25909" y="64341"/>
                    <a:pt x="25046" y="66501"/>
                  </a:cubicBezTo>
                  <a:cubicBezTo>
                    <a:pt x="24614" y="68228"/>
                    <a:pt x="24182" y="69523"/>
                    <a:pt x="24182" y="70819"/>
                  </a:cubicBezTo>
                  <a:lnTo>
                    <a:pt x="23750" y="71251"/>
                  </a:lnTo>
                  <a:cubicBezTo>
                    <a:pt x="23750" y="71251"/>
                    <a:pt x="23750" y="71682"/>
                    <a:pt x="24182" y="71682"/>
                  </a:cubicBezTo>
                  <a:lnTo>
                    <a:pt x="24614" y="71251"/>
                  </a:lnTo>
                  <a:cubicBezTo>
                    <a:pt x="25046" y="70819"/>
                    <a:pt x="25046" y="70819"/>
                    <a:pt x="25046" y="70387"/>
                  </a:cubicBezTo>
                  <a:lnTo>
                    <a:pt x="25046" y="69523"/>
                  </a:lnTo>
                  <a:cubicBezTo>
                    <a:pt x="25046" y="68660"/>
                    <a:pt x="25477" y="67796"/>
                    <a:pt x="25909" y="67364"/>
                  </a:cubicBezTo>
                  <a:cubicBezTo>
                    <a:pt x="26773" y="66069"/>
                    <a:pt x="27637" y="64773"/>
                    <a:pt x="28068" y="63478"/>
                  </a:cubicBezTo>
                  <a:close/>
                  <a:moveTo>
                    <a:pt x="41023" y="73410"/>
                  </a:moveTo>
                  <a:cubicBezTo>
                    <a:pt x="40591" y="73842"/>
                    <a:pt x="40159" y="74705"/>
                    <a:pt x="40159" y="76001"/>
                  </a:cubicBezTo>
                  <a:lnTo>
                    <a:pt x="40159" y="77728"/>
                  </a:lnTo>
                  <a:cubicBezTo>
                    <a:pt x="42319" y="78592"/>
                    <a:pt x="43614" y="79887"/>
                    <a:pt x="44478" y="81614"/>
                  </a:cubicBezTo>
                  <a:lnTo>
                    <a:pt x="45773" y="81614"/>
                  </a:lnTo>
                  <a:cubicBezTo>
                    <a:pt x="46205" y="81614"/>
                    <a:pt x="46205" y="81183"/>
                    <a:pt x="46637" y="80751"/>
                  </a:cubicBezTo>
                  <a:cubicBezTo>
                    <a:pt x="47500" y="79455"/>
                    <a:pt x="48364" y="78160"/>
                    <a:pt x="50091" y="76864"/>
                  </a:cubicBezTo>
                  <a:cubicBezTo>
                    <a:pt x="51819" y="75137"/>
                    <a:pt x="53114" y="73410"/>
                    <a:pt x="54841" y="70819"/>
                  </a:cubicBezTo>
                  <a:cubicBezTo>
                    <a:pt x="55273" y="70387"/>
                    <a:pt x="55273" y="69523"/>
                    <a:pt x="56137" y="69092"/>
                  </a:cubicBezTo>
                  <a:lnTo>
                    <a:pt x="58296" y="66069"/>
                  </a:lnTo>
                  <a:cubicBezTo>
                    <a:pt x="59160" y="64773"/>
                    <a:pt x="59591" y="63478"/>
                    <a:pt x="60455" y="62614"/>
                  </a:cubicBezTo>
                  <a:cubicBezTo>
                    <a:pt x="60455" y="61751"/>
                    <a:pt x="60887" y="60887"/>
                    <a:pt x="61319" y="60023"/>
                  </a:cubicBezTo>
                  <a:cubicBezTo>
                    <a:pt x="62182" y="58728"/>
                    <a:pt x="63046" y="57432"/>
                    <a:pt x="64341" y="56137"/>
                  </a:cubicBezTo>
                  <a:cubicBezTo>
                    <a:pt x="65637" y="55273"/>
                    <a:pt x="65637" y="53114"/>
                    <a:pt x="66501" y="51819"/>
                  </a:cubicBezTo>
                  <a:cubicBezTo>
                    <a:pt x="66932" y="50523"/>
                    <a:pt x="66932" y="49228"/>
                    <a:pt x="66932" y="48364"/>
                  </a:cubicBezTo>
                  <a:cubicBezTo>
                    <a:pt x="68660" y="47069"/>
                    <a:pt x="68660" y="45773"/>
                    <a:pt x="68660" y="44478"/>
                  </a:cubicBezTo>
                  <a:cubicBezTo>
                    <a:pt x="69092" y="43182"/>
                    <a:pt x="69523" y="41887"/>
                    <a:pt x="70387" y="40591"/>
                  </a:cubicBezTo>
                  <a:cubicBezTo>
                    <a:pt x="70819" y="39728"/>
                    <a:pt x="71683" y="38432"/>
                    <a:pt x="71683" y="37137"/>
                  </a:cubicBezTo>
                  <a:cubicBezTo>
                    <a:pt x="71683" y="36705"/>
                    <a:pt x="71683" y="36273"/>
                    <a:pt x="71251" y="35841"/>
                  </a:cubicBezTo>
                  <a:lnTo>
                    <a:pt x="71251" y="34978"/>
                  </a:lnTo>
                  <a:cubicBezTo>
                    <a:pt x="71251" y="34114"/>
                    <a:pt x="71251" y="34114"/>
                    <a:pt x="72114" y="34114"/>
                  </a:cubicBezTo>
                  <a:lnTo>
                    <a:pt x="72978" y="34114"/>
                  </a:lnTo>
                  <a:cubicBezTo>
                    <a:pt x="72978" y="33682"/>
                    <a:pt x="73410" y="33250"/>
                    <a:pt x="73410" y="33250"/>
                  </a:cubicBezTo>
                  <a:cubicBezTo>
                    <a:pt x="73410" y="33250"/>
                    <a:pt x="72978" y="33250"/>
                    <a:pt x="72978" y="32819"/>
                  </a:cubicBezTo>
                  <a:lnTo>
                    <a:pt x="72978" y="32387"/>
                  </a:lnTo>
                  <a:cubicBezTo>
                    <a:pt x="72978" y="31955"/>
                    <a:pt x="72978" y="31955"/>
                    <a:pt x="72546" y="31955"/>
                  </a:cubicBezTo>
                  <a:cubicBezTo>
                    <a:pt x="72114" y="31955"/>
                    <a:pt x="72114" y="31523"/>
                    <a:pt x="72114" y="31091"/>
                  </a:cubicBezTo>
                  <a:cubicBezTo>
                    <a:pt x="72114" y="30659"/>
                    <a:pt x="72114" y="30659"/>
                    <a:pt x="72546" y="30228"/>
                  </a:cubicBezTo>
                  <a:cubicBezTo>
                    <a:pt x="72978" y="29796"/>
                    <a:pt x="72978" y="29364"/>
                    <a:pt x="72978" y="29364"/>
                  </a:cubicBezTo>
                  <a:lnTo>
                    <a:pt x="72114" y="28932"/>
                  </a:lnTo>
                  <a:cubicBezTo>
                    <a:pt x="72114" y="28500"/>
                    <a:pt x="71683" y="28068"/>
                    <a:pt x="72114" y="28068"/>
                  </a:cubicBezTo>
                  <a:cubicBezTo>
                    <a:pt x="72978" y="27205"/>
                    <a:pt x="72978" y="26773"/>
                    <a:pt x="72978" y="26341"/>
                  </a:cubicBezTo>
                  <a:cubicBezTo>
                    <a:pt x="72978" y="25909"/>
                    <a:pt x="72978" y="25046"/>
                    <a:pt x="72546" y="24614"/>
                  </a:cubicBezTo>
                  <a:cubicBezTo>
                    <a:pt x="72114" y="23318"/>
                    <a:pt x="72546" y="22455"/>
                    <a:pt x="71683" y="21159"/>
                  </a:cubicBezTo>
                  <a:lnTo>
                    <a:pt x="71683" y="20728"/>
                  </a:lnTo>
                  <a:cubicBezTo>
                    <a:pt x="71683" y="20296"/>
                    <a:pt x="71683" y="20296"/>
                    <a:pt x="72114" y="20296"/>
                  </a:cubicBezTo>
                  <a:cubicBezTo>
                    <a:pt x="72114" y="19864"/>
                    <a:pt x="72114" y="19864"/>
                    <a:pt x="72546" y="19864"/>
                  </a:cubicBezTo>
                  <a:cubicBezTo>
                    <a:pt x="72546" y="19864"/>
                    <a:pt x="72546" y="19432"/>
                    <a:pt x="72978" y="19000"/>
                  </a:cubicBezTo>
                  <a:lnTo>
                    <a:pt x="70387" y="19000"/>
                  </a:lnTo>
                  <a:cubicBezTo>
                    <a:pt x="69092" y="20728"/>
                    <a:pt x="67796" y="22023"/>
                    <a:pt x="66501" y="24182"/>
                  </a:cubicBezTo>
                  <a:cubicBezTo>
                    <a:pt x="66069" y="24182"/>
                    <a:pt x="66069" y="24614"/>
                    <a:pt x="66069" y="24614"/>
                  </a:cubicBezTo>
                  <a:lnTo>
                    <a:pt x="66069" y="25046"/>
                  </a:lnTo>
                  <a:cubicBezTo>
                    <a:pt x="63910" y="27205"/>
                    <a:pt x="61751" y="28932"/>
                    <a:pt x="60887" y="31523"/>
                  </a:cubicBezTo>
                  <a:lnTo>
                    <a:pt x="60455" y="31955"/>
                  </a:lnTo>
                  <a:cubicBezTo>
                    <a:pt x="59160" y="33250"/>
                    <a:pt x="57864" y="34114"/>
                    <a:pt x="57001" y="35841"/>
                  </a:cubicBezTo>
                  <a:cubicBezTo>
                    <a:pt x="56569" y="36273"/>
                    <a:pt x="56137" y="36705"/>
                    <a:pt x="56137" y="37569"/>
                  </a:cubicBezTo>
                  <a:lnTo>
                    <a:pt x="56137" y="38000"/>
                  </a:lnTo>
                  <a:cubicBezTo>
                    <a:pt x="55705" y="39296"/>
                    <a:pt x="54841" y="39728"/>
                    <a:pt x="54410" y="40591"/>
                  </a:cubicBezTo>
                  <a:cubicBezTo>
                    <a:pt x="54410" y="41455"/>
                    <a:pt x="53546" y="42319"/>
                    <a:pt x="52682" y="43182"/>
                  </a:cubicBezTo>
                  <a:cubicBezTo>
                    <a:pt x="52251" y="43182"/>
                    <a:pt x="51819" y="44046"/>
                    <a:pt x="51819" y="44046"/>
                  </a:cubicBezTo>
                  <a:cubicBezTo>
                    <a:pt x="51819" y="45341"/>
                    <a:pt x="52251" y="46205"/>
                    <a:pt x="52251" y="46637"/>
                  </a:cubicBezTo>
                  <a:cubicBezTo>
                    <a:pt x="51387" y="47500"/>
                    <a:pt x="50523" y="48364"/>
                    <a:pt x="50523" y="49228"/>
                  </a:cubicBezTo>
                  <a:lnTo>
                    <a:pt x="50523" y="50523"/>
                  </a:lnTo>
                  <a:cubicBezTo>
                    <a:pt x="49660" y="51387"/>
                    <a:pt x="49228" y="51387"/>
                    <a:pt x="49228" y="51819"/>
                  </a:cubicBezTo>
                  <a:cubicBezTo>
                    <a:pt x="48364" y="52682"/>
                    <a:pt x="47500" y="53978"/>
                    <a:pt x="47500" y="55273"/>
                  </a:cubicBezTo>
                  <a:lnTo>
                    <a:pt x="47500" y="56137"/>
                  </a:lnTo>
                  <a:cubicBezTo>
                    <a:pt x="47500" y="57001"/>
                    <a:pt x="46637" y="57432"/>
                    <a:pt x="46205" y="57864"/>
                  </a:cubicBezTo>
                  <a:lnTo>
                    <a:pt x="44478" y="59592"/>
                  </a:lnTo>
                  <a:lnTo>
                    <a:pt x="44478" y="60023"/>
                  </a:lnTo>
                  <a:cubicBezTo>
                    <a:pt x="44478" y="62614"/>
                    <a:pt x="42750" y="66501"/>
                    <a:pt x="41455" y="69523"/>
                  </a:cubicBezTo>
                  <a:lnTo>
                    <a:pt x="41455" y="72114"/>
                  </a:lnTo>
                  <a:cubicBezTo>
                    <a:pt x="41455" y="72546"/>
                    <a:pt x="41455" y="72978"/>
                    <a:pt x="41023" y="73410"/>
                  </a:cubicBezTo>
                  <a:close/>
                  <a:moveTo>
                    <a:pt x="84205" y="41023"/>
                  </a:moveTo>
                  <a:cubicBezTo>
                    <a:pt x="84637" y="41023"/>
                    <a:pt x="85069" y="41023"/>
                    <a:pt x="85069" y="40591"/>
                  </a:cubicBezTo>
                  <a:cubicBezTo>
                    <a:pt x="85501" y="40160"/>
                    <a:pt x="85501" y="39728"/>
                    <a:pt x="85501" y="39296"/>
                  </a:cubicBezTo>
                  <a:lnTo>
                    <a:pt x="85501" y="38864"/>
                  </a:lnTo>
                  <a:lnTo>
                    <a:pt x="85069" y="38432"/>
                  </a:lnTo>
                  <a:lnTo>
                    <a:pt x="84637" y="38432"/>
                  </a:lnTo>
                  <a:cubicBezTo>
                    <a:pt x="84637" y="38864"/>
                    <a:pt x="83773" y="39296"/>
                    <a:pt x="83773" y="39728"/>
                  </a:cubicBezTo>
                  <a:cubicBezTo>
                    <a:pt x="83773" y="40160"/>
                    <a:pt x="83773" y="40591"/>
                    <a:pt x="84205" y="41023"/>
                  </a:cubicBezTo>
                  <a:close/>
                  <a:moveTo>
                    <a:pt x="84205" y="19000"/>
                  </a:moveTo>
                  <a:cubicBezTo>
                    <a:pt x="84205" y="19432"/>
                    <a:pt x="84205" y="19864"/>
                    <a:pt x="84637" y="19864"/>
                  </a:cubicBezTo>
                  <a:cubicBezTo>
                    <a:pt x="84637" y="20296"/>
                    <a:pt x="85069" y="20728"/>
                    <a:pt x="85501" y="20728"/>
                  </a:cubicBezTo>
                  <a:cubicBezTo>
                    <a:pt x="85933" y="20728"/>
                    <a:pt x="86364" y="19864"/>
                    <a:pt x="86364" y="19864"/>
                  </a:cubicBezTo>
                  <a:lnTo>
                    <a:pt x="85069" y="18137"/>
                  </a:lnTo>
                  <a:lnTo>
                    <a:pt x="84637" y="18137"/>
                  </a:lnTo>
                  <a:cubicBezTo>
                    <a:pt x="84205" y="18137"/>
                    <a:pt x="84205" y="19000"/>
                    <a:pt x="84205" y="19000"/>
                  </a:cubicBezTo>
                  <a:close/>
                  <a:moveTo>
                    <a:pt x="86796" y="22455"/>
                  </a:moveTo>
                  <a:cubicBezTo>
                    <a:pt x="85933" y="22455"/>
                    <a:pt x="85501" y="22455"/>
                    <a:pt x="85069" y="22887"/>
                  </a:cubicBezTo>
                  <a:lnTo>
                    <a:pt x="85069" y="25046"/>
                  </a:lnTo>
                  <a:cubicBezTo>
                    <a:pt x="85069" y="25909"/>
                    <a:pt x="85069" y="26773"/>
                    <a:pt x="85501" y="27205"/>
                  </a:cubicBezTo>
                  <a:cubicBezTo>
                    <a:pt x="85501" y="27637"/>
                    <a:pt x="85069" y="28500"/>
                    <a:pt x="84637" y="28932"/>
                  </a:cubicBezTo>
                  <a:cubicBezTo>
                    <a:pt x="84637" y="29796"/>
                    <a:pt x="84637" y="30659"/>
                    <a:pt x="85501" y="31955"/>
                  </a:cubicBezTo>
                  <a:cubicBezTo>
                    <a:pt x="85501" y="31955"/>
                    <a:pt x="85069" y="32819"/>
                    <a:pt x="84637" y="33250"/>
                  </a:cubicBezTo>
                  <a:lnTo>
                    <a:pt x="84637" y="34114"/>
                  </a:lnTo>
                  <a:cubicBezTo>
                    <a:pt x="84637" y="34546"/>
                    <a:pt x="84637" y="34546"/>
                    <a:pt x="85069" y="34546"/>
                  </a:cubicBezTo>
                  <a:cubicBezTo>
                    <a:pt x="85069" y="34546"/>
                    <a:pt x="85501" y="34546"/>
                    <a:pt x="85933" y="34114"/>
                  </a:cubicBezTo>
                  <a:cubicBezTo>
                    <a:pt x="86364" y="34114"/>
                    <a:pt x="87228" y="34114"/>
                    <a:pt x="87660" y="33682"/>
                  </a:cubicBezTo>
                  <a:cubicBezTo>
                    <a:pt x="89819" y="33250"/>
                    <a:pt x="90683" y="31955"/>
                    <a:pt x="90683" y="29796"/>
                  </a:cubicBezTo>
                  <a:lnTo>
                    <a:pt x="90683" y="28068"/>
                  </a:lnTo>
                  <a:cubicBezTo>
                    <a:pt x="90683" y="27637"/>
                    <a:pt x="90251" y="27205"/>
                    <a:pt x="89819" y="26773"/>
                  </a:cubicBezTo>
                  <a:cubicBezTo>
                    <a:pt x="89387" y="25909"/>
                    <a:pt x="88524" y="25909"/>
                    <a:pt x="88092" y="25046"/>
                  </a:cubicBezTo>
                  <a:cubicBezTo>
                    <a:pt x="87228" y="24614"/>
                    <a:pt x="87660" y="23750"/>
                    <a:pt x="87228" y="22887"/>
                  </a:cubicBezTo>
                  <a:cubicBezTo>
                    <a:pt x="87660" y="22455"/>
                    <a:pt x="86796" y="22455"/>
                    <a:pt x="86796" y="22455"/>
                  </a:cubicBezTo>
                  <a:close/>
                  <a:moveTo>
                    <a:pt x="88524" y="24182"/>
                  </a:moveTo>
                  <a:cubicBezTo>
                    <a:pt x="88955" y="24182"/>
                    <a:pt x="88955" y="24614"/>
                    <a:pt x="89387" y="24614"/>
                  </a:cubicBezTo>
                  <a:lnTo>
                    <a:pt x="89819" y="24614"/>
                  </a:lnTo>
                  <a:lnTo>
                    <a:pt x="89819" y="23750"/>
                  </a:lnTo>
                  <a:cubicBezTo>
                    <a:pt x="89819" y="23318"/>
                    <a:pt x="89387" y="22887"/>
                    <a:pt x="89387" y="22887"/>
                  </a:cubicBezTo>
                  <a:lnTo>
                    <a:pt x="88955" y="23318"/>
                  </a:lnTo>
                  <a:cubicBezTo>
                    <a:pt x="88524" y="23750"/>
                    <a:pt x="88524" y="24182"/>
                    <a:pt x="88524" y="24182"/>
                  </a:cubicBezTo>
                  <a:close/>
                  <a:moveTo>
                    <a:pt x="90251" y="36273"/>
                  </a:moveTo>
                  <a:lnTo>
                    <a:pt x="90251" y="36705"/>
                  </a:lnTo>
                  <a:lnTo>
                    <a:pt x="91115" y="40160"/>
                  </a:lnTo>
                  <a:lnTo>
                    <a:pt x="91978" y="40160"/>
                  </a:lnTo>
                  <a:cubicBezTo>
                    <a:pt x="92410" y="39296"/>
                    <a:pt x="92842" y="38432"/>
                    <a:pt x="93705" y="38000"/>
                  </a:cubicBezTo>
                  <a:lnTo>
                    <a:pt x="93274" y="37137"/>
                  </a:lnTo>
                  <a:cubicBezTo>
                    <a:pt x="92842" y="37137"/>
                    <a:pt x="92842" y="36705"/>
                    <a:pt x="92842" y="36273"/>
                  </a:cubicBezTo>
                  <a:cubicBezTo>
                    <a:pt x="92842" y="35841"/>
                    <a:pt x="92842" y="35841"/>
                    <a:pt x="93274" y="35409"/>
                  </a:cubicBezTo>
                  <a:lnTo>
                    <a:pt x="93274" y="34978"/>
                  </a:lnTo>
                  <a:cubicBezTo>
                    <a:pt x="92842" y="34546"/>
                    <a:pt x="92410" y="34546"/>
                    <a:pt x="91978" y="34546"/>
                  </a:cubicBezTo>
                  <a:cubicBezTo>
                    <a:pt x="91115" y="34978"/>
                    <a:pt x="91115" y="35841"/>
                    <a:pt x="90251" y="36273"/>
                  </a:cubicBezTo>
                  <a:close/>
                  <a:moveTo>
                    <a:pt x="91978" y="31091"/>
                  </a:moveTo>
                  <a:lnTo>
                    <a:pt x="91978" y="32819"/>
                  </a:lnTo>
                  <a:cubicBezTo>
                    <a:pt x="91978" y="33250"/>
                    <a:pt x="92410" y="33250"/>
                    <a:pt x="92410" y="33250"/>
                  </a:cubicBezTo>
                  <a:cubicBezTo>
                    <a:pt x="93705" y="32387"/>
                    <a:pt x="93705" y="31955"/>
                    <a:pt x="94569" y="31091"/>
                  </a:cubicBezTo>
                  <a:lnTo>
                    <a:pt x="94569" y="30659"/>
                  </a:lnTo>
                  <a:cubicBezTo>
                    <a:pt x="94137" y="30228"/>
                    <a:pt x="93705" y="29364"/>
                    <a:pt x="92842" y="28932"/>
                  </a:cubicBezTo>
                  <a:lnTo>
                    <a:pt x="92410" y="28932"/>
                  </a:lnTo>
                  <a:cubicBezTo>
                    <a:pt x="92410" y="29796"/>
                    <a:pt x="91978" y="30659"/>
                    <a:pt x="91978" y="31091"/>
                  </a:cubicBezTo>
                  <a:close/>
                  <a:moveTo>
                    <a:pt x="111410" y="164092"/>
                  </a:moveTo>
                  <a:cubicBezTo>
                    <a:pt x="110978" y="163661"/>
                    <a:pt x="110978" y="163661"/>
                    <a:pt x="110978" y="163229"/>
                  </a:cubicBezTo>
                  <a:lnTo>
                    <a:pt x="110115" y="163229"/>
                  </a:lnTo>
                  <a:cubicBezTo>
                    <a:pt x="110115" y="163229"/>
                    <a:pt x="109683" y="163661"/>
                    <a:pt x="109683" y="164092"/>
                  </a:cubicBezTo>
                  <a:cubicBezTo>
                    <a:pt x="109683" y="164092"/>
                    <a:pt x="109683" y="164524"/>
                    <a:pt x="110546" y="164524"/>
                  </a:cubicBezTo>
                  <a:lnTo>
                    <a:pt x="110978" y="164524"/>
                  </a:lnTo>
                  <a:cubicBezTo>
                    <a:pt x="110978" y="164092"/>
                    <a:pt x="111410" y="164092"/>
                    <a:pt x="111410" y="164092"/>
                  </a:cubicBezTo>
                  <a:close/>
                  <a:moveTo>
                    <a:pt x="120910" y="161933"/>
                  </a:moveTo>
                  <a:cubicBezTo>
                    <a:pt x="120910" y="161933"/>
                    <a:pt x="120910" y="162365"/>
                    <a:pt x="120478" y="162365"/>
                  </a:cubicBezTo>
                  <a:cubicBezTo>
                    <a:pt x="120478" y="162365"/>
                    <a:pt x="120047" y="162365"/>
                    <a:pt x="120047" y="161933"/>
                  </a:cubicBezTo>
                  <a:cubicBezTo>
                    <a:pt x="120047" y="161933"/>
                    <a:pt x="120478" y="161933"/>
                    <a:pt x="120478" y="161501"/>
                  </a:cubicBezTo>
                  <a:cubicBezTo>
                    <a:pt x="120910" y="161501"/>
                    <a:pt x="120910" y="161933"/>
                    <a:pt x="120910" y="161933"/>
                  </a:cubicBezTo>
                  <a:close/>
                  <a:moveTo>
                    <a:pt x="144660" y="136888"/>
                  </a:moveTo>
                  <a:lnTo>
                    <a:pt x="142501" y="139047"/>
                  </a:lnTo>
                  <a:cubicBezTo>
                    <a:pt x="142069" y="139479"/>
                    <a:pt x="142069" y="139910"/>
                    <a:pt x="141638" y="139910"/>
                  </a:cubicBezTo>
                  <a:cubicBezTo>
                    <a:pt x="141206" y="139910"/>
                    <a:pt x="141206" y="139479"/>
                    <a:pt x="141206" y="139047"/>
                  </a:cubicBezTo>
                  <a:cubicBezTo>
                    <a:pt x="141206" y="138183"/>
                    <a:pt x="140774" y="137751"/>
                    <a:pt x="139910" y="137751"/>
                  </a:cubicBezTo>
                  <a:cubicBezTo>
                    <a:pt x="139479" y="137751"/>
                    <a:pt x="139047" y="137751"/>
                    <a:pt x="139047" y="136888"/>
                  </a:cubicBezTo>
                  <a:lnTo>
                    <a:pt x="139047" y="136024"/>
                  </a:lnTo>
                  <a:cubicBezTo>
                    <a:pt x="139479" y="135592"/>
                    <a:pt x="140342" y="135592"/>
                    <a:pt x="141206" y="134729"/>
                  </a:cubicBezTo>
                  <a:cubicBezTo>
                    <a:pt x="141206" y="134729"/>
                    <a:pt x="141638" y="134729"/>
                    <a:pt x="141638" y="135160"/>
                  </a:cubicBezTo>
                  <a:cubicBezTo>
                    <a:pt x="142501" y="136024"/>
                    <a:pt x="142933" y="136024"/>
                    <a:pt x="143797" y="136024"/>
                  </a:cubicBezTo>
                  <a:cubicBezTo>
                    <a:pt x="144229" y="136456"/>
                    <a:pt x="144660" y="136456"/>
                    <a:pt x="144660" y="136888"/>
                  </a:cubicBezTo>
                  <a:close/>
                  <a:moveTo>
                    <a:pt x="147251" y="128251"/>
                  </a:moveTo>
                  <a:lnTo>
                    <a:pt x="147251" y="128683"/>
                  </a:lnTo>
                  <a:cubicBezTo>
                    <a:pt x="147251" y="129978"/>
                    <a:pt x="145956" y="131274"/>
                    <a:pt x="144660" y="131274"/>
                  </a:cubicBezTo>
                  <a:lnTo>
                    <a:pt x="144229" y="131274"/>
                  </a:lnTo>
                  <a:lnTo>
                    <a:pt x="143797" y="130842"/>
                  </a:lnTo>
                  <a:cubicBezTo>
                    <a:pt x="143797" y="130842"/>
                    <a:pt x="143797" y="129978"/>
                    <a:pt x="144229" y="129978"/>
                  </a:cubicBezTo>
                  <a:cubicBezTo>
                    <a:pt x="145092" y="129978"/>
                    <a:pt x="145524" y="129547"/>
                    <a:pt x="145524" y="128683"/>
                  </a:cubicBezTo>
                  <a:lnTo>
                    <a:pt x="145524" y="127819"/>
                  </a:lnTo>
                  <a:lnTo>
                    <a:pt x="145956" y="127819"/>
                  </a:lnTo>
                  <a:cubicBezTo>
                    <a:pt x="146388" y="127819"/>
                    <a:pt x="146820" y="127819"/>
                    <a:pt x="147251" y="128251"/>
                  </a:cubicBezTo>
                  <a:close/>
                  <a:moveTo>
                    <a:pt x="157183" y="121342"/>
                  </a:moveTo>
                  <a:cubicBezTo>
                    <a:pt x="157183" y="120910"/>
                    <a:pt x="157615" y="120910"/>
                    <a:pt x="158047" y="120910"/>
                  </a:cubicBezTo>
                  <a:cubicBezTo>
                    <a:pt x="157615" y="121774"/>
                    <a:pt x="156751" y="122637"/>
                    <a:pt x="156751" y="123933"/>
                  </a:cubicBezTo>
                  <a:cubicBezTo>
                    <a:pt x="156320" y="124365"/>
                    <a:pt x="155888" y="124797"/>
                    <a:pt x="155888" y="124365"/>
                  </a:cubicBezTo>
                  <a:lnTo>
                    <a:pt x="155888" y="123069"/>
                  </a:lnTo>
                  <a:cubicBezTo>
                    <a:pt x="155888" y="122637"/>
                    <a:pt x="155888" y="121774"/>
                    <a:pt x="157183" y="121342"/>
                  </a:cubicBezTo>
                  <a:close/>
                  <a:moveTo>
                    <a:pt x="158479" y="99319"/>
                  </a:moveTo>
                  <a:cubicBezTo>
                    <a:pt x="158047" y="98887"/>
                    <a:pt x="158047" y="98456"/>
                    <a:pt x="158047" y="97592"/>
                  </a:cubicBezTo>
                  <a:lnTo>
                    <a:pt x="157615" y="97592"/>
                  </a:lnTo>
                  <a:lnTo>
                    <a:pt x="157615" y="98456"/>
                  </a:lnTo>
                  <a:cubicBezTo>
                    <a:pt x="157615" y="98456"/>
                    <a:pt x="157615" y="98887"/>
                    <a:pt x="158047" y="99319"/>
                  </a:cubicBezTo>
                  <a:lnTo>
                    <a:pt x="158047" y="99751"/>
                  </a:lnTo>
                  <a:cubicBezTo>
                    <a:pt x="158479" y="99751"/>
                    <a:pt x="158479" y="99319"/>
                    <a:pt x="158479" y="99319"/>
                  </a:cubicBezTo>
                  <a:close/>
                  <a:moveTo>
                    <a:pt x="160206" y="87228"/>
                  </a:moveTo>
                  <a:lnTo>
                    <a:pt x="160206" y="87660"/>
                  </a:lnTo>
                  <a:cubicBezTo>
                    <a:pt x="159774" y="88524"/>
                    <a:pt x="159342" y="88524"/>
                    <a:pt x="158479" y="88955"/>
                  </a:cubicBezTo>
                  <a:cubicBezTo>
                    <a:pt x="158479" y="88524"/>
                    <a:pt x="158047" y="88524"/>
                    <a:pt x="158047" y="88524"/>
                  </a:cubicBezTo>
                  <a:lnTo>
                    <a:pt x="158047" y="88092"/>
                  </a:lnTo>
                  <a:lnTo>
                    <a:pt x="159342" y="86796"/>
                  </a:lnTo>
                  <a:cubicBezTo>
                    <a:pt x="158911" y="86364"/>
                    <a:pt x="159774" y="86796"/>
                    <a:pt x="160206" y="87228"/>
                  </a:cubicBezTo>
                  <a:close/>
                  <a:moveTo>
                    <a:pt x="168411" y="92410"/>
                  </a:moveTo>
                  <a:lnTo>
                    <a:pt x="168411" y="92842"/>
                  </a:lnTo>
                  <a:lnTo>
                    <a:pt x="167547" y="95433"/>
                  </a:lnTo>
                  <a:cubicBezTo>
                    <a:pt x="167115" y="95865"/>
                    <a:pt x="167115" y="96728"/>
                    <a:pt x="167115" y="96728"/>
                  </a:cubicBezTo>
                  <a:cubicBezTo>
                    <a:pt x="166683" y="97592"/>
                    <a:pt x="166683" y="97592"/>
                    <a:pt x="166683" y="98024"/>
                  </a:cubicBezTo>
                  <a:cubicBezTo>
                    <a:pt x="166683" y="98887"/>
                    <a:pt x="166683" y="99319"/>
                    <a:pt x="165388" y="99319"/>
                  </a:cubicBezTo>
                  <a:cubicBezTo>
                    <a:pt x="164956" y="99319"/>
                    <a:pt x="163661" y="98456"/>
                    <a:pt x="164092" y="98024"/>
                  </a:cubicBezTo>
                  <a:cubicBezTo>
                    <a:pt x="165388" y="96728"/>
                    <a:pt x="165388" y="95433"/>
                    <a:pt x="165388" y="94569"/>
                  </a:cubicBezTo>
                  <a:lnTo>
                    <a:pt x="165388" y="93274"/>
                  </a:lnTo>
                  <a:cubicBezTo>
                    <a:pt x="165388" y="92842"/>
                    <a:pt x="165388" y="91978"/>
                    <a:pt x="165820" y="91546"/>
                  </a:cubicBezTo>
                  <a:cubicBezTo>
                    <a:pt x="165820" y="90251"/>
                    <a:pt x="166252" y="88955"/>
                    <a:pt x="167115" y="88092"/>
                  </a:cubicBezTo>
                  <a:lnTo>
                    <a:pt x="167115" y="87228"/>
                  </a:lnTo>
                  <a:cubicBezTo>
                    <a:pt x="167115" y="86796"/>
                    <a:pt x="167115" y="86364"/>
                    <a:pt x="167547" y="86364"/>
                  </a:cubicBezTo>
                  <a:cubicBezTo>
                    <a:pt x="167547" y="85933"/>
                    <a:pt x="167979" y="86364"/>
                    <a:pt x="167979" y="86364"/>
                  </a:cubicBezTo>
                  <a:lnTo>
                    <a:pt x="168411" y="86364"/>
                  </a:lnTo>
                  <a:cubicBezTo>
                    <a:pt x="168411" y="86796"/>
                    <a:pt x="168842" y="87228"/>
                    <a:pt x="168842" y="87228"/>
                  </a:cubicBezTo>
                  <a:cubicBezTo>
                    <a:pt x="168842" y="87660"/>
                    <a:pt x="168411" y="87660"/>
                    <a:pt x="168411" y="87660"/>
                  </a:cubicBezTo>
                  <a:cubicBezTo>
                    <a:pt x="168411" y="88092"/>
                    <a:pt x="167979" y="88524"/>
                    <a:pt x="167547" y="89387"/>
                  </a:cubicBezTo>
                  <a:cubicBezTo>
                    <a:pt x="167547" y="89819"/>
                    <a:pt x="167115" y="89819"/>
                    <a:pt x="167115" y="90251"/>
                  </a:cubicBezTo>
                  <a:cubicBezTo>
                    <a:pt x="167115" y="90683"/>
                    <a:pt x="167547" y="90683"/>
                    <a:pt x="167979" y="91114"/>
                  </a:cubicBezTo>
                  <a:cubicBezTo>
                    <a:pt x="168411" y="91546"/>
                    <a:pt x="168411" y="91978"/>
                    <a:pt x="168411" y="92410"/>
                  </a:cubicBezTo>
                  <a:close/>
                  <a:moveTo>
                    <a:pt x="164092" y="61751"/>
                  </a:moveTo>
                  <a:cubicBezTo>
                    <a:pt x="164092" y="61319"/>
                    <a:pt x="164524" y="60455"/>
                    <a:pt x="164956" y="60455"/>
                  </a:cubicBezTo>
                  <a:lnTo>
                    <a:pt x="167115" y="60455"/>
                  </a:lnTo>
                  <a:cubicBezTo>
                    <a:pt x="166683" y="60887"/>
                    <a:pt x="166683" y="61319"/>
                    <a:pt x="166683" y="61751"/>
                  </a:cubicBezTo>
                  <a:cubicBezTo>
                    <a:pt x="167115" y="61751"/>
                    <a:pt x="167115" y="61751"/>
                    <a:pt x="167115" y="62182"/>
                  </a:cubicBezTo>
                  <a:cubicBezTo>
                    <a:pt x="167115" y="62614"/>
                    <a:pt x="166683" y="63046"/>
                    <a:pt x="166252" y="63046"/>
                  </a:cubicBezTo>
                  <a:cubicBezTo>
                    <a:pt x="165388" y="63046"/>
                    <a:pt x="164956" y="62614"/>
                    <a:pt x="164092" y="61751"/>
                  </a:cubicBezTo>
                  <a:close/>
                  <a:moveTo>
                    <a:pt x="169274" y="105365"/>
                  </a:moveTo>
                  <a:cubicBezTo>
                    <a:pt x="169274" y="105796"/>
                    <a:pt x="168411" y="106660"/>
                    <a:pt x="167979" y="106660"/>
                  </a:cubicBezTo>
                  <a:cubicBezTo>
                    <a:pt x="167979" y="105796"/>
                    <a:pt x="168411" y="105365"/>
                    <a:pt x="168842" y="104501"/>
                  </a:cubicBezTo>
                  <a:lnTo>
                    <a:pt x="169274" y="104933"/>
                  </a:lnTo>
                  <a:lnTo>
                    <a:pt x="169274" y="105365"/>
                  </a:lnTo>
                  <a:close/>
                  <a:moveTo>
                    <a:pt x="171865" y="99751"/>
                  </a:moveTo>
                  <a:cubicBezTo>
                    <a:pt x="171433" y="99319"/>
                    <a:pt x="171433" y="98887"/>
                    <a:pt x="171433" y="98456"/>
                  </a:cubicBezTo>
                  <a:cubicBezTo>
                    <a:pt x="171433" y="98024"/>
                    <a:pt x="171433" y="97592"/>
                    <a:pt x="171865" y="97592"/>
                  </a:cubicBezTo>
                  <a:cubicBezTo>
                    <a:pt x="171865" y="97160"/>
                    <a:pt x="172297" y="97160"/>
                    <a:pt x="172297" y="97160"/>
                  </a:cubicBezTo>
                  <a:cubicBezTo>
                    <a:pt x="172729" y="97160"/>
                    <a:pt x="172729" y="97592"/>
                    <a:pt x="172729" y="97592"/>
                  </a:cubicBezTo>
                  <a:cubicBezTo>
                    <a:pt x="172729" y="98456"/>
                    <a:pt x="172729" y="99319"/>
                    <a:pt x="171865" y="99751"/>
                  </a:cubicBezTo>
                  <a:cubicBezTo>
                    <a:pt x="171865" y="100183"/>
                    <a:pt x="171865" y="100183"/>
                    <a:pt x="171433" y="100183"/>
                  </a:cubicBezTo>
                  <a:cubicBezTo>
                    <a:pt x="171433" y="99751"/>
                    <a:pt x="171433" y="99751"/>
                    <a:pt x="171865" y="99751"/>
                  </a:cubicBezTo>
                  <a:close/>
                </a:path>
              </a:pathLst>
            </a:custGeom>
            <a:solidFill>
              <a:srgbClr val="000000"/>
            </a:solidFill>
            <a:ln w="86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1E4F5259-7C65-4EDD-9BAB-46CE995F9349}"/>
                </a:ext>
              </a:extLst>
            </p:cNvPr>
            <p:cNvSpPr/>
            <p:nvPr/>
          </p:nvSpPr>
          <p:spPr>
            <a:xfrm>
              <a:off x="806038" y="6154352"/>
              <a:ext cx="319548" cy="215911"/>
            </a:xfrm>
            <a:custGeom>
              <a:avLst/>
              <a:gdLst>
                <a:gd name="connsiteX0" fmla="*/ 324730 w 319548"/>
                <a:gd name="connsiteY0" fmla="*/ 137319 h 215911"/>
                <a:gd name="connsiteX1" fmla="*/ 323003 w 319548"/>
                <a:gd name="connsiteY1" fmla="*/ 143365 h 215911"/>
                <a:gd name="connsiteX2" fmla="*/ 317389 w 319548"/>
                <a:gd name="connsiteY2" fmla="*/ 146820 h 215911"/>
                <a:gd name="connsiteX3" fmla="*/ 312207 w 319548"/>
                <a:gd name="connsiteY3" fmla="*/ 150274 h 215911"/>
                <a:gd name="connsiteX4" fmla="*/ 310480 w 319548"/>
                <a:gd name="connsiteY4" fmla="*/ 151569 h 215911"/>
                <a:gd name="connsiteX5" fmla="*/ 309185 w 319548"/>
                <a:gd name="connsiteY5" fmla="*/ 152865 h 215911"/>
                <a:gd name="connsiteX6" fmla="*/ 305730 w 319548"/>
                <a:gd name="connsiteY6" fmla="*/ 157183 h 215911"/>
                <a:gd name="connsiteX7" fmla="*/ 302707 w 319548"/>
                <a:gd name="connsiteY7" fmla="*/ 159774 h 215911"/>
                <a:gd name="connsiteX8" fmla="*/ 300980 w 319548"/>
                <a:gd name="connsiteY8" fmla="*/ 160206 h 215911"/>
                <a:gd name="connsiteX9" fmla="*/ 297957 w 319548"/>
                <a:gd name="connsiteY9" fmla="*/ 159774 h 215911"/>
                <a:gd name="connsiteX10" fmla="*/ 288025 w 319548"/>
                <a:gd name="connsiteY10" fmla="*/ 156751 h 215911"/>
                <a:gd name="connsiteX11" fmla="*/ 284571 w 319548"/>
                <a:gd name="connsiteY11" fmla="*/ 154592 h 215911"/>
                <a:gd name="connsiteX12" fmla="*/ 277662 w 319548"/>
                <a:gd name="connsiteY12" fmla="*/ 149842 h 215911"/>
                <a:gd name="connsiteX13" fmla="*/ 262116 w 319548"/>
                <a:gd name="connsiteY13" fmla="*/ 131706 h 215911"/>
                <a:gd name="connsiteX14" fmla="*/ 259525 w 319548"/>
                <a:gd name="connsiteY14" fmla="*/ 117887 h 215911"/>
                <a:gd name="connsiteX15" fmla="*/ 259093 w 319548"/>
                <a:gd name="connsiteY15" fmla="*/ 106228 h 215911"/>
                <a:gd name="connsiteX16" fmla="*/ 259093 w 319548"/>
                <a:gd name="connsiteY16" fmla="*/ 102774 h 215911"/>
                <a:gd name="connsiteX17" fmla="*/ 259957 w 319548"/>
                <a:gd name="connsiteY17" fmla="*/ 88955 h 215911"/>
                <a:gd name="connsiteX18" fmla="*/ 259957 w 319548"/>
                <a:gd name="connsiteY18" fmla="*/ 87660 h 215911"/>
                <a:gd name="connsiteX19" fmla="*/ 261252 w 319548"/>
                <a:gd name="connsiteY19" fmla="*/ 77296 h 215911"/>
                <a:gd name="connsiteX20" fmla="*/ 261252 w 319548"/>
                <a:gd name="connsiteY20" fmla="*/ 75569 h 215911"/>
                <a:gd name="connsiteX21" fmla="*/ 259093 w 319548"/>
                <a:gd name="connsiteY21" fmla="*/ 69092 h 215911"/>
                <a:gd name="connsiteX22" fmla="*/ 258661 w 319548"/>
                <a:gd name="connsiteY22" fmla="*/ 68228 h 215911"/>
                <a:gd name="connsiteX23" fmla="*/ 258230 w 319548"/>
                <a:gd name="connsiteY23" fmla="*/ 68228 h 215911"/>
                <a:gd name="connsiteX24" fmla="*/ 255639 w 319548"/>
                <a:gd name="connsiteY24" fmla="*/ 70819 h 215911"/>
                <a:gd name="connsiteX25" fmla="*/ 250025 w 319548"/>
                <a:gd name="connsiteY25" fmla="*/ 77296 h 215911"/>
                <a:gd name="connsiteX26" fmla="*/ 248730 w 319548"/>
                <a:gd name="connsiteY26" fmla="*/ 78592 h 215911"/>
                <a:gd name="connsiteX27" fmla="*/ 244411 w 319548"/>
                <a:gd name="connsiteY27" fmla="*/ 82046 h 215911"/>
                <a:gd name="connsiteX28" fmla="*/ 243548 w 319548"/>
                <a:gd name="connsiteY28" fmla="*/ 82910 h 215911"/>
                <a:gd name="connsiteX29" fmla="*/ 243116 w 319548"/>
                <a:gd name="connsiteY29" fmla="*/ 82910 h 215911"/>
                <a:gd name="connsiteX30" fmla="*/ 241820 w 319548"/>
                <a:gd name="connsiteY30" fmla="*/ 82046 h 215911"/>
                <a:gd name="connsiteX31" fmla="*/ 241389 w 319548"/>
                <a:gd name="connsiteY31" fmla="*/ 82478 h 215911"/>
                <a:gd name="connsiteX32" fmla="*/ 240525 w 319548"/>
                <a:gd name="connsiteY32" fmla="*/ 85069 h 215911"/>
                <a:gd name="connsiteX33" fmla="*/ 236207 w 319548"/>
                <a:gd name="connsiteY33" fmla="*/ 88955 h 215911"/>
                <a:gd name="connsiteX34" fmla="*/ 235343 w 319548"/>
                <a:gd name="connsiteY34" fmla="*/ 89819 h 215911"/>
                <a:gd name="connsiteX35" fmla="*/ 235775 w 319548"/>
                <a:gd name="connsiteY35" fmla="*/ 91114 h 215911"/>
                <a:gd name="connsiteX36" fmla="*/ 235775 w 319548"/>
                <a:gd name="connsiteY36" fmla="*/ 91546 h 215911"/>
                <a:gd name="connsiteX37" fmla="*/ 234048 w 319548"/>
                <a:gd name="connsiteY37" fmla="*/ 92410 h 215911"/>
                <a:gd name="connsiteX38" fmla="*/ 233616 w 319548"/>
                <a:gd name="connsiteY38" fmla="*/ 92410 h 215911"/>
                <a:gd name="connsiteX39" fmla="*/ 232752 w 319548"/>
                <a:gd name="connsiteY39" fmla="*/ 93273 h 215911"/>
                <a:gd name="connsiteX40" fmla="*/ 231889 w 319548"/>
                <a:gd name="connsiteY40" fmla="*/ 95433 h 215911"/>
                <a:gd name="connsiteX41" fmla="*/ 232320 w 319548"/>
                <a:gd name="connsiteY41" fmla="*/ 96296 h 215911"/>
                <a:gd name="connsiteX42" fmla="*/ 231025 w 319548"/>
                <a:gd name="connsiteY42" fmla="*/ 98455 h 215911"/>
                <a:gd name="connsiteX43" fmla="*/ 229729 w 319548"/>
                <a:gd name="connsiteY43" fmla="*/ 101478 h 215911"/>
                <a:gd name="connsiteX44" fmla="*/ 229729 w 319548"/>
                <a:gd name="connsiteY44" fmla="*/ 102774 h 215911"/>
                <a:gd name="connsiteX45" fmla="*/ 224548 w 319548"/>
                <a:gd name="connsiteY45" fmla="*/ 107524 h 215911"/>
                <a:gd name="connsiteX46" fmla="*/ 223252 w 319548"/>
                <a:gd name="connsiteY46" fmla="*/ 110978 h 215911"/>
                <a:gd name="connsiteX47" fmla="*/ 221525 w 319548"/>
                <a:gd name="connsiteY47" fmla="*/ 113137 h 215911"/>
                <a:gd name="connsiteX48" fmla="*/ 218934 w 319548"/>
                <a:gd name="connsiteY48" fmla="*/ 114433 h 215911"/>
                <a:gd name="connsiteX49" fmla="*/ 215479 w 319548"/>
                <a:gd name="connsiteY49" fmla="*/ 117024 h 215911"/>
                <a:gd name="connsiteX50" fmla="*/ 214184 w 319548"/>
                <a:gd name="connsiteY50" fmla="*/ 117887 h 215911"/>
                <a:gd name="connsiteX51" fmla="*/ 211161 w 319548"/>
                <a:gd name="connsiteY51" fmla="*/ 121774 h 215911"/>
                <a:gd name="connsiteX52" fmla="*/ 211161 w 319548"/>
                <a:gd name="connsiteY52" fmla="*/ 122206 h 215911"/>
                <a:gd name="connsiteX53" fmla="*/ 213320 w 319548"/>
                <a:gd name="connsiteY53" fmla="*/ 122206 h 215911"/>
                <a:gd name="connsiteX54" fmla="*/ 214184 w 319548"/>
                <a:gd name="connsiteY54" fmla="*/ 122637 h 215911"/>
                <a:gd name="connsiteX55" fmla="*/ 209866 w 319548"/>
                <a:gd name="connsiteY55" fmla="*/ 132137 h 215911"/>
                <a:gd name="connsiteX56" fmla="*/ 202956 w 319548"/>
                <a:gd name="connsiteY56" fmla="*/ 138615 h 215911"/>
                <a:gd name="connsiteX57" fmla="*/ 201229 w 319548"/>
                <a:gd name="connsiteY57" fmla="*/ 142069 h 215911"/>
                <a:gd name="connsiteX58" fmla="*/ 199934 w 319548"/>
                <a:gd name="connsiteY58" fmla="*/ 145956 h 215911"/>
                <a:gd name="connsiteX59" fmla="*/ 197775 w 319548"/>
                <a:gd name="connsiteY59" fmla="*/ 148979 h 215911"/>
                <a:gd name="connsiteX60" fmla="*/ 190865 w 319548"/>
                <a:gd name="connsiteY60" fmla="*/ 159774 h 215911"/>
                <a:gd name="connsiteX61" fmla="*/ 190002 w 319548"/>
                <a:gd name="connsiteY61" fmla="*/ 161501 h 215911"/>
                <a:gd name="connsiteX62" fmla="*/ 189570 w 319548"/>
                <a:gd name="connsiteY62" fmla="*/ 161933 h 215911"/>
                <a:gd name="connsiteX63" fmla="*/ 189570 w 319548"/>
                <a:gd name="connsiteY63" fmla="*/ 162365 h 215911"/>
                <a:gd name="connsiteX64" fmla="*/ 182661 w 319548"/>
                <a:gd name="connsiteY64" fmla="*/ 172729 h 215911"/>
                <a:gd name="connsiteX65" fmla="*/ 181365 w 319548"/>
                <a:gd name="connsiteY65" fmla="*/ 174456 h 215911"/>
                <a:gd name="connsiteX66" fmla="*/ 175320 w 319548"/>
                <a:gd name="connsiteY66" fmla="*/ 183524 h 215911"/>
                <a:gd name="connsiteX67" fmla="*/ 174024 w 319548"/>
                <a:gd name="connsiteY67" fmla="*/ 187411 h 215911"/>
                <a:gd name="connsiteX68" fmla="*/ 171002 w 319548"/>
                <a:gd name="connsiteY68" fmla="*/ 192161 h 215911"/>
                <a:gd name="connsiteX69" fmla="*/ 167547 w 319548"/>
                <a:gd name="connsiteY69" fmla="*/ 193888 h 215911"/>
                <a:gd name="connsiteX70" fmla="*/ 165820 w 319548"/>
                <a:gd name="connsiteY70" fmla="*/ 194320 h 215911"/>
                <a:gd name="connsiteX71" fmla="*/ 161933 w 319548"/>
                <a:gd name="connsiteY71" fmla="*/ 192161 h 215911"/>
                <a:gd name="connsiteX72" fmla="*/ 152433 w 319548"/>
                <a:gd name="connsiteY72" fmla="*/ 183956 h 215911"/>
                <a:gd name="connsiteX73" fmla="*/ 149410 w 319548"/>
                <a:gd name="connsiteY73" fmla="*/ 182229 h 215911"/>
                <a:gd name="connsiteX74" fmla="*/ 142933 w 319548"/>
                <a:gd name="connsiteY74" fmla="*/ 176183 h 215911"/>
                <a:gd name="connsiteX75" fmla="*/ 141206 w 319548"/>
                <a:gd name="connsiteY75" fmla="*/ 174024 h 215911"/>
                <a:gd name="connsiteX76" fmla="*/ 139910 w 319548"/>
                <a:gd name="connsiteY76" fmla="*/ 170570 h 215911"/>
                <a:gd name="connsiteX77" fmla="*/ 138615 w 319548"/>
                <a:gd name="connsiteY77" fmla="*/ 160638 h 215911"/>
                <a:gd name="connsiteX78" fmla="*/ 139479 w 319548"/>
                <a:gd name="connsiteY78" fmla="*/ 142933 h 215911"/>
                <a:gd name="connsiteX79" fmla="*/ 139910 w 319548"/>
                <a:gd name="connsiteY79" fmla="*/ 135592 h 215911"/>
                <a:gd name="connsiteX80" fmla="*/ 142501 w 319548"/>
                <a:gd name="connsiteY80" fmla="*/ 109683 h 215911"/>
                <a:gd name="connsiteX81" fmla="*/ 145956 w 319548"/>
                <a:gd name="connsiteY81" fmla="*/ 91546 h 215911"/>
                <a:gd name="connsiteX82" fmla="*/ 145956 w 319548"/>
                <a:gd name="connsiteY82" fmla="*/ 90251 h 215911"/>
                <a:gd name="connsiteX83" fmla="*/ 145956 w 319548"/>
                <a:gd name="connsiteY83" fmla="*/ 87660 h 215911"/>
                <a:gd name="connsiteX84" fmla="*/ 148979 w 319548"/>
                <a:gd name="connsiteY84" fmla="*/ 68228 h 215911"/>
                <a:gd name="connsiteX85" fmla="*/ 152433 w 319548"/>
                <a:gd name="connsiteY85" fmla="*/ 52250 h 215911"/>
                <a:gd name="connsiteX86" fmla="*/ 152865 w 319548"/>
                <a:gd name="connsiteY86" fmla="*/ 48364 h 215911"/>
                <a:gd name="connsiteX87" fmla="*/ 152865 w 319548"/>
                <a:gd name="connsiteY87" fmla="*/ 46637 h 215911"/>
                <a:gd name="connsiteX88" fmla="*/ 151138 w 319548"/>
                <a:gd name="connsiteY88" fmla="*/ 44478 h 215911"/>
                <a:gd name="connsiteX89" fmla="*/ 150706 w 319548"/>
                <a:gd name="connsiteY89" fmla="*/ 44478 h 215911"/>
                <a:gd name="connsiteX90" fmla="*/ 148115 w 319548"/>
                <a:gd name="connsiteY90" fmla="*/ 47069 h 215911"/>
                <a:gd name="connsiteX91" fmla="*/ 144229 w 319548"/>
                <a:gd name="connsiteY91" fmla="*/ 48364 h 215911"/>
                <a:gd name="connsiteX92" fmla="*/ 141206 w 319548"/>
                <a:gd name="connsiteY92" fmla="*/ 52250 h 215911"/>
                <a:gd name="connsiteX93" fmla="*/ 139047 w 319548"/>
                <a:gd name="connsiteY93" fmla="*/ 53978 h 215911"/>
                <a:gd name="connsiteX94" fmla="*/ 134729 w 319548"/>
                <a:gd name="connsiteY94" fmla="*/ 58296 h 215911"/>
                <a:gd name="connsiteX95" fmla="*/ 125660 w 319548"/>
                <a:gd name="connsiteY95" fmla="*/ 66501 h 215911"/>
                <a:gd name="connsiteX96" fmla="*/ 122637 w 319548"/>
                <a:gd name="connsiteY96" fmla="*/ 69523 h 215911"/>
                <a:gd name="connsiteX97" fmla="*/ 117887 w 319548"/>
                <a:gd name="connsiteY97" fmla="*/ 75137 h 215911"/>
                <a:gd name="connsiteX98" fmla="*/ 114001 w 319548"/>
                <a:gd name="connsiteY98" fmla="*/ 79455 h 215911"/>
                <a:gd name="connsiteX99" fmla="*/ 110978 w 319548"/>
                <a:gd name="connsiteY99" fmla="*/ 82046 h 215911"/>
                <a:gd name="connsiteX100" fmla="*/ 109251 w 319548"/>
                <a:gd name="connsiteY100" fmla="*/ 84637 h 215911"/>
                <a:gd name="connsiteX101" fmla="*/ 109251 w 319548"/>
                <a:gd name="connsiteY101" fmla="*/ 85933 h 215911"/>
                <a:gd name="connsiteX102" fmla="*/ 107524 w 319548"/>
                <a:gd name="connsiteY102" fmla="*/ 88092 h 215911"/>
                <a:gd name="connsiteX103" fmla="*/ 96728 w 319548"/>
                <a:gd name="connsiteY103" fmla="*/ 103637 h 215911"/>
                <a:gd name="connsiteX104" fmla="*/ 92842 w 319548"/>
                <a:gd name="connsiteY104" fmla="*/ 106660 h 215911"/>
                <a:gd name="connsiteX105" fmla="*/ 91978 w 319548"/>
                <a:gd name="connsiteY105" fmla="*/ 107524 h 215911"/>
                <a:gd name="connsiteX106" fmla="*/ 91115 w 319548"/>
                <a:gd name="connsiteY106" fmla="*/ 106660 h 215911"/>
                <a:gd name="connsiteX107" fmla="*/ 89819 w 319548"/>
                <a:gd name="connsiteY107" fmla="*/ 106228 h 215911"/>
                <a:gd name="connsiteX108" fmla="*/ 88524 w 319548"/>
                <a:gd name="connsiteY108" fmla="*/ 106660 h 215911"/>
                <a:gd name="connsiteX109" fmla="*/ 88524 w 319548"/>
                <a:gd name="connsiteY109" fmla="*/ 108819 h 215911"/>
                <a:gd name="connsiteX110" fmla="*/ 88524 w 319548"/>
                <a:gd name="connsiteY110" fmla="*/ 109683 h 215911"/>
                <a:gd name="connsiteX111" fmla="*/ 89387 w 319548"/>
                <a:gd name="connsiteY111" fmla="*/ 111842 h 215911"/>
                <a:gd name="connsiteX112" fmla="*/ 87660 w 319548"/>
                <a:gd name="connsiteY112" fmla="*/ 114865 h 215911"/>
                <a:gd name="connsiteX113" fmla="*/ 82478 w 319548"/>
                <a:gd name="connsiteY113" fmla="*/ 117887 h 215911"/>
                <a:gd name="connsiteX114" fmla="*/ 80751 w 319548"/>
                <a:gd name="connsiteY114" fmla="*/ 120046 h 215911"/>
                <a:gd name="connsiteX115" fmla="*/ 76433 w 319548"/>
                <a:gd name="connsiteY115" fmla="*/ 129115 h 215911"/>
                <a:gd name="connsiteX116" fmla="*/ 75569 w 319548"/>
                <a:gd name="connsiteY116" fmla="*/ 130842 h 215911"/>
                <a:gd name="connsiteX117" fmla="*/ 75569 w 319548"/>
                <a:gd name="connsiteY117" fmla="*/ 131706 h 215911"/>
                <a:gd name="connsiteX118" fmla="*/ 76001 w 319548"/>
                <a:gd name="connsiteY118" fmla="*/ 133001 h 215911"/>
                <a:gd name="connsiteX119" fmla="*/ 75569 w 319548"/>
                <a:gd name="connsiteY119" fmla="*/ 134297 h 215911"/>
                <a:gd name="connsiteX120" fmla="*/ 71683 w 319548"/>
                <a:gd name="connsiteY120" fmla="*/ 139478 h 215911"/>
                <a:gd name="connsiteX121" fmla="*/ 70819 w 319548"/>
                <a:gd name="connsiteY121" fmla="*/ 142933 h 215911"/>
                <a:gd name="connsiteX122" fmla="*/ 69955 w 319548"/>
                <a:gd name="connsiteY122" fmla="*/ 144229 h 215911"/>
                <a:gd name="connsiteX123" fmla="*/ 69523 w 319548"/>
                <a:gd name="connsiteY123" fmla="*/ 144229 h 215911"/>
                <a:gd name="connsiteX124" fmla="*/ 67364 w 319548"/>
                <a:gd name="connsiteY124" fmla="*/ 144660 h 215911"/>
                <a:gd name="connsiteX125" fmla="*/ 66932 w 319548"/>
                <a:gd name="connsiteY125" fmla="*/ 147251 h 215911"/>
                <a:gd name="connsiteX126" fmla="*/ 65205 w 319548"/>
                <a:gd name="connsiteY126" fmla="*/ 148547 h 215911"/>
                <a:gd name="connsiteX127" fmla="*/ 63910 w 319548"/>
                <a:gd name="connsiteY127" fmla="*/ 149410 h 215911"/>
                <a:gd name="connsiteX128" fmla="*/ 60023 w 319548"/>
                <a:gd name="connsiteY128" fmla="*/ 155888 h 215911"/>
                <a:gd name="connsiteX129" fmla="*/ 59160 w 319548"/>
                <a:gd name="connsiteY129" fmla="*/ 158479 h 215911"/>
                <a:gd name="connsiteX130" fmla="*/ 59591 w 319548"/>
                <a:gd name="connsiteY130" fmla="*/ 160206 h 215911"/>
                <a:gd name="connsiteX131" fmla="*/ 58296 w 319548"/>
                <a:gd name="connsiteY131" fmla="*/ 163661 h 215911"/>
                <a:gd name="connsiteX132" fmla="*/ 58296 w 319548"/>
                <a:gd name="connsiteY132" fmla="*/ 163229 h 215911"/>
                <a:gd name="connsiteX133" fmla="*/ 57001 w 319548"/>
                <a:gd name="connsiteY133" fmla="*/ 161070 h 215911"/>
                <a:gd name="connsiteX134" fmla="*/ 57001 w 319548"/>
                <a:gd name="connsiteY134" fmla="*/ 161501 h 215911"/>
                <a:gd name="connsiteX135" fmla="*/ 53114 w 319548"/>
                <a:gd name="connsiteY135" fmla="*/ 167115 h 215911"/>
                <a:gd name="connsiteX136" fmla="*/ 50091 w 319548"/>
                <a:gd name="connsiteY136" fmla="*/ 172297 h 215911"/>
                <a:gd name="connsiteX137" fmla="*/ 50955 w 319548"/>
                <a:gd name="connsiteY137" fmla="*/ 174888 h 215911"/>
                <a:gd name="connsiteX138" fmla="*/ 51819 w 319548"/>
                <a:gd name="connsiteY138" fmla="*/ 175752 h 215911"/>
                <a:gd name="connsiteX139" fmla="*/ 51387 w 319548"/>
                <a:gd name="connsiteY139" fmla="*/ 176183 h 215911"/>
                <a:gd name="connsiteX140" fmla="*/ 49228 w 319548"/>
                <a:gd name="connsiteY140" fmla="*/ 177479 h 215911"/>
                <a:gd name="connsiteX141" fmla="*/ 49228 w 319548"/>
                <a:gd name="connsiteY141" fmla="*/ 178774 h 215911"/>
                <a:gd name="connsiteX142" fmla="*/ 49228 w 319548"/>
                <a:gd name="connsiteY142" fmla="*/ 180070 h 215911"/>
                <a:gd name="connsiteX143" fmla="*/ 47069 w 319548"/>
                <a:gd name="connsiteY143" fmla="*/ 183093 h 215911"/>
                <a:gd name="connsiteX144" fmla="*/ 44046 w 319548"/>
                <a:gd name="connsiteY144" fmla="*/ 188274 h 215911"/>
                <a:gd name="connsiteX145" fmla="*/ 42319 w 319548"/>
                <a:gd name="connsiteY145" fmla="*/ 191297 h 215911"/>
                <a:gd name="connsiteX146" fmla="*/ 41023 w 319548"/>
                <a:gd name="connsiteY146" fmla="*/ 192161 h 215911"/>
                <a:gd name="connsiteX147" fmla="*/ 42319 w 319548"/>
                <a:gd name="connsiteY147" fmla="*/ 192593 h 215911"/>
                <a:gd name="connsiteX148" fmla="*/ 42750 w 319548"/>
                <a:gd name="connsiteY148" fmla="*/ 193024 h 215911"/>
                <a:gd name="connsiteX149" fmla="*/ 37137 w 319548"/>
                <a:gd name="connsiteY149" fmla="*/ 202093 h 215911"/>
                <a:gd name="connsiteX150" fmla="*/ 32387 w 319548"/>
                <a:gd name="connsiteY150" fmla="*/ 210729 h 215911"/>
                <a:gd name="connsiteX151" fmla="*/ 30659 w 319548"/>
                <a:gd name="connsiteY151" fmla="*/ 212888 h 215911"/>
                <a:gd name="connsiteX152" fmla="*/ 25046 w 319548"/>
                <a:gd name="connsiteY152" fmla="*/ 216343 h 215911"/>
                <a:gd name="connsiteX153" fmla="*/ 22887 w 319548"/>
                <a:gd name="connsiteY153" fmla="*/ 215911 h 215911"/>
                <a:gd name="connsiteX154" fmla="*/ 20296 w 319548"/>
                <a:gd name="connsiteY154" fmla="*/ 215911 h 215911"/>
                <a:gd name="connsiteX155" fmla="*/ 19000 w 319548"/>
                <a:gd name="connsiteY155" fmla="*/ 215911 h 215911"/>
                <a:gd name="connsiteX156" fmla="*/ 15546 w 319548"/>
                <a:gd name="connsiteY156" fmla="*/ 212025 h 215911"/>
                <a:gd name="connsiteX157" fmla="*/ 6477 w 319548"/>
                <a:gd name="connsiteY157" fmla="*/ 202956 h 215911"/>
                <a:gd name="connsiteX158" fmla="*/ 5182 w 319548"/>
                <a:gd name="connsiteY158" fmla="*/ 201661 h 215911"/>
                <a:gd name="connsiteX159" fmla="*/ 864 w 319548"/>
                <a:gd name="connsiteY159" fmla="*/ 194320 h 215911"/>
                <a:gd name="connsiteX160" fmla="*/ 0 w 319548"/>
                <a:gd name="connsiteY160" fmla="*/ 180070 h 215911"/>
                <a:gd name="connsiteX161" fmla="*/ 432 w 319548"/>
                <a:gd name="connsiteY161" fmla="*/ 177911 h 215911"/>
                <a:gd name="connsiteX162" fmla="*/ 1727 w 319548"/>
                <a:gd name="connsiteY162" fmla="*/ 167115 h 215911"/>
                <a:gd name="connsiteX163" fmla="*/ 2159 w 319548"/>
                <a:gd name="connsiteY163" fmla="*/ 162365 h 215911"/>
                <a:gd name="connsiteX164" fmla="*/ 1727 w 319548"/>
                <a:gd name="connsiteY164" fmla="*/ 159774 h 215911"/>
                <a:gd name="connsiteX165" fmla="*/ 2591 w 319548"/>
                <a:gd name="connsiteY165" fmla="*/ 155888 h 215911"/>
                <a:gd name="connsiteX166" fmla="*/ 3455 w 319548"/>
                <a:gd name="connsiteY166" fmla="*/ 152865 h 215911"/>
                <a:gd name="connsiteX167" fmla="*/ 3886 w 319548"/>
                <a:gd name="connsiteY167" fmla="*/ 141638 h 215911"/>
                <a:gd name="connsiteX168" fmla="*/ 4750 w 319548"/>
                <a:gd name="connsiteY168" fmla="*/ 139478 h 215911"/>
                <a:gd name="connsiteX169" fmla="*/ 7341 w 319548"/>
                <a:gd name="connsiteY169" fmla="*/ 135592 h 215911"/>
                <a:gd name="connsiteX170" fmla="*/ 9068 w 319548"/>
                <a:gd name="connsiteY170" fmla="*/ 129978 h 215911"/>
                <a:gd name="connsiteX171" fmla="*/ 8636 w 319548"/>
                <a:gd name="connsiteY171" fmla="*/ 126956 h 215911"/>
                <a:gd name="connsiteX172" fmla="*/ 7773 w 319548"/>
                <a:gd name="connsiteY172" fmla="*/ 124365 h 215911"/>
                <a:gd name="connsiteX173" fmla="*/ 8205 w 319548"/>
                <a:gd name="connsiteY173" fmla="*/ 122206 h 215911"/>
                <a:gd name="connsiteX174" fmla="*/ 8205 w 319548"/>
                <a:gd name="connsiteY174" fmla="*/ 120910 h 215911"/>
                <a:gd name="connsiteX175" fmla="*/ 8205 w 319548"/>
                <a:gd name="connsiteY175" fmla="*/ 120478 h 215911"/>
                <a:gd name="connsiteX176" fmla="*/ 8636 w 319548"/>
                <a:gd name="connsiteY176" fmla="*/ 119615 h 215911"/>
                <a:gd name="connsiteX177" fmla="*/ 10796 w 319548"/>
                <a:gd name="connsiteY177" fmla="*/ 116160 h 215911"/>
                <a:gd name="connsiteX178" fmla="*/ 10796 w 319548"/>
                <a:gd name="connsiteY178" fmla="*/ 115728 h 215911"/>
                <a:gd name="connsiteX179" fmla="*/ 11227 w 319548"/>
                <a:gd name="connsiteY179" fmla="*/ 111410 h 215911"/>
                <a:gd name="connsiteX180" fmla="*/ 13818 w 319548"/>
                <a:gd name="connsiteY180" fmla="*/ 104069 h 215911"/>
                <a:gd name="connsiteX181" fmla="*/ 15977 w 319548"/>
                <a:gd name="connsiteY181" fmla="*/ 95001 h 215911"/>
                <a:gd name="connsiteX182" fmla="*/ 17273 w 319548"/>
                <a:gd name="connsiteY182" fmla="*/ 90683 h 215911"/>
                <a:gd name="connsiteX183" fmla="*/ 17273 w 319548"/>
                <a:gd name="connsiteY183" fmla="*/ 89387 h 215911"/>
                <a:gd name="connsiteX184" fmla="*/ 18137 w 319548"/>
                <a:gd name="connsiteY184" fmla="*/ 87660 h 215911"/>
                <a:gd name="connsiteX185" fmla="*/ 22023 w 319548"/>
                <a:gd name="connsiteY185" fmla="*/ 74273 h 215911"/>
                <a:gd name="connsiteX186" fmla="*/ 22023 w 319548"/>
                <a:gd name="connsiteY186" fmla="*/ 73410 h 215911"/>
                <a:gd name="connsiteX187" fmla="*/ 26341 w 319548"/>
                <a:gd name="connsiteY187" fmla="*/ 62182 h 215911"/>
                <a:gd name="connsiteX188" fmla="*/ 29364 w 319548"/>
                <a:gd name="connsiteY188" fmla="*/ 56569 h 215911"/>
                <a:gd name="connsiteX189" fmla="*/ 30659 w 319548"/>
                <a:gd name="connsiteY189" fmla="*/ 50955 h 215911"/>
                <a:gd name="connsiteX190" fmla="*/ 31955 w 319548"/>
                <a:gd name="connsiteY190" fmla="*/ 47500 h 215911"/>
                <a:gd name="connsiteX191" fmla="*/ 33682 w 319548"/>
                <a:gd name="connsiteY191" fmla="*/ 43614 h 215911"/>
                <a:gd name="connsiteX192" fmla="*/ 34114 w 319548"/>
                <a:gd name="connsiteY192" fmla="*/ 42319 h 215911"/>
                <a:gd name="connsiteX193" fmla="*/ 35409 w 319548"/>
                <a:gd name="connsiteY193" fmla="*/ 38432 h 215911"/>
                <a:gd name="connsiteX194" fmla="*/ 37569 w 319548"/>
                <a:gd name="connsiteY194" fmla="*/ 31091 h 215911"/>
                <a:gd name="connsiteX195" fmla="*/ 38000 w 319548"/>
                <a:gd name="connsiteY195" fmla="*/ 30228 h 215911"/>
                <a:gd name="connsiteX196" fmla="*/ 37137 w 319548"/>
                <a:gd name="connsiteY196" fmla="*/ 28500 h 215911"/>
                <a:gd name="connsiteX197" fmla="*/ 38432 w 319548"/>
                <a:gd name="connsiteY197" fmla="*/ 22023 h 215911"/>
                <a:gd name="connsiteX198" fmla="*/ 40591 w 319548"/>
                <a:gd name="connsiteY198" fmla="*/ 15545 h 215911"/>
                <a:gd name="connsiteX199" fmla="*/ 43614 w 319548"/>
                <a:gd name="connsiteY199" fmla="*/ 2159 h 215911"/>
                <a:gd name="connsiteX200" fmla="*/ 46637 w 319548"/>
                <a:gd name="connsiteY200" fmla="*/ 432 h 215911"/>
                <a:gd name="connsiteX201" fmla="*/ 47500 w 319548"/>
                <a:gd name="connsiteY201" fmla="*/ 432 h 215911"/>
                <a:gd name="connsiteX202" fmla="*/ 49228 w 319548"/>
                <a:gd name="connsiteY202" fmla="*/ 0 h 215911"/>
                <a:gd name="connsiteX203" fmla="*/ 50955 w 319548"/>
                <a:gd name="connsiteY203" fmla="*/ 1295 h 215911"/>
                <a:gd name="connsiteX204" fmla="*/ 54841 w 319548"/>
                <a:gd name="connsiteY204" fmla="*/ 2591 h 215911"/>
                <a:gd name="connsiteX205" fmla="*/ 56137 w 319548"/>
                <a:gd name="connsiteY205" fmla="*/ 2591 h 215911"/>
                <a:gd name="connsiteX206" fmla="*/ 61751 w 319548"/>
                <a:gd name="connsiteY206" fmla="*/ 3886 h 215911"/>
                <a:gd name="connsiteX207" fmla="*/ 64341 w 319548"/>
                <a:gd name="connsiteY207" fmla="*/ 5182 h 215911"/>
                <a:gd name="connsiteX208" fmla="*/ 65205 w 319548"/>
                <a:gd name="connsiteY208" fmla="*/ 8205 h 215911"/>
                <a:gd name="connsiteX209" fmla="*/ 67364 w 319548"/>
                <a:gd name="connsiteY209" fmla="*/ 13386 h 215911"/>
                <a:gd name="connsiteX210" fmla="*/ 66069 w 319548"/>
                <a:gd name="connsiteY210" fmla="*/ 18136 h 215911"/>
                <a:gd name="connsiteX211" fmla="*/ 61319 w 319548"/>
                <a:gd name="connsiteY211" fmla="*/ 40159 h 215911"/>
                <a:gd name="connsiteX212" fmla="*/ 61319 w 319548"/>
                <a:gd name="connsiteY212" fmla="*/ 41023 h 215911"/>
                <a:gd name="connsiteX213" fmla="*/ 60887 w 319548"/>
                <a:gd name="connsiteY213" fmla="*/ 43182 h 215911"/>
                <a:gd name="connsiteX214" fmla="*/ 59160 w 319548"/>
                <a:gd name="connsiteY214" fmla="*/ 47069 h 215911"/>
                <a:gd name="connsiteX215" fmla="*/ 59160 w 319548"/>
                <a:gd name="connsiteY215" fmla="*/ 48364 h 215911"/>
                <a:gd name="connsiteX216" fmla="*/ 58728 w 319548"/>
                <a:gd name="connsiteY216" fmla="*/ 53114 h 215911"/>
                <a:gd name="connsiteX217" fmla="*/ 54841 w 319548"/>
                <a:gd name="connsiteY217" fmla="*/ 62182 h 215911"/>
                <a:gd name="connsiteX218" fmla="*/ 53114 w 319548"/>
                <a:gd name="connsiteY218" fmla="*/ 68660 h 215911"/>
                <a:gd name="connsiteX219" fmla="*/ 48796 w 319548"/>
                <a:gd name="connsiteY219" fmla="*/ 78160 h 215911"/>
                <a:gd name="connsiteX220" fmla="*/ 47500 w 319548"/>
                <a:gd name="connsiteY220" fmla="*/ 85501 h 215911"/>
                <a:gd name="connsiteX221" fmla="*/ 45341 w 319548"/>
                <a:gd name="connsiteY221" fmla="*/ 91546 h 215911"/>
                <a:gd name="connsiteX222" fmla="*/ 42319 w 319548"/>
                <a:gd name="connsiteY222" fmla="*/ 98455 h 215911"/>
                <a:gd name="connsiteX223" fmla="*/ 41887 w 319548"/>
                <a:gd name="connsiteY223" fmla="*/ 100614 h 215911"/>
                <a:gd name="connsiteX224" fmla="*/ 36705 w 319548"/>
                <a:gd name="connsiteY224" fmla="*/ 120478 h 215911"/>
                <a:gd name="connsiteX225" fmla="*/ 35409 w 319548"/>
                <a:gd name="connsiteY225" fmla="*/ 124365 h 215911"/>
                <a:gd name="connsiteX226" fmla="*/ 33682 w 319548"/>
                <a:gd name="connsiteY226" fmla="*/ 134297 h 215911"/>
                <a:gd name="connsiteX227" fmla="*/ 33682 w 319548"/>
                <a:gd name="connsiteY227" fmla="*/ 136456 h 215911"/>
                <a:gd name="connsiteX228" fmla="*/ 32387 w 319548"/>
                <a:gd name="connsiteY228" fmla="*/ 142069 h 215911"/>
                <a:gd name="connsiteX229" fmla="*/ 30659 w 319548"/>
                <a:gd name="connsiteY229" fmla="*/ 152001 h 215911"/>
                <a:gd name="connsiteX230" fmla="*/ 31091 w 319548"/>
                <a:gd name="connsiteY230" fmla="*/ 152433 h 215911"/>
                <a:gd name="connsiteX231" fmla="*/ 31523 w 319548"/>
                <a:gd name="connsiteY231" fmla="*/ 152433 h 215911"/>
                <a:gd name="connsiteX232" fmla="*/ 34114 w 319548"/>
                <a:gd name="connsiteY232" fmla="*/ 150274 h 215911"/>
                <a:gd name="connsiteX233" fmla="*/ 35409 w 319548"/>
                <a:gd name="connsiteY233" fmla="*/ 148547 h 215911"/>
                <a:gd name="connsiteX234" fmla="*/ 44909 w 319548"/>
                <a:gd name="connsiteY234" fmla="*/ 133865 h 215911"/>
                <a:gd name="connsiteX235" fmla="*/ 47932 w 319548"/>
                <a:gd name="connsiteY235" fmla="*/ 129978 h 215911"/>
                <a:gd name="connsiteX236" fmla="*/ 56137 w 319548"/>
                <a:gd name="connsiteY236" fmla="*/ 116592 h 215911"/>
                <a:gd name="connsiteX237" fmla="*/ 56569 w 319548"/>
                <a:gd name="connsiteY237" fmla="*/ 114865 h 215911"/>
                <a:gd name="connsiteX238" fmla="*/ 63478 w 319548"/>
                <a:gd name="connsiteY238" fmla="*/ 104501 h 215911"/>
                <a:gd name="connsiteX239" fmla="*/ 67364 w 319548"/>
                <a:gd name="connsiteY239" fmla="*/ 100614 h 215911"/>
                <a:gd name="connsiteX240" fmla="*/ 69092 w 319548"/>
                <a:gd name="connsiteY240" fmla="*/ 96728 h 215911"/>
                <a:gd name="connsiteX241" fmla="*/ 68660 w 319548"/>
                <a:gd name="connsiteY241" fmla="*/ 99319 h 215911"/>
                <a:gd name="connsiteX242" fmla="*/ 67796 w 319548"/>
                <a:gd name="connsiteY242" fmla="*/ 101910 h 215911"/>
                <a:gd name="connsiteX243" fmla="*/ 66069 w 319548"/>
                <a:gd name="connsiteY243" fmla="*/ 104501 h 215911"/>
                <a:gd name="connsiteX244" fmla="*/ 62182 w 319548"/>
                <a:gd name="connsiteY244" fmla="*/ 111410 h 215911"/>
                <a:gd name="connsiteX245" fmla="*/ 62182 w 319548"/>
                <a:gd name="connsiteY245" fmla="*/ 111842 h 215911"/>
                <a:gd name="connsiteX246" fmla="*/ 62182 w 319548"/>
                <a:gd name="connsiteY246" fmla="*/ 112274 h 215911"/>
                <a:gd name="connsiteX247" fmla="*/ 63046 w 319548"/>
                <a:gd name="connsiteY247" fmla="*/ 111842 h 215911"/>
                <a:gd name="connsiteX248" fmla="*/ 64773 w 319548"/>
                <a:gd name="connsiteY248" fmla="*/ 110978 h 215911"/>
                <a:gd name="connsiteX249" fmla="*/ 70819 w 319548"/>
                <a:gd name="connsiteY249" fmla="*/ 103205 h 215911"/>
                <a:gd name="connsiteX250" fmla="*/ 75137 w 319548"/>
                <a:gd name="connsiteY250" fmla="*/ 96728 h 215911"/>
                <a:gd name="connsiteX251" fmla="*/ 82910 w 319548"/>
                <a:gd name="connsiteY251" fmla="*/ 87660 h 215911"/>
                <a:gd name="connsiteX252" fmla="*/ 84205 w 319548"/>
                <a:gd name="connsiteY252" fmla="*/ 85933 h 215911"/>
                <a:gd name="connsiteX253" fmla="*/ 88092 w 319548"/>
                <a:gd name="connsiteY253" fmla="*/ 80751 h 215911"/>
                <a:gd name="connsiteX254" fmla="*/ 88955 w 319548"/>
                <a:gd name="connsiteY254" fmla="*/ 80751 h 215911"/>
                <a:gd name="connsiteX255" fmla="*/ 90251 w 319548"/>
                <a:gd name="connsiteY255" fmla="*/ 80751 h 215911"/>
                <a:gd name="connsiteX256" fmla="*/ 90683 w 319548"/>
                <a:gd name="connsiteY256" fmla="*/ 79887 h 215911"/>
                <a:gd name="connsiteX257" fmla="*/ 90683 w 319548"/>
                <a:gd name="connsiteY257" fmla="*/ 79023 h 215911"/>
                <a:gd name="connsiteX258" fmla="*/ 89819 w 319548"/>
                <a:gd name="connsiteY258" fmla="*/ 77296 h 215911"/>
                <a:gd name="connsiteX259" fmla="*/ 90683 w 319548"/>
                <a:gd name="connsiteY259" fmla="*/ 75569 h 215911"/>
                <a:gd name="connsiteX260" fmla="*/ 93274 w 319548"/>
                <a:gd name="connsiteY260" fmla="*/ 72546 h 215911"/>
                <a:gd name="connsiteX261" fmla="*/ 100183 w 319548"/>
                <a:gd name="connsiteY261" fmla="*/ 62182 h 215911"/>
                <a:gd name="connsiteX262" fmla="*/ 101910 w 319548"/>
                <a:gd name="connsiteY262" fmla="*/ 59591 h 215911"/>
                <a:gd name="connsiteX263" fmla="*/ 105796 w 319548"/>
                <a:gd name="connsiteY263" fmla="*/ 57864 h 215911"/>
                <a:gd name="connsiteX264" fmla="*/ 108819 w 319548"/>
                <a:gd name="connsiteY264" fmla="*/ 56569 h 215911"/>
                <a:gd name="connsiteX265" fmla="*/ 110115 w 319548"/>
                <a:gd name="connsiteY265" fmla="*/ 55705 h 215911"/>
                <a:gd name="connsiteX266" fmla="*/ 111842 w 319548"/>
                <a:gd name="connsiteY266" fmla="*/ 57000 h 215911"/>
                <a:gd name="connsiteX267" fmla="*/ 112274 w 319548"/>
                <a:gd name="connsiteY267" fmla="*/ 57000 h 215911"/>
                <a:gd name="connsiteX268" fmla="*/ 112706 w 319548"/>
                <a:gd name="connsiteY268" fmla="*/ 57000 h 215911"/>
                <a:gd name="connsiteX269" fmla="*/ 112706 w 319548"/>
                <a:gd name="connsiteY269" fmla="*/ 55705 h 215911"/>
                <a:gd name="connsiteX270" fmla="*/ 112274 w 319548"/>
                <a:gd name="connsiteY270" fmla="*/ 54841 h 215911"/>
                <a:gd name="connsiteX271" fmla="*/ 112274 w 319548"/>
                <a:gd name="connsiteY271" fmla="*/ 53114 h 215911"/>
                <a:gd name="connsiteX272" fmla="*/ 112274 w 319548"/>
                <a:gd name="connsiteY272" fmla="*/ 52250 h 215911"/>
                <a:gd name="connsiteX273" fmla="*/ 118319 w 319548"/>
                <a:gd name="connsiteY273" fmla="*/ 46637 h 215911"/>
                <a:gd name="connsiteX274" fmla="*/ 120047 w 319548"/>
                <a:gd name="connsiteY274" fmla="*/ 43614 h 215911"/>
                <a:gd name="connsiteX275" fmla="*/ 120047 w 319548"/>
                <a:gd name="connsiteY275" fmla="*/ 42750 h 215911"/>
                <a:gd name="connsiteX276" fmla="*/ 120478 w 319548"/>
                <a:gd name="connsiteY276" fmla="*/ 41023 h 215911"/>
                <a:gd name="connsiteX277" fmla="*/ 124365 w 319548"/>
                <a:gd name="connsiteY277" fmla="*/ 37137 h 215911"/>
                <a:gd name="connsiteX278" fmla="*/ 128251 w 319548"/>
                <a:gd name="connsiteY278" fmla="*/ 33682 h 215911"/>
                <a:gd name="connsiteX279" fmla="*/ 129547 w 319548"/>
                <a:gd name="connsiteY279" fmla="*/ 31955 h 215911"/>
                <a:gd name="connsiteX280" fmla="*/ 129115 w 319548"/>
                <a:gd name="connsiteY280" fmla="*/ 31523 h 215911"/>
                <a:gd name="connsiteX281" fmla="*/ 128683 w 319548"/>
                <a:gd name="connsiteY281" fmla="*/ 31091 h 215911"/>
                <a:gd name="connsiteX282" fmla="*/ 126956 w 319548"/>
                <a:gd name="connsiteY282" fmla="*/ 31523 h 215911"/>
                <a:gd name="connsiteX283" fmla="*/ 125228 w 319548"/>
                <a:gd name="connsiteY283" fmla="*/ 31523 h 215911"/>
                <a:gd name="connsiteX284" fmla="*/ 130842 w 319548"/>
                <a:gd name="connsiteY284" fmla="*/ 24614 h 215911"/>
                <a:gd name="connsiteX285" fmla="*/ 133865 w 319548"/>
                <a:gd name="connsiteY285" fmla="*/ 23318 h 215911"/>
                <a:gd name="connsiteX286" fmla="*/ 134297 w 319548"/>
                <a:gd name="connsiteY286" fmla="*/ 24182 h 215911"/>
                <a:gd name="connsiteX287" fmla="*/ 131274 w 319548"/>
                <a:gd name="connsiteY287" fmla="*/ 26773 h 215911"/>
                <a:gd name="connsiteX288" fmla="*/ 130410 w 319548"/>
                <a:gd name="connsiteY288" fmla="*/ 28068 h 215911"/>
                <a:gd name="connsiteX289" fmla="*/ 130842 w 319548"/>
                <a:gd name="connsiteY289" fmla="*/ 29796 h 215911"/>
                <a:gd name="connsiteX290" fmla="*/ 131706 w 319548"/>
                <a:gd name="connsiteY290" fmla="*/ 29796 h 215911"/>
                <a:gd name="connsiteX291" fmla="*/ 134729 w 319548"/>
                <a:gd name="connsiteY291" fmla="*/ 27637 h 215911"/>
                <a:gd name="connsiteX292" fmla="*/ 140342 w 319548"/>
                <a:gd name="connsiteY292" fmla="*/ 25046 h 215911"/>
                <a:gd name="connsiteX293" fmla="*/ 141638 w 319548"/>
                <a:gd name="connsiteY293" fmla="*/ 24182 h 215911"/>
                <a:gd name="connsiteX294" fmla="*/ 147683 w 319548"/>
                <a:gd name="connsiteY294" fmla="*/ 21159 h 215911"/>
                <a:gd name="connsiteX295" fmla="*/ 151138 w 319548"/>
                <a:gd name="connsiteY295" fmla="*/ 19864 h 215911"/>
                <a:gd name="connsiteX296" fmla="*/ 152865 w 319548"/>
                <a:gd name="connsiteY296" fmla="*/ 15977 h 215911"/>
                <a:gd name="connsiteX297" fmla="*/ 152865 w 319548"/>
                <a:gd name="connsiteY297" fmla="*/ 15545 h 215911"/>
                <a:gd name="connsiteX298" fmla="*/ 152433 w 319548"/>
                <a:gd name="connsiteY298" fmla="*/ 15114 h 215911"/>
                <a:gd name="connsiteX299" fmla="*/ 148979 w 319548"/>
                <a:gd name="connsiteY299" fmla="*/ 14250 h 215911"/>
                <a:gd name="connsiteX300" fmla="*/ 148547 w 319548"/>
                <a:gd name="connsiteY300" fmla="*/ 13818 h 215911"/>
                <a:gd name="connsiteX301" fmla="*/ 148979 w 319548"/>
                <a:gd name="connsiteY301" fmla="*/ 13386 h 215911"/>
                <a:gd name="connsiteX302" fmla="*/ 156320 w 319548"/>
                <a:gd name="connsiteY302" fmla="*/ 11227 h 215911"/>
                <a:gd name="connsiteX303" fmla="*/ 158479 w 319548"/>
                <a:gd name="connsiteY303" fmla="*/ 10796 h 215911"/>
                <a:gd name="connsiteX304" fmla="*/ 159774 w 319548"/>
                <a:gd name="connsiteY304" fmla="*/ 11227 h 215911"/>
                <a:gd name="connsiteX305" fmla="*/ 161501 w 319548"/>
                <a:gd name="connsiteY305" fmla="*/ 11659 h 215911"/>
                <a:gd name="connsiteX306" fmla="*/ 164092 w 319548"/>
                <a:gd name="connsiteY306" fmla="*/ 10796 h 215911"/>
                <a:gd name="connsiteX307" fmla="*/ 164956 w 319548"/>
                <a:gd name="connsiteY307" fmla="*/ 10364 h 215911"/>
                <a:gd name="connsiteX308" fmla="*/ 165820 w 319548"/>
                <a:gd name="connsiteY308" fmla="*/ 10796 h 215911"/>
                <a:gd name="connsiteX309" fmla="*/ 171433 w 319548"/>
                <a:gd name="connsiteY309" fmla="*/ 11659 h 215911"/>
                <a:gd name="connsiteX310" fmla="*/ 175752 w 319548"/>
                <a:gd name="connsiteY310" fmla="*/ 15114 h 215911"/>
                <a:gd name="connsiteX311" fmla="*/ 178343 w 319548"/>
                <a:gd name="connsiteY311" fmla="*/ 16841 h 215911"/>
                <a:gd name="connsiteX312" fmla="*/ 180502 w 319548"/>
                <a:gd name="connsiteY312" fmla="*/ 21159 h 215911"/>
                <a:gd name="connsiteX313" fmla="*/ 180502 w 319548"/>
                <a:gd name="connsiteY313" fmla="*/ 22023 h 215911"/>
                <a:gd name="connsiteX314" fmla="*/ 180070 w 319548"/>
                <a:gd name="connsiteY314" fmla="*/ 29796 h 215911"/>
                <a:gd name="connsiteX315" fmla="*/ 179638 w 319548"/>
                <a:gd name="connsiteY315" fmla="*/ 36705 h 215911"/>
                <a:gd name="connsiteX316" fmla="*/ 180070 w 319548"/>
                <a:gd name="connsiteY316" fmla="*/ 43614 h 215911"/>
                <a:gd name="connsiteX317" fmla="*/ 177911 w 319548"/>
                <a:gd name="connsiteY317" fmla="*/ 53978 h 215911"/>
                <a:gd name="connsiteX318" fmla="*/ 176615 w 319548"/>
                <a:gd name="connsiteY318" fmla="*/ 60455 h 215911"/>
                <a:gd name="connsiteX319" fmla="*/ 174888 w 319548"/>
                <a:gd name="connsiteY319" fmla="*/ 70387 h 215911"/>
                <a:gd name="connsiteX320" fmla="*/ 172297 w 319548"/>
                <a:gd name="connsiteY320" fmla="*/ 83773 h 215911"/>
                <a:gd name="connsiteX321" fmla="*/ 171433 w 319548"/>
                <a:gd name="connsiteY321" fmla="*/ 87228 h 215911"/>
                <a:gd name="connsiteX322" fmla="*/ 171002 w 319548"/>
                <a:gd name="connsiteY322" fmla="*/ 88955 h 215911"/>
                <a:gd name="connsiteX323" fmla="*/ 170138 w 319548"/>
                <a:gd name="connsiteY323" fmla="*/ 94569 h 215911"/>
                <a:gd name="connsiteX324" fmla="*/ 169274 w 319548"/>
                <a:gd name="connsiteY324" fmla="*/ 103205 h 215911"/>
                <a:gd name="connsiteX325" fmla="*/ 167547 w 319548"/>
                <a:gd name="connsiteY325" fmla="*/ 115728 h 215911"/>
                <a:gd name="connsiteX326" fmla="*/ 167547 w 319548"/>
                <a:gd name="connsiteY326" fmla="*/ 117887 h 215911"/>
                <a:gd name="connsiteX327" fmla="*/ 165820 w 319548"/>
                <a:gd name="connsiteY327" fmla="*/ 132569 h 215911"/>
                <a:gd name="connsiteX328" fmla="*/ 165820 w 319548"/>
                <a:gd name="connsiteY328" fmla="*/ 139047 h 215911"/>
                <a:gd name="connsiteX329" fmla="*/ 165388 w 319548"/>
                <a:gd name="connsiteY329" fmla="*/ 144229 h 215911"/>
                <a:gd name="connsiteX330" fmla="*/ 165820 w 319548"/>
                <a:gd name="connsiteY330" fmla="*/ 146388 h 215911"/>
                <a:gd name="connsiteX331" fmla="*/ 170570 w 319548"/>
                <a:gd name="connsiteY331" fmla="*/ 141638 h 215911"/>
                <a:gd name="connsiteX332" fmla="*/ 177479 w 319548"/>
                <a:gd name="connsiteY332" fmla="*/ 132569 h 215911"/>
                <a:gd name="connsiteX333" fmla="*/ 183524 w 319548"/>
                <a:gd name="connsiteY333" fmla="*/ 122206 h 215911"/>
                <a:gd name="connsiteX334" fmla="*/ 187411 w 319548"/>
                <a:gd name="connsiteY334" fmla="*/ 117024 h 215911"/>
                <a:gd name="connsiteX335" fmla="*/ 190002 w 319548"/>
                <a:gd name="connsiteY335" fmla="*/ 113569 h 215911"/>
                <a:gd name="connsiteX336" fmla="*/ 191297 w 319548"/>
                <a:gd name="connsiteY336" fmla="*/ 112705 h 215911"/>
                <a:gd name="connsiteX337" fmla="*/ 201229 w 319548"/>
                <a:gd name="connsiteY337" fmla="*/ 98024 h 215911"/>
                <a:gd name="connsiteX338" fmla="*/ 205547 w 319548"/>
                <a:gd name="connsiteY338" fmla="*/ 91546 h 215911"/>
                <a:gd name="connsiteX339" fmla="*/ 210297 w 319548"/>
                <a:gd name="connsiteY339" fmla="*/ 87228 h 215911"/>
                <a:gd name="connsiteX340" fmla="*/ 211161 w 319548"/>
                <a:gd name="connsiteY340" fmla="*/ 86796 h 215911"/>
                <a:gd name="connsiteX341" fmla="*/ 212888 w 319548"/>
                <a:gd name="connsiteY341" fmla="*/ 87660 h 215911"/>
                <a:gd name="connsiteX342" fmla="*/ 214184 w 319548"/>
                <a:gd name="connsiteY342" fmla="*/ 87228 h 215911"/>
                <a:gd name="connsiteX343" fmla="*/ 213320 w 319548"/>
                <a:gd name="connsiteY343" fmla="*/ 86364 h 215911"/>
                <a:gd name="connsiteX344" fmla="*/ 212888 w 319548"/>
                <a:gd name="connsiteY344" fmla="*/ 85069 h 215911"/>
                <a:gd name="connsiteX345" fmla="*/ 213320 w 319548"/>
                <a:gd name="connsiteY345" fmla="*/ 83773 h 215911"/>
                <a:gd name="connsiteX346" fmla="*/ 215479 w 319548"/>
                <a:gd name="connsiteY346" fmla="*/ 80319 h 215911"/>
                <a:gd name="connsiteX347" fmla="*/ 220661 w 319548"/>
                <a:gd name="connsiteY347" fmla="*/ 71682 h 215911"/>
                <a:gd name="connsiteX348" fmla="*/ 225411 w 319548"/>
                <a:gd name="connsiteY348" fmla="*/ 65205 h 215911"/>
                <a:gd name="connsiteX349" fmla="*/ 244411 w 319548"/>
                <a:gd name="connsiteY349" fmla="*/ 47932 h 215911"/>
                <a:gd name="connsiteX350" fmla="*/ 256070 w 319548"/>
                <a:gd name="connsiteY350" fmla="*/ 40159 h 215911"/>
                <a:gd name="connsiteX351" fmla="*/ 269889 w 319548"/>
                <a:gd name="connsiteY351" fmla="*/ 37137 h 215911"/>
                <a:gd name="connsiteX352" fmla="*/ 273343 w 319548"/>
                <a:gd name="connsiteY352" fmla="*/ 36705 h 215911"/>
                <a:gd name="connsiteX353" fmla="*/ 275071 w 319548"/>
                <a:gd name="connsiteY353" fmla="*/ 36705 h 215911"/>
                <a:gd name="connsiteX354" fmla="*/ 281116 w 319548"/>
                <a:gd name="connsiteY354" fmla="*/ 39728 h 215911"/>
                <a:gd name="connsiteX355" fmla="*/ 285866 w 319548"/>
                <a:gd name="connsiteY355" fmla="*/ 41887 h 215911"/>
                <a:gd name="connsiteX356" fmla="*/ 289321 w 319548"/>
                <a:gd name="connsiteY356" fmla="*/ 47932 h 215911"/>
                <a:gd name="connsiteX357" fmla="*/ 290185 w 319548"/>
                <a:gd name="connsiteY357" fmla="*/ 50091 h 215911"/>
                <a:gd name="connsiteX358" fmla="*/ 290616 w 319548"/>
                <a:gd name="connsiteY358" fmla="*/ 59160 h 215911"/>
                <a:gd name="connsiteX359" fmla="*/ 290185 w 319548"/>
                <a:gd name="connsiteY359" fmla="*/ 67796 h 215911"/>
                <a:gd name="connsiteX360" fmla="*/ 289321 w 319548"/>
                <a:gd name="connsiteY360" fmla="*/ 76864 h 215911"/>
                <a:gd name="connsiteX361" fmla="*/ 288025 w 319548"/>
                <a:gd name="connsiteY361" fmla="*/ 88092 h 215911"/>
                <a:gd name="connsiteX362" fmla="*/ 288025 w 319548"/>
                <a:gd name="connsiteY362" fmla="*/ 91546 h 215911"/>
                <a:gd name="connsiteX363" fmla="*/ 288025 w 319548"/>
                <a:gd name="connsiteY363" fmla="*/ 92842 h 215911"/>
                <a:gd name="connsiteX364" fmla="*/ 287594 w 319548"/>
                <a:gd name="connsiteY364" fmla="*/ 107524 h 215911"/>
                <a:gd name="connsiteX365" fmla="*/ 293639 w 319548"/>
                <a:gd name="connsiteY365" fmla="*/ 128251 h 215911"/>
                <a:gd name="connsiteX366" fmla="*/ 296662 w 319548"/>
                <a:gd name="connsiteY366" fmla="*/ 132137 h 215911"/>
                <a:gd name="connsiteX367" fmla="*/ 300548 w 319548"/>
                <a:gd name="connsiteY367" fmla="*/ 133865 h 215911"/>
                <a:gd name="connsiteX368" fmla="*/ 301844 w 319548"/>
                <a:gd name="connsiteY368" fmla="*/ 133865 h 215911"/>
                <a:gd name="connsiteX369" fmla="*/ 304003 w 319548"/>
                <a:gd name="connsiteY369" fmla="*/ 133433 h 215911"/>
                <a:gd name="connsiteX370" fmla="*/ 314366 w 319548"/>
                <a:gd name="connsiteY370" fmla="*/ 127819 h 215911"/>
                <a:gd name="connsiteX371" fmla="*/ 317389 w 319548"/>
                <a:gd name="connsiteY371" fmla="*/ 127388 h 215911"/>
                <a:gd name="connsiteX372" fmla="*/ 319980 w 319548"/>
                <a:gd name="connsiteY372" fmla="*/ 127819 h 215911"/>
                <a:gd name="connsiteX373" fmla="*/ 322571 w 319548"/>
                <a:gd name="connsiteY373" fmla="*/ 129978 h 215911"/>
                <a:gd name="connsiteX374" fmla="*/ 324298 w 319548"/>
                <a:gd name="connsiteY374" fmla="*/ 133001 h 215911"/>
                <a:gd name="connsiteX375" fmla="*/ 324298 w 319548"/>
                <a:gd name="connsiteY375" fmla="*/ 134297 h 215911"/>
                <a:gd name="connsiteX376" fmla="*/ 324730 w 319548"/>
                <a:gd name="connsiteY376" fmla="*/ 137319 h 215911"/>
                <a:gd name="connsiteX377" fmla="*/ 53546 w 319548"/>
                <a:gd name="connsiteY377" fmla="*/ 128683 h 215911"/>
                <a:gd name="connsiteX378" fmla="*/ 53546 w 319548"/>
                <a:gd name="connsiteY378" fmla="*/ 127388 h 215911"/>
                <a:gd name="connsiteX379" fmla="*/ 53114 w 319548"/>
                <a:gd name="connsiteY379" fmla="*/ 127388 h 215911"/>
                <a:gd name="connsiteX380" fmla="*/ 51387 w 319548"/>
                <a:gd name="connsiteY380" fmla="*/ 129547 h 215911"/>
                <a:gd name="connsiteX381" fmla="*/ 53114 w 319548"/>
                <a:gd name="connsiteY381" fmla="*/ 129978 h 215911"/>
                <a:gd name="connsiteX382" fmla="*/ 53546 w 319548"/>
                <a:gd name="connsiteY382" fmla="*/ 128683 h 215911"/>
                <a:gd name="connsiteX383" fmla="*/ 60023 w 319548"/>
                <a:gd name="connsiteY383" fmla="*/ 116160 h 215911"/>
                <a:gd name="connsiteX384" fmla="*/ 56137 w 319548"/>
                <a:gd name="connsiteY384" fmla="*/ 120910 h 215911"/>
                <a:gd name="connsiteX385" fmla="*/ 55705 w 319548"/>
                <a:gd name="connsiteY385" fmla="*/ 123069 h 215911"/>
                <a:gd name="connsiteX386" fmla="*/ 56137 w 319548"/>
                <a:gd name="connsiteY386" fmla="*/ 123501 h 215911"/>
                <a:gd name="connsiteX387" fmla="*/ 57432 w 319548"/>
                <a:gd name="connsiteY387" fmla="*/ 121342 h 215911"/>
                <a:gd name="connsiteX388" fmla="*/ 59591 w 319548"/>
                <a:gd name="connsiteY388" fmla="*/ 118319 h 215911"/>
                <a:gd name="connsiteX389" fmla="*/ 60455 w 319548"/>
                <a:gd name="connsiteY389" fmla="*/ 117024 h 215911"/>
                <a:gd name="connsiteX390" fmla="*/ 60023 w 319548"/>
                <a:gd name="connsiteY390" fmla="*/ 116160 h 215911"/>
                <a:gd name="connsiteX391" fmla="*/ 57001 w 319548"/>
                <a:gd name="connsiteY391" fmla="*/ 165388 h 215911"/>
                <a:gd name="connsiteX392" fmla="*/ 58296 w 319548"/>
                <a:gd name="connsiteY392" fmla="*/ 164092 h 215911"/>
                <a:gd name="connsiteX393" fmla="*/ 57864 w 319548"/>
                <a:gd name="connsiteY393" fmla="*/ 166252 h 215911"/>
                <a:gd name="connsiteX394" fmla="*/ 57432 w 319548"/>
                <a:gd name="connsiteY394" fmla="*/ 165820 h 215911"/>
                <a:gd name="connsiteX395" fmla="*/ 57001 w 319548"/>
                <a:gd name="connsiteY395" fmla="*/ 165388 h 215911"/>
                <a:gd name="connsiteX396" fmla="*/ 60455 w 319548"/>
                <a:gd name="connsiteY396" fmla="*/ 155888 h 215911"/>
                <a:gd name="connsiteX397" fmla="*/ 61319 w 319548"/>
                <a:gd name="connsiteY397" fmla="*/ 156320 h 215911"/>
                <a:gd name="connsiteX398" fmla="*/ 60455 w 319548"/>
                <a:gd name="connsiteY398" fmla="*/ 157615 h 215911"/>
                <a:gd name="connsiteX399" fmla="*/ 60455 w 319548"/>
                <a:gd name="connsiteY399" fmla="*/ 155888 h 215911"/>
                <a:gd name="connsiteX400" fmla="*/ 70387 w 319548"/>
                <a:gd name="connsiteY400" fmla="*/ 95864 h 215911"/>
                <a:gd name="connsiteX401" fmla="*/ 70819 w 319548"/>
                <a:gd name="connsiteY401" fmla="*/ 95864 h 215911"/>
                <a:gd name="connsiteX402" fmla="*/ 69092 w 319548"/>
                <a:gd name="connsiteY402" fmla="*/ 96728 h 215911"/>
                <a:gd name="connsiteX403" fmla="*/ 70387 w 319548"/>
                <a:gd name="connsiteY403" fmla="*/ 95864 h 215911"/>
                <a:gd name="connsiteX404" fmla="*/ 70819 w 319548"/>
                <a:gd name="connsiteY404" fmla="*/ 95864 h 215911"/>
                <a:gd name="connsiteX405" fmla="*/ 70819 w 319548"/>
                <a:gd name="connsiteY405" fmla="*/ 93705 h 215911"/>
                <a:gd name="connsiteX406" fmla="*/ 72114 w 319548"/>
                <a:gd name="connsiteY406" fmla="*/ 93705 h 215911"/>
                <a:gd name="connsiteX407" fmla="*/ 72546 w 319548"/>
                <a:gd name="connsiteY407" fmla="*/ 94137 h 215911"/>
                <a:gd name="connsiteX408" fmla="*/ 70819 w 319548"/>
                <a:gd name="connsiteY408" fmla="*/ 95864 h 215911"/>
                <a:gd name="connsiteX409" fmla="*/ 74273 w 319548"/>
                <a:gd name="connsiteY409" fmla="*/ 134297 h 215911"/>
                <a:gd name="connsiteX410" fmla="*/ 73842 w 319548"/>
                <a:gd name="connsiteY410" fmla="*/ 133433 h 215911"/>
                <a:gd name="connsiteX411" fmla="*/ 72978 w 319548"/>
                <a:gd name="connsiteY411" fmla="*/ 133865 h 215911"/>
                <a:gd name="connsiteX412" fmla="*/ 73842 w 319548"/>
                <a:gd name="connsiteY412" fmla="*/ 134297 h 215911"/>
                <a:gd name="connsiteX413" fmla="*/ 74273 w 319548"/>
                <a:gd name="connsiteY413" fmla="*/ 134297 h 215911"/>
                <a:gd name="connsiteX414" fmla="*/ 120478 w 319548"/>
                <a:gd name="connsiteY414" fmla="*/ 34546 h 215911"/>
                <a:gd name="connsiteX415" fmla="*/ 121342 w 319548"/>
                <a:gd name="connsiteY415" fmla="*/ 34546 h 215911"/>
                <a:gd name="connsiteX416" fmla="*/ 122206 w 319548"/>
                <a:gd name="connsiteY416" fmla="*/ 34114 h 215911"/>
                <a:gd name="connsiteX417" fmla="*/ 121774 w 319548"/>
                <a:gd name="connsiteY417" fmla="*/ 35409 h 215911"/>
                <a:gd name="connsiteX418" fmla="*/ 119615 w 319548"/>
                <a:gd name="connsiteY418" fmla="*/ 38432 h 215911"/>
                <a:gd name="connsiteX419" fmla="*/ 117024 w 319548"/>
                <a:gd name="connsiteY419" fmla="*/ 39296 h 215911"/>
                <a:gd name="connsiteX420" fmla="*/ 120478 w 319548"/>
                <a:gd name="connsiteY420" fmla="*/ 34546 h 215911"/>
                <a:gd name="connsiteX421" fmla="*/ 125228 w 319548"/>
                <a:gd name="connsiteY421" fmla="*/ 31523 h 215911"/>
                <a:gd name="connsiteX422" fmla="*/ 124365 w 319548"/>
                <a:gd name="connsiteY422" fmla="*/ 32387 h 215911"/>
                <a:gd name="connsiteX423" fmla="*/ 123501 w 319548"/>
                <a:gd name="connsiteY423" fmla="*/ 33250 h 215911"/>
                <a:gd name="connsiteX424" fmla="*/ 122637 w 319548"/>
                <a:gd name="connsiteY424" fmla="*/ 34114 h 215911"/>
                <a:gd name="connsiteX425" fmla="*/ 122206 w 319548"/>
                <a:gd name="connsiteY425" fmla="*/ 34114 h 215911"/>
                <a:gd name="connsiteX426" fmla="*/ 125228 w 319548"/>
                <a:gd name="connsiteY426" fmla="*/ 31523 h 215911"/>
                <a:gd name="connsiteX427" fmla="*/ 136888 w 319548"/>
                <a:gd name="connsiteY427" fmla="*/ 21159 h 215911"/>
                <a:gd name="connsiteX428" fmla="*/ 142069 w 319548"/>
                <a:gd name="connsiteY428" fmla="*/ 17273 h 215911"/>
                <a:gd name="connsiteX429" fmla="*/ 142501 w 319548"/>
                <a:gd name="connsiteY429" fmla="*/ 16841 h 215911"/>
                <a:gd name="connsiteX430" fmla="*/ 144229 w 319548"/>
                <a:gd name="connsiteY430" fmla="*/ 17273 h 215911"/>
                <a:gd name="connsiteX431" fmla="*/ 144229 w 319548"/>
                <a:gd name="connsiteY431" fmla="*/ 17705 h 215911"/>
                <a:gd name="connsiteX432" fmla="*/ 143365 w 319548"/>
                <a:gd name="connsiteY432" fmla="*/ 18568 h 215911"/>
                <a:gd name="connsiteX433" fmla="*/ 138183 w 319548"/>
                <a:gd name="connsiteY433" fmla="*/ 21159 h 215911"/>
                <a:gd name="connsiteX434" fmla="*/ 136888 w 319548"/>
                <a:gd name="connsiteY434" fmla="*/ 21159 h 215911"/>
                <a:gd name="connsiteX435" fmla="*/ 146388 w 319548"/>
                <a:gd name="connsiteY435" fmla="*/ 15977 h 215911"/>
                <a:gd name="connsiteX436" fmla="*/ 146388 w 319548"/>
                <a:gd name="connsiteY436" fmla="*/ 16409 h 215911"/>
                <a:gd name="connsiteX437" fmla="*/ 145524 w 319548"/>
                <a:gd name="connsiteY437" fmla="*/ 16409 h 215911"/>
                <a:gd name="connsiteX438" fmla="*/ 144660 w 319548"/>
                <a:gd name="connsiteY438" fmla="*/ 17273 h 215911"/>
                <a:gd name="connsiteX439" fmla="*/ 144229 w 319548"/>
                <a:gd name="connsiteY439" fmla="*/ 17273 h 215911"/>
                <a:gd name="connsiteX440" fmla="*/ 145092 w 319548"/>
                <a:gd name="connsiteY440" fmla="*/ 16409 h 215911"/>
                <a:gd name="connsiteX441" fmla="*/ 145524 w 319548"/>
                <a:gd name="connsiteY441" fmla="*/ 16409 h 215911"/>
                <a:gd name="connsiteX442" fmla="*/ 146388 w 319548"/>
                <a:gd name="connsiteY442" fmla="*/ 15977 h 215911"/>
                <a:gd name="connsiteX443" fmla="*/ 209002 w 319548"/>
                <a:gd name="connsiteY443" fmla="*/ 130410 h 215911"/>
                <a:gd name="connsiteX444" fmla="*/ 208570 w 319548"/>
                <a:gd name="connsiteY444" fmla="*/ 129978 h 215911"/>
                <a:gd name="connsiteX445" fmla="*/ 208570 w 319548"/>
                <a:gd name="connsiteY445" fmla="*/ 130842 h 215911"/>
                <a:gd name="connsiteX446" fmla="*/ 209002 w 319548"/>
                <a:gd name="connsiteY446" fmla="*/ 130410 h 215911"/>
                <a:gd name="connsiteX447" fmla="*/ 215911 w 319548"/>
                <a:gd name="connsiteY447" fmla="*/ 120046 h 215911"/>
                <a:gd name="connsiteX448" fmla="*/ 215479 w 319548"/>
                <a:gd name="connsiteY448" fmla="*/ 120478 h 215911"/>
                <a:gd name="connsiteX449" fmla="*/ 215479 w 319548"/>
                <a:gd name="connsiteY449" fmla="*/ 120046 h 215911"/>
                <a:gd name="connsiteX450" fmla="*/ 215479 w 319548"/>
                <a:gd name="connsiteY450" fmla="*/ 119615 h 215911"/>
                <a:gd name="connsiteX451" fmla="*/ 215911 w 319548"/>
                <a:gd name="connsiteY451" fmla="*/ 120046 h 21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</a:cxnLst>
              <a:rect l="l" t="t" r="r" b="b"/>
              <a:pathLst>
                <a:path w="319548" h="215911">
                  <a:moveTo>
                    <a:pt x="324730" y="137319"/>
                  </a:moveTo>
                  <a:cubicBezTo>
                    <a:pt x="324730" y="139478"/>
                    <a:pt x="324298" y="141638"/>
                    <a:pt x="323003" y="143365"/>
                  </a:cubicBezTo>
                  <a:cubicBezTo>
                    <a:pt x="321276" y="144660"/>
                    <a:pt x="319548" y="145956"/>
                    <a:pt x="317389" y="146820"/>
                  </a:cubicBezTo>
                  <a:cubicBezTo>
                    <a:pt x="316094" y="147251"/>
                    <a:pt x="314798" y="148979"/>
                    <a:pt x="312207" y="150274"/>
                  </a:cubicBezTo>
                  <a:cubicBezTo>
                    <a:pt x="311776" y="150706"/>
                    <a:pt x="311344" y="151569"/>
                    <a:pt x="310480" y="151569"/>
                  </a:cubicBezTo>
                  <a:cubicBezTo>
                    <a:pt x="310048" y="152001"/>
                    <a:pt x="309185" y="152433"/>
                    <a:pt x="309185" y="152865"/>
                  </a:cubicBezTo>
                  <a:cubicBezTo>
                    <a:pt x="309185" y="155024"/>
                    <a:pt x="307889" y="156751"/>
                    <a:pt x="305730" y="157183"/>
                  </a:cubicBezTo>
                  <a:lnTo>
                    <a:pt x="302707" y="159774"/>
                  </a:lnTo>
                  <a:cubicBezTo>
                    <a:pt x="301844" y="160206"/>
                    <a:pt x="301844" y="160206"/>
                    <a:pt x="300980" y="160206"/>
                  </a:cubicBezTo>
                  <a:cubicBezTo>
                    <a:pt x="300116" y="160206"/>
                    <a:pt x="299253" y="160206"/>
                    <a:pt x="297957" y="159774"/>
                  </a:cubicBezTo>
                  <a:cubicBezTo>
                    <a:pt x="294503" y="159774"/>
                    <a:pt x="291912" y="157183"/>
                    <a:pt x="288025" y="156751"/>
                  </a:cubicBezTo>
                  <a:lnTo>
                    <a:pt x="284571" y="154592"/>
                  </a:lnTo>
                  <a:cubicBezTo>
                    <a:pt x="281980" y="152865"/>
                    <a:pt x="279821" y="150706"/>
                    <a:pt x="277662" y="149842"/>
                  </a:cubicBezTo>
                  <a:cubicBezTo>
                    <a:pt x="270321" y="145524"/>
                    <a:pt x="265571" y="138183"/>
                    <a:pt x="262116" y="131706"/>
                  </a:cubicBezTo>
                  <a:cubicBezTo>
                    <a:pt x="260821" y="126524"/>
                    <a:pt x="259525" y="122637"/>
                    <a:pt x="259525" y="117887"/>
                  </a:cubicBezTo>
                  <a:cubicBezTo>
                    <a:pt x="259525" y="113569"/>
                    <a:pt x="259525" y="110546"/>
                    <a:pt x="259093" y="106228"/>
                  </a:cubicBezTo>
                  <a:cubicBezTo>
                    <a:pt x="259093" y="104933"/>
                    <a:pt x="259093" y="104069"/>
                    <a:pt x="259093" y="102774"/>
                  </a:cubicBezTo>
                  <a:cubicBezTo>
                    <a:pt x="259093" y="98024"/>
                    <a:pt x="259525" y="93705"/>
                    <a:pt x="259957" y="88955"/>
                  </a:cubicBezTo>
                  <a:lnTo>
                    <a:pt x="259957" y="87660"/>
                  </a:lnTo>
                  <a:cubicBezTo>
                    <a:pt x="259957" y="83773"/>
                    <a:pt x="260821" y="80751"/>
                    <a:pt x="261252" y="77296"/>
                  </a:cubicBezTo>
                  <a:cubicBezTo>
                    <a:pt x="261252" y="76432"/>
                    <a:pt x="261252" y="76001"/>
                    <a:pt x="261252" y="75569"/>
                  </a:cubicBezTo>
                  <a:cubicBezTo>
                    <a:pt x="261252" y="73410"/>
                    <a:pt x="260821" y="71251"/>
                    <a:pt x="259093" y="69092"/>
                  </a:cubicBezTo>
                  <a:cubicBezTo>
                    <a:pt x="259093" y="68660"/>
                    <a:pt x="259093" y="68228"/>
                    <a:pt x="258661" y="68228"/>
                  </a:cubicBezTo>
                  <a:lnTo>
                    <a:pt x="258230" y="68228"/>
                  </a:lnTo>
                  <a:cubicBezTo>
                    <a:pt x="257366" y="69092"/>
                    <a:pt x="256070" y="69523"/>
                    <a:pt x="255639" y="70819"/>
                  </a:cubicBezTo>
                  <a:cubicBezTo>
                    <a:pt x="254343" y="72546"/>
                    <a:pt x="250889" y="74705"/>
                    <a:pt x="250025" y="77296"/>
                  </a:cubicBezTo>
                  <a:cubicBezTo>
                    <a:pt x="250025" y="78160"/>
                    <a:pt x="249593" y="78592"/>
                    <a:pt x="248730" y="78592"/>
                  </a:cubicBezTo>
                  <a:cubicBezTo>
                    <a:pt x="247002" y="79023"/>
                    <a:pt x="246570" y="80751"/>
                    <a:pt x="244411" y="82046"/>
                  </a:cubicBezTo>
                  <a:cubicBezTo>
                    <a:pt x="243980" y="82478"/>
                    <a:pt x="243980" y="82910"/>
                    <a:pt x="243548" y="82910"/>
                  </a:cubicBezTo>
                  <a:lnTo>
                    <a:pt x="243116" y="82910"/>
                  </a:lnTo>
                  <a:cubicBezTo>
                    <a:pt x="242684" y="82910"/>
                    <a:pt x="242252" y="82046"/>
                    <a:pt x="241820" y="82046"/>
                  </a:cubicBezTo>
                  <a:lnTo>
                    <a:pt x="241389" y="82478"/>
                  </a:lnTo>
                  <a:cubicBezTo>
                    <a:pt x="240525" y="83342"/>
                    <a:pt x="240957" y="84205"/>
                    <a:pt x="240525" y="85069"/>
                  </a:cubicBezTo>
                  <a:cubicBezTo>
                    <a:pt x="239661" y="87228"/>
                    <a:pt x="237934" y="88524"/>
                    <a:pt x="236207" y="88955"/>
                  </a:cubicBezTo>
                  <a:cubicBezTo>
                    <a:pt x="235775" y="88955"/>
                    <a:pt x="235343" y="89387"/>
                    <a:pt x="235343" y="89819"/>
                  </a:cubicBezTo>
                  <a:cubicBezTo>
                    <a:pt x="235343" y="90251"/>
                    <a:pt x="235343" y="90251"/>
                    <a:pt x="235775" y="91114"/>
                  </a:cubicBezTo>
                  <a:lnTo>
                    <a:pt x="235775" y="91546"/>
                  </a:lnTo>
                  <a:cubicBezTo>
                    <a:pt x="235775" y="91978"/>
                    <a:pt x="235343" y="92410"/>
                    <a:pt x="234048" y="92410"/>
                  </a:cubicBezTo>
                  <a:cubicBezTo>
                    <a:pt x="233616" y="92410"/>
                    <a:pt x="233616" y="92410"/>
                    <a:pt x="233616" y="92410"/>
                  </a:cubicBezTo>
                  <a:cubicBezTo>
                    <a:pt x="233184" y="92410"/>
                    <a:pt x="232752" y="92842"/>
                    <a:pt x="232752" y="93273"/>
                  </a:cubicBezTo>
                  <a:cubicBezTo>
                    <a:pt x="231889" y="94569"/>
                    <a:pt x="231889" y="95001"/>
                    <a:pt x="231889" y="95433"/>
                  </a:cubicBezTo>
                  <a:cubicBezTo>
                    <a:pt x="232320" y="95864"/>
                    <a:pt x="232320" y="95864"/>
                    <a:pt x="232320" y="96296"/>
                  </a:cubicBezTo>
                  <a:cubicBezTo>
                    <a:pt x="232320" y="97160"/>
                    <a:pt x="231457" y="98024"/>
                    <a:pt x="231025" y="98455"/>
                  </a:cubicBezTo>
                  <a:cubicBezTo>
                    <a:pt x="230161" y="98887"/>
                    <a:pt x="229729" y="99751"/>
                    <a:pt x="229729" y="101478"/>
                  </a:cubicBezTo>
                  <a:cubicBezTo>
                    <a:pt x="229729" y="101910"/>
                    <a:pt x="229729" y="102342"/>
                    <a:pt x="229729" y="102774"/>
                  </a:cubicBezTo>
                  <a:cubicBezTo>
                    <a:pt x="227138" y="104501"/>
                    <a:pt x="225411" y="105796"/>
                    <a:pt x="224548" y="107524"/>
                  </a:cubicBezTo>
                  <a:cubicBezTo>
                    <a:pt x="224548" y="109251"/>
                    <a:pt x="223684" y="110115"/>
                    <a:pt x="223252" y="110978"/>
                  </a:cubicBezTo>
                  <a:lnTo>
                    <a:pt x="221525" y="113137"/>
                  </a:lnTo>
                  <a:cubicBezTo>
                    <a:pt x="220661" y="113137"/>
                    <a:pt x="218934" y="113137"/>
                    <a:pt x="218934" y="114433"/>
                  </a:cubicBezTo>
                  <a:cubicBezTo>
                    <a:pt x="218934" y="116592"/>
                    <a:pt x="217207" y="117024"/>
                    <a:pt x="215479" y="117024"/>
                  </a:cubicBezTo>
                  <a:cubicBezTo>
                    <a:pt x="214616" y="117024"/>
                    <a:pt x="214184" y="117887"/>
                    <a:pt x="214184" y="117887"/>
                  </a:cubicBezTo>
                  <a:cubicBezTo>
                    <a:pt x="212456" y="119183"/>
                    <a:pt x="211593" y="120478"/>
                    <a:pt x="211161" y="121774"/>
                  </a:cubicBezTo>
                  <a:lnTo>
                    <a:pt x="211161" y="122206"/>
                  </a:lnTo>
                  <a:lnTo>
                    <a:pt x="213320" y="122206"/>
                  </a:lnTo>
                  <a:cubicBezTo>
                    <a:pt x="213320" y="122206"/>
                    <a:pt x="214184" y="122206"/>
                    <a:pt x="214184" y="122637"/>
                  </a:cubicBezTo>
                  <a:cubicBezTo>
                    <a:pt x="211593" y="125228"/>
                    <a:pt x="211593" y="129115"/>
                    <a:pt x="209866" y="132137"/>
                  </a:cubicBezTo>
                  <a:cubicBezTo>
                    <a:pt x="208570" y="134728"/>
                    <a:pt x="205116" y="137319"/>
                    <a:pt x="202956" y="138615"/>
                  </a:cubicBezTo>
                  <a:cubicBezTo>
                    <a:pt x="202093" y="139047"/>
                    <a:pt x="201229" y="140342"/>
                    <a:pt x="201229" y="142069"/>
                  </a:cubicBezTo>
                  <a:lnTo>
                    <a:pt x="199934" y="145956"/>
                  </a:lnTo>
                  <a:cubicBezTo>
                    <a:pt x="198638" y="146820"/>
                    <a:pt x="198206" y="148547"/>
                    <a:pt x="197775" y="148979"/>
                  </a:cubicBezTo>
                  <a:cubicBezTo>
                    <a:pt x="195615" y="152865"/>
                    <a:pt x="194320" y="158047"/>
                    <a:pt x="190865" y="159774"/>
                  </a:cubicBezTo>
                  <a:cubicBezTo>
                    <a:pt x="190434" y="160206"/>
                    <a:pt x="190002" y="160638"/>
                    <a:pt x="190002" y="161501"/>
                  </a:cubicBezTo>
                  <a:cubicBezTo>
                    <a:pt x="189570" y="161501"/>
                    <a:pt x="189570" y="161933"/>
                    <a:pt x="189570" y="161933"/>
                  </a:cubicBezTo>
                  <a:cubicBezTo>
                    <a:pt x="189570" y="162365"/>
                    <a:pt x="189570" y="162365"/>
                    <a:pt x="189570" y="162365"/>
                  </a:cubicBezTo>
                  <a:cubicBezTo>
                    <a:pt x="186115" y="165388"/>
                    <a:pt x="185252" y="168842"/>
                    <a:pt x="182661" y="172729"/>
                  </a:cubicBezTo>
                  <a:lnTo>
                    <a:pt x="181365" y="174456"/>
                  </a:lnTo>
                  <a:cubicBezTo>
                    <a:pt x="180502" y="177911"/>
                    <a:pt x="178343" y="180933"/>
                    <a:pt x="175320" y="183524"/>
                  </a:cubicBezTo>
                  <a:cubicBezTo>
                    <a:pt x="174456" y="184388"/>
                    <a:pt x="174024" y="185684"/>
                    <a:pt x="174024" y="187411"/>
                  </a:cubicBezTo>
                  <a:cubicBezTo>
                    <a:pt x="174024" y="190002"/>
                    <a:pt x="173161" y="191297"/>
                    <a:pt x="171002" y="192161"/>
                  </a:cubicBezTo>
                  <a:cubicBezTo>
                    <a:pt x="169274" y="192593"/>
                    <a:pt x="168411" y="193456"/>
                    <a:pt x="167547" y="193888"/>
                  </a:cubicBezTo>
                  <a:cubicBezTo>
                    <a:pt x="167115" y="194320"/>
                    <a:pt x="166252" y="194320"/>
                    <a:pt x="165820" y="194320"/>
                  </a:cubicBezTo>
                  <a:cubicBezTo>
                    <a:pt x="164524" y="194320"/>
                    <a:pt x="163229" y="193456"/>
                    <a:pt x="161933" y="192161"/>
                  </a:cubicBezTo>
                  <a:cubicBezTo>
                    <a:pt x="159342" y="189570"/>
                    <a:pt x="155888" y="187411"/>
                    <a:pt x="152433" y="183956"/>
                  </a:cubicBezTo>
                  <a:cubicBezTo>
                    <a:pt x="152001" y="183093"/>
                    <a:pt x="149842" y="182229"/>
                    <a:pt x="149410" y="182229"/>
                  </a:cubicBezTo>
                  <a:cubicBezTo>
                    <a:pt x="145956" y="180502"/>
                    <a:pt x="144229" y="177911"/>
                    <a:pt x="142933" y="176183"/>
                  </a:cubicBezTo>
                  <a:cubicBezTo>
                    <a:pt x="141638" y="175752"/>
                    <a:pt x="141638" y="175320"/>
                    <a:pt x="141206" y="174024"/>
                  </a:cubicBezTo>
                  <a:lnTo>
                    <a:pt x="139910" y="170570"/>
                  </a:lnTo>
                  <a:cubicBezTo>
                    <a:pt x="138615" y="167115"/>
                    <a:pt x="139047" y="164524"/>
                    <a:pt x="138615" y="160638"/>
                  </a:cubicBezTo>
                  <a:lnTo>
                    <a:pt x="139479" y="142933"/>
                  </a:lnTo>
                  <a:cubicBezTo>
                    <a:pt x="139479" y="140342"/>
                    <a:pt x="139910" y="137751"/>
                    <a:pt x="139910" y="135592"/>
                  </a:cubicBezTo>
                  <a:cubicBezTo>
                    <a:pt x="140342" y="126524"/>
                    <a:pt x="141638" y="117887"/>
                    <a:pt x="142501" y="109683"/>
                  </a:cubicBezTo>
                  <a:lnTo>
                    <a:pt x="145956" y="91546"/>
                  </a:lnTo>
                  <a:lnTo>
                    <a:pt x="145956" y="90251"/>
                  </a:lnTo>
                  <a:cubicBezTo>
                    <a:pt x="145956" y="89387"/>
                    <a:pt x="145956" y="88524"/>
                    <a:pt x="145956" y="87660"/>
                  </a:cubicBezTo>
                  <a:cubicBezTo>
                    <a:pt x="145956" y="80751"/>
                    <a:pt x="147251" y="75137"/>
                    <a:pt x="148979" y="68228"/>
                  </a:cubicBezTo>
                  <a:cubicBezTo>
                    <a:pt x="149410" y="63478"/>
                    <a:pt x="150706" y="57864"/>
                    <a:pt x="152433" y="52250"/>
                  </a:cubicBezTo>
                  <a:cubicBezTo>
                    <a:pt x="152865" y="50523"/>
                    <a:pt x="152865" y="49660"/>
                    <a:pt x="152865" y="48364"/>
                  </a:cubicBezTo>
                  <a:cubicBezTo>
                    <a:pt x="152865" y="47932"/>
                    <a:pt x="152865" y="47069"/>
                    <a:pt x="152865" y="46637"/>
                  </a:cubicBezTo>
                  <a:cubicBezTo>
                    <a:pt x="152865" y="45341"/>
                    <a:pt x="152001" y="44478"/>
                    <a:pt x="151138" y="44478"/>
                  </a:cubicBezTo>
                  <a:lnTo>
                    <a:pt x="150706" y="44478"/>
                  </a:lnTo>
                  <a:cubicBezTo>
                    <a:pt x="149842" y="45341"/>
                    <a:pt x="149410" y="47069"/>
                    <a:pt x="148115" y="47069"/>
                  </a:cubicBezTo>
                  <a:cubicBezTo>
                    <a:pt x="146388" y="47069"/>
                    <a:pt x="145092" y="47500"/>
                    <a:pt x="144229" y="48364"/>
                  </a:cubicBezTo>
                  <a:lnTo>
                    <a:pt x="141206" y="52250"/>
                  </a:lnTo>
                  <a:cubicBezTo>
                    <a:pt x="140342" y="53114"/>
                    <a:pt x="139479" y="53114"/>
                    <a:pt x="139047" y="53978"/>
                  </a:cubicBezTo>
                  <a:cubicBezTo>
                    <a:pt x="137751" y="55273"/>
                    <a:pt x="135592" y="56569"/>
                    <a:pt x="134729" y="58296"/>
                  </a:cubicBezTo>
                  <a:cubicBezTo>
                    <a:pt x="131706" y="60455"/>
                    <a:pt x="129547" y="64773"/>
                    <a:pt x="125660" y="66501"/>
                  </a:cubicBezTo>
                  <a:cubicBezTo>
                    <a:pt x="124365" y="66932"/>
                    <a:pt x="123501" y="68228"/>
                    <a:pt x="122637" y="69523"/>
                  </a:cubicBezTo>
                  <a:cubicBezTo>
                    <a:pt x="120910" y="71682"/>
                    <a:pt x="120047" y="73410"/>
                    <a:pt x="117887" y="75137"/>
                  </a:cubicBezTo>
                  <a:cubicBezTo>
                    <a:pt x="116160" y="76001"/>
                    <a:pt x="115728" y="77728"/>
                    <a:pt x="114001" y="79455"/>
                  </a:cubicBezTo>
                  <a:cubicBezTo>
                    <a:pt x="113569" y="80751"/>
                    <a:pt x="112706" y="81614"/>
                    <a:pt x="110978" y="82046"/>
                  </a:cubicBezTo>
                  <a:cubicBezTo>
                    <a:pt x="110115" y="82910"/>
                    <a:pt x="109251" y="82910"/>
                    <a:pt x="109251" y="84637"/>
                  </a:cubicBezTo>
                  <a:cubicBezTo>
                    <a:pt x="109251" y="85069"/>
                    <a:pt x="109251" y="85501"/>
                    <a:pt x="109251" y="85933"/>
                  </a:cubicBezTo>
                  <a:lnTo>
                    <a:pt x="107524" y="88092"/>
                  </a:lnTo>
                  <a:cubicBezTo>
                    <a:pt x="103637" y="92410"/>
                    <a:pt x="99319" y="97160"/>
                    <a:pt x="96728" y="103637"/>
                  </a:cubicBezTo>
                  <a:cubicBezTo>
                    <a:pt x="95433" y="104501"/>
                    <a:pt x="93705" y="105365"/>
                    <a:pt x="92842" y="106660"/>
                  </a:cubicBezTo>
                  <a:cubicBezTo>
                    <a:pt x="92410" y="107524"/>
                    <a:pt x="92410" y="107524"/>
                    <a:pt x="91978" y="107524"/>
                  </a:cubicBezTo>
                  <a:cubicBezTo>
                    <a:pt x="91546" y="107524"/>
                    <a:pt x="91546" y="107524"/>
                    <a:pt x="91115" y="106660"/>
                  </a:cubicBezTo>
                  <a:cubicBezTo>
                    <a:pt x="90683" y="106228"/>
                    <a:pt x="90251" y="106228"/>
                    <a:pt x="89819" y="106228"/>
                  </a:cubicBezTo>
                  <a:cubicBezTo>
                    <a:pt x="89387" y="106228"/>
                    <a:pt x="88524" y="106228"/>
                    <a:pt x="88524" y="106660"/>
                  </a:cubicBezTo>
                  <a:cubicBezTo>
                    <a:pt x="88524" y="107524"/>
                    <a:pt x="88524" y="108387"/>
                    <a:pt x="88524" y="108819"/>
                  </a:cubicBezTo>
                  <a:cubicBezTo>
                    <a:pt x="88524" y="109251"/>
                    <a:pt x="88524" y="109683"/>
                    <a:pt x="88524" y="109683"/>
                  </a:cubicBezTo>
                  <a:cubicBezTo>
                    <a:pt x="88955" y="110546"/>
                    <a:pt x="89387" y="111410"/>
                    <a:pt x="89387" y="111842"/>
                  </a:cubicBezTo>
                  <a:cubicBezTo>
                    <a:pt x="89387" y="113137"/>
                    <a:pt x="88524" y="113569"/>
                    <a:pt x="87660" y="114865"/>
                  </a:cubicBezTo>
                  <a:cubicBezTo>
                    <a:pt x="86364" y="116592"/>
                    <a:pt x="85069" y="117456"/>
                    <a:pt x="82478" y="117887"/>
                  </a:cubicBezTo>
                  <a:cubicBezTo>
                    <a:pt x="81614" y="118751"/>
                    <a:pt x="80751" y="119183"/>
                    <a:pt x="80751" y="120046"/>
                  </a:cubicBezTo>
                  <a:cubicBezTo>
                    <a:pt x="80319" y="123501"/>
                    <a:pt x="78592" y="126092"/>
                    <a:pt x="76433" y="129115"/>
                  </a:cubicBezTo>
                  <a:cubicBezTo>
                    <a:pt x="76001" y="129547"/>
                    <a:pt x="75569" y="129978"/>
                    <a:pt x="75569" y="130842"/>
                  </a:cubicBezTo>
                  <a:cubicBezTo>
                    <a:pt x="75569" y="131274"/>
                    <a:pt x="75569" y="131274"/>
                    <a:pt x="75569" y="131706"/>
                  </a:cubicBezTo>
                  <a:cubicBezTo>
                    <a:pt x="75569" y="132137"/>
                    <a:pt x="76001" y="132569"/>
                    <a:pt x="76001" y="133001"/>
                  </a:cubicBezTo>
                  <a:cubicBezTo>
                    <a:pt x="76001" y="133433"/>
                    <a:pt x="75569" y="133865"/>
                    <a:pt x="75569" y="134297"/>
                  </a:cubicBezTo>
                  <a:cubicBezTo>
                    <a:pt x="74705" y="136024"/>
                    <a:pt x="75137" y="139478"/>
                    <a:pt x="71683" y="139478"/>
                  </a:cubicBezTo>
                  <a:cubicBezTo>
                    <a:pt x="70819" y="139910"/>
                    <a:pt x="70819" y="141638"/>
                    <a:pt x="70819" y="142933"/>
                  </a:cubicBezTo>
                  <a:cubicBezTo>
                    <a:pt x="70819" y="143797"/>
                    <a:pt x="70387" y="144229"/>
                    <a:pt x="69955" y="144229"/>
                  </a:cubicBezTo>
                  <a:lnTo>
                    <a:pt x="69523" y="144229"/>
                  </a:lnTo>
                  <a:cubicBezTo>
                    <a:pt x="68228" y="144229"/>
                    <a:pt x="67796" y="144229"/>
                    <a:pt x="67364" y="144660"/>
                  </a:cubicBezTo>
                  <a:cubicBezTo>
                    <a:pt x="66932" y="145524"/>
                    <a:pt x="66932" y="145956"/>
                    <a:pt x="66932" y="147251"/>
                  </a:cubicBezTo>
                  <a:cubicBezTo>
                    <a:pt x="66501" y="148115"/>
                    <a:pt x="66501" y="148547"/>
                    <a:pt x="65205" y="148547"/>
                  </a:cubicBezTo>
                  <a:cubicBezTo>
                    <a:pt x="64341" y="148547"/>
                    <a:pt x="64341" y="148979"/>
                    <a:pt x="63910" y="149410"/>
                  </a:cubicBezTo>
                  <a:cubicBezTo>
                    <a:pt x="63046" y="151138"/>
                    <a:pt x="61319" y="153297"/>
                    <a:pt x="60023" y="155888"/>
                  </a:cubicBezTo>
                  <a:cubicBezTo>
                    <a:pt x="60023" y="157183"/>
                    <a:pt x="58728" y="158047"/>
                    <a:pt x="59160" y="158479"/>
                  </a:cubicBezTo>
                  <a:cubicBezTo>
                    <a:pt x="59591" y="158910"/>
                    <a:pt x="59591" y="159774"/>
                    <a:pt x="59591" y="160206"/>
                  </a:cubicBezTo>
                  <a:cubicBezTo>
                    <a:pt x="59591" y="161070"/>
                    <a:pt x="59160" y="162365"/>
                    <a:pt x="58296" y="163661"/>
                  </a:cubicBezTo>
                  <a:lnTo>
                    <a:pt x="58296" y="163229"/>
                  </a:lnTo>
                  <a:cubicBezTo>
                    <a:pt x="57864" y="161933"/>
                    <a:pt x="57432" y="161070"/>
                    <a:pt x="57001" y="161070"/>
                  </a:cubicBezTo>
                  <a:cubicBezTo>
                    <a:pt x="57001" y="161070"/>
                    <a:pt x="57001" y="161070"/>
                    <a:pt x="57001" y="161501"/>
                  </a:cubicBezTo>
                  <a:cubicBezTo>
                    <a:pt x="56137" y="163661"/>
                    <a:pt x="54841" y="165388"/>
                    <a:pt x="53114" y="167115"/>
                  </a:cubicBezTo>
                  <a:cubicBezTo>
                    <a:pt x="52682" y="168411"/>
                    <a:pt x="51387" y="170570"/>
                    <a:pt x="50091" y="172297"/>
                  </a:cubicBezTo>
                  <a:cubicBezTo>
                    <a:pt x="50091" y="173161"/>
                    <a:pt x="50523" y="173592"/>
                    <a:pt x="50955" y="174888"/>
                  </a:cubicBezTo>
                  <a:cubicBezTo>
                    <a:pt x="51387" y="175320"/>
                    <a:pt x="51819" y="175752"/>
                    <a:pt x="51819" y="175752"/>
                  </a:cubicBezTo>
                  <a:lnTo>
                    <a:pt x="51387" y="176183"/>
                  </a:lnTo>
                  <a:cubicBezTo>
                    <a:pt x="49660" y="176615"/>
                    <a:pt x="49228" y="176615"/>
                    <a:pt x="49228" y="177479"/>
                  </a:cubicBezTo>
                  <a:cubicBezTo>
                    <a:pt x="49228" y="177911"/>
                    <a:pt x="49228" y="178342"/>
                    <a:pt x="49228" y="178774"/>
                  </a:cubicBezTo>
                  <a:cubicBezTo>
                    <a:pt x="49228" y="179206"/>
                    <a:pt x="49228" y="179638"/>
                    <a:pt x="49228" y="180070"/>
                  </a:cubicBezTo>
                  <a:cubicBezTo>
                    <a:pt x="49228" y="181365"/>
                    <a:pt x="48796" y="182229"/>
                    <a:pt x="47069" y="183093"/>
                  </a:cubicBezTo>
                  <a:cubicBezTo>
                    <a:pt x="45341" y="183956"/>
                    <a:pt x="45341" y="186547"/>
                    <a:pt x="44046" y="188274"/>
                  </a:cubicBezTo>
                  <a:cubicBezTo>
                    <a:pt x="44046" y="190002"/>
                    <a:pt x="43182" y="190865"/>
                    <a:pt x="42319" y="191297"/>
                  </a:cubicBezTo>
                  <a:cubicBezTo>
                    <a:pt x="41023" y="191297"/>
                    <a:pt x="41023" y="191729"/>
                    <a:pt x="41023" y="192161"/>
                  </a:cubicBezTo>
                  <a:lnTo>
                    <a:pt x="42319" y="192593"/>
                  </a:lnTo>
                  <a:cubicBezTo>
                    <a:pt x="42319" y="192593"/>
                    <a:pt x="42319" y="193024"/>
                    <a:pt x="42750" y="193024"/>
                  </a:cubicBezTo>
                  <a:cubicBezTo>
                    <a:pt x="40591" y="195184"/>
                    <a:pt x="38864" y="198638"/>
                    <a:pt x="37137" y="202093"/>
                  </a:cubicBezTo>
                  <a:cubicBezTo>
                    <a:pt x="35841" y="203820"/>
                    <a:pt x="33682" y="207275"/>
                    <a:pt x="32387" y="210729"/>
                  </a:cubicBezTo>
                  <a:lnTo>
                    <a:pt x="30659" y="212888"/>
                  </a:lnTo>
                  <a:cubicBezTo>
                    <a:pt x="30228" y="215047"/>
                    <a:pt x="28068" y="216343"/>
                    <a:pt x="25046" y="216343"/>
                  </a:cubicBezTo>
                  <a:cubicBezTo>
                    <a:pt x="24614" y="216343"/>
                    <a:pt x="24182" y="215911"/>
                    <a:pt x="22887" y="215911"/>
                  </a:cubicBezTo>
                  <a:cubicBezTo>
                    <a:pt x="22023" y="215911"/>
                    <a:pt x="21159" y="215911"/>
                    <a:pt x="20296" y="215911"/>
                  </a:cubicBezTo>
                  <a:cubicBezTo>
                    <a:pt x="19864" y="215911"/>
                    <a:pt x="19432" y="215911"/>
                    <a:pt x="19000" y="215911"/>
                  </a:cubicBezTo>
                  <a:cubicBezTo>
                    <a:pt x="17273" y="214616"/>
                    <a:pt x="15977" y="212888"/>
                    <a:pt x="15546" y="212025"/>
                  </a:cubicBezTo>
                  <a:cubicBezTo>
                    <a:pt x="12955" y="209002"/>
                    <a:pt x="9068" y="205547"/>
                    <a:pt x="6477" y="202956"/>
                  </a:cubicBezTo>
                  <a:cubicBezTo>
                    <a:pt x="6045" y="202525"/>
                    <a:pt x="5614" y="201661"/>
                    <a:pt x="5182" y="201661"/>
                  </a:cubicBezTo>
                  <a:cubicBezTo>
                    <a:pt x="1727" y="199934"/>
                    <a:pt x="1295" y="197774"/>
                    <a:pt x="864" y="194320"/>
                  </a:cubicBezTo>
                  <a:cubicBezTo>
                    <a:pt x="432" y="189138"/>
                    <a:pt x="0" y="183956"/>
                    <a:pt x="0" y="180070"/>
                  </a:cubicBezTo>
                  <a:cubicBezTo>
                    <a:pt x="0" y="179206"/>
                    <a:pt x="0" y="178342"/>
                    <a:pt x="432" y="177911"/>
                  </a:cubicBezTo>
                  <a:cubicBezTo>
                    <a:pt x="1727" y="174456"/>
                    <a:pt x="1727" y="170570"/>
                    <a:pt x="1727" y="167115"/>
                  </a:cubicBezTo>
                  <a:cubicBezTo>
                    <a:pt x="1727" y="165388"/>
                    <a:pt x="2159" y="164092"/>
                    <a:pt x="2159" y="162365"/>
                  </a:cubicBezTo>
                  <a:cubicBezTo>
                    <a:pt x="1727" y="161501"/>
                    <a:pt x="1727" y="160638"/>
                    <a:pt x="1727" y="159774"/>
                  </a:cubicBezTo>
                  <a:cubicBezTo>
                    <a:pt x="1727" y="158479"/>
                    <a:pt x="2159" y="157183"/>
                    <a:pt x="2591" y="155888"/>
                  </a:cubicBezTo>
                  <a:cubicBezTo>
                    <a:pt x="3455" y="155024"/>
                    <a:pt x="3455" y="153297"/>
                    <a:pt x="3455" y="152865"/>
                  </a:cubicBezTo>
                  <a:cubicBezTo>
                    <a:pt x="3886" y="148979"/>
                    <a:pt x="3886" y="145524"/>
                    <a:pt x="3886" y="141638"/>
                  </a:cubicBezTo>
                  <a:cubicBezTo>
                    <a:pt x="3886" y="141206"/>
                    <a:pt x="4318" y="139910"/>
                    <a:pt x="4750" y="139478"/>
                  </a:cubicBezTo>
                  <a:cubicBezTo>
                    <a:pt x="6477" y="139047"/>
                    <a:pt x="6477" y="137319"/>
                    <a:pt x="7341" y="135592"/>
                  </a:cubicBezTo>
                  <a:cubicBezTo>
                    <a:pt x="7773" y="133865"/>
                    <a:pt x="8205" y="131706"/>
                    <a:pt x="9068" y="129978"/>
                  </a:cubicBezTo>
                  <a:cubicBezTo>
                    <a:pt x="9068" y="128683"/>
                    <a:pt x="9068" y="128251"/>
                    <a:pt x="8636" y="126956"/>
                  </a:cubicBezTo>
                  <a:cubicBezTo>
                    <a:pt x="8205" y="126092"/>
                    <a:pt x="7773" y="125228"/>
                    <a:pt x="7773" y="124365"/>
                  </a:cubicBezTo>
                  <a:cubicBezTo>
                    <a:pt x="7773" y="123933"/>
                    <a:pt x="8205" y="123069"/>
                    <a:pt x="8205" y="122206"/>
                  </a:cubicBezTo>
                  <a:lnTo>
                    <a:pt x="8205" y="120910"/>
                  </a:lnTo>
                  <a:cubicBezTo>
                    <a:pt x="8205" y="120910"/>
                    <a:pt x="8205" y="120910"/>
                    <a:pt x="8205" y="120478"/>
                  </a:cubicBezTo>
                  <a:cubicBezTo>
                    <a:pt x="8205" y="120478"/>
                    <a:pt x="8205" y="120046"/>
                    <a:pt x="8636" y="119615"/>
                  </a:cubicBezTo>
                  <a:cubicBezTo>
                    <a:pt x="9500" y="118319"/>
                    <a:pt x="10796" y="117456"/>
                    <a:pt x="10796" y="116160"/>
                  </a:cubicBezTo>
                  <a:lnTo>
                    <a:pt x="10796" y="115728"/>
                  </a:lnTo>
                  <a:cubicBezTo>
                    <a:pt x="10796" y="114001"/>
                    <a:pt x="11227" y="112274"/>
                    <a:pt x="11227" y="111410"/>
                  </a:cubicBezTo>
                  <a:cubicBezTo>
                    <a:pt x="13387" y="109251"/>
                    <a:pt x="13387" y="105796"/>
                    <a:pt x="13818" y="104069"/>
                  </a:cubicBezTo>
                  <a:cubicBezTo>
                    <a:pt x="14250" y="101478"/>
                    <a:pt x="14682" y="98024"/>
                    <a:pt x="15977" y="95001"/>
                  </a:cubicBezTo>
                  <a:lnTo>
                    <a:pt x="17273" y="90683"/>
                  </a:lnTo>
                  <a:cubicBezTo>
                    <a:pt x="17273" y="90251"/>
                    <a:pt x="17273" y="89819"/>
                    <a:pt x="17273" y="89387"/>
                  </a:cubicBezTo>
                  <a:cubicBezTo>
                    <a:pt x="17273" y="88955"/>
                    <a:pt x="17273" y="88092"/>
                    <a:pt x="18137" y="87660"/>
                  </a:cubicBezTo>
                  <a:cubicBezTo>
                    <a:pt x="20727" y="83342"/>
                    <a:pt x="20296" y="78160"/>
                    <a:pt x="22023" y="74273"/>
                  </a:cubicBezTo>
                  <a:lnTo>
                    <a:pt x="22023" y="73410"/>
                  </a:lnTo>
                  <a:cubicBezTo>
                    <a:pt x="22023" y="67796"/>
                    <a:pt x="24614" y="65637"/>
                    <a:pt x="26341" y="62182"/>
                  </a:cubicBezTo>
                  <a:cubicBezTo>
                    <a:pt x="28068" y="60023"/>
                    <a:pt x="28500" y="58296"/>
                    <a:pt x="29364" y="56569"/>
                  </a:cubicBezTo>
                  <a:cubicBezTo>
                    <a:pt x="29364" y="54409"/>
                    <a:pt x="29364" y="52250"/>
                    <a:pt x="30659" y="50955"/>
                  </a:cubicBezTo>
                  <a:cubicBezTo>
                    <a:pt x="31091" y="49660"/>
                    <a:pt x="31955" y="48364"/>
                    <a:pt x="31955" y="47500"/>
                  </a:cubicBezTo>
                  <a:cubicBezTo>
                    <a:pt x="32387" y="46637"/>
                    <a:pt x="32387" y="44909"/>
                    <a:pt x="33682" y="43614"/>
                  </a:cubicBezTo>
                  <a:cubicBezTo>
                    <a:pt x="34114" y="43614"/>
                    <a:pt x="34114" y="42750"/>
                    <a:pt x="34114" y="42319"/>
                  </a:cubicBezTo>
                  <a:cubicBezTo>
                    <a:pt x="34114" y="40591"/>
                    <a:pt x="34114" y="39728"/>
                    <a:pt x="35409" y="38432"/>
                  </a:cubicBezTo>
                  <a:cubicBezTo>
                    <a:pt x="35841" y="35841"/>
                    <a:pt x="37137" y="33250"/>
                    <a:pt x="37569" y="31091"/>
                  </a:cubicBezTo>
                  <a:cubicBezTo>
                    <a:pt x="37569" y="30659"/>
                    <a:pt x="38000" y="30659"/>
                    <a:pt x="38000" y="30228"/>
                  </a:cubicBezTo>
                  <a:cubicBezTo>
                    <a:pt x="38000" y="29796"/>
                    <a:pt x="37569" y="28932"/>
                    <a:pt x="37137" y="28500"/>
                  </a:cubicBezTo>
                  <a:lnTo>
                    <a:pt x="38432" y="22023"/>
                  </a:lnTo>
                  <a:cubicBezTo>
                    <a:pt x="39728" y="20296"/>
                    <a:pt x="40591" y="18136"/>
                    <a:pt x="40591" y="15545"/>
                  </a:cubicBezTo>
                  <a:lnTo>
                    <a:pt x="43614" y="2159"/>
                  </a:lnTo>
                  <a:cubicBezTo>
                    <a:pt x="44046" y="1295"/>
                    <a:pt x="44909" y="432"/>
                    <a:pt x="46637" y="432"/>
                  </a:cubicBezTo>
                  <a:cubicBezTo>
                    <a:pt x="47069" y="432"/>
                    <a:pt x="47069" y="432"/>
                    <a:pt x="47500" y="432"/>
                  </a:cubicBezTo>
                  <a:cubicBezTo>
                    <a:pt x="47932" y="432"/>
                    <a:pt x="48796" y="432"/>
                    <a:pt x="49228" y="0"/>
                  </a:cubicBezTo>
                  <a:cubicBezTo>
                    <a:pt x="50091" y="0"/>
                    <a:pt x="50955" y="432"/>
                    <a:pt x="50955" y="1295"/>
                  </a:cubicBezTo>
                  <a:cubicBezTo>
                    <a:pt x="51819" y="2159"/>
                    <a:pt x="53114" y="2591"/>
                    <a:pt x="54841" y="2591"/>
                  </a:cubicBezTo>
                  <a:cubicBezTo>
                    <a:pt x="55273" y="2591"/>
                    <a:pt x="55705" y="2591"/>
                    <a:pt x="56137" y="2591"/>
                  </a:cubicBezTo>
                  <a:cubicBezTo>
                    <a:pt x="57864" y="2591"/>
                    <a:pt x="60023" y="3886"/>
                    <a:pt x="61751" y="3886"/>
                  </a:cubicBezTo>
                  <a:cubicBezTo>
                    <a:pt x="63046" y="3886"/>
                    <a:pt x="63478" y="4318"/>
                    <a:pt x="64341" y="5182"/>
                  </a:cubicBezTo>
                  <a:lnTo>
                    <a:pt x="65205" y="8205"/>
                  </a:lnTo>
                  <a:cubicBezTo>
                    <a:pt x="66501" y="9500"/>
                    <a:pt x="67364" y="11659"/>
                    <a:pt x="67364" y="13386"/>
                  </a:cubicBezTo>
                  <a:cubicBezTo>
                    <a:pt x="67364" y="15114"/>
                    <a:pt x="66932" y="16409"/>
                    <a:pt x="66069" y="18136"/>
                  </a:cubicBezTo>
                  <a:cubicBezTo>
                    <a:pt x="64341" y="25046"/>
                    <a:pt x="63478" y="33250"/>
                    <a:pt x="61319" y="40159"/>
                  </a:cubicBezTo>
                  <a:cubicBezTo>
                    <a:pt x="61319" y="40591"/>
                    <a:pt x="61319" y="40591"/>
                    <a:pt x="61319" y="41023"/>
                  </a:cubicBezTo>
                  <a:cubicBezTo>
                    <a:pt x="61319" y="41887"/>
                    <a:pt x="60887" y="42319"/>
                    <a:pt x="60887" y="43182"/>
                  </a:cubicBezTo>
                  <a:cubicBezTo>
                    <a:pt x="60455" y="44478"/>
                    <a:pt x="60023" y="46205"/>
                    <a:pt x="59160" y="47069"/>
                  </a:cubicBezTo>
                  <a:lnTo>
                    <a:pt x="59160" y="48364"/>
                  </a:lnTo>
                  <a:cubicBezTo>
                    <a:pt x="59160" y="49660"/>
                    <a:pt x="58728" y="51387"/>
                    <a:pt x="58728" y="53114"/>
                  </a:cubicBezTo>
                  <a:cubicBezTo>
                    <a:pt x="57432" y="56137"/>
                    <a:pt x="55705" y="58296"/>
                    <a:pt x="54841" y="62182"/>
                  </a:cubicBezTo>
                  <a:lnTo>
                    <a:pt x="53114" y="68660"/>
                  </a:lnTo>
                  <a:cubicBezTo>
                    <a:pt x="51819" y="71682"/>
                    <a:pt x="50523" y="75137"/>
                    <a:pt x="48796" y="78160"/>
                  </a:cubicBezTo>
                  <a:cubicBezTo>
                    <a:pt x="48796" y="80319"/>
                    <a:pt x="47932" y="82478"/>
                    <a:pt x="47500" y="85501"/>
                  </a:cubicBezTo>
                  <a:cubicBezTo>
                    <a:pt x="46637" y="87228"/>
                    <a:pt x="45773" y="88955"/>
                    <a:pt x="45341" y="91546"/>
                  </a:cubicBezTo>
                  <a:cubicBezTo>
                    <a:pt x="44478" y="93705"/>
                    <a:pt x="44046" y="96728"/>
                    <a:pt x="42319" y="98455"/>
                  </a:cubicBezTo>
                  <a:cubicBezTo>
                    <a:pt x="41887" y="99319"/>
                    <a:pt x="41887" y="100183"/>
                    <a:pt x="41887" y="100614"/>
                  </a:cubicBezTo>
                  <a:lnTo>
                    <a:pt x="36705" y="120478"/>
                  </a:lnTo>
                  <a:cubicBezTo>
                    <a:pt x="36705" y="121342"/>
                    <a:pt x="35841" y="123069"/>
                    <a:pt x="35409" y="124365"/>
                  </a:cubicBezTo>
                  <a:cubicBezTo>
                    <a:pt x="34546" y="127388"/>
                    <a:pt x="34114" y="131274"/>
                    <a:pt x="33682" y="134297"/>
                  </a:cubicBezTo>
                  <a:cubicBezTo>
                    <a:pt x="33682" y="135160"/>
                    <a:pt x="33682" y="136024"/>
                    <a:pt x="33682" y="136456"/>
                  </a:cubicBezTo>
                  <a:cubicBezTo>
                    <a:pt x="33682" y="138615"/>
                    <a:pt x="33250" y="140342"/>
                    <a:pt x="32387" y="142069"/>
                  </a:cubicBezTo>
                  <a:cubicBezTo>
                    <a:pt x="31091" y="145092"/>
                    <a:pt x="30659" y="148547"/>
                    <a:pt x="30659" y="152001"/>
                  </a:cubicBezTo>
                  <a:cubicBezTo>
                    <a:pt x="30659" y="152001"/>
                    <a:pt x="30659" y="152433"/>
                    <a:pt x="31091" y="152433"/>
                  </a:cubicBezTo>
                  <a:cubicBezTo>
                    <a:pt x="31091" y="152865"/>
                    <a:pt x="31523" y="152433"/>
                    <a:pt x="31523" y="152433"/>
                  </a:cubicBezTo>
                  <a:cubicBezTo>
                    <a:pt x="32387" y="151138"/>
                    <a:pt x="33682" y="151138"/>
                    <a:pt x="34114" y="150274"/>
                  </a:cubicBezTo>
                  <a:cubicBezTo>
                    <a:pt x="34546" y="149410"/>
                    <a:pt x="35409" y="148979"/>
                    <a:pt x="35409" y="148547"/>
                  </a:cubicBezTo>
                  <a:cubicBezTo>
                    <a:pt x="38864" y="143797"/>
                    <a:pt x="43182" y="139047"/>
                    <a:pt x="44909" y="133865"/>
                  </a:cubicBezTo>
                  <a:cubicBezTo>
                    <a:pt x="46205" y="132569"/>
                    <a:pt x="47069" y="131274"/>
                    <a:pt x="47932" y="129978"/>
                  </a:cubicBezTo>
                  <a:cubicBezTo>
                    <a:pt x="50955" y="125228"/>
                    <a:pt x="53978" y="120910"/>
                    <a:pt x="56137" y="116592"/>
                  </a:cubicBezTo>
                  <a:cubicBezTo>
                    <a:pt x="56137" y="116160"/>
                    <a:pt x="56137" y="115728"/>
                    <a:pt x="56569" y="114865"/>
                  </a:cubicBezTo>
                  <a:cubicBezTo>
                    <a:pt x="59160" y="111410"/>
                    <a:pt x="61751" y="108819"/>
                    <a:pt x="63478" y="104501"/>
                  </a:cubicBezTo>
                  <a:cubicBezTo>
                    <a:pt x="65205" y="103205"/>
                    <a:pt x="66501" y="102342"/>
                    <a:pt x="67364" y="100614"/>
                  </a:cubicBezTo>
                  <a:cubicBezTo>
                    <a:pt x="67364" y="98455"/>
                    <a:pt x="68228" y="97592"/>
                    <a:pt x="69092" y="96728"/>
                  </a:cubicBezTo>
                  <a:cubicBezTo>
                    <a:pt x="69092" y="97592"/>
                    <a:pt x="68660" y="98024"/>
                    <a:pt x="68660" y="99319"/>
                  </a:cubicBezTo>
                  <a:lnTo>
                    <a:pt x="67796" y="101910"/>
                  </a:lnTo>
                  <a:cubicBezTo>
                    <a:pt x="67796" y="102774"/>
                    <a:pt x="67364" y="104069"/>
                    <a:pt x="66069" y="104501"/>
                  </a:cubicBezTo>
                  <a:cubicBezTo>
                    <a:pt x="63478" y="105796"/>
                    <a:pt x="63478" y="109251"/>
                    <a:pt x="62182" y="111410"/>
                  </a:cubicBezTo>
                  <a:lnTo>
                    <a:pt x="62182" y="111842"/>
                  </a:lnTo>
                  <a:cubicBezTo>
                    <a:pt x="62182" y="111842"/>
                    <a:pt x="62182" y="111842"/>
                    <a:pt x="62182" y="112274"/>
                  </a:cubicBezTo>
                  <a:cubicBezTo>
                    <a:pt x="62614" y="112274"/>
                    <a:pt x="63046" y="112274"/>
                    <a:pt x="63046" y="111842"/>
                  </a:cubicBezTo>
                  <a:cubicBezTo>
                    <a:pt x="63478" y="111842"/>
                    <a:pt x="64341" y="111410"/>
                    <a:pt x="64773" y="110978"/>
                  </a:cubicBezTo>
                  <a:cubicBezTo>
                    <a:pt x="66069" y="108387"/>
                    <a:pt x="67796" y="105365"/>
                    <a:pt x="70819" y="103205"/>
                  </a:cubicBezTo>
                  <a:cubicBezTo>
                    <a:pt x="73410" y="102342"/>
                    <a:pt x="73842" y="100183"/>
                    <a:pt x="75137" y="96728"/>
                  </a:cubicBezTo>
                  <a:cubicBezTo>
                    <a:pt x="76864" y="93273"/>
                    <a:pt x="78592" y="89819"/>
                    <a:pt x="82910" y="87660"/>
                  </a:cubicBezTo>
                  <a:lnTo>
                    <a:pt x="84205" y="85933"/>
                  </a:lnTo>
                  <a:cubicBezTo>
                    <a:pt x="85069" y="82478"/>
                    <a:pt x="86364" y="81614"/>
                    <a:pt x="88092" y="80751"/>
                  </a:cubicBezTo>
                  <a:cubicBezTo>
                    <a:pt x="88524" y="80751"/>
                    <a:pt x="88524" y="80751"/>
                    <a:pt x="88955" y="80751"/>
                  </a:cubicBezTo>
                  <a:cubicBezTo>
                    <a:pt x="89387" y="80751"/>
                    <a:pt x="89819" y="80751"/>
                    <a:pt x="90251" y="80751"/>
                  </a:cubicBezTo>
                  <a:cubicBezTo>
                    <a:pt x="90683" y="80751"/>
                    <a:pt x="90683" y="80319"/>
                    <a:pt x="90683" y="79887"/>
                  </a:cubicBezTo>
                  <a:cubicBezTo>
                    <a:pt x="90683" y="79455"/>
                    <a:pt x="90683" y="79455"/>
                    <a:pt x="90683" y="79023"/>
                  </a:cubicBezTo>
                  <a:cubicBezTo>
                    <a:pt x="90251" y="78160"/>
                    <a:pt x="89819" y="77728"/>
                    <a:pt x="89819" y="77296"/>
                  </a:cubicBezTo>
                  <a:cubicBezTo>
                    <a:pt x="89819" y="76864"/>
                    <a:pt x="90251" y="76001"/>
                    <a:pt x="90683" y="75569"/>
                  </a:cubicBezTo>
                  <a:cubicBezTo>
                    <a:pt x="91978" y="75137"/>
                    <a:pt x="92842" y="73410"/>
                    <a:pt x="93274" y="72546"/>
                  </a:cubicBezTo>
                  <a:cubicBezTo>
                    <a:pt x="96296" y="68660"/>
                    <a:pt x="96728" y="65205"/>
                    <a:pt x="100183" y="62182"/>
                  </a:cubicBezTo>
                  <a:cubicBezTo>
                    <a:pt x="101046" y="61751"/>
                    <a:pt x="101478" y="60455"/>
                    <a:pt x="101910" y="59591"/>
                  </a:cubicBezTo>
                  <a:cubicBezTo>
                    <a:pt x="102774" y="58728"/>
                    <a:pt x="104069" y="57864"/>
                    <a:pt x="105796" y="57864"/>
                  </a:cubicBezTo>
                  <a:cubicBezTo>
                    <a:pt x="107524" y="57864"/>
                    <a:pt x="107956" y="57432"/>
                    <a:pt x="108819" y="56569"/>
                  </a:cubicBezTo>
                  <a:cubicBezTo>
                    <a:pt x="109251" y="56137"/>
                    <a:pt x="109683" y="55705"/>
                    <a:pt x="110115" y="55705"/>
                  </a:cubicBezTo>
                  <a:cubicBezTo>
                    <a:pt x="110546" y="55705"/>
                    <a:pt x="111410" y="56137"/>
                    <a:pt x="111842" y="57000"/>
                  </a:cubicBezTo>
                  <a:cubicBezTo>
                    <a:pt x="111842" y="57000"/>
                    <a:pt x="111842" y="57000"/>
                    <a:pt x="112274" y="57000"/>
                  </a:cubicBezTo>
                  <a:lnTo>
                    <a:pt x="112706" y="57000"/>
                  </a:lnTo>
                  <a:lnTo>
                    <a:pt x="112706" y="55705"/>
                  </a:lnTo>
                  <a:cubicBezTo>
                    <a:pt x="112706" y="55273"/>
                    <a:pt x="112706" y="55273"/>
                    <a:pt x="112274" y="54841"/>
                  </a:cubicBezTo>
                  <a:cubicBezTo>
                    <a:pt x="112274" y="54409"/>
                    <a:pt x="112274" y="53546"/>
                    <a:pt x="112274" y="53114"/>
                  </a:cubicBezTo>
                  <a:cubicBezTo>
                    <a:pt x="112274" y="52682"/>
                    <a:pt x="112274" y="52250"/>
                    <a:pt x="112274" y="52250"/>
                  </a:cubicBezTo>
                  <a:lnTo>
                    <a:pt x="118319" y="46637"/>
                  </a:lnTo>
                  <a:cubicBezTo>
                    <a:pt x="119183" y="45341"/>
                    <a:pt x="120047" y="44909"/>
                    <a:pt x="120047" y="43614"/>
                  </a:cubicBezTo>
                  <a:cubicBezTo>
                    <a:pt x="120047" y="43614"/>
                    <a:pt x="120047" y="43182"/>
                    <a:pt x="120047" y="42750"/>
                  </a:cubicBezTo>
                  <a:cubicBezTo>
                    <a:pt x="120047" y="42319"/>
                    <a:pt x="120047" y="41455"/>
                    <a:pt x="120478" y="41023"/>
                  </a:cubicBezTo>
                  <a:cubicBezTo>
                    <a:pt x="121774" y="39296"/>
                    <a:pt x="123069" y="38864"/>
                    <a:pt x="124365" y="37137"/>
                  </a:cubicBezTo>
                  <a:cubicBezTo>
                    <a:pt x="125228" y="35409"/>
                    <a:pt x="126956" y="34546"/>
                    <a:pt x="128251" y="33682"/>
                  </a:cubicBezTo>
                  <a:lnTo>
                    <a:pt x="129547" y="31955"/>
                  </a:lnTo>
                  <a:lnTo>
                    <a:pt x="129115" y="31523"/>
                  </a:lnTo>
                  <a:cubicBezTo>
                    <a:pt x="129115" y="31091"/>
                    <a:pt x="128683" y="31091"/>
                    <a:pt x="128683" y="31091"/>
                  </a:cubicBezTo>
                  <a:cubicBezTo>
                    <a:pt x="128251" y="31523"/>
                    <a:pt x="127388" y="31523"/>
                    <a:pt x="126956" y="31523"/>
                  </a:cubicBezTo>
                  <a:cubicBezTo>
                    <a:pt x="126524" y="31523"/>
                    <a:pt x="125660" y="31523"/>
                    <a:pt x="125228" y="31523"/>
                  </a:cubicBezTo>
                  <a:cubicBezTo>
                    <a:pt x="126524" y="28068"/>
                    <a:pt x="128683" y="26341"/>
                    <a:pt x="130842" y="24614"/>
                  </a:cubicBezTo>
                  <a:cubicBezTo>
                    <a:pt x="132138" y="24182"/>
                    <a:pt x="133001" y="24182"/>
                    <a:pt x="133865" y="23318"/>
                  </a:cubicBezTo>
                  <a:cubicBezTo>
                    <a:pt x="134297" y="23750"/>
                    <a:pt x="134297" y="24182"/>
                    <a:pt x="134297" y="24182"/>
                  </a:cubicBezTo>
                  <a:lnTo>
                    <a:pt x="131274" y="26773"/>
                  </a:lnTo>
                  <a:cubicBezTo>
                    <a:pt x="130842" y="26773"/>
                    <a:pt x="130410" y="27637"/>
                    <a:pt x="130410" y="28068"/>
                  </a:cubicBezTo>
                  <a:cubicBezTo>
                    <a:pt x="130410" y="28500"/>
                    <a:pt x="130410" y="29364"/>
                    <a:pt x="130842" y="29796"/>
                  </a:cubicBezTo>
                  <a:lnTo>
                    <a:pt x="131706" y="29796"/>
                  </a:lnTo>
                  <a:lnTo>
                    <a:pt x="134729" y="27637"/>
                  </a:lnTo>
                  <a:cubicBezTo>
                    <a:pt x="136456" y="25909"/>
                    <a:pt x="138183" y="25046"/>
                    <a:pt x="140342" y="25046"/>
                  </a:cubicBezTo>
                  <a:cubicBezTo>
                    <a:pt x="140774" y="25046"/>
                    <a:pt x="141206" y="24614"/>
                    <a:pt x="141638" y="24182"/>
                  </a:cubicBezTo>
                  <a:cubicBezTo>
                    <a:pt x="142933" y="22023"/>
                    <a:pt x="145524" y="22887"/>
                    <a:pt x="147683" y="21159"/>
                  </a:cubicBezTo>
                  <a:cubicBezTo>
                    <a:pt x="148547" y="20296"/>
                    <a:pt x="150274" y="21159"/>
                    <a:pt x="151138" y="19864"/>
                  </a:cubicBezTo>
                  <a:lnTo>
                    <a:pt x="152865" y="15977"/>
                  </a:lnTo>
                  <a:lnTo>
                    <a:pt x="152865" y="15545"/>
                  </a:lnTo>
                  <a:cubicBezTo>
                    <a:pt x="152865" y="15114"/>
                    <a:pt x="152865" y="15114"/>
                    <a:pt x="152433" y="15114"/>
                  </a:cubicBezTo>
                  <a:cubicBezTo>
                    <a:pt x="151138" y="15114"/>
                    <a:pt x="149842" y="15114"/>
                    <a:pt x="148979" y="14250"/>
                  </a:cubicBezTo>
                  <a:lnTo>
                    <a:pt x="148547" y="13818"/>
                  </a:lnTo>
                  <a:lnTo>
                    <a:pt x="148979" y="13386"/>
                  </a:lnTo>
                  <a:cubicBezTo>
                    <a:pt x="151138" y="12091"/>
                    <a:pt x="153729" y="11227"/>
                    <a:pt x="156320" y="11227"/>
                  </a:cubicBezTo>
                  <a:cubicBezTo>
                    <a:pt x="157183" y="11227"/>
                    <a:pt x="158047" y="10796"/>
                    <a:pt x="158479" y="10796"/>
                  </a:cubicBezTo>
                  <a:cubicBezTo>
                    <a:pt x="158911" y="10796"/>
                    <a:pt x="159342" y="11227"/>
                    <a:pt x="159774" y="11227"/>
                  </a:cubicBezTo>
                  <a:cubicBezTo>
                    <a:pt x="160206" y="11227"/>
                    <a:pt x="161070" y="11659"/>
                    <a:pt x="161501" y="11659"/>
                  </a:cubicBezTo>
                  <a:cubicBezTo>
                    <a:pt x="162365" y="11659"/>
                    <a:pt x="163229" y="11227"/>
                    <a:pt x="164092" y="10796"/>
                  </a:cubicBezTo>
                  <a:cubicBezTo>
                    <a:pt x="164092" y="10364"/>
                    <a:pt x="164524" y="10364"/>
                    <a:pt x="164956" y="10364"/>
                  </a:cubicBezTo>
                  <a:cubicBezTo>
                    <a:pt x="165388" y="10364"/>
                    <a:pt x="165388" y="10364"/>
                    <a:pt x="165820" y="10796"/>
                  </a:cubicBezTo>
                  <a:cubicBezTo>
                    <a:pt x="167115" y="11659"/>
                    <a:pt x="168842" y="11659"/>
                    <a:pt x="171433" y="11659"/>
                  </a:cubicBezTo>
                  <a:cubicBezTo>
                    <a:pt x="172729" y="11659"/>
                    <a:pt x="174456" y="12523"/>
                    <a:pt x="175752" y="15114"/>
                  </a:cubicBezTo>
                  <a:lnTo>
                    <a:pt x="178343" y="16841"/>
                  </a:lnTo>
                  <a:cubicBezTo>
                    <a:pt x="179638" y="19000"/>
                    <a:pt x="180502" y="20296"/>
                    <a:pt x="180502" y="21159"/>
                  </a:cubicBezTo>
                  <a:lnTo>
                    <a:pt x="180502" y="22023"/>
                  </a:lnTo>
                  <a:cubicBezTo>
                    <a:pt x="180070" y="25046"/>
                    <a:pt x="180070" y="27205"/>
                    <a:pt x="180070" y="29796"/>
                  </a:cubicBezTo>
                  <a:cubicBezTo>
                    <a:pt x="180070" y="32387"/>
                    <a:pt x="180070" y="34546"/>
                    <a:pt x="179638" y="36705"/>
                  </a:cubicBezTo>
                  <a:cubicBezTo>
                    <a:pt x="179638" y="38864"/>
                    <a:pt x="179638" y="41023"/>
                    <a:pt x="180070" y="43614"/>
                  </a:cubicBezTo>
                  <a:cubicBezTo>
                    <a:pt x="180070" y="47069"/>
                    <a:pt x="178774" y="49660"/>
                    <a:pt x="177911" y="53978"/>
                  </a:cubicBezTo>
                  <a:lnTo>
                    <a:pt x="176615" y="60455"/>
                  </a:lnTo>
                  <a:cubicBezTo>
                    <a:pt x="175752" y="63910"/>
                    <a:pt x="175320" y="66932"/>
                    <a:pt x="174888" y="70387"/>
                  </a:cubicBezTo>
                  <a:cubicBezTo>
                    <a:pt x="174024" y="75137"/>
                    <a:pt x="173592" y="79455"/>
                    <a:pt x="172297" y="83773"/>
                  </a:cubicBezTo>
                  <a:cubicBezTo>
                    <a:pt x="172297" y="85933"/>
                    <a:pt x="172297" y="86364"/>
                    <a:pt x="171433" y="87228"/>
                  </a:cubicBezTo>
                  <a:cubicBezTo>
                    <a:pt x="171433" y="87660"/>
                    <a:pt x="171433" y="88524"/>
                    <a:pt x="171002" y="88955"/>
                  </a:cubicBezTo>
                  <a:cubicBezTo>
                    <a:pt x="170570" y="90251"/>
                    <a:pt x="170570" y="91978"/>
                    <a:pt x="170138" y="94569"/>
                  </a:cubicBezTo>
                  <a:lnTo>
                    <a:pt x="169274" y="103205"/>
                  </a:lnTo>
                  <a:cubicBezTo>
                    <a:pt x="168411" y="107092"/>
                    <a:pt x="167547" y="111410"/>
                    <a:pt x="167547" y="115728"/>
                  </a:cubicBezTo>
                  <a:cubicBezTo>
                    <a:pt x="167547" y="116592"/>
                    <a:pt x="167547" y="117024"/>
                    <a:pt x="167547" y="117887"/>
                  </a:cubicBezTo>
                  <a:cubicBezTo>
                    <a:pt x="167115" y="122206"/>
                    <a:pt x="166252" y="126956"/>
                    <a:pt x="165820" y="132569"/>
                  </a:cubicBezTo>
                  <a:lnTo>
                    <a:pt x="165820" y="139047"/>
                  </a:lnTo>
                  <a:cubicBezTo>
                    <a:pt x="165388" y="141206"/>
                    <a:pt x="165388" y="142933"/>
                    <a:pt x="165388" y="144229"/>
                  </a:cubicBezTo>
                  <a:cubicBezTo>
                    <a:pt x="165388" y="145956"/>
                    <a:pt x="165388" y="146388"/>
                    <a:pt x="165820" y="146388"/>
                  </a:cubicBezTo>
                  <a:cubicBezTo>
                    <a:pt x="167547" y="145092"/>
                    <a:pt x="169706" y="143797"/>
                    <a:pt x="170570" y="141638"/>
                  </a:cubicBezTo>
                  <a:cubicBezTo>
                    <a:pt x="172297" y="137751"/>
                    <a:pt x="174456" y="135592"/>
                    <a:pt x="177479" y="132569"/>
                  </a:cubicBezTo>
                  <a:cubicBezTo>
                    <a:pt x="179638" y="128251"/>
                    <a:pt x="181797" y="125660"/>
                    <a:pt x="183524" y="122206"/>
                  </a:cubicBezTo>
                  <a:cubicBezTo>
                    <a:pt x="185252" y="121342"/>
                    <a:pt x="186547" y="119183"/>
                    <a:pt x="187411" y="117024"/>
                  </a:cubicBezTo>
                  <a:lnTo>
                    <a:pt x="190002" y="113569"/>
                  </a:lnTo>
                  <a:cubicBezTo>
                    <a:pt x="190434" y="113569"/>
                    <a:pt x="190865" y="112705"/>
                    <a:pt x="191297" y="112705"/>
                  </a:cubicBezTo>
                  <a:cubicBezTo>
                    <a:pt x="194752" y="107092"/>
                    <a:pt x="198206" y="103205"/>
                    <a:pt x="201229" y="98024"/>
                  </a:cubicBezTo>
                  <a:lnTo>
                    <a:pt x="205547" y="91546"/>
                  </a:lnTo>
                  <a:cubicBezTo>
                    <a:pt x="207275" y="89819"/>
                    <a:pt x="209002" y="88955"/>
                    <a:pt x="210297" y="87228"/>
                  </a:cubicBezTo>
                  <a:cubicBezTo>
                    <a:pt x="210729" y="86796"/>
                    <a:pt x="210729" y="86796"/>
                    <a:pt x="211161" y="86796"/>
                  </a:cubicBezTo>
                  <a:cubicBezTo>
                    <a:pt x="211593" y="86796"/>
                    <a:pt x="212456" y="87228"/>
                    <a:pt x="212888" y="87660"/>
                  </a:cubicBezTo>
                  <a:cubicBezTo>
                    <a:pt x="213320" y="87660"/>
                    <a:pt x="213752" y="87660"/>
                    <a:pt x="214184" y="87228"/>
                  </a:cubicBezTo>
                  <a:cubicBezTo>
                    <a:pt x="213752" y="87228"/>
                    <a:pt x="213752" y="86796"/>
                    <a:pt x="213320" y="86364"/>
                  </a:cubicBezTo>
                  <a:cubicBezTo>
                    <a:pt x="212888" y="86364"/>
                    <a:pt x="212888" y="85501"/>
                    <a:pt x="212888" y="85069"/>
                  </a:cubicBezTo>
                  <a:cubicBezTo>
                    <a:pt x="212888" y="84637"/>
                    <a:pt x="212888" y="84205"/>
                    <a:pt x="213320" y="83773"/>
                  </a:cubicBezTo>
                  <a:cubicBezTo>
                    <a:pt x="214616" y="82910"/>
                    <a:pt x="215047" y="81614"/>
                    <a:pt x="215479" y="80319"/>
                  </a:cubicBezTo>
                  <a:cubicBezTo>
                    <a:pt x="215479" y="76432"/>
                    <a:pt x="217638" y="74273"/>
                    <a:pt x="220661" y="71682"/>
                  </a:cubicBezTo>
                  <a:cubicBezTo>
                    <a:pt x="222388" y="68660"/>
                    <a:pt x="223684" y="67364"/>
                    <a:pt x="225411" y="65205"/>
                  </a:cubicBezTo>
                  <a:cubicBezTo>
                    <a:pt x="231457" y="58728"/>
                    <a:pt x="237934" y="52682"/>
                    <a:pt x="244411" y="47932"/>
                  </a:cubicBezTo>
                  <a:cubicBezTo>
                    <a:pt x="247002" y="44909"/>
                    <a:pt x="251752" y="41887"/>
                    <a:pt x="256070" y="40159"/>
                  </a:cubicBezTo>
                  <a:cubicBezTo>
                    <a:pt x="259957" y="38000"/>
                    <a:pt x="264707" y="37568"/>
                    <a:pt x="269889" y="37137"/>
                  </a:cubicBezTo>
                  <a:cubicBezTo>
                    <a:pt x="270321" y="37137"/>
                    <a:pt x="272048" y="36705"/>
                    <a:pt x="273343" y="36705"/>
                  </a:cubicBezTo>
                  <a:cubicBezTo>
                    <a:pt x="273775" y="36705"/>
                    <a:pt x="274639" y="36705"/>
                    <a:pt x="275071" y="36705"/>
                  </a:cubicBezTo>
                  <a:cubicBezTo>
                    <a:pt x="277230" y="36705"/>
                    <a:pt x="279389" y="37137"/>
                    <a:pt x="281116" y="39728"/>
                  </a:cubicBezTo>
                  <a:cubicBezTo>
                    <a:pt x="282844" y="40159"/>
                    <a:pt x="284139" y="41455"/>
                    <a:pt x="285866" y="41887"/>
                  </a:cubicBezTo>
                  <a:cubicBezTo>
                    <a:pt x="288457" y="43614"/>
                    <a:pt x="289321" y="45341"/>
                    <a:pt x="289321" y="47932"/>
                  </a:cubicBezTo>
                  <a:cubicBezTo>
                    <a:pt x="289321" y="48796"/>
                    <a:pt x="289753" y="49228"/>
                    <a:pt x="290185" y="50091"/>
                  </a:cubicBezTo>
                  <a:cubicBezTo>
                    <a:pt x="290185" y="53546"/>
                    <a:pt x="290616" y="56137"/>
                    <a:pt x="290616" y="59160"/>
                  </a:cubicBezTo>
                  <a:cubicBezTo>
                    <a:pt x="290616" y="62182"/>
                    <a:pt x="290185" y="64773"/>
                    <a:pt x="290185" y="67796"/>
                  </a:cubicBezTo>
                  <a:cubicBezTo>
                    <a:pt x="290185" y="70819"/>
                    <a:pt x="289321" y="73841"/>
                    <a:pt x="289321" y="76864"/>
                  </a:cubicBezTo>
                  <a:cubicBezTo>
                    <a:pt x="288889" y="79887"/>
                    <a:pt x="288889" y="83773"/>
                    <a:pt x="288025" y="88092"/>
                  </a:cubicBezTo>
                  <a:cubicBezTo>
                    <a:pt x="288025" y="89387"/>
                    <a:pt x="288025" y="90683"/>
                    <a:pt x="288025" y="91546"/>
                  </a:cubicBezTo>
                  <a:cubicBezTo>
                    <a:pt x="288025" y="91978"/>
                    <a:pt x="288025" y="92410"/>
                    <a:pt x="288025" y="92842"/>
                  </a:cubicBezTo>
                  <a:cubicBezTo>
                    <a:pt x="287594" y="98024"/>
                    <a:pt x="287594" y="103205"/>
                    <a:pt x="287594" y="107524"/>
                  </a:cubicBezTo>
                  <a:cubicBezTo>
                    <a:pt x="287594" y="114433"/>
                    <a:pt x="290185" y="121774"/>
                    <a:pt x="293639" y="128251"/>
                  </a:cubicBezTo>
                  <a:cubicBezTo>
                    <a:pt x="294934" y="129115"/>
                    <a:pt x="295798" y="130410"/>
                    <a:pt x="296662" y="132137"/>
                  </a:cubicBezTo>
                  <a:cubicBezTo>
                    <a:pt x="297525" y="133433"/>
                    <a:pt x="299253" y="133865"/>
                    <a:pt x="300548" y="133865"/>
                  </a:cubicBezTo>
                  <a:cubicBezTo>
                    <a:pt x="300980" y="133865"/>
                    <a:pt x="301412" y="133865"/>
                    <a:pt x="301844" y="133865"/>
                  </a:cubicBezTo>
                  <a:cubicBezTo>
                    <a:pt x="302707" y="133433"/>
                    <a:pt x="303139" y="133433"/>
                    <a:pt x="304003" y="133433"/>
                  </a:cubicBezTo>
                  <a:cubicBezTo>
                    <a:pt x="307889" y="131706"/>
                    <a:pt x="310912" y="129978"/>
                    <a:pt x="314366" y="127819"/>
                  </a:cubicBezTo>
                  <a:cubicBezTo>
                    <a:pt x="315230" y="127388"/>
                    <a:pt x="316526" y="127388"/>
                    <a:pt x="317389" y="127388"/>
                  </a:cubicBezTo>
                  <a:cubicBezTo>
                    <a:pt x="318253" y="127388"/>
                    <a:pt x="318685" y="127388"/>
                    <a:pt x="319980" y="127819"/>
                  </a:cubicBezTo>
                  <a:cubicBezTo>
                    <a:pt x="320844" y="127819"/>
                    <a:pt x="322139" y="129115"/>
                    <a:pt x="322571" y="129978"/>
                  </a:cubicBezTo>
                  <a:lnTo>
                    <a:pt x="324298" y="133001"/>
                  </a:lnTo>
                  <a:lnTo>
                    <a:pt x="324298" y="134297"/>
                  </a:lnTo>
                  <a:cubicBezTo>
                    <a:pt x="324730" y="135160"/>
                    <a:pt x="324730" y="136456"/>
                    <a:pt x="324730" y="137319"/>
                  </a:cubicBezTo>
                  <a:close/>
                  <a:moveTo>
                    <a:pt x="53546" y="128683"/>
                  </a:moveTo>
                  <a:cubicBezTo>
                    <a:pt x="53546" y="128251"/>
                    <a:pt x="53546" y="127819"/>
                    <a:pt x="53546" y="127388"/>
                  </a:cubicBezTo>
                  <a:lnTo>
                    <a:pt x="53114" y="127388"/>
                  </a:lnTo>
                  <a:cubicBezTo>
                    <a:pt x="52251" y="127388"/>
                    <a:pt x="51387" y="128251"/>
                    <a:pt x="51387" y="129547"/>
                  </a:cubicBezTo>
                  <a:cubicBezTo>
                    <a:pt x="51387" y="129978"/>
                    <a:pt x="51819" y="129978"/>
                    <a:pt x="53114" y="129978"/>
                  </a:cubicBezTo>
                  <a:cubicBezTo>
                    <a:pt x="53546" y="129978"/>
                    <a:pt x="53546" y="129547"/>
                    <a:pt x="53546" y="128683"/>
                  </a:cubicBezTo>
                  <a:close/>
                  <a:moveTo>
                    <a:pt x="60023" y="116160"/>
                  </a:moveTo>
                  <a:cubicBezTo>
                    <a:pt x="58296" y="117456"/>
                    <a:pt x="56569" y="119183"/>
                    <a:pt x="56137" y="120910"/>
                  </a:cubicBezTo>
                  <a:cubicBezTo>
                    <a:pt x="56137" y="121342"/>
                    <a:pt x="55705" y="122206"/>
                    <a:pt x="55705" y="123069"/>
                  </a:cubicBezTo>
                  <a:cubicBezTo>
                    <a:pt x="55705" y="123501"/>
                    <a:pt x="56137" y="123501"/>
                    <a:pt x="56137" y="123501"/>
                  </a:cubicBezTo>
                  <a:cubicBezTo>
                    <a:pt x="56569" y="123501"/>
                    <a:pt x="57001" y="122637"/>
                    <a:pt x="57432" y="121342"/>
                  </a:cubicBezTo>
                  <a:cubicBezTo>
                    <a:pt x="58296" y="120910"/>
                    <a:pt x="58296" y="120046"/>
                    <a:pt x="59591" y="118319"/>
                  </a:cubicBezTo>
                  <a:cubicBezTo>
                    <a:pt x="59591" y="118319"/>
                    <a:pt x="60023" y="117456"/>
                    <a:pt x="60455" y="117024"/>
                  </a:cubicBezTo>
                  <a:lnTo>
                    <a:pt x="60023" y="116160"/>
                  </a:lnTo>
                  <a:close/>
                  <a:moveTo>
                    <a:pt x="57001" y="165388"/>
                  </a:moveTo>
                  <a:lnTo>
                    <a:pt x="58296" y="164092"/>
                  </a:lnTo>
                  <a:cubicBezTo>
                    <a:pt x="58296" y="164524"/>
                    <a:pt x="57864" y="165388"/>
                    <a:pt x="57864" y="166252"/>
                  </a:cubicBezTo>
                  <a:cubicBezTo>
                    <a:pt x="57864" y="166252"/>
                    <a:pt x="57432" y="166252"/>
                    <a:pt x="57432" y="165820"/>
                  </a:cubicBezTo>
                  <a:lnTo>
                    <a:pt x="57001" y="165388"/>
                  </a:lnTo>
                  <a:close/>
                  <a:moveTo>
                    <a:pt x="60455" y="155888"/>
                  </a:moveTo>
                  <a:cubicBezTo>
                    <a:pt x="60455" y="156320"/>
                    <a:pt x="61319" y="156320"/>
                    <a:pt x="61319" y="156320"/>
                  </a:cubicBezTo>
                  <a:cubicBezTo>
                    <a:pt x="61319" y="157183"/>
                    <a:pt x="60455" y="157183"/>
                    <a:pt x="60455" y="157615"/>
                  </a:cubicBezTo>
                  <a:lnTo>
                    <a:pt x="60455" y="155888"/>
                  </a:lnTo>
                  <a:close/>
                  <a:moveTo>
                    <a:pt x="70387" y="95864"/>
                  </a:moveTo>
                  <a:lnTo>
                    <a:pt x="70819" y="95864"/>
                  </a:lnTo>
                  <a:lnTo>
                    <a:pt x="69092" y="96728"/>
                  </a:lnTo>
                  <a:cubicBezTo>
                    <a:pt x="69523" y="96296"/>
                    <a:pt x="70387" y="95864"/>
                    <a:pt x="70387" y="95864"/>
                  </a:cubicBezTo>
                  <a:close/>
                  <a:moveTo>
                    <a:pt x="70819" y="95864"/>
                  </a:moveTo>
                  <a:lnTo>
                    <a:pt x="70819" y="93705"/>
                  </a:lnTo>
                  <a:lnTo>
                    <a:pt x="72114" y="93705"/>
                  </a:lnTo>
                  <a:lnTo>
                    <a:pt x="72546" y="94137"/>
                  </a:lnTo>
                  <a:cubicBezTo>
                    <a:pt x="72114" y="95001"/>
                    <a:pt x="71683" y="95001"/>
                    <a:pt x="70819" y="95864"/>
                  </a:cubicBezTo>
                  <a:close/>
                  <a:moveTo>
                    <a:pt x="74273" y="134297"/>
                  </a:moveTo>
                  <a:lnTo>
                    <a:pt x="73842" y="133433"/>
                  </a:lnTo>
                  <a:cubicBezTo>
                    <a:pt x="73410" y="133433"/>
                    <a:pt x="73410" y="133865"/>
                    <a:pt x="72978" y="133865"/>
                  </a:cubicBezTo>
                  <a:cubicBezTo>
                    <a:pt x="73410" y="134297"/>
                    <a:pt x="73410" y="134297"/>
                    <a:pt x="73842" y="134297"/>
                  </a:cubicBezTo>
                  <a:lnTo>
                    <a:pt x="74273" y="134297"/>
                  </a:lnTo>
                  <a:close/>
                  <a:moveTo>
                    <a:pt x="120478" y="34546"/>
                  </a:moveTo>
                  <a:cubicBezTo>
                    <a:pt x="120478" y="34546"/>
                    <a:pt x="120910" y="34546"/>
                    <a:pt x="121342" y="34546"/>
                  </a:cubicBezTo>
                  <a:cubicBezTo>
                    <a:pt x="121774" y="34546"/>
                    <a:pt x="121774" y="34546"/>
                    <a:pt x="122206" y="34114"/>
                  </a:cubicBezTo>
                  <a:cubicBezTo>
                    <a:pt x="122206" y="34546"/>
                    <a:pt x="122206" y="35409"/>
                    <a:pt x="121774" y="35409"/>
                  </a:cubicBezTo>
                  <a:lnTo>
                    <a:pt x="119615" y="38432"/>
                  </a:lnTo>
                  <a:cubicBezTo>
                    <a:pt x="118751" y="39296"/>
                    <a:pt x="117887" y="39296"/>
                    <a:pt x="117024" y="39296"/>
                  </a:cubicBezTo>
                  <a:cubicBezTo>
                    <a:pt x="117887" y="37137"/>
                    <a:pt x="118751" y="35841"/>
                    <a:pt x="120478" y="34546"/>
                  </a:cubicBezTo>
                  <a:close/>
                  <a:moveTo>
                    <a:pt x="125228" y="31523"/>
                  </a:moveTo>
                  <a:cubicBezTo>
                    <a:pt x="125228" y="31955"/>
                    <a:pt x="124365" y="31955"/>
                    <a:pt x="124365" y="32387"/>
                  </a:cubicBezTo>
                  <a:cubicBezTo>
                    <a:pt x="123933" y="32818"/>
                    <a:pt x="123501" y="32818"/>
                    <a:pt x="123501" y="33250"/>
                  </a:cubicBezTo>
                  <a:cubicBezTo>
                    <a:pt x="123069" y="33682"/>
                    <a:pt x="122637" y="33682"/>
                    <a:pt x="122637" y="34114"/>
                  </a:cubicBezTo>
                  <a:lnTo>
                    <a:pt x="122206" y="34114"/>
                  </a:lnTo>
                  <a:lnTo>
                    <a:pt x="125228" y="31523"/>
                  </a:lnTo>
                  <a:close/>
                  <a:moveTo>
                    <a:pt x="136888" y="21159"/>
                  </a:moveTo>
                  <a:cubicBezTo>
                    <a:pt x="139047" y="20296"/>
                    <a:pt x="140774" y="19000"/>
                    <a:pt x="142069" y="17273"/>
                  </a:cubicBezTo>
                  <a:cubicBezTo>
                    <a:pt x="142069" y="17273"/>
                    <a:pt x="142069" y="16841"/>
                    <a:pt x="142501" y="16841"/>
                  </a:cubicBezTo>
                  <a:cubicBezTo>
                    <a:pt x="142933" y="16841"/>
                    <a:pt x="143365" y="17273"/>
                    <a:pt x="144229" y="17273"/>
                  </a:cubicBezTo>
                  <a:lnTo>
                    <a:pt x="144229" y="17705"/>
                  </a:lnTo>
                  <a:cubicBezTo>
                    <a:pt x="144229" y="18136"/>
                    <a:pt x="143797" y="18568"/>
                    <a:pt x="143365" y="18568"/>
                  </a:cubicBezTo>
                  <a:cubicBezTo>
                    <a:pt x="142069" y="19864"/>
                    <a:pt x="140342" y="21159"/>
                    <a:pt x="138183" y="21159"/>
                  </a:cubicBezTo>
                  <a:lnTo>
                    <a:pt x="136888" y="21159"/>
                  </a:lnTo>
                  <a:close/>
                  <a:moveTo>
                    <a:pt x="146388" y="15977"/>
                  </a:moveTo>
                  <a:lnTo>
                    <a:pt x="146388" y="16409"/>
                  </a:lnTo>
                  <a:lnTo>
                    <a:pt x="145524" y="16409"/>
                  </a:lnTo>
                  <a:cubicBezTo>
                    <a:pt x="145092" y="16841"/>
                    <a:pt x="144660" y="16841"/>
                    <a:pt x="144660" y="17273"/>
                  </a:cubicBezTo>
                  <a:lnTo>
                    <a:pt x="144229" y="17273"/>
                  </a:lnTo>
                  <a:lnTo>
                    <a:pt x="145092" y="16409"/>
                  </a:lnTo>
                  <a:lnTo>
                    <a:pt x="145524" y="16409"/>
                  </a:lnTo>
                  <a:cubicBezTo>
                    <a:pt x="145524" y="15977"/>
                    <a:pt x="145524" y="15977"/>
                    <a:pt x="146388" y="15977"/>
                  </a:cubicBezTo>
                  <a:close/>
                  <a:moveTo>
                    <a:pt x="209002" y="130410"/>
                  </a:moveTo>
                  <a:cubicBezTo>
                    <a:pt x="208570" y="130410"/>
                    <a:pt x="208570" y="129978"/>
                    <a:pt x="208570" y="129978"/>
                  </a:cubicBezTo>
                  <a:lnTo>
                    <a:pt x="208570" y="130842"/>
                  </a:lnTo>
                  <a:lnTo>
                    <a:pt x="209002" y="130410"/>
                  </a:lnTo>
                  <a:close/>
                  <a:moveTo>
                    <a:pt x="215911" y="120046"/>
                  </a:moveTo>
                  <a:cubicBezTo>
                    <a:pt x="215911" y="120046"/>
                    <a:pt x="215479" y="120046"/>
                    <a:pt x="215479" y="120478"/>
                  </a:cubicBezTo>
                  <a:cubicBezTo>
                    <a:pt x="215479" y="120046"/>
                    <a:pt x="215479" y="120046"/>
                    <a:pt x="215479" y="120046"/>
                  </a:cubicBezTo>
                  <a:lnTo>
                    <a:pt x="215479" y="119615"/>
                  </a:lnTo>
                  <a:cubicBezTo>
                    <a:pt x="215911" y="119615"/>
                    <a:pt x="215911" y="119615"/>
                    <a:pt x="215911" y="120046"/>
                  </a:cubicBezTo>
                  <a:close/>
                </a:path>
              </a:pathLst>
            </a:custGeom>
            <a:solidFill>
              <a:srgbClr val="000000"/>
            </a:solidFill>
            <a:ln w="86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BADEA204-DA66-4296-A8F5-34C0E4338093}"/>
                </a:ext>
              </a:extLst>
            </p:cNvPr>
            <p:cNvSpPr/>
            <p:nvPr/>
          </p:nvSpPr>
          <p:spPr>
            <a:xfrm>
              <a:off x="1140701" y="6153056"/>
              <a:ext cx="172729" cy="198638"/>
            </a:xfrm>
            <a:custGeom>
              <a:avLst/>
              <a:gdLst>
                <a:gd name="connsiteX0" fmla="*/ 165388 w 172728"/>
                <a:gd name="connsiteY0" fmla="*/ 101478 h 198638"/>
                <a:gd name="connsiteX1" fmla="*/ 164092 w 172728"/>
                <a:gd name="connsiteY1" fmla="*/ 104501 h 198638"/>
                <a:gd name="connsiteX2" fmla="*/ 160638 w 172728"/>
                <a:gd name="connsiteY2" fmla="*/ 107524 h 198638"/>
                <a:gd name="connsiteX3" fmla="*/ 159774 w 172728"/>
                <a:gd name="connsiteY3" fmla="*/ 109251 h 198638"/>
                <a:gd name="connsiteX4" fmla="*/ 159342 w 172728"/>
                <a:gd name="connsiteY4" fmla="*/ 110115 h 198638"/>
                <a:gd name="connsiteX5" fmla="*/ 160206 w 172728"/>
                <a:gd name="connsiteY5" fmla="*/ 111842 h 198638"/>
                <a:gd name="connsiteX6" fmla="*/ 161070 w 172728"/>
                <a:gd name="connsiteY6" fmla="*/ 112274 h 198638"/>
                <a:gd name="connsiteX7" fmla="*/ 162797 w 172728"/>
                <a:gd name="connsiteY7" fmla="*/ 112706 h 198638"/>
                <a:gd name="connsiteX8" fmla="*/ 163229 w 172728"/>
                <a:gd name="connsiteY8" fmla="*/ 112274 h 198638"/>
                <a:gd name="connsiteX9" fmla="*/ 164092 w 172728"/>
                <a:gd name="connsiteY9" fmla="*/ 112706 h 198638"/>
                <a:gd name="connsiteX10" fmla="*/ 160638 w 172728"/>
                <a:gd name="connsiteY10" fmla="*/ 117888 h 198638"/>
                <a:gd name="connsiteX11" fmla="*/ 159342 w 172728"/>
                <a:gd name="connsiteY11" fmla="*/ 120478 h 198638"/>
                <a:gd name="connsiteX12" fmla="*/ 158047 w 172728"/>
                <a:gd name="connsiteY12" fmla="*/ 120910 h 198638"/>
                <a:gd name="connsiteX13" fmla="*/ 158479 w 172728"/>
                <a:gd name="connsiteY13" fmla="*/ 119615 h 198638"/>
                <a:gd name="connsiteX14" fmla="*/ 158047 w 172728"/>
                <a:gd name="connsiteY14" fmla="*/ 117888 h 198638"/>
                <a:gd name="connsiteX15" fmla="*/ 159342 w 172728"/>
                <a:gd name="connsiteY15" fmla="*/ 114433 h 198638"/>
                <a:gd name="connsiteX16" fmla="*/ 159774 w 172728"/>
                <a:gd name="connsiteY16" fmla="*/ 113569 h 198638"/>
                <a:gd name="connsiteX17" fmla="*/ 159342 w 172728"/>
                <a:gd name="connsiteY17" fmla="*/ 113569 h 198638"/>
                <a:gd name="connsiteX18" fmla="*/ 158479 w 172728"/>
                <a:gd name="connsiteY18" fmla="*/ 113569 h 198638"/>
                <a:gd name="connsiteX19" fmla="*/ 156751 w 172728"/>
                <a:gd name="connsiteY19" fmla="*/ 115728 h 198638"/>
                <a:gd name="connsiteX20" fmla="*/ 155456 w 172728"/>
                <a:gd name="connsiteY20" fmla="*/ 117024 h 198638"/>
                <a:gd name="connsiteX21" fmla="*/ 155024 w 172728"/>
                <a:gd name="connsiteY21" fmla="*/ 117024 h 198638"/>
                <a:gd name="connsiteX22" fmla="*/ 154161 w 172728"/>
                <a:gd name="connsiteY22" fmla="*/ 116592 h 198638"/>
                <a:gd name="connsiteX23" fmla="*/ 154161 w 172728"/>
                <a:gd name="connsiteY23" fmla="*/ 115728 h 198638"/>
                <a:gd name="connsiteX24" fmla="*/ 153729 w 172728"/>
                <a:gd name="connsiteY24" fmla="*/ 114865 h 198638"/>
                <a:gd name="connsiteX25" fmla="*/ 153297 w 172728"/>
                <a:gd name="connsiteY25" fmla="*/ 115728 h 198638"/>
                <a:gd name="connsiteX26" fmla="*/ 152001 w 172728"/>
                <a:gd name="connsiteY26" fmla="*/ 116592 h 198638"/>
                <a:gd name="connsiteX27" fmla="*/ 152001 w 172728"/>
                <a:gd name="connsiteY27" fmla="*/ 119615 h 198638"/>
                <a:gd name="connsiteX28" fmla="*/ 151570 w 172728"/>
                <a:gd name="connsiteY28" fmla="*/ 120047 h 198638"/>
                <a:gd name="connsiteX29" fmla="*/ 148547 w 172728"/>
                <a:gd name="connsiteY29" fmla="*/ 118751 h 198638"/>
                <a:gd name="connsiteX30" fmla="*/ 147683 w 172728"/>
                <a:gd name="connsiteY30" fmla="*/ 119183 h 198638"/>
                <a:gd name="connsiteX31" fmla="*/ 148115 w 172728"/>
                <a:gd name="connsiteY31" fmla="*/ 120478 h 198638"/>
                <a:gd name="connsiteX32" fmla="*/ 147251 w 172728"/>
                <a:gd name="connsiteY32" fmla="*/ 121774 h 198638"/>
                <a:gd name="connsiteX33" fmla="*/ 143797 w 172728"/>
                <a:gd name="connsiteY33" fmla="*/ 126956 h 198638"/>
                <a:gd name="connsiteX34" fmla="*/ 143365 w 172728"/>
                <a:gd name="connsiteY34" fmla="*/ 127388 h 198638"/>
                <a:gd name="connsiteX35" fmla="*/ 142501 w 172728"/>
                <a:gd name="connsiteY35" fmla="*/ 127388 h 198638"/>
                <a:gd name="connsiteX36" fmla="*/ 142069 w 172728"/>
                <a:gd name="connsiteY36" fmla="*/ 127819 h 198638"/>
                <a:gd name="connsiteX37" fmla="*/ 142069 w 172728"/>
                <a:gd name="connsiteY37" fmla="*/ 128683 h 198638"/>
                <a:gd name="connsiteX38" fmla="*/ 141206 w 172728"/>
                <a:gd name="connsiteY38" fmla="*/ 130842 h 198638"/>
                <a:gd name="connsiteX39" fmla="*/ 138615 w 172728"/>
                <a:gd name="connsiteY39" fmla="*/ 133001 h 198638"/>
                <a:gd name="connsiteX40" fmla="*/ 136456 w 172728"/>
                <a:gd name="connsiteY40" fmla="*/ 133865 h 198638"/>
                <a:gd name="connsiteX41" fmla="*/ 135592 w 172728"/>
                <a:gd name="connsiteY41" fmla="*/ 134729 h 198638"/>
                <a:gd name="connsiteX42" fmla="*/ 134729 w 172728"/>
                <a:gd name="connsiteY42" fmla="*/ 135160 h 198638"/>
                <a:gd name="connsiteX43" fmla="*/ 135592 w 172728"/>
                <a:gd name="connsiteY43" fmla="*/ 135592 h 198638"/>
                <a:gd name="connsiteX44" fmla="*/ 136024 w 172728"/>
                <a:gd name="connsiteY44" fmla="*/ 136024 h 198638"/>
                <a:gd name="connsiteX45" fmla="*/ 136888 w 172728"/>
                <a:gd name="connsiteY45" fmla="*/ 136888 h 198638"/>
                <a:gd name="connsiteX46" fmla="*/ 135160 w 172728"/>
                <a:gd name="connsiteY46" fmla="*/ 139047 h 198638"/>
                <a:gd name="connsiteX47" fmla="*/ 133433 w 172728"/>
                <a:gd name="connsiteY47" fmla="*/ 139910 h 198638"/>
                <a:gd name="connsiteX48" fmla="*/ 130410 w 172728"/>
                <a:gd name="connsiteY48" fmla="*/ 141638 h 198638"/>
                <a:gd name="connsiteX49" fmla="*/ 129115 w 172728"/>
                <a:gd name="connsiteY49" fmla="*/ 145092 h 198638"/>
                <a:gd name="connsiteX50" fmla="*/ 128251 w 172728"/>
                <a:gd name="connsiteY50" fmla="*/ 148115 h 198638"/>
                <a:gd name="connsiteX51" fmla="*/ 128683 w 172728"/>
                <a:gd name="connsiteY51" fmla="*/ 148979 h 198638"/>
                <a:gd name="connsiteX52" fmla="*/ 129115 w 172728"/>
                <a:gd name="connsiteY52" fmla="*/ 149410 h 198638"/>
                <a:gd name="connsiteX53" fmla="*/ 128683 w 172728"/>
                <a:gd name="connsiteY53" fmla="*/ 149842 h 198638"/>
                <a:gd name="connsiteX54" fmla="*/ 128251 w 172728"/>
                <a:gd name="connsiteY54" fmla="*/ 150706 h 198638"/>
                <a:gd name="connsiteX55" fmla="*/ 128683 w 172728"/>
                <a:gd name="connsiteY55" fmla="*/ 151570 h 198638"/>
                <a:gd name="connsiteX56" fmla="*/ 129115 w 172728"/>
                <a:gd name="connsiteY56" fmla="*/ 152001 h 198638"/>
                <a:gd name="connsiteX57" fmla="*/ 129547 w 172728"/>
                <a:gd name="connsiteY57" fmla="*/ 151570 h 198638"/>
                <a:gd name="connsiteX58" fmla="*/ 131274 w 172728"/>
                <a:gd name="connsiteY58" fmla="*/ 149410 h 198638"/>
                <a:gd name="connsiteX59" fmla="*/ 131274 w 172728"/>
                <a:gd name="connsiteY59" fmla="*/ 148979 h 198638"/>
                <a:gd name="connsiteX60" fmla="*/ 132569 w 172728"/>
                <a:gd name="connsiteY60" fmla="*/ 147683 h 198638"/>
                <a:gd name="connsiteX61" fmla="*/ 135160 w 172728"/>
                <a:gd name="connsiteY61" fmla="*/ 145956 h 198638"/>
                <a:gd name="connsiteX62" fmla="*/ 136024 w 172728"/>
                <a:gd name="connsiteY62" fmla="*/ 144229 h 198638"/>
                <a:gd name="connsiteX63" fmla="*/ 136888 w 172728"/>
                <a:gd name="connsiteY63" fmla="*/ 144660 h 198638"/>
                <a:gd name="connsiteX64" fmla="*/ 135160 w 172728"/>
                <a:gd name="connsiteY64" fmla="*/ 147251 h 198638"/>
                <a:gd name="connsiteX65" fmla="*/ 134729 w 172728"/>
                <a:gd name="connsiteY65" fmla="*/ 147683 h 198638"/>
                <a:gd name="connsiteX66" fmla="*/ 134729 w 172728"/>
                <a:gd name="connsiteY66" fmla="*/ 148115 h 198638"/>
                <a:gd name="connsiteX67" fmla="*/ 132138 w 172728"/>
                <a:gd name="connsiteY67" fmla="*/ 151570 h 198638"/>
                <a:gd name="connsiteX68" fmla="*/ 129547 w 172728"/>
                <a:gd name="connsiteY68" fmla="*/ 154592 h 198638"/>
                <a:gd name="connsiteX69" fmla="*/ 125660 w 172728"/>
                <a:gd name="connsiteY69" fmla="*/ 158047 h 198638"/>
                <a:gd name="connsiteX70" fmla="*/ 124365 w 172728"/>
                <a:gd name="connsiteY70" fmla="*/ 158911 h 198638"/>
                <a:gd name="connsiteX71" fmla="*/ 123933 w 172728"/>
                <a:gd name="connsiteY71" fmla="*/ 158911 h 198638"/>
                <a:gd name="connsiteX72" fmla="*/ 122206 w 172728"/>
                <a:gd name="connsiteY72" fmla="*/ 157183 h 198638"/>
                <a:gd name="connsiteX73" fmla="*/ 121774 w 172728"/>
                <a:gd name="connsiteY73" fmla="*/ 156752 h 198638"/>
                <a:gd name="connsiteX74" fmla="*/ 121774 w 172728"/>
                <a:gd name="connsiteY74" fmla="*/ 156320 h 198638"/>
                <a:gd name="connsiteX75" fmla="*/ 122206 w 172728"/>
                <a:gd name="connsiteY75" fmla="*/ 155888 h 198638"/>
                <a:gd name="connsiteX76" fmla="*/ 123069 w 172728"/>
                <a:gd name="connsiteY76" fmla="*/ 155024 h 198638"/>
                <a:gd name="connsiteX77" fmla="*/ 123501 w 172728"/>
                <a:gd name="connsiteY77" fmla="*/ 154592 h 198638"/>
                <a:gd name="connsiteX78" fmla="*/ 123069 w 172728"/>
                <a:gd name="connsiteY78" fmla="*/ 154161 h 198638"/>
                <a:gd name="connsiteX79" fmla="*/ 122206 w 172728"/>
                <a:gd name="connsiteY79" fmla="*/ 153297 h 198638"/>
                <a:gd name="connsiteX80" fmla="*/ 123069 w 172728"/>
                <a:gd name="connsiteY80" fmla="*/ 152865 h 198638"/>
                <a:gd name="connsiteX81" fmla="*/ 123069 w 172728"/>
                <a:gd name="connsiteY81" fmla="*/ 152433 h 198638"/>
                <a:gd name="connsiteX82" fmla="*/ 123501 w 172728"/>
                <a:gd name="connsiteY82" fmla="*/ 152001 h 198638"/>
                <a:gd name="connsiteX83" fmla="*/ 123501 w 172728"/>
                <a:gd name="connsiteY83" fmla="*/ 151570 h 198638"/>
                <a:gd name="connsiteX84" fmla="*/ 122637 w 172728"/>
                <a:gd name="connsiteY84" fmla="*/ 151138 h 198638"/>
                <a:gd name="connsiteX85" fmla="*/ 122206 w 172728"/>
                <a:gd name="connsiteY85" fmla="*/ 151138 h 198638"/>
                <a:gd name="connsiteX86" fmla="*/ 118751 w 172728"/>
                <a:gd name="connsiteY86" fmla="*/ 154592 h 198638"/>
                <a:gd name="connsiteX87" fmla="*/ 118319 w 172728"/>
                <a:gd name="connsiteY87" fmla="*/ 155024 h 198638"/>
                <a:gd name="connsiteX88" fmla="*/ 118751 w 172728"/>
                <a:gd name="connsiteY88" fmla="*/ 155456 h 198638"/>
                <a:gd name="connsiteX89" fmla="*/ 119615 w 172728"/>
                <a:gd name="connsiteY89" fmla="*/ 155456 h 198638"/>
                <a:gd name="connsiteX90" fmla="*/ 120047 w 172728"/>
                <a:gd name="connsiteY90" fmla="*/ 155888 h 198638"/>
                <a:gd name="connsiteX91" fmla="*/ 119183 w 172728"/>
                <a:gd name="connsiteY91" fmla="*/ 156320 h 198638"/>
                <a:gd name="connsiteX92" fmla="*/ 117456 w 172728"/>
                <a:gd name="connsiteY92" fmla="*/ 158911 h 198638"/>
                <a:gd name="connsiteX93" fmla="*/ 117456 w 172728"/>
                <a:gd name="connsiteY93" fmla="*/ 159774 h 198638"/>
                <a:gd name="connsiteX94" fmla="*/ 117887 w 172728"/>
                <a:gd name="connsiteY94" fmla="*/ 161501 h 198638"/>
                <a:gd name="connsiteX95" fmla="*/ 117887 w 172728"/>
                <a:gd name="connsiteY95" fmla="*/ 161933 h 198638"/>
                <a:gd name="connsiteX96" fmla="*/ 117024 w 172728"/>
                <a:gd name="connsiteY96" fmla="*/ 162797 h 198638"/>
                <a:gd name="connsiteX97" fmla="*/ 116592 w 172728"/>
                <a:gd name="connsiteY97" fmla="*/ 163229 h 198638"/>
                <a:gd name="connsiteX98" fmla="*/ 117024 w 172728"/>
                <a:gd name="connsiteY98" fmla="*/ 163229 h 198638"/>
                <a:gd name="connsiteX99" fmla="*/ 117456 w 172728"/>
                <a:gd name="connsiteY99" fmla="*/ 164092 h 198638"/>
                <a:gd name="connsiteX100" fmla="*/ 117887 w 172728"/>
                <a:gd name="connsiteY100" fmla="*/ 164956 h 198638"/>
                <a:gd name="connsiteX101" fmla="*/ 116592 w 172728"/>
                <a:gd name="connsiteY101" fmla="*/ 166252 h 198638"/>
                <a:gd name="connsiteX102" fmla="*/ 114433 w 172728"/>
                <a:gd name="connsiteY102" fmla="*/ 166683 h 198638"/>
                <a:gd name="connsiteX103" fmla="*/ 113569 w 172728"/>
                <a:gd name="connsiteY103" fmla="*/ 167547 h 198638"/>
                <a:gd name="connsiteX104" fmla="*/ 114001 w 172728"/>
                <a:gd name="connsiteY104" fmla="*/ 168411 h 198638"/>
                <a:gd name="connsiteX105" fmla="*/ 114433 w 172728"/>
                <a:gd name="connsiteY105" fmla="*/ 169274 h 198638"/>
                <a:gd name="connsiteX106" fmla="*/ 114433 w 172728"/>
                <a:gd name="connsiteY106" fmla="*/ 169706 h 198638"/>
                <a:gd name="connsiteX107" fmla="*/ 113569 w 172728"/>
                <a:gd name="connsiteY107" fmla="*/ 169706 h 198638"/>
                <a:gd name="connsiteX108" fmla="*/ 111410 w 172728"/>
                <a:gd name="connsiteY108" fmla="*/ 168842 h 198638"/>
                <a:gd name="connsiteX109" fmla="*/ 110546 w 172728"/>
                <a:gd name="connsiteY109" fmla="*/ 168842 h 198638"/>
                <a:gd name="connsiteX110" fmla="*/ 109683 w 172728"/>
                <a:gd name="connsiteY110" fmla="*/ 167979 h 198638"/>
                <a:gd name="connsiteX111" fmla="*/ 110978 w 172728"/>
                <a:gd name="connsiteY111" fmla="*/ 166683 h 198638"/>
                <a:gd name="connsiteX112" fmla="*/ 110546 w 172728"/>
                <a:gd name="connsiteY112" fmla="*/ 166252 h 198638"/>
                <a:gd name="connsiteX113" fmla="*/ 110978 w 172728"/>
                <a:gd name="connsiteY113" fmla="*/ 165820 h 198638"/>
                <a:gd name="connsiteX114" fmla="*/ 109251 w 172728"/>
                <a:gd name="connsiteY114" fmla="*/ 166252 h 198638"/>
                <a:gd name="connsiteX115" fmla="*/ 104933 w 172728"/>
                <a:gd name="connsiteY115" fmla="*/ 166252 h 198638"/>
                <a:gd name="connsiteX116" fmla="*/ 104501 w 172728"/>
                <a:gd name="connsiteY116" fmla="*/ 167547 h 198638"/>
                <a:gd name="connsiteX117" fmla="*/ 107524 w 172728"/>
                <a:gd name="connsiteY117" fmla="*/ 170138 h 198638"/>
                <a:gd name="connsiteX118" fmla="*/ 107956 w 172728"/>
                <a:gd name="connsiteY118" fmla="*/ 170570 h 198638"/>
                <a:gd name="connsiteX119" fmla="*/ 107956 w 172728"/>
                <a:gd name="connsiteY119" fmla="*/ 171002 h 198638"/>
                <a:gd name="connsiteX120" fmla="*/ 108387 w 172728"/>
                <a:gd name="connsiteY120" fmla="*/ 171865 h 198638"/>
                <a:gd name="connsiteX121" fmla="*/ 108387 w 172728"/>
                <a:gd name="connsiteY121" fmla="*/ 173161 h 198638"/>
                <a:gd name="connsiteX122" fmla="*/ 104501 w 172728"/>
                <a:gd name="connsiteY122" fmla="*/ 177911 h 198638"/>
                <a:gd name="connsiteX123" fmla="*/ 102774 w 172728"/>
                <a:gd name="connsiteY123" fmla="*/ 179206 h 198638"/>
                <a:gd name="connsiteX124" fmla="*/ 100183 w 172728"/>
                <a:gd name="connsiteY124" fmla="*/ 182229 h 198638"/>
                <a:gd name="connsiteX125" fmla="*/ 96296 w 172728"/>
                <a:gd name="connsiteY125" fmla="*/ 185252 h 198638"/>
                <a:gd name="connsiteX126" fmla="*/ 93274 w 172728"/>
                <a:gd name="connsiteY126" fmla="*/ 187411 h 198638"/>
                <a:gd name="connsiteX127" fmla="*/ 88955 w 172728"/>
                <a:gd name="connsiteY127" fmla="*/ 190434 h 198638"/>
                <a:gd name="connsiteX128" fmla="*/ 86364 w 172728"/>
                <a:gd name="connsiteY128" fmla="*/ 192161 h 198638"/>
                <a:gd name="connsiteX129" fmla="*/ 82910 w 172728"/>
                <a:gd name="connsiteY129" fmla="*/ 193888 h 198638"/>
                <a:gd name="connsiteX130" fmla="*/ 73842 w 172728"/>
                <a:gd name="connsiteY130" fmla="*/ 198206 h 198638"/>
                <a:gd name="connsiteX131" fmla="*/ 71683 w 172728"/>
                <a:gd name="connsiteY131" fmla="*/ 200365 h 198638"/>
                <a:gd name="connsiteX132" fmla="*/ 68660 w 172728"/>
                <a:gd name="connsiteY132" fmla="*/ 200365 h 198638"/>
                <a:gd name="connsiteX133" fmla="*/ 67364 w 172728"/>
                <a:gd name="connsiteY133" fmla="*/ 200797 h 198638"/>
                <a:gd name="connsiteX134" fmla="*/ 64341 w 172728"/>
                <a:gd name="connsiteY134" fmla="*/ 202093 h 198638"/>
                <a:gd name="connsiteX135" fmla="*/ 61319 w 172728"/>
                <a:gd name="connsiteY135" fmla="*/ 202525 h 198638"/>
                <a:gd name="connsiteX136" fmla="*/ 59160 w 172728"/>
                <a:gd name="connsiteY136" fmla="*/ 203388 h 198638"/>
                <a:gd name="connsiteX137" fmla="*/ 58296 w 172728"/>
                <a:gd name="connsiteY137" fmla="*/ 203820 h 198638"/>
                <a:gd name="connsiteX138" fmla="*/ 57864 w 172728"/>
                <a:gd name="connsiteY138" fmla="*/ 203388 h 198638"/>
                <a:gd name="connsiteX139" fmla="*/ 55705 w 172728"/>
                <a:gd name="connsiteY139" fmla="*/ 202956 h 198638"/>
                <a:gd name="connsiteX140" fmla="*/ 53546 w 172728"/>
                <a:gd name="connsiteY140" fmla="*/ 203388 h 198638"/>
                <a:gd name="connsiteX141" fmla="*/ 51387 w 172728"/>
                <a:gd name="connsiteY141" fmla="*/ 203820 h 198638"/>
                <a:gd name="connsiteX142" fmla="*/ 46205 w 172728"/>
                <a:gd name="connsiteY142" fmla="*/ 203820 h 198638"/>
                <a:gd name="connsiteX143" fmla="*/ 44046 w 172728"/>
                <a:gd name="connsiteY143" fmla="*/ 203388 h 198638"/>
                <a:gd name="connsiteX144" fmla="*/ 37137 w 172728"/>
                <a:gd name="connsiteY144" fmla="*/ 203388 h 198638"/>
                <a:gd name="connsiteX145" fmla="*/ 35409 w 172728"/>
                <a:gd name="connsiteY145" fmla="*/ 202956 h 198638"/>
                <a:gd name="connsiteX146" fmla="*/ 34114 w 172728"/>
                <a:gd name="connsiteY146" fmla="*/ 202525 h 198638"/>
                <a:gd name="connsiteX147" fmla="*/ 27637 w 172728"/>
                <a:gd name="connsiteY147" fmla="*/ 201229 h 198638"/>
                <a:gd name="connsiteX148" fmla="*/ 26773 w 172728"/>
                <a:gd name="connsiteY148" fmla="*/ 200797 h 198638"/>
                <a:gd name="connsiteX149" fmla="*/ 24182 w 172728"/>
                <a:gd name="connsiteY149" fmla="*/ 199502 h 198638"/>
                <a:gd name="connsiteX150" fmla="*/ 22455 w 172728"/>
                <a:gd name="connsiteY150" fmla="*/ 198206 h 198638"/>
                <a:gd name="connsiteX151" fmla="*/ 19864 w 172728"/>
                <a:gd name="connsiteY151" fmla="*/ 196479 h 198638"/>
                <a:gd name="connsiteX152" fmla="*/ 16841 w 172728"/>
                <a:gd name="connsiteY152" fmla="*/ 196479 h 198638"/>
                <a:gd name="connsiteX153" fmla="*/ 16409 w 172728"/>
                <a:gd name="connsiteY153" fmla="*/ 195615 h 198638"/>
                <a:gd name="connsiteX154" fmla="*/ 17273 w 172728"/>
                <a:gd name="connsiteY154" fmla="*/ 194752 h 198638"/>
                <a:gd name="connsiteX155" fmla="*/ 17273 w 172728"/>
                <a:gd name="connsiteY155" fmla="*/ 194320 h 198638"/>
                <a:gd name="connsiteX156" fmla="*/ 16841 w 172728"/>
                <a:gd name="connsiteY156" fmla="*/ 193888 h 198638"/>
                <a:gd name="connsiteX157" fmla="*/ 15977 w 172728"/>
                <a:gd name="connsiteY157" fmla="*/ 193456 h 198638"/>
                <a:gd name="connsiteX158" fmla="*/ 13387 w 172728"/>
                <a:gd name="connsiteY158" fmla="*/ 192593 h 198638"/>
                <a:gd name="connsiteX159" fmla="*/ 12955 w 172728"/>
                <a:gd name="connsiteY159" fmla="*/ 192593 h 198638"/>
                <a:gd name="connsiteX160" fmla="*/ 12523 w 172728"/>
                <a:gd name="connsiteY160" fmla="*/ 192161 h 198638"/>
                <a:gd name="connsiteX161" fmla="*/ 12955 w 172728"/>
                <a:gd name="connsiteY161" fmla="*/ 191297 h 198638"/>
                <a:gd name="connsiteX162" fmla="*/ 12955 w 172728"/>
                <a:gd name="connsiteY162" fmla="*/ 190434 h 198638"/>
                <a:gd name="connsiteX163" fmla="*/ 11227 w 172728"/>
                <a:gd name="connsiteY163" fmla="*/ 190434 h 198638"/>
                <a:gd name="connsiteX164" fmla="*/ 10796 w 172728"/>
                <a:gd name="connsiteY164" fmla="*/ 189138 h 198638"/>
                <a:gd name="connsiteX165" fmla="*/ 11227 w 172728"/>
                <a:gd name="connsiteY165" fmla="*/ 189138 h 198638"/>
                <a:gd name="connsiteX166" fmla="*/ 12091 w 172728"/>
                <a:gd name="connsiteY166" fmla="*/ 187411 h 198638"/>
                <a:gd name="connsiteX167" fmla="*/ 10796 w 172728"/>
                <a:gd name="connsiteY167" fmla="*/ 185252 h 198638"/>
                <a:gd name="connsiteX168" fmla="*/ 3455 w 172728"/>
                <a:gd name="connsiteY168" fmla="*/ 174888 h 198638"/>
                <a:gd name="connsiteX169" fmla="*/ 2591 w 172728"/>
                <a:gd name="connsiteY169" fmla="*/ 172297 h 198638"/>
                <a:gd name="connsiteX170" fmla="*/ 1295 w 172728"/>
                <a:gd name="connsiteY170" fmla="*/ 167979 h 198638"/>
                <a:gd name="connsiteX171" fmla="*/ 1295 w 172728"/>
                <a:gd name="connsiteY171" fmla="*/ 163229 h 198638"/>
                <a:gd name="connsiteX172" fmla="*/ 864 w 172728"/>
                <a:gd name="connsiteY172" fmla="*/ 161070 h 198638"/>
                <a:gd name="connsiteX173" fmla="*/ 1295 w 172728"/>
                <a:gd name="connsiteY173" fmla="*/ 159774 h 198638"/>
                <a:gd name="connsiteX174" fmla="*/ 1295 w 172728"/>
                <a:gd name="connsiteY174" fmla="*/ 157183 h 198638"/>
                <a:gd name="connsiteX175" fmla="*/ 1727 w 172728"/>
                <a:gd name="connsiteY175" fmla="*/ 155888 h 198638"/>
                <a:gd name="connsiteX176" fmla="*/ 1295 w 172728"/>
                <a:gd name="connsiteY176" fmla="*/ 154592 h 198638"/>
                <a:gd name="connsiteX177" fmla="*/ 864 w 172728"/>
                <a:gd name="connsiteY177" fmla="*/ 152001 h 198638"/>
                <a:gd name="connsiteX178" fmla="*/ 864 w 172728"/>
                <a:gd name="connsiteY178" fmla="*/ 151138 h 198638"/>
                <a:gd name="connsiteX179" fmla="*/ 1295 w 172728"/>
                <a:gd name="connsiteY179" fmla="*/ 149410 h 198638"/>
                <a:gd name="connsiteX180" fmla="*/ 432 w 172728"/>
                <a:gd name="connsiteY180" fmla="*/ 148115 h 198638"/>
                <a:gd name="connsiteX181" fmla="*/ 0 w 172728"/>
                <a:gd name="connsiteY181" fmla="*/ 146820 h 198638"/>
                <a:gd name="connsiteX182" fmla="*/ 864 w 172728"/>
                <a:gd name="connsiteY182" fmla="*/ 144660 h 198638"/>
                <a:gd name="connsiteX183" fmla="*/ 432 w 172728"/>
                <a:gd name="connsiteY183" fmla="*/ 142501 h 198638"/>
                <a:gd name="connsiteX184" fmla="*/ 864 w 172728"/>
                <a:gd name="connsiteY184" fmla="*/ 136888 h 198638"/>
                <a:gd name="connsiteX185" fmla="*/ 432 w 172728"/>
                <a:gd name="connsiteY185" fmla="*/ 135592 h 198638"/>
                <a:gd name="connsiteX186" fmla="*/ 1295 w 172728"/>
                <a:gd name="connsiteY186" fmla="*/ 133433 h 198638"/>
                <a:gd name="connsiteX187" fmla="*/ 1727 w 172728"/>
                <a:gd name="connsiteY187" fmla="*/ 132569 h 198638"/>
                <a:gd name="connsiteX188" fmla="*/ 2591 w 172728"/>
                <a:gd name="connsiteY188" fmla="*/ 133865 h 198638"/>
                <a:gd name="connsiteX189" fmla="*/ 2591 w 172728"/>
                <a:gd name="connsiteY189" fmla="*/ 134729 h 198638"/>
                <a:gd name="connsiteX190" fmla="*/ 3023 w 172728"/>
                <a:gd name="connsiteY190" fmla="*/ 134297 h 198638"/>
                <a:gd name="connsiteX191" fmla="*/ 3023 w 172728"/>
                <a:gd name="connsiteY191" fmla="*/ 130410 h 198638"/>
                <a:gd name="connsiteX192" fmla="*/ 3455 w 172728"/>
                <a:gd name="connsiteY192" fmla="*/ 129547 h 198638"/>
                <a:gd name="connsiteX193" fmla="*/ 4318 w 172728"/>
                <a:gd name="connsiteY193" fmla="*/ 128683 h 198638"/>
                <a:gd name="connsiteX194" fmla="*/ 3886 w 172728"/>
                <a:gd name="connsiteY194" fmla="*/ 128683 h 198638"/>
                <a:gd name="connsiteX195" fmla="*/ 3023 w 172728"/>
                <a:gd name="connsiteY195" fmla="*/ 125228 h 198638"/>
                <a:gd name="connsiteX196" fmla="*/ 3023 w 172728"/>
                <a:gd name="connsiteY196" fmla="*/ 124365 h 198638"/>
                <a:gd name="connsiteX197" fmla="*/ 2591 w 172728"/>
                <a:gd name="connsiteY197" fmla="*/ 123501 h 198638"/>
                <a:gd name="connsiteX198" fmla="*/ 3023 w 172728"/>
                <a:gd name="connsiteY198" fmla="*/ 120910 h 198638"/>
                <a:gd name="connsiteX199" fmla="*/ 3023 w 172728"/>
                <a:gd name="connsiteY199" fmla="*/ 119615 h 198638"/>
                <a:gd name="connsiteX200" fmla="*/ 3455 w 172728"/>
                <a:gd name="connsiteY200" fmla="*/ 117888 h 198638"/>
                <a:gd name="connsiteX201" fmla="*/ 4318 w 172728"/>
                <a:gd name="connsiteY201" fmla="*/ 117456 h 198638"/>
                <a:gd name="connsiteX202" fmla="*/ 5182 w 172728"/>
                <a:gd name="connsiteY202" fmla="*/ 116592 h 198638"/>
                <a:gd name="connsiteX203" fmla="*/ 5614 w 172728"/>
                <a:gd name="connsiteY203" fmla="*/ 116160 h 198638"/>
                <a:gd name="connsiteX204" fmla="*/ 5614 w 172728"/>
                <a:gd name="connsiteY204" fmla="*/ 115728 h 198638"/>
                <a:gd name="connsiteX205" fmla="*/ 5182 w 172728"/>
                <a:gd name="connsiteY205" fmla="*/ 115297 h 198638"/>
                <a:gd name="connsiteX206" fmla="*/ 4318 w 172728"/>
                <a:gd name="connsiteY206" fmla="*/ 115728 h 198638"/>
                <a:gd name="connsiteX207" fmla="*/ 3886 w 172728"/>
                <a:gd name="connsiteY207" fmla="*/ 115728 h 198638"/>
                <a:gd name="connsiteX208" fmla="*/ 4318 w 172728"/>
                <a:gd name="connsiteY208" fmla="*/ 114433 h 198638"/>
                <a:gd name="connsiteX209" fmla="*/ 4750 w 172728"/>
                <a:gd name="connsiteY209" fmla="*/ 113137 h 198638"/>
                <a:gd name="connsiteX210" fmla="*/ 3886 w 172728"/>
                <a:gd name="connsiteY210" fmla="*/ 110978 h 198638"/>
                <a:gd name="connsiteX211" fmla="*/ 4318 w 172728"/>
                <a:gd name="connsiteY211" fmla="*/ 110115 h 198638"/>
                <a:gd name="connsiteX212" fmla="*/ 3886 w 172728"/>
                <a:gd name="connsiteY212" fmla="*/ 108819 h 198638"/>
                <a:gd name="connsiteX213" fmla="*/ 3886 w 172728"/>
                <a:gd name="connsiteY213" fmla="*/ 108387 h 198638"/>
                <a:gd name="connsiteX214" fmla="*/ 5614 w 172728"/>
                <a:gd name="connsiteY214" fmla="*/ 104069 h 198638"/>
                <a:gd name="connsiteX215" fmla="*/ 5182 w 172728"/>
                <a:gd name="connsiteY215" fmla="*/ 102342 h 198638"/>
                <a:gd name="connsiteX216" fmla="*/ 6045 w 172728"/>
                <a:gd name="connsiteY216" fmla="*/ 98887 h 198638"/>
                <a:gd name="connsiteX217" fmla="*/ 6045 w 172728"/>
                <a:gd name="connsiteY217" fmla="*/ 98024 h 198638"/>
                <a:gd name="connsiteX218" fmla="*/ 7341 w 172728"/>
                <a:gd name="connsiteY218" fmla="*/ 96728 h 198638"/>
                <a:gd name="connsiteX219" fmla="*/ 7773 w 172728"/>
                <a:gd name="connsiteY219" fmla="*/ 95865 h 198638"/>
                <a:gd name="connsiteX220" fmla="*/ 7341 w 172728"/>
                <a:gd name="connsiteY220" fmla="*/ 94569 h 198638"/>
                <a:gd name="connsiteX221" fmla="*/ 7773 w 172728"/>
                <a:gd name="connsiteY221" fmla="*/ 92410 h 198638"/>
                <a:gd name="connsiteX222" fmla="*/ 8205 w 172728"/>
                <a:gd name="connsiteY222" fmla="*/ 91546 h 198638"/>
                <a:gd name="connsiteX223" fmla="*/ 9068 w 172728"/>
                <a:gd name="connsiteY223" fmla="*/ 89819 h 198638"/>
                <a:gd name="connsiteX224" fmla="*/ 9068 w 172728"/>
                <a:gd name="connsiteY224" fmla="*/ 87228 h 198638"/>
                <a:gd name="connsiteX225" fmla="*/ 9500 w 172728"/>
                <a:gd name="connsiteY225" fmla="*/ 82910 h 198638"/>
                <a:gd name="connsiteX226" fmla="*/ 12091 w 172728"/>
                <a:gd name="connsiteY226" fmla="*/ 78592 h 198638"/>
                <a:gd name="connsiteX227" fmla="*/ 12955 w 172728"/>
                <a:gd name="connsiteY227" fmla="*/ 76433 h 198638"/>
                <a:gd name="connsiteX228" fmla="*/ 12523 w 172728"/>
                <a:gd name="connsiteY228" fmla="*/ 74705 h 198638"/>
                <a:gd name="connsiteX229" fmla="*/ 13387 w 172728"/>
                <a:gd name="connsiteY229" fmla="*/ 72546 h 198638"/>
                <a:gd name="connsiteX230" fmla="*/ 16841 w 172728"/>
                <a:gd name="connsiteY230" fmla="*/ 64773 h 198638"/>
                <a:gd name="connsiteX231" fmla="*/ 17705 w 172728"/>
                <a:gd name="connsiteY231" fmla="*/ 61319 h 198638"/>
                <a:gd name="connsiteX232" fmla="*/ 19000 w 172728"/>
                <a:gd name="connsiteY232" fmla="*/ 57864 h 198638"/>
                <a:gd name="connsiteX233" fmla="*/ 20296 w 172728"/>
                <a:gd name="connsiteY233" fmla="*/ 57001 h 198638"/>
                <a:gd name="connsiteX234" fmla="*/ 22023 w 172728"/>
                <a:gd name="connsiteY234" fmla="*/ 52251 h 198638"/>
                <a:gd name="connsiteX235" fmla="*/ 25046 w 172728"/>
                <a:gd name="connsiteY235" fmla="*/ 46205 h 198638"/>
                <a:gd name="connsiteX236" fmla="*/ 25909 w 172728"/>
                <a:gd name="connsiteY236" fmla="*/ 42750 h 198638"/>
                <a:gd name="connsiteX237" fmla="*/ 26773 w 172728"/>
                <a:gd name="connsiteY237" fmla="*/ 41455 h 198638"/>
                <a:gd name="connsiteX238" fmla="*/ 29796 w 172728"/>
                <a:gd name="connsiteY238" fmla="*/ 37569 h 198638"/>
                <a:gd name="connsiteX239" fmla="*/ 33250 w 172728"/>
                <a:gd name="connsiteY239" fmla="*/ 31523 h 198638"/>
                <a:gd name="connsiteX240" fmla="*/ 33250 w 172728"/>
                <a:gd name="connsiteY240" fmla="*/ 31091 h 198638"/>
                <a:gd name="connsiteX241" fmla="*/ 35409 w 172728"/>
                <a:gd name="connsiteY241" fmla="*/ 27637 h 198638"/>
                <a:gd name="connsiteX242" fmla="*/ 35409 w 172728"/>
                <a:gd name="connsiteY242" fmla="*/ 27205 h 198638"/>
                <a:gd name="connsiteX243" fmla="*/ 40159 w 172728"/>
                <a:gd name="connsiteY243" fmla="*/ 19432 h 198638"/>
                <a:gd name="connsiteX244" fmla="*/ 46205 w 172728"/>
                <a:gd name="connsiteY244" fmla="*/ 12955 h 198638"/>
                <a:gd name="connsiteX245" fmla="*/ 47500 w 172728"/>
                <a:gd name="connsiteY245" fmla="*/ 10796 h 198638"/>
                <a:gd name="connsiteX246" fmla="*/ 50091 w 172728"/>
                <a:gd name="connsiteY246" fmla="*/ 9068 h 198638"/>
                <a:gd name="connsiteX247" fmla="*/ 54410 w 172728"/>
                <a:gd name="connsiteY247" fmla="*/ 6045 h 198638"/>
                <a:gd name="connsiteX248" fmla="*/ 55273 w 172728"/>
                <a:gd name="connsiteY248" fmla="*/ 5614 h 198638"/>
                <a:gd name="connsiteX249" fmla="*/ 60887 w 172728"/>
                <a:gd name="connsiteY249" fmla="*/ 2159 h 198638"/>
                <a:gd name="connsiteX250" fmla="*/ 64341 w 172728"/>
                <a:gd name="connsiteY250" fmla="*/ 864 h 198638"/>
                <a:gd name="connsiteX251" fmla="*/ 68228 w 172728"/>
                <a:gd name="connsiteY251" fmla="*/ 0 h 198638"/>
                <a:gd name="connsiteX252" fmla="*/ 76001 w 172728"/>
                <a:gd name="connsiteY252" fmla="*/ 0 h 198638"/>
                <a:gd name="connsiteX253" fmla="*/ 79023 w 172728"/>
                <a:gd name="connsiteY253" fmla="*/ 2159 h 198638"/>
                <a:gd name="connsiteX254" fmla="*/ 79887 w 172728"/>
                <a:gd name="connsiteY254" fmla="*/ 3023 h 198638"/>
                <a:gd name="connsiteX255" fmla="*/ 83773 w 172728"/>
                <a:gd name="connsiteY255" fmla="*/ 5614 h 198638"/>
                <a:gd name="connsiteX256" fmla="*/ 85501 w 172728"/>
                <a:gd name="connsiteY256" fmla="*/ 6909 h 198638"/>
                <a:gd name="connsiteX257" fmla="*/ 86796 w 172728"/>
                <a:gd name="connsiteY257" fmla="*/ 7773 h 198638"/>
                <a:gd name="connsiteX258" fmla="*/ 87660 w 172728"/>
                <a:gd name="connsiteY258" fmla="*/ 9068 h 198638"/>
                <a:gd name="connsiteX259" fmla="*/ 90251 w 172728"/>
                <a:gd name="connsiteY259" fmla="*/ 9932 h 198638"/>
                <a:gd name="connsiteX260" fmla="*/ 91115 w 172728"/>
                <a:gd name="connsiteY260" fmla="*/ 9932 h 198638"/>
                <a:gd name="connsiteX261" fmla="*/ 93705 w 172728"/>
                <a:gd name="connsiteY261" fmla="*/ 11659 h 198638"/>
                <a:gd name="connsiteX262" fmla="*/ 94137 w 172728"/>
                <a:gd name="connsiteY262" fmla="*/ 12955 h 198638"/>
                <a:gd name="connsiteX263" fmla="*/ 93705 w 172728"/>
                <a:gd name="connsiteY263" fmla="*/ 13818 h 198638"/>
                <a:gd name="connsiteX264" fmla="*/ 90683 w 172728"/>
                <a:gd name="connsiteY264" fmla="*/ 14682 h 198638"/>
                <a:gd name="connsiteX265" fmla="*/ 90251 w 172728"/>
                <a:gd name="connsiteY265" fmla="*/ 15114 h 198638"/>
                <a:gd name="connsiteX266" fmla="*/ 89819 w 172728"/>
                <a:gd name="connsiteY266" fmla="*/ 13818 h 198638"/>
                <a:gd name="connsiteX267" fmla="*/ 89819 w 172728"/>
                <a:gd name="connsiteY267" fmla="*/ 12955 h 198638"/>
                <a:gd name="connsiteX268" fmla="*/ 88524 w 172728"/>
                <a:gd name="connsiteY268" fmla="*/ 12955 h 198638"/>
                <a:gd name="connsiteX269" fmla="*/ 86796 w 172728"/>
                <a:gd name="connsiteY269" fmla="*/ 15546 h 198638"/>
                <a:gd name="connsiteX270" fmla="*/ 87228 w 172728"/>
                <a:gd name="connsiteY270" fmla="*/ 16409 h 198638"/>
                <a:gd name="connsiteX271" fmla="*/ 87660 w 172728"/>
                <a:gd name="connsiteY271" fmla="*/ 16841 h 198638"/>
                <a:gd name="connsiteX272" fmla="*/ 88524 w 172728"/>
                <a:gd name="connsiteY272" fmla="*/ 19000 h 198638"/>
                <a:gd name="connsiteX273" fmla="*/ 89387 w 172728"/>
                <a:gd name="connsiteY273" fmla="*/ 19864 h 198638"/>
                <a:gd name="connsiteX274" fmla="*/ 90251 w 172728"/>
                <a:gd name="connsiteY274" fmla="*/ 19432 h 198638"/>
                <a:gd name="connsiteX275" fmla="*/ 91115 w 172728"/>
                <a:gd name="connsiteY275" fmla="*/ 20728 h 198638"/>
                <a:gd name="connsiteX276" fmla="*/ 91978 w 172728"/>
                <a:gd name="connsiteY276" fmla="*/ 22455 h 198638"/>
                <a:gd name="connsiteX277" fmla="*/ 91546 w 172728"/>
                <a:gd name="connsiteY277" fmla="*/ 23318 h 198638"/>
                <a:gd name="connsiteX278" fmla="*/ 92410 w 172728"/>
                <a:gd name="connsiteY278" fmla="*/ 25046 h 198638"/>
                <a:gd name="connsiteX279" fmla="*/ 93274 w 172728"/>
                <a:gd name="connsiteY279" fmla="*/ 25046 h 198638"/>
                <a:gd name="connsiteX280" fmla="*/ 93274 w 172728"/>
                <a:gd name="connsiteY280" fmla="*/ 22887 h 198638"/>
                <a:gd name="connsiteX281" fmla="*/ 92842 w 172728"/>
                <a:gd name="connsiteY281" fmla="*/ 19000 h 198638"/>
                <a:gd name="connsiteX282" fmla="*/ 95001 w 172728"/>
                <a:gd name="connsiteY282" fmla="*/ 16841 h 198638"/>
                <a:gd name="connsiteX283" fmla="*/ 96728 w 172728"/>
                <a:gd name="connsiteY283" fmla="*/ 17273 h 198638"/>
                <a:gd name="connsiteX284" fmla="*/ 96296 w 172728"/>
                <a:gd name="connsiteY284" fmla="*/ 18137 h 198638"/>
                <a:gd name="connsiteX285" fmla="*/ 98455 w 172728"/>
                <a:gd name="connsiteY285" fmla="*/ 19864 h 198638"/>
                <a:gd name="connsiteX286" fmla="*/ 98887 w 172728"/>
                <a:gd name="connsiteY286" fmla="*/ 21159 h 198638"/>
                <a:gd name="connsiteX287" fmla="*/ 98887 w 172728"/>
                <a:gd name="connsiteY287" fmla="*/ 21591 h 198638"/>
                <a:gd name="connsiteX288" fmla="*/ 97592 w 172728"/>
                <a:gd name="connsiteY288" fmla="*/ 22887 h 198638"/>
                <a:gd name="connsiteX289" fmla="*/ 98455 w 172728"/>
                <a:gd name="connsiteY289" fmla="*/ 24182 h 198638"/>
                <a:gd name="connsiteX290" fmla="*/ 99319 w 172728"/>
                <a:gd name="connsiteY290" fmla="*/ 25046 h 198638"/>
                <a:gd name="connsiteX291" fmla="*/ 98887 w 172728"/>
                <a:gd name="connsiteY291" fmla="*/ 26341 h 198638"/>
                <a:gd name="connsiteX292" fmla="*/ 98455 w 172728"/>
                <a:gd name="connsiteY292" fmla="*/ 27205 h 198638"/>
                <a:gd name="connsiteX293" fmla="*/ 97160 w 172728"/>
                <a:gd name="connsiteY293" fmla="*/ 28932 h 198638"/>
                <a:gd name="connsiteX294" fmla="*/ 97592 w 172728"/>
                <a:gd name="connsiteY294" fmla="*/ 30228 h 198638"/>
                <a:gd name="connsiteX295" fmla="*/ 98024 w 172728"/>
                <a:gd name="connsiteY295" fmla="*/ 30659 h 198638"/>
                <a:gd name="connsiteX296" fmla="*/ 99319 w 172728"/>
                <a:gd name="connsiteY296" fmla="*/ 30659 h 198638"/>
                <a:gd name="connsiteX297" fmla="*/ 99319 w 172728"/>
                <a:gd name="connsiteY297" fmla="*/ 31091 h 198638"/>
                <a:gd name="connsiteX298" fmla="*/ 98024 w 172728"/>
                <a:gd name="connsiteY298" fmla="*/ 34114 h 198638"/>
                <a:gd name="connsiteX299" fmla="*/ 97592 w 172728"/>
                <a:gd name="connsiteY299" fmla="*/ 34978 h 198638"/>
                <a:gd name="connsiteX300" fmla="*/ 98024 w 172728"/>
                <a:gd name="connsiteY300" fmla="*/ 36273 h 198638"/>
                <a:gd name="connsiteX301" fmla="*/ 98887 w 172728"/>
                <a:gd name="connsiteY301" fmla="*/ 38432 h 198638"/>
                <a:gd name="connsiteX302" fmla="*/ 98887 w 172728"/>
                <a:gd name="connsiteY302" fmla="*/ 40160 h 198638"/>
                <a:gd name="connsiteX303" fmla="*/ 98024 w 172728"/>
                <a:gd name="connsiteY303" fmla="*/ 41455 h 198638"/>
                <a:gd name="connsiteX304" fmla="*/ 96296 w 172728"/>
                <a:gd name="connsiteY304" fmla="*/ 45341 h 198638"/>
                <a:gd name="connsiteX305" fmla="*/ 96728 w 172728"/>
                <a:gd name="connsiteY305" fmla="*/ 46637 h 198638"/>
                <a:gd name="connsiteX306" fmla="*/ 93274 w 172728"/>
                <a:gd name="connsiteY306" fmla="*/ 53546 h 198638"/>
                <a:gd name="connsiteX307" fmla="*/ 93705 w 172728"/>
                <a:gd name="connsiteY307" fmla="*/ 54841 h 198638"/>
                <a:gd name="connsiteX308" fmla="*/ 92410 w 172728"/>
                <a:gd name="connsiteY308" fmla="*/ 57864 h 198638"/>
                <a:gd name="connsiteX309" fmla="*/ 90683 w 172728"/>
                <a:gd name="connsiteY309" fmla="*/ 62182 h 198638"/>
                <a:gd name="connsiteX310" fmla="*/ 90683 w 172728"/>
                <a:gd name="connsiteY310" fmla="*/ 63046 h 198638"/>
                <a:gd name="connsiteX311" fmla="*/ 87228 w 172728"/>
                <a:gd name="connsiteY311" fmla="*/ 69092 h 198638"/>
                <a:gd name="connsiteX312" fmla="*/ 85501 w 172728"/>
                <a:gd name="connsiteY312" fmla="*/ 70819 h 198638"/>
                <a:gd name="connsiteX313" fmla="*/ 83342 w 172728"/>
                <a:gd name="connsiteY313" fmla="*/ 74273 h 198638"/>
                <a:gd name="connsiteX314" fmla="*/ 83342 w 172728"/>
                <a:gd name="connsiteY314" fmla="*/ 74705 h 198638"/>
                <a:gd name="connsiteX315" fmla="*/ 82478 w 172728"/>
                <a:gd name="connsiteY315" fmla="*/ 75569 h 198638"/>
                <a:gd name="connsiteX316" fmla="*/ 81183 w 172728"/>
                <a:gd name="connsiteY316" fmla="*/ 78160 h 198638"/>
                <a:gd name="connsiteX317" fmla="*/ 81183 w 172728"/>
                <a:gd name="connsiteY317" fmla="*/ 78592 h 198638"/>
                <a:gd name="connsiteX318" fmla="*/ 80319 w 172728"/>
                <a:gd name="connsiteY318" fmla="*/ 79887 h 198638"/>
                <a:gd name="connsiteX319" fmla="*/ 77728 w 172728"/>
                <a:gd name="connsiteY319" fmla="*/ 82046 h 198638"/>
                <a:gd name="connsiteX320" fmla="*/ 73410 w 172728"/>
                <a:gd name="connsiteY320" fmla="*/ 87660 h 198638"/>
                <a:gd name="connsiteX321" fmla="*/ 66932 w 172728"/>
                <a:gd name="connsiteY321" fmla="*/ 95433 h 198638"/>
                <a:gd name="connsiteX322" fmla="*/ 63910 w 172728"/>
                <a:gd name="connsiteY322" fmla="*/ 97592 h 198638"/>
                <a:gd name="connsiteX323" fmla="*/ 62182 w 172728"/>
                <a:gd name="connsiteY323" fmla="*/ 98456 h 198638"/>
                <a:gd name="connsiteX324" fmla="*/ 59160 w 172728"/>
                <a:gd name="connsiteY324" fmla="*/ 101046 h 198638"/>
                <a:gd name="connsiteX325" fmla="*/ 53978 w 172728"/>
                <a:gd name="connsiteY325" fmla="*/ 102774 h 198638"/>
                <a:gd name="connsiteX326" fmla="*/ 52251 w 172728"/>
                <a:gd name="connsiteY326" fmla="*/ 103205 h 198638"/>
                <a:gd name="connsiteX327" fmla="*/ 44909 w 172728"/>
                <a:gd name="connsiteY327" fmla="*/ 104501 h 198638"/>
                <a:gd name="connsiteX328" fmla="*/ 40591 w 172728"/>
                <a:gd name="connsiteY328" fmla="*/ 105365 h 198638"/>
                <a:gd name="connsiteX329" fmla="*/ 38432 w 172728"/>
                <a:gd name="connsiteY329" fmla="*/ 105796 h 198638"/>
                <a:gd name="connsiteX330" fmla="*/ 35409 w 172728"/>
                <a:gd name="connsiteY330" fmla="*/ 104933 h 198638"/>
                <a:gd name="connsiteX331" fmla="*/ 33250 w 172728"/>
                <a:gd name="connsiteY331" fmla="*/ 104501 h 198638"/>
                <a:gd name="connsiteX332" fmla="*/ 32387 w 172728"/>
                <a:gd name="connsiteY332" fmla="*/ 105365 h 198638"/>
                <a:gd name="connsiteX333" fmla="*/ 30228 w 172728"/>
                <a:gd name="connsiteY333" fmla="*/ 110978 h 198638"/>
                <a:gd name="connsiteX334" fmla="*/ 30659 w 172728"/>
                <a:gd name="connsiteY334" fmla="*/ 113569 h 198638"/>
                <a:gd name="connsiteX335" fmla="*/ 31091 w 172728"/>
                <a:gd name="connsiteY335" fmla="*/ 115728 h 198638"/>
                <a:gd name="connsiteX336" fmla="*/ 30659 w 172728"/>
                <a:gd name="connsiteY336" fmla="*/ 116592 h 198638"/>
                <a:gd name="connsiteX337" fmla="*/ 29364 w 172728"/>
                <a:gd name="connsiteY337" fmla="*/ 118751 h 198638"/>
                <a:gd name="connsiteX338" fmla="*/ 29796 w 172728"/>
                <a:gd name="connsiteY338" fmla="*/ 120047 h 198638"/>
                <a:gd name="connsiteX339" fmla="*/ 28500 w 172728"/>
                <a:gd name="connsiteY339" fmla="*/ 123501 h 198638"/>
                <a:gd name="connsiteX340" fmla="*/ 28500 w 172728"/>
                <a:gd name="connsiteY340" fmla="*/ 128683 h 198638"/>
                <a:gd name="connsiteX341" fmla="*/ 28932 w 172728"/>
                <a:gd name="connsiteY341" fmla="*/ 130842 h 198638"/>
                <a:gd name="connsiteX342" fmla="*/ 28500 w 172728"/>
                <a:gd name="connsiteY342" fmla="*/ 131706 h 198638"/>
                <a:gd name="connsiteX343" fmla="*/ 28068 w 172728"/>
                <a:gd name="connsiteY343" fmla="*/ 134297 h 198638"/>
                <a:gd name="connsiteX344" fmla="*/ 27637 w 172728"/>
                <a:gd name="connsiteY344" fmla="*/ 135592 h 198638"/>
                <a:gd name="connsiteX345" fmla="*/ 28068 w 172728"/>
                <a:gd name="connsiteY345" fmla="*/ 136888 h 198638"/>
                <a:gd name="connsiteX346" fmla="*/ 28500 w 172728"/>
                <a:gd name="connsiteY346" fmla="*/ 138183 h 198638"/>
                <a:gd name="connsiteX347" fmla="*/ 28068 w 172728"/>
                <a:gd name="connsiteY347" fmla="*/ 139047 h 198638"/>
                <a:gd name="connsiteX348" fmla="*/ 28068 w 172728"/>
                <a:gd name="connsiteY348" fmla="*/ 139479 h 198638"/>
                <a:gd name="connsiteX349" fmla="*/ 28500 w 172728"/>
                <a:gd name="connsiteY349" fmla="*/ 140774 h 198638"/>
                <a:gd name="connsiteX350" fmla="*/ 28068 w 172728"/>
                <a:gd name="connsiteY350" fmla="*/ 143365 h 198638"/>
                <a:gd name="connsiteX351" fmla="*/ 28068 w 172728"/>
                <a:gd name="connsiteY351" fmla="*/ 145956 h 198638"/>
                <a:gd name="connsiteX352" fmla="*/ 28932 w 172728"/>
                <a:gd name="connsiteY352" fmla="*/ 148115 h 198638"/>
                <a:gd name="connsiteX353" fmla="*/ 28932 w 172728"/>
                <a:gd name="connsiteY353" fmla="*/ 153729 h 198638"/>
                <a:gd name="connsiteX354" fmla="*/ 28068 w 172728"/>
                <a:gd name="connsiteY354" fmla="*/ 156320 h 198638"/>
                <a:gd name="connsiteX355" fmla="*/ 28932 w 172728"/>
                <a:gd name="connsiteY355" fmla="*/ 158047 h 198638"/>
                <a:gd name="connsiteX356" fmla="*/ 28932 w 172728"/>
                <a:gd name="connsiteY356" fmla="*/ 159342 h 198638"/>
                <a:gd name="connsiteX357" fmla="*/ 29364 w 172728"/>
                <a:gd name="connsiteY357" fmla="*/ 160206 h 198638"/>
                <a:gd name="connsiteX358" fmla="*/ 31523 w 172728"/>
                <a:gd name="connsiteY358" fmla="*/ 164092 h 198638"/>
                <a:gd name="connsiteX359" fmla="*/ 31523 w 172728"/>
                <a:gd name="connsiteY359" fmla="*/ 165820 h 198638"/>
                <a:gd name="connsiteX360" fmla="*/ 31091 w 172728"/>
                <a:gd name="connsiteY360" fmla="*/ 167115 h 198638"/>
                <a:gd name="connsiteX361" fmla="*/ 32819 w 172728"/>
                <a:gd name="connsiteY361" fmla="*/ 169274 h 198638"/>
                <a:gd name="connsiteX362" fmla="*/ 34978 w 172728"/>
                <a:gd name="connsiteY362" fmla="*/ 173593 h 198638"/>
                <a:gd name="connsiteX363" fmla="*/ 35409 w 172728"/>
                <a:gd name="connsiteY363" fmla="*/ 174024 h 198638"/>
                <a:gd name="connsiteX364" fmla="*/ 37137 w 172728"/>
                <a:gd name="connsiteY364" fmla="*/ 177479 h 198638"/>
                <a:gd name="connsiteX365" fmla="*/ 37137 w 172728"/>
                <a:gd name="connsiteY365" fmla="*/ 177911 h 198638"/>
                <a:gd name="connsiteX366" fmla="*/ 39296 w 172728"/>
                <a:gd name="connsiteY366" fmla="*/ 180070 h 198638"/>
                <a:gd name="connsiteX367" fmla="*/ 41023 w 172728"/>
                <a:gd name="connsiteY367" fmla="*/ 182229 h 198638"/>
                <a:gd name="connsiteX368" fmla="*/ 46637 w 172728"/>
                <a:gd name="connsiteY368" fmla="*/ 184820 h 198638"/>
                <a:gd name="connsiteX369" fmla="*/ 48796 w 172728"/>
                <a:gd name="connsiteY369" fmla="*/ 184388 h 198638"/>
                <a:gd name="connsiteX370" fmla="*/ 50955 w 172728"/>
                <a:gd name="connsiteY370" fmla="*/ 183956 h 198638"/>
                <a:gd name="connsiteX371" fmla="*/ 61319 w 172728"/>
                <a:gd name="connsiteY371" fmla="*/ 181365 h 198638"/>
                <a:gd name="connsiteX372" fmla="*/ 68660 w 172728"/>
                <a:gd name="connsiteY372" fmla="*/ 177047 h 198638"/>
                <a:gd name="connsiteX373" fmla="*/ 73410 w 172728"/>
                <a:gd name="connsiteY373" fmla="*/ 174888 h 198638"/>
                <a:gd name="connsiteX374" fmla="*/ 81183 w 172728"/>
                <a:gd name="connsiteY374" fmla="*/ 168842 h 198638"/>
                <a:gd name="connsiteX375" fmla="*/ 87228 w 172728"/>
                <a:gd name="connsiteY375" fmla="*/ 164092 h 198638"/>
                <a:gd name="connsiteX376" fmla="*/ 91546 w 172728"/>
                <a:gd name="connsiteY376" fmla="*/ 159342 h 198638"/>
                <a:gd name="connsiteX377" fmla="*/ 97592 w 172728"/>
                <a:gd name="connsiteY377" fmla="*/ 154161 h 198638"/>
                <a:gd name="connsiteX378" fmla="*/ 100615 w 172728"/>
                <a:gd name="connsiteY378" fmla="*/ 151138 h 198638"/>
                <a:gd name="connsiteX379" fmla="*/ 101910 w 172728"/>
                <a:gd name="connsiteY379" fmla="*/ 149842 h 198638"/>
                <a:gd name="connsiteX380" fmla="*/ 102342 w 172728"/>
                <a:gd name="connsiteY380" fmla="*/ 148547 h 198638"/>
                <a:gd name="connsiteX381" fmla="*/ 107092 w 172728"/>
                <a:gd name="connsiteY381" fmla="*/ 145092 h 198638"/>
                <a:gd name="connsiteX382" fmla="*/ 110978 w 172728"/>
                <a:gd name="connsiteY382" fmla="*/ 140774 h 198638"/>
                <a:gd name="connsiteX383" fmla="*/ 116592 w 172728"/>
                <a:gd name="connsiteY383" fmla="*/ 133865 h 198638"/>
                <a:gd name="connsiteX384" fmla="*/ 124797 w 172728"/>
                <a:gd name="connsiteY384" fmla="*/ 124797 h 198638"/>
                <a:gd name="connsiteX385" fmla="*/ 125228 w 172728"/>
                <a:gd name="connsiteY385" fmla="*/ 124365 h 198638"/>
                <a:gd name="connsiteX386" fmla="*/ 129115 w 172728"/>
                <a:gd name="connsiteY386" fmla="*/ 120047 h 198638"/>
                <a:gd name="connsiteX387" fmla="*/ 134297 w 172728"/>
                <a:gd name="connsiteY387" fmla="*/ 113569 h 198638"/>
                <a:gd name="connsiteX388" fmla="*/ 136024 w 172728"/>
                <a:gd name="connsiteY388" fmla="*/ 110546 h 198638"/>
                <a:gd name="connsiteX389" fmla="*/ 142069 w 172728"/>
                <a:gd name="connsiteY389" fmla="*/ 103637 h 198638"/>
                <a:gd name="connsiteX390" fmla="*/ 141638 w 172728"/>
                <a:gd name="connsiteY390" fmla="*/ 103205 h 198638"/>
                <a:gd name="connsiteX391" fmla="*/ 146820 w 172728"/>
                <a:gd name="connsiteY391" fmla="*/ 95433 h 198638"/>
                <a:gd name="connsiteX392" fmla="*/ 147251 w 172728"/>
                <a:gd name="connsiteY392" fmla="*/ 93705 h 198638"/>
                <a:gd name="connsiteX393" fmla="*/ 150274 w 172728"/>
                <a:gd name="connsiteY393" fmla="*/ 90683 h 198638"/>
                <a:gd name="connsiteX394" fmla="*/ 151570 w 172728"/>
                <a:gd name="connsiteY394" fmla="*/ 86796 h 198638"/>
                <a:gd name="connsiteX395" fmla="*/ 152001 w 172728"/>
                <a:gd name="connsiteY395" fmla="*/ 87228 h 198638"/>
                <a:gd name="connsiteX396" fmla="*/ 152001 w 172728"/>
                <a:gd name="connsiteY396" fmla="*/ 88092 h 198638"/>
                <a:gd name="connsiteX397" fmla="*/ 152433 w 172728"/>
                <a:gd name="connsiteY397" fmla="*/ 88092 h 198638"/>
                <a:gd name="connsiteX398" fmla="*/ 153297 w 172728"/>
                <a:gd name="connsiteY398" fmla="*/ 86796 h 198638"/>
                <a:gd name="connsiteX399" fmla="*/ 153297 w 172728"/>
                <a:gd name="connsiteY399" fmla="*/ 85933 h 198638"/>
                <a:gd name="connsiteX400" fmla="*/ 154161 w 172728"/>
                <a:gd name="connsiteY400" fmla="*/ 83342 h 198638"/>
                <a:gd name="connsiteX401" fmla="*/ 154592 w 172728"/>
                <a:gd name="connsiteY401" fmla="*/ 82046 h 198638"/>
                <a:gd name="connsiteX402" fmla="*/ 155888 w 172728"/>
                <a:gd name="connsiteY402" fmla="*/ 80319 h 198638"/>
                <a:gd name="connsiteX403" fmla="*/ 156751 w 172728"/>
                <a:gd name="connsiteY403" fmla="*/ 76864 h 198638"/>
                <a:gd name="connsiteX404" fmla="*/ 158047 w 172728"/>
                <a:gd name="connsiteY404" fmla="*/ 75137 h 198638"/>
                <a:gd name="connsiteX405" fmla="*/ 158911 w 172728"/>
                <a:gd name="connsiteY405" fmla="*/ 74273 h 198638"/>
                <a:gd name="connsiteX406" fmla="*/ 158911 w 172728"/>
                <a:gd name="connsiteY406" fmla="*/ 72978 h 198638"/>
                <a:gd name="connsiteX407" fmla="*/ 161501 w 172728"/>
                <a:gd name="connsiteY407" fmla="*/ 70387 h 198638"/>
                <a:gd name="connsiteX408" fmla="*/ 161501 w 172728"/>
                <a:gd name="connsiteY408" fmla="*/ 69955 h 198638"/>
                <a:gd name="connsiteX409" fmla="*/ 161933 w 172728"/>
                <a:gd name="connsiteY409" fmla="*/ 69092 h 198638"/>
                <a:gd name="connsiteX410" fmla="*/ 161933 w 172728"/>
                <a:gd name="connsiteY410" fmla="*/ 68228 h 198638"/>
                <a:gd name="connsiteX411" fmla="*/ 163229 w 172728"/>
                <a:gd name="connsiteY411" fmla="*/ 66501 h 198638"/>
                <a:gd name="connsiteX412" fmla="*/ 164956 w 172728"/>
                <a:gd name="connsiteY412" fmla="*/ 64341 h 198638"/>
                <a:gd name="connsiteX413" fmla="*/ 165388 w 172728"/>
                <a:gd name="connsiteY413" fmla="*/ 64341 h 198638"/>
                <a:gd name="connsiteX414" fmla="*/ 165820 w 172728"/>
                <a:gd name="connsiteY414" fmla="*/ 64773 h 198638"/>
                <a:gd name="connsiteX415" fmla="*/ 166252 w 172728"/>
                <a:gd name="connsiteY415" fmla="*/ 66069 h 198638"/>
                <a:gd name="connsiteX416" fmla="*/ 167115 w 172728"/>
                <a:gd name="connsiteY416" fmla="*/ 66501 h 198638"/>
                <a:gd name="connsiteX417" fmla="*/ 168411 w 172728"/>
                <a:gd name="connsiteY417" fmla="*/ 66932 h 198638"/>
                <a:gd name="connsiteX418" fmla="*/ 167979 w 172728"/>
                <a:gd name="connsiteY418" fmla="*/ 67364 h 198638"/>
                <a:gd name="connsiteX419" fmla="*/ 167115 w 172728"/>
                <a:gd name="connsiteY419" fmla="*/ 71251 h 198638"/>
                <a:gd name="connsiteX420" fmla="*/ 164956 w 172728"/>
                <a:gd name="connsiteY420" fmla="*/ 72546 h 198638"/>
                <a:gd name="connsiteX421" fmla="*/ 164092 w 172728"/>
                <a:gd name="connsiteY421" fmla="*/ 72546 h 198638"/>
                <a:gd name="connsiteX422" fmla="*/ 162797 w 172728"/>
                <a:gd name="connsiteY422" fmla="*/ 73410 h 198638"/>
                <a:gd name="connsiteX423" fmla="*/ 164092 w 172728"/>
                <a:gd name="connsiteY423" fmla="*/ 76433 h 198638"/>
                <a:gd name="connsiteX424" fmla="*/ 164956 w 172728"/>
                <a:gd name="connsiteY424" fmla="*/ 77728 h 198638"/>
                <a:gd name="connsiteX425" fmla="*/ 164956 w 172728"/>
                <a:gd name="connsiteY425" fmla="*/ 78592 h 198638"/>
                <a:gd name="connsiteX426" fmla="*/ 164956 w 172728"/>
                <a:gd name="connsiteY426" fmla="*/ 79455 h 198638"/>
                <a:gd name="connsiteX427" fmla="*/ 164956 w 172728"/>
                <a:gd name="connsiteY427" fmla="*/ 80319 h 198638"/>
                <a:gd name="connsiteX428" fmla="*/ 164092 w 172728"/>
                <a:gd name="connsiteY428" fmla="*/ 83342 h 198638"/>
                <a:gd name="connsiteX429" fmla="*/ 163661 w 172728"/>
                <a:gd name="connsiteY429" fmla="*/ 85069 h 198638"/>
                <a:gd name="connsiteX430" fmla="*/ 163229 w 172728"/>
                <a:gd name="connsiteY430" fmla="*/ 85069 h 198638"/>
                <a:gd name="connsiteX431" fmla="*/ 163229 w 172728"/>
                <a:gd name="connsiteY431" fmla="*/ 82478 h 198638"/>
                <a:gd name="connsiteX432" fmla="*/ 162797 w 172728"/>
                <a:gd name="connsiteY432" fmla="*/ 82478 h 198638"/>
                <a:gd name="connsiteX433" fmla="*/ 161933 w 172728"/>
                <a:gd name="connsiteY433" fmla="*/ 79455 h 198638"/>
                <a:gd name="connsiteX434" fmla="*/ 162365 w 172728"/>
                <a:gd name="connsiteY434" fmla="*/ 78592 h 198638"/>
                <a:gd name="connsiteX435" fmla="*/ 161501 w 172728"/>
                <a:gd name="connsiteY435" fmla="*/ 78160 h 198638"/>
                <a:gd name="connsiteX436" fmla="*/ 161070 w 172728"/>
                <a:gd name="connsiteY436" fmla="*/ 78592 h 198638"/>
                <a:gd name="connsiteX437" fmla="*/ 158911 w 172728"/>
                <a:gd name="connsiteY437" fmla="*/ 82478 h 198638"/>
                <a:gd name="connsiteX438" fmla="*/ 158047 w 172728"/>
                <a:gd name="connsiteY438" fmla="*/ 84637 h 198638"/>
                <a:gd name="connsiteX439" fmla="*/ 156751 w 172728"/>
                <a:gd name="connsiteY439" fmla="*/ 85501 h 198638"/>
                <a:gd name="connsiteX440" fmla="*/ 155456 w 172728"/>
                <a:gd name="connsiteY440" fmla="*/ 86796 h 198638"/>
                <a:gd name="connsiteX441" fmla="*/ 155456 w 172728"/>
                <a:gd name="connsiteY441" fmla="*/ 87228 h 198638"/>
                <a:gd name="connsiteX442" fmla="*/ 155024 w 172728"/>
                <a:gd name="connsiteY442" fmla="*/ 88524 h 198638"/>
                <a:gd name="connsiteX443" fmla="*/ 153729 w 172728"/>
                <a:gd name="connsiteY443" fmla="*/ 93705 h 198638"/>
                <a:gd name="connsiteX444" fmla="*/ 153729 w 172728"/>
                <a:gd name="connsiteY444" fmla="*/ 94137 h 198638"/>
                <a:gd name="connsiteX445" fmla="*/ 154592 w 172728"/>
                <a:gd name="connsiteY445" fmla="*/ 94137 h 198638"/>
                <a:gd name="connsiteX446" fmla="*/ 155888 w 172728"/>
                <a:gd name="connsiteY446" fmla="*/ 92410 h 198638"/>
                <a:gd name="connsiteX447" fmla="*/ 157615 w 172728"/>
                <a:gd name="connsiteY447" fmla="*/ 90683 h 198638"/>
                <a:gd name="connsiteX448" fmla="*/ 159774 w 172728"/>
                <a:gd name="connsiteY448" fmla="*/ 89819 h 198638"/>
                <a:gd name="connsiteX449" fmla="*/ 160206 w 172728"/>
                <a:gd name="connsiteY449" fmla="*/ 89819 h 198638"/>
                <a:gd name="connsiteX450" fmla="*/ 159342 w 172728"/>
                <a:gd name="connsiteY450" fmla="*/ 93274 h 198638"/>
                <a:gd name="connsiteX451" fmla="*/ 158047 w 172728"/>
                <a:gd name="connsiteY451" fmla="*/ 94569 h 198638"/>
                <a:gd name="connsiteX452" fmla="*/ 159342 w 172728"/>
                <a:gd name="connsiteY452" fmla="*/ 96296 h 198638"/>
                <a:gd name="connsiteX453" fmla="*/ 160638 w 172728"/>
                <a:gd name="connsiteY453" fmla="*/ 96728 h 198638"/>
                <a:gd name="connsiteX454" fmla="*/ 161070 w 172728"/>
                <a:gd name="connsiteY454" fmla="*/ 98456 h 198638"/>
                <a:gd name="connsiteX455" fmla="*/ 161070 w 172728"/>
                <a:gd name="connsiteY455" fmla="*/ 99751 h 198638"/>
                <a:gd name="connsiteX456" fmla="*/ 161501 w 172728"/>
                <a:gd name="connsiteY456" fmla="*/ 100615 h 198638"/>
                <a:gd name="connsiteX457" fmla="*/ 164092 w 172728"/>
                <a:gd name="connsiteY457" fmla="*/ 100615 h 198638"/>
                <a:gd name="connsiteX458" fmla="*/ 165388 w 172728"/>
                <a:gd name="connsiteY458" fmla="*/ 101478 h 198638"/>
                <a:gd name="connsiteX459" fmla="*/ 2159 w 172728"/>
                <a:gd name="connsiteY459" fmla="*/ 161070 h 198638"/>
                <a:gd name="connsiteX460" fmla="*/ 2159 w 172728"/>
                <a:gd name="connsiteY460" fmla="*/ 161501 h 198638"/>
                <a:gd name="connsiteX461" fmla="*/ 2591 w 172728"/>
                <a:gd name="connsiteY461" fmla="*/ 161933 h 198638"/>
                <a:gd name="connsiteX462" fmla="*/ 3023 w 172728"/>
                <a:gd name="connsiteY462" fmla="*/ 161933 h 198638"/>
                <a:gd name="connsiteX463" fmla="*/ 2159 w 172728"/>
                <a:gd name="connsiteY463" fmla="*/ 161070 h 198638"/>
                <a:gd name="connsiteX464" fmla="*/ 28068 w 172728"/>
                <a:gd name="connsiteY464" fmla="*/ 63478 h 198638"/>
                <a:gd name="connsiteX465" fmla="*/ 28932 w 172728"/>
                <a:gd name="connsiteY465" fmla="*/ 60887 h 198638"/>
                <a:gd name="connsiteX466" fmla="*/ 28932 w 172728"/>
                <a:gd name="connsiteY466" fmla="*/ 59592 h 198638"/>
                <a:gd name="connsiteX467" fmla="*/ 31091 w 172728"/>
                <a:gd name="connsiteY467" fmla="*/ 56569 h 198638"/>
                <a:gd name="connsiteX468" fmla="*/ 32387 w 172728"/>
                <a:gd name="connsiteY468" fmla="*/ 53114 h 198638"/>
                <a:gd name="connsiteX469" fmla="*/ 32819 w 172728"/>
                <a:gd name="connsiteY469" fmla="*/ 52682 h 198638"/>
                <a:gd name="connsiteX470" fmla="*/ 34114 w 172728"/>
                <a:gd name="connsiteY470" fmla="*/ 50955 h 198638"/>
                <a:gd name="connsiteX471" fmla="*/ 36705 w 172728"/>
                <a:gd name="connsiteY471" fmla="*/ 43182 h 198638"/>
                <a:gd name="connsiteX472" fmla="*/ 36273 w 172728"/>
                <a:gd name="connsiteY472" fmla="*/ 42750 h 198638"/>
                <a:gd name="connsiteX473" fmla="*/ 36273 w 172728"/>
                <a:gd name="connsiteY473" fmla="*/ 42319 h 198638"/>
                <a:gd name="connsiteX474" fmla="*/ 34978 w 172728"/>
                <a:gd name="connsiteY474" fmla="*/ 43614 h 198638"/>
                <a:gd name="connsiteX475" fmla="*/ 34114 w 172728"/>
                <a:gd name="connsiteY475" fmla="*/ 46205 h 198638"/>
                <a:gd name="connsiteX476" fmla="*/ 32387 w 172728"/>
                <a:gd name="connsiteY476" fmla="*/ 50091 h 198638"/>
                <a:gd name="connsiteX477" fmla="*/ 29796 w 172728"/>
                <a:gd name="connsiteY477" fmla="*/ 53546 h 198638"/>
                <a:gd name="connsiteX478" fmla="*/ 28068 w 172728"/>
                <a:gd name="connsiteY478" fmla="*/ 57432 h 198638"/>
                <a:gd name="connsiteX479" fmla="*/ 28500 w 172728"/>
                <a:gd name="connsiteY479" fmla="*/ 58296 h 198638"/>
                <a:gd name="connsiteX480" fmla="*/ 26773 w 172728"/>
                <a:gd name="connsiteY480" fmla="*/ 60887 h 198638"/>
                <a:gd name="connsiteX481" fmla="*/ 25046 w 172728"/>
                <a:gd name="connsiteY481" fmla="*/ 66501 h 198638"/>
                <a:gd name="connsiteX482" fmla="*/ 24182 w 172728"/>
                <a:gd name="connsiteY482" fmla="*/ 70819 h 198638"/>
                <a:gd name="connsiteX483" fmla="*/ 23750 w 172728"/>
                <a:gd name="connsiteY483" fmla="*/ 71251 h 198638"/>
                <a:gd name="connsiteX484" fmla="*/ 24182 w 172728"/>
                <a:gd name="connsiteY484" fmla="*/ 71682 h 198638"/>
                <a:gd name="connsiteX485" fmla="*/ 24614 w 172728"/>
                <a:gd name="connsiteY485" fmla="*/ 71251 h 198638"/>
                <a:gd name="connsiteX486" fmla="*/ 25046 w 172728"/>
                <a:gd name="connsiteY486" fmla="*/ 70387 h 198638"/>
                <a:gd name="connsiteX487" fmla="*/ 25046 w 172728"/>
                <a:gd name="connsiteY487" fmla="*/ 69523 h 198638"/>
                <a:gd name="connsiteX488" fmla="*/ 25909 w 172728"/>
                <a:gd name="connsiteY488" fmla="*/ 67364 h 198638"/>
                <a:gd name="connsiteX489" fmla="*/ 28068 w 172728"/>
                <a:gd name="connsiteY489" fmla="*/ 63478 h 198638"/>
                <a:gd name="connsiteX490" fmla="*/ 41023 w 172728"/>
                <a:gd name="connsiteY490" fmla="*/ 73410 h 198638"/>
                <a:gd name="connsiteX491" fmla="*/ 40159 w 172728"/>
                <a:gd name="connsiteY491" fmla="*/ 76001 h 198638"/>
                <a:gd name="connsiteX492" fmla="*/ 40159 w 172728"/>
                <a:gd name="connsiteY492" fmla="*/ 77728 h 198638"/>
                <a:gd name="connsiteX493" fmla="*/ 44478 w 172728"/>
                <a:gd name="connsiteY493" fmla="*/ 81614 h 198638"/>
                <a:gd name="connsiteX494" fmla="*/ 45773 w 172728"/>
                <a:gd name="connsiteY494" fmla="*/ 81614 h 198638"/>
                <a:gd name="connsiteX495" fmla="*/ 46637 w 172728"/>
                <a:gd name="connsiteY495" fmla="*/ 80751 h 198638"/>
                <a:gd name="connsiteX496" fmla="*/ 50091 w 172728"/>
                <a:gd name="connsiteY496" fmla="*/ 76864 h 198638"/>
                <a:gd name="connsiteX497" fmla="*/ 54841 w 172728"/>
                <a:gd name="connsiteY497" fmla="*/ 70819 h 198638"/>
                <a:gd name="connsiteX498" fmla="*/ 56137 w 172728"/>
                <a:gd name="connsiteY498" fmla="*/ 69092 h 198638"/>
                <a:gd name="connsiteX499" fmla="*/ 58296 w 172728"/>
                <a:gd name="connsiteY499" fmla="*/ 66069 h 198638"/>
                <a:gd name="connsiteX500" fmla="*/ 60455 w 172728"/>
                <a:gd name="connsiteY500" fmla="*/ 62614 h 198638"/>
                <a:gd name="connsiteX501" fmla="*/ 61319 w 172728"/>
                <a:gd name="connsiteY501" fmla="*/ 60023 h 198638"/>
                <a:gd name="connsiteX502" fmla="*/ 64341 w 172728"/>
                <a:gd name="connsiteY502" fmla="*/ 56137 h 198638"/>
                <a:gd name="connsiteX503" fmla="*/ 66501 w 172728"/>
                <a:gd name="connsiteY503" fmla="*/ 51819 h 198638"/>
                <a:gd name="connsiteX504" fmla="*/ 66932 w 172728"/>
                <a:gd name="connsiteY504" fmla="*/ 48364 h 198638"/>
                <a:gd name="connsiteX505" fmla="*/ 68660 w 172728"/>
                <a:gd name="connsiteY505" fmla="*/ 44478 h 198638"/>
                <a:gd name="connsiteX506" fmla="*/ 70387 w 172728"/>
                <a:gd name="connsiteY506" fmla="*/ 40591 h 198638"/>
                <a:gd name="connsiteX507" fmla="*/ 71683 w 172728"/>
                <a:gd name="connsiteY507" fmla="*/ 37137 h 198638"/>
                <a:gd name="connsiteX508" fmla="*/ 71251 w 172728"/>
                <a:gd name="connsiteY508" fmla="*/ 35841 h 198638"/>
                <a:gd name="connsiteX509" fmla="*/ 71251 w 172728"/>
                <a:gd name="connsiteY509" fmla="*/ 34978 h 198638"/>
                <a:gd name="connsiteX510" fmla="*/ 72114 w 172728"/>
                <a:gd name="connsiteY510" fmla="*/ 34114 h 198638"/>
                <a:gd name="connsiteX511" fmla="*/ 72978 w 172728"/>
                <a:gd name="connsiteY511" fmla="*/ 34114 h 198638"/>
                <a:gd name="connsiteX512" fmla="*/ 73410 w 172728"/>
                <a:gd name="connsiteY512" fmla="*/ 33250 h 198638"/>
                <a:gd name="connsiteX513" fmla="*/ 72978 w 172728"/>
                <a:gd name="connsiteY513" fmla="*/ 32819 h 198638"/>
                <a:gd name="connsiteX514" fmla="*/ 72978 w 172728"/>
                <a:gd name="connsiteY514" fmla="*/ 32387 h 198638"/>
                <a:gd name="connsiteX515" fmla="*/ 72546 w 172728"/>
                <a:gd name="connsiteY515" fmla="*/ 31955 h 198638"/>
                <a:gd name="connsiteX516" fmla="*/ 72114 w 172728"/>
                <a:gd name="connsiteY516" fmla="*/ 31091 h 198638"/>
                <a:gd name="connsiteX517" fmla="*/ 72546 w 172728"/>
                <a:gd name="connsiteY517" fmla="*/ 30228 h 198638"/>
                <a:gd name="connsiteX518" fmla="*/ 72978 w 172728"/>
                <a:gd name="connsiteY518" fmla="*/ 29364 h 198638"/>
                <a:gd name="connsiteX519" fmla="*/ 72114 w 172728"/>
                <a:gd name="connsiteY519" fmla="*/ 28932 h 198638"/>
                <a:gd name="connsiteX520" fmla="*/ 72114 w 172728"/>
                <a:gd name="connsiteY520" fmla="*/ 28068 h 198638"/>
                <a:gd name="connsiteX521" fmla="*/ 72978 w 172728"/>
                <a:gd name="connsiteY521" fmla="*/ 26341 h 198638"/>
                <a:gd name="connsiteX522" fmla="*/ 72546 w 172728"/>
                <a:gd name="connsiteY522" fmla="*/ 24614 h 198638"/>
                <a:gd name="connsiteX523" fmla="*/ 71683 w 172728"/>
                <a:gd name="connsiteY523" fmla="*/ 21159 h 198638"/>
                <a:gd name="connsiteX524" fmla="*/ 71683 w 172728"/>
                <a:gd name="connsiteY524" fmla="*/ 20728 h 198638"/>
                <a:gd name="connsiteX525" fmla="*/ 72114 w 172728"/>
                <a:gd name="connsiteY525" fmla="*/ 20296 h 198638"/>
                <a:gd name="connsiteX526" fmla="*/ 72546 w 172728"/>
                <a:gd name="connsiteY526" fmla="*/ 19864 h 198638"/>
                <a:gd name="connsiteX527" fmla="*/ 72978 w 172728"/>
                <a:gd name="connsiteY527" fmla="*/ 19000 h 198638"/>
                <a:gd name="connsiteX528" fmla="*/ 70387 w 172728"/>
                <a:gd name="connsiteY528" fmla="*/ 19000 h 198638"/>
                <a:gd name="connsiteX529" fmla="*/ 66501 w 172728"/>
                <a:gd name="connsiteY529" fmla="*/ 24182 h 198638"/>
                <a:gd name="connsiteX530" fmla="*/ 66069 w 172728"/>
                <a:gd name="connsiteY530" fmla="*/ 24614 h 198638"/>
                <a:gd name="connsiteX531" fmla="*/ 66069 w 172728"/>
                <a:gd name="connsiteY531" fmla="*/ 25046 h 198638"/>
                <a:gd name="connsiteX532" fmla="*/ 60887 w 172728"/>
                <a:gd name="connsiteY532" fmla="*/ 31523 h 198638"/>
                <a:gd name="connsiteX533" fmla="*/ 60455 w 172728"/>
                <a:gd name="connsiteY533" fmla="*/ 31955 h 198638"/>
                <a:gd name="connsiteX534" fmla="*/ 57001 w 172728"/>
                <a:gd name="connsiteY534" fmla="*/ 35841 h 198638"/>
                <a:gd name="connsiteX535" fmla="*/ 56137 w 172728"/>
                <a:gd name="connsiteY535" fmla="*/ 37569 h 198638"/>
                <a:gd name="connsiteX536" fmla="*/ 56137 w 172728"/>
                <a:gd name="connsiteY536" fmla="*/ 38000 h 198638"/>
                <a:gd name="connsiteX537" fmla="*/ 54410 w 172728"/>
                <a:gd name="connsiteY537" fmla="*/ 40591 h 198638"/>
                <a:gd name="connsiteX538" fmla="*/ 52682 w 172728"/>
                <a:gd name="connsiteY538" fmla="*/ 43182 h 198638"/>
                <a:gd name="connsiteX539" fmla="*/ 51819 w 172728"/>
                <a:gd name="connsiteY539" fmla="*/ 44046 h 198638"/>
                <a:gd name="connsiteX540" fmla="*/ 52251 w 172728"/>
                <a:gd name="connsiteY540" fmla="*/ 46637 h 198638"/>
                <a:gd name="connsiteX541" fmla="*/ 50523 w 172728"/>
                <a:gd name="connsiteY541" fmla="*/ 49228 h 198638"/>
                <a:gd name="connsiteX542" fmla="*/ 50523 w 172728"/>
                <a:gd name="connsiteY542" fmla="*/ 50523 h 198638"/>
                <a:gd name="connsiteX543" fmla="*/ 49228 w 172728"/>
                <a:gd name="connsiteY543" fmla="*/ 51819 h 198638"/>
                <a:gd name="connsiteX544" fmla="*/ 47500 w 172728"/>
                <a:gd name="connsiteY544" fmla="*/ 55273 h 198638"/>
                <a:gd name="connsiteX545" fmla="*/ 47500 w 172728"/>
                <a:gd name="connsiteY545" fmla="*/ 56137 h 198638"/>
                <a:gd name="connsiteX546" fmla="*/ 46205 w 172728"/>
                <a:gd name="connsiteY546" fmla="*/ 57864 h 198638"/>
                <a:gd name="connsiteX547" fmla="*/ 44478 w 172728"/>
                <a:gd name="connsiteY547" fmla="*/ 59592 h 198638"/>
                <a:gd name="connsiteX548" fmla="*/ 44478 w 172728"/>
                <a:gd name="connsiteY548" fmla="*/ 60023 h 198638"/>
                <a:gd name="connsiteX549" fmla="*/ 41455 w 172728"/>
                <a:gd name="connsiteY549" fmla="*/ 69523 h 198638"/>
                <a:gd name="connsiteX550" fmla="*/ 41455 w 172728"/>
                <a:gd name="connsiteY550" fmla="*/ 72114 h 198638"/>
                <a:gd name="connsiteX551" fmla="*/ 41023 w 172728"/>
                <a:gd name="connsiteY551" fmla="*/ 73410 h 198638"/>
                <a:gd name="connsiteX552" fmla="*/ 84205 w 172728"/>
                <a:gd name="connsiteY552" fmla="*/ 41023 h 198638"/>
                <a:gd name="connsiteX553" fmla="*/ 85069 w 172728"/>
                <a:gd name="connsiteY553" fmla="*/ 40591 h 198638"/>
                <a:gd name="connsiteX554" fmla="*/ 85501 w 172728"/>
                <a:gd name="connsiteY554" fmla="*/ 39296 h 198638"/>
                <a:gd name="connsiteX555" fmla="*/ 85501 w 172728"/>
                <a:gd name="connsiteY555" fmla="*/ 38864 h 198638"/>
                <a:gd name="connsiteX556" fmla="*/ 85069 w 172728"/>
                <a:gd name="connsiteY556" fmla="*/ 38432 h 198638"/>
                <a:gd name="connsiteX557" fmla="*/ 84637 w 172728"/>
                <a:gd name="connsiteY557" fmla="*/ 38432 h 198638"/>
                <a:gd name="connsiteX558" fmla="*/ 83773 w 172728"/>
                <a:gd name="connsiteY558" fmla="*/ 39728 h 198638"/>
                <a:gd name="connsiteX559" fmla="*/ 84205 w 172728"/>
                <a:gd name="connsiteY559" fmla="*/ 41023 h 198638"/>
                <a:gd name="connsiteX560" fmla="*/ 84205 w 172728"/>
                <a:gd name="connsiteY560" fmla="*/ 19000 h 198638"/>
                <a:gd name="connsiteX561" fmla="*/ 84637 w 172728"/>
                <a:gd name="connsiteY561" fmla="*/ 19864 h 198638"/>
                <a:gd name="connsiteX562" fmla="*/ 85501 w 172728"/>
                <a:gd name="connsiteY562" fmla="*/ 20728 h 198638"/>
                <a:gd name="connsiteX563" fmla="*/ 86364 w 172728"/>
                <a:gd name="connsiteY563" fmla="*/ 19864 h 198638"/>
                <a:gd name="connsiteX564" fmla="*/ 85069 w 172728"/>
                <a:gd name="connsiteY564" fmla="*/ 18137 h 198638"/>
                <a:gd name="connsiteX565" fmla="*/ 84637 w 172728"/>
                <a:gd name="connsiteY565" fmla="*/ 18137 h 198638"/>
                <a:gd name="connsiteX566" fmla="*/ 84205 w 172728"/>
                <a:gd name="connsiteY566" fmla="*/ 19000 h 198638"/>
                <a:gd name="connsiteX567" fmla="*/ 86796 w 172728"/>
                <a:gd name="connsiteY567" fmla="*/ 22455 h 198638"/>
                <a:gd name="connsiteX568" fmla="*/ 85069 w 172728"/>
                <a:gd name="connsiteY568" fmla="*/ 22887 h 198638"/>
                <a:gd name="connsiteX569" fmla="*/ 85069 w 172728"/>
                <a:gd name="connsiteY569" fmla="*/ 25046 h 198638"/>
                <a:gd name="connsiteX570" fmla="*/ 85501 w 172728"/>
                <a:gd name="connsiteY570" fmla="*/ 27205 h 198638"/>
                <a:gd name="connsiteX571" fmla="*/ 84637 w 172728"/>
                <a:gd name="connsiteY571" fmla="*/ 28932 h 198638"/>
                <a:gd name="connsiteX572" fmla="*/ 85501 w 172728"/>
                <a:gd name="connsiteY572" fmla="*/ 31955 h 198638"/>
                <a:gd name="connsiteX573" fmla="*/ 84637 w 172728"/>
                <a:gd name="connsiteY573" fmla="*/ 33250 h 198638"/>
                <a:gd name="connsiteX574" fmla="*/ 84637 w 172728"/>
                <a:gd name="connsiteY574" fmla="*/ 34114 h 198638"/>
                <a:gd name="connsiteX575" fmla="*/ 85069 w 172728"/>
                <a:gd name="connsiteY575" fmla="*/ 34546 h 198638"/>
                <a:gd name="connsiteX576" fmla="*/ 85933 w 172728"/>
                <a:gd name="connsiteY576" fmla="*/ 34114 h 198638"/>
                <a:gd name="connsiteX577" fmla="*/ 87660 w 172728"/>
                <a:gd name="connsiteY577" fmla="*/ 33682 h 198638"/>
                <a:gd name="connsiteX578" fmla="*/ 90683 w 172728"/>
                <a:gd name="connsiteY578" fmla="*/ 29796 h 198638"/>
                <a:gd name="connsiteX579" fmla="*/ 90683 w 172728"/>
                <a:gd name="connsiteY579" fmla="*/ 28068 h 198638"/>
                <a:gd name="connsiteX580" fmla="*/ 89819 w 172728"/>
                <a:gd name="connsiteY580" fmla="*/ 26773 h 198638"/>
                <a:gd name="connsiteX581" fmla="*/ 88092 w 172728"/>
                <a:gd name="connsiteY581" fmla="*/ 25046 h 198638"/>
                <a:gd name="connsiteX582" fmla="*/ 87228 w 172728"/>
                <a:gd name="connsiteY582" fmla="*/ 22887 h 198638"/>
                <a:gd name="connsiteX583" fmla="*/ 86796 w 172728"/>
                <a:gd name="connsiteY583" fmla="*/ 22455 h 198638"/>
                <a:gd name="connsiteX584" fmla="*/ 88524 w 172728"/>
                <a:gd name="connsiteY584" fmla="*/ 24182 h 198638"/>
                <a:gd name="connsiteX585" fmla="*/ 89387 w 172728"/>
                <a:gd name="connsiteY585" fmla="*/ 24614 h 198638"/>
                <a:gd name="connsiteX586" fmla="*/ 89819 w 172728"/>
                <a:gd name="connsiteY586" fmla="*/ 24614 h 198638"/>
                <a:gd name="connsiteX587" fmla="*/ 89819 w 172728"/>
                <a:gd name="connsiteY587" fmla="*/ 23750 h 198638"/>
                <a:gd name="connsiteX588" fmla="*/ 89387 w 172728"/>
                <a:gd name="connsiteY588" fmla="*/ 22887 h 198638"/>
                <a:gd name="connsiteX589" fmla="*/ 88955 w 172728"/>
                <a:gd name="connsiteY589" fmla="*/ 23318 h 198638"/>
                <a:gd name="connsiteX590" fmla="*/ 88524 w 172728"/>
                <a:gd name="connsiteY590" fmla="*/ 24182 h 198638"/>
                <a:gd name="connsiteX591" fmla="*/ 90251 w 172728"/>
                <a:gd name="connsiteY591" fmla="*/ 36273 h 198638"/>
                <a:gd name="connsiteX592" fmla="*/ 90251 w 172728"/>
                <a:gd name="connsiteY592" fmla="*/ 36705 h 198638"/>
                <a:gd name="connsiteX593" fmla="*/ 91115 w 172728"/>
                <a:gd name="connsiteY593" fmla="*/ 40160 h 198638"/>
                <a:gd name="connsiteX594" fmla="*/ 91978 w 172728"/>
                <a:gd name="connsiteY594" fmla="*/ 40160 h 198638"/>
                <a:gd name="connsiteX595" fmla="*/ 93705 w 172728"/>
                <a:gd name="connsiteY595" fmla="*/ 38000 h 198638"/>
                <a:gd name="connsiteX596" fmla="*/ 93274 w 172728"/>
                <a:gd name="connsiteY596" fmla="*/ 37137 h 198638"/>
                <a:gd name="connsiteX597" fmla="*/ 92842 w 172728"/>
                <a:gd name="connsiteY597" fmla="*/ 36273 h 198638"/>
                <a:gd name="connsiteX598" fmla="*/ 93274 w 172728"/>
                <a:gd name="connsiteY598" fmla="*/ 35409 h 198638"/>
                <a:gd name="connsiteX599" fmla="*/ 93274 w 172728"/>
                <a:gd name="connsiteY599" fmla="*/ 34978 h 198638"/>
                <a:gd name="connsiteX600" fmla="*/ 91978 w 172728"/>
                <a:gd name="connsiteY600" fmla="*/ 34546 h 198638"/>
                <a:gd name="connsiteX601" fmla="*/ 90251 w 172728"/>
                <a:gd name="connsiteY601" fmla="*/ 36273 h 198638"/>
                <a:gd name="connsiteX602" fmla="*/ 91978 w 172728"/>
                <a:gd name="connsiteY602" fmla="*/ 31091 h 198638"/>
                <a:gd name="connsiteX603" fmla="*/ 91978 w 172728"/>
                <a:gd name="connsiteY603" fmla="*/ 32819 h 198638"/>
                <a:gd name="connsiteX604" fmla="*/ 92410 w 172728"/>
                <a:gd name="connsiteY604" fmla="*/ 33250 h 198638"/>
                <a:gd name="connsiteX605" fmla="*/ 94569 w 172728"/>
                <a:gd name="connsiteY605" fmla="*/ 31091 h 198638"/>
                <a:gd name="connsiteX606" fmla="*/ 94569 w 172728"/>
                <a:gd name="connsiteY606" fmla="*/ 30659 h 198638"/>
                <a:gd name="connsiteX607" fmla="*/ 92842 w 172728"/>
                <a:gd name="connsiteY607" fmla="*/ 28932 h 198638"/>
                <a:gd name="connsiteX608" fmla="*/ 92410 w 172728"/>
                <a:gd name="connsiteY608" fmla="*/ 28932 h 198638"/>
                <a:gd name="connsiteX609" fmla="*/ 91978 w 172728"/>
                <a:gd name="connsiteY609" fmla="*/ 31091 h 198638"/>
                <a:gd name="connsiteX610" fmla="*/ 111410 w 172728"/>
                <a:gd name="connsiteY610" fmla="*/ 164092 h 198638"/>
                <a:gd name="connsiteX611" fmla="*/ 110978 w 172728"/>
                <a:gd name="connsiteY611" fmla="*/ 163229 h 198638"/>
                <a:gd name="connsiteX612" fmla="*/ 110115 w 172728"/>
                <a:gd name="connsiteY612" fmla="*/ 163229 h 198638"/>
                <a:gd name="connsiteX613" fmla="*/ 109683 w 172728"/>
                <a:gd name="connsiteY613" fmla="*/ 164092 h 198638"/>
                <a:gd name="connsiteX614" fmla="*/ 110546 w 172728"/>
                <a:gd name="connsiteY614" fmla="*/ 164524 h 198638"/>
                <a:gd name="connsiteX615" fmla="*/ 110978 w 172728"/>
                <a:gd name="connsiteY615" fmla="*/ 164524 h 198638"/>
                <a:gd name="connsiteX616" fmla="*/ 111410 w 172728"/>
                <a:gd name="connsiteY616" fmla="*/ 164092 h 198638"/>
                <a:gd name="connsiteX617" fmla="*/ 120910 w 172728"/>
                <a:gd name="connsiteY617" fmla="*/ 161933 h 198638"/>
                <a:gd name="connsiteX618" fmla="*/ 120478 w 172728"/>
                <a:gd name="connsiteY618" fmla="*/ 162365 h 198638"/>
                <a:gd name="connsiteX619" fmla="*/ 120047 w 172728"/>
                <a:gd name="connsiteY619" fmla="*/ 161933 h 198638"/>
                <a:gd name="connsiteX620" fmla="*/ 120478 w 172728"/>
                <a:gd name="connsiteY620" fmla="*/ 161501 h 198638"/>
                <a:gd name="connsiteX621" fmla="*/ 120910 w 172728"/>
                <a:gd name="connsiteY621" fmla="*/ 161933 h 198638"/>
                <a:gd name="connsiteX622" fmla="*/ 144660 w 172728"/>
                <a:gd name="connsiteY622" fmla="*/ 136888 h 198638"/>
                <a:gd name="connsiteX623" fmla="*/ 142501 w 172728"/>
                <a:gd name="connsiteY623" fmla="*/ 139047 h 198638"/>
                <a:gd name="connsiteX624" fmla="*/ 141638 w 172728"/>
                <a:gd name="connsiteY624" fmla="*/ 139910 h 198638"/>
                <a:gd name="connsiteX625" fmla="*/ 141206 w 172728"/>
                <a:gd name="connsiteY625" fmla="*/ 139047 h 198638"/>
                <a:gd name="connsiteX626" fmla="*/ 139910 w 172728"/>
                <a:gd name="connsiteY626" fmla="*/ 137751 h 198638"/>
                <a:gd name="connsiteX627" fmla="*/ 139047 w 172728"/>
                <a:gd name="connsiteY627" fmla="*/ 136888 h 198638"/>
                <a:gd name="connsiteX628" fmla="*/ 139047 w 172728"/>
                <a:gd name="connsiteY628" fmla="*/ 136024 h 198638"/>
                <a:gd name="connsiteX629" fmla="*/ 141206 w 172728"/>
                <a:gd name="connsiteY629" fmla="*/ 134729 h 198638"/>
                <a:gd name="connsiteX630" fmla="*/ 141638 w 172728"/>
                <a:gd name="connsiteY630" fmla="*/ 135160 h 198638"/>
                <a:gd name="connsiteX631" fmla="*/ 143797 w 172728"/>
                <a:gd name="connsiteY631" fmla="*/ 136024 h 198638"/>
                <a:gd name="connsiteX632" fmla="*/ 144660 w 172728"/>
                <a:gd name="connsiteY632" fmla="*/ 136888 h 198638"/>
                <a:gd name="connsiteX633" fmla="*/ 147251 w 172728"/>
                <a:gd name="connsiteY633" fmla="*/ 128251 h 198638"/>
                <a:gd name="connsiteX634" fmla="*/ 147251 w 172728"/>
                <a:gd name="connsiteY634" fmla="*/ 128683 h 198638"/>
                <a:gd name="connsiteX635" fmla="*/ 144660 w 172728"/>
                <a:gd name="connsiteY635" fmla="*/ 131274 h 198638"/>
                <a:gd name="connsiteX636" fmla="*/ 144229 w 172728"/>
                <a:gd name="connsiteY636" fmla="*/ 131274 h 198638"/>
                <a:gd name="connsiteX637" fmla="*/ 143797 w 172728"/>
                <a:gd name="connsiteY637" fmla="*/ 130842 h 198638"/>
                <a:gd name="connsiteX638" fmla="*/ 144229 w 172728"/>
                <a:gd name="connsiteY638" fmla="*/ 129978 h 198638"/>
                <a:gd name="connsiteX639" fmla="*/ 145524 w 172728"/>
                <a:gd name="connsiteY639" fmla="*/ 128683 h 198638"/>
                <a:gd name="connsiteX640" fmla="*/ 145524 w 172728"/>
                <a:gd name="connsiteY640" fmla="*/ 127819 h 198638"/>
                <a:gd name="connsiteX641" fmla="*/ 145956 w 172728"/>
                <a:gd name="connsiteY641" fmla="*/ 127819 h 198638"/>
                <a:gd name="connsiteX642" fmla="*/ 147251 w 172728"/>
                <a:gd name="connsiteY642" fmla="*/ 128251 h 198638"/>
                <a:gd name="connsiteX643" fmla="*/ 157183 w 172728"/>
                <a:gd name="connsiteY643" fmla="*/ 121342 h 198638"/>
                <a:gd name="connsiteX644" fmla="*/ 158047 w 172728"/>
                <a:gd name="connsiteY644" fmla="*/ 120910 h 198638"/>
                <a:gd name="connsiteX645" fmla="*/ 156751 w 172728"/>
                <a:gd name="connsiteY645" fmla="*/ 123933 h 198638"/>
                <a:gd name="connsiteX646" fmla="*/ 155888 w 172728"/>
                <a:gd name="connsiteY646" fmla="*/ 124365 h 198638"/>
                <a:gd name="connsiteX647" fmla="*/ 155888 w 172728"/>
                <a:gd name="connsiteY647" fmla="*/ 123069 h 198638"/>
                <a:gd name="connsiteX648" fmla="*/ 157183 w 172728"/>
                <a:gd name="connsiteY648" fmla="*/ 121342 h 198638"/>
                <a:gd name="connsiteX649" fmla="*/ 158479 w 172728"/>
                <a:gd name="connsiteY649" fmla="*/ 99319 h 198638"/>
                <a:gd name="connsiteX650" fmla="*/ 158047 w 172728"/>
                <a:gd name="connsiteY650" fmla="*/ 97592 h 198638"/>
                <a:gd name="connsiteX651" fmla="*/ 157615 w 172728"/>
                <a:gd name="connsiteY651" fmla="*/ 97592 h 198638"/>
                <a:gd name="connsiteX652" fmla="*/ 157615 w 172728"/>
                <a:gd name="connsiteY652" fmla="*/ 98456 h 198638"/>
                <a:gd name="connsiteX653" fmla="*/ 158047 w 172728"/>
                <a:gd name="connsiteY653" fmla="*/ 99319 h 198638"/>
                <a:gd name="connsiteX654" fmla="*/ 158047 w 172728"/>
                <a:gd name="connsiteY654" fmla="*/ 99751 h 198638"/>
                <a:gd name="connsiteX655" fmla="*/ 158479 w 172728"/>
                <a:gd name="connsiteY655" fmla="*/ 99319 h 198638"/>
                <a:gd name="connsiteX656" fmla="*/ 160206 w 172728"/>
                <a:gd name="connsiteY656" fmla="*/ 87228 h 198638"/>
                <a:gd name="connsiteX657" fmla="*/ 160206 w 172728"/>
                <a:gd name="connsiteY657" fmla="*/ 87660 h 198638"/>
                <a:gd name="connsiteX658" fmla="*/ 158479 w 172728"/>
                <a:gd name="connsiteY658" fmla="*/ 88955 h 198638"/>
                <a:gd name="connsiteX659" fmla="*/ 158047 w 172728"/>
                <a:gd name="connsiteY659" fmla="*/ 88524 h 198638"/>
                <a:gd name="connsiteX660" fmla="*/ 158047 w 172728"/>
                <a:gd name="connsiteY660" fmla="*/ 88092 h 198638"/>
                <a:gd name="connsiteX661" fmla="*/ 159342 w 172728"/>
                <a:gd name="connsiteY661" fmla="*/ 86796 h 198638"/>
                <a:gd name="connsiteX662" fmla="*/ 160206 w 172728"/>
                <a:gd name="connsiteY662" fmla="*/ 87228 h 198638"/>
                <a:gd name="connsiteX663" fmla="*/ 168411 w 172728"/>
                <a:gd name="connsiteY663" fmla="*/ 92410 h 198638"/>
                <a:gd name="connsiteX664" fmla="*/ 168411 w 172728"/>
                <a:gd name="connsiteY664" fmla="*/ 92842 h 198638"/>
                <a:gd name="connsiteX665" fmla="*/ 167547 w 172728"/>
                <a:gd name="connsiteY665" fmla="*/ 95433 h 198638"/>
                <a:gd name="connsiteX666" fmla="*/ 167115 w 172728"/>
                <a:gd name="connsiteY666" fmla="*/ 96728 h 198638"/>
                <a:gd name="connsiteX667" fmla="*/ 166683 w 172728"/>
                <a:gd name="connsiteY667" fmla="*/ 98024 h 198638"/>
                <a:gd name="connsiteX668" fmla="*/ 165388 w 172728"/>
                <a:gd name="connsiteY668" fmla="*/ 99319 h 198638"/>
                <a:gd name="connsiteX669" fmla="*/ 164092 w 172728"/>
                <a:gd name="connsiteY669" fmla="*/ 98024 h 198638"/>
                <a:gd name="connsiteX670" fmla="*/ 165388 w 172728"/>
                <a:gd name="connsiteY670" fmla="*/ 94569 h 198638"/>
                <a:gd name="connsiteX671" fmla="*/ 165388 w 172728"/>
                <a:gd name="connsiteY671" fmla="*/ 93274 h 198638"/>
                <a:gd name="connsiteX672" fmla="*/ 165820 w 172728"/>
                <a:gd name="connsiteY672" fmla="*/ 91546 h 198638"/>
                <a:gd name="connsiteX673" fmla="*/ 167115 w 172728"/>
                <a:gd name="connsiteY673" fmla="*/ 88092 h 198638"/>
                <a:gd name="connsiteX674" fmla="*/ 167115 w 172728"/>
                <a:gd name="connsiteY674" fmla="*/ 87228 h 198638"/>
                <a:gd name="connsiteX675" fmla="*/ 167547 w 172728"/>
                <a:gd name="connsiteY675" fmla="*/ 86364 h 198638"/>
                <a:gd name="connsiteX676" fmla="*/ 167979 w 172728"/>
                <a:gd name="connsiteY676" fmla="*/ 86364 h 198638"/>
                <a:gd name="connsiteX677" fmla="*/ 168411 w 172728"/>
                <a:gd name="connsiteY677" fmla="*/ 86364 h 198638"/>
                <a:gd name="connsiteX678" fmla="*/ 168842 w 172728"/>
                <a:gd name="connsiteY678" fmla="*/ 87228 h 198638"/>
                <a:gd name="connsiteX679" fmla="*/ 168411 w 172728"/>
                <a:gd name="connsiteY679" fmla="*/ 87660 h 198638"/>
                <a:gd name="connsiteX680" fmla="*/ 167547 w 172728"/>
                <a:gd name="connsiteY680" fmla="*/ 89387 h 198638"/>
                <a:gd name="connsiteX681" fmla="*/ 167115 w 172728"/>
                <a:gd name="connsiteY681" fmla="*/ 90251 h 198638"/>
                <a:gd name="connsiteX682" fmla="*/ 167979 w 172728"/>
                <a:gd name="connsiteY682" fmla="*/ 91114 h 198638"/>
                <a:gd name="connsiteX683" fmla="*/ 168411 w 172728"/>
                <a:gd name="connsiteY683" fmla="*/ 92410 h 198638"/>
                <a:gd name="connsiteX684" fmla="*/ 164092 w 172728"/>
                <a:gd name="connsiteY684" fmla="*/ 61751 h 198638"/>
                <a:gd name="connsiteX685" fmla="*/ 164956 w 172728"/>
                <a:gd name="connsiteY685" fmla="*/ 60455 h 198638"/>
                <a:gd name="connsiteX686" fmla="*/ 167115 w 172728"/>
                <a:gd name="connsiteY686" fmla="*/ 60455 h 198638"/>
                <a:gd name="connsiteX687" fmla="*/ 166683 w 172728"/>
                <a:gd name="connsiteY687" fmla="*/ 61751 h 198638"/>
                <a:gd name="connsiteX688" fmla="*/ 167115 w 172728"/>
                <a:gd name="connsiteY688" fmla="*/ 62182 h 198638"/>
                <a:gd name="connsiteX689" fmla="*/ 166252 w 172728"/>
                <a:gd name="connsiteY689" fmla="*/ 63046 h 198638"/>
                <a:gd name="connsiteX690" fmla="*/ 164092 w 172728"/>
                <a:gd name="connsiteY690" fmla="*/ 61751 h 198638"/>
                <a:gd name="connsiteX691" fmla="*/ 169274 w 172728"/>
                <a:gd name="connsiteY691" fmla="*/ 105365 h 198638"/>
                <a:gd name="connsiteX692" fmla="*/ 167979 w 172728"/>
                <a:gd name="connsiteY692" fmla="*/ 106660 h 198638"/>
                <a:gd name="connsiteX693" fmla="*/ 168842 w 172728"/>
                <a:gd name="connsiteY693" fmla="*/ 104501 h 198638"/>
                <a:gd name="connsiteX694" fmla="*/ 169274 w 172728"/>
                <a:gd name="connsiteY694" fmla="*/ 104933 h 198638"/>
                <a:gd name="connsiteX695" fmla="*/ 169274 w 172728"/>
                <a:gd name="connsiteY695" fmla="*/ 105365 h 198638"/>
                <a:gd name="connsiteX696" fmla="*/ 171865 w 172728"/>
                <a:gd name="connsiteY696" fmla="*/ 99751 h 198638"/>
                <a:gd name="connsiteX697" fmla="*/ 171433 w 172728"/>
                <a:gd name="connsiteY697" fmla="*/ 98456 h 198638"/>
                <a:gd name="connsiteX698" fmla="*/ 171865 w 172728"/>
                <a:gd name="connsiteY698" fmla="*/ 97592 h 198638"/>
                <a:gd name="connsiteX699" fmla="*/ 172297 w 172728"/>
                <a:gd name="connsiteY699" fmla="*/ 97160 h 198638"/>
                <a:gd name="connsiteX700" fmla="*/ 172729 w 172728"/>
                <a:gd name="connsiteY700" fmla="*/ 97592 h 198638"/>
                <a:gd name="connsiteX701" fmla="*/ 171865 w 172728"/>
                <a:gd name="connsiteY701" fmla="*/ 99751 h 198638"/>
                <a:gd name="connsiteX702" fmla="*/ 171433 w 172728"/>
                <a:gd name="connsiteY702" fmla="*/ 100183 h 198638"/>
                <a:gd name="connsiteX703" fmla="*/ 171865 w 172728"/>
                <a:gd name="connsiteY703" fmla="*/ 99751 h 19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</a:cxnLst>
              <a:rect l="l" t="t" r="r" b="b"/>
              <a:pathLst>
                <a:path w="172728" h="198638">
                  <a:moveTo>
                    <a:pt x="165388" y="101478"/>
                  </a:moveTo>
                  <a:cubicBezTo>
                    <a:pt x="164092" y="102774"/>
                    <a:pt x="164092" y="103637"/>
                    <a:pt x="164092" y="104501"/>
                  </a:cubicBezTo>
                  <a:cubicBezTo>
                    <a:pt x="163229" y="105796"/>
                    <a:pt x="162365" y="106660"/>
                    <a:pt x="160638" y="107524"/>
                  </a:cubicBezTo>
                  <a:cubicBezTo>
                    <a:pt x="160206" y="107956"/>
                    <a:pt x="159774" y="108819"/>
                    <a:pt x="159774" y="109251"/>
                  </a:cubicBezTo>
                  <a:cubicBezTo>
                    <a:pt x="159774" y="109683"/>
                    <a:pt x="159342" y="109683"/>
                    <a:pt x="159342" y="110115"/>
                  </a:cubicBezTo>
                  <a:cubicBezTo>
                    <a:pt x="159342" y="110546"/>
                    <a:pt x="159774" y="111410"/>
                    <a:pt x="160206" y="111842"/>
                  </a:cubicBezTo>
                  <a:cubicBezTo>
                    <a:pt x="160638" y="111842"/>
                    <a:pt x="161070" y="112274"/>
                    <a:pt x="161070" y="112274"/>
                  </a:cubicBezTo>
                  <a:cubicBezTo>
                    <a:pt x="161933" y="112706"/>
                    <a:pt x="161933" y="112706"/>
                    <a:pt x="162797" y="112706"/>
                  </a:cubicBezTo>
                  <a:lnTo>
                    <a:pt x="163229" y="112274"/>
                  </a:lnTo>
                  <a:cubicBezTo>
                    <a:pt x="163661" y="112274"/>
                    <a:pt x="164092" y="112274"/>
                    <a:pt x="164092" y="112706"/>
                  </a:cubicBezTo>
                  <a:cubicBezTo>
                    <a:pt x="163229" y="114865"/>
                    <a:pt x="161933" y="116592"/>
                    <a:pt x="160638" y="117888"/>
                  </a:cubicBezTo>
                  <a:cubicBezTo>
                    <a:pt x="159774" y="118751"/>
                    <a:pt x="159342" y="119615"/>
                    <a:pt x="159342" y="120478"/>
                  </a:cubicBezTo>
                  <a:cubicBezTo>
                    <a:pt x="159342" y="120910"/>
                    <a:pt x="158479" y="120910"/>
                    <a:pt x="158047" y="120910"/>
                  </a:cubicBezTo>
                  <a:cubicBezTo>
                    <a:pt x="158047" y="120478"/>
                    <a:pt x="158479" y="120047"/>
                    <a:pt x="158479" y="119615"/>
                  </a:cubicBezTo>
                  <a:cubicBezTo>
                    <a:pt x="158479" y="119183"/>
                    <a:pt x="158047" y="118751"/>
                    <a:pt x="158047" y="117888"/>
                  </a:cubicBezTo>
                  <a:cubicBezTo>
                    <a:pt x="158047" y="116592"/>
                    <a:pt x="158911" y="115728"/>
                    <a:pt x="159342" y="114433"/>
                  </a:cubicBezTo>
                  <a:cubicBezTo>
                    <a:pt x="159774" y="114001"/>
                    <a:pt x="159774" y="113569"/>
                    <a:pt x="159774" y="113569"/>
                  </a:cubicBezTo>
                  <a:lnTo>
                    <a:pt x="159342" y="113569"/>
                  </a:lnTo>
                  <a:cubicBezTo>
                    <a:pt x="159342" y="113137"/>
                    <a:pt x="158911" y="113569"/>
                    <a:pt x="158479" y="113569"/>
                  </a:cubicBezTo>
                  <a:cubicBezTo>
                    <a:pt x="157183" y="113569"/>
                    <a:pt x="156751" y="114433"/>
                    <a:pt x="156751" y="115728"/>
                  </a:cubicBezTo>
                  <a:cubicBezTo>
                    <a:pt x="156320" y="116592"/>
                    <a:pt x="155888" y="116592"/>
                    <a:pt x="155456" y="117024"/>
                  </a:cubicBezTo>
                  <a:lnTo>
                    <a:pt x="155024" y="117024"/>
                  </a:lnTo>
                  <a:cubicBezTo>
                    <a:pt x="154592" y="117024"/>
                    <a:pt x="154592" y="117024"/>
                    <a:pt x="154161" y="116592"/>
                  </a:cubicBezTo>
                  <a:lnTo>
                    <a:pt x="154161" y="115728"/>
                  </a:lnTo>
                  <a:cubicBezTo>
                    <a:pt x="154161" y="115297"/>
                    <a:pt x="154161" y="114865"/>
                    <a:pt x="153729" y="114865"/>
                  </a:cubicBezTo>
                  <a:cubicBezTo>
                    <a:pt x="153297" y="114865"/>
                    <a:pt x="153297" y="115297"/>
                    <a:pt x="153297" y="115728"/>
                  </a:cubicBezTo>
                  <a:cubicBezTo>
                    <a:pt x="152433" y="115728"/>
                    <a:pt x="152001" y="116592"/>
                    <a:pt x="152001" y="116592"/>
                  </a:cubicBezTo>
                  <a:lnTo>
                    <a:pt x="152001" y="119615"/>
                  </a:lnTo>
                  <a:cubicBezTo>
                    <a:pt x="151570" y="119615"/>
                    <a:pt x="152001" y="120047"/>
                    <a:pt x="151570" y="120047"/>
                  </a:cubicBezTo>
                  <a:cubicBezTo>
                    <a:pt x="150274" y="119615"/>
                    <a:pt x="148979" y="119615"/>
                    <a:pt x="148547" y="118751"/>
                  </a:cubicBezTo>
                  <a:cubicBezTo>
                    <a:pt x="148547" y="118751"/>
                    <a:pt x="147683" y="118751"/>
                    <a:pt x="147683" y="119183"/>
                  </a:cubicBezTo>
                  <a:cubicBezTo>
                    <a:pt x="147683" y="119615"/>
                    <a:pt x="147683" y="119615"/>
                    <a:pt x="148115" y="120478"/>
                  </a:cubicBezTo>
                  <a:cubicBezTo>
                    <a:pt x="148115" y="120910"/>
                    <a:pt x="148115" y="121342"/>
                    <a:pt x="147251" y="121774"/>
                  </a:cubicBezTo>
                  <a:cubicBezTo>
                    <a:pt x="145524" y="123501"/>
                    <a:pt x="145092" y="124797"/>
                    <a:pt x="143797" y="126956"/>
                  </a:cubicBezTo>
                  <a:cubicBezTo>
                    <a:pt x="143797" y="126956"/>
                    <a:pt x="143797" y="127388"/>
                    <a:pt x="143365" y="127388"/>
                  </a:cubicBezTo>
                  <a:lnTo>
                    <a:pt x="142501" y="127388"/>
                  </a:lnTo>
                  <a:cubicBezTo>
                    <a:pt x="142069" y="127388"/>
                    <a:pt x="142069" y="127388"/>
                    <a:pt x="142069" y="127819"/>
                  </a:cubicBezTo>
                  <a:lnTo>
                    <a:pt x="142069" y="128683"/>
                  </a:lnTo>
                  <a:cubicBezTo>
                    <a:pt x="142069" y="129547"/>
                    <a:pt x="141206" y="129978"/>
                    <a:pt x="141206" y="130842"/>
                  </a:cubicBezTo>
                  <a:cubicBezTo>
                    <a:pt x="140342" y="131706"/>
                    <a:pt x="139047" y="131706"/>
                    <a:pt x="138615" y="133001"/>
                  </a:cubicBezTo>
                  <a:cubicBezTo>
                    <a:pt x="138615" y="133865"/>
                    <a:pt x="137751" y="133865"/>
                    <a:pt x="136456" y="133865"/>
                  </a:cubicBezTo>
                  <a:cubicBezTo>
                    <a:pt x="136456" y="133865"/>
                    <a:pt x="135592" y="134297"/>
                    <a:pt x="135592" y="134729"/>
                  </a:cubicBezTo>
                  <a:cubicBezTo>
                    <a:pt x="135160" y="134729"/>
                    <a:pt x="134729" y="135160"/>
                    <a:pt x="134729" y="135160"/>
                  </a:cubicBezTo>
                  <a:cubicBezTo>
                    <a:pt x="134729" y="135160"/>
                    <a:pt x="135160" y="135592"/>
                    <a:pt x="135592" y="135592"/>
                  </a:cubicBezTo>
                  <a:cubicBezTo>
                    <a:pt x="135592" y="136024"/>
                    <a:pt x="135592" y="136024"/>
                    <a:pt x="136024" y="136024"/>
                  </a:cubicBezTo>
                  <a:lnTo>
                    <a:pt x="136888" y="136888"/>
                  </a:lnTo>
                  <a:cubicBezTo>
                    <a:pt x="136456" y="137751"/>
                    <a:pt x="136024" y="139047"/>
                    <a:pt x="135160" y="139047"/>
                  </a:cubicBezTo>
                  <a:cubicBezTo>
                    <a:pt x="134729" y="139479"/>
                    <a:pt x="133865" y="139910"/>
                    <a:pt x="133433" y="139910"/>
                  </a:cubicBezTo>
                  <a:cubicBezTo>
                    <a:pt x="132138" y="140342"/>
                    <a:pt x="131706" y="140774"/>
                    <a:pt x="130410" y="141638"/>
                  </a:cubicBezTo>
                  <a:cubicBezTo>
                    <a:pt x="129115" y="142501"/>
                    <a:pt x="129115" y="143797"/>
                    <a:pt x="129115" y="145092"/>
                  </a:cubicBezTo>
                  <a:lnTo>
                    <a:pt x="128251" y="148115"/>
                  </a:lnTo>
                  <a:cubicBezTo>
                    <a:pt x="127819" y="148115"/>
                    <a:pt x="128251" y="148547"/>
                    <a:pt x="128683" y="148979"/>
                  </a:cubicBezTo>
                  <a:cubicBezTo>
                    <a:pt x="128683" y="149410"/>
                    <a:pt x="129115" y="149410"/>
                    <a:pt x="129115" y="149410"/>
                  </a:cubicBezTo>
                  <a:lnTo>
                    <a:pt x="128683" y="149842"/>
                  </a:lnTo>
                  <a:cubicBezTo>
                    <a:pt x="128251" y="150274"/>
                    <a:pt x="128251" y="150274"/>
                    <a:pt x="128251" y="150706"/>
                  </a:cubicBezTo>
                  <a:cubicBezTo>
                    <a:pt x="128251" y="151138"/>
                    <a:pt x="128251" y="151570"/>
                    <a:pt x="128683" y="151570"/>
                  </a:cubicBezTo>
                  <a:cubicBezTo>
                    <a:pt x="128683" y="152001"/>
                    <a:pt x="128683" y="152001"/>
                    <a:pt x="129115" y="152001"/>
                  </a:cubicBezTo>
                  <a:cubicBezTo>
                    <a:pt x="129115" y="152001"/>
                    <a:pt x="129547" y="152001"/>
                    <a:pt x="129547" y="151570"/>
                  </a:cubicBezTo>
                  <a:cubicBezTo>
                    <a:pt x="130410" y="151138"/>
                    <a:pt x="131274" y="150274"/>
                    <a:pt x="131274" y="149410"/>
                  </a:cubicBezTo>
                  <a:lnTo>
                    <a:pt x="131274" y="148979"/>
                  </a:lnTo>
                  <a:cubicBezTo>
                    <a:pt x="131274" y="148547"/>
                    <a:pt x="131706" y="147683"/>
                    <a:pt x="132569" y="147683"/>
                  </a:cubicBezTo>
                  <a:cubicBezTo>
                    <a:pt x="133433" y="147683"/>
                    <a:pt x="133865" y="146820"/>
                    <a:pt x="135160" y="145956"/>
                  </a:cubicBezTo>
                  <a:cubicBezTo>
                    <a:pt x="135160" y="145524"/>
                    <a:pt x="135592" y="144660"/>
                    <a:pt x="136024" y="144229"/>
                  </a:cubicBezTo>
                  <a:cubicBezTo>
                    <a:pt x="136456" y="144229"/>
                    <a:pt x="136456" y="144229"/>
                    <a:pt x="136888" y="144660"/>
                  </a:cubicBezTo>
                  <a:cubicBezTo>
                    <a:pt x="136456" y="145524"/>
                    <a:pt x="136024" y="146388"/>
                    <a:pt x="135160" y="147251"/>
                  </a:cubicBezTo>
                  <a:lnTo>
                    <a:pt x="134729" y="147683"/>
                  </a:lnTo>
                  <a:lnTo>
                    <a:pt x="134729" y="148115"/>
                  </a:lnTo>
                  <a:cubicBezTo>
                    <a:pt x="134729" y="149410"/>
                    <a:pt x="133433" y="150274"/>
                    <a:pt x="132138" y="151570"/>
                  </a:cubicBezTo>
                  <a:cubicBezTo>
                    <a:pt x="131706" y="152865"/>
                    <a:pt x="130410" y="153297"/>
                    <a:pt x="129547" y="154592"/>
                  </a:cubicBezTo>
                  <a:cubicBezTo>
                    <a:pt x="128683" y="155888"/>
                    <a:pt x="126956" y="156752"/>
                    <a:pt x="125660" y="158047"/>
                  </a:cubicBezTo>
                  <a:cubicBezTo>
                    <a:pt x="125660" y="158047"/>
                    <a:pt x="125228" y="158479"/>
                    <a:pt x="124365" y="158911"/>
                  </a:cubicBezTo>
                  <a:lnTo>
                    <a:pt x="123933" y="158911"/>
                  </a:lnTo>
                  <a:cubicBezTo>
                    <a:pt x="123501" y="157615"/>
                    <a:pt x="123501" y="157183"/>
                    <a:pt x="122206" y="157183"/>
                  </a:cubicBezTo>
                  <a:cubicBezTo>
                    <a:pt x="122206" y="157183"/>
                    <a:pt x="121774" y="157183"/>
                    <a:pt x="121774" y="156752"/>
                  </a:cubicBezTo>
                  <a:lnTo>
                    <a:pt x="121774" y="156320"/>
                  </a:lnTo>
                  <a:cubicBezTo>
                    <a:pt x="121774" y="155888"/>
                    <a:pt x="121774" y="155888"/>
                    <a:pt x="122206" y="155888"/>
                  </a:cubicBezTo>
                  <a:cubicBezTo>
                    <a:pt x="122637" y="155888"/>
                    <a:pt x="123069" y="155456"/>
                    <a:pt x="123069" y="155024"/>
                  </a:cubicBezTo>
                  <a:lnTo>
                    <a:pt x="123501" y="154592"/>
                  </a:lnTo>
                  <a:cubicBezTo>
                    <a:pt x="123501" y="154592"/>
                    <a:pt x="123069" y="154592"/>
                    <a:pt x="123069" y="154161"/>
                  </a:cubicBezTo>
                  <a:lnTo>
                    <a:pt x="122206" y="153297"/>
                  </a:lnTo>
                  <a:cubicBezTo>
                    <a:pt x="122206" y="153297"/>
                    <a:pt x="122637" y="153297"/>
                    <a:pt x="123069" y="152865"/>
                  </a:cubicBezTo>
                  <a:lnTo>
                    <a:pt x="123069" y="152433"/>
                  </a:lnTo>
                  <a:cubicBezTo>
                    <a:pt x="123069" y="152001"/>
                    <a:pt x="123069" y="152001"/>
                    <a:pt x="123501" y="152001"/>
                  </a:cubicBezTo>
                  <a:lnTo>
                    <a:pt x="123501" y="151570"/>
                  </a:lnTo>
                  <a:cubicBezTo>
                    <a:pt x="123069" y="151138"/>
                    <a:pt x="123069" y="151138"/>
                    <a:pt x="122637" y="151138"/>
                  </a:cubicBezTo>
                  <a:lnTo>
                    <a:pt x="122206" y="151138"/>
                  </a:lnTo>
                  <a:cubicBezTo>
                    <a:pt x="120478" y="152001"/>
                    <a:pt x="119615" y="152865"/>
                    <a:pt x="118751" y="154592"/>
                  </a:cubicBezTo>
                  <a:lnTo>
                    <a:pt x="118319" y="155024"/>
                  </a:lnTo>
                  <a:cubicBezTo>
                    <a:pt x="118319" y="155024"/>
                    <a:pt x="118319" y="155456"/>
                    <a:pt x="118751" y="155456"/>
                  </a:cubicBezTo>
                  <a:lnTo>
                    <a:pt x="119615" y="155456"/>
                  </a:lnTo>
                  <a:lnTo>
                    <a:pt x="120047" y="155888"/>
                  </a:lnTo>
                  <a:cubicBezTo>
                    <a:pt x="120047" y="155888"/>
                    <a:pt x="119615" y="155888"/>
                    <a:pt x="119183" y="156320"/>
                  </a:cubicBezTo>
                  <a:cubicBezTo>
                    <a:pt x="117887" y="157183"/>
                    <a:pt x="118319" y="158479"/>
                    <a:pt x="117456" y="158911"/>
                  </a:cubicBezTo>
                  <a:lnTo>
                    <a:pt x="117456" y="159774"/>
                  </a:lnTo>
                  <a:cubicBezTo>
                    <a:pt x="117887" y="160206"/>
                    <a:pt x="117887" y="161070"/>
                    <a:pt x="117887" y="161501"/>
                  </a:cubicBezTo>
                  <a:lnTo>
                    <a:pt x="117887" y="161933"/>
                  </a:lnTo>
                  <a:cubicBezTo>
                    <a:pt x="117456" y="161933"/>
                    <a:pt x="117024" y="162365"/>
                    <a:pt x="117024" y="162797"/>
                  </a:cubicBezTo>
                  <a:lnTo>
                    <a:pt x="116592" y="163229"/>
                  </a:lnTo>
                  <a:lnTo>
                    <a:pt x="117024" y="163229"/>
                  </a:lnTo>
                  <a:cubicBezTo>
                    <a:pt x="117024" y="163661"/>
                    <a:pt x="117024" y="163661"/>
                    <a:pt x="117456" y="164092"/>
                  </a:cubicBezTo>
                  <a:cubicBezTo>
                    <a:pt x="117887" y="164092"/>
                    <a:pt x="117887" y="164524"/>
                    <a:pt x="117887" y="164956"/>
                  </a:cubicBezTo>
                  <a:cubicBezTo>
                    <a:pt x="117887" y="165820"/>
                    <a:pt x="117024" y="166252"/>
                    <a:pt x="116592" y="166252"/>
                  </a:cubicBezTo>
                  <a:cubicBezTo>
                    <a:pt x="115728" y="166252"/>
                    <a:pt x="115297" y="166252"/>
                    <a:pt x="114433" y="166683"/>
                  </a:cubicBezTo>
                  <a:cubicBezTo>
                    <a:pt x="114001" y="167115"/>
                    <a:pt x="113569" y="167115"/>
                    <a:pt x="113569" y="167547"/>
                  </a:cubicBezTo>
                  <a:cubicBezTo>
                    <a:pt x="113569" y="167979"/>
                    <a:pt x="114001" y="167979"/>
                    <a:pt x="114001" y="168411"/>
                  </a:cubicBezTo>
                  <a:cubicBezTo>
                    <a:pt x="114433" y="168842"/>
                    <a:pt x="114433" y="168842"/>
                    <a:pt x="114433" y="169274"/>
                  </a:cubicBezTo>
                  <a:lnTo>
                    <a:pt x="114433" y="169706"/>
                  </a:lnTo>
                  <a:lnTo>
                    <a:pt x="113569" y="169706"/>
                  </a:lnTo>
                  <a:cubicBezTo>
                    <a:pt x="113137" y="169274"/>
                    <a:pt x="112274" y="168842"/>
                    <a:pt x="111410" y="168842"/>
                  </a:cubicBezTo>
                  <a:lnTo>
                    <a:pt x="110546" y="168842"/>
                  </a:lnTo>
                  <a:cubicBezTo>
                    <a:pt x="110115" y="168411"/>
                    <a:pt x="109683" y="168411"/>
                    <a:pt x="109683" y="167979"/>
                  </a:cubicBezTo>
                  <a:lnTo>
                    <a:pt x="110978" y="166683"/>
                  </a:lnTo>
                  <a:cubicBezTo>
                    <a:pt x="110978" y="166252"/>
                    <a:pt x="110978" y="166252"/>
                    <a:pt x="110546" y="166252"/>
                  </a:cubicBezTo>
                  <a:lnTo>
                    <a:pt x="110978" y="165820"/>
                  </a:lnTo>
                  <a:cubicBezTo>
                    <a:pt x="110546" y="165820"/>
                    <a:pt x="109683" y="166252"/>
                    <a:pt x="109251" y="166252"/>
                  </a:cubicBezTo>
                  <a:lnTo>
                    <a:pt x="104933" y="166252"/>
                  </a:lnTo>
                  <a:cubicBezTo>
                    <a:pt x="104501" y="166252"/>
                    <a:pt x="104501" y="167115"/>
                    <a:pt x="104501" y="167547"/>
                  </a:cubicBezTo>
                  <a:cubicBezTo>
                    <a:pt x="104933" y="168411"/>
                    <a:pt x="106228" y="169706"/>
                    <a:pt x="107524" y="170138"/>
                  </a:cubicBezTo>
                  <a:cubicBezTo>
                    <a:pt x="107956" y="170138"/>
                    <a:pt x="107956" y="170138"/>
                    <a:pt x="107956" y="170570"/>
                  </a:cubicBezTo>
                  <a:lnTo>
                    <a:pt x="107956" y="171002"/>
                  </a:lnTo>
                  <a:cubicBezTo>
                    <a:pt x="107956" y="171002"/>
                    <a:pt x="108387" y="171433"/>
                    <a:pt x="108387" y="171865"/>
                  </a:cubicBezTo>
                  <a:lnTo>
                    <a:pt x="108387" y="173161"/>
                  </a:lnTo>
                  <a:lnTo>
                    <a:pt x="104501" y="177911"/>
                  </a:lnTo>
                  <a:cubicBezTo>
                    <a:pt x="103637" y="177911"/>
                    <a:pt x="103205" y="178343"/>
                    <a:pt x="102774" y="179206"/>
                  </a:cubicBezTo>
                  <a:cubicBezTo>
                    <a:pt x="102342" y="180070"/>
                    <a:pt x="101478" y="181365"/>
                    <a:pt x="100183" y="182229"/>
                  </a:cubicBezTo>
                  <a:lnTo>
                    <a:pt x="96296" y="185252"/>
                  </a:lnTo>
                  <a:cubicBezTo>
                    <a:pt x="95865" y="185684"/>
                    <a:pt x="94137" y="186115"/>
                    <a:pt x="93274" y="187411"/>
                  </a:cubicBezTo>
                  <a:cubicBezTo>
                    <a:pt x="91115" y="187411"/>
                    <a:pt x="90251" y="189138"/>
                    <a:pt x="88955" y="190434"/>
                  </a:cubicBezTo>
                  <a:lnTo>
                    <a:pt x="86364" y="192161"/>
                  </a:lnTo>
                  <a:cubicBezTo>
                    <a:pt x="85069" y="192593"/>
                    <a:pt x="83773" y="193025"/>
                    <a:pt x="82910" y="193888"/>
                  </a:cubicBezTo>
                  <a:cubicBezTo>
                    <a:pt x="80319" y="195184"/>
                    <a:pt x="76864" y="197343"/>
                    <a:pt x="73842" y="198206"/>
                  </a:cubicBezTo>
                  <a:cubicBezTo>
                    <a:pt x="72978" y="198638"/>
                    <a:pt x="72546" y="199502"/>
                    <a:pt x="71683" y="200365"/>
                  </a:cubicBezTo>
                  <a:lnTo>
                    <a:pt x="68660" y="200365"/>
                  </a:lnTo>
                  <a:cubicBezTo>
                    <a:pt x="68660" y="200365"/>
                    <a:pt x="67796" y="200797"/>
                    <a:pt x="67364" y="200797"/>
                  </a:cubicBezTo>
                  <a:lnTo>
                    <a:pt x="64341" y="202093"/>
                  </a:lnTo>
                  <a:cubicBezTo>
                    <a:pt x="63478" y="202093"/>
                    <a:pt x="62182" y="202093"/>
                    <a:pt x="61319" y="202525"/>
                  </a:cubicBezTo>
                  <a:cubicBezTo>
                    <a:pt x="60455" y="202525"/>
                    <a:pt x="60023" y="203388"/>
                    <a:pt x="59160" y="203388"/>
                  </a:cubicBezTo>
                  <a:cubicBezTo>
                    <a:pt x="58728" y="203820"/>
                    <a:pt x="58296" y="203820"/>
                    <a:pt x="58296" y="203820"/>
                  </a:cubicBezTo>
                  <a:cubicBezTo>
                    <a:pt x="57864" y="203820"/>
                    <a:pt x="57864" y="203820"/>
                    <a:pt x="57864" y="203388"/>
                  </a:cubicBezTo>
                  <a:cubicBezTo>
                    <a:pt x="57001" y="203388"/>
                    <a:pt x="56569" y="202956"/>
                    <a:pt x="55705" y="202956"/>
                  </a:cubicBezTo>
                  <a:cubicBezTo>
                    <a:pt x="54841" y="202956"/>
                    <a:pt x="53978" y="203388"/>
                    <a:pt x="53546" y="203388"/>
                  </a:cubicBezTo>
                  <a:cubicBezTo>
                    <a:pt x="52682" y="203820"/>
                    <a:pt x="52251" y="203820"/>
                    <a:pt x="51387" y="203820"/>
                  </a:cubicBezTo>
                  <a:lnTo>
                    <a:pt x="46205" y="203820"/>
                  </a:lnTo>
                  <a:cubicBezTo>
                    <a:pt x="45341" y="203388"/>
                    <a:pt x="44478" y="203388"/>
                    <a:pt x="44046" y="203388"/>
                  </a:cubicBezTo>
                  <a:lnTo>
                    <a:pt x="37137" y="203388"/>
                  </a:lnTo>
                  <a:cubicBezTo>
                    <a:pt x="36705" y="203388"/>
                    <a:pt x="36273" y="202956"/>
                    <a:pt x="35409" y="202956"/>
                  </a:cubicBezTo>
                  <a:cubicBezTo>
                    <a:pt x="34978" y="202956"/>
                    <a:pt x="34114" y="202525"/>
                    <a:pt x="34114" y="202525"/>
                  </a:cubicBezTo>
                  <a:cubicBezTo>
                    <a:pt x="31955" y="202525"/>
                    <a:pt x="29796" y="202093"/>
                    <a:pt x="27637" y="201229"/>
                  </a:cubicBezTo>
                  <a:cubicBezTo>
                    <a:pt x="27637" y="201229"/>
                    <a:pt x="27205" y="201229"/>
                    <a:pt x="26773" y="200797"/>
                  </a:cubicBezTo>
                  <a:cubicBezTo>
                    <a:pt x="25909" y="199502"/>
                    <a:pt x="25909" y="199502"/>
                    <a:pt x="24182" y="199502"/>
                  </a:cubicBezTo>
                  <a:cubicBezTo>
                    <a:pt x="23318" y="199502"/>
                    <a:pt x="22887" y="199070"/>
                    <a:pt x="22455" y="198206"/>
                  </a:cubicBezTo>
                  <a:cubicBezTo>
                    <a:pt x="21591" y="196479"/>
                    <a:pt x="21591" y="196479"/>
                    <a:pt x="19864" y="196479"/>
                  </a:cubicBezTo>
                  <a:lnTo>
                    <a:pt x="16841" y="196479"/>
                  </a:lnTo>
                  <a:cubicBezTo>
                    <a:pt x="16841" y="196479"/>
                    <a:pt x="16409" y="196047"/>
                    <a:pt x="16409" y="195615"/>
                  </a:cubicBezTo>
                  <a:cubicBezTo>
                    <a:pt x="16409" y="195184"/>
                    <a:pt x="16841" y="195184"/>
                    <a:pt x="17273" y="194752"/>
                  </a:cubicBezTo>
                  <a:lnTo>
                    <a:pt x="17273" y="194320"/>
                  </a:lnTo>
                  <a:lnTo>
                    <a:pt x="16841" y="193888"/>
                  </a:lnTo>
                  <a:cubicBezTo>
                    <a:pt x="16841" y="193456"/>
                    <a:pt x="16409" y="193456"/>
                    <a:pt x="15977" y="193456"/>
                  </a:cubicBezTo>
                  <a:cubicBezTo>
                    <a:pt x="15114" y="193456"/>
                    <a:pt x="14250" y="193456"/>
                    <a:pt x="13387" y="192593"/>
                  </a:cubicBezTo>
                  <a:lnTo>
                    <a:pt x="12955" y="192593"/>
                  </a:lnTo>
                  <a:cubicBezTo>
                    <a:pt x="12955" y="192593"/>
                    <a:pt x="12523" y="192593"/>
                    <a:pt x="12523" y="192161"/>
                  </a:cubicBezTo>
                  <a:cubicBezTo>
                    <a:pt x="12523" y="192161"/>
                    <a:pt x="12955" y="191729"/>
                    <a:pt x="12955" y="191297"/>
                  </a:cubicBezTo>
                  <a:lnTo>
                    <a:pt x="12955" y="190434"/>
                  </a:lnTo>
                  <a:lnTo>
                    <a:pt x="11227" y="190434"/>
                  </a:lnTo>
                  <a:cubicBezTo>
                    <a:pt x="10796" y="190434"/>
                    <a:pt x="10796" y="189570"/>
                    <a:pt x="10796" y="189138"/>
                  </a:cubicBezTo>
                  <a:lnTo>
                    <a:pt x="11227" y="189138"/>
                  </a:lnTo>
                  <a:cubicBezTo>
                    <a:pt x="11227" y="188274"/>
                    <a:pt x="12091" y="188274"/>
                    <a:pt x="12091" y="187411"/>
                  </a:cubicBezTo>
                  <a:cubicBezTo>
                    <a:pt x="12091" y="186547"/>
                    <a:pt x="12091" y="185684"/>
                    <a:pt x="10796" y="185252"/>
                  </a:cubicBezTo>
                  <a:cubicBezTo>
                    <a:pt x="3455" y="180933"/>
                    <a:pt x="8205" y="179638"/>
                    <a:pt x="3455" y="174888"/>
                  </a:cubicBezTo>
                  <a:cubicBezTo>
                    <a:pt x="3023" y="174024"/>
                    <a:pt x="2591" y="173161"/>
                    <a:pt x="2591" y="172297"/>
                  </a:cubicBezTo>
                  <a:cubicBezTo>
                    <a:pt x="2159" y="171002"/>
                    <a:pt x="2159" y="169274"/>
                    <a:pt x="1295" y="167979"/>
                  </a:cubicBezTo>
                  <a:lnTo>
                    <a:pt x="1295" y="163229"/>
                  </a:lnTo>
                  <a:cubicBezTo>
                    <a:pt x="864" y="162365"/>
                    <a:pt x="864" y="161933"/>
                    <a:pt x="864" y="161070"/>
                  </a:cubicBezTo>
                  <a:cubicBezTo>
                    <a:pt x="864" y="160638"/>
                    <a:pt x="864" y="160206"/>
                    <a:pt x="1295" y="159774"/>
                  </a:cubicBezTo>
                  <a:lnTo>
                    <a:pt x="1295" y="157183"/>
                  </a:lnTo>
                  <a:cubicBezTo>
                    <a:pt x="1295" y="156752"/>
                    <a:pt x="1727" y="156320"/>
                    <a:pt x="1727" y="155888"/>
                  </a:cubicBezTo>
                  <a:cubicBezTo>
                    <a:pt x="1727" y="155456"/>
                    <a:pt x="1295" y="155024"/>
                    <a:pt x="1295" y="154592"/>
                  </a:cubicBezTo>
                  <a:cubicBezTo>
                    <a:pt x="864" y="153729"/>
                    <a:pt x="864" y="152865"/>
                    <a:pt x="864" y="152001"/>
                  </a:cubicBezTo>
                  <a:lnTo>
                    <a:pt x="864" y="151138"/>
                  </a:lnTo>
                  <a:cubicBezTo>
                    <a:pt x="1295" y="150706"/>
                    <a:pt x="1295" y="149842"/>
                    <a:pt x="1295" y="149410"/>
                  </a:cubicBezTo>
                  <a:cubicBezTo>
                    <a:pt x="1295" y="148979"/>
                    <a:pt x="1295" y="148547"/>
                    <a:pt x="432" y="148115"/>
                  </a:cubicBezTo>
                  <a:cubicBezTo>
                    <a:pt x="432" y="147683"/>
                    <a:pt x="0" y="147251"/>
                    <a:pt x="0" y="146820"/>
                  </a:cubicBezTo>
                  <a:cubicBezTo>
                    <a:pt x="0" y="146388"/>
                    <a:pt x="432" y="145524"/>
                    <a:pt x="864" y="144660"/>
                  </a:cubicBezTo>
                  <a:cubicBezTo>
                    <a:pt x="432" y="143797"/>
                    <a:pt x="432" y="143365"/>
                    <a:pt x="432" y="142501"/>
                  </a:cubicBezTo>
                  <a:cubicBezTo>
                    <a:pt x="864" y="140774"/>
                    <a:pt x="864" y="139047"/>
                    <a:pt x="864" y="136888"/>
                  </a:cubicBezTo>
                  <a:cubicBezTo>
                    <a:pt x="864" y="136456"/>
                    <a:pt x="432" y="136024"/>
                    <a:pt x="432" y="135592"/>
                  </a:cubicBezTo>
                  <a:cubicBezTo>
                    <a:pt x="432" y="134729"/>
                    <a:pt x="864" y="134297"/>
                    <a:pt x="1295" y="133433"/>
                  </a:cubicBezTo>
                  <a:cubicBezTo>
                    <a:pt x="1295" y="133001"/>
                    <a:pt x="1295" y="132569"/>
                    <a:pt x="1727" y="132569"/>
                  </a:cubicBezTo>
                  <a:cubicBezTo>
                    <a:pt x="2591" y="132569"/>
                    <a:pt x="2591" y="133001"/>
                    <a:pt x="2591" y="133865"/>
                  </a:cubicBezTo>
                  <a:lnTo>
                    <a:pt x="2591" y="134729"/>
                  </a:lnTo>
                  <a:cubicBezTo>
                    <a:pt x="3023" y="134729"/>
                    <a:pt x="3023" y="134729"/>
                    <a:pt x="3023" y="134297"/>
                  </a:cubicBezTo>
                  <a:lnTo>
                    <a:pt x="3023" y="130410"/>
                  </a:lnTo>
                  <a:cubicBezTo>
                    <a:pt x="3023" y="129978"/>
                    <a:pt x="3023" y="129978"/>
                    <a:pt x="3455" y="129547"/>
                  </a:cubicBezTo>
                  <a:lnTo>
                    <a:pt x="4318" y="128683"/>
                  </a:lnTo>
                  <a:lnTo>
                    <a:pt x="3886" y="128683"/>
                  </a:lnTo>
                  <a:cubicBezTo>
                    <a:pt x="3023" y="127819"/>
                    <a:pt x="3023" y="126524"/>
                    <a:pt x="3023" y="125228"/>
                  </a:cubicBezTo>
                  <a:lnTo>
                    <a:pt x="3023" y="124365"/>
                  </a:lnTo>
                  <a:cubicBezTo>
                    <a:pt x="3023" y="123933"/>
                    <a:pt x="3023" y="123933"/>
                    <a:pt x="2591" y="123501"/>
                  </a:cubicBezTo>
                  <a:cubicBezTo>
                    <a:pt x="3023" y="122637"/>
                    <a:pt x="3023" y="121774"/>
                    <a:pt x="3023" y="120910"/>
                  </a:cubicBezTo>
                  <a:lnTo>
                    <a:pt x="3023" y="119615"/>
                  </a:lnTo>
                  <a:cubicBezTo>
                    <a:pt x="3023" y="118751"/>
                    <a:pt x="3023" y="118319"/>
                    <a:pt x="3455" y="117888"/>
                  </a:cubicBezTo>
                  <a:cubicBezTo>
                    <a:pt x="3455" y="117456"/>
                    <a:pt x="3886" y="117456"/>
                    <a:pt x="4318" y="117456"/>
                  </a:cubicBezTo>
                  <a:cubicBezTo>
                    <a:pt x="4750" y="117456"/>
                    <a:pt x="5182" y="117024"/>
                    <a:pt x="5182" y="116592"/>
                  </a:cubicBezTo>
                  <a:cubicBezTo>
                    <a:pt x="5614" y="116592"/>
                    <a:pt x="5614" y="116592"/>
                    <a:pt x="5614" y="116160"/>
                  </a:cubicBezTo>
                  <a:lnTo>
                    <a:pt x="5614" y="115728"/>
                  </a:lnTo>
                  <a:lnTo>
                    <a:pt x="5182" y="115297"/>
                  </a:lnTo>
                  <a:cubicBezTo>
                    <a:pt x="4750" y="115297"/>
                    <a:pt x="4750" y="115728"/>
                    <a:pt x="4318" y="115728"/>
                  </a:cubicBezTo>
                  <a:lnTo>
                    <a:pt x="3886" y="115728"/>
                  </a:lnTo>
                  <a:cubicBezTo>
                    <a:pt x="3886" y="114865"/>
                    <a:pt x="3886" y="114865"/>
                    <a:pt x="4318" y="114433"/>
                  </a:cubicBezTo>
                  <a:cubicBezTo>
                    <a:pt x="4750" y="114001"/>
                    <a:pt x="4750" y="113569"/>
                    <a:pt x="4750" y="113137"/>
                  </a:cubicBezTo>
                  <a:cubicBezTo>
                    <a:pt x="4750" y="112706"/>
                    <a:pt x="4318" y="111842"/>
                    <a:pt x="3886" y="110978"/>
                  </a:cubicBezTo>
                  <a:cubicBezTo>
                    <a:pt x="3886" y="110546"/>
                    <a:pt x="4318" y="110546"/>
                    <a:pt x="4318" y="110115"/>
                  </a:cubicBezTo>
                  <a:cubicBezTo>
                    <a:pt x="4318" y="109683"/>
                    <a:pt x="3886" y="109251"/>
                    <a:pt x="3886" y="108819"/>
                  </a:cubicBezTo>
                  <a:lnTo>
                    <a:pt x="3886" y="108387"/>
                  </a:lnTo>
                  <a:cubicBezTo>
                    <a:pt x="5182" y="106660"/>
                    <a:pt x="4318" y="105365"/>
                    <a:pt x="5614" y="104069"/>
                  </a:cubicBezTo>
                  <a:cubicBezTo>
                    <a:pt x="5614" y="103637"/>
                    <a:pt x="5182" y="102774"/>
                    <a:pt x="5182" y="102342"/>
                  </a:cubicBezTo>
                  <a:cubicBezTo>
                    <a:pt x="5614" y="101046"/>
                    <a:pt x="6045" y="100183"/>
                    <a:pt x="6045" y="98887"/>
                  </a:cubicBezTo>
                  <a:lnTo>
                    <a:pt x="6045" y="98024"/>
                  </a:lnTo>
                  <a:cubicBezTo>
                    <a:pt x="6045" y="97592"/>
                    <a:pt x="6477" y="97160"/>
                    <a:pt x="7341" y="96728"/>
                  </a:cubicBezTo>
                  <a:cubicBezTo>
                    <a:pt x="7341" y="96728"/>
                    <a:pt x="7773" y="96296"/>
                    <a:pt x="7773" y="95865"/>
                  </a:cubicBezTo>
                  <a:cubicBezTo>
                    <a:pt x="7341" y="95433"/>
                    <a:pt x="7341" y="95001"/>
                    <a:pt x="7341" y="94569"/>
                  </a:cubicBezTo>
                  <a:cubicBezTo>
                    <a:pt x="7341" y="93705"/>
                    <a:pt x="7773" y="93274"/>
                    <a:pt x="7773" y="92410"/>
                  </a:cubicBezTo>
                  <a:cubicBezTo>
                    <a:pt x="7773" y="91978"/>
                    <a:pt x="8205" y="91546"/>
                    <a:pt x="8205" y="91546"/>
                  </a:cubicBezTo>
                  <a:cubicBezTo>
                    <a:pt x="9068" y="91114"/>
                    <a:pt x="9068" y="90683"/>
                    <a:pt x="9068" y="89819"/>
                  </a:cubicBezTo>
                  <a:lnTo>
                    <a:pt x="9068" y="87228"/>
                  </a:lnTo>
                  <a:cubicBezTo>
                    <a:pt x="9068" y="85933"/>
                    <a:pt x="9500" y="84205"/>
                    <a:pt x="9500" y="82910"/>
                  </a:cubicBezTo>
                  <a:lnTo>
                    <a:pt x="12091" y="78592"/>
                  </a:lnTo>
                  <a:cubicBezTo>
                    <a:pt x="12091" y="77728"/>
                    <a:pt x="12523" y="77296"/>
                    <a:pt x="12955" y="76433"/>
                  </a:cubicBezTo>
                  <a:cubicBezTo>
                    <a:pt x="12955" y="76001"/>
                    <a:pt x="12523" y="75137"/>
                    <a:pt x="12523" y="74705"/>
                  </a:cubicBezTo>
                  <a:cubicBezTo>
                    <a:pt x="12523" y="73842"/>
                    <a:pt x="12955" y="72978"/>
                    <a:pt x="13387" y="72546"/>
                  </a:cubicBezTo>
                  <a:cubicBezTo>
                    <a:pt x="14250" y="69955"/>
                    <a:pt x="15546" y="67364"/>
                    <a:pt x="16841" y="64773"/>
                  </a:cubicBezTo>
                  <a:cubicBezTo>
                    <a:pt x="17273" y="63478"/>
                    <a:pt x="17705" y="62182"/>
                    <a:pt x="17705" y="61319"/>
                  </a:cubicBezTo>
                  <a:lnTo>
                    <a:pt x="19000" y="57864"/>
                  </a:lnTo>
                  <a:lnTo>
                    <a:pt x="20296" y="57001"/>
                  </a:lnTo>
                  <a:cubicBezTo>
                    <a:pt x="21159" y="55273"/>
                    <a:pt x="21591" y="53978"/>
                    <a:pt x="22023" y="52251"/>
                  </a:cubicBezTo>
                  <a:cubicBezTo>
                    <a:pt x="22887" y="50091"/>
                    <a:pt x="23750" y="47932"/>
                    <a:pt x="25046" y="46205"/>
                  </a:cubicBezTo>
                  <a:cubicBezTo>
                    <a:pt x="25046" y="44909"/>
                    <a:pt x="25909" y="44046"/>
                    <a:pt x="25909" y="42750"/>
                  </a:cubicBezTo>
                  <a:lnTo>
                    <a:pt x="26773" y="41455"/>
                  </a:lnTo>
                  <a:lnTo>
                    <a:pt x="29796" y="37569"/>
                  </a:lnTo>
                  <a:cubicBezTo>
                    <a:pt x="29796" y="35409"/>
                    <a:pt x="31091" y="33250"/>
                    <a:pt x="33250" y="31523"/>
                  </a:cubicBezTo>
                  <a:lnTo>
                    <a:pt x="33250" y="31091"/>
                  </a:lnTo>
                  <a:cubicBezTo>
                    <a:pt x="33250" y="29364"/>
                    <a:pt x="34114" y="28932"/>
                    <a:pt x="35409" y="27637"/>
                  </a:cubicBezTo>
                  <a:lnTo>
                    <a:pt x="35409" y="27205"/>
                  </a:lnTo>
                  <a:cubicBezTo>
                    <a:pt x="36273" y="24182"/>
                    <a:pt x="38864" y="22023"/>
                    <a:pt x="40159" y="19432"/>
                  </a:cubicBezTo>
                  <a:lnTo>
                    <a:pt x="46205" y="12955"/>
                  </a:lnTo>
                  <a:cubicBezTo>
                    <a:pt x="46637" y="12523"/>
                    <a:pt x="47069" y="12091"/>
                    <a:pt x="47500" y="10796"/>
                  </a:cubicBezTo>
                  <a:cubicBezTo>
                    <a:pt x="47932" y="9932"/>
                    <a:pt x="48796" y="9068"/>
                    <a:pt x="50091" y="9068"/>
                  </a:cubicBezTo>
                  <a:cubicBezTo>
                    <a:pt x="51819" y="7773"/>
                    <a:pt x="53546" y="7341"/>
                    <a:pt x="54410" y="6045"/>
                  </a:cubicBezTo>
                  <a:cubicBezTo>
                    <a:pt x="54410" y="6045"/>
                    <a:pt x="54841" y="6045"/>
                    <a:pt x="55273" y="5614"/>
                  </a:cubicBezTo>
                  <a:cubicBezTo>
                    <a:pt x="56569" y="4318"/>
                    <a:pt x="58728" y="3455"/>
                    <a:pt x="60887" y="2159"/>
                  </a:cubicBezTo>
                  <a:lnTo>
                    <a:pt x="64341" y="864"/>
                  </a:lnTo>
                  <a:cubicBezTo>
                    <a:pt x="66069" y="432"/>
                    <a:pt x="66932" y="0"/>
                    <a:pt x="68228" y="0"/>
                  </a:cubicBezTo>
                  <a:lnTo>
                    <a:pt x="76001" y="0"/>
                  </a:lnTo>
                  <a:lnTo>
                    <a:pt x="79023" y="2159"/>
                  </a:lnTo>
                  <a:cubicBezTo>
                    <a:pt x="79455" y="2591"/>
                    <a:pt x="79455" y="3023"/>
                    <a:pt x="79887" y="3023"/>
                  </a:cubicBezTo>
                  <a:lnTo>
                    <a:pt x="83773" y="5614"/>
                  </a:lnTo>
                  <a:cubicBezTo>
                    <a:pt x="84205" y="6045"/>
                    <a:pt x="84637" y="6909"/>
                    <a:pt x="85501" y="6909"/>
                  </a:cubicBezTo>
                  <a:cubicBezTo>
                    <a:pt x="85933" y="6909"/>
                    <a:pt x="86364" y="7341"/>
                    <a:pt x="86796" y="7773"/>
                  </a:cubicBezTo>
                  <a:cubicBezTo>
                    <a:pt x="87228" y="7773"/>
                    <a:pt x="87228" y="8636"/>
                    <a:pt x="87660" y="9068"/>
                  </a:cubicBezTo>
                  <a:cubicBezTo>
                    <a:pt x="88092" y="9500"/>
                    <a:pt x="89387" y="9932"/>
                    <a:pt x="90251" y="9932"/>
                  </a:cubicBezTo>
                  <a:lnTo>
                    <a:pt x="91115" y="9932"/>
                  </a:lnTo>
                  <a:cubicBezTo>
                    <a:pt x="92410" y="9932"/>
                    <a:pt x="92842" y="10796"/>
                    <a:pt x="93705" y="11659"/>
                  </a:cubicBezTo>
                  <a:cubicBezTo>
                    <a:pt x="94137" y="12091"/>
                    <a:pt x="94137" y="12523"/>
                    <a:pt x="94137" y="12955"/>
                  </a:cubicBezTo>
                  <a:cubicBezTo>
                    <a:pt x="94137" y="13387"/>
                    <a:pt x="94137" y="13818"/>
                    <a:pt x="93705" y="13818"/>
                  </a:cubicBezTo>
                  <a:lnTo>
                    <a:pt x="90683" y="14682"/>
                  </a:lnTo>
                  <a:cubicBezTo>
                    <a:pt x="90251" y="14682"/>
                    <a:pt x="90251" y="15114"/>
                    <a:pt x="90251" y="15114"/>
                  </a:cubicBezTo>
                  <a:cubicBezTo>
                    <a:pt x="89819" y="15114"/>
                    <a:pt x="89819" y="14682"/>
                    <a:pt x="89819" y="13818"/>
                  </a:cubicBezTo>
                  <a:lnTo>
                    <a:pt x="89819" y="12955"/>
                  </a:lnTo>
                  <a:lnTo>
                    <a:pt x="88524" y="12955"/>
                  </a:lnTo>
                  <a:cubicBezTo>
                    <a:pt x="87660" y="13387"/>
                    <a:pt x="87228" y="14682"/>
                    <a:pt x="86796" y="15546"/>
                  </a:cubicBezTo>
                  <a:cubicBezTo>
                    <a:pt x="86796" y="15977"/>
                    <a:pt x="86796" y="15977"/>
                    <a:pt x="87228" y="16409"/>
                  </a:cubicBezTo>
                  <a:cubicBezTo>
                    <a:pt x="87228" y="16841"/>
                    <a:pt x="87660" y="16841"/>
                    <a:pt x="87660" y="16841"/>
                  </a:cubicBezTo>
                  <a:cubicBezTo>
                    <a:pt x="88524" y="17273"/>
                    <a:pt x="88524" y="18137"/>
                    <a:pt x="88524" y="19000"/>
                  </a:cubicBezTo>
                  <a:cubicBezTo>
                    <a:pt x="88524" y="19864"/>
                    <a:pt x="88955" y="19864"/>
                    <a:pt x="89387" y="19864"/>
                  </a:cubicBezTo>
                  <a:cubicBezTo>
                    <a:pt x="89819" y="19864"/>
                    <a:pt x="90251" y="19432"/>
                    <a:pt x="90251" y="19432"/>
                  </a:cubicBezTo>
                  <a:cubicBezTo>
                    <a:pt x="90683" y="19432"/>
                    <a:pt x="90683" y="19864"/>
                    <a:pt x="91115" y="20728"/>
                  </a:cubicBezTo>
                  <a:cubicBezTo>
                    <a:pt x="91546" y="21159"/>
                    <a:pt x="91978" y="22023"/>
                    <a:pt x="91978" y="22455"/>
                  </a:cubicBezTo>
                  <a:cubicBezTo>
                    <a:pt x="91978" y="22887"/>
                    <a:pt x="91546" y="22887"/>
                    <a:pt x="91546" y="23318"/>
                  </a:cubicBezTo>
                  <a:cubicBezTo>
                    <a:pt x="91546" y="24182"/>
                    <a:pt x="91978" y="24182"/>
                    <a:pt x="92410" y="25046"/>
                  </a:cubicBezTo>
                  <a:lnTo>
                    <a:pt x="93274" y="25046"/>
                  </a:lnTo>
                  <a:lnTo>
                    <a:pt x="93274" y="22887"/>
                  </a:lnTo>
                  <a:cubicBezTo>
                    <a:pt x="93274" y="21591"/>
                    <a:pt x="92842" y="20296"/>
                    <a:pt x="92842" y="19000"/>
                  </a:cubicBezTo>
                  <a:cubicBezTo>
                    <a:pt x="93274" y="18137"/>
                    <a:pt x="94137" y="17273"/>
                    <a:pt x="95001" y="16841"/>
                  </a:cubicBezTo>
                  <a:cubicBezTo>
                    <a:pt x="95433" y="16841"/>
                    <a:pt x="96296" y="16841"/>
                    <a:pt x="96728" y="17273"/>
                  </a:cubicBezTo>
                  <a:cubicBezTo>
                    <a:pt x="96728" y="17705"/>
                    <a:pt x="96296" y="18137"/>
                    <a:pt x="96296" y="18137"/>
                  </a:cubicBezTo>
                  <a:cubicBezTo>
                    <a:pt x="96296" y="19432"/>
                    <a:pt x="97160" y="19864"/>
                    <a:pt x="98455" y="19864"/>
                  </a:cubicBezTo>
                  <a:cubicBezTo>
                    <a:pt x="98887" y="19864"/>
                    <a:pt x="98887" y="20728"/>
                    <a:pt x="98887" y="21159"/>
                  </a:cubicBezTo>
                  <a:lnTo>
                    <a:pt x="98887" y="21591"/>
                  </a:lnTo>
                  <a:cubicBezTo>
                    <a:pt x="98024" y="22455"/>
                    <a:pt x="97592" y="22455"/>
                    <a:pt x="97592" y="22887"/>
                  </a:cubicBezTo>
                  <a:cubicBezTo>
                    <a:pt x="97592" y="23318"/>
                    <a:pt x="98024" y="23750"/>
                    <a:pt x="98455" y="24182"/>
                  </a:cubicBezTo>
                  <a:cubicBezTo>
                    <a:pt x="98455" y="24614"/>
                    <a:pt x="98887" y="25046"/>
                    <a:pt x="99319" y="25046"/>
                  </a:cubicBezTo>
                  <a:cubicBezTo>
                    <a:pt x="99319" y="25477"/>
                    <a:pt x="99319" y="25909"/>
                    <a:pt x="98887" y="26341"/>
                  </a:cubicBezTo>
                  <a:cubicBezTo>
                    <a:pt x="98887" y="26773"/>
                    <a:pt x="98887" y="27205"/>
                    <a:pt x="98455" y="27205"/>
                  </a:cubicBezTo>
                  <a:cubicBezTo>
                    <a:pt x="97592" y="27637"/>
                    <a:pt x="97160" y="28068"/>
                    <a:pt x="97160" y="28932"/>
                  </a:cubicBezTo>
                  <a:cubicBezTo>
                    <a:pt x="97160" y="29364"/>
                    <a:pt x="97592" y="29796"/>
                    <a:pt x="97592" y="30228"/>
                  </a:cubicBezTo>
                  <a:cubicBezTo>
                    <a:pt x="97592" y="30659"/>
                    <a:pt x="97592" y="30659"/>
                    <a:pt x="98024" y="30659"/>
                  </a:cubicBezTo>
                  <a:lnTo>
                    <a:pt x="99319" y="30659"/>
                  </a:lnTo>
                  <a:lnTo>
                    <a:pt x="99319" y="31091"/>
                  </a:lnTo>
                  <a:cubicBezTo>
                    <a:pt x="99319" y="31955"/>
                    <a:pt x="98455" y="33250"/>
                    <a:pt x="98024" y="34114"/>
                  </a:cubicBezTo>
                  <a:cubicBezTo>
                    <a:pt x="97592" y="34546"/>
                    <a:pt x="97592" y="34546"/>
                    <a:pt x="97592" y="34978"/>
                  </a:cubicBezTo>
                  <a:cubicBezTo>
                    <a:pt x="97592" y="35409"/>
                    <a:pt x="97592" y="35841"/>
                    <a:pt x="98024" y="36273"/>
                  </a:cubicBezTo>
                  <a:cubicBezTo>
                    <a:pt x="98887" y="37137"/>
                    <a:pt x="98887" y="37569"/>
                    <a:pt x="98887" y="38432"/>
                  </a:cubicBezTo>
                  <a:lnTo>
                    <a:pt x="98887" y="40160"/>
                  </a:lnTo>
                  <a:cubicBezTo>
                    <a:pt x="98887" y="40591"/>
                    <a:pt x="98455" y="41023"/>
                    <a:pt x="98024" y="41455"/>
                  </a:cubicBezTo>
                  <a:cubicBezTo>
                    <a:pt x="96728" y="42750"/>
                    <a:pt x="96296" y="44046"/>
                    <a:pt x="96296" y="45341"/>
                  </a:cubicBezTo>
                  <a:cubicBezTo>
                    <a:pt x="96728" y="45773"/>
                    <a:pt x="96728" y="46205"/>
                    <a:pt x="96728" y="46637"/>
                  </a:cubicBezTo>
                  <a:cubicBezTo>
                    <a:pt x="95001" y="48796"/>
                    <a:pt x="95001" y="51387"/>
                    <a:pt x="93274" y="53546"/>
                  </a:cubicBezTo>
                  <a:cubicBezTo>
                    <a:pt x="93705" y="53978"/>
                    <a:pt x="93705" y="54410"/>
                    <a:pt x="93705" y="54841"/>
                  </a:cubicBezTo>
                  <a:cubicBezTo>
                    <a:pt x="93705" y="55705"/>
                    <a:pt x="92842" y="57001"/>
                    <a:pt x="92410" y="57864"/>
                  </a:cubicBezTo>
                  <a:cubicBezTo>
                    <a:pt x="91546" y="58728"/>
                    <a:pt x="90683" y="60455"/>
                    <a:pt x="90683" y="62182"/>
                  </a:cubicBezTo>
                  <a:lnTo>
                    <a:pt x="90683" y="63046"/>
                  </a:lnTo>
                  <a:cubicBezTo>
                    <a:pt x="90251" y="65205"/>
                    <a:pt x="88524" y="67364"/>
                    <a:pt x="87228" y="69092"/>
                  </a:cubicBezTo>
                  <a:cubicBezTo>
                    <a:pt x="86364" y="69523"/>
                    <a:pt x="86364" y="70387"/>
                    <a:pt x="85501" y="70819"/>
                  </a:cubicBezTo>
                  <a:cubicBezTo>
                    <a:pt x="84637" y="71682"/>
                    <a:pt x="83342" y="72978"/>
                    <a:pt x="83342" y="74273"/>
                  </a:cubicBezTo>
                  <a:lnTo>
                    <a:pt x="83342" y="74705"/>
                  </a:lnTo>
                  <a:cubicBezTo>
                    <a:pt x="83342" y="75137"/>
                    <a:pt x="82910" y="75137"/>
                    <a:pt x="82478" y="75569"/>
                  </a:cubicBezTo>
                  <a:cubicBezTo>
                    <a:pt x="82478" y="76864"/>
                    <a:pt x="81183" y="77296"/>
                    <a:pt x="81183" y="78160"/>
                  </a:cubicBezTo>
                  <a:lnTo>
                    <a:pt x="81183" y="78592"/>
                  </a:lnTo>
                  <a:cubicBezTo>
                    <a:pt x="81183" y="79455"/>
                    <a:pt x="80751" y="79455"/>
                    <a:pt x="80319" y="79887"/>
                  </a:cubicBezTo>
                  <a:cubicBezTo>
                    <a:pt x="79455" y="80751"/>
                    <a:pt x="78592" y="81614"/>
                    <a:pt x="77728" y="82046"/>
                  </a:cubicBezTo>
                  <a:cubicBezTo>
                    <a:pt x="76001" y="83773"/>
                    <a:pt x="74273" y="85501"/>
                    <a:pt x="73410" y="87660"/>
                  </a:cubicBezTo>
                  <a:cubicBezTo>
                    <a:pt x="71251" y="90683"/>
                    <a:pt x="69092" y="93274"/>
                    <a:pt x="66932" y="95433"/>
                  </a:cubicBezTo>
                  <a:cubicBezTo>
                    <a:pt x="66501" y="96296"/>
                    <a:pt x="65205" y="97160"/>
                    <a:pt x="63910" y="97592"/>
                  </a:cubicBezTo>
                  <a:cubicBezTo>
                    <a:pt x="63046" y="97592"/>
                    <a:pt x="62614" y="97592"/>
                    <a:pt x="62182" y="98456"/>
                  </a:cubicBezTo>
                  <a:lnTo>
                    <a:pt x="59160" y="101046"/>
                  </a:lnTo>
                  <a:cubicBezTo>
                    <a:pt x="57001" y="102342"/>
                    <a:pt x="55705" y="102774"/>
                    <a:pt x="53978" y="102774"/>
                  </a:cubicBezTo>
                  <a:cubicBezTo>
                    <a:pt x="53546" y="102774"/>
                    <a:pt x="53114" y="102774"/>
                    <a:pt x="52251" y="103205"/>
                  </a:cubicBezTo>
                  <a:cubicBezTo>
                    <a:pt x="50523" y="104501"/>
                    <a:pt x="47500" y="104501"/>
                    <a:pt x="44909" y="104501"/>
                  </a:cubicBezTo>
                  <a:cubicBezTo>
                    <a:pt x="43182" y="104501"/>
                    <a:pt x="42319" y="104933"/>
                    <a:pt x="40591" y="105365"/>
                  </a:cubicBezTo>
                  <a:cubicBezTo>
                    <a:pt x="39728" y="105365"/>
                    <a:pt x="39296" y="105796"/>
                    <a:pt x="38432" y="105796"/>
                  </a:cubicBezTo>
                  <a:cubicBezTo>
                    <a:pt x="37569" y="105796"/>
                    <a:pt x="36273" y="105365"/>
                    <a:pt x="35409" y="104933"/>
                  </a:cubicBezTo>
                  <a:cubicBezTo>
                    <a:pt x="34546" y="104501"/>
                    <a:pt x="34114" y="104501"/>
                    <a:pt x="33250" y="104501"/>
                  </a:cubicBezTo>
                  <a:cubicBezTo>
                    <a:pt x="32819" y="104501"/>
                    <a:pt x="32387" y="104501"/>
                    <a:pt x="32387" y="105365"/>
                  </a:cubicBezTo>
                  <a:cubicBezTo>
                    <a:pt x="31091" y="107524"/>
                    <a:pt x="30659" y="109251"/>
                    <a:pt x="30228" y="110978"/>
                  </a:cubicBezTo>
                  <a:cubicBezTo>
                    <a:pt x="30228" y="111842"/>
                    <a:pt x="30228" y="112706"/>
                    <a:pt x="30659" y="113569"/>
                  </a:cubicBezTo>
                  <a:cubicBezTo>
                    <a:pt x="31091" y="114001"/>
                    <a:pt x="31091" y="114865"/>
                    <a:pt x="31091" y="115728"/>
                  </a:cubicBezTo>
                  <a:cubicBezTo>
                    <a:pt x="31091" y="115728"/>
                    <a:pt x="31091" y="116160"/>
                    <a:pt x="30659" y="116592"/>
                  </a:cubicBezTo>
                  <a:cubicBezTo>
                    <a:pt x="29796" y="117024"/>
                    <a:pt x="29364" y="117888"/>
                    <a:pt x="29364" y="118751"/>
                  </a:cubicBezTo>
                  <a:cubicBezTo>
                    <a:pt x="29364" y="119183"/>
                    <a:pt x="29796" y="119615"/>
                    <a:pt x="29796" y="120047"/>
                  </a:cubicBezTo>
                  <a:cubicBezTo>
                    <a:pt x="29364" y="121342"/>
                    <a:pt x="28500" y="122206"/>
                    <a:pt x="28500" y="123501"/>
                  </a:cubicBezTo>
                  <a:lnTo>
                    <a:pt x="28500" y="128683"/>
                  </a:lnTo>
                  <a:cubicBezTo>
                    <a:pt x="28500" y="129547"/>
                    <a:pt x="28932" y="130410"/>
                    <a:pt x="28932" y="130842"/>
                  </a:cubicBezTo>
                  <a:cubicBezTo>
                    <a:pt x="28932" y="131274"/>
                    <a:pt x="28932" y="131274"/>
                    <a:pt x="28500" y="131706"/>
                  </a:cubicBezTo>
                  <a:cubicBezTo>
                    <a:pt x="28068" y="132138"/>
                    <a:pt x="28068" y="133433"/>
                    <a:pt x="28068" y="134297"/>
                  </a:cubicBezTo>
                  <a:cubicBezTo>
                    <a:pt x="28068" y="134729"/>
                    <a:pt x="27637" y="135160"/>
                    <a:pt x="27637" y="135592"/>
                  </a:cubicBezTo>
                  <a:cubicBezTo>
                    <a:pt x="27637" y="136024"/>
                    <a:pt x="28068" y="136888"/>
                    <a:pt x="28068" y="136888"/>
                  </a:cubicBezTo>
                  <a:cubicBezTo>
                    <a:pt x="28068" y="137320"/>
                    <a:pt x="28500" y="137751"/>
                    <a:pt x="28500" y="138183"/>
                  </a:cubicBezTo>
                  <a:cubicBezTo>
                    <a:pt x="28500" y="138615"/>
                    <a:pt x="28068" y="138615"/>
                    <a:pt x="28068" y="139047"/>
                  </a:cubicBezTo>
                  <a:lnTo>
                    <a:pt x="28068" y="139479"/>
                  </a:lnTo>
                  <a:cubicBezTo>
                    <a:pt x="28500" y="139910"/>
                    <a:pt x="28500" y="140342"/>
                    <a:pt x="28500" y="140774"/>
                  </a:cubicBezTo>
                  <a:cubicBezTo>
                    <a:pt x="28500" y="141638"/>
                    <a:pt x="28068" y="142501"/>
                    <a:pt x="28068" y="143365"/>
                  </a:cubicBezTo>
                  <a:lnTo>
                    <a:pt x="28068" y="145956"/>
                  </a:lnTo>
                  <a:cubicBezTo>
                    <a:pt x="28068" y="146820"/>
                    <a:pt x="28068" y="147683"/>
                    <a:pt x="28932" y="148115"/>
                  </a:cubicBezTo>
                  <a:lnTo>
                    <a:pt x="28932" y="153729"/>
                  </a:lnTo>
                  <a:cubicBezTo>
                    <a:pt x="28500" y="154592"/>
                    <a:pt x="28068" y="155456"/>
                    <a:pt x="28068" y="156320"/>
                  </a:cubicBezTo>
                  <a:cubicBezTo>
                    <a:pt x="28068" y="156752"/>
                    <a:pt x="28500" y="157615"/>
                    <a:pt x="28932" y="158047"/>
                  </a:cubicBezTo>
                  <a:lnTo>
                    <a:pt x="28932" y="159342"/>
                  </a:lnTo>
                  <a:cubicBezTo>
                    <a:pt x="28932" y="159774"/>
                    <a:pt x="28932" y="160206"/>
                    <a:pt x="29364" y="160206"/>
                  </a:cubicBezTo>
                  <a:cubicBezTo>
                    <a:pt x="31523" y="161070"/>
                    <a:pt x="31091" y="162797"/>
                    <a:pt x="31523" y="164092"/>
                  </a:cubicBezTo>
                  <a:lnTo>
                    <a:pt x="31523" y="165820"/>
                  </a:lnTo>
                  <a:cubicBezTo>
                    <a:pt x="31523" y="166252"/>
                    <a:pt x="31091" y="166683"/>
                    <a:pt x="31091" y="167115"/>
                  </a:cubicBezTo>
                  <a:cubicBezTo>
                    <a:pt x="31091" y="167979"/>
                    <a:pt x="31523" y="168411"/>
                    <a:pt x="32819" y="169274"/>
                  </a:cubicBezTo>
                  <a:cubicBezTo>
                    <a:pt x="33250" y="170570"/>
                    <a:pt x="33682" y="172297"/>
                    <a:pt x="34978" y="173593"/>
                  </a:cubicBezTo>
                  <a:cubicBezTo>
                    <a:pt x="35409" y="173593"/>
                    <a:pt x="35409" y="174024"/>
                    <a:pt x="35409" y="174024"/>
                  </a:cubicBezTo>
                  <a:cubicBezTo>
                    <a:pt x="35409" y="175752"/>
                    <a:pt x="35841" y="176615"/>
                    <a:pt x="37137" y="177479"/>
                  </a:cubicBezTo>
                  <a:lnTo>
                    <a:pt x="37137" y="177911"/>
                  </a:lnTo>
                  <a:cubicBezTo>
                    <a:pt x="38000" y="178774"/>
                    <a:pt x="38432" y="179638"/>
                    <a:pt x="39296" y="180070"/>
                  </a:cubicBezTo>
                  <a:lnTo>
                    <a:pt x="41023" y="182229"/>
                  </a:lnTo>
                  <a:cubicBezTo>
                    <a:pt x="42750" y="183956"/>
                    <a:pt x="44478" y="184820"/>
                    <a:pt x="46637" y="184820"/>
                  </a:cubicBezTo>
                  <a:cubicBezTo>
                    <a:pt x="47500" y="184820"/>
                    <a:pt x="47932" y="184820"/>
                    <a:pt x="48796" y="184388"/>
                  </a:cubicBezTo>
                  <a:cubicBezTo>
                    <a:pt x="49660" y="183956"/>
                    <a:pt x="50091" y="183956"/>
                    <a:pt x="50955" y="183956"/>
                  </a:cubicBezTo>
                  <a:cubicBezTo>
                    <a:pt x="54410" y="183956"/>
                    <a:pt x="57864" y="182661"/>
                    <a:pt x="61319" y="181365"/>
                  </a:cubicBezTo>
                  <a:cubicBezTo>
                    <a:pt x="64341" y="180070"/>
                    <a:pt x="66932" y="178774"/>
                    <a:pt x="68660" y="177047"/>
                  </a:cubicBezTo>
                  <a:cubicBezTo>
                    <a:pt x="69955" y="176183"/>
                    <a:pt x="72114" y="175752"/>
                    <a:pt x="73410" y="174888"/>
                  </a:cubicBezTo>
                  <a:cubicBezTo>
                    <a:pt x="75569" y="172729"/>
                    <a:pt x="78592" y="171002"/>
                    <a:pt x="81183" y="168842"/>
                  </a:cubicBezTo>
                  <a:cubicBezTo>
                    <a:pt x="83342" y="167547"/>
                    <a:pt x="85069" y="165820"/>
                    <a:pt x="87228" y="164092"/>
                  </a:cubicBezTo>
                  <a:cubicBezTo>
                    <a:pt x="88955" y="162797"/>
                    <a:pt x="90251" y="161070"/>
                    <a:pt x="91546" y="159342"/>
                  </a:cubicBezTo>
                  <a:cubicBezTo>
                    <a:pt x="93705" y="158047"/>
                    <a:pt x="95865" y="155888"/>
                    <a:pt x="97592" y="154161"/>
                  </a:cubicBezTo>
                  <a:cubicBezTo>
                    <a:pt x="98887" y="153297"/>
                    <a:pt x="99319" y="152001"/>
                    <a:pt x="100615" y="151138"/>
                  </a:cubicBezTo>
                  <a:cubicBezTo>
                    <a:pt x="101478" y="150706"/>
                    <a:pt x="101910" y="149842"/>
                    <a:pt x="101910" y="149842"/>
                  </a:cubicBezTo>
                  <a:cubicBezTo>
                    <a:pt x="102342" y="149410"/>
                    <a:pt x="102342" y="148979"/>
                    <a:pt x="102342" y="148547"/>
                  </a:cubicBezTo>
                  <a:cubicBezTo>
                    <a:pt x="104501" y="147683"/>
                    <a:pt x="105796" y="145956"/>
                    <a:pt x="107092" y="145092"/>
                  </a:cubicBezTo>
                  <a:cubicBezTo>
                    <a:pt x="107956" y="143797"/>
                    <a:pt x="109251" y="142069"/>
                    <a:pt x="110978" y="140774"/>
                  </a:cubicBezTo>
                  <a:cubicBezTo>
                    <a:pt x="113137" y="138615"/>
                    <a:pt x="114433" y="136024"/>
                    <a:pt x="116592" y="133865"/>
                  </a:cubicBezTo>
                  <a:lnTo>
                    <a:pt x="124797" y="124797"/>
                  </a:lnTo>
                  <a:cubicBezTo>
                    <a:pt x="124797" y="124797"/>
                    <a:pt x="125228" y="124797"/>
                    <a:pt x="125228" y="124365"/>
                  </a:cubicBezTo>
                  <a:cubicBezTo>
                    <a:pt x="126524" y="123501"/>
                    <a:pt x="127388" y="121774"/>
                    <a:pt x="129115" y="120047"/>
                  </a:cubicBezTo>
                  <a:cubicBezTo>
                    <a:pt x="130410" y="117888"/>
                    <a:pt x="132569" y="115297"/>
                    <a:pt x="134297" y="113569"/>
                  </a:cubicBezTo>
                  <a:cubicBezTo>
                    <a:pt x="135160" y="112706"/>
                    <a:pt x="136024" y="111842"/>
                    <a:pt x="136024" y="110546"/>
                  </a:cubicBezTo>
                  <a:cubicBezTo>
                    <a:pt x="137751" y="107956"/>
                    <a:pt x="139910" y="105796"/>
                    <a:pt x="142069" y="103637"/>
                  </a:cubicBezTo>
                  <a:lnTo>
                    <a:pt x="141638" y="103205"/>
                  </a:lnTo>
                  <a:cubicBezTo>
                    <a:pt x="142933" y="100615"/>
                    <a:pt x="144660" y="98456"/>
                    <a:pt x="146820" y="95433"/>
                  </a:cubicBezTo>
                  <a:cubicBezTo>
                    <a:pt x="146820" y="95001"/>
                    <a:pt x="147251" y="94569"/>
                    <a:pt x="147251" y="93705"/>
                  </a:cubicBezTo>
                  <a:cubicBezTo>
                    <a:pt x="147683" y="92410"/>
                    <a:pt x="149842" y="91978"/>
                    <a:pt x="150274" y="90683"/>
                  </a:cubicBezTo>
                  <a:cubicBezTo>
                    <a:pt x="150274" y="88955"/>
                    <a:pt x="151138" y="88092"/>
                    <a:pt x="151570" y="86796"/>
                  </a:cubicBezTo>
                  <a:cubicBezTo>
                    <a:pt x="152001" y="86796"/>
                    <a:pt x="152001" y="86796"/>
                    <a:pt x="152001" y="87228"/>
                  </a:cubicBezTo>
                  <a:lnTo>
                    <a:pt x="152001" y="88092"/>
                  </a:lnTo>
                  <a:lnTo>
                    <a:pt x="152433" y="88092"/>
                  </a:lnTo>
                  <a:cubicBezTo>
                    <a:pt x="152865" y="87660"/>
                    <a:pt x="153297" y="87228"/>
                    <a:pt x="153297" y="86796"/>
                  </a:cubicBezTo>
                  <a:lnTo>
                    <a:pt x="153297" y="85933"/>
                  </a:lnTo>
                  <a:cubicBezTo>
                    <a:pt x="153297" y="85069"/>
                    <a:pt x="153729" y="84205"/>
                    <a:pt x="154161" y="83342"/>
                  </a:cubicBezTo>
                  <a:cubicBezTo>
                    <a:pt x="154592" y="83342"/>
                    <a:pt x="154592" y="82478"/>
                    <a:pt x="154592" y="82046"/>
                  </a:cubicBezTo>
                  <a:cubicBezTo>
                    <a:pt x="155024" y="81614"/>
                    <a:pt x="155024" y="80319"/>
                    <a:pt x="155888" y="80319"/>
                  </a:cubicBezTo>
                  <a:cubicBezTo>
                    <a:pt x="156751" y="79455"/>
                    <a:pt x="156320" y="78160"/>
                    <a:pt x="156751" y="76864"/>
                  </a:cubicBezTo>
                  <a:cubicBezTo>
                    <a:pt x="156751" y="76001"/>
                    <a:pt x="157183" y="75137"/>
                    <a:pt x="158047" y="75137"/>
                  </a:cubicBezTo>
                  <a:cubicBezTo>
                    <a:pt x="158911" y="75137"/>
                    <a:pt x="158911" y="74705"/>
                    <a:pt x="158911" y="74273"/>
                  </a:cubicBezTo>
                  <a:lnTo>
                    <a:pt x="158911" y="72978"/>
                  </a:lnTo>
                  <a:cubicBezTo>
                    <a:pt x="159342" y="70819"/>
                    <a:pt x="158911" y="71251"/>
                    <a:pt x="161501" y="70387"/>
                  </a:cubicBezTo>
                  <a:lnTo>
                    <a:pt x="161501" y="69955"/>
                  </a:lnTo>
                  <a:cubicBezTo>
                    <a:pt x="161933" y="69523"/>
                    <a:pt x="161933" y="69523"/>
                    <a:pt x="161933" y="69092"/>
                  </a:cubicBezTo>
                  <a:lnTo>
                    <a:pt x="161933" y="68228"/>
                  </a:lnTo>
                  <a:cubicBezTo>
                    <a:pt x="161933" y="67364"/>
                    <a:pt x="162365" y="66501"/>
                    <a:pt x="163229" y="66501"/>
                  </a:cubicBezTo>
                  <a:lnTo>
                    <a:pt x="164956" y="64341"/>
                  </a:lnTo>
                  <a:lnTo>
                    <a:pt x="165388" y="64341"/>
                  </a:lnTo>
                  <a:cubicBezTo>
                    <a:pt x="165388" y="64341"/>
                    <a:pt x="165820" y="64341"/>
                    <a:pt x="165820" y="64773"/>
                  </a:cubicBezTo>
                  <a:cubicBezTo>
                    <a:pt x="165820" y="65205"/>
                    <a:pt x="166252" y="65637"/>
                    <a:pt x="166252" y="66069"/>
                  </a:cubicBezTo>
                  <a:cubicBezTo>
                    <a:pt x="166252" y="66069"/>
                    <a:pt x="166683" y="66501"/>
                    <a:pt x="167115" y="66501"/>
                  </a:cubicBezTo>
                  <a:cubicBezTo>
                    <a:pt x="167979" y="66501"/>
                    <a:pt x="168411" y="66501"/>
                    <a:pt x="168411" y="66932"/>
                  </a:cubicBezTo>
                  <a:cubicBezTo>
                    <a:pt x="168411" y="66932"/>
                    <a:pt x="167979" y="66932"/>
                    <a:pt x="167979" y="67364"/>
                  </a:cubicBezTo>
                  <a:cubicBezTo>
                    <a:pt x="167979" y="69092"/>
                    <a:pt x="167547" y="70387"/>
                    <a:pt x="167115" y="71251"/>
                  </a:cubicBezTo>
                  <a:cubicBezTo>
                    <a:pt x="166683" y="72114"/>
                    <a:pt x="165820" y="72546"/>
                    <a:pt x="164956" y="72546"/>
                  </a:cubicBezTo>
                  <a:lnTo>
                    <a:pt x="164092" y="72546"/>
                  </a:lnTo>
                  <a:cubicBezTo>
                    <a:pt x="163661" y="72546"/>
                    <a:pt x="163229" y="72978"/>
                    <a:pt x="162797" y="73410"/>
                  </a:cubicBezTo>
                  <a:cubicBezTo>
                    <a:pt x="162797" y="74273"/>
                    <a:pt x="163229" y="75569"/>
                    <a:pt x="164092" y="76433"/>
                  </a:cubicBezTo>
                  <a:cubicBezTo>
                    <a:pt x="164524" y="76433"/>
                    <a:pt x="164524" y="77296"/>
                    <a:pt x="164956" y="77728"/>
                  </a:cubicBezTo>
                  <a:cubicBezTo>
                    <a:pt x="164956" y="78160"/>
                    <a:pt x="165388" y="78592"/>
                    <a:pt x="164956" y="78592"/>
                  </a:cubicBezTo>
                  <a:cubicBezTo>
                    <a:pt x="164956" y="79024"/>
                    <a:pt x="164524" y="79455"/>
                    <a:pt x="164956" y="79455"/>
                  </a:cubicBezTo>
                  <a:lnTo>
                    <a:pt x="164956" y="80319"/>
                  </a:lnTo>
                  <a:cubicBezTo>
                    <a:pt x="164956" y="81183"/>
                    <a:pt x="164524" y="82478"/>
                    <a:pt x="164092" y="83342"/>
                  </a:cubicBezTo>
                  <a:cubicBezTo>
                    <a:pt x="164092" y="83773"/>
                    <a:pt x="164092" y="84637"/>
                    <a:pt x="163661" y="85069"/>
                  </a:cubicBezTo>
                  <a:lnTo>
                    <a:pt x="163229" y="85069"/>
                  </a:lnTo>
                  <a:lnTo>
                    <a:pt x="163229" y="82478"/>
                  </a:lnTo>
                  <a:lnTo>
                    <a:pt x="162797" y="82478"/>
                  </a:lnTo>
                  <a:cubicBezTo>
                    <a:pt x="161933" y="81614"/>
                    <a:pt x="162365" y="80319"/>
                    <a:pt x="161933" y="79455"/>
                  </a:cubicBezTo>
                  <a:cubicBezTo>
                    <a:pt x="161933" y="79024"/>
                    <a:pt x="162365" y="78592"/>
                    <a:pt x="162365" y="78592"/>
                  </a:cubicBezTo>
                  <a:cubicBezTo>
                    <a:pt x="162365" y="78592"/>
                    <a:pt x="161933" y="78592"/>
                    <a:pt x="161501" y="78160"/>
                  </a:cubicBezTo>
                  <a:cubicBezTo>
                    <a:pt x="161070" y="78160"/>
                    <a:pt x="161070" y="78592"/>
                    <a:pt x="161070" y="78592"/>
                  </a:cubicBezTo>
                  <a:cubicBezTo>
                    <a:pt x="160638" y="79887"/>
                    <a:pt x="159774" y="81183"/>
                    <a:pt x="158911" y="82478"/>
                  </a:cubicBezTo>
                  <a:lnTo>
                    <a:pt x="158047" y="84637"/>
                  </a:lnTo>
                  <a:cubicBezTo>
                    <a:pt x="157615" y="84637"/>
                    <a:pt x="157183" y="85069"/>
                    <a:pt x="156751" y="85501"/>
                  </a:cubicBezTo>
                  <a:cubicBezTo>
                    <a:pt x="155888" y="85501"/>
                    <a:pt x="155456" y="85933"/>
                    <a:pt x="155456" y="86796"/>
                  </a:cubicBezTo>
                  <a:lnTo>
                    <a:pt x="155456" y="87228"/>
                  </a:lnTo>
                  <a:cubicBezTo>
                    <a:pt x="155456" y="87660"/>
                    <a:pt x="155024" y="88092"/>
                    <a:pt x="155024" y="88524"/>
                  </a:cubicBezTo>
                  <a:cubicBezTo>
                    <a:pt x="155024" y="90683"/>
                    <a:pt x="154161" y="91978"/>
                    <a:pt x="153729" y="93705"/>
                  </a:cubicBezTo>
                  <a:cubicBezTo>
                    <a:pt x="153297" y="93705"/>
                    <a:pt x="153729" y="94137"/>
                    <a:pt x="153729" y="94137"/>
                  </a:cubicBezTo>
                  <a:lnTo>
                    <a:pt x="154592" y="94137"/>
                  </a:lnTo>
                  <a:cubicBezTo>
                    <a:pt x="155024" y="93705"/>
                    <a:pt x="155888" y="93274"/>
                    <a:pt x="155888" y="92410"/>
                  </a:cubicBezTo>
                  <a:cubicBezTo>
                    <a:pt x="156320" y="91546"/>
                    <a:pt x="156751" y="90683"/>
                    <a:pt x="157615" y="90683"/>
                  </a:cubicBezTo>
                  <a:cubicBezTo>
                    <a:pt x="158479" y="90683"/>
                    <a:pt x="159342" y="90683"/>
                    <a:pt x="159774" y="89819"/>
                  </a:cubicBezTo>
                  <a:cubicBezTo>
                    <a:pt x="160206" y="89387"/>
                    <a:pt x="160206" y="89819"/>
                    <a:pt x="160206" y="89819"/>
                  </a:cubicBezTo>
                  <a:cubicBezTo>
                    <a:pt x="160206" y="91114"/>
                    <a:pt x="160206" y="92410"/>
                    <a:pt x="159342" y="93274"/>
                  </a:cubicBezTo>
                  <a:cubicBezTo>
                    <a:pt x="158911" y="93705"/>
                    <a:pt x="158047" y="94137"/>
                    <a:pt x="158047" y="94569"/>
                  </a:cubicBezTo>
                  <a:lnTo>
                    <a:pt x="159342" y="96296"/>
                  </a:lnTo>
                  <a:cubicBezTo>
                    <a:pt x="160206" y="96728"/>
                    <a:pt x="160206" y="96728"/>
                    <a:pt x="160638" y="96728"/>
                  </a:cubicBezTo>
                  <a:cubicBezTo>
                    <a:pt x="161070" y="97160"/>
                    <a:pt x="161070" y="98024"/>
                    <a:pt x="161070" y="98456"/>
                  </a:cubicBezTo>
                  <a:lnTo>
                    <a:pt x="161070" y="99751"/>
                  </a:lnTo>
                  <a:cubicBezTo>
                    <a:pt x="161070" y="99751"/>
                    <a:pt x="161070" y="100615"/>
                    <a:pt x="161501" y="100615"/>
                  </a:cubicBezTo>
                  <a:lnTo>
                    <a:pt x="164092" y="100615"/>
                  </a:lnTo>
                  <a:cubicBezTo>
                    <a:pt x="165388" y="100615"/>
                    <a:pt x="165388" y="101046"/>
                    <a:pt x="165388" y="101478"/>
                  </a:cubicBezTo>
                  <a:close/>
                  <a:moveTo>
                    <a:pt x="2159" y="161070"/>
                  </a:moveTo>
                  <a:lnTo>
                    <a:pt x="2159" y="161501"/>
                  </a:lnTo>
                  <a:lnTo>
                    <a:pt x="2591" y="161933"/>
                  </a:lnTo>
                  <a:lnTo>
                    <a:pt x="3023" y="161933"/>
                  </a:lnTo>
                  <a:cubicBezTo>
                    <a:pt x="3023" y="161501"/>
                    <a:pt x="2591" y="161070"/>
                    <a:pt x="2159" y="161070"/>
                  </a:cubicBezTo>
                  <a:close/>
                  <a:moveTo>
                    <a:pt x="28068" y="63478"/>
                  </a:moveTo>
                  <a:cubicBezTo>
                    <a:pt x="28932" y="62614"/>
                    <a:pt x="28932" y="61751"/>
                    <a:pt x="28932" y="60887"/>
                  </a:cubicBezTo>
                  <a:lnTo>
                    <a:pt x="28932" y="59592"/>
                  </a:lnTo>
                  <a:cubicBezTo>
                    <a:pt x="29364" y="58296"/>
                    <a:pt x="30228" y="57864"/>
                    <a:pt x="31091" y="56569"/>
                  </a:cubicBezTo>
                  <a:cubicBezTo>
                    <a:pt x="31523" y="55273"/>
                    <a:pt x="32387" y="54410"/>
                    <a:pt x="32387" y="53114"/>
                  </a:cubicBezTo>
                  <a:lnTo>
                    <a:pt x="32819" y="52682"/>
                  </a:lnTo>
                  <a:lnTo>
                    <a:pt x="34114" y="50955"/>
                  </a:lnTo>
                  <a:cubicBezTo>
                    <a:pt x="34546" y="48364"/>
                    <a:pt x="35841" y="45773"/>
                    <a:pt x="36705" y="43182"/>
                  </a:cubicBezTo>
                  <a:cubicBezTo>
                    <a:pt x="36705" y="42750"/>
                    <a:pt x="36273" y="42750"/>
                    <a:pt x="36273" y="42750"/>
                  </a:cubicBezTo>
                  <a:lnTo>
                    <a:pt x="36273" y="42319"/>
                  </a:lnTo>
                  <a:cubicBezTo>
                    <a:pt x="35409" y="42750"/>
                    <a:pt x="34978" y="43182"/>
                    <a:pt x="34978" y="43614"/>
                  </a:cubicBezTo>
                  <a:cubicBezTo>
                    <a:pt x="34546" y="44478"/>
                    <a:pt x="34114" y="45341"/>
                    <a:pt x="34114" y="46205"/>
                  </a:cubicBezTo>
                  <a:cubicBezTo>
                    <a:pt x="33250" y="47069"/>
                    <a:pt x="32387" y="48796"/>
                    <a:pt x="32387" y="50091"/>
                  </a:cubicBezTo>
                  <a:cubicBezTo>
                    <a:pt x="31523" y="51387"/>
                    <a:pt x="31091" y="52251"/>
                    <a:pt x="29796" y="53546"/>
                  </a:cubicBezTo>
                  <a:cubicBezTo>
                    <a:pt x="29796" y="54841"/>
                    <a:pt x="29364" y="56137"/>
                    <a:pt x="28068" y="57432"/>
                  </a:cubicBezTo>
                  <a:cubicBezTo>
                    <a:pt x="28068" y="57864"/>
                    <a:pt x="28500" y="57864"/>
                    <a:pt x="28500" y="58296"/>
                  </a:cubicBezTo>
                  <a:cubicBezTo>
                    <a:pt x="28500" y="59160"/>
                    <a:pt x="27205" y="60023"/>
                    <a:pt x="26773" y="60887"/>
                  </a:cubicBezTo>
                  <a:cubicBezTo>
                    <a:pt x="26773" y="62614"/>
                    <a:pt x="25909" y="64341"/>
                    <a:pt x="25046" y="66501"/>
                  </a:cubicBezTo>
                  <a:cubicBezTo>
                    <a:pt x="24614" y="68228"/>
                    <a:pt x="24182" y="69523"/>
                    <a:pt x="24182" y="70819"/>
                  </a:cubicBezTo>
                  <a:lnTo>
                    <a:pt x="23750" y="71251"/>
                  </a:lnTo>
                  <a:cubicBezTo>
                    <a:pt x="23750" y="71251"/>
                    <a:pt x="23750" y="71682"/>
                    <a:pt x="24182" y="71682"/>
                  </a:cubicBezTo>
                  <a:lnTo>
                    <a:pt x="24614" y="71251"/>
                  </a:lnTo>
                  <a:cubicBezTo>
                    <a:pt x="25046" y="70819"/>
                    <a:pt x="25046" y="70819"/>
                    <a:pt x="25046" y="70387"/>
                  </a:cubicBezTo>
                  <a:lnTo>
                    <a:pt x="25046" y="69523"/>
                  </a:lnTo>
                  <a:cubicBezTo>
                    <a:pt x="25046" y="68660"/>
                    <a:pt x="25477" y="67796"/>
                    <a:pt x="25909" y="67364"/>
                  </a:cubicBezTo>
                  <a:cubicBezTo>
                    <a:pt x="26773" y="66069"/>
                    <a:pt x="27637" y="64773"/>
                    <a:pt x="28068" y="63478"/>
                  </a:cubicBezTo>
                  <a:close/>
                  <a:moveTo>
                    <a:pt x="41023" y="73410"/>
                  </a:moveTo>
                  <a:cubicBezTo>
                    <a:pt x="40591" y="73842"/>
                    <a:pt x="40159" y="74705"/>
                    <a:pt x="40159" y="76001"/>
                  </a:cubicBezTo>
                  <a:lnTo>
                    <a:pt x="40159" y="77728"/>
                  </a:lnTo>
                  <a:cubicBezTo>
                    <a:pt x="42319" y="78592"/>
                    <a:pt x="43614" y="79887"/>
                    <a:pt x="44478" y="81614"/>
                  </a:cubicBezTo>
                  <a:lnTo>
                    <a:pt x="45773" y="81614"/>
                  </a:lnTo>
                  <a:cubicBezTo>
                    <a:pt x="46205" y="81614"/>
                    <a:pt x="46205" y="81183"/>
                    <a:pt x="46637" y="80751"/>
                  </a:cubicBezTo>
                  <a:cubicBezTo>
                    <a:pt x="47500" y="79455"/>
                    <a:pt x="48364" y="78160"/>
                    <a:pt x="50091" y="76864"/>
                  </a:cubicBezTo>
                  <a:cubicBezTo>
                    <a:pt x="51819" y="75137"/>
                    <a:pt x="53114" y="73410"/>
                    <a:pt x="54841" y="70819"/>
                  </a:cubicBezTo>
                  <a:cubicBezTo>
                    <a:pt x="55273" y="70387"/>
                    <a:pt x="55273" y="69523"/>
                    <a:pt x="56137" y="69092"/>
                  </a:cubicBezTo>
                  <a:lnTo>
                    <a:pt x="58296" y="66069"/>
                  </a:lnTo>
                  <a:cubicBezTo>
                    <a:pt x="59160" y="64773"/>
                    <a:pt x="59591" y="63478"/>
                    <a:pt x="60455" y="62614"/>
                  </a:cubicBezTo>
                  <a:cubicBezTo>
                    <a:pt x="60455" y="61751"/>
                    <a:pt x="60887" y="60887"/>
                    <a:pt x="61319" y="60023"/>
                  </a:cubicBezTo>
                  <a:cubicBezTo>
                    <a:pt x="62182" y="58728"/>
                    <a:pt x="63046" y="57432"/>
                    <a:pt x="64341" y="56137"/>
                  </a:cubicBezTo>
                  <a:cubicBezTo>
                    <a:pt x="65637" y="55273"/>
                    <a:pt x="65637" y="53114"/>
                    <a:pt x="66501" y="51819"/>
                  </a:cubicBezTo>
                  <a:cubicBezTo>
                    <a:pt x="66932" y="50523"/>
                    <a:pt x="66932" y="49228"/>
                    <a:pt x="66932" y="48364"/>
                  </a:cubicBezTo>
                  <a:cubicBezTo>
                    <a:pt x="68660" y="47069"/>
                    <a:pt x="68660" y="45773"/>
                    <a:pt x="68660" y="44478"/>
                  </a:cubicBezTo>
                  <a:cubicBezTo>
                    <a:pt x="69092" y="43182"/>
                    <a:pt x="69523" y="41887"/>
                    <a:pt x="70387" y="40591"/>
                  </a:cubicBezTo>
                  <a:cubicBezTo>
                    <a:pt x="70819" y="39728"/>
                    <a:pt x="71683" y="38432"/>
                    <a:pt x="71683" y="37137"/>
                  </a:cubicBezTo>
                  <a:cubicBezTo>
                    <a:pt x="71683" y="36705"/>
                    <a:pt x="71683" y="36273"/>
                    <a:pt x="71251" y="35841"/>
                  </a:cubicBezTo>
                  <a:lnTo>
                    <a:pt x="71251" y="34978"/>
                  </a:lnTo>
                  <a:cubicBezTo>
                    <a:pt x="71251" y="34114"/>
                    <a:pt x="71251" y="34114"/>
                    <a:pt x="72114" y="34114"/>
                  </a:cubicBezTo>
                  <a:lnTo>
                    <a:pt x="72978" y="34114"/>
                  </a:lnTo>
                  <a:cubicBezTo>
                    <a:pt x="72978" y="33682"/>
                    <a:pt x="73410" y="33250"/>
                    <a:pt x="73410" y="33250"/>
                  </a:cubicBezTo>
                  <a:cubicBezTo>
                    <a:pt x="73410" y="33250"/>
                    <a:pt x="72978" y="33250"/>
                    <a:pt x="72978" y="32819"/>
                  </a:cubicBezTo>
                  <a:lnTo>
                    <a:pt x="72978" y="32387"/>
                  </a:lnTo>
                  <a:cubicBezTo>
                    <a:pt x="72978" y="31955"/>
                    <a:pt x="72978" y="31955"/>
                    <a:pt x="72546" y="31955"/>
                  </a:cubicBezTo>
                  <a:cubicBezTo>
                    <a:pt x="72114" y="31955"/>
                    <a:pt x="72114" y="31523"/>
                    <a:pt x="72114" y="31091"/>
                  </a:cubicBezTo>
                  <a:cubicBezTo>
                    <a:pt x="72114" y="30659"/>
                    <a:pt x="72114" y="30659"/>
                    <a:pt x="72546" y="30228"/>
                  </a:cubicBezTo>
                  <a:cubicBezTo>
                    <a:pt x="72978" y="29796"/>
                    <a:pt x="72978" y="29364"/>
                    <a:pt x="72978" y="29364"/>
                  </a:cubicBezTo>
                  <a:lnTo>
                    <a:pt x="72114" y="28932"/>
                  </a:lnTo>
                  <a:cubicBezTo>
                    <a:pt x="72114" y="28500"/>
                    <a:pt x="71683" y="28068"/>
                    <a:pt x="72114" y="28068"/>
                  </a:cubicBezTo>
                  <a:cubicBezTo>
                    <a:pt x="72978" y="27205"/>
                    <a:pt x="72978" y="26773"/>
                    <a:pt x="72978" y="26341"/>
                  </a:cubicBezTo>
                  <a:cubicBezTo>
                    <a:pt x="72978" y="25909"/>
                    <a:pt x="72978" y="25046"/>
                    <a:pt x="72546" y="24614"/>
                  </a:cubicBezTo>
                  <a:cubicBezTo>
                    <a:pt x="72114" y="23318"/>
                    <a:pt x="72546" y="22455"/>
                    <a:pt x="71683" y="21159"/>
                  </a:cubicBezTo>
                  <a:lnTo>
                    <a:pt x="71683" y="20728"/>
                  </a:lnTo>
                  <a:cubicBezTo>
                    <a:pt x="71683" y="20296"/>
                    <a:pt x="71683" y="20296"/>
                    <a:pt x="72114" y="20296"/>
                  </a:cubicBezTo>
                  <a:cubicBezTo>
                    <a:pt x="72114" y="19864"/>
                    <a:pt x="72114" y="19864"/>
                    <a:pt x="72546" y="19864"/>
                  </a:cubicBezTo>
                  <a:cubicBezTo>
                    <a:pt x="72546" y="19864"/>
                    <a:pt x="72546" y="19432"/>
                    <a:pt x="72978" y="19000"/>
                  </a:cubicBezTo>
                  <a:lnTo>
                    <a:pt x="70387" y="19000"/>
                  </a:lnTo>
                  <a:cubicBezTo>
                    <a:pt x="69092" y="20728"/>
                    <a:pt x="67796" y="22023"/>
                    <a:pt x="66501" y="24182"/>
                  </a:cubicBezTo>
                  <a:cubicBezTo>
                    <a:pt x="66069" y="24182"/>
                    <a:pt x="66069" y="24614"/>
                    <a:pt x="66069" y="24614"/>
                  </a:cubicBezTo>
                  <a:lnTo>
                    <a:pt x="66069" y="25046"/>
                  </a:lnTo>
                  <a:cubicBezTo>
                    <a:pt x="63910" y="27205"/>
                    <a:pt x="61751" y="28932"/>
                    <a:pt x="60887" y="31523"/>
                  </a:cubicBezTo>
                  <a:lnTo>
                    <a:pt x="60455" y="31955"/>
                  </a:lnTo>
                  <a:cubicBezTo>
                    <a:pt x="59160" y="33250"/>
                    <a:pt x="57864" y="34114"/>
                    <a:pt x="57001" y="35841"/>
                  </a:cubicBezTo>
                  <a:cubicBezTo>
                    <a:pt x="56569" y="36273"/>
                    <a:pt x="56137" y="36705"/>
                    <a:pt x="56137" y="37569"/>
                  </a:cubicBezTo>
                  <a:lnTo>
                    <a:pt x="56137" y="38000"/>
                  </a:lnTo>
                  <a:cubicBezTo>
                    <a:pt x="55705" y="39296"/>
                    <a:pt x="54841" y="39728"/>
                    <a:pt x="54410" y="40591"/>
                  </a:cubicBezTo>
                  <a:cubicBezTo>
                    <a:pt x="54410" y="41455"/>
                    <a:pt x="53546" y="42319"/>
                    <a:pt x="52682" y="43182"/>
                  </a:cubicBezTo>
                  <a:cubicBezTo>
                    <a:pt x="52251" y="43182"/>
                    <a:pt x="51819" y="44046"/>
                    <a:pt x="51819" y="44046"/>
                  </a:cubicBezTo>
                  <a:cubicBezTo>
                    <a:pt x="51819" y="45341"/>
                    <a:pt x="52251" y="46205"/>
                    <a:pt x="52251" y="46637"/>
                  </a:cubicBezTo>
                  <a:cubicBezTo>
                    <a:pt x="51387" y="47500"/>
                    <a:pt x="50523" y="48364"/>
                    <a:pt x="50523" y="49228"/>
                  </a:cubicBezTo>
                  <a:lnTo>
                    <a:pt x="50523" y="50523"/>
                  </a:lnTo>
                  <a:cubicBezTo>
                    <a:pt x="49660" y="51387"/>
                    <a:pt x="49228" y="51387"/>
                    <a:pt x="49228" y="51819"/>
                  </a:cubicBezTo>
                  <a:cubicBezTo>
                    <a:pt x="48364" y="52682"/>
                    <a:pt x="47500" y="53978"/>
                    <a:pt x="47500" y="55273"/>
                  </a:cubicBezTo>
                  <a:lnTo>
                    <a:pt x="47500" y="56137"/>
                  </a:lnTo>
                  <a:cubicBezTo>
                    <a:pt x="47500" y="57001"/>
                    <a:pt x="46637" y="57432"/>
                    <a:pt x="46205" y="57864"/>
                  </a:cubicBezTo>
                  <a:lnTo>
                    <a:pt x="44478" y="59592"/>
                  </a:lnTo>
                  <a:lnTo>
                    <a:pt x="44478" y="60023"/>
                  </a:lnTo>
                  <a:cubicBezTo>
                    <a:pt x="44478" y="62614"/>
                    <a:pt x="42750" y="66501"/>
                    <a:pt x="41455" y="69523"/>
                  </a:cubicBezTo>
                  <a:lnTo>
                    <a:pt x="41455" y="72114"/>
                  </a:lnTo>
                  <a:cubicBezTo>
                    <a:pt x="41455" y="72546"/>
                    <a:pt x="41455" y="72978"/>
                    <a:pt x="41023" y="73410"/>
                  </a:cubicBezTo>
                  <a:close/>
                  <a:moveTo>
                    <a:pt x="84205" y="41023"/>
                  </a:moveTo>
                  <a:cubicBezTo>
                    <a:pt x="84637" y="41023"/>
                    <a:pt x="85069" y="41023"/>
                    <a:pt x="85069" y="40591"/>
                  </a:cubicBezTo>
                  <a:cubicBezTo>
                    <a:pt x="85501" y="40160"/>
                    <a:pt x="85501" y="39728"/>
                    <a:pt x="85501" y="39296"/>
                  </a:cubicBezTo>
                  <a:lnTo>
                    <a:pt x="85501" y="38864"/>
                  </a:lnTo>
                  <a:lnTo>
                    <a:pt x="85069" y="38432"/>
                  </a:lnTo>
                  <a:lnTo>
                    <a:pt x="84637" y="38432"/>
                  </a:lnTo>
                  <a:cubicBezTo>
                    <a:pt x="84637" y="38864"/>
                    <a:pt x="83773" y="39296"/>
                    <a:pt x="83773" y="39728"/>
                  </a:cubicBezTo>
                  <a:cubicBezTo>
                    <a:pt x="83773" y="40160"/>
                    <a:pt x="83773" y="40591"/>
                    <a:pt x="84205" y="41023"/>
                  </a:cubicBezTo>
                  <a:close/>
                  <a:moveTo>
                    <a:pt x="84205" y="19000"/>
                  </a:moveTo>
                  <a:cubicBezTo>
                    <a:pt x="84205" y="19432"/>
                    <a:pt x="84205" y="19864"/>
                    <a:pt x="84637" y="19864"/>
                  </a:cubicBezTo>
                  <a:cubicBezTo>
                    <a:pt x="84637" y="20296"/>
                    <a:pt x="85069" y="20728"/>
                    <a:pt x="85501" y="20728"/>
                  </a:cubicBezTo>
                  <a:cubicBezTo>
                    <a:pt x="85933" y="20728"/>
                    <a:pt x="86364" y="19864"/>
                    <a:pt x="86364" y="19864"/>
                  </a:cubicBezTo>
                  <a:lnTo>
                    <a:pt x="85069" y="18137"/>
                  </a:lnTo>
                  <a:lnTo>
                    <a:pt x="84637" y="18137"/>
                  </a:lnTo>
                  <a:cubicBezTo>
                    <a:pt x="84205" y="18137"/>
                    <a:pt x="84205" y="19000"/>
                    <a:pt x="84205" y="19000"/>
                  </a:cubicBezTo>
                  <a:close/>
                  <a:moveTo>
                    <a:pt x="86796" y="22455"/>
                  </a:moveTo>
                  <a:cubicBezTo>
                    <a:pt x="85933" y="22455"/>
                    <a:pt x="85501" y="22455"/>
                    <a:pt x="85069" y="22887"/>
                  </a:cubicBezTo>
                  <a:lnTo>
                    <a:pt x="85069" y="25046"/>
                  </a:lnTo>
                  <a:cubicBezTo>
                    <a:pt x="85069" y="25909"/>
                    <a:pt x="85069" y="26773"/>
                    <a:pt x="85501" y="27205"/>
                  </a:cubicBezTo>
                  <a:cubicBezTo>
                    <a:pt x="85501" y="27637"/>
                    <a:pt x="85069" y="28500"/>
                    <a:pt x="84637" y="28932"/>
                  </a:cubicBezTo>
                  <a:cubicBezTo>
                    <a:pt x="84637" y="29796"/>
                    <a:pt x="84637" y="30659"/>
                    <a:pt x="85501" y="31955"/>
                  </a:cubicBezTo>
                  <a:cubicBezTo>
                    <a:pt x="85501" y="31955"/>
                    <a:pt x="85069" y="32819"/>
                    <a:pt x="84637" y="33250"/>
                  </a:cubicBezTo>
                  <a:lnTo>
                    <a:pt x="84637" y="34114"/>
                  </a:lnTo>
                  <a:cubicBezTo>
                    <a:pt x="84637" y="34546"/>
                    <a:pt x="84637" y="34546"/>
                    <a:pt x="85069" y="34546"/>
                  </a:cubicBezTo>
                  <a:cubicBezTo>
                    <a:pt x="85069" y="34546"/>
                    <a:pt x="85501" y="34546"/>
                    <a:pt x="85933" y="34114"/>
                  </a:cubicBezTo>
                  <a:cubicBezTo>
                    <a:pt x="86364" y="34114"/>
                    <a:pt x="87228" y="34114"/>
                    <a:pt x="87660" y="33682"/>
                  </a:cubicBezTo>
                  <a:cubicBezTo>
                    <a:pt x="89819" y="33250"/>
                    <a:pt x="90683" y="31955"/>
                    <a:pt x="90683" y="29796"/>
                  </a:cubicBezTo>
                  <a:lnTo>
                    <a:pt x="90683" y="28068"/>
                  </a:lnTo>
                  <a:cubicBezTo>
                    <a:pt x="90683" y="27637"/>
                    <a:pt x="90251" y="27205"/>
                    <a:pt x="89819" y="26773"/>
                  </a:cubicBezTo>
                  <a:cubicBezTo>
                    <a:pt x="89387" y="25909"/>
                    <a:pt x="88524" y="25909"/>
                    <a:pt x="88092" y="25046"/>
                  </a:cubicBezTo>
                  <a:cubicBezTo>
                    <a:pt x="87228" y="24614"/>
                    <a:pt x="87660" y="23750"/>
                    <a:pt x="87228" y="22887"/>
                  </a:cubicBezTo>
                  <a:cubicBezTo>
                    <a:pt x="87660" y="22455"/>
                    <a:pt x="86796" y="22455"/>
                    <a:pt x="86796" y="22455"/>
                  </a:cubicBezTo>
                  <a:close/>
                  <a:moveTo>
                    <a:pt x="88524" y="24182"/>
                  </a:moveTo>
                  <a:cubicBezTo>
                    <a:pt x="88955" y="24182"/>
                    <a:pt x="88955" y="24614"/>
                    <a:pt x="89387" y="24614"/>
                  </a:cubicBezTo>
                  <a:lnTo>
                    <a:pt x="89819" y="24614"/>
                  </a:lnTo>
                  <a:lnTo>
                    <a:pt x="89819" y="23750"/>
                  </a:lnTo>
                  <a:cubicBezTo>
                    <a:pt x="89819" y="23318"/>
                    <a:pt x="89387" y="22887"/>
                    <a:pt x="89387" y="22887"/>
                  </a:cubicBezTo>
                  <a:lnTo>
                    <a:pt x="88955" y="23318"/>
                  </a:lnTo>
                  <a:cubicBezTo>
                    <a:pt x="88524" y="23750"/>
                    <a:pt x="88524" y="24182"/>
                    <a:pt x="88524" y="24182"/>
                  </a:cubicBezTo>
                  <a:close/>
                  <a:moveTo>
                    <a:pt x="90251" y="36273"/>
                  </a:moveTo>
                  <a:lnTo>
                    <a:pt x="90251" y="36705"/>
                  </a:lnTo>
                  <a:lnTo>
                    <a:pt x="91115" y="40160"/>
                  </a:lnTo>
                  <a:lnTo>
                    <a:pt x="91978" y="40160"/>
                  </a:lnTo>
                  <a:cubicBezTo>
                    <a:pt x="92410" y="39296"/>
                    <a:pt x="92842" y="38432"/>
                    <a:pt x="93705" y="38000"/>
                  </a:cubicBezTo>
                  <a:lnTo>
                    <a:pt x="93274" y="37137"/>
                  </a:lnTo>
                  <a:cubicBezTo>
                    <a:pt x="92842" y="37137"/>
                    <a:pt x="92842" y="36705"/>
                    <a:pt x="92842" y="36273"/>
                  </a:cubicBezTo>
                  <a:cubicBezTo>
                    <a:pt x="92842" y="35841"/>
                    <a:pt x="92842" y="35841"/>
                    <a:pt x="93274" y="35409"/>
                  </a:cubicBezTo>
                  <a:lnTo>
                    <a:pt x="93274" y="34978"/>
                  </a:lnTo>
                  <a:cubicBezTo>
                    <a:pt x="92842" y="34546"/>
                    <a:pt x="92410" y="34546"/>
                    <a:pt x="91978" y="34546"/>
                  </a:cubicBezTo>
                  <a:cubicBezTo>
                    <a:pt x="91115" y="34978"/>
                    <a:pt x="91115" y="35841"/>
                    <a:pt x="90251" y="36273"/>
                  </a:cubicBezTo>
                  <a:close/>
                  <a:moveTo>
                    <a:pt x="91978" y="31091"/>
                  </a:moveTo>
                  <a:lnTo>
                    <a:pt x="91978" y="32819"/>
                  </a:lnTo>
                  <a:cubicBezTo>
                    <a:pt x="91978" y="33250"/>
                    <a:pt x="92410" y="33250"/>
                    <a:pt x="92410" y="33250"/>
                  </a:cubicBezTo>
                  <a:cubicBezTo>
                    <a:pt x="93705" y="32387"/>
                    <a:pt x="93705" y="31955"/>
                    <a:pt x="94569" y="31091"/>
                  </a:cubicBezTo>
                  <a:lnTo>
                    <a:pt x="94569" y="30659"/>
                  </a:lnTo>
                  <a:cubicBezTo>
                    <a:pt x="94137" y="30228"/>
                    <a:pt x="93705" y="29364"/>
                    <a:pt x="92842" y="28932"/>
                  </a:cubicBezTo>
                  <a:lnTo>
                    <a:pt x="92410" y="28932"/>
                  </a:lnTo>
                  <a:cubicBezTo>
                    <a:pt x="92410" y="29796"/>
                    <a:pt x="91978" y="30659"/>
                    <a:pt x="91978" y="31091"/>
                  </a:cubicBezTo>
                  <a:close/>
                  <a:moveTo>
                    <a:pt x="111410" y="164092"/>
                  </a:moveTo>
                  <a:cubicBezTo>
                    <a:pt x="110978" y="163661"/>
                    <a:pt x="110978" y="163661"/>
                    <a:pt x="110978" y="163229"/>
                  </a:cubicBezTo>
                  <a:lnTo>
                    <a:pt x="110115" y="163229"/>
                  </a:lnTo>
                  <a:cubicBezTo>
                    <a:pt x="110115" y="163229"/>
                    <a:pt x="109683" y="163661"/>
                    <a:pt x="109683" y="164092"/>
                  </a:cubicBezTo>
                  <a:cubicBezTo>
                    <a:pt x="109683" y="164092"/>
                    <a:pt x="109683" y="164524"/>
                    <a:pt x="110546" y="164524"/>
                  </a:cubicBezTo>
                  <a:lnTo>
                    <a:pt x="110978" y="164524"/>
                  </a:lnTo>
                  <a:cubicBezTo>
                    <a:pt x="110978" y="164092"/>
                    <a:pt x="111410" y="164092"/>
                    <a:pt x="111410" y="164092"/>
                  </a:cubicBezTo>
                  <a:close/>
                  <a:moveTo>
                    <a:pt x="120910" y="161933"/>
                  </a:moveTo>
                  <a:cubicBezTo>
                    <a:pt x="120910" y="161933"/>
                    <a:pt x="120910" y="162365"/>
                    <a:pt x="120478" y="162365"/>
                  </a:cubicBezTo>
                  <a:cubicBezTo>
                    <a:pt x="120478" y="162365"/>
                    <a:pt x="120047" y="162365"/>
                    <a:pt x="120047" y="161933"/>
                  </a:cubicBezTo>
                  <a:cubicBezTo>
                    <a:pt x="120047" y="161933"/>
                    <a:pt x="120478" y="161933"/>
                    <a:pt x="120478" y="161501"/>
                  </a:cubicBezTo>
                  <a:cubicBezTo>
                    <a:pt x="120910" y="161501"/>
                    <a:pt x="120910" y="161933"/>
                    <a:pt x="120910" y="161933"/>
                  </a:cubicBezTo>
                  <a:close/>
                  <a:moveTo>
                    <a:pt x="144660" y="136888"/>
                  </a:moveTo>
                  <a:lnTo>
                    <a:pt x="142501" y="139047"/>
                  </a:lnTo>
                  <a:cubicBezTo>
                    <a:pt x="142069" y="139479"/>
                    <a:pt x="142069" y="139910"/>
                    <a:pt x="141638" y="139910"/>
                  </a:cubicBezTo>
                  <a:cubicBezTo>
                    <a:pt x="141206" y="139910"/>
                    <a:pt x="141206" y="139479"/>
                    <a:pt x="141206" y="139047"/>
                  </a:cubicBezTo>
                  <a:cubicBezTo>
                    <a:pt x="141206" y="138183"/>
                    <a:pt x="140774" y="137751"/>
                    <a:pt x="139910" y="137751"/>
                  </a:cubicBezTo>
                  <a:cubicBezTo>
                    <a:pt x="139479" y="137751"/>
                    <a:pt x="139047" y="137751"/>
                    <a:pt x="139047" y="136888"/>
                  </a:cubicBezTo>
                  <a:lnTo>
                    <a:pt x="139047" y="136024"/>
                  </a:lnTo>
                  <a:cubicBezTo>
                    <a:pt x="139479" y="135592"/>
                    <a:pt x="140342" y="135592"/>
                    <a:pt x="141206" y="134729"/>
                  </a:cubicBezTo>
                  <a:cubicBezTo>
                    <a:pt x="141206" y="134729"/>
                    <a:pt x="141638" y="134729"/>
                    <a:pt x="141638" y="135160"/>
                  </a:cubicBezTo>
                  <a:cubicBezTo>
                    <a:pt x="142501" y="136024"/>
                    <a:pt x="142933" y="136024"/>
                    <a:pt x="143797" y="136024"/>
                  </a:cubicBezTo>
                  <a:cubicBezTo>
                    <a:pt x="144229" y="136456"/>
                    <a:pt x="144660" y="136456"/>
                    <a:pt x="144660" y="136888"/>
                  </a:cubicBezTo>
                  <a:close/>
                  <a:moveTo>
                    <a:pt x="147251" y="128251"/>
                  </a:moveTo>
                  <a:lnTo>
                    <a:pt x="147251" y="128683"/>
                  </a:lnTo>
                  <a:cubicBezTo>
                    <a:pt x="147251" y="129978"/>
                    <a:pt x="145956" y="131274"/>
                    <a:pt x="144660" y="131274"/>
                  </a:cubicBezTo>
                  <a:lnTo>
                    <a:pt x="144229" y="131274"/>
                  </a:lnTo>
                  <a:lnTo>
                    <a:pt x="143797" y="130842"/>
                  </a:lnTo>
                  <a:cubicBezTo>
                    <a:pt x="143797" y="130842"/>
                    <a:pt x="143797" y="129978"/>
                    <a:pt x="144229" y="129978"/>
                  </a:cubicBezTo>
                  <a:cubicBezTo>
                    <a:pt x="145092" y="129978"/>
                    <a:pt x="145524" y="129547"/>
                    <a:pt x="145524" y="128683"/>
                  </a:cubicBezTo>
                  <a:lnTo>
                    <a:pt x="145524" y="127819"/>
                  </a:lnTo>
                  <a:lnTo>
                    <a:pt x="145956" y="127819"/>
                  </a:lnTo>
                  <a:cubicBezTo>
                    <a:pt x="146388" y="127819"/>
                    <a:pt x="146820" y="127819"/>
                    <a:pt x="147251" y="128251"/>
                  </a:cubicBezTo>
                  <a:close/>
                  <a:moveTo>
                    <a:pt x="157183" y="121342"/>
                  </a:moveTo>
                  <a:cubicBezTo>
                    <a:pt x="157183" y="120910"/>
                    <a:pt x="157615" y="120910"/>
                    <a:pt x="158047" y="120910"/>
                  </a:cubicBezTo>
                  <a:cubicBezTo>
                    <a:pt x="157615" y="121774"/>
                    <a:pt x="156751" y="122637"/>
                    <a:pt x="156751" y="123933"/>
                  </a:cubicBezTo>
                  <a:cubicBezTo>
                    <a:pt x="156320" y="124365"/>
                    <a:pt x="155888" y="124797"/>
                    <a:pt x="155888" y="124365"/>
                  </a:cubicBezTo>
                  <a:lnTo>
                    <a:pt x="155888" y="123069"/>
                  </a:lnTo>
                  <a:cubicBezTo>
                    <a:pt x="155888" y="122637"/>
                    <a:pt x="155888" y="121774"/>
                    <a:pt x="157183" y="121342"/>
                  </a:cubicBezTo>
                  <a:close/>
                  <a:moveTo>
                    <a:pt x="158479" y="99319"/>
                  </a:moveTo>
                  <a:cubicBezTo>
                    <a:pt x="158047" y="98887"/>
                    <a:pt x="158047" y="98456"/>
                    <a:pt x="158047" y="97592"/>
                  </a:cubicBezTo>
                  <a:lnTo>
                    <a:pt x="157615" y="97592"/>
                  </a:lnTo>
                  <a:lnTo>
                    <a:pt x="157615" y="98456"/>
                  </a:lnTo>
                  <a:cubicBezTo>
                    <a:pt x="157615" y="98456"/>
                    <a:pt x="157615" y="98887"/>
                    <a:pt x="158047" y="99319"/>
                  </a:cubicBezTo>
                  <a:lnTo>
                    <a:pt x="158047" y="99751"/>
                  </a:lnTo>
                  <a:cubicBezTo>
                    <a:pt x="158479" y="99751"/>
                    <a:pt x="158479" y="99319"/>
                    <a:pt x="158479" y="99319"/>
                  </a:cubicBezTo>
                  <a:close/>
                  <a:moveTo>
                    <a:pt x="160206" y="87228"/>
                  </a:moveTo>
                  <a:lnTo>
                    <a:pt x="160206" y="87660"/>
                  </a:lnTo>
                  <a:cubicBezTo>
                    <a:pt x="159774" y="88524"/>
                    <a:pt x="159342" y="88524"/>
                    <a:pt x="158479" y="88955"/>
                  </a:cubicBezTo>
                  <a:cubicBezTo>
                    <a:pt x="158479" y="88524"/>
                    <a:pt x="158047" y="88524"/>
                    <a:pt x="158047" y="88524"/>
                  </a:cubicBezTo>
                  <a:lnTo>
                    <a:pt x="158047" y="88092"/>
                  </a:lnTo>
                  <a:lnTo>
                    <a:pt x="159342" y="86796"/>
                  </a:lnTo>
                  <a:cubicBezTo>
                    <a:pt x="158911" y="86364"/>
                    <a:pt x="159774" y="86796"/>
                    <a:pt x="160206" y="87228"/>
                  </a:cubicBezTo>
                  <a:close/>
                  <a:moveTo>
                    <a:pt x="168411" y="92410"/>
                  </a:moveTo>
                  <a:lnTo>
                    <a:pt x="168411" y="92842"/>
                  </a:lnTo>
                  <a:lnTo>
                    <a:pt x="167547" y="95433"/>
                  </a:lnTo>
                  <a:cubicBezTo>
                    <a:pt x="167115" y="95865"/>
                    <a:pt x="167115" y="96728"/>
                    <a:pt x="167115" y="96728"/>
                  </a:cubicBezTo>
                  <a:cubicBezTo>
                    <a:pt x="166683" y="97592"/>
                    <a:pt x="166683" y="97592"/>
                    <a:pt x="166683" y="98024"/>
                  </a:cubicBezTo>
                  <a:cubicBezTo>
                    <a:pt x="166683" y="98887"/>
                    <a:pt x="166683" y="99319"/>
                    <a:pt x="165388" y="99319"/>
                  </a:cubicBezTo>
                  <a:cubicBezTo>
                    <a:pt x="164956" y="99319"/>
                    <a:pt x="163661" y="98456"/>
                    <a:pt x="164092" y="98024"/>
                  </a:cubicBezTo>
                  <a:cubicBezTo>
                    <a:pt x="165388" y="96728"/>
                    <a:pt x="165388" y="95433"/>
                    <a:pt x="165388" y="94569"/>
                  </a:cubicBezTo>
                  <a:lnTo>
                    <a:pt x="165388" y="93274"/>
                  </a:lnTo>
                  <a:cubicBezTo>
                    <a:pt x="165388" y="92842"/>
                    <a:pt x="165388" y="91978"/>
                    <a:pt x="165820" y="91546"/>
                  </a:cubicBezTo>
                  <a:cubicBezTo>
                    <a:pt x="165820" y="90251"/>
                    <a:pt x="166252" y="88955"/>
                    <a:pt x="167115" y="88092"/>
                  </a:cubicBezTo>
                  <a:lnTo>
                    <a:pt x="167115" y="87228"/>
                  </a:lnTo>
                  <a:cubicBezTo>
                    <a:pt x="167115" y="86796"/>
                    <a:pt x="167115" y="86364"/>
                    <a:pt x="167547" y="86364"/>
                  </a:cubicBezTo>
                  <a:cubicBezTo>
                    <a:pt x="167547" y="85933"/>
                    <a:pt x="167979" y="86364"/>
                    <a:pt x="167979" y="86364"/>
                  </a:cubicBezTo>
                  <a:lnTo>
                    <a:pt x="168411" y="86364"/>
                  </a:lnTo>
                  <a:cubicBezTo>
                    <a:pt x="168411" y="86796"/>
                    <a:pt x="168842" y="87228"/>
                    <a:pt x="168842" y="87228"/>
                  </a:cubicBezTo>
                  <a:cubicBezTo>
                    <a:pt x="168842" y="87660"/>
                    <a:pt x="168411" y="87660"/>
                    <a:pt x="168411" y="87660"/>
                  </a:cubicBezTo>
                  <a:cubicBezTo>
                    <a:pt x="168411" y="88092"/>
                    <a:pt x="167979" y="88524"/>
                    <a:pt x="167547" y="89387"/>
                  </a:cubicBezTo>
                  <a:cubicBezTo>
                    <a:pt x="167547" y="89819"/>
                    <a:pt x="167115" y="89819"/>
                    <a:pt x="167115" y="90251"/>
                  </a:cubicBezTo>
                  <a:cubicBezTo>
                    <a:pt x="167115" y="90683"/>
                    <a:pt x="167547" y="90683"/>
                    <a:pt x="167979" y="91114"/>
                  </a:cubicBezTo>
                  <a:cubicBezTo>
                    <a:pt x="168411" y="91546"/>
                    <a:pt x="168411" y="91978"/>
                    <a:pt x="168411" y="92410"/>
                  </a:cubicBezTo>
                  <a:close/>
                  <a:moveTo>
                    <a:pt x="164092" y="61751"/>
                  </a:moveTo>
                  <a:cubicBezTo>
                    <a:pt x="164092" y="61319"/>
                    <a:pt x="164524" y="60455"/>
                    <a:pt x="164956" y="60455"/>
                  </a:cubicBezTo>
                  <a:lnTo>
                    <a:pt x="167115" y="60455"/>
                  </a:lnTo>
                  <a:cubicBezTo>
                    <a:pt x="166683" y="60887"/>
                    <a:pt x="166683" y="61319"/>
                    <a:pt x="166683" y="61751"/>
                  </a:cubicBezTo>
                  <a:cubicBezTo>
                    <a:pt x="167115" y="61751"/>
                    <a:pt x="167115" y="61751"/>
                    <a:pt x="167115" y="62182"/>
                  </a:cubicBezTo>
                  <a:cubicBezTo>
                    <a:pt x="167115" y="62614"/>
                    <a:pt x="166683" y="63046"/>
                    <a:pt x="166252" y="63046"/>
                  </a:cubicBezTo>
                  <a:cubicBezTo>
                    <a:pt x="165388" y="63046"/>
                    <a:pt x="164956" y="62614"/>
                    <a:pt x="164092" y="61751"/>
                  </a:cubicBezTo>
                  <a:close/>
                  <a:moveTo>
                    <a:pt x="169274" y="105365"/>
                  </a:moveTo>
                  <a:cubicBezTo>
                    <a:pt x="169274" y="105796"/>
                    <a:pt x="168411" y="106660"/>
                    <a:pt x="167979" y="106660"/>
                  </a:cubicBezTo>
                  <a:cubicBezTo>
                    <a:pt x="167979" y="105796"/>
                    <a:pt x="168411" y="105365"/>
                    <a:pt x="168842" y="104501"/>
                  </a:cubicBezTo>
                  <a:lnTo>
                    <a:pt x="169274" y="104933"/>
                  </a:lnTo>
                  <a:lnTo>
                    <a:pt x="169274" y="105365"/>
                  </a:lnTo>
                  <a:close/>
                  <a:moveTo>
                    <a:pt x="171865" y="99751"/>
                  </a:moveTo>
                  <a:cubicBezTo>
                    <a:pt x="171433" y="99319"/>
                    <a:pt x="171433" y="98887"/>
                    <a:pt x="171433" y="98456"/>
                  </a:cubicBezTo>
                  <a:cubicBezTo>
                    <a:pt x="171433" y="98024"/>
                    <a:pt x="171433" y="97592"/>
                    <a:pt x="171865" y="97592"/>
                  </a:cubicBezTo>
                  <a:cubicBezTo>
                    <a:pt x="171865" y="97160"/>
                    <a:pt x="172297" y="97160"/>
                    <a:pt x="172297" y="97160"/>
                  </a:cubicBezTo>
                  <a:cubicBezTo>
                    <a:pt x="172729" y="97160"/>
                    <a:pt x="172729" y="97592"/>
                    <a:pt x="172729" y="97592"/>
                  </a:cubicBezTo>
                  <a:cubicBezTo>
                    <a:pt x="172729" y="98456"/>
                    <a:pt x="172729" y="99319"/>
                    <a:pt x="171865" y="99751"/>
                  </a:cubicBezTo>
                  <a:cubicBezTo>
                    <a:pt x="171865" y="100183"/>
                    <a:pt x="171865" y="100183"/>
                    <a:pt x="171433" y="100183"/>
                  </a:cubicBezTo>
                  <a:cubicBezTo>
                    <a:pt x="171433" y="99751"/>
                    <a:pt x="171433" y="99751"/>
                    <a:pt x="171865" y="99751"/>
                  </a:cubicBezTo>
                  <a:close/>
                </a:path>
              </a:pathLst>
            </a:custGeom>
            <a:solidFill>
              <a:srgbClr val="000000"/>
            </a:solidFill>
            <a:ln w="86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34F2BFB4-7ACC-473A-8CCE-13AAE2C4236B}"/>
                </a:ext>
              </a:extLst>
            </p:cNvPr>
            <p:cNvSpPr/>
            <p:nvPr/>
          </p:nvSpPr>
          <p:spPr>
            <a:xfrm>
              <a:off x="1278020" y="6140533"/>
              <a:ext cx="198638" cy="224547"/>
            </a:xfrm>
            <a:custGeom>
              <a:avLst/>
              <a:gdLst>
                <a:gd name="connsiteX0" fmla="*/ 195184 w 198638"/>
                <a:gd name="connsiteY0" fmla="*/ 124797 h 224547"/>
                <a:gd name="connsiteX1" fmla="*/ 194752 w 198638"/>
                <a:gd name="connsiteY1" fmla="*/ 124365 h 224547"/>
                <a:gd name="connsiteX2" fmla="*/ 193888 w 198638"/>
                <a:gd name="connsiteY2" fmla="*/ 123933 h 224547"/>
                <a:gd name="connsiteX3" fmla="*/ 193456 w 198638"/>
                <a:gd name="connsiteY3" fmla="*/ 123933 h 224547"/>
                <a:gd name="connsiteX4" fmla="*/ 192161 w 198638"/>
                <a:gd name="connsiteY4" fmla="*/ 129978 h 224547"/>
                <a:gd name="connsiteX5" fmla="*/ 192161 w 198638"/>
                <a:gd name="connsiteY5" fmla="*/ 133433 h 224547"/>
                <a:gd name="connsiteX6" fmla="*/ 192161 w 198638"/>
                <a:gd name="connsiteY6" fmla="*/ 133865 h 224547"/>
                <a:gd name="connsiteX7" fmla="*/ 192161 w 198638"/>
                <a:gd name="connsiteY7" fmla="*/ 135160 h 224547"/>
                <a:gd name="connsiteX8" fmla="*/ 192593 w 198638"/>
                <a:gd name="connsiteY8" fmla="*/ 137319 h 224547"/>
                <a:gd name="connsiteX9" fmla="*/ 169274 w 198638"/>
                <a:gd name="connsiteY9" fmla="*/ 169706 h 224547"/>
                <a:gd name="connsiteX10" fmla="*/ 167547 w 198638"/>
                <a:gd name="connsiteY10" fmla="*/ 171433 h 224547"/>
                <a:gd name="connsiteX11" fmla="*/ 167547 w 198638"/>
                <a:gd name="connsiteY11" fmla="*/ 171865 h 224547"/>
                <a:gd name="connsiteX12" fmla="*/ 167979 w 198638"/>
                <a:gd name="connsiteY12" fmla="*/ 171865 h 224547"/>
                <a:gd name="connsiteX13" fmla="*/ 170138 w 198638"/>
                <a:gd name="connsiteY13" fmla="*/ 172297 h 224547"/>
                <a:gd name="connsiteX14" fmla="*/ 171433 w 198638"/>
                <a:gd name="connsiteY14" fmla="*/ 171433 h 224547"/>
                <a:gd name="connsiteX15" fmla="*/ 171865 w 198638"/>
                <a:gd name="connsiteY15" fmla="*/ 171433 h 224547"/>
                <a:gd name="connsiteX16" fmla="*/ 171865 w 198638"/>
                <a:gd name="connsiteY16" fmla="*/ 173161 h 224547"/>
                <a:gd name="connsiteX17" fmla="*/ 171002 w 198638"/>
                <a:gd name="connsiteY17" fmla="*/ 173161 h 224547"/>
                <a:gd name="connsiteX18" fmla="*/ 169706 w 198638"/>
                <a:gd name="connsiteY18" fmla="*/ 174456 h 224547"/>
                <a:gd name="connsiteX19" fmla="*/ 167979 w 198638"/>
                <a:gd name="connsiteY19" fmla="*/ 176183 h 224547"/>
                <a:gd name="connsiteX20" fmla="*/ 167115 w 198638"/>
                <a:gd name="connsiteY20" fmla="*/ 178774 h 224547"/>
                <a:gd name="connsiteX21" fmla="*/ 167979 w 198638"/>
                <a:gd name="connsiteY21" fmla="*/ 180070 h 224547"/>
                <a:gd name="connsiteX22" fmla="*/ 168411 w 198638"/>
                <a:gd name="connsiteY22" fmla="*/ 179638 h 224547"/>
                <a:gd name="connsiteX23" fmla="*/ 170138 w 198638"/>
                <a:gd name="connsiteY23" fmla="*/ 178774 h 224547"/>
                <a:gd name="connsiteX24" fmla="*/ 172729 w 198638"/>
                <a:gd name="connsiteY24" fmla="*/ 175752 h 224547"/>
                <a:gd name="connsiteX25" fmla="*/ 173593 w 198638"/>
                <a:gd name="connsiteY25" fmla="*/ 175320 h 224547"/>
                <a:gd name="connsiteX26" fmla="*/ 174456 w 198638"/>
                <a:gd name="connsiteY26" fmla="*/ 176183 h 224547"/>
                <a:gd name="connsiteX27" fmla="*/ 174456 w 198638"/>
                <a:gd name="connsiteY27" fmla="*/ 177047 h 224547"/>
                <a:gd name="connsiteX28" fmla="*/ 172297 w 198638"/>
                <a:gd name="connsiteY28" fmla="*/ 180502 h 224547"/>
                <a:gd name="connsiteX29" fmla="*/ 171433 w 198638"/>
                <a:gd name="connsiteY29" fmla="*/ 182661 h 224547"/>
                <a:gd name="connsiteX30" fmla="*/ 171002 w 198638"/>
                <a:gd name="connsiteY30" fmla="*/ 183524 h 224547"/>
                <a:gd name="connsiteX31" fmla="*/ 170570 w 198638"/>
                <a:gd name="connsiteY31" fmla="*/ 183524 h 224547"/>
                <a:gd name="connsiteX32" fmla="*/ 169706 w 198638"/>
                <a:gd name="connsiteY32" fmla="*/ 184820 h 224547"/>
                <a:gd name="connsiteX33" fmla="*/ 168411 w 198638"/>
                <a:gd name="connsiteY33" fmla="*/ 186547 h 224547"/>
                <a:gd name="connsiteX34" fmla="*/ 164524 w 198638"/>
                <a:gd name="connsiteY34" fmla="*/ 190865 h 224547"/>
                <a:gd name="connsiteX35" fmla="*/ 163229 w 198638"/>
                <a:gd name="connsiteY35" fmla="*/ 193025 h 224547"/>
                <a:gd name="connsiteX36" fmla="*/ 160206 w 198638"/>
                <a:gd name="connsiteY36" fmla="*/ 195615 h 224547"/>
                <a:gd name="connsiteX37" fmla="*/ 159342 w 198638"/>
                <a:gd name="connsiteY37" fmla="*/ 196479 h 224547"/>
                <a:gd name="connsiteX38" fmla="*/ 156320 w 198638"/>
                <a:gd name="connsiteY38" fmla="*/ 197343 h 224547"/>
                <a:gd name="connsiteX39" fmla="*/ 155888 w 198638"/>
                <a:gd name="connsiteY39" fmla="*/ 197774 h 224547"/>
                <a:gd name="connsiteX40" fmla="*/ 154592 w 198638"/>
                <a:gd name="connsiteY40" fmla="*/ 197343 h 224547"/>
                <a:gd name="connsiteX41" fmla="*/ 153297 w 198638"/>
                <a:gd name="connsiteY41" fmla="*/ 197343 h 224547"/>
                <a:gd name="connsiteX42" fmla="*/ 152001 w 198638"/>
                <a:gd name="connsiteY42" fmla="*/ 198206 h 224547"/>
                <a:gd name="connsiteX43" fmla="*/ 151138 w 198638"/>
                <a:gd name="connsiteY43" fmla="*/ 198638 h 224547"/>
                <a:gd name="connsiteX44" fmla="*/ 147683 w 198638"/>
                <a:gd name="connsiteY44" fmla="*/ 198206 h 224547"/>
                <a:gd name="connsiteX45" fmla="*/ 146820 w 198638"/>
                <a:gd name="connsiteY45" fmla="*/ 198206 h 224547"/>
                <a:gd name="connsiteX46" fmla="*/ 143797 w 198638"/>
                <a:gd name="connsiteY46" fmla="*/ 197774 h 224547"/>
                <a:gd name="connsiteX47" fmla="*/ 142501 w 198638"/>
                <a:gd name="connsiteY47" fmla="*/ 197343 h 224547"/>
                <a:gd name="connsiteX48" fmla="*/ 139479 w 198638"/>
                <a:gd name="connsiteY48" fmla="*/ 195184 h 224547"/>
                <a:gd name="connsiteX49" fmla="*/ 138183 w 198638"/>
                <a:gd name="connsiteY49" fmla="*/ 194320 h 224547"/>
                <a:gd name="connsiteX50" fmla="*/ 133001 w 198638"/>
                <a:gd name="connsiteY50" fmla="*/ 192161 h 224547"/>
                <a:gd name="connsiteX51" fmla="*/ 131706 w 198638"/>
                <a:gd name="connsiteY51" fmla="*/ 191297 h 224547"/>
                <a:gd name="connsiteX52" fmla="*/ 128251 w 198638"/>
                <a:gd name="connsiteY52" fmla="*/ 189138 h 224547"/>
                <a:gd name="connsiteX53" fmla="*/ 126524 w 198638"/>
                <a:gd name="connsiteY53" fmla="*/ 188274 h 224547"/>
                <a:gd name="connsiteX54" fmla="*/ 125228 w 198638"/>
                <a:gd name="connsiteY54" fmla="*/ 187411 h 224547"/>
                <a:gd name="connsiteX55" fmla="*/ 123069 w 198638"/>
                <a:gd name="connsiteY55" fmla="*/ 181365 h 224547"/>
                <a:gd name="connsiteX56" fmla="*/ 121342 w 198638"/>
                <a:gd name="connsiteY56" fmla="*/ 178342 h 224547"/>
                <a:gd name="connsiteX57" fmla="*/ 120478 w 198638"/>
                <a:gd name="connsiteY57" fmla="*/ 177047 h 224547"/>
                <a:gd name="connsiteX58" fmla="*/ 116592 w 198638"/>
                <a:gd name="connsiteY58" fmla="*/ 171002 h 224547"/>
                <a:gd name="connsiteX59" fmla="*/ 115728 w 198638"/>
                <a:gd name="connsiteY59" fmla="*/ 168842 h 224547"/>
                <a:gd name="connsiteX60" fmla="*/ 113569 w 198638"/>
                <a:gd name="connsiteY60" fmla="*/ 156751 h 224547"/>
                <a:gd name="connsiteX61" fmla="*/ 112706 w 198638"/>
                <a:gd name="connsiteY61" fmla="*/ 151570 h 224547"/>
                <a:gd name="connsiteX62" fmla="*/ 112274 w 198638"/>
                <a:gd name="connsiteY62" fmla="*/ 151138 h 224547"/>
                <a:gd name="connsiteX63" fmla="*/ 111410 w 198638"/>
                <a:gd name="connsiteY63" fmla="*/ 142933 h 224547"/>
                <a:gd name="connsiteX64" fmla="*/ 111410 w 198638"/>
                <a:gd name="connsiteY64" fmla="*/ 140774 h 224547"/>
                <a:gd name="connsiteX65" fmla="*/ 110978 w 198638"/>
                <a:gd name="connsiteY65" fmla="*/ 138615 h 224547"/>
                <a:gd name="connsiteX66" fmla="*/ 111410 w 198638"/>
                <a:gd name="connsiteY66" fmla="*/ 136456 h 224547"/>
                <a:gd name="connsiteX67" fmla="*/ 111410 w 198638"/>
                <a:gd name="connsiteY67" fmla="*/ 134297 h 224547"/>
                <a:gd name="connsiteX68" fmla="*/ 111410 w 198638"/>
                <a:gd name="connsiteY68" fmla="*/ 132569 h 224547"/>
                <a:gd name="connsiteX69" fmla="*/ 111410 w 198638"/>
                <a:gd name="connsiteY69" fmla="*/ 129978 h 224547"/>
                <a:gd name="connsiteX70" fmla="*/ 110978 w 198638"/>
                <a:gd name="connsiteY70" fmla="*/ 124365 h 224547"/>
                <a:gd name="connsiteX71" fmla="*/ 111410 w 198638"/>
                <a:gd name="connsiteY71" fmla="*/ 121342 h 224547"/>
                <a:gd name="connsiteX72" fmla="*/ 112274 w 198638"/>
                <a:gd name="connsiteY72" fmla="*/ 119615 h 224547"/>
                <a:gd name="connsiteX73" fmla="*/ 111842 w 198638"/>
                <a:gd name="connsiteY73" fmla="*/ 118319 h 224547"/>
                <a:gd name="connsiteX74" fmla="*/ 113137 w 198638"/>
                <a:gd name="connsiteY74" fmla="*/ 109251 h 224547"/>
                <a:gd name="connsiteX75" fmla="*/ 112706 w 198638"/>
                <a:gd name="connsiteY75" fmla="*/ 107524 h 224547"/>
                <a:gd name="connsiteX76" fmla="*/ 112706 w 198638"/>
                <a:gd name="connsiteY76" fmla="*/ 105796 h 224547"/>
                <a:gd name="connsiteX77" fmla="*/ 112706 w 198638"/>
                <a:gd name="connsiteY77" fmla="*/ 104933 h 224547"/>
                <a:gd name="connsiteX78" fmla="*/ 113137 w 198638"/>
                <a:gd name="connsiteY78" fmla="*/ 103205 h 224547"/>
                <a:gd name="connsiteX79" fmla="*/ 112706 w 198638"/>
                <a:gd name="connsiteY79" fmla="*/ 101478 h 224547"/>
                <a:gd name="connsiteX80" fmla="*/ 110115 w 198638"/>
                <a:gd name="connsiteY80" fmla="*/ 98024 h 224547"/>
                <a:gd name="connsiteX81" fmla="*/ 110115 w 198638"/>
                <a:gd name="connsiteY81" fmla="*/ 97592 h 224547"/>
                <a:gd name="connsiteX82" fmla="*/ 110115 w 198638"/>
                <a:gd name="connsiteY82" fmla="*/ 96296 h 224547"/>
                <a:gd name="connsiteX83" fmla="*/ 110115 w 198638"/>
                <a:gd name="connsiteY83" fmla="*/ 93705 h 224547"/>
                <a:gd name="connsiteX84" fmla="*/ 109251 w 198638"/>
                <a:gd name="connsiteY84" fmla="*/ 93705 h 224547"/>
                <a:gd name="connsiteX85" fmla="*/ 108387 w 198638"/>
                <a:gd name="connsiteY85" fmla="*/ 94569 h 224547"/>
                <a:gd name="connsiteX86" fmla="*/ 106660 w 198638"/>
                <a:gd name="connsiteY86" fmla="*/ 96728 h 224547"/>
                <a:gd name="connsiteX87" fmla="*/ 106228 w 198638"/>
                <a:gd name="connsiteY87" fmla="*/ 97592 h 224547"/>
                <a:gd name="connsiteX88" fmla="*/ 104069 w 198638"/>
                <a:gd name="connsiteY88" fmla="*/ 100614 h 224547"/>
                <a:gd name="connsiteX89" fmla="*/ 103637 w 198638"/>
                <a:gd name="connsiteY89" fmla="*/ 101046 h 224547"/>
                <a:gd name="connsiteX90" fmla="*/ 101478 w 198638"/>
                <a:gd name="connsiteY90" fmla="*/ 104501 h 224547"/>
                <a:gd name="connsiteX91" fmla="*/ 97160 w 198638"/>
                <a:gd name="connsiteY91" fmla="*/ 109251 h 224547"/>
                <a:gd name="connsiteX92" fmla="*/ 91978 w 198638"/>
                <a:gd name="connsiteY92" fmla="*/ 115728 h 224547"/>
                <a:gd name="connsiteX93" fmla="*/ 91115 w 198638"/>
                <a:gd name="connsiteY93" fmla="*/ 117456 h 224547"/>
                <a:gd name="connsiteX94" fmla="*/ 88524 w 198638"/>
                <a:gd name="connsiteY94" fmla="*/ 120478 h 224547"/>
                <a:gd name="connsiteX95" fmla="*/ 85933 w 198638"/>
                <a:gd name="connsiteY95" fmla="*/ 123501 h 224547"/>
                <a:gd name="connsiteX96" fmla="*/ 85501 w 198638"/>
                <a:gd name="connsiteY96" fmla="*/ 124797 h 224547"/>
                <a:gd name="connsiteX97" fmla="*/ 84637 w 198638"/>
                <a:gd name="connsiteY97" fmla="*/ 127388 h 224547"/>
                <a:gd name="connsiteX98" fmla="*/ 83342 w 198638"/>
                <a:gd name="connsiteY98" fmla="*/ 128683 h 224547"/>
                <a:gd name="connsiteX99" fmla="*/ 81614 w 198638"/>
                <a:gd name="connsiteY99" fmla="*/ 131274 h 224547"/>
                <a:gd name="connsiteX100" fmla="*/ 80751 w 198638"/>
                <a:gd name="connsiteY100" fmla="*/ 132569 h 224547"/>
                <a:gd name="connsiteX101" fmla="*/ 78592 w 198638"/>
                <a:gd name="connsiteY101" fmla="*/ 134297 h 224547"/>
                <a:gd name="connsiteX102" fmla="*/ 78160 w 198638"/>
                <a:gd name="connsiteY102" fmla="*/ 134729 h 224547"/>
                <a:gd name="connsiteX103" fmla="*/ 76864 w 198638"/>
                <a:gd name="connsiteY103" fmla="*/ 136024 h 224547"/>
                <a:gd name="connsiteX104" fmla="*/ 75569 w 198638"/>
                <a:gd name="connsiteY104" fmla="*/ 139478 h 224547"/>
                <a:gd name="connsiteX105" fmla="*/ 74705 w 198638"/>
                <a:gd name="connsiteY105" fmla="*/ 141206 h 224547"/>
                <a:gd name="connsiteX106" fmla="*/ 74273 w 198638"/>
                <a:gd name="connsiteY106" fmla="*/ 141638 h 224547"/>
                <a:gd name="connsiteX107" fmla="*/ 72546 w 198638"/>
                <a:gd name="connsiteY107" fmla="*/ 142933 h 224547"/>
                <a:gd name="connsiteX108" fmla="*/ 69092 w 198638"/>
                <a:gd name="connsiteY108" fmla="*/ 150706 h 224547"/>
                <a:gd name="connsiteX109" fmla="*/ 68228 w 198638"/>
                <a:gd name="connsiteY109" fmla="*/ 151570 h 224547"/>
                <a:gd name="connsiteX110" fmla="*/ 66932 w 198638"/>
                <a:gd name="connsiteY110" fmla="*/ 152433 h 224547"/>
                <a:gd name="connsiteX111" fmla="*/ 65637 w 198638"/>
                <a:gd name="connsiteY111" fmla="*/ 154592 h 224547"/>
                <a:gd name="connsiteX112" fmla="*/ 64342 w 198638"/>
                <a:gd name="connsiteY112" fmla="*/ 155888 h 224547"/>
                <a:gd name="connsiteX113" fmla="*/ 63478 w 198638"/>
                <a:gd name="connsiteY113" fmla="*/ 155456 h 224547"/>
                <a:gd name="connsiteX114" fmla="*/ 62614 w 198638"/>
                <a:gd name="connsiteY114" fmla="*/ 153729 h 224547"/>
                <a:gd name="connsiteX115" fmla="*/ 62614 w 198638"/>
                <a:gd name="connsiteY115" fmla="*/ 152865 h 224547"/>
                <a:gd name="connsiteX116" fmla="*/ 62182 w 198638"/>
                <a:gd name="connsiteY116" fmla="*/ 152001 h 224547"/>
                <a:gd name="connsiteX117" fmla="*/ 61751 w 198638"/>
                <a:gd name="connsiteY117" fmla="*/ 152001 h 224547"/>
                <a:gd name="connsiteX118" fmla="*/ 60887 w 198638"/>
                <a:gd name="connsiteY118" fmla="*/ 152433 h 224547"/>
                <a:gd name="connsiteX119" fmla="*/ 60887 w 198638"/>
                <a:gd name="connsiteY119" fmla="*/ 153297 h 224547"/>
                <a:gd name="connsiteX120" fmla="*/ 58728 w 198638"/>
                <a:gd name="connsiteY120" fmla="*/ 155888 h 224547"/>
                <a:gd name="connsiteX121" fmla="*/ 58296 w 198638"/>
                <a:gd name="connsiteY121" fmla="*/ 158910 h 224547"/>
                <a:gd name="connsiteX122" fmla="*/ 57864 w 198638"/>
                <a:gd name="connsiteY122" fmla="*/ 160206 h 224547"/>
                <a:gd name="connsiteX123" fmla="*/ 56137 w 198638"/>
                <a:gd name="connsiteY123" fmla="*/ 161933 h 224547"/>
                <a:gd name="connsiteX124" fmla="*/ 54841 w 198638"/>
                <a:gd name="connsiteY124" fmla="*/ 163229 h 224547"/>
                <a:gd name="connsiteX125" fmla="*/ 52251 w 198638"/>
                <a:gd name="connsiteY125" fmla="*/ 168411 h 224547"/>
                <a:gd name="connsiteX126" fmla="*/ 50523 w 198638"/>
                <a:gd name="connsiteY126" fmla="*/ 171433 h 224547"/>
                <a:gd name="connsiteX127" fmla="*/ 50091 w 198638"/>
                <a:gd name="connsiteY127" fmla="*/ 171865 h 224547"/>
                <a:gd name="connsiteX128" fmla="*/ 50523 w 198638"/>
                <a:gd name="connsiteY128" fmla="*/ 172297 h 224547"/>
                <a:gd name="connsiteX129" fmla="*/ 50955 w 198638"/>
                <a:gd name="connsiteY129" fmla="*/ 172729 h 224547"/>
                <a:gd name="connsiteX130" fmla="*/ 51387 w 198638"/>
                <a:gd name="connsiteY130" fmla="*/ 172297 h 224547"/>
                <a:gd name="connsiteX131" fmla="*/ 52251 w 198638"/>
                <a:gd name="connsiteY131" fmla="*/ 171433 h 224547"/>
                <a:gd name="connsiteX132" fmla="*/ 53114 w 198638"/>
                <a:gd name="connsiteY132" fmla="*/ 169274 h 224547"/>
                <a:gd name="connsiteX133" fmla="*/ 53546 w 198638"/>
                <a:gd name="connsiteY133" fmla="*/ 169274 h 224547"/>
                <a:gd name="connsiteX134" fmla="*/ 55273 w 198638"/>
                <a:gd name="connsiteY134" fmla="*/ 171433 h 224547"/>
                <a:gd name="connsiteX135" fmla="*/ 55273 w 198638"/>
                <a:gd name="connsiteY135" fmla="*/ 172297 h 224547"/>
                <a:gd name="connsiteX136" fmla="*/ 54410 w 198638"/>
                <a:gd name="connsiteY136" fmla="*/ 172729 h 224547"/>
                <a:gd name="connsiteX137" fmla="*/ 53978 w 198638"/>
                <a:gd name="connsiteY137" fmla="*/ 172297 h 224547"/>
                <a:gd name="connsiteX138" fmla="*/ 53114 w 198638"/>
                <a:gd name="connsiteY138" fmla="*/ 172729 h 224547"/>
                <a:gd name="connsiteX139" fmla="*/ 53546 w 198638"/>
                <a:gd name="connsiteY139" fmla="*/ 173593 h 224547"/>
                <a:gd name="connsiteX140" fmla="*/ 53546 w 198638"/>
                <a:gd name="connsiteY140" fmla="*/ 174024 h 224547"/>
                <a:gd name="connsiteX141" fmla="*/ 53114 w 198638"/>
                <a:gd name="connsiteY141" fmla="*/ 174888 h 224547"/>
                <a:gd name="connsiteX142" fmla="*/ 50091 w 198638"/>
                <a:gd name="connsiteY142" fmla="*/ 174456 h 224547"/>
                <a:gd name="connsiteX143" fmla="*/ 48796 w 198638"/>
                <a:gd name="connsiteY143" fmla="*/ 173593 h 224547"/>
                <a:gd name="connsiteX144" fmla="*/ 48364 w 198638"/>
                <a:gd name="connsiteY144" fmla="*/ 173593 h 224547"/>
                <a:gd name="connsiteX145" fmla="*/ 47932 w 198638"/>
                <a:gd name="connsiteY145" fmla="*/ 174024 h 224547"/>
                <a:gd name="connsiteX146" fmla="*/ 47500 w 198638"/>
                <a:gd name="connsiteY146" fmla="*/ 174888 h 224547"/>
                <a:gd name="connsiteX147" fmla="*/ 47069 w 198638"/>
                <a:gd name="connsiteY147" fmla="*/ 175752 h 224547"/>
                <a:gd name="connsiteX148" fmla="*/ 47932 w 198638"/>
                <a:gd name="connsiteY148" fmla="*/ 177047 h 224547"/>
                <a:gd name="connsiteX149" fmla="*/ 48364 w 198638"/>
                <a:gd name="connsiteY149" fmla="*/ 177479 h 224547"/>
                <a:gd name="connsiteX150" fmla="*/ 47932 w 198638"/>
                <a:gd name="connsiteY150" fmla="*/ 177911 h 224547"/>
                <a:gd name="connsiteX151" fmla="*/ 46205 w 198638"/>
                <a:gd name="connsiteY151" fmla="*/ 177911 h 224547"/>
                <a:gd name="connsiteX152" fmla="*/ 45773 w 198638"/>
                <a:gd name="connsiteY152" fmla="*/ 178342 h 224547"/>
                <a:gd name="connsiteX153" fmla="*/ 46205 w 198638"/>
                <a:gd name="connsiteY153" fmla="*/ 178774 h 224547"/>
                <a:gd name="connsiteX154" fmla="*/ 48364 w 198638"/>
                <a:gd name="connsiteY154" fmla="*/ 180070 h 224547"/>
                <a:gd name="connsiteX155" fmla="*/ 48796 w 198638"/>
                <a:gd name="connsiteY155" fmla="*/ 179638 h 224547"/>
                <a:gd name="connsiteX156" fmla="*/ 49228 w 198638"/>
                <a:gd name="connsiteY156" fmla="*/ 179206 h 224547"/>
                <a:gd name="connsiteX157" fmla="*/ 50091 w 198638"/>
                <a:gd name="connsiteY157" fmla="*/ 178342 h 224547"/>
                <a:gd name="connsiteX158" fmla="*/ 50955 w 198638"/>
                <a:gd name="connsiteY158" fmla="*/ 178774 h 224547"/>
                <a:gd name="connsiteX159" fmla="*/ 50955 w 198638"/>
                <a:gd name="connsiteY159" fmla="*/ 180933 h 224547"/>
                <a:gd name="connsiteX160" fmla="*/ 50523 w 198638"/>
                <a:gd name="connsiteY160" fmla="*/ 182229 h 224547"/>
                <a:gd name="connsiteX161" fmla="*/ 47500 w 198638"/>
                <a:gd name="connsiteY161" fmla="*/ 186115 h 224547"/>
                <a:gd name="connsiteX162" fmla="*/ 46205 w 198638"/>
                <a:gd name="connsiteY162" fmla="*/ 186979 h 224547"/>
                <a:gd name="connsiteX163" fmla="*/ 45773 w 198638"/>
                <a:gd name="connsiteY163" fmla="*/ 186979 h 224547"/>
                <a:gd name="connsiteX164" fmla="*/ 45341 w 198638"/>
                <a:gd name="connsiteY164" fmla="*/ 186979 h 224547"/>
                <a:gd name="connsiteX165" fmla="*/ 43614 w 198638"/>
                <a:gd name="connsiteY165" fmla="*/ 188274 h 224547"/>
                <a:gd name="connsiteX166" fmla="*/ 41455 w 198638"/>
                <a:gd name="connsiteY166" fmla="*/ 190865 h 224547"/>
                <a:gd name="connsiteX167" fmla="*/ 41023 w 198638"/>
                <a:gd name="connsiteY167" fmla="*/ 191297 h 224547"/>
                <a:gd name="connsiteX168" fmla="*/ 40160 w 198638"/>
                <a:gd name="connsiteY168" fmla="*/ 190434 h 224547"/>
                <a:gd name="connsiteX169" fmla="*/ 39728 w 198638"/>
                <a:gd name="connsiteY169" fmla="*/ 190434 h 224547"/>
                <a:gd name="connsiteX170" fmla="*/ 39296 w 198638"/>
                <a:gd name="connsiteY170" fmla="*/ 190865 h 224547"/>
                <a:gd name="connsiteX171" fmla="*/ 38432 w 198638"/>
                <a:gd name="connsiteY171" fmla="*/ 191729 h 224547"/>
                <a:gd name="connsiteX172" fmla="*/ 39296 w 198638"/>
                <a:gd name="connsiteY172" fmla="*/ 192593 h 224547"/>
                <a:gd name="connsiteX173" fmla="*/ 40591 w 198638"/>
                <a:gd name="connsiteY173" fmla="*/ 193456 h 224547"/>
                <a:gd name="connsiteX174" fmla="*/ 41455 w 198638"/>
                <a:gd name="connsiteY174" fmla="*/ 193456 h 224547"/>
                <a:gd name="connsiteX175" fmla="*/ 43614 w 198638"/>
                <a:gd name="connsiteY175" fmla="*/ 191297 h 224547"/>
                <a:gd name="connsiteX176" fmla="*/ 44046 w 198638"/>
                <a:gd name="connsiteY176" fmla="*/ 190865 h 224547"/>
                <a:gd name="connsiteX177" fmla="*/ 44046 w 198638"/>
                <a:gd name="connsiteY177" fmla="*/ 191297 h 224547"/>
                <a:gd name="connsiteX178" fmla="*/ 44478 w 198638"/>
                <a:gd name="connsiteY178" fmla="*/ 191729 h 224547"/>
                <a:gd name="connsiteX179" fmla="*/ 44478 w 198638"/>
                <a:gd name="connsiteY179" fmla="*/ 193456 h 224547"/>
                <a:gd name="connsiteX180" fmla="*/ 43614 w 198638"/>
                <a:gd name="connsiteY180" fmla="*/ 194320 h 224547"/>
                <a:gd name="connsiteX181" fmla="*/ 42750 w 198638"/>
                <a:gd name="connsiteY181" fmla="*/ 196047 h 224547"/>
                <a:gd name="connsiteX182" fmla="*/ 40160 w 198638"/>
                <a:gd name="connsiteY182" fmla="*/ 196047 h 224547"/>
                <a:gd name="connsiteX183" fmla="*/ 39728 w 198638"/>
                <a:gd name="connsiteY183" fmla="*/ 196047 h 224547"/>
                <a:gd name="connsiteX184" fmla="*/ 38864 w 198638"/>
                <a:gd name="connsiteY184" fmla="*/ 196479 h 224547"/>
                <a:gd name="connsiteX185" fmla="*/ 38864 w 198638"/>
                <a:gd name="connsiteY185" fmla="*/ 196911 h 224547"/>
                <a:gd name="connsiteX186" fmla="*/ 38864 w 198638"/>
                <a:gd name="connsiteY186" fmla="*/ 197343 h 224547"/>
                <a:gd name="connsiteX187" fmla="*/ 39296 w 198638"/>
                <a:gd name="connsiteY187" fmla="*/ 199502 h 224547"/>
                <a:gd name="connsiteX188" fmla="*/ 39296 w 198638"/>
                <a:gd name="connsiteY188" fmla="*/ 200797 h 224547"/>
                <a:gd name="connsiteX189" fmla="*/ 38864 w 198638"/>
                <a:gd name="connsiteY189" fmla="*/ 202525 h 224547"/>
                <a:gd name="connsiteX190" fmla="*/ 38864 w 198638"/>
                <a:gd name="connsiteY190" fmla="*/ 204252 h 224547"/>
                <a:gd name="connsiteX191" fmla="*/ 36273 w 198638"/>
                <a:gd name="connsiteY191" fmla="*/ 207706 h 224547"/>
                <a:gd name="connsiteX192" fmla="*/ 35841 w 198638"/>
                <a:gd name="connsiteY192" fmla="*/ 208570 h 224547"/>
                <a:gd name="connsiteX193" fmla="*/ 30228 w 198638"/>
                <a:gd name="connsiteY193" fmla="*/ 219797 h 224547"/>
                <a:gd name="connsiteX194" fmla="*/ 28500 w 198638"/>
                <a:gd name="connsiteY194" fmla="*/ 222820 h 224547"/>
                <a:gd name="connsiteX195" fmla="*/ 28068 w 198638"/>
                <a:gd name="connsiteY195" fmla="*/ 224116 h 224547"/>
                <a:gd name="connsiteX196" fmla="*/ 25478 w 198638"/>
                <a:gd name="connsiteY196" fmla="*/ 227138 h 224547"/>
                <a:gd name="connsiteX197" fmla="*/ 24614 w 198638"/>
                <a:gd name="connsiteY197" fmla="*/ 226707 h 224547"/>
                <a:gd name="connsiteX198" fmla="*/ 23750 w 198638"/>
                <a:gd name="connsiteY198" fmla="*/ 226707 h 224547"/>
                <a:gd name="connsiteX199" fmla="*/ 22023 w 198638"/>
                <a:gd name="connsiteY199" fmla="*/ 227138 h 224547"/>
                <a:gd name="connsiteX200" fmla="*/ 21591 w 198638"/>
                <a:gd name="connsiteY200" fmla="*/ 227138 h 224547"/>
                <a:gd name="connsiteX201" fmla="*/ 20296 w 198638"/>
                <a:gd name="connsiteY201" fmla="*/ 227138 h 224547"/>
                <a:gd name="connsiteX202" fmla="*/ 18137 w 198638"/>
                <a:gd name="connsiteY202" fmla="*/ 226275 h 224547"/>
                <a:gd name="connsiteX203" fmla="*/ 14682 w 198638"/>
                <a:gd name="connsiteY203" fmla="*/ 224547 h 224547"/>
                <a:gd name="connsiteX204" fmla="*/ 12523 w 198638"/>
                <a:gd name="connsiteY204" fmla="*/ 221957 h 224547"/>
                <a:gd name="connsiteX205" fmla="*/ 10796 w 198638"/>
                <a:gd name="connsiteY205" fmla="*/ 220661 h 224547"/>
                <a:gd name="connsiteX206" fmla="*/ 7773 w 198638"/>
                <a:gd name="connsiteY206" fmla="*/ 218934 h 224547"/>
                <a:gd name="connsiteX207" fmla="*/ 5614 w 198638"/>
                <a:gd name="connsiteY207" fmla="*/ 218070 h 224547"/>
                <a:gd name="connsiteX208" fmla="*/ 1727 w 198638"/>
                <a:gd name="connsiteY208" fmla="*/ 215479 h 224547"/>
                <a:gd name="connsiteX209" fmla="*/ 0 w 198638"/>
                <a:gd name="connsiteY209" fmla="*/ 212888 h 224547"/>
                <a:gd name="connsiteX210" fmla="*/ 0 w 198638"/>
                <a:gd name="connsiteY210" fmla="*/ 211161 h 224547"/>
                <a:gd name="connsiteX211" fmla="*/ 432 w 198638"/>
                <a:gd name="connsiteY211" fmla="*/ 209002 h 224547"/>
                <a:gd name="connsiteX212" fmla="*/ 0 w 198638"/>
                <a:gd name="connsiteY212" fmla="*/ 206411 h 224547"/>
                <a:gd name="connsiteX213" fmla="*/ 0 w 198638"/>
                <a:gd name="connsiteY213" fmla="*/ 205547 h 224547"/>
                <a:gd name="connsiteX214" fmla="*/ 864 w 198638"/>
                <a:gd name="connsiteY214" fmla="*/ 201661 h 224547"/>
                <a:gd name="connsiteX215" fmla="*/ 1727 w 198638"/>
                <a:gd name="connsiteY215" fmla="*/ 198206 h 224547"/>
                <a:gd name="connsiteX216" fmla="*/ 1727 w 198638"/>
                <a:gd name="connsiteY216" fmla="*/ 195615 h 224547"/>
                <a:gd name="connsiteX217" fmla="*/ 2159 w 198638"/>
                <a:gd name="connsiteY217" fmla="*/ 189138 h 224547"/>
                <a:gd name="connsiteX218" fmla="*/ 2591 w 198638"/>
                <a:gd name="connsiteY218" fmla="*/ 186979 h 224547"/>
                <a:gd name="connsiteX219" fmla="*/ 3023 w 198638"/>
                <a:gd name="connsiteY219" fmla="*/ 186115 h 224547"/>
                <a:gd name="connsiteX220" fmla="*/ 3023 w 198638"/>
                <a:gd name="connsiteY220" fmla="*/ 185684 h 224547"/>
                <a:gd name="connsiteX221" fmla="*/ 4318 w 198638"/>
                <a:gd name="connsiteY221" fmla="*/ 178774 h 224547"/>
                <a:gd name="connsiteX222" fmla="*/ 5614 w 198638"/>
                <a:gd name="connsiteY222" fmla="*/ 172729 h 224547"/>
                <a:gd name="connsiteX223" fmla="*/ 5182 w 198638"/>
                <a:gd name="connsiteY223" fmla="*/ 171002 h 224547"/>
                <a:gd name="connsiteX224" fmla="*/ 6477 w 198638"/>
                <a:gd name="connsiteY224" fmla="*/ 167979 h 224547"/>
                <a:gd name="connsiteX225" fmla="*/ 7773 w 198638"/>
                <a:gd name="connsiteY225" fmla="*/ 161933 h 224547"/>
                <a:gd name="connsiteX226" fmla="*/ 8205 w 198638"/>
                <a:gd name="connsiteY226" fmla="*/ 158910 h 224547"/>
                <a:gd name="connsiteX227" fmla="*/ 8205 w 198638"/>
                <a:gd name="connsiteY227" fmla="*/ 158047 h 224547"/>
                <a:gd name="connsiteX228" fmla="*/ 7773 w 198638"/>
                <a:gd name="connsiteY228" fmla="*/ 157183 h 224547"/>
                <a:gd name="connsiteX229" fmla="*/ 8205 w 198638"/>
                <a:gd name="connsiteY229" fmla="*/ 155024 h 224547"/>
                <a:gd name="connsiteX230" fmla="*/ 9932 w 198638"/>
                <a:gd name="connsiteY230" fmla="*/ 148979 h 224547"/>
                <a:gd name="connsiteX231" fmla="*/ 11659 w 198638"/>
                <a:gd name="connsiteY231" fmla="*/ 144229 h 224547"/>
                <a:gd name="connsiteX232" fmla="*/ 12091 w 198638"/>
                <a:gd name="connsiteY232" fmla="*/ 142069 h 224547"/>
                <a:gd name="connsiteX233" fmla="*/ 12091 w 198638"/>
                <a:gd name="connsiteY233" fmla="*/ 141638 h 224547"/>
                <a:gd name="connsiteX234" fmla="*/ 11659 w 198638"/>
                <a:gd name="connsiteY234" fmla="*/ 139910 h 224547"/>
                <a:gd name="connsiteX235" fmla="*/ 12955 w 198638"/>
                <a:gd name="connsiteY235" fmla="*/ 136024 h 224547"/>
                <a:gd name="connsiteX236" fmla="*/ 13818 w 198638"/>
                <a:gd name="connsiteY236" fmla="*/ 135160 h 224547"/>
                <a:gd name="connsiteX237" fmla="*/ 14682 w 198638"/>
                <a:gd name="connsiteY237" fmla="*/ 131706 h 224547"/>
                <a:gd name="connsiteX238" fmla="*/ 15546 w 198638"/>
                <a:gd name="connsiteY238" fmla="*/ 127819 h 224547"/>
                <a:gd name="connsiteX239" fmla="*/ 17273 w 198638"/>
                <a:gd name="connsiteY239" fmla="*/ 123069 h 224547"/>
                <a:gd name="connsiteX240" fmla="*/ 17705 w 198638"/>
                <a:gd name="connsiteY240" fmla="*/ 121342 h 224547"/>
                <a:gd name="connsiteX241" fmla="*/ 17705 w 198638"/>
                <a:gd name="connsiteY241" fmla="*/ 120478 h 224547"/>
                <a:gd name="connsiteX242" fmla="*/ 17705 w 198638"/>
                <a:gd name="connsiteY242" fmla="*/ 118751 h 224547"/>
                <a:gd name="connsiteX243" fmla="*/ 19864 w 198638"/>
                <a:gd name="connsiteY243" fmla="*/ 113569 h 224547"/>
                <a:gd name="connsiteX244" fmla="*/ 19864 w 198638"/>
                <a:gd name="connsiteY244" fmla="*/ 113137 h 224547"/>
                <a:gd name="connsiteX245" fmla="*/ 20728 w 198638"/>
                <a:gd name="connsiteY245" fmla="*/ 109251 h 224547"/>
                <a:gd name="connsiteX246" fmla="*/ 21591 w 198638"/>
                <a:gd name="connsiteY246" fmla="*/ 105365 h 224547"/>
                <a:gd name="connsiteX247" fmla="*/ 23319 w 198638"/>
                <a:gd name="connsiteY247" fmla="*/ 100614 h 224547"/>
                <a:gd name="connsiteX248" fmla="*/ 24614 w 198638"/>
                <a:gd name="connsiteY248" fmla="*/ 95433 h 224547"/>
                <a:gd name="connsiteX249" fmla="*/ 25909 w 198638"/>
                <a:gd name="connsiteY249" fmla="*/ 91978 h 224547"/>
                <a:gd name="connsiteX250" fmla="*/ 26773 w 198638"/>
                <a:gd name="connsiteY250" fmla="*/ 89819 h 224547"/>
                <a:gd name="connsiteX251" fmla="*/ 27637 w 198638"/>
                <a:gd name="connsiteY251" fmla="*/ 86796 h 224547"/>
                <a:gd name="connsiteX252" fmla="*/ 28068 w 198638"/>
                <a:gd name="connsiteY252" fmla="*/ 85501 h 224547"/>
                <a:gd name="connsiteX253" fmla="*/ 28932 w 198638"/>
                <a:gd name="connsiteY253" fmla="*/ 82046 h 224547"/>
                <a:gd name="connsiteX254" fmla="*/ 29364 w 198638"/>
                <a:gd name="connsiteY254" fmla="*/ 81183 h 224547"/>
                <a:gd name="connsiteX255" fmla="*/ 30228 w 198638"/>
                <a:gd name="connsiteY255" fmla="*/ 78592 h 224547"/>
                <a:gd name="connsiteX256" fmla="*/ 31091 w 198638"/>
                <a:gd name="connsiteY256" fmla="*/ 74273 h 224547"/>
                <a:gd name="connsiteX257" fmla="*/ 31523 w 198638"/>
                <a:gd name="connsiteY257" fmla="*/ 71682 h 224547"/>
                <a:gd name="connsiteX258" fmla="*/ 31955 w 198638"/>
                <a:gd name="connsiteY258" fmla="*/ 71682 h 224547"/>
                <a:gd name="connsiteX259" fmla="*/ 34546 w 198638"/>
                <a:gd name="connsiteY259" fmla="*/ 64341 h 224547"/>
                <a:gd name="connsiteX260" fmla="*/ 34978 w 198638"/>
                <a:gd name="connsiteY260" fmla="*/ 60887 h 224547"/>
                <a:gd name="connsiteX261" fmla="*/ 36273 w 198638"/>
                <a:gd name="connsiteY261" fmla="*/ 57432 h 224547"/>
                <a:gd name="connsiteX262" fmla="*/ 36273 w 198638"/>
                <a:gd name="connsiteY262" fmla="*/ 56137 h 224547"/>
                <a:gd name="connsiteX263" fmla="*/ 37137 w 198638"/>
                <a:gd name="connsiteY263" fmla="*/ 54410 h 224547"/>
                <a:gd name="connsiteX264" fmla="*/ 37569 w 198638"/>
                <a:gd name="connsiteY264" fmla="*/ 51819 h 224547"/>
                <a:gd name="connsiteX265" fmla="*/ 38432 w 198638"/>
                <a:gd name="connsiteY265" fmla="*/ 47069 h 224547"/>
                <a:gd name="connsiteX266" fmla="*/ 39296 w 198638"/>
                <a:gd name="connsiteY266" fmla="*/ 44478 h 224547"/>
                <a:gd name="connsiteX267" fmla="*/ 39728 w 198638"/>
                <a:gd name="connsiteY267" fmla="*/ 42750 h 224547"/>
                <a:gd name="connsiteX268" fmla="*/ 40591 w 198638"/>
                <a:gd name="connsiteY268" fmla="*/ 39728 h 224547"/>
                <a:gd name="connsiteX269" fmla="*/ 41887 w 198638"/>
                <a:gd name="connsiteY269" fmla="*/ 33682 h 224547"/>
                <a:gd name="connsiteX270" fmla="*/ 42319 w 198638"/>
                <a:gd name="connsiteY270" fmla="*/ 32819 h 224547"/>
                <a:gd name="connsiteX271" fmla="*/ 43614 w 198638"/>
                <a:gd name="connsiteY271" fmla="*/ 25477 h 224547"/>
                <a:gd name="connsiteX272" fmla="*/ 46637 w 198638"/>
                <a:gd name="connsiteY272" fmla="*/ 11227 h 224547"/>
                <a:gd name="connsiteX273" fmla="*/ 47069 w 198638"/>
                <a:gd name="connsiteY273" fmla="*/ 9068 h 224547"/>
                <a:gd name="connsiteX274" fmla="*/ 47500 w 198638"/>
                <a:gd name="connsiteY274" fmla="*/ 7341 h 224547"/>
                <a:gd name="connsiteX275" fmla="*/ 48364 w 198638"/>
                <a:gd name="connsiteY275" fmla="*/ 4750 h 224547"/>
                <a:gd name="connsiteX276" fmla="*/ 50523 w 198638"/>
                <a:gd name="connsiteY276" fmla="*/ 2591 h 224547"/>
                <a:gd name="connsiteX277" fmla="*/ 53978 w 198638"/>
                <a:gd name="connsiteY277" fmla="*/ 432 h 224547"/>
                <a:gd name="connsiteX278" fmla="*/ 55273 w 198638"/>
                <a:gd name="connsiteY278" fmla="*/ 0 h 224547"/>
                <a:gd name="connsiteX279" fmla="*/ 56569 w 198638"/>
                <a:gd name="connsiteY279" fmla="*/ 864 h 224547"/>
                <a:gd name="connsiteX280" fmla="*/ 57001 w 198638"/>
                <a:gd name="connsiteY280" fmla="*/ 1295 h 224547"/>
                <a:gd name="connsiteX281" fmla="*/ 57432 w 198638"/>
                <a:gd name="connsiteY281" fmla="*/ 864 h 224547"/>
                <a:gd name="connsiteX282" fmla="*/ 57864 w 198638"/>
                <a:gd name="connsiteY282" fmla="*/ 432 h 224547"/>
                <a:gd name="connsiteX283" fmla="*/ 58728 w 198638"/>
                <a:gd name="connsiteY283" fmla="*/ 864 h 224547"/>
                <a:gd name="connsiteX284" fmla="*/ 61319 w 198638"/>
                <a:gd name="connsiteY284" fmla="*/ 4750 h 224547"/>
                <a:gd name="connsiteX285" fmla="*/ 63046 w 198638"/>
                <a:gd name="connsiteY285" fmla="*/ 6045 h 224547"/>
                <a:gd name="connsiteX286" fmla="*/ 63478 w 198638"/>
                <a:gd name="connsiteY286" fmla="*/ 7341 h 224547"/>
                <a:gd name="connsiteX287" fmla="*/ 63478 w 198638"/>
                <a:gd name="connsiteY287" fmla="*/ 8205 h 224547"/>
                <a:gd name="connsiteX288" fmla="*/ 63046 w 198638"/>
                <a:gd name="connsiteY288" fmla="*/ 9500 h 224547"/>
                <a:gd name="connsiteX289" fmla="*/ 63910 w 198638"/>
                <a:gd name="connsiteY289" fmla="*/ 11227 h 224547"/>
                <a:gd name="connsiteX290" fmla="*/ 64342 w 198638"/>
                <a:gd name="connsiteY290" fmla="*/ 13387 h 224547"/>
                <a:gd name="connsiteX291" fmla="*/ 65205 w 198638"/>
                <a:gd name="connsiteY291" fmla="*/ 15977 h 224547"/>
                <a:gd name="connsiteX292" fmla="*/ 65637 w 198638"/>
                <a:gd name="connsiteY292" fmla="*/ 17705 h 224547"/>
                <a:gd name="connsiteX293" fmla="*/ 65637 w 198638"/>
                <a:gd name="connsiteY293" fmla="*/ 19000 h 224547"/>
                <a:gd name="connsiteX294" fmla="*/ 66501 w 198638"/>
                <a:gd name="connsiteY294" fmla="*/ 21591 h 224547"/>
                <a:gd name="connsiteX295" fmla="*/ 66501 w 198638"/>
                <a:gd name="connsiteY295" fmla="*/ 23318 h 224547"/>
                <a:gd name="connsiteX296" fmla="*/ 66069 w 198638"/>
                <a:gd name="connsiteY296" fmla="*/ 25477 h 224547"/>
                <a:gd name="connsiteX297" fmla="*/ 66069 w 198638"/>
                <a:gd name="connsiteY297" fmla="*/ 26341 h 224547"/>
                <a:gd name="connsiteX298" fmla="*/ 65637 w 198638"/>
                <a:gd name="connsiteY298" fmla="*/ 27637 h 224547"/>
                <a:gd name="connsiteX299" fmla="*/ 65637 w 198638"/>
                <a:gd name="connsiteY299" fmla="*/ 28932 h 224547"/>
                <a:gd name="connsiteX300" fmla="*/ 65637 w 198638"/>
                <a:gd name="connsiteY300" fmla="*/ 30228 h 224547"/>
                <a:gd name="connsiteX301" fmla="*/ 64342 w 198638"/>
                <a:gd name="connsiteY301" fmla="*/ 38864 h 224547"/>
                <a:gd name="connsiteX302" fmla="*/ 64342 w 198638"/>
                <a:gd name="connsiteY302" fmla="*/ 39296 h 224547"/>
                <a:gd name="connsiteX303" fmla="*/ 63046 w 198638"/>
                <a:gd name="connsiteY303" fmla="*/ 43614 h 224547"/>
                <a:gd name="connsiteX304" fmla="*/ 62182 w 198638"/>
                <a:gd name="connsiteY304" fmla="*/ 48796 h 224547"/>
                <a:gd name="connsiteX305" fmla="*/ 60887 w 198638"/>
                <a:gd name="connsiteY305" fmla="*/ 51819 h 224547"/>
                <a:gd name="connsiteX306" fmla="*/ 60455 w 198638"/>
                <a:gd name="connsiteY306" fmla="*/ 58296 h 224547"/>
                <a:gd name="connsiteX307" fmla="*/ 60023 w 198638"/>
                <a:gd name="connsiteY307" fmla="*/ 59591 h 224547"/>
                <a:gd name="connsiteX308" fmla="*/ 57864 w 198638"/>
                <a:gd name="connsiteY308" fmla="*/ 67364 h 224547"/>
                <a:gd name="connsiteX309" fmla="*/ 56137 w 198638"/>
                <a:gd name="connsiteY309" fmla="*/ 72546 h 224547"/>
                <a:gd name="connsiteX310" fmla="*/ 55273 w 198638"/>
                <a:gd name="connsiteY310" fmla="*/ 76433 h 224547"/>
                <a:gd name="connsiteX311" fmla="*/ 55273 w 198638"/>
                <a:gd name="connsiteY311" fmla="*/ 77728 h 224547"/>
                <a:gd name="connsiteX312" fmla="*/ 55273 w 198638"/>
                <a:gd name="connsiteY312" fmla="*/ 78160 h 224547"/>
                <a:gd name="connsiteX313" fmla="*/ 53546 w 198638"/>
                <a:gd name="connsiteY313" fmla="*/ 83773 h 224547"/>
                <a:gd name="connsiteX314" fmla="*/ 53114 w 198638"/>
                <a:gd name="connsiteY314" fmla="*/ 85933 h 224547"/>
                <a:gd name="connsiteX315" fmla="*/ 52682 w 198638"/>
                <a:gd name="connsiteY315" fmla="*/ 88092 h 224547"/>
                <a:gd name="connsiteX316" fmla="*/ 52251 w 198638"/>
                <a:gd name="connsiteY316" fmla="*/ 88955 h 224547"/>
                <a:gd name="connsiteX317" fmla="*/ 49660 w 198638"/>
                <a:gd name="connsiteY317" fmla="*/ 96296 h 224547"/>
                <a:gd name="connsiteX318" fmla="*/ 48796 w 198638"/>
                <a:gd name="connsiteY318" fmla="*/ 99751 h 224547"/>
                <a:gd name="connsiteX319" fmla="*/ 48796 w 198638"/>
                <a:gd name="connsiteY319" fmla="*/ 100183 h 224547"/>
                <a:gd name="connsiteX320" fmla="*/ 47932 w 198638"/>
                <a:gd name="connsiteY320" fmla="*/ 103637 h 224547"/>
                <a:gd name="connsiteX321" fmla="*/ 45341 w 198638"/>
                <a:gd name="connsiteY321" fmla="*/ 114001 h 224547"/>
                <a:gd name="connsiteX322" fmla="*/ 43614 w 198638"/>
                <a:gd name="connsiteY322" fmla="*/ 118319 h 224547"/>
                <a:gd name="connsiteX323" fmla="*/ 42750 w 198638"/>
                <a:gd name="connsiteY323" fmla="*/ 120478 h 224547"/>
                <a:gd name="connsiteX324" fmla="*/ 42319 w 198638"/>
                <a:gd name="connsiteY324" fmla="*/ 122637 h 224547"/>
                <a:gd name="connsiteX325" fmla="*/ 41887 w 198638"/>
                <a:gd name="connsiteY325" fmla="*/ 125660 h 224547"/>
                <a:gd name="connsiteX326" fmla="*/ 41023 w 198638"/>
                <a:gd name="connsiteY326" fmla="*/ 128683 h 224547"/>
                <a:gd name="connsiteX327" fmla="*/ 39296 w 198638"/>
                <a:gd name="connsiteY327" fmla="*/ 134297 h 224547"/>
                <a:gd name="connsiteX328" fmla="*/ 38432 w 198638"/>
                <a:gd name="connsiteY328" fmla="*/ 136888 h 224547"/>
                <a:gd name="connsiteX329" fmla="*/ 38432 w 198638"/>
                <a:gd name="connsiteY329" fmla="*/ 137751 h 224547"/>
                <a:gd name="connsiteX330" fmla="*/ 38432 w 198638"/>
                <a:gd name="connsiteY330" fmla="*/ 138183 h 224547"/>
                <a:gd name="connsiteX331" fmla="*/ 38432 w 198638"/>
                <a:gd name="connsiteY331" fmla="*/ 139478 h 224547"/>
                <a:gd name="connsiteX332" fmla="*/ 37137 w 198638"/>
                <a:gd name="connsiteY332" fmla="*/ 143365 h 224547"/>
                <a:gd name="connsiteX333" fmla="*/ 35841 w 198638"/>
                <a:gd name="connsiteY333" fmla="*/ 147683 h 224547"/>
                <a:gd name="connsiteX334" fmla="*/ 35841 w 198638"/>
                <a:gd name="connsiteY334" fmla="*/ 149842 h 224547"/>
                <a:gd name="connsiteX335" fmla="*/ 35409 w 198638"/>
                <a:gd name="connsiteY335" fmla="*/ 152001 h 224547"/>
                <a:gd name="connsiteX336" fmla="*/ 34978 w 198638"/>
                <a:gd name="connsiteY336" fmla="*/ 154161 h 224547"/>
                <a:gd name="connsiteX337" fmla="*/ 36273 w 198638"/>
                <a:gd name="connsiteY337" fmla="*/ 155024 h 224547"/>
                <a:gd name="connsiteX338" fmla="*/ 37569 w 198638"/>
                <a:gd name="connsiteY338" fmla="*/ 154592 h 224547"/>
                <a:gd name="connsiteX339" fmla="*/ 40591 w 198638"/>
                <a:gd name="connsiteY339" fmla="*/ 148979 h 224547"/>
                <a:gd name="connsiteX340" fmla="*/ 44046 w 198638"/>
                <a:gd name="connsiteY340" fmla="*/ 144660 h 224547"/>
                <a:gd name="connsiteX341" fmla="*/ 46205 w 198638"/>
                <a:gd name="connsiteY341" fmla="*/ 140774 h 224547"/>
                <a:gd name="connsiteX342" fmla="*/ 47069 w 198638"/>
                <a:gd name="connsiteY342" fmla="*/ 138615 h 224547"/>
                <a:gd name="connsiteX343" fmla="*/ 47932 w 198638"/>
                <a:gd name="connsiteY343" fmla="*/ 138183 h 224547"/>
                <a:gd name="connsiteX344" fmla="*/ 48364 w 198638"/>
                <a:gd name="connsiteY344" fmla="*/ 138183 h 224547"/>
                <a:gd name="connsiteX345" fmla="*/ 49228 w 198638"/>
                <a:gd name="connsiteY345" fmla="*/ 137319 h 224547"/>
                <a:gd name="connsiteX346" fmla="*/ 50091 w 198638"/>
                <a:gd name="connsiteY346" fmla="*/ 135592 h 224547"/>
                <a:gd name="connsiteX347" fmla="*/ 52251 w 198638"/>
                <a:gd name="connsiteY347" fmla="*/ 133001 h 224547"/>
                <a:gd name="connsiteX348" fmla="*/ 52682 w 198638"/>
                <a:gd name="connsiteY348" fmla="*/ 132569 h 224547"/>
                <a:gd name="connsiteX349" fmla="*/ 52682 w 198638"/>
                <a:gd name="connsiteY349" fmla="*/ 132138 h 224547"/>
                <a:gd name="connsiteX350" fmla="*/ 52251 w 198638"/>
                <a:gd name="connsiteY350" fmla="*/ 131274 h 224547"/>
                <a:gd name="connsiteX351" fmla="*/ 53114 w 198638"/>
                <a:gd name="connsiteY351" fmla="*/ 129978 h 224547"/>
                <a:gd name="connsiteX352" fmla="*/ 54410 w 198638"/>
                <a:gd name="connsiteY352" fmla="*/ 128251 h 224547"/>
                <a:gd name="connsiteX353" fmla="*/ 56137 w 198638"/>
                <a:gd name="connsiteY353" fmla="*/ 125228 h 224547"/>
                <a:gd name="connsiteX354" fmla="*/ 58296 w 198638"/>
                <a:gd name="connsiteY354" fmla="*/ 121774 h 224547"/>
                <a:gd name="connsiteX355" fmla="*/ 59160 w 198638"/>
                <a:gd name="connsiteY355" fmla="*/ 120046 h 224547"/>
                <a:gd name="connsiteX356" fmla="*/ 62182 w 198638"/>
                <a:gd name="connsiteY356" fmla="*/ 115297 h 224547"/>
                <a:gd name="connsiteX357" fmla="*/ 66932 w 198638"/>
                <a:gd name="connsiteY357" fmla="*/ 108819 h 224547"/>
                <a:gd name="connsiteX358" fmla="*/ 67364 w 198638"/>
                <a:gd name="connsiteY358" fmla="*/ 108387 h 224547"/>
                <a:gd name="connsiteX359" fmla="*/ 69955 w 198638"/>
                <a:gd name="connsiteY359" fmla="*/ 105365 h 224547"/>
                <a:gd name="connsiteX360" fmla="*/ 71683 w 198638"/>
                <a:gd name="connsiteY360" fmla="*/ 102342 h 224547"/>
                <a:gd name="connsiteX361" fmla="*/ 71683 w 198638"/>
                <a:gd name="connsiteY361" fmla="*/ 101478 h 224547"/>
                <a:gd name="connsiteX362" fmla="*/ 72114 w 198638"/>
                <a:gd name="connsiteY362" fmla="*/ 100614 h 224547"/>
                <a:gd name="connsiteX363" fmla="*/ 72978 w 198638"/>
                <a:gd name="connsiteY363" fmla="*/ 99319 h 224547"/>
                <a:gd name="connsiteX364" fmla="*/ 76001 w 198638"/>
                <a:gd name="connsiteY364" fmla="*/ 95433 h 224547"/>
                <a:gd name="connsiteX365" fmla="*/ 78160 w 198638"/>
                <a:gd name="connsiteY365" fmla="*/ 92842 h 224547"/>
                <a:gd name="connsiteX366" fmla="*/ 80751 w 198638"/>
                <a:gd name="connsiteY366" fmla="*/ 89819 h 224547"/>
                <a:gd name="connsiteX367" fmla="*/ 82046 w 198638"/>
                <a:gd name="connsiteY367" fmla="*/ 88524 h 224547"/>
                <a:gd name="connsiteX368" fmla="*/ 88524 w 198638"/>
                <a:gd name="connsiteY368" fmla="*/ 80319 h 224547"/>
                <a:gd name="connsiteX369" fmla="*/ 88955 w 198638"/>
                <a:gd name="connsiteY369" fmla="*/ 79455 h 224547"/>
                <a:gd name="connsiteX370" fmla="*/ 90683 w 198638"/>
                <a:gd name="connsiteY370" fmla="*/ 77296 h 224547"/>
                <a:gd name="connsiteX371" fmla="*/ 92410 w 198638"/>
                <a:gd name="connsiteY371" fmla="*/ 74273 h 224547"/>
                <a:gd name="connsiteX372" fmla="*/ 93705 w 198638"/>
                <a:gd name="connsiteY372" fmla="*/ 72546 h 224547"/>
                <a:gd name="connsiteX373" fmla="*/ 95433 w 198638"/>
                <a:gd name="connsiteY373" fmla="*/ 71251 h 224547"/>
                <a:gd name="connsiteX374" fmla="*/ 96296 w 198638"/>
                <a:gd name="connsiteY374" fmla="*/ 70387 h 224547"/>
                <a:gd name="connsiteX375" fmla="*/ 116592 w 198638"/>
                <a:gd name="connsiteY375" fmla="*/ 60887 h 224547"/>
                <a:gd name="connsiteX376" fmla="*/ 138183 w 198638"/>
                <a:gd name="connsiteY376" fmla="*/ 73410 h 224547"/>
                <a:gd name="connsiteX377" fmla="*/ 138615 w 198638"/>
                <a:gd name="connsiteY377" fmla="*/ 75569 h 224547"/>
                <a:gd name="connsiteX378" fmla="*/ 140342 w 198638"/>
                <a:gd name="connsiteY378" fmla="*/ 83773 h 224547"/>
                <a:gd name="connsiteX379" fmla="*/ 139910 w 198638"/>
                <a:gd name="connsiteY379" fmla="*/ 86796 h 224547"/>
                <a:gd name="connsiteX380" fmla="*/ 139479 w 198638"/>
                <a:gd name="connsiteY380" fmla="*/ 87660 h 224547"/>
                <a:gd name="connsiteX381" fmla="*/ 139910 w 198638"/>
                <a:gd name="connsiteY381" fmla="*/ 88524 h 224547"/>
                <a:gd name="connsiteX382" fmla="*/ 139910 w 198638"/>
                <a:gd name="connsiteY382" fmla="*/ 89387 h 224547"/>
                <a:gd name="connsiteX383" fmla="*/ 139910 w 198638"/>
                <a:gd name="connsiteY383" fmla="*/ 90683 h 224547"/>
                <a:gd name="connsiteX384" fmla="*/ 139479 w 198638"/>
                <a:gd name="connsiteY384" fmla="*/ 91978 h 224547"/>
                <a:gd name="connsiteX385" fmla="*/ 139910 w 198638"/>
                <a:gd name="connsiteY385" fmla="*/ 94137 h 224547"/>
                <a:gd name="connsiteX386" fmla="*/ 139479 w 198638"/>
                <a:gd name="connsiteY386" fmla="*/ 97592 h 224547"/>
                <a:gd name="connsiteX387" fmla="*/ 139479 w 198638"/>
                <a:gd name="connsiteY387" fmla="*/ 107092 h 224547"/>
                <a:gd name="connsiteX388" fmla="*/ 139047 w 198638"/>
                <a:gd name="connsiteY388" fmla="*/ 109683 h 224547"/>
                <a:gd name="connsiteX389" fmla="*/ 139047 w 198638"/>
                <a:gd name="connsiteY389" fmla="*/ 111842 h 224547"/>
                <a:gd name="connsiteX390" fmla="*/ 138615 w 198638"/>
                <a:gd name="connsiteY390" fmla="*/ 116160 h 224547"/>
                <a:gd name="connsiteX391" fmla="*/ 138183 w 198638"/>
                <a:gd name="connsiteY391" fmla="*/ 117456 h 224547"/>
                <a:gd name="connsiteX392" fmla="*/ 138183 w 198638"/>
                <a:gd name="connsiteY392" fmla="*/ 117887 h 224547"/>
                <a:gd name="connsiteX393" fmla="*/ 137320 w 198638"/>
                <a:gd name="connsiteY393" fmla="*/ 120046 h 224547"/>
                <a:gd name="connsiteX394" fmla="*/ 136888 w 198638"/>
                <a:gd name="connsiteY394" fmla="*/ 120046 h 224547"/>
                <a:gd name="connsiteX395" fmla="*/ 136456 w 198638"/>
                <a:gd name="connsiteY395" fmla="*/ 120046 h 224547"/>
                <a:gd name="connsiteX396" fmla="*/ 135592 w 198638"/>
                <a:gd name="connsiteY396" fmla="*/ 120478 h 224547"/>
                <a:gd name="connsiteX397" fmla="*/ 136024 w 198638"/>
                <a:gd name="connsiteY397" fmla="*/ 121774 h 224547"/>
                <a:gd name="connsiteX398" fmla="*/ 136456 w 198638"/>
                <a:gd name="connsiteY398" fmla="*/ 122206 h 224547"/>
                <a:gd name="connsiteX399" fmla="*/ 136888 w 198638"/>
                <a:gd name="connsiteY399" fmla="*/ 121774 h 224547"/>
                <a:gd name="connsiteX400" fmla="*/ 137320 w 198638"/>
                <a:gd name="connsiteY400" fmla="*/ 121774 h 224547"/>
                <a:gd name="connsiteX401" fmla="*/ 138183 w 198638"/>
                <a:gd name="connsiteY401" fmla="*/ 122637 h 224547"/>
                <a:gd name="connsiteX402" fmla="*/ 137751 w 198638"/>
                <a:gd name="connsiteY402" fmla="*/ 124365 h 224547"/>
                <a:gd name="connsiteX403" fmla="*/ 137751 w 198638"/>
                <a:gd name="connsiteY403" fmla="*/ 129547 h 224547"/>
                <a:gd name="connsiteX404" fmla="*/ 137320 w 198638"/>
                <a:gd name="connsiteY404" fmla="*/ 135592 h 224547"/>
                <a:gd name="connsiteX405" fmla="*/ 136888 w 198638"/>
                <a:gd name="connsiteY405" fmla="*/ 136456 h 224547"/>
                <a:gd name="connsiteX406" fmla="*/ 137320 w 198638"/>
                <a:gd name="connsiteY406" fmla="*/ 137319 h 224547"/>
                <a:gd name="connsiteX407" fmla="*/ 137751 w 198638"/>
                <a:gd name="connsiteY407" fmla="*/ 139478 h 224547"/>
                <a:gd name="connsiteX408" fmla="*/ 136888 w 198638"/>
                <a:gd name="connsiteY408" fmla="*/ 142933 h 224547"/>
                <a:gd name="connsiteX409" fmla="*/ 136888 w 198638"/>
                <a:gd name="connsiteY409" fmla="*/ 145524 h 224547"/>
                <a:gd name="connsiteX410" fmla="*/ 138615 w 198638"/>
                <a:gd name="connsiteY410" fmla="*/ 152433 h 224547"/>
                <a:gd name="connsiteX411" fmla="*/ 138615 w 198638"/>
                <a:gd name="connsiteY411" fmla="*/ 153729 h 224547"/>
                <a:gd name="connsiteX412" fmla="*/ 138615 w 198638"/>
                <a:gd name="connsiteY412" fmla="*/ 155456 h 224547"/>
                <a:gd name="connsiteX413" fmla="*/ 139910 w 198638"/>
                <a:gd name="connsiteY413" fmla="*/ 160638 h 224547"/>
                <a:gd name="connsiteX414" fmla="*/ 140342 w 198638"/>
                <a:gd name="connsiteY414" fmla="*/ 161501 h 224547"/>
                <a:gd name="connsiteX415" fmla="*/ 142501 w 198638"/>
                <a:gd name="connsiteY415" fmla="*/ 167979 h 224547"/>
                <a:gd name="connsiteX416" fmla="*/ 143365 w 198638"/>
                <a:gd name="connsiteY416" fmla="*/ 169706 h 224547"/>
                <a:gd name="connsiteX417" fmla="*/ 144229 w 198638"/>
                <a:gd name="connsiteY417" fmla="*/ 170570 h 224547"/>
                <a:gd name="connsiteX418" fmla="*/ 145524 w 198638"/>
                <a:gd name="connsiteY418" fmla="*/ 169706 h 224547"/>
                <a:gd name="connsiteX419" fmla="*/ 147683 w 198638"/>
                <a:gd name="connsiteY419" fmla="*/ 167547 h 224547"/>
                <a:gd name="connsiteX420" fmla="*/ 148115 w 198638"/>
                <a:gd name="connsiteY420" fmla="*/ 166683 h 224547"/>
                <a:gd name="connsiteX421" fmla="*/ 150274 w 198638"/>
                <a:gd name="connsiteY421" fmla="*/ 163661 h 224547"/>
                <a:gd name="connsiteX422" fmla="*/ 151138 w 198638"/>
                <a:gd name="connsiteY422" fmla="*/ 162797 h 224547"/>
                <a:gd name="connsiteX423" fmla="*/ 152865 w 198638"/>
                <a:gd name="connsiteY423" fmla="*/ 161501 h 224547"/>
                <a:gd name="connsiteX424" fmla="*/ 154592 w 198638"/>
                <a:gd name="connsiteY424" fmla="*/ 159342 h 224547"/>
                <a:gd name="connsiteX425" fmla="*/ 155888 w 198638"/>
                <a:gd name="connsiteY425" fmla="*/ 157183 h 224547"/>
                <a:gd name="connsiteX426" fmla="*/ 155888 w 198638"/>
                <a:gd name="connsiteY426" fmla="*/ 156320 h 224547"/>
                <a:gd name="connsiteX427" fmla="*/ 160206 w 198638"/>
                <a:gd name="connsiteY427" fmla="*/ 151138 h 224547"/>
                <a:gd name="connsiteX428" fmla="*/ 160638 w 198638"/>
                <a:gd name="connsiteY428" fmla="*/ 150274 h 224547"/>
                <a:gd name="connsiteX429" fmla="*/ 161933 w 198638"/>
                <a:gd name="connsiteY429" fmla="*/ 147251 h 224547"/>
                <a:gd name="connsiteX430" fmla="*/ 162365 w 198638"/>
                <a:gd name="connsiteY430" fmla="*/ 146388 h 224547"/>
                <a:gd name="connsiteX431" fmla="*/ 162365 w 198638"/>
                <a:gd name="connsiteY431" fmla="*/ 145956 h 224547"/>
                <a:gd name="connsiteX432" fmla="*/ 161933 w 198638"/>
                <a:gd name="connsiteY432" fmla="*/ 145092 h 224547"/>
                <a:gd name="connsiteX433" fmla="*/ 163229 w 198638"/>
                <a:gd name="connsiteY433" fmla="*/ 144229 h 224547"/>
                <a:gd name="connsiteX434" fmla="*/ 191729 w 198638"/>
                <a:gd name="connsiteY434" fmla="*/ 107956 h 224547"/>
                <a:gd name="connsiteX435" fmla="*/ 193456 w 198638"/>
                <a:gd name="connsiteY435" fmla="*/ 106228 h 224547"/>
                <a:gd name="connsiteX436" fmla="*/ 194752 w 198638"/>
                <a:gd name="connsiteY436" fmla="*/ 102774 h 224547"/>
                <a:gd name="connsiteX437" fmla="*/ 195616 w 198638"/>
                <a:gd name="connsiteY437" fmla="*/ 106228 h 224547"/>
                <a:gd name="connsiteX438" fmla="*/ 195184 w 198638"/>
                <a:gd name="connsiteY438" fmla="*/ 107956 h 224547"/>
                <a:gd name="connsiteX439" fmla="*/ 196047 w 198638"/>
                <a:gd name="connsiteY439" fmla="*/ 109683 h 224547"/>
                <a:gd name="connsiteX440" fmla="*/ 196479 w 198638"/>
                <a:gd name="connsiteY440" fmla="*/ 110115 h 224547"/>
                <a:gd name="connsiteX441" fmla="*/ 197343 w 198638"/>
                <a:gd name="connsiteY441" fmla="*/ 110546 h 224547"/>
                <a:gd name="connsiteX442" fmla="*/ 197343 w 198638"/>
                <a:gd name="connsiteY442" fmla="*/ 110115 h 224547"/>
                <a:gd name="connsiteX443" fmla="*/ 198638 w 198638"/>
                <a:gd name="connsiteY443" fmla="*/ 109251 h 224547"/>
                <a:gd name="connsiteX444" fmla="*/ 198638 w 198638"/>
                <a:gd name="connsiteY444" fmla="*/ 108819 h 224547"/>
                <a:gd name="connsiteX445" fmla="*/ 199502 w 198638"/>
                <a:gd name="connsiteY445" fmla="*/ 109251 h 224547"/>
                <a:gd name="connsiteX446" fmla="*/ 199502 w 198638"/>
                <a:gd name="connsiteY446" fmla="*/ 110115 h 224547"/>
                <a:gd name="connsiteX447" fmla="*/ 198638 w 198638"/>
                <a:gd name="connsiteY447" fmla="*/ 110978 h 224547"/>
                <a:gd name="connsiteX448" fmla="*/ 198206 w 198638"/>
                <a:gd name="connsiteY448" fmla="*/ 111842 h 224547"/>
                <a:gd name="connsiteX449" fmla="*/ 199070 w 198638"/>
                <a:gd name="connsiteY449" fmla="*/ 111842 h 224547"/>
                <a:gd name="connsiteX450" fmla="*/ 199070 w 198638"/>
                <a:gd name="connsiteY450" fmla="*/ 112706 h 224547"/>
                <a:gd name="connsiteX451" fmla="*/ 198638 w 198638"/>
                <a:gd name="connsiteY451" fmla="*/ 113569 h 224547"/>
                <a:gd name="connsiteX452" fmla="*/ 199934 w 198638"/>
                <a:gd name="connsiteY452" fmla="*/ 114433 h 224547"/>
                <a:gd name="connsiteX453" fmla="*/ 199934 w 198638"/>
                <a:gd name="connsiteY453" fmla="*/ 114865 h 224547"/>
                <a:gd name="connsiteX454" fmla="*/ 198206 w 198638"/>
                <a:gd name="connsiteY454" fmla="*/ 117887 h 224547"/>
                <a:gd name="connsiteX455" fmla="*/ 198206 w 198638"/>
                <a:gd name="connsiteY455" fmla="*/ 119183 h 224547"/>
                <a:gd name="connsiteX456" fmla="*/ 199070 w 198638"/>
                <a:gd name="connsiteY456" fmla="*/ 120046 h 224547"/>
                <a:gd name="connsiteX457" fmla="*/ 199934 w 198638"/>
                <a:gd name="connsiteY457" fmla="*/ 120046 h 224547"/>
                <a:gd name="connsiteX458" fmla="*/ 200366 w 198638"/>
                <a:gd name="connsiteY458" fmla="*/ 120046 h 224547"/>
                <a:gd name="connsiteX459" fmla="*/ 200366 w 198638"/>
                <a:gd name="connsiteY459" fmla="*/ 122206 h 224547"/>
                <a:gd name="connsiteX460" fmla="*/ 200366 w 198638"/>
                <a:gd name="connsiteY460" fmla="*/ 123069 h 224547"/>
                <a:gd name="connsiteX461" fmla="*/ 197775 w 198638"/>
                <a:gd name="connsiteY461" fmla="*/ 126524 h 224547"/>
                <a:gd name="connsiteX462" fmla="*/ 196911 w 198638"/>
                <a:gd name="connsiteY462" fmla="*/ 126524 h 224547"/>
                <a:gd name="connsiteX463" fmla="*/ 196047 w 198638"/>
                <a:gd name="connsiteY463" fmla="*/ 124797 h 224547"/>
                <a:gd name="connsiteX464" fmla="*/ 196047 w 198638"/>
                <a:gd name="connsiteY464" fmla="*/ 123933 h 224547"/>
                <a:gd name="connsiteX465" fmla="*/ 195184 w 198638"/>
                <a:gd name="connsiteY465" fmla="*/ 124365 h 224547"/>
                <a:gd name="connsiteX466" fmla="*/ 195184 w 198638"/>
                <a:gd name="connsiteY466" fmla="*/ 124797 h 224547"/>
                <a:gd name="connsiteX467" fmla="*/ 37137 w 198638"/>
                <a:gd name="connsiteY467" fmla="*/ 196479 h 224547"/>
                <a:gd name="connsiteX468" fmla="*/ 36705 w 198638"/>
                <a:gd name="connsiteY468" fmla="*/ 196479 h 224547"/>
                <a:gd name="connsiteX469" fmla="*/ 37137 w 198638"/>
                <a:gd name="connsiteY469" fmla="*/ 197343 h 224547"/>
                <a:gd name="connsiteX470" fmla="*/ 37569 w 198638"/>
                <a:gd name="connsiteY470" fmla="*/ 197343 h 224547"/>
                <a:gd name="connsiteX471" fmla="*/ 37569 w 198638"/>
                <a:gd name="connsiteY471" fmla="*/ 196911 h 224547"/>
                <a:gd name="connsiteX472" fmla="*/ 37137 w 198638"/>
                <a:gd name="connsiteY472" fmla="*/ 196479 h 224547"/>
                <a:gd name="connsiteX473" fmla="*/ 44478 w 198638"/>
                <a:gd name="connsiteY473" fmla="*/ 184820 h 224547"/>
                <a:gd name="connsiteX474" fmla="*/ 44478 w 198638"/>
                <a:gd name="connsiteY474" fmla="*/ 182229 h 224547"/>
                <a:gd name="connsiteX475" fmla="*/ 44046 w 198638"/>
                <a:gd name="connsiteY475" fmla="*/ 182229 h 224547"/>
                <a:gd name="connsiteX476" fmla="*/ 43182 w 198638"/>
                <a:gd name="connsiteY476" fmla="*/ 183956 h 224547"/>
                <a:gd name="connsiteX477" fmla="*/ 43182 w 198638"/>
                <a:gd name="connsiteY477" fmla="*/ 184820 h 224547"/>
                <a:gd name="connsiteX478" fmla="*/ 44046 w 198638"/>
                <a:gd name="connsiteY478" fmla="*/ 185252 h 224547"/>
                <a:gd name="connsiteX479" fmla="*/ 44478 w 198638"/>
                <a:gd name="connsiteY479" fmla="*/ 184820 h 224547"/>
                <a:gd name="connsiteX480" fmla="*/ 47500 w 198638"/>
                <a:gd name="connsiteY480" fmla="*/ 181797 h 224547"/>
                <a:gd name="connsiteX481" fmla="*/ 47069 w 198638"/>
                <a:gd name="connsiteY481" fmla="*/ 181365 h 224547"/>
                <a:gd name="connsiteX482" fmla="*/ 46637 w 198638"/>
                <a:gd name="connsiteY482" fmla="*/ 181797 h 224547"/>
                <a:gd name="connsiteX483" fmla="*/ 46637 w 198638"/>
                <a:gd name="connsiteY483" fmla="*/ 182229 h 224547"/>
                <a:gd name="connsiteX484" fmla="*/ 47069 w 198638"/>
                <a:gd name="connsiteY484" fmla="*/ 182661 h 224547"/>
                <a:gd name="connsiteX485" fmla="*/ 47500 w 198638"/>
                <a:gd name="connsiteY485" fmla="*/ 182229 h 224547"/>
                <a:gd name="connsiteX486" fmla="*/ 47500 w 198638"/>
                <a:gd name="connsiteY486" fmla="*/ 181797 h 224547"/>
                <a:gd name="connsiteX487" fmla="*/ 57001 w 198638"/>
                <a:gd name="connsiteY487" fmla="*/ 167115 h 224547"/>
                <a:gd name="connsiteX488" fmla="*/ 58296 w 198638"/>
                <a:gd name="connsiteY488" fmla="*/ 167979 h 224547"/>
                <a:gd name="connsiteX489" fmla="*/ 57432 w 198638"/>
                <a:gd name="connsiteY489" fmla="*/ 168411 h 224547"/>
                <a:gd name="connsiteX490" fmla="*/ 57001 w 198638"/>
                <a:gd name="connsiteY490" fmla="*/ 168411 h 224547"/>
                <a:gd name="connsiteX491" fmla="*/ 56569 w 198638"/>
                <a:gd name="connsiteY491" fmla="*/ 167115 h 224547"/>
                <a:gd name="connsiteX492" fmla="*/ 57001 w 198638"/>
                <a:gd name="connsiteY492" fmla="*/ 167115 h 224547"/>
                <a:gd name="connsiteX493" fmla="*/ 58728 w 198638"/>
                <a:gd name="connsiteY493" fmla="*/ 152433 h 224547"/>
                <a:gd name="connsiteX494" fmla="*/ 58296 w 198638"/>
                <a:gd name="connsiteY494" fmla="*/ 151138 h 224547"/>
                <a:gd name="connsiteX495" fmla="*/ 57864 w 198638"/>
                <a:gd name="connsiteY495" fmla="*/ 152433 h 224547"/>
                <a:gd name="connsiteX496" fmla="*/ 58728 w 198638"/>
                <a:gd name="connsiteY496" fmla="*/ 152433 h 224547"/>
                <a:gd name="connsiteX497" fmla="*/ 58728 w 198638"/>
                <a:gd name="connsiteY497" fmla="*/ 162365 h 224547"/>
                <a:gd name="connsiteX498" fmla="*/ 59160 w 198638"/>
                <a:gd name="connsiteY498" fmla="*/ 161501 h 224547"/>
                <a:gd name="connsiteX499" fmla="*/ 61319 w 198638"/>
                <a:gd name="connsiteY499" fmla="*/ 158047 h 224547"/>
                <a:gd name="connsiteX500" fmla="*/ 61751 w 198638"/>
                <a:gd name="connsiteY500" fmla="*/ 158047 h 224547"/>
                <a:gd name="connsiteX501" fmla="*/ 62182 w 198638"/>
                <a:gd name="connsiteY501" fmla="*/ 158047 h 224547"/>
                <a:gd name="connsiteX502" fmla="*/ 62614 w 198638"/>
                <a:gd name="connsiteY502" fmla="*/ 158479 h 224547"/>
                <a:gd name="connsiteX503" fmla="*/ 62182 w 198638"/>
                <a:gd name="connsiteY503" fmla="*/ 161070 h 224547"/>
                <a:gd name="connsiteX504" fmla="*/ 61751 w 198638"/>
                <a:gd name="connsiteY504" fmla="*/ 161933 h 224547"/>
                <a:gd name="connsiteX505" fmla="*/ 60455 w 198638"/>
                <a:gd name="connsiteY505" fmla="*/ 165388 h 224547"/>
                <a:gd name="connsiteX506" fmla="*/ 60023 w 198638"/>
                <a:gd name="connsiteY506" fmla="*/ 165820 h 224547"/>
                <a:gd name="connsiteX507" fmla="*/ 59160 w 198638"/>
                <a:gd name="connsiteY507" fmla="*/ 166252 h 224547"/>
                <a:gd name="connsiteX508" fmla="*/ 58728 w 198638"/>
                <a:gd name="connsiteY508" fmla="*/ 165388 h 224547"/>
                <a:gd name="connsiteX509" fmla="*/ 58728 w 198638"/>
                <a:gd name="connsiteY509" fmla="*/ 162365 h 224547"/>
                <a:gd name="connsiteX510" fmla="*/ 63478 w 198638"/>
                <a:gd name="connsiteY510" fmla="*/ 139910 h 224547"/>
                <a:gd name="connsiteX511" fmla="*/ 64342 w 198638"/>
                <a:gd name="connsiteY511" fmla="*/ 139910 h 224547"/>
                <a:gd name="connsiteX512" fmla="*/ 64773 w 198638"/>
                <a:gd name="connsiteY512" fmla="*/ 139910 h 224547"/>
                <a:gd name="connsiteX513" fmla="*/ 64773 w 198638"/>
                <a:gd name="connsiteY513" fmla="*/ 141206 h 224547"/>
                <a:gd name="connsiteX514" fmla="*/ 63910 w 198638"/>
                <a:gd name="connsiteY514" fmla="*/ 142501 h 224547"/>
                <a:gd name="connsiteX515" fmla="*/ 64773 w 198638"/>
                <a:gd name="connsiteY515" fmla="*/ 143797 h 224547"/>
                <a:gd name="connsiteX516" fmla="*/ 65205 w 198638"/>
                <a:gd name="connsiteY516" fmla="*/ 143365 h 224547"/>
                <a:gd name="connsiteX517" fmla="*/ 66069 w 198638"/>
                <a:gd name="connsiteY517" fmla="*/ 142069 h 224547"/>
                <a:gd name="connsiteX518" fmla="*/ 66501 w 198638"/>
                <a:gd name="connsiteY518" fmla="*/ 139910 h 224547"/>
                <a:gd name="connsiteX519" fmla="*/ 66069 w 198638"/>
                <a:gd name="connsiteY519" fmla="*/ 139478 h 224547"/>
                <a:gd name="connsiteX520" fmla="*/ 63910 w 198638"/>
                <a:gd name="connsiteY520" fmla="*/ 138183 h 224547"/>
                <a:gd name="connsiteX521" fmla="*/ 63046 w 198638"/>
                <a:gd name="connsiteY521" fmla="*/ 139047 h 224547"/>
                <a:gd name="connsiteX522" fmla="*/ 63046 w 198638"/>
                <a:gd name="connsiteY522" fmla="*/ 139910 h 224547"/>
                <a:gd name="connsiteX523" fmla="*/ 63478 w 198638"/>
                <a:gd name="connsiteY523" fmla="*/ 139910 h 224547"/>
                <a:gd name="connsiteX524" fmla="*/ 68660 w 198638"/>
                <a:gd name="connsiteY524" fmla="*/ 144229 h 224547"/>
                <a:gd name="connsiteX525" fmla="*/ 69955 w 198638"/>
                <a:gd name="connsiteY525" fmla="*/ 142933 h 224547"/>
                <a:gd name="connsiteX526" fmla="*/ 70387 w 198638"/>
                <a:gd name="connsiteY526" fmla="*/ 142933 h 224547"/>
                <a:gd name="connsiteX527" fmla="*/ 69955 w 198638"/>
                <a:gd name="connsiteY527" fmla="*/ 142501 h 224547"/>
                <a:gd name="connsiteX528" fmla="*/ 69523 w 198638"/>
                <a:gd name="connsiteY528" fmla="*/ 142501 h 224547"/>
                <a:gd name="connsiteX529" fmla="*/ 68660 w 198638"/>
                <a:gd name="connsiteY529" fmla="*/ 142069 h 224547"/>
                <a:gd name="connsiteX530" fmla="*/ 68228 w 198638"/>
                <a:gd name="connsiteY530" fmla="*/ 141206 h 224547"/>
                <a:gd name="connsiteX531" fmla="*/ 67796 w 198638"/>
                <a:gd name="connsiteY531" fmla="*/ 140774 h 224547"/>
                <a:gd name="connsiteX532" fmla="*/ 67796 w 198638"/>
                <a:gd name="connsiteY532" fmla="*/ 141206 h 224547"/>
                <a:gd name="connsiteX533" fmla="*/ 68228 w 198638"/>
                <a:gd name="connsiteY533" fmla="*/ 144229 h 224547"/>
                <a:gd name="connsiteX534" fmla="*/ 68660 w 198638"/>
                <a:gd name="connsiteY534" fmla="*/ 144229 h 224547"/>
                <a:gd name="connsiteX535" fmla="*/ 72546 w 198638"/>
                <a:gd name="connsiteY535" fmla="*/ 137319 h 224547"/>
                <a:gd name="connsiteX536" fmla="*/ 73410 w 198638"/>
                <a:gd name="connsiteY536" fmla="*/ 137751 h 224547"/>
                <a:gd name="connsiteX537" fmla="*/ 73842 w 198638"/>
                <a:gd name="connsiteY537" fmla="*/ 137751 h 224547"/>
                <a:gd name="connsiteX538" fmla="*/ 74705 w 198638"/>
                <a:gd name="connsiteY538" fmla="*/ 136888 h 224547"/>
                <a:gd name="connsiteX539" fmla="*/ 74273 w 198638"/>
                <a:gd name="connsiteY539" fmla="*/ 136024 h 224547"/>
                <a:gd name="connsiteX540" fmla="*/ 73410 w 198638"/>
                <a:gd name="connsiteY540" fmla="*/ 135592 h 224547"/>
                <a:gd name="connsiteX541" fmla="*/ 72978 w 198638"/>
                <a:gd name="connsiteY541" fmla="*/ 135592 h 224547"/>
                <a:gd name="connsiteX542" fmla="*/ 72546 w 198638"/>
                <a:gd name="connsiteY542" fmla="*/ 136024 h 224547"/>
                <a:gd name="connsiteX543" fmla="*/ 72546 w 198638"/>
                <a:gd name="connsiteY543" fmla="*/ 137319 h 224547"/>
                <a:gd name="connsiteX544" fmla="*/ 75569 w 198638"/>
                <a:gd name="connsiteY544" fmla="*/ 127388 h 224547"/>
                <a:gd name="connsiteX545" fmla="*/ 75569 w 198638"/>
                <a:gd name="connsiteY545" fmla="*/ 126956 h 224547"/>
                <a:gd name="connsiteX546" fmla="*/ 74705 w 198638"/>
                <a:gd name="connsiteY546" fmla="*/ 126956 h 224547"/>
                <a:gd name="connsiteX547" fmla="*/ 74273 w 198638"/>
                <a:gd name="connsiteY547" fmla="*/ 127819 h 224547"/>
                <a:gd name="connsiteX548" fmla="*/ 74705 w 198638"/>
                <a:gd name="connsiteY548" fmla="*/ 128251 h 224547"/>
                <a:gd name="connsiteX549" fmla="*/ 75569 w 198638"/>
                <a:gd name="connsiteY549" fmla="*/ 127388 h 224547"/>
                <a:gd name="connsiteX550" fmla="*/ 77728 w 198638"/>
                <a:gd name="connsiteY550" fmla="*/ 129547 h 224547"/>
                <a:gd name="connsiteX551" fmla="*/ 76864 w 198638"/>
                <a:gd name="connsiteY551" fmla="*/ 129547 h 224547"/>
                <a:gd name="connsiteX552" fmla="*/ 75569 w 198638"/>
                <a:gd name="connsiteY552" fmla="*/ 131706 h 224547"/>
                <a:gd name="connsiteX553" fmla="*/ 75569 w 198638"/>
                <a:gd name="connsiteY553" fmla="*/ 132138 h 224547"/>
                <a:gd name="connsiteX554" fmla="*/ 76433 w 198638"/>
                <a:gd name="connsiteY554" fmla="*/ 133865 h 224547"/>
                <a:gd name="connsiteX555" fmla="*/ 76864 w 198638"/>
                <a:gd name="connsiteY555" fmla="*/ 133865 h 224547"/>
                <a:gd name="connsiteX556" fmla="*/ 77296 w 198638"/>
                <a:gd name="connsiteY556" fmla="*/ 133865 h 224547"/>
                <a:gd name="connsiteX557" fmla="*/ 77728 w 198638"/>
                <a:gd name="connsiteY557" fmla="*/ 133433 h 224547"/>
                <a:gd name="connsiteX558" fmla="*/ 77728 w 198638"/>
                <a:gd name="connsiteY558" fmla="*/ 133001 h 224547"/>
                <a:gd name="connsiteX559" fmla="*/ 77728 w 198638"/>
                <a:gd name="connsiteY559" fmla="*/ 132138 h 224547"/>
                <a:gd name="connsiteX560" fmla="*/ 77728 w 198638"/>
                <a:gd name="connsiteY560" fmla="*/ 131274 h 224547"/>
                <a:gd name="connsiteX561" fmla="*/ 78160 w 198638"/>
                <a:gd name="connsiteY561" fmla="*/ 129978 h 224547"/>
                <a:gd name="connsiteX562" fmla="*/ 77728 w 198638"/>
                <a:gd name="connsiteY562" fmla="*/ 129547 h 224547"/>
                <a:gd name="connsiteX563" fmla="*/ 82910 w 198638"/>
                <a:gd name="connsiteY563" fmla="*/ 124365 h 224547"/>
                <a:gd name="connsiteX564" fmla="*/ 82478 w 198638"/>
                <a:gd name="connsiteY564" fmla="*/ 123933 h 224547"/>
                <a:gd name="connsiteX565" fmla="*/ 80751 w 198638"/>
                <a:gd name="connsiteY565" fmla="*/ 123069 h 224547"/>
                <a:gd name="connsiteX566" fmla="*/ 80319 w 198638"/>
                <a:gd name="connsiteY566" fmla="*/ 123501 h 224547"/>
                <a:gd name="connsiteX567" fmla="*/ 80751 w 198638"/>
                <a:gd name="connsiteY567" fmla="*/ 124365 h 224547"/>
                <a:gd name="connsiteX568" fmla="*/ 82478 w 198638"/>
                <a:gd name="connsiteY568" fmla="*/ 124797 h 224547"/>
                <a:gd name="connsiteX569" fmla="*/ 82910 w 198638"/>
                <a:gd name="connsiteY569" fmla="*/ 124365 h 224547"/>
                <a:gd name="connsiteX570" fmla="*/ 82046 w 198638"/>
                <a:gd name="connsiteY570" fmla="*/ 117024 h 224547"/>
                <a:gd name="connsiteX571" fmla="*/ 82478 w 198638"/>
                <a:gd name="connsiteY571" fmla="*/ 117024 h 224547"/>
                <a:gd name="connsiteX572" fmla="*/ 83774 w 198638"/>
                <a:gd name="connsiteY572" fmla="*/ 114865 h 224547"/>
                <a:gd name="connsiteX573" fmla="*/ 83774 w 198638"/>
                <a:gd name="connsiteY573" fmla="*/ 114433 h 224547"/>
                <a:gd name="connsiteX574" fmla="*/ 83342 w 198638"/>
                <a:gd name="connsiteY574" fmla="*/ 114433 h 224547"/>
                <a:gd name="connsiteX575" fmla="*/ 82046 w 198638"/>
                <a:gd name="connsiteY575" fmla="*/ 115728 h 224547"/>
                <a:gd name="connsiteX576" fmla="*/ 82046 w 198638"/>
                <a:gd name="connsiteY576" fmla="*/ 116160 h 224547"/>
                <a:gd name="connsiteX577" fmla="*/ 82046 w 198638"/>
                <a:gd name="connsiteY577" fmla="*/ 117024 h 224547"/>
                <a:gd name="connsiteX578" fmla="*/ 82910 w 198638"/>
                <a:gd name="connsiteY578" fmla="*/ 121774 h 224547"/>
                <a:gd name="connsiteX579" fmla="*/ 83774 w 198638"/>
                <a:gd name="connsiteY579" fmla="*/ 122637 h 224547"/>
                <a:gd name="connsiteX580" fmla="*/ 83774 w 198638"/>
                <a:gd name="connsiteY580" fmla="*/ 122206 h 224547"/>
                <a:gd name="connsiteX581" fmla="*/ 83342 w 198638"/>
                <a:gd name="connsiteY581" fmla="*/ 121342 h 224547"/>
                <a:gd name="connsiteX582" fmla="*/ 82910 w 198638"/>
                <a:gd name="connsiteY582" fmla="*/ 121774 h 224547"/>
                <a:gd name="connsiteX583" fmla="*/ 84637 w 198638"/>
                <a:gd name="connsiteY583" fmla="*/ 117887 h 224547"/>
                <a:gd name="connsiteX584" fmla="*/ 85069 w 198638"/>
                <a:gd name="connsiteY584" fmla="*/ 117456 h 224547"/>
                <a:gd name="connsiteX585" fmla="*/ 84205 w 198638"/>
                <a:gd name="connsiteY585" fmla="*/ 117024 h 224547"/>
                <a:gd name="connsiteX586" fmla="*/ 84637 w 198638"/>
                <a:gd name="connsiteY586" fmla="*/ 117887 h 224547"/>
                <a:gd name="connsiteX587" fmla="*/ 88955 w 198638"/>
                <a:gd name="connsiteY587" fmla="*/ 113569 h 224547"/>
                <a:gd name="connsiteX588" fmla="*/ 88524 w 198638"/>
                <a:gd name="connsiteY588" fmla="*/ 113569 h 224547"/>
                <a:gd name="connsiteX589" fmla="*/ 88092 w 198638"/>
                <a:gd name="connsiteY589" fmla="*/ 113569 h 224547"/>
                <a:gd name="connsiteX590" fmla="*/ 87228 w 198638"/>
                <a:gd name="connsiteY590" fmla="*/ 116592 h 224547"/>
                <a:gd name="connsiteX591" fmla="*/ 87660 w 198638"/>
                <a:gd name="connsiteY591" fmla="*/ 117024 h 224547"/>
                <a:gd name="connsiteX592" fmla="*/ 88524 w 198638"/>
                <a:gd name="connsiteY592" fmla="*/ 117024 h 224547"/>
                <a:gd name="connsiteX593" fmla="*/ 88955 w 198638"/>
                <a:gd name="connsiteY593" fmla="*/ 114865 h 224547"/>
                <a:gd name="connsiteX594" fmla="*/ 88955 w 198638"/>
                <a:gd name="connsiteY594" fmla="*/ 113569 h 224547"/>
                <a:gd name="connsiteX595" fmla="*/ 191297 w 198638"/>
                <a:gd name="connsiteY595" fmla="*/ 117456 h 224547"/>
                <a:gd name="connsiteX596" fmla="*/ 191729 w 198638"/>
                <a:gd name="connsiteY596" fmla="*/ 113569 h 224547"/>
                <a:gd name="connsiteX597" fmla="*/ 178343 w 198638"/>
                <a:gd name="connsiteY597" fmla="*/ 133001 h 224547"/>
                <a:gd name="connsiteX598" fmla="*/ 164524 w 198638"/>
                <a:gd name="connsiteY598" fmla="*/ 148547 h 224547"/>
                <a:gd name="connsiteX599" fmla="*/ 164524 w 198638"/>
                <a:gd name="connsiteY599" fmla="*/ 148979 h 224547"/>
                <a:gd name="connsiteX600" fmla="*/ 164956 w 198638"/>
                <a:gd name="connsiteY600" fmla="*/ 151138 h 224547"/>
                <a:gd name="connsiteX601" fmla="*/ 165388 w 198638"/>
                <a:gd name="connsiteY601" fmla="*/ 151138 h 224547"/>
                <a:gd name="connsiteX602" fmla="*/ 164956 w 198638"/>
                <a:gd name="connsiteY602" fmla="*/ 152433 h 224547"/>
                <a:gd name="connsiteX603" fmla="*/ 164956 w 198638"/>
                <a:gd name="connsiteY603" fmla="*/ 152865 h 224547"/>
                <a:gd name="connsiteX604" fmla="*/ 182661 w 198638"/>
                <a:gd name="connsiteY604" fmla="*/ 130410 h 224547"/>
                <a:gd name="connsiteX605" fmla="*/ 191297 w 198638"/>
                <a:gd name="connsiteY605" fmla="*/ 119183 h 224547"/>
                <a:gd name="connsiteX606" fmla="*/ 191297 w 198638"/>
                <a:gd name="connsiteY606" fmla="*/ 117456 h 224547"/>
                <a:gd name="connsiteX607" fmla="*/ 176184 w 198638"/>
                <a:gd name="connsiteY607" fmla="*/ 174024 h 224547"/>
                <a:gd name="connsiteX608" fmla="*/ 175752 w 198638"/>
                <a:gd name="connsiteY608" fmla="*/ 174456 h 224547"/>
                <a:gd name="connsiteX609" fmla="*/ 175320 w 198638"/>
                <a:gd name="connsiteY609" fmla="*/ 174456 h 224547"/>
                <a:gd name="connsiteX610" fmla="*/ 174888 w 198638"/>
                <a:gd name="connsiteY610" fmla="*/ 174024 h 224547"/>
                <a:gd name="connsiteX611" fmla="*/ 174888 w 198638"/>
                <a:gd name="connsiteY611" fmla="*/ 173593 h 224547"/>
                <a:gd name="connsiteX612" fmla="*/ 174888 w 198638"/>
                <a:gd name="connsiteY612" fmla="*/ 173161 h 224547"/>
                <a:gd name="connsiteX613" fmla="*/ 175320 w 198638"/>
                <a:gd name="connsiteY613" fmla="*/ 173593 h 224547"/>
                <a:gd name="connsiteX614" fmla="*/ 176184 w 198638"/>
                <a:gd name="connsiteY614" fmla="*/ 174024 h 224547"/>
                <a:gd name="connsiteX615" fmla="*/ 177047 w 198638"/>
                <a:gd name="connsiteY615" fmla="*/ 170138 h 224547"/>
                <a:gd name="connsiteX616" fmla="*/ 176615 w 198638"/>
                <a:gd name="connsiteY616" fmla="*/ 171002 h 224547"/>
                <a:gd name="connsiteX617" fmla="*/ 176184 w 198638"/>
                <a:gd name="connsiteY617" fmla="*/ 171002 h 224547"/>
                <a:gd name="connsiteX618" fmla="*/ 176615 w 198638"/>
                <a:gd name="connsiteY618" fmla="*/ 169274 h 224547"/>
                <a:gd name="connsiteX619" fmla="*/ 177047 w 198638"/>
                <a:gd name="connsiteY619" fmla="*/ 169274 h 224547"/>
                <a:gd name="connsiteX620" fmla="*/ 177047 w 198638"/>
                <a:gd name="connsiteY620" fmla="*/ 170138 h 224547"/>
                <a:gd name="connsiteX621" fmla="*/ 192593 w 198638"/>
                <a:gd name="connsiteY621" fmla="*/ 113569 h 224547"/>
                <a:gd name="connsiteX622" fmla="*/ 192593 w 198638"/>
                <a:gd name="connsiteY622" fmla="*/ 114433 h 224547"/>
                <a:gd name="connsiteX623" fmla="*/ 193456 w 198638"/>
                <a:gd name="connsiteY623" fmla="*/ 116160 h 224547"/>
                <a:gd name="connsiteX624" fmla="*/ 193888 w 198638"/>
                <a:gd name="connsiteY624" fmla="*/ 116160 h 224547"/>
                <a:gd name="connsiteX625" fmla="*/ 194752 w 198638"/>
                <a:gd name="connsiteY625" fmla="*/ 117887 h 224547"/>
                <a:gd name="connsiteX626" fmla="*/ 195184 w 198638"/>
                <a:gd name="connsiteY626" fmla="*/ 117887 h 224547"/>
                <a:gd name="connsiteX627" fmla="*/ 196047 w 198638"/>
                <a:gd name="connsiteY627" fmla="*/ 117456 h 224547"/>
                <a:gd name="connsiteX628" fmla="*/ 196047 w 198638"/>
                <a:gd name="connsiteY628" fmla="*/ 117887 h 224547"/>
                <a:gd name="connsiteX629" fmla="*/ 196047 w 198638"/>
                <a:gd name="connsiteY629" fmla="*/ 118751 h 224547"/>
                <a:gd name="connsiteX630" fmla="*/ 196911 w 198638"/>
                <a:gd name="connsiteY630" fmla="*/ 119183 h 224547"/>
                <a:gd name="connsiteX631" fmla="*/ 197343 w 198638"/>
                <a:gd name="connsiteY631" fmla="*/ 119615 h 224547"/>
                <a:gd name="connsiteX632" fmla="*/ 197343 w 198638"/>
                <a:gd name="connsiteY632" fmla="*/ 119183 h 224547"/>
                <a:gd name="connsiteX633" fmla="*/ 196911 w 198638"/>
                <a:gd name="connsiteY633" fmla="*/ 115297 h 224547"/>
                <a:gd name="connsiteX634" fmla="*/ 196911 w 198638"/>
                <a:gd name="connsiteY634" fmla="*/ 114001 h 224547"/>
                <a:gd name="connsiteX635" fmla="*/ 195616 w 198638"/>
                <a:gd name="connsiteY635" fmla="*/ 110546 h 224547"/>
                <a:gd name="connsiteX636" fmla="*/ 195184 w 198638"/>
                <a:gd name="connsiteY636" fmla="*/ 110115 h 224547"/>
                <a:gd name="connsiteX637" fmla="*/ 194752 w 198638"/>
                <a:gd name="connsiteY637" fmla="*/ 110546 h 224547"/>
                <a:gd name="connsiteX638" fmla="*/ 192593 w 198638"/>
                <a:gd name="connsiteY638" fmla="*/ 113569 h 224547"/>
                <a:gd name="connsiteX639" fmla="*/ 195184 w 198638"/>
                <a:gd name="connsiteY639" fmla="*/ 113137 h 224547"/>
                <a:gd name="connsiteX640" fmla="*/ 194752 w 198638"/>
                <a:gd name="connsiteY640" fmla="*/ 113569 h 224547"/>
                <a:gd name="connsiteX641" fmla="*/ 194320 w 198638"/>
                <a:gd name="connsiteY641" fmla="*/ 113137 h 224547"/>
                <a:gd name="connsiteX642" fmla="*/ 194752 w 198638"/>
                <a:gd name="connsiteY642" fmla="*/ 112274 h 224547"/>
                <a:gd name="connsiteX643" fmla="*/ 195184 w 198638"/>
                <a:gd name="connsiteY643" fmla="*/ 113137 h 224547"/>
                <a:gd name="connsiteX644" fmla="*/ 196911 w 198638"/>
                <a:gd name="connsiteY644" fmla="*/ 128683 h 224547"/>
                <a:gd name="connsiteX645" fmla="*/ 196479 w 198638"/>
                <a:gd name="connsiteY645" fmla="*/ 130410 h 224547"/>
                <a:gd name="connsiteX646" fmla="*/ 196479 w 198638"/>
                <a:gd name="connsiteY646" fmla="*/ 131706 h 224547"/>
                <a:gd name="connsiteX647" fmla="*/ 195184 w 198638"/>
                <a:gd name="connsiteY647" fmla="*/ 133433 h 224547"/>
                <a:gd name="connsiteX648" fmla="*/ 194320 w 198638"/>
                <a:gd name="connsiteY648" fmla="*/ 133865 h 224547"/>
                <a:gd name="connsiteX649" fmla="*/ 194320 w 198638"/>
                <a:gd name="connsiteY649" fmla="*/ 130410 h 224547"/>
                <a:gd name="connsiteX650" fmla="*/ 196911 w 198638"/>
                <a:gd name="connsiteY650" fmla="*/ 128251 h 224547"/>
                <a:gd name="connsiteX651" fmla="*/ 196911 w 198638"/>
                <a:gd name="connsiteY651" fmla="*/ 128683 h 224547"/>
                <a:gd name="connsiteX652" fmla="*/ 194752 w 198638"/>
                <a:gd name="connsiteY652" fmla="*/ 128251 h 224547"/>
                <a:gd name="connsiteX653" fmla="*/ 194752 w 198638"/>
                <a:gd name="connsiteY653" fmla="*/ 129115 h 224547"/>
                <a:gd name="connsiteX654" fmla="*/ 194752 w 198638"/>
                <a:gd name="connsiteY654" fmla="*/ 127819 h 224547"/>
                <a:gd name="connsiteX655" fmla="*/ 194752 w 198638"/>
                <a:gd name="connsiteY655" fmla="*/ 128251 h 224547"/>
                <a:gd name="connsiteX656" fmla="*/ 195184 w 198638"/>
                <a:gd name="connsiteY656" fmla="*/ 100183 h 224547"/>
                <a:gd name="connsiteX657" fmla="*/ 195184 w 198638"/>
                <a:gd name="connsiteY657" fmla="*/ 99751 h 224547"/>
                <a:gd name="connsiteX658" fmla="*/ 195616 w 198638"/>
                <a:gd name="connsiteY658" fmla="*/ 100183 h 224547"/>
                <a:gd name="connsiteX659" fmla="*/ 195184 w 198638"/>
                <a:gd name="connsiteY659" fmla="*/ 100183 h 224547"/>
                <a:gd name="connsiteX660" fmla="*/ 198206 w 198638"/>
                <a:gd name="connsiteY660" fmla="*/ 105796 h 224547"/>
                <a:gd name="connsiteX661" fmla="*/ 196911 w 198638"/>
                <a:gd name="connsiteY661" fmla="*/ 106660 h 224547"/>
                <a:gd name="connsiteX662" fmla="*/ 196479 w 198638"/>
                <a:gd name="connsiteY662" fmla="*/ 106660 h 224547"/>
                <a:gd name="connsiteX663" fmla="*/ 196479 w 198638"/>
                <a:gd name="connsiteY663" fmla="*/ 105365 h 224547"/>
                <a:gd name="connsiteX664" fmla="*/ 197343 w 198638"/>
                <a:gd name="connsiteY664" fmla="*/ 105365 h 224547"/>
                <a:gd name="connsiteX665" fmla="*/ 197343 w 198638"/>
                <a:gd name="connsiteY665" fmla="*/ 105796 h 224547"/>
                <a:gd name="connsiteX666" fmla="*/ 198206 w 198638"/>
                <a:gd name="connsiteY666" fmla="*/ 105796 h 224547"/>
                <a:gd name="connsiteX667" fmla="*/ 197343 w 198638"/>
                <a:gd name="connsiteY667" fmla="*/ 123069 h 224547"/>
                <a:gd name="connsiteX668" fmla="*/ 197343 w 198638"/>
                <a:gd name="connsiteY668" fmla="*/ 122637 h 224547"/>
                <a:gd name="connsiteX669" fmla="*/ 196911 w 198638"/>
                <a:gd name="connsiteY669" fmla="*/ 122637 h 224547"/>
                <a:gd name="connsiteX670" fmla="*/ 196479 w 198638"/>
                <a:gd name="connsiteY670" fmla="*/ 123069 h 224547"/>
                <a:gd name="connsiteX671" fmla="*/ 197343 w 198638"/>
                <a:gd name="connsiteY671" fmla="*/ 123069 h 224547"/>
                <a:gd name="connsiteX672" fmla="*/ 197343 w 198638"/>
                <a:gd name="connsiteY672" fmla="*/ 96728 h 224547"/>
                <a:gd name="connsiteX673" fmla="*/ 197775 w 198638"/>
                <a:gd name="connsiteY673" fmla="*/ 95865 h 224547"/>
                <a:gd name="connsiteX674" fmla="*/ 198638 w 198638"/>
                <a:gd name="connsiteY674" fmla="*/ 93274 h 224547"/>
                <a:gd name="connsiteX675" fmla="*/ 199934 w 198638"/>
                <a:gd name="connsiteY675" fmla="*/ 90683 h 224547"/>
                <a:gd name="connsiteX676" fmla="*/ 200797 w 198638"/>
                <a:gd name="connsiteY676" fmla="*/ 89387 h 224547"/>
                <a:gd name="connsiteX677" fmla="*/ 200366 w 198638"/>
                <a:gd name="connsiteY677" fmla="*/ 90683 h 224547"/>
                <a:gd name="connsiteX678" fmla="*/ 200366 w 198638"/>
                <a:gd name="connsiteY678" fmla="*/ 91978 h 224547"/>
                <a:gd name="connsiteX679" fmla="*/ 198638 w 198638"/>
                <a:gd name="connsiteY679" fmla="*/ 95865 h 224547"/>
                <a:gd name="connsiteX680" fmla="*/ 197343 w 198638"/>
                <a:gd name="connsiteY680" fmla="*/ 97592 h 224547"/>
                <a:gd name="connsiteX681" fmla="*/ 197343 w 198638"/>
                <a:gd name="connsiteY681" fmla="*/ 96728 h 224547"/>
                <a:gd name="connsiteX682" fmla="*/ 202956 w 198638"/>
                <a:gd name="connsiteY682" fmla="*/ 87660 h 224547"/>
                <a:gd name="connsiteX683" fmla="*/ 200797 w 198638"/>
                <a:gd name="connsiteY683" fmla="*/ 88955 h 224547"/>
                <a:gd name="connsiteX684" fmla="*/ 200797 w 198638"/>
                <a:gd name="connsiteY684" fmla="*/ 88524 h 224547"/>
                <a:gd name="connsiteX685" fmla="*/ 202093 w 198638"/>
                <a:gd name="connsiteY685" fmla="*/ 86796 h 224547"/>
                <a:gd name="connsiteX686" fmla="*/ 202956 w 198638"/>
                <a:gd name="connsiteY686" fmla="*/ 87660 h 224547"/>
                <a:gd name="connsiteX687" fmla="*/ 202525 w 198638"/>
                <a:gd name="connsiteY687" fmla="*/ 85069 h 224547"/>
                <a:gd name="connsiteX688" fmla="*/ 205547 w 198638"/>
                <a:gd name="connsiteY688" fmla="*/ 79887 h 224547"/>
                <a:gd name="connsiteX689" fmla="*/ 205979 w 198638"/>
                <a:gd name="connsiteY689" fmla="*/ 79455 h 224547"/>
                <a:gd name="connsiteX690" fmla="*/ 205979 w 198638"/>
                <a:gd name="connsiteY690" fmla="*/ 79887 h 224547"/>
                <a:gd name="connsiteX691" fmla="*/ 205547 w 198638"/>
                <a:gd name="connsiteY691" fmla="*/ 80751 h 224547"/>
                <a:gd name="connsiteX692" fmla="*/ 203388 w 198638"/>
                <a:gd name="connsiteY692" fmla="*/ 85933 h 224547"/>
                <a:gd name="connsiteX693" fmla="*/ 203388 w 198638"/>
                <a:gd name="connsiteY693" fmla="*/ 86364 h 224547"/>
                <a:gd name="connsiteX694" fmla="*/ 202525 w 198638"/>
                <a:gd name="connsiteY694" fmla="*/ 85933 h 224547"/>
                <a:gd name="connsiteX695" fmla="*/ 202525 w 198638"/>
                <a:gd name="connsiteY695" fmla="*/ 85069 h 224547"/>
                <a:gd name="connsiteX696" fmla="*/ 202525 w 198638"/>
                <a:gd name="connsiteY696" fmla="*/ 104933 h 224547"/>
                <a:gd name="connsiteX697" fmla="*/ 202956 w 198638"/>
                <a:gd name="connsiteY697" fmla="*/ 104501 h 224547"/>
                <a:gd name="connsiteX698" fmla="*/ 203388 w 198638"/>
                <a:gd name="connsiteY698" fmla="*/ 104933 h 224547"/>
                <a:gd name="connsiteX699" fmla="*/ 202956 w 198638"/>
                <a:gd name="connsiteY699" fmla="*/ 105365 h 224547"/>
                <a:gd name="connsiteX700" fmla="*/ 202525 w 198638"/>
                <a:gd name="connsiteY700" fmla="*/ 104933 h 224547"/>
                <a:gd name="connsiteX701" fmla="*/ 202956 w 198638"/>
                <a:gd name="connsiteY701" fmla="*/ 103637 h 224547"/>
                <a:gd name="connsiteX702" fmla="*/ 202956 w 198638"/>
                <a:gd name="connsiteY702" fmla="*/ 102774 h 224547"/>
                <a:gd name="connsiteX703" fmla="*/ 203388 w 198638"/>
                <a:gd name="connsiteY703" fmla="*/ 101046 h 224547"/>
                <a:gd name="connsiteX704" fmla="*/ 203820 w 198638"/>
                <a:gd name="connsiteY704" fmla="*/ 101046 h 224547"/>
                <a:gd name="connsiteX705" fmla="*/ 203820 w 198638"/>
                <a:gd name="connsiteY705" fmla="*/ 101910 h 224547"/>
                <a:gd name="connsiteX706" fmla="*/ 203388 w 198638"/>
                <a:gd name="connsiteY706" fmla="*/ 103637 h 224547"/>
                <a:gd name="connsiteX707" fmla="*/ 202956 w 198638"/>
                <a:gd name="connsiteY707" fmla="*/ 103637 h 224547"/>
                <a:gd name="connsiteX708" fmla="*/ 205116 w 198638"/>
                <a:gd name="connsiteY708" fmla="*/ 91546 h 224547"/>
                <a:gd name="connsiteX709" fmla="*/ 205116 w 198638"/>
                <a:gd name="connsiteY709" fmla="*/ 91978 h 224547"/>
                <a:gd name="connsiteX710" fmla="*/ 204252 w 198638"/>
                <a:gd name="connsiteY710" fmla="*/ 94137 h 224547"/>
                <a:gd name="connsiteX711" fmla="*/ 203820 w 198638"/>
                <a:gd name="connsiteY711" fmla="*/ 92410 h 224547"/>
                <a:gd name="connsiteX712" fmla="*/ 204684 w 198638"/>
                <a:gd name="connsiteY712" fmla="*/ 88955 h 224547"/>
                <a:gd name="connsiteX713" fmla="*/ 205116 w 198638"/>
                <a:gd name="connsiteY713" fmla="*/ 88092 h 224547"/>
                <a:gd name="connsiteX714" fmla="*/ 205547 w 198638"/>
                <a:gd name="connsiteY714" fmla="*/ 87660 h 224547"/>
                <a:gd name="connsiteX715" fmla="*/ 205547 w 198638"/>
                <a:gd name="connsiteY715" fmla="*/ 88092 h 224547"/>
                <a:gd name="connsiteX716" fmla="*/ 205116 w 198638"/>
                <a:gd name="connsiteY716" fmla="*/ 90251 h 224547"/>
                <a:gd name="connsiteX717" fmla="*/ 205116 w 198638"/>
                <a:gd name="connsiteY717" fmla="*/ 91546 h 224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</a:cxnLst>
              <a:rect l="l" t="t" r="r" b="b"/>
              <a:pathLst>
                <a:path w="198638" h="224547">
                  <a:moveTo>
                    <a:pt x="195184" y="124797"/>
                  </a:moveTo>
                  <a:cubicBezTo>
                    <a:pt x="195184" y="124797"/>
                    <a:pt x="195184" y="124365"/>
                    <a:pt x="194752" y="124365"/>
                  </a:cubicBezTo>
                  <a:cubicBezTo>
                    <a:pt x="194752" y="123933"/>
                    <a:pt x="194320" y="123933"/>
                    <a:pt x="193888" y="123933"/>
                  </a:cubicBezTo>
                  <a:lnTo>
                    <a:pt x="193456" y="123933"/>
                  </a:lnTo>
                  <a:cubicBezTo>
                    <a:pt x="193025" y="126956"/>
                    <a:pt x="192593" y="129115"/>
                    <a:pt x="192161" y="129978"/>
                  </a:cubicBezTo>
                  <a:lnTo>
                    <a:pt x="192161" y="133433"/>
                  </a:lnTo>
                  <a:lnTo>
                    <a:pt x="192161" y="133865"/>
                  </a:lnTo>
                  <a:cubicBezTo>
                    <a:pt x="192161" y="134297"/>
                    <a:pt x="192161" y="134729"/>
                    <a:pt x="192161" y="135160"/>
                  </a:cubicBezTo>
                  <a:cubicBezTo>
                    <a:pt x="192593" y="136024"/>
                    <a:pt x="192593" y="136456"/>
                    <a:pt x="192593" y="137319"/>
                  </a:cubicBezTo>
                  <a:cubicBezTo>
                    <a:pt x="192593" y="138615"/>
                    <a:pt x="169706" y="169274"/>
                    <a:pt x="169274" y="169706"/>
                  </a:cubicBezTo>
                  <a:cubicBezTo>
                    <a:pt x="168411" y="170570"/>
                    <a:pt x="167979" y="170570"/>
                    <a:pt x="167547" y="171433"/>
                  </a:cubicBezTo>
                  <a:lnTo>
                    <a:pt x="167547" y="171865"/>
                  </a:lnTo>
                  <a:lnTo>
                    <a:pt x="167979" y="171865"/>
                  </a:lnTo>
                  <a:cubicBezTo>
                    <a:pt x="168842" y="171865"/>
                    <a:pt x="169274" y="172297"/>
                    <a:pt x="170138" y="172297"/>
                  </a:cubicBezTo>
                  <a:cubicBezTo>
                    <a:pt x="170570" y="172297"/>
                    <a:pt x="171002" y="171433"/>
                    <a:pt x="171433" y="171433"/>
                  </a:cubicBezTo>
                  <a:lnTo>
                    <a:pt x="171865" y="171433"/>
                  </a:lnTo>
                  <a:lnTo>
                    <a:pt x="171865" y="173161"/>
                  </a:lnTo>
                  <a:lnTo>
                    <a:pt x="171002" y="173161"/>
                  </a:lnTo>
                  <a:cubicBezTo>
                    <a:pt x="170138" y="173161"/>
                    <a:pt x="169706" y="173593"/>
                    <a:pt x="169706" y="174456"/>
                  </a:cubicBezTo>
                  <a:cubicBezTo>
                    <a:pt x="169274" y="175320"/>
                    <a:pt x="168842" y="176183"/>
                    <a:pt x="167979" y="176183"/>
                  </a:cubicBezTo>
                  <a:cubicBezTo>
                    <a:pt x="167115" y="176615"/>
                    <a:pt x="167115" y="177911"/>
                    <a:pt x="167115" y="178774"/>
                  </a:cubicBezTo>
                  <a:cubicBezTo>
                    <a:pt x="166683" y="178774"/>
                    <a:pt x="167979" y="180070"/>
                    <a:pt x="167979" y="180070"/>
                  </a:cubicBezTo>
                  <a:cubicBezTo>
                    <a:pt x="168411" y="180070"/>
                    <a:pt x="168411" y="180070"/>
                    <a:pt x="168411" y="179638"/>
                  </a:cubicBezTo>
                  <a:cubicBezTo>
                    <a:pt x="169274" y="179638"/>
                    <a:pt x="169706" y="179206"/>
                    <a:pt x="170138" y="178774"/>
                  </a:cubicBezTo>
                  <a:cubicBezTo>
                    <a:pt x="170570" y="177479"/>
                    <a:pt x="172297" y="177047"/>
                    <a:pt x="172729" y="175752"/>
                  </a:cubicBezTo>
                  <a:cubicBezTo>
                    <a:pt x="172729" y="175320"/>
                    <a:pt x="173161" y="175320"/>
                    <a:pt x="173593" y="175320"/>
                  </a:cubicBezTo>
                  <a:cubicBezTo>
                    <a:pt x="174024" y="175320"/>
                    <a:pt x="174456" y="175752"/>
                    <a:pt x="174456" y="176183"/>
                  </a:cubicBezTo>
                  <a:lnTo>
                    <a:pt x="174456" y="177047"/>
                  </a:lnTo>
                  <a:cubicBezTo>
                    <a:pt x="173593" y="178342"/>
                    <a:pt x="173161" y="179638"/>
                    <a:pt x="172297" y="180502"/>
                  </a:cubicBezTo>
                  <a:lnTo>
                    <a:pt x="171433" y="182661"/>
                  </a:lnTo>
                  <a:cubicBezTo>
                    <a:pt x="171433" y="183093"/>
                    <a:pt x="171433" y="183524"/>
                    <a:pt x="171002" y="183524"/>
                  </a:cubicBezTo>
                  <a:cubicBezTo>
                    <a:pt x="171002" y="183524"/>
                    <a:pt x="171002" y="183524"/>
                    <a:pt x="170570" y="183524"/>
                  </a:cubicBezTo>
                  <a:cubicBezTo>
                    <a:pt x="169706" y="183524"/>
                    <a:pt x="169706" y="184388"/>
                    <a:pt x="169706" y="184820"/>
                  </a:cubicBezTo>
                  <a:cubicBezTo>
                    <a:pt x="169706" y="185684"/>
                    <a:pt x="168842" y="186547"/>
                    <a:pt x="168411" y="186547"/>
                  </a:cubicBezTo>
                  <a:lnTo>
                    <a:pt x="164524" y="190865"/>
                  </a:lnTo>
                  <a:cubicBezTo>
                    <a:pt x="164092" y="191729"/>
                    <a:pt x="164092" y="192593"/>
                    <a:pt x="163229" y="193025"/>
                  </a:cubicBezTo>
                  <a:lnTo>
                    <a:pt x="160206" y="195615"/>
                  </a:lnTo>
                  <a:cubicBezTo>
                    <a:pt x="160206" y="196047"/>
                    <a:pt x="159774" y="196479"/>
                    <a:pt x="159342" y="196479"/>
                  </a:cubicBezTo>
                  <a:cubicBezTo>
                    <a:pt x="158479" y="196479"/>
                    <a:pt x="157615" y="196911"/>
                    <a:pt x="156320" y="197343"/>
                  </a:cubicBezTo>
                  <a:cubicBezTo>
                    <a:pt x="156320" y="197774"/>
                    <a:pt x="156320" y="197774"/>
                    <a:pt x="155888" y="197774"/>
                  </a:cubicBezTo>
                  <a:cubicBezTo>
                    <a:pt x="155456" y="197774"/>
                    <a:pt x="155024" y="197774"/>
                    <a:pt x="154592" y="197343"/>
                  </a:cubicBezTo>
                  <a:cubicBezTo>
                    <a:pt x="153729" y="197343"/>
                    <a:pt x="153729" y="197343"/>
                    <a:pt x="153297" y="197343"/>
                  </a:cubicBezTo>
                  <a:cubicBezTo>
                    <a:pt x="152865" y="197343"/>
                    <a:pt x="152433" y="197343"/>
                    <a:pt x="152001" y="198206"/>
                  </a:cubicBezTo>
                  <a:cubicBezTo>
                    <a:pt x="151570" y="198638"/>
                    <a:pt x="151570" y="198638"/>
                    <a:pt x="151138" y="198638"/>
                  </a:cubicBezTo>
                  <a:cubicBezTo>
                    <a:pt x="149842" y="198206"/>
                    <a:pt x="148979" y="198206"/>
                    <a:pt x="147683" y="198206"/>
                  </a:cubicBezTo>
                  <a:lnTo>
                    <a:pt x="146820" y="198206"/>
                  </a:lnTo>
                  <a:cubicBezTo>
                    <a:pt x="145956" y="197774"/>
                    <a:pt x="145092" y="197774"/>
                    <a:pt x="143797" y="197774"/>
                  </a:cubicBezTo>
                  <a:cubicBezTo>
                    <a:pt x="143365" y="197774"/>
                    <a:pt x="142501" y="197343"/>
                    <a:pt x="142501" y="197343"/>
                  </a:cubicBezTo>
                  <a:cubicBezTo>
                    <a:pt x="141638" y="196047"/>
                    <a:pt x="140342" y="196047"/>
                    <a:pt x="139479" y="195184"/>
                  </a:cubicBezTo>
                  <a:cubicBezTo>
                    <a:pt x="139047" y="194752"/>
                    <a:pt x="138615" y="194320"/>
                    <a:pt x="138183" y="194320"/>
                  </a:cubicBezTo>
                  <a:cubicBezTo>
                    <a:pt x="136024" y="193888"/>
                    <a:pt x="134297" y="193456"/>
                    <a:pt x="133001" y="192161"/>
                  </a:cubicBezTo>
                  <a:cubicBezTo>
                    <a:pt x="132569" y="192161"/>
                    <a:pt x="131706" y="191729"/>
                    <a:pt x="131706" y="191297"/>
                  </a:cubicBezTo>
                  <a:cubicBezTo>
                    <a:pt x="130410" y="190434"/>
                    <a:pt x="129547" y="189570"/>
                    <a:pt x="128251" y="189138"/>
                  </a:cubicBezTo>
                  <a:cubicBezTo>
                    <a:pt x="127388" y="189138"/>
                    <a:pt x="126956" y="188706"/>
                    <a:pt x="126524" y="188274"/>
                  </a:cubicBezTo>
                  <a:cubicBezTo>
                    <a:pt x="126092" y="187843"/>
                    <a:pt x="125660" y="187411"/>
                    <a:pt x="125228" y="187411"/>
                  </a:cubicBezTo>
                  <a:cubicBezTo>
                    <a:pt x="122638" y="186115"/>
                    <a:pt x="124365" y="183956"/>
                    <a:pt x="123069" y="181365"/>
                  </a:cubicBezTo>
                  <a:cubicBezTo>
                    <a:pt x="122638" y="180502"/>
                    <a:pt x="122206" y="179206"/>
                    <a:pt x="121342" y="178342"/>
                  </a:cubicBezTo>
                  <a:cubicBezTo>
                    <a:pt x="120910" y="178342"/>
                    <a:pt x="120478" y="177479"/>
                    <a:pt x="120478" y="177047"/>
                  </a:cubicBezTo>
                  <a:lnTo>
                    <a:pt x="116592" y="171002"/>
                  </a:lnTo>
                  <a:cubicBezTo>
                    <a:pt x="116160" y="170138"/>
                    <a:pt x="116160" y="169274"/>
                    <a:pt x="115728" y="168842"/>
                  </a:cubicBezTo>
                  <a:cubicBezTo>
                    <a:pt x="114865" y="164524"/>
                    <a:pt x="113569" y="160638"/>
                    <a:pt x="113569" y="156751"/>
                  </a:cubicBezTo>
                  <a:cubicBezTo>
                    <a:pt x="113137" y="155024"/>
                    <a:pt x="112706" y="153297"/>
                    <a:pt x="112706" y="151570"/>
                  </a:cubicBezTo>
                  <a:cubicBezTo>
                    <a:pt x="112274" y="151570"/>
                    <a:pt x="112274" y="151138"/>
                    <a:pt x="112274" y="151138"/>
                  </a:cubicBezTo>
                  <a:cubicBezTo>
                    <a:pt x="111842" y="148547"/>
                    <a:pt x="111410" y="145524"/>
                    <a:pt x="111410" y="142933"/>
                  </a:cubicBezTo>
                  <a:lnTo>
                    <a:pt x="111410" y="140774"/>
                  </a:lnTo>
                  <a:cubicBezTo>
                    <a:pt x="110978" y="139910"/>
                    <a:pt x="110978" y="139478"/>
                    <a:pt x="110978" y="138615"/>
                  </a:cubicBezTo>
                  <a:cubicBezTo>
                    <a:pt x="110978" y="137751"/>
                    <a:pt x="110978" y="137319"/>
                    <a:pt x="111410" y="136456"/>
                  </a:cubicBezTo>
                  <a:lnTo>
                    <a:pt x="111410" y="134297"/>
                  </a:lnTo>
                  <a:cubicBezTo>
                    <a:pt x="111410" y="133865"/>
                    <a:pt x="111410" y="133001"/>
                    <a:pt x="111410" y="132569"/>
                  </a:cubicBezTo>
                  <a:cubicBezTo>
                    <a:pt x="111410" y="131706"/>
                    <a:pt x="111410" y="130842"/>
                    <a:pt x="111410" y="129978"/>
                  </a:cubicBezTo>
                  <a:cubicBezTo>
                    <a:pt x="111410" y="128251"/>
                    <a:pt x="111410" y="126524"/>
                    <a:pt x="110978" y="124365"/>
                  </a:cubicBezTo>
                  <a:cubicBezTo>
                    <a:pt x="110978" y="123501"/>
                    <a:pt x="110978" y="122206"/>
                    <a:pt x="111410" y="121342"/>
                  </a:cubicBezTo>
                  <a:cubicBezTo>
                    <a:pt x="111842" y="120910"/>
                    <a:pt x="112274" y="120046"/>
                    <a:pt x="112274" y="119615"/>
                  </a:cubicBezTo>
                  <a:cubicBezTo>
                    <a:pt x="112274" y="119183"/>
                    <a:pt x="111842" y="118751"/>
                    <a:pt x="111842" y="118319"/>
                  </a:cubicBezTo>
                  <a:cubicBezTo>
                    <a:pt x="111842" y="115297"/>
                    <a:pt x="112274" y="112274"/>
                    <a:pt x="113137" y="109251"/>
                  </a:cubicBezTo>
                  <a:cubicBezTo>
                    <a:pt x="113137" y="108819"/>
                    <a:pt x="113137" y="107956"/>
                    <a:pt x="112706" y="107524"/>
                  </a:cubicBezTo>
                  <a:cubicBezTo>
                    <a:pt x="112706" y="107092"/>
                    <a:pt x="112706" y="106228"/>
                    <a:pt x="112706" y="105796"/>
                  </a:cubicBezTo>
                  <a:cubicBezTo>
                    <a:pt x="112706" y="105365"/>
                    <a:pt x="112706" y="105365"/>
                    <a:pt x="112706" y="104933"/>
                  </a:cubicBezTo>
                  <a:cubicBezTo>
                    <a:pt x="112706" y="104501"/>
                    <a:pt x="113137" y="103637"/>
                    <a:pt x="113137" y="103205"/>
                  </a:cubicBezTo>
                  <a:cubicBezTo>
                    <a:pt x="113137" y="102774"/>
                    <a:pt x="112706" y="102342"/>
                    <a:pt x="112706" y="101478"/>
                  </a:cubicBezTo>
                  <a:cubicBezTo>
                    <a:pt x="112706" y="100183"/>
                    <a:pt x="110115" y="99319"/>
                    <a:pt x="110115" y="98024"/>
                  </a:cubicBezTo>
                  <a:lnTo>
                    <a:pt x="110115" y="97592"/>
                  </a:lnTo>
                  <a:cubicBezTo>
                    <a:pt x="110115" y="97160"/>
                    <a:pt x="110115" y="96728"/>
                    <a:pt x="110115" y="96296"/>
                  </a:cubicBezTo>
                  <a:cubicBezTo>
                    <a:pt x="110115" y="95433"/>
                    <a:pt x="110115" y="94569"/>
                    <a:pt x="110115" y="93705"/>
                  </a:cubicBezTo>
                  <a:lnTo>
                    <a:pt x="109251" y="93705"/>
                  </a:lnTo>
                  <a:cubicBezTo>
                    <a:pt x="108819" y="93705"/>
                    <a:pt x="108819" y="94137"/>
                    <a:pt x="108387" y="94569"/>
                  </a:cubicBezTo>
                  <a:cubicBezTo>
                    <a:pt x="107956" y="95433"/>
                    <a:pt x="107524" y="96728"/>
                    <a:pt x="106660" y="96728"/>
                  </a:cubicBezTo>
                  <a:cubicBezTo>
                    <a:pt x="106228" y="97160"/>
                    <a:pt x="106228" y="97160"/>
                    <a:pt x="106228" y="97592"/>
                  </a:cubicBezTo>
                  <a:cubicBezTo>
                    <a:pt x="105796" y="98887"/>
                    <a:pt x="104501" y="99319"/>
                    <a:pt x="104069" y="100614"/>
                  </a:cubicBezTo>
                  <a:cubicBezTo>
                    <a:pt x="104069" y="101046"/>
                    <a:pt x="104069" y="101046"/>
                    <a:pt x="103637" y="101046"/>
                  </a:cubicBezTo>
                  <a:cubicBezTo>
                    <a:pt x="102774" y="101910"/>
                    <a:pt x="101910" y="102774"/>
                    <a:pt x="101478" y="104501"/>
                  </a:cubicBezTo>
                  <a:cubicBezTo>
                    <a:pt x="99751" y="105796"/>
                    <a:pt x="98887" y="107956"/>
                    <a:pt x="97160" y="109251"/>
                  </a:cubicBezTo>
                  <a:lnTo>
                    <a:pt x="91978" y="115728"/>
                  </a:lnTo>
                  <a:lnTo>
                    <a:pt x="91115" y="117456"/>
                  </a:lnTo>
                  <a:cubicBezTo>
                    <a:pt x="90683" y="118751"/>
                    <a:pt x="89819" y="119615"/>
                    <a:pt x="88524" y="120478"/>
                  </a:cubicBezTo>
                  <a:cubicBezTo>
                    <a:pt x="87228" y="121342"/>
                    <a:pt x="86364" y="122206"/>
                    <a:pt x="85933" y="123501"/>
                  </a:cubicBezTo>
                  <a:cubicBezTo>
                    <a:pt x="85933" y="123933"/>
                    <a:pt x="85933" y="124365"/>
                    <a:pt x="85501" y="124797"/>
                  </a:cubicBezTo>
                  <a:cubicBezTo>
                    <a:pt x="85069" y="125228"/>
                    <a:pt x="84637" y="126092"/>
                    <a:pt x="84637" y="127388"/>
                  </a:cubicBezTo>
                  <a:cubicBezTo>
                    <a:pt x="84205" y="127819"/>
                    <a:pt x="84205" y="128251"/>
                    <a:pt x="83342" y="128683"/>
                  </a:cubicBezTo>
                  <a:cubicBezTo>
                    <a:pt x="82478" y="129115"/>
                    <a:pt x="81614" y="129978"/>
                    <a:pt x="81614" y="131274"/>
                  </a:cubicBezTo>
                  <a:cubicBezTo>
                    <a:pt x="81614" y="131706"/>
                    <a:pt x="81183" y="132138"/>
                    <a:pt x="80751" y="132569"/>
                  </a:cubicBezTo>
                  <a:cubicBezTo>
                    <a:pt x="79887" y="133001"/>
                    <a:pt x="79024" y="133433"/>
                    <a:pt x="78592" y="134297"/>
                  </a:cubicBezTo>
                  <a:cubicBezTo>
                    <a:pt x="78592" y="134729"/>
                    <a:pt x="78160" y="134729"/>
                    <a:pt x="78160" y="134729"/>
                  </a:cubicBezTo>
                  <a:cubicBezTo>
                    <a:pt x="77296" y="134729"/>
                    <a:pt x="77296" y="135160"/>
                    <a:pt x="76864" y="136024"/>
                  </a:cubicBezTo>
                  <a:lnTo>
                    <a:pt x="75569" y="139478"/>
                  </a:lnTo>
                  <a:cubicBezTo>
                    <a:pt x="75569" y="139910"/>
                    <a:pt x="75137" y="140342"/>
                    <a:pt x="74705" y="141206"/>
                  </a:cubicBezTo>
                  <a:lnTo>
                    <a:pt x="74273" y="141638"/>
                  </a:lnTo>
                  <a:cubicBezTo>
                    <a:pt x="73410" y="141638"/>
                    <a:pt x="72978" y="142069"/>
                    <a:pt x="72546" y="142933"/>
                  </a:cubicBezTo>
                  <a:lnTo>
                    <a:pt x="69092" y="150706"/>
                  </a:lnTo>
                  <a:cubicBezTo>
                    <a:pt x="69092" y="151138"/>
                    <a:pt x="68660" y="151570"/>
                    <a:pt x="68228" y="151570"/>
                  </a:cubicBezTo>
                  <a:cubicBezTo>
                    <a:pt x="67364" y="151570"/>
                    <a:pt x="66932" y="152001"/>
                    <a:pt x="66932" y="152433"/>
                  </a:cubicBezTo>
                  <a:lnTo>
                    <a:pt x="65637" y="154592"/>
                  </a:lnTo>
                  <a:cubicBezTo>
                    <a:pt x="65205" y="155456"/>
                    <a:pt x="64773" y="155888"/>
                    <a:pt x="64342" y="155888"/>
                  </a:cubicBezTo>
                  <a:cubicBezTo>
                    <a:pt x="63910" y="155888"/>
                    <a:pt x="63910" y="155888"/>
                    <a:pt x="63478" y="155456"/>
                  </a:cubicBezTo>
                  <a:cubicBezTo>
                    <a:pt x="63046" y="155024"/>
                    <a:pt x="62614" y="154592"/>
                    <a:pt x="62614" y="153729"/>
                  </a:cubicBezTo>
                  <a:lnTo>
                    <a:pt x="62614" y="152865"/>
                  </a:lnTo>
                  <a:cubicBezTo>
                    <a:pt x="62614" y="152433"/>
                    <a:pt x="62614" y="152001"/>
                    <a:pt x="62182" y="152001"/>
                  </a:cubicBezTo>
                  <a:lnTo>
                    <a:pt x="61751" y="152001"/>
                  </a:lnTo>
                  <a:cubicBezTo>
                    <a:pt x="61319" y="152001"/>
                    <a:pt x="61319" y="152433"/>
                    <a:pt x="60887" y="152433"/>
                  </a:cubicBezTo>
                  <a:lnTo>
                    <a:pt x="60887" y="153297"/>
                  </a:lnTo>
                  <a:cubicBezTo>
                    <a:pt x="60023" y="154161"/>
                    <a:pt x="59160" y="155024"/>
                    <a:pt x="58728" y="155888"/>
                  </a:cubicBezTo>
                  <a:cubicBezTo>
                    <a:pt x="58728" y="156751"/>
                    <a:pt x="58728" y="158047"/>
                    <a:pt x="58296" y="158910"/>
                  </a:cubicBezTo>
                  <a:cubicBezTo>
                    <a:pt x="57864" y="159342"/>
                    <a:pt x="57864" y="159774"/>
                    <a:pt x="57864" y="160206"/>
                  </a:cubicBezTo>
                  <a:cubicBezTo>
                    <a:pt x="57864" y="161070"/>
                    <a:pt x="57001" y="161933"/>
                    <a:pt x="56137" y="161933"/>
                  </a:cubicBezTo>
                  <a:cubicBezTo>
                    <a:pt x="55705" y="161933"/>
                    <a:pt x="55273" y="162797"/>
                    <a:pt x="54841" y="163229"/>
                  </a:cubicBezTo>
                  <a:cubicBezTo>
                    <a:pt x="53978" y="164092"/>
                    <a:pt x="52682" y="166683"/>
                    <a:pt x="52251" y="168411"/>
                  </a:cubicBezTo>
                  <a:cubicBezTo>
                    <a:pt x="51819" y="169706"/>
                    <a:pt x="51387" y="170570"/>
                    <a:pt x="50523" y="171433"/>
                  </a:cubicBezTo>
                  <a:cubicBezTo>
                    <a:pt x="50091" y="171433"/>
                    <a:pt x="50091" y="171865"/>
                    <a:pt x="50091" y="171865"/>
                  </a:cubicBezTo>
                  <a:cubicBezTo>
                    <a:pt x="50091" y="171865"/>
                    <a:pt x="50091" y="172297"/>
                    <a:pt x="50523" y="172297"/>
                  </a:cubicBezTo>
                  <a:cubicBezTo>
                    <a:pt x="50523" y="172729"/>
                    <a:pt x="50955" y="172729"/>
                    <a:pt x="50955" y="172729"/>
                  </a:cubicBezTo>
                  <a:cubicBezTo>
                    <a:pt x="50955" y="172729"/>
                    <a:pt x="50955" y="172729"/>
                    <a:pt x="51387" y="172297"/>
                  </a:cubicBezTo>
                  <a:cubicBezTo>
                    <a:pt x="51819" y="172297"/>
                    <a:pt x="52251" y="171865"/>
                    <a:pt x="52251" y="171433"/>
                  </a:cubicBezTo>
                  <a:cubicBezTo>
                    <a:pt x="52251" y="170570"/>
                    <a:pt x="52682" y="170138"/>
                    <a:pt x="53114" y="169274"/>
                  </a:cubicBezTo>
                  <a:lnTo>
                    <a:pt x="53546" y="169274"/>
                  </a:lnTo>
                  <a:lnTo>
                    <a:pt x="55273" y="171433"/>
                  </a:lnTo>
                  <a:lnTo>
                    <a:pt x="55273" y="172297"/>
                  </a:lnTo>
                  <a:cubicBezTo>
                    <a:pt x="55273" y="172729"/>
                    <a:pt x="54841" y="172729"/>
                    <a:pt x="54410" y="172729"/>
                  </a:cubicBezTo>
                  <a:cubicBezTo>
                    <a:pt x="54410" y="172297"/>
                    <a:pt x="53978" y="172297"/>
                    <a:pt x="53978" y="172297"/>
                  </a:cubicBezTo>
                  <a:cubicBezTo>
                    <a:pt x="53546" y="172297"/>
                    <a:pt x="53114" y="172297"/>
                    <a:pt x="53114" y="172729"/>
                  </a:cubicBezTo>
                  <a:cubicBezTo>
                    <a:pt x="53546" y="173161"/>
                    <a:pt x="53546" y="173161"/>
                    <a:pt x="53546" y="173593"/>
                  </a:cubicBezTo>
                  <a:lnTo>
                    <a:pt x="53546" y="174024"/>
                  </a:lnTo>
                  <a:cubicBezTo>
                    <a:pt x="53546" y="174024"/>
                    <a:pt x="53546" y="174456"/>
                    <a:pt x="53114" y="174888"/>
                  </a:cubicBezTo>
                  <a:cubicBezTo>
                    <a:pt x="52682" y="174888"/>
                    <a:pt x="50523" y="174888"/>
                    <a:pt x="50091" y="174456"/>
                  </a:cubicBezTo>
                  <a:lnTo>
                    <a:pt x="48796" y="173593"/>
                  </a:lnTo>
                  <a:lnTo>
                    <a:pt x="48364" y="173593"/>
                  </a:lnTo>
                  <a:cubicBezTo>
                    <a:pt x="47932" y="173593"/>
                    <a:pt x="47932" y="173593"/>
                    <a:pt x="47932" y="174024"/>
                  </a:cubicBezTo>
                  <a:cubicBezTo>
                    <a:pt x="47932" y="174024"/>
                    <a:pt x="47932" y="174456"/>
                    <a:pt x="47500" y="174888"/>
                  </a:cubicBezTo>
                  <a:cubicBezTo>
                    <a:pt x="47500" y="175320"/>
                    <a:pt x="47069" y="175320"/>
                    <a:pt x="47069" y="175752"/>
                  </a:cubicBezTo>
                  <a:cubicBezTo>
                    <a:pt x="47069" y="176183"/>
                    <a:pt x="47500" y="176615"/>
                    <a:pt x="47932" y="177047"/>
                  </a:cubicBezTo>
                  <a:lnTo>
                    <a:pt x="48364" y="177479"/>
                  </a:lnTo>
                  <a:cubicBezTo>
                    <a:pt x="48364" y="177911"/>
                    <a:pt x="47932" y="177911"/>
                    <a:pt x="47932" y="177911"/>
                  </a:cubicBezTo>
                  <a:lnTo>
                    <a:pt x="46205" y="177911"/>
                  </a:lnTo>
                  <a:cubicBezTo>
                    <a:pt x="46205" y="177911"/>
                    <a:pt x="45773" y="177911"/>
                    <a:pt x="45773" y="178342"/>
                  </a:cubicBezTo>
                  <a:lnTo>
                    <a:pt x="46205" y="178774"/>
                  </a:lnTo>
                  <a:cubicBezTo>
                    <a:pt x="47069" y="178774"/>
                    <a:pt x="47932" y="178774"/>
                    <a:pt x="48364" y="180070"/>
                  </a:cubicBezTo>
                  <a:cubicBezTo>
                    <a:pt x="48364" y="180070"/>
                    <a:pt x="48796" y="180070"/>
                    <a:pt x="48796" y="179638"/>
                  </a:cubicBezTo>
                  <a:cubicBezTo>
                    <a:pt x="48796" y="179638"/>
                    <a:pt x="48796" y="179206"/>
                    <a:pt x="49228" y="179206"/>
                  </a:cubicBezTo>
                  <a:cubicBezTo>
                    <a:pt x="49228" y="178774"/>
                    <a:pt x="49660" y="178342"/>
                    <a:pt x="50091" y="178342"/>
                  </a:cubicBezTo>
                  <a:cubicBezTo>
                    <a:pt x="50091" y="177911"/>
                    <a:pt x="50955" y="178342"/>
                    <a:pt x="50955" y="178774"/>
                  </a:cubicBezTo>
                  <a:lnTo>
                    <a:pt x="50955" y="180933"/>
                  </a:lnTo>
                  <a:cubicBezTo>
                    <a:pt x="50955" y="181365"/>
                    <a:pt x="50955" y="182229"/>
                    <a:pt x="50523" y="182229"/>
                  </a:cubicBezTo>
                  <a:cubicBezTo>
                    <a:pt x="49228" y="183524"/>
                    <a:pt x="48364" y="184820"/>
                    <a:pt x="47500" y="186115"/>
                  </a:cubicBezTo>
                  <a:cubicBezTo>
                    <a:pt x="47069" y="186547"/>
                    <a:pt x="46637" y="186979"/>
                    <a:pt x="46205" y="186979"/>
                  </a:cubicBezTo>
                  <a:lnTo>
                    <a:pt x="45773" y="186979"/>
                  </a:lnTo>
                  <a:cubicBezTo>
                    <a:pt x="45341" y="186979"/>
                    <a:pt x="45341" y="186979"/>
                    <a:pt x="45341" y="186979"/>
                  </a:cubicBezTo>
                  <a:cubicBezTo>
                    <a:pt x="44478" y="186979"/>
                    <a:pt x="44046" y="187411"/>
                    <a:pt x="43614" y="188274"/>
                  </a:cubicBezTo>
                  <a:lnTo>
                    <a:pt x="41455" y="190865"/>
                  </a:lnTo>
                  <a:lnTo>
                    <a:pt x="41023" y="191297"/>
                  </a:lnTo>
                  <a:cubicBezTo>
                    <a:pt x="40591" y="191297"/>
                    <a:pt x="40591" y="190865"/>
                    <a:pt x="40160" y="190434"/>
                  </a:cubicBezTo>
                  <a:lnTo>
                    <a:pt x="39728" y="190434"/>
                  </a:lnTo>
                  <a:cubicBezTo>
                    <a:pt x="39296" y="190434"/>
                    <a:pt x="39296" y="190434"/>
                    <a:pt x="39296" y="190865"/>
                  </a:cubicBezTo>
                  <a:cubicBezTo>
                    <a:pt x="38864" y="191297"/>
                    <a:pt x="38432" y="191297"/>
                    <a:pt x="38432" y="191729"/>
                  </a:cubicBezTo>
                  <a:cubicBezTo>
                    <a:pt x="38432" y="192161"/>
                    <a:pt x="38864" y="192593"/>
                    <a:pt x="39296" y="192593"/>
                  </a:cubicBezTo>
                  <a:cubicBezTo>
                    <a:pt x="39728" y="193025"/>
                    <a:pt x="39728" y="193456"/>
                    <a:pt x="40591" y="193456"/>
                  </a:cubicBezTo>
                  <a:cubicBezTo>
                    <a:pt x="41023" y="193456"/>
                    <a:pt x="41023" y="193456"/>
                    <a:pt x="41455" y="193456"/>
                  </a:cubicBezTo>
                  <a:cubicBezTo>
                    <a:pt x="42750" y="193456"/>
                    <a:pt x="43614" y="192593"/>
                    <a:pt x="43614" y="191297"/>
                  </a:cubicBezTo>
                  <a:lnTo>
                    <a:pt x="44046" y="190865"/>
                  </a:lnTo>
                  <a:lnTo>
                    <a:pt x="44046" y="191297"/>
                  </a:lnTo>
                  <a:cubicBezTo>
                    <a:pt x="44478" y="191297"/>
                    <a:pt x="44478" y="191729"/>
                    <a:pt x="44478" y="191729"/>
                  </a:cubicBezTo>
                  <a:lnTo>
                    <a:pt x="44478" y="193456"/>
                  </a:lnTo>
                  <a:cubicBezTo>
                    <a:pt x="44046" y="193456"/>
                    <a:pt x="44046" y="193888"/>
                    <a:pt x="43614" y="194320"/>
                  </a:cubicBezTo>
                  <a:cubicBezTo>
                    <a:pt x="43182" y="194752"/>
                    <a:pt x="43614" y="196047"/>
                    <a:pt x="42750" y="196047"/>
                  </a:cubicBezTo>
                  <a:lnTo>
                    <a:pt x="40160" y="196047"/>
                  </a:lnTo>
                  <a:cubicBezTo>
                    <a:pt x="39728" y="196047"/>
                    <a:pt x="39728" y="196047"/>
                    <a:pt x="39728" y="196047"/>
                  </a:cubicBezTo>
                  <a:cubicBezTo>
                    <a:pt x="39296" y="196047"/>
                    <a:pt x="38864" y="196047"/>
                    <a:pt x="38864" y="196479"/>
                  </a:cubicBezTo>
                  <a:lnTo>
                    <a:pt x="38864" y="196911"/>
                  </a:lnTo>
                  <a:cubicBezTo>
                    <a:pt x="38864" y="197343"/>
                    <a:pt x="38864" y="197343"/>
                    <a:pt x="38864" y="197343"/>
                  </a:cubicBezTo>
                  <a:cubicBezTo>
                    <a:pt x="39296" y="197774"/>
                    <a:pt x="39296" y="198638"/>
                    <a:pt x="39296" y="199502"/>
                  </a:cubicBezTo>
                  <a:cubicBezTo>
                    <a:pt x="39296" y="199934"/>
                    <a:pt x="39296" y="200365"/>
                    <a:pt x="39296" y="200797"/>
                  </a:cubicBezTo>
                  <a:cubicBezTo>
                    <a:pt x="38864" y="201229"/>
                    <a:pt x="38864" y="202093"/>
                    <a:pt x="38864" y="202525"/>
                  </a:cubicBezTo>
                  <a:cubicBezTo>
                    <a:pt x="38864" y="202956"/>
                    <a:pt x="38864" y="203820"/>
                    <a:pt x="38864" y="204252"/>
                  </a:cubicBezTo>
                  <a:cubicBezTo>
                    <a:pt x="38432" y="205547"/>
                    <a:pt x="38000" y="206843"/>
                    <a:pt x="36273" y="207706"/>
                  </a:cubicBezTo>
                  <a:cubicBezTo>
                    <a:pt x="35841" y="207706"/>
                    <a:pt x="35841" y="208138"/>
                    <a:pt x="35841" y="208570"/>
                  </a:cubicBezTo>
                  <a:cubicBezTo>
                    <a:pt x="34978" y="216343"/>
                    <a:pt x="33250" y="216775"/>
                    <a:pt x="30228" y="219797"/>
                  </a:cubicBezTo>
                  <a:cubicBezTo>
                    <a:pt x="29796" y="220661"/>
                    <a:pt x="29364" y="221957"/>
                    <a:pt x="28500" y="222820"/>
                  </a:cubicBezTo>
                  <a:cubicBezTo>
                    <a:pt x="28068" y="223252"/>
                    <a:pt x="28068" y="223684"/>
                    <a:pt x="28068" y="224116"/>
                  </a:cubicBezTo>
                  <a:cubicBezTo>
                    <a:pt x="27637" y="225411"/>
                    <a:pt x="26773" y="227138"/>
                    <a:pt x="25478" y="227138"/>
                  </a:cubicBezTo>
                  <a:cubicBezTo>
                    <a:pt x="25046" y="227138"/>
                    <a:pt x="25046" y="226707"/>
                    <a:pt x="24614" y="226707"/>
                  </a:cubicBezTo>
                  <a:cubicBezTo>
                    <a:pt x="24182" y="226707"/>
                    <a:pt x="24182" y="226707"/>
                    <a:pt x="23750" y="226707"/>
                  </a:cubicBezTo>
                  <a:cubicBezTo>
                    <a:pt x="23319" y="226707"/>
                    <a:pt x="22455" y="226707"/>
                    <a:pt x="22023" y="227138"/>
                  </a:cubicBezTo>
                  <a:lnTo>
                    <a:pt x="21591" y="227138"/>
                  </a:lnTo>
                  <a:cubicBezTo>
                    <a:pt x="21159" y="227138"/>
                    <a:pt x="20728" y="227138"/>
                    <a:pt x="20296" y="227138"/>
                  </a:cubicBezTo>
                  <a:cubicBezTo>
                    <a:pt x="19432" y="226707"/>
                    <a:pt x="19000" y="226275"/>
                    <a:pt x="18137" y="226275"/>
                  </a:cubicBezTo>
                  <a:cubicBezTo>
                    <a:pt x="16409" y="226275"/>
                    <a:pt x="15977" y="225843"/>
                    <a:pt x="14682" y="224547"/>
                  </a:cubicBezTo>
                  <a:cubicBezTo>
                    <a:pt x="14250" y="223684"/>
                    <a:pt x="13387" y="222820"/>
                    <a:pt x="12523" y="221957"/>
                  </a:cubicBezTo>
                  <a:lnTo>
                    <a:pt x="10796" y="220661"/>
                  </a:lnTo>
                  <a:cubicBezTo>
                    <a:pt x="9500" y="220229"/>
                    <a:pt x="8205" y="219797"/>
                    <a:pt x="7773" y="218934"/>
                  </a:cubicBezTo>
                  <a:cubicBezTo>
                    <a:pt x="7341" y="218502"/>
                    <a:pt x="6477" y="218070"/>
                    <a:pt x="5614" y="218070"/>
                  </a:cubicBezTo>
                  <a:cubicBezTo>
                    <a:pt x="3887" y="218070"/>
                    <a:pt x="2591" y="217206"/>
                    <a:pt x="1727" y="215479"/>
                  </a:cubicBezTo>
                  <a:cubicBezTo>
                    <a:pt x="864" y="214616"/>
                    <a:pt x="432" y="213752"/>
                    <a:pt x="0" y="212888"/>
                  </a:cubicBezTo>
                  <a:lnTo>
                    <a:pt x="0" y="211161"/>
                  </a:lnTo>
                  <a:cubicBezTo>
                    <a:pt x="0" y="210729"/>
                    <a:pt x="432" y="209866"/>
                    <a:pt x="432" y="209002"/>
                  </a:cubicBezTo>
                  <a:cubicBezTo>
                    <a:pt x="432" y="208138"/>
                    <a:pt x="0" y="207275"/>
                    <a:pt x="0" y="206411"/>
                  </a:cubicBezTo>
                  <a:lnTo>
                    <a:pt x="0" y="205547"/>
                  </a:lnTo>
                  <a:lnTo>
                    <a:pt x="864" y="201661"/>
                  </a:lnTo>
                  <a:cubicBezTo>
                    <a:pt x="1296" y="200365"/>
                    <a:pt x="1727" y="199502"/>
                    <a:pt x="1727" y="198206"/>
                  </a:cubicBezTo>
                  <a:cubicBezTo>
                    <a:pt x="1727" y="197343"/>
                    <a:pt x="1727" y="196479"/>
                    <a:pt x="1727" y="195615"/>
                  </a:cubicBezTo>
                  <a:cubicBezTo>
                    <a:pt x="1727" y="193456"/>
                    <a:pt x="1727" y="191297"/>
                    <a:pt x="2159" y="189138"/>
                  </a:cubicBezTo>
                  <a:cubicBezTo>
                    <a:pt x="2159" y="188274"/>
                    <a:pt x="2591" y="187843"/>
                    <a:pt x="2591" y="186979"/>
                  </a:cubicBezTo>
                  <a:cubicBezTo>
                    <a:pt x="3023" y="186547"/>
                    <a:pt x="3023" y="186547"/>
                    <a:pt x="3023" y="186115"/>
                  </a:cubicBezTo>
                  <a:lnTo>
                    <a:pt x="3023" y="185684"/>
                  </a:lnTo>
                  <a:cubicBezTo>
                    <a:pt x="3023" y="183093"/>
                    <a:pt x="3887" y="180933"/>
                    <a:pt x="4318" y="178774"/>
                  </a:cubicBezTo>
                  <a:lnTo>
                    <a:pt x="5614" y="172729"/>
                  </a:lnTo>
                  <a:cubicBezTo>
                    <a:pt x="5614" y="172297"/>
                    <a:pt x="5182" y="171433"/>
                    <a:pt x="5182" y="171002"/>
                  </a:cubicBezTo>
                  <a:cubicBezTo>
                    <a:pt x="5182" y="170138"/>
                    <a:pt x="5614" y="168842"/>
                    <a:pt x="6477" y="167979"/>
                  </a:cubicBezTo>
                  <a:cubicBezTo>
                    <a:pt x="6477" y="165820"/>
                    <a:pt x="6909" y="164092"/>
                    <a:pt x="7773" y="161933"/>
                  </a:cubicBezTo>
                  <a:cubicBezTo>
                    <a:pt x="7773" y="161070"/>
                    <a:pt x="7773" y="159774"/>
                    <a:pt x="8205" y="158910"/>
                  </a:cubicBezTo>
                  <a:lnTo>
                    <a:pt x="8205" y="158047"/>
                  </a:lnTo>
                  <a:cubicBezTo>
                    <a:pt x="7773" y="157615"/>
                    <a:pt x="7773" y="157615"/>
                    <a:pt x="7773" y="157183"/>
                  </a:cubicBezTo>
                  <a:cubicBezTo>
                    <a:pt x="7773" y="156751"/>
                    <a:pt x="8205" y="155888"/>
                    <a:pt x="8205" y="155024"/>
                  </a:cubicBezTo>
                  <a:cubicBezTo>
                    <a:pt x="8636" y="152865"/>
                    <a:pt x="9932" y="151138"/>
                    <a:pt x="9932" y="148979"/>
                  </a:cubicBezTo>
                  <a:cubicBezTo>
                    <a:pt x="10796" y="147683"/>
                    <a:pt x="10364" y="145524"/>
                    <a:pt x="11659" y="144229"/>
                  </a:cubicBezTo>
                  <a:cubicBezTo>
                    <a:pt x="12091" y="143797"/>
                    <a:pt x="12091" y="142933"/>
                    <a:pt x="12091" y="142069"/>
                  </a:cubicBezTo>
                  <a:lnTo>
                    <a:pt x="12091" y="141638"/>
                  </a:lnTo>
                  <a:cubicBezTo>
                    <a:pt x="11659" y="140774"/>
                    <a:pt x="11659" y="140342"/>
                    <a:pt x="11659" y="139910"/>
                  </a:cubicBezTo>
                  <a:cubicBezTo>
                    <a:pt x="11659" y="138615"/>
                    <a:pt x="12523" y="137319"/>
                    <a:pt x="12955" y="136024"/>
                  </a:cubicBezTo>
                  <a:cubicBezTo>
                    <a:pt x="13387" y="135592"/>
                    <a:pt x="13818" y="135592"/>
                    <a:pt x="13818" y="135160"/>
                  </a:cubicBezTo>
                  <a:cubicBezTo>
                    <a:pt x="13818" y="133865"/>
                    <a:pt x="14682" y="133001"/>
                    <a:pt x="14682" y="131706"/>
                  </a:cubicBezTo>
                  <a:lnTo>
                    <a:pt x="15546" y="127819"/>
                  </a:lnTo>
                  <a:lnTo>
                    <a:pt x="17273" y="123069"/>
                  </a:lnTo>
                  <a:cubicBezTo>
                    <a:pt x="17273" y="122637"/>
                    <a:pt x="17705" y="122206"/>
                    <a:pt x="17705" y="121342"/>
                  </a:cubicBezTo>
                  <a:cubicBezTo>
                    <a:pt x="17705" y="120910"/>
                    <a:pt x="17705" y="120910"/>
                    <a:pt x="17705" y="120478"/>
                  </a:cubicBezTo>
                  <a:cubicBezTo>
                    <a:pt x="17705" y="120046"/>
                    <a:pt x="17705" y="119183"/>
                    <a:pt x="17705" y="118751"/>
                  </a:cubicBezTo>
                  <a:cubicBezTo>
                    <a:pt x="18568" y="117024"/>
                    <a:pt x="18568" y="115297"/>
                    <a:pt x="19864" y="113569"/>
                  </a:cubicBezTo>
                  <a:lnTo>
                    <a:pt x="19864" y="113137"/>
                  </a:lnTo>
                  <a:cubicBezTo>
                    <a:pt x="19864" y="111842"/>
                    <a:pt x="20296" y="110546"/>
                    <a:pt x="20728" y="109251"/>
                  </a:cubicBezTo>
                  <a:lnTo>
                    <a:pt x="21591" y="105365"/>
                  </a:lnTo>
                  <a:cubicBezTo>
                    <a:pt x="22455" y="103637"/>
                    <a:pt x="22023" y="101910"/>
                    <a:pt x="23319" y="100614"/>
                  </a:cubicBezTo>
                  <a:cubicBezTo>
                    <a:pt x="23319" y="98887"/>
                    <a:pt x="24182" y="97160"/>
                    <a:pt x="24614" y="95433"/>
                  </a:cubicBezTo>
                  <a:cubicBezTo>
                    <a:pt x="24614" y="94137"/>
                    <a:pt x="25046" y="92842"/>
                    <a:pt x="25909" y="91978"/>
                  </a:cubicBezTo>
                  <a:lnTo>
                    <a:pt x="26773" y="89819"/>
                  </a:lnTo>
                  <a:cubicBezTo>
                    <a:pt x="26773" y="88955"/>
                    <a:pt x="27205" y="87660"/>
                    <a:pt x="27637" y="86796"/>
                  </a:cubicBezTo>
                  <a:cubicBezTo>
                    <a:pt x="27637" y="86364"/>
                    <a:pt x="28068" y="85933"/>
                    <a:pt x="28068" y="85501"/>
                  </a:cubicBezTo>
                  <a:cubicBezTo>
                    <a:pt x="28068" y="84205"/>
                    <a:pt x="28500" y="82910"/>
                    <a:pt x="28932" y="82046"/>
                  </a:cubicBezTo>
                  <a:cubicBezTo>
                    <a:pt x="29364" y="81614"/>
                    <a:pt x="29364" y="81183"/>
                    <a:pt x="29364" y="81183"/>
                  </a:cubicBezTo>
                  <a:cubicBezTo>
                    <a:pt x="29364" y="79887"/>
                    <a:pt x="29796" y="79455"/>
                    <a:pt x="30228" y="78592"/>
                  </a:cubicBezTo>
                  <a:cubicBezTo>
                    <a:pt x="31091" y="77296"/>
                    <a:pt x="31091" y="75569"/>
                    <a:pt x="31091" y="74273"/>
                  </a:cubicBezTo>
                  <a:cubicBezTo>
                    <a:pt x="31091" y="73410"/>
                    <a:pt x="31091" y="72546"/>
                    <a:pt x="31523" y="71682"/>
                  </a:cubicBezTo>
                  <a:lnTo>
                    <a:pt x="31955" y="71682"/>
                  </a:lnTo>
                  <a:cubicBezTo>
                    <a:pt x="31955" y="68660"/>
                    <a:pt x="33682" y="66932"/>
                    <a:pt x="34546" y="64341"/>
                  </a:cubicBezTo>
                  <a:cubicBezTo>
                    <a:pt x="34546" y="63046"/>
                    <a:pt x="34546" y="61751"/>
                    <a:pt x="34978" y="60887"/>
                  </a:cubicBezTo>
                  <a:lnTo>
                    <a:pt x="36273" y="57432"/>
                  </a:lnTo>
                  <a:lnTo>
                    <a:pt x="36273" y="56137"/>
                  </a:lnTo>
                  <a:lnTo>
                    <a:pt x="37137" y="54410"/>
                  </a:lnTo>
                  <a:cubicBezTo>
                    <a:pt x="37569" y="53546"/>
                    <a:pt x="37569" y="52682"/>
                    <a:pt x="37569" y="51819"/>
                  </a:cubicBezTo>
                  <a:cubicBezTo>
                    <a:pt x="37569" y="50091"/>
                    <a:pt x="38432" y="48796"/>
                    <a:pt x="38432" y="47069"/>
                  </a:cubicBezTo>
                  <a:lnTo>
                    <a:pt x="39296" y="44478"/>
                  </a:lnTo>
                  <a:cubicBezTo>
                    <a:pt x="39728" y="44046"/>
                    <a:pt x="39728" y="43182"/>
                    <a:pt x="39728" y="42750"/>
                  </a:cubicBezTo>
                  <a:cubicBezTo>
                    <a:pt x="39728" y="41887"/>
                    <a:pt x="40160" y="40591"/>
                    <a:pt x="40591" y="39728"/>
                  </a:cubicBezTo>
                  <a:cubicBezTo>
                    <a:pt x="41023" y="37569"/>
                    <a:pt x="41887" y="35841"/>
                    <a:pt x="41887" y="33682"/>
                  </a:cubicBezTo>
                  <a:cubicBezTo>
                    <a:pt x="41887" y="33250"/>
                    <a:pt x="41887" y="33250"/>
                    <a:pt x="42319" y="32819"/>
                  </a:cubicBezTo>
                  <a:cubicBezTo>
                    <a:pt x="43182" y="30659"/>
                    <a:pt x="43182" y="28068"/>
                    <a:pt x="43614" y="25477"/>
                  </a:cubicBezTo>
                  <a:lnTo>
                    <a:pt x="46637" y="11227"/>
                  </a:lnTo>
                  <a:cubicBezTo>
                    <a:pt x="46637" y="10364"/>
                    <a:pt x="46637" y="9932"/>
                    <a:pt x="47069" y="9068"/>
                  </a:cubicBezTo>
                  <a:cubicBezTo>
                    <a:pt x="47069" y="8636"/>
                    <a:pt x="47500" y="8205"/>
                    <a:pt x="47500" y="7341"/>
                  </a:cubicBezTo>
                  <a:cubicBezTo>
                    <a:pt x="47500" y="6477"/>
                    <a:pt x="47932" y="5614"/>
                    <a:pt x="48364" y="4750"/>
                  </a:cubicBezTo>
                  <a:cubicBezTo>
                    <a:pt x="49228" y="4318"/>
                    <a:pt x="50091" y="3455"/>
                    <a:pt x="50523" y="2591"/>
                  </a:cubicBezTo>
                  <a:cubicBezTo>
                    <a:pt x="51819" y="1727"/>
                    <a:pt x="52682" y="864"/>
                    <a:pt x="53978" y="432"/>
                  </a:cubicBezTo>
                  <a:cubicBezTo>
                    <a:pt x="54410" y="432"/>
                    <a:pt x="54841" y="0"/>
                    <a:pt x="55273" y="0"/>
                  </a:cubicBezTo>
                  <a:cubicBezTo>
                    <a:pt x="55705" y="0"/>
                    <a:pt x="56137" y="432"/>
                    <a:pt x="56569" y="864"/>
                  </a:cubicBezTo>
                  <a:cubicBezTo>
                    <a:pt x="56569" y="1295"/>
                    <a:pt x="57001" y="1295"/>
                    <a:pt x="57001" y="1295"/>
                  </a:cubicBezTo>
                  <a:cubicBezTo>
                    <a:pt x="57001" y="1295"/>
                    <a:pt x="57432" y="1295"/>
                    <a:pt x="57432" y="864"/>
                  </a:cubicBezTo>
                  <a:cubicBezTo>
                    <a:pt x="57432" y="864"/>
                    <a:pt x="57432" y="432"/>
                    <a:pt x="57864" y="432"/>
                  </a:cubicBezTo>
                  <a:cubicBezTo>
                    <a:pt x="57864" y="432"/>
                    <a:pt x="58296" y="864"/>
                    <a:pt x="58728" y="864"/>
                  </a:cubicBezTo>
                  <a:cubicBezTo>
                    <a:pt x="59592" y="2159"/>
                    <a:pt x="60887" y="3023"/>
                    <a:pt x="61319" y="4750"/>
                  </a:cubicBezTo>
                  <a:lnTo>
                    <a:pt x="63046" y="6045"/>
                  </a:lnTo>
                  <a:cubicBezTo>
                    <a:pt x="63478" y="6477"/>
                    <a:pt x="63478" y="6909"/>
                    <a:pt x="63478" y="7341"/>
                  </a:cubicBezTo>
                  <a:cubicBezTo>
                    <a:pt x="63478" y="7341"/>
                    <a:pt x="63478" y="7773"/>
                    <a:pt x="63478" y="8205"/>
                  </a:cubicBezTo>
                  <a:cubicBezTo>
                    <a:pt x="63478" y="8636"/>
                    <a:pt x="63046" y="9068"/>
                    <a:pt x="63046" y="9500"/>
                  </a:cubicBezTo>
                  <a:cubicBezTo>
                    <a:pt x="63046" y="9932"/>
                    <a:pt x="63478" y="10796"/>
                    <a:pt x="63910" y="11227"/>
                  </a:cubicBezTo>
                  <a:cubicBezTo>
                    <a:pt x="64342" y="11659"/>
                    <a:pt x="64342" y="12523"/>
                    <a:pt x="64342" y="13387"/>
                  </a:cubicBezTo>
                  <a:cubicBezTo>
                    <a:pt x="64342" y="14250"/>
                    <a:pt x="64773" y="15114"/>
                    <a:pt x="65205" y="15977"/>
                  </a:cubicBezTo>
                  <a:cubicBezTo>
                    <a:pt x="65205" y="16409"/>
                    <a:pt x="65205" y="17273"/>
                    <a:pt x="65637" y="17705"/>
                  </a:cubicBezTo>
                  <a:lnTo>
                    <a:pt x="65637" y="19000"/>
                  </a:lnTo>
                  <a:cubicBezTo>
                    <a:pt x="66501" y="19864"/>
                    <a:pt x="66501" y="20727"/>
                    <a:pt x="66501" y="21591"/>
                  </a:cubicBezTo>
                  <a:cubicBezTo>
                    <a:pt x="66501" y="22023"/>
                    <a:pt x="66501" y="22887"/>
                    <a:pt x="66501" y="23318"/>
                  </a:cubicBezTo>
                  <a:cubicBezTo>
                    <a:pt x="66069" y="23750"/>
                    <a:pt x="66069" y="24614"/>
                    <a:pt x="66069" y="25477"/>
                  </a:cubicBezTo>
                  <a:cubicBezTo>
                    <a:pt x="66069" y="25909"/>
                    <a:pt x="66069" y="25909"/>
                    <a:pt x="66069" y="26341"/>
                  </a:cubicBezTo>
                  <a:cubicBezTo>
                    <a:pt x="65637" y="26773"/>
                    <a:pt x="65637" y="27205"/>
                    <a:pt x="65637" y="27637"/>
                  </a:cubicBezTo>
                  <a:cubicBezTo>
                    <a:pt x="65637" y="28068"/>
                    <a:pt x="65637" y="28500"/>
                    <a:pt x="65637" y="28932"/>
                  </a:cubicBezTo>
                  <a:lnTo>
                    <a:pt x="65637" y="30228"/>
                  </a:lnTo>
                  <a:cubicBezTo>
                    <a:pt x="65637" y="33250"/>
                    <a:pt x="64342" y="35841"/>
                    <a:pt x="64342" y="38864"/>
                  </a:cubicBezTo>
                  <a:lnTo>
                    <a:pt x="64342" y="39296"/>
                  </a:lnTo>
                  <a:cubicBezTo>
                    <a:pt x="63478" y="40591"/>
                    <a:pt x="63478" y="42319"/>
                    <a:pt x="63046" y="43614"/>
                  </a:cubicBezTo>
                  <a:cubicBezTo>
                    <a:pt x="62614" y="45341"/>
                    <a:pt x="62182" y="47069"/>
                    <a:pt x="62182" y="48796"/>
                  </a:cubicBezTo>
                  <a:lnTo>
                    <a:pt x="60887" y="51819"/>
                  </a:lnTo>
                  <a:cubicBezTo>
                    <a:pt x="60887" y="53978"/>
                    <a:pt x="60455" y="56137"/>
                    <a:pt x="60455" y="58296"/>
                  </a:cubicBezTo>
                  <a:cubicBezTo>
                    <a:pt x="60455" y="58728"/>
                    <a:pt x="60455" y="59160"/>
                    <a:pt x="60023" y="59591"/>
                  </a:cubicBezTo>
                  <a:cubicBezTo>
                    <a:pt x="58296" y="61751"/>
                    <a:pt x="58296" y="64773"/>
                    <a:pt x="57864" y="67364"/>
                  </a:cubicBezTo>
                  <a:cubicBezTo>
                    <a:pt x="57432" y="69092"/>
                    <a:pt x="57001" y="70819"/>
                    <a:pt x="56137" y="72546"/>
                  </a:cubicBezTo>
                  <a:cubicBezTo>
                    <a:pt x="55705" y="73842"/>
                    <a:pt x="55273" y="75137"/>
                    <a:pt x="55273" y="76433"/>
                  </a:cubicBezTo>
                  <a:cubicBezTo>
                    <a:pt x="55273" y="76864"/>
                    <a:pt x="55273" y="77296"/>
                    <a:pt x="55273" y="77728"/>
                  </a:cubicBezTo>
                  <a:lnTo>
                    <a:pt x="55273" y="78160"/>
                  </a:lnTo>
                  <a:cubicBezTo>
                    <a:pt x="54410" y="79887"/>
                    <a:pt x="54410" y="82046"/>
                    <a:pt x="53546" y="83773"/>
                  </a:cubicBezTo>
                  <a:cubicBezTo>
                    <a:pt x="53546" y="84637"/>
                    <a:pt x="53546" y="85501"/>
                    <a:pt x="53114" y="85933"/>
                  </a:cubicBezTo>
                  <a:cubicBezTo>
                    <a:pt x="52682" y="86796"/>
                    <a:pt x="52682" y="87228"/>
                    <a:pt x="52682" y="88092"/>
                  </a:cubicBezTo>
                  <a:cubicBezTo>
                    <a:pt x="52682" y="88524"/>
                    <a:pt x="52682" y="88955"/>
                    <a:pt x="52251" y="88955"/>
                  </a:cubicBezTo>
                  <a:cubicBezTo>
                    <a:pt x="50955" y="91114"/>
                    <a:pt x="50523" y="93705"/>
                    <a:pt x="49660" y="96296"/>
                  </a:cubicBezTo>
                  <a:cubicBezTo>
                    <a:pt x="49228" y="97160"/>
                    <a:pt x="48796" y="98455"/>
                    <a:pt x="48796" y="99751"/>
                  </a:cubicBezTo>
                  <a:lnTo>
                    <a:pt x="48796" y="100183"/>
                  </a:lnTo>
                  <a:cubicBezTo>
                    <a:pt x="48796" y="101478"/>
                    <a:pt x="47932" y="102342"/>
                    <a:pt x="47932" y="103637"/>
                  </a:cubicBezTo>
                  <a:cubicBezTo>
                    <a:pt x="47069" y="106228"/>
                    <a:pt x="46637" y="112706"/>
                    <a:pt x="45341" y="114001"/>
                  </a:cubicBezTo>
                  <a:cubicBezTo>
                    <a:pt x="44478" y="115297"/>
                    <a:pt x="44046" y="117024"/>
                    <a:pt x="43614" y="118319"/>
                  </a:cubicBezTo>
                  <a:cubicBezTo>
                    <a:pt x="43614" y="119183"/>
                    <a:pt x="43182" y="120046"/>
                    <a:pt x="42750" y="120478"/>
                  </a:cubicBezTo>
                  <a:cubicBezTo>
                    <a:pt x="42319" y="121342"/>
                    <a:pt x="42319" y="121774"/>
                    <a:pt x="42319" y="122637"/>
                  </a:cubicBezTo>
                  <a:cubicBezTo>
                    <a:pt x="42319" y="123933"/>
                    <a:pt x="41887" y="124797"/>
                    <a:pt x="41887" y="125660"/>
                  </a:cubicBezTo>
                  <a:cubicBezTo>
                    <a:pt x="41455" y="126956"/>
                    <a:pt x="41023" y="127819"/>
                    <a:pt x="41023" y="128683"/>
                  </a:cubicBezTo>
                  <a:cubicBezTo>
                    <a:pt x="41023" y="130842"/>
                    <a:pt x="40160" y="132569"/>
                    <a:pt x="39296" y="134297"/>
                  </a:cubicBezTo>
                  <a:cubicBezTo>
                    <a:pt x="38864" y="135160"/>
                    <a:pt x="38432" y="136024"/>
                    <a:pt x="38432" y="136888"/>
                  </a:cubicBezTo>
                  <a:cubicBezTo>
                    <a:pt x="38432" y="137319"/>
                    <a:pt x="38432" y="137319"/>
                    <a:pt x="38432" y="137751"/>
                  </a:cubicBezTo>
                  <a:lnTo>
                    <a:pt x="38432" y="138183"/>
                  </a:lnTo>
                  <a:cubicBezTo>
                    <a:pt x="38432" y="138615"/>
                    <a:pt x="38432" y="139047"/>
                    <a:pt x="38432" y="139478"/>
                  </a:cubicBezTo>
                  <a:cubicBezTo>
                    <a:pt x="38432" y="140774"/>
                    <a:pt x="38432" y="142069"/>
                    <a:pt x="37137" y="143365"/>
                  </a:cubicBezTo>
                  <a:cubicBezTo>
                    <a:pt x="37137" y="145092"/>
                    <a:pt x="35841" y="145956"/>
                    <a:pt x="35841" y="147683"/>
                  </a:cubicBezTo>
                  <a:lnTo>
                    <a:pt x="35841" y="149842"/>
                  </a:lnTo>
                  <a:cubicBezTo>
                    <a:pt x="35841" y="150706"/>
                    <a:pt x="35841" y="151570"/>
                    <a:pt x="35409" y="152001"/>
                  </a:cubicBezTo>
                  <a:cubicBezTo>
                    <a:pt x="34978" y="152433"/>
                    <a:pt x="34978" y="153297"/>
                    <a:pt x="34978" y="154161"/>
                  </a:cubicBezTo>
                  <a:cubicBezTo>
                    <a:pt x="34978" y="155024"/>
                    <a:pt x="34978" y="155024"/>
                    <a:pt x="36273" y="155024"/>
                  </a:cubicBezTo>
                  <a:cubicBezTo>
                    <a:pt x="36705" y="155024"/>
                    <a:pt x="37569" y="155024"/>
                    <a:pt x="37569" y="154592"/>
                  </a:cubicBezTo>
                  <a:cubicBezTo>
                    <a:pt x="38864" y="152433"/>
                    <a:pt x="40160" y="151138"/>
                    <a:pt x="40591" y="148979"/>
                  </a:cubicBezTo>
                  <a:cubicBezTo>
                    <a:pt x="41455" y="147251"/>
                    <a:pt x="42750" y="145956"/>
                    <a:pt x="44046" y="144660"/>
                  </a:cubicBezTo>
                  <a:cubicBezTo>
                    <a:pt x="44910" y="143365"/>
                    <a:pt x="45773" y="142069"/>
                    <a:pt x="46205" y="140774"/>
                  </a:cubicBezTo>
                  <a:cubicBezTo>
                    <a:pt x="46205" y="139910"/>
                    <a:pt x="46637" y="139047"/>
                    <a:pt x="47069" y="138615"/>
                  </a:cubicBezTo>
                  <a:cubicBezTo>
                    <a:pt x="47069" y="138183"/>
                    <a:pt x="47500" y="138183"/>
                    <a:pt x="47932" y="138183"/>
                  </a:cubicBezTo>
                  <a:cubicBezTo>
                    <a:pt x="48364" y="138183"/>
                    <a:pt x="48364" y="138183"/>
                    <a:pt x="48364" y="138183"/>
                  </a:cubicBezTo>
                  <a:cubicBezTo>
                    <a:pt x="48796" y="138183"/>
                    <a:pt x="49228" y="137751"/>
                    <a:pt x="49228" y="137319"/>
                  </a:cubicBezTo>
                  <a:cubicBezTo>
                    <a:pt x="49228" y="136888"/>
                    <a:pt x="50091" y="136024"/>
                    <a:pt x="50091" y="135592"/>
                  </a:cubicBezTo>
                  <a:cubicBezTo>
                    <a:pt x="50091" y="133865"/>
                    <a:pt x="50955" y="133433"/>
                    <a:pt x="52251" y="133001"/>
                  </a:cubicBezTo>
                  <a:cubicBezTo>
                    <a:pt x="52682" y="133001"/>
                    <a:pt x="52682" y="133001"/>
                    <a:pt x="52682" y="132569"/>
                  </a:cubicBezTo>
                  <a:lnTo>
                    <a:pt x="52682" y="132138"/>
                  </a:lnTo>
                  <a:cubicBezTo>
                    <a:pt x="52682" y="131706"/>
                    <a:pt x="52251" y="131706"/>
                    <a:pt x="52251" y="131274"/>
                  </a:cubicBezTo>
                  <a:cubicBezTo>
                    <a:pt x="52251" y="130842"/>
                    <a:pt x="52682" y="130410"/>
                    <a:pt x="53114" y="129978"/>
                  </a:cubicBezTo>
                  <a:lnTo>
                    <a:pt x="54410" y="128251"/>
                  </a:lnTo>
                  <a:cubicBezTo>
                    <a:pt x="54410" y="126956"/>
                    <a:pt x="55273" y="126092"/>
                    <a:pt x="56137" y="125228"/>
                  </a:cubicBezTo>
                  <a:cubicBezTo>
                    <a:pt x="57001" y="124365"/>
                    <a:pt x="57432" y="123069"/>
                    <a:pt x="58296" y="121774"/>
                  </a:cubicBezTo>
                  <a:cubicBezTo>
                    <a:pt x="58296" y="121342"/>
                    <a:pt x="58728" y="120478"/>
                    <a:pt x="59160" y="120046"/>
                  </a:cubicBezTo>
                  <a:cubicBezTo>
                    <a:pt x="60455" y="118751"/>
                    <a:pt x="60887" y="116592"/>
                    <a:pt x="62182" y="115297"/>
                  </a:cubicBezTo>
                  <a:lnTo>
                    <a:pt x="66932" y="108819"/>
                  </a:lnTo>
                  <a:cubicBezTo>
                    <a:pt x="67364" y="108819"/>
                    <a:pt x="67364" y="108387"/>
                    <a:pt x="67364" y="108387"/>
                  </a:cubicBezTo>
                  <a:lnTo>
                    <a:pt x="69955" y="105365"/>
                  </a:lnTo>
                  <a:lnTo>
                    <a:pt x="71683" y="102342"/>
                  </a:lnTo>
                  <a:cubicBezTo>
                    <a:pt x="71683" y="102342"/>
                    <a:pt x="71683" y="101910"/>
                    <a:pt x="71683" y="101478"/>
                  </a:cubicBezTo>
                  <a:cubicBezTo>
                    <a:pt x="71683" y="101046"/>
                    <a:pt x="71683" y="101046"/>
                    <a:pt x="72114" y="100614"/>
                  </a:cubicBezTo>
                  <a:cubicBezTo>
                    <a:pt x="72546" y="100183"/>
                    <a:pt x="72978" y="99751"/>
                    <a:pt x="72978" y="99319"/>
                  </a:cubicBezTo>
                  <a:cubicBezTo>
                    <a:pt x="74273" y="98455"/>
                    <a:pt x="75137" y="96728"/>
                    <a:pt x="76001" y="95433"/>
                  </a:cubicBezTo>
                  <a:cubicBezTo>
                    <a:pt x="76433" y="94569"/>
                    <a:pt x="77296" y="93705"/>
                    <a:pt x="78160" y="92842"/>
                  </a:cubicBezTo>
                  <a:lnTo>
                    <a:pt x="80751" y="89819"/>
                  </a:lnTo>
                  <a:cubicBezTo>
                    <a:pt x="81183" y="89387"/>
                    <a:pt x="81183" y="88524"/>
                    <a:pt x="82046" y="88524"/>
                  </a:cubicBezTo>
                  <a:lnTo>
                    <a:pt x="88524" y="80319"/>
                  </a:lnTo>
                  <a:cubicBezTo>
                    <a:pt x="88524" y="79887"/>
                    <a:pt x="88955" y="79455"/>
                    <a:pt x="88955" y="79455"/>
                  </a:cubicBezTo>
                  <a:cubicBezTo>
                    <a:pt x="89819" y="79023"/>
                    <a:pt x="90251" y="78160"/>
                    <a:pt x="90683" y="77296"/>
                  </a:cubicBezTo>
                  <a:cubicBezTo>
                    <a:pt x="90683" y="76433"/>
                    <a:pt x="91546" y="75137"/>
                    <a:pt x="92410" y="74273"/>
                  </a:cubicBezTo>
                  <a:lnTo>
                    <a:pt x="93705" y="72546"/>
                  </a:lnTo>
                  <a:cubicBezTo>
                    <a:pt x="94137" y="71682"/>
                    <a:pt x="94569" y="71251"/>
                    <a:pt x="95433" y="71251"/>
                  </a:cubicBezTo>
                  <a:cubicBezTo>
                    <a:pt x="95865" y="71251"/>
                    <a:pt x="95865" y="70819"/>
                    <a:pt x="96296" y="70387"/>
                  </a:cubicBezTo>
                  <a:cubicBezTo>
                    <a:pt x="96296" y="65205"/>
                    <a:pt x="106228" y="60887"/>
                    <a:pt x="116592" y="60887"/>
                  </a:cubicBezTo>
                  <a:cubicBezTo>
                    <a:pt x="125660" y="60887"/>
                    <a:pt x="135160" y="64341"/>
                    <a:pt x="138183" y="73410"/>
                  </a:cubicBezTo>
                  <a:cubicBezTo>
                    <a:pt x="138615" y="74273"/>
                    <a:pt x="138615" y="74705"/>
                    <a:pt x="138615" y="75569"/>
                  </a:cubicBezTo>
                  <a:cubicBezTo>
                    <a:pt x="139910" y="78592"/>
                    <a:pt x="139910" y="81183"/>
                    <a:pt x="140342" y="83773"/>
                  </a:cubicBezTo>
                  <a:cubicBezTo>
                    <a:pt x="140342" y="85069"/>
                    <a:pt x="140342" y="85933"/>
                    <a:pt x="139910" y="86796"/>
                  </a:cubicBezTo>
                  <a:cubicBezTo>
                    <a:pt x="139479" y="87228"/>
                    <a:pt x="139479" y="87228"/>
                    <a:pt x="139479" y="87660"/>
                  </a:cubicBezTo>
                  <a:cubicBezTo>
                    <a:pt x="139479" y="88092"/>
                    <a:pt x="139479" y="88524"/>
                    <a:pt x="139910" y="88524"/>
                  </a:cubicBezTo>
                  <a:cubicBezTo>
                    <a:pt x="139910" y="88955"/>
                    <a:pt x="139910" y="88955"/>
                    <a:pt x="139910" y="89387"/>
                  </a:cubicBezTo>
                  <a:cubicBezTo>
                    <a:pt x="139910" y="89819"/>
                    <a:pt x="139910" y="90251"/>
                    <a:pt x="139910" y="90683"/>
                  </a:cubicBezTo>
                  <a:cubicBezTo>
                    <a:pt x="139479" y="91114"/>
                    <a:pt x="139479" y="91546"/>
                    <a:pt x="139479" y="91978"/>
                  </a:cubicBezTo>
                  <a:cubicBezTo>
                    <a:pt x="139910" y="92842"/>
                    <a:pt x="139910" y="93705"/>
                    <a:pt x="139910" y="94137"/>
                  </a:cubicBezTo>
                  <a:cubicBezTo>
                    <a:pt x="139910" y="95433"/>
                    <a:pt x="139479" y="96296"/>
                    <a:pt x="139479" y="97592"/>
                  </a:cubicBezTo>
                  <a:lnTo>
                    <a:pt x="139479" y="107092"/>
                  </a:lnTo>
                  <a:cubicBezTo>
                    <a:pt x="139047" y="107956"/>
                    <a:pt x="139047" y="108819"/>
                    <a:pt x="139047" y="109683"/>
                  </a:cubicBezTo>
                  <a:cubicBezTo>
                    <a:pt x="139047" y="110546"/>
                    <a:pt x="139047" y="111410"/>
                    <a:pt x="139047" y="111842"/>
                  </a:cubicBezTo>
                  <a:cubicBezTo>
                    <a:pt x="139047" y="113569"/>
                    <a:pt x="139047" y="114865"/>
                    <a:pt x="138615" y="116160"/>
                  </a:cubicBezTo>
                  <a:cubicBezTo>
                    <a:pt x="138183" y="116592"/>
                    <a:pt x="138183" y="117024"/>
                    <a:pt x="138183" y="117456"/>
                  </a:cubicBezTo>
                  <a:lnTo>
                    <a:pt x="138183" y="117887"/>
                  </a:lnTo>
                  <a:cubicBezTo>
                    <a:pt x="138183" y="118751"/>
                    <a:pt x="137751" y="119183"/>
                    <a:pt x="137320" y="120046"/>
                  </a:cubicBezTo>
                  <a:cubicBezTo>
                    <a:pt x="137320" y="120046"/>
                    <a:pt x="137320" y="120046"/>
                    <a:pt x="136888" y="120046"/>
                  </a:cubicBezTo>
                  <a:lnTo>
                    <a:pt x="136456" y="120046"/>
                  </a:lnTo>
                  <a:cubicBezTo>
                    <a:pt x="136024" y="120046"/>
                    <a:pt x="135592" y="120046"/>
                    <a:pt x="135592" y="120478"/>
                  </a:cubicBezTo>
                  <a:cubicBezTo>
                    <a:pt x="135592" y="120910"/>
                    <a:pt x="135592" y="121342"/>
                    <a:pt x="136024" y="121774"/>
                  </a:cubicBezTo>
                  <a:cubicBezTo>
                    <a:pt x="136024" y="121774"/>
                    <a:pt x="136024" y="122206"/>
                    <a:pt x="136456" y="122206"/>
                  </a:cubicBezTo>
                  <a:cubicBezTo>
                    <a:pt x="136456" y="121774"/>
                    <a:pt x="136888" y="121774"/>
                    <a:pt x="136888" y="121774"/>
                  </a:cubicBezTo>
                  <a:cubicBezTo>
                    <a:pt x="137320" y="121774"/>
                    <a:pt x="137320" y="121774"/>
                    <a:pt x="137320" y="121774"/>
                  </a:cubicBezTo>
                  <a:cubicBezTo>
                    <a:pt x="137751" y="121774"/>
                    <a:pt x="138183" y="122206"/>
                    <a:pt x="138183" y="122637"/>
                  </a:cubicBezTo>
                  <a:cubicBezTo>
                    <a:pt x="138183" y="123501"/>
                    <a:pt x="138183" y="123933"/>
                    <a:pt x="137751" y="124365"/>
                  </a:cubicBezTo>
                  <a:lnTo>
                    <a:pt x="137751" y="129547"/>
                  </a:lnTo>
                  <a:cubicBezTo>
                    <a:pt x="137751" y="131706"/>
                    <a:pt x="137751" y="133433"/>
                    <a:pt x="137320" y="135592"/>
                  </a:cubicBezTo>
                  <a:cubicBezTo>
                    <a:pt x="136888" y="136024"/>
                    <a:pt x="136888" y="136024"/>
                    <a:pt x="136888" y="136456"/>
                  </a:cubicBezTo>
                  <a:cubicBezTo>
                    <a:pt x="136888" y="136888"/>
                    <a:pt x="136888" y="137319"/>
                    <a:pt x="137320" y="137319"/>
                  </a:cubicBezTo>
                  <a:cubicBezTo>
                    <a:pt x="137751" y="138183"/>
                    <a:pt x="137751" y="138615"/>
                    <a:pt x="137751" y="139478"/>
                  </a:cubicBezTo>
                  <a:cubicBezTo>
                    <a:pt x="137751" y="140774"/>
                    <a:pt x="137320" y="142069"/>
                    <a:pt x="136888" y="142933"/>
                  </a:cubicBezTo>
                  <a:lnTo>
                    <a:pt x="136888" y="145524"/>
                  </a:lnTo>
                  <a:cubicBezTo>
                    <a:pt x="137751" y="147683"/>
                    <a:pt x="138615" y="149842"/>
                    <a:pt x="138615" y="152433"/>
                  </a:cubicBezTo>
                  <a:cubicBezTo>
                    <a:pt x="138615" y="152865"/>
                    <a:pt x="138615" y="153297"/>
                    <a:pt x="138615" y="153729"/>
                  </a:cubicBezTo>
                  <a:lnTo>
                    <a:pt x="138615" y="155456"/>
                  </a:lnTo>
                  <a:cubicBezTo>
                    <a:pt x="139479" y="157183"/>
                    <a:pt x="139479" y="158910"/>
                    <a:pt x="139910" y="160638"/>
                  </a:cubicBezTo>
                  <a:cubicBezTo>
                    <a:pt x="139910" y="161070"/>
                    <a:pt x="140342" y="161070"/>
                    <a:pt x="140342" y="161501"/>
                  </a:cubicBezTo>
                  <a:cubicBezTo>
                    <a:pt x="140342" y="163661"/>
                    <a:pt x="141206" y="165820"/>
                    <a:pt x="142501" y="167979"/>
                  </a:cubicBezTo>
                  <a:cubicBezTo>
                    <a:pt x="142501" y="168411"/>
                    <a:pt x="142933" y="169274"/>
                    <a:pt x="143365" y="169706"/>
                  </a:cubicBezTo>
                  <a:cubicBezTo>
                    <a:pt x="143797" y="170138"/>
                    <a:pt x="143797" y="170570"/>
                    <a:pt x="144229" y="170570"/>
                  </a:cubicBezTo>
                  <a:cubicBezTo>
                    <a:pt x="144660" y="170570"/>
                    <a:pt x="145092" y="170138"/>
                    <a:pt x="145524" y="169706"/>
                  </a:cubicBezTo>
                  <a:cubicBezTo>
                    <a:pt x="146388" y="169274"/>
                    <a:pt x="147251" y="168842"/>
                    <a:pt x="147683" y="167547"/>
                  </a:cubicBezTo>
                  <a:cubicBezTo>
                    <a:pt x="147683" y="167115"/>
                    <a:pt x="148115" y="166683"/>
                    <a:pt x="148115" y="166683"/>
                  </a:cubicBezTo>
                  <a:cubicBezTo>
                    <a:pt x="148979" y="165820"/>
                    <a:pt x="149842" y="164956"/>
                    <a:pt x="150274" y="163661"/>
                  </a:cubicBezTo>
                  <a:cubicBezTo>
                    <a:pt x="150274" y="163229"/>
                    <a:pt x="151138" y="163229"/>
                    <a:pt x="151138" y="162797"/>
                  </a:cubicBezTo>
                  <a:cubicBezTo>
                    <a:pt x="152001" y="162797"/>
                    <a:pt x="152433" y="162365"/>
                    <a:pt x="152865" y="161501"/>
                  </a:cubicBezTo>
                  <a:cubicBezTo>
                    <a:pt x="152865" y="160638"/>
                    <a:pt x="153729" y="160206"/>
                    <a:pt x="154592" y="159342"/>
                  </a:cubicBezTo>
                  <a:cubicBezTo>
                    <a:pt x="155456" y="158479"/>
                    <a:pt x="155888" y="158047"/>
                    <a:pt x="155888" y="157183"/>
                  </a:cubicBezTo>
                  <a:cubicBezTo>
                    <a:pt x="155888" y="157183"/>
                    <a:pt x="155888" y="156751"/>
                    <a:pt x="155888" y="156320"/>
                  </a:cubicBezTo>
                  <a:cubicBezTo>
                    <a:pt x="157183" y="154161"/>
                    <a:pt x="158479" y="152433"/>
                    <a:pt x="160206" y="151138"/>
                  </a:cubicBezTo>
                  <a:cubicBezTo>
                    <a:pt x="160206" y="150706"/>
                    <a:pt x="160638" y="150706"/>
                    <a:pt x="160638" y="150274"/>
                  </a:cubicBezTo>
                  <a:cubicBezTo>
                    <a:pt x="160638" y="148979"/>
                    <a:pt x="161502" y="148115"/>
                    <a:pt x="161933" y="147251"/>
                  </a:cubicBezTo>
                  <a:cubicBezTo>
                    <a:pt x="162365" y="146820"/>
                    <a:pt x="162365" y="146820"/>
                    <a:pt x="162365" y="146388"/>
                  </a:cubicBezTo>
                  <a:lnTo>
                    <a:pt x="162365" y="145956"/>
                  </a:lnTo>
                  <a:cubicBezTo>
                    <a:pt x="162365" y="145524"/>
                    <a:pt x="161933" y="145524"/>
                    <a:pt x="161933" y="145092"/>
                  </a:cubicBezTo>
                  <a:cubicBezTo>
                    <a:pt x="161933" y="144660"/>
                    <a:pt x="162365" y="144660"/>
                    <a:pt x="163229" y="144229"/>
                  </a:cubicBezTo>
                  <a:cubicBezTo>
                    <a:pt x="163661" y="143797"/>
                    <a:pt x="191729" y="108819"/>
                    <a:pt x="191729" y="107956"/>
                  </a:cubicBezTo>
                  <a:lnTo>
                    <a:pt x="193456" y="106228"/>
                  </a:lnTo>
                  <a:cubicBezTo>
                    <a:pt x="193456" y="104933"/>
                    <a:pt x="193456" y="103637"/>
                    <a:pt x="194752" y="102774"/>
                  </a:cubicBezTo>
                  <a:cubicBezTo>
                    <a:pt x="195616" y="104069"/>
                    <a:pt x="195616" y="105365"/>
                    <a:pt x="195616" y="106228"/>
                  </a:cubicBezTo>
                  <a:cubicBezTo>
                    <a:pt x="195184" y="107092"/>
                    <a:pt x="195184" y="107524"/>
                    <a:pt x="195184" y="107956"/>
                  </a:cubicBezTo>
                  <a:cubicBezTo>
                    <a:pt x="195184" y="108819"/>
                    <a:pt x="195616" y="109251"/>
                    <a:pt x="196047" y="109683"/>
                  </a:cubicBezTo>
                  <a:cubicBezTo>
                    <a:pt x="196479" y="109683"/>
                    <a:pt x="196479" y="110115"/>
                    <a:pt x="196479" y="110115"/>
                  </a:cubicBezTo>
                  <a:cubicBezTo>
                    <a:pt x="196911" y="110546"/>
                    <a:pt x="197343" y="110546"/>
                    <a:pt x="197343" y="110546"/>
                  </a:cubicBezTo>
                  <a:cubicBezTo>
                    <a:pt x="197343" y="110546"/>
                    <a:pt x="197343" y="110546"/>
                    <a:pt x="197343" y="110115"/>
                  </a:cubicBezTo>
                  <a:cubicBezTo>
                    <a:pt x="198206" y="109683"/>
                    <a:pt x="198206" y="109251"/>
                    <a:pt x="198638" y="109251"/>
                  </a:cubicBezTo>
                  <a:cubicBezTo>
                    <a:pt x="198638" y="108819"/>
                    <a:pt x="198638" y="108819"/>
                    <a:pt x="198638" y="108819"/>
                  </a:cubicBezTo>
                  <a:cubicBezTo>
                    <a:pt x="198638" y="108819"/>
                    <a:pt x="199070" y="108819"/>
                    <a:pt x="199502" y="109251"/>
                  </a:cubicBezTo>
                  <a:lnTo>
                    <a:pt x="199502" y="110115"/>
                  </a:lnTo>
                  <a:cubicBezTo>
                    <a:pt x="198638" y="110115"/>
                    <a:pt x="198638" y="110546"/>
                    <a:pt x="198638" y="110978"/>
                  </a:cubicBezTo>
                  <a:lnTo>
                    <a:pt x="198206" y="111842"/>
                  </a:lnTo>
                  <a:lnTo>
                    <a:pt x="199070" y="111842"/>
                  </a:lnTo>
                  <a:lnTo>
                    <a:pt x="199070" y="112706"/>
                  </a:lnTo>
                  <a:cubicBezTo>
                    <a:pt x="198638" y="113137"/>
                    <a:pt x="198638" y="113569"/>
                    <a:pt x="198638" y="113569"/>
                  </a:cubicBezTo>
                  <a:cubicBezTo>
                    <a:pt x="198638" y="114001"/>
                    <a:pt x="199502" y="114001"/>
                    <a:pt x="199934" y="114433"/>
                  </a:cubicBezTo>
                  <a:lnTo>
                    <a:pt x="199934" y="114865"/>
                  </a:lnTo>
                  <a:cubicBezTo>
                    <a:pt x="199070" y="115728"/>
                    <a:pt x="198638" y="116592"/>
                    <a:pt x="198206" y="117887"/>
                  </a:cubicBezTo>
                  <a:lnTo>
                    <a:pt x="198206" y="119183"/>
                  </a:lnTo>
                  <a:cubicBezTo>
                    <a:pt x="198206" y="119615"/>
                    <a:pt x="199070" y="120046"/>
                    <a:pt x="199070" y="120046"/>
                  </a:cubicBezTo>
                  <a:cubicBezTo>
                    <a:pt x="199502" y="120046"/>
                    <a:pt x="199502" y="120046"/>
                    <a:pt x="199934" y="120046"/>
                  </a:cubicBezTo>
                  <a:lnTo>
                    <a:pt x="200366" y="120046"/>
                  </a:lnTo>
                  <a:cubicBezTo>
                    <a:pt x="200366" y="120910"/>
                    <a:pt x="200366" y="121774"/>
                    <a:pt x="200366" y="122206"/>
                  </a:cubicBezTo>
                  <a:cubicBezTo>
                    <a:pt x="200366" y="122637"/>
                    <a:pt x="200366" y="122637"/>
                    <a:pt x="200366" y="123069"/>
                  </a:cubicBezTo>
                  <a:cubicBezTo>
                    <a:pt x="199502" y="123501"/>
                    <a:pt x="199070" y="124797"/>
                    <a:pt x="197775" y="126524"/>
                  </a:cubicBezTo>
                  <a:lnTo>
                    <a:pt x="196911" y="126524"/>
                  </a:lnTo>
                  <a:cubicBezTo>
                    <a:pt x="196479" y="126524"/>
                    <a:pt x="196047" y="125660"/>
                    <a:pt x="196047" y="124797"/>
                  </a:cubicBezTo>
                  <a:cubicBezTo>
                    <a:pt x="196047" y="124365"/>
                    <a:pt x="196047" y="124365"/>
                    <a:pt x="196047" y="123933"/>
                  </a:cubicBezTo>
                  <a:cubicBezTo>
                    <a:pt x="195616" y="124365"/>
                    <a:pt x="195616" y="124365"/>
                    <a:pt x="195184" y="124365"/>
                  </a:cubicBezTo>
                  <a:cubicBezTo>
                    <a:pt x="195184" y="124797"/>
                    <a:pt x="195184" y="124797"/>
                    <a:pt x="195184" y="124797"/>
                  </a:cubicBezTo>
                  <a:close/>
                  <a:moveTo>
                    <a:pt x="37137" y="196479"/>
                  </a:moveTo>
                  <a:lnTo>
                    <a:pt x="36705" y="196479"/>
                  </a:lnTo>
                  <a:cubicBezTo>
                    <a:pt x="36705" y="196479"/>
                    <a:pt x="36705" y="196911"/>
                    <a:pt x="37137" y="197343"/>
                  </a:cubicBezTo>
                  <a:lnTo>
                    <a:pt x="37569" y="197343"/>
                  </a:lnTo>
                  <a:cubicBezTo>
                    <a:pt x="38000" y="197343"/>
                    <a:pt x="37569" y="196911"/>
                    <a:pt x="37569" y="196911"/>
                  </a:cubicBezTo>
                  <a:lnTo>
                    <a:pt x="37137" y="196479"/>
                  </a:lnTo>
                  <a:close/>
                  <a:moveTo>
                    <a:pt x="44478" y="184820"/>
                  </a:moveTo>
                  <a:lnTo>
                    <a:pt x="44478" y="182229"/>
                  </a:lnTo>
                  <a:lnTo>
                    <a:pt x="44046" y="182229"/>
                  </a:lnTo>
                  <a:cubicBezTo>
                    <a:pt x="43614" y="182661"/>
                    <a:pt x="43182" y="183093"/>
                    <a:pt x="43182" y="183956"/>
                  </a:cubicBezTo>
                  <a:cubicBezTo>
                    <a:pt x="43182" y="184388"/>
                    <a:pt x="43182" y="184388"/>
                    <a:pt x="43182" y="184820"/>
                  </a:cubicBezTo>
                  <a:cubicBezTo>
                    <a:pt x="43182" y="185252"/>
                    <a:pt x="43614" y="185252"/>
                    <a:pt x="44046" y="185252"/>
                  </a:cubicBezTo>
                  <a:lnTo>
                    <a:pt x="44478" y="184820"/>
                  </a:lnTo>
                  <a:close/>
                  <a:moveTo>
                    <a:pt x="47500" y="181797"/>
                  </a:moveTo>
                  <a:lnTo>
                    <a:pt x="47069" y="181365"/>
                  </a:lnTo>
                  <a:cubicBezTo>
                    <a:pt x="47069" y="181365"/>
                    <a:pt x="46637" y="181365"/>
                    <a:pt x="46637" y="181797"/>
                  </a:cubicBezTo>
                  <a:lnTo>
                    <a:pt x="46637" y="182229"/>
                  </a:lnTo>
                  <a:cubicBezTo>
                    <a:pt x="46637" y="182661"/>
                    <a:pt x="47069" y="182661"/>
                    <a:pt x="47069" y="182661"/>
                  </a:cubicBezTo>
                  <a:cubicBezTo>
                    <a:pt x="47069" y="182661"/>
                    <a:pt x="47069" y="182661"/>
                    <a:pt x="47500" y="182229"/>
                  </a:cubicBezTo>
                  <a:cubicBezTo>
                    <a:pt x="47500" y="182229"/>
                    <a:pt x="47932" y="181797"/>
                    <a:pt x="47500" y="181797"/>
                  </a:cubicBezTo>
                  <a:close/>
                  <a:moveTo>
                    <a:pt x="57001" y="167115"/>
                  </a:moveTo>
                  <a:cubicBezTo>
                    <a:pt x="57864" y="167115"/>
                    <a:pt x="58296" y="167547"/>
                    <a:pt x="58296" y="167979"/>
                  </a:cubicBezTo>
                  <a:cubicBezTo>
                    <a:pt x="57864" y="168411"/>
                    <a:pt x="57864" y="168411"/>
                    <a:pt x="57432" y="168411"/>
                  </a:cubicBezTo>
                  <a:cubicBezTo>
                    <a:pt x="57432" y="168842"/>
                    <a:pt x="57001" y="168411"/>
                    <a:pt x="57001" y="168411"/>
                  </a:cubicBezTo>
                  <a:cubicBezTo>
                    <a:pt x="57001" y="167979"/>
                    <a:pt x="57001" y="167547"/>
                    <a:pt x="56569" y="167115"/>
                  </a:cubicBezTo>
                  <a:lnTo>
                    <a:pt x="57001" y="167115"/>
                  </a:lnTo>
                  <a:close/>
                  <a:moveTo>
                    <a:pt x="58728" y="152433"/>
                  </a:moveTo>
                  <a:cubicBezTo>
                    <a:pt x="58728" y="152001"/>
                    <a:pt x="58728" y="151570"/>
                    <a:pt x="58296" y="151138"/>
                  </a:cubicBezTo>
                  <a:cubicBezTo>
                    <a:pt x="57864" y="151570"/>
                    <a:pt x="57864" y="152001"/>
                    <a:pt x="57864" y="152433"/>
                  </a:cubicBezTo>
                  <a:lnTo>
                    <a:pt x="58728" y="152433"/>
                  </a:lnTo>
                  <a:close/>
                  <a:moveTo>
                    <a:pt x="58728" y="162365"/>
                  </a:moveTo>
                  <a:cubicBezTo>
                    <a:pt x="58728" y="161933"/>
                    <a:pt x="58728" y="161501"/>
                    <a:pt x="59160" y="161501"/>
                  </a:cubicBezTo>
                  <a:cubicBezTo>
                    <a:pt x="60023" y="160638"/>
                    <a:pt x="60887" y="159342"/>
                    <a:pt x="61319" y="158047"/>
                  </a:cubicBezTo>
                  <a:lnTo>
                    <a:pt x="61751" y="158047"/>
                  </a:lnTo>
                  <a:cubicBezTo>
                    <a:pt x="61751" y="158047"/>
                    <a:pt x="62182" y="157615"/>
                    <a:pt x="62182" y="158047"/>
                  </a:cubicBezTo>
                  <a:cubicBezTo>
                    <a:pt x="62182" y="158047"/>
                    <a:pt x="62614" y="158047"/>
                    <a:pt x="62614" y="158479"/>
                  </a:cubicBezTo>
                  <a:cubicBezTo>
                    <a:pt x="62182" y="159342"/>
                    <a:pt x="62182" y="160206"/>
                    <a:pt x="62182" y="161070"/>
                  </a:cubicBezTo>
                  <a:cubicBezTo>
                    <a:pt x="62182" y="161501"/>
                    <a:pt x="61751" y="161501"/>
                    <a:pt x="61751" y="161933"/>
                  </a:cubicBezTo>
                  <a:cubicBezTo>
                    <a:pt x="60887" y="162797"/>
                    <a:pt x="60455" y="164092"/>
                    <a:pt x="60455" y="165388"/>
                  </a:cubicBezTo>
                  <a:lnTo>
                    <a:pt x="60023" y="165820"/>
                  </a:lnTo>
                  <a:cubicBezTo>
                    <a:pt x="60023" y="165820"/>
                    <a:pt x="59592" y="166252"/>
                    <a:pt x="59160" y="166252"/>
                  </a:cubicBezTo>
                  <a:cubicBezTo>
                    <a:pt x="59160" y="165820"/>
                    <a:pt x="58728" y="165820"/>
                    <a:pt x="58728" y="165388"/>
                  </a:cubicBezTo>
                  <a:lnTo>
                    <a:pt x="58728" y="162365"/>
                  </a:lnTo>
                  <a:close/>
                  <a:moveTo>
                    <a:pt x="63478" y="139910"/>
                  </a:moveTo>
                  <a:cubicBezTo>
                    <a:pt x="63910" y="139910"/>
                    <a:pt x="63910" y="139910"/>
                    <a:pt x="64342" y="139910"/>
                  </a:cubicBezTo>
                  <a:lnTo>
                    <a:pt x="64773" y="139910"/>
                  </a:lnTo>
                  <a:lnTo>
                    <a:pt x="64773" y="141206"/>
                  </a:lnTo>
                  <a:cubicBezTo>
                    <a:pt x="64773" y="141638"/>
                    <a:pt x="64342" y="142069"/>
                    <a:pt x="63910" y="142501"/>
                  </a:cubicBezTo>
                  <a:cubicBezTo>
                    <a:pt x="63910" y="142933"/>
                    <a:pt x="63910" y="143797"/>
                    <a:pt x="64773" y="143797"/>
                  </a:cubicBezTo>
                  <a:cubicBezTo>
                    <a:pt x="65205" y="143797"/>
                    <a:pt x="65205" y="143797"/>
                    <a:pt x="65205" y="143365"/>
                  </a:cubicBezTo>
                  <a:lnTo>
                    <a:pt x="66069" y="142069"/>
                  </a:lnTo>
                  <a:cubicBezTo>
                    <a:pt x="66501" y="141206"/>
                    <a:pt x="66501" y="140342"/>
                    <a:pt x="66501" y="139910"/>
                  </a:cubicBezTo>
                  <a:cubicBezTo>
                    <a:pt x="66501" y="139478"/>
                    <a:pt x="66501" y="139478"/>
                    <a:pt x="66069" y="139478"/>
                  </a:cubicBezTo>
                  <a:lnTo>
                    <a:pt x="63910" y="138183"/>
                  </a:lnTo>
                  <a:lnTo>
                    <a:pt x="63046" y="139047"/>
                  </a:lnTo>
                  <a:lnTo>
                    <a:pt x="63046" y="139910"/>
                  </a:lnTo>
                  <a:lnTo>
                    <a:pt x="63478" y="139910"/>
                  </a:lnTo>
                  <a:close/>
                  <a:moveTo>
                    <a:pt x="68660" y="144229"/>
                  </a:moveTo>
                  <a:cubicBezTo>
                    <a:pt x="69523" y="143797"/>
                    <a:pt x="69955" y="143365"/>
                    <a:pt x="69955" y="142933"/>
                  </a:cubicBezTo>
                  <a:lnTo>
                    <a:pt x="70387" y="142933"/>
                  </a:lnTo>
                  <a:lnTo>
                    <a:pt x="69955" y="142501"/>
                  </a:lnTo>
                  <a:cubicBezTo>
                    <a:pt x="69523" y="142501"/>
                    <a:pt x="69523" y="142501"/>
                    <a:pt x="69523" y="142501"/>
                  </a:cubicBezTo>
                  <a:cubicBezTo>
                    <a:pt x="69092" y="142501"/>
                    <a:pt x="69092" y="142501"/>
                    <a:pt x="68660" y="142069"/>
                  </a:cubicBezTo>
                  <a:cubicBezTo>
                    <a:pt x="68660" y="141638"/>
                    <a:pt x="68660" y="141206"/>
                    <a:pt x="68228" y="141206"/>
                  </a:cubicBezTo>
                  <a:cubicBezTo>
                    <a:pt x="68228" y="140774"/>
                    <a:pt x="68228" y="140774"/>
                    <a:pt x="67796" y="140774"/>
                  </a:cubicBezTo>
                  <a:lnTo>
                    <a:pt x="67796" y="141206"/>
                  </a:lnTo>
                  <a:cubicBezTo>
                    <a:pt x="67796" y="142069"/>
                    <a:pt x="68228" y="143365"/>
                    <a:pt x="68228" y="144229"/>
                  </a:cubicBezTo>
                  <a:lnTo>
                    <a:pt x="68660" y="144229"/>
                  </a:lnTo>
                  <a:close/>
                  <a:moveTo>
                    <a:pt x="72546" y="137319"/>
                  </a:moveTo>
                  <a:cubicBezTo>
                    <a:pt x="72546" y="137751"/>
                    <a:pt x="72978" y="137751"/>
                    <a:pt x="73410" y="137751"/>
                  </a:cubicBezTo>
                  <a:lnTo>
                    <a:pt x="73842" y="137751"/>
                  </a:lnTo>
                  <a:cubicBezTo>
                    <a:pt x="74273" y="137319"/>
                    <a:pt x="74705" y="137319"/>
                    <a:pt x="74705" y="136888"/>
                  </a:cubicBezTo>
                  <a:cubicBezTo>
                    <a:pt x="74705" y="136456"/>
                    <a:pt x="74273" y="136456"/>
                    <a:pt x="74273" y="136024"/>
                  </a:cubicBezTo>
                  <a:cubicBezTo>
                    <a:pt x="73842" y="136024"/>
                    <a:pt x="73842" y="135592"/>
                    <a:pt x="73410" y="135592"/>
                  </a:cubicBezTo>
                  <a:lnTo>
                    <a:pt x="72978" y="135592"/>
                  </a:lnTo>
                  <a:cubicBezTo>
                    <a:pt x="72546" y="135592"/>
                    <a:pt x="72546" y="135592"/>
                    <a:pt x="72546" y="136024"/>
                  </a:cubicBezTo>
                  <a:lnTo>
                    <a:pt x="72546" y="137319"/>
                  </a:lnTo>
                  <a:close/>
                  <a:moveTo>
                    <a:pt x="75569" y="127388"/>
                  </a:moveTo>
                  <a:lnTo>
                    <a:pt x="75569" y="126956"/>
                  </a:lnTo>
                  <a:lnTo>
                    <a:pt x="74705" y="126956"/>
                  </a:lnTo>
                  <a:cubicBezTo>
                    <a:pt x="74705" y="126956"/>
                    <a:pt x="74273" y="127388"/>
                    <a:pt x="74273" y="127819"/>
                  </a:cubicBezTo>
                  <a:cubicBezTo>
                    <a:pt x="74273" y="127819"/>
                    <a:pt x="74705" y="127819"/>
                    <a:pt x="74705" y="128251"/>
                  </a:cubicBezTo>
                  <a:cubicBezTo>
                    <a:pt x="75137" y="128251"/>
                    <a:pt x="75569" y="127819"/>
                    <a:pt x="75569" y="127388"/>
                  </a:cubicBezTo>
                  <a:close/>
                  <a:moveTo>
                    <a:pt x="77728" y="129547"/>
                  </a:moveTo>
                  <a:lnTo>
                    <a:pt x="76864" y="129547"/>
                  </a:lnTo>
                  <a:lnTo>
                    <a:pt x="75569" y="131706"/>
                  </a:lnTo>
                  <a:lnTo>
                    <a:pt x="75569" y="132138"/>
                  </a:lnTo>
                  <a:cubicBezTo>
                    <a:pt x="75569" y="133001"/>
                    <a:pt x="76001" y="133865"/>
                    <a:pt x="76433" y="133865"/>
                  </a:cubicBezTo>
                  <a:lnTo>
                    <a:pt x="76864" y="133865"/>
                  </a:lnTo>
                  <a:cubicBezTo>
                    <a:pt x="77296" y="133865"/>
                    <a:pt x="77296" y="133865"/>
                    <a:pt x="77296" y="133865"/>
                  </a:cubicBezTo>
                  <a:cubicBezTo>
                    <a:pt x="77728" y="133865"/>
                    <a:pt x="77728" y="133865"/>
                    <a:pt x="77728" y="133433"/>
                  </a:cubicBezTo>
                  <a:lnTo>
                    <a:pt x="77728" y="133001"/>
                  </a:lnTo>
                  <a:cubicBezTo>
                    <a:pt x="77728" y="132569"/>
                    <a:pt x="77728" y="132138"/>
                    <a:pt x="77728" y="132138"/>
                  </a:cubicBezTo>
                  <a:cubicBezTo>
                    <a:pt x="77728" y="131706"/>
                    <a:pt x="77728" y="131706"/>
                    <a:pt x="77728" y="131274"/>
                  </a:cubicBezTo>
                  <a:cubicBezTo>
                    <a:pt x="78160" y="130842"/>
                    <a:pt x="78160" y="130410"/>
                    <a:pt x="78160" y="129978"/>
                  </a:cubicBezTo>
                  <a:cubicBezTo>
                    <a:pt x="78160" y="129978"/>
                    <a:pt x="78160" y="129547"/>
                    <a:pt x="77728" y="129547"/>
                  </a:cubicBezTo>
                  <a:close/>
                  <a:moveTo>
                    <a:pt x="82910" y="124365"/>
                  </a:moveTo>
                  <a:lnTo>
                    <a:pt x="82478" y="123933"/>
                  </a:lnTo>
                  <a:cubicBezTo>
                    <a:pt x="82046" y="123933"/>
                    <a:pt x="81183" y="123501"/>
                    <a:pt x="80751" y="123069"/>
                  </a:cubicBezTo>
                  <a:cubicBezTo>
                    <a:pt x="80751" y="123069"/>
                    <a:pt x="80319" y="123069"/>
                    <a:pt x="80319" y="123501"/>
                  </a:cubicBezTo>
                  <a:cubicBezTo>
                    <a:pt x="80319" y="123933"/>
                    <a:pt x="80319" y="124365"/>
                    <a:pt x="80751" y="124365"/>
                  </a:cubicBezTo>
                  <a:cubicBezTo>
                    <a:pt x="81183" y="124365"/>
                    <a:pt x="81614" y="124797"/>
                    <a:pt x="82478" y="124797"/>
                  </a:cubicBezTo>
                  <a:cubicBezTo>
                    <a:pt x="82478" y="124797"/>
                    <a:pt x="82910" y="124797"/>
                    <a:pt x="82910" y="124365"/>
                  </a:cubicBezTo>
                  <a:close/>
                  <a:moveTo>
                    <a:pt x="82046" y="117024"/>
                  </a:moveTo>
                  <a:lnTo>
                    <a:pt x="82478" y="117024"/>
                  </a:lnTo>
                  <a:lnTo>
                    <a:pt x="83774" y="114865"/>
                  </a:lnTo>
                  <a:lnTo>
                    <a:pt x="83774" y="114433"/>
                  </a:lnTo>
                  <a:lnTo>
                    <a:pt x="83342" y="114433"/>
                  </a:lnTo>
                  <a:cubicBezTo>
                    <a:pt x="82478" y="114433"/>
                    <a:pt x="82046" y="114865"/>
                    <a:pt x="82046" y="115728"/>
                  </a:cubicBezTo>
                  <a:cubicBezTo>
                    <a:pt x="82046" y="115728"/>
                    <a:pt x="82046" y="115728"/>
                    <a:pt x="82046" y="116160"/>
                  </a:cubicBezTo>
                  <a:lnTo>
                    <a:pt x="82046" y="117024"/>
                  </a:lnTo>
                  <a:close/>
                  <a:moveTo>
                    <a:pt x="82910" y="121774"/>
                  </a:moveTo>
                  <a:cubicBezTo>
                    <a:pt x="82910" y="122206"/>
                    <a:pt x="83342" y="122637"/>
                    <a:pt x="83774" y="122637"/>
                  </a:cubicBezTo>
                  <a:lnTo>
                    <a:pt x="83774" y="122206"/>
                  </a:lnTo>
                  <a:cubicBezTo>
                    <a:pt x="83774" y="121774"/>
                    <a:pt x="83774" y="121774"/>
                    <a:pt x="83342" y="121342"/>
                  </a:cubicBezTo>
                  <a:cubicBezTo>
                    <a:pt x="83342" y="121774"/>
                    <a:pt x="82910" y="121774"/>
                    <a:pt x="82910" y="121774"/>
                  </a:cubicBezTo>
                  <a:close/>
                  <a:moveTo>
                    <a:pt x="84637" y="117887"/>
                  </a:moveTo>
                  <a:lnTo>
                    <a:pt x="85069" y="117456"/>
                  </a:lnTo>
                  <a:cubicBezTo>
                    <a:pt x="84637" y="117456"/>
                    <a:pt x="84637" y="117456"/>
                    <a:pt x="84205" y="117024"/>
                  </a:cubicBezTo>
                  <a:lnTo>
                    <a:pt x="84637" y="117887"/>
                  </a:lnTo>
                  <a:close/>
                  <a:moveTo>
                    <a:pt x="88955" y="113569"/>
                  </a:moveTo>
                  <a:lnTo>
                    <a:pt x="88524" y="113569"/>
                  </a:lnTo>
                  <a:cubicBezTo>
                    <a:pt x="88524" y="113137"/>
                    <a:pt x="88524" y="113569"/>
                    <a:pt x="88092" y="113569"/>
                  </a:cubicBezTo>
                  <a:cubicBezTo>
                    <a:pt x="87660" y="114433"/>
                    <a:pt x="87228" y="115297"/>
                    <a:pt x="87228" y="116592"/>
                  </a:cubicBezTo>
                  <a:cubicBezTo>
                    <a:pt x="87228" y="117024"/>
                    <a:pt x="87660" y="117024"/>
                    <a:pt x="87660" y="117024"/>
                  </a:cubicBezTo>
                  <a:lnTo>
                    <a:pt x="88524" y="117024"/>
                  </a:lnTo>
                  <a:cubicBezTo>
                    <a:pt x="88955" y="116592"/>
                    <a:pt x="88955" y="115728"/>
                    <a:pt x="88955" y="114865"/>
                  </a:cubicBezTo>
                  <a:lnTo>
                    <a:pt x="88955" y="113569"/>
                  </a:lnTo>
                  <a:close/>
                  <a:moveTo>
                    <a:pt x="191297" y="117456"/>
                  </a:moveTo>
                  <a:cubicBezTo>
                    <a:pt x="191729" y="116592"/>
                    <a:pt x="191729" y="115728"/>
                    <a:pt x="191729" y="113569"/>
                  </a:cubicBezTo>
                  <a:lnTo>
                    <a:pt x="178343" y="133001"/>
                  </a:lnTo>
                  <a:lnTo>
                    <a:pt x="164524" y="148547"/>
                  </a:lnTo>
                  <a:cubicBezTo>
                    <a:pt x="164524" y="148979"/>
                    <a:pt x="164524" y="148979"/>
                    <a:pt x="164524" y="148979"/>
                  </a:cubicBezTo>
                  <a:lnTo>
                    <a:pt x="164956" y="151138"/>
                  </a:lnTo>
                  <a:cubicBezTo>
                    <a:pt x="165388" y="151570"/>
                    <a:pt x="165388" y="150706"/>
                    <a:pt x="165388" y="151138"/>
                  </a:cubicBezTo>
                  <a:cubicBezTo>
                    <a:pt x="165388" y="151570"/>
                    <a:pt x="164956" y="152001"/>
                    <a:pt x="164956" y="152433"/>
                  </a:cubicBezTo>
                  <a:lnTo>
                    <a:pt x="164956" y="152865"/>
                  </a:lnTo>
                  <a:cubicBezTo>
                    <a:pt x="164956" y="153297"/>
                    <a:pt x="182661" y="130410"/>
                    <a:pt x="182661" y="130410"/>
                  </a:cubicBezTo>
                  <a:cubicBezTo>
                    <a:pt x="183093" y="130842"/>
                    <a:pt x="190865" y="120046"/>
                    <a:pt x="191297" y="119183"/>
                  </a:cubicBezTo>
                  <a:lnTo>
                    <a:pt x="191297" y="117456"/>
                  </a:lnTo>
                  <a:close/>
                  <a:moveTo>
                    <a:pt x="176184" y="174024"/>
                  </a:moveTo>
                  <a:cubicBezTo>
                    <a:pt x="175752" y="174024"/>
                    <a:pt x="175752" y="174024"/>
                    <a:pt x="175752" y="174456"/>
                  </a:cubicBezTo>
                  <a:lnTo>
                    <a:pt x="175320" y="174456"/>
                  </a:lnTo>
                  <a:lnTo>
                    <a:pt x="174888" y="174024"/>
                  </a:lnTo>
                  <a:lnTo>
                    <a:pt x="174888" y="173593"/>
                  </a:lnTo>
                  <a:cubicBezTo>
                    <a:pt x="174888" y="173593"/>
                    <a:pt x="174888" y="173593"/>
                    <a:pt x="174888" y="173161"/>
                  </a:cubicBezTo>
                  <a:cubicBezTo>
                    <a:pt x="174888" y="173161"/>
                    <a:pt x="175320" y="173161"/>
                    <a:pt x="175320" y="173593"/>
                  </a:cubicBezTo>
                  <a:lnTo>
                    <a:pt x="176184" y="174024"/>
                  </a:lnTo>
                  <a:close/>
                  <a:moveTo>
                    <a:pt x="177047" y="170138"/>
                  </a:moveTo>
                  <a:cubicBezTo>
                    <a:pt x="177047" y="170138"/>
                    <a:pt x="177047" y="170570"/>
                    <a:pt x="176615" y="171002"/>
                  </a:cubicBezTo>
                  <a:lnTo>
                    <a:pt x="176184" y="171002"/>
                  </a:lnTo>
                  <a:cubicBezTo>
                    <a:pt x="176184" y="170138"/>
                    <a:pt x="176615" y="169706"/>
                    <a:pt x="176615" y="169274"/>
                  </a:cubicBezTo>
                  <a:lnTo>
                    <a:pt x="177047" y="169274"/>
                  </a:lnTo>
                  <a:lnTo>
                    <a:pt x="177047" y="170138"/>
                  </a:lnTo>
                  <a:close/>
                  <a:moveTo>
                    <a:pt x="192593" y="113569"/>
                  </a:moveTo>
                  <a:cubicBezTo>
                    <a:pt x="192593" y="114001"/>
                    <a:pt x="192593" y="114001"/>
                    <a:pt x="192593" y="114433"/>
                  </a:cubicBezTo>
                  <a:cubicBezTo>
                    <a:pt x="192593" y="115297"/>
                    <a:pt x="193025" y="116160"/>
                    <a:pt x="193456" y="116160"/>
                  </a:cubicBezTo>
                  <a:lnTo>
                    <a:pt x="193888" y="116160"/>
                  </a:lnTo>
                  <a:cubicBezTo>
                    <a:pt x="194320" y="116160"/>
                    <a:pt x="194752" y="116160"/>
                    <a:pt x="194752" y="117887"/>
                  </a:cubicBezTo>
                  <a:lnTo>
                    <a:pt x="195184" y="117887"/>
                  </a:lnTo>
                  <a:cubicBezTo>
                    <a:pt x="195616" y="117456"/>
                    <a:pt x="196047" y="117456"/>
                    <a:pt x="196047" y="117456"/>
                  </a:cubicBezTo>
                  <a:cubicBezTo>
                    <a:pt x="196479" y="117456"/>
                    <a:pt x="196047" y="117887"/>
                    <a:pt x="196047" y="117887"/>
                  </a:cubicBezTo>
                  <a:lnTo>
                    <a:pt x="196047" y="118751"/>
                  </a:lnTo>
                  <a:cubicBezTo>
                    <a:pt x="196047" y="119183"/>
                    <a:pt x="196047" y="119183"/>
                    <a:pt x="196911" y="119183"/>
                  </a:cubicBezTo>
                  <a:cubicBezTo>
                    <a:pt x="196911" y="119615"/>
                    <a:pt x="196911" y="119615"/>
                    <a:pt x="197343" y="119615"/>
                  </a:cubicBezTo>
                  <a:lnTo>
                    <a:pt x="197343" y="119183"/>
                  </a:lnTo>
                  <a:cubicBezTo>
                    <a:pt x="197343" y="118319"/>
                    <a:pt x="196911" y="117024"/>
                    <a:pt x="196911" y="115297"/>
                  </a:cubicBezTo>
                  <a:cubicBezTo>
                    <a:pt x="196911" y="114865"/>
                    <a:pt x="196911" y="114433"/>
                    <a:pt x="196911" y="114001"/>
                  </a:cubicBezTo>
                  <a:cubicBezTo>
                    <a:pt x="196047" y="113569"/>
                    <a:pt x="196047" y="112706"/>
                    <a:pt x="195616" y="110546"/>
                  </a:cubicBezTo>
                  <a:lnTo>
                    <a:pt x="195184" y="110115"/>
                  </a:lnTo>
                  <a:cubicBezTo>
                    <a:pt x="194752" y="110115"/>
                    <a:pt x="194752" y="110546"/>
                    <a:pt x="194752" y="110546"/>
                  </a:cubicBezTo>
                  <a:lnTo>
                    <a:pt x="192593" y="113569"/>
                  </a:lnTo>
                  <a:close/>
                  <a:moveTo>
                    <a:pt x="195184" y="113137"/>
                  </a:moveTo>
                  <a:cubicBezTo>
                    <a:pt x="194752" y="113137"/>
                    <a:pt x="194752" y="113569"/>
                    <a:pt x="194752" y="113569"/>
                  </a:cubicBezTo>
                  <a:lnTo>
                    <a:pt x="194320" y="113137"/>
                  </a:lnTo>
                  <a:cubicBezTo>
                    <a:pt x="194320" y="113137"/>
                    <a:pt x="194320" y="112274"/>
                    <a:pt x="194752" y="112274"/>
                  </a:cubicBezTo>
                  <a:lnTo>
                    <a:pt x="195184" y="113137"/>
                  </a:lnTo>
                  <a:close/>
                  <a:moveTo>
                    <a:pt x="196911" y="128683"/>
                  </a:moveTo>
                  <a:cubicBezTo>
                    <a:pt x="196479" y="129978"/>
                    <a:pt x="196479" y="129978"/>
                    <a:pt x="196479" y="130410"/>
                  </a:cubicBezTo>
                  <a:lnTo>
                    <a:pt x="196479" y="131706"/>
                  </a:lnTo>
                  <a:cubicBezTo>
                    <a:pt x="196479" y="131706"/>
                    <a:pt x="196047" y="133433"/>
                    <a:pt x="195184" y="133433"/>
                  </a:cubicBezTo>
                  <a:cubicBezTo>
                    <a:pt x="195184" y="133865"/>
                    <a:pt x="195184" y="133865"/>
                    <a:pt x="194320" y="133865"/>
                  </a:cubicBezTo>
                  <a:lnTo>
                    <a:pt x="194320" y="130410"/>
                  </a:lnTo>
                  <a:cubicBezTo>
                    <a:pt x="195184" y="129978"/>
                    <a:pt x="196479" y="129547"/>
                    <a:pt x="196911" y="128251"/>
                  </a:cubicBezTo>
                  <a:lnTo>
                    <a:pt x="196911" y="128683"/>
                  </a:lnTo>
                  <a:close/>
                  <a:moveTo>
                    <a:pt x="194752" y="128251"/>
                  </a:moveTo>
                  <a:cubicBezTo>
                    <a:pt x="194752" y="128683"/>
                    <a:pt x="194752" y="128683"/>
                    <a:pt x="194752" y="129115"/>
                  </a:cubicBezTo>
                  <a:lnTo>
                    <a:pt x="194752" y="127819"/>
                  </a:lnTo>
                  <a:lnTo>
                    <a:pt x="194752" y="128251"/>
                  </a:lnTo>
                  <a:close/>
                  <a:moveTo>
                    <a:pt x="195184" y="100183"/>
                  </a:moveTo>
                  <a:lnTo>
                    <a:pt x="195184" y="99751"/>
                  </a:lnTo>
                  <a:cubicBezTo>
                    <a:pt x="195184" y="99751"/>
                    <a:pt x="195616" y="99751"/>
                    <a:pt x="195616" y="100183"/>
                  </a:cubicBezTo>
                  <a:lnTo>
                    <a:pt x="195184" y="100183"/>
                  </a:lnTo>
                  <a:close/>
                  <a:moveTo>
                    <a:pt x="198206" y="105796"/>
                  </a:moveTo>
                  <a:lnTo>
                    <a:pt x="196911" y="106660"/>
                  </a:lnTo>
                  <a:lnTo>
                    <a:pt x="196479" y="106660"/>
                  </a:lnTo>
                  <a:lnTo>
                    <a:pt x="196479" y="105365"/>
                  </a:lnTo>
                  <a:lnTo>
                    <a:pt x="197343" y="105365"/>
                  </a:lnTo>
                  <a:lnTo>
                    <a:pt x="197343" y="105796"/>
                  </a:lnTo>
                  <a:lnTo>
                    <a:pt x="198206" y="105796"/>
                  </a:lnTo>
                  <a:close/>
                  <a:moveTo>
                    <a:pt x="197343" y="123069"/>
                  </a:moveTo>
                  <a:lnTo>
                    <a:pt x="197343" y="122637"/>
                  </a:lnTo>
                  <a:lnTo>
                    <a:pt x="196911" y="122637"/>
                  </a:lnTo>
                  <a:cubicBezTo>
                    <a:pt x="196911" y="123069"/>
                    <a:pt x="196911" y="123069"/>
                    <a:pt x="196479" y="123069"/>
                  </a:cubicBezTo>
                  <a:lnTo>
                    <a:pt x="197343" y="123069"/>
                  </a:lnTo>
                  <a:close/>
                  <a:moveTo>
                    <a:pt x="197343" y="96728"/>
                  </a:moveTo>
                  <a:cubicBezTo>
                    <a:pt x="197343" y="96296"/>
                    <a:pt x="197343" y="96296"/>
                    <a:pt x="197775" y="95865"/>
                  </a:cubicBezTo>
                  <a:cubicBezTo>
                    <a:pt x="197775" y="94569"/>
                    <a:pt x="197775" y="93705"/>
                    <a:pt x="198638" y="93274"/>
                  </a:cubicBezTo>
                  <a:cubicBezTo>
                    <a:pt x="199070" y="91978"/>
                    <a:pt x="199070" y="91114"/>
                    <a:pt x="199934" y="90683"/>
                  </a:cubicBezTo>
                  <a:cubicBezTo>
                    <a:pt x="200366" y="89387"/>
                    <a:pt x="200797" y="89387"/>
                    <a:pt x="200797" y="89387"/>
                  </a:cubicBezTo>
                  <a:lnTo>
                    <a:pt x="200366" y="90683"/>
                  </a:lnTo>
                  <a:lnTo>
                    <a:pt x="200366" y="91978"/>
                  </a:lnTo>
                  <a:cubicBezTo>
                    <a:pt x="198638" y="93274"/>
                    <a:pt x="198638" y="94137"/>
                    <a:pt x="198638" y="95865"/>
                  </a:cubicBezTo>
                  <a:cubicBezTo>
                    <a:pt x="197775" y="96296"/>
                    <a:pt x="197775" y="97160"/>
                    <a:pt x="197343" y="97592"/>
                  </a:cubicBezTo>
                  <a:cubicBezTo>
                    <a:pt x="197343" y="97592"/>
                    <a:pt x="197343" y="97160"/>
                    <a:pt x="197343" y="96728"/>
                  </a:cubicBezTo>
                  <a:close/>
                  <a:moveTo>
                    <a:pt x="202956" y="87660"/>
                  </a:moveTo>
                  <a:cubicBezTo>
                    <a:pt x="202525" y="88955"/>
                    <a:pt x="201661" y="88524"/>
                    <a:pt x="200797" y="88955"/>
                  </a:cubicBezTo>
                  <a:lnTo>
                    <a:pt x="200797" y="88524"/>
                  </a:lnTo>
                  <a:cubicBezTo>
                    <a:pt x="200797" y="88092"/>
                    <a:pt x="201229" y="86796"/>
                    <a:pt x="202093" y="86796"/>
                  </a:cubicBezTo>
                  <a:lnTo>
                    <a:pt x="202956" y="87660"/>
                  </a:lnTo>
                  <a:close/>
                  <a:moveTo>
                    <a:pt x="202525" y="85069"/>
                  </a:moveTo>
                  <a:cubicBezTo>
                    <a:pt x="202956" y="82910"/>
                    <a:pt x="204252" y="80751"/>
                    <a:pt x="205547" y="79887"/>
                  </a:cubicBezTo>
                  <a:cubicBezTo>
                    <a:pt x="205547" y="79455"/>
                    <a:pt x="205979" y="79455"/>
                    <a:pt x="205979" y="79455"/>
                  </a:cubicBezTo>
                  <a:lnTo>
                    <a:pt x="205979" y="79887"/>
                  </a:lnTo>
                  <a:cubicBezTo>
                    <a:pt x="205979" y="80319"/>
                    <a:pt x="205979" y="80751"/>
                    <a:pt x="205547" y="80751"/>
                  </a:cubicBezTo>
                  <a:cubicBezTo>
                    <a:pt x="205116" y="82910"/>
                    <a:pt x="204252" y="83773"/>
                    <a:pt x="203388" y="85933"/>
                  </a:cubicBezTo>
                  <a:cubicBezTo>
                    <a:pt x="203820" y="86364"/>
                    <a:pt x="203388" y="86364"/>
                    <a:pt x="203388" y="86364"/>
                  </a:cubicBezTo>
                  <a:lnTo>
                    <a:pt x="202525" y="85933"/>
                  </a:lnTo>
                  <a:lnTo>
                    <a:pt x="202525" y="85069"/>
                  </a:lnTo>
                  <a:close/>
                  <a:moveTo>
                    <a:pt x="202525" y="104933"/>
                  </a:moveTo>
                  <a:cubicBezTo>
                    <a:pt x="202525" y="104933"/>
                    <a:pt x="202956" y="104933"/>
                    <a:pt x="202956" y="104501"/>
                  </a:cubicBezTo>
                  <a:lnTo>
                    <a:pt x="203388" y="104933"/>
                  </a:lnTo>
                  <a:cubicBezTo>
                    <a:pt x="202956" y="104933"/>
                    <a:pt x="202956" y="105365"/>
                    <a:pt x="202956" y="105365"/>
                  </a:cubicBezTo>
                  <a:cubicBezTo>
                    <a:pt x="202525" y="105365"/>
                    <a:pt x="202525" y="104933"/>
                    <a:pt x="202525" y="104933"/>
                  </a:cubicBezTo>
                  <a:close/>
                  <a:moveTo>
                    <a:pt x="202956" y="103637"/>
                  </a:moveTo>
                  <a:lnTo>
                    <a:pt x="202956" y="102774"/>
                  </a:lnTo>
                  <a:cubicBezTo>
                    <a:pt x="202956" y="101478"/>
                    <a:pt x="202956" y="101046"/>
                    <a:pt x="203388" y="101046"/>
                  </a:cubicBezTo>
                  <a:lnTo>
                    <a:pt x="203820" y="101046"/>
                  </a:lnTo>
                  <a:lnTo>
                    <a:pt x="203820" y="101910"/>
                  </a:lnTo>
                  <a:cubicBezTo>
                    <a:pt x="203820" y="101910"/>
                    <a:pt x="203388" y="102774"/>
                    <a:pt x="203388" y="103637"/>
                  </a:cubicBezTo>
                  <a:lnTo>
                    <a:pt x="202956" y="103637"/>
                  </a:lnTo>
                  <a:close/>
                  <a:moveTo>
                    <a:pt x="205116" y="91546"/>
                  </a:moveTo>
                  <a:cubicBezTo>
                    <a:pt x="205116" y="91978"/>
                    <a:pt x="205116" y="91978"/>
                    <a:pt x="205116" y="91978"/>
                  </a:cubicBezTo>
                  <a:cubicBezTo>
                    <a:pt x="205116" y="92842"/>
                    <a:pt x="204684" y="93274"/>
                    <a:pt x="204252" y="94137"/>
                  </a:cubicBezTo>
                  <a:cubicBezTo>
                    <a:pt x="203820" y="93705"/>
                    <a:pt x="203820" y="93274"/>
                    <a:pt x="203820" y="92410"/>
                  </a:cubicBezTo>
                  <a:cubicBezTo>
                    <a:pt x="203820" y="91114"/>
                    <a:pt x="204252" y="89819"/>
                    <a:pt x="204684" y="88955"/>
                  </a:cubicBezTo>
                  <a:lnTo>
                    <a:pt x="205116" y="88092"/>
                  </a:lnTo>
                  <a:lnTo>
                    <a:pt x="205547" y="87660"/>
                  </a:lnTo>
                  <a:lnTo>
                    <a:pt x="205547" y="88092"/>
                  </a:lnTo>
                  <a:cubicBezTo>
                    <a:pt x="205116" y="88955"/>
                    <a:pt x="205116" y="88955"/>
                    <a:pt x="205116" y="90251"/>
                  </a:cubicBezTo>
                  <a:cubicBezTo>
                    <a:pt x="205116" y="90251"/>
                    <a:pt x="205116" y="91114"/>
                    <a:pt x="205116" y="91546"/>
                  </a:cubicBezTo>
                  <a:close/>
                </a:path>
              </a:pathLst>
            </a:custGeom>
            <a:solidFill>
              <a:srgbClr val="000000"/>
            </a:solidFill>
            <a:ln w="86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540ABFF3-2629-4609-8ED3-DC23F117C4E9}"/>
                </a:ext>
              </a:extLst>
            </p:cNvPr>
            <p:cNvSpPr/>
            <p:nvPr/>
          </p:nvSpPr>
          <p:spPr>
            <a:xfrm>
              <a:off x="1409294" y="6013146"/>
              <a:ext cx="276366" cy="380003"/>
            </a:xfrm>
            <a:custGeom>
              <a:avLst/>
              <a:gdLst>
                <a:gd name="connsiteX0" fmla="*/ 56137 w 276366"/>
                <a:gd name="connsiteY0" fmla="*/ 87660 h 380003"/>
                <a:gd name="connsiteX1" fmla="*/ 55705 w 276366"/>
                <a:gd name="connsiteY1" fmla="*/ 87228 h 380003"/>
                <a:gd name="connsiteX2" fmla="*/ 55705 w 276366"/>
                <a:gd name="connsiteY2" fmla="*/ 86796 h 380003"/>
                <a:gd name="connsiteX3" fmla="*/ 58296 w 276366"/>
                <a:gd name="connsiteY3" fmla="*/ 85069 h 380003"/>
                <a:gd name="connsiteX4" fmla="*/ 59160 w 276366"/>
                <a:gd name="connsiteY4" fmla="*/ 85069 h 380003"/>
                <a:gd name="connsiteX5" fmla="*/ 62182 w 276366"/>
                <a:gd name="connsiteY5" fmla="*/ 84637 h 380003"/>
                <a:gd name="connsiteX6" fmla="*/ 63910 w 276366"/>
                <a:gd name="connsiteY6" fmla="*/ 83773 h 380003"/>
                <a:gd name="connsiteX7" fmla="*/ 66069 w 276366"/>
                <a:gd name="connsiteY7" fmla="*/ 82910 h 380003"/>
                <a:gd name="connsiteX8" fmla="*/ 68660 w 276366"/>
                <a:gd name="connsiteY8" fmla="*/ 81614 h 380003"/>
                <a:gd name="connsiteX9" fmla="*/ 70387 w 276366"/>
                <a:gd name="connsiteY9" fmla="*/ 81614 h 380003"/>
                <a:gd name="connsiteX10" fmla="*/ 76432 w 276366"/>
                <a:gd name="connsiteY10" fmla="*/ 80319 h 380003"/>
                <a:gd name="connsiteX11" fmla="*/ 77728 w 276366"/>
                <a:gd name="connsiteY11" fmla="*/ 80319 h 380003"/>
                <a:gd name="connsiteX12" fmla="*/ 78592 w 276366"/>
                <a:gd name="connsiteY12" fmla="*/ 81183 h 380003"/>
                <a:gd name="connsiteX13" fmla="*/ 76432 w 276366"/>
                <a:gd name="connsiteY13" fmla="*/ 83773 h 380003"/>
                <a:gd name="connsiteX14" fmla="*/ 75137 w 276366"/>
                <a:gd name="connsiteY14" fmla="*/ 84205 h 380003"/>
                <a:gd name="connsiteX15" fmla="*/ 74705 w 276366"/>
                <a:gd name="connsiteY15" fmla="*/ 84637 h 380003"/>
                <a:gd name="connsiteX16" fmla="*/ 74705 w 276366"/>
                <a:gd name="connsiteY16" fmla="*/ 85069 h 380003"/>
                <a:gd name="connsiteX17" fmla="*/ 75569 w 276366"/>
                <a:gd name="connsiteY17" fmla="*/ 85933 h 380003"/>
                <a:gd name="connsiteX18" fmla="*/ 76432 w 276366"/>
                <a:gd name="connsiteY18" fmla="*/ 86364 h 380003"/>
                <a:gd name="connsiteX19" fmla="*/ 77296 w 276366"/>
                <a:gd name="connsiteY19" fmla="*/ 86364 h 380003"/>
                <a:gd name="connsiteX20" fmla="*/ 78160 w 276366"/>
                <a:gd name="connsiteY20" fmla="*/ 87228 h 380003"/>
                <a:gd name="connsiteX21" fmla="*/ 79023 w 276366"/>
                <a:gd name="connsiteY21" fmla="*/ 87228 h 380003"/>
                <a:gd name="connsiteX22" fmla="*/ 80751 w 276366"/>
                <a:gd name="connsiteY22" fmla="*/ 85069 h 380003"/>
                <a:gd name="connsiteX23" fmla="*/ 83773 w 276366"/>
                <a:gd name="connsiteY23" fmla="*/ 82910 h 380003"/>
                <a:gd name="connsiteX24" fmla="*/ 84637 w 276366"/>
                <a:gd name="connsiteY24" fmla="*/ 80319 h 380003"/>
                <a:gd name="connsiteX25" fmla="*/ 87228 w 276366"/>
                <a:gd name="connsiteY25" fmla="*/ 78592 h 380003"/>
                <a:gd name="connsiteX26" fmla="*/ 88092 w 276366"/>
                <a:gd name="connsiteY26" fmla="*/ 78592 h 380003"/>
                <a:gd name="connsiteX27" fmla="*/ 90251 w 276366"/>
                <a:gd name="connsiteY27" fmla="*/ 78160 h 380003"/>
                <a:gd name="connsiteX28" fmla="*/ 92410 w 276366"/>
                <a:gd name="connsiteY28" fmla="*/ 77296 h 380003"/>
                <a:gd name="connsiteX29" fmla="*/ 93705 w 276366"/>
                <a:gd name="connsiteY29" fmla="*/ 78160 h 380003"/>
                <a:gd name="connsiteX30" fmla="*/ 94137 w 276366"/>
                <a:gd name="connsiteY30" fmla="*/ 79023 h 380003"/>
                <a:gd name="connsiteX31" fmla="*/ 95864 w 276366"/>
                <a:gd name="connsiteY31" fmla="*/ 78592 h 380003"/>
                <a:gd name="connsiteX32" fmla="*/ 96296 w 276366"/>
                <a:gd name="connsiteY32" fmla="*/ 78592 h 380003"/>
                <a:gd name="connsiteX33" fmla="*/ 96728 w 276366"/>
                <a:gd name="connsiteY33" fmla="*/ 78160 h 380003"/>
                <a:gd name="connsiteX34" fmla="*/ 101046 w 276366"/>
                <a:gd name="connsiteY34" fmla="*/ 75137 h 380003"/>
                <a:gd name="connsiteX35" fmla="*/ 105365 w 276366"/>
                <a:gd name="connsiteY35" fmla="*/ 75137 h 380003"/>
                <a:gd name="connsiteX36" fmla="*/ 105796 w 276366"/>
                <a:gd name="connsiteY36" fmla="*/ 75569 h 380003"/>
                <a:gd name="connsiteX37" fmla="*/ 105796 w 276366"/>
                <a:gd name="connsiteY37" fmla="*/ 76001 h 380003"/>
                <a:gd name="connsiteX38" fmla="*/ 104501 w 276366"/>
                <a:gd name="connsiteY38" fmla="*/ 77728 h 380003"/>
                <a:gd name="connsiteX39" fmla="*/ 104501 w 276366"/>
                <a:gd name="connsiteY39" fmla="*/ 78160 h 380003"/>
                <a:gd name="connsiteX40" fmla="*/ 105796 w 276366"/>
                <a:gd name="connsiteY40" fmla="*/ 78160 h 380003"/>
                <a:gd name="connsiteX41" fmla="*/ 108387 w 276366"/>
                <a:gd name="connsiteY41" fmla="*/ 77296 h 380003"/>
                <a:gd name="connsiteX42" fmla="*/ 110115 w 276366"/>
                <a:gd name="connsiteY42" fmla="*/ 76001 h 380003"/>
                <a:gd name="connsiteX43" fmla="*/ 108819 w 276366"/>
                <a:gd name="connsiteY43" fmla="*/ 77728 h 380003"/>
                <a:gd name="connsiteX44" fmla="*/ 106228 w 276366"/>
                <a:gd name="connsiteY44" fmla="*/ 79455 h 380003"/>
                <a:gd name="connsiteX45" fmla="*/ 105365 w 276366"/>
                <a:gd name="connsiteY45" fmla="*/ 79455 h 380003"/>
                <a:gd name="connsiteX46" fmla="*/ 104501 w 276366"/>
                <a:gd name="connsiteY46" fmla="*/ 80319 h 380003"/>
                <a:gd name="connsiteX47" fmla="*/ 104501 w 276366"/>
                <a:gd name="connsiteY47" fmla="*/ 81183 h 380003"/>
                <a:gd name="connsiteX48" fmla="*/ 108819 w 276366"/>
                <a:gd name="connsiteY48" fmla="*/ 80319 h 380003"/>
                <a:gd name="connsiteX49" fmla="*/ 109683 w 276366"/>
                <a:gd name="connsiteY49" fmla="*/ 80319 h 380003"/>
                <a:gd name="connsiteX50" fmla="*/ 111842 w 276366"/>
                <a:gd name="connsiteY50" fmla="*/ 79455 h 380003"/>
                <a:gd name="connsiteX51" fmla="*/ 112705 w 276366"/>
                <a:gd name="connsiteY51" fmla="*/ 79023 h 380003"/>
                <a:gd name="connsiteX52" fmla="*/ 111842 w 276366"/>
                <a:gd name="connsiteY52" fmla="*/ 78592 h 380003"/>
                <a:gd name="connsiteX53" fmla="*/ 111410 w 276366"/>
                <a:gd name="connsiteY53" fmla="*/ 78160 h 380003"/>
                <a:gd name="connsiteX54" fmla="*/ 110978 w 276366"/>
                <a:gd name="connsiteY54" fmla="*/ 77296 h 380003"/>
                <a:gd name="connsiteX55" fmla="*/ 111842 w 276366"/>
                <a:gd name="connsiteY55" fmla="*/ 76001 h 380003"/>
                <a:gd name="connsiteX56" fmla="*/ 113137 w 276366"/>
                <a:gd name="connsiteY56" fmla="*/ 75137 h 380003"/>
                <a:gd name="connsiteX57" fmla="*/ 114001 w 276366"/>
                <a:gd name="connsiteY57" fmla="*/ 73410 h 380003"/>
                <a:gd name="connsiteX58" fmla="*/ 118751 w 276366"/>
                <a:gd name="connsiteY58" fmla="*/ 56137 h 380003"/>
                <a:gd name="connsiteX59" fmla="*/ 119183 w 276366"/>
                <a:gd name="connsiteY59" fmla="*/ 48796 h 380003"/>
                <a:gd name="connsiteX60" fmla="*/ 122206 w 276366"/>
                <a:gd name="connsiteY60" fmla="*/ 46637 h 380003"/>
                <a:gd name="connsiteX61" fmla="*/ 123069 w 276366"/>
                <a:gd name="connsiteY61" fmla="*/ 45773 h 380003"/>
                <a:gd name="connsiteX62" fmla="*/ 122637 w 276366"/>
                <a:gd name="connsiteY62" fmla="*/ 45341 h 380003"/>
                <a:gd name="connsiteX63" fmla="*/ 123069 w 276366"/>
                <a:gd name="connsiteY63" fmla="*/ 44046 h 380003"/>
                <a:gd name="connsiteX64" fmla="*/ 121342 w 276366"/>
                <a:gd name="connsiteY64" fmla="*/ 43182 h 380003"/>
                <a:gd name="connsiteX65" fmla="*/ 120910 w 276366"/>
                <a:gd name="connsiteY65" fmla="*/ 41023 h 380003"/>
                <a:gd name="connsiteX66" fmla="*/ 120910 w 276366"/>
                <a:gd name="connsiteY66" fmla="*/ 40159 h 380003"/>
                <a:gd name="connsiteX67" fmla="*/ 122206 w 276366"/>
                <a:gd name="connsiteY67" fmla="*/ 38864 h 380003"/>
                <a:gd name="connsiteX68" fmla="*/ 122637 w 276366"/>
                <a:gd name="connsiteY68" fmla="*/ 37569 h 380003"/>
                <a:gd name="connsiteX69" fmla="*/ 122637 w 276366"/>
                <a:gd name="connsiteY69" fmla="*/ 36705 h 380003"/>
                <a:gd name="connsiteX70" fmla="*/ 123501 w 276366"/>
                <a:gd name="connsiteY70" fmla="*/ 34546 h 380003"/>
                <a:gd name="connsiteX71" fmla="*/ 124797 w 276366"/>
                <a:gd name="connsiteY71" fmla="*/ 32387 h 380003"/>
                <a:gd name="connsiteX72" fmla="*/ 124797 w 276366"/>
                <a:gd name="connsiteY72" fmla="*/ 31955 h 380003"/>
                <a:gd name="connsiteX73" fmla="*/ 125660 w 276366"/>
                <a:gd name="connsiteY73" fmla="*/ 29796 h 380003"/>
                <a:gd name="connsiteX74" fmla="*/ 126092 w 276366"/>
                <a:gd name="connsiteY74" fmla="*/ 29364 h 380003"/>
                <a:gd name="connsiteX75" fmla="*/ 126092 w 276366"/>
                <a:gd name="connsiteY75" fmla="*/ 28932 h 380003"/>
                <a:gd name="connsiteX76" fmla="*/ 125660 w 276366"/>
                <a:gd name="connsiteY76" fmla="*/ 28500 h 380003"/>
                <a:gd name="connsiteX77" fmla="*/ 125660 w 276366"/>
                <a:gd name="connsiteY77" fmla="*/ 26341 h 380003"/>
                <a:gd name="connsiteX78" fmla="*/ 126092 w 276366"/>
                <a:gd name="connsiteY78" fmla="*/ 25477 h 380003"/>
                <a:gd name="connsiteX79" fmla="*/ 128251 w 276366"/>
                <a:gd name="connsiteY79" fmla="*/ 23750 h 380003"/>
                <a:gd name="connsiteX80" fmla="*/ 127819 w 276366"/>
                <a:gd name="connsiteY80" fmla="*/ 23318 h 380003"/>
                <a:gd name="connsiteX81" fmla="*/ 129115 w 276366"/>
                <a:gd name="connsiteY81" fmla="*/ 20727 h 380003"/>
                <a:gd name="connsiteX82" fmla="*/ 128683 w 276366"/>
                <a:gd name="connsiteY82" fmla="*/ 20296 h 380003"/>
                <a:gd name="connsiteX83" fmla="*/ 130410 w 276366"/>
                <a:gd name="connsiteY83" fmla="*/ 19432 h 380003"/>
                <a:gd name="connsiteX84" fmla="*/ 132137 w 276366"/>
                <a:gd name="connsiteY84" fmla="*/ 18137 h 380003"/>
                <a:gd name="connsiteX85" fmla="*/ 132137 w 276366"/>
                <a:gd name="connsiteY85" fmla="*/ 15977 h 380003"/>
                <a:gd name="connsiteX86" fmla="*/ 134728 w 276366"/>
                <a:gd name="connsiteY86" fmla="*/ 13818 h 380003"/>
                <a:gd name="connsiteX87" fmla="*/ 136024 w 276366"/>
                <a:gd name="connsiteY87" fmla="*/ 9932 h 380003"/>
                <a:gd name="connsiteX88" fmla="*/ 136888 w 276366"/>
                <a:gd name="connsiteY88" fmla="*/ 9500 h 380003"/>
                <a:gd name="connsiteX89" fmla="*/ 137319 w 276366"/>
                <a:gd name="connsiteY89" fmla="*/ 8205 h 380003"/>
                <a:gd name="connsiteX90" fmla="*/ 138615 w 276366"/>
                <a:gd name="connsiteY90" fmla="*/ 6045 h 380003"/>
                <a:gd name="connsiteX91" fmla="*/ 140774 w 276366"/>
                <a:gd name="connsiteY91" fmla="*/ 4318 h 380003"/>
                <a:gd name="connsiteX92" fmla="*/ 140342 w 276366"/>
                <a:gd name="connsiteY92" fmla="*/ 3455 h 380003"/>
                <a:gd name="connsiteX93" fmla="*/ 142069 w 276366"/>
                <a:gd name="connsiteY93" fmla="*/ 2591 h 380003"/>
                <a:gd name="connsiteX94" fmla="*/ 142933 w 276366"/>
                <a:gd name="connsiteY94" fmla="*/ 2159 h 380003"/>
                <a:gd name="connsiteX95" fmla="*/ 143797 w 276366"/>
                <a:gd name="connsiteY95" fmla="*/ 1727 h 380003"/>
                <a:gd name="connsiteX96" fmla="*/ 144229 w 276366"/>
                <a:gd name="connsiteY96" fmla="*/ 1727 h 380003"/>
                <a:gd name="connsiteX97" fmla="*/ 144660 w 276366"/>
                <a:gd name="connsiteY97" fmla="*/ 2159 h 380003"/>
                <a:gd name="connsiteX98" fmla="*/ 145524 w 276366"/>
                <a:gd name="connsiteY98" fmla="*/ 1727 h 380003"/>
                <a:gd name="connsiteX99" fmla="*/ 147683 w 276366"/>
                <a:gd name="connsiteY99" fmla="*/ 432 h 380003"/>
                <a:gd name="connsiteX100" fmla="*/ 148979 w 276366"/>
                <a:gd name="connsiteY100" fmla="*/ 0 h 380003"/>
                <a:gd name="connsiteX101" fmla="*/ 150706 w 276366"/>
                <a:gd name="connsiteY101" fmla="*/ 864 h 380003"/>
                <a:gd name="connsiteX102" fmla="*/ 151138 w 276366"/>
                <a:gd name="connsiteY102" fmla="*/ 1295 h 380003"/>
                <a:gd name="connsiteX103" fmla="*/ 150706 w 276366"/>
                <a:gd name="connsiteY103" fmla="*/ 4318 h 380003"/>
                <a:gd name="connsiteX104" fmla="*/ 151569 w 276366"/>
                <a:gd name="connsiteY104" fmla="*/ 4750 h 380003"/>
                <a:gd name="connsiteX105" fmla="*/ 152433 w 276366"/>
                <a:gd name="connsiteY105" fmla="*/ 4750 h 380003"/>
                <a:gd name="connsiteX106" fmla="*/ 153729 w 276366"/>
                <a:gd name="connsiteY106" fmla="*/ 2591 h 380003"/>
                <a:gd name="connsiteX107" fmla="*/ 154160 w 276366"/>
                <a:gd name="connsiteY107" fmla="*/ 2591 h 380003"/>
                <a:gd name="connsiteX108" fmla="*/ 154592 w 276366"/>
                <a:gd name="connsiteY108" fmla="*/ 3455 h 380003"/>
                <a:gd name="connsiteX109" fmla="*/ 155456 w 276366"/>
                <a:gd name="connsiteY109" fmla="*/ 4318 h 380003"/>
                <a:gd name="connsiteX110" fmla="*/ 156320 w 276366"/>
                <a:gd name="connsiteY110" fmla="*/ 4750 h 380003"/>
                <a:gd name="connsiteX111" fmla="*/ 159774 w 276366"/>
                <a:gd name="connsiteY111" fmla="*/ 4750 h 380003"/>
                <a:gd name="connsiteX112" fmla="*/ 159342 w 276366"/>
                <a:gd name="connsiteY112" fmla="*/ 5614 h 380003"/>
                <a:gd name="connsiteX113" fmla="*/ 159342 w 276366"/>
                <a:gd name="connsiteY113" fmla="*/ 6477 h 380003"/>
                <a:gd name="connsiteX114" fmla="*/ 161070 w 276366"/>
                <a:gd name="connsiteY114" fmla="*/ 6477 h 380003"/>
                <a:gd name="connsiteX115" fmla="*/ 161501 w 276366"/>
                <a:gd name="connsiteY115" fmla="*/ 6045 h 380003"/>
                <a:gd name="connsiteX116" fmla="*/ 163229 w 276366"/>
                <a:gd name="connsiteY116" fmla="*/ 5614 h 380003"/>
                <a:gd name="connsiteX117" fmla="*/ 164092 w 276366"/>
                <a:gd name="connsiteY117" fmla="*/ 6045 h 380003"/>
                <a:gd name="connsiteX118" fmla="*/ 166683 w 276366"/>
                <a:gd name="connsiteY118" fmla="*/ 6477 h 380003"/>
                <a:gd name="connsiteX119" fmla="*/ 168411 w 276366"/>
                <a:gd name="connsiteY119" fmla="*/ 7773 h 380003"/>
                <a:gd name="connsiteX120" fmla="*/ 167979 w 276366"/>
                <a:gd name="connsiteY120" fmla="*/ 10796 h 380003"/>
                <a:gd name="connsiteX121" fmla="*/ 168842 w 276366"/>
                <a:gd name="connsiteY121" fmla="*/ 12091 h 380003"/>
                <a:gd name="connsiteX122" fmla="*/ 169274 w 276366"/>
                <a:gd name="connsiteY122" fmla="*/ 12955 h 380003"/>
                <a:gd name="connsiteX123" fmla="*/ 167979 w 276366"/>
                <a:gd name="connsiteY123" fmla="*/ 15114 h 380003"/>
                <a:gd name="connsiteX124" fmla="*/ 167547 w 276366"/>
                <a:gd name="connsiteY124" fmla="*/ 16409 h 380003"/>
                <a:gd name="connsiteX125" fmla="*/ 165820 w 276366"/>
                <a:gd name="connsiteY125" fmla="*/ 18137 h 380003"/>
                <a:gd name="connsiteX126" fmla="*/ 165388 w 276366"/>
                <a:gd name="connsiteY126" fmla="*/ 19000 h 380003"/>
                <a:gd name="connsiteX127" fmla="*/ 164956 w 276366"/>
                <a:gd name="connsiteY127" fmla="*/ 20296 h 380003"/>
                <a:gd name="connsiteX128" fmla="*/ 164524 w 276366"/>
                <a:gd name="connsiteY128" fmla="*/ 20727 h 380003"/>
                <a:gd name="connsiteX129" fmla="*/ 164092 w 276366"/>
                <a:gd name="connsiteY129" fmla="*/ 21159 h 380003"/>
                <a:gd name="connsiteX130" fmla="*/ 164092 w 276366"/>
                <a:gd name="connsiteY130" fmla="*/ 23318 h 380003"/>
                <a:gd name="connsiteX131" fmla="*/ 162797 w 276366"/>
                <a:gd name="connsiteY131" fmla="*/ 25477 h 380003"/>
                <a:gd name="connsiteX132" fmla="*/ 162797 w 276366"/>
                <a:gd name="connsiteY132" fmla="*/ 25909 h 380003"/>
                <a:gd name="connsiteX133" fmla="*/ 161501 w 276366"/>
                <a:gd name="connsiteY133" fmla="*/ 28932 h 380003"/>
                <a:gd name="connsiteX134" fmla="*/ 161070 w 276366"/>
                <a:gd name="connsiteY134" fmla="*/ 30659 h 380003"/>
                <a:gd name="connsiteX135" fmla="*/ 161070 w 276366"/>
                <a:gd name="connsiteY135" fmla="*/ 31091 h 380003"/>
                <a:gd name="connsiteX136" fmla="*/ 159774 w 276366"/>
                <a:gd name="connsiteY136" fmla="*/ 32819 h 380003"/>
                <a:gd name="connsiteX137" fmla="*/ 160206 w 276366"/>
                <a:gd name="connsiteY137" fmla="*/ 33250 h 380003"/>
                <a:gd name="connsiteX138" fmla="*/ 160206 w 276366"/>
                <a:gd name="connsiteY138" fmla="*/ 34114 h 380003"/>
                <a:gd name="connsiteX139" fmla="*/ 158047 w 276366"/>
                <a:gd name="connsiteY139" fmla="*/ 36705 h 380003"/>
                <a:gd name="connsiteX140" fmla="*/ 158479 w 276366"/>
                <a:gd name="connsiteY140" fmla="*/ 37137 h 380003"/>
                <a:gd name="connsiteX141" fmla="*/ 158479 w 276366"/>
                <a:gd name="connsiteY141" fmla="*/ 37569 h 380003"/>
                <a:gd name="connsiteX142" fmla="*/ 158047 w 276366"/>
                <a:gd name="connsiteY142" fmla="*/ 38432 h 380003"/>
                <a:gd name="connsiteX143" fmla="*/ 158047 w 276366"/>
                <a:gd name="connsiteY143" fmla="*/ 38864 h 380003"/>
                <a:gd name="connsiteX144" fmla="*/ 156751 w 276366"/>
                <a:gd name="connsiteY144" fmla="*/ 40159 h 380003"/>
                <a:gd name="connsiteX145" fmla="*/ 156751 w 276366"/>
                <a:gd name="connsiteY145" fmla="*/ 40591 h 380003"/>
                <a:gd name="connsiteX146" fmla="*/ 155888 w 276366"/>
                <a:gd name="connsiteY146" fmla="*/ 41887 h 380003"/>
                <a:gd name="connsiteX147" fmla="*/ 155024 w 276366"/>
                <a:gd name="connsiteY147" fmla="*/ 44046 h 380003"/>
                <a:gd name="connsiteX148" fmla="*/ 154592 w 276366"/>
                <a:gd name="connsiteY148" fmla="*/ 44478 h 380003"/>
                <a:gd name="connsiteX149" fmla="*/ 154592 w 276366"/>
                <a:gd name="connsiteY149" fmla="*/ 45341 h 380003"/>
                <a:gd name="connsiteX150" fmla="*/ 155024 w 276366"/>
                <a:gd name="connsiteY150" fmla="*/ 45773 h 380003"/>
                <a:gd name="connsiteX151" fmla="*/ 153729 w 276366"/>
                <a:gd name="connsiteY151" fmla="*/ 48364 h 380003"/>
                <a:gd name="connsiteX152" fmla="*/ 151569 w 276366"/>
                <a:gd name="connsiteY152" fmla="*/ 69092 h 380003"/>
                <a:gd name="connsiteX153" fmla="*/ 152865 w 276366"/>
                <a:gd name="connsiteY153" fmla="*/ 68228 h 380003"/>
                <a:gd name="connsiteX154" fmla="*/ 153729 w 276366"/>
                <a:gd name="connsiteY154" fmla="*/ 67796 h 380003"/>
                <a:gd name="connsiteX155" fmla="*/ 155456 w 276366"/>
                <a:gd name="connsiteY155" fmla="*/ 69523 h 380003"/>
                <a:gd name="connsiteX156" fmla="*/ 157615 w 276366"/>
                <a:gd name="connsiteY156" fmla="*/ 71251 h 380003"/>
                <a:gd name="connsiteX157" fmla="*/ 161933 w 276366"/>
                <a:gd name="connsiteY157" fmla="*/ 69092 h 380003"/>
                <a:gd name="connsiteX158" fmla="*/ 157615 w 276366"/>
                <a:gd name="connsiteY158" fmla="*/ 69955 h 380003"/>
                <a:gd name="connsiteX159" fmla="*/ 156751 w 276366"/>
                <a:gd name="connsiteY159" fmla="*/ 69523 h 380003"/>
                <a:gd name="connsiteX160" fmla="*/ 156751 w 276366"/>
                <a:gd name="connsiteY160" fmla="*/ 69092 h 380003"/>
                <a:gd name="connsiteX161" fmla="*/ 160638 w 276366"/>
                <a:gd name="connsiteY161" fmla="*/ 67796 h 380003"/>
                <a:gd name="connsiteX162" fmla="*/ 161501 w 276366"/>
                <a:gd name="connsiteY162" fmla="*/ 67364 h 380003"/>
                <a:gd name="connsiteX163" fmla="*/ 162365 w 276366"/>
                <a:gd name="connsiteY163" fmla="*/ 68228 h 380003"/>
                <a:gd name="connsiteX164" fmla="*/ 161933 w 276366"/>
                <a:gd name="connsiteY164" fmla="*/ 69092 h 380003"/>
                <a:gd name="connsiteX165" fmla="*/ 162797 w 276366"/>
                <a:gd name="connsiteY165" fmla="*/ 68660 h 380003"/>
                <a:gd name="connsiteX166" fmla="*/ 164956 w 276366"/>
                <a:gd name="connsiteY166" fmla="*/ 67796 h 380003"/>
                <a:gd name="connsiteX167" fmla="*/ 169274 w 276366"/>
                <a:gd name="connsiteY167" fmla="*/ 66932 h 380003"/>
                <a:gd name="connsiteX168" fmla="*/ 171865 w 276366"/>
                <a:gd name="connsiteY168" fmla="*/ 66501 h 380003"/>
                <a:gd name="connsiteX169" fmla="*/ 173161 w 276366"/>
                <a:gd name="connsiteY169" fmla="*/ 66501 h 380003"/>
                <a:gd name="connsiteX170" fmla="*/ 172729 w 276366"/>
                <a:gd name="connsiteY170" fmla="*/ 67364 h 380003"/>
                <a:gd name="connsiteX171" fmla="*/ 171865 w 276366"/>
                <a:gd name="connsiteY171" fmla="*/ 68228 h 380003"/>
                <a:gd name="connsiteX172" fmla="*/ 171001 w 276366"/>
                <a:gd name="connsiteY172" fmla="*/ 69523 h 380003"/>
                <a:gd name="connsiteX173" fmla="*/ 171433 w 276366"/>
                <a:gd name="connsiteY173" fmla="*/ 69955 h 380003"/>
                <a:gd name="connsiteX174" fmla="*/ 171001 w 276366"/>
                <a:gd name="connsiteY174" fmla="*/ 70387 h 380003"/>
                <a:gd name="connsiteX175" fmla="*/ 169274 w 276366"/>
                <a:gd name="connsiteY175" fmla="*/ 72546 h 380003"/>
                <a:gd name="connsiteX176" fmla="*/ 165388 w 276366"/>
                <a:gd name="connsiteY176" fmla="*/ 75569 h 380003"/>
                <a:gd name="connsiteX177" fmla="*/ 164092 w 276366"/>
                <a:gd name="connsiteY177" fmla="*/ 76433 h 380003"/>
                <a:gd name="connsiteX178" fmla="*/ 165388 w 276366"/>
                <a:gd name="connsiteY178" fmla="*/ 77296 h 380003"/>
                <a:gd name="connsiteX179" fmla="*/ 166252 w 276366"/>
                <a:gd name="connsiteY179" fmla="*/ 76433 h 380003"/>
                <a:gd name="connsiteX180" fmla="*/ 167547 w 276366"/>
                <a:gd name="connsiteY180" fmla="*/ 75569 h 380003"/>
                <a:gd name="connsiteX181" fmla="*/ 169274 w 276366"/>
                <a:gd name="connsiteY181" fmla="*/ 74273 h 380003"/>
                <a:gd name="connsiteX182" fmla="*/ 171001 w 276366"/>
                <a:gd name="connsiteY182" fmla="*/ 74273 h 380003"/>
                <a:gd name="connsiteX183" fmla="*/ 173592 w 276366"/>
                <a:gd name="connsiteY183" fmla="*/ 72546 h 380003"/>
                <a:gd name="connsiteX184" fmla="*/ 174024 w 276366"/>
                <a:gd name="connsiteY184" fmla="*/ 71682 h 380003"/>
                <a:gd name="connsiteX185" fmla="*/ 174456 w 276366"/>
                <a:gd name="connsiteY185" fmla="*/ 71251 h 380003"/>
                <a:gd name="connsiteX186" fmla="*/ 173592 w 276366"/>
                <a:gd name="connsiteY186" fmla="*/ 70819 h 380003"/>
                <a:gd name="connsiteX187" fmla="*/ 172729 w 276366"/>
                <a:gd name="connsiteY187" fmla="*/ 70819 h 380003"/>
                <a:gd name="connsiteX188" fmla="*/ 173161 w 276366"/>
                <a:gd name="connsiteY188" fmla="*/ 69955 h 380003"/>
                <a:gd name="connsiteX189" fmla="*/ 173592 w 276366"/>
                <a:gd name="connsiteY189" fmla="*/ 69523 h 380003"/>
                <a:gd name="connsiteX190" fmla="*/ 179206 w 276366"/>
                <a:gd name="connsiteY190" fmla="*/ 66501 h 380003"/>
                <a:gd name="connsiteX191" fmla="*/ 180070 w 276366"/>
                <a:gd name="connsiteY191" fmla="*/ 66069 h 380003"/>
                <a:gd name="connsiteX192" fmla="*/ 180502 w 276366"/>
                <a:gd name="connsiteY192" fmla="*/ 66501 h 380003"/>
                <a:gd name="connsiteX193" fmla="*/ 180502 w 276366"/>
                <a:gd name="connsiteY193" fmla="*/ 67364 h 380003"/>
                <a:gd name="connsiteX194" fmla="*/ 180933 w 276366"/>
                <a:gd name="connsiteY194" fmla="*/ 69092 h 380003"/>
                <a:gd name="connsiteX195" fmla="*/ 181797 w 276366"/>
                <a:gd name="connsiteY195" fmla="*/ 69092 h 380003"/>
                <a:gd name="connsiteX196" fmla="*/ 183093 w 276366"/>
                <a:gd name="connsiteY196" fmla="*/ 65637 h 380003"/>
                <a:gd name="connsiteX197" fmla="*/ 186115 w 276366"/>
                <a:gd name="connsiteY197" fmla="*/ 63910 h 380003"/>
                <a:gd name="connsiteX198" fmla="*/ 190002 w 276366"/>
                <a:gd name="connsiteY198" fmla="*/ 63910 h 380003"/>
                <a:gd name="connsiteX199" fmla="*/ 189570 w 276366"/>
                <a:gd name="connsiteY199" fmla="*/ 65637 h 380003"/>
                <a:gd name="connsiteX200" fmla="*/ 189138 w 276366"/>
                <a:gd name="connsiteY200" fmla="*/ 66069 h 380003"/>
                <a:gd name="connsiteX201" fmla="*/ 189138 w 276366"/>
                <a:gd name="connsiteY201" fmla="*/ 66932 h 380003"/>
                <a:gd name="connsiteX202" fmla="*/ 191729 w 276366"/>
                <a:gd name="connsiteY202" fmla="*/ 67364 h 380003"/>
                <a:gd name="connsiteX203" fmla="*/ 192161 w 276366"/>
                <a:gd name="connsiteY203" fmla="*/ 67364 h 380003"/>
                <a:gd name="connsiteX204" fmla="*/ 192161 w 276366"/>
                <a:gd name="connsiteY204" fmla="*/ 68660 h 380003"/>
                <a:gd name="connsiteX205" fmla="*/ 190433 w 276366"/>
                <a:gd name="connsiteY205" fmla="*/ 69092 h 380003"/>
                <a:gd name="connsiteX206" fmla="*/ 188274 w 276366"/>
                <a:gd name="connsiteY206" fmla="*/ 69955 h 380003"/>
                <a:gd name="connsiteX207" fmla="*/ 187843 w 276366"/>
                <a:gd name="connsiteY207" fmla="*/ 70387 h 380003"/>
                <a:gd name="connsiteX208" fmla="*/ 187843 w 276366"/>
                <a:gd name="connsiteY208" fmla="*/ 71251 h 380003"/>
                <a:gd name="connsiteX209" fmla="*/ 189138 w 276366"/>
                <a:gd name="connsiteY209" fmla="*/ 71251 h 380003"/>
                <a:gd name="connsiteX210" fmla="*/ 193888 w 276366"/>
                <a:gd name="connsiteY210" fmla="*/ 70387 h 380003"/>
                <a:gd name="connsiteX211" fmla="*/ 195184 w 276366"/>
                <a:gd name="connsiteY211" fmla="*/ 72114 h 380003"/>
                <a:gd name="connsiteX212" fmla="*/ 196047 w 276366"/>
                <a:gd name="connsiteY212" fmla="*/ 72546 h 380003"/>
                <a:gd name="connsiteX213" fmla="*/ 196911 w 276366"/>
                <a:gd name="connsiteY213" fmla="*/ 72114 h 380003"/>
                <a:gd name="connsiteX214" fmla="*/ 198638 w 276366"/>
                <a:gd name="connsiteY214" fmla="*/ 69955 h 380003"/>
                <a:gd name="connsiteX215" fmla="*/ 198638 w 276366"/>
                <a:gd name="connsiteY215" fmla="*/ 69523 h 380003"/>
                <a:gd name="connsiteX216" fmla="*/ 198206 w 276366"/>
                <a:gd name="connsiteY216" fmla="*/ 69523 h 380003"/>
                <a:gd name="connsiteX217" fmla="*/ 197774 w 276366"/>
                <a:gd name="connsiteY217" fmla="*/ 69955 h 380003"/>
                <a:gd name="connsiteX218" fmla="*/ 197343 w 276366"/>
                <a:gd name="connsiteY218" fmla="*/ 69955 h 380003"/>
                <a:gd name="connsiteX219" fmla="*/ 197774 w 276366"/>
                <a:gd name="connsiteY219" fmla="*/ 69523 h 380003"/>
                <a:gd name="connsiteX220" fmla="*/ 197774 w 276366"/>
                <a:gd name="connsiteY220" fmla="*/ 69092 h 380003"/>
                <a:gd name="connsiteX221" fmla="*/ 199070 w 276366"/>
                <a:gd name="connsiteY221" fmla="*/ 67364 h 380003"/>
                <a:gd name="connsiteX222" fmla="*/ 199934 w 276366"/>
                <a:gd name="connsiteY222" fmla="*/ 65637 h 380003"/>
                <a:gd name="connsiteX223" fmla="*/ 197774 w 276366"/>
                <a:gd name="connsiteY223" fmla="*/ 66069 h 380003"/>
                <a:gd name="connsiteX224" fmla="*/ 195615 w 276366"/>
                <a:gd name="connsiteY224" fmla="*/ 65637 h 380003"/>
                <a:gd name="connsiteX225" fmla="*/ 196047 w 276366"/>
                <a:gd name="connsiteY225" fmla="*/ 65205 h 380003"/>
                <a:gd name="connsiteX226" fmla="*/ 196047 w 276366"/>
                <a:gd name="connsiteY226" fmla="*/ 64773 h 380003"/>
                <a:gd name="connsiteX227" fmla="*/ 196479 w 276366"/>
                <a:gd name="connsiteY227" fmla="*/ 63478 h 380003"/>
                <a:gd name="connsiteX228" fmla="*/ 197774 w 276366"/>
                <a:gd name="connsiteY228" fmla="*/ 63910 h 380003"/>
                <a:gd name="connsiteX229" fmla="*/ 199070 w 276366"/>
                <a:gd name="connsiteY229" fmla="*/ 65205 h 380003"/>
                <a:gd name="connsiteX230" fmla="*/ 200797 w 276366"/>
                <a:gd name="connsiteY230" fmla="*/ 63046 h 380003"/>
                <a:gd name="connsiteX231" fmla="*/ 205547 w 276366"/>
                <a:gd name="connsiteY231" fmla="*/ 63046 h 380003"/>
                <a:gd name="connsiteX232" fmla="*/ 212456 w 276366"/>
                <a:gd name="connsiteY232" fmla="*/ 61319 h 380003"/>
                <a:gd name="connsiteX233" fmla="*/ 215479 w 276366"/>
                <a:gd name="connsiteY233" fmla="*/ 61319 h 380003"/>
                <a:gd name="connsiteX234" fmla="*/ 216343 w 276366"/>
                <a:gd name="connsiteY234" fmla="*/ 63910 h 380003"/>
                <a:gd name="connsiteX235" fmla="*/ 217206 w 276366"/>
                <a:gd name="connsiteY235" fmla="*/ 64773 h 380003"/>
                <a:gd name="connsiteX236" fmla="*/ 219366 w 276366"/>
                <a:gd name="connsiteY236" fmla="*/ 64341 h 380003"/>
                <a:gd name="connsiteX237" fmla="*/ 221093 w 276366"/>
                <a:gd name="connsiteY237" fmla="*/ 64341 h 380003"/>
                <a:gd name="connsiteX238" fmla="*/ 220229 w 276366"/>
                <a:gd name="connsiteY238" fmla="*/ 66501 h 380003"/>
                <a:gd name="connsiteX239" fmla="*/ 221093 w 276366"/>
                <a:gd name="connsiteY239" fmla="*/ 68660 h 380003"/>
                <a:gd name="connsiteX240" fmla="*/ 222388 w 276366"/>
                <a:gd name="connsiteY240" fmla="*/ 69092 h 380003"/>
                <a:gd name="connsiteX241" fmla="*/ 221957 w 276366"/>
                <a:gd name="connsiteY241" fmla="*/ 69523 h 380003"/>
                <a:gd name="connsiteX242" fmla="*/ 221093 w 276366"/>
                <a:gd name="connsiteY242" fmla="*/ 70819 h 380003"/>
                <a:gd name="connsiteX243" fmla="*/ 220229 w 276366"/>
                <a:gd name="connsiteY243" fmla="*/ 72114 h 380003"/>
                <a:gd name="connsiteX244" fmla="*/ 221957 w 276366"/>
                <a:gd name="connsiteY244" fmla="*/ 70819 h 380003"/>
                <a:gd name="connsiteX245" fmla="*/ 224548 w 276366"/>
                <a:gd name="connsiteY245" fmla="*/ 69523 h 380003"/>
                <a:gd name="connsiteX246" fmla="*/ 225411 w 276366"/>
                <a:gd name="connsiteY246" fmla="*/ 69092 h 380003"/>
                <a:gd name="connsiteX247" fmla="*/ 225843 w 276366"/>
                <a:gd name="connsiteY247" fmla="*/ 69523 h 380003"/>
                <a:gd name="connsiteX248" fmla="*/ 227138 w 276366"/>
                <a:gd name="connsiteY248" fmla="*/ 68660 h 380003"/>
                <a:gd name="connsiteX249" fmla="*/ 228002 w 276366"/>
                <a:gd name="connsiteY249" fmla="*/ 66069 h 380003"/>
                <a:gd name="connsiteX250" fmla="*/ 228002 w 276366"/>
                <a:gd name="connsiteY250" fmla="*/ 65637 h 380003"/>
                <a:gd name="connsiteX251" fmla="*/ 229297 w 276366"/>
                <a:gd name="connsiteY251" fmla="*/ 63478 h 380003"/>
                <a:gd name="connsiteX252" fmla="*/ 231888 w 276366"/>
                <a:gd name="connsiteY252" fmla="*/ 60887 h 380003"/>
                <a:gd name="connsiteX253" fmla="*/ 233184 w 276366"/>
                <a:gd name="connsiteY253" fmla="*/ 60887 h 380003"/>
                <a:gd name="connsiteX254" fmla="*/ 234479 w 276366"/>
                <a:gd name="connsiteY254" fmla="*/ 61319 h 380003"/>
                <a:gd name="connsiteX255" fmla="*/ 238798 w 276366"/>
                <a:gd name="connsiteY255" fmla="*/ 59591 h 380003"/>
                <a:gd name="connsiteX256" fmla="*/ 239661 w 276366"/>
                <a:gd name="connsiteY256" fmla="*/ 59591 h 380003"/>
                <a:gd name="connsiteX257" fmla="*/ 240957 w 276366"/>
                <a:gd name="connsiteY257" fmla="*/ 60023 h 380003"/>
                <a:gd name="connsiteX258" fmla="*/ 243548 w 276366"/>
                <a:gd name="connsiteY258" fmla="*/ 59591 h 380003"/>
                <a:gd name="connsiteX259" fmla="*/ 247434 w 276366"/>
                <a:gd name="connsiteY259" fmla="*/ 60455 h 380003"/>
                <a:gd name="connsiteX260" fmla="*/ 252184 w 276366"/>
                <a:gd name="connsiteY260" fmla="*/ 59591 h 380003"/>
                <a:gd name="connsiteX261" fmla="*/ 253911 w 276366"/>
                <a:gd name="connsiteY261" fmla="*/ 59591 h 380003"/>
                <a:gd name="connsiteX262" fmla="*/ 253911 w 276366"/>
                <a:gd name="connsiteY262" fmla="*/ 60023 h 380003"/>
                <a:gd name="connsiteX263" fmla="*/ 254343 w 276366"/>
                <a:gd name="connsiteY263" fmla="*/ 60455 h 380003"/>
                <a:gd name="connsiteX264" fmla="*/ 255207 w 276366"/>
                <a:gd name="connsiteY264" fmla="*/ 60023 h 380003"/>
                <a:gd name="connsiteX265" fmla="*/ 256934 w 276366"/>
                <a:gd name="connsiteY265" fmla="*/ 60023 h 380003"/>
                <a:gd name="connsiteX266" fmla="*/ 259957 w 276366"/>
                <a:gd name="connsiteY266" fmla="*/ 61319 h 380003"/>
                <a:gd name="connsiteX267" fmla="*/ 260821 w 276366"/>
                <a:gd name="connsiteY267" fmla="*/ 62182 h 380003"/>
                <a:gd name="connsiteX268" fmla="*/ 262548 w 276366"/>
                <a:gd name="connsiteY268" fmla="*/ 61751 h 380003"/>
                <a:gd name="connsiteX269" fmla="*/ 263412 w 276366"/>
                <a:gd name="connsiteY269" fmla="*/ 61751 h 380003"/>
                <a:gd name="connsiteX270" fmla="*/ 266866 w 276366"/>
                <a:gd name="connsiteY270" fmla="*/ 60887 h 380003"/>
                <a:gd name="connsiteX271" fmla="*/ 269025 w 276366"/>
                <a:gd name="connsiteY271" fmla="*/ 62182 h 380003"/>
                <a:gd name="connsiteX272" fmla="*/ 272480 w 276366"/>
                <a:gd name="connsiteY272" fmla="*/ 62182 h 380003"/>
                <a:gd name="connsiteX273" fmla="*/ 274207 w 276366"/>
                <a:gd name="connsiteY273" fmla="*/ 61751 h 380003"/>
                <a:gd name="connsiteX274" fmla="*/ 276366 w 276366"/>
                <a:gd name="connsiteY274" fmla="*/ 63046 h 380003"/>
                <a:gd name="connsiteX275" fmla="*/ 277230 w 276366"/>
                <a:gd name="connsiteY275" fmla="*/ 64341 h 380003"/>
                <a:gd name="connsiteX276" fmla="*/ 277230 w 276366"/>
                <a:gd name="connsiteY276" fmla="*/ 64773 h 380003"/>
                <a:gd name="connsiteX277" fmla="*/ 278093 w 276366"/>
                <a:gd name="connsiteY277" fmla="*/ 68228 h 380003"/>
                <a:gd name="connsiteX278" fmla="*/ 278093 w 276366"/>
                <a:gd name="connsiteY278" fmla="*/ 69092 h 380003"/>
                <a:gd name="connsiteX279" fmla="*/ 279389 w 276366"/>
                <a:gd name="connsiteY279" fmla="*/ 70819 h 380003"/>
                <a:gd name="connsiteX280" fmla="*/ 278525 w 276366"/>
                <a:gd name="connsiteY280" fmla="*/ 72978 h 380003"/>
                <a:gd name="connsiteX281" fmla="*/ 278525 w 276366"/>
                <a:gd name="connsiteY281" fmla="*/ 77728 h 380003"/>
                <a:gd name="connsiteX282" fmla="*/ 276798 w 276366"/>
                <a:gd name="connsiteY282" fmla="*/ 79455 h 380003"/>
                <a:gd name="connsiteX283" fmla="*/ 275502 w 276366"/>
                <a:gd name="connsiteY283" fmla="*/ 80751 h 380003"/>
                <a:gd name="connsiteX284" fmla="*/ 272480 w 276366"/>
                <a:gd name="connsiteY284" fmla="*/ 82910 h 380003"/>
                <a:gd name="connsiteX285" fmla="*/ 271616 w 276366"/>
                <a:gd name="connsiteY285" fmla="*/ 83773 h 380003"/>
                <a:gd name="connsiteX286" fmla="*/ 270321 w 276366"/>
                <a:gd name="connsiteY286" fmla="*/ 83773 h 380003"/>
                <a:gd name="connsiteX287" fmla="*/ 266866 w 276366"/>
                <a:gd name="connsiteY287" fmla="*/ 85069 h 380003"/>
                <a:gd name="connsiteX288" fmla="*/ 261252 w 276366"/>
                <a:gd name="connsiteY288" fmla="*/ 86796 h 380003"/>
                <a:gd name="connsiteX289" fmla="*/ 259525 w 276366"/>
                <a:gd name="connsiteY289" fmla="*/ 87228 h 380003"/>
                <a:gd name="connsiteX290" fmla="*/ 255207 w 276366"/>
                <a:gd name="connsiteY290" fmla="*/ 88092 h 380003"/>
                <a:gd name="connsiteX291" fmla="*/ 253911 w 276366"/>
                <a:gd name="connsiteY291" fmla="*/ 88092 h 380003"/>
                <a:gd name="connsiteX292" fmla="*/ 253048 w 276366"/>
                <a:gd name="connsiteY292" fmla="*/ 88524 h 380003"/>
                <a:gd name="connsiteX293" fmla="*/ 253048 w 276366"/>
                <a:gd name="connsiteY293" fmla="*/ 88092 h 380003"/>
                <a:gd name="connsiteX294" fmla="*/ 251320 w 276366"/>
                <a:gd name="connsiteY294" fmla="*/ 85933 h 380003"/>
                <a:gd name="connsiteX295" fmla="*/ 252184 w 276366"/>
                <a:gd name="connsiteY295" fmla="*/ 85069 h 380003"/>
                <a:gd name="connsiteX296" fmla="*/ 254343 w 276366"/>
                <a:gd name="connsiteY296" fmla="*/ 83342 h 380003"/>
                <a:gd name="connsiteX297" fmla="*/ 251320 w 276366"/>
                <a:gd name="connsiteY297" fmla="*/ 83342 h 380003"/>
                <a:gd name="connsiteX298" fmla="*/ 250889 w 276366"/>
                <a:gd name="connsiteY298" fmla="*/ 82910 h 380003"/>
                <a:gd name="connsiteX299" fmla="*/ 253048 w 276366"/>
                <a:gd name="connsiteY299" fmla="*/ 80751 h 380003"/>
                <a:gd name="connsiteX300" fmla="*/ 253911 w 276366"/>
                <a:gd name="connsiteY300" fmla="*/ 80751 h 380003"/>
                <a:gd name="connsiteX301" fmla="*/ 255207 w 276366"/>
                <a:gd name="connsiteY301" fmla="*/ 79455 h 380003"/>
                <a:gd name="connsiteX302" fmla="*/ 255207 w 276366"/>
                <a:gd name="connsiteY302" fmla="*/ 79023 h 380003"/>
                <a:gd name="connsiteX303" fmla="*/ 253911 w 276366"/>
                <a:gd name="connsiteY303" fmla="*/ 78592 h 380003"/>
                <a:gd name="connsiteX304" fmla="*/ 253048 w 276366"/>
                <a:gd name="connsiteY304" fmla="*/ 79023 h 380003"/>
                <a:gd name="connsiteX305" fmla="*/ 252616 w 276366"/>
                <a:gd name="connsiteY305" fmla="*/ 79023 h 380003"/>
                <a:gd name="connsiteX306" fmla="*/ 253048 w 276366"/>
                <a:gd name="connsiteY306" fmla="*/ 78592 h 380003"/>
                <a:gd name="connsiteX307" fmla="*/ 253480 w 276366"/>
                <a:gd name="connsiteY307" fmla="*/ 77728 h 380003"/>
                <a:gd name="connsiteX308" fmla="*/ 251320 w 276366"/>
                <a:gd name="connsiteY308" fmla="*/ 76864 h 380003"/>
                <a:gd name="connsiteX309" fmla="*/ 250025 w 276366"/>
                <a:gd name="connsiteY309" fmla="*/ 76864 h 380003"/>
                <a:gd name="connsiteX310" fmla="*/ 248729 w 276366"/>
                <a:gd name="connsiteY310" fmla="*/ 77728 h 380003"/>
                <a:gd name="connsiteX311" fmla="*/ 246570 w 276366"/>
                <a:gd name="connsiteY311" fmla="*/ 78592 h 380003"/>
                <a:gd name="connsiteX312" fmla="*/ 244411 w 276366"/>
                <a:gd name="connsiteY312" fmla="*/ 78592 h 380003"/>
                <a:gd name="connsiteX313" fmla="*/ 239661 w 276366"/>
                <a:gd name="connsiteY313" fmla="*/ 77728 h 380003"/>
                <a:gd name="connsiteX314" fmla="*/ 233616 w 276366"/>
                <a:gd name="connsiteY314" fmla="*/ 77728 h 380003"/>
                <a:gd name="connsiteX315" fmla="*/ 232752 w 276366"/>
                <a:gd name="connsiteY315" fmla="*/ 77296 h 380003"/>
                <a:gd name="connsiteX316" fmla="*/ 232320 w 276366"/>
                <a:gd name="connsiteY316" fmla="*/ 76433 h 380003"/>
                <a:gd name="connsiteX317" fmla="*/ 232320 w 276366"/>
                <a:gd name="connsiteY317" fmla="*/ 75569 h 380003"/>
                <a:gd name="connsiteX318" fmla="*/ 233184 w 276366"/>
                <a:gd name="connsiteY318" fmla="*/ 73842 h 380003"/>
                <a:gd name="connsiteX319" fmla="*/ 232752 w 276366"/>
                <a:gd name="connsiteY319" fmla="*/ 73410 h 380003"/>
                <a:gd name="connsiteX320" fmla="*/ 231025 w 276366"/>
                <a:gd name="connsiteY320" fmla="*/ 75137 h 380003"/>
                <a:gd name="connsiteX321" fmla="*/ 228866 w 276366"/>
                <a:gd name="connsiteY321" fmla="*/ 76001 h 380003"/>
                <a:gd name="connsiteX322" fmla="*/ 228434 w 276366"/>
                <a:gd name="connsiteY322" fmla="*/ 76001 h 380003"/>
                <a:gd name="connsiteX323" fmla="*/ 228866 w 276366"/>
                <a:gd name="connsiteY323" fmla="*/ 75137 h 380003"/>
                <a:gd name="connsiteX324" fmla="*/ 228434 w 276366"/>
                <a:gd name="connsiteY324" fmla="*/ 75137 h 380003"/>
                <a:gd name="connsiteX325" fmla="*/ 227138 w 276366"/>
                <a:gd name="connsiteY325" fmla="*/ 76433 h 380003"/>
                <a:gd name="connsiteX326" fmla="*/ 224979 w 276366"/>
                <a:gd name="connsiteY326" fmla="*/ 78160 h 380003"/>
                <a:gd name="connsiteX327" fmla="*/ 222388 w 276366"/>
                <a:gd name="connsiteY327" fmla="*/ 77728 h 380003"/>
                <a:gd name="connsiteX328" fmla="*/ 220229 w 276366"/>
                <a:gd name="connsiteY328" fmla="*/ 78592 h 380003"/>
                <a:gd name="connsiteX329" fmla="*/ 218502 w 276366"/>
                <a:gd name="connsiteY329" fmla="*/ 79023 h 380003"/>
                <a:gd name="connsiteX330" fmla="*/ 216343 w 276366"/>
                <a:gd name="connsiteY330" fmla="*/ 78592 h 380003"/>
                <a:gd name="connsiteX331" fmla="*/ 215479 w 276366"/>
                <a:gd name="connsiteY331" fmla="*/ 78592 h 380003"/>
                <a:gd name="connsiteX332" fmla="*/ 214616 w 276366"/>
                <a:gd name="connsiteY332" fmla="*/ 78160 h 380003"/>
                <a:gd name="connsiteX333" fmla="*/ 213752 w 276366"/>
                <a:gd name="connsiteY333" fmla="*/ 78160 h 380003"/>
                <a:gd name="connsiteX334" fmla="*/ 211161 w 276366"/>
                <a:gd name="connsiteY334" fmla="*/ 78592 h 380003"/>
                <a:gd name="connsiteX335" fmla="*/ 208570 w 276366"/>
                <a:gd name="connsiteY335" fmla="*/ 77728 h 380003"/>
                <a:gd name="connsiteX336" fmla="*/ 207706 w 276366"/>
                <a:gd name="connsiteY336" fmla="*/ 78160 h 380003"/>
                <a:gd name="connsiteX337" fmla="*/ 205979 w 276366"/>
                <a:gd name="connsiteY337" fmla="*/ 77296 h 380003"/>
                <a:gd name="connsiteX338" fmla="*/ 205116 w 276366"/>
                <a:gd name="connsiteY338" fmla="*/ 76864 h 380003"/>
                <a:gd name="connsiteX339" fmla="*/ 203820 w 276366"/>
                <a:gd name="connsiteY339" fmla="*/ 77296 h 380003"/>
                <a:gd name="connsiteX340" fmla="*/ 202525 w 276366"/>
                <a:gd name="connsiteY340" fmla="*/ 78592 h 380003"/>
                <a:gd name="connsiteX341" fmla="*/ 202093 w 276366"/>
                <a:gd name="connsiteY341" fmla="*/ 78592 h 380003"/>
                <a:gd name="connsiteX342" fmla="*/ 202093 w 276366"/>
                <a:gd name="connsiteY342" fmla="*/ 78160 h 380003"/>
                <a:gd name="connsiteX343" fmla="*/ 201229 w 276366"/>
                <a:gd name="connsiteY343" fmla="*/ 77728 h 380003"/>
                <a:gd name="connsiteX344" fmla="*/ 198638 w 276366"/>
                <a:gd name="connsiteY344" fmla="*/ 79455 h 380003"/>
                <a:gd name="connsiteX345" fmla="*/ 198638 w 276366"/>
                <a:gd name="connsiteY345" fmla="*/ 78592 h 380003"/>
                <a:gd name="connsiteX346" fmla="*/ 198206 w 276366"/>
                <a:gd name="connsiteY346" fmla="*/ 78160 h 380003"/>
                <a:gd name="connsiteX347" fmla="*/ 197343 w 276366"/>
                <a:gd name="connsiteY347" fmla="*/ 79023 h 380003"/>
                <a:gd name="connsiteX348" fmla="*/ 195615 w 276366"/>
                <a:gd name="connsiteY348" fmla="*/ 79455 h 380003"/>
                <a:gd name="connsiteX349" fmla="*/ 195184 w 276366"/>
                <a:gd name="connsiteY349" fmla="*/ 79455 h 380003"/>
                <a:gd name="connsiteX350" fmla="*/ 195184 w 276366"/>
                <a:gd name="connsiteY350" fmla="*/ 78592 h 380003"/>
                <a:gd name="connsiteX351" fmla="*/ 194752 w 276366"/>
                <a:gd name="connsiteY351" fmla="*/ 78592 h 380003"/>
                <a:gd name="connsiteX352" fmla="*/ 192593 w 276366"/>
                <a:gd name="connsiteY352" fmla="*/ 79887 h 380003"/>
                <a:gd name="connsiteX353" fmla="*/ 191729 w 276366"/>
                <a:gd name="connsiteY353" fmla="*/ 79887 h 380003"/>
                <a:gd name="connsiteX354" fmla="*/ 187411 w 276366"/>
                <a:gd name="connsiteY354" fmla="*/ 79023 h 380003"/>
                <a:gd name="connsiteX355" fmla="*/ 186979 w 276366"/>
                <a:gd name="connsiteY355" fmla="*/ 78592 h 380003"/>
                <a:gd name="connsiteX356" fmla="*/ 186115 w 276366"/>
                <a:gd name="connsiteY356" fmla="*/ 77728 h 380003"/>
                <a:gd name="connsiteX357" fmla="*/ 184388 w 276366"/>
                <a:gd name="connsiteY357" fmla="*/ 78592 h 380003"/>
                <a:gd name="connsiteX358" fmla="*/ 183956 w 276366"/>
                <a:gd name="connsiteY358" fmla="*/ 79023 h 380003"/>
                <a:gd name="connsiteX359" fmla="*/ 183093 w 276366"/>
                <a:gd name="connsiteY359" fmla="*/ 78592 h 380003"/>
                <a:gd name="connsiteX360" fmla="*/ 177479 w 276366"/>
                <a:gd name="connsiteY360" fmla="*/ 80319 h 380003"/>
                <a:gd name="connsiteX361" fmla="*/ 175752 w 276366"/>
                <a:gd name="connsiteY361" fmla="*/ 80751 h 380003"/>
                <a:gd name="connsiteX362" fmla="*/ 174024 w 276366"/>
                <a:gd name="connsiteY362" fmla="*/ 80751 h 380003"/>
                <a:gd name="connsiteX363" fmla="*/ 172729 w 276366"/>
                <a:gd name="connsiteY363" fmla="*/ 81183 h 380003"/>
                <a:gd name="connsiteX364" fmla="*/ 165388 w 276366"/>
                <a:gd name="connsiteY364" fmla="*/ 82910 h 380003"/>
                <a:gd name="connsiteX365" fmla="*/ 162365 w 276366"/>
                <a:gd name="connsiteY365" fmla="*/ 83342 h 380003"/>
                <a:gd name="connsiteX366" fmla="*/ 160638 w 276366"/>
                <a:gd name="connsiteY366" fmla="*/ 83342 h 380003"/>
                <a:gd name="connsiteX367" fmla="*/ 154592 w 276366"/>
                <a:gd name="connsiteY367" fmla="*/ 84637 h 380003"/>
                <a:gd name="connsiteX368" fmla="*/ 153729 w 276366"/>
                <a:gd name="connsiteY368" fmla="*/ 84205 h 380003"/>
                <a:gd name="connsiteX369" fmla="*/ 153729 w 276366"/>
                <a:gd name="connsiteY369" fmla="*/ 81614 h 380003"/>
                <a:gd name="connsiteX370" fmla="*/ 154592 w 276366"/>
                <a:gd name="connsiteY370" fmla="*/ 80751 h 380003"/>
                <a:gd name="connsiteX371" fmla="*/ 154160 w 276366"/>
                <a:gd name="connsiteY371" fmla="*/ 80319 h 380003"/>
                <a:gd name="connsiteX372" fmla="*/ 153729 w 276366"/>
                <a:gd name="connsiteY372" fmla="*/ 80751 h 380003"/>
                <a:gd name="connsiteX373" fmla="*/ 152865 w 276366"/>
                <a:gd name="connsiteY373" fmla="*/ 81183 h 380003"/>
                <a:gd name="connsiteX374" fmla="*/ 149842 w 276366"/>
                <a:gd name="connsiteY374" fmla="*/ 83342 h 380003"/>
                <a:gd name="connsiteX375" fmla="*/ 148547 w 276366"/>
                <a:gd name="connsiteY375" fmla="*/ 83342 h 380003"/>
                <a:gd name="connsiteX376" fmla="*/ 145524 w 276366"/>
                <a:gd name="connsiteY376" fmla="*/ 84637 h 380003"/>
                <a:gd name="connsiteX377" fmla="*/ 133001 w 276366"/>
                <a:gd name="connsiteY377" fmla="*/ 102342 h 380003"/>
                <a:gd name="connsiteX378" fmla="*/ 132137 w 276366"/>
                <a:gd name="connsiteY378" fmla="*/ 100614 h 380003"/>
                <a:gd name="connsiteX379" fmla="*/ 132137 w 276366"/>
                <a:gd name="connsiteY379" fmla="*/ 100183 h 380003"/>
                <a:gd name="connsiteX380" fmla="*/ 131274 w 276366"/>
                <a:gd name="connsiteY380" fmla="*/ 100614 h 380003"/>
                <a:gd name="connsiteX381" fmla="*/ 130842 w 276366"/>
                <a:gd name="connsiteY381" fmla="*/ 101046 h 380003"/>
                <a:gd name="connsiteX382" fmla="*/ 132569 w 276366"/>
                <a:gd name="connsiteY382" fmla="*/ 105365 h 380003"/>
                <a:gd name="connsiteX383" fmla="*/ 132569 w 276366"/>
                <a:gd name="connsiteY383" fmla="*/ 105796 h 380003"/>
                <a:gd name="connsiteX384" fmla="*/ 131706 w 276366"/>
                <a:gd name="connsiteY384" fmla="*/ 107956 h 380003"/>
                <a:gd name="connsiteX385" fmla="*/ 130410 w 276366"/>
                <a:gd name="connsiteY385" fmla="*/ 108819 h 380003"/>
                <a:gd name="connsiteX386" fmla="*/ 131274 w 276366"/>
                <a:gd name="connsiteY386" fmla="*/ 109683 h 380003"/>
                <a:gd name="connsiteX387" fmla="*/ 131706 w 276366"/>
                <a:gd name="connsiteY387" fmla="*/ 110546 h 380003"/>
                <a:gd name="connsiteX388" fmla="*/ 131274 w 276366"/>
                <a:gd name="connsiteY388" fmla="*/ 112706 h 380003"/>
                <a:gd name="connsiteX389" fmla="*/ 129978 w 276366"/>
                <a:gd name="connsiteY389" fmla="*/ 113569 h 380003"/>
                <a:gd name="connsiteX390" fmla="*/ 128683 w 276366"/>
                <a:gd name="connsiteY390" fmla="*/ 114433 h 380003"/>
                <a:gd name="connsiteX391" fmla="*/ 127388 w 276366"/>
                <a:gd name="connsiteY391" fmla="*/ 115297 h 380003"/>
                <a:gd name="connsiteX392" fmla="*/ 128683 w 276366"/>
                <a:gd name="connsiteY392" fmla="*/ 116160 h 380003"/>
                <a:gd name="connsiteX393" fmla="*/ 129115 w 276366"/>
                <a:gd name="connsiteY393" fmla="*/ 117024 h 380003"/>
                <a:gd name="connsiteX394" fmla="*/ 127388 w 276366"/>
                <a:gd name="connsiteY394" fmla="*/ 118751 h 380003"/>
                <a:gd name="connsiteX395" fmla="*/ 127388 w 276366"/>
                <a:gd name="connsiteY395" fmla="*/ 119183 h 380003"/>
                <a:gd name="connsiteX396" fmla="*/ 120910 w 276366"/>
                <a:gd name="connsiteY396" fmla="*/ 144660 h 380003"/>
                <a:gd name="connsiteX397" fmla="*/ 119615 w 276366"/>
                <a:gd name="connsiteY397" fmla="*/ 148115 h 380003"/>
                <a:gd name="connsiteX398" fmla="*/ 119615 w 276366"/>
                <a:gd name="connsiteY398" fmla="*/ 151138 h 380003"/>
                <a:gd name="connsiteX399" fmla="*/ 118319 w 276366"/>
                <a:gd name="connsiteY399" fmla="*/ 152433 h 380003"/>
                <a:gd name="connsiteX400" fmla="*/ 118751 w 276366"/>
                <a:gd name="connsiteY400" fmla="*/ 152865 h 380003"/>
                <a:gd name="connsiteX401" fmla="*/ 118319 w 276366"/>
                <a:gd name="connsiteY401" fmla="*/ 154592 h 380003"/>
                <a:gd name="connsiteX402" fmla="*/ 118319 w 276366"/>
                <a:gd name="connsiteY402" fmla="*/ 155456 h 380003"/>
                <a:gd name="connsiteX403" fmla="*/ 116160 w 276366"/>
                <a:gd name="connsiteY403" fmla="*/ 159342 h 380003"/>
                <a:gd name="connsiteX404" fmla="*/ 115296 w 276366"/>
                <a:gd name="connsiteY404" fmla="*/ 160638 h 380003"/>
                <a:gd name="connsiteX405" fmla="*/ 116592 w 276366"/>
                <a:gd name="connsiteY405" fmla="*/ 161501 h 380003"/>
                <a:gd name="connsiteX406" fmla="*/ 115728 w 276366"/>
                <a:gd name="connsiteY406" fmla="*/ 162365 h 380003"/>
                <a:gd name="connsiteX407" fmla="*/ 116160 w 276366"/>
                <a:gd name="connsiteY407" fmla="*/ 162797 h 380003"/>
                <a:gd name="connsiteX408" fmla="*/ 116160 w 276366"/>
                <a:gd name="connsiteY408" fmla="*/ 164092 h 380003"/>
                <a:gd name="connsiteX409" fmla="*/ 115296 w 276366"/>
                <a:gd name="connsiteY409" fmla="*/ 164092 h 380003"/>
                <a:gd name="connsiteX410" fmla="*/ 115728 w 276366"/>
                <a:gd name="connsiteY410" fmla="*/ 166252 h 380003"/>
                <a:gd name="connsiteX411" fmla="*/ 114433 w 276366"/>
                <a:gd name="connsiteY411" fmla="*/ 167979 h 380003"/>
                <a:gd name="connsiteX412" fmla="*/ 114865 w 276366"/>
                <a:gd name="connsiteY412" fmla="*/ 168842 h 380003"/>
                <a:gd name="connsiteX413" fmla="*/ 114865 w 276366"/>
                <a:gd name="connsiteY413" fmla="*/ 169274 h 380003"/>
                <a:gd name="connsiteX414" fmla="*/ 114001 w 276366"/>
                <a:gd name="connsiteY414" fmla="*/ 170138 h 380003"/>
                <a:gd name="connsiteX415" fmla="*/ 113569 w 276366"/>
                <a:gd name="connsiteY415" fmla="*/ 173161 h 380003"/>
                <a:gd name="connsiteX416" fmla="*/ 113137 w 276366"/>
                <a:gd name="connsiteY416" fmla="*/ 174456 h 380003"/>
                <a:gd name="connsiteX417" fmla="*/ 112274 w 276366"/>
                <a:gd name="connsiteY417" fmla="*/ 176615 h 380003"/>
                <a:gd name="connsiteX418" fmla="*/ 112705 w 276366"/>
                <a:gd name="connsiteY418" fmla="*/ 177479 h 380003"/>
                <a:gd name="connsiteX419" fmla="*/ 112705 w 276366"/>
                <a:gd name="connsiteY419" fmla="*/ 178342 h 380003"/>
                <a:gd name="connsiteX420" fmla="*/ 111842 w 276366"/>
                <a:gd name="connsiteY420" fmla="*/ 180933 h 380003"/>
                <a:gd name="connsiteX421" fmla="*/ 110978 w 276366"/>
                <a:gd name="connsiteY421" fmla="*/ 182229 h 380003"/>
                <a:gd name="connsiteX422" fmla="*/ 108819 w 276366"/>
                <a:gd name="connsiteY422" fmla="*/ 183524 h 380003"/>
                <a:gd name="connsiteX423" fmla="*/ 109683 w 276366"/>
                <a:gd name="connsiteY423" fmla="*/ 183956 h 380003"/>
                <a:gd name="connsiteX424" fmla="*/ 110115 w 276366"/>
                <a:gd name="connsiteY424" fmla="*/ 184820 h 380003"/>
                <a:gd name="connsiteX425" fmla="*/ 110115 w 276366"/>
                <a:gd name="connsiteY425" fmla="*/ 185684 h 380003"/>
                <a:gd name="connsiteX426" fmla="*/ 107956 w 276366"/>
                <a:gd name="connsiteY426" fmla="*/ 188706 h 380003"/>
                <a:gd name="connsiteX427" fmla="*/ 107092 w 276366"/>
                <a:gd name="connsiteY427" fmla="*/ 189570 h 380003"/>
                <a:gd name="connsiteX428" fmla="*/ 107524 w 276366"/>
                <a:gd name="connsiteY428" fmla="*/ 190002 h 380003"/>
                <a:gd name="connsiteX429" fmla="*/ 107956 w 276366"/>
                <a:gd name="connsiteY429" fmla="*/ 191297 h 380003"/>
                <a:gd name="connsiteX430" fmla="*/ 108387 w 276366"/>
                <a:gd name="connsiteY430" fmla="*/ 192161 h 380003"/>
                <a:gd name="connsiteX431" fmla="*/ 107956 w 276366"/>
                <a:gd name="connsiteY431" fmla="*/ 192593 h 380003"/>
                <a:gd name="connsiteX432" fmla="*/ 108387 w 276366"/>
                <a:gd name="connsiteY432" fmla="*/ 193456 h 380003"/>
                <a:gd name="connsiteX433" fmla="*/ 109251 w 276366"/>
                <a:gd name="connsiteY433" fmla="*/ 193456 h 380003"/>
                <a:gd name="connsiteX434" fmla="*/ 109251 w 276366"/>
                <a:gd name="connsiteY434" fmla="*/ 193888 h 380003"/>
                <a:gd name="connsiteX435" fmla="*/ 108819 w 276366"/>
                <a:gd name="connsiteY435" fmla="*/ 194320 h 380003"/>
                <a:gd name="connsiteX436" fmla="*/ 107956 w 276366"/>
                <a:gd name="connsiteY436" fmla="*/ 194320 h 380003"/>
                <a:gd name="connsiteX437" fmla="*/ 107092 w 276366"/>
                <a:gd name="connsiteY437" fmla="*/ 193456 h 380003"/>
                <a:gd name="connsiteX438" fmla="*/ 106660 w 276366"/>
                <a:gd name="connsiteY438" fmla="*/ 193456 h 380003"/>
                <a:gd name="connsiteX439" fmla="*/ 105365 w 276366"/>
                <a:gd name="connsiteY439" fmla="*/ 195615 h 380003"/>
                <a:gd name="connsiteX440" fmla="*/ 104933 w 276366"/>
                <a:gd name="connsiteY440" fmla="*/ 196047 h 380003"/>
                <a:gd name="connsiteX441" fmla="*/ 104069 w 276366"/>
                <a:gd name="connsiteY441" fmla="*/ 196047 h 380003"/>
                <a:gd name="connsiteX442" fmla="*/ 102774 w 276366"/>
                <a:gd name="connsiteY442" fmla="*/ 196479 h 380003"/>
                <a:gd name="connsiteX443" fmla="*/ 102342 w 276366"/>
                <a:gd name="connsiteY443" fmla="*/ 198206 h 380003"/>
                <a:gd name="connsiteX444" fmla="*/ 102342 w 276366"/>
                <a:gd name="connsiteY444" fmla="*/ 199070 h 380003"/>
                <a:gd name="connsiteX445" fmla="*/ 101910 w 276366"/>
                <a:gd name="connsiteY445" fmla="*/ 199934 h 380003"/>
                <a:gd name="connsiteX446" fmla="*/ 101910 w 276366"/>
                <a:gd name="connsiteY446" fmla="*/ 201661 h 380003"/>
                <a:gd name="connsiteX447" fmla="*/ 102774 w 276366"/>
                <a:gd name="connsiteY447" fmla="*/ 203388 h 380003"/>
                <a:gd name="connsiteX448" fmla="*/ 102774 w 276366"/>
                <a:gd name="connsiteY448" fmla="*/ 203820 h 380003"/>
                <a:gd name="connsiteX449" fmla="*/ 102342 w 276366"/>
                <a:gd name="connsiteY449" fmla="*/ 204252 h 380003"/>
                <a:gd name="connsiteX450" fmla="*/ 101046 w 276366"/>
                <a:gd name="connsiteY450" fmla="*/ 206411 h 380003"/>
                <a:gd name="connsiteX451" fmla="*/ 101478 w 276366"/>
                <a:gd name="connsiteY451" fmla="*/ 207275 h 380003"/>
                <a:gd name="connsiteX452" fmla="*/ 101910 w 276366"/>
                <a:gd name="connsiteY452" fmla="*/ 207275 h 380003"/>
                <a:gd name="connsiteX453" fmla="*/ 103205 w 276366"/>
                <a:gd name="connsiteY453" fmla="*/ 206411 h 380003"/>
                <a:gd name="connsiteX454" fmla="*/ 104933 w 276366"/>
                <a:gd name="connsiteY454" fmla="*/ 205547 h 380003"/>
                <a:gd name="connsiteX455" fmla="*/ 106228 w 276366"/>
                <a:gd name="connsiteY455" fmla="*/ 204684 h 380003"/>
                <a:gd name="connsiteX456" fmla="*/ 107092 w 276366"/>
                <a:gd name="connsiteY456" fmla="*/ 204684 h 380003"/>
                <a:gd name="connsiteX457" fmla="*/ 107092 w 276366"/>
                <a:gd name="connsiteY457" fmla="*/ 205547 h 380003"/>
                <a:gd name="connsiteX458" fmla="*/ 105796 w 276366"/>
                <a:gd name="connsiteY458" fmla="*/ 207275 h 380003"/>
                <a:gd name="connsiteX459" fmla="*/ 105796 w 276366"/>
                <a:gd name="connsiteY459" fmla="*/ 208138 h 380003"/>
                <a:gd name="connsiteX460" fmla="*/ 103205 w 276366"/>
                <a:gd name="connsiteY460" fmla="*/ 209866 h 380003"/>
                <a:gd name="connsiteX461" fmla="*/ 102774 w 276366"/>
                <a:gd name="connsiteY461" fmla="*/ 211161 h 380003"/>
                <a:gd name="connsiteX462" fmla="*/ 102774 w 276366"/>
                <a:gd name="connsiteY462" fmla="*/ 212457 h 380003"/>
                <a:gd name="connsiteX463" fmla="*/ 103205 w 276366"/>
                <a:gd name="connsiteY463" fmla="*/ 213320 h 380003"/>
                <a:gd name="connsiteX464" fmla="*/ 104933 w 276366"/>
                <a:gd name="connsiteY464" fmla="*/ 214184 h 380003"/>
                <a:gd name="connsiteX465" fmla="*/ 104933 w 276366"/>
                <a:gd name="connsiteY465" fmla="*/ 214616 h 380003"/>
                <a:gd name="connsiteX466" fmla="*/ 104501 w 276366"/>
                <a:gd name="connsiteY466" fmla="*/ 215911 h 380003"/>
                <a:gd name="connsiteX467" fmla="*/ 103637 w 276366"/>
                <a:gd name="connsiteY467" fmla="*/ 216775 h 380003"/>
                <a:gd name="connsiteX468" fmla="*/ 103205 w 276366"/>
                <a:gd name="connsiteY468" fmla="*/ 217206 h 380003"/>
                <a:gd name="connsiteX469" fmla="*/ 103637 w 276366"/>
                <a:gd name="connsiteY469" fmla="*/ 218934 h 380003"/>
                <a:gd name="connsiteX470" fmla="*/ 103205 w 276366"/>
                <a:gd name="connsiteY470" fmla="*/ 219366 h 380003"/>
                <a:gd name="connsiteX471" fmla="*/ 102342 w 276366"/>
                <a:gd name="connsiteY471" fmla="*/ 218934 h 380003"/>
                <a:gd name="connsiteX472" fmla="*/ 102342 w 276366"/>
                <a:gd name="connsiteY472" fmla="*/ 218502 h 380003"/>
                <a:gd name="connsiteX473" fmla="*/ 101910 w 276366"/>
                <a:gd name="connsiteY473" fmla="*/ 218070 h 380003"/>
                <a:gd name="connsiteX474" fmla="*/ 102774 w 276366"/>
                <a:gd name="connsiteY474" fmla="*/ 215479 h 380003"/>
                <a:gd name="connsiteX475" fmla="*/ 102342 w 276366"/>
                <a:gd name="connsiteY475" fmla="*/ 214616 h 380003"/>
                <a:gd name="connsiteX476" fmla="*/ 99751 w 276366"/>
                <a:gd name="connsiteY476" fmla="*/ 216775 h 380003"/>
                <a:gd name="connsiteX477" fmla="*/ 99319 w 276366"/>
                <a:gd name="connsiteY477" fmla="*/ 217206 h 380003"/>
                <a:gd name="connsiteX478" fmla="*/ 99751 w 276366"/>
                <a:gd name="connsiteY478" fmla="*/ 217638 h 380003"/>
                <a:gd name="connsiteX479" fmla="*/ 100615 w 276366"/>
                <a:gd name="connsiteY479" fmla="*/ 218070 h 380003"/>
                <a:gd name="connsiteX480" fmla="*/ 100615 w 276366"/>
                <a:gd name="connsiteY480" fmla="*/ 218502 h 380003"/>
                <a:gd name="connsiteX481" fmla="*/ 99751 w 276366"/>
                <a:gd name="connsiteY481" fmla="*/ 220661 h 380003"/>
                <a:gd name="connsiteX482" fmla="*/ 98455 w 276366"/>
                <a:gd name="connsiteY482" fmla="*/ 221525 h 380003"/>
                <a:gd name="connsiteX483" fmla="*/ 97160 w 276366"/>
                <a:gd name="connsiteY483" fmla="*/ 222388 h 380003"/>
                <a:gd name="connsiteX484" fmla="*/ 98024 w 276366"/>
                <a:gd name="connsiteY484" fmla="*/ 223252 h 380003"/>
                <a:gd name="connsiteX485" fmla="*/ 98887 w 276366"/>
                <a:gd name="connsiteY485" fmla="*/ 224979 h 380003"/>
                <a:gd name="connsiteX486" fmla="*/ 97592 w 276366"/>
                <a:gd name="connsiteY486" fmla="*/ 226275 h 380003"/>
                <a:gd name="connsiteX487" fmla="*/ 98024 w 276366"/>
                <a:gd name="connsiteY487" fmla="*/ 226707 h 380003"/>
                <a:gd name="connsiteX488" fmla="*/ 97592 w 276366"/>
                <a:gd name="connsiteY488" fmla="*/ 228434 h 380003"/>
                <a:gd name="connsiteX489" fmla="*/ 96728 w 276366"/>
                <a:gd name="connsiteY489" fmla="*/ 229298 h 380003"/>
                <a:gd name="connsiteX490" fmla="*/ 97592 w 276366"/>
                <a:gd name="connsiteY490" fmla="*/ 230593 h 380003"/>
                <a:gd name="connsiteX491" fmla="*/ 98024 w 276366"/>
                <a:gd name="connsiteY491" fmla="*/ 231025 h 380003"/>
                <a:gd name="connsiteX492" fmla="*/ 97160 w 276366"/>
                <a:gd name="connsiteY492" fmla="*/ 231889 h 380003"/>
                <a:gd name="connsiteX493" fmla="*/ 95864 w 276366"/>
                <a:gd name="connsiteY493" fmla="*/ 234479 h 380003"/>
                <a:gd name="connsiteX494" fmla="*/ 95864 w 276366"/>
                <a:gd name="connsiteY494" fmla="*/ 234911 h 380003"/>
                <a:gd name="connsiteX495" fmla="*/ 96296 w 276366"/>
                <a:gd name="connsiteY495" fmla="*/ 236638 h 380003"/>
                <a:gd name="connsiteX496" fmla="*/ 95864 w 276366"/>
                <a:gd name="connsiteY496" fmla="*/ 237934 h 380003"/>
                <a:gd name="connsiteX497" fmla="*/ 95864 w 276366"/>
                <a:gd name="connsiteY497" fmla="*/ 239661 h 380003"/>
                <a:gd name="connsiteX498" fmla="*/ 96296 w 276366"/>
                <a:gd name="connsiteY498" fmla="*/ 240525 h 380003"/>
                <a:gd name="connsiteX499" fmla="*/ 96728 w 276366"/>
                <a:gd name="connsiteY499" fmla="*/ 240957 h 380003"/>
                <a:gd name="connsiteX500" fmla="*/ 95864 w 276366"/>
                <a:gd name="connsiteY500" fmla="*/ 241820 h 380003"/>
                <a:gd name="connsiteX501" fmla="*/ 95433 w 276366"/>
                <a:gd name="connsiteY501" fmla="*/ 244411 h 380003"/>
                <a:gd name="connsiteX502" fmla="*/ 95001 w 276366"/>
                <a:gd name="connsiteY502" fmla="*/ 245275 h 380003"/>
                <a:gd name="connsiteX503" fmla="*/ 95433 w 276366"/>
                <a:gd name="connsiteY503" fmla="*/ 246139 h 380003"/>
                <a:gd name="connsiteX504" fmla="*/ 95433 w 276366"/>
                <a:gd name="connsiteY504" fmla="*/ 247434 h 380003"/>
                <a:gd name="connsiteX505" fmla="*/ 93705 w 276366"/>
                <a:gd name="connsiteY505" fmla="*/ 248730 h 380003"/>
                <a:gd name="connsiteX506" fmla="*/ 92842 w 276366"/>
                <a:gd name="connsiteY506" fmla="*/ 249161 h 380003"/>
                <a:gd name="connsiteX507" fmla="*/ 93273 w 276366"/>
                <a:gd name="connsiteY507" fmla="*/ 250457 h 380003"/>
                <a:gd name="connsiteX508" fmla="*/ 95001 w 276366"/>
                <a:gd name="connsiteY508" fmla="*/ 252184 h 380003"/>
                <a:gd name="connsiteX509" fmla="*/ 94569 w 276366"/>
                <a:gd name="connsiteY509" fmla="*/ 253048 h 380003"/>
                <a:gd name="connsiteX510" fmla="*/ 95001 w 276366"/>
                <a:gd name="connsiteY510" fmla="*/ 253480 h 380003"/>
                <a:gd name="connsiteX511" fmla="*/ 95001 w 276366"/>
                <a:gd name="connsiteY511" fmla="*/ 255207 h 380003"/>
                <a:gd name="connsiteX512" fmla="*/ 93705 w 276366"/>
                <a:gd name="connsiteY512" fmla="*/ 256934 h 380003"/>
                <a:gd name="connsiteX513" fmla="*/ 93705 w 276366"/>
                <a:gd name="connsiteY513" fmla="*/ 259525 h 380003"/>
                <a:gd name="connsiteX514" fmla="*/ 93273 w 276366"/>
                <a:gd name="connsiteY514" fmla="*/ 260821 h 380003"/>
                <a:gd name="connsiteX515" fmla="*/ 92842 w 276366"/>
                <a:gd name="connsiteY515" fmla="*/ 261684 h 380003"/>
                <a:gd name="connsiteX516" fmla="*/ 93273 w 276366"/>
                <a:gd name="connsiteY516" fmla="*/ 262548 h 380003"/>
                <a:gd name="connsiteX517" fmla="*/ 95001 w 276366"/>
                <a:gd name="connsiteY517" fmla="*/ 262548 h 380003"/>
                <a:gd name="connsiteX518" fmla="*/ 95864 w 276366"/>
                <a:gd name="connsiteY518" fmla="*/ 261684 h 380003"/>
                <a:gd name="connsiteX519" fmla="*/ 96296 w 276366"/>
                <a:gd name="connsiteY519" fmla="*/ 261684 h 380003"/>
                <a:gd name="connsiteX520" fmla="*/ 96728 w 276366"/>
                <a:gd name="connsiteY520" fmla="*/ 262116 h 380003"/>
                <a:gd name="connsiteX521" fmla="*/ 97160 w 276366"/>
                <a:gd name="connsiteY521" fmla="*/ 263843 h 380003"/>
                <a:gd name="connsiteX522" fmla="*/ 97592 w 276366"/>
                <a:gd name="connsiteY522" fmla="*/ 264275 h 380003"/>
                <a:gd name="connsiteX523" fmla="*/ 98024 w 276366"/>
                <a:gd name="connsiteY523" fmla="*/ 265139 h 380003"/>
                <a:gd name="connsiteX524" fmla="*/ 96728 w 276366"/>
                <a:gd name="connsiteY524" fmla="*/ 266434 h 380003"/>
                <a:gd name="connsiteX525" fmla="*/ 95864 w 276366"/>
                <a:gd name="connsiteY525" fmla="*/ 266866 h 380003"/>
                <a:gd name="connsiteX526" fmla="*/ 94137 w 276366"/>
                <a:gd name="connsiteY526" fmla="*/ 264707 h 380003"/>
                <a:gd name="connsiteX527" fmla="*/ 93705 w 276366"/>
                <a:gd name="connsiteY527" fmla="*/ 264275 h 380003"/>
                <a:gd name="connsiteX528" fmla="*/ 93273 w 276366"/>
                <a:gd name="connsiteY528" fmla="*/ 265139 h 380003"/>
                <a:gd name="connsiteX529" fmla="*/ 91978 w 276366"/>
                <a:gd name="connsiteY529" fmla="*/ 267730 h 380003"/>
                <a:gd name="connsiteX530" fmla="*/ 91978 w 276366"/>
                <a:gd name="connsiteY530" fmla="*/ 268162 h 380003"/>
                <a:gd name="connsiteX531" fmla="*/ 91546 w 276366"/>
                <a:gd name="connsiteY531" fmla="*/ 272912 h 380003"/>
                <a:gd name="connsiteX532" fmla="*/ 91546 w 276366"/>
                <a:gd name="connsiteY532" fmla="*/ 274639 h 380003"/>
                <a:gd name="connsiteX533" fmla="*/ 91114 w 276366"/>
                <a:gd name="connsiteY533" fmla="*/ 275934 h 380003"/>
                <a:gd name="connsiteX534" fmla="*/ 91114 w 276366"/>
                <a:gd name="connsiteY534" fmla="*/ 277662 h 380003"/>
                <a:gd name="connsiteX535" fmla="*/ 91546 w 276366"/>
                <a:gd name="connsiteY535" fmla="*/ 278525 h 380003"/>
                <a:gd name="connsiteX536" fmla="*/ 91546 w 276366"/>
                <a:gd name="connsiteY536" fmla="*/ 280253 h 380003"/>
                <a:gd name="connsiteX537" fmla="*/ 90683 w 276366"/>
                <a:gd name="connsiteY537" fmla="*/ 281548 h 380003"/>
                <a:gd name="connsiteX538" fmla="*/ 90683 w 276366"/>
                <a:gd name="connsiteY538" fmla="*/ 282843 h 380003"/>
                <a:gd name="connsiteX539" fmla="*/ 91114 w 276366"/>
                <a:gd name="connsiteY539" fmla="*/ 285434 h 380003"/>
                <a:gd name="connsiteX540" fmla="*/ 90683 w 276366"/>
                <a:gd name="connsiteY540" fmla="*/ 287594 h 380003"/>
                <a:gd name="connsiteX541" fmla="*/ 90683 w 276366"/>
                <a:gd name="connsiteY541" fmla="*/ 288025 h 380003"/>
                <a:gd name="connsiteX542" fmla="*/ 91114 w 276366"/>
                <a:gd name="connsiteY542" fmla="*/ 288457 h 380003"/>
                <a:gd name="connsiteX543" fmla="*/ 91546 w 276366"/>
                <a:gd name="connsiteY543" fmla="*/ 288457 h 380003"/>
                <a:gd name="connsiteX544" fmla="*/ 91978 w 276366"/>
                <a:gd name="connsiteY544" fmla="*/ 289321 h 380003"/>
                <a:gd name="connsiteX545" fmla="*/ 91114 w 276366"/>
                <a:gd name="connsiteY545" fmla="*/ 290616 h 380003"/>
                <a:gd name="connsiteX546" fmla="*/ 91114 w 276366"/>
                <a:gd name="connsiteY546" fmla="*/ 294071 h 380003"/>
                <a:gd name="connsiteX547" fmla="*/ 91546 w 276366"/>
                <a:gd name="connsiteY547" fmla="*/ 294503 h 380003"/>
                <a:gd name="connsiteX548" fmla="*/ 91978 w 276366"/>
                <a:gd name="connsiteY548" fmla="*/ 294503 h 380003"/>
                <a:gd name="connsiteX549" fmla="*/ 92842 w 276366"/>
                <a:gd name="connsiteY549" fmla="*/ 292344 h 380003"/>
                <a:gd name="connsiteX550" fmla="*/ 93273 w 276366"/>
                <a:gd name="connsiteY550" fmla="*/ 291912 h 380003"/>
                <a:gd name="connsiteX551" fmla="*/ 93705 w 276366"/>
                <a:gd name="connsiteY551" fmla="*/ 292344 h 380003"/>
                <a:gd name="connsiteX552" fmla="*/ 95001 w 276366"/>
                <a:gd name="connsiteY552" fmla="*/ 294071 h 380003"/>
                <a:gd name="connsiteX553" fmla="*/ 94137 w 276366"/>
                <a:gd name="connsiteY553" fmla="*/ 294934 h 380003"/>
                <a:gd name="connsiteX554" fmla="*/ 95001 w 276366"/>
                <a:gd name="connsiteY554" fmla="*/ 295366 h 380003"/>
                <a:gd name="connsiteX555" fmla="*/ 94569 w 276366"/>
                <a:gd name="connsiteY555" fmla="*/ 299685 h 380003"/>
                <a:gd name="connsiteX556" fmla="*/ 93705 w 276366"/>
                <a:gd name="connsiteY556" fmla="*/ 299685 h 380003"/>
                <a:gd name="connsiteX557" fmla="*/ 92842 w 276366"/>
                <a:gd name="connsiteY557" fmla="*/ 298821 h 380003"/>
                <a:gd name="connsiteX558" fmla="*/ 91978 w 276366"/>
                <a:gd name="connsiteY558" fmla="*/ 297094 h 380003"/>
                <a:gd name="connsiteX559" fmla="*/ 92842 w 276366"/>
                <a:gd name="connsiteY559" fmla="*/ 295798 h 380003"/>
                <a:gd name="connsiteX560" fmla="*/ 93273 w 276366"/>
                <a:gd name="connsiteY560" fmla="*/ 295366 h 380003"/>
                <a:gd name="connsiteX561" fmla="*/ 92842 w 276366"/>
                <a:gd name="connsiteY561" fmla="*/ 295366 h 380003"/>
                <a:gd name="connsiteX562" fmla="*/ 91978 w 276366"/>
                <a:gd name="connsiteY562" fmla="*/ 294934 h 380003"/>
                <a:gd name="connsiteX563" fmla="*/ 90683 w 276366"/>
                <a:gd name="connsiteY563" fmla="*/ 297094 h 380003"/>
                <a:gd name="connsiteX564" fmla="*/ 90683 w 276366"/>
                <a:gd name="connsiteY564" fmla="*/ 298389 h 380003"/>
                <a:gd name="connsiteX565" fmla="*/ 89387 w 276366"/>
                <a:gd name="connsiteY565" fmla="*/ 299685 h 380003"/>
                <a:gd name="connsiteX566" fmla="*/ 90251 w 276366"/>
                <a:gd name="connsiteY566" fmla="*/ 300548 h 380003"/>
                <a:gd name="connsiteX567" fmla="*/ 91114 w 276366"/>
                <a:gd name="connsiteY567" fmla="*/ 301412 h 380003"/>
                <a:gd name="connsiteX568" fmla="*/ 89819 w 276366"/>
                <a:gd name="connsiteY568" fmla="*/ 302275 h 380003"/>
                <a:gd name="connsiteX569" fmla="*/ 89819 w 276366"/>
                <a:gd name="connsiteY569" fmla="*/ 303139 h 380003"/>
                <a:gd name="connsiteX570" fmla="*/ 91978 w 276366"/>
                <a:gd name="connsiteY570" fmla="*/ 304003 h 380003"/>
                <a:gd name="connsiteX571" fmla="*/ 93273 w 276366"/>
                <a:gd name="connsiteY571" fmla="*/ 304003 h 380003"/>
                <a:gd name="connsiteX572" fmla="*/ 95001 w 276366"/>
                <a:gd name="connsiteY572" fmla="*/ 304435 h 380003"/>
                <a:gd name="connsiteX573" fmla="*/ 94569 w 276366"/>
                <a:gd name="connsiteY573" fmla="*/ 306162 h 380003"/>
                <a:gd name="connsiteX574" fmla="*/ 95001 w 276366"/>
                <a:gd name="connsiteY574" fmla="*/ 313503 h 380003"/>
                <a:gd name="connsiteX575" fmla="*/ 95001 w 276366"/>
                <a:gd name="connsiteY575" fmla="*/ 315230 h 380003"/>
                <a:gd name="connsiteX576" fmla="*/ 94137 w 276366"/>
                <a:gd name="connsiteY576" fmla="*/ 315662 h 380003"/>
                <a:gd name="connsiteX577" fmla="*/ 94569 w 276366"/>
                <a:gd name="connsiteY577" fmla="*/ 316957 h 380003"/>
                <a:gd name="connsiteX578" fmla="*/ 95001 w 276366"/>
                <a:gd name="connsiteY578" fmla="*/ 320412 h 380003"/>
                <a:gd name="connsiteX579" fmla="*/ 94569 w 276366"/>
                <a:gd name="connsiteY579" fmla="*/ 321276 h 380003"/>
                <a:gd name="connsiteX580" fmla="*/ 93705 w 276366"/>
                <a:gd name="connsiteY580" fmla="*/ 322571 h 380003"/>
                <a:gd name="connsiteX581" fmla="*/ 93705 w 276366"/>
                <a:gd name="connsiteY581" fmla="*/ 325162 h 380003"/>
                <a:gd name="connsiteX582" fmla="*/ 94569 w 276366"/>
                <a:gd name="connsiteY582" fmla="*/ 325594 h 380003"/>
                <a:gd name="connsiteX583" fmla="*/ 94137 w 276366"/>
                <a:gd name="connsiteY583" fmla="*/ 326026 h 380003"/>
                <a:gd name="connsiteX584" fmla="*/ 95001 w 276366"/>
                <a:gd name="connsiteY584" fmla="*/ 327321 h 380003"/>
                <a:gd name="connsiteX585" fmla="*/ 95001 w 276366"/>
                <a:gd name="connsiteY585" fmla="*/ 327753 h 380003"/>
                <a:gd name="connsiteX586" fmla="*/ 94137 w 276366"/>
                <a:gd name="connsiteY586" fmla="*/ 328617 h 380003"/>
                <a:gd name="connsiteX587" fmla="*/ 94569 w 276366"/>
                <a:gd name="connsiteY587" fmla="*/ 329480 h 380003"/>
                <a:gd name="connsiteX588" fmla="*/ 94137 w 276366"/>
                <a:gd name="connsiteY588" fmla="*/ 329912 h 380003"/>
                <a:gd name="connsiteX589" fmla="*/ 93705 w 276366"/>
                <a:gd name="connsiteY589" fmla="*/ 330344 h 380003"/>
                <a:gd name="connsiteX590" fmla="*/ 93273 w 276366"/>
                <a:gd name="connsiteY590" fmla="*/ 329912 h 380003"/>
                <a:gd name="connsiteX591" fmla="*/ 93273 w 276366"/>
                <a:gd name="connsiteY591" fmla="*/ 328617 h 380003"/>
                <a:gd name="connsiteX592" fmla="*/ 91978 w 276366"/>
                <a:gd name="connsiteY592" fmla="*/ 327753 h 380003"/>
                <a:gd name="connsiteX593" fmla="*/ 91546 w 276366"/>
                <a:gd name="connsiteY593" fmla="*/ 328617 h 380003"/>
                <a:gd name="connsiteX594" fmla="*/ 91114 w 276366"/>
                <a:gd name="connsiteY594" fmla="*/ 333367 h 380003"/>
                <a:gd name="connsiteX595" fmla="*/ 92410 w 276366"/>
                <a:gd name="connsiteY595" fmla="*/ 333798 h 380003"/>
                <a:gd name="connsiteX596" fmla="*/ 93273 w 276366"/>
                <a:gd name="connsiteY596" fmla="*/ 332935 h 380003"/>
                <a:gd name="connsiteX597" fmla="*/ 94569 w 276366"/>
                <a:gd name="connsiteY597" fmla="*/ 333367 h 380003"/>
                <a:gd name="connsiteX598" fmla="*/ 95001 w 276366"/>
                <a:gd name="connsiteY598" fmla="*/ 334662 h 380003"/>
                <a:gd name="connsiteX599" fmla="*/ 95001 w 276366"/>
                <a:gd name="connsiteY599" fmla="*/ 336389 h 380003"/>
                <a:gd name="connsiteX600" fmla="*/ 95864 w 276366"/>
                <a:gd name="connsiteY600" fmla="*/ 338117 h 380003"/>
                <a:gd name="connsiteX601" fmla="*/ 95864 w 276366"/>
                <a:gd name="connsiteY601" fmla="*/ 339844 h 380003"/>
                <a:gd name="connsiteX602" fmla="*/ 95433 w 276366"/>
                <a:gd name="connsiteY602" fmla="*/ 341139 h 380003"/>
                <a:gd name="connsiteX603" fmla="*/ 96296 w 276366"/>
                <a:gd name="connsiteY603" fmla="*/ 342867 h 380003"/>
                <a:gd name="connsiteX604" fmla="*/ 96296 w 276366"/>
                <a:gd name="connsiteY604" fmla="*/ 344162 h 380003"/>
                <a:gd name="connsiteX605" fmla="*/ 96728 w 276366"/>
                <a:gd name="connsiteY605" fmla="*/ 345026 h 380003"/>
                <a:gd name="connsiteX606" fmla="*/ 96728 w 276366"/>
                <a:gd name="connsiteY606" fmla="*/ 345458 h 380003"/>
                <a:gd name="connsiteX607" fmla="*/ 96728 w 276366"/>
                <a:gd name="connsiteY607" fmla="*/ 348480 h 380003"/>
                <a:gd name="connsiteX608" fmla="*/ 98024 w 276366"/>
                <a:gd name="connsiteY608" fmla="*/ 350640 h 380003"/>
                <a:gd name="connsiteX609" fmla="*/ 98024 w 276366"/>
                <a:gd name="connsiteY609" fmla="*/ 351935 h 380003"/>
                <a:gd name="connsiteX610" fmla="*/ 99319 w 276366"/>
                <a:gd name="connsiteY610" fmla="*/ 353230 h 380003"/>
                <a:gd name="connsiteX611" fmla="*/ 99319 w 276366"/>
                <a:gd name="connsiteY611" fmla="*/ 354094 h 380003"/>
                <a:gd name="connsiteX612" fmla="*/ 101910 w 276366"/>
                <a:gd name="connsiteY612" fmla="*/ 353662 h 380003"/>
                <a:gd name="connsiteX613" fmla="*/ 104501 w 276366"/>
                <a:gd name="connsiteY613" fmla="*/ 352367 h 380003"/>
                <a:gd name="connsiteX614" fmla="*/ 106660 w 276366"/>
                <a:gd name="connsiteY614" fmla="*/ 350640 h 380003"/>
                <a:gd name="connsiteX615" fmla="*/ 107956 w 276366"/>
                <a:gd name="connsiteY615" fmla="*/ 348480 h 380003"/>
                <a:gd name="connsiteX616" fmla="*/ 107956 w 276366"/>
                <a:gd name="connsiteY616" fmla="*/ 348049 h 380003"/>
                <a:gd name="connsiteX617" fmla="*/ 110978 w 276366"/>
                <a:gd name="connsiteY617" fmla="*/ 345026 h 380003"/>
                <a:gd name="connsiteX618" fmla="*/ 112705 w 276366"/>
                <a:gd name="connsiteY618" fmla="*/ 343299 h 380003"/>
                <a:gd name="connsiteX619" fmla="*/ 112705 w 276366"/>
                <a:gd name="connsiteY619" fmla="*/ 342003 h 380003"/>
                <a:gd name="connsiteX620" fmla="*/ 113137 w 276366"/>
                <a:gd name="connsiteY620" fmla="*/ 341139 h 380003"/>
                <a:gd name="connsiteX621" fmla="*/ 114001 w 276366"/>
                <a:gd name="connsiteY621" fmla="*/ 340276 h 380003"/>
                <a:gd name="connsiteX622" fmla="*/ 114433 w 276366"/>
                <a:gd name="connsiteY622" fmla="*/ 338549 h 380003"/>
                <a:gd name="connsiteX623" fmla="*/ 116160 w 276366"/>
                <a:gd name="connsiteY623" fmla="*/ 337253 h 380003"/>
                <a:gd name="connsiteX624" fmla="*/ 117456 w 276366"/>
                <a:gd name="connsiteY624" fmla="*/ 335094 h 380003"/>
                <a:gd name="connsiteX625" fmla="*/ 117456 w 276366"/>
                <a:gd name="connsiteY625" fmla="*/ 334230 h 380003"/>
                <a:gd name="connsiteX626" fmla="*/ 118319 w 276366"/>
                <a:gd name="connsiteY626" fmla="*/ 331639 h 380003"/>
                <a:gd name="connsiteX627" fmla="*/ 121342 w 276366"/>
                <a:gd name="connsiteY627" fmla="*/ 329048 h 380003"/>
                <a:gd name="connsiteX628" fmla="*/ 122206 w 276366"/>
                <a:gd name="connsiteY628" fmla="*/ 326889 h 380003"/>
                <a:gd name="connsiteX629" fmla="*/ 123069 w 276366"/>
                <a:gd name="connsiteY629" fmla="*/ 325162 h 380003"/>
                <a:gd name="connsiteX630" fmla="*/ 122637 w 276366"/>
                <a:gd name="connsiteY630" fmla="*/ 324730 h 380003"/>
                <a:gd name="connsiteX631" fmla="*/ 123501 w 276366"/>
                <a:gd name="connsiteY631" fmla="*/ 323003 h 380003"/>
                <a:gd name="connsiteX632" fmla="*/ 124797 w 276366"/>
                <a:gd name="connsiteY632" fmla="*/ 320412 h 380003"/>
                <a:gd name="connsiteX633" fmla="*/ 126956 w 276366"/>
                <a:gd name="connsiteY633" fmla="*/ 316957 h 380003"/>
                <a:gd name="connsiteX634" fmla="*/ 126956 w 276366"/>
                <a:gd name="connsiteY634" fmla="*/ 316526 h 380003"/>
                <a:gd name="connsiteX635" fmla="*/ 128251 w 276366"/>
                <a:gd name="connsiteY635" fmla="*/ 315662 h 380003"/>
                <a:gd name="connsiteX636" fmla="*/ 127819 w 276366"/>
                <a:gd name="connsiteY636" fmla="*/ 315662 h 380003"/>
                <a:gd name="connsiteX637" fmla="*/ 129115 w 276366"/>
                <a:gd name="connsiteY637" fmla="*/ 313071 h 380003"/>
                <a:gd name="connsiteX638" fmla="*/ 129547 w 276366"/>
                <a:gd name="connsiteY638" fmla="*/ 311344 h 380003"/>
                <a:gd name="connsiteX639" fmla="*/ 131274 w 276366"/>
                <a:gd name="connsiteY639" fmla="*/ 309617 h 380003"/>
                <a:gd name="connsiteX640" fmla="*/ 130842 w 276366"/>
                <a:gd name="connsiteY640" fmla="*/ 308321 h 380003"/>
                <a:gd name="connsiteX641" fmla="*/ 131274 w 276366"/>
                <a:gd name="connsiteY641" fmla="*/ 307457 h 380003"/>
                <a:gd name="connsiteX642" fmla="*/ 132569 w 276366"/>
                <a:gd name="connsiteY642" fmla="*/ 306162 h 380003"/>
                <a:gd name="connsiteX643" fmla="*/ 133433 w 276366"/>
                <a:gd name="connsiteY643" fmla="*/ 304003 h 380003"/>
                <a:gd name="connsiteX644" fmla="*/ 135592 w 276366"/>
                <a:gd name="connsiteY644" fmla="*/ 301412 h 380003"/>
                <a:gd name="connsiteX645" fmla="*/ 137751 w 276366"/>
                <a:gd name="connsiteY645" fmla="*/ 297094 h 380003"/>
                <a:gd name="connsiteX646" fmla="*/ 138615 w 276366"/>
                <a:gd name="connsiteY646" fmla="*/ 295798 h 380003"/>
                <a:gd name="connsiteX647" fmla="*/ 139910 w 276366"/>
                <a:gd name="connsiteY647" fmla="*/ 292344 h 380003"/>
                <a:gd name="connsiteX648" fmla="*/ 141638 w 276366"/>
                <a:gd name="connsiteY648" fmla="*/ 289753 h 380003"/>
                <a:gd name="connsiteX649" fmla="*/ 141206 w 276366"/>
                <a:gd name="connsiteY649" fmla="*/ 289321 h 380003"/>
                <a:gd name="connsiteX650" fmla="*/ 142069 w 276366"/>
                <a:gd name="connsiteY650" fmla="*/ 287594 h 380003"/>
                <a:gd name="connsiteX651" fmla="*/ 144229 w 276366"/>
                <a:gd name="connsiteY651" fmla="*/ 284571 h 380003"/>
                <a:gd name="connsiteX652" fmla="*/ 143797 w 276366"/>
                <a:gd name="connsiteY652" fmla="*/ 283707 h 380003"/>
                <a:gd name="connsiteX653" fmla="*/ 144229 w 276366"/>
                <a:gd name="connsiteY653" fmla="*/ 282412 h 380003"/>
                <a:gd name="connsiteX654" fmla="*/ 146388 w 276366"/>
                <a:gd name="connsiteY654" fmla="*/ 280253 h 380003"/>
                <a:gd name="connsiteX655" fmla="*/ 147251 w 276366"/>
                <a:gd name="connsiteY655" fmla="*/ 278093 h 380003"/>
                <a:gd name="connsiteX656" fmla="*/ 147683 w 276366"/>
                <a:gd name="connsiteY656" fmla="*/ 276366 h 380003"/>
                <a:gd name="connsiteX657" fmla="*/ 147251 w 276366"/>
                <a:gd name="connsiteY657" fmla="*/ 275934 h 380003"/>
                <a:gd name="connsiteX658" fmla="*/ 148115 w 276366"/>
                <a:gd name="connsiteY658" fmla="*/ 274639 h 380003"/>
                <a:gd name="connsiteX659" fmla="*/ 149842 w 276366"/>
                <a:gd name="connsiteY659" fmla="*/ 272912 h 380003"/>
                <a:gd name="connsiteX660" fmla="*/ 150274 w 276366"/>
                <a:gd name="connsiteY660" fmla="*/ 271616 h 380003"/>
                <a:gd name="connsiteX661" fmla="*/ 151138 w 276366"/>
                <a:gd name="connsiteY661" fmla="*/ 269889 h 380003"/>
                <a:gd name="connsiteX662" fmla="*/ 152865 w 276366"/>
                <a:gd name="connsiteY662" fmla="*/ 268162 h 380003"/>
                <a:gd name="connsiteX663" fmla="*/ 152433 w 276366"/>
                <a:gd name="connsiteY663" fmla="*/ 266866 h 380003"/>
                <a:gd name="connsiteX664" fmla="*/ 152865 w 276366"/>
                <a:gd name="connsiteY664" fmla="*/ 265139 h 380003"/>
                <a:gd name="connsiteX665" fmla="*/ 153729 w 276366"/>
                <a:gd name="connsiteY665" fmla="*/ 264275 h 380003"/>
                <a:gd name="connsiteX666" fmla="*/ 153729 w 276366"/>
                <a:gd name="connsiteY666" fmla="*/ 263843 h 380003"/>
                <a:gd name="connsiteX667" fmla="*/ 154592 w 276366"/>
                <a:gd name="connsiteY667" fmla="*/ 262980 h 380003"/>
                <a:gd name="connsiteX668" fmla="*/ 155024 w 276366"/>
                <a:gd name="connsiteY668" fmla="*/ 262116 h 380003"/>
                <a:gd name="connsiteX669" fmla="*/ 155888 w 276366"/>
                <a:gd name="connsiteY669" fmla="*/ 260821 h 380003"/>
                <a:gd name="connsiteX670" fmla="*/ 155888 w 276366"/>
                <a:gd name="connsiteY670" fmla="*/ 259957 h 380003"/>
                <a:gd name="connsiteX671" fmla="*/ 156320 w 276366"/>
                <a:gd name="connsiteY671" fmla="*/ 259525 h 380003"/>
                <a:gd name="connsiteX672" fmla="*/ 158479 w 276366"/>
                <a:gd name="connsiteY672" fmla="*/ 254775 h 380003"/>
                <a:gd name="connsiteX673" fmla="*/ 158911 w 276366"/>
                <a:gd name="connsiteY673" fmla="*/ 252616 h 380003"/>
                <a:gd name="connsiteX674" fmla="*/ 160206 w 276366"/>
                <a:gd name="connsiteY674" fmla="*/ 250457 h 380003"/>
                <a:gd name="connsiteX675" fmla="*/ 161501 w 276366"/>
                <a:gd name="connsiteY675" fmla="*/ 248730 h 380003"/>
                <a:gd name="connsiteX676" fmla="*/ 163229 w 276366"/>
                <a:gd name="connsiteY676" fmla="*/ 245275 h 380003"/>
                <a:gd name="connsiteX677" fmla="*/ 163229 w 276366"/>
                <a:gd name="connsiteY677" fmla="*/ 243548 h 380003"/>
                <a:gd name="connsiteX678" fmla="*/ 163661 w 276366"/>
                <a:gd name="connsiteY678" fmla="*/ 243116 h 380003"/>
                <a:gd name="connsiteX679" fmla="*/ 164956 w 276366"/>
                <a:gd name="connsiteY679" fmla="*/ 240525 h 380003"/>
                <a:gd name="connsiteX680" fmla="*/ 165820 w 276366"/>
                <a:gd name="connsiteY680" fmla="*/ 239229 h 380003"/>
                <a:gd name="connsiteX681" fmla="*/ 164956 w 276366"/>
                <a:gd name="connsiteY681" fmla="*/ 238798 h 380003"/>
                <a:gd name="connsiteX682" fmla="*/ 166252 w 276366"/>
                <a:gd name="connsiteY682" fmla="*/ 237502 h 380003"/>
                <a:gd name="connsiteX683" fmla="*/ 167547 w 276366"/>
                <a:gd name="connsiteY683" fmla="*/ 235775 h 380003"/>
                <a:gd name="connsiteX684" fmla="*/ 167115 w 276366"/>
                <a:gd name="connsiteY684" fmla="*/ 235775 h 380003"/>
                <a:gd name="connsiteX685" fmla="*/ 167115 w 276366"/>
                <a:gd name="connsiteY685" fmla="*/ 235343 h 380003"/>
                <a:gd name="connsiteX686" fmla="*/ 167979 w 276366"/>
                <a:gd name="connsiteY686" fmla="*/ 234479 h 380003"/>
                <a:gd name="connsiteX687" fmla="*/ 167547 w 276366"/>
                <a:gd name="connsiteY687" fmla="*/ 233616 h 380003"/>
                <a:gd name="connsiteX688" fmla="*/ 168411 w 276366"/>
                <a:gd name="connsiteY688" fmla="*/ 231889 h 380003"/>
                <a:gd name="connsiteX689" fmla="*/ 169706 w 276366"/>
                <a:gd name="connsiteY689" fmla="*/ 230593 h 380003"/>
                <a:gd name="connsiteX690" fmla="*/ 171865 w 276366"/>
                <a:gd name="connsiteY690" fmla="*/ 227570 h 380003"/>
                <a:gd name="connsiteX691" fmla="*/ 193456 w 276366"/>
                <a:gd name="connsiteY691" fmla="*/ 199934 h 380003"/>
                <a:gd name="connsiteX692" fmla="*/ 181365 w 276366"/>
                <a:gd name="connsiteY692" fmla="*/ 227138 h 380003"/>
                <a:gd name="connsiteX693" fmla="*/ 181797 w 276366"/>
                <a:gd name="connsiteY693" fmla="*/ 227138 h 380003"/>
                <a:gd name="connsiteX694" fmla="*/ 181797 w 276366"/>
                <a:gd name="connsiteY694" fmla="*/ 227570 h 380003"/>
                <a:gd name="connsiteX695" fmla="*/ 181365 w 276366"/>
                <a:gd name="connsiteY695" fmla="*/ 228866 h 380003"/>
                <a:gd name="connsiteX696" fmla="*/ 182229 w 276366"/>
                <a:gd name="connsiteY696" fmla="*/ 228866 h 380003"/>
                <a:gd name="connsiteX697" fmla="*/ 184388 w 276366"/>
                <a:gd name="connsiteY697" fmla="*/ 228002 h 380003"/>
                <a:gd name="connsiteX698" fmla="*/ 184388 w 276366"/>
                <a:gd name="connsiteY698" fmla="*/ 228866 h 380003"/>
                <a:gd name="connsiteX699" fmla="*/ 183093 w 276366"/>
                <a:gd name="connsiteY699" fmla="*/ 231889 h 380003"/>
                <a:gd name="connsiteX700" fmla="*/ 183093 w 276366"/>
                <a:gd name="connsiteY700" fmla="*/ 232320 h 380003"/>
                <a:gd name="connsiteX701" fmla="*/ 181365 w 276366"/>
                <a:gd name="connsiteY701" fmla="*/ 233616 h 380003"/>
                <a:gd name="connsiteX702" fmla="*/ 180933 w 276366"/>
                <a:gd name="connsiteY702" fmla="*/ 234911 h 380003"/>
                <a:gd name="connsiteX703" fmla="*/ 180933 w 276366"/>
                <a:gd name="connsiteY703" fmla="*/ 235775 h 380003"/>
                <a:gd name="connsiteX704" fmla="*/ 180502 w 276366"/>
                <a:gd name="connsiteY704" fmla="*/ 236638 h 380003"/>
                <a:gd name="connsiteX705" fmla="*/ 179638 w 276366"/>
                <a:gd name="connsiteY705" fmla="*/ 237934 h 380003"/>
                <a:gd name="connsiteX706" fmla="*/ 180502 w 276366"/>
                <a:gd name="connsiteY706" fmla="*/ 239229 h 380003"/>
                <a:gd name="connsiteX707" fmla="*/ 180933 w 276366"/>
                <a:gd name="connsiteY707" fmla="*/ 239661 h 380003"/>
                <a:gd name="connsiteX708" fmla="*/ 180070 w 276366"/>
                <a:gd name="connsiteY708" fmla="*/ 240093 h 380003"/>
                <a:gd name="connsiteX709" fmla="*/ 179206 w 276366"/>
                <a:gd name="connsiteY709" fmla="*/ 240525 h 380003"/>
                <a:gd name="connsiteX710" fmla="*/ 175752 w 276366"/>
                <a:gd name="connsiteY710" fmla="*/ 242252 h 380003"/>
                <a:gd name="connsiteX711" fmla="*/ 175752 w 276366"/>
                <a:gd name="connsiteY711" fmla="*/ 243116 h 380003"/>
                <a:gd name="connsiteX712" fmla="*/ 177479 w 276366"/>
                <a:gd name="connsiteY712" fmla="*/ 243979 h 380003"/>
                <a:gd name="connsiteX713" fmla="*/ 175320 w 276366"/>
                <a:gd name="connsiteY713" fmla="*/ 244843 h 380003"/>
                <a:gd name="connsiteX714" fmla="*/ 173592 w 276366"/>
                <a:gd name="connsiteY714" fmla="*/ 245707 h 380003"/>
                <a:gd name="connsiteX715" fmla="*/ 173161 w 276366"/>
                <a:gd name="connsiteY715" fmla="*/ 246570 h 380003"/>
                <a:gd name="connsiteX716" fmla="*/ 173161 w 276366"/>
                <a:gd name="connsiteY716" fmla="*/ 247002 h 380003"/>
                <a:gd name="connsiteX717" fmla="*/ 174888 w 276366"/>
                <a:gd name="connsiteY717" fmla="*/ 247002 h 380003"/>
                <a:gd name="connsiteX718" fmla="*/ 174888 w 276366"/>
                <a:gd name="connsiteY718" fmla="*/ 247866 h 380003"/>
                <a:gd name="connsiteX719" fmla="*/ 175320 w 276366"/>
                <a:gd name="connsiteY719" fmla="*/ 248730 h 380003"/>
                <a:gd name="connsiteX720" fmla="*/ 175752 w 276366"/>
                <a:gd name="connsiteY720" fmla="*/ 249593 h 380003"/>
                <a:gd name="connsiteX721" fmla="*/ 175320 w 276366"/>
                <a:gd name="connsiteY721" fmla="*/ 250025 h 380003"/>
                <a:gd name="connsiteX722" fmla="*/ 173592 w 276366"/>
                <a:gd name="connsiteY722" fmla="*/ 251321 h 380003"/>
                <a:gd name="connsiteX723" fmla="*/ 173592 w 276366"/>
                <a:gd name="connsiteY723" fmla="*/ 254775 h 380003"/>
                <a:gd name="connsiteX724" fmla="*/ 173161 w 276366"/>
                <a:gd name="connsiteY724" fmla="*/ 255639 h 380003"/>
                <a:gd name="connsiteX725" fmla="*/ 172729 w 276366"/>
                <a:gd name="connsiteY725" fmla="*/ 256934 h 380003"/>
                <a:gd name="connsiteX726" fmla="*/ 172297 w 276366"/>
                <a:gd name="connsiteY726" fmla="*/ 257366 h 380003"/>
                <a:gd name="connsiteX727" fmla="*/ 171001 w 276366"/>
                <a:gd name="connsiteY727" fmla="*/ 259093 h 380003"/>
                <a:gd name="connsiteX728" fmla="*/ 171865 w 276366"/>
                <a:gd name="connsiteY728" fmla="*/ 260821 h 380003"/>
                <a:gd name="connsiteX729" fmla="*/ 169706 w 276366"/>
                <a:gd name="connsiteY729" fmla="*/ 261684 h 380003"/>
                <a:gd name="connsiteX730" fmla="*/ 169274 w 276366"/>
                <a:gd name="connsiteY730" fmla="*/ 262116 h 380003"/>
                <a:gd name="connsiteX731" fmla="*/ 169274 w 276366"/>
                <a:gd name="connsiteY731" fmla="*/ 262980 h 380003"/>
                <a:gd name="connsiteX732" fmla="*/ 169706 w 276366"/>
                <a:gd name="connsiteY732" fmla="*/ 264275 h 380003"/>
                <a:gd name="connsiteX733" fmla="*/ 167547 w 276366"/>
                <a:gd name="connsiteY733" fmla="*/ 266434 h 380003"/>
                <a:gd name="connsiteX734" fmla="*/ 167547 w 276366"/>
                <a:gd name="connsiteY734" fmla="*/ 267298 h 380003"/>
                <a:gd name="connsiteX735" fmla="*/ 169274 w 276366"/>
                <a:gd name="connsiteY735" fmla="*/ 267298 h 380003"/>
                <a:gd name="connsiteX736" fmla="*/ 170138 w 276366"/>
                <a:gd name="connsiteY736" fmla="*/ 266866 h 380003"/>
                <a:gd name="connsiteX737" fmla="*/ 171001 w 276366"/>
                <a:gd name="connsiteY737" fmla="*/ 267298 h 380003"/>
                <a:gd name="connsiteX738" fmla="*/ 170570 w 276366"/>
                <a:gd name="connsiteY738" fmla="*/ 268162 h 380003"/>
                <a:gd name="connsiteX739" fmla="*/ 170138 w 276366"/>
                <a:gd name="connsiteY739" fmla="*/ 269025 h 380003"/>
                <a:gd name="connsiteX740" fmla="*/ 169274 w 276366"/>
                <a:gd name="connsiteY740" fmla="*/ 272048 h 380003"/>
                <a:gd name="connsiteX741" fmla="*/ 169274 w 276366"/>
                <a:gd name="connsiteY741" fmla="*/ 273343 h 380003"/>
                <a:gd name="connsiteX742" fmla="*/ 169706 w 276366"/>
                <a:gd name="connsiteY742" fmla="*/ 274207 h 380003"/>
                <a:gd name="connsiteX743" fmla="*/ 169274 w 276366"/>
                <a:gd name="connsiteY743" fmla="*/ 275502 h 380003"/>
                <a:gd name="connsiteX744" fmla="*/ 168842 w 276366"/>
                <a:gd name="connsiteY744" fmla="*/ 275934 h 380003"/>
                <a:gd name="connsiteX745" fmla="*/ 168842 w 276366"/>
                <a:gd name="connsiteY745" fmla="*/ 276366 h 380003"/>
                <a:gd name="connsiteX746" fmla="*/ 167979 w 276366"/>
                <a:gd name="connsiteY746" fmla="*/ 277230 h 380003"/>
                <a:gd name="connsiteX747" fmla="*/ 167115 w 276366"/>
                <a:gd name="connsiteY747" fmla="*/ 278957 h 380003"/>
                <a:gd name="connsiteX748" fmla="*/ 166683 w 276366"/>
                <a:gd name="connsiteY748" fmla="*/ 280253 h 380003"/>
                <a:gd name="connsiteX749" fmla="*/ 163661 w 276366"/>
                <a:gd name="connsiteY749" fmla="*/ 281548 h 380003"/>
                <a:gd name="connsiteX750" fmla="*/ 163661 w 276366"/>
                <a:gd name="connsiteY750" fmla="*/ 282843 h 380003"/>
                <a:gd name="connsiteX751" fmla="*/ 160638 w 276366"/>
                <a:gd name="connsiteY751" fmla="*/ 285866 h 380003"/>
                <a:gd name="connsiteX752" fmla="*/ 161070 w 276366"/>
                <a:gd name="connsiteY752" fmla="*/ 285866 h 380003"/>
                <a:gd name="connsiteX753" fmla="*/ 161933 w 276366"/>
                <a:gd name="connsiteY753" fmla="*/ 287162 h 380003"/>
                <a:gd name="connsiteX754" fmla="*/ 161933 w 276366"/>
                <a:gd name="connsiteY754" fmla="*/ 287594 h 380003"/>
                <a:gd name="connsiteX755" fmla="*/ 161501 w 276366"/>
                <a:gd name="connsiteY755" fmla="*/ 289321 h 380003"/>
                <a:gd name="connsiteX756" fmla="*/ 161070 w 276366"/>
                <a:gd name="connsiteY756" fmla="*/ 290185 h 380003"/>
                <a:gd name="connsiteX757" fmla="*/ 159774 w 276366"/>
                <a:gd name="connsiteY757" fmla="*/ 292344 h 380003"/>
                <a:gd name="connsiteX758" fmla="*/ 160638 w 276366"/>
                <a:gd name="connsiteY758" fmla="*/ 292775 h 380003"/>
                <a:gd name="connsiteX759" fmla="*/ 158479 w 276366"/>
                <a:gd name="connsiteY759" fmla="*/ 294503 h 380003"/>
                <a:gd name="connsiteX760" fmla="*/ 157615 w 276366"/>
                <a:gd name="connsiteY760" fmla="*/ 294071 h 380003"/>
                <a:gd name="connsiteX761" fmla="*/ 157183 w 276366"/>
                <a:gd name="connsiteY761" fmla="*/ 292344 h 380003"/>
                <a:gd name="connsiteX762" fmla="*/ 158047 w 276366"/>
                <a:gd name="connsiteY762" fmla="*/ 291912 h 380003"/>
                <a:gd name="connsiteX763" fmla="*/ 158911 w 276366"/>
                <a:gd name="connsiteY763" fmla="*/ 290616 h 380003"/>
                <a:gd name="connsiteX764" fmla="*/ 158479 w 276366"/>
                <a:gd name="connsiteY764" fmla="*/ 290185 h 380003"/>
                <a:gd name="connsiteX765" fmla="*/ 155456 w 276366"/>
                <a:gd name="connsiteY765" fmla="*/ 291912 h 380003"/>
                <a:gd name="connsiteX766" fmla="*/ 155456 w 276366"/>
                <a:gd name="connsiteY766" fmla="*/ 292344 h 380003"/>
                <a:gd name="connsiteX767" fmla="*/ 154160 w 276366"/>
                <a:gd name="connsiteY767" fmla="*/ 295366 h 380003"/>
                <a:gd name="connsiteX768" fmla="*/ 154160 w 276366"/>
                <a:gd name="connsiteY768" fmla="*/ 295798 h 380003"/>
                <a:gd name="connsiteX769" fmla="*/ 153297 w 276366"/>
                <a:gd name="connsiteY769" fmla="*/ 297525 h 380003"/>
                <a:gd name="connsiteX770" fmla="*/ 153297 w 276366"/>
                <a:gd name="connsiteY770" fmla="*/ 299253 h 380003"/>
                <a:gd name="connsiteX771" fmla="*/ 154160 w 276366"/>
                <a:gd name="connsiteY771" fmla="*/ 299685 h 380003"/>
                <a:gd name="connsiteX772" fmla="*/ 153297 w 276366"/>
                <a:gd name="connsiteY772" fmla="*/ 300548 h 380003"/>
                <a:gd name="connsiteX773" fmla="*/ 152865 w 276366"/>
                <a:gd name="connsiteY773" fmla="*/ 303139 h 380003"/>
                <a:gd name="connsiteX774" fmla="*/ 152865 w 276366"/>
                <a:gd name="connsiteY774" fmla="*/ 305298 h 380003"/>
                <a:gd name="connsiteX775" fmla="*/ 151569 w 276366"/>
                <a:gd name="connsiteY775" fmla="*/ 306594 h 380003"/>
                <a:gd name="connsiteX776" fmla="*/ 151569 w 276366"/>
                <a:gd name="connsiteY776" fmla="*/ 308321 h 380003"/>
                <a:gd name="connsiteX777" fmla="*/ 150706 w 276366"/>
                <a:gd name="connsiteY777" fmla="*/ 310048 h 380003"/>
                <a:gd name="connsiteX778" fmla="*/ 149842 w 276366"/>
                <a:gd name="connsiteY778" fmla="*/ 310048 h 380003"/>
                <a:gd name="connsiteX779" fmla="*/ 148547 w 276366"/>
                <a:gd name="connsiteY779" fmla="*/ 310480 h 380003"/>
                <a:gd name="connsiteX780" fmla="*/ 148115 w 276366"/>
                <a:gd name="connsiteY780" fmla="*/ 311344 h 380003"/>
                <a:gd name="connsiteX781" fmla="*/ 149410 w 276366"/>
                <a:gd name="connsiteY781" fmla="*/ 312207 h 380003"/>
                <a:gd name="connsiteX782" fmla="*/ 148547 w 276366"/>
                <a:gd name="connsiteY782" fmla="*/ 313503 h 380003"/>
                <a:gd name="connsiteX783" fmla="*/ 145524 w 276366"/>
                <a:gd name="connsiteY783" fmla="*/ 314798 h 380003"/>
                <a:gd name="connsiteX784" fmla="*/ 144660 w 276366"/>
                <a:gd name="connsiteY784" fmla="*/ 315230 h 380003"/>
                <a:gd name="connsiteX785" fmla="*/ 144229 w 276366"/>
                <a:gd name="connsiteY785" fmla="*/ 316094 h 380003"/>
                <a:gd name="connsiteX786" fmla="*/ 144229 w 276366"/>
                <a:gd name="connsiteY786" fmla="*/ 317821 h 380003"/>
                <a:gd name="connsiteX787" fmla="*/ 142933 w 276366"/>
                <a:gd name="connsiteY787" fmla="*/ 319980 h 380003"/>
                <a:gd name="connsiteX788" fmla="*/ 142069 w 276366"/>
                <a:gd name="connsiteY788" fmla="*/ 320844 h 380003"/>
                <a:gd name="connsiteX789" fmla="*/ 142069 w 276366"/>
                <a:gd name="connsiteY789" fmla="*/ 321707 h 380003"/>
                <a:gd name="connsiteX790" fmla="*/ 141638 w 276366"/>
                <a:gd name="connsiteY790" fmla="*/ 322571 h 380003"/>
                <a:gd name="connsiteX791" fmla="*/ 140342 w 276366"/>
                <a:gd name="connsiteY791" fmla="*/ 322139 h 380003"/>
                <a:gd name="connsiteX792" fmla="*/ 140342 w 276366"/>
                <a:gd name="connsiteY792" fmla="*/ 321707 h 380003"/>
                <a:gd name="connsiteX793" fmla="*/ 139910 w 276366"/>
                <a:gd name="connsiteY793" fmla="*/ 322139 h 380003"/>
                <a:gd name="connsiteX794" fmla="*/ 138615 w 276366"/>
                <a:gd name="connsiteY794" fmla="*/ 323003 h 380003"/>
                <a:gd name="connsiteX795" fmla="*/ 138183 w 276366"/>
                <a:gd name="connsiteY795" fmla="*/ 323867 h 380003"/>
                <a:gd name="connsiteX796" fmla="*/ 138183 w 276366"/>
                <a:gd name="connsiteY796" fmla="*/ 324730 h 380003"/>
                <a:gd name="connsiteX797" fmla="*/ 138615 w 276366"/>
                <a:gd name="connsiteY797" fmla="*/ 325162 h 380003"/>
                <a:gd name="connsiteX798" fmla="*/ 140342 w 276366"/>
                <a:gd name="connsiteY798" fmla="*/ 323435 h 380003"/>
                <a:gd name="connsiteX799" fmla="*/ 140774 w 276366"/>
                <a:gd name="connsiteY799" fmla="*/ 323003 h 380003"/>
                <a:gd name="connsiteX800" fmla="*/ 141638 w 276366"/>
                <a:gd name="connsiteY800" fmla="*/ 323435 h 380003"/>
                <a:gd name="connsiteX801" fmla="*/ 142501 w 276366"/>
                <a:gd name="connsiteY801" fmla="*/ 324730 h 380003"/>
                <a:gd name="connsiteX802" fmla="*/ 144229 w 276366"/>
                <a:gd name="connsiteY802" fmla="*/ 325594 h 380003"/>
                <a:gd name="connsiteX803" fmla="*/ 145524 w 276366"/>
                <a:gd name="connsiteY803" fmla="*/ 325594 h 380003"/>
                <a:gd name="connsiteX804" fmla="*/ 145092 w 276366"/>
                <a:gd name="connsiteY804" fmla="*/ 325162 h 380003"/>
                <a:gd name="connsiteX805" fmla="*/ 145092 w 276366"/>
                <a:gd name="connsiteY805" fmla="*/ 323435 h 380003"/>
                <a:gd name="connsiteX806" fmla="*/ 145956 w 276366"/>
                <a:gd name="connsiteY806" fmla="*/ 323003 h 380003"/>
                <a:gd name="connsiteX807" fmla="*/ 145956 w 276366"/>
                <a:gd name="connsiteY807" fmla="*/ 323435 h 380003"/>
                <a:gd name="connsiteX808" fmla="*/ 146388 w 276366"/>
                <a:gd name="connsiteY808" fmla="*/ 326458 h 380003"/>
                <a:gd name="connsiteX809" fmla="*/ 146388 w 276366"/>
                <a:gd name="connsiteY809" fmla="*/ 327321 h 380003"/>
                <a:gd name="connsiteX810" fmla="*/ 144229 w 276366"/>
                <a:gd name="connsiteY810" fmla="*/ 329048 h 380003"/>
                <a:gd name="connsiteX811" fmla="*/ 142501 w 276366"/>
                <a:gd name="connsiteY811" fmla="*/ 330344 h 380003"/>
                <a:gd name="connsiteX812" fmla="*/ 140774 w 276366"/>
                <a:gd name="connsiteY812" fmla="*/ 329480 h 380003"/>
                <a:gd name="connsiteX813" fmla="*/ 139910 w 276366"/>
                <a:gd name="connsiteY813" fmla="*/ 329048 h 380003"/>
                <a:gd name="connsiteX814" fmla="*/ 139047 w 276366"/>
                <a:gd name="connsiteY814" fmla="*/ 329912 h 380003"/>
                <a:gd name="connsiteX815" fmla="*/ 137751 w 276366"/>
                <a:gd name="connsiteY815" fmla="*/ 330776 h 380003"/>
                <a:gd name="connsiteX816" fmla="*/ 136888 w 276366"/>
                <a:gd name="connsiteY816" fmla="*/ 331208 h 380003"/>
                <a:gd name="connsiteX817" fmla="*/ 138183 w 276366"/>
                <a:gd name="connsiteY817" fmla="*/ 332503 h 380003"/>
                <a:gd name="connsiteX818" fmla="*/ 138183 w 276366"/>
                <a:gd name="connsiteY818" fmla="*/ 333367 h 380003"/>
                <a:gd name="connsiteX819" fmla="*/ 139047 w 276366"/>
                <a:gd name="connsiteY819" fmla="*/ 334230 h 380003"/>
                <a:gd name="connsiteX820" fmla="*/ 139479 w 276366"/>
                <a:gd name="connsiteY820" fmla="*/ 335094 h 380003"/>
                <a:gd name="connsiteX821" fmla="*/ 138183 w 276366"/>
                <a:gd name="connsiteY821" fmla="*/ 335958 h 380003"/>
                <a:gd name="connsiteX822" fmla="*/ 135160 w 276366"/>
                <a:gd name="connsiteY822" fmla="*/ 338980 h 380003"/>
                <a:gd name="connsiteX823" fmla="*/ 134297 w 276366"/>
                <a:gd name="connsiteY823" fmla="*/ 339844 h 380003"/>
                <a:gd name="connsiteX824" fmla="*/ 135160 w 276366"/>
                <a:gd name="connsiteY824" fmla="*/ 341139 h 380003"/>
                <a:gd name="connsiteX825" fmla="*/ 135592 w 276366"/>
                <a:gd name="connsiteY825" fmla="*/ 340708 h 380003"/>
                <a:gd name="connsiteX826" fmla="*/ 136456 w 276366"/>
                <a:gd name="connsiteY826" fmla="*/ 340276 h 380003"/>
                <a:gd name="connsiteX827" fmla="*/ 136456 w 276366"/>
                <a:gd name="connsiteY827" fmla="*/ 340708 h 380003"/>
                <a:gd name="connsiteX828" fmla="*/ 136888 w 276366"/>
                <a:gd name="connsiteY828" fmla="*/ 340708 h 380003"/>
                <a:gd name="connsiteX829" fmla="*/ 136456 w 276366"/>
                <a:gd name="connsiteY829" fmla="*/ 341139 h 380003"/>
                <a:gd name="connsiteX830" fmla="*/ 136024 w 276366"/>
                <a:gd name="connsiteY830" fmla="*/ 342003 h 380003"/>
                <a:gd name="connsiteX831" fmla="*/ 136456 w 276366"/>
                <a:gd name="connsiteY831" fmla="*/ 342435 h 380003"/>
                <a:gd name="connsiteX832" fmla="*/ 136024 w 276366"/>
                <a:gd name="connsiteY832" fmla="*/ 342867 h 380003"/>
                <a:gd name="connsiteX833" fmla="*/ 135160 w 276366"/>
                <a:gd name="connsiteY833" fmla="*/ 344162 h 380003"/>
                <a:gd name="connsiteX834" fmla="*/ 134297 w 276366"/>
                <a:gd name="connsiteY834" fmla="*/ 344594 h 380003"/>
                <a:gd name="connsiteX835" fmla="*/ 133001 w 276366"/>
                <a:gd name="connsiteY835" fmla="*/ 346753 h 380003"/>
                <a:gd name="connsiteX836" fmla="*/ 133001 w 276366"/>
                <a:gd name="connsiteY836" fmla="*/ 347617 h 380003"/>
                <a:gd name="connsiteX837" fmla="*/ 131274 w 276366"/>
                <a:gd name="connsiteY837" fmla="*/ 350208 h 380003"/>
                <a:gd name="connsiteX838" fmla="*/ 131274 w 276366"/>
                <a:gd name="connsiteY838" fmla="*/ 352367 h 380003"/>
                <a:gd name="connsiteX839" fmla="*/ 129547 w 276366"/>
                <a:gd name="connsiteY839" fmla="*/ 354526 h 380003"/>
                <a:gd name="connsiteX840" fmla="*/ 128251 w 276366"/>
                <a:gd name="connsiteY840" fmla="*/ 356685 h 380003"/>
                <a:gd name="connsiteX841" fmla="*/ 127388 w 276366"/>
                <a:gd name="connsiteY841" fmla="*/ 357549 h 380003"/>
                <a:gd name="connsiteX842" fmla="*/ 126956 w 276366"/>
                <a:gd name="connsiteY842" fmla="*/ 358412 h 380003"/>
                <a:gd name="connsiteX843" fmla="*/ 126956 w 276366"/>
                <a:gd name="connsiteY843" fmla="*/ 359276 h 380003"/>
                <a:gd name="connsiteX844" fmla="*/ 124365 w 276366"/>
                <a:gd name="connsiteY844" fmla="*/ 361003 h 380003"/>
                <a:gd name="connsiteX845" fmla="*/ 123933 w 276366"/>
                <a:gd name="connsiteY845" fmla="*/ 361867 h 380003"/>
                <a:gd name="connsiteX846" fmla="*/ 124797 w 276366"/>
                <a:gd name="connsiteY846" fmla="*/ 362731 h 380003"/>
                <a:gd name="connsiteX847" fmla="*/ 125228 w 276366"/>
                <a:gd name="connsiteY847" fmla="*/ 363594 h 380003"/>
                <a:gd name="connsiteX848" fmla="*/ 124797 w 276366"/>
                <a:gd name="connsiteY848" fmla="*/ 364026 h 380003"/>
                <a:gd name="connsiteX849" fmla="*/ 123933 w 276366"/>
                <a:gd name="connsiteY849" fmla="*/ 365322 h 380003"/>
                <a:gd name="connsiteX850" fmla="*/ 124365 w 276366"/>
                <a:gd name="connsiteY850" fmla="*/ 366185 h 380003"/>
                <a:gd name="connsiteX851" fmla="*/ 124797 w 276366"/>
                <a:gd name="connsiteY851" fmla="*/ 367049 h 380003"/>
                <a:gd name="connsiteX852" fmla="*/ 124797 w 276366"/>
                <a:gd name="connsiteY852" fmla="*/ 367481 h 380003"/>
                <a:gd name="connsiteX853" fmla="*/ 124365 w 276366"/>
                <a:gd name="connsiteY853" fmla="*/ 367912 h 380003"/>
                <a:gd name="connsiteX854" fmla="*/ 123069 w 276366"/>
                <a:gd name="connsiteY854" fmla="*/ 367912 h 380003"/>
                <a:gd name="connsiteX855" fmla="*/ 122206 w 276366"/>
                <a:gd name="connsiteY855" fmla="*/ 368776 h 380003"/>
                <a:gd name="connsiteX856" fmla="*/ 120047 w 276366"/>
                <a:gd name="connsiteY856" fmla="*/ 371799 h 380003"/>
                <a:gd name="connsiteX857" fmla="*/ 118319 w 276366"/>
                <a:gd name="connsiteY857" fmla="*/ 373526 h 380003"/>
                <a:gd name="connsiteX858" fmla="*/ 117887 w 276366"/>
                <a:gd name="connsiteY858" fmla="*/ 374390 h 380003"/>
                <a:gd name="connsiteX859" fmla="*/ 116160 w 276366"/>
                <a:gd name="connsiteY859" fmla="*/ 374390 h 380003"/>
                <a:gd name="connsiteX860" fmla="*/ 114433 w 276366"/>
                <a:gd name="connsiteY860" fmla="*/ 375253 h 380003"/>
                <a:gd name="connsiteX861" fmla="*/ 113137 w 276366"/>
                <a:gd name="connsiteY861" fmla="*/ 376117 h 380003"/>
                <a:gd name="connsiteX862" fmla="*/ 112705 w 276366"/>
                <a:gd name="connsiteY862" fmla="*/ 376549 h 380003"/>
                <a:gd name="connsiteX863" fmla="*/ 112274 w 276366"/>
                <a:gd name="connsiteY863" fmla="*/ 377412 h 380003"/>
                <a:gd name="connsiteX864" fmla="*/ 110978 w 276366"/>
                <a:gd name="connsiteY864" fmla="*/ 376981 h 380003"/>
                <a:gd name="connsiteX865" fmla="*/ 107092 w 276366"/>
                <a:gd name="connsiteY865" fmla="*/ 381731 h 380003"/>
                <a:gd name="connsiteX866" fmla="*/ 106228 w 276366"/>
                <a:gd name="connsiteY866" fmla="*/ 382594 h 380003"/>
                <a:gd name="connsiteX867" fmla="*/ 102342 w 276366"/>
                <a:gd name="connsiteY867" fmla="*/ 382594 h 380003"/>
                <a:gd name="connsiteX868" fmla="*/ 101046 w 276366"/>
                <a:gd name="connsiteY868" fmla="*/ 381731 h 380003"/>
                <a:gd name="connsiteX869" fmla="*/ 98024 w 276366"/>
                <a:gd name="connsiteY869" fmla="*/ 382163 h 380003"/>
                <a:gd name="connsiteX870" fmla="*/ 96296 w 276366"/>
                <a:gd name="connsiteY870" fmla="*/ 381731 h 380003"/>
                <a:gd name="connsiteX871" fmla="*/ 94569 w 276366"/>
                <a:gd name="connsiteY871" fmla="*/ 382163 h 380003"/>
                <a:gd name="connsiteX872" fmla="*/ 93273 w 276366"/>
                <a:gd name="connsiteY872" fmla="*/ 382594 h 380003"/>
                <a:gd name="connsiteX873" fmla="*/ 87228 w 276366"/>
                <a:gd name="connsiteY873" fmla="*/ 379140 h 380003"/>
                <a:gd name="connsiteX874" fmla="*/ 85933 w 276366"/>
                <a:gd name="connsiteY874" fmla="*/ 379572 h 380003"/>
                <a:gd name="connsiteX875" fmla="*/ 85069 w 276366"/>
                <a:gd name="connsiteY875" fmla="*/ 380003 h 380003"/>
                <a:gd name="connsiteX876" fmla="*/ 83773 w 276366"/>
                <a:gd name="connsiteY876" fmla="*/ 379572 h 380003"/>
                <a:gd name="connsiteX877" fmla="*/ 80751 w 276366"/>
                <a:gd name="connsiteY877" fmla="*/ 376981 h 380003"/>
                <a:gd name="connsiteX878" fmla="*/ 78160 w 276366"/>
                <a:gd name="connsiteY878" fmla="*/ 376117 h 380003"/>
                <a:gd name="connsiteX879" fmla="*/ 77296 w 276366"/>
                <a:gd name="connsiteY879" fmla="*/ 374822 h 380003"/>
                <a:gd name="connsiteX880" fmla="*/ 76001 w 276366"/>
                <a:gd name="connsiteY880" fmla="*/ 373526 h 380003"/>
                <a:gd name="connsiteX881" fmla="*/ 73841 w 276366"/>
                <a:gd name="connsiteY881" fmla="*/ 372231 h 380003"/>
                <a:gd name="connsiteX882" fmla="*/ 73410 w 276366"/>
                <a:gd name="connsiteY882" fmla="*/ 371367 h 380003"/>
                <a:gd name="connsiteX883" fmla="*/ 74273 w 276366"/>
                <a:gd name="connsiteY883" fmla="*/ 370935 h 380003"/>
                <a:gd name="connsiteX884" fmla="*/ 74705 w 276366"/>
                <a:gd name="connsiteY884" fmla="*/ 370935 h 380003"/>
                <a:gd name="connsiteX885" fmla="*/ 74273 w 276366"/>
                <a:gd name="connsiteY885" fmla="*/ 370503 h 380003"/>
                <a:gd name="connsiteX886" fmla="*/ 74273 w 276366"/>
                <a:gd name="connsiteY886" fmla="*/ 369208 h 380003"/>
                <a:gd name="connsiteX887" fmla="*/ 73841 w 276366"/>
                <a:gd name="connsiteY887" fmla="*/ 368776 h 380003"/>
                <a:gd name="connsiteX888" fmla="*/ 72114 w 276366"/>
                <a:gd name="connsiteY888" fmla="*/ 367912 h 380003"/>
                <a:gd name="connsiteX889" fmla="*/ 72546 w 276366"/>
                <a:gd name="connsiteY889" fmla="*/ 367481 h 380003"/>
                <a:gd name="connsiteX890" fmla="*/ 72978 w 276366"/>
                <a:gd name="connsiteY890" fmla="*/ 367049 h 380003"/>
                <a:gd name="connsiteX891" fmla="*/ 72978 w 276366"/>
                <a:gd name="connsiteY891" fmla="*/ 366617 h 380003"/>
                <a:gd name="connsiteX892" fmla="*/ 72546 w 276366"/>
                <a:gd name="connsiteY892" fmla="*/ 365753 h 380003"/>
                <a:gd name="connsiteX893" fmla="*/ 72114 w 276366"/>
                <a:gd name="connsiteY893" fmla="*/ 365322 h 380003"/>
                <a:gd name="connsiteX894" fmla="*/ 72546 w 276366"/>
                <a:gd name="connsiteY894" fmla="*/ 364026 h 380003"/>
                <a:gd name="connsiteX895" fmla="*/ 71682 w 276366"/>
                <a:gd name="connsiteY895" fmla="*/ 363162 h 380003"/>
                <a:gd name="connsiteX896" fmla="*/ 71682 w 276366"/>
                <a:gd name="connsiteY896" fmla="*/ 362731 h 380003"/>
                <a:gd name="connsiteX897" fmla="*/ 71251 w 276366"/>
                <a:gd name="connsiteY897" fmla="*/ 361435 h 380003"/>
                <a:gd name="connsiteX898" fmla="*/ 70819 w 276366"/>
                <a:gd name="connsiteY898" fmla="*/ 359276 h 380003"/>
                <a:gd name="connsiteX899" fmla="*/ 70387 w 276366"/>
                <a:gd name="connsiteY899" fmla="*/ 357549 h 380003"/>
                <a:gd name="connsiteX900" fmla="*/ 68660 w 276366"/>
                <a:gd name="connsiteY900" fmla="*/ 357117 h 380003"/>
                <a:gd name="connsiteX901" fmla="*/ 67796 w 276366"/>
                <a:gd name="connsiteY901" fmla="*/ 357117 h 380003"/>
                <a:gd name="connsiteX902" fmla="*/ 66932 w 276366"/>
                <a:gd name="connsiteY902" fmla="*/ 356685 h 380003"/>
                <a:gd name="connsiteX903" fmla="*/ 66932 w 276366"/>
                <a:gd name="connsiteY903" fmla="*/ 355390 h 380003"/>
                <a:gd name="connsiteX904" fmla="*/ 67364 w 276366"/>
                <a:gd name="connsiteY904" fmla="*/ 354958 h 380003"/>
                <a:gd name="connsiteX905" fmla="*/ 68228 w 276366"/>
                <a:gd name="connsiteY905" fmla="*/ 353662 h 380003"/>
                <a:gd name="connsiteX906" fmla="*/ 68228 w 276366"/>
                <a:gd name="connsiteY906" fmla="*/ 352367 h 380003"/>
                <a:gd name="connsiteX907" fmla="*/ 67796 w 276366"/>
                <a:gd name="connsiteY907" fmla="*/ 348912 h 380003"/>
                <a:gd name="connsiteX908" fmla="*/ 66932 w 276366"/>
                <a:gd name="connsiteY908" fmla="*/ 347185 h 380003"/>
                <a:gd name="connsiteX909" fmla="*/ 66932 w 276366"/>
                <a:gd name="connsiteY909" fmla="*/ 346753 h 380003"/>
                <a:gd name="connsiteX910" fmla="*/ 66501 w 276366"/>
                <a:gd name="connsiteY910" fmla="*/ 346321 h 380003"/>
                <a:gd name="connsiteX911" fmla="*/ 66501 w 276366"/>
                <a:gd name="connsiteY911" fmla="*/ 346753 h 380003"/>
                <a:gd name="connsiteX912" fmla="*/ 65637 w 276366"/>
                <a:gd name="connsiteY912" fmla="*/ 346753 h 380003"/>
                <a:gd name="connsiteX913" fmla="*/ 65637 w 276366"/>
                <a:gd name="connsiteY913" fmla="*/ 345458 h 380003"/>
                <a:gd name="connsiteX914" fmla="*/ 65205 w 276366"/>
                <a:gd name="connsiteY914" fmla="*/ 344594 h 380003"/>
                <a:gd name="connsiteX915" fmla="*/ 64773 w 276366"/>
                <a:gd name="connsiteY915" fmla="*/ 344162 h 380003"/>
                <a:gd name="connsiteX916" fmla="*/ 66069 w 276366"/>
                <a:gd name="connsiteY916" fmla="*/ 342867 h 380003"/>
                <a:gd name="connsiteX917" fmla="*/ 65637 w 276366"/>
                <a:gd name="connsiteY917" fmla="*/ 341571 h 380003"/>
                <a:gd name="connsiteX918" fmla="*/ 64773 w 276366"/>
                <a:gd name="connsiteY918" fmla="*/ 341139 h 380003"/>
                <a:gd name="connsiteX919" fmla="*/ 64773 w 276366"/>
                <a:gd name="connsiteY919" fmla="*/ 338117 h 380003"/>
                <a:gd name="connsiteX920" fmla="*/ 65205 w 276366"/>
                <a:gd name="connsiteY920" fmla="*/ 335094 h 380003"/>
                <a:gd name="connsiteX921" fmla="*/ 66069 w 276366"/>
                <a:gd name="connsiteY921" fmla="*/ 335094 h 380003"/>
                <a:gd name="connsiteX922" fmla="*/ 66932 w 276366"/>
                <a:gd name="connsiteY922" fmla="*/ 334230 h 380003"/>
                <a:gd name="connsiteX923" fmla="*/ 66501 w 276366"/>
                <a:gd name="connsiteY923" fmla="*/ 331639 h 380003"/>
                <a:gd name="connsiteX924" fmla="*/ 66069 w 276366"/>
                <a:gd name="connsiteY924" fmla="*/ 330776 h 380003"/>
                <a:gd name="connsiteX925" fmla="*/ 66069 w 276366"/>
                <a:gd name="connsiteY925" fmla="*/ 329912 h 380003"/>
                <a:gd name="connsiteX926" fmla="*/ 66501 w 276366"/>
                <a:gd name="connsiteY926" fmla="*/ 328185 h 380003"/>
                <a:gd name="connsiteX927" fmla="*/ 66069 w 276366"/>
                <a:gd name="connsiteY927" fmla="*/ 326026 h 380003"/>
                <a:gd name="connsiteX928" fmla="*/ 66501 w 276366"/>
                <a:gd name="connsiteY928" fmla="*/ 325594 h 380003"/>
                <a:gd name="connsiteX929" fmla="*/ 64341 w 276366"/>
                <a:gd name="connsiteY929" fmla="*/ 323435 h 380003"/>
                <a:gd name="connsiteX930" fmla="*/ 64773 w 276366"/>
                <a:gd name="connsiteY930" fmla="*/ 322571 h 380003"/>
                <a:gd name="connsiteX931" fmla="*/ 63478 w 276366"/>
                <a:gd name="connsiteY931" fmla="*/ 321707 h 380003"/>
                <a:gd name="connsiteX932" fmla="*/ 63910 w 276366"/>
                <a:gd name="connsiteY932" fmla="*/ 321276 h 380003"/>
                <a:gd name="connsiteX933" fmla="*/ 66069 w 276366"/>
                <a:gd name="connsiteY933" fmla="*/ 319548 h 380003"/>
                <a:gd name="connsiteX934" fmla="*/ 64773 w 276366"/>
                <a:gd name="connsiteY934" fmla="*/ 316957 h 380003"/>
                <a:gd name="connsiteX935" fmla="*/ 64341 w 276366"/>
                <a:gd name="connsiteY935" fmla="*/ 316526 h 380003"/>
                <a:gd name="connsiteX936" fmla="*/ 64773 w 276366"/>
                <a:gd name="connsiteY936" fmla="*/ 315662 h 380003"/>
                <a:gd name="connsiteX937" fmla="*/ 63910 w 276366"/>
                <a:gd name="connsiteY937" fmla="*/ 315230 h 380003"/>
                <a:gd name="connsiteX938" fmla="*/ 63910 w 276366"/>
                <a:gd name="connsiteY938" fmla="*/ 314366 h 380003"/>
                <a:gd name="connsiteX939" fmla="*/ 63478 w 276366"/>
                <a:gd name="connsiteY939" fmla="*/ 310912 h 380003"/>
                <a:gd name="connsiteX940" fmla="*/ 63478 w 276366"/>
                <a:gd name="connsiteY940" fmla="*/ 307889 h 380003"/>
                <a:gd name="connsiteX941" fmla="*/ 63910 w 276366"/>
                <a:gd name="connsiteY941" fmla="*/ 306162 h 380003"/>
                <a:gd name="connsiteX942" fmla="*/ 65637 w 276366"/>
                <a:gd name="connsiteY942" fmla="*/ 305730 h 380003"/>
                <a:gd name="connsiteX943" fmla="*/ 64341 w 276366"/>
                <a:gd name="connsiteY943" fmla="*/ 304003 h 380003"/>
                <a:gd name="connsiteX944" fmla="*/ 63910 w 276366"/>
                <a:gd name="connsiteY944" fmla="*/ 303139 h 380003"/>
                <a:gd name="connsiteX945" fmla="*/ 65205 w 276366"/>
                <a:gd name="connsiteY945" fmla="*/ 301412 h 380003"/>
                <a:gd name="connsiteX946" fmla="*/ 64773 w 276366"/>
                <a:gd name="connsiteY946" fmla="*/ 299685 h 380003"/>
                <a:gd name="connsiteX947" fmla="*/ 64773 w 276366"/>
                <a:gd name="connsiteY947" fmla="*/ 297094 h 380003"/>
                <a:gd name="connsiteX948" fmla="*/ 66501 w 276366"/>
                <a:gd name="connsiteY948" fmla="*/ 294503 h 380003"/>
                <a:gd name="connsiteX949" fmla="*/ 66069 w 276366"/>
                <a:gd name="connsiteY949" fmla="*/ 294071 h 380003"/>
                <a:gd name="connsiteX950" fmla="*/ 66069 w 276366"/>
                <a:gd name="connsiteY950" fmla="*/ 291912 h 380003"/>
                <a:gd name="connsiteX951" fmla="*/ 65637 w 276366"/>
                <a:gd name="connsiteY951" fmla="*/ 291480 h 380003"/>
                <a:gd name="connsiteX952" fmla="*/ 66069 w 276366"/>
                <a:gd name="connsiteY952" fmla="*/ 290616 h 380003"/>
                <a:gd name="connsiteX953" fmla="*/ 67364 w 276366"/>
                <a:gd name="connsiteY953" fmla="*/ 289321 h 380003"/>
                <a:gd name="connsiteX954" fmla="*/ 66932 w 276366"/>
                <a:gd name="connsiteY954" fmla="*/ 286730 h 380003"/>
                <a:gd name="connsiteX955" fmla="*/ 67364 w 276366"/>
                <a:gd name="connsiteY955" fmla="*/ 285434 h 380003"/>
                <a:gd name="connsiteX956" fmla="*/ 66932 w 276366"/>
                <a:gd name="connsiteY956" fmla="*/ 283707 h 380003"/>
                <a:gd name="connsiteX957" fmla="*/ 66932 w 276366"/>
                <a:gd name="connsiteY957" fmla="*/ 282843 h 380003"/>
                <a:gd name="connsiteX958" fmla="*/ 68228 w 276366"/>
                <a:gd name="connsiteY958" fmla="*/ 281116 h 380003"/>
                <a:gd name="connsiteX959" fmla="*/ 68228 w 276366"/>
                <a:gd name="connsiteY959" fmla="*/ 276366 h 380003"/>
                <a:gd name="connsiteX960" fmla="*/ 68660 w 276366"/>
                <a:gd name="connsiteY960" fmla="*/ 275934 h 380003"/>
                <a:gd name="connsiteX961" fmla="*/ 67796 w 276366"/>
                <a:gd name="connsiteY961" fmla="*/ 274207 h 380003"/>
                <a:gd name="connsiteX962" fmla="*/ 67796 w 276366"/>
                <a:gd name="connsiteY962" fmla="*/ 273343 h 380003"/>
                <a:gd name="connsiteX963" fmla="*/ 69092 w 276366"/>
                <a:gd name="connsiteY963" fmla="*/ 271184 h 380003"/>
                <a:gd name="connsiteX964" fmla="*/ 68660 w 276366"/>
                <a:gd name="connsiteY964" fmla="*/ 269889 h 380003"/>
                <a:gd name="connsiteX965" fmla="*/ 68228 w 276366"/>
                <a:gd name="connsiteY965" fmla="*/ 269025 h 380003"/>
                <a:gd name="connsiteX966" fmla="*/ 68660 w 276366"/>
                <a:gd name="connsiteY966" fmla="*/ 268593 h 380003"/>
                <a:gd name="connsiteX967" fmla="*/ 69092 w 276366"/>
                <a:gd name="connsiteY967" fmla="*/ 268162 h 380003"/>
                <a:gd name="connsiteX968" fmla="*/ 68228 w 276366"/>
                <a:gd name="connsiteY968" fmla="*/ 267298 h 380003"/>
                <a:gd name="connsiteX969" fmla="*/ 67364 w 276366"/>
                <a:gd name="connsiteY969" fmla="*/ 266002 h 380003"/>
                <a:gd name="connsiteX970" fmla="*/ 67364 w 276366"/>
                <a:gd name="connsiteY970" fmla="*/ 263843 h 380003"/>
                <a:gd name="connsiteX971" fmla="*/ 67796 w 276366"/>
                <a:gd name="connsiteY971" fmla="*/ 261684 h 380003"/>
                <a:gd name="connsiteX972" fmla="*/ 68228 w 276366"/>
                <a:gd name="connsiteY972" fmla="*/ 260821 h 380003"/>
                <a:gd name="connsiteX973" fmla="*/ 67796 w 276366"/>
                <a:gd name="connsiteY973" fmla="*/ 259525 h 380003"/>
                <a:gd name="connsiteX974" fmla="*/ 69092 w 276366"/>
                <a:gd name="connsiteY974" fmla="*/ 258230 h 380003"/>
                <a:gd name="connsiteX975" fmla="*/ 69523 w 276366"/>
                <a:gd name="connsiteY975" fmla="*/ 257798 h 380003"/>
                <a:gd name="connsiteX976" fmla="*/ 69523 w 276366"/>
                <a:gd name="connsiteY976" fmla="*/ 256070 h 380003"/>
                <a:gd name="connsiteX977" fmla="*/ 69092 w 276366"/>
                <a:gd name="connsiteY977" fmla="*/ 255639 h 380003"/>
                <a:gd name="connsiteX978" fmla="*/ 69523 w 276366"/>
                <a:gd name="connsiteY978" fmla="*/ 255207 h 380003"/>
                <a:gd name="connsiteX979" fmla="*/ 70819 w 276366"/>
                <a:gd name="connsiteY979" fmla="*/ 253048 h 380003"/>
                <a:gd name="connsiteX980" fmla="*/ 69523 w 276366"/>
                <a:gd name="connsiteY980" fmla="*/ 250889 h 380003"/>
                <a:gd name="connsiteX981" fmla="*/ 70387 w 276366"/>
                <a:gd name="connsiteY981" fmla="*/ 249161 h 380003"/>
                <a:gd name="connsiteX982" fmla="*/ 70387 w 276366"/>
                <a:gd name="connsiteY982" fmla="*/ 248298 h 380003"/>
                <a:gd name="connsiteX983" fmla="*/ 71251 w 276366"/>
                <a:gd name="connsiteY983" fmla="*/ 247002 h 380003"/>
                <a:gd name="connsiteX984" fmla="*/ 71682 w 276366"/>
                <a:gd name="connsiteY984" fmla="*/ 244843 h 380003"/>
                <a:gd name="connsiteX985" fmla="*/ 71682 w 276366"/>
                <a:gd name="connsiteY985" fmla="*/ 243548 h 380003"/>
                <a:gd name="connsiteX986" fmla="*/ 71682 w 276366"/>
                <a:gd name="connsiteY986" fmla="*/ 243116 h 380003"/>
                <a:gd name="connsiteX987" fmla="*/ 71251 w 276366"/>
                <a:gd name="connsiteY987" fmla="*/ 243116 h 380003"/>
                <a:gd name="connsiteX988" fmla="*/ 71251 w 276366"/>
                <a:gd name="connsiteY988" fmla="*/ 241820 h 380003"/>
                <a:gd name="connsiteX989" fmla="*/ 71682 w 276366"/>
                <a:gd name="connsiteY989" fmla="*/ 241389 h 380003"/>
                <a:gd name="connsiteX990" fmla="*/ 73410 w 276366"/>
                <a:gd name="connsiteY990" fmla="*/ 239229 h 380003"/>
                <a:gd name="connsiteX991" fmla="*/ 72978 w 276366"/>
                <a:gd name="connsiteY991" fmla="*/ 237934 h 380003"/>
                <a:gd name="connsiteX992" fmla="*/ 73841 w 276366"/>
                <a:gd name="connsiteY992" fmla="*/ 236207 h 380003"/>
                <a:gd name="connsiteX993" fmla="*/ 73841 w 276366"/>
                <a:gd name="connsiteY993" fmla="*/ 235775 h 380003"/>
                <a:gd name="connsiteX994" fmla="*/ 72978 w 276366"/>
                <a:gd name="connsiteY994" fmla="*/ 234048 h 380003"/>
                <a:gd name="connsiteX995" fmla="*/ 72978 w 276366"/>
                <a:gd name="connsiteY995" fmla="*/ 232320 h 380003"/>
                <a:gd name="connsiteX996" fmla="*/ 73410 w 276366"/>
                <a:gd name="connsiteY996" fmla="*/ 231457 h 380003"/>
                <a:gd name="connsiteX997" fmla="*/ 73841 w 276366"/>
                <a:gd name="connsiteY997" fmla="*/ 231025 h 380003"/>
                <a:gd name="connsiteX998" fmla="*/ 74273 w 276366"/>
                <a:gd name="connsiteY998" fmla="*/ 231025 h 380003"/>
                <a:gd name="connsiteX999" fmla="*/ 74705 w 276366"/>
                <a:gd name="connsiteY999" fmla="*/ 230593 h 380003"/>
                <a:gd name="connsiteX1000" fmla="*/ 74273 w 276366"/>
                <a:gd name="connsiteY1000" fmla="*/ 229729 h 380003"/>
                <a:gd name="connsiteX1001" fmla="*/ 73841 w 276366"/>
                <a:gd name="connsiteY1001" fmla="*/ 228866 h 380003"/>
                <a:gd name="connsiteX1002" fmla="*/ 73841 w 276366"/>
                <a:gd name="connsiteY1002" fmla="*/ 228434 h 380003"/>
                <a:gd name="connsiteX1003" fmla="*/ 74705 w 276366"/>
                <a:gd name="connsiteY1003" fmla="*/ 226707 h 380003"/>
                <a:gd name="connsiteX1004" fmla="*/ 74705 w 276366"/>
                <a:gd name="connsiteY1004" fmla="*/ 226275 h 380003"/>
                <a:gd name="connsiteX1005" fmla="*/ 75137 w 276366"/>
                <a:gd name="connsiteY1005" fmla="*/ 225411 h 380003"/>
                <a:gd name="connsiteX1006" fmla="*/ 74705 w 276366"/>
                <a:gd name="connsiteY1006" fmla="*/ 224116 h 380003"/>
                <a:gd name="connsiteX1007" fmla="*/ 73841 w 276366"/>
                <a:gd name="connsiteY1007" fmla="*/ 222820 h 380003"/>
                <a:gd name="connsiteX1008" fmla="*/ 74705 w 276366"/>
                <a:gd name="connsiteY1008" fmla="*/ 221957 h 380003"/>
                <a:gd name="connsiteX1009" fmla="*/ 77728 w 276366"/>
                <a:gd name="connsiteY1009" fmla="*/ 219366 h 380003"/>
                <a:gd name="connsiteX1010" fmla="*/ 77728 w 276366"/>
                <a:gd name="connsiteY1010" fmla="*/ 218070 h 380003"/>
                <a:gd name="connsiteX1011" fmla="*/ 77296 w 276366"/>
                <a:gd name="connsiteY1011" fmla="*/ 216343 h 380003"/>
                <a:gd name="connsiteX1012" fmla="*/ 77296 w 276366"/>
                <a:gd name="connsiteY1012" fmla="*/ 214616 h 380003"/>
                <a:gd name="connsiteX1013" fmla="*/ 78160 w 276366"/>
                <a:gd name="connsiteY1013" fmla="*/ 210729 h 380003"/>
                <a:gd name="connsiteX1014" fmla="*/ 77728 w 276366"/>
                <a:gd name="connsiteY1014" fmla="*/ 209434 h 380003"/>
                <a:gd name="connsiteX1015" fmla="*/ 78160 w 276366"/>
                <a:gd name="connsiteY1015" fmla="*/ 208138 h 380003"/>
                <a:gd name="connsiteX1016" fmla="*/ 78592 w 276366"/>
                <a:gd name="connsiteY1016" fmla="*/ 206411 h 380003"/>
                <a:gd name="connsiteX1017" fmla="*/ 78592 w 276366"/>
                <a:gd name="connsiteY1017" fmla="*/ 203388 h 380003"/>
                <a:gd name="connsiteX1018" fmla="*/ 79455 w 276366"/>
                <a:gd name="connsiteY1018" fmla="*/ 202956 h 380003"/>
                <a:gd name="connsiteX1019" fmla="*/ 79455 w 276366"/>
                <a:gd name="connsiteY1019" fmla="*/ 200797 h 380003"/>
                <a:gd name="connsiteX1020" fmla="*/ 79887 w 276366"/>
                <a:gd name="connsiteY1020" fmla="*/ 198638 h 380003"/>
                <a:gd name="connsiteX1021" fmla="*/ 79023 w 276366"/>
                <a:gd name="connsiteY1021" fmla="*/ 198206 h 380003"/>
                <a:gd name="connsiteX1022" fmla="*/ 80319 w 276366"/>
                <a:gd name="connsiteY1022" fmla="*/ 196047 h 380003"/>
                <a:gd name="connsiteX1023" fmla="*/ 80751 w 276366"/>
                <a:gd name="connsiteY1023" fmla="*/ 195184 h 380003"/>
                <a:gd name="connsiteX1024" fmla="*/ 80319 w 276366"/>
                <a:gd name="connsiteY1024" fmla="*/ 193456 h 380003"/>
                <a:gd name="connsiteX1025" fmla="*/ 81614 w 276366"/>
                <a:gd name="connsiteY1025" fmla="*/ 191729 h 380003"/>
                <a:gd name="connsiteX1026" fmla="*/ 82046 w 276366"/>
                <a:gd name="connsiteY1026" fmla="*/ 190865 h 380003"/>
                <a:gd name="connsiteX1027" fmla="*/ 81614 w 276366"/>
                <a:gd name="connsiteY1027" fmla="*/ 189138 h 380003"/>
                <a:gd name="connsiteX1028" fmla="*/ 83342 w 276366"/>
                <a:gd name="connsiteY1028" fmla="*/ 186979 h 380003"/>
                <a:gd name="connsiteX1029" fmla="*/ 82910 w 276366"/>
                <a:gd name="connsiteY1029" fmla="*/ 186115 h 380003"/>
                <a:gd name="connsiteX1030" fmla="*/ 83342 w 276366"/>
                <a:gd name="connsiteY1030" fmla="*/ 183956 h 380003"/>
                <a:gd name="connsiteX1031" fmla="*/ 83773 w 276366"/>
                <a:gd name="connsiteY1031" fmla="*/ 182661 h 380003"/>
                <a:gd name="connsiteX1032" fmla="*/ 85069 w 276366"/>
                <a:gd name="connsiteY1032" fmla="*/ 181365 h 380003"/>
                <a:gd name="connsiteX1033" fmla="*/ 85069 w 276366"/>
                <a:gd name="connsiteY1033" fmla="*/ 177911 h 380003"/>
                <a:gd name="connsiteX1034" fmla="*/ 83773 w 276366"/>
                <a:gd name="connsiteY1034" fmla="*/ 176615 h 380003"/>
                <a:gd name="connsiteX1035" fmla="*/ 84637 w 276366"/>
                <a:gd name="connsiteY1035" fmla="*/ 174888 h 380003"/>
                <a:gd name="connsiteX1036" fmla="*/ 86364 w 276366"/>
                <a:gd name="connsiteY1036" fmla="*/ 172297 h 380003"/>
                <a:gd name="connsiteX1037" fmla="*/ 86364 w 276366"/>
                <a:gd name="connsiteY1037" fmla="*/ 169706 h 380003"/>
                <a:gd name="connsiteX1038" fmla="*/ 87228 w 276366"/>
                <a:gd name="connsiteY1038" fmla="*/ 168842 h 380003"/>
                <a:gd name="connsiteX1039" fmla="*/ 87228 w 276366"/>
                <a:gd name="connsiteY1039" fmla="*/ 167979 h 380003"/>
                <a:gd name="connsiteX1040" fmla="*/ 87660 w 276366"/>
                <a:gd name="connsiteY1040" fmla="*/ 167547 h 380003"/>
                <a:gd name="connsiteX1041" fmla="*/ 87660 w 276366"/>
                <a:gd name="connsiteY1041" fmla="*/ 167115 h 380003"/>
                <a:gd name="connsiteX1042" fmla="*/ 88524 w 276366"/>
                <a:gd name="connsiteY1042" fmla="*/ 164956 h 380003"/>
                <a:gd name="connsiteX1043" fmla="*/ 88524 w 276366"/>
                <a:gd name="connsiteY1043" fmla="*/ 161501 h 380003"/>
                <a:gd name="connsiteX1044" fmla="*/ 88955 w 276366"/>
                <a:gd name="connsiteY1044" fmla="*/ 160638 h 380003"/>
                <a:gd name="connsiteX1045" fmla="*/ 88955 w 276366"/>
                <a:gd name="connsiteY1045" fmla="*/ 158479 h 380003"/>
                <a:gd name="connsiteX1046" fmla="*/ 90251 w 276366"/>
                <a:gd name="connsiteY1046" fmla="*/ 155888 h 380003"/>
                <a:gd name="connsiteX1047" fmla="*/ 89819 w 276366"/>
                <a:gd name="connsiteY1047" fmla="*/ 155024 h 380003"/>
                <a:gd name="connsiteX1048" fmla="*/ 91114 w 276366"/>
                <a:gd name="connsiteY1048" fmla="*/ 152865 h 380003"/>
                <a:gd name="connsiteX1049" fmla="*/ 90683 w 276366"/>
                <a:gd name="connsiteY1049" fmla="*/ 152001 h 380003"/>
                <a:gd name="connsiteX1050" fmla="*/ 90683 w 276366"/>
                <a:gd name="connsiteY1050" fmla="*/ 151138 h 380003"/>
                <a:gd name="connsiteX1051" fmla="*/ 91546 w 276366"/>
                <a:gd name="connsiteY1051" fmla="*/ 148115 h 380003"/>
                <a:gd name="connsiteX1052" fmla="*/ 91978 w 276366"/>
                <a:gd name="connsiteY1052" fmla="*/ 147251 h 380003"/>
                <a:gd name="connsiteX1053" fmla="*/ 98887 w 276366"/>
                <a:gd name="connsiteY1053" fmla="*/ 119183 h 380003"/>
                <a:gd name="connsiteX1054" fmla="*/ 100615 w 276366"/>
                <a:gd name="connsiteY1054" fmla="*/ 117456 h 380003"/>
                <a:gd name="connsiteX1055" fmla="*/ 100615 w 276366"/>
                <a:gd name="connsiteY1055" fmla="*/ 117024 h 380003"/>
                <a:gd name="connsiteX1056" fmla="*/ 99751 w 276366"/>
                <a:gd name="connsiteY1056" fmla="*/ 114865 h 380003"/>
                <a:gd name="connsiteX1057" fmla="*/ 98887 w 276366"/>
                <a:gd name="connsiteY1057" fmla="*/ 114001 h 380003"/>
                <a:gd name="connsiteX1058" fmla="*/ 100615 w 276366"/>
                <a:gd name="connsiteY1058" fmla="*/ 113569 h 380003"/>
                <a:gd name="connsiteX1059" fmla="*/ 102342 w 276366"/>
                <a:gd name="connsiteY1059" fmla="*/ 111842 h 380003"/>
                <a:gd name="connsiteX1060" fmla="*/ 101910 w 276366"/>
                <a:gd name="connsiteY1060" fmla="*/ 110115 h 380003"/>
                <a:gd name="connsiteX1061" fmla="*/ 102774 w 276366"/>
                <a:gd name="connsiteY1061" fmla="*/ 108819 h 380003"/>
                <a:gd name="connsiteX1062" fmla="*/ 108387 w 276366"/>
                <a:gd name="connsiteY1062" fmla="*/ 89819 h 380003"/>
                <a:gd name="connsiteX1063" fmla="*/ 105796 w 276366"/>
                <a:gd name="connsiteY1063" fmla="*/ 89819 h 380003"/>
                <a:gd name="connsiteX1064" fmla="*/ 104069 w 276366"/>
                <a:gd name="connsiteY1064" fmla="*/ 90683 h 380003"/>
                <a:gd name="connsiteX1065" fmla="*/ 96728 w 276366"/>
                <a:gd name="connsiteY1065" fmla="*/ 92842 h 380003"/>
                <a:gd name="connsiteX1066" fmla="*/ 95864 w 276366"/>
                <a:gd name="connsiteY1066" fmla="*/ 92842 h 380003"/>
                <a:gd name="connsiteX1067" fmla="*/ 93705 w 276366"/>
                <a:gd name="connsiteY1067" fmla="*/ 91546 h 380003"/>
                <a:gd name="connsiteX1068" fmla="*/ 92410 w 276366"/>
                <a:gd name="connsiteY1068" fmla="*/ 91546 h 380003"/>
                <a:gd name="connsiteX1069" fmla="*/ 90251 w 276366"/>
                <a:gd name="connsiteY1069" fmla="*/ 91978 h 380003"/>
                <a:gd name="connsiteX1070" fmla="*/ 88955 w 276366"/>
                <a:gd name="connsiteY1070" fmla="*/ 93274 h 380003"/>
                <a:gd name="connsiteX1071" fmla="*/ 86796 w 276366"/>
                <a:gd name="connsiteY1071" fmla="*/ 93274 h 380003"/>
                <a:gd name="connsiteX1072" fmla="*/ 85069 w 276366"/>
                <a:gd name="connsiteY1072" fmla="*/ 93705 h 380003"/>
                <a:gd name="connsiteX1073" fmla="*/ 83773 w 276366"/>
                <a:gd name="connsiteY1073" fmla="*/ 94569 h 380003"/>
                <a:gd name="connsiteX1074" fmla="*/ 82910 w 276366"/>
                <a:gd name="connsiteY1074" fmla="*/ 94569 h 380003"/>
                <a:gd name="connsiteX1075" fmla="*/ 78160 w 276366"/>
                <a:gd name="connsiteY1075" fmla="*/ 95865 h 380003"/>
                <a:gd name="connsiteX1076" fmla="*/ 72546 w 276366"/>
                <a:gd name="connsiteY1076" fmla="*/ 96728 h 380003"/>
                <a:gd name="connsiteX1077" fmla="*/ 71251 w 276366"/>
                <a:gd name="connsiteY1077" fmla="*/ 96728 h 380003"/>
                <a:gd name="connsiteX1078" fmla="*/ 69092 w 276366"/>
                <a:gd name="connsiteY1078" fmla="*/ 97592 h 380003"/>
                <a:gd name="connsiteX1079" fmla="*/ 68228 w 276366"/>
                <a:gd name="connsiteY1079" fmla="*/ 98024 h 380003"/>
                <a:gd name="connsiteX1080" fmla="*/ 67796 w 276366"/>
                <a:gd name="connsiteY1080" fmla="*/ 97592 h 380003"/>
                <a:gd name="connsiteX1081" fmla="*/ 67796 w 276366"/>
                <a:gd name="connsiteY1081" fmla="*/ 97160 h 380003"/>
                <a:gd name="connsiteX1082" fmla="*/ 68228 w 276366"/>
                <a:gd name="connsiteY1082" fmla="*/ 96728 h 380003"/>
                <a:gd name="connsiteX1083" fmla="*/ 67796 w 276366"/>
                <a:gd name="connsiteY1083" fmla="*/ 96728 h 380003"/>
                <a:gd name="connsiteX1084" fmla="*/ 67796 w 276366"/>
                <a:gd name="connsiteY1084" fmla="*/ 95865 h 380003"/>
                <a:gd name="connsiteX1085" fmla="*/ 66501 w 276366"/>
                <a:gd name="connsiteY1085" fmla="*/ 96296 h 380003"/>
                <a:gd name="connsiteX1086" fmla="*/ 66501 w 276366"/>
                <a:gd name="connsiteY1086" fmla="*/ 96728 h 380003"/>
                <a:gd name="connsiteX1087" fmla="*/ 67364 w 276366"/>
                <a:gd name="connsiteY1087" fmla="*/ 97160 h 380003"/>
                <a:gd name="connsiteX1088" fmla="*/ 65637 w 276366"/>
                <a:gd name="connsiteY1088" fmla="*/ 98455 h 380003"/>
                <a:gd name="connsiteX1089" fmla="*/ 65205 w 276366"/>
                <a:gd name="connsiteY1089" fmla="*/ 98455 h 380003"/>
                <a:gd name="connsiteX1090" fmla="*/ 64773 w 276366"/>
                <a:gd name="connsiteY1090" fmla="*/ 98887 h 380003"/>
                <a:gd name="connsiteX1091" fmla="*/ 64341 w 276366"/>
                <a:gd name="connsiteY1091" fmla="*/ 98887 h 380003"/>
                <a:gd name="connsiteX1092" fmla="*/ 63478 w 276366"/>
                <a:gd name="connsiteY1092" fmla="*/ 98455 h 380003"/>
                <a:gd name="connsiteX1093" fmla="*/ 63910 w 276366"/>
                <a:gd name="connsiteY1093" fmla="*/ 98024 h 380003"/>
                <a:gd name="connsiteX1094" fmla="*/ 63478 w 276366"/>
                <a:gd name="connsiteY1094" fmla="*/ 98024 h 380003"/>
                <a:gd name="connsiteX1095" fmla="*/ 62614 w 276366"/>
                <a:gd name="connsiteY1095" fmla="*/ 97592 h 380003"/>
                <a:gd name="connsiteX1096" fmla="*/ 62614 w 276366"/>
                <a:gd name="connsiteY1096" fmla="*/ 98024 h 380003"/>
                <a:gd name="connsiteX1097" fmla="*/ 60887 w 276366"/>
                <a:gd name="connsiteY1097" fmla="*/ 100183 h 380003"/>
                <a:gd name="connsiteX1098" fmla="*/ 59591 w 276366"/>
                <a:gd name="connsiteY1098" fmla="*/ 100614 h 380003"/>
                <a:gd name="connsiteX1099" fmla="*/ 58728 w 276366"/>
                <a:gd name="connsiteY1099" fmla="*/ 99319 h 380003"/>
                <a:gd name="connsiteX1100" fmla="*/ 56137 w 276366"/>
                <a:gd name="connsiteY1100" fmla="*/ 100614 h 380003"/>
                <a:gd name="connsiteX1101" fmla="*/ 52250 w 276366"/>
                <a:gd name="connsiteY1101" fmla="*/ 101478 h 380003"/>
                <a:gd name="connsiteX1102" fmla="*/ 50523 w 276366"/>
                <a:gd name="connsiteY1102" fmla="*/ 101478 h 380003"/>
                <a:gd name="connsiteX1103" fmla="*/ 49660 w 276366"/>
                <a:gd name="connsiteY1103" fmla="*/ 102342 h 380003"/>
                <a:gd name="connsiteX1104" fmla="*/ 48796 w 276366"/>
                <a:gd name="connsiteY1104" fmla="*/ 101910 h 380003"/>
                <a:gd name="connsiteX1105" fmla="*/ 46637 w 276366"/>
                <a:gd name="connsiteY1105" fmla="*/ 102774 h 380003"/>
                <a:gd name="connsiteX1106" fmla="*/ 41455 w 276366"/>
                <a:gd name="connsiteY1106" fmla="*/ 104069 h 380003"/>
                <a:gd name="connsiteX1107" fmla="*/ 40591 w 276366"/>
                <a:gd name="connsiteY1107" fmla="*/ 104069 h 380003"/>
                <a:gd name="connsiteX1108" fmla="*/ 38432 w 276366"/>
                <a:gd name="connsiteY1108" fmla="*/ 105796 h 380003"/>
                <a:gd name="connsiteX1109" fmla="*/ 35841 w 276366"/>
                <a:gd name="connsiteY1109" fmla="*/ 105796 h 380003"/>
                <a:gd name="connsiteX1110" fmla="*/ 34546 w 276366"/>
                <a:gd name="connsiteY1110" fmla="*/ 105365 h 380003"/>
                <a:gd name="connsiteX1111" fmla="*/ 33250 w 276366"/>
                <a:gd name="connsiteY1111" fmla="*/ 105796 h 380003"/>
                <a:gd name="connsiteX1112" fmla="*/ 30228 w 276366"/>
                <a:gd name="connsiteY1112" fmla="*/ 107956 h 380003"/>
                <a:gd name="connsiteX1113" fmla="*/ 28500 w 276366"/>
                <a:gd name="connsiteY1113" fmla="*/ 108387 h 380003"/>
                <a:gd name="connsiteX1114" fmla="*/ 27637 w 276366"/>
                <a:gd name="connsiteY1114" fmla="*/ 107956 h 380003"/>
                <a:gd name="connsiteX1115" fmla="*/ 25046 w 276366"/>
                <a:gd name="connsiteY1115" fmla="*/ 107956 h 380003"/>
                <a:gd name="connsiteX1116" fmla="*/ 20296 w 276366"/>
                <a:gd name="connsiteY1116" fmla="*/ 110546 h 380003"/>
                <a:gd name="connsiteX1117" fmla="*/ 16841 w 276366"/>
                <a:gd name="connsiteY1117" fmla="*/ 110546 h 380003"/>
                <a:gd name="connsiteX1118" fmla="*/ 4318 w 276366"/>
                <a:gd name="connsiteY1118" fmla="*/ 114433 h 380003"/>
                <a:gd name="connsiteX1119" fmla="*/ 2159 w 276366"/>
                <a:gd name="connsiteY1119" fmla="*/ 115728 h 380003"/>
                <a:gd name="connsiteX1120" fmla="*/ 432 w 276366"/>
                <a:gd name="connsiteY1120" fmla="*/ 116592 h 380003"/>
                <a:gd name="connsiteX1121" fmla="*/ 0 w 276366"/>
                <a:gd name="connsiteY1121" fmla="*/ 114865 h 380003"/>
                <a:gd name="connsiteX1122" fmla="*/ 12091 w 276366"/>
                <a:gd name="connsiteY1122" fmla="*/ 96296 h 380003"/>
                <a:gd name="connsiteX1123" fmla="*/ 13386 w 276366"/>
                <a:gd name="connsiteY1123" fmla="*/ 96296 h 380003"/>
                <a:gd name="connsiteX1124" fmla="*/ 13386 w 276366"/>
                <a:gd name="connsiteY1124" fmla="*/ 96728 h 380003"/>
                <a:gd name="connsiteX1125" fmla="*/ 15114 w 276366"/>
                <a:gd name="connsiteY1125" fmla="*/ 96728 h 380003"/>
                <a:gd name="connsiteX1126" fmla="*/ 14250 w 276366"/>
                <a:gd name="connsiteY1126" fmla="*/ 98024 h 380003"/>
                <a:gd name="connsiteX1127" fmla="*/ 13386 w 276366"/>
                <a:gd name="connsiteY1127" fmla="*/ 99751 h 380003"/>
                <a:gd name="connsiteX1128" fmla="*/ 13386 w 276366"/>
                <a:gd name="connsiteY1128" fmla="*/ 101910 h 380003"/>
                <a:gd name="connsiteX1129" fmla="*/ 14250 w 276366"/>
                <a:gd name="connsiteY1129" fmla="*/ 101910 h 380003"/>
                <a:gd name="connsiteX1130" fmla="*/ 14250 w 276366"/>
                <a:gd name="connsiteY1130" fmla="*/ 101046 h 380003"/>
                <a:gd name="connsiteX1131" fmla="*/ 16841 w 276366"/>
                <a:gd name="connsiteY1131" fmla="*/ 99751 h 380003"/>
                <a:gd name="connsiteX1132" fmla="*/ 17273 w 276366"/>
                <a:gd name="connsiteY1132" fmla="*/ 99751 h 380003"/>
                <a:gd name="connsiteX1133" fmla="*/ 17273 w 276366"/>
                <a:gd name="connsiteY1133" fmla="*/ 100183 h 380003"/>
                <a:gd name="connsiteX1134" fmla="*/ 16841 w 276366"/>
                <a:gd name="connsiteY1134" fmla="*/ 101046 h 380003"/>
                <a:gd name="connsiteX1135" fmla="*/ 18136 w 276366"/>
                <a:gd name="connsiteY1135" fmla="*/ 101478 h 380003"/>
                <a:gd name="connsiteX1136" fmla="*/ 19432 w 276366"/>
                <a:gd name="connsiteY1136" fmla="*/ 101046 h 380003"/>
                <a:gd name="connsiteX1137" fmla="*/ 20296 w 276366"/>
                <a:gd name="connsiteY1137" fmla="*/ 100614 h 380003"/>
                <a:gd name="connsiteX1138" fmla="*/ 21159 w 276366"/>
                <a:gd name="connsiteY1138" fmla="*/ 100614 h 380003"/>
                <a:gd name="connsiteX1139" fmla="*/ 21591 w 276366"/>
                <a:gd name="connsiteY1139" fmla="*/ 101046 h 380003"/>
                <a:gd name="connsiteX1140" fmla="*/ 23750 w 276366"/>
                <a:gd name="connsiteY1140" fmla="*/ 100183 h 380003"/>
                <a:gd name="connsiteX1141" fmla="*/ 24614 w 276366"/>
                <a:gd name="connsiteY1141" fmla="*/ 99319 h 380003"/>
                <a:gd name="connsiteX1142" fmla="*/ 24614 w 276366"/>
                <a:gd name="connsiteY1142" fmla="*/ 98024 h 380003"/>
                <a:gd name="connsiteX1143" fmla="*/ 23750 w 276366"/>
                <a:gd name="connsiteY1143" fmla="*/ 97592 h 380003"/>
                <a:gd name="connsiteX1144" fmla="*/ 24182 w 276366"/>
                <a:gd name="connsiteY1144" fmla="*/ 95865 h 380003"/>
                <a:gd name="connsiteX1145" fmla="*/ 22887 w 276366"/>
                <a:gd name="connsiteY1145" fmla="*/ 95433 h 380003"/>
                <a:gd name="connsiteX1146" fmla="*/ 26341 w 276366"/>
                <a:gd name="connsiteY1146" fmla="*/ 92842 h 380003"/>
                <a:gd name="connsiteX1147" fmla="*/ 32387 w 276366"/>
                <a:gd name="connsiteY1147" fmla="*/ 91114 h 380003"/>
                <a:gd name="connsiteX1148" fmla="*/ 35409 w 276366"/>
                <a:gd name="connsiteY1148" fmla="*/ 90683 h 380003"/>
                <a:gd name="connsiteX1149" fmla="*/ 39296 w 276366"/>
                <a:gd name="connsiteY1149" fmla="*/ 90251 h 380003"/>
                <a:gd name="connsiteX1150" fmla="*/ 40591 w 276366"/>
                <a:gd name="connsiteY1150" fmla="*/ 90251 h 380003"/>
                <a:gd name="connsiteX1151" fmla="*/ 46637 w 276366"/>
                <a:gd name="connsiteY1151" fmla="*/ 87660 h 380003"/>
                <a:gd name="connsiteX1152" fmla="*/ 50523 w 276366"/>
                <a:gd name="connsiteY1152" fmla="*/ 87660 h 380003"/>
                <a:gd name="connsiteX1153" fmla="*/ 52250 w 276366"/>
                <a:gd name="connsiteY1153" fmla="*/ 88092 h 380003"/>
                <a:gd name="connsiteX1154" fmla="*/ 52250 w 276366"/>
                <a:gd name="connsiteY1154" fmla="*/ 88524 h 380003"/>
                <a:gd name="connsiteX1155" fmla="*/ 50955 w 276366"/>
                <a:gd name="connsiteY1155" fmla="*/ 89819 h 380003"/>
                <a:gd name="connsiteX1156" fmla="*/ 47932 w 276366"/>
                <a:gd name="connsiteY1156" fmla="*/ 91978 h 380003"/>
                <a:gd name="connsiteX1157" fmla="*/ 47069 w 276366"/>
                <a:gd name="connsiteY1157" fmla="*/ 92842 h 380003"/>
                <a:gd name="connsiteX1158" fmla="*/ 45773 w 276366"/>
                <a:gd name="connsiteY1158" fmla="*/ 93705 h 380003"/>
                <a:gd name="connsiteX1159" fmla="*/ 45773 w 276366"/>
                <a:gd name="connsiteY1159" fmla="*/ 94137 h 380003"/>
                <a:gd name="connsiteX1160" fmla="*/ 47500 w 276366"/>
                <a:gd name="connsiteY1160" fmla="*/ 94137 h 380003"/>
                <a:gd name="connsiteX1161" fmla="*/ 48796 w 276366"/>
                <a:gd name="connsiteY1161" fmla="*/ 93274 h 380003"/>
                <a:gd name="connsiteX1162" fmla="*/ 49660 w 276366"/>
                <a:gd name="connsiteY1162" fmla="*/ 91978 h 380003"/>
                <a:gd name="connsiteX1163" fmla="*/ 50523 w 276366"/>
                <a:gd name="connsiteY1163" fmla="*/ 91546 h 380003"/>
                <a:gd name="connsiteX1164" fmla="*/ 50955 w 276366"/>
                <a:gd name="connsiteY1164" fmla="*/ 91546 h 380003"/>
                <a:gd name="connsiteX1165" fmla="*/ 51819 w 276366"/>
                <a:gd name="connsiteY1165" fmla="*/ 93274 h 380003"/>
                <a:gd name="connsiteX1166" fmla="*/ 53114 w 276366"/>
                <a:gd name="connsiteY1166" fmla="*/ 93705 h 380003"/>
                <a:gd name="connsiteX1167" fmla="*/ 55273 w 276366"/>
                <a:gd name="connsiteY1167" fmla="*/ 93705 h 380003"/>
                <a:gd name="connsiteX1168" fmla="*/ 57432 w 276366"/>
                <a:gd name="connsiteY1168" fmla="*/ 92842 h 380003"/>
                <a:gd name="connsiteX1169" fmla="*/ 58728 w 276366"/>
                <a:gd name="connsiteY1169" fmla="*/ 92842 h 380003"/>
                <a:gd name="connsiteX1170" fmla="*/ 58728 w 276366"/>
                <a:gd name="connsiteY1170" fmla="*/ 92410 h 380003"/>
                <a:gd name="connsiteX1171" fmla="*/ 60023 w 276366"/>
                <a:gd name="connsiteY1171" fmla="*/ 89819 h 380003"/>
                <a:gd name="connsiteX1172" fmla="*/ 61319 w 276366"/>
                <a:gd name="connsiteY1172" fmla="*/ 89387 h 380003"/>
                <a:gd name="connsiteX1173" fmla="*/ 60887 w 276366"/>
                <a:gd name="connsiteY1173" fmla="*/ 90251 h 380003"/>
                <a:gd name="connsiteX1174" fmla="*/ 60023 w 276366"/>
                <a:gd name="connsiteY1174" fmla="*/ 92410 h 380003"/>
                <a:gd name="connsiteX1175" fmla="*/ 60023 w 276366"/>
                <a:gd name="connsiteY1175" fmla="*/ 93274 h 380003"/>
                <a:gd name="connsiteX1176" fmla="*/ 60887 w 276366"/>
                <a:gd name="connsiteY1176" fmla="*/ 93274 h 380003"/>
                <a:gd name="connsiteX1177" fmla="*/ 63046 w 276366"/>
                <a:gd name="connsiteY1177" fmla="*/ 91114 h 380003"/>
                <a:gd name="connsiteX1178" fmla="*/ 62614 w 276366"/>
                <a:gd name="connsiteY1178" fmla="*/ 89819 h 380003"/>
                <a:gd name="connsiteX1179" fmla="*/ 62614 w 276366"/>
                <a:gd name="connsiteY1179" fmla="*/ 89387 h 380003"/>
                <a:gd name="connsiteX1180" fmla="*/ 63046 w 276366"/>
                <a:gd name="connsiteY1180" fmla="*/ 88955 h 380003"/>
                <a:gd name="connsiteX1181" fmla="*/ 64773 w 276366"/>
                <a:gd name="connsiteY1181" fmla="*/ 86796 h 380003"/>
                <a:gd name="connsiteX1182" fmla="*/ 62614 w 276366"/>
                <a:gd name="connsiteY1182" fmla="*/ 86364 h 380003"/>
                <a:gd name="connsiteX1183" fmla="*/ 62614 w 276366"/>
                <a:gd name="connsiteY1183" fmla="*/ 85933 h 380003"/>
                <a:gd name="connsiteX1184" fmla="*/ 62182 w 276366"/>
                <a:gd name="connsiteY1184" fmla="*/ 85933 h 380003"/>
                <a:gd name="connsiteX1185" fmla="*/ 60887 w 276366"/>
                <a:gd name="connsiteY1185" fmla="*/ 86364 h 380003"/>
                <a:gd name="connsiteX1186" fmla="*/ 58728 w 276366"/>
                <a:gd name="connsiteY1186" fmla="*/ 88955 h 380003"/>
                <a:gd name="connsiteX1187" fmla="*/ 58296 w 276366"/>
                <a:gd name="connsiteY1187" fmla="*/ 87660 h 380003"/>
                <a:gd name="connsiteX1188" fmla="*/ 56137 w 276366"/>
                <a:gd name="connsiteY1188" fmla="*/ 87660 h 380003"/>
                <a:gd name="connsiteX1189" fmla="*/ 27637 w 276366"/>
                <a:gd name="connsiteY1189" fmla="*/ 95001 h 380003"/>
                <a:gd name="connsiteX1190" fmla="*/ 24614 w 276366"/>
                <a:gd name="connsiteY1190" fmla="*/ 98024 h 380003"/>
                <a:gd name="connsiteX1191" fmla="*/ 27637 w 276366"/>
                <a:gd name="connsiteY1191" fmla="*/ 95433 h 380003"/>
                <a:gd name="connsiteX1192" fmla="*/ 27637 w 276366"/>
                <a:gd name="connsiteY1192" fmla="*/ 95001 h 380003"/>
                <a:gd name="connsiteX1193" fmla="*/ 26341 w 276366"/>
                <a:gd name="connsiteY1193" fmla="*/ 102342 h 380003"/>
                <a:gd name="connsiteX1194" fmla="*/ 25046 w 276366"/>
                <a:gd name="connsiteY1194" fmla="*/ 102342 h 380003"/>
                <a:gd name="connsiteX1195" fmla="*/ 25046 w 276366"/>
                <a:gd name="connsiteY1195" fmla="*/ 104069 h 380003"/>
                <a:gd name="connsiteX1196" fmla="*/ 25909 w 276366"/>
                <a:gd name="connsiteY1196" fmla="*/ 103205 h 380003"/>
                <a:gd name="connsiteX1197" fmla="*/ 26341 w 276366"/>
                <a:gd name="connsiteY1197" fmla="*/ 102342 h 380003"/>
                <a:gd name="connsiteX1198" fmla="*/ 30659 w 276366"/>
                <a:gd name="connsiteY1198" fmla="*/ 100614 h 380003"/>
                <a:gd name="connsiteX1199" fmla="*/ 31091 w 276366"/>
                <a:gd name="connsiteY1199" fmla="*/ 100614 h 380003"/>
                <a:gd name="connsiteX1200" fmla="*/ 31523 w 276366"/>
                <a:gd name="connsiteY1200" fmla="*/ 99751 h 380003"/>
                <a:gd name="connsiteX1201" fmla="*/ 32387 w 276366"/>
                <a:gd name="connsiteY1201" fmla="*/ 98887 h 380003"/>
                <a:gd name="connsiteX1202" fmla="*/ 32387 w 276366"/>
                <a:gd name="connsiteY1202" fmla="*/ 98455 h 380003"/>
                <a:gd name="connsiteX1203" fmla="*/ 31955 w 276366"/>
                <a:gd name="connsiteY1203" fmla="*/ 98455 h 380003"/>
                <a:gd name="connsiteX1204" fmla="*/ 29364 w 276366"/>
                <a:gd name="connsiteY1204" fmla="*/ 99751 h 380003"/>
                <a:gd name="connsiteX1205" fmla="*/ 30659 w 276366"/>
                <a:gd name="connsiteY1205" fmla="*/ 100614 h 380003"/>
                <a:gd name="connsiteX1206" fmla="*/ 43182 w 276366"/>
                <a:gd name="connsiteY1206" fmla="*/ 91978 h 380003"/>
                <a:gd name="connsiteX1207" fmla="*/ 40591 w 276366"/>
                <a:gd name="connsiteY1207" fmla="*/ 94137 h 380003"/>
                <a:gd name="connsiteX1208" fmla="*/ 40591 w 276366"/>
                <a:gd name="connsiteY1208" fmla="*/ 94569 h 380003"/>
                <a:gd name="connsiteX1209" fmla="*/ 41455 w 276366"/>
                <a:gd name="connsiteY1209" fmla="*/ 94569 h 380003"/>
                <a:gd name="connsiteX1210" fmla="*/ 42750 w 276366"/>
                <a:gd name="connsiteY1210" fmla="*/ 93705 h 380003"/>
                <a:gd name="connsiteX1211" fmla="*/ 43182 w 276366"/>
                <a:gd name="connsiteY1211" fmla="*/ 92410 h 380003"/>
                <a:gd name="connsiteX1212" fmla="*/ 43182 w 276366"/>
                <a:gd name="connsiteY1212" fmla="*/ 91978 h 380003"/>
                <a:gd name="connsiteX1213" fmla="*/ 58728 w 276366"/>
                <a:gd name="connsiteY1213" fmla="*/ 89819 h 380003"/>
                <a:gd name="connsiteX1214" fmla="*/ 58296 w 276366"/>
                <a:gd name="connsiteY1214" fmla="*/ 90683 h 380003"/>
                <a:gd name="connsiteX1215" fmla="*/ 57864 w 276366"/>
                <a:gd name="connsiteY1215" fmla="*/ 91114 h 380003"/>
                <a:gd name="connsiteX1216" fmla="*/ 57432 w 276366"/>
                <a:gd name="connsiteY1216" fmla="*/ 90251 h 380003"/>
                <a:gd name="connsiteX1217" fmla="*/ 58728 w 276366"/>
                <a:gd name="connsiteY1217" fmla="*/ 89387 h 380003"/>
                <a:gd name="connsiteX1218" fmla="*/ 58728 w 276366"/>
                <a:gd name="connsiteY1218" fmla="*/ 89819 h 380003"/>
                <a:gd name="connsiteX1219" fmla="*/ 69092 w 276366"/>
                <a:gd name="connsiteY1219" fmla="*/ 362299 h 380003"/>
                <a:gd name="connsiteX1220" fmla="*/ 68660 w 276366"/>
                <a:gd name="connsiteY1220" fmla="*/ 361867 h 380003"/>
                <a:gd name="connsiteX1221" fmla="*/ 69092 w 276366"/>
                <a:gd name="connsiteY1221" fmla="*/ 361435 h 380003"/>
                <a:gd name="connsiteX1222" fmla="*/ 69092 w 276366"/>
                <a:gd name="connsiteY1222" fmla="*/ 362299 h 380003"/>
                <a:gd name="connsiteX1223" fmla="*/ 90683 w 276366"/>
                <a:gd name="connsiteY1223" fmla="*/ 311344 h 380003"/>
                <a:gd name="connsiteX1224" fmla="*/ 91978 w 276366"/>
                <a:gd name="connsiteY1224" fmla="*/ 310048 h 380003"/>
                <a:gd name="connsiteX1225" fmla="*/ 91546 w 276366"/>
                <a:gd name="connsiteY1225" fmla="*/ 308753 h 380003"/>
                <a:gd name="connsiteX1226" fmla="*/ 92410 w 276366"/>
                <a:gd name="connsiteY1226" fmla="*/ 307889 h 380003"/>
                <a:gd name="connsiteX1227" fmla="*/ 90683 w 276366"/>
                <a:gd name="connsiteY1227" fmla="*/ 306594 h 380003"/>
                <a:gd name="connsiteX1228" fmla="*/ 91114 w 276366"/>
                <a:gd name="connsiteY1228" fmla="*/ 310048 h 380003"/>
                <a:gd name="connsiteX1229" fmla="*/ 90251 w 276366"/>
                <a:gd name="connsiteY1229" fmla="*/ 310912 h 380003"/>
                <a:gd name="connsiteX1230" fmla="*/ 89819 w 276366"/>
                <a:gd name="connsiteY1230" fmla="*/ 310912 h 380003"/>
                <a:gd name="connsiteX1231" fmla="*/ 90251 w 276366"/>
                <a:gd name="connsiteY1231" fmla="*/ 311344 h 380003"/>
                <a:gd name="connsiteX1232" fmla="*/ 90683 w 276366"/>
                <a:gd name="connsiteY1232" fmla="*/ 311344 h 380003"/>
                <a:gd name="connsiteX1233" fmla="*/ 91114 w 276366"/>
                <a:gd name="connsiteY1233" fmla="*/ 322571 h 380003"/>
                <a:gd name="connsiteX1234" fmla="*/ 91114 w 276366"/>
                <a:gd name="connsiteY1234" fmla="*/ 325162 h 380003"/>
                <a:gd name="connsiteX1235" fmla="*/ 92410 w 276366"/>
                <a:gd name="connsiteY1235" fmla="*/ 325594 h 380003"/>
                <a:gd name="connsiteX1236" fmla="*/ 93273 w 276366"/>
                <a:gd name="connsiteY1236" fmla="*/ 325594 h 380003"/>
                <a:gd name="connsiteX1237" fmla="*/ 92842 w 276366"/>
                <a:gd name="connsiteY1237" fmla="*/ 325162 h 380003"/>
                <a:gd name="connsiteX1238" fmla="*/ 92842 w 276366"/>
                <a:gd name="connsiteY1238" fmla="*/ 322571 h 380003"/>
                <a:gd name="connsiteX1239" fmla="*/ 91114 w 276366"/>
                <a:gd name="connsiteY1239" fmla="*/ 322571 h 380003"/>
                <a:gd name="connsiteX1240" fmla="*/ 91114 w 276366"/>
                <a:gd name="connsiteY1240" fmla="*/ 336821 h 380003"/>
                <a:gd name="connsiteX1241" fmla="*/ 91546 w 276366"/>
                <a:gd name="connsiteY1241" fmla="*/ 338117 h 380003"/>
                <a:gd name="connsiteX1242" fmla="*/ 91978 w 276366"/>
                <a:gd name="connsiteY1242" fmla="*/ 338549 h 380003"/>
                <a:gd name="connsiteX1243" fmla="*/ 91978 w 276366"/>
                <a:gd name="connsiteY1243" fmla="*/ 338117 h 380003"/>
                <a:gd name="connsiteX1244" fmla="*/ 92842 w 276366"/>
                <a:gd name="connsiteY1244" fmla="*/ 336389 h 380003"/>
                <a:gd name="connsiteX1245" fmla="*/ 91546 w 276366"/>
                <a:gd name="connsiteY1245" fmla="*/ 335526 h 380003"/>
                <a:gd name="connsiteX1246" fmla="*/ 91114 w 276366"/>
                <a:gd name="connsiteY1246" fmla="*/ 336389 h 380003"/>
                <a:gd name="connsiteX1247" fmla="*/ 91114 w 276366"/>
                <a:gd name="connsiteY1247" fmla="*/ 336821 h 380003"/>
                <a:gd name="connsiteX1248" fmla="*/ 91546 w 276366"/>
                <a:gd name="connsiteY1248" fmla="*/ 286298 h 380003"/>
                <a:gd name="connsiteX1249" fmla="*/ 91978 w 276366"/>
                <a:gd name="connsiteY1249" fmla="*/ 285866 h 380003"/>
                <a:gd name="connsiteX1250" fmla="*/ 95433 w 276366"/>
                <a:gd name="connsiteY1250" fmla="*/ 284571 h 380003"/>
                <a:gd name="connsiteX1251" fmla="*/ 95864 w 276366"/>
                <a:gd name="connsiteY1251" fmla="*/ 285866 h 380003"/>
                <a:gd name="connsiteX1252" fmla="*/ 92842 w 276366"/>
                <a:gd name="connsiteY1252" fmla="*/ 286730 h 380003"/>
                <a:gd name="connsiteX1253" fmla="*/ 91546 w 276366"/>
                <a:gd name="connsiteY1253" fmla="*/ 286298 h 380003"/>
                <a:gd name="connsiteX1254" fmla="*/ 91978 w 276366"/>
                <a:gd name="connsiteY1254" fmla="*/ 313935 h 380003"/>
                <a:gd name="connsiteX1255" fmla="*/ 91546 w 276366"/>
                <a:gd name="connsiteY1255" fmla="*/ 314366 h 380003"/>
                <a:gd name="connsiteX1256" fmla="*/ 91978 w 276366"/>
                <a:gd name="connsiteY1256" fmla="*/ 314798 h 380003"/>
                <a:gd name="connsiteX1257" fmla="*/ 91978 w 276366"/>
                <a:gd name="connsiteY1257" fmla="*/ 313935 h 380003"/>
                <a:gd name="connsiteX1258" fmla="*/ 92842 w 276366"/>
                <a:gd name="connsiteY1258" fmla="*/ 288457 h 380003"/>
                <a:gd name="connsiteX1259" fmla="*/ 93273 w 276366"/>
                <a:gd name="connsiteY1259" fmla="*/ 288025 h 380003"/>
                <a:gd name="connsiteX1260" fmla="*/ 93705 w 276366"/>
                <a:gd name="connsiteY1260" fmla="*/ 288457 h 380003"/>
                <a:gd name="connsiteX1261" fmla="*/ 92842 w 276366"/>
                <a:gd name="connsiteY1261" fmla="*/ 288457 h 380003"/>
                <a:gd name="connsiteX1262" fmla="*/ 93705 w 276366"/>
                <a:gd name="connsiteY1262" fmla="*/ 269889 h 380003"/>
                <a:gd name="connsiteX1263" fmla="*/ 93273 w 276366"/>
                <a:gd name="connsiteY1263" fmla="*/ 269457 h 380003"/>
                <a:gd name="connsiteX1264" fmla="*/ 94137 w 276366"/>
                <a:gd name="connsiteY1264" fmla="*/ 269025 h 380003"/>
                <a:gd name="connsiteX1265" fmla="*/ 95001 w 276366"/>
                <a:gd name="connsiteY1265" fmla="*/ 269457 h 380003"/>
                <a:gd name="connsiteX1266" fmla="*/ 94137 w 276366"/>
                <a:gd name="connsiteY1266" fmla="*/ 269889 h 380003"/>
                <a:gd name="connsiteX1267" fmla="*/ 93705 w 276366"/>
                <a:gd name="connsiteY1267" fmla="*/ 269889 h 380003"/>
                <a:gd name="connsiteX1268" fmla="*/ 93705 w 276366"/>
                <a:gd name="connsiteY1268" fmla="*/ 282843 h 380003"/>
                <a:gd name="connsiteX1269" fmla="*/ 93705 w 276366"/>
                <a:gd name="connsiteY1269" fmla="*/ 281548 h 380003"/>
                <a:gd name="connsiteX1270" fmla="*/ 95001 w 276366"/>
                <a:gd name="connsiteY1270" fmla="*/ 280684 h 380003"/>
                <a:gd name="connsiteX1271" fmla="*/ 95864 w 276366"/>
                <a:gd name="connsiteY1271" fmla="*/ 281116 h 380003"/>
                <a:gd name="connsiteX1272" fmla="*/ 95433 w 276366"/>
                <a:gd name="connsiteY1272" fmla="*/ 281980 h 380003"/>
                <a:gd name="connsiteX1273" fmla="*/ 94569 w 276366"/>
                <a:gd name="connsiteY1273" fmla="*/ 282843 h 380003"/>
                <a:gd name="connsiteX1274" fmla="*/ 93705 w 276366"/>
                <a:gd name="connsiteY1274" fmla="*/ 282843 h 380003"/>
                <a:gd name="connsiteX1275" fmla="*/ 95001 w 276366"/>
                <a:gd name="connsiteY1275" fmla="*/ 289321 h 380003"/>
                <a:gd name="connsiteX1276" fmla="*/ 95001 w 276366"/>
                <a:gd name="connsiteY1276" fmla="*/ 289753 h 380003"/>
                <a:gd name="connsiteX1277" fmla="*/ 94137 w 276366"/>
                <a:gd name="connsiteY1277" fmla="*/ 289321 h 380003"/>
                <a:gd name="connsiteX1278" fmla="*/ 94137 w 276366"/>
                <a:gd name="connsiteY1278" fmla="*/ 288889 h 380003"/>
                <a:gd name="connsiteX1279" fmla="*/ 93705 w 276366"/>
                <a:gd name="connsiteY1279" fmla="*/ 288457 h 380003"/>
                <a:gd name="connsiteX1280" fmla="*/ 94569 w 276366"/>
                <a:gd name="connsiteY1280" fmla="*/ 288457 h 380003"/>
                <a:gd name="connsiteX1281" fmla="*/ 95001 w 276366"/>
                <a:gd name="connsiteY1281" fmla="*/ 289321 h 380003"/>
                <a:gd name="connsiteX1282" fmla="*/ 94137 w 276366"/>
                <a:gd name="connsiteY1282" fmla="*/ 278093 h 380003"/>
                <a:gd name="connsiteX1283" fmla="*/ 95433 w 276366"/>
                <a:gd name="connsiteY1283" fmla="*/ 278093 h 380003"/>
                <a:gd name="connsiteX1284" fmla="*/ 95864 w 276366"/>
                <a:gd name="connsiteY1284" fmla="*/ 278957 h 380003"/>
                <a:gd name="connsiteX1285" fmla="*/ 95433 w 276366"/>
                <a:gd name="connsiteY1285" fmla="*/ 280253 h 380003"/>
                <a:gd name="connsiteX1286" fmla="*/ 94137 w 276366"/>
                <a:gd name="connsiteY1286" fmla="*/ 279389 h 380003"/>
                <a:gd name="connsiteX1287" fmla="*/ 94137 w 276366"/>
                <a:gd name="connsiteY1287" fmla="*/ 278093 h 380003"/>
                <a:gd name="connsiteX1288" fmla="*/ 95433 w 276366"/>
                <a:gd name="connsiteY1288" fmla="*/ 273343 h 380003"/>
                <a:gd name="connsiteX1289" fmla="*/ 94569 w 276366"/>
                <a:gd name="connsiteY1289" fmla="*/ 273343 h 380003"/>
                <a:gd name="connsiteX1290" fmla="*/ 95001 w 276366"/>
                <a:gd name="connsiteY1290" fmla="*/ 272912 h 380003"/>
                <a:gd name="connsiteX1291" fmla="*/ 95433 w 276366"/>
                <a:gd name="connsiteY1291" fmla="*/ 273343 h 380003"/>
                <a:gd name="connsiteX1292" fmla="*/ 96728 w 276366"/>
                <a:gd name="connsiteY1292" fmla="*/ 257366 h 380003"/>
                <a:gd name="connsiteX1293" fmla="*/ 97592 w 276366"/>
                <a:gd name="connsiteY1293" fmla="*/ 258230 h 380003"/>
                <a:gd name="connsiteX1294" fmla="*/ 96728 w 276366"/>
                <a:gd name="connsiteY1294" fmla="*/ 259093 h 380003"/>
                <a:gd name="connsiteX1295" fmla="*/ 95864 w 276366"/>
                <a:gd name="connsiteY1295" fmla="*/ 258661 h 380003"/>
                <a:gd name="connsiteX1296" fmla="*/ 96728 w 276366"/>
                <a:gd name="connsiteY1296" fmla="*/ 257366 h 380003"/>
                <a:gd name="connsiteX1297" fmla="*/ 100183 w 276366"/>
                <a:gd name="connsiteY1297" fmla="*/ 209434 h 380003"/>
                <a:gd name="connsiteX1298" fmla="*/ 101910 w 276366"/>
                <a:gd name="connsiteY1298" fmla="*/ 209002 h 380003"/>
                <a:gd name="connsiteX1299" fmla="*/ 100615 w 276366"/>
                <a:gd name="connsiteY1299" fmla="*/ 208138 h 380003"/>
                <a:gd name="connsiteX1300" fmla="*/ 100183 w 276366"/>
                <a:gd name="connsiteY1300" fmla="*/ 209002 h 380003"/>
                <a:gd name="connsiteX1301" fmla="*/ 100183 w 276366"/>
                <a:gd name="connsiteY1301" fmla="*/ 209434 h 380003"/>
                <a:gd name="connsiteX1302" fmla="*/ 100183 w 276366"/>
                <a:gd name="connsiteY1302" fmla="*/ 234479 h 380003"/>
                <a:gd name="connsiteX1303" fmla="*/ 100183 w 276366"/>
                <a:gd name="connsiteY1303" fmla="*/ 231889 h 380003"/>
                <a:gd name="connsiteX1304" fmla="*/ 101046 w 276366"/>
                <a:gd name="connsiteY1304" fmla="*/ 231457 h 380003"/>
                <a:gd name="connsiteX1305" fmla="*/ 101910 w 276366"/>
                <a:gd name="connsiteY1305" fmla="*/ 231889 h 380003"/>
                <a:gd name="connsiteX1306" fmla="*/ 100615 w 276366"/>
                <a:gd name="connsiteY1306" fmla="*/ 234048 h 380003"/>
                <a:gd name="connsiteX1307" fmla="*/ 100183 w 276366"/>
                <a:gd name="connsiteY1307" fmla="*/ 234479 h 380003"/>
                <a:gd name="connsiteX1308" fmla="*/ 106228 w 276366"/>
                <a:gd name="connsiteY1308" fmla="*/ 202956 h 380003"/>
                <a:gd name="connsiteX1309" fmla="*/ 104069 w 276366"/>
                <a:gd name="connsiteY1309" fmla="*/ 201229 h 380003"/>
                <a:gd name="connsiteX1310" fmla="*/ 104069 w 276366"/>
                <a:gd name="connsiteY1310" fmla="*/ 200797 h 380003"/>
                <a:gd name="connsiteX1311" fmla="*/ 106228 w 276366"/>
                <a:gd name="connsiteY1311" fmla="*/ 199934 h 380003"/>
                <a:gd name="connsiteX1312" fmla="*/ 107956 w 276366"/>
                <a:gd name="connsiteY1312" fmla="*/ 200797 h 380003"/>
                <a:gd name="connsiteX1313" fmla="*/ 107956 w 276366"/>
                <a:gd name="connsiteY1313" fmla="*/ 201661 h 380003"/>
                <a:gd name="connsiteX1314" fmla="*/ 106660 w 276366"/>
                <a:gd name="connsiteY1314" fmla="*/ 202956 h 380003"/>
                <a:gd name="connsiteX1315" fmla="*/ 106228 w 276366"/>
                <a:gd name="connsiteY1315" fmla="*/ 202956 h 380003"/>
                <a:gd name="connsiteX1316" fmla="*/ 110978 w 276366"/>
                <a:gd name="connsiteY1316" fmla="*/ 75569 h 380003"/>
                <a:gd name="connsiteX1317" fmla="*/ 110115 w 276366"/>
                <a:gd name="connsiteY1317" fmla="*/ 76001 h 380003"/>
                <a:gd name="connsiteX1318" fmla="*/ 110978 w 276366"/>
                <a:gd name="connsiteY1318" fmla="*/ 75569 h 380003"/>
                <a:gd name="connsiteX1319" fmla="*/ 127819 w 276366"/>
                <a:gd name="connsiteY1319" fmla="*/ 364026 h 380003"/>
                <a:gd name="connsiteX1320" fmla="*/ 127388 w 276366"/>
                <a:gd name="connsiteY1320" fmla="*/ 363594 h 380003"/>
                <a:gd name="connsiteX1321" fmla="*/ 127819 w 276366"/>
                <a:gd name="connsiteY1321" fmla="*/ 362731 h 380003"/>
                <a:gd name="connsiteX1322" fmla="*/ 127819 w 276366"/>
                <a:gd name="connsiteY1322" fmla="*/ 364026 h 380003"/>
                <a:gd name="connsiteX1323" fmla="*/ 136456 w 276366"/>
                <a:gd name="connsiteY1323" fmla="*/ 334662 h 380003"/>
                <a:gd name="connsiteX1324" fmla="*/ 136024 w 276366"/>
                <a:gd name="connsiteY1324" fmla="*/ 334230 h 380003"/>
                <a:gd name="connsiteX1325" fmla="*/ 134728 w 276366"/>
                <a:gd name="connsiteY1325" fmla="*/ 335958 h 380003"/>
                <a:gd name="connsiteX1326" fmla="*/ 135160 w 276366"/>
                <a:gd name="connsiteY1326" fmla="*/ 336389 h 380003"/>
                <a:gd name="connsiteX1327" fmla="*/ 136456 w 276366"/>
                <a:gd name="connsiteY1327" fmla="*/ 334662 h 380003"/>
                <a:gd name="connsiteX1328" fmla="*/ 145092 w 276366"/>
                <a:gd name="connsiteY1328" fmla="*/ 313935 h 380003"/>
                <a:gd name="connsiteX1329" fmla="*/ 146388 w 276366"/>
                <a:gd name="connsiteY1329" fmla="*/ 313503 h 380003"/>
                <a:gd name="connsiteX1330" fmla="*/ 145956 w 276366"/>
                <a:gd name="connsiteY1330" fmla="*/ 313071 h 380003"/>
                <a:gd name="connsiteX1331" fmla="*/ 145092 w 276366"/>
                <a:gd name="connsiteY1331" fmla="*/ 312207 h 380003"/>
                <a:gd name="connsiteX1332" fmla="*/ 144229 w 276366"/>
                <a:gd name="connsiteY1332" fmla="*/ 313071 h 380003"/>
                <a:gd name="connsiteX1333" fmla="*/ 145092 w 276366"/>
                <a:gd name="connsiteY1333" fmla="*/ 313935 h 380003"/>
                <a:gd name="connsiteX1334" fmla="*/ 155456 w 276366"/>
                <a:gd name="connsiteY1334" fmla="*/ 310480 h 380003"/>
                <a:gd name="connsiteX1335" fmla="*/ 155024 w 276366"/>
                <a:gd name="connsiteY1335" fmla="*/ 310912 h 380003"/>
                <a:gd name="connsiteX1336" fmla="*/ 155024 w 276366"/>
                <a:gd name="connsiteY1336" fmla="*/ 311344 h 380003"/>
                <a:gd name="connsiteX1337" fmla="*/ 153297 w 276366"/>
                <a:gd name="connsiteY1337" fmla="*/ 311344 h 380003"/>
                <a:gd name="connsiteX1338" fmla="*/ 153297 w 276366"/>
                <a:gd name="connsiteY1338" fmla="*/ 310912 h 380003"/>
                <a:gd name="connsiteX1339" fmla="*/ 154160 w 276366"/>
                <a:gd name="connsiteY1339" fmla="*/ 310048 h 380003"/>
                <a:gd name="connsiteX1340" fmla="*/ 153297 w 276366"/>
                <a:gd name="connsiteY1340" fmla="*/ 308753 h 380003"/>
                <a:gd name="connsiteX1341" fmla="*/ 153297 w 276366"/>
                <a:gd name="connsiteY1341" fmla="*/ 308321 h 380003"/>
                <a:gd name="connsiteX1342" fmla="*/ 153729 w 276366"/>
                <a:gd name="connsiteY1342" fmla="*/ 307457 h 380003"/>
                <a:gd name="connsiteX1343" fmla="*/ 154592 w 276366"/>
                <a:gd name="connsiteY1343" fmla="*/ 306594 h 380003"/>
                <a:gd name="connsiteX1344" fmla="*/ 155456 w 276366"/>
                <a:gd name="connsiteY1344" fmla="*/ 307457 h 380003"/>
                <a:gd name="connsiteX1345" fmla="*/ 155456 w 276366"/>
                <a:gd name="connsiteY1345" fmla="*/ 310480 h 380003"/>
                <a:gd name="connsiteX1346" fmla="*/ 159774 w 276366"/>
                <a:gd name="connsiteY1346" fmla="*/ 75137 h 380003"/>
                <a:gd name="connsiteX1347" fmla="*/ 161933 w 276366"/>
                <a:gd name="connsiteY1347" fmla="*/ 74273 h 380003"/>
                <a:gd name="connsiteX1348" fmla="*/ 162365 w 276366"/>
                <a:gd name="connsiteY1348" fmla="*/ 72978 h 380003"/>
                <a:gd name="connsiteX1349" fmla="*/ 161933 w 276366"/>
                <a:gd name="connsiteY1349" fmla="*/ 72546 h 380003"/>
                <a:gd name="connsiteX1350" fmla="*/ 159342 w 276366"/>
                <a:gd name="connsiteY1350" fmla="*/ 74273 h 380003"/>
                <a:gd name="connsiteX1351" fmla="*/ 158911 w 276366"/>
                <a:gd name="connsiteY1351" fmla="*/ 75137 h 380003"/>
                <a:gd name="connsiteX1352" fmla="*/ 158911 w 276366"/>
                <a:gd name="connsiteY1352" fmla="*/ 75569 h 380003"/>
                <a:gd name="connsiteX1353" fmla="*/ 159774 w 276366"/>
                <a:gd name="connsiteY1353" fmla="*/ 75137 h 380003"/>
                <a:gd name="connsiteX1354" fmla="*/ 166683 w 276366"/>
                <a:gd name="connsiteY1354" fmla="*/ 269889 h 380003"/>
                <a:gd name="connsiteX1355" fmla="*/ 167115 w 276366"/>
                <a:gd name="connsiteY1355" fmla="*/ 271184 h 380003"/>
                <a:gd name="connsiteX1356" fmla="*/ 167547 w 276366"/>
                <a:gd name="connsiteY1356" fmla="*/ 271616 h 380003"/>
                <a:gd name="connsiteX1357" fmla="*/ 168842 w 276366"/>
                <a:gd name="connsiteY1357" fmla="*/ 269889 h 380003"/>
                <a:gd name="connsiteX1358" fmla="*/ 166683 w 276366"/>
                <a:gd name="connsiteY1358" fmla="*/ 269889 h 380003"/>
                <a:gd name="connsiteX1359" fmla="*/ 167979 w 276366"/>
                <a:gd name="connsiteY1359" fmla="*/ 69955 h 380003"/>
                <a:gd name="connsiteX1360" fmla="*/ 168411 w 276366"/>
                <a:gd name="connsiteY1360" fmla="*/ 69092 h 380003"/>
                <a:gd name="connsiteX1361" fmla="*/ 168411 w 276366"/>
                <a:gd name="connsiteY1361" fmla="*/ 68660 h 380003"/>
                <a:gd name="connsiteX1362" fmla="*/ 167979 w 276366"/>
                <a:gd name="connsiteY1362" fmla="*/ 69092 h 380003"/>
                <a:gd name="connsiteX1363" fmla="*/ 167979 w 276366"/>
                <a:gd name="connsiteY1363" fmla="*/ 69955 h 380003"/>
                <a:gd name="connsiteX1364" fmla="*/ 171433 w 276366"/>
                <a:gd name="connsiteY1364" fmla="*/ 238798 h 380003"/>
                <a:gd name="connsiteX1365" fmla="*/ 169274 w 276366"/>
                <a:gd name="connsiteY1365" fmla="*/ 237934 h 380003"/>
                <a:gd name="connsiteX1366" fmla="*/ 169274 w 276366"/>
                <a:gd name="connsiteY1366" fmla="*/ 238798 h 380003"/>
                <a:gd name="connsiteX1367" fmla="*/ 170570 w 276366"/>
                <a:gd name="connsiteY1367" fmla="*/ 239661 h 380003"/>
                <a:gd name="connsiteX1368" fmla="*/ 171433 w 276366"/>
                <a:gd name="connsiteY1368" fmla="*/ 238798 h 380003"/>
                <a:gd name="connsiteX1369" fmla="*/ 173161 w 276366"/>
                <a:gd name="connsiteY1369" fmla="*/ 235343 h 380003"/>
                <a:gd name="connsiteX1370" fmla="*/ 173161 w 276366"/>
                <a:gd name="connsiteY1370" fmla="*/ 233184 h 380003"/>
                <a:gd name="connsiteX1371" fmla="*/ 171865 w 276366"/>
                <a:gd name="connsiteY1371" fmla="*/ 233184 h 380003"/>
                <a:gd name="connsiteX1372" fmla="*/ 171865 w 276366"/>
                <a:gd name="connsiteY1372" fmla="*/ 233616 h 380003"/>
                <a:gd name="connsiteX1373" fmla="*/ 171433 w 276366"/>
                <a:gd name="connsiteY1373" fmla="*/ 234911 h 380003"/>
                <a:gd name="connsiteX1374" fmla="*/ 171865 w 276366"/>
                <a:gd name="connsiteY1374" fmla="*/ 235775 h 380003"/>
                <a:gd name="connsiteX1375" fmla="*/ 173161 w 276366"/>
                <a:gd name="connsiteY1375" fmla="*/ 235343 h 380003"/>
                <a:gd name="connsiteX1376" fmla="*/ 175752 w 276366"/>
                <a:gd name="connsiteY1376" fmla="*/ 75569 h 380003"/>
                <a:gd name="connsiteX1377" fmla="*/ 177479 w 276366"/>
                <a:gd name="connsiteY1377" fmla="*/ 74705 h 380003"/>
                <a:gd name="connsiteX1378" fmla="*/ 176615 w 276366"/>
                <a:gd name="connsiteY1378" fmla="*/ 74705 h 380003"/>
                <a:gd name="connsiteX1379" fmla="*/ 175752 w 276366"/>
                <a:gd name="connsiteY1379" fmla="*/ 74273 h 380003"/>
                <a:gd name="connsiteX1380" fmla="*/ 174456 w 276366"/>
                <a:gd name="connsiteY1380" fmla="*/ 74705 h 380003"/>
                <a:gd name="connsiteX1381" fmla="*/ 174024 w 276366"/>
                <a:gd name="connsiteY1381" fmla="*/ 74705 h 380003"/>
                <a:gd name="connsiteX1382" fmla="*/ 173592 w 276366"/>
                <a:gd name="connsiteY1382" fmla="*/ 75137 h 380003"/>
                <a:gd name="connsiteX1383" fmla="*/ 174456 w 276366"/>
                <a:gd name="connsiteY1383" fmla="*/ 75569 h 380003"/>
                <a:gd name="connsiteX1384" fmla="*/ 175752 w 276366"/>
                <a:gd name="connsiteY1384" fmla="*/ 75569 h 380003"/>
                <a:gd name="connsiteX1385" fmla="*/ 177047 w 276366"/>
                <a:gd name="connsiteY1385" fmla="*/ 256934 h 380003"/>
                <a:gd name="connsiteX1386" fmla="*/ 177047 w 276366"/>
                <a:gd name="connsiteY1386" fmla="*/ 257366 h 380003"/>
                <a:gd name="connsiteX1387" fmla="*/ 175752 w 276366"/>
                <a:gd name="connsiteY1387" fmla="*/ 258230 h 380003"/>
                <a:gd name="connsiteX1388" fmla="*/ 175752 w 276366"/>
                <a:gd name="connsiteY1388" fmla="*/ 257798 h 380003"/>
                <a:gd name="connsiteX1389" fmla="*/ 174888 w 276366"/>
                <a:gd name="connsiteY1389" fmla="*/ 256934 h 380003"/>
                <a:gd name="connsiteX1390" fmla="*/ 176183 w 276366"/>
                <a:gd name="connsiteY1390" fmla="*/ 256070 h 380003"/>
                <a:gd name="connsiteX1391" fmla="*/ 177479 w 276366"/>
                <a:gd name="connsiteY1391" fmla="*/ 256070 h 380003"/>
                <a:gd name="connsiteX1392" fmla="*/ 177047 w 276366"/>
                <a:gd name="connsiteY1392" fmla="*/ 256934 h 380003"/>
                <a:gd name="connsiteX1393" fmla="*/ 177047 w 276366"/>
                <a:gd name="connsiteY1393" fmla="*/ 259525 h 380003"/>
                <a:gd name="connsiteX1394" fmla="*/ 177479 w 276366"/>
                <a:gd name="connsiteY1394" fmla="*/ 259957 h 380003"/>
                <a:gd name="connsiteX1395" fmla="*/ 176183 w 276366"/>
                <a:gd name="connsiteY1395" fmla="*/ 260821 h 380003"/>
                <a:gd name="connsiteX1396" fmla="*/ 176183 w 276366"/>
                <a:gd name="connsiteY1396" fmla="*/ 260389 h 380003"/>
                <a:gd name="connsiteX1397" fmla="*/ 175752 w 276366"/>
                <a:gd name="connsiteY1397" fmla="*/ 259957 h 380003"/>
                <a:gd name="connsiteX1398" fmla="*/ 174888 w 276366"/>
                <a:gd name="connsiteY1398" fmla="*/ 259525 h 380003"/>
                <a:gd name="connsiteX1399" fmla="*/ 177047 w 276366"/>
                <a:gd name="connsiteY1399" fmla="*/ 259525 h 380003"/>
                <a:gd name="connsiteX1400" fmla="*/ 177911 w 276366"/>
                <a:gd name="connsiteY1400" fmla="*/ 72546 h 380003"/>
                <a:gd name="connsiteX1401" fmla="*/ 178774 w 276366"/>
                <a:gd name="connsiteY1401" fmla="*/ 71251 h 380003"/>
                <a:gd name="connsiteX1402" fmla="*/ 178774 w 276366"/>
                <a:gd name="connsiteY1402" fmla="*/ 70819 h 380003"/>
                <a:gd name="connsiteX1403" fmla="*/ 176615 w 276366"/>
                <a:gd name="connsiteY1403" fmla="*/ 71251 h 380003"/>
                <a:gd name="connsiteX1404" fmla="*/ 176183 w 276366"/>
                <a:gd name="connsiteY1404" fmla="*/ 73842 h 380003"/>
                <a:gd name="connsiteX1405" fmla="*/ 177911 w 276366"/>
                <a:gd name="connsiteY1405" fmla="*/ 72546 h 380003"/>
                <a:gd name="connsiteX1406" fmla="*/ 179638 w 276366"/>
                <a:gd name="connsiteY1406" fmla="*/ 249161 h 380003"/>
                <a:gd name="connsiteX1407" fmla="*/ 179206 w 276366"/>
                <a:gd name="connsiteY1407" fmla="*/ 248730 h 380003"/>
                <a:gd name="connsiteX1408" fmla="*/ 179638 w 276366"/>
                <a:gd name="connsiteY1408" fmla="*/ 248298 h 380003"/>
                <a:gd name="connsiteX1409" fmla="*/ 180070 w 276366"/>
                <a:gd name="connsiteY1409" fmla="*/ 248298 h 380003"/>
                <a:gd name="connsiteX1410" fmla="*/ 180502 w 276366"/>
                <a:gd name="connsiteY1410" fmla="*/ 248730 h 380003"/>
                <a:gd name="connsiteX1411" fmla="*/ 181365 w 276366"/>
                <a:gd name="connsiteY1411" fmla="*/ 249161 h 380003"/>
                <a:gd name="connsiteX1412" fmla="*/ 180070 w 276366"/>
                <a:gd name="connsiteY1412" fmla="*/ 250025 h 380003"/>
                <a:gd name="connsiteX1413" fmla="*/ 179638 w 276366"/>
                <a:gd name="connsiteY1413" fmla="*/ 249161 h 380003"/>
                <a:gd name="connsiteX1414" fmla="*/ 184388 w 276366"/>
                <a:gd name="connsiteY1414" fmla="*/ 78592 h 380003"/>
                <a:gd name="connsiteX1415" fmla="*/ 183956 w 276366"/>
                <a:gd name="connsiteY1415" fmla="*/ 78160 h 380003"/>
                <a:gd name="connsiteX1416" fmla="*/ 183093 w 276366"/>
                <a:gd name="connsiteY1416" fmla="*/ 78592 h 380003"/>
                <a:gd name="connsiteX1417" fmla="*/ 184388 w 276366"/>
                <a:gd name="connsiteY1417" fmla="*/ 78592 h 380003"/>
                <a:gd name="connsiteX1418" fmla="*/ 186115 w 276366"/>
                <a:gd name="connsiteY1418" fmla="*/ 70387 h 380003"/>
                <a:gd name="connsiteX1419" fmla="*/ 186115 w 276366"/>
                <a:gd name="connsiteY1419" fmla="*/ 69955 h 380003"/>
                <a:gd name="connsiteX1420" fmla="*/ 185684 w 276366"/>
                <a:gd name="connsiteY1420" fmla="*/ 69955 h 380003"/>
                <a:gd name="connsiteX1421" fmla="*/ 185252 w 276366"/>
                <a:gd name="connsiteY1421" fmla="*/ 70819 h 380003"/>
                <a:gd name="connsiteX1422" fmla="*/ 186115 w 276366"/>
                <a:gd name="connsiteY1422" fmla="*/ 70387 h 380003"/>
                <a:gd name="connsiteX1423" fmla="*/ 186547 w 276366"/>
                <a:gd name="connsiteY1423" fmla="*/ 233184 h 380003"/>
                <a:gd name="connsiteX1424" fmla="*/ 186115 w 276366"/>
                <a:gd name="connsiteY1424" fmla="*/ 231889 h 380003"/>
                <a:gd name="connsiteX1425" fmla="*/ 186115 w 276366"/>
                <a:gd name="connsiteY1425" fmla="*/ 231025 h 380003"/>
                <a:gd name="connsiteX1426" fmla="*/ 185684 w 276366"/>
                <a:gd name="connsiteY1426" fmla="*/ 231025 h 380003"/>
                <a:gd name="connsiteX1427" fmla="*/ 186115 w 276366"/>
                <a:gd name="connsiteY1427" fmla="*/ 230161 h 380003"/>
                <a:gd name="connsiteX1428" fmla="*/ 186547 w 276366"/>
                <a:gd name="connsiteY1428" fmla="*/ 229729 h 380003"/>
                <a:gd name="connsiteX1429" fmla="*/ 188706 w 276366"/>
                <a:gd name="connsiteY1429" fmla="*/ 230593 h 380003"/>
                <a:gd name="connsiteX1430" fmla="*/ 189138 w 276366"/>
                <a:gd name="connsiteY1430" fmla="*/ 231025 h 380003"/>
                <a:gd name="connsiteX1431" fmla="*/ 188706 w 276366"/>
                <a:gd name="connsiteY1431" fmla="*/ 231889 h 380003"/>
                <a:gd name="connsiteX1432" fmla="*/ 186979 w 276366"/>
                <a:gd name="connsiteY1432" fmla="*/ 233184 h 380003"/>
                <a:gd name="connsiteX1433" fmla="*/ 186547 w 276366"/>
                <a:gd name="connsiteY1433" fmla="*/ 233184 h 380003"/>
                <a:gd name="connsiteX1434" fmla="*/ 189138 w 276366"/>
                <a:gd name="connsiteY1434" fmla="*/ 227570 h 380003"/>
                <a:gd name="connsiteX1435" fmla="*/ 190002 w 276366"/>
                <a:gd name="connsiteY1435" fmla="*/ 227570 h 380003"/>
                <a:gd name="connsiteX1436" fmla="*/ 190865 w 276366"/>
                <a:gd name="connsiteY1436" fmla="*/ 229298 h 380003"/>
                <a:gd name="connsiteX1437" fmla="*/ 190433 w 276366"/>
                <a:gd name="connsiteY1437" fmla="*/ 229729 h 380003"/>
                <a:gd name="connsiteX1438" fmla="*/ 189138 w 276366"/>
                <a:gd name="connsiteY1438" fmla="*/ 229298 h 380003"/>
                <a:gd name="connsiteX1439" fmla="*/ 189138 w 276366"/>
                <a:gd name="connsiteY1439" fmla="*/ 227570 h 380003"/>
                <a:gd name="connsiteX1440" fmla="*/ 196911 w 276366"/>
                <a:gd name="connsiteY1440" fmla="*/ 74705 h 380003"/>
                <a:gd name="connsiteX1441" fmla="*/ 198638 w 276366"/>
                <a:gd name="connsiteY1441" fmla="*/ 74273 h 380003"/>
                <a:gd name="connsiteX1442" fmla="*/ 198638 w 276366"/>
                <a:gd name="connsiteY1442" fmla="*/ 73842 h 380003"/>
                <a:gd name="connsiteX1443" fmla="*/ 198638 w 276366"/>
                <a:gd name="connsiteY1443" fmla="*/ 73410 h 380003"/>
                <a:gd name="connsiteX1444" fmla="*/ 197343 w 276366"/>
                <a:gd name="connsiteY1444" fmla="*/ 73410 h 380003"/>
                <a:gd name="connsiteX1445" fmla="*/ 196911 w 276366"/>
                <a:gd name="connsiteY1445" fmla="*/ 74273 h 380003"/>
                <a:gd name="connsiteX1446" fmla="*/ 196911 w 276366"/>
                <a:gd name="connsiteY1446" fmla="*/ 74705 h 380003"/>
                <a:gd name="connsiteX1447" fmla="*/ 204684 w 276366"/>
                <a:gd name="connsiteY1447" fmla="*/ 71251 h 380003"/>
                <a:gd name="connsiteX1448" fmla="*/ 205547 w 276366"/>
                <a:gd name="connsiteY1448" fmla="*/ 69955 h 380003"/>
                <a:gd name="connsiteX1449" fmla="*/ 205547 w 276366"/>
                <a:gd name="connsiteY1449" fmla="*/ 69092 h 380003"/>
                <a:gd name="connsiteX1450" fmla="*/ 205547 w 276366"/>
                <a:gd name="connsiteY1450" fmla="*/ 68660 h 380003"/>
                <a:gd name="connsiteX1451" fmla="*/ 205116 w 276366"/>
                <a:gd name="connsiteY1451" fmla="*/ 68660 h 380003"/>
                <a:gd name="connsiteX1452" fmla="*/ 203820 w 276366"/>
                <a:gd name="connsiteY1452" fmla="*/ 69523 h 380003"/>
                <a:gd name="connsiteX1453" fmla="*/ 204684 w 276366"/>
                <a:gd name="connsiteY1453" fmla="*/ 70819 h 380003"/>
                <a:gd name="connsiteX1454" fmla="*/ 204684 w 276366"/>
                <a:gd name="connsiteY1454" fmla="*/ 71251 h 380003"/>
                <a:gd name="connsiteX1455" fmla="*/ 218070 w 276366"/>
                <a:gd name="connsiteY1455" fmla="*/ 73842 h 380003"/>
                <a:gd name="connsiteX1456" fmla="*/ 220229 w 276366"/>
                <a:gd name="connsiteY1456" fmla="*/ 72114 h 380003"/>
                <a:gd name="connsiteX1457" fmla="*/ 217206 w 276366"/>
                <a:gd name="connsiteY1457" fmla="*/ 73842 h 380003"/>
                <a:gd name="connsiteX1458" fmla="*/ 218070 w 276366"/>
                <a:gd name="connsiteY1458" fmla="*/ 73842 h 380003"/>
                <a:gd name="connsiteX1459" fmla="*/ 256070 w 276366"/>
                <a:gd name="connsiteY1459" fmla="*/ 82910 h 380003"/>
                <a:gd name="connsiteX1460" fmla="*/ 256070 w 276366"/>
                <a:gd name="connsiteY1460" fmla="*/ 82478 h 380003"/>
                <a:gd name="connsiteX1461" fmla="*/ 255207 w 276366"/>
                <a:gd name="connsiteY1461" fmla="*/ 82910 h 380003"/>
                <a:gd name="connsiteX1462" fmla="*/ 256070 w 276366"/>
                <a:gd name="connsiteY1462" fmla="*/ 82910 h 380003"/>
                <a:gd name="connsiteX1463" fmla="*/ 262548 w 276366"/>
                <a:gd name="connsiteY1463" fmla="*/ 63478 h 380003"/>
                <a:gd name="connsiteX1464" fmla="*/ 262980 w 276366"/>
                <a:gd name="connsiteY1464" fmla="*/ 62182 h 380003"/>
                <a:gd name="connsiteX1465" fmla="*/ 262116 w 276366"/>
                <a:gd name="connsiteY1465" fmla="*/ 63046 h 380003"/>
                <a:gd name="connsiteX1466" fmla="*/ 262548 w 276366"/>
                <a:gd name="connsiteY1466" fmla="*/ 63910 h 380003"/>
                <a:gd name="connsiteX1467" fmla="*/ 262548 w 276366"/>
                <a:gd name="connsiteY1467" fmla="*/ 63478 h 38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</a:cxnLst>
              <a:rect l="l" t="t" r="r" b="b"/>
              <a:pathLst>
                <a:path w="276366" h="380003">
                  <a:moveTo>
                    <a:pt x="56137" y="87660"/>
                  </a:moveTo>
                  <a:cubicBezTo>
                    <a:pt x="55705" y="87660"/>
                    <a:pt x="55705" y="87660"/>
                    <a:pt x="55705" y="87228"/>
                  </a:cubicBezTo>
                  <a:lnTo>
                    <a:pt x="55705" y="86796"/>
                  </a:lnTo>
                  <a:cubicBezTo>
                    <a:pt x="57432" y="86364"/>
                    <a:pt x="57864" y="85933"/>
                    <a:pt x="58296" y="85069"/>
                  </a:cubicBezTo>
                  <a:lnTo>
                    <a:pt x="59160" y="85069"/>
                  </a:lnTo>
                  <a:cubicBezTo>
                    <a:pt x="59591" y="85069"/>
                    <a:pt x="60887" y="84637"/>
                    <a:pt x="62182" y="84637"/>
                  </a:cubicBezTo>
                  <a:cubicBezTo>
                    <a:pt x="62614" y="84205"/>
                    <a:pt x="63478" y="84637"/>
                    <a:pt x="63910" y="83773"/>
                  </a:cubicBezTo>
                  <a:cubicBezTo>
                    <a:pt x="64341" y="83773"/>
                    <a:pt x="66069" y="82910"/>
                    <a:pt x="66069" y="82910"/>
                  </a:cubicBezTo>
                  <a:cubicBezTo>
                    <a:pt x="66932" y="82046"/>
                    <a:pt x="67364" y="81614"/>
                    <a:pt x="68660" y="81614"/>
                  </a:cubicBezTo>
                  <a:lnTo>
                    <a:pt x="70387" y="81614"/>
                  </a:lnTo>
                  <a:lnTo>
                    <a:pt x="76432" y="80319"/>
                  </a:lnTo>
                  <a:lnTo>
                    <a:pt x="77728" y="80319"/>
                  </a:lnTo>
                  <a:lnTo>
                    <a:pt x="78592" y="81183"/>
                  </a:lnTo>
                  <a:cubicBezTo>
                    <a:pt x="78160" y="82046"/>
                    <a:pt x="77728" y="82910"/>
                    <a:pt x="76432" y="83773"/>
                  </a:cubicBezTo>
                  <a:cubicBezTo>
                    <a:pt x="76001" y="83773"/>
                    <a:pt x="76001" y="83773"/>
                    <a:pt x="75137" y="84205"/>
                  </a:cubicBezTo>
                  <a:cubicBezTo>
                    <a:pt x="75137" y="84205"/>
                    <a:pt x="74705" y="84205"/>
                    <a:pt x="74705" y="84637"/>
                  </a:cubicBezTo>
                  <a:lnTo>
                    <a:pt x="74705" y="85069"/>
                  </a:lnTo>
                  <a:cubicBezTo>
                    <a:pt x="74705" y="85501"/>
                    <a:pt x="75137" y="85933"/>
                    <a:pt x="75569" y="85933"/>
                  </a:cubicBezTo>
                  <a:cubicBezTo>
                    <a:pt x="75569" y="85933"/>
                    <a:pt x="76001" y="86364"/>
                    <a:pt x="76432" y="86364"/>
                  </a:cubicBezTo>
                  <a:lnTo>
                    <a:pt x="77296" y="86364"/>
                  </a:lnTo>
                  <a:cubicBezTo>
                    <a:pt x="78160" y="86364"/>
                    <a:pt x="77728" y="87228"/>
                    <a:pt x="78160" y="87228"/>
                  </a:cubicBezTo>
                  <a:lnTo>
                    <a:pt x="79023" y="87228"/>
                  </a:lnTo>
                  <a:cubicBezTo>
                    <a:pt x="80751" y="86364"/>
                    <a:pt x="80751" y="85933"/>
                    <a:pt x="80751" y="85069"/>
                  </a:cubicBezTo>
                  <a:cubicBezTo>
                    <a:pt x="81614" y="84205"/>
                    <a:pt x="82046" y="83773"/>
                    <a:pt x="83773" y="82910"/>
                  </a:cubicBezTo>
                  <a:lnTo>
                    <a:pt x="84637" y="80319"/>
                  </a:lnTo>
                  <a:cubicBezTo>
                    <a:pt x="85933" y="79455"/>
                    <a:pt x="85933" y="79023"/>
                    <a:pt x="87228" y="78592"/>
                  </a:cubicBezTo>
                  <a:lnTo>
                    <a:pt x="88092" y="78592"/>
                  </a:lnTo>
                  <a:cubicBezTo>
                    <a:pt x="88955" y="78592"/>
                    <a:pt x="89387" y="78592"/>
                    <a:pt x="90251" y="78160"/>
                  </a:cubicBezTo>
                  <a:cubicBezTo>
                    <a:pt x="91114" y="77296"/>
                    <a:pt x="91978" y="77296"/>
                    <a:pt x="92410" y="77296"/>
                  </a:cubicBezTo>
                  <a:cubicBezTo>
                    <a:pt x="92842" y="77296"/>
                    <a:pt x="93273" y="77296"/>
                    <a:pt x="93705" y="78160"/>
                  </a:cubicBezTo>
                  <a:cubicBezTo>
                    <a:pt x="94137" y="78160"/>
                    <a:pt x="94137" y="78592"/>
                    <a:pt x="94137" y="79023"/>
                  </a:cubicBezTo>
                  <a:cubicBezTo>
                    <a:pt x="94569" y="79023"/>
                    <a:pt x="95433" y="78592"/>
                    <a:pt x="95864" y="78592"/>
                  </a:cubicBezTo>
                  <a:lnTo>
                    <a:pt x="96296" y="78592"/>
                  </a:lnTo>
                  <a:cubicBezTo>
                    <a:pt x="96296" y="78160"/>
                    <a:pt x="96296" y="78160"/>
                    <a:pt x="96728" y="78160"/>
                  </a:cubicBezTo>
                  <a:cubicBezTo>
                    <a:pt x="98455" y="76001"/>
                    <a:pt x="100183" y="75137"/>
                    <a:pt x="101046" y="75137"/>
                  </a:cubicBezTo>
                  <a:lnTo>
                    <a:pt x="105365" y="75137"/>
                  </a:lnTo>
                  <a:cubicBezTo>
                    <a:pt x="105796" y="75137"/>
                    <a:pt x="105796" y="75137"/>
                    <a:pt x="105796" y="75569"/>
                  </a:cubicBezTo>
                  <a:lnTo>
                    <a:pt x="105796" y="76001"/>
                  </a:lnTo>
                  <a:lnTo>
                    <a:pt x="104501" y="77728"/>
                  </a:lnTo>
                  <a:lnTo>
                    <a:pt x="104501" y="78160"/>
                  </a:lnTo>
                  <a:lnTo>
                    <a:pt x="105796" y="78160"/>
                  </a:lnTo>
                  <a:cubicBezTo>
                    <a:pt x="106228" y="78160"/>
                    <a:pt x="107092" y="78160"/>
                    <a:pt x="108387" y="77296"/>
                  </a:cubicBezTo>
                  <a:cubicBezTo>
                    <a:pt x="108387" y="76433"/>
                    <a:pt x="109251" y="76433"/>
                    <a:pt x="110115" y="76001"/>
                  </a:cubicBezTo>
                  <a:cubicBezTo>
                    <a:pt x="109683" y="76433"/>
                    <a:pt x="109251" y="77728"/>
                    <a:pt x="108819" y="77728"/>
                  </a:cubicBezTo>
                  <a:cubicBezTo>
                    <a:pt x="108387" y="79455"/>
                    <a:pt x="108387" y="79455"/>
                    <a:pt x="106228" y="79455"/>
                  </a:cubicBezTo>
                  <a:lnTo>
                    <a:pt x="105365" y="79455"/>
                  </a:lnTo>
                  <a:cubicBezTo>
                    <a:pt x="104933" y="79887"/>
                    <a:pt x="104501" y="79887"/>
                    <a:pt x="104501" y="80319"/>
                  </a:cubicBezTo>
                  <a:lnTo>
                    <a:pt x="104501" y="81183"/>
                  </a:lnTo>
                  <a:cubicBezTo>
                    <a:pt x="106228" y="80319"/>
                    <a:pt x="107524" y="80319"/>
                    <a:pt x="108819" y="80319"/>
                  </a:cubicBezTo>
                  <a:lnTo>
                    <a:pt x="109683" y="80319"/>
                  </a:lnTo>
                  <a:cubicBezTo>
                    <a:pt x="110115" y="80319"/>
                    <a:pt x="110978" y="79455"/>
                    <a:pt x="111842" y="79455"/>
                  </a:cubicBezTo>
                  <a:cubicBezTo>
                    <a:pt x="111842" y="79455"/>
                    <a:pt x="112274" y="79023"/>
                    <a:pt x="112705" y="79023"/>
                  </a:cubicBezTo>
                  <a:cubicBezTo>
                    <a:pt x="112274" y="78592"/>
                    <a:pt x="111842" y="78592"/>
                    <a:pt x="111842" y="78592"/>
                  </a:cubicBezTo>
                  <a:lnTo>
                    <a:pt x="111410" y="78160"/>
                  </a:lnTo>
                  <a:cubicBezTo>
                    <a:pt x="111410" y="77728"/>
                    <a:pt x="111410" y="77728"/>
                    <a:pt x="110978" y="77296"/>
                  </a:cubicBezTo>
                  <a:cubicBezTo>
                    <a:pt x="110978" y="77296"/>
                    <a:pt x="111410" y="76433"/>
                    <a:pt x="111842" y="76001"/>
                  </a:cubicBezTo>
                  <a:cubicBezTo>
                    <a:pt x="112705" y="76001"/>
                    <a:pt x="113137" y="75569"/>
                    <a:pt x="113137" y="75137"/>
                  </a:cubicBezTo>
                  <a:cubicBezTo>
                    <a:pt x="113137" y="74705"/>
                    <a:pt x="113569" y="73842"/>
                    <a:pt x="114001" y="73410"/>
                  </a:cubicBezTo>
                  <a:cubicBezTo>
                    <a:pt x="114865" y="72114"/>
                    <a:pt x="118751" y="56569"/>
                    <a:pt x="118751" y="56137"/>
                  </a:cubicBezTo>
                  <a:cubicBezTo>
                    <a:pt x="118751" y="55273"/>
                    <a:pt x="118751" y="49228"/>
                    <a:pt x="119183" y="48796"/>
                  </a:cubicBezTo>
                  <a:cubicBezTo>
                    <a:pt x="120910" y="48364"/>
                    <a:pt x="121774" y="48364"/>
                    <a:pt x="122206" y="46637"/>
                  </a:cubicBezTo>
                  <a:cubicBezTo>
                    <a:pt x="122637" y="46205"/>
                    <a:pt x="123069" y="46205"/>
                    <a:pt x="123069" y="45773"/>
                  </a:cubicBezTo>
                  <a:lnTo>
                    <a:pt x="122637" y="45341"/>
                  </a:lnTo>
                  <a:cubicBezTo>
                    <a:pt x="122637" y="44909"/>
                    <a:pt x="122637" y="44478"/>
                    <a:pt x="123069" y="44046"/>
                  </a:cubicBezTo>
                  <a:cubicBezTo>
                    <a:pt x="121342" y="44046"/>
                    <a:pt x="121342" y="44046"/>
                    <a:pt x="121342" y="43182"/>
                  </a:cubicBezTo>
                  <a:cubicBezTo>
                    <a:pt x="121342" y="42319"/>
                    <a:pt x="121342" y="41455"/>
                    <a:pt x="120910" y="41023"/>
                  </a:cubicBezTo>
                  <a:lnTo>
                    <a:pt x="120910" y="40159"/>
                  </a:lnTo>
                  <a:cubicBezTo>
                    <a:pt x="121342" y="39296"/>
                    <a:pt x="121774" y="39296"/>
                    <a:pt x="122206" y="38864"/>
                  </a:cubicBezTo>
                  <a:cubicBezTo>
                    <a:pt x="122637" y="38432"/>
                    <a:pt x="122637" y="38000"/>
                    <a:pt x="122637" y="37569"/>
                  </a:cubicBezTo>
                  <a:lnTo>
                    <a:pt x="122637" y="36705"/>
                  </a:lnTo>
                  <a:cubicBezTo>
                    <a:pt x="122637" y="35841"/>
                    <a:pt x="123501" y="35409"/>
                    <a:pt x="123501" y="34546"/>
                  </a:cubicBezTo>
                  <a:cubicBezTo>
                    <a:pt x="123933" y="34114"/>
                    <a:pt x="124797" y="33250"/>
                    <a:pt x="124797" y="32387"/>
                  </a:cubicBezTo>
                  <a:lnTo>
                    <a:pt x="124797" y="31955"/>
                  </a:lnTo>
                  <a:cubicBezTo>
                    <a:pt x="125660" y="31955"/>
                    <a:pt x="125660" y="31091"/>
                    <a:pt x="125660" y="29796"/>
                  </a:cubicBezTo>
                  <a:lnTo>
                    <a:pt x="126092" y="29364"/>
                  </a:lnTo>
                  <a:lnTo>
                    <a:pt x="126092" y="28932"/>
                  </a:lnTo>
                  <a:lnTo>
                    <a:pt x="125660" y="28500"/>
                  </a:lnTo>
                  <a:lnTo>
                    <a:pt x="125660" y="26341"/>
                  </a:lnTo>
                  <a:cubicBezTo>
                    <a:pt x="125660" y="25909"/>
                    <a:pt x="126092" y="25909"/>
                    <a:pt x="126092" y="25477"/>
                  </a:cubicBezTo>
                  <a:cubicBezTo>
                    <a:pt x="126956" y="25046"/>
                    <a:pt x="127819" y="24614"/>
                    <a:pt x="128251" y="23750"/>
                  </a:cubicBezTo>
                  <a:lnTo>
                    <a:pt x="127819" y="23318"/>
                  </a:lnTo>
                  <a:cubicBezTo>
                    <a:pt x="129115" y="22887"/>
                    <a:pt x="129115" y="21159"/>
                    <a:pt x="129115" y="20727"/>
                  </a:cubicBezTo>
                  <a:lnTo>
                    <a:pt x="128683" y="20296"/>
                  </a:lnTo>
                  <a:cubicBezTo>
                    <a:pt x="128683" y="20296"/>
                    <a:pt x="129115" y="19864"/>
                    <a:pt x="130410" y="19432"/>
                  </a:cubicBezTo>
                  <a:lnTo>
                    <a:pt x="132137" y="18137"/>
                  </a:lnTo>
                  <a:lnTo>
                    <a:pt x="132137" y="15977"/>
                  </a:lnTo>
                  <a:cubicBezTo>
                    <a:pt x="132569" y="15546"/>
                    <a:pt x="133001" y="14682"/>
                    <a:pt x="134728" y="13818"/>
                  </a:cubicBezTo>
                  <a:cubicBezTo>
                    <a:pt x="134728" y="13818"/>
                    <a:pt x="135160" y="10796"/>
                    <a:pt x="136024" y="9932"/>
                  </a:cubicBezTo>
                  <a:cubicBezTo>
                    <a:pt x="136456" y="9932"/>
                    <a:pt x="136456" y="9932"/>
                    <a:pt x="136888" y="9500"/>
                  </a:cubicBezTo>
                  <a:cubicBezTo>
                    <a:pt x="137319" y="9068"/>
                    <a:pt x="137319" y="8636"/>
                    <a:pt x="137319" y="8205"/>
                  </a:cubicBezTo>
                  <a:cubicBezTo>
                    <a:pt x="137319" y="6909"/>
                    <a:pt x="137319" y="6909"/>
                    <a:pt x="138615" y="6045"/>
                  </a:cubicBezTo>
                  <a:lnTo>
                    <a:pt x="140774" y="4318"/>
                  </a:lnTo>
                  <a:cubicBezTo>
                    <a:pt x="140342" y="3886"/>
                    <a:pt x="140342" y="3886"/>
                    <a:pt x="140342" y="3455"/>
                  </a:cubicBezTo>
                  <a:cubicBezTo>
                    <a:pt x="140342" y="3023"/>
                    <a:pt x="140774" y="2591"/>
                    <a:pt x="142069" y="2591"/>
                  </a:cubicBezTo>
                  <a:cubicBezTo>
                    <a:pt x="142069" y="2591"/>
                    <a:pt x="142501" y="2159"/>
                    <a:pt x="142933" y="2159"/>
                  </a:cubicBezTo>
                  <a:cubicBezTo>
                    <a:pt x="143365" y="2159"/>
                    <a:pt x="143365" y="1727"/>
                    <a:pt x="143797" y="1727"/>
                  </a:cubicBezTo>
                  <a:lnTo>
                    <a:pt x="144229" y="1727"/>
                  </a:lnTo>
                  <a:cubicBezTo>
                    <a:pt x="144229" y="1727"/>
                    <a:pt x="144229" y="2159"/>
                    <a:pt x="144660" y="2159"/>
                  </a:cubicBezTo>
                  <a:cubicBezTo>
                    <a:pt x="144660" y="2159"/>
                    <a:pt x="145092" y="2159"/>
                    <a:pt x="145524" y="1727"/>
                  </a:cubicBezTo>
                  <a:cubicBezTo>
                    <a:pt x="146388" y="1295"/>
                    <a:pt x="146820" y="1295"/>
                    <a:pt x="147683" y="432"/>
                  </a:cubicBezTo>
                  <a:cubicBezTo>
                    <a:pt x="148115" y="432"/>
                    <a:pt x="148547" y="0"/>
                    <a:pt x="148979" y="0"/>
                  </a:cubicBezTo>
                  <a:cubicBezTo>
                    <a:pt x="149410" y="0"/>
                    <a:pt x="149842" y="432"/>
                    <a:pt x="150706" y="864"/>
                  </a:cubicBezTo>
                  <a:cubicBezTo>
                    <a:pt x="150706" y="1295"/>
                    <a:pt x="151138" y="1295"/>
                    <a:pt x="151138" y="1295"/>
                  </a:cubicBezTo>
                  <a:cubicBezTo>
                    <a:pt x="151138" y="2591"/>
                    <a:pt x="151138" y="3455"/>
                    <a:pt x="150706" y="4318"/>
                  </a:cubicBezTo>
                  <a:lnTo>
                    <a:pt x="151569" y="4750"/>
                  </a:lnTo>
                  <a:lnTo>
                    <a:pt x="152433" y="4750"/>
                  </a:lnTo>
                  <a:lnTo>
                    <a:pt x="153729" y="2591"/>
                  </a:lnTo>
                  <a:lnTo>
                    <a:pt x="154160" y="2591"/>
                  </a:lnTo>
                  <a:cubicBezTo>
                    <a:pt x="154592" y="2591"/>
                    <a:pt x="154592" y="3023"/>
                    <a:pt x="154592" y="3455"/>
                  </a:cubicBezTo>
                  <a:lnTo>
                    <a:pt x="155456" y="4318"/>
                  </a:lnTo>
                  <a:cubicBezTo>
                    <a:pt x="155456" y="4318"/>
                    <a:pt x="155888" y="4750"/>
                    <a:pt x="156320" y="4750"/>
                  </a:cubicBezTo>
                  <a:lnTo>
                    <a:pt x="159774" y="4750"/>
                  </a:lnTo>
                  <a:cubicBezTo>
                    <a:pt x="159774" y="4750"/>
                    <a:pt x="159342" y="5182"/>
                    <a:pt x="159342" y="5614"/>
                  </a:cubicBezTo>
                  <a:lnTo>
                    <a:pt x="159342" y="6477"/>
                  </a:lnTo>
                  <a:lnTo>
                    <a:pt x="161070" y="6477"/>
                  </a:lnTo>
                  <a:lnTo>
                    <a:pt x="161501" y="6045"/>
                  </a:lnTo>
                  <a:cubicBezTo>
                    <a:pt x="162365" y="6045"/>
                    <a:pt x="162797" y="5614"/>
                    <a:pt x="163229" y="5614"/>
                  </a:cubicBezTo>
                  <a:cubicBezTo>
                    <a:pt x="163229" y="5614"/>
                    <a:pt x="163661" y="6045"/>
                    <a:pt x="164092" y="6045"/>
                  </a:cubicBezTo>
                  <a:cubicBezTo>
                    <a:pt x="164956" y="6045"/>
                    <a:pt x="165820" y="6477"/>
                    <a:pt x="166683" y="6477"/>
                  </a:cubicBezTo>
                  <a:cubicBezTo>
                    <a:pt x="167979" y="6477"/>
                    <a:pt x="168411" y="7341"/>
                    <a:pt x="168411" y="7773"/>
                  </a:cubicBezTo>
                  <a:cubicBezTo>
                    <a:pt x="168411" y="9068"/>
                    <a:pt x="167979" y="9932"/>
                    <a:pt x="167979" y="10796"/>
                  </a:cubicBezTo>
                  <a:cubicBezTo>
                    <a:pt x="167979" y="11227"/>
                    <a:pt x="167979" y="11659"/>
                    <a:pt x="168842" y="12091"/>
                  </a:cubicBezTo>
                  <a:lnTo>
                    <a:pt x="169274" y="12955"/>
                  </a:lnTo>
                  <a:cubicBezTo>
                    <a:pt x="168411" y="13818"/>
                    <a:pt x="167979" y="14682"/>
                    <a:pt x="167979" y="15114"/>
                  </a:cubicBezTo>
                  <a:cubicBezTo>
                    <a:pt x="167979" y="15546"/>
                    <a:pt x="167547" y="15546"/>
                    <a:pt x="167547" y="16409"/>
                  </a:cubicBezTo>
                  <a:cubicBezTo>
                    <a:pt x="166252" y="16409"/>
                    <a:pt x="166683" y="17705"/>
                    <a:pt x="165820" y="18137"/>
                  </a:cubicBezTo>
                  <a:cubicBezTo>
                    <a:pt x="165388" y="18137"/>
                    <a:pt x="165388" y="18568"/>
                    <a:pt x="165388" y="19000"/>
                  </a:cubicBezTo>
                  <a:cubicBezTo>
                    <a:pt x="165388" y="19432"/>
                    <a:pt x="164956" y="19864"/>
                    <a:pt x="164956" y="20296"/>
                  </a:cubicBezTo>
                  <a:cubicBezTo>
                    <a:pt x="164524" y="20296"/>
                    <a:pt x="164524" y="20727"/>
                    <a:pt x="164524" y="20727"/>
                  </a:cubicBezTo>
                  <a:cubicBezTo>
                    <a:pt x="164524" y="20727"/>
                    <a:pt x="164524" y="21159"/>
                    <a:pt x="164092" y="21159"/>
                  </a:cubicBezTo>
                  <a:lnTo>
                    <a:pt x="164092" y="23318"/>
                  </a:lnTo>
                  <a:cubicBezTo>
                    <a:pt x="164092" y="24182"/>
                    <a:pt x="162797" y="25046"/>
                    <a:pt x="162797" y="25477"/>
                  </a:cubicBezTo>
                  <a:lnTo>
                    <a:pt x="162797" y="25909"/>
                  </a:lnTo>
                  <a:cubicBezTo>
                    <a:pt x="161933" y="27205"/>
                    <a:pt x="162797" y="28500"/>
                    <a:pt x="161501" y="28932"/>
                  </a:cubicBezTo>
                  <a:cubicBezTo>
                    <a:pt x="161501" y="29796"/>
                    <a:pt x="161070" y="30228"/>
                    <a:pt x="161070" y="30659"/>
                  </a:cubicBezTo>
                  <a:lnTo>
                    <a:pt x="161070" y="31091"/>
                  </a:lnTo>
                  <a:cubicBezTo>
                    <a:pt x="160638" y="31955"/>
                    <a:pt x="159774" y="32387"/>
                    <a:pt x="159774" y="32819"/>
                  </a:cubicBezTo>
                  <a:lnTo>
                    <a:pt x="160206" y="33250"/>
                  </a:lnTo>
                  <a:lnTo>
                    <a:pt x="160206" y="34114"/>
                  </a:lnTo>
                  <a:cubicBezTo>
                    <a:pt x="158911" y="34546"/>
                    <a:pt x="158479" y="35841"/>
                    <a:pt x="158047" y="36705"/>
                  </a:cubicBezTo>
                  <a:cubicBezTo>
                    <a:pt x="158479" y="36705"/>
                    <a:pt x="158479" y="37137"/>
                    <a:pt x="158479" y="37137"/>
                  </a:cubicBezTo>
                  <a:lnTo>
                    <a:pt x="158479" y="37569"/>
                  </a:lnTo>
                  <a:cubicBezTo>
                    <a:pt x="158479" y="38000"/>
                    <a:pt x="158047" y="38000"/>
                    <a:pt x="158047" y="38432"/>
                  </a:cubicBezTo>
                  <a:lnTo>
                    <a:pt x="158047" y="38864"/>
                  </a:lnTo>
                  <a:cubicBezTo>
                    <a:pt x="157183" y="39296"/>
                    <a:pt x="156751" y="39728"/>
                    <a:pt x="156751" y="40159"/>
                  </a:cubicBezTo>
                  <a:lnTo>
                    <a:pt x="156751" y="40591"/>
                  </a:lnTo>
                  <a:cubicBezTo>
                    <a:pt x="156751" y="41455"/>
                    <a:pt x="155888" y="41455"/>
                    <a:pt x="155888" y="41887"/>
                  </a:cubicBezTo>
                  <a:cubicBezTo>
                    <a:pt x="155888" y="42319"/>
                    <a:pt x="155456" y="43182"/>
                    <a:pt x="155024" y="44046"/>
                  </a:cubicBezTo>
                  <a:lnTo>
                    <a:pt x="154592" y="44478"/>
                  </a:lnTo>
                  <a:lnTo>
                    <a:pt x="154592" y="45341"/>
                  </a:lnTo>
                  <a:lnTo>
                    <a:pt x="155024" y="45773"/>
                  </a:lnTo>
                  <a:cubicBezTo>
                    <a:pt x="154592" y="46637"/>
                    <a:pt x="153729" y="47069"/>
                    <a:pt x="153729" y="48364"/>
                  </a:cubicBezTo>
                  <a:lnTo>
                    <a:pt x="151569" y="69092"/>
                  </a:lnTo>
                  <a:cubicBezTo>
                    <a:pt x="152001" y="69092"/>
                    <a:pt x="152433" y="68660"/>
                    <a:pt x="152865" y="68228"/>
                  </a:cubicBezTo>
                  <a:cubicBezTo>
                    <a:pt x="153297" y="67796"/>
                    <a:pt x="153297" y="67796"/>
                    <a:pt x="153729" y="67796"/>
                  </a:cubicBezTo>
                  <a:cubicBezTo>
                    <a:pt x="154592" y="67796"/>
                    <a:pt x="155456" y="68660"/>
                    <a:pt x="155456" y="69523"/>
                  </a:cubicBezTo>
                  <a:cubicBezTo>
                    <a:pt x="155456" y="71251"/>
                    <a:pt x="156320" y="71251"/>
                    <a:pt x="157615" y="71251"/>
                  </a:cubicBezTo>
                  <a:cubicBezTo>
                    <a:pt x="159342" y="71251"/>
                    <a:pt x="160638" y="71251"/>
                    <a:pt x="161933" y="69092"/>
                  </a:cubicBezTo>
                  <a:lnTo>
                    <a:pt x="157615" y="69955"/>
                  </a:lnTo>
                  <a:cubicBezTo>
                    <a:pt x="157615" y="69955"/>
                    <a:pt x="156751" y="69955"/>
                    <a:pt x="156751" y="69523"/>
                  </a:cubicBezTo>
                  <a:lnTo>
                    <a:pt x="156751" y="69092"/>
                  </a:lnTo>
                  <a:cubicBezTo>
                    <a:pt x="158479" y="67796"/>
                    <a:pt x="159342" y="67796"/>
                    <a:pt x="160638" y="67796"/>
                  </a:cubicBezTo>
                  <a:cubicBezTo>
                    <a:pt x="161070" y="67364"/>
                    <a:pt x="161070" y="67364"/>
                    <a:pt x="161501" y="67364"/>
                  </a:cubicBezTo>
                  <a:cubicBezTo>
                    <a:pt x="161933" y="67364"/>
                    <a:pt x="162365" y="67364"/>
                    <a:pt x="162365" y="68228"/>
                  </a:cubicBezTo>
                  <a:cubicBezTo>
                    <a:pt x="161933" y="68660"/>
                    <a:pt x="161933" y="69092"/>
                    <a:pt x="161933" y="69092"/>
                  </a:cubicBezTo>
                  <a:cubicBezTo>
                    <a:pt x="162365" y="69092"/>
                    <a:pt x="162365" y="69092"/>
                    <a:pt x="162797" y="68660"/>
                  </a:cubicBezTo>
                  <a:cubicBezTo>
                    <a:pt x="163661" y="68660"/>
                    <a:pt x="164956" y="68228"/>
                    <a:pt x="164956" y="67796"/>
                  </a:cubicBezTo>
                  <a:cubicBezTo>
                    <a:pt x="167115" y="66932"/>
                    <a:pt x="168411" y="66932"/>
                    <a:pt x="169274" y="66932"/>
                  </a:cubicBezTo>
                  <a:cubicBezTo>
                    <a:pt x="170138" y="66932"/>
                    <a:pt x="170570" y="66932"/>
                    <a:pt x="171865" y="66501"/>
                  </a:cubicBezTo>
                  <a:lnTo>
                    <a:pt x="173161" y="66501"/>
                  </a:lnTo>
                  <a:lnTo>
                    <a:pt x="172729" y="67364"/>
                  </a:lnTo>
                  <a:cubicBezTo>
                    <a:pt x="172729" y="67796"/>
                    <a:pt x="172297" y="67796"/>
                    <a:pt x="171865" y="68228"/>
                  </a:cubicBezTo>
                  <a:lnTo>
                    <a:pt x="171001" y="69523"/>
                  </a:lnTo>
                  <a:cubicBezTo>
                    <a:pt x="171001" y="69955"/>
                    <a:pt x="171433" y="69955"/>
                    <a:pt x="171433" y="69955"/>
                  </a:cubicBezTo>
                  <a:lnTo>
                    <a:pt x="171001" y="70387"/>
                  </a:lnTo>
                  <a:cubicBezTo>
                    <a:pt x="171001" y="70819"/>
                    <a:pt x="170570" y="71251"/>
                    <a:pt x="169274" y="72546"/>
                  </a:cubicBezTo>
                  <a:cubicBezTo>
                    <a:pt x="167547" y="73410"/>
                    <a:pt x="166252" y="75137"/>
                    <a:pt x="165388" y="75569"/>
                  </a:cubicBezTo>
                  <a:cubicBezTo>
                    <a:pt x="164524" y="76001"/>
                    <a:pt x="164092" y="76433"/>
                    <a:pt x="164092" y="76433"/>
                  </a:cubicBezTo>
                  <a:cubicBezTo>
                    <a:pt x="164092" y="76864"/>
                    <a:pt x="164524" y="77296"/>
                    <a:pt x="165388" y="77296"/>
                  </a:cubicBezTo>
                  <a:cubicBezTo>
                    <a:pt x="165820" y="77296"/>
                    <a:pt x="166252" y="76433"/>
                    <a:pt x="166252" y="76433"/>
                  </a:cubicBezTo>
                  <a:cubicBezTo>
                    <a:pt x="166252" y="76433"/>
                    <a:pt x="166683" y="76001"/>
                    <a:pt x="167547" y="75569"/>
                  </a:cubicBezTo>
                  <a:cubicBezTo>
                    <a:pt x="167547" y="75137"/>
                    <a:pt x="167979" y="74705"/>
                    <a:pt x="169274" y="74273"/>
                  </a:cubicBezTo>
                  <a:lnTo>
                    <a:pt x="171001" y="74273"/>
                  </a:lnTo>
                  <a:cubicBezTo>
                    <a:pt x="171433" y="74273"/>
                    <a:pt x="172297" y="73842"/>
                    <a:pt x="173592" y="72546"/>
                  </a:cubicBezTo>
                  <a:cubicBezTo>
                    <a:pt x="174024" y="72114"/>
                    <a:pt x="174024" y="71682"/>
                    <a:pt x="174024" y="71682"/>
                  </a:cubicBezTo>
                  <a:lnTo>
                    <a:pt x="174456" y="71251"/>
                  </a:lnTo>
                  <a:cubicBezTo>
                    <a:pt x="174456" y="71251"/>
                    <a:pt x="174024" y="71251"/>
                    <a:pt x="173592" y="70819"/>
                  </a:cubicBezTo>
                  <a:lnTo>
                    <a:pt x="172729" y="70819"/>
                  </a:lnTo>
                  <a:cubicBezTo>
                    <a:pt x="172297" y="70819"/>
                    <a:pt x="172729" y="70387"/>
                    <a:pt x="173161" y="69955"/>
                  </a:cubicBezTo>
                  <a:cubicBezTo>
                    <a:pt x="173161" y="69955"/>
                    <a:pt x="173161" y="69523"/>
                    <a:pt x="173592" y="69523"/>
                  </a:cubicBezTo>
                  <a:cubicBezTo>
                    <a:pt x="176183" y="69523"/>
                    <a:pt x="177479" y="68228"/>
                    <a:pt x="179206" y="66501"/>
                  </a:cubicBezTo>
                  <a:cubicBezTo>
                    <a:pt x="179638" y="66069"/>
                    <a:pt x="179638" y="66069"/>
                    <a:pt x="180070" y="66069"/>
                  </a:cubicBezTo>
                  <a:lnTo>
                    <a:pt x="180502" y="66501"/>
                  </a:lnTo>
                  <a:lnTo>
                    <a:pt x="180502" y="67364"/>
                  </a:lnTo>
                  <a:cubicBezTo>
                    <a:pt x="180502" y="67796"/>
                    <a:pt x="180502" y="68228"/>
                    <a:pt x="180933" y="69092"/>
                  </a:cubicBezTo>
                  <a:lnTo>
                    <a:pt x="181797" y="69092"/>
                  </a:lnTo>
                  <a:cubicBezTo>
                    <a:pt x="181797" y="67796"/>
                    <a:pt x="182661" y="66069"/>
                    <a:pt x="183093" y="65637"/>
                  </a:cubicBezTo>
                  <a:cubicBezTo>
                    <a:pt x="183524" y="64773"/>
                    <a:pt x="185252" y="63910"/>
                    <a:pt x="186115" y="63910"/>
                  </a:cubicBezTo>
                  <a:lnTo>
                    <a:pt x="190002" y="63910"/>
                  </a:lnTo>
                  <a:cubicBezTo>
                    <a:pt x="190433" y="63910"/>
                    <a:pt x="190002" y="64773"/>
                    <a:pt x="189570" y="65637"/>
                  </a:cubicBezTo>
                  <a:lnTo>
                    <a:pt x="189138" y="66069"/>
                  </a:lnTo>
                  <a:lnTo>
                    <a:pt x="189138" y="66932"/>
                  </a:lnTo>
                  <a:cubicBezTo>
                    <a:pt x="190002" y="66932"/>
                    <a:pt x="190433" y="67364"/>
                    <a:pt x="191729" y="67364"/>
                  </a:cubicBezTo>
                  <a:lnTo>
                    <a:pt x="192161" y="67364"/>
                  </a:lnTo>
                  <a:lnTo>
                    <a:pt x="192161" y="68660"/>
                  </a:lnTo>
                  <a:cubicBezTo>
                    <a:pt x="192161" y="68660"/>
                    <a:pt x="190865" y="69092"/>
                    <a:pt x="190433" y="69092"/>
                  </a:cubicBezTo>
                  <a:cubicBezTo>
                    <a:pt x="189570" y="69092"/>
                    <a:pt x="188706" y="69523"/>
                    <a:pt x="188274" y="69955"/>
                  </a:cubicBezTo>
                  <a:lnTo>
                    <a:pt x="187843" y="70387"/>
                  </a:lnTo>
                  <a:lnTo>
                    <a:pt x="187843" y="71251"/>
                  </a:lnTo>
                  <a:lnTo>
                    <a:pt x="189138" y="71251"/>
                  </a:lnTo>
                  <a:cubicBezTo>
                    <a:pt x="191297" y="70387"/>
                    <a:pt x="192161" y="70387"/>
                    <a:pt x="193888" y="70387"/>
                  </a:cubicBezTo>
                  <a:cubicBezTo>
                    <a:pt x="194752" y="70819"/>
                    <a:pt x="195184" y="70819"/>
                    <a:pt x="195184" y="72114"/>
                  </a:cubicBezTo>
                  <a:cubicBezTo>
                    <a:pt x="195615" y="72546"/>
                    <a:pt x="195615" y="72546"/>
                    <a:pt x="196047" y="72546"/>
                  </a:cubicBezTo>
                  <a:cubicBezTo>
                    <a:pt x="196479" y="72546"/>
                    <a:pt x="196479" y="72546"/>
                    <a:pt x="196911" y="72114"/>
                  </a:cubicBezTo>
                  <a:cubicBezTo>
                    <a:pt x="198206" y="71682"/>
                    <a:pt x="198206" y="71251"/>
                    <a:pt x="198638" y="69955"/>
                  </a:cubicBezTo>
                  <a:lnTo>
                    <a:pt x="198638" y="69523"/>
                  </a:lnTo>
                  <a:lnTo>
                    <a:pt x="198206" y="69523"/>
                  </a:lnTo>
                  <a:lnTo>
                    <a:pt x="197774" y="69955"/>
                  </a:lnTo>
                  <a:lnTo>
                    <a:pt x="197343" y="69955"/>
                  </a:lnTo>
                  <a:lnTo>
                    <a:pt x="197774" y="69523"/>
                  </a:lnTo>
                  <a:lnTo>
                    <a:pt x="197774" y="69092"/>
                  </a:lnTo>
                  <a:cubicBezTo>
                    <a:pt x="198638" y="68660"/>
                    <a:pt x="198638" y="67796"/>
                    <a:pt x="199070" y="67364"/>
                  </a:cubicBezTo>
                  <a:cubicBezTo>
                    <a:pt x="199070" y="66932"/>
                    <a:pt x="199070" y="66501"/>
                    <a:pt x="199934" y="65637"/>
                  </a:cubicBezTo>
                  <a:cubicBezTo>
                    <a:pt x="199070" y="66069"/>
                    <a:pt x="198638" y="66069"/>
                    <a:pt x="197774" y="66069"/>
                  </a:cubicBezTo>
                  <a:cubicBezTo>
                    <a:pt x="196911" y="66069"/>
                    <a:pt x="196047" y="66069"/>
                    <a:pt x="195615" y="65637"/>
                  </a:cubicBezTo>
                  <a:lnTo>
                    <a:pt x="196047" y="65205"/>
                  </a:lnTo>
                  <a:lnTo>
                    <a:pt x="196047" y="64773"/>
                  </a:lnTo>
                  <a:cubicBezTo>
                    <a:pt x="196047" y="64341"/>
                    <a:pt x="196479" y="63478"/>
                    <a:pt x="196479" y="63478"/>
                  </a:cubicBezTo>
                  <a:cubicBezTo>
                    <a:pt x="196911" y="63910"/>
                    <a:pt x="197343" y="63910"/>
                    <a:pt x="197774" y="63910"/>
                  </a:cubicBezTo>
                  <a:cubicBezTo>
                    <a:pt x="197774" y="64773"/>
                    <a:pt x="198638" y="65205"/>
                    <a:pt x="199070" y="65205"/>
                  </a:cubicBezTo>
                  <a:cubicBezTo>
                    <a:pt x="199502" y="64773"/>
                    <a:pt x="200365" y="64341"/>
                    <a:pt x="200797" y="63046"/>
                  </a:cubicBezTo>
                  <a:lnTo>
                    <a:pt x="205547" y="63046"/>
                  </a:lnTo>
                  <a:cubicBezTo>
                    <a:pt x="207275" y="63046"/>
                    <a:pt x="209434" y="62614"/>
                    <a:pt x="212456" y="61319"/>
                  </a:cubicBezTo>
                  <a:lnTo>
                    <a:pt x="215479" y="61319"/>
                  </a:lnTo>
                  <a:cubicBezTo>
                    <a:pt x="216343" y="61751"/>
                    <a:pt x="216343" y="62614"/>
                    <a:pt x="216343" y="63910"/>
                  </a:cubicBezTo>
                  <a:cubicBezTo>
                    <a:pt x="216343" y="64773"/>
                    <a:pt x="217206" y="64773"/>
                    <a:pt x="217206" y="64773"/>
                  </a:cubicBezTo>
                  <a:cubicBezTo>
                    <a:pt x="218934" y="64341"/>
                    <a:pt x="218934" y="64341"/>
                    <a:pt x="219366" y="64341"/>
                  </a:cubicBezTo>
                  <a:lnTo>
                    <a:pt x="221093" y="64341"/>
                  </a:lnTo>
                  <a:cubicBezTo>
                    <a:pt x="221093" y="64341"/>
                    <a:pt x="220661" y="65637"/>
                    <a:pt x="220229" y="66501"/>
                  </a:cubicBezTo>
                  <a:cubicBezTo>
                    <a:pt x="220229" y="67364"/>
                    <a:pt x="220661" y="67796"/>
                    <a:pt x="221093" y="68660"/>
                  </a:cubicBezTo>
                  <a:cubicBezTo>
                    <a:pt x="221957" y="68660"/>
                    <a:pt x="222388" y="68660"/>
                    <a:pt x="222388" y="69092"/>
                  </a:cubicBezTo>
                  <a:lnTo>
                    <a:pt x="221957" y="69523"/>
                  </a:lnTo>
                  <a:cubicBezTo>
                    <a:pt x="221957" y="69955"/>
                    <a:pt x="221525" y="70387"/>
                    <a:pt x="221093" y="70819"/>
                  </a:cubicBezTo>
                  <a:cubicBezTo>
                    <a:pt x="221093" y="71682"/>
                    <a:pt x="220661" y="72114"/>
                    <a:pt x="220229" y="72114"/>
                  </a:cubicBezTo>
                  <a:cubicBezTo>
                    <a:pt x="221093" y="72114"/>
                    <a:pt x="221957" y="71682"/>
                    <a:pt x="221957" y="70819"/>
                  </a:cubicBezTo>
                  <a:cubicBezTo>
                    <a:pt x="223252" y="70387"/>
                    <a:pt x="224116" y="69523"/>
                    <a:pt x="224548" y="69523"/>
                  </a:cubicBezTo>
                  <a:cubicBezTo>
                    <a:pt x="224979" y="69523"/>
                    <a:pt x="224979" y="69092"/>
                    <a:pt x="225411" y="69092"/>
                  </a:cubicBezTo>
                  <a:lnTo>
                    <a:pt x="225843" y="69523"/>
                  </a:lnTo>
                  <a:lnTo>
                    <a:pt x="227138" y="68660"/>
                  </a:lnTo>
                  <a:cubicBezTo>
                    <a:pt x="228002" y="66932"/>
                    <a:pt x="228002" y="66501"/>
                    <a:pt x="228002" y="66069"/>
                  </a:cubicBezTo>
                  <a:cubicBezTo>
                    <a:pt x="228002" y="65637"/>
                    <a:pt x="228002" y="65637"/>
                    <a:pt x="228002" y="65637"/>
                  </a:cubicBezTo>
                  <a:cubicBezTo>
                    <a:pt x="228434" y="64773"/>
                    <a:pt x="229297" y="63910"/>
                    <a:pt x="229297" y="63478"/>
                  </a:cubicBezTo>
                  <a:cubicBezTo>
                    <a:pt x="230161" y="61751"/>
                    <a:pt x="231025" y="61751"/>
                    <a:pt x="231888" y="60887"/>
                  </a:cubicBezTo>
                  <a:cubicBezTo>
                    <a:pt x="231888" y="60455"/>
                    <a:pt x="231888" y="60887"/>
                    <a:pt x="233184" y="60887"/>
                  </a:cubicBezTo>
                  <a:cubicBezTo>
                    <a:pt x="233616" y="60887"/>
                    <a:pt x="234048" y="61319"/>
                    <a:pt x="234479" y="61319"/>
                  </a:cubicBezTo>
                  <a:cubicBezTo>
                    <a:pt x="236207" y="61319"/>
                    <a:pt x="237070" y="60455"/>
                    <a:pt x="238798" y="59591"/>
                  </a:cubicBezTo>
                  <a:lnTo>
                    <a:pt x="239661" y="59591"/>
                  </a:lnTo>
                  <a:cubicBezTo>
                    <a:pt x="240093" y="60023"/>
                    <a:pt x="240093" y="60023"/>
                    <a:pt x="240957" y="60023"/>
                  </a:cubicBezTo>
                  <a:cubicBezTo>
                    <a:pt x="242252" y="60023"/>
                    <a:pt x="242684" y="60023"/>
                    <a:pt x="243548" y="59591"/>
                  </a:cubicBezTo>
                  <a:cubicBezTo>
                    <a:pt x="245275" y="59591"/>
                    <a:pt x="246570" y="60455"/>
                    <a:pt x="247434" y="60455"/>
                  </a:cubicBezTo>
                  <a:cubicBezTo>
                    <a:pt x="249161" y="60455"/>
                    <a:pt x="250889" y="59591"/>
                    <a:pt x="252184" y="59591"/>
                  </a:cubicBezTo>
                  <a:lnTo>
                    <a:pt x="253911" y="59591"/>
                  </a:lnTo>
                  <a:lnTo>
                    <a:pt x="253911" y="60023"/>
                  </a:lnTo>
                  <a:cubicBezTo>
                    <a:pt x="253911" y="60455"/>
                    <a:pt x="253911" y="60455"/>
                    <a:pt x="254343" y="60455"/>
                  </a:cubicBezTo>
                  <a:cubicBezTo>
                    <a:pt x="254775" y="60455"/>
                    <a:pt x="254775" y="60455"/>
                    <a:pt x="255207" y="60023"/>
                  </a:cubicBezTo>
                  <a:lnTo>
                    <a:pt x="256934" y="60023"/>
                  </a:lnTo>
                  <a:cubicBezTo>
                    <a:pt x="257798" y="60023"/>
                    <a:pt x="259957" y="60023"/>
                    <a:pt x="259957" y="61319"/>
                  </a:cubicBezTo>
                  <a:cubicBezTo>
                    <a:pt x="259957" y="61751"/>
                    <a:pt x="259957" y="62182"/>
                    <a:pt x="260821" y="62182"/>
                  </a:cubicBezTo>
                  <a:cubicBezTo>
                    <a:pt x="260821" y="62182"/>
                    <a:pt x="261684" y="61751"/>
                    <a:pt x="262548" y="61751"/>
                  </a:cubicBezTo>
                  <a:lnTo>
                    <a:pt x="263412" y="61751"/>
                  </a:lnTo>
                  <a:cubicBezTo>
                    <a:pt x="264275" y="61319"/>
                    <a:pt x="265571" y="60887"/>
                    <a:pt x="266866" y="60887"/>
                  </a:cubicBezTo>
                  <a:cubicBezTo>
                    <a:pt x="267730" y="60887"/>
                    <a:pt x="268593" y="61319"/>
                    <a:pt x="269025" y="62182"/>
                  </a:cubicBezTo>
                  <a:lnTo>
                    <a:pt x="272480" y="62182"/>
                  </a:lnTo>
                  <a:cubicBezTo>
                    <a:pt x="272912" y="61751"/>
                    <a:pt x="273775" y="61751"/>
                    <a:pt x="274207" y="61751"/>
                  </a:cubicBezTo>
                  <a:cubicBezTo>
                    <a:pt x="275071" y="61751"/>
                    <a:pt x="275502" y="62614"/>
                    <a:pt x="276366" y="63046"/>
                  </a:cubicBezTo>
                  <a:cubicBezTo>
                    <a:pt x="276798" y="63046"/>
                    <a:pt x="277230" y="63478"/>
                    <a:pt x="277230" y="64341"/>
                  </a:cubicBezTo>
                  <a:lnTo>
                    <a:pt x="277230" y="64773"/>
                  </a:lnTo>
                  <a:cubicBezTo>
                    <a:pt x="277230" y="66069"/>
                    <a:pt x="278093" y="66932"/>
                    <a:pt x="278093" y="68228"/>
                  </a:cubicBezTo>
                  <a:lnTo>
                    <a:pt x="278093" y="69092"/>
                  </a:lnTo>
                  <a:cubicBezTo>
                    <a:pt x="278525" y="69523"/>
                    <a:pt x="279389" y="70387"/>
                    <a:pt x="279389" y="70819"/>
                  </a:cubicBezTo>
                  <a:cubicBezTo>
                    <a:pt x="278525" y="72114"/>
                    <a:pt x="278093" y="72978"/>
                    <a:pt x="278525" y="72978"/>
                  </a:cubicBezTo>
                  <a:lnTo>
                    <a:pt x="278525" y="77728"/>
                  </a:lnTo>
                  <a:cubicBezTo>
                    <a:pt x="278525" y="78592"/>
                    <a:pt x="277230" y="79023"/>
                    <a:pt x="276798" y="79455"/>
                  </a:cubicBezTo>
                  <a:cubicBezTo>
                    <a:pt x="276366" y="79455"/>
                    <a:pt x="275934" y="79887"/>
                    <a:pt x="275502" y="80751"/>
                  </a:cubicBezTo>
                  <a:lnTo>
                    <a:pt x="272480" y="82910"/>
                  </a:lnTo>
                  <a:cubicBezTo>
                    <a:pt x="272048" y="83773"/>
                    <a:pt x="271616" y="83773"/>
                    <a:pt x="271616" y="83773"/>
                  </a:cubicBezTo>
                  <a:lnTo>
                    <a:pt x="270321" y="83773"/>
                  </a:lnTo>
                  <a:cubicBezTo>
                    <a:pt x="269025" y="83773"/>
                    <a:pt x="268161" y="84205"/>
                    <a:pt x="266866" y="85069"/>
                  </a:cubicBezTo>
                  <a:cubicBezTo>
                    <a:pt x="265139" y="85933"/>
                    <a:pt x="262980" y="86796"/>
                    <a:pt x="261252" y="86796"/>
                  </a:cubicBezTo>
                  <a:cubicBezTo>
                    <a:pt x="260389" y="86796"/>
                    <a:pt x="259957" y="86796"/>
                    <a:pt x="259525" y="87228"/>
                  </a:cubicBezTo>
                  <a:cubicBezTo>
                    <a:pt x="258230" y="88092"/>
                    <a:pt x="256934" y="88092"/>
                    <a:pt x="255207" y="88092"/>
                  </a:cubicBezTo>
                  <a:lnTo>
                    <a:pt x="253911" y="88092"/>
                  </a:lnTo>
                  <a:cubicBezTo>
                    <a:pt x="253480" y="88092"/>
                    <a:pt x="253048" y="88524"/>
                    <a:pt x="253048" y="88524"/>
                  </a:cubicBezTo>
                  <a:lnTo>
                    <a:pt x="253048" y="88092"/>
                  </a:lnTo>
                  <a:cubicBezTo>
                    <a:pt x="252184" y="87660"/>
                    <a:pt x="252616" y="86364"/>
                    <a:pt x="251320" y="85933"/>
                  </a:cubicBezTo>
                  <a:lnTo>
                    <a:pt x="252184" y="85069"/>
                  </a:lnTo>
                  <a:lnTo>
                    <a:pt x="254343" y="83342"/>
                  </a:lnTo>
                  <a:lnTo>
                    <a:pt x="251320" y="83342"/>
                  </a:lnTo>
                  <a:cubicBezTo>
                    <a:pt x="250889" y="83342"/>
                    <a:pt x="250889" y="83342"/>
                    <a:pt x="250889" y="82910"/>
                  </a:cubicBezTo>
                  <a:lnTo>
                    <a:pt x="253048" y="80751"/>
                  </a:lnTo>
                  <a:lnTo>
                    <a:pt x="253911" y="80751"/>
                  </a:lnTo>
                  <a:cubicBezTo>
                    <a:pt x="253911" y="80319"/>
                    <a:pt x="254775" y="79887"/>
                    <a:pt x="255207" y="79455"/>
                  </a:cubicBezTo>
                  <a:lnTo>
                    <a:pt x="255207" y="79023"/>
                  </a:lnTo>
                  <a:cubicBezTo>
                    <a:pt x="254775" y="78592"/>
                    <a:pt x="254775" y="78592"/>
                    <a:pt x="253911" y="78592"/>
                  </a:cubicBezTo>
                  <a:lnTo>
                    <a:pt x="253048" y="79023"/>
                  </a:lnTo>
                  <a:lnTo>
                    <a:pt x="252616" y="79023"/>
                  </a:lnTo>
                  <a:lnTo>
                    <a:pt x="253048" y="78592"/>
                  </a:lnTo>
                  <a:cubicBezTo>
                    <a:pt x="253048" y="78160"/>
                    <a:pt x="253480" y="78160"/>
                    <a:pt x="253480" y="77728"/>
                  </a:cubicBezTo>
                  <a:cubicBezTo>
                    <a:pt x="253480" y="77296"/>
                    <a:pt x="252616" y="76864"/>
                    <a:pt x="251320" y="76864"/>
                  </a:cubicBezTo>
                  <a:lnTo>
                    <a:pt x="250025" y="76864"/>
                  </a:lnTo>
                  <a:cubicBezTo>
                    <a:pt x="249593" y="76864"/>
                    <a:pt x="249161" y="76864"/>
                    <a:pt x="248729" y="77728"/>
                  </a:cubicBezTo>
                  <a:cubicBezTo>
                    <a:pt x="247866" y="78592"/>
                    <a:pt x="247002" y="78592"/>
                    <a:pt x="246570" y="78592"/>
                  </a:cubicBezTo>
                  <a:lnTo>
                    <a:pt x="244411" y="78592"/>
                  </a:lnTo>
                  <a:cubicBezTo>
                    <a:pt x="243116" y="78160"/>
                    <a:pt x="241389" y="77728"/>
                    <a:pt x="239661" y="77728"/>
                  </a:cubicBezTo>
                  <a:lnTo>
                    <a:pt x="233616" y="77728"/>
                  </a:lnTo>
                  <a:cubicBezTo>
                    <a:pt x="233184" y="77728"/>
                    <a:pt x="232752" y="77296"/>
                    <a:pt x="232752" y="77296"/>
                  </a:cubicBezTo>
                  <a:cubicBezTo>
                    <a:pt x="232320" y="77296"/>
                    <a:pt x="232320" y="76864"/>
                    <a:pt x="232320" y="76433"/>
                  </a:cubicBezTo>
                  <a:lnTo>
                    <a:pt x="232320" y="75569"/>
                  </a:lnTo>
                  <a:cubicBezTo>
                    <a:pt x="232752" y="74705"/>
                    <a:pt x="233184" y="74273"/>
                    <a:pt x="233184" y="73842"/>
                  </a:cubicBezTo>
                  <a:cubicBezTo>
                    <a:pt x="233184" y="73410"/>
                    <a:pt x="233184" y="73410"/>
                    <a:pt x="232752" y="73410"/>
                  </a:cubicBezTo>
                  <a:cubicBezTo>
                    <a:pt x="231888" y="74273"/>
                    <a:pt x="231457" y="74273"/>
                    <a:pt x="231025" y="75137"/>
                  </a:cubicBezTo>
                  <a:cubicBezTo>
                    <a:pt x="229729" y="76001"/>
                    <a:pt x="229297" y="76001"/>
                    <a:pt x="228866" y="76001"/>
                  </a:cubicBezTo>
                  <a:lnTo>
                    <a:pt x="228434" y="76001"/>
                  </a:lnTo>
                  <a:cubicBezTo>
                    <a:pt x="228434" y="76001"/>
                    <a:pt x="228434" y="75569"/>
                    <a:pt x="228866" y="75137"/>
                  </a:cubicBezTo>
                  <a:lnTo>
                    <a:pt x="228434" y="75137"/>
                  </a:lnTo>
                  <a:cubicBezTo>
                    <a:pt x="228002" y="75137"/>
                    <a:pt x="227138" y="76001"/>
                    <a:pt x="227138" y="76433"/>
                  </a:cubicBezTo>
                  <a:cubicBezTo>
                    <a:pt x="226707" y="77296"/>
                    <a:pt x="225411" y="78160"/>
                    <a:pt x="224979" y="78160"/>
                  </a:cubicBezTo>
                  <a:cubicBezTo>
                    <a:pt x="223684" y="78160"/>
                    <a:pt x="222820" y="78160"/>
                    <a:pt x="222388" y="77728"/>
                  </a:cubicBezTo>
                  <a:lnTo>
                    <a:pt x="220229" y="78592"/>
                  </a:lnTo>
                  <a:cubicBezTo>
                    <a:pt x="218934" y="79023"/>
                    <a:pt x="218934" y="79023"/>
                    <a:pt x="218502" y="79023"/>
                  </a:cubicBezTo>
                  <a:cubicBezTo>
                    <a:pt x="218070" y="79023"/>
                    <a:pt x="217206" y="79023"/>
                    <a:pt x="216343" y="78592"/>
                  </a:cubicBezTo>
                  <a:lnTo>
                    <a:pt x="215479" y="78592"/>
                  </a:lnTo>
                  <a:cubicBezTo>
                    <a:pt x="215047" y="78592"/>
                    <a:pt x="214184" y="78592"/>
                    <a:pt x="214616" y="78160"/>
                  </a:cubicBezTo>
                  <a:cubicBezTo>
                    <a:pt x="214616" y="77728"/>
                    <a:pt x="214184" y="78160"/>
                    <a:pt x="213752" y="78160"/>
                  </a:cubicBezTo>
                  <a:cubicBezTo>
                    <a:pt x="212025" y="78592"/>
                    <a:pt x="212025" y="78592"/>
                    <a:pt x="211161" y="78592"/>
                  </a:cubicBezTo>
                  <a:cubicBezTo>
                    <a:pt x="209865" y="78592"/>
                    <a:pt x="209002" y="78592"/>
                    <a:pt x="208570" y="77728"/>
                  </a:cubicBezTo>
                  <a:cubicBezTo>
                    <a:pt x="208138" y="78160"/>
                    <a:pt x="208138" y="78160"/>
                    <a:pt x="207706" y="78160"/>
                  </a:cubicBezTo>
                  <a:cubicBezTo>
                    <a:pt x="207275" y="78160"/>
                    <a:pt x="206843" y="77296"/>
                    <a:pt x="205979" y="77296"/>
                  </a:cubicBezTo>
                  <a:cubicBezTo>
                    <a:pt x="205979" y="77296"/>
                    <a:pt x="205547" y="76864"/>
                    <a:pt x="205116" y="76864"/>
                  </a:cubicBezTo>
                  <a:cubicBezTo>
                    <a:pt x="204684" y="76864"/>
                    <a:pt x="204252" y="77296"/>
                    <a:pt x="203820" y="77296"/>
                  </a:cubicBezTo>
                  <a:cubicBezTo>
                    <a:pt x="203820" y="77728"/>
                    <a:pt x="203820" y="78160"/>
                    <a:pt x="202525" y="78592"/>
                  </a:cubicBezTo>
                  <a:lnTo>
                    <a:pt x="202093" y="78592"/>
                  </a:lnTo>
                  <a:lnTo>
                    <a:pt x="202093" y="78160"/>
                  </a:lnTo>
                  <a:cubicBezTo>
                    <a:pt x="201661" y="78160"/>
                    <a:pt x="201229" y="77728"/>
                    <a:pt x="201229" y="77728"/>
                  </a:cubicBezTo>
                  <a:cubicBezTo>
                    <a:pt x="200797" y="77728"/>
                    <a:pt x="200365" y="78592"/>
                    <a:pt x="198638" y="79455"/>
                  </a:cubicBezTo>
                  <a:lnTo>
                    <a:pt x="198638" y="78592"/>
                  </a:lnTo>
                  <a:lnTo>
                    <a:pt x="198206" y="78160"/>
                  </a:lnTo>
                  <a:cubicBezTo>
                    <a:pt x="197343" y="78592"/>
                    <a:pt x="197343" y="79023"/>
                    <a:pt x="197343" y="79023"/>
                  </a:cubicBezTo>
                  <a:cubicBezTo>
                    <a:pt x="196479" y="79455"/>
                    <a:pt x="196047" y="79455"/>
                    <a:pt x="195615" y="79455"/>
                  </a:cubicBezTo>
                  <a:lnTo>
                    <a:pt x="195184" y="79455"/>
                  </a:lnTo>
                  <a:lnTo>
                    <a:pt x="195184" y="78592"/>
                  </a:lnTo>
                  <a:lnTo>
                    <a:pt x="194752" y="78592"/>
                  </a:lnTo>
                  <a:cubicBezTo>
                    <a:pt x="193888" y="79455"/>
                    <a:pt x="193456" y="79887"/>
                    <a:pt x="192593" y="79887"/>
                  </a:cubicBezTo>
                  <a:lnTo>
                    <a:pt x="191729" y="79887"/>
                  </a:lnTo>
                  <a:cubicBezTo>
                    <a:pt x="190002" y="79455"/>
                    <a:pt x="188706" y="79023"/>
                    <a:pt x="187411" y="79023"/>
                  </a:cubicBezTo>
                  <a:cubicBezTo>
                    <a:pt x="187411" y="79023"/>
                    <a:pt x="186979" y="79023"/>
                    <a:pt x="186979" y="78592"/>
                  </a:cubicBezTo>
                  <a:cubicBezTo>
                    <a:pt x="186547" y="78160"/>
                    <a:pt x="186547" y="77728"/>
                    <a:pt x="186115" y="77728"/>
                  </a:cubicBezTo>
                  <a:cubicBezTo>
                    <a:pt x="185684" y="77728"/>
                    <a:pt x="184820" y="78592"/>
                    <a:pt x="184388" y="78592"/>
                  </a:cubicBezTo>
                  <a:lnTo>
                    <a:pt x="183956" y="79023"/>
                  </a:lnTo>
                  <a:lnTo>
                    <a:pt x="183093" y="78592"/>
                  </a:lnTo>
                  <a:cubicBezTo>
                    <a:pt x="181365" y="79455"/>
                    <a:pt x="179638" y="80319"/>
                    <a:pt x="177479" y="80319"/>
                  </a:cubicBezTo>
                  <a:cubicBezTo>
                    <a:pt x="177047" y="80751"/>
                    <a:pt x="176615" y="80751"/>
                    <a:pt x="175752" y="80751"/>
                  </a:cubicBezTo>
                  <a:lnTo>
                    <a:pt x="174024" y="80751"/>
                  </a:lnTo>
                  <a:cubicBezTo>
                    <a:pt x="173592" y="80751"/>
                    <a:pt x="173592" y="80751"/>
                    <a:pt x="172729" y="81183"/>
                  </a:cubicBezTo>
                  <a:cubicBezTo>
                    <a:pt x="169706" y="82478"/>
                    <a:pt x="167115" y="82910"/>
                    <a:pt x="165388" y="82910"/>
                  </a:cubicBezTo>
                  <a:cubicBezTo>
                    <a:pt x="164092" y="83342"/>
                    <a:pt x="163229" y="83342"/>
                    <a:pt x="162365" y="83342"/>
                  </a:cubicBezTo>
                  <a:lnTo>
                    <a:pt x="160638" y="83342"/>
                  </a:lnTo>
                  <a:cubicBezTo>
                    <a:pt x="158911" y="83342"/>
                    <a:pt x="156751" y="83773"/>
                    <a:pt x="154592" y="84637"/>
                  </a:cubicBezTo>
                  <a:cubicBezTo>
                    <a:pt x="154160" y="84637"/>
                    <a:pt x="154160" y="84205"/>
                    <a:pt x="153729" y="84205"/>
                  </a:cubicBezTo>
                  <a:lnTo>
                    <a:pt x="153729" y="81614"/>
                  </a:lnTo>
                  <a:cubicBezTo>
                    <a:pt x="153729" y="81183"/>
                    <a:pt x="153729" y="81183"/>
                    <a:pt x="154592" y="80751"/>
                  </a:cubicBezTo>
                  <a:cubicBezTo>
                    <a:pt x="154160" y="80751"/>
                    <a:pt x="154160" y="80319"/>
                    <a:pt x="154160" y="80319"/>
                  </a:cubicBezTo>
                  <a:cubicBezTo>
                    <a:pt x="154160" y="80319"/>
                    <a:pt x="153729" y="80319"/>
                    <a:pt x="153729" y="80751"/>
                  </a:cubicBezTo>
                  <a:cubicBezTo>
                    <a:pt x="153297" y="80751"/>
                    <a:pt x="152865" y="81183"/>
                    <a:pt x="152865" y="81183"/>
                  </a:cubicBezTo>
                  <a:lnTo>
                    <a:pt x="149842" y="83342"/>
                  </a:lnTo>
                  <a:lnTo>
                    <a:pt x="148547" y="83342"/>
                  </a:lnTo>
                  <a:cubicBezTo>
                    <a:pt x="147683" y="84205"/>
                    <a:pt x="146820" y="84637"/>
                    <a:pt x="145524" y="84637"/>
                  </a:cubicBezTo>
                  <a:cubicBezTo>
                    <a:pt x="137751" y="99319"/>
                    <a:pt x="134297" y="102342"/>
                    <a:pt x="133001" y="102342"/>
                  </a:cubicBezTo>
                  <a:cubicBezTo>
                    <a:pt x="132137" y="102342"/>
                    <a:pt x="132137" y="101478"/>
                    <a:pt x="132137" y="100614"/>
                  </a:cubicBezTo>
                  <a:lnTo>
                    <a:pt x="132137" y="100183"/>
                  </a:lnTo>
                  <a:cubicBezTo>
                    <a:pt x="132137" y="100183"/>
                    <a:pt x="131706" y="100614"/>
                    <a:pt x="131274" y="100614"/>
                  </a:cubicBezTo>
                  <a:cubicBezTo>
                    <a:pt x="130842" y="100614"/>
                    <a:pt x="130842" y="100614"/>
                    <a:pt x="130842" y="101046"/>
                  </a:cubicBezTo>
                  <a:cubicBezTo>
                    <a:pt x="130842" y="101478"/>
                    <a:pt x="132569" y="104933"/>
                    <a:pt x="132569" y="105365"/>
                  </a:cubicBezTo>
                  <a:lnTo>
                    <a:pt x="132569" y="105796"/>
                  </a:lnTo>
                  <a:cubicBezTo>
                    <a:pt x="132137" y="106228"/>
                    <a:pt x="132137" y="106660"/>
                    <a:pt x="131706" y="107956"/>
                  </a:cubicBezTo>
                  <a:lnTo>
                    <a:pt x="130410" y="108819"/>
                  </a:lnTo>
                  <a:cubicBezTo>
                    <a:pt x="130410" y="109251"/>
                    <a:pt x="130842" y="109251"/>
                    <a:pt x="131274" y="109683"/>
                  </a:cubicBezTo>
                  <a:cubicBezTo>
                    <a:pt x="131274" y="109683"/>
                    <a:pt x="131706" y="110115"/>
                    <a:pt x="131706" y="110546"/>
                  </a:cubicBezTo>
                  <a:cubicBezTo>
                    <a:pt x="131706" y="110978"/>
                    <a:pt x="131706" y="111842"/>
                    <a:pt x="131274" y="112706"/>
                  </a:cubicBezTo>
                  <a:cubicBezTo>
                    <a:pt x="130410" y="113137"/>
                    <a:pt x="129978" y="113569"/>
                    <a:pt x="129978" y="113569"/>
                  </a:cubicBezTo>
                  <a:cubicBezTo>
                    <a:pt x="129547" y="114001"/>
                    <a:pt x="129115" y="114433"/>
                    <a:pt x="128683" y="114433"/>
                  </a:cubicBezTo>
                  <a:cubicBezTo>
                    <a:pt x="127819" y="114865"/>
                    <a:pt x="127388" y="114865"/>
                    <a:pt x="127388" y="115297"/>
                  </a:cubicBezTo>
                  <a:cubicBezTo>
                    <a:pt x="127388" y="115297"/>
                    <a:pt x="128251" y="115728"/>
                    <a:pt x="128683" y="116160"/>
                  </a:cubicBezTo>
                  <a:cubicBezTo>
                    <a:pt x="129115" y="116160"/>
                    <a:pt x="129547" y="117024"/>
                    <a:pt x="129115" y="117024"/>
                  </a:cubicBezTo>
                  <a:cubicBezTo>
                    <a:pt x="127819" y="117887"/>
                    <a:pt x="127819" y="117887"/>
                    <a:pt x="127388" y="118751"/>
                  </a:cubicBezTo>
                  <a:lnTo>
                    <a:pt x="127388" y="119183"/>
                  </a:lnTo>
                  <a:cubicBezTo>
                    <a:pt x="127819" y="120910"/>
                    <a:pt x="120910" y="141638"/>
                    <a:pt x="120910" y="144660"/>
                  </a:cubicBezTo>
                  <a:cubicBezTo>
                    <a:pt x="120910" y="146388"/>
                    <a:pt x="120910" y="147683"/>
                    <a:pt x="119615" y="148115"/>
                  </a:cubicBezTo>
                  <a:lnTo>
                    <a:pt x="119615" y="151138"/>
                  </a:lnTo>
                  <a:cubicBezTo>
                    <a:pt x="119615" y="151570"/>
                    <a:pt x="118319" y="151570"/>
                    <a:pt x="118319" y="152433"/>
                  </a:cubicBezTo>
                  <a:lnTo>
                    <a:pt x="118751" y="152865"/>
                  </a:lnTo>
                  <a:cubicBezTo>
                    <a:pt x="118751" y="153297"/>
                    <a:pt x="118751" y="154592"/>
                    <a:pt x="118319" y="154592"/>
                  </a:cubicBezTo>
                  <a:lnTo>
                    <a:pt x="118319" y="155456"/>
                  </a:lnTo>
                  <a:cubicBezTo>
                    <a:pt x="118319" y="156320"/>
                    <a:pt x="117456" y="159342"/>
                    <a:pt x="116160" y="159342"/>
                  </a:cubicBezTo>
                  <a:cubicBezTo>
                    <a:pt x="115296" y="159342"/>
                    <a:pt x="115296" y="160638"/>
                    <a:pt x="115296" y="160638"/>
                  </a:cubicBezTo>
                  <a:cubicBezTo>
                    <a:pt x="115728" y="160638"/>
                    <a:pt x="116592" y="161070"/>
                    <a:pt x="116592" y="161501"/>
                  </a:cubicBezTo>
                  <a:cubicBezTo>
                    <a:pt x="116592" y="161933"/>
                    <a:pt x="116592" y="161933"/>
                    <a:pt x="115728" y="162365"/>
                  </a:cubicBezTo>
                  <a:lnTo>
                    <a:pt x="116160" y="162797"/>
                  </a:lnTo>
                  <a:lnTo>
                    <a:pt x="116160" y="164092"/>
                  </a:lnTo>
                  <a:lnTo>
                    <a:pt x="115296" y="164092"/>
                  </a:lnTo>
                  <a:cubicBezTo>
                    <a:pt x="115728" y="164956"/>
                    <a:pt x="115728" y="165820"/>
                    <a:pt x="115728" y="166252"/>
                  </a:cubicBezTo>
                  <a:lnTo>
                    <a:pt x="114433" y="167979"/>
                  </a:lnTo>
                  <a:cubicBezTo>
                    <a:pt x="114433" y="168411"/>
                    <a:pt x="114865" y="168411"/>
                    <a:pt x="114865" y="168842"/>
                  </a:cubicBezTo>
                  <a:lnTo>
                    <a:pt x="114865" y="169274"/>
                  </a:lnTo>
                  <a:cubicBezTo>
                    <a:pt x="114865" y="169706"/>
                    <a:pt x="114433" y="169706"/>
                    <a:pt x="114001" y="170138"/>
                  </a:cubicBezTo>
                  <a:cubicBezTo>
                    <a:pt x="114001" y="171433"/>
                    <a:pt x="114001" y="172297"/>
                    <a:pt x="113569" y="173161"/>
                  </a:cubicBezTo>
                  <a:cubicBezTo>
                    <a:pt x="113569" y="173593"/>
                    <a:pt x="113137" y="174024"/>
                    <a:pt x="113137" y="174456"/>
                  </a:cubicBezTo>
                  <a:cubicBezTo>
                    <a:pt x="112705" y="174456"/>
                    <a:pt x="112274" y="175320"/>
                    <a:pt x="112274" y="176615"/>
                  </a:cubicBezTo>
                  <a:cubicBezTo>
                    <a:pt x="112274" y="177047"/>
                    <a:pt x="112705" y="177047"/>
                    <a:pt x="112705" y="177479"/>
                  </a:cubicBezTo>
                  <a:lnTo>
                    <a:pt x="112705" y="178342"/>
                  </a:lnTo>
                  <a:cubicBezTo>
                    <a:pt x="112705" y="179206"/>
                    <a:pt x="111842" y="179206"/>
                    <a:pt x="111842" y="180933"/>
                  </a:cubicBezTo>
                  <a:cubicBezTo>
                    <a:pt x="111842" y="181365"/>
                    <a:pt x="110978" y="182229"/>
                    <a:pt x="110978" y="182229"/>
                  </a:cubicBezTo>
                  <a:cubicBezTo>
                    <a:pt x="109683" y="183093"/>
                    <a:pt x="108819" y="183093"/>
                    <a:pt x="108819" y="183524"/>
                  </a:cubicBezTo>
                  <a:cubicBezTo>
                    <a:pt x="108819" y="183524"/>
                    <a:pt x="109251" y="183956"/>
                    <a:pt x="109683" y="183956"/>
                  </a:cubicBezTo>
                  <a:cubicBezTo>
                    <a:pt x="109683" y="184388"/>
                    <a:pt x="110115" y="184388"/>
                    <a:pt x="110115" y="184820"/>
                  </a:cubicBezTo>
                  <a:lnTo>
                    <a:pt x="110115" y="185684"/>
                  </a:lnTo>
                  <a:cubicBezTo>
                    <a:pt x="110115" y="186979"/>
                    <a:pt x="109251" y="187843"/>
                    <a:pt x="107956" y="188706"/>
                  </a:cubicBezTo>
                  <a:cubicBezTo>
                    <a:pt x="107524" y="189138"/>
                    <a:pt x="107092" y="189138"/>
                    <a:pt x="107092" y="189570"/>
                  </a:cubicBezTo>
                  <a:lnTo>
                    <a:pt x="107524" y="190002"/>
                  </a:lnTo>
                  <a:cubicBezTo>
                    <a:pt x="107524" y="190434"/>
                    <a:pt x="107524" y="190865"/>
                    <a:pt x="107956" y="191297"/>
                  </a:cubicBezTo>
                  <a:cubicBezTo>
                    <a:pt x="107956" y="191729"/>
                    <a:pt x="108387" y="192161"/>
                    <a:pt x="108387" y="192161"/>
                  </a:cubicBezTo>
                  <a:cubicBezTo>
                    <a:pt x="108387" y="192593"/>
                    <a:pt x="107956" y="192593"/>
                    <a:pt x="107956" y="192593"/>
                  </a:cubicBezTo>
                  <a:cubicBezTo>
                    <a:pt x="107956" y="193025"/>
                    <a:pt x="107956" y="193456"/>
                    <a:pt x="108387" y="193456"/>
                  </a:cubicBezTo>
                  <a:lnTo>
                    <a:pt x="109251" y="193456"/>
                  </a:lnTo>
                  <a:lnTo>
                    <a:pt x="109251" y="193888"/>
                  </a:lnTo>
                  <a:lnTo>
                    <a:pt x="108819" y="194320"/>
                  </a:lnTo>
                  <a:lnTo>
                    <a:pt x="107956" y="194320"/>
                  </a:lnTo>
                  <a:cubicBezTo>
                    <a:pt x="107524" y="194320"/>
                    <a:pt x="107524" y="193888"/>
                    <a:pt x="107092" y="193456"/>
                  </a:cubicBezTo>
                  <a:lnTo>
                    <a:pt x="106660" y="193456"/>
                  </a:lnTo>
                  <a:cubicBezTo>
                    <a:pt x="106228" y="193456"/>
                    <a:pt x="105365" y="194320"/>
                    <a:pt x="105365" y="195615"/>
                  </a:cubicBezTo>
                  <a:cubicBezTo>
                    <a:pt x="105365" y="196047"/>
                    <a:pt x="104933" y="196047"/>
                    <a:pt x="104933" y="196047"/>
                  </a:cubicBezTo>
                  <a:lnTo>
                    <a:pt x="104069" y="196047"/>
                  </a:lnTo>
                  <a:cubicBezTo>
                    <a:pt x="104069" y="195615"/>
                    <a:pt x="102774" y="196479"/>
                    <a:pt x="102774" y="196479"/>
                  </a:cubicBezTo>
                  <a:cubicBezTo>
                    <a:pt x="102342" y="197343"/>
                    <a:pt x="102342" y="197774"/>
                    <a:pt x="102342" y="198206"/>
                  </a:cubicBezTo>
                  <a:lnTo>
                    <a:pt x="102342" y="199070"/>
                  </a:lnTo>
                  <a:cubicBezTo>
                    <a:pt x="102342" y="199502"/>
                    <a:pt x="102342" y="199934"/>
                    <a:pt x="101910" y="199934"/>
                  </a:cubicBezTo>
                  <a:lnTo>
                    <a:pt x="101910" y="201661"/>
                  </a:lnTo>
                  <a:lnTo>
                    <a:pt x="102774" y="203388"/>
                  </a:lnTo>
                  <a:lnTo>
                    <a:pt x="102774" y="203820"/>
                  </a:lnTo>
                  <a:cubicBezTo>
                    <a:pt x="102774" y="204252"/>
                    <a:pt x="102774" y="204252"/>
                    <a:pt x="102342" y="204252"/>
                  </a:cubicBezTo>
                  <a:cubicBezTo>
                    <a:pt x="102342" y="205115"/>
                    <a:pt x="101910" y="205547"/>
                    <a:pt x="101046" y="206411"/>
                  </a:cubicBezTo>
                  <a:cubicBezTo>
                    <a:pt x="101046" y="206411"/>
                    <a:pt x="101046" y="206843"/>
                    <a:pt x="101478" y="207275"/>
                  </a:cubicBezTo>
                  <a:lnTo>
                    <a:pt x="101910" y="207275"/>
                  </a:lnTo>
                  <a:lnTo>
                    <a:pt x="103205" y="206411"/>
                  </a:lnTo>
                  <a:cubicBezTo>
                    <a:pt x="103637" y="206411"/>
                    <a:pt x="104069" y="205547"/>
                    <a:pt x="104933" y="205547"/>
                  </a:cubicBezTo>
                  <a:cubicBezTo>
                    <a:pt x="105365" y="205547"/>
                    <a:pt x="106228" y="205115"/>
                    <a:pt x="106228" y="204684"/>
                  </a:cubicBezTo>
                  <a:lnTo>
                    <a:pt x="107092" y="204684"/>
                  </a:lnTo>
                  <a:lnTo>
                    <a:pt x="107092" y="205547"/>
                  </a:lnTo>
                  <a:cubicBezTo>
                    <a:pt x="106660" y="205547"/>
                    <a:pt x="106228" y="206411"/>
                    <a:pt x="105796" y="207275"/>
                  </a:cubicBezTo>
                  <a:lnTo>
                    <a:pt x="105796" y="208138"/>
                  </a:lnTo>
                  <a:cubicBezTo>
                    <a:pt x="105796" y="209434"/>
                    <a:pt x="105796" y="209866"/>
                    <a:pt x="103205" y="209866"/>
                  </a:cubicBezTo>
                  <a:cubicBezTo>
                    <a:pt x="102774" y="209866"/>
                    <a:pt x="102774" y="210729"/>
                    <a:pt x="102774" y="211161"/>
                  </a:cubicBezTo>
                  <a:lnTo>
                    <a:pt x="102774" y="212457"/>
                  </a:lnTo>
                  <a:cubicBezTo>
                    <a:pt x="102774" y="212888"/>
                    <a:pt x="102774" y="212888"/>
                    <a:pt x="103205" y="213320"/>
                  </a:cubicBezTo>
                  <a:cubicBezTo>
                    <a:pt x="103637" y="213752"/>
                    <a:pt x="104933" y="213320"/>
                    <a:pt x="104933" y="214184"/>
                  </a:cubicBezTo>
                  <a:lnTo>
                    <a:pt x="104933" y="214616"/>
                  </a:lnTo>
                  <a:cubicBezTo>
                    <a:pt x="104933" y="215047"/>
                    <a:pt x="104501" y="215047"/>
                    <a:pt x="104501" y="215911"/>
                  </a:cubicBezTo>
                  <a:cubicBezTo>
                    <a:pt x="104501" y="216775"/>
                    <a:pt x="103637" y="216775"/>
                    <a:pt x="103637" y="216775"/>
                  </a:cubicBezTo>
                  <a:lnTo>
                    <a:pt x="103205" y="217206"/>
                  </a:lnTo>
                  <a:cubicBezTo>
                    <a:pt x="103205" y="218070"/>
                    <a:pt x="103205" y="218070"/>
                    <a:pt x="103637" y="218934"/>
                  </a:cubicBezTo>
                  <a:cubicBezTo>
                    <a:pt x="103637" y="219366"/>
                    <a:pt x="103637" y="219366"/>
                    <a:pt x="103205" y="219366"/>
                  </a:cubicBezTo>
                  <a:cubicBezTo>
                    <a:pt x="103205" y="219366"/>
                    <a:pt x="102774" y="219366"/>
                    <a:pt x="102342" y="218934"/>
                  </a:cubicBezTo>
                  <a:lnTo>
                    <a:pt x="102342" y="218502"/>
                  </a:lnTo>
                  <a:lnTo>
                    <a:pt x="101910" y="218070"/>
                  </a:lnTo>
                  <a:cubicBezTo>
                    <a:pt x="102342" y="217206"/>
                    <a:pt x="102774" y="216775"/>
                    <a:pt x="102774" y="215479"/>
                  </a:cubicBezTo>
                  <a:lnTo>
                    <a:pt x="102342" y="214616"/>
                  </a:lnTo>
                  <a:cubicBezTo>
                    <a:pt x="100615" y="215479"/>
                    <a:pt x="100183" y="216343"/>
                    <a:pt x="99751" y="216775"/>
                  </a:cubicBezTo>
                  <a:lnTo>
                    <a:pt x="99319" y="217206"/>
                  </a:lnTo>
                  <a:cubicBezTo>
                    <a:pt x="99319" y="217206"/>
                    <a:pt x="99319" y="217638"/>
                    <a:pt x="99751" y="217638"/>
                  </a:cubicBezTo>
                  <a:cubicBezTo>
                    <a:pt x="100183" y="218070"/>
                    <a:pt x="100615" y="218070"/>
                    <a:pt x="100615" y="218070"/>
                  </a:cubicBezTo>
                  <a:lnTo>
                    <a:pt x="100615" y="218502"/>
                  </a:lnTo>
                  <a:cubicBezTo>
                    <a:pt x="100183" y="218934"/>
                    <a:pt x="99751" y="219366"/>
                    <a:pt x="99751" y="220661"/>
                  </a:cubicBezTo>
                  <a:cubicBezTo>
                    <a:pt x="99751" y="221093"/>
                    <a:pt x="99751" y="221093"/>
                    <a:pt x="98455" y="221525"/>
                  </a:cubicBezTo>
                  <a:cubicBezTo>
                    <a:pt x="97592" y="221957"/>
                    <a:pt x="97160" y="221957"/>
                    <a:pt x="97160" y="222388"/>
                  </a:cubicBezTo>
                  <a:cubicBezTo>
                    <a:pt x="97160" y="222820"/>
                    <a:pt x="97592" y="222820"/>
                    <a:pt x="98024" y="223252"/>
                  </a:cubicBezTo>
                  <a:cubicBezTo>
                    <a:pt x="98887" y="223684"/>
                    <a:pt x="98887" y="224979"/>
                    <a:pt x="98887" y="224979"/>
                  </a:cubicBezTo>
                  <a:cubicBezTo>
                    <a:pt x="97592" y="225411"/>
                    <a:pt x="97592" y="225843"/>
                    <a:pt x="97592" y="226275"/>
                  </a:cubicBezTo>
                  <a:lnTo>
                    <a:pt x="98024" y="226707"/>
                  </a:lnTo>
                  <a:cubicBezTo>
                    <a:pt x="98024" y="227570"/>
                    <a:pt x="98024" y="227570"/>
                    <a:pt x="97592" y="228434"/>
                  </a:cubicBezTo>
                  <a:cubicBezTo>
                    <a:pt x="97160" y="228866"/>
                    <a:pt x="96728" y="228866"/>
                    <a:pt x="96728" y="229298"/>
                  </a:cubicBezTo>
                  <a:cubicBezTo>
                    <a:pt x="96728" y="229729"/>
                    <a:pt x="97160" y="230161"/>
                    <a:pt x="97592" y="230593"/>
                  </a:cubicBezTo>
                  <a:lnTo>
                    <a:pt x="98024" y="231025"/>
                  </a:lnTo>
                  <a:cubicBezTo>
                    <a:pt x="98024" y="231457"/>
                    <a:pt x="97592" y="231889"/>
                    <a:pt x="97160" y="231889"/>
                  </a:cubicBezTo>
                  <a:lnTo>
                    <a:pt x="95864" y="234479"/>
                  </a:lnTo>
                  <a:lnTo>
                    <a:pt x="95864" y="234911"/>
                  </a:lnTo>
                  <a:cubicBezTo>
                    <a:pt x="96296" y="235343"/>
                    <a:pt x="96296" y="235775"/>
                    <a:pt x="96296" y="236638"/>
                  </a:cubicBezTo>
                  <a:cubicBezTo>
                    <a:pt x="95864" y="237070"/>
                    <a:pt x="95864" y="237502"/>
                    <a:pt x="95864" y="237934"/>
                  </a:cubicBezTo>
                  <a:lnTo>
                    <a:pt x="95864" y="239661"/>
                  </a:lnTo>
                  <a:cubicBezTo>
                    <a:pt x="95864" y="240093"/>
                    <a:pt x="96296" y="240093"/>
                    <a:pt x="96296" y="240525"/>
                  </a:cubicBezTo>
                  <a:cubicBezTo>
                    <a:pt x="96728" y="240525"/>
                    <a:pt x="96728" y="240525"/>
                    <a:pt x="96728" y="240957"/>
                  </a:cubicBezTo>
                  <a:cubicBezTo>
                    <a:pt x="96728" y="241389"/>
                    <a:pt x="96296" y="241820"/>
                    <a:pt x="95864" y="241820"/>
                  </a:cubicBezTo>
                  <a:cubicBezTo>
                    <a:pt x="95864" y="242252"/>
                    <a:pt x="95864" y="243548"/>
                    <a:pt x="95433" y="244411"/>
                  </a:cubicBezTo>
                  <a:cubicBezTo>
                    <a:pt x="95001" y="244843"/>
                    <a:pt x="95001" y="245275"/>
                    <a:pt x="95001" y="245275"/>
                  </a:cubicBezTo>
                  <a:cubicBezTo>
                    <a:pt x="95001" y="245707"/>
                    <a:pt x="95001" y="246139"/>
                    <a:pt x="95433" y="246139"/>
                  </a:cubicBezTo>
                  <a:lnTo>
                    <a:pt x="95433" y="247434"/>
                  </a:lnTo>
                  <a:cubicBezTo>
                    <a:pt x="95433" y="247866"/>
                    <a:pt x="95001" y="248298"/>
                    <a:pt x="93705" y="248730"/>
                  </a:cubicBezTo>
                  <a:cubicBezTo>
                    <a:pt x="93273" y="249161"/>
                    <a:pt x="92842" y="249161"/>
                    <a:pt x="92842" y="249161"/>
                  </a:cubicBezTo>
                  <a:cubicBezTo>
                    <a:pt x="92842" y="250025"/>
                    <a:pt x="92842" y="250457"/>
                    <a:pt x="93273" y="250457"/>
                  </a:cubicBezTo>
                  <a:cubicBezTo>
                    <a:pt x="94569" y="250457"/>
                    <a:pt x="94569" y="250889"/>
                    <a:pt x="95001" y="252184"/>
                  </a:cubicBezTo>
                  <a:cubicBezTo>
                    <a:pt x="95001" y="252616"/>
                    <a:pt x="94569" y="252616"/>
                    <a:pt x="94569" y="253048"/>
                  </a:cubicBezTo>
                  <a:lnTo>
                    <a:pt x="95001" y="253480"/>
                  </a:lnTo>
                  <a:lnTo>
                    <a:pt x="95001" y="255207"/>
                  </a:lnTo>
                  <a:cubicBezTo>
                    <a:pt x="95001" y="255639"/>
                    <a:pt x="94569" y="256502"/>
                    <a:pt x="93705" y="256934"/>
                  </a:cubicBezTo>
                  <a:lnTo>
                    <a:pt x="93705" y="259525"/>
                  </a:lnTo>
                  <a:cubicBezTo>
                    <a:pt x="93273" y="259957"/>
                    <a:pt x="93273" y="260389"/>
                    <a:pt x="93273" y="260821"/>
                  </a:cubicBezTo>
                  <a:cubicBezTo>
                    <a:pt x="93273" y="261252"/>
                    <a:pt x="93273" y="261252"/>
                    <a:pt x="92842" y="261684"/>
                  </a:cubicBezTo>
                  <a:cubicBezTo>
                    <a:pt x="92842" y="262116"/>
                    <a:pt x="92842" y="262548"/>
                    <a:pt x="93273" y="262548"/>
                  </a:cubicBezTo>
                  <a:lnTo>
                    <a:pt x="95001" y="262548"/>
                  </a:lnTo>
                  <a:cubicBezTo>
                    <a:pt x="95433" y="262548"/>
                    <a:pt x="95864" y="262116"/>
                    <a:pt x="95864" y="261684"/>
                  </a:cubicBezTo>
                  <a:lnTo>
                    <a:pt x="96296" y="261684"/>
                  </a:lnTo>
                  <a:cubicBezTo>
                    <a:pt x="96296" y="261684"/>
                    <a:pt x="96728" y="261684"/>
                    <a:pt x="96728" y="262116"/>
                  </a:cubicBezTo>
                  <a:cubicBezTo>
                    <a:pt x="96728" y="262548"/>
                    <a:pt x="96728" y="262980"/>
                    <a:pt x="97160" y="263843"/>
                  </a:cubicBezTo>
                  <a:cubicBezTo>
                    <a:pt x="97160" y="263843"/>
                    <a:pt x="97160" y="264275"/>
                    <a:pt x="97592" y="264275"/>
                  </a:cubicBezTo>
                  <a:cubicBezTo>
                    <a:pt x="98024" y="264707"/>
                    <a:pt x="98024" y="265139"/>
                    <a:pt x="98024" y="265139"/>
                  </a:cubicBezTo>
                  <a:cubicBezTo>
                    <a:pt x="98024" y="265571"/>
                    <a:pt x="97592" y="265571"/>
                    <a:pt x="96728" y="266434"/>
                  </a:cubicBezTo>
                  <a:cubicBezTo>
                    <a:pt x="96296" y="266866"/>
                    <a:pt x="96296" y="266866"/>
                    <a:pt x="95864" y="266866"/>
                  </a:cubicBezTo>
                  <a:cubicBezTo>
                    <a:pt x="95433" y="266434"/>
                    <a:pt x="95001" y="265139"/>
                    <a:pt x="94137" y="264707"/>
                  </a:cubicBezTo>
                  <a:lnTo>
                    <a:pt x="93705" y="264275"/>
                  </a:lnTo>
                  <a:cubicBezTo>
                    <a:pt x="93705" y="264275"/>
                    <a:pt x="93705" y="264707"/>
                    <a:pt x="93273" y="265139"/>
                  </a:cubicBezTo>
                  <a:cubicBezTo>
                    <a:pt x="92842" y="266002"/>
                    <a:pt x="91978" y="266866"/>
                    <a:pt x="91978" y="267730"/>
                  </a:cubicBezTo>
                  <a:lnTo>
                    <a:pt x="91978" y="268162"/>
                  </a:lnTo>
                  <a:cubicBezTo>
                    <a:pt x="91978" y="269457"/>
                    <a:pt x="91978" y="271184"/>
                    <a:pt x="91546" y="272912"/>
                  </a:cubicBezTo>
                  <a:lnTo>
                    <a:pt x="91546" y="274639"/>
                  </a:lnTo>
                  <a:cubicBezTo>
                    <a:pt x="91114" y="275071"/>
                    <a:pt x="91114" y="275502"/>
                    <a:pt x="91114" y="275934"/>
                  </a:cubicBezTo>
                  <a:lnTo>
                    <a:pt x="91114" y="277662"/>
                  </a:lnTo>
                  <a:cubicBezTo>
                    <a:pt x="91546" y="278093"/>
                    <a:pt x="91546" y="278093"/>
                    <a:pt x="91546" y="278525"/>
                  </a:cubicBezTo>
                  <a:lnTo>
                    <a:pt x="91546" y="280253"/>
                  </a:lnTo>
                  <a:cubicBezTo>
                    <a:pt x="91546" y="280253"/>
                    <a:pt x="91546" y="281116"/>
                    <a:pt x="90683" y="281548"/>
                  </a:cubicBezTo>
                  <a:lnTo>
                    <a:pt x="90683" y="282843"/>
                  </a:lnTo>
                  <a:cubicBezTo>
                    <a:pt x="90683" y="283707"/>
                    <a:pt x="91114" y="284571"/>
                    <a:pt x="91114" y="285434"/>
                  </a:cubicBezTo>
                  <a:cubicBezTo>
                    <a:pt x="91114" y="286298"/>
                    <a:pt x="90683" y="286730"/>
                    <a:pt x="90683" y="287594"/>
                  </a:cubicBezTo>
                  <a:lnTo>
                    <a:pt x="90683" y="288025"/>
                  </a:lnTo>
                  <a:cubicBezTo>
                    <a:pt x="90683" y="288457"/>
                    <a:pt x="90683" y="288457"/>
                    <a:pt x="91114" y="288457"/>
                  </a:cubicBezTo>
                  <a:lnTo>
                    <a:pt x="91546" y="288457"/>
                  </a:lnTo>
                  <a:lnTo>
                    <a:pt x="91978" y="289321"/>
                  </a:lnTo>
                  <a:cubicBezTo>
                    <a:pt x="91114" y="289753"/>
                    <a:pt x="91546" y="290185"/>
                    <a:pt x="91114" y="290616"/>
                  </a:cubicBezTo>
                  <a:lnTo>
                    <a:pt x="91114" y="294071"/>
                  </a:lnTo>
                  <a:cubicBezTo>
                    <a:pt x="91114" y="294503"/>
                    <a:pt x="91114" y="294503"/>
                    <a:pt x="91546" y="294503"/>
                  </a:cubicBezTo>
                  <a:lnTo>
                    <a:pt x="91978" y="294503"/>
                  </a:lnTo>
                  <a:cubicBezTo>
                    <a:pt x="91978" y="293639"/>
                    <a:pt x="92842" y="292775"/>
                    <a:pt x="92842" y="292344"/>
                  </a:cubicBezTo>
                  <a:lnTo>
                    <a:pt x="93273" y="291912"/>
                  </a:lnTo>
                  <a:cubicBezTo>
                    <a:pt x="93273" y="291912"/>
                    <a:pt x="93273" y="292344"/>
                    <a:pt x="93705" y="292344"/>
                  </a:cubicBezTo>
                  <a:cubicBezTo>
                    <a:pt x="95001" y="292775"/>
                    <a:pt x="95001" y="292775"/>
                    <a:pt x="95001" y="294071"/>
                  </a:cubicBezTo>
                  <a:cubicBezTo>
                    <a:pt x="94137" y="294071"/>
                    <a:pt x="94137" y="294503"/>
                    <a:pt x="94137" y="294934"/>
                  </a:cubicBezTo>
                  <a:cubicBezTo>
                    <a:pt x="94137" y="294934"/>
                    <a:pt x="95001" y="294934"/>
                    <a:pt x="95001" y="295366"/>
                  </a:cubicBezTo>
                  <a:cubicBezTo>
                    <a:pt x="94569" y="297094"/>
                    <a:pt x="94569" y="298389"/>
                    <a:pt x="94569" y="299685"/>
                  </a:cubicBezTo>
                  <a:lnTo>
                    <a:pt x="93705" y="299685"/>
                  </a:lnTo>
                  <a:cubicBezTo>
                    <a:pt x="93273" y="299685"/>
                    <a:pt x="93273" y="299253"/>
                    <a:pt x="92842" y="298821"/>
                  </a:cubicBezTo>
                  <a:cubicBezTo>
                    <a:pt x="91978" y="297957"/>
                    <a:pt x="91978" y="297525"/>
                    <a:pt x="91978" y="297094"/>
                  </a:cubicBezTo>
                  <a:cubicBezTo>
                    <a:pt x="91978" y="297094"/>
                    <a:pt x="91978" y="296662"/>
                    <a:pt x="92842" y="295798"/>
                  </a:cubicBezTo>
                  <a:lnTo>
                    <a:pt x="93273" y="295366"/>
                  </a:lnTo>
                  <a:lnTo>
                    <a:pt x="92842" y="295366"/>
                  </a:lnTo>
                  <a:cubicBezTo>
                    <a:pt x="92842" y="294934"/>
                    <a:pt x="91978" y="294934"/>
                    <a:pt x="91978" y="294934"/>
                  </a:cubicBezTo>
                  <a:cubicBezTo>
                    <a:pt x="91546" y="295366"/>
                    <a:pt x="91114" y="295798"/>
                    <a:pt x="90683" y="297094"/>
                  </a:cubicBezTo>
                  <a:lnTo>
                    <a:pt x="90683" y="298389"/>
                  </a:lnTo>
                  <a:cubicBezTo>
                    <a:pt x="90683" y="298821"/>
                    <a:pt x="90251" y="299253"/>
                    <a:pt x="89387" y="299685"/>
                  </a:cubicBezTo>
                  <a:cubicBezTo>
                    <a:pt x="88955" y="299685"/>
                    <a:pt x="89387" y="300116"/>
                    <a:pt x="90251" y="300548"/>
                  </a:cubicBezTo>
                  <a:lnTo>
                    <a:pt x="91114" y="301412"/>
                  </a:lnTo>
                  <a:cubicBezTo>
                    <a:pt x="89819" y="301844"/>
                    <a:pt x="89819" y="301844"/>
                    <a:pt x="89819" y="302275"/>
                  </a:cubicBezTo>
                  <a:lnTo>
                    <a:pt x="89819" y="303139"/>
                  </a:lnTo>
                  <a:cubicBezTo>
                    <a:pt x="89819" y="303571"/>
                    <a:pt x="91114" y="304003"/>
                    <a:pt x="91978" y="304003"/>
                  </a:cubicBezTo>
                  <a:lnTo>
                    <a:pt x="93273" y="304003"/>
                  </a:lnTo>
                  <a:cubicBezTo>
                    <a:pt x="94569" y="304003"/>
                    <a:pt x="95001" y="304003"/>
                    <a:pt x="95001" y="304435"/>
                  </a:cubicBezTo>
                  <a:cubicBezTo>
                    <a:pt x="95001" y="304866"/>
                    <a:pt x="94569" y="305298"/>
                    <a:pt x="94569" y="306162"/>
                  </a:cubicBezTo>
                  <a:cubicBezTo>
                    <a:pt x="94569" y="308321"/>
                    <a:pt x="94569" y="310912"/>
                    <a:pt x="95001" y="313503"/>
                  </a:cubicBezTo>
                  <a:lnTo>
                    <a:pt x="95001" y="315230"/>
                  </a:lnTo>
                  <a:cubicBezTo>
                    <a:pt x="94137" y="315230"/>
                    <a:pt x="94137" y="315662"/>
                    <a:pt x="94137" y="315662"/>
                  </a:cubicBezTo>
                  <a:cubicBezTo>
                    <a:pt x="94569" y="316094"/>
                    <a:pt x="94569" y="316094"/>
                    <a:pt x="94569" y="316957"/>
                  </a:cubicBezTo>
                  <a:cubicBezTo>
                    <a:pt x="95001" y="318253"/>
                    <a:pt x="95001" y="319548"/>
                    <a:pt x="95001" y="320412"/>
                  </a:cubicBezTo>
                  <a:cubicBezTo>
                    <a:pt x="95001" y="320412"/>
                    <a:pt x="94569" y="320844"/>
                    <a:pt x="94569" y="321276"/>
                  </a:cubicBezTo>
                  <a:cubicBezTo>
                    <a:pt x="94569" y="321707"/>
                    <a:pt x="94569" y="322139"/>
                    <a:pt x="93705" y="322571"/>
                  </a:cubicBezTo>
                  <a:lnTo>
                    <a:pt x="93705" y="325162"/>
                  </a:lnTo>
                  <a:cubicBezTo>
                    <a:pt x="94137" y="325594"/>
                    <a:pt x="94569" y="325594"/>
                    <a:pt x="94569" y="325594"/>
                  </a:cubicBezTo>
                  <a:lnTo>
                    <a:pt x="94137" y="326026"/>
                  </a:lnTo>
                  <a:cubicBezTo>
                    <a:pt x="94137" y="326458"/>
                    <a:pt x="94137" y="326889"/>
                    <a:pt x="95001" y="327321"/>
                  </a:cubicBezTo>
                  <a:lnTo>
                    <a:pt x="95001" y="327753"/>
                  </a:lnTo>
                  <a:cubicBezTo>
                    <a:pt x="94137" y="328185"/>
                    <a:pt x="94137" y="328185"/>
                    <a:pt x="94137" y="328617"/>
                  </a:cubicBezTo>
                  <a:cubicBezTo>
                    <a:pt x="94569" y="329048"/>
                    <a:pt x="94569" y="329480"/>
                    <a:pt x="94569" y="329480"/>
                  </a:cubicBezTo>
                  <a:cubicBezTo>
                    <a:pt x="94569" y="329912"/>
                    <a:pt x="94569" y="329912"/>
                    <a:pt x="94137" y="329912"/>
                  </a:cubicBezTo>
                  <a:lnTo>
                    <a:pt x="93705" y="330344"/>
                  </a:lnTo>
                  <a:lnTo>
                    <a:pt x="93273" y="329912"/>
                  </a:lnTo>
                  <a:lnTo>
                    <a:pt x="93273" y="328617"/>
                  </a:lnTo>
                  <a:cubicBezTo>
                    <a:pt x="93273" y="328185"/>
                    <a:pt x="92842" y="327753"/>
                    <a:pt x="91978" y="327753"/>
                  </a:cubicBezTo>
                  <a:cubicBezTo>
                    <a:pt x="91978" y="327753"/>
                    <a:pt x="91546" y="328185"/>
                    <a:pt x="91546" y="328617"/>
                  </a:cubicBezTo>
                  <a:cubicBezTo>
                    <a:pt x="91546" y="329912"/>
                    <a:pt x="91114" y="331639"/>
                    <a:pt x="91114" y="333367"/>
                  </a:cubicBezTo>
                  <a:cubicBezTo>
                    <a:pt x="91114" y="333798"/>
                    <a:pt x="91546" y="333798"/>
                    <a:pt x="92410" y="333798"/>
                  </a:cubicBezTo>
                  <a:cubicBezTo>
                    <a:pt x="92842" y="333798"/>
                    <a:pt x="92842" y="332935"/>
                    <a:pt x="93273" y="332935"/>
                  </a:cubicBezTo>
                  <a:cubicBezTo>
                    <a:pt x="93705" y="332935"/>
                    <a:pt x="94569" y="333367"/>
                    <a:pt x="94569" y="333367"/>
                  </a:cubicBezTo>
                  <a:cubicBezTo>
                    <a:pt x="94569" y="333798"/>
                    <a:pt x="95001" y="334662"/>
                    <a:pt x="95001" y="334662"/>
                  </a:cubicBezTo>
                  <a:lnTo>
                    <a:pt x="95001" y="336389"/>
                  </a:lnTo>
                  <a:lnTo>
                    <a:pt x="95864" y="338117"/>
                  </a:lnTo>
                  <a:lnTo>
                    <a:pt x="95864" y="339844"/>
                  </a:lnTo>
                  <a:cubicBezTo>
                    <a:pt x="95864" y="340276"/>
                    <a:pt x="95433" y="340708"/>
                    <a:pt x="95433" y="341139"/>
                  </a:cubicBezTo>
                  <a:cubicBezTo>
                    <a:pt x="95433" y="341571"/>
                    <a:pt x="95864" y="342435"/>
                    <a:pt x="96296" y="342867"/>
                  </a:cubicBezTo>
                  <a:lnTo>
                    <a:pt x="96296" y="344162"/>
                  </a:lnTo>
                  <a:cubicBezTo>
                    <a:pt x="96296" y="344594"/>
                    <a:pt x="96296" y="345026"/>
                    <a:pt x="96728" y="345026"/>
                  </a:cubicBezTo>
                  <a:cubicBezTo>
                    <a:pt x="97160" y="345026"/>
                    <a:pt x="96728" y="345458"/>
                    <a:pt x="96728" y="345458"/>
                  </a:cubicBezTo>
                  <a:lnTo>
                    <a:pt x="96728" y="348480"/>
                  </a:lnTo>
                  <a:cubicBezTo>
                    <a:pt x="96728" y="348912"/>
                    <a:pt x="96728" y="349776"/>
                    <a:pt x="98024" y="350640"/>
                  </a:cubicBezTo>
                  <a:lnTo>
                    <a:pt x="98024" y="351935"/>
                  </a:lnTo>
                  <a:cubicBezTo>
                    <a:pt x="98024" y="352367"/>
                    <a:pt x="98455" y="352799"/>
                    <a:pt x="99319" y="353230"/>
                  </a:cubicBezTo>
                  <a:cubicBezTo>
                    <a:pt x="99319" y="353662"/>
                    <a:pt x="98887" y="354094"/>
                    <a:pt x="99319" y="354094"/>
                  </a:cubicBezTo>
                  <a:cubicBezTo>
                    <a:pt x="100183" y="354094"/>
                    <a:pt x="100183" y="354094"/>
                    <a:pt x="101910" y="353662"/>
                  </a:cubicBezTo>
                  <a:cubicBezTo>
                    <a:pt x="102342" y="353230"/>
                    <a:pt x="103205" y="352367"/>
                    <a:pt x="104501" y="352367"/>
                  </a:cubicBezTo>
                  <a:lnTo>
                    <a:pt x="106660" y="350640"/>
                  </a:lnTo>
                  <a:cubicBezTo>
                    <a:pt x="107092" y="350208"/>
                    <a:pt x="107092" y="348912"/>
                    <a:pt x="107956" y="348480"/>
                  </a:cubicBezTo>
                  <a:lnTo>
                    <a:pt x="107956" y="348049"/>
                  </a:lnTo>
                  <a:cubicBezTo>
                    <a:pt x="109683" y="347185"/>
                    <a:pt x="110115" y="345458"/>
                    <a:pt x="110978" y="345026"/>
                  </a:cubicBezTo>
                  <a:cubicBezTo>
                    <a:pt x="111842" y="344594"/>
                    <a:pt x="111842" y="344162"/>
                    <a:pt x="112705" y="343299"/>
                  </a:cubicBezTo>
                  <a:lnTo>
                    <a:pt x="112705" y="342003"/>
                  </a:lnTo>
                  <a:cubicBezTo>
                    <a:pt x="112705" y="341571"/>
                    <a:pt x="112705" y="341571"/>
                    <a:pt x="113137" y="341139"/>
                  </a:cubicBezTo>
                  <a:lnTo>
                    <a:pt x="114001" y="340276"/>
                  </a:lnTo>
                  <a:cubicBezTo>
                    <a:pt x="114001" y="339844"/>
                    <a:pt x="114433" y="339412"/>
                    <a:pt x="114433" y="338549"/>
                  </a:cubicBezTo>
                  <a:lnTo>
                    <a:pt x="116160" y="337253"/>
                  </a:lnTo>
                  <a:cubicBezTo>
                    <a:pt x="116160" y="336389"/>
                    <a:pt x="116160" y="335526"/>
                    <a:pt x="117456" y="335094"/>
                  </a:cubicBezTo>
                  <a:lnTo>
                    <a:pt x="117456" y="334230"/>
                  </a:lnTo>
                  <a:cubicBezTo>
                    <a:pt x="117456" y="333367"/>
                    <a:pt x="117887" y="332503"/>
                    <a:pt x="118319" y="331639"/>
                  </a:cubicBezTo>
                  <a:lnTo>
                    <a:pt x="121342" y="329048"/>
                  </a:lnTo>
                  <a:cubicBezTo>
                    <a:pt x="121774" y="328185"/>
                    <a:pt x="121774" y="327321"/>
                    <a:pt x="122206" y="326889"/>
                  </a:cubicBezTo>
                  <a:cubicBezTo>
                    <a:pt x="122637" y="326026"/>
                    <a:pt x="123069" y="325594"/>
                    <a:pt x="123069" y="325162"/>
                  </a:cubicBezTo>
                  <a:lnTo>
                    <a:pt x="122637" y="324730"/>
                  </a:lnTo>
                  <a:cubicBezTo>
                    <a:pt x="122637" y="324298"/>
                    <a:pt x="122637" y="323435"/>
                    <a:pt x="123501" y="323003"/>
                  </a:cubicBezTo>
                  <a:lnTo>
                    <a:pt x="124797" y="320412"/>
                  </a:lnTo>
                  <a:cubicBezTo>
                    <a:pt x="125660" y="319980"/>
                    <a:pt x="125660" y="318253"/>
                    <a:pt x="126956" y="316957"/>
                  </a:cubicBezTo>
                  <a:lnTo>
                    <a:pt x="126956" y="316526"/>
                  </a:lnTo>
                  <a:cubicBezTo>
                    <a:pt x="126956" y="316094"/>
                    <a:pt x="127819" y="316094"/>
                    <a:pt x="128251" y="315662"/>
                  </a:cubicBezTo>
                  <a:lnTo>
                    <a:pt x="127819" y="315662"/>
                  </a:lnTo>
                  <a:cubicBezTo>
                    <a:pt x="128683" y="315230"/>
                    <a:pt x="129115" y="314366"/>
                    <a:pt x="129115" y="313071"/>
                  </a:cubicBezTo>
                  <a:cubicBezTo>
                    <a:pt x="129115" y="312207"/>
                    <a:pt x="129547" y="311344"/>
                    <a:pt x="129547" y="311344"/>
                  </a:cubicBezTo>
                  <a:cubicBezTo>
                    <a:pt x="129547" y="310912"/>
                    <a:pt x="131274" y="310480"/>
                    <a:pt x="131274" y="309617"/>
                  </a:cubicBezTo>
                  <a:cubicBezTo>
                    <a:pt x="131274" y="309185"/>
                    <a:pt x="130842" y="308753"/>
                    <a:pt x="130842" y="308321"/>
                  </a:cubicBezTo>
                  <a:cubicBezTo>
                    <a:pt x="130842" y="307889"/>
                    <a:pt x="130842" y="307889"/>
                    <a:pt x="131274" y="307457"/>
                  </a:cubicBezTo>
                  <a:cubicBezTo>
                    <a:pt x="132569" y="306594"/>
                    <a:pt x="132569" y="306594"/>
                    <a:pt x="132569" y="306162"/>
                  </a:cubicBezTo>
                  <a:cubicBezTo>
                    <a:pt x="133001" y="305298"/>
                    <a:pt x="133433" y="304435"/>
                    <a:pt x="133433" y="304003"/>
                  </a:cubicBezTo>
                  <a:cubicBezTo>
                    <a:pt x="133865" y="303139"/>
                    <a:pt x="135160" y="301844"/>
                    <a:pt x="135592" y="301412"/>
                  </a:cubicBezTo>
                  <a:cubicBezTo>
                    <a:pt x="135592" y="299253"/>
                    <a:pt x="136456" y="297525"/>
                    <a:pt x="137751" y="297094"/>
                  </a:cubicBezTo>
                  <a:cubicBezTo>
                    <a:pt x="137751" y="296230"/>
                    <a:pt x="138615" y="295798"/>
                    <a:pt x="138615" y="295798"/>
                  </a:cubicBezTo>
                  <a:cubicBezTo>
                    <a:pt x="139047" y="294934"/>
                    <a:pt x="139910" y="293639"/>
                    <a:pt x="139910" y="292344"/>
                  </a:cubicBezTo>
                  <a:cubicBezTo>
                    <a:pt x="140342" y="292344"/>
                    <a:pt x="141638" y="290185"/>
                    <a:pt x="141638" y="289753"/>
                  </a:cubicBezTo>
                  <a:lnTo>
                    <a:pt x="141206" y="289321"/>
                  </a:lnTo>
                  <a:cubicBezTo>
                    <a:pt x="141206" y="288889"/>
                    <a:pt x="142069" y="288025"/>
                    <a:pt x="142069" y="287594"/>
                  </a:cubicBezTo>
                  <a:cubicBezTo>
                    <a:pt x="142069" y="286298"/>
                    <a:pt x="143797" y="285866"/>
                    <a:pt x="144229" y="284571"/>
                  </a:cubicBezTo>
                  <a:cubicBezTo>
                    <a:pt x="143797" y="284139"/>
                    <a:pt x="143797" y="283707"/>
                    <a:pt x="143797" y="283707"/>
                  </a:cubicBezTo>
                  <a:cubicBezTo>
                    <a:pt x="143797" y="282843"/>
                    <a:pt x="144229" y="282843"/>
                    <a:pt x="144229" y="282412"/>
                  </a:cubicBezTo>
                  <a:cubicBezTo>
                    <a:pt x="145956" y="281980"/>
                    <a:pt x="145092" y="280684"/>
                    <a:pt x="146388" y="280253"/>
                  </a:cubicBezTo>
                  <a:cubicBezTo>
                    <a:pt x="146388" y="279389"/>
                    <a:pt x="146820" y="278525"/>
                    <a:pt x="147251" y="278093"/>
                  </a:cubicBezTo>
                  <a:cubicBezTo>
                    <a:pt x="147251" y="277662"/>
                    <a:pt x="147683" y="276798"/>
                    <a:pt x="147683" y="276366"/>
                  </a:cubicBezTo>
                  <a:lnTo>
                    <a:pt x="147251" y="275934"/>
                  </a:lnTo>
                  <a:cubicBezTo>
                    <a:pt x="147251" y="275934"/>
                    <a:pt x="147683" y="274639"/>
                    <a:pt x="148115" y="274639"/>
                  </a:cubicBezTo>
                  <a:lnTo>
                    <a:pt x="149842" y="272912"/>
                  </a:lnTo>
                  <a:cubicBezTo>
                    <a:pt x="150274" y="272480"/>
                    <a:pt x="150274" y="272048"/>
                    <a:pt x="150274" y="271616"/>
                  </a:cubicBezTo>
                  <a:lnTo>
                    <a:pt x="151138" y="269889"/>
                  </a:lnTo>
                  <a:cubicBezTo>
                    <a:pt x="151138" y="269025"/>
                    <a:pt x="152865" y="269025"/>
                    <a:pt x="152865" y="268162"/>
                  </a:cubicBezTo>
                  <a:cubicBezTo>
                    <a:pt x="152433" y="267730"/>
                    <a:pt x="152433" y="267298"/>
                    <a:pt x="152433" y="266866"/>
                  </a:cubicBezTo>
                  <a:cubicBezTo>
                    <a:pt x="152433" y="266434"/>
                    <a:pt x="152433" y="266002"/>
                    <a:pt x="152865" y="265139"/>
                  </a:cubicBezTo>
                  <a:cubicBezTo>
                    <a:pt x="152865" y="265139"/>
                    <a:pt x="153729" y="264707"/>
                    <a:pt x="153729" y="264275"/>
                  </a:cubicBezTo>
                  <a:lnTo>
                    <a:pt x="153729" y="263843"/>
                  </a:lnTo>
                  <a:cubicBezTo>
                    <a:pt x="153729" y="263411"/>
                    <a:pt x="153729" y="263411"/>
                    <a:pt x="154592" y="262980"/>
                  </a:cubicBezTo>
                  <a:cubicBezTo>
                    <a:pt x="155024" y="262980"/>
                    <a:pt x="155024" y="262548"/>
                    <a:pt x="155024" y="262116"/>
                  </a:cubicBezTo>
                  <a:cubicBezTo>
                    <a:pt x="155024" y="261684"/>
                    <a:pt x="155456" y="261252"/>
                    <a:pt x="155888" y="260821"/>
                  </a:cubicBezTo>
                  <a:lnTo>
                    <a:pt x="155888" y="259957"/>
                  </a:lnTo>
                  <a:cubicBezTo>
                    <a:pt x="155888" y="259525"/>
                    <a:pt x="155888" y="259525"/>
                    <a:pt x="156320" y="259525"/>
                  </a:cubicBezTo>
                  <a:cubicBezTo>
                    <a:pt x="156320" y="257798"/>
                    <a:pt x="157183" y="256070"/>
                    <a:pt x="158479" y="254775"/>
                  </a:cubicBezTo>
                  <a:cubicBezTo>
                    <a:pt x="158479" y="253911"/>
                    <a:pt x="158911" y="253048"/>
                    <a:pt x="158911" y="252616"/>
                  </a:cubicBezTo>
                  <a:cubicBezTo>
                    <a:pt x="158911" y="252184"/>
                    <a:pt x="160206" y="251321"/>
                    <a:pt x="160206" y="250457"/>
                  </a:cubicBezTo>
                  <a:cubicBezTo>
                    <a:pt x="160206" y="250025"/>
                    <a:pt x="160638" y="249161"/>
                    <a:pt x="161501" y="248730"/>
                  </a:cubicBezTo>
                  <a:cubicBezTo>
                    <a:pt x="162365" y="247866"/>
                    <a:pt x="163229" y="246570"/>
                    <a:pt x="163229" y="245275"/>
                  </a:cubicBezTo>
                  <a:lnTo>
                    <a:pt x="163229" y="243548"/>
                  </a:lnTo>
                  <a:cubicBezTo>
                    <a:pt x="162797" y="243116"/>
                    <a:pt x="163661" y="243116"/>
                    <a:pt x="163661" y="243116"/>
                  </a:cubicBezTo>
                  <a:lnTo>
                    <a:pt x="164956" y="240525"/>
                  </a:lnTo>
                  <a:cubicBezTo>
                    <a:pt x="164956" y="240093"/>
                    <a:pt x="166252" y="239661"/>
                    <a:pt x="165820" y="239229"/>
                  </a:cubicBezTo>
                  <a:lnTo>
                    <a:pt x="164956" y="238798"/>
                  </a:lnTo>
                  <a:cubicBezTo>
                    <a:pt x="164956" y="238366"/>
                    <a:pt x="166252" y="237934"/>
                    <a:pt x="166252" y="237502"/>
                  </a:cubicBezTo>
                  <a:cubicBezTo>
                    <a:pt x="166252" y="237070"/>
                    <a:pt x="167547" y="236207"/>
                    <a:pt x="167547" y="235775"/>
                  </a:cubicBezTo>
                  <a:lnTo>
                    <a:pt x="167115" y="235775"/>
                  </a:lnTo>
                  <a:lnTo>
                    <a:pt x="167115" y="235343"/>
                  </a:lnTo>
                  <a:cubicBezTo>
                    <a:pt x="167115" y="234911"/>
                    <a:pt x="167979" y="234911"/>
                    <a:pt x="167979" y="234479"/>
                  </a:cubicBezTo>
                  <a:cubicBezTo>
                    <a:pt x="167979" y="234479"/>
                    <a:pt x="167979" y="234048"/>
                    <a:pt x="167547" y="233616"/>
                  </a:cubicBezTo>
                  <a:cubicBezTo>
                    <a:pt x="167547" y="233184"/>
                    <a:pt x="168842" y="232320"/>
                    <a:pt x="168411" y="231889"/>
                  </a:cubicBezTo>
                  <a:cubicBezTo>
                    <a:pt x="168842" y="231025"/>
                    <a:pt x="169274" y="230593"/>
                    <a:pt x="169706" y="230593"/>
                  </a:cubicBezTo>
                  <a:cubicBezTo>
                    <a:pt x="170570" y="229729"/>
                    <a:pt x="169706" y="228434"/>
                    <a:pt x="171865" y="227570"/>
                  </a:cubicBezTo>
                  <a:cubicBezTo>
                    <a:pt x="186979" y="207275"/>
                    <a:pt x="192593" y="199934"/>
                    <a:pt x="193456" y="199934"/>
                  </a:cubicBezTo>
                  <a:cubicBezTo>
                    <a:pt x="194752" y="199934"/>
                    <a:pt x="181797" y="221093"/>
                    <a:pt x="181365" y="227138"/>
                  </a:cubicBezTo>
                  <a:lnTo>
                    <a:pt x="181797" y="227138"/>
                  </a:lnTo>
                  <a:lnTo>
                    <a:pt x="181797" y="227570"/>
                  </a:lnTo>
                  <a:cubicBezTo>
                    <a:pt x="181797" y="228434"/>
                    <a:pt x="181797" y="228434"/>
                    <a:pt x="181365" y="228866"/>
                  </a:cubicBezTo>
                  <a:lnTo>
                    <a:pt x="182229" y="228866"/>
                  </a:lnTo>
                  <a:cubicBezTo>
                    <a:pt x="182661" y="228866"/>
                    <a:pt x="183093" y="228866"/>
                    <a:pt x="184388" y="228002"/>
                  </a:cubicBezTo>
                  <a:lnTo>
                    <a:pt x="184388" y="228866"/>
                  </a:lnTo>
                  <a:cubicBezTo>
                    <a:pt x="184388" y="230161"/>
                    <a:pt x="183524" y="231025"/>
                    <a:pt x="183093" y="231889"/>
                  </a:cubicBezTo>
                  <a:lnTo>
                    <a:pt x="183093" y="232320"/>
                  </a:lnTo>
                  <a:cubicBezTo>
                    <a:pt x="182661" y="233184"/>
                    <a:pt x="182661" y="233184"/>
                    <a:pt x="181365" y="233616"/>
                  </a:cubicBezTo>
                  <a:cubicBezTo>
                    <a:pt x="180933" y="234048"/>
                    <a:pt x="180933" y="234479"/>
                    <a:pt x="180933" y="234911"/>
                  </a:cubicBezTo>
                  <a:lnTo>
                    <a:pt x="180933" y="235775"/>
                  </a:lnTo>
                  <a:cubicBezTo>
                    <a:pt x="180933" y="235775"/>
                    <a:pt x="180933" y="236207"/>
                    <a:pt x="180502" y="236638"/>
                  </a:cubicBezTo>
                  <a:cubicBezTo>
                    <a:pt x="179638" y="237070"/>
                    <a:pt x="179638" y="237502"/>
                    <a:pt x="179638" y="237934"/>
                  </a:cubicBezTo>
                  <a:cubicBezTo>
                    <a:pt x="179638" y="238366"/>
                    <a:pt x="179638" y="238798"/>
                    <a:pt x="180502" y="239229"/>
                  </a:cubicBezTo>
                  <a:lnTo>
                    <a:pt x="180933" y="239661"/>
                  </a:lnTo>
                  <a:cubicBezTo>
                    <a:pt x="180933" y="239661"/>
                    <a:pt x="180502" y="239661"/>
                    <a:pt x="180070" y="240093"/>
                  </a:cubicBezTo>
                  <a:cubicBezTo>
                    <a:pt x="180070" y="240093"/>
                    <a:pt x="179638" y="240525"/>
                    <a:pt x="179206" y="240525"/>
                  </a:cubicBezTo>
                  <a:cubicBezTo>
                    <a:pt x="178343" y="241389"/>
                    <a:pt x="177479" y="242252"/>
                    <a:pt x="175752" y="242252"/>
                  </a:cubicBezTo>
                  <a:lnTo>
                    <a:pt x="175752" y="243116"/>
                  </a:lnTo>
                  <a:cubicBezTo>
                    <a:pt x="176183" y="243548"/>
                    <a:pt x="176183" y="243979"/>
                    <a:pt x="177479" y="243979"/>
                  </a:cubicBezTo>
                  <a:cubicBezTo>
                    <a:pt x="176183" y="244411"/>
                    <a:pt x="176183" y="244843"/>
                    <a:pt x="175320" y="244843"/>
                  </a:cubicBezTo>
                  <a:cubicBezTo>
                    <a:pt x="174456" y="244843"/>
                    <a:pt x="173592" y="244843"/>
                    <a:pt x="173592" y="245707"/>
                  </a:cubicBezTo>
                  <a:cubicBezTo>
                    <a:pt x="173161" y="245707"/>
                    <a:pt x="173161" y="246139"/>
                    <a:pt x="173161" y="246570"/>
                  </a:cubicBezTo>
                  <a:lnTo>
                    <a:pt x="173161" y="247002"/>
                  </a:lnTo>
                  <a:lnTo>
                    <a:pt x="174888" y="247002"/>
                  </a:lnTo>
                  <a:lnTo>
                    <a:pt x="174888" y="247866"/>
                  </a:lnTo>
                  <a:cubicBezTo>
                    <a:pt x="174888" y="248298"/>
                    <a:pt x="174888" y="248730"/>
                    <a:pt x="175320" y="248730"/>
                  </a:cubicBezTo>
                  <a:cubicBezTo>
                    <a:pt x="175320" y="249161"/>
                    <a:pt x="175752" y="249161"/>
                    <a:pt x="175752" y="249593"/>
                  </a:cubicBezTo>
                  <a:cubicBezTo>
                    <a:pt x="175752" y="250025"/>
                    <a:pt x="175320" y="250025"/>
                    <a:pt x="175320" y="250025"/>
                  </a:cubicBezTo>
                  <a:lnTo>
                    <a:pt x="173592" y="251321"/>
                  </a:lnTo>
                  <a:lnTo>
                    <a:pt x="173592" y="254775"/>
                  </a:lnTo>
                  <a:cubicBezTo>
                    <a:pt x="173161" y="254775"/>
                    <a:pt x="173161" y="255207"/>
                    <a:pt x="173161" y="255639"/>
                  </a:cubicBezTo>
                  <a:cubicBezTo>
                    <a:pt x="173161" y="256070"/>
                    <a:pt x="172729" y="256502"/>
                    <a:pt x="172729" y="256934"/>
                  </a:cubicBezTo>
                  <a:lnTo>
                    <a:pt x="172297" y="257366"/>
                  </a:lnTo>
                  <a:cubicBezTo>
                    <a:pt x="171433" y="257798"/>
                    <a:pt x="171001" y="258661"/>
                    <a:pt x="171001" y="259093"/>
                  </a:cubicBezTo>
                  <a:cubicBezTo>
                    <a:pt x="171001" y="259525"/>
                    <a:pt x="171865" y="259957"/>
                    <a:pt x="171865" y="260821"/>
                  </a:cubicBezTo>
                  <a:cubicBezTo>
                    <a:pt x="171865" y="260821"/>
                    <a:pt x="170138" y="261684"/>
                    <a:pt x="169706" y="261684"/>
                  </a:cubicBezTo>
                  <a:cubicBezTo>
                    <a:pt x="169274" y="261684"/>
                    <a:pt x="169274" y="261684"/>
                    <a:pt x="169274" y="262116"/>
                  </a:cubicBezTo>
                  <a:lnTo>
                    <a:pt x="169274" y="262980"/>
                  </a:lnTo>
                  <a:cubicBezTo>
                    <a:pt x="169274" y="263411"/>
                    <a:pt x="169706" y="263843"/>
                    <a:pt x="169706" y="264275"/>
                  </a:cubicBezTo>
                  <a:cubicBezTo>
                    <a:pt x="169706" y="265139"/>
                    <a:pt x="168842" y="265571"/>
                    <a:pt x="167547" y="266434"/>
                  </a:cubicBezTo>
                  <a:lnTo>
                    <a:pt x="167547" y="267298"/>
                  </a:lnTo>
                  <a:lnTo>
                    <a:pt x="169274" y="267298"/>
                  </a:lnTo>
                  <a:cubicBezTo>
                    <a:pt x="169274" y="266866"/>
                    <a:pt x="169706" y="266866"/>
                    <a:pt x="170138" y="266866"/>
                  </a:cubicBezTo>
                  <a:cubicBezTo>
                    <a:pt x="170570" y="267298"/>
                    <a:pt x="171001" y="267298"/>
                    <a:pt x="171001" y="267298"/>
                  </a:cubicBezTo>
                  <a:cubicBezTo>
                    <a:pt x="171001" y="267298"/>
                    <a:pt x="170570" y="267730"/>
                    <a:pt x="170570" y="268162"/>
                  </a:cubicBezTo>
                  <a:cubicBezTo>
                    <a:pt x="170138" y="268593"/>
                    <a:pt x="170138" y="268593"/>
                    <a:pt x="170138" y="269025"/>
                  </a:cubicBezTo>
                  <a:cubicBezTo>
                    <a:pt x="170138" y="269889"/>
                    <a:pt x="170138" y="271184"/>
                    <a:pt x="169274" y="272048"/>
                  </a:cubicBezTo>
                  <a:lnTo>
                    <a:pt x="169274" y="273343"/>
                  </a:lnTo>
                  <a:cubicBezTo>
                    <a:pt x="169706" y="273343"/>
                    <a:pt x="169706" y="273775"/>
                    <a:pt x="169706" y="274207"/>
                  </a:cubicBezTo>
                  <a:cubicBezTo>
                    <a:pt x="169706" y="274639"/>
                    <a:pt x="169706" y="275071"/>
                    <a:pt x="169274" y="275502"/>
                  </a:cubicBezTo>
                  <a:cubicBezTo>
                    <a:pt x="168842" y="275502"/>
                    <a:pt x="168842" y="275502"/>
                    <a:pt x="168842" y="275934"/>
                  </a:cubicBezTo>
                  <a:lnTo>
                    <a:pt x="168842" y="276366"/>
                  </a:lnTo>
                  <a:cubicBezTo>
                    <a:pt x="167979" y="276366"/>
                    <a:pt x="167979" y="276366"/>
                    <a:pt x="167979" y="277230"/>
                  </a:cubicBezTo>
                  <a:cubicBezTo>
                    <a:pt x="167979" y="278093"/>
                    <a:pt x="167115" y="278093"/>
                    <a:pt x="167115" y="278957"/>
                  </a:cubicBezTo>
                  <a:cubicBezTo>
                    <a:pt x="167115" y="279389"/>
                    <a:pt x="167115" y="280253"/>
                    <a:pt x="166683" y="280253"/>
                  </a:cubicBezTo>
                  <a:cubicBezTo>
                    <a:pt x="164956" y="280253"/>
                    <a:pt x="164956" y="281116"/>
                    <a:pt x="163661" y="281548"/>
                  </a:cubicBezTo>
                  <a:lnTo>
                    <a:pt x="163661" y="282843"/>
                  </a:lnTo>
                  <a:cubicBezTo>
                    <a:pt x="161933" y="283707"/>
                    <a:pt x="161501" y="284571"/>
                    <a:pt x="160638" y="285866"/>
                  </a:cubicBezTo>
                  <a:lnTo>
                    <a:pt x="161070" y="285866"/>
                  </a:lnTo>
                  <a:cubicBezTo>
                    <a:pt x="161933" y="285866"/>
                    <a:pt x="161501" y="286730"/>
                    <a:pt x="161933" y="287162"/>
                  </a:cubicBezTo>
                  <a:lnTo>
                    <a:pt x="161933" y="287594"/>
                  </a:lnTo>
                  <a:cubicBezTo>
                    <a:pt x="161501" y="288025"/>
                    <a:pt x="161501" y="288889"/>
                    <a:pt x="161501" y="289321"/>
                  </a:cubicBezTo>
                  <a:cubicBezTo>
                    <a:pt x="161501" y="289753"/>
                    <a:pt x="161501" y="290185"/>
                    <a:pt x="161070" y="290185"/>
                  </a:cubicBezTo>
                  <a:cubicBezTo>
                    <a:pt x="160638" y="291048"/>
                    <a:pt x="159774" y="291480"/>
                    <a:pt x="159774" y="292344"/>
                  </a:cubicBezTo>
                  <a:lnTo>
                    <a:pt x="160638" y="292775"/>
                  </a:lnTo>
                  <a:cubicBezTo>
                    <a:pt x="160638" y="294071"/>
                    <a:pt x="158911" y="294071"/>
                    <a:pt x="158479" y="294503"/>
                  </a:cubicBezTo>
                  <a:cubicBezTo>
                    <a:pt x="158479" y="294503"/>
                    <a:pt x="157615" y="294503"/>
                    <a:pt x="157615" y="294071"/>
                  </a:cubicBezTo>
                  <a:cubicBezTo>
                    <a:pt x="157615" y="293639"/>
                    <a:pt x="157615" y="292775"/>
                    <a:pt x="157183" y="292344"/>
                  </a:cubicBezTo>
                  <a:cubicBezTo>
                    <a:pt x="157183" y="292344"/>
                    <a:pt x="157615" y="291912"/>
                    <a:pt x="158047" y="291912"/>
                  </a:cubicBezTo>
                  <a:cubicBezTo>
                    <a:pt x="158479" y="291912"/>
                    <a:pt x="158479" y="291480"/>
                    <a:pt x="158911" y="290616"/>
                  </a:cubicBezTo>
                  <a:cubicBezTo>
                    <a:pt x="158911" y="290185"/>
                    <a:pt x="158479" y="290185"/>
                    <a:pt x="158479" y="290185"/>
                  </a:cubicBezTo>
                  <a:cubicBezTo>
                    <a:pt x="157183" y="290185"/>
                    <a:pt x="156320" y="290616"/>
                    <a:pt x="155456" y="291912"/>
                  </a:cubicBezTo>
                  <a:lnTo>
                    <a:pt x="155456" y="292344"/>
                  </a:lnTo>
                  <a:cubicBezTo>
                    <a:pt x="155456" y="293207"/>
                    <a:pt x="154160" y="294071"/>
                    <a:pt x="154160" y="295366"/>
                  </a:cubicBezTo>
                  <a:lnTo>
                    <a:pt x="154160" y="295798"/>
                  </a:lnTo>
                  <a:cubicBezTo>
                    <a:pt x="153297" y="296662"/>
                    <a:pt x="153297" y="297094"/>
                    <a:pt x="153297" y="297525"/>
                  </a:cubicBezTo>
                  <a:lnTo>
                    <a:pt x="153297" y="299253"/>
                  </a:lnTo>
                  <a:cubicBezTo>
                    <a:pt x="153729" y="299253"/>
                    <a:pt x="154160" y="299685"/>
                    <a:pt x="154160" y="299685"/>
                  </a:cubicBezTo>
                  <a:cubicBezTo>
                    <a:pt x="154160" y="300116"/>
                    <a:pt x="153729" y="300116"/>
                    <a:pt x="153297" y="300548"/>
                  </a:cubicBezTo>
                  <a:cubicBezTo>
                    <a:pt x="152865" y="301412"/>
                    <a:pt x="152865" y="301844"/>
                    <a:pt x="152865" y="303139"/>
                  </a:cubicBezTo>
                  <a:lnTo>
                    <a:pt x="152865" y="305298"/>
                  </a:lnTo>
                  <a:cubicBezTo>
                    <a:pt x="152433" y="306162"/>
                    <a:pt x="151569" y="306162"/>
                    <a:pt x="151569" y="306594"/>
                  </a:cubicBezTo>
                  <a:lnTo>
                    <a:pt x="151569" y="308321"/>
                  </a:lnTo>
                  <a:cubicBezTo>
                    <a:pt x="151569" y="308753"/>
                    <a:pt x="151138" y="310048"/>
                    <a:pt x="150706" y="310048"/>
                  </a:cubicBezTo>
                  <a:lnTo>
                    <a:pt x="149842" y="310048"/>
                  </a:lnTo>
                  <a:cubicBezTo>
                    <a:pt x="149410" y="310048"/>
                    <a:pt x="148979" y="310048"/>
                    <a:pt x="148547" y="310480"/>
                  </a:cubicBezTo>
                  <a:cubicBezTo>
                    <a:pt x="148115" y="310912"/>
                    <a:pt x="148115" y="311344"/>
                    <a:pt x="148115" y="311344"/>
                  </a:cubicBezTo>
                  <a:cubicBezTo>
                    <a:pt x="148979" y="311776"/>
                    <a:pt x="149410" y="311776"/>
                    <a:pt x="149410" y="312207"/>
                  </a:cubicBezTo>
                  <a:cubicBezTo>
                    <a:pt x="149410" y="312639"/>
                    <a:pt x="148979" y="313071"/>
                    <a:pt x="148547" y="313503"/>
                  </a:cubicBezTo>
                  <a:cubicBezTo>
                    <a:pt x="147683" y="314798"/>
                    <a:pt x="146820" y="314798"/>
                    <a:pt x="145524" y="314798"/>
                  </a:cubicBezTo>
                  <a:cubicBezTo>
                    <a:pt x="145092" y="314798"/>
                    <a:pt x="144660" y="315230"/>
                    <a:pt x="144660" y="315230"/>
                  </a:cubicBezTo>
                  <a:cubicBezTo>
                    <a:pt x="144660" y="315662"/>
                    <a:pt x="144229" y="316094"/>
                    <a:pt x="144229" y="316094"/>
                  </a:cubicBezTo>
                  <a:lnTo>
                    <a:pt x="144229" y="317821"/>
                  </a:lnTo>
                  <a:cubicBezTo>
                    <a:pt x="142933" y="318253"/>
                    <a:pt x="142933" y="319117"/>
                    <a:pt x="142933" y="319980"/>
                  </a:cubicBezTo>
                  <a:cubicBezTo>
                    <a:pt x="142933" y="320412"/>
                    <a:pt x="142501" y="320412"/>
                    <a:pt x="142069" y="320844"/>
                  </a:cubicBezTo>
                  <a:lnTo>
                    <a:pt x="142069" y="321707"/>
                  </a:lnTo>
                  <a:cubicBezTo>
                    <a:pt x="142069" y="322139"/>
                    <a:pt x="142069" y="322571"/>
                    <a:pt x="141638" y="322571"/>
                  </a:cubicBezTo>
                  <a:cubicBezTo>
                    <a:pt x="141206" y="322571"/>
                    <a:pt x="140774" y="322139"/>
                    <a:pt x="140342" y="322139"/>
                  </a:cubicBezTo>
                  <a:lnTo>
                    <a:pt x="140342" y="321707"/>
                  </a:lnTo>
                  <a:cubicBezTo>
                    <a:pt x="139910" y="321707"/>
                    <a:pt x="139910" y="322139"/>
                    <a:pt x="139910" y="322139"/>
                  </a:cubicBezTo>
                  <a:cubicBezTo>
                    <a:pt x="139479" y="322139"/>
                    <a:pt x="139047" y="322571"/>
                    <a:pt x="138615" y="323003"/>
                  </a:cubicBezTo>
                  <a:cubicBezTo>
                    <a:pt x="138183" y="323435"/>
                    <a:pt x="138183" y="323435"/>
                    <a:pt x="138183" y="323867"/>
                  </a:cubicBezTo>
                  <a:lnTo>
                    <a:pt x="138183" y="324730"/>
                  </a:lnTo>
                  <a:lnTo>
                    <a:pt x="138615" y="325162"/>
                  </a:lnTo>
                  <a:lnTo>
                    <a:pt x="140342" y="323435"/>
                  </a:lnTo>
                  <a:cubicBezTo>
                    <a:pt x="140342" y="323435"/>
                    <a:pt x="140342" y="323003"/>
                    <a:pt x="140774" y="323003"/>
                  </a:cubicBezTo>
                  <a:cubicBezTo>
                    <a:pt x="141206" y="323003"/>
                    <a:pt x="141638" y="323435"/>
                    <a:pt x="141638" y="323435"/>
                  </a:cubicBezTo>
                  <a:cubicBezTo>
                    <a:pt x="142069" y="323867"/>
                    <a:pt x="142501" y="324298"/>
                    <a:pt x="142501" y="324730"/>
                  </a:cubicBezTo>
                  <a:cubicBezTo>
                    <a:pt x="142501" y="325162"/>
                    <a:pt x="143365" y="325594"/>
                    <a:pt x="144229" y="325594"/>
                  </a:cubicBezTo>
                  <a:lnTo>
                    <a:pt x="145524" y="325594"/>
                  </a:lnTo>
                  <a:lnTo>
                    <a:pt x="145092" y="325162"/>
                  </a:lnTo>
                  <a:lnTo>
                    <a:pt x="145092" y="323435"/>
                  </a:lnTo>
                  <a:lnTo>
                    <a:pt x="145956" y="323003"/>
                  </a:lnTo>
                  <a:lnTo>
                    <a:pt x="145956" y="323435"/>
                  </a:lnTo>
                  <a:cubicBezTo>
                    <a:pt x="145956" y="324298"/>
                    <a:pt x="145956" y="325162"/>
                    <a:pt x="146388" y="326458"/>
                  </a:cubicBezTo>
                  <a:lnTo>
                    <a:pt x="146388" y="327321"/>
                  </a:lnTo>
                  <a:cubicBezTo>
                    <a:pt x="145092" y="327753"/>
                    <a:pt x="144660" y="328617"/>
                    <a:pt x="144229" y="329048"/>
                  </a:cubicBezTo>
                  <a:cubicBezTo>
                    <a:pt x="143365" y="329912"/>
                    <a:pt x="142933" y="330344"/>
                    <a:pt x="142501" y="330344"/>
                  </a:cubicBezTo>
                  <a:cubicBezTo>
                    <a:pt x="142069" y="330344"/>
                    <a:pt x="141638" y="329912"/>
                    <a:pt x="140774" y="329480"/>
                  </a:cubicBezTo>
                  <a:cubicBezTo>
                    <a:pt x="140774" y="329480"/>
                    <a:pt x="140342" y="329048"/>
                    <a:pt x="139910" y="329048"/>
                  </a:cubicBezTo>
                  <a:cubicBezTo>
                    <a:pt x="139479" y="329048"/>
                    <a:pt x="139479" y="329480"/>
                    <a:pt x="139047" y="329912"/>
                  </a:cubicBezTo>
                  <a:cubicBezTo>
                    <a:pt x="138615" y="329912"/>
                    <a:pt x="138183" y="329912"/>
                    <a:pt x="137751" y="330776"/>
                  </a:cubicBezTo>
                  <a:cubicBezTo>
                    <a:pt x="136888" y="330776"/>
                    <a:pt x="136888" y="331208"/>
                    <a:pt x="136888" y="331208"/>
                  </a:cubicBezTo>
                  <a:cubicBezTo>
                    <a:pt x="138183" y="331639"/>
                    <a:pt x="138183" y="332071"/>
                    <a:pt x="138183" y="332503"/>
                  </a:cubicBezTo>
                  <a:lnTo>
                    <a:pt x="138183" y="333367"/>
                  </a:lnTo>
                  <a:cubicBezTo>
                    <a:pt x="138183" y="333798"/>
                    <a:pt x="138183" y="333798"/>
                    <a:pt x="139047" y="334230"/>
                  </a:cubicBezTo>
                  <a:cubicBezTo>
                    <a:pt x="139047" y="334662"/>
                    <a:pt x="139479" y="334662"/>
                    <a:pt x="139479" y="335094"/>
                  </a:cubicBezTo>
                  <a:lnTo>
                    <a:pt x="138183" y="335958"/>
                  </a:lnTo>
                  <a:cubicBezTo>
                    <a:pt x="136456" y="336821"/>
                    <a:pt x="136024" y="338117"/>
                    <a:pt x="135160" y="338980"/>
                  </a:cubicBezTo>
                  <a:cubicBezTo>
                    <a:pt x="134728" y="339412"/>
                    <a:pt x="134297" y="339412"/>
                    <a:pt x="134297" y="339844"/>
                  </a:cubicBezTo>
                  <a:cubicBezTo>
                    <a:pt x="134297" y="340276"/>
                    <a:pt x="134728" y="340708"/>
                    <a:pt x="135160" y="341139"/>
                  </a:cubicBezTo>
                  <a:lnTo>
                    <a:pt x="135592" y="340708"/>
                  </a:lnTo>
                  <a:cubicBezTo>
                    <a:pt x="135592" y="340708"/>
                    <a:pt x="136024" y="340276"/>
                    <a:pt x="136456" y="340276"/>
                  </a:cubicBezTo>
                  <a:cubicBezTo>
                    <a:pt x="136456" y="340276"/>
                    <a:pt x="136888" y="340276"/>
                    <a:pt x="136456" y="340708"/>
                  </a:cubicBezTo>
                  <a:lnTo>
                    <a:pt x="136888" y="340708"/>
                  </a:lnTo>
                  <a:lnTo>
                    <a:pt x="136456" y="341139"/>
                  </a:lnTo>
                  <a:cubicBezTo>
                    <a:pt x="136024" y="341139"/>
                    <a:pt x="136024" y="341571"/>
                    <a:pt x="136024" y="342003"/>
                  </a:cubicBezTo>
                  <a:cubicBezTo>
                    <a:pt x="136024" y="342435"/>
                    <a:pt x="136456" y="342435"/>
                    <a:pt x="136456" y="342435"/>
                  </a:cubicBezTo>
                  <a:lnTo>
                    <a:pt x="136024" y="342867"/>
                  </a:lnTo>
                  <a:cubicBezTo>
                    <a:pt x="135592" y="343299"/>
                    <a:pt x="135160" y="344162"/>
                    <a:pt x="135160" y="344162"/>
                  </a:cubicBezTo>
                  <a:lnTo>
                    <a:pt x="134297" y="344594"/>
                  </a:lnTo>
                  <a:cubicBezTo>
                    <a:pt x="133865" y="345458"/>
                    <a:pt x="133865" y="345890"/>
                    <a:pt x="133001" y="346753"/>
                  </a:cubicBezTo>
                  <a:lnTo>
                    <a:pt x="133001" y="347617"/>
                  </a:lnTo>
                  <a:cubicBezTo>
                    <a:pt x="133001" y="348912"/>
                    <a:pt x="132137" y="349344"/>
                    <a:pt x="131274" y="350208"/>
                  </a:cubicBezTo>
                  <a:lnTo>
                    <a:pt x="131274" y="352367"/>
                  </a:lnTo>
                  <a:cubicBezTo>
                    <a:pt x="131274" y="353230"/>
                    <a:pt x="130410" y="353662"/>
                    <a:pt x="129547" y="354526"/>
                  </a:cubicBezTo>
                  <a:cubicBezTo>
                    <a:pt x="128683" y="354958"/>
                    <a:pt x="128251" y="355390"/>
                    <a:pt x="128251" y="356685"/>
                  </a:cubicBezTo>
                  <a:cubicBezTo>
                    <a:pt x="128251" y="357117"/>
                    <a:pt x="128251" y="357549"/>
                    <a:pt x="127388" y="357549"/>
                  </a:cubicBezTo>
                  <a:cubicBezTo>
                    <a:pt x="126956" y="357980"/>
                    <a:pt x="126956" y="357980"/>
                    <a:pt x="126956" y="358412"/>
                  </a:cubicBezTo>
                  <a:lnTo>
                    <a:pt x="126956" y="359276"/>
                  </a:lnTo>
                  <a:cubicBezTo>
                    <a:pt x="126092" y="359276"/>
                    <a:pt x="125660" y="359708"/>
                    <a:pt x="124365" y="361003"/>
                  </a:cubicBezTo>
                  <a:cubicBezTo>
                    <a:pt x="123933" y="361435"/>
                    <a:pt x="123933" y="361435"/>
                    <a:pt x="123933" y="361867"/>
                  </a:cubicBezTo>
                  <a:cubicBezTo>
                    <a:pt x="123933" y="362299"/>
                    <a:pt x="124365" y="362731"/>
                    <a:pt x="124797" y="362731"/>
                  </a:cubicBezTo>
                  <a:cubicBezTo>
                    <a:pt x="124797" y="363162"/>
                    <a:pt x="125228" y="363594"/>
                    <a:pt x="125228" y="363594"/>
                  </a:cubicBezTo>
                  <a:cubicBezTo>
                    <a:pt x="125228" y="364026"/>
                    <a:pt x="124797" y="364026"/>
                    <a:pt x="124797" y="364026"/>
                  </a:cubicBezTo>
                  <a:lnTo>
                    <a:pt x="123933" y="365322"/>
                  </a:lnTo>
                  <a:cubicBezTo>
                    <a:pt x="123933" y="365753"/>
                    <a:pt x="123933" y="366185"/>
                    <a:pt x="124365" y="366185"/>
                  </a:cubicBezTo>
                  <a:cubicBezTo>
                    <a:pt x="124365" y="366185"/>
                    <a:pt x="124365" y="366617"/>
                    <a:pt x="124797" y="367049"/>
                  </a:cubicBezTo>
                  <a:lnTo>
                    <a:pt x="124797" y="367481"/>
                  </a:lnTo>
                  <a:lnTo>
                    <a:pt x="124365" y="367912"/>
                  </a:lnTo>
                  <a:lnTo>
                    <a:pt x="123069" y="367912"/>
                  </a:lnTo>
                  <a:cubicBezTo>
                    <a:pt x="122637" y="367912"/>
                    <a:pt x="122206" y="367912"/>
                    <a:pt x="122206" y="368776"/>
                  </a:cubicBezTo>
                  <a:cubicBezTo>
                    <a:pt x="121774" y="370503"/>
                    <a:pt x="121774" y="370503"/>
                    <a:pt x="120047" y="371799"/>
                  </a:cubicBezTo>
                  <a:cubicBezTo>
                    <a:pt x="120047" y="372231"/>
                    <a:pt x="119615" y="372662"/>
                    <a:pt x="118319" y="373526"/>
                  </a:cubicBezTo>
                  <a:lnTo>
                    <a:pt x="117887" y="374390"/>
                  </a:lnTo>
                  <a:lnTo>
                    <a:pt x="116160" y="374390"/>
                  </a:lnTo>
                  <a:cubicBezTo>
                    <a:pt x="116160" y="374822"/>
                    <a:pt x="115728" y="375253"/>
                    <a:pt x="114433" y="375253"/>
                  </a:cubicBezTo>
                  <a:cubicBezTo>
                    <a:pt x="114001" y="375253"/>
                    <a:pt x="113569" y="376549"/>
                    <a:pt x="113137" y="376117"/>
                  </a:cubicBezTo>
                  <a:lnTo>
                    <a:pt x="112705" y="376549"/>
                  </a:lnTo>
                  <a:cubicBezTo>
                    <a:pt x="112705" y="376981"/>
                    <a:pt x="112705" y="377412"/>
                    <a:pt x="112274" y="377412"/>
                  </a:cubicBezTo>
                  <a:cubicBezTo>
                    <a:pt x="111842" y="377412"/>
                    <a:pt x="110978" y="376981"/>
                    <a:pt x="110978" y="376981"/>
                  </a:cubicBezTo>
                  <a:lnTo>
                    <a:pt x="107092" y="381731"/>
                  </a:lnTo>
                  <a:cubicBezTo>
                    <a:pt x="107092" y="382594"/>
                    <a:pt x="106660" y="382594"/>
                    <a:pt x="106228" y="382594"/>
                  </a:cubicBezTo>
                  <a:lnTo>
                    <a:pt x="102342" y="382594"/>
                  </a:lnTo>
                  <a:cubicBezTo>
                    <a:pt x="102342" y="381731"/>
                    <a:pt x="101910" y="381731"/>
                    <a:pt x="101046" y="381731"/>
                  </a:cubicBezTo>
                  <a:cubicBezTo>
                    <a:pt x="100183" y="381731"/>
                    <a:pt x="98887" y="382163"/>
                    <a:pt x="98024" y="382163"/>
                  </a:cubicBezTo>
                  <a:cubicBezTo>
                    <a:pt x="97160" y="382163"/>
                    <a:pt x="96728" y="381731"/>
                    <a:pt x="96296" y="381731"/>
                  </a:cubicBezTo>
                  <a:cubicBezTo>
                    <a:pt x="95433" y="382163"/>
                    <a:pt x="95001" y="382163"/>
                    <a:pt x="94569" y="382163"/>
                  </a:cubicBezTo>
                  <a:cubicBezTo>
                    <a:pt x="94137" y="382163"/>
                    <a:pt x="93705" y="382163"/>
                    <a:pt x="93273" y="382594"/>
                  </a:cubicBezTo>
                  <a:lnTo>
                    <a:pt x="87228" y="379140"/>
                  </a:lnTo>
                  <a:cubicBezTo>
                    <a:pt x="86364" y="379140"/>
                    <a:pt x="86364" y="379572"/>
                    <a:pt x="85933" y="379572"/>
                  </a:cubicBezTo>
                  <a:cubicBezTo>
                    <a:pt x="85501" y="380003"/>
                    <a:pt x="85069" y="380003"/>
                    <a:pt x="85069" y="380003"/>
                  </a:cubicBezTo>
                  <a:cubicBezTo>
                    <a:pt x="84637" y="380003"/>
                    <a:pt x="84205" y="380003"/>
                    <a:pt x="83773" y="379572"/>
                  </a:cubicBezTo>
                  <a:cubicBezTo>
                    <a:pt x="82910" y="379140"/>
                    <a:pt x="82046" y="377844"/>
                    <a:pt x="80751" y="376981"/>
                  </a:cubicBezTo>
                  <a:cubicBezTo>
                    <a:pt x="79887" y="376981"/>
                    <a:pt x="79887" y="376117"/>
                    <a:pt x="78160" y="376117"/>
                  </a:cubicBezTo>
                  <a:cubicBezTo>
                    <a:pt x="78160" y="375685"/>
                    <a:pt x="78160" y="375253"/>
                    <a:pt x="77296" y="374822"/>
                  </a:cubicBezTo>
                  <a:cubicBezTo>
                    <a:pt x="76864" y="374390"/>
                    <a:pt x="76001" y="374390"/>
                    <a:pt x="76001" y="373526"/>
                  </a:cubicBezTo>
                  <a:cubicBezTo>
                    <a:pt x="76001" y="372231"/>
                    <a:pt x="74705" y="372231"/>
                    <a:pt x="73841" y="372231"/>
                  </a:cubicBezTo>
                  <a:cubicBezTo>
                    <a:pt x="73410" y="372231"/>
                    <a:pt x="73410" y="371799"/>
                    <a:pt x="73410" y="371367"/>
                  </a:cubicBezTo>
                  <a:cubicBezTo>
                    <a:pt x="73410" y="371367"/>
                    <a:pt x="73841" y="370935"/>
                    <a:pt x="74273" y="370935"/>
                  </a:cubicBezTo>
                  <a:lnTo>
                    <a:pt x="74705" y="370935"/>
                  </a:lnTo>
                  <a:lnTo>
                    <a:pt x="74273" y="370503"/>
                  </a:lnTo>
                  <a:lnTo>
                    <a:pt x="74273" y="369208"/>
                  </a:lnTo>
                  <a:cubicBezTo>
                    <a:pt x="74273" y="368776"/>
                    <a:pt x="74273" y="368776"/>
                    <a:pt x="73841" y="368776"/>
                  </a:cubicBezTo>
                  <a:cubicBezTo>
                    <a:pt x="72978" y="368776"/>
                    <a:pt x="72114" y="368344"/>
                    <a:pt x="72114" y="367912"/>
                  </a:cubicBezTo>
                  <a:lnTo>
                    <a:pt x="72546" y="367481"/>
                  </a:lnTo>
                  <a:cubicBezTo>
                    <a:pt x="72978" y="367481"/>
                    <a:pt x="72978" y="367481"/>
                    <a:pt x="72978" y="367049"/>
                  </a:cubicBezTo>
                  <a:lnTo>
                    <a:pt x="72978" y="366617"/>
                  </a:lnTo>
                  <a:cubicBezTo>
                    <a:pt x="72978" y="366185"/>
                    <a:pt x="72546" y="366185"/>
                    <a:pt x="72546" y="365753"/>
                  </a:cubicBezTo>
                  <a:lnTo>
                    <a:pt x="72114" y="365322"/>
                  </a:lnTo>
                  <a:cubicBezTo>
                    <a:pt x="72546" y="364890"/>
                    <a:pt x="72546" y="364458"/>
                    <a:pt x="72546" y="364026"/>
                  </a:cubicBezTo>
                  <a:cubicBezTo>
                    <a:pt x="72546" y="363594"/>
                    <a:pt x="72546" y="363162"/>
                    <a:pt x="71682" y="363162"/>
                  </a:cubicBezTo>
                  <a:lnTo>
                    <a:pt x="71682" y="362731"/>
                  </a:lnTo>
                  <a:cubicBezTo>
                    <a:pt x="71251" y="362299"/>
                    <a:pt x="71251" y="361867"/>
                    <a:pt x="71251" y="361435"/>
                  </a:cubicBezTo>
                  <a:cubicBezTo>
                    <a:pt x="71251" y="360571"/>
                    <a:pt x="70819" y="359708"/>
                    <a:pt x="70819" y="359276"/>
                  </a:cubicBezTo>
                  <a:cubicBezTo>
                    <a:pt x="70387" y="358412"/>
                    <a:pt x="70387" y="358412"/>
                    <a:pt x="70387" y="357549"/>
                  </a:cubicBezTo>
                  <a:cubicBezTo>
                    <a:pt x="69955" y="357549"/>
                    <a:pt x="69092" y="357117"/>
                    <a:pt x="68660" y="357117"/>
                  </a:cubicBezTo>
                  <a:lnTo>
                    <a:pt x="67796" y="357117"/>
                  </a:lnTo>
                  <a:cubicBezTo>
                    <a:pt x="67796" y="357117"/>
                    <a:pt x="67364" y="357117"/>
                    <a:pt x="66932" y="356685"/>
                  </a:cubicBezTo>
                  <a:lnTo>
                    <a:pt x="66932" y="355390"/>
                  </a:lnTo>
                  <a:lnTo>
                    <a:pt x="67364" y="354958"/>
                  </a:lnTo>
                  <a:cubicBezTo>
                    <a:pt x="67364" y="354094"/>
                    <a:pt x="68228" y="354094"/>
                    <a:pt x="68228" y="353662"/>
                  </a:cubicBezTo>
                  <a:lnTo>
                    <a:pt x="68228" y="352367"/>
                  </a:lnTo>
                  <a:cubicBezTo>
                    <a:pt x="68228" y="350640"/>
                    <a:pt x="67796" y="349776"/>
                    <a:pt x="67796" y="348912"/>
                  </a:cubicBezTo>
                  <a:cubicBezTo>
                    <a:pt x="67796" y="348480"/>
                    <a:pt x="66932" y="348049"/>
                    <a:pt x="66932" y="347185"/>
                  </a:cubicBezTo>
                  <a:lnTo>
                    <a:pt x="66932" y="346753"/>
                  </a:lnTo>
                  <a:cubicBezTo>
                    <a:pt x="66932" y="346321"/>
                    <a:pt x="66501" y="346321"/>
                    <a:pt x="66501" y="346321"/>
                  </a:cubicBezTo>
                  <a:lnTo>
                    <a:pt x="66501" y="346753"/>
                  </a:lnTo>
                  <a:lnTo>
                    <a:pt x="65637" y="346753"/>
                  </a:lnTo>
                  <a:lnTo>
                    <a:pt x="65637" y="345458"/>
                  </a:lnTo>
                  <a:cubicBezTo>
                    <a:pt x="65637" y="345026"/>
                    <a:pt x="65637" y="345026"/>
                    <a:pt x="65205" y="344594"/>
                  </a:cubicBezTo>
                  <a:cubicBezTo>
                    <a:pt x="64773" y="344594"/>
                    <a:pt x="64773" y="344594"/>
                    <a:pt x="64773" y="344162"/>
                  </a:cubicBezTo>
                  <a:lnTo>
                    <a:pt x="66069" y="342867"/>
                  </a:lnTo>
                  <a:cubicBezTo>
                    <a:pt x="66069" y="342867"/>
                    <a:pt x="65637" y="342003"/>
                    <a:pt x="65637" y="341571"/>
                  </a:cubicBezTo>
                  <a:cubicBezTo>
                    <a:pt x="64773" y="341571"/>
                    <a:pt x="64773" y="341139"/>
                    <a:pt x="64773" y="341139"/>
                  </a:cubicBezTo>
                  <a:lnTo>
                    <a:pt x="64773" y="338117"/>
                  </a:lnTo>
                  <a:cubicBezTo>
                    <a:pt x="64773" y="337253"/>
                    <a:pt x="64773" y="336389"/>
                    <a:pt x="65205" y="335094"/>
                  </a:cubicBezTo>
                  <a:lnTo>
                    <a:pt x="66069" y="335094"/>
                  </a:lnTo>
                  <a:cubicBezTo>
                    <a:pt x="66501" y="335094"/>
                    <a:pt x="66932" y="335094"/>
                    <a:pt x="66932" y="334230"/>
                  </a:cubicBezTo>
                  <a:cubicBezTo>
                    <a:pt x="66501" y="333367"/>
                    <a:pt x="66501" y="332935"/>
                    <a:pt x="66501" y="331639"/>
                  </a:cubicBezTo>
                  <a:cubicBezTo>
                    <a:pt x="66501" y="331208"/>
                    <a:pt x="66069" y="331208"/>
                    <a:pt x="66069" y="330776"/>
                  </a:cubicBezTo>
                  <a:cubicBezTo>
                    <a:pt x="65637" y="330776"/>
                    <a:pt x="66069" y="330344"/>
                    <a:pt x="66069" y="329912"/>
                  </a:cubicBezTo>
                  <a:cubicBezTo>
                    <a:pt x="66501" y="329480"/>
                    <a:pt x="66501" y="328617"/>
                    <a:pt x="66501" y="328185"/>
                  </a:cubicBezTo>
                  <a:cubicBezTo>
                    <a:pt x="66501" y="327753"/>
                    <a:pt x="66501" y="327321"/>
                    <a:pt x="66069" y="326026"/>
                  </a:cubicBezTo>
                  <a:lnTo>
                    <a:pt x="66501" y="325594"/>
                  </a:lnTo>
                  <a:cubicBezTo>
                    <a:pt x="65637" y="325162"/>
                    <a:pt x="64341" y="324298"/>
                    <a:pt x="64341" y="323435"/>
                  </a:cubicBezTo>
                  <a:cubicBezTo>
                    <a:pt x="64341" y="323003"/>
                    <a:pt x="64773" y="323003"/>
                    <a:pt x="64773" y="322571"/>
                  </a:cubicBezTo>
                  <a:cubicBezTo>
                    <a:pt x="64773" y="322571"/>
                    <a:pt x="63478" y="322139"/>
                    <a:pt x="63478" y="321707"/>
                  </a:cubicBezTo>
                  <a:cubicBezTo>
                    <a:pt x="63478" y="321707"/>
                    <a:pt x="63478" y="321276"/>
                    <a:pt x="63910" y="321276"/>
                  </a:cubicBezTo>
                  <a:cubicBezTo>
                    <a:pt x="66069" y="320412"/>
                    <a:pt x="66069" y="320412"/>
                    <a:pt x="66069" y="319548"/>
                  </a:cubicBezTo>
                  <a:cubicBezTo>
                    <a:pt x="66069" y="318253"/>
                    <a:pt x="66069" y="317389"/>
                    <a:pt x="64773" y="316957"/>
                  </a:cubicBezTo>
                  <a:lnTo>
                    <a:pt x="64341" y="316526"/>
                  </a:lnTo>
                  <a:cubicBezTo>
                    <a:pt x="64341" y="316526"/>
                    <a:pt x="64341" y="316094"/>
                    <a:pt x="64773" y="315662"/>
                  </a:cubicBezTo>
                  <a:lnTo>
                    <a:pt x="63910" y="315230"/>
                  </a:lnTo>
                  <a:lnTo>
                    <a:pt x="63910" y="314366"/>
                  </a:lnTo>
                  <a:cubicBezTo>
                    <a:pt x="63478" y="313071"/>
                    <a:pt x="63478" y="311776"/>
                    <a:pt x="63478" y="310912"/>
                  </a:cubicBezTo>
                  <a:lnTo>
                    <a:pt x="63478" y="307889"/>
                  </a:lnTo>
                  <a:cubicBezTo>
                    <a:pt x="63478" y="306594"/>
                    <a:pt x="63478" y="306594"/>
                    <a:pt x="63910" y="306162"/>
                  </a:cubicBezTo>
                  <a:cubicBezTo>
                    <a:pt x="64773" y="306162"/>
                    <a:pt x="65205" y="306162"/>
                    <a:pt x="65637" y="305730"/>
                  </a:cubicBezTo>
                  <a:cubicBezTo>
                    <a:pt x="65637" y="305298"/>
                    <a:pt x="65205" y="304866"/>
                    <a:pt x="64341" y="304003"/>
                  </a:cubicBezTo>
                  <a:cubicBezTo>
                    <a:pt x="63910" y="304003"/>
                    <a:pt x="63910" y="303139"/>
                    <a:pt x="63910" y="303139"/>
                  </a:cubicBezTo>
                  <a:cubicBezTo>
                    <a:pt x="64773" y="302707"/>
                    <a:pt x="65205" y="302275"/>
                    <a:pt x="65205" y="301412"/>
                  </a:cubicBezTo>
                  <a:cubicBezTo>
                    <a:pt x="65205" y="300980"/>
                    <a:pt x="64773" y="300116"/>
                    <a:pt x="64773" y="299685"/>
                  </a:cubicBezTo>
                  <a:lnTo>
                    <a:pt x="64773" y="297094"/>
                  </a:lnTo>
                  <a:cubicBezTo>
                    <a:pt x="65205" y="295798"/>
                    <a:pt x="66069" y="294934"/>
                    <a:pt x="66501" y="294503"/>
                  </a:cubicBezTo>
                  <a:lnTo>
                    <a:pt x="66069" y="294071"/>
                  </a:lnTo>
                  <a:lnTo>
                    <a:pt x="66069" y="291912"/>
                  </a:lnTo>
                  <a:cubicBezTo>
                    <a:pt x="65637" y="291912"/>
                    <a:pt x="65637" y="291480"/>
                    <a:pt x="65637" y="291480"/>
                  </a:cubicBezTo>
                  <a:cubicBezTo>
                    <a:pt x="65637" y="291480"/>
                    <a:pt x="65637" y="291048"/>
                    <a:pt x="66069" y="290616"/>
                  </a:cubicBezTo>
                  <a:cubicBezTo>
                    <a:pt x="66932" y="290185"/>
                    <a:pt x="66932" y="289321"/>
                    <a:pt x="67364" y="289321"/>
                  </a:cubicBezTo>
                  <a:cubicBezTo>
                    <a:pt x="66932" y="288457"/>
                    <a:pt x="66932" y="287594"/>
                    <a:pt x="66932" y="286730"/>
                  </a:cubicBezTo>
                  <a:cubicBezTo>
                    <a:pt x="66932" y="286298"/>
                    <a:pt x="67364" y="285866"/>
                    <a:pt x="67364" y="285434"/>
                  </a:cubicBezTo>
                  <a:cubicBezTo>
                    <a:pt x="67364" y="285003"/>
                    <a:pt x="66932" y="284571"/>
                    <a:pt x="66932" y="283707"/>
                  </a:cubicBezTo>
                  <a:lnTo>
                    <a:pt x="66932" y="282843"/>
                  </a:lnTo>
                  <a:cubicBezTo>
                    <a:pt x="66932" y="282843"/>
                    <a:pt x="66932" y="281980"/>
                    <a:pt x="68228" y="281116"/>
                  </a:cubicBezTo>
                  <a:lnTo>
                    <a:pt x="68228" y="276366"/>
                  </a:lnTo>
                  <a:lnTo>
                    <a:pt x="68660" y="275934"/>
                  </a:lnTo>
                  <a:cubicBezTo>
                    <a:pt x="67796" y="275502"/>
                    <a:pt x="67796" y="274639"/>
                    <a:pt x="67796" y="274207"/>
                  </a:cubicBezTo>
                  <a:lnTo>
                    <a:pt x="67796" y="273343"/>
                  </a:lnTo>
                  <a:cubicBezTo>
                    <a:pt x="67796" y="272480"/>
                    <a:pt x="67796" y="272048"/>
                    <a:pt x="69092" y="271184"/>
                  </a:cubicBezTo>
                  <a:cubicBezTo>
                    <a:pt x="69092" y="271184"/>
                    <a:pt x="69092" y="269889"/>
                    <a:pt x="68660" y="269889"/>
                  </a:cubicBezTo>
                  <a:cubicBezTo>
                    <a:pt x="68228" y="269457"/>
                    <a:pt x="68228" y="269457"/>
                    <a:pt x="68228" y="269025"/>
                  </a:cubicBezTo>
                  <a:cubicBezTo>
                    <a:pt x="68228" y="269025"/>
                    <a:pt x="68228" y="268593"/>
                    <a:pt x="68660" y="268593"/>
                  </a:cubicBezTo>
                  <a:cubicBezTo>
                    <a:pt x="68660" y="268593"/>
                    <a:pt x="69092" y="268593"/>
                    <a:pt x="69092" y="268162"/>
                  </a:cubicBezTo>
                  <a:cubicBezTo>
                    <a:pt x="68660" y="267730"/>
                    <a:pt x="68228" y="267730"/>
                    <a:pt x="68228" y="267298"/>
                  </a:cubicBezTo>
                  <a:cubicBezTo>
                    <a:pt x="67364" y="266866"/>
                    <a:pt x="67364" y="266434"/>
                    <a:pt x="67364" y="266002"/>
                  </a:cubicBezTo>
                  <a:lnTo>
                    <a:pt x="67364" y="263843"/>
                  </a:lnTo>
                  <a:cubicBezTo>
                    <a:pt x="67796" y="263411"/>
                    <a:pt x="67796" y="262548"/>
                    <a:pt x="67796" y="261684"/>
                  </a:cubicBezTo>
                  <a:cubicBezTo>
                    <a:pt x="68228" y="261252"/>
                    <a:pt x="68228" y="261252"/>
                    <a:pt x="68228" y="260821"/>
                  </a:cubicBezTo>
                  <a:cubicBezTo>
                    <a:pt x="68228" y="260389"/>
                    <a:pt x="67796" y="259957"/>
                    <a:pt x="67796" y="259525"/>
                  </a:cubicBezTo>
                  <a:cubicBezTo>
                    <a:pt x="67796" y="259093"/>
                    <a:pt x="68228" y="258661"/>
                    <a:pt x="69092" y="258230"/>
                  </a:cubicBezTo>
                  <a:cubicBezTo>
                    <a:pt x="69523" y="258230"/>
                    <a:pt x="69523" y="258230"/>
                    <a:pt x="69523" y="257798"/>
                  </a:cubicBezTo>
                  <a:lnTo>
                    <a:pt x="69523" y="256070"/>
                  </a:lnTo>
                  <a:cubicBezTo>
                    <a:pt x="69523" y="256070"/>
                    <a:pt x="69092" y="256070"/>
                    <a:pt x="69092" y="255639"/>
                  </a:cubicBezTo>
                  <a:lnTo>
                    <a:pt x="69523" y="255207"/>
                  </a:lnTo>
                  <a:cubicBezTo>
                    <a:pt x="69523" y="255207"/>
                    <a:pt x="70819" y="253911"/>
                    <a:pt x="70819" y="253048"/>
                  </a:cubicBezTo>
                  <a:cubicBezTo>
                    <a:pt x="69955" y="252184"/>
                    <a:pt x="69523" y="251321"/>
                    <a:pt x="69523" y="250889"/>
                  </a:cubicBezTo>
                  <a:cubicBezTo>
                    <a:pt x="69523" y="250457"/>
                    <a:pt x="69523" y="250025"/>
                    <a:pt x="70387" y="249161"/>
                  </a:cubicBezTo>
                  <a:lnTo>
                    <a:pt x="70387" y="248298"/>
                  </a:lnTo>
                  <a:cubicBezTo>
                    <a:pt x="70387" y="247866"/>
                    <a:pt x="70387" y="247434"/>
                    <a:pt x="71251" y="247002"/>
                  </a:cubicBezTo>
                  <a:cubicBezTo>
                    <a:pt x="71682" y="246570"/>
                    <a:pt x="71682" y="245707"/>
                    <a:pt x="71682" y="244843"/>
                  </a:cubicBezTo>
                  <a:lnTo>
                    <a:pt x="71682" y="243548"/>
                  </a:lnTo>
                  <a:cubicBezTo>
                    <a:pt x="72114" y="243548"/>
                    <a:pt x="71682" y="243116"/>
                    <a:pt x="71682" y="243116"/>
                  </a:cubicBezTo>
                  <a:lnTo>
                    <a:pt x="71251" y="243116"/>
                  </a:lnTo>
                  <a:lnTo>
                    <a:pt x="71251" y="241820"/>
                  </a:lnTo>
                  <a:lnTo>
                    <a:pt x="71682" y="241389"/>
                  </a:lnTo>
                  <a:cubicBezTo>
                    <a:pt x="72978" y="240525"/>
                    <a:pt x="73410" y="240093"/>
                    <a:pt x="73410" y="239229"/>
                  </a:cubicBezTo>
                  <a:cubicBezTo>
                    <a:pt x="72978" y="238798"/>
                    <a:pt x="72978" y="238366"/>
                    <a:pt x="72978" y="237934"/>
                  </a:cubicBezTo>
                  <a:cubicBezTo>
                    <a:pt x="72978" y="237502"/>
                    <a:pt x="73410" y="236638"/>
                    <a:pt x="73841" y="236207"/>
                  </a:cubicBezTo>
                  <a:lnTo>
                    <a:pt x="73841" y="235775"/>
                  </a:lnTo>
                  <a:cubicBezTo>
                    <a:pt x="73410" y="235343"/>
                    <a:pt x="72978" y="234479"/>
                    <a:pt x="72978" y="234048"/>
                  </a:cubicBezTo>
                  <a:lnTo>
                    <a:pt x="72978" y="232320"/>
                  </a:lnTo>
                  <a:cubicBezTo>
                    <a:pt x="72978" y="231889"/>
                    <a:pt x="72978" y="231889"/>
                    <a:pt x="73410" y="231457"/>
                  </a:cubicBezTo>
                  <a:cubicBezTo>
                    <a:pt x="73410" y="231025"/>
                    <a:pt x="73841" y="231025"/>
                    <a:pt x="73841" y="231025"/>
                  </a:cubicBezTo>
                  <a:lnTo>
                    <a:pt x="74273" y="231025"/>
                  </a:lnTo>
                  <a:cubicBezTo>
                    <a:pt x="74273" y="231025"/>
                    <a:pt x="74705" y="231025"/>
                    <a:pt x="74705" y="230593"/>
                  </a:cubicBezTo>
                  <a:cubicBezTo>
                    <a:pt x="74705" y="230593"/>
                    <a:pt x="74273" y="230161"/>
                    <a:pt x="74273" y="229729"/>
                  </a:cubicBezTo>
                  <a:cubicBezTo>
                    <a:pt x="74273" y="229729"/>
                    <a:pt x="73841" y="229298"/>
                    <a:pt x="73841" y="228866"/>
                  </a:cubicBezTo>
                  <a:lnTo>
                    <a:pt x="73841" y="228434"/>
                  </a:lnTo>
                  <a:cubicBezTo>
                    <a:pt x="74705" y="228002"/>
                    <a:pt x="74705" y="227138"/>
                    <a:pt x="74705" y="226707"/>
                  </a:cubicBezTo>
                  <a:lnTo>
                    <a:pt x="74705" y="226275"/>
                  </a:lnTo>
                  <a:cubicBezTo>
                    <a:pt x="75137" y="225843"/>
                    <a:pt x="75137" y="225411"/>
                    <a:pt x="75137" y="225411"/>
                  </a:cubicBezTo>
                  <a:cubicBezTo>
                    <a:pt x="75137" y="224979"/>
                    <a:pt x="74705" y="224979"/>
                    <a:pt x="74705" y="224116"/>
                  </a:cubicBezTo>
                  <a:cubicBezTo>
                    <a:pt x="74273" y="223684"/>
                    <a:pt x="73841" y="223252"/>
                    <a:pt x="73841" y="222820"/>
                  </a:cubicBezTo>
                  <a:cubicBezTo>
                    <a:pt x="73841" y="222388"/>
                    <a:pt x="74273" y="222388"/>
                    <a:pt x="74705" y="221957"/>
                  </a:cubicBezTo>
                  <a:cubicBezTo>
                    <a:pt x="77296" y="221525"/>
                    <a:pt x="77296" y="220661"/>
                    <a:pt x="77728" y="219366"/>
                  </a:cubicBezTo>
                  <a:lnTo>
                    <a:pt x="77728" y="218070"/>
                  </a:lnTo>
                  <a:cubicBezTo>
                    <a:pt x="77296" y="217638"/>
                    <a:pt x="77296" y="216775"/>
                    <a:pt x="77296" y="216343"/>
                  </a:cubicBezTo>
                  <a:lnTo>
                    <a:pt x="77296" y="214616"/>
                  </a:lnTo>
                  <a:cubicBezTo>
                    <a:pt x="77728" y="213752"/>
                    <a:pt x="77728" y="212025"/>
                    <a:pt x="78160" y="210729"/>
                  </a:cubicBezTo>
                  <a:cubicBezTo>
                    <a:pt x="78160" y="210297"/>
                    <a:pt x="77728" y="209866"/>
                    <a:pt x="77728" y="209434"/>
                  </a:cubicBezTo>
                  <a:cubicBezTo>
                    <a:pt x="77728" y="209002"/>
                    <a:pt x="77728" y="208570"/>
                    <a:pt x="78160" y="208138"/>
                  </a:cubicBezTo>
                  <a:cubicBezTo>
                    <a:pt x="78160" y="207706"/>
                    <a:pt x="78592" y="206843"/>
                    <a:pt x="78592" y="206411"/>
                  </a:cubicBezTo>
                  <a:lnTo>
                    <a:pt x="78592" y="203388"/>
                  </a:lnTo>
                  <a:cubicBezTo>
                    <a:pt x="79455" y="203388"/>
                    <a:pt x="79455" y="202956"/>
                    <a:pt x="79455" y="202956"/>
                  </a:cubicBezTo>
                  <a:lnTo>
                    <a:pt x="79455" y="200797"/>
                  </a:lnTo>
                  <a:cubicBezTo>
                    <a:pt x="79887" y="199934"/>
                    <a:pt x="79887" y="199502"/>
                    <a:pt x="79887" y="198638"/>
                  </a:cubicBezTo>
                  <a:lnTo>
                    <a:pt x="79023" y="198206"/>
                  </a:lnTo>
                  <a:cubicBezTo>
                    <a:pt x="79023" y="197774"/>
                    <a:pt x="79887" y="196911"/>
                    <a:pt x="80319" y="196047"/>
                  </a:cubicBezTo>
                  <a:cubicBezTo>
                    <a:pt x="80319" y="196047"/>
                    <a:pt x="80751" y="195615"/>
                    <a:pt x="80751" y="195184"/>
                  </a:cubicBezTo>
                  <a:cubicBezTo>
                    <a:pt x="80751" y="194752"/>
                    <a:pt x="80319" y="194320"/>
                    <a:pt x="80319" y="193456"/>
                  </a:cubicBezTo>
                  <a:cubicBezTo>
                    <a:pt x="80319" y="193456"/>
                    <a:pt x="80319" y="192593"/>
                    <a:pt x="81614" y="191729"/>
                  </a:cubicBezTo>
                  <a:cubicBezTo>
                    <a:pt x="82046" y="191729"/>
                    <a:pt x="82046" y="191297"/>
                    <a:pt x="82046" y="190865"/>
                  </a:cubicBezTo>
                  <a:cubicBezTo>
                    <a:pt x="82046" y="190434"/>
                    <a:pt x="82046" y="190002"/>
                    <a:pt x="81614" y="189138"/>
                  </a:cubicBezTo>
                  <a:cubicBezTo>
                    <a:pt x="82910" y="188706"/>
                    <a:pt x="82046" y="187843"/>
                    <a:pt x="83342" y="186979"/>
                  </a:cubicBezTo>
                  <a:cubicBezTo>
                    <a:pt x="83773" y="186979"/>
                    <a:pt x="83342" y="186547"/>
                    <a:pt x="82910" y="186115"/>
                  </a:cubicBezTo>
                  <a:cubicBezTo>
                    <a:pt x="82910" y="186115"/>
                    <a:pt x="83342" y="184820"/>
                    <a:pt x="83342" y="183956"/>
                  </a:cubicBezTo>
                  <a:cubicBezTo>
                    <a:pt x="83342" y="183956"/>
                    <a:pt x="83342" y="183524"/>
                    <a:pt x="83773" y="182661"/>
                  </a:cubicBezTo>
                  <a:cubicBezTo>
                    <a:pt x="84637" y="182229"/>
                    <a:pt x="84637" y="181797"/>
                    <a:pt x="85069" y="181365"/>
                  </a:cubicBezTo>
                  <a:lnTo>
                    <a:pt x="85069" y="177911"/>
                  </a:lnTo>
                  <a:cubicBezTo>
                    <a:pt x="85069" y="177479"/>
                    <a:pt x="83773" y="177047"/>
                    <a:pt x="83773" y="176615"/>
                  </a:cubicBezTo>
                  <a:cubicBezTo>
                    <a:pt x="83773" y="176183"/>
                    <a:pt x="84205" y="175752"/>
                    <a:pt x="84637" y="174888"/>
                  </a:cubicBezTo>
                  <a:cubicBezTo>
                    <a:pt x="85069" y="174456"/>
                    <a:pt x="84637" y="173161"/>
                    <a:pt x="86364" y="172297"/>
                  </a:cubicBezTo>
                  <a:lnTo>
                    <a:pt x="86364" y="169706"/>
                  </a:lnTo>
                  <a:cubicBezTo>
                    <a:pt x="87228" y="169274"/>
                    <a:pt x="87228" y="169274"/>
                    <a:pt x="87228" y="168842"/>
                  </a:cubicBezTo>
                  <a:lnTo>
                    <a:pt x="87228" y="167979"/>
                  </a:lnTo>
                  <a:lnTo>
                    <a:pt x="87660" y="167547"/>
                  </a:lnTo>
                  <a:lnTo>
                    <a:pt x="87660" y="167115"/>
                  </a:lnTo>
                  <a:cubicBezTo>
                    <a:pt x="87660" y="166252"/>
                    <a:pt x="88524" y="165820"/>
                    <a:pt x="88524" y="164956"/>
                  </a:cubicBezTo>
                  <a:lnTo>
                    <a:pt x="88524" y="161501"/>
                  </a:lnTo>
                  <a:cubicBezTo>
                    <a:pt x="88955" y="161501"/>
                    <a:pt x="88955" y="161070"/>
                    <a:pt x="88955" y="160638"/>
                  </a:cubicBezTo>
                  <a:lnTo>
                    <a:pt x="88955" y="158479"/>
                  </a:lnTo>
                  <a:cubicBezTo>
                    <a:pt x="88955" y="158047"/>
                    <a:pt x="90251" y="156751"/>
                    <a:pt x="90251" y="155888"/>
                  </a:cubicBezTo>
                  <a:cubicBezTo>
                    <a:pt x="90251" y="155456"/>
                    <a:pt x="90251" y="155456"/>
                    <a:pt x="89819" y="155024"/>
                  </a:cubicBezTo>
                  <a:cubicBezTo>
                    <a:pt x="90683" y="154161"/>
                    <a:pt x="91114" y="153297"/>
                    <a:pt x="91114" y="152865"/>
                  </a:cubicBezTo>
                  <a:cubicBezTo>
                    <a:pt x="91114" y="152433"/>
                    <a:pt x="90683" y="152433"/>
                    <a:pt x="90683" y="152001"/>
                  </a:cubicBezTo>
                  <a:lnTo>
                    <a:pt x="90683" y="151138"/>
                  </a:lnTo>
                  <a:cubicBezTo>
                    <a:pt x="90683" y="150274"/>
                    <a:pt x="91114" y="148979"/>
                    <a:pt x="91546" y="148115"/>
                  </a:cubicBezTo>
                  <a:cubicBezTo>
                    <a:pt x="91978" y="147683"/>
                    <a:pt x="91978" y="147683"/>
                    <a:pt x="91978" y="147251"/>
                  </a:cubicBezTo>
                  <a:cubicBezTo>
                    <a:pt x="91978" y="146388"/>
                    <a:pt x="99319" y="120046"/>
                    <a:pt x="98887" y="119183"/>
                  </a:cubicBezTo>
                  <a:cubicBezTo>
                    <a:pt x="99319" y="117887"/>
                    <a:pt x="100615" y="117887"/>
                    <a:pt x="100615" y="117456"/>
                  </a:cubicBezTo>
                  <a:lnTo>
                    <a:pt x="100615" y="117024"/>
                  </a:lnTo>
                  <a:cubicBezTo>
                    <a:pt x="100615" y="116160"/>
                    <a:pt x="100183" y="115297"/>
                    <a:pt x="99751" y="114865"/>
                  </a:cubicBezTo>
                  <a:cubicBezTo>
                    <a:pt x="98887" y="114865"/>
                    <a:pt x="98887" y="114433"/>
                    <a:pt x="98887" y="114001"/>
                  </a:cubicBezTo>
                  <a:cubicBezTo>
                    <a:pt x="98887" y="113569"/>
                    <a:pt x="100183" y="113569"/>
                    <a:pt x="100615" y="113569"/>
                  </a:cubicBezTo>
                  <a:cubicBezTo>
                    <a:pt x="101910" y="113569"/>
                    <a:pt x="102342" y="112706"/>
                    <a:pt x="102342" y="111842"/>
                  </a:cubicBezTo>
                  <a:cubicBezTo>
                    <a:pt x="101910" y="110978"/>
                    <a:pt x="101910" y="110546"/>
                    <a:pt x="101910" y="110115"/>
                  </a:cubicBezTo>
                  <a:cubicBezTo>
                    <a:pt x="101910" y="109683"/>
                    <a:pt x="102774" y="109251"/>
                    <a:pt x="102774" y="108819"/>
                  </a:cubicBezTo>
                  <a:cubicBezTo>
                    <a:pt x="107956" y="91114"/>
                    <a:pt x="106660" y="96728"/>
                    <a:pt x="108387" y="89819"/>
                  </a:cubicBezTo>
                  <a:lnTo>
                    <a:pt x="105796" y="89819"/>
                  </a:lnTo>
                  <a:cubicBezTo>
                    <a:pt x="105365" y="89819"/>
                    <a:pt x="104501" y="90683"/>
                    <a:pt x="104069" y="90683"/>
                  </a:cubicBezTo>
                  <a:cubicBezTo>
                    <a:pt x="101478" y="91114"/>
                    <a:pt x="99751" y="91114"/>
                    <a:pt x="96728" y="92842"/>
                  </a:cubicBezTo>
                  <a:lnTo>
                    <a:pt x="95864" y="92842"/>
                  </a:lnTo>
                  <a:cubicBezTo>
                    <a:pt x="94569" y="92842"/>
                    <a:pt x="94137" y="91978"/>
                    <a:pt x="93705" y="91546"/>
                  </a:cubicBezTo>
                  <a:lnTo>
                    <a:pt x="92410" y="91546"/>
                  </a:lnTo>
                  <a:cubicBezTo>
                    <a:pt x="91546" y="91546"/>
                    <a:pt x="90683" y="91546"/>
                    <a:pt x="90251" y="91978"/>
                  </a:cubicBezTo>
                  <a:cubicBezTo>
                    <a:pt x="89819" y="92842"/>
                    <a:pt x="88955" y="93274"/>
                    <a:pt x="88955" y="93274"/>
                  </a:cubicBezTo>
                  <a:lnTo>
                    <a:pt x="86796" y="93274"/>
                  </a:lnTo>
                  <a:cubicBezTo>
                    <a:pt x="85933" y="93274"/>
                    <a:pt x="85933" y="93274"/>
                    <a:pt x="85069" y="93705"/>
                  </a:cubicBezTo>
                  <a:cubicBezTo>
                    <a:pt x="84637" y="94569"/>
                    <a:pt x="83773" y="94569"/>
                    <a:pt x="83773" y="94569"/>
                  </a:cubicBezTo>
                  <a:lnTo>
                    <a:pt x="82910" y="94569"/>
                  </a:lnTo>
                  <a:cubicBezTo>
                    <a:pt x="81614" y="94569"/>
                    <a:pt x="79887" y="95001"/>
                    <a:pt x="78160" y="95865"/>
                  </a:cubicBezTo>
                  <a:lnTo>
                    <a:pt x="72546" y="96728"/>
                  </a:lnTo>
                  <a:lnTo>
                    <a:pt x="71251" y="96728"/>
                  </a:lnTo>
                  <a:cubicBezTo>
                    <a:pt x="69523" y="97160"/>
                    <a:pt x="69092" y="97592"/>
                    <a:pt x="69092" y="97592"/>
                  </a:cubicBezTo>
                  <a:cubicBezTo>
                    <a:pt x="68660" y="98024"/>
                    <a:pt x="68660" y="98024"/>
                    <a:pt x="68228" y="98024"/>
                  </a:cubicBezTo>
                  <a:cubicBezTo>
                    <a:pt x="67796" y="98024"/>
                    <a:pt x="67796" y="98024"/>
                    <a:pt x="67796" y="97592"/>
                  </a:cubicBezTo>
                  <a:lnTo>
                    <a:pt x="67796" y="97160"/>
                  </a:lnTo>
                  <a:lnTo>
                    <a:pt x="68228" y="96728"/>
                  </a:lnTo>
                  <a:lnTo>
                    <a:pt x="67796" y="96728"/>
                  </a:lnTo>
                  <a:lnTo>
                    <a:pt x="67796" y="95865"/>
                  </a:lnTo>
                  <a:cubicBezTo>
                    <a:pt x="67364" y="95865"/>
                    <a:pt x="66501" y="96296"/>
                    <a:pt x="66501" y="96296"/>
                  </a:cubicBezTo>
                  <a:lnTo>
                    <a:pt x="66501" y="96728"/>
                  </a:lnTo>
                  <a:cubicBezTo>
                    <a:pt x="66501" y="96728"/>
                    <a:pt x="67364" y="96728"/>
                    <a:pt x="67364" y="97160"/>
                  </a:cubicBezTo>
                  <a:cubicBezTo>
                    <a:pt x="66932" y="97592"/>
                    <a:pt x="66501" y="98455"/>
                    <a:pt x="65637" y="98455"/>
                  </a:cubicBezTo>
                  <a:lnTo>
                    <a:pt x="65205" y="98455"/>
                  </a:lnTo>
                  <a:lnTo>
                    <a:pt x="64773" y="98887"/>
                  </a:lnTo>
                  <a:lnTo>
                    <a:pt x="64341" y="98887"/>
                  </a:lnTo>
                  <a:cubicBezTo>
                    <a:pt x="63910" y="98887"/>
                    <a:pt x="63478" y="98455"/>
                    <a:pt x="63478" y="98455"/>
                  </a:cubicBezTo>
                  <a:lnTo>
                    <a:pt x="63910" y="98024"/>
                  </a:lnTo>
                  <a:lnTo>
                    <a:pt x="63478" y="98024"/>
                  </a:lnTo>
                  <a:cubicBezTo>
                    <a:pt x="63046" y="98024"/>
                    <a:pt x="62614" y="97592"/>
                    <a:pt x="62614" y="97592"/>
                  </a:cubicBezTo>
                  <a:lnTo>
                    <a:pt x="62614" y="98024"/>
                  </a:lnTo>
                  <a:cubicBezTo>
                    <a:pt x="61751" y="98455"/>
                    <a:pt x="61751" y="99319"/>
                    <a:pt x="60887" y="100183"/>
                  </a:cubicBezTo>
                  <a:cubicBezTo>
                    <a:pt x="60455" y="100614"/>
                    <a:pt x="60023" y="100614"/>
                    <a:pt x="59591" y="100614"/>
                  </a:cubicBezTo>
                  <a:cubicBezTo>
                    <a:pt x="58728" y="100183"/>
                    <a:pt x="59160" y="99319"/>
                    <a:pt x="58728" y="99319"/>
                  </a:cubicBezTo>
                  <a:cubicBezTo>
                    <a:pt x="58296" y="99319"/>
                    <a:pt x="57000" y="100183"/>
                    <a:pt x="56137" y="100614"/>
                  </a:cubicBezTo>
                  <a:lnTo>
                    <a:pt x="52250" y="101478"/>
                  </a:lnTo>
                  <a:lnTo>
                    <a:pt x="50523" y="101478"/>
                  </a:lnTo>
                  <a:cubicBezTo>
                    <a:pt x="50523" y="102342"/>
                    <a:pt x="50091" y="102342"/>
                    <a:pt x="49660" y="102342"/>
                  </a:cubicBezTo>
                  <a:cubicBezTo>
                    <a:pt x="49228" y="102342"/>
                    <a:pt x="48796" y="102342"/>
                    <a:pt x="48796" y="101910"/>
                  </a:cubicBezTo>
                  <a:cubicBezTo>
                    <a:pt x="47932" y="101910"/>
                    <a:pt x="47069" y="102342"/>
                    <a:pt x="46637" y="102774"/>
                  </a:cubicBezTo>
                  <a:cubicBezTo>
                    <a:pt x="44478" y="103205"/>
                    <a:pt x="43182" y="104069"/>
                    <a:pt x="41455" y="104069"/>
                  </a:cubicBezTo>
                  <a:lnTo>
                    <a:pt x="40591" y="104069"/>
                  </a:lnTo>
                  <a:cubicBezTo>
                    <a:pt x="39296" y="104933"/>
                    <a:pt x="38432" y="105796"/>
                    <a:pt x="38432" y="105796"/>
                  </a:cubicBezTo>
                  <a:lnTo>
                    <a:pt x="35841" y="105796"/>
                  </a:lnTo>
                  <a:cubicBezTo>
                    <a:pt x="35409" y="105796"/>
                    <a:pt x="34977" y="105796"/>
                    <a:pt x="34546" y="105365"/>
                  </a:cubicBezTo>
                  <a:cubicBezTo>
                    <a:pt x="33682" y="105365"/>
                    <a:pt x="33250" y="105796"/>
                    <a:pt x="33250" y="105796"/>
                  </a:cubicBezTo>
                  <a:cubicBezTo>
                    <a:pt x="32387" y="106660"/>
                    <a:pt x="31091" y="106228"/>
                    <a:pt x="30228" y="107956"/>
                  </a:cubicBezTo>
                  <a:cubicBezTo>
                    <a:pt x="28932" y="108387"/>
                    <a:pt x="28500" y="108387"/>
                    <a:pt x="28500" y="108387"/>
                  </a:cubicBezTo>
                  <a:cubicBezTo>
                    <a:pt x="28500" y="107956"/>
                    <a:pt x="28500" y="107956"/>
                    <a:pt x="27637" y="107956"/>
                  </a:cubicBezTo>
                  <a:lnTo>
                    <a:pt x="25046" y="107956"/>
                  </a:lnTo>
                  <a:cubicBezTo>
                    <a:pt x="23750" y="107956"/>
                    <a:pt x="22887" y="108387"/>
                    <a:pt x="20296" y="110546"/>
                  </a:cubicBezTo>
                  <a:lnTo>
                    <a:pt x="16841" y="110546"/>
                  </a:lnTo>
                  <a:cubicBezTo>
                    <a:pt x="14250" y="112274"/>
                    <a:pt x="7341" y="114433"/>
                    <a:pt x="4318" y="114433"/>
                  </a:cubicBezTo>
                  <a:cubicBezTo>
                    <a:pt x="3455" y="114433"/>
                    <a:pt x="3023" y="115297"/>
                    <a:pt x="2159" y="115728"/>
                  </a:cubicBezTo>
                  <a:cubicBezTo>
                    <a:pt x="1727" y="116592"/>
                    <a:pt x="864" y="116592"/>
                    <a:pt x="432" y="116592"/>
                  </a:cubicBezTo>
                  <a:cubicBezTo>
                    <a:pt x="0" y="116592"/>
                    <a:pt x="0" y="115728"/>
                    <a:pt x="0" y="114865"/>
                  </a:cubicBezTo>
                  <a:cubicBezTo>
                    <a:pt x="0" y="110546"/>
                    <a:pt x="6477" y="96296"/>
                    <a:pt x="12091" y="96296"/>
                  </a:cubicBezTo>
                  <a:lnTo>
                    <a:pt x="13386" y="96296"/>
                  </a:lnTo>
                  <a:lnTo>
                    <a:pt x="13386" y="96728"/>
                  </a:lnTo>
                  <a:lnTo>
                    <a:pt x="15114" y="96728"/>
                  </a:lnTo>
                  <a:cubicBezTo>
                    <a:pt x="15545" y="96728"/>
                    <a:pt x="14682" y="97592"/>
                    <a:pt x="14250" y="98024"/>
                  </a:cubicBezTo>
                  <a:lnTo>
                    <a:pt x="13386" y="99751"/>
                  </a:lnTo>
                  <a:lnTo>
                    <a:pt x="13386" y="101910"/>
                  </a:lnTo>
                  <a:cubicBezTo>
                    <a:pt x="13386" y="102342"/>
                    <a:pt x="13818" y="101910"/>
                    <a:pt x="14250" y="101910"/>
                  </a:cubicBezTo>
                  <a:lnTo>
                    <a:pt x="14250" y="101046"/>
                  </a:lnTo>
                  <a:cubicBezTo>
                    <a:pt x="14682" y="99751"/>
                    <a:pt x="15977" y="99751"/>
                    <a:pt x="16841" y="99751"/>
                  </a:cubicBezTo>
                  <a:lnTo>
                    <a:pt x="17273" y="99751"/>
                  </a:lnTo>
                  <a:lnTo>
                    <a:pt x="17273" y="100183"/>
                  </a:lnTo>
                  <a:cubicBezTo>
                    <a:pt x="17273" y="100614"/>
                    <a:pt x="16841" y="101046"/>
                    <a:pt x="16841" y="101046"/>
                  </a:cubicBezTo>
                  <a:cubicBezTo>
                    <a:pt x="17705" y="101046"/>
                    <a:pt x="18136" y="101478"/>
                    <a:pt x="18136" y="101478"/>
                  </a:cubicBezTo>
                  <a:cubicBezTo>
                    <a:pt x="19000" y="101478"/>
                    <a:pt x="19000" y="101478"/>
                    <a:pt x="19432" y="101046"/>
                  </a:cubicBezTo>
                  <a:lnTo>
                    <a:pt x="20296" y="100614"/>
                  </a:lnTo>
                  <a:lnTo>
                    <a:pt x="21159" y="100614"/>
                  </a:lnTo>
                  <a:cubicBezTo>
                    <a:pt x="21159" y="101046"/>
                    <a:pt x="21591" y="101046"/>
                    <a:pt x="21591" y="101046"/>
                  </a:cubicBezTo>
                  <a:cubicBezTo>
                    <a:pt x="22023" y="101046"/>
                    <a:pt x="22887" y="100183"/>
                    <a:pt x="23750" y="100183"/>
                  </a:cubicBezTo>
                  <a:cubicBezTo>
                    <a:pt x="23750" y="100183"/>
                    <a:pt x="23750" y="99751"/>
                    <a:pt x="24614" y="99319"/>
                  </a:cubicBezTo>
                  <a:lnTo>
                    <a:pt x="24614" y="98024"/>
                  </a:lnTo>
                  <a:cubicBezTo>
                    <a:pt x="23750" y="98024"/>
                    <a:pt x="23750" y="98024"/>
                    <a:pt x="23750" y="97592"/>
                  </a:cubicBezTo>
                  <a:cubicBezTo>
                    <a:pt x="23750" y="97160"/>
                    <a:pt x="23750" y="96728"/>
                    <a:pt x="24182" y="95865"/>
                  </a:cubicBezTo>
                  <a:cubicBezTo>
                    <a:pt x="24182" y="95433"/>
                    <a:pt x="23750" y="95433"/>
                    <a:pt x="22887" y="95433"/>
                  </a:cubicBezTo>
                  <a:cubicBezTo>
                    <a:pt x="23750" y="94569"/>
                    <a:pt x="25477" y="92842"/>
                    <a:pt x="26341" y="92842"/>
                  </a:cubicBezTo>
                  <a:cubicBezTo>
                    <a:pt x="28500" y="91978"/>
                    <a:pt x="31091" y="91978"/>
                    <a:pt x="32387" y="91114"/>
                  </a:cubicBezTo>
                  <a:cubicBezTo>
                    <a:pt x="33682" y="90683"/>
                    <a:pt x="34546" y="90683"/>
                    <a:pt x="35409" y="90683"/>
                  </a:cubicBezTo>
                  <a:cubicBezTo>
                    <a:pt x="36705" y="90251"/>
                    <a:pt x="38000" y="90251"/>
                    <a:pt x="39296" y="90251"/>
                  </a:cubicBezTo>
                  <a:lnTo>
                    <a:pt x="40591" y="90251"/>
                  </a:lnTo>
                  <a:cubicBezTo>
                    <a:pt x="42319" y="88524"/>
                    <a:pt x="44909" y="88524"/>
                    <a:pt x="46637" y="87660"/>
                  </a:cubicBezTo>
                  <a:lnTo>
                    <a:pt x="50523" y="87660"/>
                  </a:lnTo>
                  <a:cubicBezTo>
                    <a:pt x="50523" y="87660"/>
                    <a:pt x="51819" y="88092"/>
                    <a:pt x="52250" y="88092"/>
                  </a:cubicBezTo>
                  <a:lnTo>
                    <a:pt x="52250" y="88524"/>
                  </a:lnTo>
                  <a:cubicBezTo>
                    <a:pt x="52250" y="89387"/>
                    <a:pt x="51819" y="89387"/>
                    <a:pt x="50955" y="89819"/>
                  </a:cubicBezTo>
                  <a:cubicBezTo>
                    <a:pt x="49660" y="89819"/>
                    <a:pt x="48364" y="90251"/>
                    <a:pt x="47932" y="91978"/>
                  </a:cubicBezTo>
                  <a:cubicBezTo>
                    <a:pt x="47932" y="91978"/>
                    <a:pt x="47500" y="91978"/>
                    <a:pt x="47069" y="92842"/>
                  </a:cubicBezTo>
                  <a:lnTo>
                    <a:pt x="45773" y="93705"/>
                  </a:lnTo>
                  <a:lnTo>
                    <a:pt x="45773" y="94137"/>
                  </a:lnTo>
                  <a:lnTo>
                    <a:pt x="47500" y="94137"/>
                  </a:lnTo>
                  <a:lnTo>
                    <a:pt x="48796" y="93274"/>
                  </a:lnTo>
                  <a:cubicBezTo>
                    <a:pt x="48796" y="93274"/>
                    <a:pt x="49228" y="92842"/>
                    <a:pt x="49660" y="91978"/>
                  </a:cubicBezTo>
                  <a:cubicBezTo>
                    <a:pt x="49660" y="91978"/>
                    <a:pt x="49660" y="91546"/>
                    <a:pt x="50523" y="91546"/>
                  </a:cubicBezTo>
                  <a:lnTo>
                    <a:pt x="50955" y="91546"/>
                  </a:lnTo>
                  <a:cubicBezTo>
                    <a:pt x="50955" y="91978"/>
                    <a:pt x="51819" y="92410"/>
                    <a:pt x="51819" y="93274"/>
                  </a:cubicBezTo>
                  <a:cubicBezTo>
                    <a:pt x="52250" y="93705"/>
                    <a:pt x="52682" y="93705"/>
                    <a:pt x="53114" y="93705"/>
                  </a:cubicBezTo>
                  <a:lnTo>
                    <a:pt x="55273" y="93705"/>
                  </a:lnTo>
                  <a:cubicBezTo>
                    <a:pt x="55705" y="92842"/>
                    <a:pt x="56569" y="92842"/>
                    <a:pt x="57432" y="92842"/>
                  </a:cubicBezTo>
                  <a:lnTo>
                    <a:pt x="58728" y="92842"/>
                  </a:lnTo>
                  <a:lnTo>
                    <a:pt x="58728" y="92410"/>
                  </a:lnTo>
                  <a:lnTo>
                    <a:pt x="60023" y="89819"/>
                  </a:lnTo>
                  <a:cubicBezTo>
                    <a:pt x="60023" y="89819"/>
                    <a:pt x="61319" y="88955"/>
                    <a:pt x="61319" y="89387"/>
                  </a:cubicBezTo>
                  <a:cubicBezTo>
                    <a:pt x="61319" y="89387"/>
                    <a:pt x="61319" y="89819"/>
                    <a:pt x="60887" y="90251"/>
                  </a:cubicBezTo>
                  <a:cubicBezTo>
                    <a:pt x="60887" y="91114"/>
                    <a:pt x="60455" y="91546"/>
                    <a:pt x="60023" y="92410"/>
                  </a:cubicBezTo>
                  <a:lnTo>
                    <a:pt x="60023" y="93274"/>
                  </a:lnTo>
                  <a:lnTo>
                    <a:pt x="60887" y="93274"/>
                  </a:lnTo>
                  <a:cubicBezTo>
                    <a:pt x="62182" y="93274"/>
                    <a:pt x="62614" y="91546"/>
                    <a:pt x="63046" y="91114"/>
                  </a:cubicBezTo>
                  <a:cubicBezTo>
                    <a:pt x="63046" y="90683"/>
                    <a:pt x="62614" y="90251"/>
                    <a:pt x="62614" y="89819"/>
                  </a:cubicBezTo>
                  <a:lnTo>
                    <a:pt x="62614" y="89387"/>
                  </a:lnTo>
                  <a:cubicBezTo>
                    <a:pt x="62614" y="89387"/>
                    <a:pt x="62614" y="88955"/>
                    <a:pt x="63046" y="88955"/>
                  </a:cubicBezTo>
                  <a:lnTo>
                    <a:pt x="64773" y="86796"/>
                  </a:lnTo>
                  <a:lnTo>
                    <a:pt x="62614" y="86364"/>
                  </a:lnTo>
                  <a:lnTo>
                    <a:pt x="62614" y="85933"/>
                  </a:lnTo>
                  <a:lnTo>
                    <a:pt x="62182" y="85933"/>
                  </a:lnTo>
                  <a:lnTo>
                    <a:pt x="60887" y="86364"/>
                  </a:lnTo>
                  <a:cubicBezTo>
                    <a:pt x="59591" y="86796"/>
                    <a:pt x="59160" y="87228"/>
                    <a:pt x="58728" y="88955"/>
                  </a:cubicBezTo>
                  <a:cubicBezTo>
                    <a:pt x="58728" y="88524"/>
                    <a:pt x="58728" y="87660"/>
                    <a:pt x="58296" y="87660"/>
                  </a:cubicBezTo>
                  <a:lnTo>
                    <a:pt x="56137" y="87660"/>
                  </a:lnTo>
                  <a:close/>
                  <a:moveTo>
                    <a:pt x="27637" y="95001"/>
                  </a:moveTo>
                  <a:cubicBezTo>
                    <a:pt x="26773" y="95433"/>
                    <a:pt x="25909" y="96728"/>
                    <a:pt x="24614" y="98024"/>
                  </a:cubicBezTo>
                  <a:cubicBezTo>
                    <a:pt x="25477" y="98024"/>
                    <a:pt x="26773" y="96728"/>
                    <a:pt x="27637" y="95433"/>
                  </a:cubicBezTo>
                  <a:cubicBezTo>
                    <a:pt x="28068" y="95433"/>
                    <a:pt x="27637" y="95001"/>
                    <a:pt x="27637" y="95001"/>
                  </a:cubicBezTo>
                  <a:close/>
                  <a:moveTo>
                    <a:pt x="26341" y="102342"/>
                  </a:moveTo>
                  <a:lnTo>
                    <a:pt x="25046" y="102342"/>
                  </a:lnTo>
                  <a:lnTo>
                    <a:pt x="25046" y="104069"/>
                  </a:lnTo>
                  <a:cubicBezTo>
                    <a:pt x="25046" y="103637"/>
                    <a:pt x="25477" y="103637"/>
                    <a:pt x="25909" y="103205"/>
                  </a:cubicBezTo>
                  <a:lnTo>
                    <a:pt x="26341" y="102342"/>
                  </a:lnTo>
                  <a:close/>
                  <a:moveTo>
                    <a:pt x="30659" y="100614"/>
                  </a:moveTo>
                  <a:lnTo>
                    <a:pt x="31091" y="100614"/>
                  </a:lnTo>
                  <a:cubicBezTo>
                    <a:pt x="31523" y="100183"/>
                    <a:pt x="31523" y="99751"/>
                    <a:pt x="31523" y="99751"/>
                  </a:cubicBezTo>
                  <a:cubicBezTo>
                    <a:pt x="31523" y="99751"/>
                    <a:pt x="32387" y="99319"/>
                    <a:pt x="32387" y="98887"/>
                  </a:cubicBezTo>
                  <a:lnTo>
                    <a:pt x="32387" y="98455"/>
                  </a:lnTo>
                  <a:lnTo>
                    <a:pt x="31955" y="98455"/>
                  </a:lnTo>
                  <a:cubicBezTo>
                    <a:pt x="31091" y="98455"/>
                    <a:pt x="30228" y="98455"/>
                    <a:pt x="29364" y="99751"/>
                  </a:cubicBezTo>
                  <a:cubicBezTo>
                    <a:pt x="29364" y="100183"/>
                    <a:pt x="30228" y="100614"/>
                    <a:pt x="30659" y="100614"/>
                  </a:cubicBezTo>
                  <a:close/>
                  <a:moveTo>
                    <a:pt x="43182" y="91978"/>
                  </a:moveTo>
                  <a:lnTo>
                    <a:pt x="40591" y="94137"/>
                  </a:lnTo>
                  <a:lnTo>
                    <a:pt x="40591" y="94569"/>
                  </a:lnTo>
                  <a:lnTo>
                    <a:pt x="41455" y="94569"/>
                  </a:lnTo>
                  <a:cubicBezTo>
                    <a:pt x="42319" y="94569"/>
                    <a:pt x="42750" y="94569"/>
                    <a:pt x="42750" y="93705"/>
                  </a:cubicBezTo>
                  <a:cubicBezTo>
                    <a:pt x="42750" y="93705"/>
                    <a:pt x="43182" y="93274"/>
                    <a:pt x="43182" y="92410"/>
                  </a:cubicBezTo>
                  <a:lnTo>
                    <a:pt x="43182" y="91978"/>
                  </a:lnTo>
                  <a:close/>
                  <a:moveTo>
                    <a:pt x="58728" y="89819"/>
                  </a:moveTo>
                  <a:cubicBezTo>
                    <a:pt x="58728" y="90251"/>
                    <a:pt x="58296" y="90683"/>
                    <a:pt x="58296" y="90683"/>
                  </a:cubicBezTo>
                  <a:cubicBezTo>
                    <a:pt x="58296" y="91114"/>
                    <a:pt x="58296" y="91114"/>
                    <a:pt x="57864" y="91114"/>
                  </a:cubicBezTo>
                  <a:cubicBezTo>
                    <a:pt x="57864" y="91114"/>
                    <a:pt x="57432" y="90683"/>
                    <a:pt x="57432" y="90251"/>
                  </a:cubicBezTo>
                  <a:cubicBezTo>
                    <a:pt x="58296" y="89387"/>
                    <a:pt x="58728" y="89387"/>
                    <a:pt x="58728" y="89387"/>
                  </a:cubicBezTo>
                  <a:lnTo>
                    <a:pt x="58728" y="89819"/>
                  </a:lnTo>
                  <a:close/>
                  <a:moveTo>
                    <a:pt x="69092" y="362299"/>
                  </a:moveTo>
                  <a:cubicBezTo>
                    <a:pt x="69092" y="362299"/>
                    <a:pt x="68660" y="362299"/>
                    <a:pt x="68660" y="361867"/>
                  </a:cubicBezTo>
                  <a:cubicBezTo>
                    <a:pt x="68660" y="361867"/>
                    <a:pt x="69092" y="361867"/>
                    <a:pt x="69092" y="361435"/>
                  </a:cubicBezTo>
                  <a:lnTo>
                    <a:pt x="69092" y="362299"/>
                  </a:lnTo>
                  <a:close/>
                  <a:moveTo>
                    <a:pt x="90683" y="311344"/>
                  </a:moveTo>
                  <a:cubicBezTo>
                    <a:pt x="91114" y="311344"/>
                    <a:pt x="91546" y="310912"/>
                    <a:pt x="91978" y="310048"/>
                  </a:cubicBezTo>
                  <a:cubicBezTo>
                    <a:pt x="91978" y="309617"/>
                    <a:pt x="91546" y="308753"/>
                    <a:pt x="91546" y="308753"/>
                  </a:cubicBezTo>
                  <a:cubicBezTo>
                    <a:pt x="91546" y="308753"/>
                    <a:pt x="92410" y="308321"/>
                    <a:pt x="92410" y="307889"/>
                  </a:cubicBezTo>
                  <a:cubicBezTo>
                    <a:pt x="91546" y="307457"/>
                    <a:pt x="91546" y="306594"/>
                    <a:pt x="90683" y="306594"/>
                  </a:cubicBezTo>
                  <a:lnTo>
                    <a:pt x="91114" y="310048"/>
                  </a:lnTo>
                  <a:cubicBezTo>
                    <a:pt x="91114" y="310480"/>
                    <a:pt x="90251" y="310912"/>
                    <a:pt x="90251" y="310912"/>
                  </a:cubicBezTo>
                  <a:lnTo>
                    <a:pt x="89819" y="310912"/>
                  </a:lnTo>
                  <a:cubicBezTo>
                    <a:pt x="89819" y="310912"/>
                    <a:pt x="89819" y="311344"/>
                    <a:pt x="90251" y="311344"/>
                  </a:cubicBezTo>
                  <a:lnTo>
                    <a:pt x="90683" y="311344"/>
                  </a:lnTo>
                  <a:close/>
                  <a:moveTo>
                    <a:pt x="91114" y="322571"/>
                  </a:moveTo>
                  <a:lnTo>
                    <a:pt x="91114" y="325162"/>
                  </a:lnTo>
                  <a:cubicBezTo>
                    <a:pt x="91978" y="325594"/>
                    <a:pt x="92410" y="325594"/>
                    <a:pt x="92410" y="325594"/>
                  </a:cubicBezTo>
                  <a:lnTo>
                    <a:pt x="93273" y="325594"/>
                  </a:lnTo>
                  <a:lnTo>
                    <a:pt x="92842" y="325162"/>
                  </a:lnTo>
                  <a:lnTo>
                    <a:pt x="92842" y="322571"/>
                  </a:lnTo>
                  <a:lnTo>
                    <a:pt x="91114" y="322571"/>
                  </a:lnTo>
                  <a:close/>
                  <a:moveTo>
                    <a:pt x="91114" y="336821"/>
                  </a:moveTo>
                  <a:cubicBezTo>
                    <a:pt x="91114" y="337253"/>
                    <a:pt x="91114" y="337685"/>
                    <a:pt x="91546" y="338117"/>
                  </a:cubicBezTo>
                  <a:cubicBezTo>
                    <a:pt x="91546" y="338117"/>
                    <a:pt x="91546" y="338549"/>
                    <a:pt x="91978" y="338549"/>
                  </a:cubicBezTo>
                  <a:lnTo>
                    <a:pt x="91978" y="338117"/>
                  </a:lnTo>
                  <a:cubicBezTo>
                    <a:pt x="92842" y="337685"/>
                    <a:pt x="92842" y="336821"/>
                    <a:pt x="92842" y="336389"/>
                  </a:cubicBezTo>
                  <a:cubicBezTo>
                    <a:pt x="92842" y="335958"/>
                    <a:pt x="92410" y="335526"/>
                    <a:pt x="91546" y="335526"/>
                  </a:cubicBezTo>
                  <a:cubicBezTo>
                    <a:pt x="91114" y="335526"/>
                    <a:pt x="91114" y="335958"/>
                    <a:pt x="91114" y="336389"/>
                  </a:cubicBezTo>
                  <a:lnTo>
                    <a:pt x="91114" y="336821"/>
                  </a:lnTo>
                  <a:close/>
                  <a:moveTo>
                    <a:pt x="91546" y="286298"/>
                  </a:moveTo>
                  <a:lnTo>
                    <a:pt x="91978" y="285866"/>
                  </a:lnTo>
                  <a:cubicBezTo>
                    <a:pt x="93273" y="285003"/>
                    <a:pt x="95001" y="284571"/>
                    <a:pt x="95433" y="284571"/>
                  </a:cubicBezTo>
                  <a:cubicBezTo>
                    <a:pt x="95433" y="284571"/>
                    <a:pt x="95864" y="285434"/>
                    <a:pt x="95864" y="285866"/>
                  </a:cubicBezTo>
                  <a:cubicBezTo>
                    <a:pt x="95001" y="286298"/>
                    <a:pt x="94569" y="286730"/>
                    <a:pt x="92842" y="286730"/>
                  </a:cubicBezTo>
                  <a:cubicBezTo>
                    <a:pt x="92410" y="286730"/>
                    <a:pt x="91546" y="286730"/>
                    <a:pt x="91546" y="286298"/>
                  </a:cubicBezTo>
                  <a:close/>
                  <a:moveTo>
                    <a:pt x="91978" y="313935"/>
                  </a:moveTo>
                  <a:cubicBezTo>
                    <a:pt x="91978" y="314366"/>
                    <a:pt x="91546" y="314366"/>
                    <a:pt x="91546" y="314366"/>
                  </a:cubicBezTo>
                  <a:cubicBezTo>
                    <a:pt x="91546" y="314366"/>
                    <a:pt x="91546" y="314798"/>
                    <a:pt x="91978" y="314798"/>
                  </a:cubicBezTo>
                  <a:lnTo>
                    <a:pt x="91978" y="313935"/>
                  </a:lnTo>
                  <a:close/>
                  <a:moveTo>
                    <a:pt x="92842" y="288457"/>
                  </a:moveTo>
                  <a:cubicBezTo>
                    <a:pt x="92842" y="288025"/>
                    <a:pt x="93273" y="288025"/>
                    <a:pt x="93273" y="288025"/>
                  </a:cubicBezTo>
                  <a:cubicBezTo>
                    <a:pt x="93273" y="288025"/>
                    <a:pt x="93273" y="288457"/>
                    <a:pt x="93705" y="288457"/>
                  </a:cubicBezTo>
                  <a:lnTo>
                    <a:pt x="92842" y="288457"/>
                  </a:lnTo>
                  <a:close/>
                  <a:moveTo>
                    <a:pt x="93705" y="269889"/>
                  </a:moveTo>
                  <a:lnTo>
                    <a:pt x="93273" y="269457"/>
                  </a:lnTo>
                  <a:cubicBezTo>
                    <a:pt x="93705" y="269457"/>
                    <a:pt x="94137" y="269025"/>
                    <a:pt x="94137" y="269025"/>
                  </a:cubicBezTo>
                  <a:cubicBezTo>
                    <a:pt x="95001" y="269025"/>
                    <a:pt x="95001" y="269457"/>
                    <a:pt x="95001" y="269457"/>
                  </a:cubicBezTo>
                  <a:cubicBezTo>
                    <a:pt x="95001" y="269457"/>
                    <a:pt x="95001" y="269889"/>
                    <a:pt x="94137" y="269889"/>
                  </a:cubicBezTo>
                  <a:lnTo>
                    <a:pt x="93705" y="269889"/>
                  </a:lnTo>
                  <a:close/>
                  <a:moveTo>
                    <a:pt x="93705" y="282843"/>
                  </a:moveTo>
                  <a:lnTo>
                    <a:pt x="93705" y="281548"/>
                  </a:lnTo>
                  <a:cubicBezTo>
                    <a:pt x="94137" y="281116"/>
                    <a:pt x="95001" y="280684"/>
                    <a:pt x="95001" y="280684"/>
                  </a:cubicBezTo>
                  <a:cubicBezTo>
                    <a:pt x="95433" y="280684"/>
                    <a:pt x="95864" y="280684"/>
                    <a:pt x="95864" y="281116"/>
                  </a:cubicBezTo>
                  <a:cubicBezTo>
                    <a:pt x="95864" y="281116"/>
                    <a:pt x="95433" y="281548"/>
                    <a:pt x="95433" y="281980"/>
                  </a:cubicBezTo>
                  <a:cubicBezTo>
                    <a:pt x="95433" y="282843"/>
                    <a:pt x="94569" y="282843"/>
                    <a:pt x="94569" y="282843"/>
                  </a:cubicBezTo>
                  <a:lnTo>
                    <a:pt x="93705" y="282843"/>
                  </a:lnTo>
                  <a:close/>
                  <a:moveTo>
                    <a:pt x="95001" y="289321"/>
                  </a:moveTo>
                  <a:lnTo>
                    <a:pt x="95001" y="289753"/>
                  </a:lnTo>
                  <a:cubicBezTo>
                    <a:pt x="95001" y="289753"/>
                    <a:pt x="94137" y="289753"/>
                    <a:pt x="94137" y="289321"/>
                  </a:cubicBezTo>
                  <a:lnTo>
                    <a:pt x="94137" y="288889"/>
                  </a:lnTo>
                  <a:lnTo>
                    <a:pt x="93705" y="288457"/>
                  </a:lnTo>
                  <a:lnTo>
                    <a:pt x="94569" y="288457"/>
                  </a:lnTo>
                  <a:lnTo>
                    <a:pt x="95001" y="289321"/>
                  </a:lnTo>
                  <a:close/>
                  <a:moveTo>
                    <a:pt x="94137" y="278093"/>
                  </a:moveTo>
                  <a:lnTo>
                    <a:pt x="95433" y="278093"/>
                  </a:lnTo>
                  <a:cubicBezTo>
                    <a:pt x="95864" y="278093"/>
                    <a:pt x="95864" y="278525"/>
                    <a:pt x="95864" y="278957"/>
                  </a:cubicBezTo>
                  <a:cubicBezTo>
                    <a:pt x="95864" y="279389"/>
                    <a:pt x="95864" y="279821"/>
                    <a:pt x="95433" y="280253"/>
                  </a:cubicBezTo>
                  <a:cubicBezTo>
                    <a:pt x="95001" y="280253"/>
                    <a:pt x="95001" y="280253"/>
                    <a:pt x="94137" y="279389"/>
                  </a:cubicBezTo>
                  <a:lnTo>
                    <a:pt x="94137" y="278093"/>
                  </a:lnTo>
                  <a:close/>
                  <a:moveTo>
                    <a:pt x="95433" y="273343"/>
                  </a:moveTo>
                  <a:lnTo>
                    <a:pt x="94569" y="273343"/>
                  </a:lnTo>
                  <a:cubicBezTo>
                    <a:pt x="94569" y="273343"/>
                    <a:pt x="95001" y="273343"/>
                    <a:pt x="95001" y="272912"/>
                  </a:cubicBezTo>
                  <a:lnTo>
                    <a:pt x="95433" y="273343"/>
                  </a:lnTo>
                  <a:close/>
                  <a:moveTo>
                    <a:pt x="96728" y="257366"/>
                  </a:moveTo>
                  <a:cubicBezTo>
                    <a:pt x="97160" y="257366"/>
                    <a:pt x="97592" y="257798"/>
                    <a:pt x="97592" y="258230"/>
                  </a:cubicBezTo>
                  <a:cubicBezTo>
                    <a:pt x="97592" y="258661"/>
                    <a:pt x="97160" y="259093"/>
                    <a:pt x="96728" y="259093"/>
                  </a:cubicBezTo>
                  <a:cubicBezTo>
                    <a:pt x="96296" y="259093"/>
                    <a:pt x="95864" y="258661"/>
                    <a:pt x="95864" y="258661"/>
                  </a:cubicBezTo>
                  <a:cubicBezTo>
                    <a:pt x="95864" y="257798"/>
                    <a:pt x="95864" y="257366"/>
                    <a:pt x="96728" y="257366"/>
                  </a:cubicBezTo>
                  <a:close/>
                  <a:moveTo>
                    <a:pt x="100183" y="209434"/>
                  </a:moveTo>
                  <a:cubicBezTo>
                    <a:pt x="101478" y="209434"/>
                    <a:pt x="101910" y="209434"/>
                    <a:pt x="101910" y="209002"/>
                  </a:cubicBezTo>
                  <a:cubicBezTo>
                    <a:pt x="101910" y="208570"/>
                    <a:pt x="101478" y="208138"/>
                    <a:pt x="100615" y="208138"/>
                  </a:cubicBezTo>
                  <a:cubicBezTo>
                    <a:pt x="100183" y="208138"/>
                    <a:pt x="100183" y="208570"/>
                    <a:pt x="100183" y="209002"/>
                  </a:cubicBezTo>
                  <a:lnTo>
                    <a:pt x="100183" y="209434"/>
                  </a:lnTo>
                  <a:close/>
                  <a:moveTo>
                    <a:pt x="100183" y="234479"/>
                  </a:moveTo>
                  <a:lnTo>
                    <a:pt x="100183" y="231889"/>
                  </a:lnTo>
                  <a:cubicBezTo>
                    <a:pt x="100615" y="231457"/>
                    <a:pt x="100615" y="231457"/>
                    <a:pt x="101046" y="231457"/>
                  </a:cubicBezTo>
                  <a:cubicBezTo>
                    <a:pt x="101910" y="231457"/>
                    <a:pt x="101910" y="231457"/>
                    <a:pt x="101910" y="231889"/>
                  </a:cubicBezTo>
                  <a:cubicBezTo>
                    <a:pt x="101910" y="232320"/>
                    <a:pt x="101910" y="233184"/>
                    <a:pt x="100615" y="234048"/>
                  </a:cubicBezTo>
                  <a:lnTo>
                    <a:pt x="100183" y="234479"/>
                  </a:lnTo>
                  <a:close/>
                  <a:moveTo>
                    <a:pt x="106228" y="202956"/>
                  </a:moveTo>
                  <a:cubicBezTo>
                    <a:pt x="105365" y="202956"/>
                    <a:pt x="104933" y="202093"/>
                    <a:pt x="104069" y="201229"/>
                  </a:cubicBezTo>
                  <a:lnTo>
                    <a:pt x="104069" y="200797"/>
                  </a:lnTo>
                  <a:cubicBezTo>
                    <a:pt x="104501" y="200365"/>
                    <a:pt x="105796" y="199934"/>
                    <a:pt x="106228" y="199934"/>
                  </a:cubicBezTo>
                  <a:cubicBezTo>
                    <a:pt x="107092" y="199934"/>
                    <a:pt x="107524" y="200365"/>
                    <a:pt x="107956" y="200797"/>
                  </a:cubicBezTo>
                  <a:lnTo>
                    <a:pt x="107956" y="201661"/>
                  </a:lnTo>
                  <a:cubicBezTo>
                    <a:pt x="107956" y="202093"/>
                    <a:pt x="107092" y="202525"/>
                    <a:pt x="106660" y="202956"/>
                  </a:cubicBezTo>
                  <a:lnTo>
                    <a:pt x="106228" y="202956"/>
                  </a:lnTo>
                  <a:close/>
                  <a:moveTo>
                    <a:pt x="110978" y="75569"/>
                  </a:moveTo>
                  <a:cubicBezTo>
                    <a:pt x="110546" y="76001"/>
                    <a:pt x="110115" y="76001"/>
                    <a:pt x="110115" y="76001"/>
                  </a:cubicBezTo>
                  <a:lnTo>
                    <a:pt x="110978" y="75569"/>
                  </a:lnTo>
                  <a:close/>
                  <a:moveTo>
                    <a:pt x="127819" y="364026"/>
                  </a:moveTo>
                  <a:lnTo>
                    <a:pt x="127388" y="363594"/>
                  </a:lnTo>
                  <a:cubicBezTo>
                    <a:pt x="127388" y="363162"/>
                    <a:pt x="127819" y="363162"/>
                    <a:pt x="127819" y="362731"/>
                  </a:cubicBezTo>
                  <a:lnTo>
                    <a:pt x="127819" y="364026"/>
                  </a:lnTo>
                  <a:close/>
                  <a:moveTo>
                    <a:pt x="136456" y="334662"/>
                  </a:moveTo>
                  <a:lnTo>
                    <a:pt x="136024" y="334230"/>
                  </a:lnTo>
                  <a:cubicBezTo>
                    <a:pt x="136024" y="334230"/>
                    <a:pt x="135160" y="335094"/>
                    <a:pt x="134728" y="335958"/>
                  </a:cubicBezTo>
                  <a:cubicBezTo>
                    <a:pt x="134728" y="335958"/>
                    <a:pt x="134728" y="336389"/>
                    <a:pt x="135160" y="336389"/>
                  </a:cubicBezTo>
                  <a:cubicBezTo>
                    <a:pt x="135592" y="336389"/>
                    <a:pt x="136456" y="335094"/>
                    <a:pt x="136456" y="334662"/>
                  </a:cubicBezTo>
                  <a:close/>
                  <a:moveTo>
                    <a:pt x="145092" y="313935"/>
                  </a:moveTo>
                  <a:cubicBezTo>
                    <a:pt x="145956" y="313935"/>
                    <a:pt x="146388" y="313935"/>
                    <a:pt x="146388" y="313503"/>
                  </a:cubicBezTo>
                  <a:cubicBezTo>
                    <a:pt x="146388" y="313503"/>
                    <a:pt x="145956" y="313503"/>
                    <a:pt x="145956" y="313071"/>
                  </a:cubicBezTo>
                  <a:cubicBezTo>
                    <a:pt x="145956" y="312639"/>
                    <a:pt x="145956" y="312207"/>
                    <a:pt x="145092" y="312207"/>
                  </a:cubicBezTo>
                  <a:cubicBezTo>
                    <a:pt x="144660" y="312207"/>
                    <a:pt x="144229" y="312639"/>
                    <a:pt x="144229" y="313071"/>
                  </a:cubicBezTo>
                  <a:lnTo>
                    <a:pt x="145092" y="313935"/>
                  </a:lnTo>
                  <a:close/>
                  <a:moveTo>
                    <a:pt x="155456" y="310480"/>
                  </a:moveTo>
                  <a:lnTo>
                    <a:pt x="155024" y="310912"/>
                  </a:lnTo>
                  <a:lnTo>
                    <a:pt x="155024" y="311344"/>
                  </a:lnTo>
                  <a:lnTo>
                    <a:pt x="153297" y="311344"/>
                  </a:lnTo>
                  <a:lnTo>
                    <a:pt x="153297" y="310912"/>
                  </a:lnTo>
                  <a:cubicBezTo>
                    <a:pt x="153297" y="310912"/>
                    <a:pt x="154160" y="310480"/>
                    <a:pt x="154160" y="310048"/>
                  </a:cubicBezTo>
                  <a:cubicBezTo>
                    <a:pt x="154160" y="309617"/>
                    <a:pt x="153729" y="309617"/>
                    <a:pt x="153297" y="308753"/>
                  </a:cubicBezTo>
                  <a:lnTo>
                    <a:pt x="153297" y="308321"/>
                  </a:lnTo>
                  <a:cubicBezTo>
                    <a:pt x="153297" y="307889"/>
                    <a:pt x="153297" y="307889"/>
                    <a:pt x="153729" y="307457"/>
                  </a:cubicBezTo>
                  <a:lnTo>
                    <a:pt x="154592" y="306594"/>
                  </a:lnTo>
                  <a:cubicBezTo>
                    <a:pt x="155024" y="306594"/>
                    <a:pt x="155456" y="307457"/>
                    <a:pt x="155456" y="307457"/>
                  </a:cubicBezTo>
                  <a:lnTo>
                    <a:pt x="155456" y="310480"/>
                  </a:lnTo>
                  <a:close/>
                  <a:moveTo>
                    <a:pt x="159774" y="75137"/>
                  </a:moveTo>
                  <a:cubicBezTo>
                    <a:pt x="161070" y="74705"/>
                    <a:pt x="161933" y="74705"/>
                    <a:pt x="161933" y="74273"/>
                  </a:cubicBezTo>
                  <a:cubicBezTo>
                    <a:pt x="161933" y="73410"/>
                    <a:pt x="161933" y="73410"/>
                    <a:pt x="162365" y="72978"/>
                  </a:cubicBezTo>
                  <a:cubicBezTo>
                    <a:pt x="162365" y="72978"/>
                    <a:pt x="162365" y="72546"/>
                    <a:pt x="161933" y="72546"/>
                  </a:cubicBezTo>
                  <a:cubicBezTo>
                    <a:pt x="161070" y="72546"/>
                    <a:pt x="160206" y="73410"/>
                    <a:pt x="159342" y="74273"/>
                  </a:cubicBezTo>
                  <a:lnTo>
                    <a:pt x="158911" y="75137"/>
                  </a:lnTo>
                  <a:lnTo>
                    <a:pt x="158911" y="75569"/>
                  </a:lnTo>
                  <a:lnTo>
                    <a:pt x="159774" y="75137"/>
                  </a:lnTo>
                  <a:close/>
                  <a:moveTo>
                    <a:pt x="166683" y="269889"/>
                  </a:moveTo>
                  <a:lnTo>
                    <a:pt x="167115" y="271184"/>
                  </a:lnTo>
                  <a:lnTo>
                    <a:pt x="167547" y="271616"/>
                  </a:lnTo>
                  <a:cubicBezTo>
                    <a:pt x="167979" y="271184"/>
                    <a:pt x="168842" y="270753"/>
                    <a:pt x="168842" y="269889"/>
                  </a:cubicBezTo>
                  <a:lnTo>
                    <a:pt x="166683" y="269889"/>
                  </a:lnTo>
                  <a:close/>
                  <a:moveTo>
                    <a:pt x="167979" y="69955"/>
                  </a:moveTo>
                  <a:cubicBezTo>
                    <a:pt x="168411" y="69955"/>
                    <a:pt x="168411" y="69523"/>
                    <a:pt x="168411" y="69092"/>
                  </a:cubicBezTo>
                  <a:lnTo>
                    <a:pt x="168411" y="68660"/>
                  </a:lnTo>
                  <a:cubicBezTo>
                    <a:pt x="167979" y="68660"/>
                    <a:pt x="168411" y="69092"/>
                    <a:pt x="167979" y="69092"/>
                  </a:cubicBezTo>
                  <a:lnTo>
                    <a:pt x="167979" y="69955"/>
                  </a:lnTo>
                  <a:close/>
                  <a:moveTo>
                    <a:pt x="171433" y="238798"/>
                  </a:moveTo>
                  <a:cubicBezTo>
                    <a:pt x="171433" y="238798"/>
                    <a:pt x="170138" y="237934"/>
                    <a:pt x="169274" y="237934"/>
                  </a:cubicBezTo>
                  <a:lnTo>
                    <a:pt x="169274" y="238798"/>
                  </a:lnTo>
                  <a:cubicBezTo>
                    <a:pt x="169706" y="239661"/>
                    <a:pt x="169706" y="239661"/>
                    <a:pt x="170570" y="239661"/>
                  </a:cubicBezTo>
                  <a:cubicBezTo>
                    <a:pt x="170570" y="239661"/>
                    <a:pt x="171865" y="239229"/>
                    <a:pt x="171433" y="238798"/>
                  </a:cubicBezTo>
                  <a:close/>
                  <a:moveTo>
                    <a:pt x="173161" y="235343"/>
                  </a:moveTo>
                  <a:lnTo>
                    <a:pt x="173161" y="233184"/>
                  </a:lnTo>
                  <a:lnTo>
                    <a:pt x="171865" y="233184"/>
                  </a:lnTo>
                  <a:lnTo>
                    <a:pt x="171865" y="233616"/>
                  </a:lnTo>
                  <a:cubicBezTo>
                    <a:pt x="171865" y="234048"/>
                    <a:pt x="171433" y="234479"/>
                    <a:pt x="171433" y="234911"/>
                  </a:cubicBezTo>
                  <a:cubicBezTo>
                    <a:pt x="171865" y="235343"/>
                    <a:pt x="171865" y="235775"/>
                    <a:pt x="171865" y="235775"/>
                  </a:cubicBezTo>
                  <a:cubicBezTo>
                    <a:pt x="172297" y="235775"/>
                    <a:pt x="173161" y="235343"/>
                    <a:pt x="173161" y="235343"/>
                  </a:cubicBezTo>
                  <a:close/>
                  <a:moveTo>
                    <a:pt x="175752" y="75569"/>
                  </a:moveTo>
                  <a:cubicBezTo>
                    <a:pt x="177047" y="75569"/>
                    <a:pt x="177047" y="75137"/>
                    <a:pt x="177479" y="74705"/>
                  </a:cubicBezTo>
                  <a:lnTo>
                    <a:pt x="176615" y="74705"/>
                  </a:lnTo>
                  <a:cubicBezTo>
                    <a:pt x="176183" y="74705"/>
                    <a:pt x="176183" y="74273"/>
                    <a:pt x="175752" y="74273"/>
                  </a:cubicBezTo>
                  <a:cubicBezTo>
                    <a:pt x="175320" y="74273"/>
                    <a:pt x="174456" y="74705"/>
                    <a:pt x="174456" y="74705"/>
                  </a:cubicBezTo>
                  <a:lnTo>
                    <a:pt x="174024" y="74705"/>
                  </a:lnTo>
                  <a:lnTo>
                    <a:pt x="173592" y="75137"/>
                  </a:lnTo>
                  <a:cubicBezTo>
                    <a:pt x="174024" y="75569"/>
                    <a:pt x="174456" y="75569"/>
                    <a:pt x="174456" y="75569"/>
                  </a:cubicBezTo>
                  <a:lnTo>
                    <a:pt x="175752" y="75569"/>
                  </a:lnTo>
                  <a:close/>
                  <a:moveTo>
                    <a:pt x="177047" y="256934"/>
                  </a:moveTo>
                  <a:lnTo>
                    <a:pt x="177047" y="257366"/>
                  </a:lnTo>
                  <a:cubicBezTo>
                    <a:pt x="177047" y="257798"/>
                    <a:pt x="175752" y="257798"/>
                    <a:pt x="175752" y="258230"/>
                  </a:cubicBezTo>
                  <a:lnTo>
                    <a:pt x="175752" y="257798"/>
                  </a:lnTo>
                  <a:lnTo>
                    <a:pt x="174888" y="256934"/>
                  </a:lnTo>
                  <a:cubicBezTo>
                    <a:pt x="175320" y="256934"/>
                    <a:pt x="176183" y="256070"/>
                    <a:pt x="176183" y="256070"/>
                  </a:cubicBezTo>
                  <a:lnTo>
                    <a:pt x="177479" y="256070"/>
                  </a:lnTo>
                  <a:lnTo>
                    <a:pt x="177047" y="256934"/>
                  </a:lnTo>
                  <a:close/>
                  <a:moveTo>
                    <a:pt x="177047" y="259525"/>
                  </a:moveTo>
                  <a:lnTo>
                    <a:pt x="177479" y="259957"/>
                  </a:lnTo>
                  <a:cubicBezTo>
                    <a:pt x="177479" y="260389"/>
                    <a:pt x="177047" y="260389"/>
                    <a:pt x="176183" y="260821"/>
                  </a:cubicBezTo>
                  <a:lnTo>
                    <a:pt x="176183" y="260389"/>
                  </a:lnTo>
                  <a:cubicBezTo>
                    <a:pt x="175752" y="260389"/>
                    <a:pt x="175752" y="259957"/>
                    <a:pt x="175752" y="259957"/>
                  </a:cubicBezTo>
                  <a:cubicBezTo>
                    <a:pt x="175320" y="259957"/>
                    <a:pt x="174888" y="259525"/>
                    <a:pt x="174888" y="259525"/>
                  </a:cubicBezTo>
                  <a:lnTo>
                    <a:pt x="177047" y="259525"/>
                  </a:lnTo>
                  <a:close/>
                  <a:moveTo>
                    <a:pt x="177911" y="72546"/>
                  </a:moveTo>
                  <a:cubicBezTo>
                    <a:pt x="177911" y="72546"/>
                    <a:pt x="178343" y="72114"/>
                    <a:pt x="178774" y="71251"/>
                  </a:cubicBezTo>
                  <a:lnTo>
                    <a:pt x="178774" y="70819"/>
                  </a:lnTo>
                  <a:cubicBezTo>
                    <a:pt x="177479" y="70819"/>
                    <a:pt x="177479" y="70819"/>
                    <a:pt x="176615" y="71251"/>
                  </a:cubicBezTo>
                  <a:cubicBezTo>
                    <a:pt x="176615" y="72114"/>
                    <a:pt x="176615" y="72978"/>
                    <a:pt x="176183" y="73842"/>
                  </a:cubicBezTo>
                  <a:cubicBezTo>
                    <a:pt x="177047" y="72978"/>
                    <a:pt x="177911" y="72978"/>
                    <a:pt x="177911" y="72546"/>
                  </a:cubicBezTo>
                  <a:close/>
                  <a:moveTo>
                    <a:pt x="179638" y="249161"/>
                  </a:moveTo>
                  <a:cubicBezTo>
                    <a:pt x="179206" y="249161"/>
                    <a:pt x="179206" y="248730"/>
                    <a:pt x="179206" y="248730"/>
                  </a:cubicBezTo>
                  <a:lnTo>
                    <a:pt x="179638" y="248298"/>
                  </a:lnTo>
                  <a:lnTo>
                    <a:pt x="180070" y="248298"/>
                  </a:lnTo>
                  <a:lnTo>
                    <a:pt x="180502" y="248730"/>
                  </a:lnTo>
                  <a:lnTo>
                    <a:pt x="181365" y="249161"/>
                  </a:lnTo>
                  <a:cubicBezTo>
                    <a:pt x="180502" y="249161"/>
                    <a:pt x="180502" y="250025"/>
                    <a:pt x="180070" y="250025"/>
                  </a:cubicBezTo>
                  <a:cubicBezTo>
                    <a:pt x="179638" y="250025"/>
                    <a:pt x="179638" y="250025"/>
                    <a:pt x="179638" y="249161"/>
                  </a:cubicBezTo>
                  <a:close/>
                  <a:moveTo>
                    <a:pt x="184388" y="78592"/>
                  </a:moveTo>
                  <a:cubicBezTo>
                    <a:pt x="183956" y="78592"/>
                    <a:pt x="183956" y="78160"/>
                    <a:pt x="183956" y="78160"/>
                  </a:cubicBezTo>
                  <a:cubicBezTo>
                    <a:pt x="183956" y="78160"/>
                    <a:pt x="183524" y="78592"/>
                    <a:pt x="183093" y="78592"/>
                  </a:cubicBezTo>
                  <a:lnTo>
                    <a:pt x="184388" y="78592"/>
                  </a:lnTo>
                  <a:close/>
                  <a:moveTo>
                    <a:pt x="186115" y="70387"/>
                  </a:moveTo>
                  <a:cubicBezTo>
                    <a:pt x="186115" y="70387"/>
                    <a:pt x="186547" y="69955"/>
                    <a:pt x="186115" y="69955"/>
                  </a:cubicBezTo>
                  <a:lnTo>
                    <a:pt x="185684" y="69955"/>
                  </a:lnTo>
                  <a:cubicBezTo>
                    <a:pt x="185252" y="70387"/>
                    <a:pt x="185252" y="70387"/>
                    <a:pt x="185252" y="70819"/>
                  </a:cubicBezTo>
                  <a:cubicBezTo>
                    <a:pt x="185684" y="70387"/>
                    <a:pt x="186115" y="70387"/>
                    <a:pt x="186115" y="70387"/>
                  </a:cubicBezTo>
                  <a:close/>
                  <a:moveTo>
                    <a:pt x="186547" y="233184"/>
                  </a:moveTo>
                  <a:cubicBezTo>
                    <a:pt x="186115" y="232752"/>
                    <a:pt x="186115" y="232320"/>
                    <a:pt x="186115" y="231889"/>
                  </a:cubicBezTo>
                  <a:lnTo>
                    <a:pt x="186115" y="231025"/>
                  </a:lnTo>
                  <a:lnTo>
                    <a:pt x="185684" y="231025"/>
                  </a:lnTo>
                  <a:cubicBezTo>
                    <a:pt x="185684" y="230593"/>
                    <a:pt x="186115" y="230593"/>
                    <a:pt x="186115" y="230161"/>
                  </a:cubicBezTo>
                  <a:lnTo>
                    <a:pt x="186547" y="229729"/>
                  </a:lnTo>
                  <a:cubicBezTo>
                    <a:pt x="186979" y="230161"/>
                    <a:pt x="187411" y="230593"/>
                    <a:pt x="188706" y="230593"/>
                  </a:cubicBezTo>
                  <a:cubicBezTo>
                    <a:pt x="189138" y="230593"/>
                    <a:pt x="189138" y="231025"/>
                    <a:pt x="189138" y="231025"/>
                  </a:cubicBezTo>
                  <a:cubicBezTo>
                    <a:pt x="189138" y="231025"/>
                    <a:pt x="189138" y="231457"/>
                    <a:pt x="188706" y="231889"/>
                  </a:cubicBezTo>
                  <a:cubicBezTo>
                    <a:pt x="188706" y="233184"/>
                    <a:pt x="188706" y="233184"/>
                    <a:pt x="186979" y="233184"/>
                  </a:cubicBezTo>
                  <a:lnTo>
                    <a:pt x="186547" y="233184"/>
                  </a:lnTo>
                  <a:close/>
                  <a:moveTo>
                    <a:pt x="189138" y="227570"/>
                  </a:moveTo>
                  <a:lnTo>
                    <a:pt x="190002" y="227570"/>
                  </a:lnTo>
                  <a:cubicBezTo>
                    <a:pt x="190002" y="228002"/>
                    <a:pt x="190002" y="228866"/>
                    <a:pt x="190865" y="229298"/>
                  </a:cubicBezTo>
                  <a:lnTo>
                    <a:pt x="190433" y="229729"/>
                  </a:lnTo>
                  <a:cubicBezTo>
                    <a:pt x="190002" y="229729"/>
                    <a:pt x="189570" y="229729"/>
                    <a:pt x="189138" y="229298"/>
                  </a:cubicBezTo>
                  <a:lnTo>
                    <a:pt x="189138" y="227570"/>
                  </a:lnTo>
                  <a:close/>
                  <a:moveTo>
                    <a:pt x="196911" y="74705"/>
                  </a:moveTo>
                  <a:cubicBezTo>
                    <a:pt x="197343" y="74705"/>
                    <a:pt x="198206" y="74705"/>
                    <a:pt x="198638" y="74273"/>
                  </a:cubicBezTo>
                  <a:lnTo>
                    <a:pt x="198638" y="73842"/>
                  </a:lnTo>
                  <a:cubicBezTo>
                    <a:pt x="199070" y="73410"/>
                    <a:pt x="198638" y="73410"/>
                    <a:pt x="198638" y="73410"/>
                  </a:cubicBezTo>
                  <a:lnTo>
                    <a:pt x="197343" y="73410"/>
                  </a:lnTo>
                  <a:cubicBezTo>
                    <a:pt x="197343" y="73410"/>
                    <a:pt x="196911" y="73842"/>
                    <a:pt x="196911" y="74273"/>
                  </a:cubicBezTo>
                  <a:lnTo>
                    <a:pt x="196911" y="74705"/>
                  </a:lnTo>
                  <a:close/>
                  <a:moveTo>
                    <a:pt x="204684" y="71251"/>
                  </a:moveTo>
                  <a:lnTo>
                    <a:pt x="205547" y="69955"/>
                  </a:lnTo>
                  <a:lnTo>
                    <a:pt x="205547" y="69092"/>
                  </a:lnTo>
                  <a:cubicBezTo>
                    <a:pt x="205979" y="68660"/>
                    <a:pt x="205547" y="68660"/>
                    <a:pt x="205547" y="68660"/>
                  </a:cubicBezTo>
                  <a:lnTo>
                    <a:pt x="205116" y="68660"/>
                  </a:lnTo>
                  <a:cubicBezTo>
                    <a:pt x="204684" y="68660"/>
                    <a:pt x="204252" y="69092"/>
                    <a:pt x="203820" y="69523"/>
                  </a:cubicBezTo>
                  <a:cubicBezTo>
                    <a:pt x="203820" y="69955"/>
                    <a:pt x="204684" y="69955"/>
                    <a:pt x="204684" y="70819"/>
                  </a:cubicBezTo>
                  <a:lnTo>
                    <a:pt x="204684" y="71251"/>
                  </a:lnTo>
                  <a:close/>
                  <a:moveTo>
                    <a:pt x="218070" y="73842"/>
                  </a:moveTo>
                  <a:cubicBezTo>
                    <a:pt x="219797" y="73410"/>
                    <a:pt x="219797" y="72546"/>
                    <a:pt x="220229" y="72114"/>
                  </a:cubicBezTo>
                  <a:cubicBezTo>
                    <a:pt x="218502" y="72114"/>
                    <a:pt x="218070" y="72978"/>
                    <a:pt x="217206" y="73842"/>
                  </a:cubicBezTo>
                  <a:lnTo>
                    <a:pt x="218070" y="73842"/>
                  </a:lnTo>
                  <a:close/>
                  <a:moveTo>
                    <a:pt x="256070" y="82910"/>
                  </a:moveTo>
                  <a:cubicBezTo>
                    <a:pt x="256070" y="82910"/>
                    <a:pt x="256502" y="82478"/>
                    <a:pt x="256070" y="82478"/>
                  </a:cubicBezTo>
                  <a:cubicBezTo>
                    <a:pt x="255639" y="82910"/>
                    <a:pt x="255639" y="82910"/>
                    <a:pt x="255207" y="82910"/>
                  </a:cubicBezTo>
                  <a:lnTo>
                    <a:pt x="256070" y="82910"/>
                  </a:lnTo>
                  <a:close/>
                  <a:moveTo>
                    <a:pt x="262548" y="63478"/>
                  </a:moveTo>
                  <a:cubicBezTo>
                    <a:pt x="262548" y="63046"/>
                    <a:pt x="262548" y="63046"/>
                    <a:pt x="262980" y="62182"/>
                  </a:cubicBezTo>
                  <a:lnTo>
                    <a:pt x="262116" y="63046"/>
                  </a:lnTo>
                  <a:cubicBezTo>
                    <a:pt x="262116" y="63478"/>
                    <a:pt x="262548" y="63478"/>
                    <a:pt x="262548" y="63910"/>
                  </a:cubicBezTo>
                  <a:lnTo>
                    <a:pt x="262548" y="63478"/>
                  </a:lnTo>
                  <a:close/>
                </a:path>
              </a:pathLst>
            </a:custGeom>
            <a:solidFill>
              <a:srgbClr val="000000"/>
            </a:solidFill>
            <a:ln w="86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543F388-5184-4432-97C2-7CB02800568E}"/>
              </a:ext>
            </a:extLst>
          </p:cNvPr>
          <p:cNvCxnSpPr>
            <a:cxnSpLocks/>
          </p:cNvCxnSpPr>
          <p:nvPr/>
        </p:nvCxnSpPr>
        <p:spPr>
          <a:xfrm flipV="1">
            <a:off x="-134224" y="2656863"/>
            <a:ext cx="9067881" cy="0"/>
          </a:xfrm>
          <a:prstGeom prst="line">
            <a:avLst/>
          </a:prstGeom>
          <a:ln w="6350">
            <a:solidFill>
              <a:srgbClr val="8AA299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2" name="Group 321">
            <a:extLst>
              <a:ext uri="{FF2B5EF4-FFF2-40B4-BE49-F238E27FC236}">
                <a16:creationId xmlns:a16="http://schemas.microsoft.com/office/drawing/2014/main" id="{5E4C4515-DFBA-419D-8720-3E574650F066}"/>
              </a:ext>
            </a:extLst>
          </p:cNvPr>
          <p:cNvGrpSpPr/>
          <p:nvPr/>
        </p:nvGrpSpPr>
        <p:grpSpPr>
          <a:xfrm>
            <a:off x="308756" y="4914426"/>
            <a:ext cx="856132" cy="1666738"/>
            <a:chOff x="311628" y="2231635"/>
            <a:chExt cx="1131947" cy="2395313"/>
          </a:xfrm>
          <a:solidFill>
            <a:schemeClr val="bg1">
              <a:lumMod val="50000"/>
            </a:schemeClr>
          </a:solidFill>
        </p:grpSpPr>
        <p:grpSp>
          <p:nvGrpSpPr>
            <p:cNvPr id="323" name="Group 322">
              <a:extLst>
                <a:ext uri="{FF2B5EF4-FFF2-40B4-BE49-F238E27FC236}">
                  <a16:creationId xmlns:a16="http://schemas.microsoft.com/office/drawing/2014/main" id="{82480806-8CC4-4A04-88B7-CAE57E44DE0F}"/>
                </a:ext>
              </a:extLst>
            </p:cNvPr>
            <p:cNvGrpSpPr/>
            <p:nvPr/>
          </p:nvGrpSpPr>
          <p:grpSpPr>
            <a:xfrm>
              <a:off x="350761" y="2233971"/>
              <a:ext cx="654170" cy="2244621"/>
              <a:chOff x="350761" y="2233971"/>
              <a:chExt cx="654170" cy="2244621"/>
            </a:xfrm>
            <a:grpFill/>
          </p:grpSpPr>
          <p:sp>
            <p:nvSpPr>
              <p:cNvPr id="398" name="Freeform: Shape 397">
                <a:extLst>
                  <a:ext uri="{FF2B5EF4-FFF2-40B4-BE49-F238E27FC236}">
                    <a16:creationId xmlns:a16="http://schemas.microsoft.com/office/drawing/2014/main" id="{99C2C257-2568-4B7E-A10D-05F79EF056A7}"/>
                  </a:ext>
                </a:extLst>
              </p:cNvPr>
              <p:cNvSpPr/>
              <p:nvPr/>
            </p:nvSpPr>
            <p:spPr>
              <a:xfrm>
                <a:off x="350761" y="2233971"/>
                <a:ext cx="543195" cy="467264"/>
              </a:xfrm>
              <a:custGeom>
                <a:avLst/>
                <a:gdLst>
                  <a:gd name="connsiteX0" fmla="*/ 546699 w 543194"/>
                  <a:gd name="connsiteY0" fmla="*/ 431635 h 467264"/>
                  <a:gd name="connsiteX1" fmla="*/ 442733 w 543194"/>
                  <a:gd name="connsiteY1" fmla="*/ 293208 h 467264"/>
                  <a:gd name="connsiteX2" fmla="*/ 442733 w 543194"/>
                  <a:gd name="connsiteY2" fmla="*/ 293208 h 467264"/>
                  <a:gd name="connsiteX3" fmla="*/ 434556 w 543194"/>
                  <a:gd name="connsiteY3" fmla="*/ 290872 h 467264"/>
                  <a:gd name="connsiteX4" fmla="*/ 433388 w 543194"/>
                  <a:gd name="connsiteY4" fmla="*/ 290288 h 467264"/>
                  <a:gd name="connsiteX5" fmla="*/ 433388 w 543194"/>
                  <a:gd name="connsiteY5" fmla="*/ 290288 h 467264"/>
                  <a:gd name="connsiteX6" fmla="*/ 414113 w 543194"/>
                  <a:gd name="connsiteY6" fmla="*/ 287367 h 467264"/>
                  <a:gd name="connsiteX7" fmla="*/ 425210 w 543194"/>
                  <a:gd name="connsiteY7" fmla="*/ 266341 h 467264"/>
                  <a:gd name="connsiteX8" fmla="*/ 410608 w 543194"/>
                  <a:gd name="connsiteY8" fmla="*/ 237721 h 467264"/>
                  <a:gd name="connsiteX9" fmla="*/ 412945 w 543194"/>
                  <a:gd name="connsiteY9" fmla="*/ 205596 h 467264"/>
                  <a:gd name="connsiteX10" fmla="*/ 388413 w 543194"/>
                  <a:gd name="connsiteY10" fmla="*/ 184569 h 467264"/>
                  <a:gd name="connsiteX11" fmla="*/ 378484 w 543194"/>
                  <a:gd name="connsiteY11" fmla="*/ 154197 h 467264"/>
                  <a:gd name="connsiteX12" fmla="*/ 356873 w 543194"/>
                  <a:gd name="connsiteY12" fmla="*/ 148940 h 467264"/>
                  <a:gd name="connsiteX13" fmla="*/ 351616 w 543194"/>
                  <a:gd name="connsiteY13" fmla="*/ 127330 h 467264"/>
                  <a:gd name="connsiteX14" fmla="*/ 330005 w 543194"/>
                  <a:gd name="connsiteY14" fmla="*/ 122073 h 467264"/>
                  <a:gd name="connsiteX15" fmla="*/ 324749 w 543194"/>
                  <a:gd name="connsiteY15" fmla="*/ 100462 h 467264"/>
                  <a:gd name="connsiteX16" fmla="*/ 303138 w 543194"/>
                  <a:gd name="connsiteY16" fmla="*/ 95205 h 467264"/>
                  <a:gd name="connsiteX17" fmla="*/ 297881 w 543194"/>
                  <a:gd name="connsiteY17" fmla="*/ 73594 h 467264"/>
                  <a:gd name="connsiteX18" fmla="*/ 276270 w 543194"/>
                  <a:gd name="connsiteY18" fmla="*/ 68337 h 467264"/>
                  <a:gd name="connsiteX19" fmla="*/ 271013 w 543194"/>
                  <a:gd name="connsiteY19" fmla="*/ 46726 h 467264"/>
                  <a:gd name="connsiteX20" fmla="*/ 240641 w 543194"/>
                  <a:gd name="connsiteY20" fmla="*/ 36797 h 467264"/>
                  <a:gd name="connsiteX21" fmla="*/ 219614 w 543194"/>
                  <a:gd name="connsiteY21" fmla="*/ 12266 h 467264"/>
                  <a:gd name="connsiteX22" fmla="*/ 187490 w 543194"/>
                  <a:gd name="connsiteY22" fmla="*/ 14602 h 467264"/>
                  <a:gd name="connsiteX23" fmla="*/ 158870 w 543194"/>
                  <a:gd name="connsiteY23" fmla="*/ 0 h 467264"/>
                  <a:gd name="connsiteX24" fmla="*/ 130250 w 543194"/>
                  <a:gd name="connsiteY24" fmla="*/ 14602 h 467264"/>
                  <a:gd name="connsiteX25" fmla="*/ 98125 w 543194"/>
                  <a:gd name="connsiteY25" fmla="*/ 12266 h 467264"/>
                  <a:gd name="connsiteX26" fmla="*/ 77099 w 543194"/>
                  <a:gd name="connsiteY26" fmla="*/ 36797 h 467264"/>
                  <a:gd name="connsiteX27" fmla="*/ 46726 w 543194"/>
                  <a:gd name="connsiteY27" fmla="*/ 46726 h 467264"/>
                  <a:gd name="connsiteX28" fmla="*/ 36797 w 543194"/>
                  <a:gd name="connsiteY28" fmla="*/ 77099 h 467264"/>
                  <a:gd name="connsiteX29" fmla="*/ 12266 w 543194"/>
                  <a:gd name="connsiteY29" fmla="*/ 98125 h 467264"/>
                  <a:gd name="connsiteX30" fmla="*/ 14602 w 543194"/>
                  <a:gd name="connsiteY30" fmla="*/ 130250 h 467264"/>
                  <a:gd name="connsiteX31" fmla="*/ 0 w 543194"/>
                  <a:gd name="connsiteY31" fmla="*/ 158870 h 467264"/>
                  <a:gd name="connsiteX32" fmla="*/ 14602 w 543194"/>
                  <a:gd name="connsiteY32" fmla="*/ 187490 h 467264"/>
                  <a:gd name="connsiteX33" fmla="*/ 12266 w 543194"/>
                  <a:gd name="connsiteY33" fmla="*/ 219614 h 467264"/>
                  <a:gd name="connsiteX34" fmla="*/ 36797 w 543194"/>
                  <a:gd name="connsiteY34" fmla="*/ 240641 h 467264"/>
                  <a:gd name="connsiteX35" fmla="*/ 46726 w 543194"/>
                  <a:gd name="connsiteY35" fmla="*/ 271013 h 467264"/>
                  <a:gd name="connsiteX36" fmla="*/ 68337 w 543194"/>
                  <a:gd name="connsiteY36" fmla="*/ 276270 h 467264"/>
                  <a:gd name="connsiteX37" fmla="*/ 73594 w 543194"/>
                  <a:gd name="connsiteY37" fmla="*/ 297881 h 467264"/>
                  <a:gd name="connsiteX38" fmla="*/ 95205 w 543194"/>
                  <a:gd name="connsiteY38" fmla="*/ 303138 h 467264"/>
                  <a:gd name="connsiteX39" fmla="*/ 100462 w 543194"/>
                  <a:gd name="connsiteY39" fmla="*/ 324749 h 467264"/>
                  <a:gd name="connsiteX40" fmla="*/ 122073 w 543194"/>
                  <a:gd name="connsiteY40" fmla="*/ 330005 h 467264"/>
                  <a:gd name="connsiteX41" fmla="*/ 127329 w 543194"/>
                  <a:gd name="connsiteY41" fmla="*/ 351616 h 467264"/>
                  <a:gd name="connsiteX42" fmla="*/ 148940 w 543194"/>
                  <a:gd name="connsiteY42" fmla="*/ 356873 h 467264"/>
                  <a:gd name="connsiteX43" fmla="*/ 154197 w 543194"/>
                  <a:gd name="connsiteY43" fmla="*/ 378484 h 467264"/>
                  <a:gd name="connsiteX44" fmla="*/ 184569 w 543194"/>
                  <a:gd name="connsiteY44" fmla="*/ 388413 h 467264"/>
                  <a:gd name="connsiteX45" fmla="*/ 205596 w 543194"/>
                  <a:gd name="connsiteY45" fmla="*/ 412945 h 467264"/>
                  <a:gd name="connsiteX46" fmla="*/ 237721 w 543194"/>
                  <a:gd name="connsiteY46" fmla="*/ 410608 h 467264"/>
                  <a:gd name="connsiteX47" fmla="*/ 255243 w 543194"/>
                  <a:gd name="connsiteY47" fmla="*/ 420538 h 467264"/>
                  <a:gd name="connsiteX48" fmla="*/ 254659 w 543194"/>
                  <a:gd name="connsiteY48" fmla="*/ 432219 h 467264"/>
                  <a:gd name="connsiteX49" fmla="*/ 254659 w 543194"/>
                  <a:gd name="connsiteY49" fmla="*/ 467848 h 467264"/>
                  <a:gd name="connsiteX50" fmla="*/ 439228 w 543194"/>
                  <a:gd name="connsiteY50" fmla="*/ 310731 h 467264"/>
                  <a:gd name="connsiteX51" fmla="*/ 546699 w 543194"/>
                  <a:gd name="connsiteY51" fmla="*/ 431635 h 467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543194" h="467264">
                    <a:moveTo>
                      <a:pt x="546699" y="431635"/>
                    </a:moveTo>
                    <a:cubicBezTo>
                      <a:pt x="546115" y="366218"/>
                      <a:pt x="502309" y="311315"/>
                      <a:pt x="442733" y="293208"/>
                    </a:cubicBezTo>
                    <a:cubicBezTo>
                      <a:pt x="442733" y="293208"/>
                      <a:pt x="442733" y="293208"/>
                      <a:pt x="442733" y="293208"/>
                    </a:cubicBezTo>
                    <a:cubicBezTo>
                      <a:pt x="440396" y="292624"/>
                      <a:pt x="437476" y="292040"/>
                      <a:pt x="434556" y="290872"/>
                    </a:cubicBezTo>
                    <a:cubicBezTo>
                      <a:pt x="433972" y="290872"/>
                      <a:pt x="433972" y="290872"/>
                      <a:pt x="433388" y="290288"/>
                    </a:cubicBezTo>
                    <a:cubicBezTo>
                      <a:pt x="433388" y="290288"/>
                      <a:pt x="433388" y="290288"/>
                      <a:pt x="433388" y="290288"/>
                    </a:cubicBezTo>
                    <a:cubicBezTo>
                      <a:pt x="426963" y="288536"/>
                      <a:pt x="420538" y="287952"/>
                      <a:pt x="414113" y="287367"/>
                    </a:cubicBezTo>
                    <a:cubicBezTo>
                      <a:pt x="418201" y="280359"/>
                      <a:pt x="425210" y="273934"/>
                      <a:pt x="425210" y="266341"/>
                    </a:cubicBezTo>
                    <a:cubicBezTo>
                      <a:pt x="425210" y="256411"/>
                      <a:pt x="412945" y="247650"/>
                      <a:pt x="410608" y="237721"/>
                    </a:cubicBezTo>
                    <a:cubicBezTo>
                      <a:pt x="408856" y="227791"/>
                      <a:pt x="417033" y="214942"/>
                      <a:pt x="412945" y="205596"/>
                    </a:cubicBezTo>
                    <a:cubicBezTo>
                      <a:pt x="409440" y="196251"/>
                      <a:pt x="394254" y="193331"/>
                      <a:pt x="388413" y="184569"/>
                    </a:cubicBezTo>
                    <a:cubicBezTo>
                      <a:pt x="383157" y="176392"/>
                      <a:pt x="385493" y="161206"/>
                      <a:pt x="378484" y="154197"/>
                    </a:cubicBezTo>
                    <a:cubicBezTo>
                      <a:pt x="371475" y="147188"/>
                      <a:pt x="363298" y="155949"/>
                      <a:pt x="356873" y="148940"/>
                    </a:cubicBezTo>
                    <a:cubicBezTo>
                      <a:pt x="349864" y="141932"/>
                      <a:pt x="358625" y="133754"/>
                      <a:pt x="351616" y="127330"/>
                    </a:cubicBezTo>
                    <a:cubicBezTo>
                      <a:pt x="344607" y="120321"/>
                      <a:pt x="336430" y="129082"/>
                      <a:pt x="330005" y="122073"/>
                    </a:cubicBezTo>
                    <a:cubicBezTo>
                      <a:pt x="322996" y="115064"/>
                      <a:pt x="331758" y="106887"/>
                      <a:pt x="324749" y="100462"/>
                    </a:cubicBezTo>
                    <a:cubicBezTo>
                      <a:pt x="317740" y="93453"/>
                      <a:pt x="309563" y="102214"/>
                      <a:pt x="303138" y="95205"/>
                    </a:cubicBezTo>
                    <a:cubicBezTo>
                      <a:pt x="296129" y="88196"/>
                      <a:pt x="304890" y="80019"/>
                      <a:pt x="297881" y="73594"/>
                    </a:cubicBezTo>
                    <a:cubicBezTo>
                      <a:pt x="290872" y="66585"/>
                      <a:pt x="282695" y="75346"/>
                      <a:pt x="276270" y="68337"/>
                    </a:cubicBezTo>
                    <a:cubicBezTo>
                      <a:pt x="269261" y="61328"/>
                      <a:pt x="278022" y="53151"/>
                      <a:pt x="271013" y="46726"/>
                    </a:cubicBezTo>
                    <a:cubicBezTo>
                      <a:pt x="264004" y="39717"/>
                      <a:pt x="248818" y="42054"/>
                      <a:pt x="240641" y="36797"/>
                    </a:cubicBezTo>
                    <a:cubicBezTo>
                      <a:pt x="232464" y="30956"/>
                      <a:pt x="228959" y="16354"/>
                      <a:pt x="219614" y="12266"/>
                    </a:cubicBezTo>
                    <a:cubicBezTo>
                      <a:pt x="210269" y="8177"/>
                      <a:pt x="197419" y="16354"/>
                      <a:pt x="187490" y="14602"/>
                    </a:cubicBezTo>
                    <a:cubicBezTo>
                      <a:pt x="177560" y="12850"/>
                      <a:pt x="168799" y="0"/>
                      <a:pt x="158870" y="0"/>
                    </a:cubicBezTo>
                    <a:cubicBezTo>
                      <a:pt x="148940" y="0"/>
                      <a:pt x="140179" y="12266"/>
                      <a:pt x="130250" y="14602"/>
                    </a:cubicBezTo>
                    <a:cubicBezTo>
                      <a:pt x="120321" y="16354"/>
                      <a:pt x="107471" y="8177"/>
                      <a:pt x="98125" y="12266"/>
                    </a:cubicBezTo>
                    <a:cubicBezTo>
                      <a:pt x="88780" y="15770"/>
                      <a:pt x="85860" y="30956"/>
                      <a:pt x="77099" y="36797"/>
                    </a:cubicBezTo>
                    <a:cubicBezTo>
                      <a:pt x="68921" y="42054"/>
                      <a:pt x="53735" y="39717"/>
                      <a:pt x="46726" y="46726"/>
                    </a:cubicBezTo>
                    <a:cubicBezTo>
                      <a:pt x="39717" y="53735"/>
                      <a:pt x="42054" y="68921"/>
                      <a:pt x="36797" y="77099"/>
                    </a:cubicBezTo>
                    <a:cubicBezTo>
                      <a:pt x="30956" y="85276"/>
                      <a:pt x="16354" y="88780"/>
                      <a:pt x="12266" y="98125"/>
                    </a:cubicBezTo>
                    <a:cubicBezTo>
                      <a:pt x="8177" y="107471"/>
                      <a:pt x="16354" y="120321"/>
                      <a:pt x="14602" y="130250"/>
                    </a:cubicBezTo>
                    <a:cubicBezTo>
                      <a:pt x="12850" y="140179"/>
                      <a:pt x="0" y="148940"/>
                      <a:pt x="0" y="158870"/>
                    </a:cubicBezTo>
                    <a:cubicBezTo>
                      <a:pt x="0" y="168799"/>
                      <a:pt x="12266" y="177560"/>
                      <a:pt x="14602" y="187490"/>
                    </a:cubicBezTo>
                    <a:cubicBezTo>
                      <a:pt x="16354" y="197419"/>
                      <a:pt x="8177" y="210269"/>
                      <a:pt x="12266" y="219614"/>
                    </a:cubicBezTo>
                    <a:cubicBezTo>
                      <a:pt x="15770" y="228959"/>
                      <a:pt x="30956" y="231880"/>
                      <a:pt x="36797" y="240641"/>
                    </a:cubicBezTo>
                    <a:cubicBezTo>
                      <a:pt x="42054" y="248818"/>
                      <a:pt x="39717" y="264004"/>
                      <a:pt x="46726" y="271013"/>
                    </a:cubicBezTo>
                    <a:cubicBezTo>
                      <a:pt x="53735" y="278022"/>
                      <a:pt x="61912" y="269261"/>
                      <a:pt x="68337" y="276270"/>
                    </a:cubicBezTo>
                    <a:cubicBezTo>
                      <a:pt x="75346" y="283279"/>
                      <a:pt x="66585" y="291456"/>
                      <a:pt x="73594" y="297881"/>
                    </a:cubicBezTo>
                    <a:cubicBezTo>
                      <a:pt x="80603" y="304890"/>
                      <a:pt x="88780" y="296129"/>
                      <a:pt x="95205" y="303138"/>
                    </a:cubicBezTo>
                    <a:cubicBezTo>
                      <a:pt x="102214" y="310147"/>
                      <a:pt x="93453" y="318324"/>
                      <a:pt x="100462" y="324749"/>
                    </a:cubicBezTo>
                    <a:cubicBezTo>
                      <a:pt x="107471" y="331174"/>
                      <a:pt x="115648" y="322996"/>
                      <a:pt x="122073" y="330005"/>
                    </a:cubicBezTo>
                    <a:cubicBezTo>
                      <a:pt x="129082" y="337014"/>
                      <a:pt x="120321" y="345191"/>
                      <a:pt x="127329" y="351616"/>
                    </a:cubicBezTo>
                    <a:cubicBezTo>
                      <a:pt x="134338" y="358625"/>
                      <a:pt x="142516" y="349864"/>
                      <a:pt x="148940" y="356873"/>
                    </a:cubicBezTo>
                    <a:cubicBezTo>
                      <a:pt x="155949" y="363882"/>
                      <a:pt x="147188" y="372059"/>
                      <a:pt x="154197" y="378484"/>
                    </a:cubicBezTo>
                    <a:cubicBezTo>
                      <a:pt x="161206" y="385493"/>
                      <a:pt x="176392" y="383157"/>
                      <a:pt x="184569" y="388413"/>
                    </a:cubicBezTo>
                    <a:cubicBezTo>
                      <a:pt x="192746" y="394254"/>
                      <a:pt x="196251" y="408856"/>
                      <a:pt x="205596" y="412945"/>
                    </a:cubicBezTo>
                    <a:cubicBezTo>
                      <a:pt x="214942" y="417033"/>
                      <a:pt x="227791" y="408856"/>
                      <a:pt x="237721" y="410608"/>
                    </a:cubicBezTo>
                    <a:cubicBezTo>
                      <a:pt x="243561" y="411777"/>
                      <a:pt x="249402" y="417033"/>
                      <a:pt x="255243" y="420538"/>
                    </a:cubicBezTo>
                    <a:cubicBezTo>
                      <a:pt x="254659" y="424626"/>
                      <a:pt x="254659" y="428131"/>
                      <a:pt x="254659" y="432219"/>
                    </a:cubicBezTo>
                    <a:lnTo>
                      <a:pt x="254659" y="467848"/>
                    </a:lnTo>
                    <a:cubicBezTo>
                      <a:pt x="345191" y="461423"/>
                      <a:pt x="419370" y="396591"/>
                      <a:pt x="439228" y="310731"/>
                    </a:cubicBezTo>
                    <a:cubicBezTo>
                      <a:pt x="457335" y="364466"/>
                      <a:pt x="496468" y="408272"/>
                      <a:pt x="546699" y="431635"/>
                    </a:cubicBezTo>
                    <a:close/>
                  </a:path>
                </a:pathLst>
              </a:custGeom>
              <a:grpFill/>
              <a:ln w="5841" cap="flat">
                <a:solidFill>
                  <a:schemeClr val="bg1">
                    <a:lumMod val="8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99" name="Freeform: Shape 398">
                <a:extLst>
                  <a:ext uri="{FF2B5EF4-FFF2-40B4-BE49-F238E27FC236}">
                    <a16:creationId xmlns:a16="http://schemas.microsoft.com/office/drawing/2014/main" id="{51C6FFCB-8B7A-4CA0-BBDC-14CC69F5C88D}"/>
                  </a:ext>
                </a:extLst>
              </p:cNvPr>
              <p:cNvSpPr/>
              <p:nvPr/>
            </p:nvSpPr>
            <p:spPr>
              <a:xfrm>
                <a:off x="444214" y="3403884"/>
                <a:ext cx="560717" cy="1074708"/>
              </a:xfrm>
              <a:custGeom>
                <a:avLst/>
                <a:gdLst>
                  <a:gd name="connsiteX0" fmla="*/ 565390 w 560716"/>
                  <a:gd name="connsiteY0" fmla="*/ 572983 h 1074707"/>
                  <a:gd name="connsiteX1" fmla="*/ 545531 w 560716"/>
                  <a:gd name="connsiteY1" fmla="*/ 244146 h 1074707"/>
                  <a:gd name="connsiteX2" fmla="*/ 545531 w 560716"/>
                  <a:gd name="connsiteY2" fmla="*/ 214942 h 1074707"/>
                  <a:gd name="connsiteX3" fmla="*/ 521000 w 560716"/>
                  <a:gd name="connsiteY3" fmla="*/ 64833 h 1074707"/>
                  <a:gd name="connsiteX4" fmla="*/ 512822 w 560716"/>
                  <a:gd name="connsiteY4" fmla="*/ 37965 h 1074707"/>
                  <a:gd name="connsiteX5" fmla="*/ 129666 w 560716"/>
                  <a:gd name="connsiteY5" fmla="*/ 0 h 1074707"/>
                  <a:gd name="connsiteX6" fmla="*/ 75346 w 560716"/>
                  <a:gd name="connsiteY6" fmla="*/ 166463 h 1074707"/>
                  <a:gd name="connsiteX7" fmla="*/ 75930 w 560716"/>
                  <a:gd name="connsiteY7" fmla="*/ 217862 h 1074707"/>
                  <a:gd name="connsiteX8" fmla="*/ 75930 w 560716"/>
                  <a:gd name="connsiteY8" fmla="*/ 217862 h 1074707"/>
                  <a:gd name="connsiteX9" fmla="*/ 119152 w 560716"/>
                  <a:gd name="connsiteY9" fmla="*/ 741782 h 1074707"/>
                  <a:gd name="connsiteX10" fmla="*/ 0 w 560716"/>
                  <a:gd name="connsiteY10" fmla="*/ 853341 h 1074707"/>
                  <a:gd name="connsiteX11" fmla="*/ 140763 w 560716"/>
                  <a:gd name="connsiteY11" fmla="*/ 1004034 h 1074707"/>
                  <a:gd name="connsiteX12" fmla="*/ 146604 w 560716"/>
                  <a:gd name="connsiteY12" fmla="*/ 1075292 h 1074707"/>
                  <a:gd name="connsiteX13" fmla="*/ 367971 w 560716"/>
                  <a:gd name="connsiteY13" fmla="*/ 1057185 h 1074707"/>
                  <a:gd name="connsiteX14" fmla="*/ 349280 w 560716"/>
                  <a:gd name="connsiteY14" fmla="*/ 830562 h 1074707"/>
                  <a:gd name="connsiteX15" fmla="*/ 530929 w 560716"/>
                  <a:gd name="connsiteY15" fmla="*/ 660595 h 1074707"/>
                  <a:gd name="connsiteX16" fmla="*/ 565390 w 560716"/>
                  <a:gd name="connsiteY16" fmla="*/ 572983 h 1074707"/>
                  <a:gd name="connsiteX17" fmla="*/ 300801 w 560716"/>
                  <a:gd name="connsiteY17" fmla="*/ 246482 h 1074707"/>
                  <a:gd name="connsiteX18" fmla="*/ 323580 w 560716"/>
                  <a:gd name="connsiteY18" fmla="*/ 248818 h 1074707"/>
                  <a:gd name="connsiteX19" fmla="*/ 340519 w 560716"/>
                  <a:gd name="connsiteY19" fmla="*/ 533849 h 1074707"/>
                  <a:gd name="connsiteX20" fmla="*/ 325333 w 560716"/>
                  <a:gd name="connsiteY20" fmla="*/ 547867 h 1074707"/>
                  <a:gd name="connsiteX21" fmla="*/ 300801 w 560716"/>
                  <a:gd name="connsiteY21" fmla="*/ 246482 h 1074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60716" h="1074707">
                    <a:moveTo>
                      <a:pt x="565390" y="572983"/>
                    </a:moveTo>
                    <a:lnTo>
                      <a:pt x="545531" y="244146"/>
                    </a:lnTo>
                    <a:cubicBezTo>
                      <a:pt x="545531" y="236553"/>
                      <a:pt x="545531" y="227207"/>
                      <a:pt x="545531" y="214942"/>
                    </a:cubicBezTo>
                    <a:cubicBezTo>
                      <a:pt x="545531" y="146604"/>
                      <a:pt x="531513" y="94621"/>
                      <a:pt x="521000" y="64833"/>
                    </a:cubicBezTo>
                    <a:cubicBezTo>
                      <a:pt x="515743" y="47311"/>
                      <a:pt x="512822" y="37965"/>
                      <a:pt x="512822" y="37965"/>
                    </a:cubicBezTo>
                    <a:lnTo>
                      <a:pt x="129666" y="0"/>
                    </a:lnTo>
                    <a:cubicBezTo>
                      <a:pt x="129666" y="0"/>
                      <a:pt x="75346" y="92285"/>
                      <a:pt x="75346" y="166463"/>
                    </a:cubicBezTo>
                    <a:cubicBezTo>
                      <a:pt x="75346" y="197419"/>
                      <a:pt x="75930" y="211437"/>
                      <a:pt x="75930" y="217862"/>
                    </a:cubicBezTo>
                    <a:lnTo>
                      <a:pt x="75930" y="217862"/>
                    </a:lnTo>
                    <a:lnTo>
                      <a:pt x="119152" y="741782"/>
                    </a:lnTo>
                    <a:lnTo>
                      <a:pt x="0" y="853341"/>
                    </a:lnTo>
                    <a:lnTo>
                      <a:pt x="140763" y="1004034"/>
                    </a:lnTo>
                    <a:lnTo>
                      <a:pt x="146604" y="1075292"/>
                    </a:lnTo>
                    <a:lnTo>
                      <a:pt x="367971" y="1057185"/>
                    </a:lnTo>
                    <a:lnTo>
                      <a:pt x="349280" y="830562"/>
                    </a:lnTo>
                    <a:lnTo>
                      <a:pt x="530929" y="660595"/>
                    </a:lnTo>
                    <a:cubicBezTo>
                      <a:pt x="554292" y="637816"/>
                      <a:pt x="567142" y="605691"/>
                      <a:pt x="565390" y="572983"/>
                    </a:cubicBezTo>
                    <a:close/>
                    <a:moveTo>
                      <a:pt x="300801" y="246482"/>
                    </a:moveTo>
                    <a:lnTo>
                      <a:pt x="323580" y="248818"/>
                    </a:lnTo>
                    <a:lnTo>
                      <a:pt x="340519" y="533849"/>
                    </a:lnTo>
                    <a:lnTo>
                      <a:pt x="325333" y="547867"/>
                    </a:lnTo>
                    <a:lnTo>
                      <a:pt x="300801" y="246482"/>
                    </a:lnTo>
                    <a:close/>
                  </a:path>
                </a:pathLst>
              </a:custGeom>
              <a:grpFill/>
              <a:ln w="5841" cap="flat">
                <a:solidFill>
                  <a:schemeClr val="bg1">
                    <a:lumMod val="8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</p:grpSp>
        <p:grpSp>
          <p:nvGrpSpPr>
            <p:cNvPr id="324" name="Group 323">
              <a:extLst>
                <a:ext uri="{FF2B5EF4-FFF2-40B4-BE49-F238E27FC236}">
                  <a16:creationId xmlns:a16="http://schemas.microsoft.com/office/drawing/2014/main" id="{9917FA68-7C8B-4A78-BC3E-C43D3347322E}"/>
                </a:ext>
              </a:extLst>
            </p:cNvPr>
            <p:cNvGrpSpPr/>
            <p:nvPr/>
          </p:nvGrpSpPr>
          <p:grpSpPr>
            <a:xfrm>
              <a:off x="311628" y="2231635"/>
              <a:ext cx="1131947" cy="2395313"/>
              <a:chOff x="311628" y="2231635"/>
              <a:chExt cx="1131947" cy="2395313"/>
            </a:xfrm>
            <a:grpFill/>
          </p:grpSpPr>
          <p:sp>
            <p:nvSpPr>
              <p:cNvPr id="325" name="Freeform: Shape 324">
                <a:extLst>
                  <a:ext uri="{FF2B5EF4-FFF2-40B4-BE49-F238E27FC236}">
                    <a16:creationId xmlns:a16="http://schemas.microsoft.com/office/drawing/2014/main" id="{08DD1B8C-B906-4DDD-8592-7E851843A3D6}"/>
                  </a:ext>
                </a:extLst>
              </p:cNvPr>
              <p:cNvSpPr/>
              <p:nvPr/>
            </p:nvSpPr>
            <p:spPr>
              <a:xfrm>
                <a:off x="694785" y="2707076"/>
                <a:ext cx="11682" cy="11682"/>
              </a:xfrm>
              <a:custGeom>
                <a:avLst/>
                <a:gdLst>
                  <a:gd name="connsiteX0" fmla="*/ 11682 w 11681"/>
                  <a:gd name="connsiteY0" fmla="*/ 5841 h 11681"/>
                  <a:gd name="connsiteX1" fmla="*/ 5841 w 11681"/>
                  <a:gd name="connsiteY1" fmla="*/ 11682 h 11681"/>
                  <a:gd name="connsiteX2" fmla="*/ 0 w 11681"/>
                  <a:gd name="connsiteY2" fmla="*/ 5841 h 11681"/>
                  <a:gd name="connsiteX3" fmla="*/ 5841 w 11681"/>
                  <a:gd name="connsiteY3" fmla="*/ 0 h 11681"/>
                  <a:gd name="connsiteX4" fmla="*/ 11682 w 11681"/>
                  <a:gd name="connsiteY4" fmla="*/ 5841 h 11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681" h="11681">
                    <a:moveTo>
                      <a:pt x="11682" y="5841"/>
                    </a:moveTo>
                    <a:cubicBezTo>
                      <a:pt x="11682" y="9067"/>
                      <a:pt x="9067" y="11682"/>
                      <a:pt x="5841" y="11682"/>
                    </a:cubicBezTo>
                    <a:cubicBezTo>
                      <a:pt x="2615" y="11682"/>
                      <a:pt x="0" y="9067"/>
                      <a:pt x="0" y="5841"/>
                    </a:cubicBezTo>
                    <a:cubicBezTo>
                      <a:pt x="0" y="2615"/>
                      <a:pt x="2615" y="0"/>
                      <a:pt x="5841" y="0"/>
                    </a:cubicBezTo>
                    <a:cubicBezTo>
                      <a:pt x="9067" y="0"/>
                      <a:pt x="11682" y="2615"/>
                      <a:pt x="11682" y="5841"/>
                    </a:cubicBezTo>
                    <a:close/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26" name="Freeform: Shape 325">
                <a:extLst>
                  <a:ext uri="{FF2B5EF4-FFF2-40B4-BE49-F238E27FC236}">
                    <a16:creationId xmlns:a16="http://schemas.microsoft.com/office/drawing/2014/main" id="{F152E73C-FFA4-482E-88B7-F22B75C96E60}"/>
                  </a:ext>
                </a:extLst>
              </p:cNvPr>
              <p:cNvSpPr/>
              <p:nvPr/>
            </p:nvSpPr>
            <p:spPr>
              <a:xfrm>
                <a:off x="670253" y="2700991"/>
                <a:ext cx="58408" cy="11682"/>
              </a:xfrm>
              <a:custGeom>
                <a:avLst/>
                <a:gdLst>
                  <a:gd name="connsiteX0" fmla="*/ 62497 w 58408"/>
                  <a:gd name="connsiteY0" fmla="*/ 13678 h 11681"/>
                  <a:gd name="connsiteX1" fmla="*/ 0 w 58408"/>
                  <a:gd name="connsiteY1" fmla="*/ 14846 h 11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08" h="11681">
                    <a:moveTo>
                      <a:pt x="62497" y="13678"/>
                    </a:moveTo>
                    <a:cubicBezTo>
                      <a:pt x="62497" y="13678"/>
                      <a:pt x="29788" y="-17862"/>
                      <a:pt x="0" y="14846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27" name="Freeform: Shape 326">
                <a:extLst>
                  <a:ext uri="{FF2B5EF4-FFF2-40B4-BE49-F238E27FC236}">
                    <a16:creationId xmlns:a16="http://schemas.microsoft.com/office/drawing/2014/main" id="{ACE5BD78-5F09-439E-8216-DB06CE0B0222}"/>
                  </a:ext>
                </a:extLst>
              </p:cNvPr>
              <p:cNvSpPr/>
              <p:nvPr/>
            </p:nvSpPr>
            <p:spPr>
              <a:xfrm>
                <a:off x="690112" y="2662686"/>
                <a:ext cx="40886" cy="5841"/>
              </a:xfrm>
              <a:custGeom>
                <a:avLst/>
                <a:gdLst>
                  <a:gd name="connsiteX0" fmla="*/ 5257 w 40885"/>
                  <a:gd name="connsiteY0" fmla="*/ 0 h 5840"/>
                  <a:gd name="connsiteX1" fmla="*/ 40301 w 40885"/>
                  <a:gd name="connsiteY1" fmla="*/ 0 h 5840"/>
                  <a:gd name="connsiteX2" fmla="*/ 45558 w 40885"/>
                  <a:gd name="connsiteY2" fmla="*/ 5257 h 5840"/>
                  <a:gd name="connsiteX3" fmla="*/ 45558 w 40885"/>
                  <a:gd name="connsiteY3" fmla="*/ 5257 h 5840"/>
                  <a:gd name="connsiteX4" fmla="*/ 40301 w 40885"/>
                  <a:gd name="connsiteY4" fmla="*/ 10513 h 5840"/>
                  <a:gd name="connsiteX5" fmla="*/ 5257 w 40885"/>
                  <a:gd name="connsiteY5" fmla="*/ 10513 h 5840"/>
                  <a:gd name="connsiteX6" fmla="*/ 0 w 40885"/>
                  <a:gd name="connsiteY6" fmla="*/ 5257 h 5840"/>
                  <a:gd name="connsiteX7" fmla="*/ 0 w 40885"/>
                  <a:gd name="connsiteY7" fmla="*/ 5257 h 5840"/>
                  <a:gd name="connsiteX8" fmla="*/ 5257 w 40885"/>
                  <a:gd name="connsiteY8" fmla="*/ 0 h 5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85" h="5840">
                    <a:moveTo>
                      <a:pt x="5257" y="0"/>
                    </a:moveTo>
                    <a:lnTo>
                      <a:pt x="40301" y="0"/>
                    </a:lnTo>
                    <a:cubicBezTo>
                      <a:pt x="43222" y="0"/>
                      <a:pt x="45558" y="2336"/>
                      <a:pt x="45558" y="5257"/>
                    </a:cubicBezTo>
                    <a:lnTo>
                      <a:pt x="45558" y="5257"/>
                    </a:lnTo>
                    <a:cubicBezTo>
                      <a:pt x="45558" y="8177"/>
                      <a:pt x="43222" y="10513"/>
                      <a:pt x="40301" y="10513"/>
                    </a:cubicBezTo>
                    <a:lnTo>
                      <a:pt x="5257" y="10513"/>
                    </a:lnTo>
                    <a:cubicBezTo>
                      <a:pt x="2336" y="10513"/>
                      <a:pt x="0" y="8177"/>
                      <a:pt x="0" y="5257"/>
                    </a:cubicBezTo>
                    <a:lnTo>
                      <a:pt x="0" y="5257"/>
                    </a:lnTo>
                    <a:cubicBezTo>
                      <a:pt x="584" y="2336"/>
                      <a:pt x="2336" y="0"/>
                      <a:pt x="5257" y="0"/>
                    </a:cubicBezTo>
                    <a:close/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28" name="Freeform: Shape 327">
                <a:extLst>
                  <a:ext uri="{FF2B5EF4-FFF2-40B4-BE49-F238E27FC236}">
                    <a16:creationId xmlns:a16="http://schemas.microsoft.com/office/drawing/2014/main" id="{3D676D55-093F-4EF1-8803-624BEF97B378}"/>
                  </a:ext>
                </a:extLst>
              </p:cNvPr>
              <p:cNvSpPr/>
              <p:nvPr/>
            </p:nvSpPr>
            <p:spPr>
              <a:xfrm>
                <a:off x="805972" y="2659318"/>
                <a:ext cx="40886" cy="17522"/>
              </a:xfrm>
              <a:custGeom>
                <a:avLst/>
                <a:gdLst>
                  <a:gd name="connsiteX0" fmla="*/ 3292 w 40885"/>
                  <a:gd name="connsiteY0" fmla="*/ 13297 h 17522"/>
                  <a:gd name="connsiteX1" fmla="*/ 36001 w 40885"/>
                  <a:gd name="connsiteY1" fmla="*/ 448 h 17522"/>
                  <a:gd name="connsiteX2" fmla="*/ 42426 w 40885"/>
                  <a:gd name="connsiteY2" fmla="*/ 3368 h 17522"/>
                  <a:gd name="connsiteX3" fmla="*/ 42426 w 40885"/>
                  <a:gd name="connsiteY3" fmla="*/ 3368 h 17522"/>
                  <a:gd name="connsiteX4" fmla="*/ 39505 w 40885"/>
                  <a:gd name="connsiteY4" fmla="*/ 9793 h 17522"/>
                  <a:gd name="connsiteX5" fmla="*/ 6797 w 40885"/>
                  <a:gd name="connsiteY5" fmla="*/ 22643 h 17522"/>
                  <a:gd name="connsiteX6" fmla="*/ 372 w 40885"/>
                  <a:gd name="connsiteY6" fmla="*/ 19722 h 17522"/>
                  <a:gd name="connsiteX7" fmla="*/ 372 w 40885"/>
                  <a:gd name="connsiteY7" fmla="*/ 19722 h 17522"/>
                  <a:gd name="connsiteX8" fmla="*/ 3292 w 40885"/>
                  <a:gd name="connsiteY8" fmla="*/ 13297 h 17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85" h="17522">
                    <a:moveTo>
                      <a:pt x="3292" y="13297"/>
                    </a:moveTo>
                    <a:lnTo>
                      <a:pt x="36001" y="448"/>
                    </a:lnTo>
                    <a:cubicBezTo>
                      <a:pt x="38921" y="-721"/>
                      <a:pt x="41842" y="448"/>
                      <a:pt x="42426" y="3368"/>
                    </a:cubicBezTo>
                    <a:lnTo>
                      <a:pt x="42426" y="3368"/>
                    </a:lnTo>
                    <a:cubicBezTo>
                      <a:pt x="43594" y="6288"/>
                      <a:pt x="42426" y="9209"/>
                      <a:pt x="39505" y="9793"/>
                    </a:cubicBezTo>
                    <a:lnTo>
                      <a:pt x="6797" y="22643"/>
                    </a:lnTo>
                    <a:cubicBezTo>
                      <a:pt x="3876" y="23811"/>
                      <a:pt x="956" y="22643"/>
                      <a:pt x="372" y="19722"/>
                    </a:cubicBezTo>
                    <a:lnTo>
                      <a:pt x="372" y="19722"/>
                    </a:lnTo>
                    <a:cubicBezTo>
                      <a:pt x="-796" y="17386"/>
                      <a:pt x="956" y="14466"/>
                      <a:pt x="3292" y="13297"/>
                    </a:cubicBezTo>
                    <a:close/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29" name="Freeform: Shape 328">
                <a:extLst>
                  <a:ext uri="{FF2B5EF4-FFF2-40B4-BE49-F238E27FC236}">
                    <a16:creationId xmlns:a16="http://schemas.microsoft.com/office/drawing/2014/main" id="{3120E812-FBBF-4AC0-A16D-2B05FA8AF887}"/>
                  </a:ext>
                </a:extLst>
              </p:cNvPr>
              <p:cNvSpPr/>
              <p:nvPr/>
            </p:nvSpPr>
            <p:spPr>
              <a:xfrm>
                <a:off x="814521" y="2703176"/>
                <a:ext cx="46726" cy="11682"/>
              </a:xfrm>
              <a:custGeom>
                <a:avLst/>
                <a:gdLst>
                  <a:gd name="connsiteX0" fmla="*/ 49063 w 46726"/>
                  <a:gd name="connsiteY0" fmla="*/ 3900 h 11681"/>
                  <a:gd name="connsiteX1" fmla="*/ 0 w 46726"/>
                  <a:gd name="connsiteY1" fmla="*/ 14998 h 11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726" h="11681">
                    <a:moveTo>
                      <a:pt x="49063" y="3900"/>
                    </a:moveTo>
                    <a:cubicBezTo>
                      <a:pt x="49063" y="3900"/>
                      <a:pt x="16354" y="-10118"/>
                      <a:pt x="0" y="14998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30" name="Freeform: Shape 329">
                <a:extLst>
                  <a:ext uri="{FF2B5EF4-FFF2-40B4-BE49-F238E27FC236}">
                    <a16:creationId xmlns:a16="http://schemas.microsoft.com/office/drawing/2014/main" id="{62600770-0431-42D4-9E14-93F6C093361D}"/>
                  </a:ext>
                </a:extLst>
              </p:cNvPr>
              <p:cNvSpPr/>
              <p:nvPr/>
            </p:nvSpPr>
            <p:spPr>
              <a:xfrm>
                <a:off x="835548" y="2870619"/>
                <a:ext cx="70090" cy="105134"/>
              </a:xfrm>
              <a:custGeom>
                <a:avLst/>
                <a:gdLst>
                  <a:gd name="connsiteX0" fmla="*/ 0 w 70089"/>
                  <a:gd name="connsiteY0" fmla="*/ 0 h 105134"/>
                  <a:gd name="connsiteX1" fmla="*/ 16354 w 70089"/>
                  <a:gd name="connsiteY1" fmla="*/ 109807 h 105134"/>
                  <a:gd name="connsiteX2" fmla="*/ 70090 w 70089"/>
                  <a:gd name="connsiteY2" fmla="*/ 104550 h 105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089" h="105134">
                    <a:moveTo>
                      <a:pt x="0" y="0"/>
                    </a:moveTo>
                    <a:lnTo>
                      <a:pt x="16354" y="109807"/>
                    </a:lnTo>
                    <a:lnTo>
                      <a:pt x="70090" y="104550"/>
                    </a:ln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31" name="Freeform: Shape 330">
                <a:extLst>
                  <a:ext uri="{FF2B5EF4-FFF2-40B4-BE49-F238E27FC236}">
                    <a16:creationId xmlns:a16="http://schemas.microsoft.com/office/drawing/2014/main" id="{046AB1F2-13EB-4D48-B5B8-6D3EBC21CF21}"/>
                  </a:ext>
                </a:extLst>
              </p:cNvPr>
              <p:cNvSpPr/>
              <p:nvPr/>
            </p:nvSpPr>
            <p:spPr>
              <a:xfrm>
                <a:off x="638129" y="2868867"/>
                <a:ext cx="64249" cy="140179"/>
              </a:xfrm>
              <a:custGeom>
                <a:avLst/>
                <a:gdLst>
                  <a:gd name="connsiteX0" fmla="*/ 69506 w 64248"/>
                  <a:gd name="connsiteY0" fmla="*/ 0 h 140179"/>
                  <a:gd name="connsiteX1" fmla="*/ 54904 w 64248"/>
                  <a:gd name="connsiteY1" fmla="*/ 133754 h 140179"/>
                  <a:gd name="connsiteX2" fmla="*/ 0 w 64248"/>
                  <a:gd name="connsiteY2" fmla="*/ 144852 h 140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248" h="140179">
                    <a:moveTo>
                      <a:pt x="69506" y="0"/>
                    </a:moveTo>
                    <a:lnTo>
                      <a:pt x="54904" y="133754"/>
                    </a:lnTo>
                    <a:lnTo>
                      <a:pt x="0" y="144852"/>
                    </a:ln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grpSp>
            <p:nvGrpSpPr>
              <p:cNvPr id="332" name="Graphic 6">
                <a:extLst>
                  <a:ext uri="{FF2B5EF4-FFF2-40B4-BE49-F238E27FC236}">
                    <a16:creationId xmlns:a16="http://schemas.microsoft.com/office/drawing/2014/main" id="{C21F7C85-8A1E-4C9B-8144-6B08E16BBBE2}"/>
                  </a:ext>
                </a:extLst>
              </p:cNvPr>
              <p:cNvGrpSpPr/>
              <p:nvPr/>
            </p:nvGrpSpPr>
            <p:grpSpPr>
              <a:xfrm>
                <a:off x="906222" y="2698302"/>
                <a:ext cx="58408" cy="64249"/>
                <a:chOff x="594594" y="2698302"/>
                <a:chExt cx="58408" cy="64249"/>
              </a:xfrm>
              <a:grpFill/>
            </p:grpSpPr>
            <p:sp>
              <p:nvSpPr>
                <p:cNvPr id="396" name="Freeform: Shape 395">
                  <a:extLst>
                    <a:ext uri="{FF2B5EF4-FFF2-40B4-BE49-F238E27FC236}">
                      <a16:creationId xmlns:a16="http://schemas.microsoft.com/office/drawing/2014/main" id="{9E8C2FF8-304A-4217-8CC8-EE4F591EE3E8}"/>
                    </a:ext>
                  </a:extLst>
                </p:cNvPr>
                <p:cNvSpPr/>
                <p:nvPr/>
              </p:nvSpPr>
              <p:spPr>
                <a:xfrm>
                  <a:off x="594594" y="2698302"/>
                  <a:ext cx="58408" cy="64249"/>
                </a:xfrm>
                <a:custGeom>
                  <a:avLst/>
                  <a:gdLst>
                    <a:gd name="connsiteX0" fmla="*/ 0 w 58408"/>
                    <a:gd name="connsiteY0" fmla="*/ 55501 h 64248"/>
                    <a:gd name="connsiteX1" fmla="*/ 32708 w 58408"/>
                    <a:gd name="connsiteY1" fmla="*/ 67767 h 64248"/>
                    <a:gd name="connsiteX2" fmla="*/ 60160 w 58408"/>
                    <a:gd name="connsiteY2" fmla="*/ 28049 h 64248"/>
                    <a:gd name="connsiteX3" fmla="*/ 20443 w 58408"/>
                    <a:gd name="connsiteY3" fmla="*/ 598 h 64248"/>
                    <a:gd name="connsiteX4" fmla="*/ 8761 w 58408"/>
                    <a:gd name="connsiteY4" fmla="*/ 5270 h 64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8408" h="64248">
                      <a:moveTo>
                        <a:pt x="0" y="55501"/>
                      </a:moveTo>
                      <a:cubicBezTo>
                        <a:pt x="7593" y="64846"/>
                        <a:pt x="19859" y="70103"/>
                        <a:pt x="32708" y="67767"/>
                      </a:cubicBezTo>
                      <a:cubicBezTo>
                        <a:pt x="51399" y="64262"/>
                        <a:pt x="63665" y="46740"/>
                        <a:pt x="60160" y="28049"/>
                      </a:cubicBezTo>
                      <a:cubicBezTo>
                        <a:pt x="56656" y="9359"/>
                        <a:pt x="39133" y="-2907"/>
                        <a:pt x="20443" y="598"/>
                      </a:cubicBezTo>
                      <a:cubicBezTo>
                        <a:pt x="16354" y="1182"/>
                        <a:pt x="12266" y="2934"/>
                        <a:pt x="8761" y="5270"/>
                      </a:cubicBezTo>
                    </a:path>
                  </a:pathLst>
                </a:custGeom>
                <a:grpFill/>
                <a:ln w="11682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rgbClr val="009900"/>
                    </a:solidFill>
                  </a:endParaRPr>
                </a:p>
              </p:txBody>
            </p:sp>
            <p:sp>
              <p:nvSpPr>
                <p:cNvPr id="397" name="Freeform: Shape 396">
                  <a:extLst>
                    <a:ext uri="{FF2B5EF4-FFF2-40B4-BE49-F238E27FC236}">
                      <a16:creationId xmlns:a16="http://schemas.microsoft.com/office/drawing/2014/main" id="{B919563E-4910-44B2-B9D4-ACCF6BCC38C3}"/>
                    </a:ext>
                  </a:extLst>
                </p:cNvPr>
                <p:cNvSpPr/>
                <p:nvPr/>
              </p:nvSpPr>
              <p:spPr>
                <a:xfrm>
                  <a:off x="607443" y="2731024"/>
                  <a:ext cx="23363" cy="5841"/>
                </a:xfrm>
                <a:custGeom>
                  <a:avLst/>
                  <a:gdLst>
                    <a:gd name="connsiteX0" fmla="*/ 26284 w 23363"/>
                    <a:gd name="connsiteY0" fmla="*/ 2920 h 0"/>
                    <a:gd name="connsiteX1" fmla="*/ 0 w 23363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363">
                      <a:moveTo>
                        <a:pt x="26284" y="292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 w="11682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rgbClr val="009900"/>
                    </a:solidFill>
                  </a:endParaRPr>
                </a:p>
              </p:txBody>
            </p:sp>
          </p:grpSp>
          <p:grpSp>
            <p:nvGrpSpPr>
              <p:cNvPr id="333" name="Graphic 6">
                <a:extLst>
                  <a:ext uri="{FF2B5EF4-FFF2-40B4-BE49-F238E27FC236}">
                    <a16:creationId xmlns:a16="http://schemas.microsoft.com/office/drawing/2014/main" id="{342AE4E7-ACEB-4933-87CB-0E6AE0DD607B}"/>
                  </a:ext>
                </a:extLst>
              </p:cNvPr>
              <p:cNvGrpSpPr/>
              <p:nvPr/>
            </p:nvGrpSpPr>
            <p:grpSpPr>
              <a:xfrm>
                <a:off x="575035" y="2698302"/>
                <a:ext cx="58408" cy="64249"/>
                <a:chOff x="263407" y="2698302"/>
                <a:chExt cx="58408" cy="64249"/>
              </a:xfrm>
              <a:grpFill/>
            </p:grpSpPr>
            <p:sp>
              <p:nvSpPr>
                <p:cNvPr id="394" name="Freeform: Shape 393">
                  <a:extLst>
                    <a:ext uri="{FF2B5EF4-FFF2-40B4-BE49-F238E27FC236}">
                      <a16:creationId xmlns:a16="http://schemas.microsoft.com/office/drawing/2014/main" id="{DF3F7B49-55EC-4638-97A4-5125D59959B2}"/>
                    </a:ext>
                  </a:extLst>
                </p:cNvPr>
                <p:cNvSpPr/>
                <p:nvPr/>
              </p:nvSpPr>
              <p:spPr>
                <a:xfrm>
                  <a:off x="263407" y="2698302"/>
                  <a:ext cx="58408" cy="64249"/>
                </a:xfrm>
                <a:custGeom>
                  <a:avLst/>
                  <a:gdLst>
                    <a:gd name="connsiteX0" fmla="*/ 60758 w 58408"/>
                    <a:gd name="connsiteY0" fmla="*/ 55501 h 64248"/>
                    <a:gd name="connsiteX1" fmla="*/ 28049 w 58408"/>
                    <a:gd name="connsiteY1" fmla="*/ 67767 h 64248"/>
                    <a:gd name="connsiteX2" fmla="*/ 598 w 58408"/>
                    <a:gd name="connsiteY2" fmla="*/ 28049 h 64248"/>
                    <a:gd name="connsiteX3" fmla="*/ 40315 w 58408"/>
                    <a:gd name="connsiteY3" fmla="*/ 598 h 64248"/>
                    <a:gd name="connsiteX4" fmla="*/ 51997 w 58408"/>
                    <a:gd name="connsiteY4" fmla="*/ 5270 h 64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8408" h="64248">
                      <a:moveTo>
                        <a:pt x="60758" y="55501"/>
                      </a:moveTo>
                      <a:cubicBezTo>
                        <a:pt x="53165" y="64846"/>
                        <a:pt x="40899" y="70103"/>
                        <a:pt x="28049" y="67767"/>
                      </a:cubicBezTo>
                      <a:cubicBezTo>
                        <a:pt x="9359" y="64262"/>
                        <a:pt x="-2907" y="46740"/>
                        <a:pt x="598" y="28049"/>
                      </a:cubicBezTo>
                      <a:cubicBezTo>
                        <a:pt x="4102" y="9359"/>
                        <a:pt x="21624" y="-2907"/>
                        <a:pt x="40315" y="598"/>
                      </a:cubicBezTo>
                      <a:cubicBezTo>
                        <a:pt x="44404" y="1182"/>
                        <a:pt x="48492" y="2934"/>
                        <a:pt x="51997" y="5270"/>
                      </a:cubicBezTo>
                    </a:path>
                  </a:pathLst>
                </a:custGeom>
                <a:grpFill/>
                <a:ln w="11682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rgbClr val="009900"/>
                    </a:solidFill>
                  </a:endParaRPr>
                </a:p>
              </p:txBody>
            </p:sp>
            <p:sp>
              <p:nvSpPr>
                <p:cNvPr id="395" name="Freeform: Shape 394">
                  <a:extLst>
                    <a:ext uri="{FF2B5EF4-FFF2-40B4-BE49-F238E27FC236}">
                      <a16:creationId xmlns:a16="http://schemas.microsoft.com/office/drawing/2014/main" id="{1BA43F32-0875-4130-9385-649091067577}"/>
                    </a:ext>
                  </a:extLst>
                </p:cNvPr>
                <p:cNvSpPr/>
                <p:nvPr/>
              </p:nvSpPr>
              <p:spPr>
                <a:xfrm>
                  <a:off x="285031" y="2731024"/>
                  <a:ext cx="23363" cy="5841"/>
                </a:xfrm>
                <a:custGeom>
                  <a:avLst/>
                  <a:gdLst>
                    <a:gd name="connsiteX0" fmla="*/ 0 w 23363"/>
                    <a:gd name="connsiteY0" fmla="*/ 2920 h 0"/>
                    <a:gd name="connsiteX1" fmla="*/ 26284 w 23363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363">
                      <a:moveTo>
                        <a:pt x="0" y="2920"/>
                      </a:moveTo>
                      <a:lnTo>
                        <a:pt x="26284" y="0"/>
                      </a:lnTo>
                    </a:path>
                  </a:pathLst>
                </a:custGeom>
                <a:grpFill/>
                <a:ln w="11682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rgbClr val="009900"/>
                    </a:solidFill>
                  </a:endParaRPr>
                </a:p>
              </p:txBody>
            </p:sp>
          </p:grpSp>
          <p:sp>
            <p:nvSpPr>
              <p:cNvPr id="334" name="Freeform: Shape 333">
                <a:extLst>
                  <a:ext uri="{FF2B5EF4-FFF2-40B4-BE49-F238E27FC236}">
                    <a16:creationId xmlns:a16="http://schemas.microsoft.com/office/drawing/2014/main" id="{26222191-DCAD-4D62-8CE9-AD0EEF518AF0}"/>
                  </a:ext>
                </a:extLst>
              </p:cNvPr>
              <p:cNvSpPr/>
              <p:nvPr/>
            </p:nvSpPr>
            <p:spPr>
              <a:xfrm>
                <a:off x="629952" y="2760228"/>
                <a:ext cx="286199" cy="122657"/>
              </a:xfrm>
              <a:custGeom>
                <a:avLst/>
                <a:gdLst>
                  <a:gd name="connsiteX0" fmla="*/ 287952 w 286199"/>
                  <a:gd name="connsiteY0" fmla="*/ 2920 h 122656"/>
                  <a:gd name="connsiteX1" fmla="*/ 144268 w 286199"/>
                  <a:gd name="connsiteY1" fmla="*/ 124409 h 122656"/>
                  <a:gd name="connsiteX2" fmla="*/ 144268 w 286199"/>
                  <a:gd name="connsiteY2" fmla="*/ 124409 h 122656"/>
                  <a:gd name="connsiteX3" fmla="*/ 0 w 286199"/>
                  <a:gd name="connsiteY3" fmla="*/ 0 h 122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6199" h="122656">
                    <a:moveTo>
                      <a:pt x="287952" y="2920"/>
                    </a:moveTo>
                    <a:cubicBezTo>
                      <a:pt x="276270" y="71258"/>
                      <a:pt x="216110" y="124409"/>
                      <a:pt x="144268" y="124409"/>
                    </a:cubicBezTo>
                    <a:lnTo>
                      <a:pt x="144268" y="124409"/>
                    </a:lnTo>
                    <a:cubicBezTo>
                      <a:pt x="71258" y="124409"/>
                      <a:pt x="10513" y="70674"/>
                      <a:pt x="0" y="0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35" name="Freeform: Shape 334">
                <a:extLst>
                  <a:ext uri="{FF2B5EF4-FFF2-40B4-BE49-F238E27FC236}">
                    <a16:creationId xmlns:a16="http://schemas.microsoft.com/office/drawing/2014/main" id="{1E09F091-3515-411E-B969-9478CF4D267B}"/>
                  </a:ext>
                </a:extLst>
              </p:cNvPr>
              <p:cNvSpPr/>
              <p:nvPr/>
            </p:nvSpPr>
            <p:spPr>
              <a:xfrm>
                <a:off x="634040" y="2520755"/>
                <a:ext cx="134338" cy="99294"/>
              </a:xfrm>
              <a:custGeom>
                <a:avLst/>
                <a:gdLst>
                  <a:gd name="connsiteX0" fmla="*/ 139595 w 134338"/>
                  <a:gd name="connsiteY0" fmla="*/ 0 h 99293"/>
                  <a:gd name="connsiteX1" fmla="*/ 139595 w 134338"/>
                  <a:gd name="connsiteY1" fmla="*/ 0 h 99293"/>
                  <a:gd name="connsiteX2" fmla="*/ 0 w 134338"/>
                  <a:gd name="connsiteY2" fmla="*/ 102798 h 9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4338" h="99293">
                    <a:moveTo>
                      <a:pt x="139595" y="0"/>
                    </a:moveTo>
                    <a:lnTo>
                      <a:pt x="139595" y="0"/>
                    </a:lnTo>
                    <a:cubicBezTo>
                      <a:pt x="74178" y="0"/>
                      <a:pt x="18691" y="43222"/>
                      <a:pt x="0" y="102798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36" name="Freeform: Shape 335">
                <a:extLst>
                  <a:ext uri="{FF2B5EF4-FFF2-40B4-BE49-F238E27FC236}">
                    <a16:creationId xmlns:a16="http://schemas.microsoft.com/office/drawing/2014/main" id="{CB49A50D-AEDF-4C2B-9B6B-F33D7AB8C679}"/>
                  </a:ext>
                </a:extLst>
              </p:cNvPr>
              <p:cNvSpPr/>
              <p:nvPr/>
            </p:nvSpPr>
            <p:spPr>
              <a:xfrm>
                <a:off x="806928" y="2524843"/>
                <a:ext cx="105134" cy="93453"/>
              </a:xfrm>
              <a:custGeom>
                <a:avLst/>
                <a:gdLst>
                  <a:gd name="connsiteX0" fmla="*/ 0 w 105134"/>
                  <a:gd name="connsiteY0" fmla="*/ 0 h 93452"/>
                  <a:gd name="connsiteX1" fmla="*/ 105134 w 105134"/>
                  <a:gd name="connsiteY1" fmla="*/ 95205 h 93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5134" h="93452">
                    <a:moveTo>
                      <a:pt x="0" y="0"/>
                    </a:moveTo>
                    <a:cubicBezTo>
                      <a:pt x="49063" y="11682"/>
                      <a:pt x="88780" y="47895"/>
                      <a:pt x="105134" y="95205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37" name="Freeform: Shape 336">
                <a:extLst>
                  <a:ext uri="{FF2B5EF4-FFF2-40B4-BE49-F238E27FC236}">
                    <a16:creationId xmlns:a16="http://schemas.microsoft.com/office/drawing/2014/main" id="{06D58382-5DC1-4204-970C-FF057E3828B5}"/>
                  </a:ext>
                </a:extLst>
              </p:cNvPr>
              <p:cNvSpPr/>
              <p:nvPr/>
            </p:nvSpPr>
            <p:spPr>
              <a:xfrm>
                <a:off x="771883" y="2795272"/>
                <a:ext cx="52567" cy="35045"/>
              </a:xfrm>
              <a:custGeom>
                <a:avLst/>
                <a:gdLst>
                  <a:gd name="connsiteX0" fmla="*/ 0 w 52567"/>
                  <a:gd name="connsiteY0" fmla="*/ 33877 h 35044"/>
                  <a:gd name="connsiteX1" fmla="*/ 53735 w 52567"/>
                  <a:gd name="connsiteY1" fmla="*/ 0 h 35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567" h="35044">
                    <a:moveTo>
                      <a:pt x="0" y="33877"/>
                    </a:moveTo>
                    <a:cubicBezTo>
                      <a:pt x="20443" y="40302"/>
                      <a:pt x="48479" y="32708"/>
                      <a:pt x="53735" y="0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38" name="Freeform: Shape 337">
                <a:extLst>
                  <a:ext uri="{FF2B5EF4-FFF2-40B4-BE49-F238E27FC236}">
                    <a16:creationId xmlns:a16="http://schemas.microsoft.com/office/drawing/2014/main" id="{FF84B2F1-B1AC-46D1-9045-A5854C7CCBFE}"/>
                  </a:ext>
                </a:extLst>
              </p:cNvPr>
              <p:cNvSpPr/>
              <p:nvPr/>
            </p:nvSpPr>
            <p:spPr>
              <a:xfrm>
                <a:off x="841682" y="2587924"/>
                <a:ext cx="110975" cy="70090"/>
              </a:xfrm>
              <a:custGeom>
                <a:avLst/>
                <a:gdLst>
                  <a:gd name="connsiteX0" fmla="*/ 3212 w 110975"/>
                  <a:gd name="connsiteY0" fmla="*/ 0 h 70089"/>
                  <a:gd name="connsiteX1" fmla="*/ 2044 w 110975"/>
                  <a:gd name="connsiteY1" fmla="*/ 20443 h 70089"/>
                  <a:gd name="connsiteX2" fmla="*/ 21902 w 110975"/>
                  <a:gd name="connsiteY2" fmla="*/ 26868 h 70089"/>
                  <a:gd name="connsiteX3" fmla="*/ 26575 w 110975"/>
                  <a:gd name="connsiteY3" fmla="*/ 47310 h 70089"/>
                  <a:gd name="connsiteX4" fmla="*/ 47602 w 110975"/>
                  <a:gd name="connsiteY4" fmla="*/ 47895 h 70089"/>
                  <a:gd name="connsiteX5" fmla="*/ 58115 w 110975"/>
                  <a:gd name="connsiteY5" fmla="*/ 66001 h 70089"/>
                  <a:gd name="connsiteX6" fmla="*/ 77974 w 110975"/>
                  <a:gd name="connsiteY6" fmla="*/ 60160 h 70089"/>
                  <a:gd name="connsiteX7" fmla="*/ 93744 w 110975"/>
                  <a:gd name="connsiteY7" fmla="*/ 74178 h 70089"/>
                  <a:gd name="connsiteX8" fmla="*/ 111267 w 110975"/>
                  <a:gd name="connsiteY8" fmla="*/ 62497 h 70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975" h="70089">
                    <a:moveTo>
                      <a:pt x="3212" y="0"/>
                    </a:moveTo>
                    <a:cubicBezTo>
                      <a:pt x="6716" y="8177"/>
                      <a:pt x="-4381" y="11682"/>
                      <a:pt x="2044" y="20443"/>
                    </a:cubicBezTo>
                    <a:cubicBezTo>
                      <a:pt x="4964" y="24531"/>
                      <a:pt x="17814" y="22195"/>
                      <a:pt x="21902" y="26868"/>
                    </a:cubicBezTo>
                    <a:cubicBezTo>
                      <a:pt x="25407" y="30956"/>
                      <a:pt x="21902" y="43222"/>
                      <a:pt x="26575" y="47310"/>
                    </a:cubicBezTo>
                    <a:cubicBezTo>
                      <a:pt x="30663" y="50815"/>
                      <a:pt x="42345" y="44390"/>
                      <a:pt x="47602" y="47895"/>
                    </a:cubicBezTo>
                    <a:cubicBezTo>
                      <a:pt x="52274" y="50815"/>
                      <a:pt x="52859" y="63665"/>
                      <a:pt x="58115" y="66001"/>
                    </a:cubicBezTo>
                    <a:cubicBezTo>
                      <a:pt x="63372" y="67753"/>
                      <a:pt x="72133" y="58408"/>
                      <a:pt x="77974" y="60160"/>
                    </a:cubicBezTo>
                    <a:cubicBezTo>
                      <a:pt x="83231" y="61328"/>
                      <a:pt x="87319" y="73594"/>
                      <a:pt x="93744" y="74178"/>
                    </a:cubicBezTo>
                    <a:cubicBezTo>
                      <a:pt x="99585" y="74762"/>
                      <a:pt x="105426" y="63081"/>
                      <a:pt x="111267" y="62497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39" name="Freeform: Shape 338">
                <a:extLst>
                  <a:ext uri="{FF2B5EF4-FFF2-40B4-BE49-F238E27FC236}">
                    <a16:creationId xmlns:a16="http://schemas.microsoft.com/office/drawing/2014/main" id="{A3440DE0-EDED-4795-B3A7-3E52E48C4294}"/>
                  </a:ext>
                </a:extLst>
              </p:cNvPr>
              <p:cNvSpPr/>
              <p:nvPr/>
            </p:nvSpPr>
            <p:spPr>
              <a:xfrm>
                <a:off x="773635" y="2545870"/>
                <a:ext cx="40886" cy="81771"/>
              </a:xfrm>
              <a:custGeom>
                <a:avLst/>
                <a:gdLst>
                  <a:gd name="connsiteX0" fmla="*/ 0 w 40885"/>
                  <a:gd name="connsiteY0" fmla="*/ 84108 h 81771"/>
                  <a:gd name="connsiteX1" fmla="*/ 18691 w 40885"/>
                  <a:gd name="connsiteY1" fmla="*/ 78851 h 81771"/>
                  <a:gd name="connsiteX2" fmla="*/ 16354 w 40885"/>
                  <a:gd name="connsiteY2" fmla="*/ 58992 h 81771"/>
                  <a:gd name="connsiteX3" fmla="*/ 33293 w 40885"/>
                  <a:gd name="connsiteY3" fmla="*/ 49063 h 81771"/>
                  <a:gd name="connsiteX4" fmla="*/ 26868 w 40885"/>
                  <a:gd name="connsiteY4" fmla="*/ 30372 h 81771"/>
                  <a:gd name="connsiteX5" fmla="*/ 41470 w 40885"/>
                  <a:gd name="connsiteY5" fmla="*/ 16938 h 81771"/>
                  <a:gd name="connsiteX6" fmla="*/ 30956 w 40885"/>
                  <a:gd name="connsiteY6" fmla="*/ 0 h 81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885" h="81771">
                    <a:moveTo>
                      <a:pt x="0" y="84108"/>
                    </a:moveTo>
                    <a:cubicBezTo>
                      <a:pt x="3504" y="80019"/>
                      <a:pt x="15770" y="82939"/>
                      <a:pt x="18691" y="78851"/>
                    </a:cubicBezTo>
                    <a:cubicBezTo>
                      <a:pt x="21611" y="74178"/>
                      <a:pt x="14018" y="64249"/>
                      <a:pt x="16354" y="58992"/>
                    </a:cubicBezTo>
                    <a:cubicBezTo>
                      <a:pt x="18691" y="54319"/>
                      <a:pt x="31540" y="53735"/>
                      <a:pt x="33293" y="49063"/>
                    </a:cubicBezTo>
                    <a:cubicBezTo>
                      <a:pt x="35045" y="43806"/>
                      <a:pt x="25700" y="35629"/>
                      <a:pt x="26868" y="30372"/>
                    </a:cubicBezTo>
                    <a:cubicBezTo>
                      <a:pt x="28036" y="25115"/>
                      <a:pt x="40302" y="22195"/>
                      <a:pt x="41470" y="16938"/>
                    </a:cubicBezTo>
                    <a:cubicBezTo>
                      <a:pt x="42054" y="11682"/>
                      <a:pt x="30956" y="5257"/>
                      <a:pt x="30956" y="0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40" name="Freeform: Shape 339">
                <a:extLst>
                  <a:ext uri="{FF2B5EF4-FFF2-40B4-BE49-F238E27FC236}">
                    <a16:creationId xmlns:a16="http://schemas.microsoft.com/office/drawing/2014/main" id="{1840B02A-2A5A-4289-85D8-A69AEE7FDD36}"/>
                  </a:ext>
                </a:extLst>
              </p:cNvPr>
              <p:cNvSpPr/>
              <p:nvPr/>
            </p:nvSpPr>
            <p:spPr>
              <a:xfrm>
                <a:off x="646890" y="2547622"/>
                <a:ext cx="99294" cy="116816"/>
              </a:xfrm>
              <a:custGeom>
                <a:avLst/>
                <a:gdLst>
                  <a:gd name="connsiteX0" fmla="*/ 104550 w 99293"/>
                  <a:gd name="connsiteY0" fmla="*/ 0 h 116816"/>
                  <a:gd name="connsiteX1" fmla="*/ 86444 w 99293"/>
                  <a:gd name="connsiteY1" fmla="*/ 14602 h 116816"/>
                  <a:gd name="connsiteX2" fmla="*/ 87612 w 99293"/>
                  <a:gd name="connsiteY2" fmla="*/ 37381 h 116816"/>
                  <a:gd name="connsiteX3" fmla="*/ 67169 w 99293"/>
                  <a:gd name="connsiteY3" fmla="*/ 47895 h 116816"/>
                  <a:gd name="connsiteX4" fmla="*/ 64249 w 99293"/>
                  <a:gd name="connsiteY4" fmla="*/ 70674 h 116816"/>
                  <a:gd name="connsiteX5" fmla="*/ 42054 w 99293"/>
                  <a:gd name="connsiteY5" fmla="*/ 77099 h 116816"/>
                  <a:gd name="connsiteX6" fmla="*/ 34461 w 99293"/>
                  <a:gd name="connsiteY6" fmla="*/ 98710 h 116816"/>
                  <a:gd name="connsiteX7" fmla="*/ 11682 w 99293"/>
                  <a:gd name="connsiteY7" fmla="*/ 100462 h 116816"/>
                  <a:gd name="connsiteX8" fmla="*/ 0 w 99293"/>
                  <a:gd name="connsiteY8" fmla="*/ 120321 h 116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9293" h="116816">
                    <a:moveTo>
                      <a:pt x="104550" y="0"/>
                    </a:moveTo>
                    <a:cubicBezTo>
                      <a:pt x="102214" y="9345"/>
                      <a:pt x="91701" y="3504"/>
                      <a:pt x="86444" y="14602"/>
                    </a:cubicBezTo>
                    <a:cubicBezTo>
                      <a:pt x="84108" y="19859"/>
                      <a:pt x="91701" y="30956"/>
                      <a:pt x="87612" y="37381"/>
                    </a:cubicBezTo>
                    <a:cubicBezTo>
                      <a:pt x="84692" y="42638"/>
                      <a:pt x="71258" y="42054"/>
                      <a:pt x="67169" y="47895"/>
                    </a:cubicBezTo>
                    <a:cubicBezTo>
                      <a:pt x="63665" y="53151"/>
                      <a:pt x="68921" y="65417"/>
                      <a:pt x="64249" y="70674"/>
                    </a:cubicBezTo>
                    <a:cubicBezTo>
                      <a:pt x="60160" y="75346"/>
                      <a:pt x="47310" y="72426"/>
                      <a:pt x="42054" y="77099"/>
                    </a:cubicBezTo>
                    <a:cubicBezTo>
                      <a:pt x="37381" y="81771"/>
                      <a:pt x="39717" y="94621"/>
                      <a:pt x="34461" y="98710"/>
                    </a:cubicBezTo>
                    <a:cubicBezTo>
                      <a:pt x="29204" y="102798"/>
                      <a:pt x="17522" y="96957"/>
                      <a:pt x="11682" y="100462"/>
                    </a:cubicBezTo>
                    <a:cubicBezTo>
                      <a:pt x="6425" y="103966"/>
                      <a:pt x="5841" y="117400"/>
                      <a:pt x="0" y="120321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41" name="Freeform: Shape 340">
                <a:extLst>
                  <a:ext uri="{FF2B5EF4-FFF2-40B4-BE49-F238E27FC236}">
                    <a16:creationId xmlns:a16="http://schemas.microsoft.com/office/drawing/2014/main" id="{CE27BD73-1AA8-4A04-911B-8EE1E233B184}"/>
                  </a:ext>
                </a:extLst>
              </p:cNvPr>
              <p:cNvSpPr/>
              <p:nvPr/>
            </p:nvSpPr>
            <p:spPr>
              <a:xfrm>
                <a:off x="714643" y="2360133"/>
                <a:ext cx="23363" cy="134338"/>
              </a:xfrm>
              <a:custGeom>
                <a:avLst/>
                <a:gdLst>
                  <a:gd name="connsiteX0" fmla="*/ 18691 w 23363"/>
                  <a:gd name="connsiteY0" fmla="*/ 139011 h 134338"/>
                  <a:gd name="connsiteX1" fmla="*/ 28036 w 23363"/>
                  <a:gd name="connsiteY1" fmla="*/ 119736 h 134338"/>
                  <a:gd name="connsiteX2" fmla="*/ 14018 w 23363"/>
                  <a:gd name="connsiteY2" fmla="*/ 103966 h 134338"/>
                  <a:gd name="connsiteX3" fmla="*/ 23363 w 23363"/>
                  <a:gd name="connsiteY3" fmla="*/ 85276 h 134338"/>
                  <a:gd name="connsiteX4" fmla="*/ 9345 w 23363"/>
                  <a:gd name="connsiteY4" fmla="*/ 69506 h 134338"/>
                  <a:gd name="connsiteX5" fmla="*/ 18691 w 23363"/>
                  <a:gd name="connsiteY5" fmla="*/ 50815 h 134338"/>
                  <a:gd name="connsiteX6" fmla="*/ 4673 w 23363"/>
                  <a:gd name="connsiteY6" fmla="*/ 35045 h 134338"/>
                  <a:gd name="connsiteX7" fmla="*/ 14018 w 23363"/>
                  <a:gd name="connsiteY7" fmla="*/ 15770 h 134338"/>
                  <a:gd name="connsiteX8" fmla="*/ 0 w 23363"/>
                  <a:gd name="connsiteY8" fmla="*/ 0 h 134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363" h="134338">
                    <a:moveTo>
                      <a:pt x="18691" y="139011"/>
                    </a:moveTo>
                    <a:cubicBezTo>
                      <a:pt x="17522" y="130250"/>
                      <a:pt x="29204" y="128498"/>
                      <a:pt x="28036" y="119736"/>
                    </a:cubicBezTo>
                    <a:cubicBezTo>
                      <a:pt x="26868" y="110975"/>
                      <a:pt x="15186" y="112727"/>
                      <a:pt x="14018" y="103966"/>
                    </a:cubicBezTo>
                    <a:cubicBezTo>
                      <a:pt x="12850" y="95205"/>
                      <a:pt x="24531" y="93453"/>
                      <a:pt x="23363" y="85276"/>
                    </a:cubicBezTo>
                    <a:cubicBezTo>
                      <a:pt x="22195" y="76515"/>
                      <a:pt x="10513" y="78267"/>
                      <a:pt x="9345" y="69506"/>
                    </a:cubicBezTo>
                    <a:cubicBezTo>
                      <a:pt x="8177" y="60744"/>
                      <a:pt x="19859" y="58992"/>
                      <a:pt x="18691" y="50815"/>
                    </a:cubicBezTo>
                    <a:cubicBezTo>
                      <a:pt x="17522" y="42054"/>
                      <a:pt x="5841" y="43806"/>
                      <a:pt x="4673" y="35045"/>
                    </a:cubicBezTo>
                    <a:cubicBezTo>
                      <a:pt x="3504" y="26284"/>
                      <a:pt x="15186" y="24531"/>
                      <a:pt x="14018" y="15770"/>
                    </a:cubicBezTo>
                    <a:cubicBezTo>
                      <a:pt x="12850" y="7009"/>
                      <a:pt x="1168" y="8761"/>
                      <a:pt x="0" y="0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42" name="Freeform: Shape 341">
                <a:extLst>
                  <a:ext uri="{FF2B5EF4-FFF2-40B4-BE49-F238E27FC236}">
                    <a16:creationId xmlns:a16="http://schemas.microsoft.com/office/drawing/2014/main" id="{EF77D3AE-E18B-481B-AE64-70FF1FA1633A}"/>
                  </a:ext>
                </a:extLst>
              </p:cNvPr>
              <p:cNvSpPr/>
              <p:nvPr/>
            </p:nvSpPr>
            <p:spPr>
              <a:xfrm>
                <a:off x="540003" y="2238060"/>
                <a:ext cx="70090" cy="122657"/>
              </a:xfrm>
              <a:custGeom>
                <a:avLst/>
                <a:gdLst>
                  <a:gd name="connsiteX0" fmla="*/ 67753 w 70089"/>
                  <a:gd name="connsiteY0" fmla="*/ 123825 h 122656"/>
                  <a:gd name="connsiteX1" fmla="*/ 69506 w 70089"/>
                  <a:gd name="connsiteY1" fmla="*/ 102798 h 122656"/>
                  <a:gd name="connsiteX2" fmla="*/ 50815 w 70089"/>
                  <a:gd name="connsiteY2" fmla="*/ 92869 h 122656"/>
                  <a:gd name="connsiteX3" fmla="*/ 52567 w 70089"/>
                  <a:gd name="connsiteY3" fmla="*/ 71842 h 122656"/>
                  <a:gd name="connsiteX4" fmla="*/ 33877 w 70089"/>
                  <a:gd name="connsiteY4" fmla="*/ 61913 h 122656"/>
                  <a:gd name="connsiteX5" fmla="*/ 35629 w 70089"/>
                  <a:gd name="connsiteY5" fmla="*/ 40886 h 122656"/>
                  <a:gd name="connsiteX6" fmla="*/ 16938 w 70089"/>
                  <a:gd name="connsiteY6" fmla="*/ 30956 h 122656"/>
                  <a:gd name="connsiteX7" fmla="*/ 18691 w 70089"/>
                  <a:gd name="connsiteY7" fmla="*/ 9929 h 122656"/>
                  <a:gd name="connsiteX8" fmla="*/ 0 w 70089"/>
                  <a:gd name="connsiteY8" fmla="*/ 0 h 122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0089" h="122656">
                    <a:moveTo>
                      <a:pt x="67753" y="123825"/>
                    </a:moveTo>
                    <a:cubicBezTo>
                      <a:pt x="63665" y="116232"/>
                      <a:pt x="73594" y="110391"/>
                      <a:pt x="69506" y="102798"/>
                    </a:cubicBezTo>
                    <a:cubicBezTo>
                      <a:pt x="65417" y="95205"/>
                      <a:pt x="54904" y="101046"/>
                      <a:pt x="50815" y="92869"/>
                    </a:cubicBezTo>
                    <a:cubicBezTo>
                      <a:pt x="46726" y="85276"/>
                      <a:pt x="56656" y="79435"/>
                      <a:pt x="52567" y="71842"/>
                    </a:cubicBezTo>
                    <a:cubicBezTo>
                      <a:pt x="48479" y="64249"/>
                      <a:pt x="37965" y="69506"/>
                      <a:pt x="33877" y="61913"/>
                    </a:cubicBezTo>
                    <a:cubicBezTo>
                      <a:pt x="29788" y="54319"/>
                      <a:pt x="39717" y="48479"/>
                      <a:pt x="35629" y="40886"/>
                    </a:cubicBezTo>
                    <a:cubicBezTo>
                      <a:pt x="31540" y="33293"/>
                      <a:pt x="21027" y="38549"/>
                      <a:pt x="16938" y="30956"/>
                    </a:cubicBezTo>
                    <a:cubicBezTo>
                      <a:pt x="12850" y="23363"/>
                      <a:pt x="22779" y="17522"/>
                      <a:pt x="18691" y="9929"/>
                    </a:cubicBezTo>
                    <a:cubicBezTo>
                      <a:pt x="14602" y="2336"/>
                      <a:pt x="4089" y="7593"/>
                      <a:pt x="0" y="0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43" name="Freeform: Shape 342">
                <a:extLst>
                  <a:ext uri="{FF2B5EF4-FFF2-40B4-BE49-F238E27FC236}">
                    <a16:creationId xmlns:a16="http://schemas.microsoft.com/office/drawing/2014/main" id="{1FBA378D-75B6-42DD-BE2C-C941F82C71CF}"/>
                  </a:ext>
                </a:extLst>
              </p:cNvPr>
              <p:cNvSpPr/>
              <p:nvPr/>
            </p:nvSpPr>
            <p:spPr>
              <a:xfrm>
                <a:off x="412674" y="2246821"/>
                <a:ext cx="93453" cy="105134"/>
              </a:xfrm>
              <a:custGeom>
                <a:avLst/>
                <a:gdLst>
                  <a:gd name="connsiteX0" fmla="*/ 93453 w 93452"/>
                  <a:gd name="connsiteY0" fmla="*/ 107471 h 105134"/>
                  <a:gd name="connsiteX1" fmla="*/ 90532 w 93452"/>
                  <a:gd name="connsiteY1" fmla="*/ 86444 h 105134"/>
                  <a:gd name="connsiteX2" fmla="*/ 70090 w 93452"/>
                  <a:gd name="connsiteY2" fmla="*/ 80603 h 105134"/>
                  <a:gd name="connsiteX3" fmla="*/ 67169 w 93452"/>
                  <a:gd name="connsiteY3" fmla="*/ 59576 h 105134"/>
                  <a:gd name="connsiteX4" fmla="*/ 46726 w 93452"/>
                  <a:gd name="connsiteY4" fmla="*/ 53735 h 105134"/>
                  <a:gd name="connsiteX5" fmla="*/ 43806 w 93452"/>
                  <a:gd name="connsiteY5" fmla="*/ 32708 h 105134"/>
                  <a:gd name="connsiteX6" fmla="*/ 23363 w 93452"/>
                  <a:gd name="connsiteY6" fmla="*/ 26868 h 105134"/>
                  <a:gd name="connsiteX7" fmla="*/ 20443 w 93452"/>
                  <a:gd name="connsiteY7" fmla="*/ 5841 h 105134"/>
                  <a:gd name="connsiteX8" fmla="*/ 0 w 93452"/>
                  <a:gd name="connsiteY8" fmla="*/ 0 h 105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452" h="105134">
                    <a:moveTo>
                      <a:pt x="93453" y="107471"/>
                    </a:moveTo>
                    <a:cubicBezTo>
                      <a:pt x="87612" y="101046"/>
                      <a:pt x="96373" y="92869"/>
                      <a:pt x="90532" y="86444"/>
                    </a:cubicBezTo>
                    <a:cubicBezTo>
                      <a:pt x="84692" y="80019"/>
                      <a:pt x="75930" y="87612"/>
                      <a:pt x="70090" y="80603"/>
                    </a:cubicBezTo>
                    <a:cubicBezTo>
                      <a:pt x="64249" y="74178"/>
                      <a:pt x="73010" y="66585"/>
                      <a:pt x="67169" y="59576"/>
                    </a:cubicBezTo>
                    <a:cubicBezTo>
                      <a:pt x="61328" y="53151"/>
                      <a:pt x="52567" y="60744"/>
                      <a:pt x="46726" y="53735"/>
                    </a:cubicBezTo>
                    <a:cubicBezTo>
                      <a:pt x="40886" y="47311"/>
                      <a:pt x="49647" y="39133"/>
                      <a:pt x="43806" y="32708"/>
                    </a:cubicBezTo>
                    <a:cubicBezTo>
                      <a:pt x="37965" y="26284"/>
                      <a:pt x="29204" y="33877"/>
                      <a:pt x="23363" y="26868"/>
                    </a:cubicBezTo>
                    <a:cubicBezTo>
                      <a:pt x="17522" y="20443"/>
                      <a:pt x="26284" y="12266"/>
                      <a:pt x="20443" y="5841"/>
                    </a:cubicBezTo>
                    <a:cubicBezTo>
                      <a:pt x="14602" y="-584"/>
                      <a:pt x="5841" y="7009"/>
                      <a:pt x="0" y="0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44" name="Freeform: Shape 343">
                <a:extLst>
                  <a:ext uri="{FF2B5EF4-FFF2-40B4-BE49-F238E27FC236}">
                    <a16:creationId xmlns:a16="http://schemas.microsoft.com/office/drawing/2014/main" id="{EC7B4AAA-6835-4E2A-A605-12D6F9B9DB75}"/>
                  </a:ext>
                </a:extLst>
              </p:cNvPr>
              <p:cNvSpPr/>
              <p:nvPr/>
            </p:nvSpPr>
            <p:spPr>
              <a:xfrm>
                <a:off x="361275" y="2310953"/>
                <a:ext cx="116816" cy="75930"/>
              </a:xfrm>
              <a:custGeom>
                <a:avLst/>
                <a:gdLst>
                  <a:gd name="connsiteX0" fmla="*/ 119152 w 116816"/>
                  <a:gd name="connsiteY0" fmla="*/ 76631 h 75930"/>
                  <a:gd name="connsiteX1" fmla="*/ 110391 w 116816"/>
                  <a:gd name="connsiteY1" fmla="*/ 57357 h 75930"/>
                  <a:gd name="connsiteX2" fmla="*/ 89364 w 116816"/>
                  <a:gd name="connsiteY2" fmla="*/ 57941 h 75930"/>
                  <a:gd name="connsiteX3" fmla="*/ 80603 w 116816"/>
                  <a:gd name="connsiteY3" fmla="*/ 38666 h 75930"/>
                  <a:gd name="connsiteX4" fmla="*/ 59576 w 116816"/>
                  <a:gd name="connsiteY4" fmla="*/ 39250 h 75930"/>
                  <a:gd name="connsiteX5" fmla="*/ 50815 w 116816"/>
                  <a:gd name="connsiteY5" fmla="*/ 19976 h 75930"/>
                  <a:gd name="connsiteX6" fmla="*/ 29788 w 116816"/>
                  <a:gd name="connsiteY6" fmla="*/ 20560 h 75930"/>
                  <a:gd name="connsiteX7" fmla="*/ 21027 w 116816"/>
                  <a:gd name="connsiteY7" fmla="*/ 1285 h 75930"/>
                  <a:gd name="connsiteX8" fmla="*/ 0 w 116816"/>
                  <a:gd name="connsiteY8" fmla="*/ 1869 h 75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816" h="75930">
                    <a:moveTo>
                      <a:pt x="119152" y="76631"/>
                    </a:moveTo>
                    <a:cubicBezTo>
                      <a:pt x="111559" y="71959"/>
                      <a:pt x="117984" y="62029"/>
                      <a:pt x="110391" y="57357"/>
                    </a:cubicBezTo>
                    <a:cubicBezTo>
                      <a:pt x="102798" y="52684"/>
                      <a:pt x="96957" y="62613"/>
                      <a:pt x="89364" y="57941"/>
                    </a:cubicBezTo>
                    <a:cubicBezTo>
                      <a:pt x="81771" y="53268"/>
                      <a:pt x="88196" y="43339"/>
                      <a:pt x="80603" y="38666"/>
                    </a:cubicBezTo>
                    <a:cubicBezTo>
                      <a:pt x="73010" y="33993"/>
                      <a:pt x="67169" y="43923"/>
                      <a:pt x="59576" y="39250"/>
                    </a:cubicBezTo>
                    <a:cubicBezTo>
                      <a:pt x="51983" y="34578"/>
                      <a:pt x="58408" y="24648"/>
                      <a:pt x="50815" y="19976"/>
                    </a:cubicBezTo>
                    <a:cubicBezTo>
                      <a:pt x="43222" y="15303"/>
                      <a:pt x="37381" y="25232"/>
                      <a:pt x="29788" y="20560"/>
                    </a:cubicBezTo>
                    <a:cubicBezTo>
                      <a:pt x="22195" y="15887"/>
                      <a:pt x="28620" y="5958"/>
                      <a:pt x="21027" y="1285"/>
                    </a:cubicBezTo>
                    <a:cubicBezTo>
                      <a:pt x="13434" y="-3388"/>
                      <a:pt x="7593" y="6542"/>
                      <a:pt x="0" y="1869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45" name="Freeform: Shape 344">
                <a:extLst>
                  <a:ext uri="{FF2B5EF4-FFF2-40B4-BE49-F238E27FC236}">
                    <a16:creationId xmlns:a16="http://schemas.microsoft.com/office/drawing/2014/main" id="{39A80F1E-D9C0-4565-9611-418BDA883A3D}"/>
                  </a:ext>
                </a:extLst>
              </p:cNvPr>
              <p:cNvSpPr/>
              <p:nvPr/>
            </p:nvSpPr>
            <p:spPr>
              <a:xfrm>
                <a:off x="349009" y="2431550"/>
                <a:ext cx="110975" cy="52567"/>
              </a:xfrm>
              <a:custGeom>
                <a:avLst/>
                <a:gdLst>
                  <a:gd name="connsiteX0" fmla="*/ 113896 w 110975"/>
                  <a:gd name="connsiteY0" fmla="*/ 51824 h 52567"/>
                  <a:gd name="connsiteX1" fmla="*/ 92869 w 110975"/>
                  <a:gd name="connsiteY1" fmla="*/ 53576 h 52567"/>
                  <a:gd name="connsiteX2" fmla="*/ 82939 w 110975"/>
                  <a:gd name="connsiteY2" fmla="*/ 34886 h 52567"/>
                  <a:gd name="connsiteX3" fmla="*/ 61913 w 110975"/>
                  <a:gd name="connsiteY3" fmla="*/ 36638 h 52567"/>
                  <a:gd name="connsiteX4" fmla="*/ 51983 w 110975"/>
                  <a:gd name="connsiteY4" fmla="*/ 17947 h 52567"/>
                  <a:gd name="connsiteX5" fmla="*/ 30956 w 110975"/>
                  <a:gd name="connsiteY5" fmla="*/ 19700 h 52567"/>
                  <a:gd name="connsiteX6" fmla="*/ 21027 w 110975"/>
                  <a:gd name="connsiteY6" fmla="*/ 1009 h 52567"/>
                  <a:gd name="connsiteX7" fmla="*/ 0 w 110975"/>
                  <a:gd name="connsiteY7" fmla="*/ 2761 h 52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0975" h="52567">
                    <a:moveTo>
                      <a:pt x="113896" y="51824"/>
                    </a:moveTo>
                    <a:cubicBezTo>
                      <a:pt x="106303" y="47735"/>
                      <a:pt x="100462" y="57665"/>
                      <a:pt x="92869" y="53576"/>
                    </a:cubicBezTo>
                    <a:cubicBezTo>
                      <a:pt x="85276" y="49488"/>
                      <a:pt x="90532" y="38974"/>
                      <a:pt x="82939" y="34886"/>
                    </a:cubicBezTo>
                    <a:cubicBezTo>
                      <a:pt x="75346" y="30797"/>
                      <a:pt x="69506" y="40726"/>
                      <a:pt x="61913" y="36638"/>
                    </a:cubicBezTo>
                    <a:cubicBezTo>
                      <a:pt x="54319" y="32549"/>
                      <a:pt x="59576" y="22036"/>
                      <a:pt x="51983" y="17947"/>
                    </a:cubicBezTo>
                    <a:cubicBezTo>
                      <a:pt x="44390" y="13859"/>
                      <a:pt x="38549" y="23788"/>
                      <a:pt x="30956" y="19700"/>
                    </a:cubicBezTo>
                    <a:cubicBezTo>
                      <a:pt x="23363" y="15611"/>
                      <a:pt x="28620" y="5098"/>
                      <a:pt x="21027" y="1009"/>
                    </a:cubicBezTo>
                    <a:cubicBezTo>
                      <a:pt x="13434" y="-3080"/>
                      <a:pt x="7593" y="6850"/>
                      <a:pt x="0" y="2761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46" name="Freeform: Shape 345">
                <a:extLst>
                  <a:ext uri="{FF2B5EF4-FFF2-40B4-BE49-F238E27FC236}">
                    <a16:creationId xmlns:a16="http://schemas.microsoft.com/office/drawing/2014/main" id="{AE9A2E65-4103-44A6-A568-13E171E118E0}"/>
                  </a:ext>
                </a:extLst>
              </p:cNvPr>
              <p:cNvSpPr/>
              <p:nvPr/>
            </p:nvSpPr>
            <p:spPr>
              <a:xfrm>
                <a:off x="618270" y="2281282"/>
                <a:ext cx="40886" cy="110975"/>
              </a:xfrm>
              <a:custGeom>
                <a:avLst/>
                <a:gdLst>
                  <a:gd name="connsiteX0" fmla="*/ 38549 w 40885"/>
                  <a:gd name="connsiteY0" fmla="*/ 113896 h 110975"/>
                  <a:gd name="connsiteX1" fmla="*/ 43222 w 40885"/>
                  <a:gd name="connsiteY1" fmla="*/ 91117 h 110975"/>
                  <a:gd name="connsiteX2" fmla="*/ 25700 w 40885"/>
                  <a:gd name="connsiteY2" fmla="*/ 75930 h 110975"/>
                  <a:gd name="connsiteX3" fmla="*/ 30372 w 40885"/>
                  <a:gd name="connsiteY3" fmla="*/ 53151 h 110975"/>
                  <a:gd name="connsiteX4" fmla="*/ 12850 w 40885"/>
                  <a:gd name="connsiteY4" fmla="*/ 37965 h 110975"/>
                  <a:gd name="connsiteX5" fmla="*/ 17522 w 40885"/>
                  <a:gd name="connsiteY5" fmla="*/ 15186 h 110975"/>
                  <a:gd name="connsiteX6" fmla="*/ 0 w 40885"/>
                  <a:gd name="connsiteY6" fmla="*/ 0 h 11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885" h="110975">
                    <a:moveTo>
                      <a:pt x="38549" y="113896"/>
                    </a:moveTo>
                    <a:cubicBezTo>
                      <a:pt x="35045" y="104550"/>
                      <a:pt x="46142" y="100462"/>
                      <a:pt x="43222" y="91117"/>
                    </a:cubicBezTo>
                    <a:cubicBezTo>
                      <a:pt x="39717" y="81771"/>
                      <a:pt x="28620" y="85860"/>
                      <a:pt x="25700" y="75930"/>
                    </a:cubicBezTo>
                    <a:cubicBezTo>
                      <a:pt x="22195" y="66585"/>
                      <a:pt x="33293" y="62497"/>
                      <a:pt x="30372" y="53151"/>
                    </a:cubicBezTo>
                    <a:cubicBezTo>
                      <a:pt x="26868" y="43806"/>
                      <a:pt x="15770" y="47895"/>
                      <a:pt x="12850" y="37965"/>
                    </a:cubicBezTo>
                    <a:cubicBezTo>
                      <a:pt x="9345" y="28620"/>
                      <a:pt x="20443" y="24531"/>
                      <a:pt x="17522" y="15186"/>
                    </a:cubicBezTo>
                    <a:cubicBezTo>
                      <a:pt x="14018" y="5841"/>
                      <a:pt x="2920" y="9929"/>
                      <a:pt x="0" y="0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47" name="Freeform: Shape 346">
                <a:extLst>
                  <a:ext uri="{FF2B5EF4-FFF2-40B4-BE49-F238E27FC236}">
                    <a16:creationId xmlns:a16="http://schemas.microsoft.com/office/drawing/2014/main" id="{91F67B8A-ADCE-4162-B1E4-6D37D8F80E86}"/>
                  </a:ext>
                </a:extLst>
              </p:cNvPr>
              <p:cNvSpPr/>
              <p:nvPr/>
            </p:nvSpPr>
            <p:spPr>
              <a:xfrm>
                <a:off x="679599" y="2439568"/>
                <a:ext cx="17522" cy="64249"/>
              </a:xfrm>
              <a:custGeom>
                <a:avLst/>
                <a:gdLst>
                  <a:gd name="connsiteX0" fmla="*/ 16938 w 17522"/>
                  <a:gd name="connsiteY0" fmla="*/ 68337 h 64248"/>
                  <a:gd name="connsiteX1" fmla="*/ 21611 w 17522"/>
                  <a:gd name="connsiteY1" fmla="*/ 45558 h 64248"/>
                  <a:gd name="connsiteX2" fmla="*/ 4089 w 17522"/>
                  <a:gd name="connsiteY2" fmla="*/ 30372 h 64248"/>
                  <a:gd name="connsiteX3" fmla="*/ 8761 w 17522"/>
                  <a:gd name="connsiteY3" fmla="*/ 7593 h 64248"/>
                  <a:gd name="connsiteX4" fmla="*/ 0 w 17522"/>
                  <a:gd name="connsiteY4" fmla="*/ 0 h 64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22" h="64248">
                    <a:moveTo>
                      <a:pt x="16938" y="68337"/>
                    </a:moveTo>
                    <a:cubicBezTo>
                      <a:pt x="13434" y="58992"/>
                      <a:pt x="24531" y="54904"/>
                      <a:pt x="21611" y="45558"/>
                    </a:cubicBezTo>
                    <a:cubicBezTo>
                      <a:pt x="18106" y="36213"/>
                      <a:pt x="7009" y="40302"/>
                      <a:pt x="4089" y="30372"/>
                    </a:cubicBezTo>
                    <a:cubicBezTo>
                      <a:pt x="584" y="21027"/>
                      <a:pt x="11682" y="16938"/>
                      <a:pt x="8761" y="7593"/>
                    </a:cubicBezTo>
                    <a:cubicBezTo>
                      <a:pt x="7009" y="2920"/>
                      <a:pt x="3504" y="1752"/>
                      <a:pt x="0" y="0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48" name="Freeform: Shape 347">
                <a:extLst>
                  <a:ext uri="{FF2B5EF4-FFF2-40B4-BE49-F238E27FC236}">
                    <a16:creationId xmlns:a16="http://schemas.microsoft.com/office/drawing/2014/main" id="{F8C89628-3CE6-49A1-82AC-7BC8F97ECD80}"/>
                  </a:ext>
                </a:extLst>
              </p:cNvPr>
              <p:cNvSpPr/>
              <p:nvPr/>
            </p:nvSpPr>
            <p:spPr>
              <a:xfrm>
                <a:off x="491341" y="2237476"/>
                <a:ext cx="99294" cy="151861"/>
              </a:xfrm>
              <a:custGeom>
                <a:avLst/>
                <a:gdLst>
                  <a:gd name="connsiteX0" fmla="*/ 103566 w 99293"/>
                  <a:gd name="connsiteY0" fmla="*/ 153029 h 151860"/>
                  <a:gd name="connsiteX1" fmla="*/ 102398 w 99293"/>
                  <a:gd name="connsiteY1" fmla="*/ 147188 h 151860"/>
                  <a:gd name="connsiteX2" fmla="*/ 82539 w 99293"/>
                  <a:gd name="connsiteY2" fmla="*/ 139011 h 151860"/>
                  <a:gd name="connsiteX3" fmla="*/ 81955 w 99293"/>
                  <a:gd name="connsiteY3" fmla="*/ 117984 h 151860"/>
                  <a:gd name="connsiteX4" fmla="*/ 62096 w 99293"/>
                  <a:gd name="connsiteY4" fmla="*/ 109807 h 151860"/>
                  <a:gd name="connsiteX5" fmla="*/ 61512 w 99293"/>
                  <a:gd name="connsiteY5" fmla="*/ 88780 h 151860"/>
                  <a:gd name="connsiteX6" fmla="*/ 41654 w 99293"/>
                  <a:gd name="connsiteY6" fmla="*/ 80603 h 151860"/>
                  <a:gd name="connsiteX7" fmla="*/ 41070 w 99293"/>
                  <a:gd name="connsiteY7" fmla="*/ 59576 h 151860"/>
                  <a:gd name="connsiteX8" fmla="*/ 21211 w 99293"/>
                  <a:gd name="connsiteY8" fmla="*/ 51399 h 151860"/>
                  <a:gd name="connsiteX9" fmla="*/ 20627 w 99293"/>
                  <a:gd name="connsiteY9" fmla="*/ 30372 h 151860"/>
                  <a:gd name="connsiteX10" fmla="*/ 768 w 99293"/>
                  <a:gd name="connsiteY10" fmla="*/ 22195 h 151860"/>
                  <a:gd name="connsiteX11" fmla="*/ 1936 w 99293"/>
                  <a:gd name="connsiteY11" fmla="*/ 0 h 151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9293" h="151860">
                    <a:moveTo>
                      <a:pt x="103566" y="153029"/>
                    </a:moveTo>
                    <a:cubicBezTo>
                      <a:pt x="103566" y="151277"/>
                      <a:pt x="103566" y="148940"/>
                      <a:pt x="102398" y="147188"/>
                    </a:cubicBezTo>
                    <a:cubicBezTo>
                      <a:pt x="97141" y="139595"/>
                      <a:pt x="87796" y="146604"/>
                      <a:pt x="82539" y="139011"/>
                    </a:cubicBezTo>
                    <a:cubicBezTo>
                      <a:pt x="77282" y="131418"/>
                      <a:pt x="87212" y="124993"/>
                      <a:pt x="81955" y="117984"/>
                    </a:cubicBezTo>
                    <a:cubicBezTo>
                      <a:pt x="76698" y="110391"/>
                      <a:pt x="67353" y="117400"/>
                      <a:pt x="62096" y="109807"/>
                    </a:cubicBezTo>
                    <a:cubicBezTo>
                      <a:pt x="56840" y="102214"/>
                      <a:pt x="66769" y="95789"/>
                      <a:pt x="61512" y="88780"/>
                    </a:cubicBezTo>
                    <a:cubicBezTo>
                      <a:pt x="56256" y="81187"/>
                      <a:pt x="46910" y="88196"/>
                      <a:pt x="41654" y="80603"/>
                    </a:cubicBezTo>
                    <a:cubicBezTo>
                      <a:pt x="36397" y="73010"/>
                      <a:pt x="46326" y="66585"/>
                      <a:pt x="41070" y="59576"/>
                    </a:cubicBezTo>
                    <a:cubicBezTo>
                      <a:pt x="35813" y="51983"/>
                      <a:pt x="26468" y="58992"/>
                      <a:pt x="21211" y="51399"/>
                    </a:cubicBezTo>
                    <a:cubicBezTo>
                      <a:pt x="15954" y="43806"/>
                      <a:pt x="25883" y="37381"/>
                      <a:pt x="20627" y="30372"/>
                    </a:cubicBezTo>
                    <a:cubicBezTo>
                      <a:pt x="15370" y="22779"/>
                      <a:pt x="6025" y="29788"/>
                      <a:pt x="768" y="22195"/>
                    </a:cubicBezTo>
                    <a:cubicBezTo>
                      <a:pt x="-2737" y="14018"/>
                      <a:pt x="7193" y="7593"/>
                      <a:pt x="1936" y="0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49" name="Freeform: Shape 348">
                <a:extLst>
                  <a:ext uri="{FF2B5EF4-FFF2-40B4-BE49-F238E27FC236}">
                    <a16:creationId xmlns:a16="http://schemas.microsoft.com/office/drawing/2014/main" id="{2DDDDD7F-3154-4055-B1D1-305728BD9765}"/>
                  </a:ext>
                </a:extLst>
              </p:cNvPr>
              <p:cNvSpPr/>
              <p:nvPr/>
            </p:nvSpPr>
            <p:spPr>
              <a:xfrm>
                <a:off x="610841" y="2415620"/>
                <a:ext cx="58408" cy="105134"/>
              </a:xfrm>
              <a:custGeom>
                <a:avLst/>
                <a:gdLst>
                  <a:gd name="connsiteX0" fmla="*/ 62916 w 58408"/>
                  <a:gd name="connsiteY0" fmla="*/ 108639 h 105134"/>
                  <a:gd name="connsiteX1" fmla="*/ 62332 w 58408"/>
                  <a:gd name="connsiteY1" fmla="*/ 87612 h 105134"/>
                  <a:gd name="connsiteX2" fmla="*/ 42474 w 58408"/>
                  <a:gd name="connsiteY2" fmla="*/ 79435 h 105134"/>
                  <a:gd name="connsiteX3" fmla="*/ 41890 w 58408"/>
                  <a:gd name="connsiteY3" fmla="*/ 58408 h 105134"/>
                  <a:gd name="connsiteX4" fmla="*/ 22031 w 58408"/>
                  <a:gd name="connsiteY4" fmla="*/ 50231 h 105134"/>
                  <a:gd name="connsiteX5" fmla="*/ 21447 w 58408"/>
                  <a:gd name="connsiteY5" fmla="*/ 29204 h 105134"/>
                  <a:gd name="connsiteX6" fmla="*/ 1588 w 58408"/>
                  <a:gd name="connsiteY6" fmla="*/ 21027 h 105134"/>
                  <a:gd name="connsiteX7" fmla="*/ 1004 w 58408"/>
                  <a:gd name="connsiteY7" fmla="*/ 0 h 105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8408" h="105134">
                    <a:moveTo>
                      <a:pt x="62916" y="108639"/>
                    </a:moveTo>
                    <a:cubicBezTo>
                      <a:pt x="57660" y="101046"/>
                      <a:pt x="67589" y="94621"/>
                      <a:pt x="62332" y="87612"/>
                    </a:cubicBezTo>
                    <a:cubicBezTo>
                      <a:pt x="57076" y="80019"/>
                      <a:pt x="47730" y="87028"/>
                      <a:pt x="42474" y="79435"/>
                    </a:cubicBezTo>
                    <a:cubicBezTo>
                      <a:pt x="37217" y="71842"/>
                      <a:pt x="47146" y="65417"/>
                      <a:pt x="41890" y="58408"/>
                    </a:cubicBezTo>
                    <a:cubicBezTo>
                      <a:pt x="36633" y="50815"/>
                      <a:pt x="27288" y="57824"/>
                      <a:pt x="22031" y="50231"/>
                    </a:cubicBezTo>
                    <a:cubicBezTo>
                      <a:pt x="16774" y="42638"/>
                      <a:pt x="26703" y="36213"/>
                      <a:pt x="21447" y="29204"/>
                    </a:cubicBezTo>
                    <a:cubicBezTo>
                      <a:pt x="16190" y="21611"/>
                      <a:pt x="6845" y="28620"/>
                      <a:pt x="1588" y="21027"/>
                    </a:cubicBezTo>
                    <a:cubicBezTo>
                      <a:pt x="-3669" y="13434"/>
                      <a:pt x="6261" y="7009"/>
                      <a:pt x="1004" y="0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50" name="Freeform: Shape 349">
                <a:extLst>
                  <a:ext uri="{FF2B5EF4-FFF2-40B4-BE49-F238E27FC236}">
                    <a16:creationId xmlns:a16="http://schemas.microsoft.com/office/drawing/2014/main" id="{DC3DEA18-F2C0-419F-B390-CC34254F30CF}"/>
                  </a:ext>
                </a:extLst>
              </p:cNvPr>
              <p:cNvSpPr/>
              <p:nvPr/>
            </p:nvSpPr>
            <p:spPr>
              <a:xfrm>
                <a:off x="507879" y="2378823"/>
                <a:ext cx="52567" cy="58408"/>
              </a:xfrm>
              <a:custGeom>
                <a:avLst/>
                <a:gdLst>
                  <a:gd name="connsiteX0" fmla="*/ 53151 w 52567"/>
                  <a:gd name="connsiteY0" fmla="*/ 58408 h 58408"/>
                  <a:gd name="connsiteX1" fmla="*/ 37965 w 52567"/>
                  <a:gd name="connsiteY1" fmla="*/ 54904 h 58408"/>
                  <a:gd name="connsiteX2" fmla="*/ 33877 w 52567"/>
                  <a:gd name="connsiteY2" fmla="*/ 32708 h 58408"/>
                  <a:gd name="connsiteX3" fmla="*/ 12266 w 52567"/>
                  <a:gd name="connsiteY3" fmla="*/ 25700 h 58408"/>
                  <a:gd name="connsiteX4" fmla="*/ 8177 w 52567"/>
                  <a:gd name="connsiteY4" fmla="*/ 3504 h 58408"/>
                  <a:gd name="connsiteX5" fmla="*/ 0 w 52567"/>
                  <a:gd name="connsiteY5" fmla="*/ 0 h 58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2567" h="58408">
                    <a:moveTo>
                      <a:pt x="53151" y="58408"/>
                    </a:moveTo>
                    <a:cubicBezTo>
                      <a:pt x="47895" y="57824"/>
                      <a:pt x="42054" y="60160"/>
                      <a:pt x="37965" y="54904"/>
                    </a:cubicBezTo>
                    <a:cubicBezTo>
                      <a:pt x="31540" y="47895"/>
                      <a:pt x="40302" y="39717"/>
                      <a:pt x="33877" y="32708"/>
                    </a:cubicBezTo>
                    <a:cubicBezTo>
                      <a:pt x="27452" y="25700"/>
                      <a:pt x="18691" y="33293"/>
                      <a:pt x="12266" y="25700"/>
                    </a:cubicBezTo>
                    <a:cubicBezTo>
                      <a:pt x="5841" y="18691"/>
                      <a:pt x="14602" y="10513"/>
                      <a:pt x="8177" y="3504"/>
                    </a:cubicBezTo>
                    <a:cubicBezTo>
                      <a:pt x="5841" y="584"/>
                      <a:pt x="2920" y="0"/>
                      <a:pt x="0" y="0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51" name="Freeform: Shape 350">
                <a:extLst>
                  <a:ext uri="{FF2B5EF4-FFF2-40B4-BE49-F238E27FC236}">
                    <a16:creationId xmlns:a16="http://schemas.microsoft.com/office/drawing/2014/main" id="{CF4718B4-E6AB-475D-9B9D-F6A304563DBB}"/>
                  </a:ext>
                </a:extLst>
              </p:cNvPr>
              <p:cNvSpPr/>
              <p:nvPr/>
            </p:nvSpPr>
            <p:spPr>
              <a:xfrm>
                <a:off x="580889" y="2465851"/>
                <a:ext cx="64249" cy="81771"/>
              </a:xfrm>
              <a:custGeom>
                <a:avLst/>
                <a:gdLst>
                  <a:gd name="connsiteX0" fmla="*/ 66001 w 64248"/>
                  <a:gd name="connsiteY0" fmla="*/ 84108 h 81771"/>
                  <a:gd name="connsiteX1" fmla="*/ 61913 w 64248"/>
                  <a:gd name="connsiteY1" fmla="*/ 61913 h 81771"/>
                  <a:gd name="connsiteX2" fmla="*/ 40302 w 64248"/>
                  <a:gd name="connsiteY2" fmla="*/ 54904 h 81771"/>
                  <a:gd name="connsiteX3" fmla="*/ 36213 w 64248"/>
                  <a:gd name="connsiteY3" fmla="*/ 32709 h 81771"/>
                  <a:gd name="connsiteX4" fmla="*/ 14602 w 64248"/>
                  <a:gd name="connsiteY4" fmla="*/ 25700 h 81771"/>
                  <a:gd name="connsiteX5" fmla="*/ 10513 w 64248"/>
                  <a:gd name="connsiteY5" fmla="*/ 3504 h 81771"/>
                  <a:gd name="connsiteX6" fmla="*/ 0 w 64248"/>
                  <a:gd name="connsiteY6" fmla="*/ 0 h 81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248" h="81771">
                    <a:moveTo>
                      <a:pt x="66001" y="84108"/>
                    </a:moveTo>
                    <a:cubicBezTo>
                      <a:pt x="59576" y="77099"/>
                      <a:pt x="68337" y="68921"/>
                      <a:pt x="61913" y="61913"/>
                    </a:cubicBezTo>
                    <a:cubicBezTo>
                      <a:pt x="55488" y="54904"/>
                      <a:pt x="46726" y="62497"/>
                      <a:pt x="40302" y="54904"/>
                    </a:cubicBezTo>
                    <a:cubicBezTo>
                      <a:pt x="33877" y="47895"/>
                      <a:pt x="42638" y="39717"/>
                      <a:pt x="36213" y="32709"/>
                    </a:cubicBezTo>
                    <a:cubicBezTo>
                      <a:pt x="29788" y="25700"/>
                      <a:pt x="21027" y="33293"/>
                      <a:pt x="14602" y="25700"/>
                    </a:cubicBezTo>
                    <a:cubicBezTo>
                      <a:pt x="8177" y="18691"/>
                      <a:pt x="16938" y="10513"/>
                      <a:pt x="10513" y="3504"/>
                    </a:cubicBezTo>
                    <a:cubicBezTo>
                      <a:pt x="7593" y="0"/>
                      <a:pt x="3504" y="0"/>
                      <a:pt x="0" y="0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52" name="Freeform: Shape 351">
                <a:extLst>
                  <a:ext uri="{FF2B5EF4-FFF2-40B4-BE49-F238E27FC236}">
                    <a16:creationId xmlns:a16="http://schemas.microsoft.com/office/drawing/2014/main" id="{713AA4B6-3AB9-44FE-B716-20E13CED851C}"/>
                  </a:ext>
                </a:extLst>
              </p:cNvPr>
              <p:cNvSpPr/>
              <p:nvPr/>
            </p:nvSpPr>
            <p:spPr>
              <a:xfrm>
                <a:off x="345505" y="2347283"/>
                <a:ext cx="93453" cy="81771"/>
              </a:xfrm>
              <a:custGeom>
                <a:avLst/>
                <a:gdLst>
                  <a:gd name="connsiteX0" fmla="*/ 99294 w 93452"/>
                  <a:gd name="connsiteY0" fmla="*/ 87028 h 81771"/>
                  <a:gd name="connsiteX1" fmla="*/ 91117 w 93452"/>
                  <a:gd name="connsiteY1" fmla="*/ 66585 h 81771"/>
                  <a:gd name="connsiteX2" fmla="*/ 68921 w 93452"/>
                  <a:gd name="connsiteY2" fmla="*/ 64833 h 81771"/>
                  <a:gd name="connsiteX3" fmla="*/ 60744 w 93452"/>
                  <a:gd name="connsiteY3" fmla="*/ 44390 h 81771"/>
                  <a:gd name="connsiteX4" fmla="*/ 38549 w 93452"/>
                  <a:gd name="connsiteY4" fmla="*/ 42638 h 81771"/>
                  <a:gd name="connsiteX5" fmla="*/ 30372 w 93452"/>
                  <a:gd name="connsiteY5" fmla="*/ 22195 h 81771"/>
                  <a:gd name="connsiteX6" fmla="*/ 8177 w 93452"/>
                  <a:gd name="connsiteY6" fmla="*/ 20443 h 81771"/>
                  <a:gd name="connsiteX7" fmla="*/ 0 w 93452"/>
                  <a:gd name="connsiteY7" fmla="*/ 0 h 81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452" h="81771">
                    <a:moveTo>
                      <a:pt x="99294" y="87028"/>
                    </a:moveTo>
                    <a:cubicBezTo>
                      <a:pt x="91701" y="81187"/>
                      <a:pt x="98710" y="71842"/>
                      <a:pt x="91117" y="66585"/>
                    </a:cubicBezTo>
                    <a:cubicBezTo>
                      <a:pt x="83523" y="60744"/>
                      <a:pt x="76515" y="70090"/>
                      <a:pt x="68921" y="64833"/>
                    </a:cubicBezTo>
                    <a:cubicBezTo>
                      <a:pt x="61328" y="58992"/>
                      <a:pt x="68337" y="49647"/>
                      <a:pt x="60744" y="44390"/>
                    </a:cubicBezTo>
                    <a:cubicBezTo>
                      <a:pt x="53151" y="38549"/>
                      <a:pt x="46142" y="47895"/>
                      <a:pt x="38549" y="42638"/>
                    </a:cubicBezTo>
                    <a:cubicBezTo>
                      <a:pt x="30956" y="36797"/>
                      <a:pt x="37965" y="27452"/>
                      <a:pt x="30372" y="22195"/>
                    </a:cubicBezTo>
                    <a:cubicBezTo>
                      <a:pt x="22779" y="16354"/>
                      <a:pt x="15770" y="25700"/>
                      <a:pt x="8177" y="20443"/>
                    </a:cubicBezTo>
                    <a:cubicBezTo>
                      <a:pt x="584" y="14602"/>
                      <a:pt x="7593" y="5257"/>
                      <a:pt x="0" y="0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53" name="Freeform: Shape 352">
                <a:extLst>
                  <a:ext uri="{FF2B5EF4-FFF2-40B4-BE49-F238E27FC236}">
                    <a16:creationId xmlns:a16="http://schemas.microsoft.com/office/drawing/2014/main" id="{65483078-481D-4DDD-B6B4-E06AA6BACDFC}"/>
                  </a:ext>
                </a:extLst>
              </p:cNvPr>
              <p:cNvSpPr/>
              <p:nvPr/>
            </p:nvSpPr>
            <p:spPr>
              <a:xfrm>
                <a:off x="346089" y="2492025"/>
                <a:ext cx="163542" cy="58408"/>
              </a:xfrm>
              <a:custGeom>
                <a:avLst/>
                <a:gdLst>
                  <a:gd name="connsiteX0" fmla="*/ 165879 w 163542"/>
                  <a:gd name="connsiteY0" fmla="*/ 53845 h 58408"/>
                  <a:gd name="connsiteX1" fmla="*/ 149525 w 163542"/>
                  <a:gd name="connsiteY1" fmla="*/ 58517 h 58408"/>
                  <a:gd name="connsiteX2" fmla="*/ 134923 w 163542"/>
                  <a:gd name="connsiteY2" fmla="*/ 40995 h 58408"/>
                  <a:gd name="connsiteX3" fmla="*/ 112143 w 163542"/>
                  <a:gd name="connsiteY3" fmla="*/ 45084 h 58408"/>
                  <a:gd name="connsiteX4" fmla="*/ 97541 w 163542"/>
                  <a:gd name="connsiteY4" fmla="*/ 27561 h 58408"/>
                  <a:gd name="connsiteX5" fmla="*/ 74762 w 163542"/>
                  <a:gd name="connsiteY5" fmla="*/ 31650 h 58408"/>
                  <a:gd name="connsiteX6" fmla="*/ 60160 w 163542"/>
                  <a:gd name="connsiteY6" fmla="*/ 14127 h 58408"/>
                  <a:gd name="connsiteX7" fmla="*/ 37381 w 163542"/>
                  <a:gd name="connsiteY7" fmla="*/ 18216 h 58408"/>
                  <a:gd name="connsiteX8" fmla="*/ 22779 w 163542"/>
                  <a:gd name="connsiteY8" fmla="*/ 693 h 58408"/>
                  <a:gd name="connsiteX9" fmla="*/ 0 w 163542"/>
                  <a:gd name="connsiteY9" fmla="*/ 4782 h 58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3542" h="58408">
                    <a:moveTo>
                      <a:pt x="165879" y="53845"/>
                    </a:moveTo>
                    <a:cubicBezTo>
                      <a:pt x="160622" y="55597"/>
                      <a:pt x="156534" y="60854"/>
                      <a:pt x="149525" y="58517"/>
                    </a:cubicBezTo>
                    <a:cubicBezTo>
                      <a:pt x="140179" y="55013"/>
                      <a:pt x="144268" y="43915"/>
                      <a:pt x="134923" y="40995"/>
                    </a:cubicBezTo>
                    <a:cubicBezTo>
                      <a:pt x="125577" y="37490"/>
                      <a:pt x="121489" y="48588"/>
                      <a:pt x="112143" y="45084"/>
                    </a:cubicBezTo>
                    <a:cubicBezTo>
                      <a:pt x="102798" y="41579"/>
                      <a:pt x="106887" y="30482"/>
                      <a:pt x="97541" y="27561"/>
                    </a:cubicBezTo>
                    <a:cubicBezTo>
                      <a:pt x="88196" y="24057"/>
                      <a:pt x="84108" y="35154"/>
                      <a:pt x="74762" y="31650"/>
                    </a:cubicBezTo>
                    <a:cubicBezTo>
                      <a:pt x="65417" y="28145"/>
                      <a:pt x="69506" y="17048"/>
                      <a:pt x="60160" y="14127"/>
                    </a:cubicBezTo>
                    <a:cubicBezTo>
                      <a:pt x="50815" y="10623"/>
                      <a:pt x="46726" y="21720"/>
                      <a:pt x="37381" y="18216"/>
                    </a:cubicBezTo>
                    <a:cubicBezTo>
                      <a:pt x="28036" y="14711"/>
                      <a:pt x="32124" y="3614"/>
                      <a:pt x="22779" y="693"/>
                    </a:cubicBezTo>
                    <a:cubicBezTo>
                      <a:pt x="13434" y="-2811"/>
                      <a:pt x="9345" y="8286"/>
                      <a:pt x="0" y="4782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54" name="Freeform: Shape 353">
                <a:extLst>
                  <a:ext uri="{FF2B5EF4-FFF2-40B4-BE49-F238E27FC236}">
                    <a16:creationId xmlns:a16="http://schemas.microsoft.com/office/drawing/2014/main" id="{A6CA500D-985F-4199-8F5B-D1DC90056BF6}"/>
                  </a:ext>
                </a:extLst>
              </p:cNvPr>
              <p:cNvSpPr/>
              <p:nvPr/>
            </p:nvSpPr>
            <p:spPr>
              <a:xfrm>
                <a:off x="485684" y="2457674"/>
                <a:ext cx="140179" cy="99294"/>
              </a:xfrm>
              <a:custGeom>
                <a:avLst/>
                <a:gdLst>
                  <a:gd name="connsiteX0" fmla="*/ 140763 w 140179"/>
                  <a:gd name="connsiteY0" fmla="*/ 99294 h 99293"/>
                  <a:gd name="connsiteX1" fmla="*/ 123825 w 140179"/>
                  <a:gd name="connsiteY1" fmla="*/ 98125 h 99293"/>
                  <a:gd name="connsiteX2" fmla="*/ 115648 w 140179"/>
                  <a:gd name="connsiteY2" fmla="*/ 76515 h 99293"/>
                  <a:gd name="connsiteX3" fmla="*/ 92869 w 140179"/>
                  <a:gd name="connsiteY3" fmla="*/ 73594 h 99293"/>
                  <a:gd name="connsiteX4" fmla="*/ 84692 w 140179"/>
                  <a:gd name="connsiteY4" fmla="*/ 51983 h 99293"/>
                  <a:gd name="connsiteX5" fmla="*/ 61913 w 140179"/>
                  <a:gd name="connsiteY5" fmla="*/ 49063 h 99293"/>
                  <a:gd name="connsiteX6" fmla="*/ 53735 w 140179"/>
                  <a:gd name="connsiteY6" fmla="*/ 27452 h 99293"/>
                  <a:gd name="connsiteX7" fmla="*/ 30956 w 140179"/>
                  <a:gd name="connsiteY7" fmla="*/ 24531 h 99293"/>
                  <a:gd name="connsiteX8" fmla="*/ 22779 w 140179"/>
                  <a:gd name="connsiteY8" fmla="*/ 2920 h 99293"/>
                  <a:gd name="connsiteX9" fmla="*/ 0 w 140179"/>
                  <a:gd name="connsiteY9" fmla="*/ 0 h 9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0179" h="99293">
                    <a:moveTo>
                      <a:pt x="140763" y="99294"/>
                    </a:moveTo>
                    <a:cubicBezTo>
                      <a:pt x="134923" y="98710"/>
                      <a:pt x="129666" y="102798"/>
                      <a:pt x="123825" y="98125"/>
                    </a:cubicBezTo>
                    <a:cubicBezTo>
                      <a:pt x="116232" y="91701"/>
                      <a:pt x="123241" y="82939"/>
                      <a:pt x="115648" y="76515"/>
                    </a:cubicBezTo>
                    <a:cubicBezTo>
                      <a:pt x="108055" y="70090"/>
                      <a:pt x="100462" y="79435"/>
                      <a:pt x="92869" y="73594"/>
                    </a:cubicBezTo>
                    <a:cubicBezTo>
                      <a:pt x="85276" y="67169"/>
                      <a:pt x="92285" y="58408"/>
                      <a:pt x="84692" y="51983"/>
                    </a:cubicBezTo>
                    <a:cubicBezTo>
                      <a:pt x="77099" y="45558"/>
                      <a:pt x="69506" y="54904"/>
                      <a:pt x="61913" y="49063"/>
                    </a:cubicBezTo>
                    <a:cubicBezTo>
                      <a:pt x="54319" y="42638"/>
                      <a:pt x="61328" y="33877"/>
                      <a:pt x="53735" y="27452"/>
                    </a:cubicBezTo>
                    <a:cubicBezTo>
                      <a:pt x="46142" y="21027"/>
                      <a:pt x="38549" y="30372"/>
                      <a:pt x="30956" y="24531"/>
                    </a:cubicBezTo>
                    <a:cubicBezTo>
                      <a:pt x="23363" y="18106"/>
                      <a:pt x="30372" y="9345"/>
                      <a:pt x="22779" y="2920"/>
                    </a:cubicBezTo>
                    <a:cubicBezTo>
                      <a:pt x="15186" y="-3504"/>
                      <a:pt x="7593" y="5841"/>
                      <a:pt x="0" y="0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55" name="Freeform: Shape 354">
                <a:extLst>
                  <a:ext uri="{FF2B5EF4-FFF2-40B4-BE49-F238E27FC236}">
                    <a16:creationId xmlns:a16="http://schemas.microsoft.com/office/drawing/2014/main" id="{BCD416C6-C454-4A0A-98C6-3F9BFC8522CF}"/>
                  </a:ext>
                </a:extLst>
              </p:cNvPr>
              <p:cNvSpPr/>
              <p:nvPr/>
            </p:nvSpPr>
            <p:spPr>
              <a:xfrm>
                <a:off x="555774" y="2559888"/>
                <a:ext cx="46726" cy="29204"/>
              </a:xfrm>
              <a:custGeom>
                <a:avLst/>
                <a:gdLst>
                  <a:gd name="connsiteX0" fmla="*/ 51983 w 46726"/>
                  <a:gd name="connsiteY0" fmla="*/ 30956 h 29204"/>
                  <a:gd name="connsiteX1" fmla="*/ 37381 w 46726"/>
                  <a:gd name="connsiteY1" fmla="*/ 13434 h 29204"/>
                  <a:gd name="connsiteX2" fmla="*/ 14602 w 46726"/>
                  <a:gd name="connsiteY2" fmla="*/ 17522 h 29204"/>
                  <a:gd name="connsiteX3" fmla="*/ 0 w 46726"/>
                  <a:gd name="connsiteY3" fmla="*/ 0 h 29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726" h="29204">
                    <a:moveTo>
                      <a:pt x="51983" y="30956"/>
                    </a:moveTo>
                    <a:cubicBezTo>
                      <a:pt x="42638" y="27452"/>
                      <a:pt x="46726" y="16354"/>
                      <a:pt x="37381" y="13434"/>
                    </a:cubicBezTo>
                    <a:cubicBezTo>
                      <a:pt x="28036" y="9929"/>
                      <a:pt x="23947" y="21027"/>
                      <a:pt x="14602" y="17522"/>
                    </a:cubicBezTo>
                    <a:cubicBezTo>
                      <a:pt x="5257" y="14018"/>
                      <a:pt x="9345" y="2920"/>
                      <a:pt x="0" y="0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56" name="Freeform: Shape 355">
                <a:extLst>
                  <a:ext uri="{FF2B5EF4-FFF2-40B4-BE49-F238E27FC236}">
                    <a16:creationId xmlns:a16="http://schemas.microsoft.com/office/drawing/2014/main" id="{5B797548-C6E5-425A-99CE-E8AFE971B3C9}"/>
                  </a:ext>
                </a:extLst>
              </p:cNvPr>
              <p:cNvSpPr/>
              <p:nvPr/>
            </p:nvSpPr>
            <p:spPr>
              <a:xfrm>
                <a:off x="479843" y="2597183"/>
                <a:ext cx="122657" cy="23363"/>
              </a:xfrm>
              <a:custGeom>
                <a:avLst/>
                <a:gdLst>
                  <a:gd name="connsiteX0" fmla="*/ 127914 w 122656"/>
                  <a:gd name="connsiteY0" fmla="*/ 26370 h 23363"/>
                  <a:gd name="connsiteX1" fmla="*/ 108055 w 122656"/>
                  <a:gd name="connsiteY1" fmla="*/ 11768 h 23363"/>
                  <a:gd name="connsiteX2" fmla="*/ 85276 w 122656"/>
                  <a:gd name="connsiteY2" fmla="*/ 20529 h 23363"/>
                  <a:gd name="connsiteX3" fmla="*/ 65417 w 122656"/>
                  <a:gd name="connsiteY3" fmla="*/ 5927 h 23363"/>
                  <a:gd name="connsiteX4" fmla="*/ 42638 w 122656"/>
                  <a:gd name="connsiteY4" fmla="*/ 14688 h 23363"/>
                  <a:gd name="connsiteX5" fmla="*/ 22779 w 122656"/>
                  <a:gd name="connsiteY5" fmla="*/ 86 h 23363"/>
                  <a:gd name="connsiteX6" fmla="*/ 0 w 122656"/>
                  <a:gd name="connsiteY6" fmla="*/ 8847 h 23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656" h="23363">
                    <a:moveTo>
                      <a:pt x="127914" y="26370"/>
                    </a:moveTo>
                    <a:cubicBezTo>
                      <a:pt x="117400" y="25202"/>
                      <a:pt x="118568" y="13520"/>
                      <a:pt x="108055" y="11768"/>
                    </a:cubicBezTo>
                    <a:cubicBezTo>
                      <a:pt x="97541" y="10600"/>
                      <a:pt x="95789" y="21697"/>
                      <a:pt x="85276" y="20529"/>
                    </a:cubicBezTo>
                    <a:cubicBezTo>
                      <a:pt x="74762" y="19361"/>
                      <a:pt x="75930" y="7679"/>
                      <a:pt x="65417" y="5927"/>
                    </a:cubicBezTo>
                    <a:cubicBezTo>
                      <a:pt x="54904" y="4759"/>
                      <a:pt x="53151" y="15856"/>
                      <a:pt x="42638" y="14688"/>
                    </a:cubicBezTo>
                    <a:cubicBezTo>
                      <a:pt x="32124" y="13520"/>
                      <a:pt x="33293" y="1839"/>
                      <a:pt x="22779" y="86"/>
                    </a:cubicBezTo>
                    <a:cubicBezTo>
                      <a:pt x="12266" y="-1082"/>
                      <a:pt x="10513" y="10016"/>
                      <a:pt x="0" y="8847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57" name="Freeform: Shape 356">
                <a:extLst>
                  <a:ext uri="{FF2B5EF4-FFF2-40B4-BE49-F238E27FC236}">
                    <a16:creationId xmlns:a16="http://schemas.microsoft.com/office/drawing/2014/main" id="{DD1A8C93-3529-4376-808A-30A07AB28012}"/>
                  </a:ext>
                </a:extLst>
              </p:cNvPr>
              <p:cNvSpPr/>
              <p:nvPr/>
            </p:nvSpPr>
            <p:spPr>
              <a:xfrm>
                <a:off x="760087" y="2732776"/>
                <a:ext cx="11682" cy="35045"/>
              </a:xfrm>
              <a:custGeom>
                <a:avLst/>
                <a:gdLst>
                  <a:gd name="connsiteX0" fmla="*/ 5955 w 11681"/>
                  <a:gd name="connsiteY0" fmla="*/ 0 h 35044"/>
                  <a:gd name="connsiteX1" fmla="*/ 3035 w 11681"/>
                  <a:gd name="connsiteY1" fmla="*/ 20443 h 35044"/>
                  <a:gd name="connsiteX2" fmla="*/ 115 w 11681"/>
                  <a:gd name="connsiteY2" fmla="*/ 29204 h 35044"/>
                  <a:gd name="connsiteX3" fmla="*/ 6539 w 11681"/>
                  <a:gd name="connsiteY3" fmla="*/ 35629 h 35044"/>
                  <a:gd name="connsiteX4" fmla="*/ 15885 w 11681"/>
                  <a:gd name="connsiteY4" fmla="*/ 36213 h 35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681" h="35044">
                    <a:moveTo>
                      <a:pt x="5955" y="0"/>
                    </a:moveTo>
                    <a:cubicBezTo>
                      <a:pt x="7124" y="7009"/>
                      <a:pt x="6539" y="14018"/>
                      <a:pt x="3035" y="20443"/>
                    </a:cubicBezTo>
                    <a:cubicBezTo>
                      <a:pt x="1283" y="23363"/>
                      <a:pt x="-470" y="26284"/>
                      <a:pt x="115" y="29204"/>
                    </a:cubicBezTo>
                    <a:cubicBezTo>
                      <a:pt x="699" y="32124"/>
                      <a:pt x="3035" y="34461"/>
                      <a:pt x="6539" y="35629"/>
                    </a:cubicBezTo>
                    <a:cubicBezTo>
                      <a:pt x="10044" y="36797"/>
                      <a:pt x="12380" y="36213"/>
                      <a:pt x="15885" y="36213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grpSp>
            <p:nvGrpSpPr>
              <p:cNvPr id="358" name="Graphic 6">
                <a:extLst>
                  <a:ext uri="{FF2B5EF4-FFF2-40B4-BE49-F238E27FC236}">
                    <a16:creationId xmlns:a16="http://schemas.microsoft.com/office/drawing/2014/main" id="{AF57AA3F-8E47-432F-B2EC-EF006E893890}"/>
                  </a:ext>
                </a:extLst>
              </p:cNvPr>
              <p:cNvGrpSpPr/>
              <p:nvPr/>
            </p:nvGrpSpPr>
            <p:grpSpPr>
              <a:xfrm>
                <a:off x="445966" y="3386736"/>
                <a:ext cx="233632" cy="128498"/>
                <a:chOff x="134338" y="3386736"/>
                <a:chExt cx="233632" cy="128498"/>
              </a:xfrm>
              <a:grpFill/>
            </p:grpSpPr>
            <p:sp>
              <p:nvSpPr>
                <p:cNvPr id="390" name="Freeform: Shape 389">
                  <a:extLst>
                    <a:ext uri="{FF2B5EF4-FFF2-40B4-BE49-F238E27FC236}">
                      <a16:creationId xmlns:a16="http://schemas.microsoft.com/office/drawing/2014/main" id="{29729EBC-B8C6-4868-A937-B5948FCEEB74}"/>
                    </a:ext>
                  </a:extLst>
                </p:cNvPr>
                <p:cNvSpPr/>
                <p:nvPr/>
              </p:nvSpPr>
              <p:spPr>
                <a:xfrm>
                  <a:off x="218446" y="3386736"/>
                  <a:ext cx="93453" cy="35045"/>
                </a:xfrm>
                <a:custGeom>
                  <a:avLst/>
                  <a:gdLst>
                    <a:gd name="connsiteX0" fmla="*/ 0 w 93452"/>
                    <a:gd name="connsiteY0" fmla="*/ 21237 h 35044"/>
                    <a:gd name="connsiteX1" fmla="*/ 68337 w 93452"/>
                    <a:gd name="connsiteY1" fmla="*/ 6051 h 35044"/>
                    <a:gd name="connsiteX2" fmla="*/ 94037 w 93452"/>
                    <a:gd name="connsiteY2" fmla="*/ 7219 h 35044"/>
                    <a:gd name="connsiteX3" fmla="*/ 58408 w 93452"/>
                    <a:gd name="connsiteY3" fmla="*/ 40511 h 35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3452" h="35044">
                      <a:moveTo>
                        <a:pt x="0" y="21237"/>
                      </a:moveTo>
                      <a:cubicBezTo>
                        <a:pt x="10513" y="31166"/>
                        <a:pt x="47310" y="18316"/>
                        <a:pt x="68337" y="6051"/>
                      </a:cubicBezTo>
                      <a:cubicBezTo>
                        <a:pt x="78267" y="210"/>
                        <a:pt x="89364" y="-4463"/>
                        <a:pt x="94037" y="7219"/>
                      </a:cubicBezTo>
                      <a:cubicBezTo>
                        <a:pt x="98125" y="17732"/>
                        <a:pt x="75930" y="35255"/>
                        <a:pt x="58408" y="40511"/>
                      </a:cubicBezTo>
                    </a:path>
                  </a:pathLst>
                </a:custGeom>
                <a:grpFill/>
                <a:ln w="11682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rgbClr val="009900"/>
                    </a:solidFill>
                  </a:endParaRPr>
                </a:p>
              </p:txBody>
            </p:sp>
            <p:sp>
              <p:nvSpPr>
                <p:cNvPr id="391" name="Freeform: Shape 390">
                  <a:extLst>
                    <a:ext uri="{FF2B5EF4-FFF2-40B4-BE49-F238E27FC236}">
                      <a16:creationId xmlns:a16="http://schemas.microsoft.com/office/drawing/2014/main" id="{2443A4E5-6FCE-4CD0-9EBC-1FE212479B41}"/>
                    </a:ext>
                  </a:extLst>
                </p:cNvPr>
                <p:cNvSpPr/>
                <p:nvPr/>
              </p:nvSpPr>
              <p:spPr>
                <a:xfrm>
                  <a:off x="265756" y="3427663"/>
                  <a:ext cx="93453" cy="35045"/>
                </a:xfrm>
                <a:custGeom>
                  <a:avLst/>
                  <a:gdLst>
                    <a:gd name="connsiteX0" fmla="*/ 0 w 93452"/>
                    <a:gd name="connsiteY0" fmla="*/ 1921 h 35044"/>
                    <a:gd name="connsiteX1" fmla="*/ 83523 w 93452"/>
                    <a:gd name="connsiteY1" fmla="*/ 7178 h 35044"/>
                    <a:gd name="connsiteX2" fmla="*/ 95205 w 93452"/>
                    <a:gd name="connsiteY2" fmla="*/ 25868 h 35044"/>
                    <a:gd name="connsiteX3" fmla="*/ 82355 w 93452"/>
                    <a:gd name="connsiteY3" fmla="*/ 36966 h 35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3452" h="35044">
                      <a:moveTo>
                        <a:pt x="0" y="1921"/>
                      </a:moveTo>
                      <a:cubicBezTo>
                        <a:pt x="17522" y="-2752"/>
                        <a:pt x="64833" y="1921"/>
                        <a:pt x="83523" y="7178"/>
                      </a:cubicBezTo>
                      <a:cubicBezTo>
                        <a:pt x="91701" y="9514"/>
                        <a:pt x="96957" y="17691"/>
                        <a:pt x="95205" y="25868"/>
                      </a:cubicBezTo>
                      <a:cubicBezTo>
                        <a:pt x="93453" y="32293"/>
                        <a:pt x="88780" y="36382"/>
                        <a:pt x="82355" y="36966"/>
                      </a:cubicBezTo>
                    </a:path>
                  </a:pathLst>
                </a:custGeom>
                <a:grpFill/>
                <a:ln w="11682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rgbClr val="009900"/>
                    </a:solidFill>
                  </a:endParaRPr>
                </a:p>
              </p:txBody>
            </p:sp>
            <p:sp>
              <p:nvSpPr>
                <p:cNvPr id="392" name="Freeform: Shape 391">
                  <a:extLst>
                    <a:ext uri="{FF2B5EF4-FFF2-40B4-BE49-F238E27FC236}">
                      <a16:creationId xmlns:a16="http://schemas.microsoft.com/office/drawing/2014/main" id="{10E9CEED-9BB6-47A9-AE14-BA825B991D68}"/>
                    </a:ext>
                  </a:extLst>
                </p:cNvPr>
                <p:cNvSpPr/>
                <p:nvPr/>
              </p:nvSpPr>
              <p:spPr>
                <a:xfrm>
                  <a:off x="253491" y="3457163"/>
                  <a:ext cx="116816" cy="40886"/>
                </a:xfrm>
                <a:custGeom>
                  <a:avLst/>
                  <a:gdLst>
                    <a:gd name="connsiteX0" fmla="*/ 0 w 116816"/>
                    <a:gd name="connsiteY0" fmla="*/ 4545 h 40885"/>
                    <a:gd name="connsiteX1" fmla="*/ 107471 w 116816"/>
                    <a:gd name="connsiteY1" fmla="*/ 11554 h 40885"/>
                    <a:gd name="connsiteX2" fmla="*/ 116816 w 116816"/>
                    <a:gd name="connsiteY2" fmla="*/ 31997 h 40885"/>
                    <a:gd name="connsiteX3" fmla="*/ 96373 w 116816"/>
                    <a:gd name="connsiteY3" fmla="*/ 41342 h 40885"/>
                    <a:gd name="connsiteX4" fmla="*/ 88780 w 116816"/>
                    <a:gd name="connsiteY4" fmla="*/ 39006 h 408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6816" h="40885">
                      <a:moveTo>
                        <a:pt x="0" y="4545"/>
                      </a:moveTo>
                      <a:cubicBezTo>
                        <a:pt x="21027" y="-4800"/>
                        <a:pt x="80603" y="1625"/>
                        <a:pt x="107471" y="11554"/>
                      </a:cubicBezTo>
                      <a:cubicBezTo>
                        <a:pt x="115648" y="14475"/>
                        <a:pt x="119736" y="23820"/>
                        <a:pt x="116816" y="31997"/>
                      </a:cubicBezTo>
                      <a:cubicBezTo>
                        <a:pt x="113896" y="40174"/>
                        <a:pt x="104550" y="44263"/>
                        <a:pt x="96373" y="41342"/>
                      </a:cubicBezTo>
                      <a:cubicBezTo>
                        <a:pt x="93453" y="40174"/>
                        <a:pt x="91701" y="39590"/>
                        <a:pt x="88780" y="39006"/>
                      </a:cubicBezTo>
                    </a:path>
                  </a:pathLst>
                </a:custGeom>
                <a:grpFill/>
                <a:ln w="11682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rgbClr val="009900"/>
                    </a:solidFill>
                  </a:endParaRPr>
                </a:p>
              </p:txBody>
            </p:sp>
            <p:sp>
              <p:nvSpPr>
                <p:cNvPr id="393" name="Freeform: Shape 392">
                  <a:extLst>
                    <a:ext uri="{FF2B5EF4-FFF2-40B4-BE49-F238E27FC236}">
                      <a16:creationId xmlns:a16="http://schemas.microsoft.com/office/drawing/2014/main" id="{E853177E-1508-4147-AAE8-18E94459E19A}"/>
                    </a:ext>
                  </a:extLst>
                </p:cNvPr>
                <p:cNvSpPr/>
                <p:nvPr/>
              </p:nvSpPr>
              <p:spPr>
                <a:xfrm>
                  <a:off x="134338" y="3457035"/>
                  <a:ext cx="204428" cy="58408"/>
                </a:xfrm>
                <a:custGeom>
                  <a:avLst/>
                  <a:gdLst>
                    <a:gd name="connsiteX0" fmla="*/ 113896 w 204428"/>
                    <a:gd name="connsiteY0" fmla="*/ 29788 h 58408"/>
                    <a:gd name="connsiteX1" fmla="*/ 195667 w 204428"/>
                    <a:gd name="connsiteY1" fmla="*/ 30372 h 58408"/>
                    <a:gd name="connsiteX2" fmla="*/ 209101 w 204428"/>
                    <a:gd name="connsiteY2" fmla="*/ 47895 h 58408"/>
                    <a:gd name="connsiteX3" fmla="*/ 191578 w 204428"/>
                    <a:gd name="connsiteY3" fmla="*/ 61328 h 58408"/>
                    <a:gd name="connsiteX4" fmla="*/ 95789 w 204428"/>
                    <a:gd name="connsiteY4" fmla="*/ 59576 h 58408"/>
                    <a:gd name="connsiteX5" fmla="*/ 53735 w 204428"/>
                    <a:gd name="connsiteY5" fmla="*/ 56656 h 58408"/>
                    <a:gd name="connsiteX6" fmla="*/ 0 w 204428"/>
                    <a:gd name="connsiteY6" fmla="*/ 0 h 58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4428" h="58408">
                      <a:moveTo>
                        <a:pt x="113896" y="29788"/>
                      </a:moveTo>
                      <a:cubicBezTo>
                        <a:pt x="127914" y="28036"/>
                        <a:pt x="175808" y="27452"/>
                        <a:pt x="195667" y="30372"/>
                      </a:cubicBezTo>
                      <a:cubicBezTo>
                        <a:pt x="204428" y="31540"/>
                        <a:pt x="210269" y="39717"/>
                        <a:pt x="209101" y="47895"/>
                      </a:cubicBezTo>
                      <a:cubicBezTo>
                        <a:pt x="207933" y="56656"/>
                        <a:pt x="199755" y="62497"/>
                        <a:pt x="191578" y="61328"/>
                      </a:cubicBezTo>
                      <a:cubicBezTo>
                        <a:pt x="168215" y="58408"/>
                        <a:pt x="119152" y="58992"/>
                        <a:pt x="95789" y="59576"/>
                      </a:cubicBezTo>
                      <a:cubicBezTo>
                        <a:pt x="87612" y="60160"/>
                        <a:pt x="57240" y="57824"/>
                        <a:pt x="53735" y="56656"/>
                      </a:cubicBezTo>
                      <a:cubicBezTo>
                        <a:pt x="27452" y="51983"/>
                        <a:pt x="0" y="31540"/>
                        <a:pt x="0" y="0"/>
                      </a:cubicBezTo>
                    </a:path>
                  </a:pathLst>
                </a:custGeom>
                <a:grpFill/>
                <a:ln w="11682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rgbClr val="009900"/>
                    </a:solidFill>
                  </a:endParaRPr>
                </a:p>
              </p:txBody>
            </p:sp>
          </p:grpSp>
          <p:sp>
            <p:nvSpPr>
              <p:cNvPr id="359" name="Freeform: Shape 358">
                <a:extLst>
                  <a:ext uri="{FF2B5EF4-FFF2-40B4-BE49-F238E27FC236}">
                    <a16:creationId xmlns:a16="http://schemas.microsoft.com/office/drawing/2014/main" id="{9960FCBC-2899-4B49-B4E2-5665EA2206B1}"/>
                  </a:ext>
                </a:extLst>
              </p:cNvPr>
              <p:cNvSpPr/>
              <p:nvPr/>
            </p:nvSpPr>
            <p:spPr>
              <a:xfrm>
                <a:off x="317228" y="3104835"/>
                <a:ext cx="128498" cy="350448"/>
              </a:xfrm>
              <a:custGeom>
                <a:avLst/>
                <a:gdLst>
                  <a:gd name="connsiteX0" fmla="*/ 118809 w 128497"/>
                  <a:gd name="connsiteY0" fmla="*/ 0 h 350448"/>
                  <a:gd name="connsiteX1" fmla="*/ 32366 w 128497"/>
                  <a:gd name="connsiteY1" fmla="*/ 54904 h 350448"/>
                  <a:gd name="connsiteX2" fmla="*/ 2578 w 128497"/>
                  <a:gd name="connsiteY2" fmla="*/ 91701 h 350448"/>
                  <a:gd name="connsiteX3" fmla="*/ 7250 w 128497"/>
                  <a:gd name="connsiteY3" fmla="*/ 139011 h 350448"/>
                  <a:gd name="connsiteX4" fmla="*/ 128739 w 128497"/>
                  <a:gd name="connsiteY4" fmla="*/ 352784 h 350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97" h="350448">
                    <a:moveTo>
                      <a:pt x="118809" y="0"/>
                    </a:moveTo>
                    <a:lnTo>
                      <a:pt x="32366" y="54904"/>
                    </a:lnTo>
                    <a:cubicBezTo>
                      <a:pt x="17764" y="62497"/>
                      <a:pt x="7250" y="75930"/>
                      <a:pt x="2578" y="91701"/>
                    </a:cubicBezTo>
                    <a:cubicBezTo>
                      <a:pt x="-2095" y="107471"/>
                      <a:pt x="-343" y="124409"/>
                      <a:pt x="7250" y="139011"/>
                    </a:cubicBezTo>
                    <a:lnTo>
                      <a:pt x="128739" y="352784"/>
                    </a:ln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60" name="Freeform: Shape 359">
                <a:extLst>
                  <a:ext uri="{FF2B5EF4-FFF2-40B4-BE49-F238E27FC236}">
                    <a16:creationId xmlns:a16="http://schemas.microsoft.com/office/drawing/2014/main" id="{57C3FD44-D67F-4344-B686-624B6F810F94}"/>
                  </a:ext>
                </a:extLst>
              </p:cNvPr>
              <p:cNvSpPr/>
              <p:nvPr/>
            </p:nvSpPr>
            <p:spPr>
              <a:xfrm>
                <a:off x="441878" y="3215810"/>
                <a:ext cx="87612" cy="192746"/>
              </a:xfrm>
              <a:custGeom>
                <a:avLst/>
                <a:gdLst>
                  <a:gd name="connsiteX0" fmla="*/ 36797 w 87612"/>
                  <a:gd name="connsiteY0" fmla="*/ 0 h 192746"/>
                  <a:gd name="connsiteX1" fmla="*/ 0 w 87612"/>
                  <a:gd name="connsiteY1" fmla="*/ 22779 h 192746"/>
                  <a:gd name="connsiteX2" fmla="*/ 88196 w 87612"/>
                  <a:gd name="connsiteY2" fmla="*/ 192746 h 192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612" h="192746">
                    <a:moveTo>
                      <a:pt x="36797" y="0"/>
                    </a:moveTo>
                    <a:lnTo>
                      <a:pt x="0" y="22779"/>
                    </a:lnTo>
                    <a:cubicBezTo>
                      <a:pt x="0" y="22779"/>
                      <a:pt x="73594" y="177560"/>
                      <a:pt x="88196" y="192746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61" name="Freeform: Shape 360">
                <a:extLst>
                  <a:ext uri="{FF2B5EF4-FFF2-40B4-BE49-F238E27FC236}">
                    <a16:creationId xmlns:a16="http://schemas.microsoft.com/office/drawing/2014/main" id="{D4FD6725-798D-447C-BE26-AD6F7969B96D}"/>
                  </a:ext>
                </a:extLst>
              </p:cNvPr>
              <p:cNvSpPr/>
              <p:nvPr/>
            </p:nvSpPr>
            <p:spPr>
              <a:xfrm>
                <a:off x="433117" y="2967698"/>
                <a:ext cx="671692" cy="432219"/>
              </a:xfrm>
              <a:custGeom>
                <a:avLst/>
                <a:gdLst>
                  <a:gd name="connsiteX0" fmla="*/ 140763 w 671692"/>
                  <a:gd name="connsiteY0" fmla="*/ 436186 h 432219"/>
                  <a:gd name="connsiteX1" fmla="*/ 157702 w 671692"/>
                  <a:gd name="connsiteY1" fmla="*/ 366680 h 432219"/>
                  <a:gd name="connsiteX2" fmla="*/ 152445 w 671692"/>
                  <a:gd name="connsiteY2" fmla="*/ 204890 h 432219"/>
                  <a:gd name="connsiteX3" fmla="*/ 55488 w 671692"/>
                  <a:gd name="connsiteY3" fmla="*/ 274396 h 432219"/>
                  <a:gd name="connsiteX4" fmla="*/ 0 w 671692"/>
                  <a:gd name="connsiteY4" fmla="*/ 128960 h 432219"/>
                  <a:gd name="connsiteX5" fmla="*/ 146604 w 671692"/>
                  <a:gd name="connsiteY5" fmla="*/ 50109 h 432219"/>
                  <a:gd name="connsiteX6" fmla="*/ 202092 w 671692"/>
                  <a:gd name="connsiteY6" fmla="*/ 42516 h 432219"/>
                  <a:gd name="connsiteX7" fmla="*/ 473105 w 671692"/>
                  <a:gd name="connsiteY7" fmla="*/ 3966 h 432219"/>
                  <a:gd name="connsiteX8" fmla="*/ 522168 w 671692"/>
                  <a:gd name="connsiteY8" fmla="*/ 1046 h 432219"/>
                  <a:gd name="connsiteX9" fmla="*/ 564222 w 671692"/>
                  <a:gd name="connsiteY9" fmla="*/ 29082 h 432219"/>
                  <a:gd name="connsiteX10" fmla="*/ 674613 w 671692"/>
                  <a:gd name="connsiteY10" fmla="*/ 192040 h 432219"/>
                  <a:gd name="connsiteX11" fmla="*/ 556628 w 671692"/>
                  <a:gd name="connsiteY11" fmla="*/ 290166 h 432219"/>
                  <a:gd name="connsiteX12" fmla="*/ 507566 w 671692"/>
                  <a:gd name="connsiteY12" fmla="*/ 180943 h 432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71692" h="432219">
                    <a:moveTo>
                      <a:pt x="140763" y="436186"/>
                    </a:moveTo>
                    <a:lnTo>
                      <a:pt x="157702" y="366680"/>
                    </a:lnTo>
                    <a:lnTo>
                      <a:pt x="152445" y="204890"/>
                    </a:lnTo>
                    <a:lnTo>
                      <a:pt x="55488" y="274396"/>
                    </a:lnTo>
                    <a:lnTo>
                      <a:pt x="0" y="128960"/>
                    </a:lnTo>
                    <a:cubicBezTo>
                      <a:pt x="0" y="128960"/>
                      <a:pt x="126745" y="57702"/>
                      <a:pt x="146604" y="50109"/>
                    </a:cubicBezTo>
                    <a:cubicBezTo>
                      <a:pt x="166463" y="42516"/>
                      <a:pt x="202092" y="42516"/>
                      <a:pt x="202092" y="42516"/>
                    </a:cubicBezTo>
                    <a:cubicBezTo>
                      <a:pt x="259332" y="112021"/>
                      <a:pt x="449742" y="86322"/>
                      <a:pt x="473105" y="3966"/>
                    </a:cubicBezTo>
                    <a:cubicBezTo>
                      <a:pt x="473105" y="3966"/>
                      <a:pt x="506982" y="-2458"/>
                      <a:pt x="522168" y="1046"/>
                    </a:cubicBezTo>
                    <a:cubicBezTo>
                      <a:pt x="537354" y="5135"/>
                      <a:pt x="555460" y="14480"/>
                      <a:pt x="564222" y="29082"/>
                    </a:cubicBezTo>
                    <a:lnTo>
                      <a:pt x="674613" y="192040"/>
                    </a:lnTo>
                    <a:lnTo>
                      <a:pt x="556628" y="290166"/>
                    </a:lnTo>
                    <a:lnTo>
                      <a:pt x="507566" y="180943"/>
                    </a:ln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62" name="Freeform: Shape 361">
                <a:extLst>
                  <a:ext uri="{FF2B5EF4-FFF2-40B4-BE49-F238E27FC236}">
                    <a16:creationId xmlns:a16="http://schemas.microsoft.com/office/drawing/2014/main" id="{2A63C49B-9CB9-425E-A743-92DD6FA61A3C}"/>
                  </a:ext>
                </a:extLst>
              </p:cNvPr>
              <p:cNvSpPr/>
              <p:nvPr/>
            </p:nvSpPr>
            <p:spPr>
              <a:xfrm>
                <a:off x="703546" y="2968160"/>
                <a:ext cx="233632" cy="134338"/>
              </a:xfrm>
              <a:custGeom>
                <a:avLst/>
                <a:gdLst>
                  <a:gd name="connsiteX0" fmla="*/ 0 w 233632"/>
                  <a:gd name="connsiteY0" fmla="*/ 139011 h 134338"/>
                  <a:gd name="connsiteX1" fmla="*/ 238305 w 233632"/>
                  <a:gd name="connsiteY1" fmla="*/ 0 h 134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3632" h="134338">
                    <a:moveTo>
                      <a:pt x="0" y="139011"/>
                    </a:moveTo>
                    <a:cubicBezTo>
                      <a:pt x="92869" y="143684"/>
                      <a:pt x="212605" y="84108"/>
                      <a:pt x="238305" y="0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63" name="Freeform: Shape 362">
                <a:extLst>
                  <a:ext uri="{FF2B5EF4-FFF2-40B4-BE49-F238E27FC236}">
                    <a16:creationId xmlns:a16="http://schemas.microsoft.com/office/drawing/2014/main" id="{D30AFDE2-911B-4D5C-AC8C-BE73BBFB0E17}"/>
                  </a:ext>
                </a:extLst>
              </p:cNvPr>
              <p:cNvSpPr/>
              <p:nvPr/>
            </p:nvSpPr>
            <p:spPr>
              <a:xfrm>
                <a:off x="613597" y="3069790"/>
                <a:ext cx="46726" cy="29204"/>
              </a:xfrm>
              <a:custGeom>
                <a:avLst/>
                <a:gdLst>
                  <a:gd name="connsiteX0" fmla="*/ 0 w 46726"/>
                  <a:gd name="connsiteY0" fmla="*/ 0 h 29204"/>
                  <a:gd name="connsiteX1" fmla="*/ 46726 w 46726"/>
                  <a:gd name="connsiteY1" fmla="*/ 29788 h 29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726" h="29204">
                    <a:moveTo>
                      <a:pt x="0" y="0"/>
                    </a:moveTo>
                    <a:cubicBezTo>
                      <a:pt x="12266" y="14018"/>
                      <a:pt x="28036" y="23947"/>
                      <a:pt x="46726" y="29788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64" name="Freeform: Shape 363">
                <a:extLst>
                  <a:ext uri="{FF2B5EF4-FFF2-40B4-BE49-F238E27FC236}">
                    <a16:creationId xmlns:a16="http://schemas.microsoft.com/office/drawing/2014/main" id="{25C317DE-7178-4F47-906F-7274C86FB9BD}"/>
                  </a:ext>
                </a:extLst>
              </p:cNvPr>
              <p:cNvSpPr/>
              <p:nvPr/>
            </p:nvSpPr>
            <p:spPr>
              <a:xfrm>
                <a:off x="791158" y="3158570"/>
                <a:ext cx="169383" cy="309563"/>
              </a:xfrm>
              <a:custGeom>
                <a:avLst/>
                <a:gdLst>
                  <a:gd name="connsiteX0" fmla="*/ 153613 w 169383"/>
                  <a:gd name="connsiteY0" fmla="*/ 0 h 309562"/>
                  <a:gd name="connsiteX1" fmla="*/ 133754 w 169383"/>
                  <a:gd name="connsiteY1" fmla="*/ 179313 h 309562"/>
                  <a:gd name="connsiteX2" fmla="*/ 174056 w 169383"/>
                  <a:gd name="connsiteY2" fmla="*/ 310147 h 309562"/>
                  <a:gd name="connsiteX3" fmla="*/ 0 w 169383"/>
                  <a:gd name="connsiteY3" fmla="*/ 294377 h 309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383" h="309562">
                    <a:moveTo>
                      <a:pt x="153613" y="0"/>
                    </a:moveTo>
                    <a:lnTo>
                      <a:pt x="133754" y="179313"/>
                    </a:lnTo>
                    <a:lnTo>
                      <a:pt x="174056" y="310147"/>
                    </a:lnTo>
                    <a:lnTo>
                      <a:pt x="0" y="294377"/>
                    </a:ln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65" name="Freeform: Shape 364">
                <a:extLst>
                  <a:ext uri="{FF2B5EF4-FFF2-40B4-BE49-F238E27FC236}">
                    <a16:creationId xmlns:a16="http://schemas.microsoft.com/office/drawing/2014/main" id="{DF4A01B1-7319-4AC8-9043-010CEC392C9E}"/>
                  </a:ext>
                </a:extLst>
              </p:cNvPr>
              <p:cNvSpPr/>
              <p:nvPr/>
            </p:nvSpPr>
            <p:spPr>
              <a:xfrm>
                <a:off x="674926" y="4232694"/>
                <a:ext cx="116816" cy="110975"/>
              </a:xfrm>
              <a:custGeom>
                <a:avLst/>
                <a:gdLst>
                  <a:gd name="connsiteX0" fmla="*/ 120321 w 116816"/>
                  <a:gd name="connsiteY0" fmla="*/ 0 h 110975"/>
                  <a:gd name="connsiteX1" fmla="*/ 0 w 116816"/>
                  <a:gd name="connsiteY1" fmla="*/ 112143 h 11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6816" h="110975">
                    <a:moveTo>
                      <a:pt x="120321" y="0"/>
                    </a:moveTo>
                    <a:lnTo>
                      <a:pt x="0" y="112143"/>
                    </a:ln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66" name="Freeform: Shape 365">
                <a:extLst>
                  <a:ext uri="{FF2B5EF4-FFF2-40B4-BE49-F238E27FC236}">
                    <a16:creationId xmlns:a16="http://schemas.microsoft.com/office/drawing/2014/main" id="{D680770E-3159-42A0-8BF3-6C32ED671F7E}"/>
                  </a:ext>
                </a:extLst>
              </p:cNvPr>
              <p:cNvSpPr/>
              <p:nvPr/>
            </p:nvSpPr>
            <p:spPr>
              <a:xfrm>
                <a:off x="900965" y="3504346"/>
                <a:ext cx="87612" cy="140179"/>
              </a:xfrm>
              <a:custGeom>
                <a:avLst/>
                <a:gdLst>
                  <a:gd name="connsiteX0" fmla="*/ 0 w 87612"/>
                  <a:gd name="connsiteY0" fmla="*/ 0 h 140179"/>
                  <a:gd name="connsiteX1" fmla="*/ 7009 w 87612"/>
                  <a:gd name="connsiteY1" fmla="*/ 61328 h 140179"/>
                  <a:gd name="connsiteX2" fmla="*/ 68337 w 87612"/>
                  <a:gd name="connsiteY2" fmla="*/ 137259 h 140179"/>
                  <a:gd name="connsiteX3" fmla="*/ 90532 w 87612"/>
                  <a:gd name="connsiteY3" fmla="*/ 144852 h 140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612" h="140179">
                    <a:moveTo>
                      <a:pt x="0" y="0"/>
                    </a:moveTo>
                    <a:lnTo>
                      <a:pt x="7009" y="61328"/>
                    </a:lnTo>
                    <a:cubicBezTo>
                      <a:pt x="11098" y="96373"/>
                      <a:pt x="35045" y="125577"/>
                      <a:pt x="68337" y="137259"/>
                    </a:cubicBezTo>
                    <a:lnTo>
                      <a:pt x="90532" y="144852"/>
                    </a:ln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67" name="Freeform: Shape 366">
                <a:extLst>
                  <a:ext uri="{FF2B5EF4-FFF2-40B4-BE49-F238E27FC236}">
                    <a16:creationId xmlns:a16="http://schemas.microsoft.com/office/drawing/2014/main" id="{7650A442-26BB-45F3-9C05-A0A004136C81}"/>
                  </a:ext>
                </a:extLst>
              </p:cNvPr>
              <p:cNvSpPr/>
              <p:nvPr/>
            </p:nvSpPr>
            <p:spPr>
              <a:xfrm>
                <a:off x="683103" y="3482151"/>
                <a:ext cx="292040" cy="29204"/>
              </a:xfrm>
              <a:custGeom>
                <a:avLst/>
                <a:gdLst>
                  <a:gd name="connsiteX0" fmla="*/ 0 w 292040"/>
                  <a:gd name="connsiteY0" fmla="*/ 0 h 29204"/>
                  <a:gd name="connsiteX1" fmla="*/ 294961 w 292040"/>
                  <a:gd name="connsiteY1" fmla="*/ 30372 h 29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2040" h="29204">
                    <a:moveTo>
                      <a:pt x="0" y="0"/>
                    </a:moveTo>
                    <a:lnTo>
                      <a:pt x="294961" y="30372"/>
                    </a:ln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68" name="Freeform: Shape 367">
                <a:extLst>
                  <a:ext uri="{FF2B5EF4-FFF2-40B4-BE49-F238E27FC236}">
                    <a16:creationId xmlns:a16="http://schemas.microsoft.com/office/drawing/2014/main" id="{734CB068-C8E5-43B9-A84E-3422E3CC91DD}"/>
                  </a:ext>
                </a:extLst>
              </p:cNvPr>
              <p:cNvSpPr/>
              <p:nvPr/>
            </p:nvSpPr>
            <p:spPr>
              <a:xfrm>
                <a:off x="519561" y="3517196"/>
                <a:ext cx="105134" cy="81771"/>
              </a:xfrm>
              <a:custGeom>
                <a:avLst/>
                <a:gdLst>
                  <a:gd name="connsiteX0" fmla="*/ 105719 w 105134"/>
                  <a:gd name="connsiteY0" fmla="*/ 0 h 81771"/>
                  <a:gd name="connsiteX1" fmla="*/ 105719 w 105134"/>
                  <a:gd name="connsiteY1" fmla="*/ 0 h 81771"/>
                  <a:gd name="connsiteX2" fmla="*/ 23947 w 105134"/>
                  <a:gd name="connsiteY2" fmla="*/ 80019 h 81771"/>
                  <a:gd name="connsiteX3" fmla="*/ 0 w 105134"/>
                  <a:gd name="connsiteY3" fmla="*/ 82355 h 81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134" h="81771">
                    <a:moveTo>
                      <a:pt x="105719" y="0"/>
                    </a:moveTo>
                    <a:lnTo>
                      <a:pt x="105719" y="0"/>
                    </a:lnTo>
                    <a:cubicBezTo>
                      <a:pt x="100462" y="42638"/>
                      <a:pt x="66585" y="75930"/>
                      <a:pt x="23947" y="80019"/>
                    </a:cubicBezTo>
                    <a:lnTo>
                      <a:pt x="0" y="82355"/>
                    </a:ln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grpSp>
            <p:nvGrpSpPr>
              <p:cNvPr id="369" name="Graphic 6">
                <a:extLst>
                  <a:ext uri="{FF2B5EF4-FFF2-40B4-BE49-F238E27FC236}">
                    <a16:creationId xmlns:a16="http://schemas.microsoft.com/office/drawing/2014/main" id="{3A249C55-8201-46A0-8A87-8DFCA227D7F6}"/>
                  </a:ext>
                </a:extLst>
              </p:cNvPr>
              <p:cNvGrpSpPr/>
              <p:nvPr/>
            </p:nvGrpSpPr>
            <p:grpSpPr>
              <a:xfrm>
                <a:off x="1338441" y="2904755"/>
                <a:ext cx="105134" cy="75930"/>
                <a:chOff x="1026813" y="2904755"/>
                <a:chExt cx="105134" cy="75930"/>
              </a:xfrm>
              <a:grpFill/>
            </p:grpSpPr>
            <p:sp>
              <p:nvSpPr>
                <p:cNvPr id="388" name="Freeform: Shape 387">
                  <a:extLst>
                    <a:ext uri="{FF2B5EF4-FFF2-40B4-BE49-F238E27FC236}">
                      <a16:creationId xmlns:a16="http://schemas.microsoft.com/office/drawing/2014/main" id="{67A8496D-823E-435B-BBCD-E2B8A0579C13}"/>
                    </a:ext>
                  </a:extLst>
                </p:cNvPr>
                <p:cNvSpPr/>
                <p:nvPr/>
              </p:nvSpPr>
              <p:spPr>
                <a:xfrm>
                  <a:off x="1026813" y="2904755"/>
                  <a:ext cx="105134" cy="75930"/>
                </a:xfrm>
                <a:custGeom>
                  <a:avLst/>
                  <a:gdLst>
                    <a:gd name="connsiteX0" fmla="*/ 0 w 105134"/>
                    <a:gd name="connsiteY0" fmla="*/ 78591 h 75930"/>
                    <a:gd name="connsiteX1" fmla="*/ 85276 w 105134"/>
                    <a:gd name="connsiteY1" fmla="*/ 2076 h 75930"/>
                    <a:gd name="connsiteX2" fmla="*/ 108639 w 105134"/>
                    <a:gd name="connsiteY2" fmla="*/ 9670 h 75930"/>
                    <a:gd name="connsiteX3" fmla="*/ 101046 w 105134"/>
                    <a:gd name="connsiteY3" fmla="*/ 33033 h 75930"/>
                    <a:gd name="connsiteX4" fmla="*/ 91116 w 105134"/>
                    <a:gd name="connsiteY4" fmla="*/ 39458 h 759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5134" h="75930">
                      <a:moveTo>
                        <a:pt x="0" y="78591"/>
                      </a:moveTo>
                      <a:cubicBezTo>
                        <a:pt x="14602" y="56980"/>
                        <a:pt x="42638" y="24272"/>
                        <a:pt x="85276" y="2076"/>
                      </a:cubicBezTo>
                      <a:cubicBezTo>
                        <a:pt x="94037" y="-2596"/>
                        <a:pt x="104550" y="908"/>
                        <a:pt x="108639" y="9670"/>
                      </a:cubicBezTo>
                      <a:cubicBezTo>
                        <a:pt x="113312" y="18431"/>
                        <a:pt x="109223" y="28360"/>
                        <a:pt x="101046" y="33033"/>
                      </a:cubicBezTo>
                      <a:cubicBezTo>
                        <a:pt x="98125" y="34785"/>
                        <a:pt x="94037" y="37121"/>
                        <a:pt x="91116" y="39458"/>
                      </a:cubicBezTo>
                    </a:path>
                  </a:pathLst>
                </a:custGeom>
                <a:grpFill/>
                <a:ln w="11682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rgbClr val="009900"/>
                    </a:solidFill>
                  </a:endParaRPr>
                </a:p>
              </p:txBody>
            </p:sp>
            <p:sp>
              <p:nvSpPr>
                <p:cNvPr id="389" name="Freeform: Shape 388">
                  <a:extLst>
                    <a:ext uri="{FF2B5EF4-FFF2-40B4-BE49-F238E27FC236}">
                      <a16:creationId xmlns:a16="http://schemas.microsoft.com/office/drawing/2014/main" id="{F6574855-AE51-44BC-9427-230D7976588E}"/>
                    </a:ext>
                  </a:extLst>
                </p:cNvPr>
                <p:cNvSpPr/>
                <p:nvPr/>
              </p:nvSpPr>
              <p:spPr>
                <a:xfrm>
                  <a:off x="1026813" y="2904755"/>
                  <a:ext cx="105134" cy="75930"/>
                </a:xfrm>
                <a:custGeom>
                  <a:avLst/>
                  <a:gdLst>
                    <a:gd name="connsiteX0" fmla="*/ 0 w 105134"/>
                    <a:gd name="connsiteY0" fmla="*/ 78591 h 75930"/>
                    <a:gd name="connsiteX1" fmla="*/ 85276 w 105134"/>
                    <a:gd name="connsiteY1" fmla="*/ 2076 h 75930"/>
                    <a:gd name="connsiteX2" fmla="*/ 108639 w 105134"/>
                    <a:gd name="connsiteY2" fmla="*/ 9670 h 75930"/>
                    <a:gd name="connsiteX3" fmla="*/ 101046 w 105134"/>
                    <a:gd name="connsiteY3" fmla="*/ 33033 h 75930"/>
                    <a:gd name="connsiteX4" fmla="*/ 91116 w 105134"/>
                    <a:gd name="connsiteY4" fmla="*/ 39458 h 759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5134" h="75930">
                      <a:moveTo>
                        <a:pt x="0" y="78591"/>
                      </a:moveTo>
                      <a:cubicBezTo>
                        <a:pt x="14602" y="56980"/>
                        <a:pt x="42638" y="24272"/>
                        <a:pt x="85276" y="2076"/>
                      </a:cubicBezTo>
                      <a:cubicBezTo>
                        <a:pt x="94037" y="-2596"/>
                        <a:pt x="104550" y="908"/>
                        <a:pt x="108639" y="9670"/>
                      </a:cubicBezTo>
                      <a:cubicBezTo>
                        <a:pt x="113312" y="18431"/>
                        <a:pt x="109223" y="28360"/>
                        <a:pt x="101046" y="33033"/>
                      </a:cubicBezTo>
                      <a:cubicBezTo>
                        <a:pt x="98125" y="34785"/>
                        <a:pt x="94037" y="37121"/>
                        <a:pt x="91116" y="39458"/>
                      </a:cubicBezTo>
                    </a:path>
                  </a:pathLst>
                </a:custGeom>
                <a:grpFill/>
                <a:ln w="11682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rgbClr val="009900"/>
                    </a:solidFill>
                  </a:endParaRPr>
                </a:p>
              </p:txBody>
            </p:sp>
          </p:grpSp>
          <p:sp>
            <p:nvSpPr>
              <p:cNvPr id="370" name="Freeform: Shape 369">
                <a:extLst>
                  <a:ext uri="{FF2B5EF4-FFF2-40B4-BE49-F238E27FC236}">
                    <a16:creationId xmlns:a16="http://schemas.microsoft.com/office/drawing/2014/main" id="{719BCA92-696B-42D8-8C5B-625EF5DC02BF}"/>
                  </a:ext>
                </a:extLst>
              </p:cNvPr>
              <p:cNvSpPr/>
              <p:nvPr/>
            </p:nvSpPr>
            <p:spPr>
              <a:xfrm>
                <a:off x="1093711" y="3035329"/>
                <a:ext cx="146020" cy="175224"/>
              </a:xfrm>
              <a:custGeom>
                <a:avLst/>
                <a:gdLst>
                  <a:gd name="connsiteX0" fmla="*/ 0 w 146020"/>
                  <a:gd name="connsiteY0" fmla="*/ 136675 h 175224"/>
                  <a:gd name="connsiteX1" fmla="*/ 26284 w 146020"/>
                  <a:gd name="connsiteY1" fmla="*/ 176392 h 175224"/>
                  <a:gd name="connsiteX2" fmla="*/ 146604 w 146020"/>
                  <a:gd name="connsiteY2" fmla="*/ 0 h 17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020" h="175224">
                    <a:moveTo>
                      <a:pt x="0" y="136675"/>
                    </a:moveTo>
                    <a:lnTo>
                      <a:pt x="26284" y="176392"/>
                    </a:lnTo>
                    <a:lnTo>
                      <a:pt x="146604" y="0"/>
                    </a:ln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71" name="Freeform: Shape 370">
                <a:extLst>
                  <a:ext uri="{FF2B5EF4-FFF2-40B4-BE49-F238E27FC236}">
                    <a16:creationId xmlns:a16="http://schemas.microsoft.com/office/drawing/2014/main" id="{FAB23E21-5203-4BB3-AF40-1F25371B4B9C}"/>
                  </a:ext>
                </a:extLst>
              </p:cNvPr>
              <p:cNvSpPr/>
              <p:nvPr/>
            </p:nvSpPr>
            <p:spPr>
              <a:xfrm>
                <a:off x="1214576" y="2935440"/>
                <a:ext cx="81771" cy="99294"/>
              </a:xfrm>
              <a:custGeom>
                <a:avLst/>
                <a:gdLst>
                  <a:gd name="connsiteX0" fmla="*/ 25740 w 81771"/>
                  <a:gd name="connsiteY0" fmla="*/ 99889 h 99293"/>
                  <a:gd name="connsiteX1" fmla="*/ 12890 w 81771"/>
                  <a:gd name="connsiteY1" fmla="*/ 81199 h 99293"/>
                  <a:gd name="connsiteX2" fmla="*/ 40 w 81771"/>
                  <a:gd name="connsiteY2" fmla="*/ 42065 h 99293"/>
                  <a:gd name="connsiteX3" fmla="*/ 17563 w 81771"/>
                  <a:gd name="connsiteY3" fmla="*/ 3516 h 99293"/>
                  <a:gd name="connsiteX4" fmla="*/ 42094 w 81771"/>
                  <a:gd name="connsiteY4" fmla="*/ 6436 h 99293"/>
                  <a:gd name="connsiteX5" fmla="*/ 39758 w 81771"/>
                  <a:gd name="connsiteY5" fmla="*/ 25711 h 99293"/>
                  <a:gd name="connsiteX6" fmla="*/ 35085 w 81771"/>
                  <a:gd name="connsiteY6" fmla="*/ 42649 h 99293"/>
                  <a:gd name="connsiteX7" fmla="*/ 47935 w 81771"/>
                  <a:gd name="connsiteY7" fmla="*/ 65429 h 99293"/>
                  <a:gd name="connsiteX8" fmla="*/ 86484 w 81771"/>
                  <a:gd name="connsiteY8" fmla="*/ 43818 h 9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771" h="99293">
                    <a:moveTo>
                      <a:pt x="25740" y="99889"/>
                    </a:moveTo>
                    <a:cubicBezTo>
                      <a:pt x="25740" y="99889"/>
                      <a:pt x="19899" y="89376"/>
                      <a:pt x="12890" y="81199"/>
                    </a:cubicBezTo>
                    <a:cubicBezTo>
                      <a:pt x="5297" y="71853"/>
                      <a:pt x="-544" y="59004"/>
                      <a:pt x="40" y="42065"/>
                    </a:cubicBezTo>
                    <a:cubicBezTo>
                      <a:pt x="40" y="28632"/>
                      <a:pt x="4129" y="14030"/>
                      <a:pt x="17563" y="3516"/>
                    </a:cubicBezTo>
                    <a:cubicBezTo>
                      <a:pt x="25156" y="-2325"/>
                      <a:pt x="35669" y="-573"/>
                      <a:pt x="42094" y="6436"/>
                    </a:cubicBezTo>
                    <a:cubicBezTo>
                      <a:pt x="46183" y="11109"/>
                      <a:pt x="45014" y="16950"/>
                      <a:pt x="39758" y="25711"/>
                    </a:cubicBezTo>
                    <a:cubicBezTo>
                      <a:pt x="36837" y="30968"/>
                      <a:pt x="35085" y="40313"/>
                      <a:pt x="35085" y="42649"/>
                    </a:cubicBezTo>
                    <a:cubicBezTo>
                      <a:pt x="34501" y="59588"/>
                      <a:pt x="47935" y="65429"/>
                      <a:pt x="47935" y="65429"/>
                    </a:cubicBezTo>
                    <a:cubicBezTo>
                      <a:pt x="63705" y="71269"/>
                      <a:pt x="78307" y="55499"/>
                      <a:pt x="86484" y="43818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72" name="Freeform: Shape 371">
                <a:extLst>
                  <a:ext uri="{FF2B5EF4-FFF2-40B4-BE49-F238E27FC236}">
                    <a16:creationId xmlns:a16="http://schemas.microsoft.com/office/drawing/2014/main" id="{B6311ED5-FB45-47DC-A961-02FB26FE434F}"/>
                  </a:ext>
                </a:extLst>
              </p:cNvPr>
              <p:cNvSpPr/>
              <p:nvPr/>
            </p:nvSpPr>
            <p:spPr>
              <a:xfrm>
                <a:off x="1242367" y="2900392"/>
                <a:ext cx="99294" cy="93453"/>
              </a:xfrm>
              <a:custGeom>
                <a:avLst/>
                <a:gdLst>
                  <a:gd name="connsiteX0" fmla="*/ 58693 w 99293"/>
                  <a:gd name="connsiteY0" fmla="*/ 78865 h 93452"/>
                  <a:gd name="connsiteX1" fmla="*/ 66870 w 99293"/>
                  <a:gd name="connsiteY1" fmla="*/ 50245 h 93452"/>
                  <a:gd name="connsiteX2" fmla="*/ 58693 w 99293"/>
                  <a:gd name="connsiteY2" fmla="*/ 37980 h 93452"/>
                  <a:gd name="connsiteX3" fmla="*/ 23064 w 99293"/>
                  <a:gd name="connsiteY3" fmla="*/ 38564 h 93452"/>
                  <a:gd name="connsiteX4" fmla="*/ 22480 w 99293"/>
                  <a:gd name="connsiteY4" fmla="*/ 38564 h 93452"/>
                  <a:gd name="connsiteX5" fmla="*/ 869 w 99293"/>
                  <a:gd name="connsiteY5" fmla="*/ 27466 h 93452"/>
                  <a:gd name="connsiteX6" fmla="*/ 11383 w 99293"/>
                  <a:gd name="connsiteY6" fmla="*/ 5271 h 93452"/>
                  <a:gd name="connsiteX7" fmla="*/ 75047 w 99293"/>
                  <a:gd name="connsiteY7" fmla="*/ 7023 h 93452"/>
                  <a:gd name="connsiteX8" fmla="*/ 100747 w 99293"/>
                  <a:gd name="connsiteY8" fmla="*/ 41484 h 93452"/>
                  <a:gd name="connsiteX9" fmla="*/ 89065 w 99293"/>
                  <a:gd name="connsiteY9" fmla="*/ 95804 h 93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9293" h="93452">
                    <a:moveTo>
                      <a:pt x="58693" y="78865"/>
                    </a:moveTo>
                    <a:cubicBezTo>
                      <a:pt x="58693" y="78865"/>
                      <a:pt x="70375" y="64847"/>
                      <a:pt x="66870" y="50245"/>
                    </a:cubicBezTo>
                    <a:cubicBezTo>
                      <a:pt x="65118" y="42068"/>
                      <a:pt x="61029" y="39148"/>
                      <a:pt x="58693" y="37980"/>
                    </a:cubicBezTo>
                    <a:cubicBezTo>
                      <a:pt x="47596" y="32139"/>
                      <a:pt x="28905" y="36227"/>
                      <a:pt x="23064" y="38564"/>
                    </a:cubicBezTo>
                    <a:cubicBezTo>
                      <a:pt x="23064" y="38564"/>
                      <a:pt x="22480" y="38564"/>
                      <a:pt x="22480" y="38564"/>
                    </a:cubicBezTo>
                    <a:cubicBezTo>
                      <a:pt x="13719" y="41484"/>
                      <a:pt x="3790" y="36227"/>
                      <a:pt x="869" y="27466"/>
                    </a:cubicBezTo>
                    <a:cubicBezTo>
                      <a:pt x="-2051" y="18121"/>
                      <a:pt x="2621" y="8192"/>
                      <a:pt x="11383" y="5271"/>
                    </a:cubicBezTo>
                    <a:cubicBezTo>
                      <a:pt x="14887" y="4103"/>
                      <a:pt x="48764" y="-6995"/>
                      <a:pt x="75047" y="7023"/>
                    </a:cubicBezTo>
                    <a:cubicBezTo>
                      <a:pt x="87897" y="14032"/>
                      <a:pt x="97242" y="26298"/>
                      <a:pt x="100747" y="41484"/>
                    </a:cubicBezTo>
                    <a:cubicBezTo>
                      <a:pt x="106588" y="65431"/>
                      <a:pt x="95490" y="86458"/>
                      <a:pt x="89065" y="95804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73" name="Freeform: Shape 372">
                <a:extLst>
                  <a:ext uri="{FF2B5EF4-FFF2-40B4-BE49-F238E27FC236}">
                    <a16:creationId xmlns:a16="http://schemas.microsoft.com/office/drawing/2014/main" id="{51A4C849-8DE0-47CD-9EA3-73D2C67FD059}"/>
                  </a:ext>
                </a:extLst>
              </p:cNvPr>
              <p:cNvSpPr/>
              <p:nvPr/>
            </p:nvSpPr>
            <p:spPr>
              <a:xfrm>
                <a:off x="1000843" y="3045259"/>
                <a:ext cx="367971" cy="315403"/>
              </a:xfrm>
              <a:custGeom>
                <a:avLst/>
                <a:gdLst>
                  <a:gd name="connsiteX0" fmla="*/ 369723 w 367970"/>
                  <a:gd name="connsiteY0" fmla="*/ 0 h 315403"/>
                  <a:gd name="connsiteX1" fmla="*/ 328837 w 367970"/>
                  <a:gd name="connsiteY1" fmla="*/ 51399 h 315403"/>
                  <a:gd name="connsiteX2" fmla="*/ 158870 w 367970"/>
                  <a:gd name="connsiteY2" fmla="*/ 289120 h 315403"/>
                  <a:gd name="connsiteX3" fmla="*/ 108055 w 367970"/>
                  <a:gd name="connsiteY3" fmla="*/ 315987 h 315403"/>
                  <a:gd name="connsiteX4" fmla="*/ 106303 w 367970"/>
                  <a:gd name="connsiteY4" fmla="*/ 315987 h 315403"/>
                  <a:gd name="connsiteX5" fmla="*/ 55488 w 367970"/>
                  <a:gd name="connsiteY5" fmla="*/ 286199 h 315403"/>
                  <a:gd name="connsiteX6" fmla="*/ 0 w 367970"/>
                  <a:gd name="connsiteY6" fmla="*/ 203844 h 315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7970" h="315403">
                    <a:moveTo>
                      <a:pt x="369723" y="0"/>
                    </a:moveTo>
                    <a:lnTo>
                      <a:pt x="328837" y="51399"/>
                    </a:lnTo>
                    <a:lnTo>
                      <a:pt x="158870" y="289120"/>
                    </a:lnTo>
                    <a:cubicBezTo>
                      <a:pt x="147188" y="306058"/>
                      <a:pt x="128498" y="315987"/>
                      <a:pt x="108055" y="315987"/>
                    </a:cubicBezTo>
                    <a:cubicBezTo>
                      <a:pt x="107471" y="315987"/>
                      <a:pt x="106887" y="315987"/>
                      <a:pt x="106303" y="315987"/>
                    </a:cubicBezTo>
                    <a:cubicBezTo>
                      <a:pt x="85276" y="315403"/>
                      <a:pt x="69506" y="304890"/>
                      <a:pt x="55488" y="286199"/>
                    </a:cubicBezTo>
                    <a:lnTo>
                      <a:pt x="0" y="203844"/>
                    </a:ln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74" name="Freeform: Shape 373">
                <a:extLst>
                  <a:ext uri="{FF2B5EF4-FFF2-40B4-BE49-F238E27FC236}">
                    <a16:creationId xmlns:a16="http://schemas.microsoft.com/office/drawing/2014/main" id="{885277D1-9E89-4558-9F53-D5F58FD95436}"/>
                  </a:ext>
                </a:extLst>
              </p:cNvPr>
              <p:cNvSpPr/>
              <p:nvPr/>
            </p:nvSpPr>
            <p:spPr>
              <a:xfrm>
                <a:off x="1349538" y="2944269"/>
                <a:ext cx="93453" cy="99294"/>
              </a:xfrm>
              <a:custGeom>
                <a:avLst/>
                <a:gdLst>
                  <a:gd name="connsiteX0" fmla="*/ 0 w 93452"/>
                  <a:gd name="connsiteY0" fmla="*/ 70034 h 99293"/>
                  <a:gd name="connsiteX1" fmla="*/ 68921 w 93452"/>
                  <a:gd name="connsiteY1" fmla="*/ 3448 h 99293"/>
                  <a:gd name="connsiteX2" fmla="*/ 93453 w 93452"/>
                  <a:gd name="connsiteY2" fmla="*/ 6369 h 99293"/>
                  <a:gd name="connsiteX3" fmla="*/ 90532 w 93452"/>
                  <a:gd name="connsiteY3" fmla="*/ 30900 h 99293"/>
                  <a:gd name="connsiteX4" fmla="*/ 21027 w 93452"/>
                  <a:gd name="connsiteY4" fmla="*/ 100990 h 9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452" h="99293">
                    <a:moveTo>
                      <a:pt x="0" y="70034"/>
                    </a:moveTo>
                    <a:cubicBezTo>
                      <a:pt x="11098" y="54847"/>
                      <a:pt x="31540" y="28564"/>
                      <a:pt x="68921" y="3448"/>
                    </a:cubicBezTo>
                    <a:cubicBezTo>
                      <a:pt x="77099" y="-1808"/>
                      <a:pt x="87612" y="-1224"/>
                      <a:pt x="93453" y="6369"/>
                    </a:cubicBezTo>
                    <a:cubicBezTo>
                      <a:pt x="99294" y="13962"/>
                      <a:pt x="98125" y="25059"/>
                      <a:pt x="90532" y="30900"/>
                    </a:cubicBezTo>
                    <a:cubicBezTo>
                      <a:pt x="44390" y="65361"/>
                      <a:pt x="21027" y="100406"/>
                      <a:pt x="21027" y="100990"/>
                    </a:cubicBez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grpSp>
            <p:nvGrpSpPr>
              <p:cNvPr id="375" name="Graphic 6">
                <a:extLst>
                  <a:ext uri="{FF2B5EF4-FFF2-40B4-BE49-F238E27FC236}">
                    <a16:creationId xmlns:a16="http://schemas.microsoft.com/office/drawing/2014/main" id="{908A59F8-3F58-453A-AF5F-03E1F9905065}"/>
                  </a:ext>
                </a:extLst>
              </p:cNvPr>
              <p:cNvGrpSpPr/>
              <p:nvPr/>
            </p:nvGrpSpPr>
            <p:grpSpPr>
              <a:xfrm>
                <a:off x="375381" y="4271827"/>
                <a:ext cx="245314" cy="344607"/>
                <a:chOff x="63753" y="4271827"/>
                <a:chExt cx="245314" cy="344607"/>
              </a:xfrm>
              <a:grpFill/>
            </p:grpSpPr>
            <p:sp>
              <p:nvSpPr>
                <p:cNvPr id="385" name="Freeform: Shape 384">
                  <a:extLst>
                    <a:ext uri="{FF2B5EF4-FFF2-40B4-BE49-F238E27FC236}">
                      <a16:creationId xmlns:a16="http://schemas.microsoft.com/office/drawing/2014/main" id="{194ECCF2-B78B-4F4F-8544-0B304195DA5E}"/>
                    </a:ext>
                  </a:extLst>
                </p:cNvPr>
                <p:cNvSpPr/>
                <p:nvPr/>
              </p:nvSpPr>
              <p:spPr>
                <a:xfrm>
                  <a:off x="63753" y="4271827"/>
                  <a:ext cx="239473" cy="344607"/>
                </a:xfrm>
                <a:custGeom>
                  <a:avLst/>
                  <a:gdLst>
                    <a:gd name="connsiteX0" fmla="*/ 207260 w 239472"/>
                    <a:gd name="connsiteY0" fmla="*/ 167047 h 344607"/>
                    <a:gd name="connsiteX1" fmla="*/ 225367 w 239472"/>
                    <a:gd name="connsiteY1" fmla="*/ 247066 h 344607"/>
                    <a:gd name="connsiteX2" fmla="*/ 241721 w 239472"/>
                    <a:gd name="connsiteY2" fmla="*/ 332926 h 344607"/>
                    <a:gd name="connsiteX3" fmla="*/ 204924 w 239472"/>
                    <a:gd name="connsiteY3" fmla="*/ 343439 h 344607"/>
                    <a:gd name="connsiteX4" fmla="*/ 6337 w 239472"/>
                    <a:gd name="connsiteY4" fmla="*/ 143684 h 344607"/>
                    <a:gd name="connsiteX5" fmla="*/ 8673 w 239472"/>
                    <a:gd name="connsiteY5" fmla="*/ 110975 h 344607"/>
                    <a:gd name="connsiteX6" fmla="*/ 77010 w 239472"/>
                    <a:gd name="connsiteY6" fmla="*/ 60744 h 344607"/>
                    <a:gd name="connsiteX7" fmla="*/ 144180 w 239472"/>
                    <a:gd name="connsiteY7" fmla="*/ 0 h 3446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39472" h="344607">
                      <a:moveTo>
                        <a:pt x="207260" y="167047"/>
                      </a:moveTo>
                      <a:cubicBezTo>
                        <a:pt x="206092" y="179897"/>
                        <a:pt x="207260" y="208517"/>
                        <a:pt x="225367" y="247066"/>
                      </a:cubicBezTo>
                      <a:cubicBezTo>
                        <a:pt x="241137" y="280359"/>
                        <a:pt x="246394" y="310731"/>
                        <a:pt x="241721" y="332926"/>
                      </a:cubicBezTo>
                      <a:cubicBezTo>
                        <a:pt x="238217" y="349864"/>
                        <a:pt x="217190" y="355705"/>
                        <a:pt x="204924" y="343439"/>
                      </a:cubicBezTo>
                      <a:lnTo>
                        <a:pt x="6337" y="143684"/>
                      </a:lnTo>
                      <a:cubicBezTo>
                        <a:pt x="-3009" y="134338"/>
                        <a:pt x="-1840" y="118568"/>
                        <a:pt x="8673" y="110975"/>
                      </a:cubicBezTo>
                      <a:lnTo>
                        <a:pt x="77010" y="60744"/>
                      </a:lnTo>
                      <a:lnTo>
                        <a:pt x="144180" y="0"/>
                      </a:lnTo>
                    </a:path>
                  </a:pathLst>
                </a:custGeom>
                <a:grpFill/>
                <a:ln w="11682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rgbClr val="009900"/>
                    </a:solidFill>
                  </a:endParaRPr>
                </a:p>
              </p:txBody>
            </p:sp>
            <p:sp>
              <p:nvSpPr>
                <p:cNvPr id="386" name="Freeform: Shape 385">
                  <a:extLst>
                    <a:ext uri="{FF2B5EF4-FFF2-40B4-BE49-F238E27FC236}">
                      <a16:creationId xmlns:a16="http://schemas.microsoft.com/office/drawing/2014/main" id="{96B82AFC-B19E-48FF-9376-D141AC411A57}"/>
                    </a:ext>
                  </a:extLst>
                </p:cNvPr>
                <p:cNvSpPr/>
                <p:nvPr/>
              </p:nvSpPr>
              <p:spPr>
                <a:xfrm>
                  <a:off x="254659" y="4513412"/>
                  <a:ext cx="52567" cy="11682"/>
                </a:xfrm>
                <a:custGeom>
                  <a:avLst/>
                  <a:gdLst>
                    <a:gd name="connsiteX0" fmla="*/ 0 w 52567"/>
                    <a:gd name="connsiteY0" fmla="*/ 4313 h 11681"/>
                    <a:gd name="connsiteX1" fmla="*/ 56072 w 52567"/>
                    <a:gd name="connsiteY1" fmla="*/ 14242 h 11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567" h="11681">
                      <a:moveTo>
                        <a:pt x="0" y="4313"/>
                      </a:moveTo>
                      <a:cubicBezTo>
                        <a:pt x="0" y="4313"/>
                        <a:pt x="28036" y="-10289"/>
                        <a:pt x="56072" y="14242"/>
                      </a:cubicBezTo>
                    </a:path>
                  </a:pathLst>
                </a:custGeom>
                <a:grpFill/>
                <a:ln w="11682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rgbClr val="009900"/>
                    </a:solidFill>
                  </a:endParaRPr>
                </a:p>
              </p:txBody>
            </p:sp>
            <p:sp>
              <p:nvSpPr>
                <p:cNvPr id="387" name="Freeform: Shape 386">
                  <a:extLst>
                    <a:ext uri="{FF2B5EF4-FFF2-40B4-BE49-F238E27FC236}">
                      <a16:creationId xmlns:a16="http://schemas.microsoft.com/office/drawing/2014/main" id="{2557BDD9-4ED7-42CD-96A7-F19BF8062758}"/>
                    </a:ext>
                  </a:extLst>
                </p:cNvPr>
                <p:cNvSpPr/>
                <p:nvPr/>
              </p:nvSpPr>
              <p:spPr>
                <a:xfrm>
                  <a:off x="243561" y="4486401"/>
                  <a:ext cx="52567" cy="5841"/>
                </a:xfrm>
                <a:custGeom>
                  <a:avLst/>
                  <a:gdLst>
                    <a:gd name="connsiteX0" fmla="*/ 0 w 52567"/>
                    <a:gd name="connsiteY0" fmla="*/ 1536 h 5840"/>
                    <a:gd name="connsiteX1" fmla="*/ 53735 w 52567"/>
                    <a:gd name="connsiteY1" fmla="*/ 8545 h 58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2567" h="5840">
                      <a:moveTo>
                        <a:pt x="0" y="1536"/>
                      </a:moveTo>
                      <a:cubicBezTo>
                        <a:pt x="0" y="1536"/>
                        <a:pt x="31540" y="-4889"/>
                        <a:pt x="53735" y="8545"/>
                      </a:cubicBezTo>
                    </a:path>
                  </a:pathLst>
                </a:custGeom>
                <a:grpFill/>
                <a:ln w="11682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rgbClr val="009900"/>
                    </a:solidFill>
                  </a:endParaRPr>
                </a:p>
              </p:txBody>
            </p:sp>
          </p:grpSp>
          <p:grpSp>
            <p:nvGrpSpPr>
              <p:cNvPr id="376" name="Graphic 6">
                <a:extLst>
                  <a:ext uri="{FF2B5EF4-FFF2-40B4-BE49-F238E27FC236}">
                    <a16:creationId xmlns:a16="http://schemas.microsoft.com/office/drawing/2014/main" id="{83550278-7D16-4998-8CF1-37B4C493A65B}"/>
                  </a:ext>
                </a:extLst>
              </p:cNvPr>
              <p:cNvGrpSpPr/>
              <p:nvPr/>
            </p:nvGrpSpPr>
            <p:grpSpPr>
              <a:xfrm>
                <a:off x="649810" y="4494362"/>
                <a:ext cx="177561" cy="132586"/>
                <a:chOff x="338182" y="4494362"/>
                <a:chExt cx="177561" cy="132586"/>
              </a:xfrm>
              <a:grpFill/>
            </p:grpSpPr>
            <p:sp>
              <p:nvSpPr>
                <p:cNvPr id="381" name="Freeform: Shape 380">
                  <a:extLst>
                    <a:ext uri="{FF2B5EF4-FFF2-40B4-BE49-F238E27FC236}">
                      <a16:creationId xmlns:a16="http://schemas.microsoft.com/office/drawing/2014/main" id="{A83C97EC-EEA0-4407-B24F-7253455B3855}"/>
                    </a:ext>
                  </a:extLst>
                </p:cNvPr>
                <p:cNvSpPr/>
                <p:nvPr/>
              </p:nvSpPr>
              <p:spPr>
                <a:xfrm>
                  <a:off x="338182" y="4621107"/>
                  <a:ext cx="23363" cy="5841"/>
                </a:xfrm>
                <a:custGeom>
                  <a:avLst/>
                  <a:gdLst>
                    <a:gd name="connsiteX0" fmla="*/ 25700 w 23363"/>
                    <a:gd name="connsiteY0" fmla="*/ 0 h 0"/>
                    <a:gd name="connsiteX1" fmla="*/ 0 w 23363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363">
                      <a:moveTo>
                        <a:pt x="2570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 w="11682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rgbClr val="009900"/>
                    </a:solidFill>
                  </a:endParaRPr>
                </a:p>
              </p:txBody>
            </p:sp>
            <p:sp>
              <p:nvSpPr>
                <p:cNvPr id="382" name="Freeform: Shape 381">
                  <a:extLst>
                    <a:ext uri="{FF2B5EF4-FFF2-40B4-BE49-F238E27FC236}">
                      <a16:creationId xmlns:a16="http://schemas.microsoft.com/office/drawing/2014/main" id="{DD3F9003-C4A7-4B51-838B-86053267DE43}"/>
                    </a:ext>
                  </a:extLst>
                </p:cNvPr>
                <p:cNvSpPr/>
                <p:nvPr/>
              </p:nvSpPr>
              <p:spPr>
                <a:xfrm>
                  <a:off x="363882" y="4494362"/>
                  <a:ext cx="151861" cy="122657"/>
                </a:xfrm>
                <a:custGeom>
                  <a:avLst/>
                  <a:gdLst>
                    <a:gd name="connsiteX0" fmla="*/ 75930 w 151860"/>
                    <a:gd name="connsiteY0" fmla="*/ 0 h 122656"/>
                    <a:gd name="connsiteX1" fmla="*/ 107471 w 151860"/>
                    <a:gd name="connsiteY1" fmla="*/ 44390 h 122656"/>
                    <a:gd name="connsiteX2" fmla="*/ 150109 w 151860"/>
                    <a:gd name="connsiteY2" fmla="*/ 93453 h 122656"/>
                    <a:gd name="connsiteX3" fmla="*/ 139595 w 151860"/>
                    <a:gd name="connsiteY3" fmla="*/ 126745 h 122656"/>
                    <a:gd name="connsiteX4" fmla="*/ 56656 w 151860"/>
                    <a:gd name="connsiteY4" fmla="*/ 126745 h 122656"/>
                    <a:gd name="connsiteX5" fmla="*/ 0 w 151860"/>
                    <a:gd name="connsiteY5" fmla="*/ 126745 h 1226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1860" h="122656">
                      <a:moveTo>
                        <a:pt x="75930" y="0"/>
                      </a:moveTo>
                      <a:cubicBezTo>
                        <a:pt x="78267" y="11682"/>
                        <a:pt x="85276" y="30372"/>
                        <a:pt x="107471" y="44390"/>
                      </a:cubicBezTo>
                      <a:cubicBezTo>
                        <a:pt x="126745" y="56656"/>
                        <a:pt x="143100" y="74178"/>
                        <a:pt x="150109" y="93453"/>
                      </a:cubicBezTo>
                      <a:cubicBezTo>
                        <a:pt x="155365" y="107471"/>
                        <a:pt x="149525" y="126745"/>
                        <a:pt x="139595" y="126745"/>
                      </a:cubicBezTo>
                      <a:lnTo>
                        <a:pt x="56656" y="126745"/>
                      </a:lnTo>
                      <a:lnTo>
                        <a:pt x="0" y="126745"/>
                      </a:lnTo>
                    </a:path>
                  </a:pathLst>
                </a:custGeom>
                <a:grpFill/>
                <a:ln w="11682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rgbClr val="009900"/>
                    </a:solidFill>
                  </a:endParaRPr>
                </a:p>
              </p:txBody>
            </p:sp>
            <p:sp>
              <p:nvSpPr>
                <p:cNvPr id="383" name="Freeform: Shape 382">
                  <a:extLst>
                    <a:ext uri="{FF2B5EF4-FFF2-40B4-BE49-F238E27FC236}">
                      <a16:creationId xmlns:a16="http://schemas.microsoft.com/office/drawing/2014/main" id="{3586E544-B736-43EC-BE3C-DC0041259B89}"/>
                    </a:ext>
                  </a:extLst>
                </p:cNvPr>
                <p:cNvSpPr/>
                <p:nvPr/>
              </p:nvSpPr>
              <p:spPr>
                <a:xfrm>
                  <a:off x="399511" y="4547143"/>
                  <a:ext cx="99294" cy="17522"/>
                </a:xfrm>
                <a:custGeom>
                  <a:avLst/>
                  <a:gdLst>
                    <a:gd name="connsiteX0" fmla="*/ 0 w 99293"/>
                    <a:gd name="connsiteY0" fmla="*/ 21397 h 17522"/>
                    <a:gd name="connsiteX1" fmla="*/ 103966 w 99293"/>
                    <a:gd name="connsiteY1" fmla="*/ 20813 h 17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9293" h="17522">
                      <a:moveTo>
                        <a:pt x="0" y="21397"/>
                      </a:moveTo>
                      <a:cubicBezTo>
                        <a:pt x="14018" y="-214"/>
                        <a:pt x="72426" y="-13064"/>
                        <a:pt x="103966" y="20813"/>
                      </a:cubicBezTo>
                    </a:path>
                  </a:pathLst>
                </a:custGeom>
                <a:grpFill/>
                <a:ln w="11682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rgbClr val="009900"/>
                    </a:solidFill>
                  </a:endParaRPr>
                </a:p>
              </p:txBody>
            </p:sp>
            <p:sp>
              <p:nvSpPr>
                <p:cNvPr id="384" name="Freeform: Shape 383">
                  <a:extLst>
                    <a:ext uri="{FF2B5EF4-FFF2-40B4-BE49-F238E27FC236}">
                      <a16:creationId xmlns:a16="http://schemas.microsoft.com/office/drawing/2014/main" id="{D48CEC10-D21B-4FB6-94F4-3BFCF2859365}"/>
                    </a:ext>
                  </a:extLst>
                </p:cNvPr>
                <p:cNvSpPr/>
                <p:nvPr/>
              </p:nvSpPr>
              <p:spPr>
                <a:xfrm>
                  <a:off x="401263" y="4522307"/>
                  <a:ext cx="64249" cy="5841"/>
                </a:xfrm>
                <a:custGeom>
                  <a:avLst/>
                  <a:gdLst>
                    <a:gd name="connsiteX0" fmla="*/ 0 w 64248"/>
                    <a:gd name="connsiteY0" fmla="*/ 11189 h 5840"/>
                    <a:gd name="connsiteX1" fmla="*/ 66001 w 64248"/>
                    <a:gd name="connsiteY1" fmla="*/ 5348 h 58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4248" h="5840">
                      <a:moveTo>
                        <a:pt x="0" y="11189"/>
                      </a:moveTo>
                      <a:cubicBezTo>
                        <a:pt x="13434" y="-493"/>
                        <a:pt x="44974" y="-3997"/>
                        <a:pt x="66001" y="5348"/>
                      </a:cubicBezTo>
                    </a:path>
                  </a:pathLst>
                </a:custGeom>
                <a:grpFill/>
                <a:ln w="11682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rgbClr val="009900"/>
                    </a:solidFill>
                  </a:endParaRPr>
                </a:p>
              </p:txBody>
            </p:sp>
          </p:grpSp>
          <p:sp>
            <p:nvSpPr>
              <p:cNvPr id="377" name="Freeform: Shape 376">
                <a:extLst>
                  <a:ext uri="{FF2B5EF4-FFF2-40B4-BE49-F238E27FC236}">
                    <a16:creationId xmlns:a16="http://schemas.microsoft.com/office/drawing/2014/main" id="{0D526889-499C-4C92-A950-2FD299AC586B}"/>
                  </a:ext>
                </a:extLst>
              </p:cNvPr>
              <p:cNvSpPr/>
              <p:nvPr/>
            </p:nvSpPr>
            <p:spPr>
              <a:xfrm>
                <a:off x="616518" y="3863555"/>
                <a:ext cx="163542" cy="227791"/>
              </a:xfrm>
              <a:custGeom>
                <a:avLst/>
                <a:gdLst>
                  <a:gd name="connsiteX0" fmla="*/ 0 w 163542"/>
                  <a:gd name="connsiteY0" fmla="*/ 230712 h 227791"/>
                  <a:gd name="connsiteX1" fmla="*/ 168215 w 163542"/>
                  <a:gd name="connsiteY1" fmla="*/ 74178 h 227791"/>
                  <a:gd name="connsiteX2" fmla="*/ 164127 w 163542"/>
                  <a:gd name="connsiteY2" fmla="*/ 0 h 227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3542" h="227791">
                    <a:moveTo>
                      <a:pt x="0" y="230712"/>
                    </a:moveTo>
                    <a:lnTo>
                      <a:pt x="168215" y="74178"/>
                    </a:lnTo>
                    <a:lnTo>
                      <a:pt x="164127" y="0"/>
                    </a:ln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78" name="Freeform: Shape 377">
                <a:extLst>
                  <a:ext uri="{FF2B5EF4-FFF2-40B4-BE49-F238E27FC236}">
                    <a16:creationId xmlns:a16="http://schemas.microsoft.com/office/drawing/2014/main" id="{649D1EC8-84B0-4E80-AFD0-A9771A1A6BBA}"/>
                  </a:ext>
                </a:extLst>
              </p:cNvPr>
              <p:cNvSpPr/>
              <p:nvPr/>
            </p:nvSpPr>
            <p:spPr>
              <a:xfrm>
                <a:off x="784733" y="3937733"/>
                <a:ext cx="46726" cy="46726"/>
              </a:xfrm>
              <a:custGeom>
                <a:avLst/>
                <a:gdLst>
                  <a:gd name="connsiteX0" fmla="*/ 25115 w 46726"/>
                  <a:gd name="connsiteY0" fmla="*/ 50231 h 46726"/>
                  <a:gd name="connsiteX1" fmla="*/ 0 w 46726"/>
                  <a:gd name="connsiteY1" fmla="*/ 0 h 46726"/>
                  <a:gd name="connsiteX2" fmla="*/ 50231 w 46726"/>
                  <a:gd name="connsiteY2" fmla="*/ 15770 h 46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726" h="46726">
                    <a:moveTo>
                      <a:pt x="25115" y="50231"/>
                    </a:moveTo>
                    <a:lnTo>
                      <a:pt x="0" y="0"/>
                    </a:lnTo>
                    <a:lnTo>
                      <a:pt x="50231" y="15770"/>
                    </a:lnTo>
                  </a:path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79" name="Freeform: Shape 378">
                <a:extLst>
                  <a:ext uri="{FF2B5EF4-FFF2-40B4-BE49-F238E27FC236}">
                    <a16:creationId xmlns:a16="http://schemas.microsoft.com/office/drawing/2014/main" id="{CB5682C0-604A-4834-A853-D7EEC300D1C9}"/>
                  </a:ext>
                </a:extLst>
              </p:cNvPr>
              <p:cNvSpPr/>
              <p:nvPr/>
            </p:nvSpPr>
            <p:spPr>
              <a:xfrm>
                <a:off x="311628" y="2231635"/>
                <a:ext cx="5841" cy="5841"/>
              </a:xfrm>
              <a:custGeom>
                <a:avLst/>
                <a:gdLst/>
                <a:ahLst/>
                <a:cxnLst/>
                <a:rect l="l" t="t" r="r" b="b"/>
                <a:pathLst>
                  <a:path/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  <p:sp>
            <p:nvSpPr>
              <p:cNvPr id="380" name="Freeform: Shape 379">
                <a:extLst>
                  <a:ext uri="{FF2B5EF4-FFF2-40B4-BE49-F238E27FC236}">
                    <a16:creationId xmlns:a16="http://schemas.microsoft.com/office/drawing/2014/main" id="{FEBA7AE2-55BE-43BE-A18D-86391310FD43}"/>
                  </a:ext>
                </a:extLst>
              </p:cNvPr>
              <p:cNvSpPr/>
              <p:nvPr/>
            </p:nvSpPr>
            <p:spPr>
              <a:xfrm>
                <a:off x="311628" y="2231635"/>
                <a:ext cx="5841" cy="5841"/>
              </a:xfrm>
              <a:custGeom>
                <a:avLst/>
                <a:gdLst/>
                <a:ahLst/>
                <a:cxnLst/>
                <a:rect l="l" t="t" r="r" b="b"/>
                <a:pathLst>
                  <a:path/>
                </a:pathLst>
              </a:custGeom>
              <a:grpFill/>
              <a:ln w="11682" cap="rnd">
                <a:solidFill>
                  <a:schemeClr val="bg1">
                    <a:lumMod val="8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rgbClr val="0099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58160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B83D7A1-35EE-41FC-ACD6-598F6B160E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B83D7A1-35EE-41FC-ACD6-598F6B160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AAD318-25EA-460C-9025-27ED462392E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83000"/>
              </a:lnSpc>
              <a:spcBef>
                <a:spcPct val="0"/>
              </a:spcBef>
              <a:spcAft>
                <a:spcPct val="0"/>
              </a:spcAft>
            </a:pPr>
            <a:endParaRPr lang="da-DK" sz="6500" noProof="0" dirty="0" err="1">
              <a:solidFill>
                <a:srgbClr val="2F363B"/>
              </a:solidFill>
              <a:latin typeface="Impact" panose="020B0806030902050204" pitchFamily="34" charset="0"/>
              <a:ea typeface="+mj-ea"/>
              <a:cs typeface="+mj-cs"/>
              <a:sym typeface="Impact" panose="020B080603090205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9311F0-821A-4AAC-BDE9-AA253B2BFD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4EBB27-4B6C-4A1A-B488-3E5D35BB8C43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790861-E968-43BB-932B-A867BD494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258545A-D17C-4782-84C3-353DE1415C4F}"/>
              </a:ext>
            </a:extLst>
          </p:cNvPr>
          <p:cNvSpPr/>
          <p:nvPr/>
        </p:nvSpPr>
        <p:spPr>
          <a:xfrm>
            <a:off x="9191625" y="190500"/>
            <a:ext cx="600075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576BB51-FDF6-4A0B-BEF5-116339DDC56F}"/>
              </a:ext>
            </a:extLst>
          </p:cNvPr>
          <p:cNvSpPr/>
          <p:nvPr/>
        </p:nvSpPr>
        <p:spPr>
          <a:xfrm>
            <a:off x="8933657" y="5257800"/>
            <a:ext cx="702344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16DF48A-3F85-4373-9319-44BAFFA12CBB}"/>
              </a:ext>
            </a:extLst>
          </p:cNvPr>
          <p:cNvSpPr/>
          <p:nvPr/>
        </p:nvSpPr>
        <p:spPr>
          <a:xfrm>
            <a:off x="7167210" y="1190014"/>
            <a:ext cx="1865874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A0C70F3-82E4-4B15-92BB-EBF46FFF5C51}"/>
              </a:ext>
            </a:extLst>
          </p:cNvPr>
          <p:cNvGrpSpPr/>
          <p:nvPr/>
        </p:nvGrpSpPr>
        <p:grpSpPr>
          <a:xfrm>
            <a:off x="7247344" y="469887"/>
            <a:ext cx="1254685" cy="2109380"/>
            <a:chOff x="8344847" y="2491869"/>
            <a:chExt cx="1254685" cy="2109380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4678040-DA56-4B83-941F-7C8B520DF713}"/>
                </a:ext>
              </a:extLst>
            </p:cNvPr>
            <p:cNvGrpSpPr/>
            <p:nvPr/>
          </p:nvGrpSpPr>
          <p:grpSpPr>
            <a:xfrm>
              <a:off x="8344847" y="2494789"/>
              <a:ext cx="1167072" cy="2106460"/>
              <a:chOff x="8643138" y="2494789"/>
              <a:chExt cx="1167072" cy="2106460"/>
            </a:xfrm>
            <a:solidFill>
              <a:schemeClr val="accent2"/>
            </a:solidFill>
          </p:grpSpPr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FE46C5C2-8800-4A5A-BD84-5F52BD69433A}"/>
                  </a:ext>
                </a:extLst>
              </p:cNvPr>
              <p:cNvSpPr/>
              <p:nvPr/>
            </p:nvSpPr>
            <p:spPr>
              <a:xfrm>
                <a:off x="9262340" y="2494789"/>
                <a:ext cx="286199" cy="204428"/>
              </a:xfrm>
              <a:custGeom>
                <a:avLst/>
                <a:gdLst>
                  <a:gd name="connsiteX0" fmla="*/ 25119 w 286199"/>
                  <a:gd name="connsiteY0" fmla="*/ 202358 h 204428"/>
                  <a:gd name="connsiteX1" fmla="*/ 45562 w 286199"/>
                  <a:gd name="connsiteY1" fmla="*/ 149790 h 204428"/>
                  <a:gd name="connsiteX2" fmla="*/ 53155 w 286199"/>
                  <a:gd name="connsiteY2" fmla="*/ 122923 h 204428"/>
                  <a:gd name="connsiteX3" fmla="*/ 146024 w 286199"/>
                  <a:gd name="connsiteY3" fmla="*/ 135772 h 204428"/>
                  <a:gd name="connsiteX4" fmla="*/ 231884 w 286199"/>
                  <a:gd name="connsiteY4" fmla="*/ 109489 h 204428"/>
                  <a:gd name="connsiteX5" fmla="*/ 242982 w 286199"/>
                  <a:gd name="connsiteY5" fmla="*/ 107737 h 204428"/>
                  <a:gd name="connsiteX6" fmla="*/ 269265 w 286199"/>
                  <a:gd name="connsiteY6" fmla="*/ 200021 h 204428"/>
                  <a:gd name="connsiteX7" fmla="*/ 279194 w 286199"/>
                  <a:gd name="connsiteY7" fmla="*/ 205278 h 204428"/>
                  <a:gd name="connsiteX8" fmla="*/ 281531 w 286199"/>
                  <a:gd name="connsiteY8" fmla="*/ 204694 h 204428"/>
                  <a:gd name="connsiteX9" fmla="*/ 286204 w 286199"/>
                  <a:gd name="connsiteY9" fmla="*/ 203526 h 204428"/>
                  <a:gd name="connsiteX10" fmla="*/ 286204 w 286199"/>
                  <a:gd name="connsiteY10" fmla="*/ 201189 h 204428"/>
                  <a:gd name="connsiteX11" fmla="*/ 286204 w 286199"/>
                  <a:gd name="connsiteY11" fmla="*/ 178994 h 204428"/>
                  <a:gd name="connsiteX12" fmla="*/ 244149 w 286199"/>
                  <a:gd name="connsiteY12" fmla="*/ 66851 h 204428"/>
                  <a:gd name="connsiteX13" fmla="*/ 113900 w 286199"/>
                  <a:gd name="connsiteY13" fmla="*/ 3770 h 204428"/>
                  <a:gd name="connsiteX14" fmla="*/ 70094 w 286199"/>
                  <a:gd name="connsiteY14" fmla="*/ 34142 h 204428"/>
                  <a:gd name="connsiteX15" fmla="*/ 70094 w 286199"/>
                  <a:gd name="connsiteY15" fmla="*/ 34142 h 204428"/>
                  <a:gd name="connsiteX16" fmla="*/ 12854 w 286199"/>
                  <a:gd name="connsiteY16" fmla="*/ 46408 h 204428"/>
                  <a:gd name="connsiteX17" fmla="*/ 18695 w 286199"/>
                  <a:gd name="connsiteY17" fmla="*/ 100144 h 204428"/>
                  <a:gd name="connsiteX18" fmla="*/ 4093 w 286199"/>
                  <a:gd name="connsiteY18" fmla="*/ 202942 h 204428"/>
                  <a:gd name="connsiteX19" fmla="*/ 4677 w 286199"/>
                  <a:gd name="connsiteY19" fmla="*/ 202942 h 204428"/>
                  <a:gd name="connsiteX20" fmla="*/ 11101 w 286199"/>
                  <a:gd name="connsiteY20" fmla="*/ 204110 h 204428"/>
                  <a:gd name="connsiteX21" fmla="*/ 14022 w 286199"/>
                  <a:gd name="connsiteY21" fmla="*/ 205278 h 204428"/>
                  <a:gd name="connsiteX22" fmla="*/ 25119 w 286199"/>
                  <a:gd name="connsiteY22" fmla="*/ 202358 h 204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86199" h="204428">
                    <a:moveTo>
                      <a:pt x="25119" y="202358"/>
                    </a:moveTo>
                    <a:cubicBezTo>
                      <a:pt x="29792" y="190676"/>
                      <a:pt x="39137" y="167313"/>
                      <a:pt x="45562" y="149790"/>
                    </a:cubicBezTo>
                    <a:lnTo>
                      <a:pt x="53155" y="122923"/>
                    </a:lnTo>
                    <a:cubicBezTo>
                      <a:pt x="70094" y="131100"/>
                      <a:pt x="99298" y="139277"/>
                      <a:pt x="146024" y="135772"/>
                    </a:cubicBezTo>
                    <a:cubicBezTo>
                      <a:pt x="167051" y="134020"/>
                      <a:pt x="212025" y="129932"/>
                      <a:pt x="231884" y="109489"/>
                    </a:cubicBezTo>
                    <a:lnTo>
                      <a:pt x="242982" y="107737"/>
                    </a:lnTo>
                    <a:lnTo>
                      <a:pt x="269265" y="200021"/>
                    </a:lnTo>
                    <a:cubicBezTo>
                      <a:pt x="270433" y="204110"/>
                      <a:pt x="275106" y="207030"/>
                      <a:pt x="279194" y="205278"/>
                    </a:cubicBezTo>
                    <a:cubicBezTo>
                      <a:pt x="279778" y="204694"/>
                      <a:pt x="280947" y="204694"/>
                      <a:pt x="281531" y="204694"/>
                    </a:cubicBezTo>
                    <a:cubicBezTo>
                      <a:pt x="283283" y="204110"/>
                      <a:pt x="284451" y="204110"/>
                      <a:pt x="286204" y="203526"/>
                    </a:cubicBezTo>
                    <a:lnTo>
                      <a:pt x="286204" y="201189"/>
                    </a:lnTo>
                    <a:lnTo>
                      <a:pt x="286204" y="178994"/>
                    </a:lnTo>
                    <a:cubicBezTo>
                      <a:pt x="286204" y="159136"/>
                      <a:pt x="311319" y="97807"/>
                      <a:pt x="244149" y="66851"/>
                    </a:cubicBezTo>
                    <a:cubicBezTo>
                      <a:pt x="237725" y="37063"/>
                      <a:pt x="168803" y="-14336"/>
                      <a:pt x="113900" y="3770"/>
                    </a:cubicBezTo>
                    <a:cubicBezTo>
                      <a:pt x="83527" y="14284"/>
                      <a:pt x="75350" y="24797"/>
                      <a:pt x="70094" y="34142"/>
                    </a:cubicBezTo>
                    <a:lnTo>
                      <a:pt x="70094" y="34142"/>
                    </a:lnTo>
                    <a:cubicBezTo>
                      <a:pt x="50235" y="30638"/>
                      <a:pt x="27456" y="31806"/>
                      <a:pt x="12854" y="46408"/>
                    </a:cubicBezTo>
                    <a:cubicBezTo>
                      <a:pt x="-7005" y="66851"/>
                      <a:pt x="4093" y="89630"/>
                      <a:pt x="18695" y="100144"/>
                    </a:cubicBezTo>
                    <a:cubicBezTo>
                      <a:pt x="-11677" y="157967"/>
                      <a:pt x="4093" y="202942"/>
                      <a:pt x="4093" y="202942"/>
                    </a:cubicBezTo>
                    <a:lnTo>
                      <a:pt x="4677" y="202942"/>
                    </a:lnTo>
                    <a:cubicBezTo>
                      <a:pt x="7013" y="202942"/>
                      <a:pt x="8766" y="203526"/>
                      <a:pt x="11101" y="204110"/>
                    </a:cubicBezTo>
                    <a:cubicBezTo>
                      <a:pt x="12270" y="204694"/>
                      <a:pt x="13438" y="204694"/>
                      <a:pt x="14022" y="205278"/>
                    </a:cubicBezTo>
                    <a:cubicBezTo>
                      <a:pt x="19279" y="207614"/>
                      <a:pt x="23368" y="205862"/>
                      <a:pt x="25119" y="202358"/>
                    </a:cubicBezTo>
                    <a:close/>
                  </a:path>
                </a:pathLst>
              </a:custGeom>
              <a:grpFill/>
              <a:ln w="5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C63A129F-11D1-4A1A-90D0-7F972BA3494A}"/>
                  </a:ext>
                </a:extLst>
              </p:cNvPr>
              <p:cNvSpPr/>
              <p:nvPr/>
            </p:nvSpPr>
            <p:spPr>
              <a:xfrm>
                <a:off x="9080110" y="2957647"/>
                <a:ext cx="730100" cy="566558"/>
              </a:xfrm>
              <a:custGeom>
                <a:avLst/>
                <a:gdLst>
                  <a:gd name="connsiteX0" fmla="*/ 731853 w 730100"/>
                  <a:gd name="connsiteY0" fmla="*/ 180481 h 566557"/>
                  <a:gd name="connsiteX1" fmla="*/ 564806 w 730100"/>
                  <a:gd name="connsiteY1" fmla="*/ 18106 h 566557"/>
                  <a:gd name="connsiteX2" fmla="*/ 519247 w 730100"/>
                  <a:gd name="connsiteY2" fmla="*/ 0 h 566557"/>
                  <a:gd name="connsiteX3" fmla="*/ 448574 w 730100"/>
                  <a:gd name="connsiteY3" fmla="*/ 0 h 566557"/>
                  <a:gd name="connsiteX4" fmla="*/ 352785 w 730100"/>
                  <a:gd name="connsiteY4" fmla="*/ 73010 h 566557"/>
                  <a:gd name="connsiteX5" fmla="*/ 256995 w 730100"/>
                  <a:gd name="connsiteY5" fmla="*/ 0 h 566557"/>
                  <a:gd name="connsiteX6" fmla="*/ 170552 w 730100"/>
                  <a:gd name="connsiteY6" fmla="*/ 0 h 566557"/>
                  <a:gd name="connsiteX7" fmla="*/ 116232 w 730100"/>
                  <a:gd name="connsiteY7" fmla="*/ 27452 h 566557"/>
                  <a:gd name="connsiteX8" fmla="*/ 0 w 730100"/>
                  <a:gd name="connsiteY8" fmla="*/ 179897 h 566557"/>
                  <a:gd name="connsiteX9" fmla="*/ 103383 w 730100"/>
                  <a:gd name="connsiteY9" fmla="*/ 257579 h 566557"/>
                  <a:gd name="connsiteX10" fmla="*/ 103383 w 730100"/>
                  <a:gd name="connsiteY10" fmla="*/ 571815 h 566557"/>
                  <a:gd name="connsiteX11" fmla="*/ 585833 w 730100"/>
                  <a:gd name="connsiteY11" fmla="*/ 571815 h 566557"/>
                  <a:gd name="connsiteX12" fmla="*/ 585833 w 730100"/>
                  <a:gd name="connsiteY12" fmla="*/ 274518 h 566557"/>
                  <a:gd name="connsiteX13" fmla="*/ 612700 w 730100"/>
                  <a:gd name="connsiteY13" fmla="*/ 300801 h 566557"/>
                  <a:gd name="connsiteX14" fmla="*/ 731853 w 730100"/>
                  <a:gd name="connsiteY14" fmla="*/ 180481 h 566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30100" h="566557">
                    <a:moveTo>
                      <a:pt x="731853" y="180481"/>
                    </a:moveTo>
                    <a:lnTo>
                      <a:pt x="564806" y="18106"/>
                    </a:lnTo>
                    <a:cubicBezTo>
                      <a:pt x="553124" y="7009"/>
                      <a:pt x="536770" y="0"/>
                      <a:pt x="519247" y="0"/>
                    </a:cubicBezTo>
                    <a:lnTo>
                      <a:pt x="448574" y="0"/>
                    </a:lnTo>
                    <a:cubicBezTo>
                      <a:pt x="436308" y="42054"/>
                      <a:pt x="397758" y="73010"/>
                      <a:pt x="352785" y="73010"/>
                    </a:cubicBezTo>
                    <a:cubicBezTo>
                      <a:pt x="307811" y="73010"/>
                      <a:pt x="269261" y="42054"/>
                      <a:pt x="256995" y="0"/>
                    </a:cubicBezTo>
                    <a:lnTo>
                      <a:pt x="170552" y="0"/>
                    </a:lnTo>
                    <a:cubicBezTo>
                      <a:pt x="148357" y="0"/>
                      <a:pt x="128498" y="11097"/>
                      <a:pt x="116232" y="27452"/>
                    </a:cubicBezTo>
                    <a:lnTo>
                      <a:pt x="0" y="179897"/>
                    </a:lnTo>
                    <a:lnTo>
                      <a:pt x="103383" y="257579"/>
                    </a:lnTo>
                    <a:lnTo>
                      <a:pt x="103383" y="571815"/>
                    </a:lnTo>
                    <a:lnTo>
                      <a:pt x="585833" y="571815"/>
                    </a:lnTo>
                    <a:lnTo>
                      <a:pt x="585833" y="274518"/>
                    </a:lnTo>
                    <a:lnTo>
                      <a:pt x="612700" y="300801"/>
                    </a:lnTo>
                    <a:lnTo>
                      <a:pt x="731853" y="180481"/>
                    </a:lnTo>
                    <a:close/>
                  </a:path>
                </a:pathLst>
              </a:custGeom>
              <a:grpFill/>
              <a:ln w="5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139" name="Graphic 6">
                <a:extLst>
                  <a:ext uri="{FF2B5EF4-FFF2-40B4-BE49-F238E27FC236}">
                    <a16:creationId xmlns:a16="http://schemas.microsoft.com/office/drawing/2014/main" id="{923641B2-4784-42E9-ACBD-B6F800CADE1F}"/>
                  </a:ext>
                </a:extLst>
              </p:cNvPr>
              <p:cNvGrpSpPr/>
              <p:nvPr/>
            </p:nvGrpSpPr>
            <p:grpSpPr>
              <a:xfrm>
                <a:off x="8643138" y="4442963"/>
                <a:ext cx="309563" cy="157702"/>
                <a:chOff x="8643138" y="4442963"/>
                <a:chExt cx="309563" cy="157702"/>
              </a:xfrm>
              <a:grpFill/>
            </p:grpSpPr>
            <p:sp>
              <p:nvSpPr>
                <p:cNvPr id="141" name="Freeform: Shape 140">
                  <a:extLst>
                    <a:ext uri="{FF2B5EF4-FFF2-40B4-BE49-F238E27FC236}">
                      <a16:creationId xmlns:a16="http://schemas.microsoft.com/office/drawing/2014/main" id="{5032954F-4A71-457E-ADBE-D501F3727F0D}"/>
                    </a:ext>
                  </a:extLst>
                </p:cNvPr>
                <p:cNvSpPr/>
                <p:nvPr/>
              </p:nvSpPr>
              <p:spPr>
                <a:xfrm>
                  <a:off x="8643138" y="4442963"/>
                  <a:ext cx="309563" cy="157702"/>
                </a:xfrm>
                <a:custGeom>
                  <a:avLst/>
                  <a:gdLst>
                    <a:gd name="connsiteX0" fmla="*/ 310812 w 309562"/>
                    <a:gd name="connsiteY0" fmla="*/ 35045 h 157701"/>
                    <a:gd name="connsiteX1" fmla="*/ 309644 w 309562"/>
                    <a:gd name="connsiteY1" fmla="*/ 145436 h 157701"/>
                    <a:gd name="connsiteX2" fmla="*/ 293289 w 309562"/>
                    <a:gd name="connsiteY2" fmla="*/ 161790 h 157701"/>
                    <a:gd name="connsiteX3" fmla="*/ 16435 w 309562"/>
                    <a:gd name="connsiteY3" fmla="*/ 161790 h 157701"/>
                    <a:gd name="connsiteX4" fmla="*/ 81 w 309562"/>
                    <a:gd name="connsiteY4" fmla="*/ 146020 h 157701"/>
                    <a:gd name="connsiteX5" fmla="*/ 106968 w 309562"/>
                    <a:gd name="connsiteY5" fmla="*/ 52567 h 157701"/>
                    <a:gd name="connsiteX6" fmla="*/ 112808 w 309562"/>
                    <a:gd name="connsiteY6" fmla="*/ 52567 h 157701"/>
                    <a:gd name="connsiteX7" fmla="*/ 171216 w 309562"/>
                    <a:gd name="connsiteY7" fmla="*/ 0 h 157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9562" h="157701">
                      <a:moveTo>
                        <a:pt x="310812" y="35045"/>
                      </a:moveTo>
                      <a:lnTo>
                        <a:pt x="309644" y="145436"/>
                      </a:lnTo>
                      <a:cubicBezTo>
                        <a:pt x="309644" y="154197"/>
                        <a:pt x="302051" y="161790"/>
                        <a:pt x="293289" y="161790"/>
                      </a:cubicBezTo>
                      <a:lnTo>
                        <a:pt x="16435" y="161790"/>
                      </a:lnTo>
                      <a:cubicBezTo>
                        <a:pt x="7674" y="161790"/>
                        <a:pt x="665" y="154781"/>
                        <a:pt x="81" y="146020"/>
                      </a:cubicBezTo>
                      <a:cubicBezTo>
                        <a:pt x="-1671" y="99878"/>
                        <a:pt x="24612" y="52567"/>
                        <a:pt x="106968" y="52567"/>
                      </a:cubicBezTo>
                      <a:lnTo>
                        <a:pt x="112808" y="52567"/>
                      </a:lnTo>
                      <a:lnTo>
                        <a:pt x="171216" y="0"/>
                      </a:lnTo>
                    </a:path>
                  </a:pathLst>
                </a:custGeom>
                <a:grpFill/>
                <a:ln w="584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42" name="Freeform: Shape 141">
                  <a:extLst>
                    <a:ext uri="{FF2B5EF4-FFF2-40B4-BE49-F238E27FC236}">
                      <a16:creationId xmlns:a16="http://schemas.microsoft.com/office/drawing/2014/main" id="{935C69BF-31E8-4831-8AFE-9BC4DF6525F8}"/>
                    </a:ext>
                  </a:extLst>
                </p:cNvPr>
                <p:cNvSpPr/>
                <p:nvPr/>
              </p:nvSpPr>
              <p:spPr>
                <a:xfrm>
                  <a:off x="8885028" y="4499035"/>
                  <a:ext cx="64249" cy="70090"/>
                </a:xfrm>
                <a:custGeom>
                  <a:avLst/>
                  <a:gdLst>
                    <a:gd name="connsiteX0" fmla="*/ 67754 w 64248"/>
                    <a:gd name="connsiteY0" fmla="*/ 0 h 70089"/>
                    <a:gd name="connsiteX1" fmla="*/ 67754 w 64248"/>
                    <a:gd name="connsiteY1" fmla="*/ 0 h 70089"/>
                    <a:gd name="connsiteX2" fmla="*/ 0 w 64248"/>
                    <a:gd name="connsiteY2" fmla="*/ 67753 h 70089"/>
                    <a:gd name="connsiteX3" fmla="*/ 0 w 64248"/>
                    <a:gd name="connsiteY3" fmla="*/ 74762 h 70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4248" h="70089">
                      <a:moveTo>
                        <a:pt x="67754" y="0"/>
                      </a:moveTo>
                      <a:lnTo>
                        <a:pt x="67754" y="0"/>
                      </a:lnTo>
                      <a:cubicBezTo>
                        <a:pt x="30373" y="0"/>
                        <a:pt x="0" y="30372"/>
                        <a:pt x="0" y="67753"/>
                      </a:cubicBezTo>
                      <a:lnTo>
                        <a:pt x="0" y="74762"/>
                      </a:lnTo>
                    </a:path>
                  </a:pathLst>
                </a:custGeom>
                <a:grp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43" name="Freeform: Shape 142">
                  <a:extLst>
                    <a:ext uri="{FF2B5EF4-FFF2-40B4-BE49-F238E27FC236}">
                      <a16:creationId xmlns:a16="http://schemas.microsoft.com/office/drawing/2014/main" id="{E0B1D023-50E8-4225-999C-324B65969C07}"/>
                    </a:ext>
                  </a:extLst>
                </p:cNvPr>
                <p:cNvSpPr/>
                <p:nvPr/>
              </p:nvSpPr>
              <p:spPr>
                <a:xfrm>
                  <a:off x="8643803" y="4573797"/>
                  <a:ext cx="262836" cy="5841"/>
                </a:xfrm>
                <a:custGeom>
                  <a:avLst/>
                  <a:gdLst>
                    <a:gd name="connsiteX0" fmla="*/ 0 w 262836"/>
                    <a:gd name="connsiteY0" fmla="*/ 0 h 0"/>
                    <a:gd name="connsiteX1" fmla="*/ 265173 w 262836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2836">
                      <a:moveTo>
                        <a:pt x="0" y="0"/>
                      </a:moveTo>
                      <a:lnTo>
                        <a:pt x="265173" y="0"/>
                      </a:lnTo>
                    </a:path>
                  </a:pathLst>
                </a:custGeom>
                <a:grp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44" name="Freeform: Shape 143">
                  <a:extLst>
                    <a:ext uri="{FF2B5EF4-FFF2-40B4-BE49-F238E27FC236}">
                      <a16:creationId xmlns:a16="http://schemas.microsoft.com/office/drawing/2014/main" id="{C6114B0E-5365-4386-BA47-51ED599F2B0F}"/>
                    </a:ext>
                  </a:extLst>
                </p:cNvPr>
                <p:cNvSpPr/>
                <p:nvPr/>
              </p:nvSpPr>
              <p:spPr>
                <a:xfrm>
                  <a:off x="8772300" y="4480928"/>
                  <a:ext cx="29204" cy="35045"/>
                </a:xfrm>
                <a:custGeom>
                  <a:avLst/>
                  <a:gdLst>
                    <a:gd name="connsiteX0" fmla="*/ 0 w 29204"/>
                    <a:gd name="connsiteY0" fmla="*/ 0 h 35044"/>
                    <a:gd name="connsiteX1" fmla="*/ 33292 w 29204"/>
                    <a:gd name="connsiteY1" fmla="*/ 38549 h 35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204" h="35044">
                      <a:moveTo>
                        <a:pt x="0" y="0"/>
                      </a:moveTo>
                      <a:lnTo>
                        <a:pt x="33292" y="38549"/>
                      </a:lnTo>
                    </a:path>
                  </a:pathLst>
                </a:custGeom>
                <a:grp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45" name="Freeform: Shape 144">
                  <a:extLst>
                    <a:ext uri="{FF2B5EF4-FFF2-40B4-BE49-F238E27FC236}">
                      <a16:creationId xmlns:a16="http://schemas.microsoft.com/office/drawing/2014/main" id="{5E78C10B-625F-4557-8747-2908BC105C8F}"/>
                    </a:ext>
                  </a:extLst>
                </p:cNvPr>
                <p:cNvSpPr/>
                <p:nvPr/>
              </p:nvSpPr>
              <p:spPr>
                <a:xfrm>
                  <a:off x="8791575" y="4464574"/>
                  <a:ext cx="29204" cy="35045"/>
                </a:xfrm>
                <a:custGeom>
                  <a:avLst/>
                  <a:gdLst>
                    <a:gd name="connsiteX0" fmla="*/ 0 w 29204"/>
                    <a:gd name="connsiteY0" fmla="*/ 0 h 35044"/>
                    <a:gd name="connsiteX1" fmla="*/ 33293 w 29204"/>
                    <a:gd name="connsiteY1" fmla="*/ 39133 h 35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204" h="35044">
                      <a:moveTo>
                        <a:pt x="0" y="0"/>
                      </a:moveTo>
                      <a:lnTo>
                        <a:pt x="33293" y="39133"/>
                      </a:lnTo>
                    </a:path>
                  </a:pathLst>
                </a:custGeom>
                <a:grp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6C42B2CE-B11F-4185-B359-02C0951C0022}"/>
                  </a:ext>
                </a:extLst>
              </p:cNvPr>
              <p:cNvSpPr/>
              <p:nvPr/>
            </p:nvSpPr>
            <p:spPr>
              <a:xfrm>
                <a:off x="9421797" y="4472751"/>
                <a:ext cx="157702" cy="128498"/>
              </a:xfrm>
              <a:custGeom>
                <a:avLst/>
                <a:gdLst>
                  <a:gd name="connsiteX0" fmla="*/ 159454 w 157701"/>
                  <a:gd name="connsiteY0" fmla="*/ 0 h 128497"/>
                  <a:gd name="connsiteX1" fmla="*/ 159454 w 157701"/>
                  <a:gd name="connsiteY1" fmla="*/ 114480 h 128497"/>
                  <a:gd name="connsiteX2" fmla="*/ 143100 w 157701"/>
                  <a:gd name="connsiteY2" fmla="*/ 130834 h 128497"/>
                  <a:gd name="connsiteX3" fmla="*/ 16355 w 157701"/>
                  <a:gd name="connsiteY3" fmla="*/ 130834 h 128497"/>
                  <a:gd name="connsiteX4" fmla="*/ 0 w 157701"/>
                  <a:gd name="connsiteY4" fmla="*/ 114480 h 128497"/>
                  <a:gd name="connsiteX5" fmla="*/ 0 w 157701"/>
                  <a:gd name="connsiteY5" fmla="*/ 20443 h 128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7701" h="128497">
                    <a:moveTo>
                      <a:pt x="159454" y="0"/>
                    </a:moveTo>
                    <a:lnTo>
                      <a:pt x="159454" y="114480"/>
                    </a:lnTo>
                    <a:cubicBezTo>
                      <a:pt x="159454" y="123825"/>
                      <a:pt x="151861" y="130834"/>
                      <a:pt x="143100" y="130834"/>
                    </a:cubicBezTo>
                    <a:lnTo>
                      <a:pt x="16355" y="130834"/>
                    </a:lnTo>
                    <a:cubicBezTo>
                      <a:pt x="7009" y="130834"/>
                      <a:pt x="0" y="123241"/>
                      <a:pt x="0" y="114480"/>
                    </a:cubicBezTo>
                    <a:lnTo>
                      <a:pt x="0" y="20443"/>
                    </a:lnTo>
                  </a:path>
                </a:pathLst>
              </a:custGeom>
              <a:grpFill/>
              <a:ln w="5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B3DF194B-1E4A-470F-A7CB-7B68E0B4AD6E}"/>
                </a:ext>
              </a:extLst>
            </p:cNvPr>
            <p:cNvGrpSpPr/>
            <p:nvPr/>
          </p:nvGrpSpPr>
          <p:grpSpPr>
            <a:xfrm>
              <a:off x="8422026" y="2491869"/>
              <a:ext cx="1177506" cy="2086601"/>
              <a:chOff x="8720317" y="2491869"/>
              <a:chExt cx="1177506" cy="2086601"/>
            </a:xfrm>
          </p:grpSpPr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82F05E1E-2D2E-456C-AA8C-27DB5EF4CF20}"/>
                  </a:ext>
                </a:extLst>
              </p:cNvPr>
              <p:cNvSpPr/>
              <p:nvPr/>
            </p:nvSpPr>
            <p:spPr>
              <a:xfrm>
                <a:off x="9379160" y="3733305"/>
                <a:ext cx="23363" cy="706737"/>
              </a:xfrm>
              <a:custGeom>
                <a:avLst/>
                <a:gdLst>
                  <a:gd name="connsiteX0" fmla="*/ 23947 w 23363"/>
                  <a:gd name="connsiteY0" fmla="*/ 0 h 706737"/>
                  <a:gd name="connsiteX1" fmla="*/ 0 w 23363"/>
                  <a:gd name="connsiteY1" fmla="*/ 711410 h 706737"/>
                  <a:gd name="connsiteX2" fmla="*/ 5256 w 23363"/>
                  <a:gd name="connsiteY2" fmla="*/ 711994 h 706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363" h="706737">
                    <a:moveTo>
                      <a:pt x="23947" y="0"/>
                    </a:moveTo>
                    <a:lnTo>
                      <a:pt x="0" y="711410"/>
                    </a:lnTo>
                    <a:lnTo>
                      <a:pt x="5256" y="711994"/>
                    </a:ln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5E42FC86-C74F-40FE-8CCB-08D2072D4A04}"/>
                  </a:ext>
                </a:extLst>
              </p:cNvPr>
              <p:cNvSpPr/>
              <p:nvPr/>
            </p:nvSpPr>
            <p:spPr>
              <a:xfrm>
                <a:off x="8764707" y="3465212"/>
                <a:ext cx="683374" cy="1033822"/>
              </a:xfrm>
              <a:custGeom>
                <a:avLst/>
                <a:gdLst>
                  <a:gd name="connsiteX0" fmla="*/ 432219 w 683373"/>
                  <a:gd name="connsiteY0" fmla="*/ 0 h 1033822"/>
                  <a:gd name="connsiteX1" fmla="*/ 422874 w 683373"/>
                  <a:gd name="connsiteY1" fmla="*/ 148356 h 1033822"/>
                  <a:gd name="connsiteX2" fmla="*/ 0 w 683373"/>
                  <a:gd name="connsiteY2" fmla="*/ 915838 h 1033822"/>
                  <a:gd name="connsiteX3" fmla="*/ 214942 w 683373"/>
                  <a:gd name="connsiteY3" fmla="*/ 1034406 h 1033822"/>
                  <a:gd name="connsiteX4" fmla="*/ 630807 w 683373"/>
                  <a:gd name="connsiteY4" fmla="*/ 279775 h 1033822"/>
                  <a:gd name="connsiteX5" fmla="*/ 686294 w 683373"/>
                  <a:gd name="connsiteY5" fmla="*/ 244730 h 1033822"/>
                  <a:gd name="connsiteX6" fmla="*/ 686294 w 683373"/>
                  <a:gd name="connsiteY6" fmla="*/ 244730 h 103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3373" h="1033822">
                    <a:moveTo>
                      <a:pt x="432219" y="0"/>
                    </a:moveTo>
                    <a:lnTo>
                      <a:pt x="422874" y="148356"/>
                    </a:lnTo>
                    <a:lnTo>
                      <a:pt x="0" y="915838"/>
                    </a:lnTo>
                    <a:lnTo>
                      <a:pt x="214942" y="1034406"/>
                    </a:lnTo>
                    <a:lnTo>
                      <a:pt x="630807" y="279775"/>
                    </a:lnTo>
                    <a:cubicBezTo>
                      <a:pt x="641904" y="259332"/>
                      <a:pt x="662931" y="245898"/>
                      <a:pt x="686294" y="244730"/>
                    </a:cubicBezTo>
                    <a:lnTo>
                      <a:pt x="686294" y="244730"/>
                    </a:ln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20EF97AF-9CBD-460A-89C3-26876FD81A2C}"/>
                  </a:ext>
                </a:extLst>
              </p:cNvPr>
              <p:cNvSpPr/>
              <p:nvPr/>
            </p:nvSpPr>
            <p:spPr>
              <a:xfrm>
                <a:off x="9384416" y="3804563"/>
                <a:ext cx="268677" cy="648329"/>
              </a:xfrm>
              <a:custGeom>
                <a:avLst/>
                <a:gdLst>
                  <a:gd name="connsiteX0" fmla="*/ 0 w 268676"/>
                  <a:gd name="connsiteY0" fmla="*/ 640736 h 648329"/>
                  <a:gd name="connsiteX1" fmla="*/ 239473 w 268676"/>
                  <a:gd name="connsiteY1" fmla="*/ 651834 h 648329"/>
                  <a:gd name="connsiteX2" fmla="*/ 269845 w 268676"/>
                  <a:gd name="connsiteY2" fmla="*/ 0 h 648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8676" h="648329">
                    <a:moveTo>
                      <a:pt x="0" y="640736"/>
                    </a:moveTo>
                    <a:lnTo>
                      <a:pt x="239473" y="651834"/>
                    </a:lnTo>
                    <a:lnTo>
                      <a:pt x="269845" y="0"/>
                    </a:ln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DFAA32C5-195C-4231-9EFE-C1C2D8A2D426}"/>
                  </a:ext>
                </a:extLst>
              </p:cNvPr>
              <p:cNvSpPr/>
              <p:nvPr/>
            </p:nvSpPr>
            <p:spPr>
              <a:xfrm>
                <a:off x="9565481" y="2724599"/>
                <a:ext cx="17522" cy="5841"/>
              </a:xfrm>
              <a:custGeom>
                <a:avLst/>
                <a:gdLst>
                  <a:gd name="connsiteX0" fmla="*/ 22195 w 17522"/>
                  <a:gd name="connsiteY0" fmla="*/ 0 h 0"/>
                  <a:gd name="connsiteX1" fmla="*/ 0 w 17522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22">
                    <a:moveTo>
                      <a:pt x="22195" y="0"/>
                    </a:moveTo>
                    <a:lnTo>
                      <a:pt x="0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70" name="Graphic 6">
                <a:extLst>
                  <a:ext uri="{FF2B5EF4-FFF2-40B4-BE49-F238E27FC236}">
                    <a16:creationId xmlns:a16="http://schemas.microsoft.com/office/drawing/2014/main" id="{AC37F76F-ECC9-46CB-AD02-DC026F196C9A}"/>
                  </a:ext>
                </a:extLst>
              </p:cNvPr>
              <p:cNvGrpSpPr/>
              <p:nvPr/>
            </p:nvGrpSpPr>
            <p:grpSpPr>
              <a:xfrm>
                <a:off x="9261722" y="2695562"/>
                <a:ext cx="46726" cy="58408"/>
                <a:chOff x="9261722" y="2695562"/>
                <a:chExt cx="46726" cy="58408"/>
              </a:xfrm>
              <a:noFill/>
            </p:grpSpPr>
            <p:sp>
              <p:nvSpPr>
                <p:cNvPr id="135" name="Freeform: Shape 134">
                  <a:extLst>
                    <a:ext uri="{FF2B5EF4-FFF2-40B4-BE49-F238E27FC236}">
                      <a16:creationId xmlns:a16="http://schemas.microsoft.com/office/drawing/2014/main" id="{883707FB-525B-4A1E-93F3-6F7212721FD6}"/>
                    </a:ext>
                  </a:extLst>
                </p:cNvPr>
                <p:cNvSpPr/>
                <p:nvPr/>
              </p:nvSpPr>
              <p:spPr>
                <a:xfrm>
                  <a:off x="9261722" y="2695562"/>
                  <a:ext cx="46726" cy="58408"/>
                </a:xfrm>
                <a:custGeom>
                  <a:avLst/>
                  <a:gdLst>
                    <a:gd name="connsiteX0" fmla="*/ 47349 w 46726"/>
                    <a:gd name="connsiteY0" fmla="*/ 5673 h 58408"/>
                    <a:gd name="connsiteX1" fmla="*/ 37419 w 46726"/>
                    <a:gd name="connsiteY1" fmla="*/ 1001 h 58408"/>
                    <a:gd name="connsiteX2" fmla="*/ 1206 w 46726"/>
                    <a:gd name="connsiteY2" fmla="*/ 21443 h 58408"/>
                    <a:gd name="connsiteX3" fmla="*/ 21649 w 46726"/>
                    <a:gd name="connsiteY3" fmla="*/ 57656 h 58408"/>
                    <a:gd name="connsiteX4" fmla="*/ 50853 w 46726"/>
                    <a:gd name="connsiteY4" fmla="*/ 49479 h 58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726" h="58408">
                      <a:moveTo>
                        <a:pt x="47349" y="5673"/>
                      </a:moveTo>
                      <a:cubicBezTo>
                        <a:pt x="44428" y="3337"/>
                        <a:pt x="40923" y="1585"/>
                        <a:pt x="37419" y="1001"/>
                      </a:cubicBezTo>
                      <a:cubicBezTo>
                        <a:pt x="21649" y="-3088"/>
                        <a:pt x="5878" y="5673"/>
                        <a:pt x="1206" y="21443"/>
                      </a:cubicBezTo>
                      <a:cubicBezTo>
                        <a:pt x="-3467" y="37214"/>
                        <a:pt x="5878" y="52984"/>
                        <a:pt x="21649" y="57656"/>
                      </a:cubicBezTo>
                      <a:cubicBezTo>
                        <a:pt x="32162" y="60577"/>
                        <a:pt x="43260" y="57072"/>
                        <a:pt x="50853" y="49479"/>
                      </a:cubicBez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36" name="Freeform: Shape 135">
                  <a:extLst>
                    <a:ext uri="{FF2B5EF4-FFF2-40B4-BE49-F238E27FC236}">
                      <a16:creationId xmlns:a16="http://schemas.microsoft.com/office/drawing/2014/main" id="{462968AF-7295-4117-8F4F-14BA5A6C036A}"/>
                    </a:ext>
                  </a:extLst>
                </p:cNvPr>
                <p:cNvSpPr/>
                <p:nvPr/>
              </p:nvSpPr>
              <p:spPr>
                <a:xfrm>
                  <a:off x="9280450" y="2724599"/>
                  <a:ext cx="17522" cy="5841"/>
                </a:xfrm>
                <a:custGeom>
                  <a:avLst/>
                  <a:gdLst>
                    <a:gd name="connsiteX0" fmla="*/ 0 w 17522"/>
                    <a:gd name="connsiteY0" fmla="*/ 0 h 0"/>
                    <a:gd name="connsiteX1" fmla="*/ 22779 w 17522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522">
                      <a:moveTo>
                        <a:pt x="0" y="0"/>
                      </a:moveTo>
                      <a:lnTo>
                        <a:pt x="22779" y="0"/>
                      </a:lnTo>
                    </a:path>
                  </a:pathLst>
                </a:custGeom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5E6DCC6-E3CA-484A-B68F-D54025271AB8}"/>
                  </a:ext>
                </a:extLst>
              </p:cNvPr>
              <p:cNvSpPr/>
              <p:nvPr/>
            </p:nvSpPr>
            <p:spPr>
              <a:xfrm>
                <a:off x="9468524" y="2685465"/>
                <a:ext cx="40886" cy="5841"/>
              </a:xfrm>
              <a:custGeom>
                <a:avLst/>
                <a:gdLst>
                  <a:gd name="connsiteX0" fmla="*/ 5257 w 40885"/>
                  <a:gd name="connsiteY0" fmla="*/ 0 h 5840"/>
                  <a:gd name="connsiteX1" fmla="*/ 37965 w 40885"/>
                  <a:gd name="connsiteY1" fmla="*/ 584 h 5840"/>
                  <a:gd name="connsiteX2" fmla="*/ 42638 w 40885"/>
                  <a:gd name="connsiteY2" fmla="*/ 5257 h 5840"/>
                  <a:gd name="connsiteX3" fmla="*/ 42638 w 40885"/>
                  <a:gd name="connsiteY3" fmla="*/ 5257 h 5840"/>
                  <a:gd name="connsiteX4" fmla="*/ 37381 w 40885"/>
                  <a:gd name="connsiteY4" fmla="*/ 9929 h 5840"/>
                  <a:gd name="connsiteX5" fmla="*/ 4673 w 40885"/>
                  <a:gd name="connsiteY5" fmla="*/ 9345 h 5840"/>
                  <a:gd name="connsiteX6" fmla="*/ 0 w 40885"/>
                  <a:gd name="connsiteY6" fmla="*/ 4673 h 5840"/>
                  <a:gd name="connsiteX7" fmla="*/ 0 w 40885"/>
                  <a:gd name="connsiteY7" fmla="*/ 4673 h 5840"/>
                  <a:gd name="connsiteX8" fmla="*/ 5257 w 40885"/>
                  <a:gd name="connsiteY8" fmla="*/ 0 h 5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85" h="5840">
                    <a:moveTo>
                      <a:pt x="5257" y="0"/>
                    </a:moveTo>
                    <a:lnTo>
                      <a:pt x="37965" y="584"/>
                    </a:lnTo>
                    <a:cubicBezTo>
                      <a:pt x="40886" y="584"/>
                      <a:pt x="42638" y="2920"/>
                      <a:pt x="42638" y="5257"/>
                    </a:cubicBezTo>
                    <a:lnTo>
                      <a:pt x="42638" y="5257"/>
                    </a:lnTo>
                    <a:cubicBezTo>
                      <a:pt x="42638" y="7593"/>
                      <a:pt x="40302" y="9929"/>
                      <a:pt x="37381" y="9929"/>
                    </a:cubicBezTo>
                    <a:lnTo>
                      <a:pt x="4673" y="9345"/>
                    </a:lnTo>
                    <a:cubicBezTo>
                      <a:pt x="1753" y="9345"/>
                      <a:pt x="0" y="7009"/>
                      <a:pt x="0" y="4673"/>
                    </a:cubicBezTo>
                    <a:lnTo>
                      <a:pt x="0" y="4673"/>
                    </a:lnTo>
                    <a:cubicBezTo>
                      <a:pt x="0" y="2336"/>
                      <a:pt x="2336" y="0"/>
                      <a:pt x="5257" y="0"/>
                    </a:cubicBezTo>
                    <a:close/>
                  </a:path>
                </a:pathLst>
              </a:custGeom>
              <a:solidFill>
                <a:srgbClr val="30373B"/>
              </a:solidFill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72A92DA-D0CF-4F92-8EB0-2C1B1ECD06E3}"/>
                  </a:ext>
                </a:extLst>
              </p:cNvPr>
              <p:cNvSpPr/>
              <p:nvPr/>
            </p:nvSpPr>
            <p:spPr>
              <a:xfrm>
                <a:off x="9358019" y="2681262"/>
                <a:ext cx="40886" cy="17522"/>
              </a:xfrm>
              <a:custGeom>
                <a:avLst/>
                <a:gdLst>
                  <a:gd name="connsiteX0" fmla="*/ 5954 w 40885"/>
                  <a:gd name="connsiteY0" fmla="*/ 115 h 17522"/>
                  <a:gd name="connsiteX1" fmla="*/ 37494 w 40885"/>
                  <a:gd name="connsiteY1" fmla="*/ 8876 h 17522"/>
                  <a:gd name="connsiteX2" fmla="*/ 40999 w 40885"/>
                  <a:gd name="connsiteY2" fmla="*/ 14717 h 17522"/>
                  <a:gd name="connsiteX3" fmla="*/ 40999 w 40885"/>
                  <a:gd name="connsiteY3" fmla="*/ 14717 h 17522"/>
                  <a:gd name="connsiteX4" fmla="*/ 35158 w 40885"/>
                  <a:gd name="connsiteY4" fmla="*/ 17637 h 17522"/>
                  <a:gd name="connsiteX5" fmla="*/ 3618 w 40885"/>
                  <a:gd name="connsiteY5" fmla="*/ 8876 h 17522"/>
                  <a:gd name="connsiteX6" fmla="*/ 113 w 40885"/>
                  <a:gd name="connsiteY6" fmla="*/ 3035 h 17522"/>
                  <a:gd name="connsiteX7" fmla="*/ 113 w 40885"/>
                  <a:gd name="connsiteY7" fmla="*/ 3035 h 17522"/>
                  <a:gd name="connsiteX8" fmla="*/ 5954 w 40885"/>
                  <a:gd name="connsiteY8" fmla="*/ 115 h 17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85" h="17522">
                    <a:moveTo>
                      <a:pt x="5954" y="115"/>
                    </a:moveTo>
                    <a:lnTo>
                      <a:pt x="37494" y="8876"/>
                    </a:lnTo>
                    <a:cubicBezTo>
                      <a:pt x="39831" y="9460"/>
                      <a:pt x="41583" y="12380"/>
                      <a:pt x="40999" y="14717"/>
                    </a:cubicBezTo>
                    <a:lnTo>
                      <a:pt x="40999" y="14717"/>
                    </a:lnTo>
                    <a:cubicBezTo>
                      <a:pt x="40415" y="17053"/>
                      <a:pt x="37494" y="18221"/>
                      <a:pt x="35158" y="17637"/>
                    </a:cubicBezTo>
                    <a:lnTo>
                      <a:pt x="3618" y="8876"/>
                    </a:lnTo>
                    <a:cubicBezTo>
                      <a:pt x="1282" y="8292"/>
                      <a:pt x="-471" y="5371"/>
                      <a:pt x="113" y="3035"/>
                    </a:cubicBezTo>
                    <a:lnTo>
                      <a:pt x="113" y="3035"/>
                    </a:lnTo>
                    <a:cubicBezTo>
                      <a:pt x="698" y="1283"/>
                      <a:pt x="3034" y="-470"/>
                      <a:pt x="5954" y="115"/>
                    </a:cubicBezTo>
                    <a:close/>
                  </a:path>
                </a:pathLst>
              </a:custGeom>
              <a:solidFill>
                <a:srgbClr val="30373B"/>
              </a:solidFill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FA9BB6E6-8986-40DF-B846-9C88416C34E9}"/>
                  </a:ext>
                </a:extLst>
              </p:cNvPr>
              <p:cNvSpPr/>
              <p:nvPr/>
            </p:nvSpPr>
            <p:spPr>
              <a:xfrm>
                <a:off x="9441072" y="4500203"/>
                <a:ext cx="140179" cy="75930"/>
              </a:xfrm>
              <a:custGeom>
                <a:avLst/>
                <a:gdLst>
                  <a:gd name="connsiteX0" fmla="*/ 140179 w 140179"/>
                  <a:gd name="connsiteY0" fmla="*/ 78267 h 75930"/>
                  <a:gd name="connsiteX1" fmla="*/ 60160 w 140179"/>
                  <a:gd name="connsiteY1" fmla="*/ 0 h 75930"/>
                  <a:gd name="connsiteX2" fmla="*/ 0 w 140179"/>
                  <a:gd name="connsiteY2" fmla="*/ 26868 h 75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0179" h="75930">
                    <a:moveTo>
                      <a:pt x="140179" y="78267"/>
                    </a:moveTo>
                    <a:cubicBezTo>
                      <a:pt x="140179" y="35045"/>
                      <a:pt x="104551" y="0"/>
                      <a:pt x="60160" y="0"/>
                    </a:cubicBezTo>
                    <a:cubicBezTo>
                      <a:pt x="36213" y="0"/>
                      <a:pt x="14602" y="10514"/>
                      <a:pt x="0" y="26868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E0E073E2-7970-44FD-825B-F1FA63E5B1EA}"/>
                  </a:ext>
                </a:extLst>
              </p:cNvPr>
              <p:cNvSpPr/>
              <p:nvPr/>
            </p:nvSpPr>
            <p:spPr>
              <a:xfrm>
                <a:off x="9498312" y="2695562"/>
                <a:ext cx="105134" cy="163542"/>
              </a:xfrm>
              <a:custGeom>
                <a:avLst/>
                <a:gdLst>
                  <a:gd name="connsiteX0" fmla="*/ 0 w 105134"/>
                  <a:gd name="connsiteY0" fmla="*/ 165127 h 163542"/>
                  <a:gd name="connsiteX1" fmla="*/ 51399 w 105134"/>
                  <a:gd name="connsiteY1" fmla="*/ 90949 h 163542"/>
                  <a:gd name="connsiteX2" fmla="*/ 57824 w 105134"/>
                  <a:gd name="connsiteY2" fmla="*/ 49479 h 163542"/>
                  <a:gd name="connsiteX3" fmla="*/ 87028 w 105134"/>
                  <a:gd name="connsiteY3" fmla="*/ 57656 h 163542"/>
                  <a:gd name="connsiteX4" fmla="*/ 107471 w 105134"/>
                  <a:gd name="connsiteY4" fmla="*/ 21443 h 163542"/>
                  <a:gd name="connsiteX5" fmla="*/ 71258 w 105134"/>
                  <a:gd name="connsiteY5" fmla="*/ 1001 h 163542"/>
                  <a:gd name="connsiteX6" fmla="*/ 61328 w 105134"/>
                  <a:gd name="connsiteY6" fmla="*/ 5673 h 163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5134" h="163542">
                    <a:moveTo>
                      <a:pt x="0" y="165127"/>
                    </a:moveTo>
                    <a:cubicBezTo>
                      <a:pt x="39718" y="137675"/>
                      <a:pt x="51399" y="90949"/>
                      <a:pt x="51399" y="90949"/>
                    </a:cubicBezTo>
                    <a:cubicBezTo>
                      <a:pt x="51399" y="90949"/>
                      <a:pt x="58408" y="62329"/>
                      <a:pt x="57824" y="49479"/>
                    </a:cubicBezTo>
                    <a:cubicBezTo>
                      <a:pt x="64833" y="57072"/>
                      <a:pt x="75930" y="60577"/>
                      <a:pt x="87028" y="57656"/>
                    </a:cubicBezTo>
                    <a:cubicBezTo>
                      <a:pt x="102799" y="53568"/>
                      <a:pt x="111560" y="37214"/>
                      <a:pt x="107471" y="21443"/>
                    </a:cubicBezTo>
                    <a:cubicBezTo>
                      <a:pt x="103383" y="5673"/>
                      <a:pt x="87028" y="-3088"/>
                      <a:pt x="71258" y="1001"/>
                    </a:cubicBezTo>
                    <a:cubicBezTo>
                      <a:pt x="67754" y="2169"/>
                      <a:pt x="64249" y="3921"/>
                      <a:pt x="61328" y="5673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F7A427E-9B1C-490E-90D3-F5D4B5A799FA}"/>
                  </a:ext>
                </a:extLst>
              </p:cNvPr>
              <p:cNvSpPr/>
              <p:nvPr/>
            </p:nvSpPr>
            <p:spPr>
              <a:xfrm>
                <a:off x="9460931" y="2860689"/>
                <a:ext cx="35045" cy="11682"/>
              </a:xfrm>
              <a:custGeom>
                <a:avLst/>
                <a:gdLst>
                  <a:gd name="connsiteX0" fmla="*/ 0 w 35044"/>
                  <a:gd name="connsiteY0" fmla="*/ 16354 h 11681"/>
                  <a:gd name="connsiteX1" fmla="*/ 37381 w 35044"/>
                  <a:gd name="connsiteY1" fmla="*/ 0 h 11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044" h="11681">
                    <a:moveTo>
                      <a:pt x="0" y="16354"/>
                    </a:moveTo>
                    <a:cubicBezTo>
                      <a:pt x="14602" y="12850"/>
                      <a:pt x="26868" y="7009"/>
                      <a:pt x="37381" y="0"/>
                    </a:cubicBezTo>
                  </a:path>
                </a:pathLst>
              </a:custGeom>
              <a:noFill/>
              <a:ln w="58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6D04516D-3786-4CE7-95AA-C250EDA88910}"/>
                  </a:ext>
                </a:extLst>
              </p:cNvPr>
              <p:cNvSpPr/>
              <p:nvPr/>
            </p:nvSpPr>
            <p:spPr>
              <a:xfrm>
                <a:off x="9310238" y="2747378"/>
                <a:ext cx="146020" cy="128498"/>
              </a:xfrm>
              <a:custGeom>
                <a:avLst/>
                <a:gdLst>
                  <a:gd name="connsiteX0" fmla="*/ 0 w 146020"/>
                  <a:gd name="connsiteY0" fmla="*/ 0 h 128497"/>
                  <a:gd name="connsiteX1" fmla="*/ 7593 w 146020"/>
                  <a:gd name="connsiteY1" fmla="*/ 42054 h 128497"/>
                  <a:gd name="connsiteX2" fmla="*/ 123241 w 146020"/>
                  <a:gd name="connsiteY2" fmla="*/ 132586 h 128497"/>
                  <a:gd name="connsiteX3" fmla="*/ 150693 w 146020"/>
                  <a:gd name="connsiteY3" fmla="*/ 129666 h 128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6020" h="128497">
                    <a:moveTo>
                      <a:pt x="0" y="0"/>
                    </a:moveTo>
                    <a:cubicBezTo>
                      <a:pt x="584" y="13434"/>
                      <a:pt x="7593" y="42054"/>
                      <a:pt x="7593" y="42054"/>
                    </a:cubicBezTo>
                    <a:cubicBezTo>
                      <a:pt x="7593" y="42054"/>
                      <a:pt x="29788" y="132586"/>
                      <a:pt x="123241" y="132586"/>
                    </a:cubicBezTo>
                    <a:cubicBezTo>
                      <a:pt x="133171" y="132586"/>
                      <a:pt x="142516" y="131418"/>
                      <a:pt x="150693" y="129666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1C2BCDD8-BF73-4EE8-9239-4A9FC5B0BE17}"/>
                  </a:ext>
                </a:extLst>
              </p:cNvPr>
              <p:cNvSpPr/>
              <p:nvPr/>
            </p:nvSpPr>
            <p:spPr>
              <a:xfrm>
                <a:off x="9403691" y="2801113"/>
                <a:ext cx="52567" cy="11682"/>
              </a:xfrm>
              <a:custGeom>
                <a:avLst/>
                <a:gdLst>
                  <a:gd name="connsiteX0" fmla="*/ 0 w 52567"/>
                  <a:gd name="connsiteY0" fmla="*/ 0 h 11681"/>
                  <a:gd name="connsiteX1" fmla="*/ 57824 w 52567"/>
                  <a:gd name="connsiteY1" fmla="*/ 3504 h 11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567" h="11681">
                    <a:moveTo>
                      <a:pt x="0" y="0"/>
                    </a:moveTo>
                    <a:cubicBezTo>
                      <a:pt x="0" y="0"/>
                      <a:pt x="22195" y="35045"/>
                      <a:pt x="57824" y="3504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5050BDA-81A9-426A-946E-81CB0A26C735}"/>
                  </a:ext>
                </a:extLst>
              </p:cNvPr>
              <p:cNvSpPr/>
              <p:nvPr/>
            </p:nvSpPr>
            <p:spPr>
              <a:xfrm>
                <a:off x="9486046" y="2720510"/>
                <a:ext cx="5841" cy="5841"/>
              </a:xfrm>
              <a:custGeom>
                <a:avLst/>
                <a:gdLst>
                  <a:gd name="connsiteX0" fmla="*/ 3504 w 5840"/>
                  <a:gd name="connsiteY0" fmla="*/ 8177 h 5840"/>
                  <a:gd name="connsiteX1" fmla="*/ 3504 w 5840"/>
                  <a:gd name="connsiteY1" fmla="*/ 8177 h 5840"/>
                  <a:gd name="connsiteX2" fmla="*/ 0 w 5840"/>
                  <a:gd name="connsiteY2" fmla="*/ 4673 h 5840"/>
                  <a:gd name="connsiteX3" fmla="*/ 0 w 5840"/>
                  <a:gd name="connsiteY3" fmla="*/ 3505 h 5840"/>
                  <a:gd name="connsiteX4" fmla="*/ 3504 w 5840"/>
                  <a:gd name="connsiteY4" fmla="*/ 0 h 5840"/>
                  <a:gd name="connsiteX5" fmla="*/ 3504 w 5840"/>
                  <a:gd name="connsiteY5" fmla="*/ 0 h 5840"/>
                  <a:gd name="connsiteX6" fmla="*/ 7009 w 5840"/>
                  <a:gd name="connsiteY6" fmla="*/ 3505 h 5840"/>
                  <a:gd name="connsiteX7" fmla="*/ 7009 w 5840"/>
                  <a:gd name="connsiteY7" fmla="*/ 4673 h 5840"/>
                  <a:gd name="connsiteX8" fmla="*/ 3504 w 5840"/>
                  <a:gd name="connsiteY8" fmla="*/ 8177 h 5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40" h="5840">
                    <a:moveTo>
                      <a:pt x="3504" y="8177"/>
                    </a:moveTo>
                    <a:lnTo>
                      <a:pt x="3504" y="8177"/>
                    </a:lnTo>
                    <a:cubicBezTo>
                      <a:pt x="1753" y="8177"/>
                      <a:pt x="0" y="6425"/>
                      <a:pt x="0" y="4673"/>
                    </a:cubicBezTo>
                    <a:lnTo>
                      <a:pt x="0" y="3505"/>
                    </a:lnTo>
                    <a:cubicBezTo>
                      <a:pt x="0" y="1752"/>
                      <a:pt x="1753" y="0"/>
                      <a:pt x="3504" y="0"/>
                    </a:cubicBezTo>
                    <a:lnTo>
                      <a:pt x="3504" y="0"/>
                    </a:lnTo>
                    <a:cubicBezTo>
                      <a:pt x="5257" y="0"/>
                      <a:pt x="7009" y="1752"/>
                      <a:pt x="7009" y="3505"/>
                    </a:cubicBezTo>
                    <a:lnTo>
                      <a:pt x="7009" y="4673"/>
                    </a:lnTo>
                    <a:cubicBezTo>
                      <a:pt x="7593" y="7009"/>
                      <a:pt x="5841" y="8177"/>
                      <a:pt x="3504" y="8177"/>
                    </a:cubicBezTo>
                    <a:close/>
                  </a:path>
                </a:pathLst>
              </a:custGeom>
              <a:solidFill>
                <a:srgbClr val="30373B"/>
              </a:solidFill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3B4DA184-B9E5-4070-99BE-790C5409B23C}"/>
                  </a:ext>
                </a:extLst>
              </p:cNvPr>
              <p:cNvSpPr/>
              <p:nvPr/>
            </p:nvSpPr>
            <p:spPr>
              <a:xfrm>
                <a:off x="9375071" y="2720510"/>
                <a:ext cx="5841" cy="5841"/>
              </a:xfrm>
              <a:custGeom>
                <a:avLst/>
                <a:gdLst>
                  <a:gd name="connsiteX0" fmla="*/ 3504 w 5840"/>
                  <a:gd name="connsiteY0" fmla="*/ 8177 h 5840"/>
                  <a:gd name="connsiteX1" fmla="*/ 3504 w 5840"/>
                  <a:gd name="connsiteY1" fmla="*/ 8177 h 5840"/>
                  <a:gd name="connsiteX2" fmla="*/ 0 w 5840"/>
                  <a:gd name="connsiteY2" fmla="*/ 4673 h 5840"/>
                  <a:gd name="connsiteX3" fmla="*/ 0 w 5840"/>
                  <a:gd name="connsiteY3" fmla="*/ 3505 h 5840"/>
                  <a:gd name="connsiteX4" fmla="*/ 3504 w 5840"/>
                  <a:gd name="connsiteY4" fmla="*/ 0 h 5840"/>
                  <a:gd name="connsiteX5" fmla="*/ 3504 w 5840"/>
                  <a:gd name="connsiteY5" fmla="*/ 0 h 5840"/>
                  <a:gd name="connsiteX6" fmla="*/ 7009 w 5840"/>
                  <a:gd name="connsiteY6" fmla="*/ 3505 h 5840"/>
                  <a:gd name="connsiteX7" fmla="*/ 7009 w 5840"/>
                  <a:gd name="connsiteY7" fmla="*/ 4673 h 5840"/>
                  <a:gd name="connsiteX8" fmla="*/ 3504 w 5840"/>
                  <a:gd name="connsiteY8" fmla="*/ 8177 h 5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40" h="5840">
                    <a:moveTo>
                      <a:pt x="3504" y="8177"/>
                    </a:moveTo>
                    <a:lnTo>
                      <a:pt x="3504" y="8177"/>
                    </a:lnTo>
                    <a:cubicBezTo>
                      <a:pt x="1753" y="8177"/>
                      <a:pt x="0" y="6425"/>
                      <a:pt x="0" y="4673"/>
                    </a:cubicBezTo>
                    <a:lnTo>
                      <a:pt x="0" y="3505"/>
                    </a:lnTo>
                    <a:cubicBezTo>
                      <a:pt x="0" y="1752"/>
                      <a:pt x="1753" y="0"/>
                      <a:pt x="3504" y="0"/>
                    </a:cubicBezTo>
                    <a:lnTo>
                      <a:pt x="3504" y="0"/>
                    </a:lnTo>
                    <a:cubicBezTo>
                      <a:pt x="5257" y="0"/>
                      <a:pt x="7009" y="1752"/>
                      <a:pt x="7009" y="3505"/>
                    </a:cubicBezTo>
                    <a:lnTo>
                      <a:pt x="7009" y="4673"/>
                    </a:lnTo>
                    <a:cubicBezTo>
                      <a:pt x="7009" y="7009"/>
                      <a:pt x="5257" y="8177"/>
                      <a:pt x="3504" y="8177"/>
                    </a:cubicBezTo>
                    <a:close/>
                  </a:path>
                </a:pathLst>
              </a:custGeom>
              <a:solidFill>
                <a:srgbClr val="30373B"/>
              </a:solidFill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BD060002-B66B-4346-982D-CCB9196A6F05}"/>
                  </a:ext>
                </a:extLst>
              </p:cNvPr>
              <p:cNvSpPr/>
              <p:nvPr/>
            </p:nvSpPr>
            <p:spPr>
              <a:xfrm>
                <a:off x="9427638" y="2715253"/>
                <a:ext cx="5841" cy="52567"/>
              </a:xfrm>
              <a:custGeom>
                <a:avLst/>
                <a:gdLst>
                  <a:gd name="connsiteX0" fmla="*/ 584 w 0"/>
                  <a:gd name="connsiteY0" fmla="*/ 0 h 52567"/>
                  <a:gd name="connsiteX1" fmla="*/ 0 w 0"/>
                  <a:gd name="connsiteY1" fmla="*/ 53151 h 52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52567">
                    <a:moveTo>
                      <a:pt x="584" y="0"/>
                    </a:moveTo>
                    <a:cubicBezTo>
                      <a:pt x="584" y="0"/>
                      <a:pt x="7593" y="22779"/>
                      <a:pt x="0" y="53151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FBBBBC8B-BAE5-4103-862C-A2E39EAD5226}"/>
                  </a:ext>
                </a:extLst>
              </p:cNvPr>
              <p:cNvSpPr/>
              <p:nvPr/>
            </p:nvSpPr>
            <p:spPr>
              <a:xfrm>
                <a:off x="9498312" y="2860689"/>
                <a:ext cx="5841" cy="93453"/>
              </a:xfrm>
              <a:custGeom>
                <a:avLst/>
                <a:gdLst>
                  <a:gd name="connsiteX0" fmla="*/ 8177 w 5840"/>
                  <a:gd name="connsiteY0" fmla="*/ 97541 h 93452"/>
                  <a:gd name="connsiteX1" fmla="*/ 0 w 5840"/>
                  <a:gd name="connsiteY1" fmla="*/ 0 h 93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0" h="93452">
                    <a:moveTo>
                      <a:pt x="8177" y="97541"/>
                    </a:moveTo>
                    <a:lnTo>
                      <a:pt x="0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38176499-D668-4C60-86BB-9C661C07A8F3}"/>
                  </a:ext>
                </a:extLst>
              </p:cNvPr>
              <p:cNvSpPr/>
              <p:nvPr/>
            </p:nvSpPr>
            <p:spPr>
              <a:xfrm>
                <a:off x="9359885" y="2862442"/>
                <a:ext cx="5841" cy="99294"/>
              </a:xfrm>
              <a:custGeom>
                <a:avLst/>
                <a:gdLst>
                  <a:gd name="connsiteX0" fmla="*/ 9929 w 5840"/>
                  <a:gd name="connsiteY0" fmla="*/ 0 h 99293"/>
                  <a:gd name="connsiteX1" fmla="*/ 0 w 5840"/>
                  <a:gd name="connsiteY1" fmla="*/ 103966 h 9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0" h="99293">
                    <a:moveTo>
                      <a:pt x="9929" y="0"/>
                    </a:moveTo>
                    <a:lnTo>
                      <a:pt x="0" y="103966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D97DF465-E4A5-48F4-B19E-3F54FF5A1DC6}"/>
                  </a:ext>
                </a:extLst>
              </p:cNvPr>
              <p:cNvSpPr/>
              <p:nvPr/>
            </p:nvSpPr>
            <p:spPr>
              <a:xfrm>
                <a:off x="9421213" y="4572629"/>
                <a:ext cx="157702" cy="5841"/>
              </a:xfrm>
              <a:custGeom>
                <a:avLst/>
                <a:gdLst>
                  <a:gd name="connsiteX0" fmla="*/ 160038 w 157701"/>
                  <a:gd name="connsiteY0" fmla="*/ 0 h 0"/>
                  <a:gd name="connsiteX1" fmla="*/ 0 w 157701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701">
                    <a:moveTo>
                      <a:pt x="160038" y="0"/>
                    </a:moveTo>
                    <a:lnTo>
                      <a:pt x="0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87C62E9B-5E70-4A9F-A374-AB5C6CEACBC4}"/>
                  </a:ext>
                </a:extLst>
              </p:cNvPr>
              <p:cNvSpPr/>
              <p:nvPr/>
            </p:nvSpPr>
            <p:spPr>
              <a:xfrm>
                <a:off x="9299141" y="4369953"/>
                <a:ext cx="251154" cy="5841"/>
              </a:xfrm>
              <a:custGeom>
                <a:avLst/>
                <a:gdLst>
                  <a:gd name="connsiteX0" fmla="*/ 0 w 251154"/>
                  <a:gd name="connsiteY0" fmla="*/ 0 h 0"/>
                  <a:gd name="connsiteX1" fmla="*/ 254659 w 251154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1154">
                    <a:moveTo>
                      <a:pt x="0" y="0"/>
                    </a:moveTo>
                    <a:lnTo>
                      <a:pt x="254659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3B18A851-8FD7-42AB-80A1-DFB9DCA5C4E0}"/>
                  </a:ext>
                </a:extLst>
              </p:cNvPr>
              <p:cNvSpPr/>
              <p:nvPr/>
            </p:nvSpPr>
            <p:spPr>
              <a:xfrm>
                <a:off x="9450417" y="3997894"/>
                <a:ext cx="5841" cy="367971"/>
              </a:xfrm>
              <a:custGeom>
                <a:avLst/>
                <a:gdLst>
                  <a:gd name="connsiteX0" fmla="*/ 0 w 5840"/>
                  <a:gd name="connsiteY0" fmla="*/ 372059 h 367970"/>
                  <a:gd name="connsiteX1" fmla="*/ 11098 w 5840"/>
                  <a:gd name="connsiteY1" fmla="*/ 0 h 367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0" h="367970">
                    <a:moveTo>
                      <a:pt x="0" y="372059"/>
                    </a:moveTo>
                    <a:lnTo>
                      <a:pt x="11098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86" name="Graphic 6">
                <a:extLst>
                  <a:ext uri="{FF2B5EF4-FFF2-40B4-BE49-F238E27FC236}">
                    <a16:creationId xmlns:a16="http://schemas.microsoft.com/office/drawing/2014/main" id="{38226130-A44C-4654-9525-99ACCE19F361}"/>
                  </a:ext>
                </a:extLst>
              </p:cNvPr>
              <p:cNvGrpSpPr/>
              <p:nvPr/>
            </p:nvGrpSpPr>
            <p:grpSpPr>
              <a:xfrm>
                <a:off x="9459763" y="3768934"/>
                <a:ext cx="5841" cy="157702"/>
                <a:chOff x="9459763" y="3768934"/>
                <a:chExt cx="5841" cy="157702"/>
              </a:xfrm>
            </p:grpSpPr>
            <p:sp>
              <p:nvSpPr>
                <p:cNvPr id="133" name="Freeform: Shape 132">
                  <a:extLst>
                    <a:ext uri="{FF2B5EF4-FFF2-40B4-BE49-F238E27FC236}">
                      <a16:creationId xmlns:a16="http://schemas.microsoft.com/office/drawing/2014/main" id="{140D53CA-9C8E-4391-BC2F-3AF4DCE6C178}"/>
                    </a:ext>
                  </a:extLst>
                </p:cNvPr>
                <p:cNvSpPr/>
                <p:nvPr/>
              </p:nvSpPr>
              <p:spPr>
                <a:xfrm>
                  <a:off x="9459763" y="3861803"/>
                  <a:ext cx="5841" cy="70090"/>
                </a:xfrm>
                <a:custGeom>
                  <a:avLst/>
                  <a:gdLst>
                    <a:gd name="connsiteX0" fmla="*/ 0 w 0"/>
                    <a:gd name="connsiteY0" fmla="*/ 70090 h 70089"/>
                    <a:gd name="connsiteX1" fmla="*/ 584 w 0"/>
                    <a:gd name="connsiteY1" fmla="*/ 0 h 70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70089">
                      <a:moveTo>
                        <a:pt x="0" y="70090"/>
                      </a:moveTo>
                      <a:lnTo>
                        <a:pt x="584" y="0"/>
                      </a:lnTo>
                    </a:path>
                  </a:pathLst>
                </a:custGeom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34" name="Freeform: Shape 133">
                  <a:extLst>
                    <a:ext uri="{FF2B5EF4-FFF2-40B4-BE49-F238E27FC236}">
                      <a16:creationId xmlns:a16="http://schemas.microsoft.com/office/drawing/2014/main" id="{B89DCE67-D70C-4DE5-B04E-6C833D63B4E8}"/>
                    </a:ext>
                  </a:extLst>
                </p:cNvPr>
                <p:cNvSpPr/>
                <p:nvPr/>
              </p:nvSpPr>
              <p:spPr>
                <a:xfrm>
                  <a:off x="9460931" y="3768934"/>
                  <a:ext cx="5841" cy="70090"/>
                </a:xfrm>
                <a:custGeom>
                  <a:avLst/>
                  <a:gdLst>
                    <a:gd name="connsiteX0" fmla="*/ 0 w 0"/>
                    <a:gd name="connsiteY0" fmla="*/ 70090 h 70089"/>
                    <a:gd name="connsiteX1" fmla="*/ 584 w 0"/>
                    <a:gd name="connsiteY1" fmla="*/ 0 h 70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70089">
                      <a:moveTo>
                        <a:pt x="0" y="70090"/>
                      </a:moveTo>
                      <a:lnTo>
                        <a:pt x="584" y="0"/>
                      </a:lnTo>
                    </a:path>
                  </a:pathLst>
                </a:custGeom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CD59DFC9-51EE-4A69-AA92-D21692912D8F}"/>
                  </a:ext>
                </a:extLst>
              </p:cNvPr>
              <p:cNvSpPr/>
              <p:nvPr/>
            </p:nvSpPr>
            <p:spPr>
              <a:xfrm>
                <a:off x="8764707" y="4304536"/>
                <a:ext cx="198587" cy="99294"/>
              </a:xfrm>
              <a:custGeom>
                <a:avLst/>
                <a:gdLst>
                  <a:gd name="connsiteX0" fmla="*/ 0 w 198587"/>
                  <a:gd name="connsiteY0" fmla="*/ 0 h 99293"/>
                  <a:gd name="connsiteX1" fmla="*/ 200340 w 198587"/>
                  <a:gd name="connsiteY1" fmla="*/ 100462 h 9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587" h="99293">
                    <a:moveTo>
                      <a:pt x="0" y="0"/>
                    </a:moveTo>
                    <a:lnTo>
                      <a:pt x="200340" y="100462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88" name="Graphic 6">
                <a:extLst>
                  <a:ext uri="{FF2B5EF4-FFF2-40B4-BE49-F238E27FC236}">
                    <a16:creationId xmlns:a16="http://schemas.microsoft.com/office/drawing/2014/main" id="{663369B7-82BB-482E-A3FD-260E734BB67C}"/>
                  </a:ext>
                </a:extLst>
              </p:cNvPr>
              <p:cNvGrpSpPr/>
              <p:nvPr/>
            </p:nvGrpSpPr>
            <p:grpSpPr>
              <a:xfrm>
                <a:off x="9118076" y="3709942"/>
                <a:ext cx="93453" cy="169383"/>
                <a:chOff x="9118076" y="3709942"/>
                <a:chExt cx="93453" cy="169383"/>
              </a:xfrm>
              <a:noFill/>
            </p:grpSpPr>
            <p:sp>
              <p:nvSpPr>
                <p:cNvPr id="131" name="Freeform: Shape 130">
                  <a:extLst>
                    <a:ext uri="{FF2B5EF4-FFF2-40B4-BE49-F238E27FC236}">
                      <a16:creationId xmlns:a16="http://schemas.microsoft.com/office/drawing/2014/main" id="{9B4AB8A5-0FA5-4ED4-BC0C-14B291BE4CFB}"/>
                    </a:ext>
                  </a:extLst>
                </p:cNvPr>
                <p:cNvSpPr/>
                <p:nvPr/>
              </p:nvSpPr>
              <p:spPr>
                <a:xfrm>
                  <a:off x="9118076" y="3820917"/>
                  <a:ext cx="29204" cy="58408"/>
                </a:xfrm>
                <a:custGeom>
                  <a:avLst/>
                  <a:gdLst>
                    <a:gd name="connsiteX0" fmla="*/ 0 w 29204"/>
                    <a:gd name="connsiteY0" fmla="*/ 61328 h 58408"/>
                    <a:gd name="connsiteX1" fmla="*/ 33877 w 29204"/>
                    <a:gd name="connsiteY1" fmla="*/ 0 h 58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204" h="58408">
                      <a:moveTo>
                        <a:pt x="0" y="61328"/>
                      </a:moveTo>
                      <a:cubicBezTo>
                        <a:pt x="12850" y="38549"/>
                        <a:pt x="23947" y="18107"/>
                        <a:pt x="33877" y="0"/>
                      </a:cubicBez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32" name="Freeform: Shape 131">
                  <a:extLst>
                    <a:ext uri="{FF2B5EF4-FFF2-40B4-BE49-F238E27FC236}">
                      <a16:creationId xmlns:a16="http://schemas.microsoft.com/office/drawing/2014/main" id="{EE470C40-55C7-4AA5-9EB5-CE0EA4160037}"/>
                    </a:ext>
                  </a:extLst>
                </p:cNvPr>
                <p:cNvSpPr/>
                <p:nvPr/>
              </p:nvSpPr>
              <p:spPr>
                <a:xfrm>
                  <a:off x="9178820" y="3709942"/>
                  <a:ext cx="29204" cy="58408"/>
                </a:xfrm>
                <a:custGeom>
                  <a:avLst/>
                  <a:gdLst>
                    <a:gd name="connsiteX0" fmla="*/ 0 w 29204"/>
                    <a:gd name="connsiteY0" fmla="*/ 61328 h 58408"/>
                    <a:gd name="connsiteX1" fmla="*/ 33877 w 29204"/>
                    <a:gd name="connsiteY1" fmla="*/ 0 h 58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204" h="58408">
                      <a:moveTo>
                        <a:pt x="0" y="61328"/>
                      </a:moveTo>
                      <a:cubicBezTo>
                        <a:pt x="23947" y="18107"/>
                        <a:pt x="33877" y="0"/>
                        <a:pt x="33877" y="0"/>
                      </a:cubicBez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5AA03382-7092-4D13-8277-72D6CA8E6DBE}"/>
                  </a:ext>
                </a:extLst>
              </p:cNvPr>
              <p:cNvSpPr/>
              <p:nvPr/>
            </p:nvSpPr>
            <p:spPr>
              <a:xfrm>
                <a:off x="8865098" y="3926052"/>
                <a:ext cx="227791" cy="426379"/>
              </a:xfrm>
              <a:custGeom>
                <a:avLst/>
                <a:gdLst>
                  <a:gd name="connsiteX0" fmla="*/ 72 w 227791"/>
                  <a:gd name="connsiteY0" fmla="*/ 428715 h 426378"/>
                  <a:gd name="connsiteX1" fmla="*/ 229031 w 227791"/>
                  <a:gd name="connsiteY1" fmla="*/ 0 h 426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7791" h="426378">
                    <a:moveTo>
                      <a:pt x="72" y="428715"/>
                    </a:moveTo>
                    <a:cubicBezTo>
                      <a:pt x="-3433" y="426963"/>
                      <a:pt x="122144" y="195667"/>
                      <a:pt x="229031" y="0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0E3B01A8-D615-4BBD-87BF-62E0401F8A89}"/>
                  </a:ext>
                </a:extLst>
              </p:cNvPr>
              <p:cNvSpPr/>
              <p:nvPr/>
            </p:nvSpPr>
            <p:spPr>
              <a:xfrm>
                <a:off x="9716758" y="3072126"/>
                <a:ext cx="181065" cy="496468"/>
              </a:xfrm>
              <a:custGeom>
                <a:avLst/>
                <a:gdLst>
                  <a:gd name="connsiteX0" fmla="*/ 0 w 181064"/>
                  <a:gd name="connsiteY0" fmla="*/ 0 h 496468"/>
                  <a:gd name="connsiteX1" fmla="*/ 161206 w 181064"/>
                  <a:gd name="connsiteY1" fmla="*/ 154781 h 496468"/>
                  <a:gd name="connsiteX2" fmla="*/ 175808 w 181064"/>
                  <a:gd name="connsiteY2" fmla="*/ 236553 h 496468"/>
                  <a:gd name="connsiteX3" fmla="*/ 49063 w 181064"/>
                  <a:gd name="connsiteY3" fmla="*/ 498805 h 49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1064" h="496468">
                    <a:moveTo>
                      <a:pt x="0" y="0"/>
                    </a:moveTo>
                    <a:lnTo>
                      <a:pt x="161206" y="154781"/>
                    </a:lnTo>
                    <a:cubicBezTo>
                      <a:pt x="182233" y="176392"/>
                      <a:pt x="188074" y="209101"/>
                      <a:pt x="175808" y="236553"/>
                    </a:cubicBezTo>
                    <a:cubicBezTo>
                      <a:pt x="85860" y="433388"/>
                      <a:pt x="56656" y="483034"/>
                      <a:pt x="49063" y="498805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91" name="Graphic 6">
                <a:extLst>
                  <a:ext uri="{FF2B5EF4-FFF2-40B4-BE49-F238E27FC236}">
                    <a16:creationId xmlns:a16="http://schemas.microsoft.com/office/drawing/2014/main" id="{142FA363-A97F-4E21-822B-BA20B0A01917}"/>
                  </a:ext>
                </a:extLst>
              </p:cNvPr>
              <p:cNvGrpSpPr/>
              <p:nvPr/>
            </p:nvGrpSpPr>
            <p:grpSpPr>
              <a:xfrm>
                <a:off x="9309907" y="2966123"/>
                <a:ext cx="105134" cy="151861"/>
                <a:chOff x="9309907" y="2966123"/>
                <a:chExt cx="105134" cy="151861"/>
              </a:xfrm>
              <a:noFill/>
            </p:grpSpPr>
            <p:grpSp>
              <p:nvGrpSpPr>
                <p:cNvPr id="126" name="Graphic 6">
                  <a:extLst>
                    <a:ext uri="{FF2B5EF4-FFF2-40B4-BE49-F238E27FC236}">
                      <a16:creationId xmlns:a16="http://schemas.microsoft.com/office/drawing/2014/main" id="{36781E94-B28E-4FD8-86A7-12219D8DC481}"/>
                    </a:ext>
                  </a:extLst>
                </p:cNvPr>
                <p:cNvGrpSpPr/>
                <p:nvPr/>
              </p:nvGrpSpPr>
              <p:grpSpPr>
                <a:xfrm>
                  <a:off x="9309907" y="2966123"/>
                  <a:ext cx="105134" cy="151861"/>
                  <a:chOff x="9309907" y="2966123"/>
                  <a:chExt cx="105134" cy="151861"/>
                </a:xfrm>
                <a:noFill/>
              </p:grpSpPr>
              <p:sp>
                <p:nvSpPr>
                  <p:cNvPr id="129" name="Freeform: Shape 128">
                    <a:extLst>
                      <a:ext uri="{FF2B5EF4-FFF2-40B4-BE49-F238E27FC236}">
                        <a16:creationId xmlns:a16="http://schemas.microsoft.com/office/drawing/2014/main" id="{C5349752-562E-42BD-B98A-5FD539956FE2}"/>
                      </a:ext>
                    </a:extLst>
                  </p:cNvPr>
                  <p:cNvSpPr/>
                  <p:nvPr/>
                </p:nvSpPr>
                <p:spPr>
                  <a:xfrm>
                    <a:off x="9309907" y="2989187"/>
                    <a:ext cx="70090" cy="116816"/>
                  </a:xfrm>
                  <a:custGeom>
                    <a:avLst/>
                    <a:gdLst>
                      <a:gd name="connsiteX0" fmla="*/ 75678 w 70089"/>
                      <a:gd name="connsiteY0" fmla="*/ 119152 h 116816"/>
                      <a:gd name="connsiteX1" fmla="*/ 3836 w 70089"/>
                      <a:gd name="connsiteY1" fmla="*/ 76515 h 116816"/>
                      <a:gd name="connsiteX2" fmla="*/ 37129 w 70089"/>
                      <a:gd name="connsiteY2" fmla="*/ 0 h 116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70089" h="116816">
                        <a:moveTo>
                          <a:pt x="75678" y="119152"/>
                        </a:moveTo>
                        <a:cubicBezTo>
                          <a:pt x="42970" y="129666"/>
                          <a:pt x="14350" y="109807"/>
                          <a:pt x="3836" y="76515"/>
                        </a:cubicBezTo>
                        <a:cubicBezTo>
                          <a:pt x="-6677" y="43222"/>
                          <a:pt x="4420" y="10513"/>
                          <a:pt x="37129" y="0"/>
                        </a:cubicBez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30" name="Freeform: Shape 129">
                    <a:extLst>
                      <a:ext uri="{FF2B5EF4-FFF2-40B4-BE49-F238E27FC236}">
                        <a16:creationId xmlns:a16="http://schemas.microsoft.com/office/drawing/2014/main" id="{BB0093F1-9B83-4111-809A-4FD4F3F3BAF9}"/>
                      </a:ext>
                    </a:extLst>
                  </p:cNvPr>
                  <p:cNvSpPr/>
                  <p:nvPr/>
                </p:nvSpPr>
                <p:spPr>
                  <a:xfrm>
                    <a:off x="9345582" y="2966123"/>
                    <a:ext cx="70090" cy="151861"/>
                  </a:xfrm>
                  <a:custGeom>
                    <a:avLst/>
                    <a:gdLst>
                      <a:gd name="connsiteX0" fmla="*/ 61030 w 70089"/>
                      <a:gd name="connsiteY0" fmla="*/ 153898 h 151860"/>
                      <a:gd name="connsiteX1" fmla="*/ 61030 w 70089"/>
                      <a:gd name="connsiteY1" fmla="*/ 153898 h 151860"/>
                      <a:gd name="connsiteX2" fmla="*/ 40587 w 70089"/>
                      <a:gd name="connsiteY2" fmla="*/ 143385 h 151860"/>
                      <a:gd name="connsiteX3" fmla="*/ 869 w 70089"/>
                      <a:gd name="connsiteY3" fmla="*/ 21312 h 151860"/>
                      <a:gd name="connsiteX4" fmla="*/ 11383 w 70089"/>
                      <a:gd name="connsiteY4" fmla="*/ 869 h 151860"/>
                      <a:gd name="connsiteX5" fmla="*/ 11383 w 70089"/>
                      <a:gd name="connsiteY5" fmla="*/ 869 h 151860"/>
                      <a:gd name="connsiteX6" fmla="*/ 31826 w 70089"/>
                      <a:gd name="connsiteY6" fmla="*/ 11383 h 151860"/>
                      <a:gd name="connsiteX7" fmla="*/ 71543 w 70089"/>
                      <a:gd name="connsiteY7" fmla="*/ 133455 h 151860"/>
                      <a:gd name="connsiteX8" fmla="*/ 61030 w 70089"/>
                      <a:gd name="connsiteY8" fmla="*/ 153898 h 1518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70089" h="151860">
                        <a:moveTo>
                          <a:pt x="61030" y="153898"/>
                        </a:moveTo>
                        <a:lnTo>
                          <a:pt x="61030" y="153898"/>
                        </a:lnTo>
                        <a:cubicBezTo>
                          <a:pt x="52268" y="156819"/>
                          <a:pt x="43507" y="152146"/>
                          <a:pt x="40587" y="143385"/>
                        </a:cubicBezTo>
                        <a:lnTo>
                          <a:pt x="869" y="21312"/>
                        </a:lnTo>
                        <a:cubicBezTo>
                          <a:pt x="-2051" y="12551"/>
                          <a:pt x="2622" y="3790"/>
                          <a:pt x="11383" y="869"/>
                        </a:cubicBezTo>
                        <a:lnTo>
                          <a:pt x="11383" y="869"/>
                        </a:lnTo>
                        <a:cubicBezTo>
                          <a:pt x="20144" y="-2051"/>
                          <a:pt x="28905" y="2621"/>
                          <a:pt x="31826" y="11383"/>
                        </a:cubicBezTo>
                        <a:lnTo>
                          <a:pt x="71543" y="133455"/>
                        </a:lnTo>
                        <a:cubicBezTo>
                          <a:pt x="73879" y="142217"/>
                          <a:pt x="69207" y="151562"/>
                          <a:pt x="61030" y="153898"/>
                        </a:cubicBezTo>
                        <a:close/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</p:grpSp>
            <p:sp>
              <p:nvSpPr>
                <p:cNvPr id="127" name="Freeform: Shape 126">
                  <a:extLst>
                    <a:ext uri="{FF2B5EF4-FFF2-40B4-BE49-F238E27FC236}">
                      <a16:creationId xmlns:a16="http://schemas.microsoft.com/office/drawing/2014/main" id="{5252AC4C-339F-4B7B-8FB2-AD4BA05D7B4A}"/>
                    </a:ext>
                  </a:extLst>
                </p:cNvPr>
                <p:cNvSpPr/>
                <p:nvPr/>
              </p:nvSpPr>
              <p:spPr>
                <a:xfrm>
                  <a:off x="9304397" y="2900991"/>
                  <a:ext cx="58408" cy="134338"/>
                </a:xfrm>
                <a:custGeom>
                  <a:avLst/>
                  <a:gdLst>
                    <a:gd name="connsiteX0" fmla="*/ 5257 w 58408"/>
                    <a:gd name="connsiteY0" fmla="*/ 139595 h 134338"/>
                    <a:gd name="connsiteX1" fmla="*/ 0 w 58408"/>
                    <a:gd name="connsiteY1" fmla="*/ 77099 h 134338"/>
                    <a:gd name="connsiteX2" fmla="*/ 52567 w 58408"/>
                    <a:gd name="connsiteY2" fmla="*/ 1752 h 134338"/>
                    <a:gd name="connsiteX3" fmla="*/ 61912 w 58408"/>
                    <a:gd name="connsiteY3" fmla="*/ 0 h 1343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8408" h="134338">
                      <a:moveTo>
                        <a:pt x="5257" y="139595"/>
                      </a:moveTo>
                      <a:lnTo>
                        <a:pt x="0" y="77099"/>
                      </a:lnTo>
                      <a:cubicBezTo>
                        <a:pt x="0" y="23363"/>
                        <a:pt x="21027" y="10513"/>
                        <a:pt x="52567" y="1752"/>
                      </a:cubicBezTo>
                      <a:lnTo>
                        <a:pt x="61912" y="0"/>
                      </a:ln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28" name="Freeform: Shape 127">
                  <a:extLst>
                    <a:ext uri="{FF2B5EF4-FFF2-40B4-BE49-F238E27FC236}">
                      <a16:creationId xmlns:a16="http://schemas.microsoft.com/office/drawing/2014/main" id="{DC496431-CCC0-49A6-8683-BD82CD055559}"/>
                    </a:ext>
                  </a:extLst>
                </p:cNvPr>
                <p:cNvSpPr/>
                <p:nvPr/>
              </p:nvSpPr>
              <p:spPr>
                <a:xfrm>
                  <a:off x="9306150" y="2929611"/>
                  <a:ext cx="52567" cy="70090"/>
                </a:xfrm>
                <a:custGeom>
                  <a:avLst/>
                  <a:gdLst>
                    <a:gd name="connsiteX0" fmla="*/ 0 w 52567"/>
                    <a:gd name="connsiteY0" fmla="*/ 73010 h 70089"/>
                    <a:gd name="connsiteX1" fmla="*/ 47310 w 52567"/>
                    <a:gd name="connsiteY1" fmla="*/ 2336 h 70089"/>
                    <a:gd name="connsiteX2" fmla="*/ 56655 w 52567"/>
                    <a:gd name="connsiteY2" fmla="*/ 0 h 70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2567" h="70089">
                      <a:moveTo>
                        <a:pt x="0" y="73010"/>
                      </a:moveTo>
                      <a:cubicBezTo>
                        <a:pt x="0" y="19275"/>
                        <a:pt x="16354" y="11098"/>
                        <a:pt x="47310" y="2336"/>
                      </a:cubicBezTo>
                      <a:lnTo>
                        <a:pt x="56655" y="0"/>
                      </a:ln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grpSp>
            <p:nvGrpSpPr>
              <p:cNvPr id="92" name="Graphic 6">
                <a:extLst>
                  <a:ext uri="{FF2B5EF4-FFF2-40B4-BE49-F238E27FC236}">
                    <a16:creationId xmlns:a16="http://schemas.microsoft.com/office/drawing/2014/main" id="{6746F6E4-F23D-4415-BF4F-2BB9F5F06B5E}"/>
                  </a:ext>
                </a:extLst>
              </p:cNvPr>
              <p:cNvGrpSpPr/>
              <p:nvPr/>
            </p:nvGrpSpPr>
            <p:grpSpPr>
              <a:xfrm>
                <a:off x="9497600" y="2951772"/>
                <a:ext cx="87612" cy="157702"/>
                <a:chOff x="9497600" y="2951772"/>
                <a:chExt cx="87612" cy="157702"/>
              </a:xfrm>
              <a:noFill/>
            </p:grpSpPr>
            <p:grpSp>
              <p:nvGrpSpPr>
                <p:cNvPr id="121" name="Graphic 6">
                  <a:extLst>
                    <a:ext uri="{FF2B5EF4-FFF2-40B4-BE49-F238E27FC236}">
                      <a16:creationId xmlns:a16="http://schemas.microsoft.com/office/drawing/2014/main" id="{42E8593A-F9FB-4039-B2B1-93F5FD3EFB11}"/>
                    </a:ext>
                  </a:extLst>
                </p:cNvPr>
                <p:cNvGrpSpPr/>
                <p:nvPr/>
              </p:nvGrpSpPr>
              <p:grpSpPr>
                <a:xfrm>
                  <a:off x="9497600" y="2951772"/>
                  <a:ext cx="87612" cy="157702"/>
                  <a:chOff x="9497600" y="2951772"/>
                  <a:chExt cx="87612" cy="157702"/>
                </a:xfrm>
                <a:noFill/>
              </p:grpSpPr>
              <p:sp>
                <p:nvSpPr>
                  <p:cNvPr id="124" name="Freeform: Shape 123">
                    <a:extLst>
                      <a:ext uri="{FF2B5EF4-FFF2-40B4-BE49-F238E27FC236}">
                        <a16:creationId xmlns:a16="http://schemas.microsoft.com/office/drawing/2014/main" id="{2AB35073-22B0-45E4-A7D0-F1BF6DC37B52}"/>
                      </a:ext>
                    </a:extLst>
                  </p:cNvPr>
                  <p:cNvSpPr/>
                  <p:nvPr/>
                </p:nvSpPr>
                <p:spPr>
                  <a:xfrm>
                    <a:off x="9529852" y="2970497"/>
                    <a:ext cx="58408" cy="122657"/>
                  </a:xfrm>
                  <a:custGeom>
                    <a:avLst/>
                    <a:gdLst>
                      <a:gd name="connsiteX0" fmla="*/ 0 w 58408"/>
                      <a:gd name="connsiteY0" fmla="*/ 124409 h 122656"/>
                      <a:gd name="connsiteX1" fmla="*/ 58408 w 58408"/>
                      <a:gd name="connsiteY1" fmla="*/ 64833 h 122656"/>
                      <a:gd name="connsiteX2" fmla="*/ 5841 w 58408"/>
                      <a:gd name="connsiteY2" fmla="*/ 0 h 122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8408" h="122656">
                        <a:moveTo>
                          <a:pt x="0" y="124409"/>
                        </a:moveTo>
                        <a:cubicBezTo>
                          <a:pt x="34461" y="126161"/>
                          <a:pt x="56656" y="99294"/>
                          <a:pt x="58408" y="64833"/>
                        </a:cubicBezTo>
                        <a:cubicBezTo>
                          <a:pt x="60161" y="30372"/>
                          <a:pt x="40302" y="1168"/>
                          <a:pt x="5841" y="0"/>
                        </a:cubicBez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25" name="Freeform: Shape 124">
                    <a:extLst>
                      <a:ext uri="{FF2B5EF4-FFF2-40B4-BE49-F238E27FC236}">
                        <a16:creationId xmlns:a16="http://schemas.microsoft.com/office/drawing/2014/main" id="{2255A692-154C-4B6A-A741-97EC68F1D84A}"/>
                      </a:ext>
                    </a:extLst>
                  </p:cNvPr>
                  <p:cNvSpPr/>
                  <p:nvPr/>
                </p:nvSpPr>
                <p:spPr>
                  <a:xfrm>
                    <a:off x="9497600" y="2951772"/>
                    <a:ext cx="35045" cy="157702"/>
                  </a:xfrm>
                  <a:custGeom>
                    <a:avLst/>
                    <a:gdLst>
                      <a:gd name="connsiteX0" fmla="*/ 15313 w 35044"/>
                      <a:gd name="connsiteY0" fmla="*/ 160072 h 157701"/>
                      <a:gd name="connsiteX1" fmla="*/ 15313 w 35044"/>
                      <a:gd name="connsiteY1" fmla="*/ 160072 h 157701"/>
                      <a:gd name="connsiteX2" fmla="*/ 32252 w 35044"/>
                      <a:gd name="connsiteY2" fmla="*/ 144886 h 157701"/>
                      <a:gd name="connsiteX3" fmla="*/ 38093 w 35044"/>
                      <a:gd name="connsiteY3" fmla="*/ 16972 h 157701"/>
                      <a:gd name="connsiteX4" fmla="*/ 22907 w 35044"/>
                      <a:gd name="connsiteY4" fmla="*/ 34 h 157701"/>
                      <a:gd name="connsiteX5" fmla="*/ 22907 w 35044"/>
                      <a:gd name="connsiteY5" fmla="*/ 34 h 157701"/>
                      <a:gd name="connsiteX6" fmla="*/ 5968 w 35044"/>
                      <a:gd name="connsiteY6" fmla="*/ 15220 h 157701"/>
                      <a:gd name="connsiteX7" fmla="*/ 127 w 35044"/>
                      <a:gd name="connsiteY7" fmla="*/ 143134 h 157701"/>
                      <a:gd name="connsiteX8" fmla="*/ 15313 w 35044"/>
                      <a:gd name="connsiteY8" fmla="*/ 160072 h 157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5044" h="157701">
                        <a:moveTo>
                          <a:pt x="15313" y="160072"/>
                        </a:moveTo>
                        <a:lnTo>
                          <a:pt x="15313" y="160072"/>
                        </a:lnTo>
                        <a:cubicBezTo>
                          <a:pt x="24074" y="160656"/>
                          <a:pt x="31668" y="153647"/>
                          <a:pt x="32252" y="144886"/>
                        </a:cubicBezTo>
                        <a:lnTo>
                          <a:pt x="38093" y="16972"/>
                        </a:lnTo>
                        <a:cubicBezTo>
                          <a:pt x="38676" y="8211"/>
                          <a:pt x="31668" y="618"/>
                          <a:pt x="22907" y="34"/>
                        </a:cubicBezTo>
                        <a:lnTo>
                          <a:pt x="22907" y="34"/>
                        </a:lnTo>
                        <a:cubicBezTo>
                          <a:pt x="14145" y="-550"/>
                          <a:pt x="6552" y="6459"/>
                          <a:pt x="5968" y="15220"/>
                        </a:cubicBezTo>
                        <a:lnTo>
                          <a:pt x="127" y="143134"/>
                        </a:lnTo>
                        <a:cubicBezTo>
                          <a:pt x="-1041" y="151895"/>
                          <a:pt x="5968" y="159488"/>
                          <a:pt x="15313" y="160072"/>
                        </a:cubicBezTo>
                        <a:close/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</p:grpSp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2EF54982-5F50-48B4-B4C2-C713275F1460}"/>
                    </a:ext>
                  </a:extLst>
                </p:cNvPr>
                <p:cNvSpPr/>
                <p:nvPr/>
              </p:nvSpPr>
              <p:spPr>
                <a:xfrm>
                  <a:off x="9500648" y="2891646"/>
                  <a:ext cx="81771" cy="116816"/>
                </a:xfrm>
                <a:custGeom>
                  <a:avLst/>
                  <a:gdLst>
                    <a:gd name="connsiteX0" fmla="*/ 0 w 81771"/>
                    <a:gd name="connsiteY0" fmla="*/ 0 h 116816"/>
                    <a:gd name="connsiteX1" fmla="*/ 73010 w 81771"/>
                    <a:gd name="connsiteY1" fmla="*/ 56656 h 116816"/>
                    <a:gd name="connsiteX2" fmla="*/ 84692 w 81771"/>
                    <a:gd name="connsiteY2" fmla="*/ 118568 h 116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1771" h="116816">
                      <a:moveTo>
                        <a:pt x="0" y="0"/>
                      </a:moveTo>
                      <a:cubicBezTo>
                        <a:pt x="32708" y="584"/>
                        <a:pt x="58992" y="4673"/>
                        <a:pt x="73010" y="56656"/>
                      </a:cubicBezTo>
                      <a:lnTo>
                        <a:pt x="84692" y="118568"/>
                      </a:ln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AD4F3AC2-8F16-4DF2-9E2B-304F36FDE808}"/>
                    </a:ext>
                  </a:extLst>
                </p:cNvPr>
                <p:cNvSpPr/>
                <p:nvPr/>
              </p:nvSpPr>
              <p:spPr>
                <a:xfrm>
                  <a:off x="9502985" y="2919097"/>
                  <a:ext cx="70090" cy="52567"/>
                </a:xfrm>
                <a:custGeom>
                  <a:avLst/>
                  <a:gdLst>
                    <a:gd name="connsiteX0" fmla="*/ 75346 w 70089"/>
                    <a:gd name="connsiteY0" fmla="*/ 53151 h 52567"/>
                    <a:gd name="connsiteX1" fmla="*/ 7009 w 70089"/>
                    <a:gd name="connsiteY1" fmla="*/ 0 h 52567"/>
                    <a:gd name="connsiteX2" fmla="*/ 0 w 70089"/>
                    <a:gd name="connsiteY2" fmla="*/ 0 h 52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0089" h="52567">
                      <a:moveTo>
                        <a:pt x="75346" y="53151"/>
                      </a:moveTo>
                      <a:cubicBezTo>
                        <a:pt x="61328" y="1168"/>
                        <a:pt x="39133" y="0"/>
                        <a:pt x="7009" y="0"/>
                      </a:cubicBezTo>
                      <a:lnTo>
                        <a:pt x="0" y="0"/>
                      </a:ln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ADEC0203-A890-4514-9D14-FA2627A1A252}"/>
                  </a:ext>
                </a:extLst>
              </p:cNvPr>
              <p:cNvSpPr/>
              <p:nvPr/>
            </p:nvSpPr>
            <p:spPr>
              <a:xfrm>
                <a:off x="9288039" y="2592597"/>
                <a:ext cx="17522" cy="99294"/>
              </a:xfrm>
              <a:custGeom>
                <a:avLst/>
                <a:gdLst>
                  <a:gd name="connsiteX0" fmla="*/ 18695 w 17522"/>
                  <a:gd name="connsiteY0" fmla="*/ 0 h 99293"/>
                  <a:gd name="connsiteX1" fmla="*/ 4093 w 17522"/>
                  <a:gd name="connsiteY1" fmla="*/ 102798 h 99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22" h="99293">
                    <a:moveTo>
                      <a:pt x="18695" y="0"/>
                    </a:moveTo>
                    <a:cubicBezTo>
                      <a:pt x="-11678" y="57824"/>
                      <a:pt x="4093" y="102798"/>
                      <a:pt x="4093" y="102798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162D983D-FAF0-4B17-B2B9-609523BCE5C2}"/>
                  </a:ext>
                </a:extLst>
              </p:cNvPr>
              <p:cNvSpPr/>
              <p:nvPr/>
            </p:nvSpPr>
            <p:spPr>
              <a:xfrm>
                <a:off x="9289571" y="2524936"/>
                <a:ext cx="105134" cy="64249"/>
              </a:xfrm>
              <a:custGeom>
                <a:avLst/>
                <a:gdLst>
                  <a:gd name="connsiteX0" fmla="*/ 107695 w 105134"/>
                  <a:gd name="connsiteY0" fmla="*/ 15677 h 64248"/>
                  <a:gd name="connsiteX1" fmla="*/ 10738 w 105134"/>
                  <a:gd name="connsiteY1" fmla="*/ 13925 h 64248"/>
                  <a:gd name="connsiteX2" fmla="*/ 16579 w 105134"/>
                  <a:gd name="connsiteY2" fmla="*/ 67661 h 64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5134" h="64248">
                    <a:moveTo>
                      <a:pt x="107695" y="15677"/>
                    </a:moveTo>
                    <a:cubicBezTo>
                      <a:pt x="95430" y="7500"/>
                      <a:pt x="38774" y="-14111"/>
                      <a:pt x="10738" y="13925"/>
                    </a:cubicBezTo>
                    <a:cubicBezTo>
                      <a:pt x="-9121" y="34368"/>
                      <a:pt x="1977" y="57147"/>
                      <a:pt x="16579" y="67661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953BCEDF-4335-4597-9E1B-F82DDD107F73}"/>
                  </a:ext>
                </a:extLst>
              </p:cNvPr>
              <p:cNvSpPr/>
              <p:nvPr/>
            </p:nvSpPr>
            <p:spPr>
              <a:xfrm>
                <a:off x="9358132" y="2491869"/>
                <a:ext cx="216110" cy="198587"/>
              </a:xfrm>
              <a:custGeom>
                <a:avLst/>
                <a:gdLst>
                  <a:gd name="connsiteX0" fmla="*/ 216110 w 216109"/>
                  <a:gd name="connsiteY0" fmla="*/ 203526 h 198587"/>
                  <a:gd name="connsiteX1" fmla="*/ 216110 w 216109"/>
                  <a:gd name="connsiteY1" fmla="*/ 178994 h 198587"/>
                  <a:gd name="connsiteX2" fmla="*/ 174056 w 216109"/>
                  <a:gd name="connsiteY2" fmla="*/ 66851 h 198587"/>
                  <a:gd name="connsiteX3" fmla="*/ 43806 w 216109"/>
                  <a:gd name="connsiteY3" fmla="*/ 3770 h 198587"/>
                  <a:gd name="connsiteX4" fmla="*/ 0 w 216109"/>
                  <a:gd name="connsiteY4" fmla="*/ 34142 h 198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6109" h="198587">
                    <a:moveTo>
                      <a:pt x="216110" y="203526"/>
                    </a:moveTo>
                    <a:lnTo>
                      <a:pt x="216110" y="178994"/>
                    </a:lnTo>
                    <a:cubicBezTo>
                      <a:pt x="216110" y="159136"/>
                      <a:pt x="241225" y="97807"/>
                      <a:pt x="174056" y="66851"/>
                    </a:cubicBezTo>
                    <a:cubicBezTo>
                      <a:pt x="167631" y="37063"/>
                      <a:pt x="98710" y="-14336"/>
                      <a:pt x="43806" y="3770"/>
                    </a:cubicBezTo>
                    <a:cubicBezTo>
                      <a:pt x="13434" y="14284"/>
                      <a:pt x="5257" y="24797"/>
                      <a:pt x="0" y="34142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8F70548B-DD4B-48EC-B47A-2E974DDA35ED}"/>
                  </a:ext>
                </a:extLst>
              </p:cNvPr>
              <p:cNvSpPr/>
              <p:nvPr/>
            </p:nvSpPr>
            <p:spPr>
              <a:xfrm>
                <a:off x="9533357" y="2656845"/>
                <a:ext cx="5841" cy="29204"/>
              </a:xfrm>
              <a:custGeom>
                <a:avLst/>
                <a:gdLst>
                  <a:gd name="connsiteX0" fmla="*/ 0 w 5840"/>
                  <a:gd name="connsiteY0" fmla="*/ 0 h 29204"/>
                  <a:gd name="connsiteX1" fmla="*/ 7593 w 5840"/>
                  <a:gd name="connsiteY1" fmla="*/ 31540 h 29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0" h="29204">
                    <a:moveTo>
                      <a:pt x="0" y="0"/>
                    </a:moveTo>
                    <a:lnTo>
                      <a:pt x="7593" y="3154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FE8F35C3-5E6D-4FE2-A2A7-C345785826D4}"/>
                  </a:ext>
                </a:extLst>
              </p:cNvPr>
              <p:cNvSpPr/>
              <p:nvPr/>
            </p:nvSpPr>
            <p:spPr>
              <a:xfrm>
                <a:off x="9340026" y="2588508"/>
                <a:ext cx="186906" cy="35045"/>
              </a:xfrm>
              <a:custGeom>
                <a:avLst/>
                <a:gdLst>
                  <a:gd name="connsiteX0" fmla="*/ 0 w 186905"/>
                  <a:gd name="connsiteY0" fmla="*/ 25700 h 35044"/>
                  <a:gd name="connsiteX1" fmla="*/ 92869 w 186905"/>
                  <a:gd name="connsiteY1" fmla="*/ 38549 h 35044"/>
                  <a:gd name="connsiteX2" fmla="*/ 186906 w 186905"/>
                  <a:gd name="connsiteY2" fmla="*/ 0 h 35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905" h="35044">
                    <a:moveTo>
                      <a:pt x="0" y="25700"/>
                    </a:moveTo>
                    <a:cubicBezTo>
                      <a:pt x="16938" y="33877"/>
                      <a:pt x="46142" y="42054"/>
                      <a:pt x="92869" y="38549"/>
                    </a:cubicBezTo>
                    <a:cubicBezTo>
                      <a:pt x="117985" y="36797"/>
                      <a:pt x="175224" y="31540"/>
                      <a:pt x="186906" y="0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EB462BBC-3196-4E99-90CF-EBAE63C5C7D3}"/>
                  </a:ext>
                </a:extLst>
              </p:cNvPr>
              <p:cNvSpPr/>
              <p:nvPr/>
            </p:nvSpPr>
            <p:spPr>
              <a:xfrm>
                <a:off x="9309070" y="2641075"/>
                <a:ext cx="23363" cy="58408"/>
              </a:xfrm>
              <a:custGeom>
                <a:avLst/>
                <a:gdLst>
                  <a:gd name="connsiteX0" fmla="*/ 0 w 23363"/>
                  <a:gd name="connsiteY0" fmla="*/ 60160 h 58408"/>
                  <a:gd name="connsiteX1" fmla="*/ 23947 w 23363"/>
                  <a:gd name="connsiteY1" fmla="*/ 0 h 58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363" h="58408">
                    <a:moveTo>
                      <a:pt x="0" y="60160"/>
                    </a:moveTo>
                    <a:cubicBezTo>
                      <a:pt x="584" y="59576"/>
                      <a:pt x="14602" y="23947"/>
                      <a:pt x="23947" y="0"/>
                    </a:cubicBezTo>
                  </a:path>
                </a:pathLst>
              </a:custGeom>
              <a:noFill/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grpSp>
            <p:nvGrpSpPr>
              <p:cNvPr id="99" name="Graphic 6">
                <a:extLst>
                  <a:ext uri="{FF2B5EF4-FFF2-40B4-BE49-F238E27FC236}">
                    <a16:creationId xmlns:a16="http://schemas.microsoft.com/office/drawing/2014/main" id="{6DAC6AFD-EE01-45E3-AADF-3D1A220DF93E}"/>
                  </a:ext>
                </a:extLst>
              </p:cNvPr>
              <p:cNvGrpSpPr/>
              <p:nvPr/>
            </p:nvGrpSpPr>
            <p:grpSpPr>
              <a:xfrm>
                <a:off x="9666527" y="3690667"/>
                <a:ext cx="81771" cy="87612"/>
                <a:chOff x="9666527" y="3690667"/>
                <a:chExt cx="81771" cy="87612"/>
              </a:xfrm>
              <a:noFill/>
            </p:grpSpPr>
            <p:grpSp>
              <p:nvGrpSpPr>
                <p:cNvPr id="116" name="Graphic 6">
                  <a:extLst>
                    <a:ext uri="{FF2B5EF4-FFF2-40B4-BE49-F238E27FC236}">
                      <a16:creationId xmlns:a16="http://schemas.microsoft.com/office/drawing/2014/main" id="{66AC0EAA-19D5-4333-B47F-B34CA2683109}"/>
                    </a:ext>
                  </a:extLst>
                </p:cNvPr>
                <p:cNvGrpSpPr/>
                <p:nvPr/>
              </p:nvGrpSpPr>
              <p:grpSpPr>
                <a:xfrm>
                  <a:off x="9666527" y="3690667"/>
                  <a:ext cx="81771" cy="87612"/>
                  <a:chOff x="9666527" y="3690667"/>
                  <a:chExt cx="81771" cy="87612"/>
                </a:xfrm>
                <a:noFill/>
              </p:grpSpPr>
              <p:sp>
                <p:nvSpPr>
                  <p:cNvPr id="119" name="Freeform: Shape 118">
                    <a:extLst>
                      <a:ext uri="{FF2B5EF4-FFF2-40B4-BE49-F238E27FC236}">
                        <a16:creationId xmlns:a16="http://schemas.microsoft.com/office/drawing/2014/main" id="{B2944F63-FC25-4491-BD79-1584EBC3FEEB}"/>
                      </a:ext>
                    </a:extLst>
                  </p:cNvPr>
                  <p:cNvSpPr/>
                  <p:nvPr/>
                </p:nvSpPr>
                <p:spPr>
                  <a:xfrm>
                    <a:off x="9666527" y="3753748"/>
                    <a:ext cx="52567" cy="29204"/>
                  </a:xfrm>
                  <a:custGeom>
                    <a:avLst/>
                    <a:gdLst>
                      <a:gd name="connsiteX0" fmla="*/ 50815 w 52567"/>
                      <a:gd name="connsiteY0" fmla="*/ 0 h 29204"/>
                      <a:gd name="connsiteX1" fmla="*/ 53735 w 52567"/>
                      <a:gd name="connsiteY1" fmla="*/ 23363 h 29204"/>
                      <a:gd name="connsiteX2" fmla="*/ 51983 w 52567"/>
                      <a:gd name="connsiteY2" fmla="*/ 25699 h 29204"/>
                      <a:gd name="connsiteX3" fmla="*/ 30372 w 52567"/>
                      <a:gd name="connsiteY3" fmla="*/ 26868 h 29204"/>
                      <a:gd name="connsiteX4" fmla="*/ 25700 w 52567"/>
                      <a:gd name="connsiteY4" fmla="*/ 23363 h 29204"/>
                      <a:gd name="connsiteX5" fmla="*/ 0 w 52567"/>
                      <a:gd name="connsiteY5" fmla="*/ 1752 h 292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2567" h="29204">
                        <a:moveTo>
                          <a:pt x="50815" y="0"/>
                        </a:moveTo>
                        <a:cubicBezTo>
                          <a:pt x="58408" y="5841"/>
                          <a:pt x="58992" y="16354"/>
                          <a:pt x="53735" y="23363"/>
                        </a:cubicBezTo>
                        <a:cubicBezTo>
                          <a:pt x="53151" y="23947"/>
                          <a:pt x="52567" y="25115"/>
                          <a:pt x="51983" y="25699"/>
                        </a:cubicBezTo>
                        <a:cubicBezTo>
                          <a:pt x="46142" y="30956"/>
                          <a:pt x="37381" y="31540"/>
                          <a:pt x="30372" y="26868"/>
                        </a:cubicBezTo>
                        <a:cubicBezTo>
                          <a:pt x="29788" y="26868"/>
                          <a:pt x="28620" y="25115"/>
                          <a:pt x="25700" y="23363"/>
                        </a:cubicBezTo>
                        <a:cubicBezTo>
                          <a:pt x="25700" y="23363"/>
                          <a:pt x="14602" y="15186"/>
                          <a:pt x="0" y="1752"/>
                        </a:cubicBez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20" name="Freeform: Shape 119">
                    <a:extLst>
                      <a:ext uri="{FF2B5EF4-FFF2-40B4-BE49-F238E27FC236}">
                        <a16:creationId xmlns:a16="http://schemas.microsoft.com/office/drawing/2014/main" id="{E97C7ADE-39E2-4B5A-ABFA-F2DAAD6A26D1}"/>
                      </a:ext>
                    </a:extLst>
                  </p:cNvPr>
                  <p:cNvSpPr/>
                  <p:nvPr/>
                </p:nvSpPr>
                <p:spPr>
                  <a:xfrm>
                    <a:off x="9686970" y="3690667"/>
                    <a:ext cx="58408" cy="70090"/>
                  </a:xfrm>
                  <a:custGeom>
                    <a:avLst/>
                    <a:gdLst>
                      <a:gd name="connsiteX0" fmla="*/ 33292 w 58408"/>
                      <a:gd name="connsiteY0" fmla="*/ 0 h 70089"/>
                      <a:gd name="connsiteX1" fmla="*/ 37381 w 58408"/>
                      <a:gd name="connsiteY1" fmla="*/ 22779 h 70089"/>
                      <a:gd name="connsiteX2" fmla="*/ 41470 w 58408"/>
                      <a:gd name="connsiteY2" fmla="*/ 29204 h 70089"/>
                      <a:gd name="connsiteX3" fmla="*/ 55488 w 58408"/>
                      <a:gd name="connsiteY3" fmla="*/ 41470 h 70089"/>
                      <a:gd name="connsiteX4" fmla="*/ 57824 w 58408"/>
                      <a:gd name="connsiteY4" fmla="*/ 64833 h 70089"/>
                      <a:gd name="connsiteX5" fmla="*/ 50231 w 58408"/>
                      <a:gd name="connsiteY5" fmla="*/ 70090 h 70089"/>
                      <a:gd name="connsiteX6" fmla="*/ 34461 w 58408"/>
                      <a:gd name="connsiteY6" fmla="*/ 67169 h 70089"/>
                      <a:gd name="connsiteX7" fmla="*/ 9345 w 58408"/>
                      <a:gd name="connsiteY7" fmla="*/ 43222 h 70089"/>
                      <a:gd name="connsiteX8" fmla="*/ 5257 w 58408"/>
                      <a:gd name="connsiteY8" fmla="*/ 36213 h 70089"/>
                      <a:gd name="connsiteX9" fmla="*/ 0 w 58408"/>
                      <a:gd name="connsiteY9" fmla="*/ 2920 h 700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58408" h="70089">
                        <a:moveTo>
                          <a:pt x="33292" y="0"/>
                        </a:moveTo>
                        <a:cubicBezTo>
                          <a:pt x="33877" y="8761"/>
                          <a:pt x="35629" y="15186"/>
                          <a:pt x="37381" y="22779"/>
                        </a:cubicBezTo>
                        <a:cubicBezTo>
                          <a:pt x="37965" y="25115"/>
                          <a:pt x="39133" y="27452"/>
                          <a:pt x="41470" y="29204"/>
                        </a:cubicBezTo>
                        <a:cubicBezTo>
                          <a:pt x="49647" y="35629"/>
                          <a:pt x="55488" y="41470"/>
                          <a:pt x="55488" y="41470"/>
                        </a:cubicBezTo>
                        <a:cubicBezTo>
                          <a:pt x="61912" y="48479"/>
                          <a:pt x="63665" y="57824"/>
                          <a:pt x="57824" y="64833"/>
                        </a:cubicBezTo>
                        <a:cubicBezTo>
                          <a:pt x="55488" y="67169"/>
                          <a:pt x="53151" y="69506"/>
                          <a:pt x="50231" y="70090"/>
                        </a:cubicBezTo>
                        <a:cubicBezTo>
                          <a:pt x="44974" y="71842"/>
                          <a:pt x="39133" y="71258"/>
                          <a:pt x="34461" y="67169"/>
                        </a:cubicBezTo>
                        <a:cubicBezTo>
                          <a:pt x="33877" y="66585"/>
                          <a:pt x="22779" y="57824"/>
                          <a:pt x="9345" y="43222"/>
                        </a:cubicBezTo>
                        <a:cubicBezTo>
                          <a:pt x="7593" y="41470"/>
                          <a:pt x="6425" y="38549"/>
                          <a:pt x="5257" y="36213"/>
                        </a:cubicBezTo>
                        <a:cubicBezTo>
                          <a:pt x="2920" y="25699"/>
                          <a:pt x="584" y="14602"/>
                          <a:pt x="0" y="2920"/>
                        </a:cubicBez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</p:grp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F6EBD251-DF89-46CD-A99C-154B170D1D42}"/>
                    </a:ext>
                  </a:extLst>
                </p:cNvPr>
                <p:cNvSpPr/>
                <p:nvPr/>
              </p:nvSpPr>
              <p:spPr>
                <a:xfrm>
                  <a:off x="9720262" y="3570931"/>
                  <a:ext cx="40886" cy="116816"/>
                </a:xfrm>
                <a:custGeom>
                  <a:avLst/>
                  <a:gdLst>
                    <a:gd name="connsiteX0" fmla="*/ 0 w 40885"/>
                    <a:gd name="connsiteY0" fmla="*/ 119736 h 116816"/>
                    <a:gd name="connsiteX1" fmla="*/ 38550 w 40885"/>
                    <a:gd name="connsiteY1" fmla="*/ 44390 h 116816"/>
                    <a:gd name="connsiteX2" fmla="*/ 44975 w 40885"/>
                    <a:gd name="connsiteY2" fmla="*/ 0 h 116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0885" h="116816">
                      <a:moveTo>
                        <a:pt x="0" y="119736"/>
                      </a:moveTo>
                      <a:cubicBezTo>
                        <a:pt x="0" y="119736"/>
                        <a:pt x="43222" y="102214"/>
                        <a:pt x="38550" y="44390"/>
                      </a:cubicBezTo>
                      <a:cubicBezTo>
                        <a:pt x="37381" y="26284"/>
                        <a:pt x="44975" y="0"/>
                        <a:pt x="44975" y="0"/>
                      </a:cubicBez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89E5279C-C1D6-4393-AA2B-EA74DD4EC147}"/>
                    </a:ext>
                  </a:extLst>
                </p:cNvPr>
                <p:cNvSpPr/>
                <p:nvPr/>
              </p:nvSpPr>
              <p:spPr>
                <a:xfrm>
                  <a:off x="9614380" y="3248519"/>
                  <a:ext cx="122657" cy="554876"/>
                </a:xfrm>
                <a:custGeom>
                  <a:avLst/>
                  <a:gdLst>
                    <a:gd name="connsiteX0" fmla="*/ 42802 w 122656"/>
                    <a:gd name="connsiteY0" fmla="*/ 460255 h 554876"/>
                    <a:gd name="connsiteX1" fmla="*/ 59155 w 122656"/>
                    <a:gd name="connsiteY1" fmla="*/ 533265 h 554876"/>
                    <a:gd name="connsiteX2" fmla="*/ 50979 w 122656"/>
                    <a:gd name="connsiteY2" fmla="*/ 555460 h 554876"/>
                    <a:gd name="connsiteX3" fmla="*/ 49810 w 122656"/>
                    <a:gd name="connsiteY3" fmla="*/ 556044 h 554876"/>
                    <a:gd name="connsiteX4" fmla="*/ 28784 w 122656"/>
                    <a:gd name="connsiteY4" fmla="*/ 547283 h 554876"/>
                    <a:gd name="connsiteX5" fmla="*/ 164 w 122656"/>
                    <a:gd name="connsiteY5" fmla="*/ 438060 h 554876"/>
                    <a:gd name="connsiteX6" fmla="*/ 747 w 122656"/>
                    <a:gd name="connsiteY6" fmla="*/ 430467 h 554876"/>
                    <a:gd name="connsiteX7" fmla="*/ 44553 w 122656"/>
                    <a:gd name="connsiteY7" fmla="*/ 293792 h 554876"/>
                    <a:gd name="connsiteX8" fmla="*/ 123989 w 122656"/>
                    <a:gd name="connsiteY8" fmla="*/ 45558 h 554876"/>
                    <a:gd name="connsiteX9" fmla="*/ 78430 w 122656"/>
                    <a:gd name="connsiteY9" fmla="*/ 0 h 554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22656" h="554876">
                      <a:moveTo>
                        <a:pt x="42802" y="460255"/>
                      </a:moveTo>
                      <a:cubicBezTo>
                        <a:pt x="48059" y="497052"/>
                        <a:pt x="58572" y="532681"/>
                        <a:pt x="59155" y="533265"/>
                      </a:cubicBezTo>
                      <a:cubicBezTo>
                        <a:pt x="63244" y="541442"/>
                        <a:pt x="59155" y="551372"/>
                        <a:pt x="50979" y="555460"/>
                      </a:cubicBezTo>
                      <a:cubicBezTo>
                        <a:pt x="50394" y="555460"/>
                        <a:pt x="50394" y="555460"/>
                        <a:pt x="49810" y="556044"/>
                      </a:cubicBezTo>
                      <a:cubicBezTo>
                        <a:pt x="41633" y="559549"/>
                        <a:pt x="32288" y="555460"/>
                        <a:pt x="28784" y="547283"/>
                      </a:cubicBezTo>
                      <a:cubicBezTo>
                        <a:pt x="27616" y="544947"/>
                        <a:pt x="7757" y="489459"/>
                        <a:pt x="164" y="438060"/>
                      </a:cubicBezTo>
                      <a:cubicBezTo>
                        <a:pt x="-420" y="435724"/>
                        <a:pt x="747" y="430467"/>
                        <a:pt x="747" y="430467"/>
                      </a:cubicBezTo>
                      <a:lnTo>
                        <a:pt x="44553" y="293792"/>
                      </a:lnTo>
                      <a:cubicBezTo>
                        <a:pt x="44553" y="293792"/>
                        <a:pt x="91865" y="115064"/>
                        <a:pt x="123989" y="45558"/>
                      </a:cubicBezTo>
                      <a:lnTo>
                        <a:pt x="78430" y="0"/>
                      </a:ln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grpSp>
            <p:nvGrpSpPr>
              <p:cNvPr id="100" name="Graphic 6">
                <a:extLst>
                  <a:ext uri="{FF2B5EF4-FFF2-40B4-BE49-F238E27FC236}">
                    <a16:creationId xmlns:a16="http://schemas.microsoft.com/office/drawing/2014/main" id="{63C7B046-6A89-4E6B-A9AA-AF4FC62F420E}"/>
                  </a:ext>
                </a:extLst>
              </p:cNvPr>
              <p:cNvGrpSpPr/>
              <p:nvPr/>
            </p:nvGrpSpPr>
            <p:grpSpPr>
              <a:xfrm>
                <a:off x="8720317" y="3089065"/>
                <a:ext cx="560717" cy="332926"/>
                <a:chOff x="8720317" y="3089065"/>
                <a:chExt cx="560717" cy="332926"/>
              </a:xfrm>
              <a:noFill/>
            </p:grpSpPr>
            <p:grpSp>
              <p:nvGrpSpPr>
                <p:cNvPr id="107" name="Graphic 6">
                  <a:extLst>
                    <a:ext uri="{FF2B5EF4-FFF2-40B4-BE49-F238E27FC236}">
                      <a16:creationId xmlns:a16="http://schemas.microsoft.com/office/drawing/2014/main" id="{DD8D38EF-C1DA-44D0-B113-FEFE57A7B9A3}"/>
                    </a:ext>
                  </a:extLst>
                </p:cNvPr>
                <p:cNvGrpSpPr/>
                <p:nvPr/>
              </p:nvGrpSpPr>
              <p:grpSpPr>
                <a:xfrm>
                  <a:off x="8720317" y="3089065"/>
                  <a:ext cx="560717" cy="332926"/>
                  <a:chOff x="8720317" y="3089065"/>
                  <a:chExt cx="560717" cy="332926"/>
                </a:xfrm>
                <a:noFill/>
              </p:grpSpPr>
              <p:sp>
                <p:nvSpPr>
                  <p:cNvPr id="113" name="Freeform: Shape 112">
                    <a:extLst>
                      <a:ext uri="{FF2B5EF4-FFF2-40B4-BE49-F238E27FC236}">
                        <a16:creationId xmlns:a16="http://schemas.microsoft.com/office/drawing/2014/main" id="{C41451C4-646B-44F8-9A78-29D981BAE3E8}"/>
                      </a:ext>
                    </a:extLst>
                  </p:cNvPr>
                  <p:cNvSpPr/>
                  <p:nvPr/>
                </p:nvSpPr>
                <p:spPr>
                  <a:xfrm>
                    <a:off x="8818443" y="3089065"/>
                    <a:ext cx="467264" cy="292040"/>
                  </a:xfrm>
                  <a:custGeom>
                    <a:avLst/>
                    <a:gdLst>
                      <a:gd name="connsiteX0" fmla="*/ 0 w 467264"/>
                      <a:gd name="connsiteY0" fmla="*/ 296713 h 292040"/>
                      <a:gd name="connsiteX1" fmla="*/ 0 w 467264"/>
                      <a:gd name="connsiteY1" fmla="*/ 38549 h 292040"/>
                      <a:gd name="connsiteX2" fmla="*/ 38549 w 467264"/>
                      <a:gd name="connsiteY2" fmla="*/ 0 h 292040"/>
                      <a:gd name="connsiteX3" fmla="*/ 428714 w 467264"/>
                      <a:gd name="connsiteY3" fmla="*/ 0 h 292040"/>
                      <a:gd name="connsiteX4" fmla="*/ 467264 w 467264"/>
                      <a:gd name="connsiteY4" fmla="*/ 38549 h 292040"/>
                      <a:gd name="connsiteX5" fmla="*/ 467264 w 467264"/>
                      <a:gd name="connsiteY5" fmla="*/ 296713 h 2920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67264" h="292040">
                        <a:moveTo>
                          <a:pt x="0" y="296713"/>
                        </a:moveTo>
                        <a:lnTo>
                          <a:pt x="0" y="38549"/>
                        </a:lnTo>
                        <a:cubicBezTo>
                          <a:pt x="0" y="17522"/>
                          <a:pt x="16938" y="0"/>
                          <a:pt x="38549" y="0"/>
                        </a:cubicBezTo>
                        <a:lnTo>
                          <a:pt x="428714" y="0"/>
                        </a:lnTo>
                        <a:cubicBezTo>
                          <a:pt x="449742" y="0"/>
                          <a:pt x="467264" y="16938"/>
                          <a:pt x="467264" y="38549"/>
                        </a:cubicBezTo>
                        <a:lnTo>
                          <a:pt x="467264" y="296713"/>
                        </a:ln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14" name="Freeform: Shape 113">
                    <a:extLst>
                      <a:ext uri="{FF2B5EF4-FFF2-40B4-BE49-F238E27FC236}">
                        <a16:creationId xmlns:a16="http://schemas.microsoft.com/office/drawing/2014/main" id="{8F8C3BC5-2327-40E8-8193-8EEED53B080A}"/>
                      </a:ext>
                    </a:extLst>
                  </p:cNvPr>
                  <p:cNvSpPr/>
                  <p:nvPr/>
                </p:nvSpPr>
                <p:spPr>
                  <a:xfrm>
                    <a:off x="8993082" y="3385778"/>
                    <a:ext cx="292040" cy="35045"/>
                  </a:xfrm>
                  <a:custGeom>
                    <a:avLst/>
                    <a:gdLst>
                      <a:gd name="connsiteX0" fmla="*/ 0 w 292040"/>
                      <a:gd name="connsiteY0" fmla="*/ 36797 h 35044"/>
                      <a:gd name="connsiteX1" fmla="*/ 255827 w 292040"/>
                      <a:gd name="connsiteY1" fmla="*/ 36797 h 35044"/>
                      <a:gd name="connsiteX2" fmla="*/ 292625 w 292040"/>
                      <a:gd name="connsiteY2" fmla="*/ 0 h 35044"/>
                      <a:gd name="connsiteX3" fmla="*/ 292625 w 292040"/>
                      <a:gd name="connsiteY3" fmla="*/ 0 h 35044"/>
                      <a:gd name="connsiteX4" fmla="*/ 21027 w 292040"/>
                      <a:gd name="connsiteY4" fmla="*/ 0 h 35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2040" h="35044">
                        <a:moveTo>
                          <a:pt x="0" y="36797"/>
                        </a:moveTo>
                        <a:lnTo>
                          <a:pt x="255827" y="36797"/>
                        </a:lnTo>
                        <a:cubicBezTo>
                          <a:pt x="276270" y="36797"/>
                          <a:pt x="292625" y="20443"/>
                          <a:pt x="292625" y="0"/>
                        </a:cubicBezTo>
                        <a:lnTo>
                          <a:pt x="292625" y="0"/>
                        </a:lnTo>
                        <a:lnTo>
                          <a:pt x="21027" y="0"/>
                        </a:ln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15" name="Freeform: Shape 114">
                    <a:extLst>
                      <a:ext uri="{FF2B5EF4-FFF2-40B4-BE49-F238E27FC236}">
                        <a16:creationId xmlns:a16="http://schemas.microsoft.com/office/drawing/2014/main" id="{A55929DF-4D8C-4E71-90A8-9FB04BA74830}"/>
                      </a:ext>
                    </a:extLst>
                  </p:cNvPr>
                  <p:cNvSpPr/>
                  <p:nvPr/>
                </p:nvSpPr>
                <p:spPr>
                  <a:xfrm>
                    <a:off x="8720317" y="3385778"/>
                    <a:ext cx="151861" cy="35045"/>
                  </a:xfrm>
                  <a:custGeom>
                    <a:avLst/>
                    <a:gdLst>
                      <a:gd name="connsiteX0" fmla="*/ 146604 w 151860"/>
                      <a:gd name="connsiteY0" fmla="*/ 0 h 35044"/>
                      <a:gd name="connsiteX1" fmla="*/ 0 w 151860"/>
                      <a:gd name="connsiteY1" fmla="*/ 0 h 35044"/>
                      <a:gd name="connsiteX2" fmla="*/ 0 w 151860"/>
                      <a:gd name="connsiteY2" fmla="*/ 0 h 35044"/>
                      <a:gd name="connsiteX3" fmla="*/ 36797 w 151860"/>
                      <a:gd name="connsiteY3" fmla="*/ 36797 h 35044"/>
                      <a:gd name="connsiteX4" fmla="*/ 154781 w 151860"/>
                      <a:gd name="connsiteY4" fmla="*/ 36797 h 350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1860" h="35044">
                        <a:moveTo>
                          <a:pt x="146604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ubicBezTo>
                          <a:pt x="0" y="20443"/>
                          <a:pt x="16355" y="36797"/>
                          <a:pt x="36797" y="36797"/>
                        </a:cubicBezTo>
                        <a:lnTo>
                          <a:pt x="154781" y="36797"/>
                        </a:ln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</p:grpSp>
            <p:grpSp>
              <p:nvGrpSpPr>
                <p:cNvPr id="108" name="Graphic 6">
                  <a:extLst>
                    <a:ext uri="{FF2B5EF4-FFF2-40B4-BE49-F238E27FC236}">
                      <a16:creationId xmlns:a16="http://schemas.microsoft.com/office/drawing/2014/main" id="{4E5A83B5-EE2A-44B7-9C3E-1189FE1954BD}"/>
                    </a:ext>
                  </a:extLst>
                </p:cNvPr>
                <p:cNvGrpSpPr/>
                <p:nvPr/>
              </p:nvGrpSpPr>
              <p:grpSpPr>
                <a:xfrm>
                  <a:off x="8958622" y="3197704"/>
                  <a:ext cx="175224" cy="128498"/>
                  <a:chOff x="8958622" y="3197704"/>
                  <a:chExt cx="175224" cy="128498"/>
                </a:xfrm>
                <a:noFill/>
              </p:grpSpPr>
              <p:sp>
                <p:nvSpPr>
                  <p:cNvPr id="110" name="Freeform: Shape 109">
                    <a:extLst>
                      <a:ext uri="{FF2B5EF4-FFF2-40B4-BE49-F238E27FC236}">
                        <a16:creationId xmlns:a16="http://schemas.microsoft.com/office/drawing/2014/main" id="{E94E4D05-B191-46CB-955D-EA0844CF598D}"/>
                      </a:ext>
                    </a:extLst>
                  </p:cNvPr>
                  <p:cNvSpPr/>
                  <p:nvPr/>
                </p:nvSpPr>
                <p:spPr>
                  <a:xfrm>
                    <a:off x="8958622" y="3215226"/>
                    <a:ext cx="40886" cy="87612"/>
                  </a:xfrm>
                  <a:custGeom>
                    <a:avLst/>
                    <a:gdLst>
                      <a:gd name="connsiteX0" fmla="*/ 46142 w 40885"/>
                      <a:gd name="connsiteY0" fmla="*/ 91117 h 87612"/>
                      <a:gd name="connsiteX1" fmla="*/ 0 w 40885"/>
                      <a:gd name="connsiteY1" fmla="*/ 45558 h 87612"/>
                      <a:gd name="connsiteX2" fmla="*/ 46142 w 40885"/>
                      <a:gd name="connsiteY2" fmla="*/ 0 h 87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0885" h="87612">
                        <a:moveTo>
                          <a:pt x="46142" y="91117"/>
                        </a:moveTo>
                        <a:lnTo>
                          <a:pt x="0" y="45558"/>
                        </a:lnTo>
                        <a:lnTo>
                          <a:pt x="46142" y="0"/>
                        </a:ln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11" name="Freeform: Shape 110">
                    <a:extLst>
                      <a:ext uri="{FF2B5EF4-FFF2-40B4-BE49-F238E27FC236}">
                        <a16:creationId xmlns:a16="http://schemas.microsoft.com/office/drawing/2014/main" id="{67552FCC-446B-42B5-B3DF-7AF8ED8B7458}"/>
                      </a:ext>
                    </a:extLst>
                  </p:cNvPr>
                  <p:cNvSpPr/>
                  <p:nvPr/>
                </p:nvSpPr>
                <p:spPr>
                  <a:xfrm>
                    <a:off x="9089456" y="3215226"/>
                    <a:ext cx="40886" cy="87612"/>
                  </a:xfrm>
                  <a:custGeom>
                    <a:avLst/>
                    <a:gdLst>
                      <a:gd name="connsiteX0" fmla="*/ 0 w 40885"/>
                      <a:gd name="connsiteY0" fmla="*/ 91117 h 87612"/>
                      <a:gd name="connsiteX1" fmla="*/ 45559 w 40885"/>
                      <a:gd name="connsiteY1" fmla="*/ 45558 h 87612"/>
                      <a:gd name="connsiteX2" fmla="*/ 0 w 40885"/>
                      <a:gd name="connsiteY2" fmla="*/ 0 h 87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0885" h="87612">
                        <a:moveTo>
                          <a:pt x="0" y="91117"/>
                        </a:moveTo>
                        <a:lnTo>
                          <a:pt x="45559" y="45558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  <p:sp>
                <p:nvSpPr>
                  <p:cNvPr id="112" name="Freeform: Shape 111">
                    <a:extLst>
                      <a:ext uri="{FF2B5EF4-FFF2-40B4-BE49-F238E27FC236}">
                        <a16:creationId xmlns:a16="http://schemas.microsoft.com/office/drawing/2014/main" id="{7F2E93F7-57D7-4F69-A525-9B02645073C6}"/>
                      </a:ext>
                    </a:extLst>
                  </p:cNvPr>
                  <p:cNvSpPr/>
                  <p:nvPr/>
                </p:nvSpPr>
                <p:spPr>
                  <a:xfrm>
                    <a:off x="9021119" y="3197704"/>
                    <a:ext cx="46726" cy="128498"/>
                  </a:xfrm>
                  <a:custGeom>
                    <a:avLst/>
                    <a:gdLst>
                      <a:gd name="connsiteX0" fmla="*/ 0 w 46726"/>
                      <a:gd name="connsiteY0" fmla="*/ 129666 h 128497"/>
                      <a:gd name="connsiteX1" fmla="*/ 51399 w 46726"/>
                      <a:gd name="connsiteY1" fmla="*/ 0 h 128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6726" h="128497">
                        <a:moveTo>
                          <a:pt x="0" y="129666"/>
                        </a:moveTo>
                        <a:lnTo>
                          <a:pt x="51399" y="0"/>
                        </a:lnTo>
                      </a:path>
                    </a:pathLst>
                  </a:custGeom>
                  <a:ln w="11682" cap="rnd">
                    <a:solidFill>
                      <a:srgbClr val="30373B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da-DK"/>
                  </a:p>
                </p:txBody>
              </p:sp>
            </p:grpSp>
            <p:sp>
              <p:nvSpPr>
                <p:cNvPr id="109" name="Freeform: Shape 108">
                  <a:extLst>
                    <a:ext uri="{FF2B5EF4-FFF2-40B4-BE49-F238E27FC236}">
                      <a16:creationId xmlns:a16="http://schemas.microsoft.com/office/drawing/2014/main" id="{2E08865F-68F3-4B7E-B5DC-EF9D0B9E3255}"/>
                    </a:ext>
                  </a:extLst>
                </p:cNvPr>
                <p:cNvSpPr/>
                <p:nvPr/>
              </p:nvSpPr>
              <p:spPr>
                <a:xfrm>
                  <a:off x="8818443" y="3139880"/>
                  <a:ext cx="403015" cy="5841"/>
                </a:xfrm>
                <a:custGeom>
                  <a:avLst/>
                  <a:gdLst>
                    <a:gd name="connsiteX0" fmla="*/ 403600 w 403015"/>
                    <a:gd name="connsiteY0" fmla="*/ 0 h 0"/>
                    <a:gd name="connsiteX1" fmla="*/ 0 w 403015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3015">
                      <a:moveTo>
                        <a:pt x="403600" y="0"/>
                      </a:moveTo>
                      <a:lnTo>
                        <a:pt x="0" y="0"/>
                      </a:lnTo>
                    </a:path>
                  </a:pathLst>
                </a:custGeom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grpSp>
            <p:nvGrpSpPr>
              <p:cNvPr id="101" name="Graphic 6">
                <a:extLst>
                  <a:ext uri="{FF2B5EF4-FFF2-40B4-BE49-F238E27FC236}">
                    <a16:creationId xmlns:a16="http://schemas.microsoft.com/office/drawing/2014/main" id="{1D593FA8-8386-4710-B8EC-F38B53C54B6F}"/>
                  </a:ext>
                </a:extLst>
              </p:cNvPr>
              <p:cNvGrpSpPr/>
              <p:nvPr/>
            </p:nvGrpSpPr>
            <p:grpSpPr>
              <a:xfrm>
                <a:off x="8875485" y="3401800"/>
                <a:ext cx="181065" cy="93453"/>
                <a:chOff x="8875485" y="3401800"/>
                <a:chExt cx="181065" cy="93453"/>
              </a:xfrm>
              <a:noFill/>
            </p:grpSpPr>
            <p:sp>
              <p:nvSpPr>
                <p:cNvPr id="104" name="Freeform: Shape 103">
                  <a:extLst>
                    <a:ext uri="{FF2B5EF4-FFF2-40B4-BE49-F238E27FC236}">
                      <a16:creationId xmlns:a16="http://schemas.microsoft.com/office/drawing/2014/main" id="{82ABE0C0-9EE3-4598-926C-1503FD55CF80}"/>
                    </a:ext>
                  </a:extLst>
                </p:cNvPr>
                <p:cNvSpPr/>
                <p:nvPr/>
              </p:nvSpPr>
              <p:spPr>
                <a:xfrm>
                  <a:off x="8875485" y="3404267"/>
                  <a:ext cx="181065" cy="93453"/>
                </a:xfrm>
                <a:custGeom>
                  <a:avLst/>
                  <a:gdLst>
                    <a:gd name="connsiteX0" fmla="*/ 32322 w 181064"/>
                    <a:gd name="connsiteY0" fmla="*/ 6626 h 93452"/>
                    <a:gd name="connsiteX1" fmla="*/ 10711 w 181064"/>
                    <a:gd name="connsiteY1" fmla="*/ 1370 h 93452"/>
                    <a:gd name="connsiteX2" fmla="*/ 197 w 181064"/>
                    <a:gd name="connsiteY2" fmla="*/ 20644 h 93452"/>
                    <a:gd name="connsiteX3" fmla="*/ 84889 w 181064"/>
                    <a:gd name="connsiteY3" fmla="*/ 94238 h 93452"/>
                    <a:gd name="connsiteX4" fmla="*/ 185351 w 181064"/>
                    <a:gd name="connsiteY4" fmla="*/ 18308 h 934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1064" h="93452">
                      <a:moveTo>
                        <a:pt x="32322" y="6626"/>
                      </a:moveTo>
                      <a:cubicBezTo>
                        <a:pt x="26481" y="-967"/>
                        <a:pt x="17719" y="-967"/>
                        <a:pt x="10711" y="1370"/>
                      </a:cubicBezTo>
                      <a:cubicBezTo>
                        <a:pt x="3117" y="4290"/>
                        <a:pt x="-971" y="13051"/>
                        <a:pt x="197" y="20644"/>
                      </a:cubicBezTo>
                      <a:cubicBezTo>
                        <a:pt x="2534" y="32326"/>
                        <a:pt x="13047" y="88398"/>
                        <a:pt x="84889" y="94238"/>
                      </a:cubicBezTo>
                      <a:cubicBezTo>
                        <a:pt x="127527" y="94238"/>
                        <a:pt x="168996" y="78468"/>
                        <a:pt x="185351" y="18308"/>
                      </a:cubicBez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" name="Freeform: Shape 104">
                  <a:extLst>
                    <a:ext uri="{FF2B5EF4-FFF2-40B4-BE49-F238E27FC236}">
                      <a16:creationId xmlns:a16="http://schemas.microsoft.com/office/drawing/2014/main" id="{E8228C5C-D853-4133-A4BD-3053221BA8C1}"/>
                    </a:ext>
                  </a:extLst>
                </p:cNvPr>
                <p:cNvSpPr/>
                <p:nvPr/>
              </p:nvSpPr>
              <p:spPr>
                <a:xfrm>
                  <a:off x="8906860" y="3401800"/>
                  <a:ext cx="46726" cy="64249"/>
                </a:xfrm>
                <a:custGeom>
                  <a:avLst/>
                  <a:gdLst>
                    <a:gd name="connsiteX0" fmla="*/ 20806 w 46726"/>
                    <a:gd name="connsiteY0" fmla="*/ 65749 h 64248"/>
                    <a:gd name="connsiteX1" fmla="*/ 363 w 46726"/>
                    <a:gd name="connsiteY1" fmla="*/ 19607 h 64248"/>
                    <a:gd name="connsiteX2" fmla="*/ 12629 w 46726"/>
                    <a:gd name="connsiteY2" fmla="*/ 332 h 64248"/>
                    <a:gd name="connsiteX3" fmla="*/ 31904 w 46726"/>
                    <a:gd name="connsiteY3" fmla="*/ 14350 h 64248"/>
                    <a:gd name="connsiteX4" fmla="*/ 47089 w 46726"/>
                    <a:gd name="connsiteY4" fmla="*/ 40050 h 64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726" h="64248">
                      <a:moveTo>
                        <a:pt x="20806" y="65749"/>
                      </a:moveTo>
                      <a:cubicBezTo>
                        <a:pt x="7372" y="46474"/>
                        <a:pt x="1531" y="25447"/>
                        <a:pt x="363" y="19607"/>
                      </a:cubicBezTo>
                      <a:cubicBezTo>
                        <a:pt x="-1389" y="10261"/>
                        <a:pt x="3283" y="2084"/>
                        <a:pt x="12629" y="332"/>
                      </a:cubicBezTo>
                      <a:cubicBezTo>
                        <a:pt x="21974" y="-1420"/>
                        <a:pt x="28399" y="3837"/>
                        <a:pt x="31904" y="14350"/>
                      </a:cubicBezTo>
                      <a:cubicBezTo>
                        <a:pt x="32487" y="16102"/>
                        <a:pt x="40081" y="34209"/>
                        <a:pt x="47089" y="40050"/>
                      </a:cubicBez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6" name="Freeform: Shape 105">
                  <a:extLst>
                    <a:ext uri="{FF2B5EF4-FFF2-40B4-BE49-F238E27FC236}">
                      <a16:creationId xmlns:a16="http://schemas.microsoft.com/office/drawing/2014/main" id="{B60D5C8B-C45B-41BB-8474-A2F72862E90E}"/>
                    </a:ext>
                  </a:extLst>
                </p:cNvPr>
                <p:cNvSpPr/>
                <p:nvPr/>
              </p:nvSpPr>
              <p:spPr>
                <a:xfrm>
                  <a:off x="8953569" y="3402554"/>
                  <a:ext cx="46726" cy="58408"/>
                </a:xfrm>
                <a:custGeom>
                  <a:avLst/>
                  <a:gdLst>
                    <a:gd name="connsiteX0" fmla="*/ 10894 w 46726"/>
                    <a:gd name="connsiteY0" fmla="*/ 63827 h 58408"/>
                    <a:gd name="connsiteX1" fmla="*/ 381 w 46726"/>
                    <a:gd name="connsiteY1" fmla="*/ 41632 h 58408"/>
                    <a:gd name="connsiteX2" fmla="*/ 6805 w 46726"/>
                    <a:gd name="connsiteY2" fmla="*/ 12428 h 58408"/>
                    <a:gd name="connsiteX3" fmla="*/ 25496 w 46726"/>
                    <a:gd name="connsiteY3" fmla="*/ 162 h 58408"/>
                    <a:gd name="connsiteX4" fmla="*/ 38346 w 46726"/>
                    <a:gd name="connsiteY4" fmla="*/ 22357 h 58408"/>
                    <a:gd name="connsiteX5" fmla="*/ 36593 w 46726"/>
                    <a:gd name="connsiteY5" fmla="*/ 26446 h 58408"/>
                    <a:gd name="connsiteX6" fmla="*/ 41266 w 46726"/>
                    <a:gd name="connsiteY6" fmla="*/ 48057 h 58408"/>
                    <a:gd name="connsiteX7" fmla="*/ 50611 w 46726"/>
                    <a:gd name="connsiteY7" fmla="*/ 57986 h 58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726" h="58408">
                      <a:moveTo>
                        <a:pt x="10894" y="63827"/>
                      </a:moveTo>
                      <a:cubicBezTo>
                        <a:pt x="6805" y="57986"/>
                        <a:pt x="1548" y="50393"/>
                        <a:pt x="381" y="41632"/>
                      </a:cubicBezTo>
                      <a:cubicBezTo>
                        <a:pt x="-1372" y="27030"/>
                        <a:pt x="3301" y="17684"/>
                        <a:pt x="6805" y="12428"/>
                      </a:cubicBezTo>
                      <a:cubicBezTo>
                        <a:pt x="12062" y="4251"/>
                        <a:pt x="17319" y="-1006"/>
                        <a:pt x="25496" y="162"/>
                      </a:cubicBezTo>
                      <a:cubicBezTo>
                        <a:pt x="36009" y="1914"/>
                        <a:pt x="41850" y="12428"/>
                        <a:pt x="38346" y="22357"/>
                      </a:cubicBezTo>
                      <a:cubicBezTo>
                        <a:pt x="37762" y="23525"/>
                        <a:pt x="37762" y="24693"/>
                        <a:pt x="36593" y="26446"/>
                      </a:cubicBezTo>
                      <a:cubicBezTo>
                        <a:pt x="33673" y="34039"/>
                        <a:pt x="35425" y="42216"/>
                        <a:pt x="41266" y="48057"/>
                      </a:cubicBezTo>
                      <a:lnTo>
                        <a:pt x="50611" y="57986"/>
                      </a:lnTo>
                    </a:path>
                  </a:pathLst>
                </a:custGeom>
                <a:noFill/>
                <a:ln w="11682" cap="rnd">
                  <a:solidFill>
                    <a:srgbClr val="30373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8156D774-2840-4D2D-BF35-E976C5B1F1CA}"/>
                  </a:ext>
                </a:extLst>
              </p:cNvPr>
              <p:cNvSpPr/>
              <p:nvPr/>
            </p:nvSpPr>
            <p:spPr>
              <a:xfrm>
                <a:off x="9257087" y="3529461"/>
                <a:ext cx="403015" cy="5841"/>
              </a:xfrm>
              <a:custGeom>
                <a:avLst/>
                <a:gdLst>
                  <a:gd name="connsiteX0" fmla="*/ 0 w 403015"/>
                  <a:gd name="connsiteY0" fmla="*/ 0 h 0"/>
                  <a:gd name="connsiteX1" fmla="*/ 404183 w 40301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3015">
                    <a:moveTo>
                      <a:pt x="0" y="0"/>
                    </a:moveTo>
                    <a:lnTo>
                      <a:pt x="404183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68D8FF9D-A89B-4B44-8054-6D75187CE160}"/>
                  </a:ext>
                </a:extLst>
              </p:cNvPr>
              <p:cNvSpPr/>
              <p:nvPr/>
            </p:nvSpPr>
            <p:spPr>
              <a:xfrm>
                <a:off x="9480790" y="3480399"/>
                <a:ext cx="157702" cy="5841"/>
              </a:xfrm>
              <a:custGeom>
                <a:avLst/>
                <a:gdLst>
                  <a:gd name="connsiteX0" fmla="*/ 0 w 157701"/>
                  <a:gd name="connsiteY0" fmla="*/ 0 h 0"/>
                  <a:gd name="connsiteX1" fmla="*/ 157701 w 157701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7701">
                    <a:moveTo>
                      <a:pt x="0" y="0"/>
                    </a:moveTo>
                    <a:lnTo>
                      <a:pt x="157701" y="0"/>
                    </a:lnTo>
                  </a:path>
                </a:pathLst>
              </a:custGeom>
              <a:ln w="11682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6C4DD62C-8F06-4608-9297-1F6C0E5415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9227" y="3352589"/>
            <a:ext cx="7573432" cy="1895740"/>
          </a:xfrm>
          <a:prstGeom prst="rect">
            <a:avLst/>
          </a:prstGeom>
        </p:spPr>
      </p:pic>
      <p:sp>
        <p:nvSpPr>
          <p:cNvPr id="194" name="Title 2">
            <a:extLst>
              <a:ext uri="{FF2B5EF4-FFF2-40B4-BE49-F238E27FC236}">
                <a16:creationId xmlns:a16="http://schemas.microsoft.com/office/drawing/2014/main" id="{AFCC9901-2A3A-4F2F-AEE6-5D01A12401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11324" y="2103242"/>
            <a:ext cx="7483352" cy="2224886"/>
          </a:xfrm>
        </p:spPr>
        <p:txBody>
          <a:bodyPr/>
          <a:lstStyle/>
          <a:p>
            <a:r>
              <a:rPr lang="da-DK" dirty="0"/>
              <a:t>… and a </a:t>
            </a:r>
            <a:r>
              <a:rPr lang="da-DK" dirty="0" err="1">
                <a:solidFill>
                  <a:srgbClr val="8AA299"/>
                </a:solidFill>
              </a:rPr>
              <a:t>proof</a:t>
            </a:r>
            <a:endParaRPr lang="da-DK" dirty="0">
              <a:solidFill>
                <a:srgbClr val="8AA2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643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4756D49-C0E3-48B2-B872-22685217C0D9}"/>
              </a:ext>
            </a:extLst>
          </p:cNvPr>
          <p:cNvSpPr/>
          <p:nvPr/>
        </p:nvSpPr>
        <p:spPr>
          <a:xfrm>
            <a:off x="226031" y="2041370"/>
            <a:ext cx="8210239" cy="468328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B83D7A1-35EE-41FC-ACD6-598F6B160E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B83D7A1-35EE-41FC-ACD6-598F6B160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AAD318-25EA-460C-9025-27ED462392E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83000"/>
              </a:lnSpc>
              <a:spcBef>
                <a:spcPct val="0"/>
              </a:spcBef>
              <a:spcAft>
                <a:spcPct val="0"/>
              </a:spcAft>
            </a:pPr>
            <a:endParaRPr lang="da-DK" sz="6500" noProof="0" dirty="0" err="1">
              <a:solidFill>
                <a:srgbClr val="2F363B"/>
              </a:solidFill>
              <a:latin typeface="Impact" panose="020B0806030902050204" pitchFamily="34" charset="0"/>
              <a:ea typeface="+mj-ea"/>
              <a:cs typeface="+mj-cs"/>
              <a:sym typeface="Impact" panose="020B080603090205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8FD43C-4295-4CEE-AC00-71CA20D17B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586" y="35694"/>
            <a:ext cx="7083301" cy="2224886"/>
          </a:xfrm>
        </p:spPr>
        <p:txBody>
          <a:bodyPr/>
          <a:lstStyle/>
          <a:p>
            <a:r>
              <a:rPr lang="da-DK" sz="4800" dirty="0">
                <a:solidFill>
                  <a:srgbClr val="8AA299"/>
                </a:solidFill>
              </a:rPr>
              <a:t>Level </a:t>
            </a:r>
            <a:r>
              <a:rPr lang="da-DK" sz="4800" dirty="0" err="1">
                <a:solidFill>
                  <a:srgbClr val="8AA299"/>
                </a:solidFill>
              </a:rPr>
              <a:t>loading</a:t>
            </a:r>
            <a:r>
              <a:rPr lang="da-DK" sz="4800" dirty="0">
                <a:solidFill>
                  <a:srgbClr val="8AA299"/>
                </a:solidFill>
              </a:rPr>
              <a:t> with an observer patter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9311F0-821A-4AAC-BDE9-AA253B2BFD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4EBB27-4B6C-4A1A-B488-3E5D35BB8C43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790861-E968-43BB-932B-A867BD494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258545A-D17C-4782-84C3-353DE1415C4F}"/>
              </a:ext>
            </a:extLst>
          </p:cNvPr>
          <p:cNvSpPr/>
          <p:nvPr/>
        </p:nvSpPr>
        <p:spPr>
          <a:xfrm>
            <a:off x="9191625" y="190500"/>
            <a:ext cx="600075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576BB51-FDF6-4A0B-BEF5-116339DDC56F}"/>
              </a:ext>
            </a:extLst>
          </p:cNvPr>
          <p:cNvSpPr/>
          <p:nvPr/>
        </p:nvSpPr>
        <p:spPr>
          <a:xfrm>
            <a:off x="8933657" y="5257800"/>
            <a:ext cx="702344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87188302-DCEA-434D-8882-AFADFDD375D8}"/>
              </a:ext>
            </a:extLst>
          </p:cNvPr>
          <p:cNvSpPr/>
          <p:nvPr/>
        </p:nvSpPr>
        <p:spPr>
          <a:xfrm>
            <a:off x="6741159" y="1181333"/>
            <a:ext cx="1809750" cy="171450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0D981B2F-4923-418C-9E93-890096774D25}"/>
              </a:ext>
            </a:extLst>
          </p:cNvPr>
          <p:cNvSpPr/>
          <p:nvPr/>
        </p:nvSpPr>
        <p:spPr>
          <a:xfrm>
            <a:off x="6739335" y="0"/>
            <a:ext cx="2016725" cy="2895833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99E5915E-2561-43C1-8788-71FC854B840C}"/>
              </a:ext>
            </a:extLst>
          </p:cNvPr>
          <p:cNvGrpSpPr/>
          <p:nvPr/>
        </p:nvGrpSpPr>
        <p:grpSpPr>
          <a:xfrm>
            <a:off x="5865522" y="742838"/>
            <a:ext cx="2823154" cy="1937714"/>
            <a:chOff x="8486396" y="1862710"/>
            <a:chExt cx="3686175" cy="2727960"/>
          </a:xfrm>
        </p:grpSpPr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F8E99902-590F-4215-831D-99FC05E59E74}"/>
                </a:ext>
              </a:extLst>
            </p:cNvPr>
            <p:cNvSpPr/>
            <p:nvPr/>
          </p:nvSpPr>
          <p:spPr>
            <a:xfrm>
              <a:off x="8486396" y="1862710"/>
              <a:ext cx="1000125" cy="1819275"/>
            </a:xfrm>
            <a:custGeom>
              <a:avLst/>
              <a:gdLst>
                <a:gd name="connsiteX0" fmla="*/ 1002030 w 1000125"/>
                <a:gd name="connsiteY0" fmla="*/ 350520 h 1819275"/>
                <a:gd name="connsiteX1" fmla="*/ 902970 w 1000125"/>
                <a:gd name="connsiteY1" fmla="*/ 366713 h 1819275"/>
                <a:gd name="connsiteX2" fmla="*/ 856298 w 1000125"/>
                <a:gd name="connsiteY2" fmla="*/ 546735 h 1819275"/>
                <a:gd name="connsiteX3" fmla="*/ 747713 w 1000125"/>
                <a:gd name="connsiteY3" fmla="*/ 586740 h 1819275"/>
                <a:gd name="connsiteX4" fmla="*/ 625793 w 1000125"/>
                <a:gd name="connsiteY4" fmla="*/ 479108 h 1819275"/>
                <a:gd name="connsiteX5" fmla="*/ 465773 w 1000125"/>
                <a:gd name="connsiteY5" fmla="*/ 352425 h 1819275"/>
                <a:gd name="connsiteX6" fmla="*/ 377190 w 1000125"/>
                <a:gd name="connsiteY6" fmla="*/ 352425 h 1819275"/>
                <a:gd name="connsiteX7" fmla="*/ 452438 w 1000125"/>
                <a:gd name="connsiteY7" fmla="*/ 191453 h 1819275"/>
                <a:gd name="connsiteX8" fmla="*/ 411480 w 1000125"/>
                <a:gd name="connsiteY8" fmla="*/ 42863 h 1819275"/>
                <a:gd name="connsiteX9" fmla="*/ 306705 w 1000125"/>
                <a:gd name="connsiteY9" fmla="*/ 0 h 1819275"/>
                <a:gd name="connsiteX10" fmla="*/ 201930 w 1000125"/>
                <a:gd name="connsiteY10" fmla="*/ 42863 h 1819275"/>
                <a:gd name="connsiteX11" fmla="*/ 160973 w 1000125"/>
                <a:gd name="connsiteY11" fmla="*/ 191453 h 1819275"/>
                <a:gd name="connsiteX12" fmla="*/ 236220 w 1000125"/>
                <a:gd name="connsiteY12" fmla="*/ 352425 h 1819275"/>
                <a:gd name="connsiteX13" fmla="*/ 0 w 1000125"/>
                <a:gd name="connsiteY13" fmla="*/ 595313 h 1819275"/>
                <a:gd name="connsiteX14" fmla="*/ 40005 w 1000125"/>
                <a:gd name="connsiteY14" fmla="*/ 695325 h 1819275"/>
                <a:gd name="connsiteX15" fmla="*/ 89535 w 1000125"/>
                <a:gd name="connsiteY15" fmla="*/ 707708 h 1819275"/>
                <a:gd name="connsiteX16" fmla="*/ 110490 w 1000125"/>
                <a:gd name="connsiteY16" fmla="*/ 705803 h 1819275"/>
                <a:gd name="connsiteX17" fmla="*/ 102870 w 1000125"/>
                <a:gd name="connsiteY17" fmla="*/ 882015 h 1819275"/>
                <a:gd name="connsiteX18" fmla="*/ 102870 w 1000125"/>
                <a:gd name="connsiteY18" fmla="*/ 883920 h 1819275"/>
                <a:gd name="connsiteX19" fmla="*/ 166688 w 1000125"/>
                <a:gd name="connsiteY19" fmla="*/ 1814513 h 1819275"/>
                <a:gd name="connsiteX20" fmla="*/ 180975 w 1000125"/>
                <a:gd name="connsiteY20" fmla="*/ 1827848 h 1819275"/>
                <a:gd name="connsiteX21" fmla="*/ 432435 w 1000125"/>
                <a:gd name="connsiteY21" fmla="*/ 1827848 h 1819275"/>
                <a:gd name="connsiteX22" fmla="*/ 433388 w 1000125"/>
                <a:gd name="connsiteY22" fmla="*/ 1827848 h 1819275"/>
                <a:gd name="connsiteX23" fmla="*/ 447675 w 1000125"/>
                <a:gd name="connsiteY23" fmla="*/ 1814513 h 1819275"/>
                <a:gd name="connsiteX24" fmla="*/ 511493 w 1000125"/>
                <a:gd name="connsiteY24" fmla="*/ 883920 h 1819275"/>
                <a:gd name="connsiteX25" fmla="*/ 511493 w 1000125"/>
                <a:gd name="connsiteY25" fmla="*/ 882015 h 1819275"/>
                <a:gd name="connsiteX26" fmla="*/ 501015 w 1000125"/>
                <a:gd name="connsiteY26" fmla="*/ 641033 h 1819275"/>
                <a:gd name="connsiteX27" fmla="*/ 501968 w 1000125"/>
                <a:gd name="connsiteY27" fmla="*/ 538163 h 1819275"/>
                <a:gd name="connsiteX28" fmla="*/ 746760 w 1000125"/>
                <a:gd name="connsiteY28" fmla="*/ 707708 h 1819275"/>
                <a:gd name="connsiteX29" fmla="*/ 1001078 w 1000125"/>
                <a:gd name="connsiteY29" fmla="*/ 430530 h 1819275"/>
                <a:gd name="connsiteX30" fmla="*/ 1002030 w 1000125"/>
                <a:gd name="connsiteY30" fmla="*/ 350520 h 181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000125" h="1819275">
                  <a:moveTo>
                    <a:pt x="1002030" y="350520"/>
                  </a:moveTo>
                  <a:cubicBezTo>
                    <a:pt x="986790" y="274320"/>
                    <a:pt x="901065" y="289560"/>
                    <a:pt x="902970" y="366713"/>
                  </a:cubicBezTo>
                  <a:cubicBezTo>
                    <a:pt x="904875" y="431483"/>
                    <a:pt x="917258" y="480060"/>
                    <a:pt x="856298" y="546735"/>
                  </a:cubicBezTo>
                  <a:cubicBezTo>
                    <a:pt x="830580" y="575310"/>
                    <a:pt x="793433" y="588645"/>
                    <a:pt x="747713" y="586740"/>
                  </a:cubicBezTo>
                  <a:cubicBezTo>
                    <a:pt x="686753" y="584835"/>
                    <a:pt x="657225" y="533400"/>
                    <a:pt x="625793" y="479108"/>
                  </a:cubicBezTo>
                  <a:cubicBezTo>
                    <a:pt x="591503" y="420053"/>
                    <a:pt x="552450" y="352425"/>
                    <a:pt x="465773" y="352425"/>
                  </a:cubicBezTo>
                  <a:lnTo>
                    <a:pt x="377190" y="352425"/>
                  </a:lnTo>
                  <a:cubicBezTo>
                    <a:pt x="419100" y="316230"/>
                    <a:pt x="446723" y="252413"/>
                    <a:pt x="452438" y="191453"/>
                  </a:cubicBezTo>
                  <a:cubicBezTo>
                    <a:pt x="458153" y="130493"/>
                    <a:pt x="442913" y="78105"/>
                    <a:pt x="411480" y="42863"/>
                  </a:cubicBezTo>
                  <a:cubicBezTo>
                    <a:pt x="385763" y="14288"/>
                    <a:pt x="349568" y="0"/>
                    <a:pt x="306705" y="0"/>
                  </a:cubicBezTo>
                  <a:cubicBezTo>
                    <a:pt x="263843" y="0"/>
                    <a:pt x="227648" y="15240"/>
                    <a:pt x="201930" y="42863"/>
                  </a:cubicBezTo>
                  <a:cubicBezTo>
                    <a:pt x="170498" y="77153"/>
                    <a:pt x="155258" y="130493"/>
                    <a:pt x="160973" y="191453"/>
                  </a:cubicBezTo>
                  <a:cubicBezTo>
                    <a:pt x="166688" y="252413"/>
                    <a:pt x="194310" y="317183"/>
                    <a:pt x="236220" y="352425"/>
                  </a:cubicBezTo>
                  <a:cubicBezTo>
                    <a:pt x="81915" y="356235"/>
                    <a:pt x="0" y="440055"/>
                    <a:pt x="0" y="595313"/>
                  </a:cubicBezTo>
                  <a:cubicBezTo>
                    <a:pt x="0" y="645795"/>
                    <a:pt x="13335" y="679133"/>
                    <a:pt x="40005" y="695325"/>
                  </a:cubicBezTo>
                  <a:cubicBezTo>
                    <a:pt x="53340" y="703898"/>
                    <a:pt x="69533" y="707708"/>
                    <a:pt x="89535" y="707708"/>
                  </a:cubicBezTo>
                  <a:cubicBezTo>
                    <a:pt x="96203" y="707708"/>
                    <a:pt x="102870" y="706755"/>
                    <a:pt x="110490" y="705803"/>
                  </a:cubicBezTo>
                  <a:lnTo>
                    <a:pt x="102870" y="882015"/>
                  </a:lnTo>
                  <a:cubicBezTo>
                    <a:pt x="102870" y="882968"/>
                    <a:pt x="102870" y="882968"/>
                    <a:pt x="102870" y="883920"/>
                  </a:cubicBezTo>
                  <a:lnTo>
                    <a:pt x="166688" y="1814513"/>
                  </a:lnTo>
                  <a:cubicBezTo>
                    <a:pt x="167640" y="1822133"/>
                    <a:pt x="173355" y="1827848"/>
                    <a:pt x="180975" y="1827848"/>
                  </a:cubicBezTo>
                  <a:lnTo>
                    <a:pt x="432435" y="1827848"/>
                  </a:lnTo>
                  <a:cubicBezTo>
                    <a:pt x="432435" y="1827848"/>
                    <a:pt x="433388" y="1827848"/>
                    <a:pt x="433388" y="1827848"/>
                  </a:cubicBezTo>
                  <a:cubicBezTo>
                    <a:pt x="441008" y="1827848"/>
                    <a:pt x="446723" y="1822133"/>
                    <a:pt x="447675" y="1814513"/>
                  </a:cubicBezTo>
                  <a:lnTo>
                    <a:pt x="511493" y="883920"/>
                  </a:lnTo>
                  <a:cubicBezTo>
                    <a:pt x="511493" y="882968"/>
                    <a:pt x="511493" y="882968"/>
                    <a:pt x="511493" y="882015"/>
                  </a:cubicBezTo>
                  <a:lnTo>
                    <a:pt x="501015" y="641033"/>
                  </a:lnTo>
                  <a:cubicBezTo>
                    <a:pt x="501015" y="638175"/>
                    <a:pt x="501968" y="578168"/>
                    <a:pt x="501968" y="538163"/>
                  </a:cubicBezTo>
                  <a:cubicBezTo>
                    <a:pt x="533400" y="579120"/>
                    <a:pt x="593408" y="707708"/>
                    <a:pt x="746760" y="707708"/>
                  </a:cubicBezTo>
                  <a:cubicBezTo>
                    <a:pt x="954405" y="707708"/>
                    <a:pt x="993458" y="535305"/>
                    <a:pt x="1001078" y="430530"/>
                  </a:cubicBezTo>
                  <a:cubicBezTo>
                    <a:pt x="1002983" y="405765"/>
                    <a:pt x="1005840" y="368618"/>
                    <a:pt x="1002030" y="35052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AF70E327-45C2-4C79-89AA-C8174D29B917}"/>
                </a:ext>
              </a:extLst>
            </p:cNvPr>
            <p:cNvGrpSpPr/>
            <p:nvPr/>
          </p:nvGrpSpPr>
          <p:grpSpPr>
            <a:xfrm>
              <a:off x="8486396" y="1862710"/>
              <a:ext cx="3686175" cy="2727960"/>
              <a:chOff x="8486396" y="1862710"/>
              <a:chExt cx="3686175" cy="2727960"/>
            </a:xfrm>
          </p:grpSpPr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AE489BCC-D908-4087-9824-B8A81F802E04}"/>
                  </a:ext>
                </a:extLst>
              </p:cNvPr>
              <p:cNvSpPr/>
              <p:nvPr/>
            </p:nvSpPr>
            <p:spPr>
              <a:xfrm>
                <a:off x="8689278" y="2507552"/>
                <a:ext cx="57150" cy="1162050"/>
              </a:xfrm>
              <a:custGeom>
                <a:avLst/>
                <a:gdLst>
                  <a:gd name="connsiteX0" fmla="*/ 63818 w 57150"/>
                  <a:gd name="connsiteY0" fmla="*/ 1168718 h 1162050"/>
                  <a:gd name="connsiteX1" fmla="*/ 0 w 57150"/>
                  <a:gd name="connsiteY1" fmla="*/ 238125 h 1162050"/>
                  <a:gd name="connsiteX2" fmla="*/ 10478 w 57150"/>
                  <a:gd name="connsiteY2" fmla="*/ 0 h 1162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150" h="1162050">
                    <a:moveTo>
                      <a:pt x="63818" y="1168718"/>
                    </a:moveTo>
                    <a:lnTo>
                      <a:pt x="0" y="238125"/>
                    </a:lnTo>
                    <a:lnTo>
                      <a:pt x="10478" y="0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DD7A1A6B-0B13-42F1-A695-7F4C17F994D2}"/>
                  </a:ext>
                </a:extLst>
              </p:cNvPr>
              <p:cNvSpPr/>
              <p:nvPr/>
            </p:nvSpPr>
            <p:spPr>
              <a:xfrm>
                <a:off x="8745394" y="1876998"/>
                <a:ext cx="266700" cy="352425"/>
              </a:xfrm>
              <a:custGeom>
                <a:avLst/>
                <a:gdLst>
                  <a:gd name="connsiteX0" fmla="*/ 133432 w 266700"/>
                  <a:gd name="connsiteY0" fmla="*/ 352425 h 352425"/>
                  <a:gd name="connsiteX1" fmla="*/ 1034 w 266700"/>
                  <a:gd name="connsiteY1" fmla="*/ 176213 h 352425"/>
                  <a:gd name="connsiteX2" fmla="*/ 133432 w 266700"/>
                  <a:gd name="connsiteY2" fmla="*/ 0 h 352425"/>
                  <a:gd name="connsiteX3" fmla="*/ 265829 w 266700"/>
                  <a:gd name="connsiteY3" fmla="*/ 176213 h 352425"/>
                  <a:gd name="connsiteX4" fmla="*/ 244874 w 266700"/>
                  <a:gd name="connsiteY4" fmla="*/ 259080 h 352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6700" h="352425">
                    <a:moveTo>
                      <a:pt x="133432" y="352425"/>
                    </a:moveTo>
                    <a:cubicBezTo>
                      <a:pt x="78187" y="352425"/>
                      <a:pt x="10559" y="285750"/>
                      <a:pt x="1034" y="176213"/>
                    </a:cubicBezTo>
                    <a:cubicBezTo>
                      <a:pt x="-7538" y="79058"/>
                      <a:pt x="37229" y="0"/>
                      <a:pt x="133432" y="0"/>
                    </a:cubicBezTo>
                    <a:cubicBezTo>
                      <a:pt x="229634" y="0"/>
                      <a:pt x="274402" y="79058"/>
                      <a:pt x="265829" y="176213"/>
                    </a:cubicBezTo>
                    <a:cubicBezTo>
                      <a:pt x="262972" y="207645"/>
                      <a:pt x="255352" y="235268"/>
                      <a:pt x="244874" y="259080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1C3A9486-65CF-42BE-9E70-6A628D83F67D}"/>
                  </a:ext>
                </a:extLst>
              </p:cNvPr>
              <p:cNvSpPr/>
              <p:nvPr/>
            </p:nvSpPr>
            <p:spPr>
              <a:xfrm>
                <a:off x="8486396" y="1862710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/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993D31F7-6A20-48B0-9ECB-65F06598B8E9}"/>
                  </a:ext>
                </a:extLst>
              </p:cNvPr>
              <p:cNvSpPr/>
              <p:nvPr/>
            </p:nvSpPr>
            <p:spPr>
              <a:xfrm>
                <a:off x="9005509" y="2504695"/>
                <a:ext cx="57150" cy="1162050"/>
              </a:xfrm>
              <a:custGeom>
                <a:avLst/>
                <a:gdLst>
                  <a:gd name="connsiteX0" fmla="*/ 0 w 57150"/>
                  <a:gd name="connsiteY0" fmla="*/ 1171575 h 1162050"/>
                  <a:gd name="connsiteX1" fmla="*/ 63818 w 57150"/>
                  <a:gd name="connsiteY1" fmla="*/ 240982 h 1162050"/>
                  <a:gd name="connsiteX2" fmla="*/ 53340 w 57150"/>
                  <a:gd name="connsiteY2" fmla="*/ 0 h 1162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150" h="1162050">
                    <a:moveTo>
                      <a:pt x="0" y="1171575"/>
                    </a:moveTo>
                    <a:lnTo>
                      <a:pt x="63818" y="240982"/>
                    </a:lnTo>
                    <a:lnTo>
                      <a:pt x="53340" y="0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C85CBD72-D06D-40E7-9D90-75F038B1C159}"/>
                  </a:ext>
                </a:extLst>
              </p:cNvPr>
              <p:cNvSpPr/>
              <p:nvPr/>
            </p:nvSpPr>
            <p:spPr>
              <a:xfrm>
                <a:off x="8879779" y="2917128"/>
                <a:ext cx="9525" cy="752475"/>
              </a:xfrm>
              <a:custGeom>
                <a:avLst/>
                <a:gdLst>
                  <a:gd name="connsiteX0" fmla="*/ 0 w 0"/>
                  <a:gd name="connsiteY0" fmla="*/ 0 h 752475"/>
                  <a:gd name="connsiteX1" fmla="*/ 0 w 0"/>
                  <a:gd name="connsiteY1" fmla="*/ 759142 h 752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752475">
                    <a:moveTo>
                      <a:pt x="0" y="0"/>
                    </a:moveTo>
                    <a:lnTo>
                      <a:pt x="0" y="759142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3966D6B9-1BD1-4C42-A431-0B67C6E3E373}"/>
                  </a:ext>
                </a:extLst>
              </p:cNvPr>
              <p:cNvSpPr/>
              <p:nvPr/>
            </p:nvSpPr>
            <p:spPr>
              <a:xfrm>
                <a:off x="8586409" y="2213230"/>
                <a:ext cx="895350" cy="342900"/>
              </a:xfrm>
              <a:custGeom>
                <a:avLst/>
                <a:gdLst>
                  <a:gd name="connsiteX0" fmla="*/ 902018 w 895350"/>
                  <a:gd name="connsiteY0" fmla="*/ 0 h 342900"/>
                  <a:gd name="connsiteX1" fmla="*/ 732473 w 895350"/>
                  <a:gd name="connsiteY1" fmla="*/ 250508 h 342900"/>
                  <a:gd name="connsiteX2" fmla="*/ 450533 w 895350"/>
                  <a:gd name="connsiteY2" fmla="*/ 16193 h 342900"/>
                  <a:gd name="connsiteX3" fmla="*/ 233363 w 895350"/>
                  <a:gd name="connsiteY3" fmla="*/ 16193 h 342900"/>
                  <a:gd name="connsiteX4" fmla="*/ 0 w 895350"/>
                  <a:gd name="connsiteY4" fmla="*/ 244793 h 342900"/>
                  <a:gd name="connsiteX5" fmla="*/ 233363 w 895350"/>
                  <a:gd name="connsiteY5" fmla="*/ 294322 h 342900"/>
                  <a:gd name="connsiteX6" fmla="*/ 370523 w 895350"/>
                  <a:gd name="connsiteY6" fmla="*/ 222885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95350" h="342900">
                    <a:moveTo>
                      <a:pt x="902018" y="0"/>
                    </a:moveTo>
                    <a:cubicBezTo>
                      <a:pt x="902018" y="0"/>
                      <a:pt x="933450" y="257175"/>
                      <a:pt x="732473" y="250508"/>
                    </a:cubicBezTo>
                    <a:cubicBezTo>
                      <a:pt x="591503" y="245745"/>
                      <a:pt x="603885" y="16193"/>
                      <a:pt x="450533" y="16193"/>
                    </a:cubicBezTo>
                    <a:lnTo>
                      <a:pt x="233363" y="16193"/>
                    </a:lnTo>
                    <a:cubicBezTo>
                      <a:pt x="117157" y="16193"/>
                      <a:pt x="0" y="60960"/>
                      <a:pt x="0" y="244793"/>
                    </a:cubicBezTo>
                    <a:cubicBezTo>
                      <a:pt x="0" y="344805"/>
                      <a:pt x="51435" y="381953"/>
                      <a:pt x="233363" y="294322"/>
                    </a:cubicBezTo>
                    <a:cubicBezTo>
                      <a:pt x="260033" y="280988"/>
                      <a:pt x="370523" y="222885"/>
                      <a:pt x="370523" y="222885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8DA30AD8-6C51-4608-B72D-CD681A8EE165}"/>
                  </a:ext>
                </a:extLst>
              </p:cNvPr>
              <p:cNvSpPr/>
              <p:nvPr/>
            </p:nvSpPr>
            <p:spPr>
              <a:xfrm>
                <a:off x="8486396" y="1862710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/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40E37095-A5CE-47F2-8958-0D7BAF2BC16A}"/>
                  </a:ext>
                </a:extLst>
              </p:cNvPr>
              <p:cNvSpPr/>
              <p:nvPr/>
            </p:nvSpPr>
            <p:spPr>
              <a:xfrm>
                <a:off x="11464864" y="3523173"/>
                <a:ext cx="590550" cy="476250"/>
              </a:xfrm>
              <a:custGeom>
                <a:avLst/>
                <a:gdLst>
                  <a:gd name="connsiteX0" fmla="*/ 0 w 590550"/>
                  <a:gd name="connsiteY0" fmla="*/ 466469 h 476250"/>
                  <a:gd name="connsiteX1" fmla="*/ 145732 w 590550"/>
                  <a:gd name="connsiteY1" fmla="*/ 457897 h 476250"/>
                  <a:gd name="connsiteX2" fmla="*/ 248602 w 590550"/>
                  <a:gd name="connsiteY2" fmla="*/ 34987 h 476250"/>
                  <a:gd name="connsiteX3" fmla="*/ 438150 w 590550"/>
                  <a:gd name="connsiteY3" fmla="*/ 2602 h 476250"/>
                  <a:gd name="connsiteX4" fmla="*/ 598170 w 590550"/>
                  <a:gd name="connsiteY4" fmla="*/ 141667 h 47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550" h="476250">
                    <a:moveTo>
                      <a:pt x="0" y="466469"/>
                    </a:moveTo>
                    <a:cubicBezTo>
                      <a:pt x="0" y="466469"/>
                      <a:pt x="97155" y="512189"/>
                      <a:pt x="145732" y="457897"/>
                    </a:cubicBezTo>
                    <a:cubicBezTo>
                      <a:pt x="196215" y="401699"/>
                      <a:pt x="41910" y="76897"/>
                      <a:pt x="248602" y="34987"/>
                    </a:cubicBezTo>
                    <a:lnTo>
                      <a:pt x="438150" y="2602"/>
                    </a:lnTo>
                    <a:cubicBezTo>
                      <a:pt x="504825" y="-13591"/>
                      <a:pt x="598170" y="47369"/>
                      <a:pt x="598170" y="141667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92235518-516D-49E0-87F0-51482294E251}"/>
                  </a:ext>
                </a:extLst>
              </p:cNvPr>
              <p:cNvSpPr/>
              <p:nvPr/>
            </p:nvSpPr>
            <p:spPr>
              <a:xfrm>
                <a:off x="11718997" y="4198240"/>
                <a:ext cx="66675" cy="371475"/>
              </a:xfrm>
              <a:custGeom>
                <a:avLst/>
                <a:gdLst>
                  <a:gd name="connsiteX0" fmla="*/ 67812 w 66675"/>
                  <a:gd name="connsiteY0" fmla="*/ 378142 h 371475"/>
                  <a:gd name="connsiteX1" fmla="*/ 18281 w 66675"/>
                  <a:gd name="connsiteY1" fmla="*/ 0 h 371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675" h="371475">
                    <a:moveTo>
                      <a:pt x="67812" y="378142"/>
                    </a:moveTo>
                    <a:cubicBezTo>
                      <a:pt x="3994" y="188595"/>
                      <a:pt x="-19819" y="83820"/>
                      <a:pt x="18281" y="0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722EBFA5-5B03-4616-AFA3-8C57CA1C4BF0}"/>
                  </a:ext>
                </a:extLst>
              </p:cNvPr>
              <p:cNvSpPr/>
              <p:nvPr/>
            </p:nvSpPr>
            <p:spPr>
              <a:xfrm>
                <a:off x="11408839" y="3759138"/>
                <a:ext cx="285750" cy="828675"/>
              </a:xfrm>
              <a:custGeom>
                <a:avLst/>
                <a:gdLst>
                  <a:gd name="connsiteX0" fmla="*/ 270337 w 285750"/>
                  <a:gd name="connsiteY0" fmla="*/ 0 h 828675"/>
                  <a:gd name="connsiteX1" fmla="*/ 268432 w 285750"/>
                  <a:gd name="connsiteY1" fmla="*/ 290513 h 828675"/>
                  <a:gd name="connsiteX2" fmla="*/ 5542 w 285750"/>
                  <a:gd name="connsiteY2" fmla="*/ 353377 h 828675"/>
                  <a:gd name="connsiteX3" fmla="*/ 173182 w 285750"/>
                  <a:gd name="connsiteY3" fmla="*/ 837247 h 828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0" h="828675">
                    <a:moveTo>
                      <a:pt x="270337" y="0"/>
                    </a:moveTo>
                    <a:cubicBezTo>
                      <a:pt x="273194" y="4763"/>
                      <a:pt x="317009" y="241935"/>
                      <a:pt x="268432" y="290513"/>
                    </a:cubicBezTo>
                    <a:cubicBezTo>
                      <a:pt x="206519" y="352425"/>
                      <a:pt x="47452" y="212407"/>
                      <a:pt x="5542" y="353377"/>
                    </a:cubicBezTo>
                    <a:cubicBezTo>
                      <a:pt x="-36368" y="494347"/>
                      <a:pt x="173182" y="837247"/>
                      <a:pt x="173182" y="837247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612D2CC1-DCAD-4D73-B189-782CBDCDD618}"/>
                  </a:ext>
                </a:extLst>
              </p:cNvPr>
              <p:cNvSpPr/>
              <p:nvPr/>
            </p:nvSpPr>
            <p:spPr>
              <a:xfrm>
                <a:off x="11660858" y="3210355"/>
                <a:ext cx="247650" cy="333375"/>
              </a:xfrm>
              <a:custGeom>
                <a:avLst/>
                <a:gdLst>
                  <a:gd name="connsiteX0" fmla="*/ 121188 w 247650"/>
                  <a:gd name="connsiteY0" fmla="*/ 334470 h 333375"/>
                  <a:gd name="connsiteX1" fmla="*/ 220 w 247650"/>
                  <a:gd name="connsiteY1" fmla="*/ 161114 h 333375"/>
                  <a:gd name="connsiteX2" fmla="*/ 132618 w 247650"/>
                  <a:gd name="connsiteY2" fmla="*/ 142 h 333375"/>
                  <a:gd name="connsiteX3" fmla="*/ 249775 w 247650"/>
                  <a:gd name="connsiteY3" fmla="*/ 172545 h 333375"/>
                  <a:gd name="connsiteX4" fmla="*/ 234535 w 247650"/>
                  <a:gd name="connsiteY4" fmla="*/ 231600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7650" h="333375">
                    <a:moveTo>
                      <a:pt x="121188" y="334470"/>
                    </a:moveTo>
                    <a:cubicBezTo>
                      <a:pt x="68800" y="331612"/>
                      <a:pt x="4030" y="264937"/>
                      <a:pt x="220" y="161114"/>
                    </a:cubicBezTo>
                    <a:cubicBezTo>
                      <a:pt x="-3590" y="69675"/>
                      <a:pt x="42130" y="-3668"/>
                      <a:pt x="132618" y="142"/>
                    </a:cubicBezTo>
                    <a:cubicBezTo>
                      <a:pt x="224058" y="3952"/>
                      <a:pt x="262158" y="81105"/>
                      <a:pt x="249775" y="172545"/>
                    </a:cubicBezTo>
                    <a:cubicBezTo>
                      <a:pt x="246918" y="194452"/>
                      <a:pt x="241203" y="214455"/>
                      <a:pt x="234535" y="231600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51D9045D-3C6D-43CC-9371-AD75DDBCEC8B}"/>
                  </a:ext>
                </a:extLst>
              </p:cNvPr>
              <p:cNvSpPr/>
              <p:nvPr/>
            </p:nvSpPr>
            <p:spPr>
              <a:xfrm>
                <a:off x="11982071" y="4199193"/>
                <a:ext cx="9525" cy="390525"/>
              </a:xfrm>
              <a:custGeom>
                <a:avLst/>
                <a:gdLst>
                  <a:gd name="connsiteX0" fmla="*/ 0 w 0"/>
                  <a:gd name="connsiteY0" fmla="*/ 0 h 390525"/>
                  <a:gd name="connsiteX1" fmla="*/ 0 w 0"/>
                  <a:gd name="connsiteY1" fmla="*/ 390525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390525">
                    <a:moveTo>
                      <a:pt x="0" y="0"/>
                    </a:moveTo>
                    <a:lnTo>
                      <a:pt x="0" y="390525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DC44E0D0-0710-4796-BDEA-E10439CFB73B}"/>
                  </a:ext>
                </a:extLst>
              </p:cNvPr>
              <p:cNvSpPr/>
              <p:nvPr/>
            </p:nvSpPr>
            <p:spPr>
              <a:xfrm>
                <a:off x="11656316" y="4291585"/>
                <a:ext cx="9525" cy="295275"/>
              </a:xfrm>
              <a:custGeom>
                <a:avLst/>
                <a:gdLst>
                  <a:gd name="connsiteX0" fmla="*/ 0 w 0"/>
                  <a:gd name="connsiteY0" fmla="*/ 0 h 295275"/>
                  <a:gd name="connsiteX1" fmla="*/ 0 w 0"/>
                  <a:gd name="connsiteY1" fmla="*/ 298132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95275">
                    <a:moveTo>
                      <a:pt x="0" y="0"/>
                    </a:moveTo>
                    <a:lnTo>
                      <a:pt x="0" y="298132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AC578BFC-EBE9-4423-AFBC-5CA4568816B6}"/>
                  </a:ext>
                </a:extLst>
              </p:cNvPr>
              <p:cNvSpPr/>
              <p:nvPr/>
            </p:nvSpPr>
            <p:spPr>
              <a:xfrm>
                <a:off x="11553446" y="3663888"/>
                <a:ext cx="619125" cy="533400"/>
              </a:xfrm>
              <a:custGeom>
                <a:avLst/>
                <a:gdLst>
                  <a:gd name="connsiteX0" fmla="*/ 183832 w 619125"/>
                  <a:gd name="connsiteY0" fmla="*/ 433388 h 533400"/>
                  <a:gd name="connsiteX1" fmla="*/ 291465 w 619125"/>
                  <a:gd name="connsiteY1" fmla="*/ 40957 h 533400"/>
                  <a:gd name="connsiteX2" fmla="*/ 346710 w 619125"/>
                  <a:gd name="connsiteY2" fmla="*/ 0 h 533400"/>
                  <a:gd name="connsiteX3" fmla="*/ 569595 w 619125"/>
                  <a:gd name="connsiteY3" fmla="*/ 0 h 533400"/>
                  <a:gd name="connsiteX4" fmla="*/ 624840 w 619125"/>
                  <a:gd name="connsiteY4" fmla="*/ 75247 h 533400"/>
                  <a:gd name="connsiteX5" fmla="*/ 521970 w 619125"/>
                  <a:gd name="connsiteY5" fmla="*/ 475297 h 533400"/>
                  <a:gd name="connsiteX6" fmla="*/ 444818 w 619125"/>
                  <a:gd name="connsiteY6" fmla="*/ 535305 h 533400"/>
                  <a:gd name="connsiteX7" fmla="*/ 0 w 619125"/>
                  <a:gd name="connsiteY7" fmla="*/ 535305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19125" h="533400">
                    <a:moveTo>
                      <a:pt x="183832" y="433388"/>
                    </a:moveTo>
                    <a:lnTo>
                      <a:pt x="291465" y="40957"/>
                    </a:lnTo>
                    <a:cubicBezTo>
                      <a:pt x="299085" y="17145"/>
                      <a:pt x="320993" y="0"/>
                      <a:pt x="346710" y="0"/>
                    </a:cubicBezTo>
                    <a:lnTo>
                      <a:pt x="569595" y="0"/>
                    </a:lnTo>
                    <a:cubicBezTo>
                      <a:pt x="608647" y="0"/>
                      <a:pt x="636270" y="38100"/>
                      <a:pt x="624840" y="75247"/>
                    </a:cubicBezTo>
                    <a:lnTo>
                      <a:pt x="521970" y="475297"/>
                    </a:lnTo>
                    <a:cubicBezTo>
                      <a:pt x="513397" y="510540"/>
                      <a:pt x="481013" y="535305"/>
                      <a:pt x="444818" y="535305"/>
                    </a:cubicBezTo>
                    <a:lnTo>
                      <a:pt x="0" y="535305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2A1E2924-6885-41C6-B663-B2B4A34AC771}"/>
                  </a:ext>
                </a:extLst>
              </p:cNvPr>
              <p:cNvSpPr/>
              <p:nvPr/>
            </p:nvSpPr>
            <p:spPr>
              <a:xfrm>
                <a:off x="11151491" y="4199193"/>
                <a:ext cx="9525" cy="390525"/>
              </a:xfrm>
              <a:custGeom>
                <a:avLst/>
                <a:gdLst>
                  <a:gd name="connsiteX0" fmla="*/ 0 w 0"/>
                  <a:gd name="connsiteY0" fmla="*/ 0 h 390525"/>
                  <a:gd name="connsiteX1" fmla="*/ 0 w 0"/>
                  <a:gd name="connsiteY1" fmla="*/ 390525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390525">
                    <a:moveTo>
                      <a:pt x="0" y="0"/>
                    </a:moveTo>
                    <a:lnTo>
                      <a:pt x="0" y="390525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1AFBB8DF-06B9-4133-B938-0FCFBB1CF6D1}"/>
                  </a:ext>
                </a:extLst>
              </p:cNvPr>
              <p:cNvSpPr/>
              <p:nvPr/>
            </p:nvSpPr>
            <p:spPr>
              <a:xfrm>
                <a:off x="8486396" y="1862710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/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2C9B2E8D-24F8-417F-BB6B-1E1CECE94CC0}"/>
                  </a:ext>
                </a:extLst>
              </p:cNvPr>
              <p:cNvSpPr/>
              <p:nvPr/>
            </p:nvSpPr>
            <p:spPr>
              <a:xfrm>
                <a:off x="10583801" y="3538743"/>
                <a:ext cx="723900" cy="257175"/>
              </a:xfrm>
              <a:custGeom>
                <a:avLst/>
                <a:gdLst>
                  <a:gd name="connsiteX0" fmla="*/ 0 w 723900"/>
                  <a:gd name="connsiteY0" fmla="*/ 27989 h 257175"/>
                  <a:gd name="connsiteX1" fmla="*/ 206692 w 723900"/>
                  <a:gd name="connsiteY1" fmla="*/ 250874 h 257175"/>
                  <a:gd name="connsiteX2" fmla="*/ 415290 w 723900"/>
                  <a:gd name="connsiteY2" fmla="*/ 367 h 257175"/>
                  <a:gd name="connsiteX3" fmla="*/ 587693 w 723900"/>
                  <a:gd name="connsiteY3" fmla="*/ 367 h 257175"/>
                  <a:gd name="connsiteX4" fmla="*/ 729615 w 723900"/>
                  <a:gd name="connsiteY4" fmla="*/ 128954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3900" h="257175">
                    <a:moveTo>
                      <a:pt x="0" y="27989"/>
                    </a:moveTo>
                    <a:cubicBezTo>
                      <a:pt x="0" y="27989"/>
                      <a:pt x="97155" y="306119"/>
                      <a:pt x="206692" y="250874"/>
                    </a:cubicBezTo>
                    <a:cubicBezTo>
                      <a:pt x="289560" y="208964"/>
                      <a:pt x="282892" y="4177"/>
                      <a:pt x="415290" y="367"/>
                    </a:cubicBezTo>
                    <a:lnTo>
                      <a:pt x="587693" y="367"/>
                    </a:lnTo>
                    <a:cubicBezTo>
                      <a:pt x="655320" y="-5348"/>
                      <a:pt x="741045" y="56564"/>
                      <a:pt x="729615" y="128954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ACC14564-F45E-485C-ABFD-2587678BAFFA}"/>
                  </a:ext>
                </a:extLst>
              </p:cNvPr>
              <p:cNvSpPr/>
              <p:nvPr/>
            </p:nvSpPr>
            <p:spPr>
              <a:xfrm>
                <a:off x="10901738" y="4198240"/>
                <a:ext cx="190500" cy="352425"/>
              </a:xfrm>
              <a:custGeom>
                <a:avLst/>
                <a:gdLst>
                  <a:gd name="connsiteX0" fmla="*/ 195461 w 190500"/>
                  <a:gd name="connsiteY0" fmla="*/ 352425 h 352425"/>
                  <a:gd name="connsiteX1" fmla="*/ 5913 w 190500"/>
                  <a:gd name="connsiteY1" fmla="*/ 0 h 352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0" h="352425">
                    <a:moveTo>
                      <a:pt x="195461" y="352425"/>
                    </a:moveTo>
                    <a:cubicBezTo>
                      <a:pt x="131643" y="162877"/>
                      <a:pt x="-33139" y="83820"/>
                      <a:pt x="5913" y="0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E1B650EE-FF2A-4860-80AB-7A37BC1C4A7B}"/>
                  </a:ext>
                </a:extLst>
              </p:cNvPr>
              <p:cNvSpPr/>
              <p:nvPr/>
            </p:nvSpPr>
            <p:spPr>
              <a:xfrm>
                <a:off x="10578259" y="3742945"/>
                <a:ext cx="323850" cy="847725"/>
              </a:xfrm>
              <a:custGeom>
                <a:avLst/>
                <a:gdLst>
                  <a:gd name="connsiteX0" fmla="*/ 328439 w 323850"/>
                  <a:gd name="connsiteY0" fmla="*/ 0 h 847725"/>
                  <a:gd name="connsiteX1" fmla="*/ 268432 w 323850"/>
                  <a:gd name="connsiteY1" fmla="*/ 307658 h 847725"/>
                  <a:gd name="connsiteX2" fmla="*/ 5542 w 323850"/>
                  <a:gd name="connsiteY2" fmla="*/ 370523 h 847725"/>
                  <a:gd name="connsiteX3" fmla="*/ 173182 w 323850"/>
                  <a:gd name="connsiteY3" fmla="*/ 854393 h 847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3850" h="847725">
                    <a:moveTo>
                      <a:pt x="328439" y="0"/>
                    </a:moveTo>
                    <a:cubicBezTo>
                      <a:pt x="331297" y="4763"/>
                      <a:pt x="317009" y="258128"/>
                      <a:pt x="268432" y="307658"/>
                    </a:cubicBezTo>
                    <a:cubicBezTo>
                      <a:pt x="206519" y="369570"/>
                      <a:pt x="47452" y="229553"/>
                      <a:pt x="5542" y="370523"/>
                    </a:cubicBezTo>
                    <a:cubicBezTo>
                      <a:pt x="-36368" y="511493"/>
                      <a:pt x="173182" y="854393"/>
                      <a:pt x="173182" y="854393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F4057687-1ABA-4034-9004-32BF9D324325}"/>
                  </a:ext>
                </a:extLst>
              </p:cNvPr>
              <p:cNvSpPr/>
              <p:nvPr/>
            </p:nvSpPr>
            <p:spPr>
              <a:xfrm>
                <a:off x="10954306" y="3209361"/>
                <a:ext cx="247650" cy="323850"/>
              </a:xfrm>
              <a:custGeom>
                <a:avLst/>
                <a:gdLst>
                  <a:gd name="connsiteX0" fmla="*/ 90505 w 247650"/>
                  <a:gd name="connsiteY0" fmla="*/ 329749 h 323850"/>
                  <a:gd name="connsiteX1" fmla="*/ 1922 w 247650"/>
                  <a:gd name="connsiteY1" fmla="*/ 141154 h 323850"/>
                  <a:gd name="connsiteX2" fmla="*/ 158132 w 247650"/>
                  <a:gd name="connsiteY2" fmla="*/ 3042 h 323850"/>
                  <a:gd name="connsiteX3" fmla="*/ 246715 w 247650"/>
                  <a:gd name="connsiteY3" fmla="*/ 191637 h 323850"/>
                  <a:gd name="connsiteX4" fmla="*/ 222902 w 247650"/>
                  <a:gd name="connsiteY4" fmla="*/ 247834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7650" h="323850">
                    <a:moveTo>
                      <a:pt x="90505" y="329749"/>
                    </a:moveTo>
                    <a:cubicBezTo>
                      <a:pt x="39070" y="319272"/>
                      <a:pt x="-10460" y="244024"/>
                      <a:pt x="1922" y="141154"/>
                    </a:cubicBezTo>
                    <a:cubicBezTo>
                      <a:pt x="12400" y="49714"/>
                      <a:pt x="68597" y="-15056"/>
                      <a:pt x="158132" y="3042"/>
                    </a:cubicBezTo>
                    <a:cubicBezTo>
                      <a:pt x="247667" y="21139"/>
                      <a:pt x="273385" y="103054"/>
                      <a:pt x="246715" y="191637"/>
                    </a:cubicBezTo>
                    <a:cubicBezTo>
                      <a:pt x="240047" y="212592"/>
                      <a:pt x="232427" y="231642"/>
                      <a:pt x="222902" y="247834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7CA192E9-4242-4859-90BA-383D49206CF9}"/>
                  </a:ext>
                </a:extLst>
              </p:cNvPr>
              <p:cNvSpPr/>
              <p:nvPr/>
            </p:nvSpPr>
            <p:spPr>
              <a:xfrm>
                <a:off x="10826689" y="4291585"/>
                <a:ext cx="9525" cy="295275"/>
              </a:xfrm>
              <a:custGeom>
                <a:avLst/>
                <a:gdLst>
                  <a:gd name="connsiteX0" fmla="*/ 0 w 0"/>
                  <a:gd name="connsiteY0" fmla="*/ 0 h 295275"/>
                  <a:gd name="connsiteX1" fmla="*/ 0 w 0"/>
                  <a:gd name="connsiteY1" fmla="*/ 298132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95275">
                    <a:moveTo>
                      <a:pt x="0" y="0"/>
                    </a:moveTo>
                    <a:lnTo>
                      <a:pt x="0" y="298132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7E452D8C-8140-41B9-99C2-CA3D48A69A44}"/>
                  </a:ext>
                </a:extLst>
              </p:cNvPr>
              <p:cNvSpPr/>
              <p:nvPr/>
            </p:nvSpPr>
            <p:spPr>
              <a:xfrm>
                <a:off x="10723818" y="3663888"/>
                <a:ext cx="619125" cy="533400"/>
              </a:xfrm>
              <a:custGeom>
                <a:avLst/>
                <a:gdLst>
                  <a:gd name="connsiteX0" fmla="*/ 183833 w 619125"/>
                  <a:gd name="connsiteY0" fmla="*/ 433388 h 533400"/>
                  <a:gd name="connsiteX1" fmla="*/ 291465 w 619125"/>
                  <a:gd name="connsiteY1" fmla="*/ 40957 h 533400"/>
                  <a:gd name="connsiteX2" fmla="*/ 346710 w 619125"/>
                  <a:gd name="connsiteY2" fmla="*/ 0 h 533400"/>
                  <a:gd name="connsiteX3" fmla="*/ 569595 w 619125"/>
                  <a:gd name="connsiteY3" fmla="*/ 0 h 533400"/>
                  <a:gd name="connsiteX4" fmla="*/ 624840 w 619125"/>
                  <a:gd name="connsiteY4" fmla="*/ 75247 h 533400"/>
                  <a:gd name="connsiteX5" fmla="*/ 521970 w 619125"/>
                  <a:gd name="connsiteY5" fmla="*/ 475297 h 533400"/>
                  <a:gd name="connsiteX6" fmla="*/ 444818 w 619125"/>
                  <a:gd name="connsiteY6" fmla="*/ 535305 h 533400"/>
                  <a:gd name="connsiteX7" fmla="*/ 0 w 619125"/>
                  <a:gd name="connsiteY7" fmla="*/ 535305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19125" h="533400">
                    <a:moveTo>
                      <a:pt x="183833" y="433388"/>
                    </a:moveTo>
                    <a:lnTo>
                      <a:pt x="291465" y="40957"/>
                    </a:lnTo>
                    <a:cubicBezTo>
                      <a:pt x="299085" y="17145"/>
                      <a:pt x="320993" y="0"/>
                      <a:pt x="346710" y="0"/>
                    </a:cubicBezTo>
                    <a:lnTo>
                      <a:pt x="569595" y="0"/>
                    </a:lnTo>
                    <a:cubicBezTo>
                      <a:pt x="608647" y="0"/>
                      <a:pt x="636270" y="38100"/>
                      <a:pt x="624840" y="75247"/>
                    </a:cubicBezTo>
                    <a:lnTo>
                      <a:pt x="521970" y="475297"/>
                    </a:lnTo>
                    <a:cubicBezTo>
                      <a:pt x="513397" y="510540"/>
                      <a:pt x="481013" y="535305"/>
                      <a:pt x="444818" y="535305"/>
                    </a:cubicBezTo>
                    <a:lnTo>
                      <a:pt x="0" y="535305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3DC36485-298D-4EBB-8C49-AE25F55AFE3F}"/>
                  </a:ext>
                </a:extLst>
              </p:cNvPr>
              <p:cNvSpPr/>
              <p:nvPr/>
            </p:nvSpPr>
            <p:spPr>
              <a:xfrm>
                <a:off x="8486396" y="1862710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/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19B6A64F-01FC-4243-87F8-D521BBA2904B}"/>
                  </a:ext>
                </a:extLst>
              </p:cNvPr>
              <p:cNvSpPr/>
              <p:nvPr/>
            </p:nvSpPr>
            <p:spPr>
              <a:xfrm>
                <a:off x="9933243" y="3537769"/>
                <a:ext cx="533400" cy="542925"/>
              </a:xfrm>
              <a:custGeom>
                <a:avLst/>
                <a:gdLst>
                  <a:gd name="connsiteX0" fmla="*/ 0 w 533400"/>
                  <a:gd name="connsiteY0" fmla="*/ 551886 h 542925"/>
                  <a:gd name="connsiteX1" fmla="*/ 82868 w 533400"/>
                  <a:gd name="connsiteY1" fmla="*/ 186126 h 542925"/>
                  <a:gd name="connsiteX2" fmla="*/ 220028 w 533400"/>
                  <a:gd name="connsiteY2" fmla="*/ 388 h 542925"/>
                  <a:gd name="connsiteX3" fmla="*/ 421958 w 533400"/>
                  <a:gd name="connsiteY3" fmla="*/ 388 h 542925"/>
                  <a:gd name="connsiteX4" fmla="*/ 538163 w 533400"/>
                  <a:gd name="connsiteY4" fmla="*/ 125166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400" h="542925">
                    <a:moveTo>
                      <a:pt x="0" y="551886"/>
                    </a:moveTo>
                    <a:cubicBezTo>
                      <a:pt x="90488" y="474733"/>
                      <a:pt x="64770" y="313761"/>
                      <a:pt x="82868" y="186126"/>
                    </a:cubicBezTo>
                    <a:cubicBezTo>
                      <a:pt x="97155" y="85161"/>
                      <a:pt x="150495" y="7056"/>
                      <a:pt x="220028" y="388"/>
                    </a:cubicBezTo>
                    <a:lnTo>
                      <a:pt x="421958" y="388"/>
                    </a:lnTo>
                    <a:cubicBezTo>
                      <a:pt x="489585" y="-5327"/>
                      <a:pt x="549593" y="52776"/>
                      <a:pt x="538163" y="125166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30C04636-432A-436A-BDD3-72B7B071D276}"/>
                  </a:ext>
                </a:extLst>
              </p:cNvPr>
              <p:cNvSpPr/>
              <p:nvPr/>
            </p:nvSpPr>
            <p:spPr>
              <a:xfrm>
                <a:off x="9718931" y="4198240"/>
                <a:ext cx="371475" cy="352425"/>
              </a:xfrm>
              <a:custGeom>
                <a:avLst/>
                <a:gdLst>
                  <a:gd name="connsiteX0" fmla="*/ 0 w 371475"/>
                  <a:gd name="connsiteY0" fmla="*/ 352425 h 352425"/>
                  <a:gd name="connsiteX1" fmla="*/ 377190 w 371475"/>
                  <a:gd name="connsiteY1" fmla="*/ 0 h 352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1475" h="352425">
                    <a:moveTo>
                      <a:pt x="0" y="352425"/>
                    </a:moveTo>
                    <a:cubicBezTo>
                      <a:pt x="223838" y="258127"/>
                      <a:pt x="148590" y="0"/>
                      <a:pt x="377190" y="0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B7E446C9-CD53-48C6-96A9-1CD90E4E22B8}"/>
                  </a:ext>
                </a:extLst>
              </p:cNvPr>
              <p:cNvSpPr/>
              <p:nvPr/>
            </p:nvSpPr>
            <p:spPr>
              <a:xfrm>
                <a:off x="9827716" y="3742945"/>
                <a:ext cx="266700" cy="847725"/>
              </a:xfrm>
              <a:custGeom>
                <a:avLst/>
                <a:gdLst>
                  <a:gd name="connsiteX0" fmla="*/ 268405 w 266700"/>
                  <a:gd name="connsiteY0" fmla="*/ 0 h 847725"/>
                  <a:gd name="connsiteX1" fmla="*/ 208398 w 266700"/>
                  <a:gd name="connsiteY1" fmla="*/ 307658 h 847725"/>
                  <a:gd name="connsiteX2" fmla="*/ 15040 w 266700"/>
                  <a:gd name="connsiteY2" fmla="*/ 456248 h 847725"/>
                  <a:gd name="connsiteX3" fmla="*/ 104575 w 266700"/>
                  <a:gd name="connsiteY3" fmla="*/ 847725 h 847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6700" h="847725">
                    <a:moveTo>
                      <a:pt x="268405" y="0"/>
                    </a:moveTo>
                    <a:cubicBezTo>
                      <a:pt x="271263" y="4763"/>
                      <a:pt x="256975" y="258128"/>
                      <a:pt x="208398" y="307658"/>
                    </a:cubicBezTo>
                    <a:cubicBezTo>
                      <a:pt x="146485" y="369570"/>
                      <a:pt x="-56398" y="326708"/>
                      <a:pt x="15040" y="456248"/>
                    </a:cubicBezTo>
                    <a:cubicBezTo>
                      <a:pt x="111243" y="632460"/>
                      <a:pt x="104575" y="847725"/>
                      <a:pt x="104575" y="847725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37A1A67A-F6C2-4FAC-885E-C39B50CC543E}"/>
                  </a:ext>
                </a:extLst>
              </p:cNvPr>
              <p:cNvSpPr/>
              <p:nvPr/>
            </p:nvSpPr>
            <p:spPr>
              <a:xfrm>
                <a:off x="10142805" y="3208408"/>
                <a:ext cx="247650" cy="323850"/>
              </a:xfrm>
              <a:custGeom>
                <a:avLst/>
                <a:gdLst>
                  <a:gd name="connsiteX0" fmla="*/ 91428 w 247650"/>
                  <a:gd name="connsiteY0" fmla="*/ 329749 h 323850"/>
                  <a:gd name="connsiteX1" fmla="*/ 1893 w 247650"/>
                  <a:gd name="connsiteY1" fmla="*/ 141154 h 323850"/>
                  <a:gd name="connsiteX2" fmla="*/ 158103 w 247650"/>
                  <a:gd name="connsiteY2" fmla="*/ 3042 h 323850"/>
                  <a:gd name="connsiteX3" fmla="*/ 246686 w 247650"/>
                  <a:gd name="connsiteY3" fmla="*/ 191637 h 323850"/>
                  <a:gd name="connsiteX4" fmla="*/ 222873 w 247650"/>
                  <a:gd name="connsiteY4" fmla="*/ 247834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7650" h="323850">
                    <a:moveTo>
                      <a:pt x="91428" y="329749"/>
                    </a:moveTo>
                    <a:cubicBezTo>
                      <a:pt x="39993" y="319272"/>
                      <a:pt x="-10489" y="244024"/>
                      <a:pt x="1893" y="141154"/>
                    </a:cubicBezTo>
                    <a:cubicBezTo>
                      <a:pt x="12371" y="49714"/>
                      <a:pt x="68568" y="-15056"/>
                      <a:pt x="158103" y="3042"/>
                    </a:cubicBezTo>
                    <a:cubicBezTo>
                      <a:pt x="247638" y="21139"/>
                      <a:pt x="273356" y="103054"/>
                      <a:pt x="246686" y="191637"/>
                    </a:cubicBezTo>
                    <a:cubicBezTo>
                      <a:pt x="240018" y="212592"/>
                      <a:pt x="232398" y="231642"/>
                      <a:pt x="222873" y="247834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C27A0336-6CB9-4603-8771-3F84298CD2EC}"/>
                  </a:ext>
                </a:extLst>
              </p:cNvPr>
              <p:cNvSpPr/>
              <p:nvPr/>
            </p:nvSpPr>
            <p:spPr>
              <a:xfrm>
                <a:off x="10340914" y="4199193"/>
                <a:ext cx="9525" cy="390525"/>
              </a:xfrm>
              <a:custGeom>
                <a:avLst/>
                <a:gdLst>
                  <a:gd name="connsiteX0" fmla="*/ 0 w 0"/>
                  <a:gd name="connsiteY0" fmla="*/ 0 h 390525"/>
                  <a:gd name="connsiteX1" fmla="*/ 0 w 0"/>
                  <a:gd name="connsiteY1" fmla="*/ 390525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390525">
                    <a:moveTo>
                      <a:pt x="0" y="0"/>
                    </a:moveTo>
                    <a:lnTo>
                      <a:pt x="0" y="390525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92200342-39C7-4A33-AE71-FD181FADDC36}"/>
                  </a:ext>
                </a:extLst>
              </p:cNvPr>
              <p:cNvSpPr/>
              <p:nvPr/>
            </p:nvSpPr>
            <p:spPr>
              <a:xfrm>
                <a:off x="10016111" y="4291585"/>
                <a:ext cx="9525" cy="295275"/>
              </a:xfrm>
              <a:custGeom>
                <a:avLst/>
                <a:gdLst>
                  <a:gd name="connsiteX0" fmla="*/ 0 w 0"/>
                  <a:gd name="connsiteY0" fmla="*/ 0 h 295275"/>
                  <a:gd name="connsiteX1" fmla="*/ 0 w 0"/>
                  <a:gd name="connsiteY1" fmla="*/ 298132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95275">
                    <a:moveTo>
                      <a:pt x="0" y="0"/>
                    </a:moveTo>
                    <a:lnTo>
                      <a:pt x="0" y="298132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6E6E82FA-0A8F-468B-AC2A-DBA0BC002038}"/>
                  </a:ext>
                </a:extLst>
              </p:cNvPr>
              <p:cNvSpPr/>
              <p:nvPr/>
            </p:nvSpPr>
            <p:spPr>
              <a:xfrm>
                <a:off x="9912288" y="3663888"/>
                <a:ext cx="619125" cy="533400"/>
              </a:xfrm>
              <a:custGeom>
                <a:avLst/>
                <a:gdLst>
                  <a:gd name="connsiteX0" fmla="*/ 183833 w 619125"/>
                  <a:gd name="connsiteY0" fmla="*/ 433388 h 533400"/>
                  <a:gd name="connsiteX1" fmla="*/ 291465 w 619125"/>
                  <a:gd name="connsiteY1" fmla="*/ 40957 h 533400"/>
                  <a:gd name="connsiteX2" fmla="*/ 346710 w 619125"/>
                  <a:gd name="connsiteY2" fmla="*/ 0 h 533400"/>
                  <a:gd name="connsiteX3" fmla="*/ 569595 w 619125"/>
                  <a:gd name="connsiteY3" fmla="*/ 0 h 533400"/>
                  <a:gd name="connsiteX4" fmla="*/ 624840 w 619125"/>
                  <a:gd name="connsiteY4" fmla="*/ 75247 h 533400"/>
                  <a:gd name="connsiteX5" fmla="*/ 521970 w 619125"/>
                  <a:gd name="connsiteY5" fmla="*/ 475297 h 533400"/>
                  <a:gd name="connsiteX6" fmla="*/ 444817 w 619125"/>
                  <a:gd name="connsiteY6" fmla="*/ 535305 h 533400"/>
                  <a:gd name="connsiteX7" fmla="*/ 0 w 619125"/>
                  <a:gd name="connsiteY7" fmla="*/ 535305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19125" h="533400">
                    <a:moveTo>
                      <a:pt x="183833" y="433388"/>
                    </a:moveTo>
                    <a:lnTo>
                      <a:pt x="291465" y="40957"/>
                    </a:lnTo>
                    <a:cubicBezTo>
                      <a:pt x="299085" y="17145"/>
                      <a:pt x="320992" y="0"/>
                      <a:pt x="346710" y="0"/>
                    </a:cubicBezTo>
                    <a:lnTo>
                      <a:pt x="569595" y="0"/>
                    </a:lnTo>
                    <a:cubicBezTo>
                      <a:pt x="608648" y="0"/>
                      <a:pt x="636270" y="38100"/>
                      <a:pt x="624840" y="75247"/>
                    </a:cubicBezTo>
                    <a:lnTo>
                      <a:pt x="521970" y="475297"/>
                    </a:lnTo>
                    <a:cubicBezTo>
                      <a:pt x="513398" y="510540"/>
                      <a:pt x="481013" y="535305"/>
                      <a:pt x="444817" y="535305"/>
                    </a:cubicBezTo>
                    <a:lnTo>
                      <a:pt x="0" y="535305"/>
                    </a:ln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F3EC30FC-7050-49E4-93E6-52FB3384C5B5}"/>
                  </a:ext>
                </a:extLst>
              </p:cNvPr>
              <p:cNvSpPr/>
              <p:nvPr/>
            </p:nvSpPr>
            <p:spPr>
              <a:xfrm>
                <a:off x="8486396" y="1862710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/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8098949E-0FD1-4E55-B49F-7A5AFC88D913}"/>
                  </a:ext>
                </a:extLst>
              </p:cNvPr>
              <p:cNvSpPr/>
              <p:nvPr/>
            </p:nvSpPr>
            <p:spPr>
              <a:xfrm>
                <a:off x="11198164" y="2947608"/>
                <a:ext cx="600075" cy="276225"/>
              </a:xfrm>
              <a:custGeom>
                <a:avLst/>
                <a:gdLst>
                  <a:gd name="connsiteX0" fmla="*/ 0 w 600075"/>
                  <a:gd name="connsiteY0" fmla="*/ 0 h 276225"/>
                  <a:gd name="connsiteX1" fmla="*/ 125730 w 600075"/>
                  <a:gd name="connsiteY1" fmla="*/ 275273 h 276225"/>
                  <a:gd name="connsiteX2" fmla="*/ 187642 w 600075"/>
                  <a:gd name="connsiteY2" fmla="*/ 136207 h 276225"/>
                  <a:gd name="connsiteX3" fmla="*/ 343852 w 600075"/>
                  <a:gd name="connsiteY3" fmla="*/ 952 h 276225"/>
                  <a:gd name="connsiteX4" fmla="*/ 480060 w 600075"/>
                  <a:gd name="connsiteY4" fmla="*/ 952 h 276225"/>
                  <a:gd name="connsiteX5" fmla="*/ 601980 w 600075"/>
                  <a:gd name="connsiteY5" fmla="*/ 125730 h 276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0075" h="276225">
                    <a:moveTo>
                      <a:pt x="0" y="0"/>
                    </a:moveTo>
                    <a:cubicBezTo>
                      <a:pt x="0" y="0"/>
                      <a:pt x="16192" y="330518"/>
                      <a:pt x="125730" y="275273"/>
                    </a:cubicBezTo>
                    <a:cubicBezTo>
                      <a:pt x="163830" y="256223"/>
                      <a:pt x="178117" y="198120"/>
                      <a:pt x="187642" y="136207"/>
                    </a:cubicBezTo>
                    <a:cubicBezTo>
                      <a:pt x="202882" y="39052"/>
                      <a:pt x="271463" y="2857"/>
                      <a:pt x="343852" y="952"/>
                    </a:cubicBezTo>
                    <a:lnTo>
                      <a:pt x="480060" y="952"/>
                    </a:lnTo>
                    <a:cubicBezTo>
                      <a:pt x="547688" y="-4763"/>
                      <a:pt x="613410" y="53340"/>
                      <a:pt x="601980" y="125730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0D58546A-5A3A-4DF9-8EDF-FC7072EBDD1F}"/>
                  </a:ext>
                </a:extLst>
              </p:cNvPr>
              <p:cNvSpPr/>
              <p:nvPr/>
            </p:nvSpPr>
            <p:spPr>
              <a:xfrm>
                <a:off x="11460346" y="2618811"/>
                <a:ext cx="247650" cy="323850"/>
              </a:xfrm>
              <a:custGeom>
                <a:avLst/>
                <a:gdLst>
                  <a:gd name="connsiteX0" fmla="*/ 91195 w 247650"/>
                  <a:gd name="connsiteY0" fmla="*/ 329749 h 323850"/>
                  <a:gd name="connsiteX1" fmla="*/ 1660 w 247650"/>
                  <a:gd name="connsiteY1" fmla="*/ 141154 h 323850"/>
                  <a:gd name="connsiteX2" fmla="*/ 157870 w 247650"/>
                  <a:gd name="connsiteY2" fmla="*/ 3042 h 323850"/>
                  <a:gd name="connsiteX3" fmla="*/ 246452 w 247650"/>
                  <a:gd name="connsiteY3" fmla="*/ 191637 h 323850"/>
                  <a:gd name="connsiteX4" fmla="*/ 222640 w 247650"/>
                  <a:gd name="connsiteY4" fmla="*/ 247834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7650" h="323850">
                    <a:moveTo>
                      <a:pt x="91195" y="329749"/>
                    </a:moveTo>
                    <a:cubicBezTo>
                      <a:pt x="39760" y="319272"/>
                      <a:pt x="-9770" y="244024"/>
                      <a:pt x="1660" y="141154"/>
                    </a:cubicBezTo>
                    <a:cubicBezTo>
                      <a:pt x="12137" y="49714"/>
                      <a:pt x="68335" y="-15056"/>
                      <a:pt x="157870" y="3042"/>
                    </a:cubicBezTo>
                    <a:cubicBezTo>
                      <a:pt x="247405" y="21139"/>
                      <a:pt x="273122" y="103054"/>
                      <a:pt x="246452" y="191637"/>
                    </a:cubicBezTo>
                    <a:cubicBezTo>
                      <a:pt x="239785" y="212592"/>
                      <a:pt x="232165" y="231642"/>
                      <a:pt x="222640" y="247834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F6844A01-321B-4B90-BFB1-6604DFFF2528}"/>
                  </a:ext>
                </a:extLst>
              </p:cNvPr>
              <p:cNvSpPr/>
              <p:nvPr/>
            </p:nvSpPr>
            <p:spPr>
              <a:xfrm>
                <a:off x="11414381" y="3073337"/>
                <a:ext cx="438150" cy="428625"/>
              </a:xfrm>
              <a:custGeom>
                <a:avLst/>
                <a:gdLst>
                  <a:gd name="connsiteX0" fmla="*/ 0 w 438150"/>
                  <a:gd name="connsiteY0" fmla="*/ 433388 h 428625"/>
                  <a:gd name="connsiteX1" fmla="*/ 107633 w 438150"/>
                  <a:gd name="connsiteY1" fmla="*/ 40957 h 428625"/>
                  <a:gd name="connsiteX2" fmla="*/ 162878 w 438150"/>
                  <a:gd name="connsiteY2" fmla="*/ 0 h 428625"/>
                  <a:gd name="connsiteX3" fmla="*/ 385763 w 438150"/>
                  <a:gd name="connsiteY3" fmla="*/ 0 h 428625"/>
                  <a:gd name="connsiteX4" fmla="*/ 443865 w 438150"/>
                  <a:gd name="connsiteY4" fmla="*/ 60960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8150" h="428625">
                    <a:moveTo>
                      <a:pt x="0" y="433388"/>
                    </a:moveTo>
                    <a:lnTo>
                      <a:pt x="107633" y="40957"/>
                    </a:lnTo>
                    <a:cubicBezTo>
                      <a:pt x="115253" y="17145"/>
                      <a:pt x="137160" y="0"/>
                      <a:pt x="162878" y="0"/>
                    </a:cubicBezTo>
                    <a:lnTo>
                      <a:pt x="385763" y="0"/>
                    </a:lnTo>
                    <a:cubicBezTo>
                      <a:pt x="420053" y="0"/>
                      <a:pt x="445770" y="28575"/>
                      <a:pt x="443865" y="60960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187F91B1-C271-40E6-AEF4-A09A0028AD90}"/>
                  </a:ext>
                </a:extLst>
              </p:cNvPr>
              <p:cNvSpPr/>
              <p:nvPr/>
            </p:nvSpPr>
            <p:spPr>
              <a:xfrm>
                <a:off x="8486396" y="1862710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/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0CFC14F4-2D4F-4ED8-97E6-91928AE1B19B}"/>
                  </a:ext>
                </a:extLst>
              </p:cNvPr>
              <p:cNvSpPr/>
              <p:nvPr/>
            </p:nvSpPr>
            <p:spPr>
              <a:xfrm>
                <a:off x="10502838" y="2948172"/>
                <a:ext cx="476250" cy="428625"/>
              </a:xfrm>
              <a:custGeom>
                <a:avLst/>
                <a:gdLst>
                  <a:gd name="connsiteX0" fmla="*/ 0 w 476250"/>
                  <a:gd name="connsiteY0" fmla="*/ 429966 h 428625"/>
                  <a:gd name="connsiteX1" fmla="*/ 20003 w 476250"/>
                  <a:gd name="connsiteY1" fmla="*/ 186126 h 428625"/>
                  <a:gd name="connsiteX2" fmla="*/ 157163 w 476250"/>
                  <a:gd name="connsiteY2" fmla="*/ 388 h 428625"/>
                  <a:gd name="connsiteX3" fmla="*/ 359092 w 476250"/>
                  <a:gd name="connsiteY3" fmla="*/ 388 h 428625"/>
                  <a:gd name="connsiteX4" fmla="*/ 475298 w 476250"/>
                  <a:gd name="connsiteY4" fmla="*/ 125166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0" h="428625">
                    <a:moveTo>
                      <a:pt x="0" y="429966"/>
                    </a:moveTo>
                    <a:cubicBezTo>
                      <a:pt x="15240" y="353766"/>
                      <a:pt x="9525" y="263278"/>
                      <a:pt x="20003" y="186126"/>
                    </a:cubicBezTo>
                    <a:cubicBezTo>
                      <a:pt x="34290" y="85161"/>
                      <a:pt x="87630" y="7056"/>
                      <a:pt x="157163" y="388"/>
                    </a:cubicBezTo>
                    <a:lnTo>
                      <a:pt x="359092" y="388"/>
                    </a:lnTo>
                    <a:cubicBezTo>
                      <a:pt x="426720" y="-5327"/>
                      <a:pt x="486727" y="52776"/>
                      <a:pt x="475298" y="125166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782CEC67-D4B9-474C-B739-E3B084C11DAD}"/>
                  </a:ext>
                </a:extLst>
              </p:cNvPr>
              <p:cNvSpPr/>
              <p:nvPr/>
            </p:nvSpPr>
            <p:spPr>
              <a:xfrm>
                <a:off x="10650459" y="2617858"/>
                <a:ext cx="247650" cy="323850"/>
              </a:xfrm>
              <a:custGeom>
                <a:avLst/>
                <a:gdLst>
                  <a:gd name="connsiteX0" fmla="*/ 90505 w 247650"/>
                  <a:gd name="connsiteY0" fmla="*/ 329749 h 323850"/>
                  <a:gd name="connsiteX1" fmla="*/ 1922 w 247650"/>
                  <a:gd name="connsiteY1" fmla="*/ 141154 h 323850"/>
                  <a:gd name="connsiteX2" fmla="*/ 158132 w 247650"/>
                  <a:gd name="connsiteY2" fmla="*/ 3042 h 323850"/>
                  <a:gd name="connsiteX3" fmla="*/ 246715 w 247650"/>
                  <a:gd name="connsiteY3" fmla="*/ 191637 h 323850"/>
                  <a:gd name="connsiteX4" fmla="*/ 222902 w 247650"/>
                  <a:gd name="connsiteY4" fmla="*/ 247834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7650" h="323850">
                    <a:moveTo>
                      <a:pt x="90505" y="329749"/>
                    </a:moveTo>
                    <a:cubicBezTo>
                      <a:pt x="39070" y="319272"/>
                      <a:pt x="-10460" y="244024"/>
                      <a:pt x="1922" y="141154"/>
                    </a:cubicBezTo>
                    <a:cubicBezTo>
                      <a:pt x="12400" y="49714"/>
                      <a:pt x="68597" y="-15056"/>
                      <a:pt x="158132" y="3042"/>
                    </a:cubicBezTo>
                    <a:cubicBezTo>
                      <a:pt x="247667" y="21139"/>
                      <a:pt x="273385" y="103054"/>
                      <a:pt x="246715" y="191637"/>
                    </a:cubicBezTo>
                    <a:cubicBezTo>
                      <a:pt x="240047" y="212592"/>
                      <a:pt x="232427" y="231642"/>
                      <a:pt x="222902" y="247834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A0D7CA3B-CE44-479A-9D88-422EFD876F0F}"/>
                  </a:ext>
                </a:extLst>
              </p:cNvPr>
              <p:cNvSpPr/>
              <p:nvPr/>
            </p:nvSpPr>
            <p:spPr>
              <a:xfrm>
                <a:off x="10627616" y="3073337"/>
                <a:ext cx="409575" cy="342900"/>
              </a:xfrm>
              <a:custGeom>
                <a:avLst/>
                <a:gdLst>
                  <a:gd name="connsiteX0" fmla="*/ 0 w 409575"/>
                  <a:gd name="connsiteY0" fmla="*/ 343853 h 342900"/>
                  <a:gd name="connsiteX1" fmla="*/ 82867 w 409575"/>
                  <a:gd name="connsiteY1" fmla="*/ 40957 h 342900"/>
                  <a:gd name="connsiteX2" fmla="*/ 138113 w 409575"/>
                  <a:gd name="connsiteY2" fmla="*/ 0 h 342900"/>
                  <a:gd name="connsiteX3" fmla="*/ 360998 w 409575"/>
                  <a:gd name="connsiteY3" fmla="*/ 0 h 342900"/>
                  <a:gd name="connsiteX4" fmla="*/ 416242 w 409575"/>
                  <a:gd name="connsiteY4" fmla="*/ 75248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9575" h="342900">
                    <a:moveTo>
                      <a:pt x="0" y="343853"/>
                    </a:moveTo>
                    <a:lnTo>
                      <a:pt x="82867" y="40957"/>
                    </a:lnTo>
                    <a:cubicBezTo>
                      <a:pt x="90488" y="17145"/>
                      <a:pt x="112395" y="0"/>
                      <a:pt x="138113" y="0"/>
                    </a:cubicBezTo>
                    <a:lnTo>
                      <a:pt x="360998" y="0"/>
                    </a:lnTo>
                    <a:cubicBezTo>
                      <a:pt x="400050" y="0"/>
                      <a:pt x="427673" y="38100"/>
                      <a:pt x="416242" y="75248"/>
                    </a:cubicBezTo>
                  </a:path>
                </a:pathLst>
              </a:custGeom>
              <a:noFill/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863CF1E8-FD80-4E8E-AE6C-98B18D272B4F}"/>
                  </a:ext>
                </a:extLst>
              </p:cNvPr>
              <p:cNvSpPr/>
              <p:nvPr/>
            </p:nvSpPr>
            <p:spPr>
              <a:xfrm>
                <a:off x="10614281" y="3417190"/>
                <a:ext cx="9525" cy="47625"/>
              </a:xfrm>
              <a:custGeom>
                <a:avLst/>
                <a:gdLst>
                  <a:gd name="connsiteX0" fmla="*/ 0 w 9525"/>
                  <a:gd name="connsiteY0" fmla="*/ 51435 h 47625"/>
                  <a:gd name="connsiteX1" fmla="*/ 13335 w 9525"/>
                  <a:gd name="connsiteY1" fmla="*/ 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47625">
                    <a:moveTo>
                      <a:pt x="0" y="51435"/>
                    </a:moveTo>
                    <a:lnTo>
                      <a:pt x="13335" y="0"/>
                    </a:lnTo>
                  </a:path>
                </a:pathLst>
              </a:custGeom>
              <a:ln w="12700" cap="rnd">
                <a:solidFill>
                  <a:srgbClr val="30373B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89296BFC-C052-49CC-A972-182D820175D8}"/>
                  </a:ext>
                </a:extLst>
              </p:cNvPr>
              <p:cNvSpPr txBox="1"/>
              <p:nvPr/>
            </p:nvSpPr>
            <p:spPr>
              <a:xfrm>
                <a:off x="369870" y="1281224"/>
                <a:ext cx="2671281" cy="664797"/>
              </a:xfrm>
              <a:prstGeom prst="rect">
                <a:avLst/>
              </a:prstGeom>
              <a:noFill/>
              <a:ln w="6350">
                <a:noFill/>
                <a:prstDash val="sys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200" dirty="0">
                    <a:solidFill>
                      <a:schemeClr val="bg1"/>
                    </a:solidFill>
                    <a:latin typeface="Agency FB" panose="020B0503020202020204" pitchFamily="34" charset="0"/>
                  </a:rPr>
                  <a:t>“This is also a great example of loose coupling and adhering to the open-closed principle, in that other game entities could be added with their own functionality without altering the [</a:t>
                </a:r>
                <a:r>
                  <a:rPr lang="en-US" sz="1200" dirty="0" err="1">
                    <a:solidFill>
                      <a:schemeClr val="bg1"/>
                    </a:solidFill>
                    <a:latin typeface="Agency FB" panose="020B0503020202020204" pitchFamily="34" charset="0"/>
                  </a:rPr>
                  <a:t>LevelReader</a:t>
                </a:r>
                <a:r>
                  <a:rPr lang="en-US" sz="1200" dirty="0">
                    <a:solidFill>
                      <a:schemeClr val="bg1"/>
                    </a:solidFill>
                    <a:latin typeface="Agency FB" panose="020B0503020202020204" pitchFamily="34" charset="0"/>
                  </a:rPr>
                  <a:t>].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2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a-DK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"</m:t>
                        </m:r>
                      </m:e>
                      <m:sup>
                        <m:r>
                          <a:rPr lang="da-DK" sz="1200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p>
                  </m:oMath>
                </a14:m>
                <a:r>
                  <a:rPr lang="en-US" sz="1200" dirty="0">
                    <a:solidFill>
                      <a:schemeClr val="bg1"/>
                    </a:solidFill>
                    <a:latin typeface="Agency FB" panose="020B0503020202020204" pitchFamily="34" charset="0"/>
                  </a:rPr>
                  <a:t> </a:t>
                </a:r>
                <a:endParaRPr lang="da-DK" sz="700" dirty="0">
                  <a:solidFill>
                    <a:schemeClr val="bg1"/>
                  </a:solidFill>
                  <a:latin typeface="Agency FB" panose="020B0503020202020204" pitchFamily="34" charset="0"/>
                </a:endParaRPr>
              </a:p>
            </p:txBody>
          </p:sp>
        </mc:Choice>
        <mc:Fallback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89296BFC-C052-49CC-A972-182D820175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9870" y="1281224"/>
                <a:ext cx="2671281" cy="664797"/>
              </a:xfrm>
              <a:prstGeom prst="rect">
                <a:avLst/>
              </a:prstGeom>
              <a:blipFill>
                <a:blip r:embed="rId6"/>
                <a:stretch>
                  <a:fillRect l="-3653" t="-10092" b="-12844"/>
                </a:stretch>
              </a:blipFill>
              <a:ln w="6350">
                <a:noFill/>
                <a:prstDash val="sysDash"/>
              </a:ln>
            </p:spPr>
            <p:txBody>
              <a:bodyPr/>
              <a:lstStyle/>
              <a:p>
                <a:r>
                  <a:rPr lang="da-DK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TextBox 15">
            <a:extLst>
              <a:ext uri="{FF2B5EF4-FFF2-40B4-BE49-F238E27FC236}">
                <a16:creationId xmlns:a16="http://schemas.microsoft.com/office/drawing/2014/main" id="{4C517744-47A7-4390-A2F0-FF172283AC39}"/>
              </a:ext>
            </a:extLst>
          </p:cNvPr>
          <p:cNvSpPr txBox="1"/>
          <p:nvPr/>
        </p:nvSpPr>
        <p:spPr>
          <a:xfrm>
            <a:off x="369870" y="6739206"/>
            <a:ext cx="5238666" cy="83100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600" dirty="0">
                <a:solidFill>
                  <a:schemeClr val="bg1"/>
                </a:solidFill>
              </a:rPr>
              <a:t>1: ”</a:t>
            </a:r>
            <a:r>
              <a:rPr lang="da-DK" sz="600" dirty="0" err="1">
                <a:solidFill>
                  <a:schemeClr val="bg1"/>
                </a:solidFill>
              </a:rPr>
              <a:t>Breakout</a:t>
            </a:r>
            <a:r>
              <a:rPr lang="da-DK" sz="600" dirty="0">
                <a:solidFill>
                  <a:schemeClr val="bg1"/>
                </a:solidFill>
              </a:rPr>
              <a:t> – Software Development 2021”: </a:t>
            </a:r>
            <a:r>
              <a:rPr lang="da-DK" sz="600" dirty="0" err="1">
                <a:solidFill>
                  <a:schemeClr val="bg1"/>
                </a:solidFill>
              </a:rPr>
              <a:t>Greniman</a:t>
            </a:r>
            <a:r>
              <a:rPr lang="da-DK" sz="600" dirty="0">
                <a:solidFill>
                  <a:schemeClr val="bg1"/>
                </a:solidFill>
              </a:rPr>
              <a:t> N., </a:t>
            </a:r>
            <a:r>
              <a:rPr lang="da-DK" sz="600" dirty="0" err="1">
                <a:solidFill>
                  <a:schemeClr val="bg1"/>
                </a:solidFill>
              </a:rPr>
              <a:t>Folting</a:t>
            </a:r>
            <a:r>
              <a:rPr lang="da-DK" sz="600" dirty="0">
                <a:solidFill>
                  <a:schemeClr val="bg1"/>
                </a:solidFill>
              </a:rPr>
              <a:t> D., Kjeldsen D.</a:t>
            </a:r>
          </a:p>
        </p:txBody>
      </p:sp>
      <p:pic>
        <p:nvPicPr>
          <p:cNvPr id="8" name="Picture 7" descr="Graphical user interface&#10;&#10;Description automatically generated">
            <a:extLst>
              <a:ext uri="{FF2B5EF4-FFF2-40B4-BE49-F238E27FC236}">
                <a16:creationId xmlns:a16="http://schemas.microsoft.com/office/drawing/2014/main" id="{92425E77-82A1-4A8D-A507-024C28CA962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160" y="1253104"/>
            <a:ext cx="7023287" cy="5427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20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4756D49-C0E3-48B2-B872-22685217C0D9}"/>
              </a:ext>
            </a:extLst>
          </p:cNvPr>
          <p:cNvSpPr/>
          <p:nvPr/>
        </p:nvSpPr>
        <p:spPr>
          <a:xfrm>
            <a:off x="226031" y="1809750"/>
            <a:ext cx="8210239" cy="491490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B83D7A1-35EE-41FC-ACD6-598F6B160E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B83D7A1-35EE-41FC-ACD6-598F6B160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AAD318-25EA-460C-9025-27ED462392E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83000"/>
              </a:lnSpc>
              <a:spcBef>
                <a:spcPct val="0"/>
              </a:spcBef>
              <a:spcAft>
                <a:spcPct val="0"/>
              </a:spcAft>
            </a:pPr>
            <a:endParaRPr lang="da-DK" sz="6500" noProof="0" dirty="0" err="1">
              <a:solidFill>
                <a:srgbClr val="2F363B"/>
              </a:solidFill>
              <a:latin typeface="Impact" panose="020B0806030902050204" pitchFamily="34" charset="0"/>
              <a:ea typeface="+mj-ea"/>
              <a:cs typeface="+mj-cs"/>
              <a:sym typeface="Impact" panose="020B080603090205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8FD43C-4295-4CEE-AC00-71CA20D17B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586" y="35694"/>
            <a:ext cx="7083301" cy="2224886"/>
          </a:xfrm>
        </p:spPr>
        <p:txBody>
          <a:bodyPr/>
          <a:lstStyle/>
          <a:p>
            <a:r>
              <a:rPr lang="da-DK" sz="4800" dirty="0" err="1">
                <a:solidFill>
                  <a:srgbClr val="8AA299"/>
                </a:solidFill>
              </a:rPr>
              <a:t>Switching</a:t>
            </a:r>
            <a:r>
              <a:rPr lang="da-DK" sz="4800" dirty="0">
                <a:solidFill>
                  <a:srgbClr val="8AA299"/>
                </a:solidFill>
              </a:rPr>
              <a:t> </a:t>
            </a:r>
            <a:r>
              <a:rPr lang="da-DK" sz="4800" dirty="0" err="1">
                <a:solidFill>
                  <a:srgbClr val="8AA299"/>
                </a:solidFill>
              </a:rPr>
              <a:t>between</a:t>
            </a:r>
            <a:r>
              <a:rPr lang="da-DK" sz="4800" dirty="0">
                <a:solidFill>
                  <a:srgbClr val="8AA299"/>
                </a:solidFill>
              </a:rPr>
              <a:t> </a:t>
            </a:r>
            <a:br>
              <a:rPr lang="da-DK" sz="4800" dirty="0">
                <a:solidFill>
                  <a:srgbClr val="8AA299"/>
                </a:solidFill>
              </a:rPr>
            </a:br>
            <a:r>
              <a:rPr lang="da-DK" sz="4800" dirty="0">
                <a:solidFill>
                  <a:srgbClr val="8AA299"/>
                </a:solidFill>
              </a:rPr>
              <a:t>game </a:t>
            </a:r>
            <a:r>
              <a:rPr lang="da-DK" sz="4800" dirty="0" err="1">
                <a:solidFill>
                  <a:srgbClr val="8AA299"/>
                </a:solidFill>
              </a:rPr>
              <a:t>states</a:t>
            </a:r>
            <a:endParaRPr lang="da-DK" sz="4800" dirty="0">
              <a:solidFill>
                <a:srgbClr val="8AA299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9311F0-821A-4AAC-BDE9-AA253B2BFD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4EBB27-4B6C-4A1A-B488-3E5D35BB8C43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790861-E968-43BB-932B-A867BD494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258545A-D17C-4782-84C3-353DE1415C4F}"/>
              </a:ext>
            </a:extLst>
          </p:cNvPr>
          <p:cNvSpPr/>
          <p:nvPr/>
        </p:nvSpPr>
        <p:spPr>
          <a:xfrm>
            <a:off x="9191625" y="190500"/>
            <a:ext cx="600075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576BB51-FDF6-4A0B-BEF5-116339DDC56F}"/>
              </a:ext>
            </a:extLst>
          </p:cNvPr>
          <p:cNvSpPr/>
          <p:nvPr/>
        </p:nvSpPr>
        <p:spPr>
          <a:xfrm>
            <a:off x="8933657" y="5257800"/>
            <a:ext cx="702344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17A02545-0B02-4EED-B631-2B1B80F9C7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17" y="669416"/>
            <a:ext cx="7497558" cy="618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493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4756D49-C0E3-48B2-B872-22685217C0D9}"/>
              </a:ext>
            </a:extLst>
          </p:cNvPr>
          <p:cNvSpPr/>
          <p:nvPr/>
        </p:nvSpPr>
        <p:spPr>
          <a:xfrm>
            <a:off x="226031" y="1809750"/>
            <a:ext cx="8210239" cy="491490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B83D7A1-35EE-41FC-ACD6-598F6B160E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B83D7A1-35EE-41FC-ACD6-598F6B160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AAD318-25EA-460C-9025-27ED462392E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83000"/>
              </a:lnSpc>
              <a:spcBef>
                <a:spcPct val="0"/>
              </a:spcBef>
              <a:spcAft>
                <a:spcPct val="0"/>
              </a:spcAft>
            </a:pPr>
            <a:endParaRPr lang="da-DK" sz="6500" noProof="0" dirty="0" err="1">
              <a:solidFill>
                <a:srgbClr val="2F363B"/>
              </a:solidFill>
              <a:latin typeface="Impact" panose="020B0806030902050204" pitchFamily="34" charset="0"/>
              <a:ea typeface="+mj-ea"/>
              <a:cs typeface="+mj-cs"/>
              <a:sym typeface="Impact" panose="020B080603090205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8FD43C-4295-4CEE-AC00-71CA20D17B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586" y="35694"/>
            <a:ext cx="7083301" cy="2224886"/>
          </a:xfrm>
        </p:spPr>
        <p:txBody>
          <a:bodyPr/>
          <a:lstStyle/>
          <a:p>
            <a:r>
              <a:rPr lang="da-DK" sz="4800" dirty="0" err="1">
                <a:solidFill>
                  <a:srgbClr val="8AA299"/>
                </a:solidFill>
              </a:rPr>
              <a:t>Switching</a:t>
            </a:r>
            <a:r>
              <a:rPr lang="da-DK" sz="4800" dirty="0">
                <a:solidFill>
                  <a:srgbClr val="8AA299"/>
                </a:solidFill>
              </a:rPr>
              <a:t> </a:t>
            </a:r>
            <a:r>
              <a:rPr lang="da-DK" sz="4800" dirty="0" err="1">
                <a:solidFill>
                  <a:srgbClr val="8AA299"/>
                </a:solidFill>
              </a:rPr>
              <a:t>between</a:t>
            </a:r>
            <a:r>
              <a:rPr lang="da-DK" sz="4800" dirty="0">
                <a:solidFill>
                  <a:srgbClr val="8AA299"/>
                </a:solidFill>
              </a:rPr>
              <a:t> </a:t>
            </a:r>
            <a:br>
              <a:rPr lang="da-DK" sz="4800" dirty="0">
                <a:solidFill>
                  <a:srgbClr val="8AA299"/>
                </a:solidFill>
              </a:rPr>
            </a:br>
            <a:r>
              <a:rPr lang="da-DK" sz="4800" dirty="0">
                <a:solidFill>
                  <a:srgbClr val="8AA299"/>
                </a:solidFill>
              </a:rPr>
              <a:t>game </a:t>
            </a:r>
            <a:r>
              <a:rPr lang="da-DK" sz="4800" dirty="0" err="1">
                <a:solidFill>
                  <a:srgbClr val="8AA299"/>
                </a:solidFill>
              </a:rPr>
              <a:t>states</a:t>
            </a:r>
            <a:endParaRPr lang="da-DK" sz="4800" dirty="0">
              <a:solidFill>
                <a:srgbClr val="8AA299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9311F0-821A-4AAC-BDE9-AA253B2BFD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4EBB27-4B6C-4A1A-B488-3E5D35BB8C43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790861-E968-43BB-932B-A867BD494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258545A-D17C-4782-84C3-353DE1415C4F}"/>
              </a:ext>
            </a:extLst>
          </p:cNvPr>
          <p:cNvSpPr/>
          <p:nvPr/>
        </p:nvSpPr>
        <p:spPr>
          <a:xfrm>
            <a:off x="9191625" y="190500"/>
            <a:ext cx="600075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576BB51-FDF6-4A0B-BEF5-116339DDC56F}"/>
              </a:ext>
            </a:extLst>
          </p:cNvPr>
          <p:cNvSpPr/>
          <p:nvPr/>
        </p:nvSpPr>
        <p:spPr>
          <a:xfrm>
            <a:off x="8933657" y="5257800"/>
            <a:ext cx="702344" cy="146685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pic>
        <p:nvPicPr>
          <p:cNvPr id="14" name="Picture 13" descr="A picture containing text&#10;&#10;Description automatically generated">
            <a:extLst>
              <a:ext uri="{FF2B5EF4-FFF2-40B4-BE49-F238E27FC236}">
                <a16:creationId xmlns:a16="http://schemas.microsoft.com/office/drawing/2014/main" id="{3FEA6443-CC1F-49F3-9E2C-047174FBF22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7746" y="930288"/>
            <a:ext cx="9491403" cy="7334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699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C2FFBC-A3BD-4E49-ADCC-51DEF046F7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26890-A6E3-4403-8B5F-B63FA3CC0E22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C4F5B2-E045-4DF6-905B-83834701E6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67C62E9-A657-41B3-B9B5-7EE60EF8495E}"/>
              </a:ext>
            </a:extLst>
          </p:cNvPr>
          <p:cNvSpPr/>
          <p:nvPr/>
        </p:nvSpPr>
        <p:spPr>
          <a:xfrm>
            <a:off x="8775319" y="175509"/>
            <a:ext cx="1560352" cy="1417739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F7EE779-2772-4CF9-A22F-764C9CDB252B}"/>
              </a:ext>
            </a:extLst>
          </p:cNvPr>
          <p:cNvSpPr/>
          <p:nvPr/>
        </p:nvSpPr>
        <p:spPr>
          <a:xfrm>
            <a:off x="8899144" y="5858759"/>
            <a:ext cx="1560352" cy="1417739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AAD1EF2-841F-4796-A460-EF16A1B517FE}"/>
              </a:ext>
            </a:extLst>
          </p:cNvPr>
          <p:cNvSpPr/>
          <p:nvPr/>
        </p:nvSpPr>
        <p:spPr>
          <a:xfrm>
            <a:off x="-221869" y="1270206"/>
            <a:ext cx="8667750" cy="586740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6586499-C72E-46B6-BCFA-A164C5CF359D}"/>
              </a:ext>
            </a:extLst>
          </p:cNvPr>
          <p:cNvGrpSpPr/>
          <p:nvPr/>
        </p:nvGrpSpPr>
        <p:grpSpPr>
          <a:xfrm>
            <a:off x="6226211" y="1351947"/>
            <a:ext cx="2147987" cy="930171"/>
            <a:chOff x="2826110" y="3451489"/>
            <a:chExt cx="824546" cy="412273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4B6BB7E-86AF-4EFE-8C6E-335296BA0C12}"/>
                </a:ext>
              </a:extLst>
            </p:cNvPr>
            <p:cNvSpPr/>
            <p:nvPr/>
          </p:nvSpPr>
          <p:spPr>
            <a:xfrm>
              <a:off x="2826110" y="3546286"/>
              <a:ext cx="108158" cy="159056"/>
            </a:xfrm>
            <a:custGeom>
              <a:avLst/>
              <a:gdLst>
                <a:gd name="connsiteX0" fmla="*/ 95115 w 108157"/>
                <a:gd name="connsiteY0" fmla="*/ 139969 h 159055"/>
                <a:gd name="connsiteX1" fmla="*/ 92252 w 108157"/>
                <a:gd name="connsiteY1" fmla="*/ 142514 h 159055"/>
                <a:gd name="connsiteX2" fmla="*/ 90662 w 108157"/>
                <a:gd name="connsiteY2" fmla="*/ 142832 h 159055"/>
                <a:gd name="connsiteX3" fmla="*/ 89708 w 108157"/>
                <a:gd name="connsiteY3" fmla="*/ 142832 h 159055"/>
                <a:gd name="connsiteX4" fmla="*/ 88117 w 108157"/>
                <a:gd name="connsiteY4" fmla="*/ 142832 h 159055"/>
                <a:gd name="connsiteX5" fmla="*/ 86844 w 108157"/>
                <a:gd name="connsiteY5" fmla="*/ 142832 h 159055"/>
                <a:gd name="connsiteX6" fmla="*/ 87163 w 108157"/>
                <a:gd name="connsiteY6" fmla="*/ 143787 h 159055"/>
                <a:gd name="connsiteX7" fmla="*/ 87799 w 108157"/>
                <a:gd name="connsiteY7" fmla="*/ 144423 h 159055"/>
                <a:gd name="connsiteX8" fmla="*/ 86526 w 108157"/>
                <a:gd name="connsiteY8" fmla="*/ 144423 h 159055"/>
                <a:gd name="connsiteX9" fmla="*/ 85572 w 108157"/>
                <a:gd name="connsiteY9" fmla="*/ 143787 h 159055"/>
                <a:gd name="connsiteX10" fmla="*/ 84618 w 108157"/>
                <a:gd name="connsiteY10" fmla="*/ 143787 h 159055"/>
                <a:gd name="connsiteX11" fmla="*/ 83982 w 108157"/>
                <a:gd name="connsiteY11" fmla="*/ 144423 h 159055"/>
                <a:gd name="connsiteX12" fmla="*/ 81437 w 108157"/>
                <a:gd name="connsiteY12" fmla="*/ 145695 h 159055"/>
                <a:gd name="connsiteX13" fmla="*/ 80482 w 108157"/>
                <a:gd name="connsiteY13" fmla="*/ 146331 h 159055"/>
                <a:gd name="connsiteX14" fmla="*/ 78255 w 108157"/>
                <a:gd name="connsiteY14" fmla="*/ 147604 h 159055"/>
                <a:gd name="connsiteX15" fmla="*/ 77619 w 108157"/>
                <a:gd name="connsiteY15" fmla="*/ 148558 h 159055"/>
                <a:gd name="connsiteX16" fmla="*/ 76665 w 108157"/>
                <a:gd name="connsiteY16" fmla="*/ 148240 h 159055"/>
                <a:gd name="connsiteX17" fmla="*/ 74120 w 108157"/>
                <a:gd name="connsiteY17" fmla="*/ 148558 h 159055"/>
                <a:gd name="connsiteX18" fmla="*/ 72848 w 108157"/>
                <a:gd name="connsiteY18" fmla="*/ 149831 h 159055"/>
                <a:gd name="connsiteX19" fmla="*/ 72529 w 108157"/>
                <a:gd name="connsiteY19" fmla="*/ 149831 h 159055"/>
                <a:gd name="connsiteX20" fmla="*/ 70939 w 108157"/>
                <a:gd name="connsiteY20" fmla="*/ 151103 h 159055"/>
                <a:gd name="connsiteX21" fmla="*/ 69667 w 108157"/>
                <a:gd name="connsiteY21" fmla="*/ 151421 h 159055"/>
                <a:gd name="connsiteX22" fmla="*/ 67122 w 108157"/>
                <a:gd name="connsiteY22" fmla="*/ 152376 h 159055"/>
                <a:gd name="connsiteX23" fmla="*/ 67122 w 108157"/>
                <a:gd name="connsiteY23" fmla="*/ 152694 h 159055"/>
                <a:gd name="connsiteX24" fmla="*/ 65531 w 108157"/>
                <a:gd name="connsiteY24" fmla="*/ 153330 h 159055"/>
                <a:gd name="connsiteX25" fmla="*/ 64259 w 108157"/>
                <a:gd name="connsiteY25" fmla="*/ 153012 h 159055"/>
                <a:gd name="connsiteX26" fmla="*/ 64577 w 108157"/>
                <a:gd name="connsiteY26" fmla="*/ 154284 h 159055"/>
                <a:gd name="connsiteX27" fmla="*/ 64895 w 108157"/>
                <a:gd name="connsiteY27" fmla="*/ 154284 h 159055"/>
                <a:gd name="connsiteX28" fmla="*/ 64259 w 108157"/>
                <a:gd name="connsiteY28" fmla="*/ 154284 h 159055"/>
                <a:gd name="connsiteX29" fmla="*/ 62668 w 108157"/>
                <a:gd name="connsiteY29" fmla="*/ 153330 h 159055"/>
                <a:gd name="connsiteX30" fmla="*/ 62350 w 108157"/>
                <a:gd name="connsiteY30" fmla="*/ 153966 h 159055"/>
                <a:gd name="connsiteX31" fmla="*/ 61396 w 108157"/>
                <a:gd name="connsiteY31" fmla="*/ 154284 h 159055"/>
                <a:gd name="connsiteX32" fmla="*/ 60123 w 108157"/>
                <a:gd name="connsiteY32" fmla="*/ 153330 h 159055"/>
                <a:gd name="connsiteX33" fmla="*/ 59169 w 108157"/>
                <a:gd name="connsiteY33" fmla="*/ 153648 h 159055"/>
                <a:gd name="connsiteX34" fmla="*/ 59487 w 108157"/>
                <a:gd name="connsiteY34" fmla="*/ 153966 h 159055"/>
                <a:gd name="connsiteX35" fmla="*/ 60123 w 108157"/>
                <a:gd name="connsiteY35" fmla="*/ 154284 h 159055"/>
                <a:gd name="connsiteX36" fmla="*/ 60123 w 108157"/>
                <a:gd name="connsiteY36" fmla="*/ 155239 h 159055"/>
                <a:gd name="connsiteX37" fmla="*/ 58851 w 108157"/>
                <a:gd name="connsiteY37" fmla="*/ 155557 h 159055"/>
                <a:gd name="connsiteX38" fmla="*/ 57260 w 108157"/>
                <a:gd name="connsiteY38" fmla="*/ 155557 h 159055"/>
                <a:gd name="connsiteX39" fmla="*/ 56942 w 108157"/>
                <a:gd name="connsiteY39" fmla="*/ 155557 h 159055"/>
                <a:gd name="connsiteX40" fmla="*/ 57260 w 108157"/>
                <a:gd name="connsiteY40" fmla="*/ 155239 h 159055"/>
                <a:gd name="connsiteX41" fmla="*/ 57260 w 108157"/>
                <a:gd name="connsiteY41" fmla="*/ 154284 h 159055"/>
                <a:gd name="connsiteX42" fmla="*/ 55988 w 108157"/>
                <a:gd name="connsiteY42" fmla="*/ 153330 h 159055"/>
                <a:gd name="connsiteX43" fmla="*/ 55670 w 108157"/>
                <a:gd name="connsiteY43" fmla="*/ 152376 h 159055"/>
                <a:gd name="connsiteX44" fmla="*/ 55033 w 108157"/>
                <a:gd name="connsiteY44" fmla="*/ 151421 h 159055"/>
                <a:gd name="connsiteX45" fmla="*/ 54397 w 108157"/>
                <a:gd name="connsiteY45" fmla="*/ 151421 h 159055"/>
                <a:gd name="connsiteX46" fmla="*/ 52806 w 108157"/>
                <a:gd name="connsiteY46" fmla="*/ 151739 h 159055"/>
                <a:gd name="connsiteX47" fmla="*/ 51852 w 108157"/>
                <a:gd name="connsiteY47" fmla="*/ 151739 h 159055"/>
                <a:gd name="connsiteX48" fmla="*/ 49625 w 108157"/>
                <a:gd name="connsiteY48" fmla="*/ 152376 h 159055"/>
                <a:gd name="connsiteX49" fmla="*/ 49307 w 108157"/>
                <a:gd name="connsiteY49" fmla="*/ 152376 h 159055"/>
                <a:gd name="connsiteX50" fmla="*/ 49625 w 108157"/>
                <a:gd name="connsiteY50" fmla="*/ 152694 h 159055"/>
                <a:gd name="connsiteX51" fmla="*/ 50580 w 108157"/>
                <a:gd name="connsiteY51" fmla="*/ 152694 h 159055"/>
                <a:gd name="connsiteX52" fmla="*/ 51534 w 108157"/>
                <a:gd name="connsiteY52" fmla="*/ 152694 h 159055"/>
                <a:gd name="connsiteX53" fmla="*/ 52170 w 108157"/>
                <a:gd name="connsiteY53" fmla="*/ 153330 h 159055"/>
                <a:gd name="connsiteX54" fmla="*/ 51852 w 108157"/>
                <a:gd name="connsiteY54" fmla="*/ 153966 h 159055"/>
                <a:gd name="connsiteX55" fmla="*/ 51534 w 108157"/>
                <a:gd name="connsiteY55" fmla="*/ 153966 h 159055"/>
                <a:gd name="connsiteX56" fmla="*/ 50580 w 108157"/>
                <a:gd name="connsiteY56" fmla="*/ 153648 h 159055"/>
                <a:gd name="connsiteX57" fmla="*/ 49625 w 108157"/>
                <a:gd name="connsiteY57" fmla="*/ 153966 h 159055"/>
                <a:gd name="connsiteX58" fmla="*/ 49625 w 108157"/>
                <a:gd name="connsiteY58" fmla="*/ 155239 h 159055"/>
                <a:gd name="connsiteX59" fmla="*/ 49625 w 108157"/>
                <a:gd name="connsiteY59" fmla="*/ 155557 h 159055"/>
                <a:gd name="connsiteX60" fmla="*/ 48671 w 108157"/>
                <a:gd name="connsiteY60" fmla="*/ 155875 h 159055"/>
                <a:gd name="connsiteX61" fmla="*/ 45808 w 108157"/>
                <a:gd name="connsiteY61" fmla="*/ 156193 h 159055"/>
                <a:gd name="connsiteX62" fmla="*/ 44854 w 108157"/>
                <a:gd name="connsiteY62" fmla="*/ 156829 h 159055"/>
                <a:gd name="connsiteX63" fmla="*/ 42945 w 108157"/>
                <a:gd name="connsiteY63" fmla="*/ 157147 h 159055"/>
                <a:gd name="connsiteX64" fmla="*/ 42309 w 108157"/>
                <a:gd name="connsiteY64" fmla="*/ 156193 h 159055"/>
                <a:gd name="connsiteX65" fmla="*/ 42627 w 108157"/>
                <a:gd name="connsiteY65" fmla="*/ 156193 h 159055"/>
                <a:gd name="connsiteX66" fmla="*/ 43581 w 108157"/>
                <a:gd name="connsiteY66" fmla="*/ 155239 h 159055"/>
                <a:gd name="connsiteX67" fmla="*/ 43263 w 108157"/>
                <a:gd name="connsiteY67" fmla="*/ 154920 h 159055"/>
                <a:gd name="connsiteX68" fmla="*/ 45172 w 108157"/>
                <a:gd name="connsiteY68" fmla="*/ 154920 h 159055"/>
                <a:gd name="connsiteX69" fmla="*/ 45490 w 108157"/>
                <a:gd name="connsiteY69" fmla="*/ 154284 h 159055"/>
                <a:gd name="connsiteX70" fmla="*/ 45172 w 108157"/>
                <a:gd name="connsiteY70" fmla="*/ 153966 h 159055"/>
                <a:gd name="connsiteX71" fmla="*/ 43899 w 108157"/>
                <a:gd name="connsiteY71" fmla="*/ 153966 h 159055"/>
                <a:gd name="connsiteX72" fmla="*/ 43263 w 108157"/>
                <a:gd name="connsiteY72" fmla="*/ 154920 h 159055"/>
                <a:gd name="connsiteX73" fmla="*/ 41673 w 108157"/>
                <a:gd name="connsiteY73" fmla="*/ 153966 h 159055"/>
                <a:gd name="connsiteX74" fmla="*/ 41673 w 108157"/>
                <a:gd name="connsiteY74" fmla="*/ 154284 h 159055"/>
                <a:gd name="connsiteX75" fmla="*/ 41673 w 108157"/>
                <a:gd name="connsiteY75" fmla="*/ 154602 h 159055"/>
                <a:gd name="connsiteX76" fmla="*/ 41991 w 108157"/>
                <a:gd name="connsiteY76" fmla="*/ 155557 h 159055"/>
                <a:gd name="connsiteX77" fmla="*/ 39446 w 108157"/>
                <a:gd name="connsiteY77" fmla="*/ 155875 h 159055"/>
                <a:gd name="connsiteX78" fmla="*/ 37219 w 108157"/>
                <a:gd name="connsiteY78" fmla="*/ 155557 h 159055"/>
                <a:gd name="connsiteX79" fmla="*/ 36583 w 108157"/>
                <a:gd name="connsiteY79" fmla="*/ 155557 h 159055"/>
                <a:gd name="connsiteX80" fmla="*/ 35310 w 108157"/>
                <a:gd name="connsiteY80" fmla="*/ 155557 h 159055"/>
                <a:gd name="connsiteX81" fmla="*/ 34992 w 108157"/>
                <a:gd name="connsiteY81" fmla="*/ 155875 h 159055"/>
                <a:gd name="connsiteX82" fmla="*/ 34674 w 108157"/>
                <a:gd name="connsiteY82" fmla="*/ 156511 h 159055"/>
                <a:gd name="connsiteX83" fmla="*/ 34674 w 108157"/>
                <a:gd name="connsiteY83" fmla="*/ 156829 h 159055"/>
                <a:gd name="connsiteX84" fmla="*/ 34038 w 108157"/>
                <a:gd name="connsiteY84" fmla="*/ 158420 h 159055"/>
                <a:gd name="connsiteX85" fmla="*/ 30857 w 108157"/>
                <a:gd name="connsiteY85" fmla="*/ 158738 h 159055"/>
                <a:gd name="connsiteX86" fmla="*/ 29266 w 108157"/>
                <a:gd name="connsiteY86" fmla="*/ 158420 h 159055"/>
                <a:gd name="connsiteX87" fmla="*/ 26721 w 108157"/>
                <a:gd name="connsiteY87" fmla="*/ 158738 h 159055"/>
                <a:gd name="connsiteX88" fmla="*/ 26403 w 108157"/>
                <a:gd name="connsiteY88" fmla="*/ 158102 h 159055"/>
                <a:gd name="connsiteX89" fmla="*/ 26085 w 108157"/>
                <a:gd name="connsiteY89" fmla="*/ 157147 h 159055"/>
                <a:gd name="connsiteX90" fmla="*/ 25767 w 108157"/>
                <a:gd name="connsiteY90" fmla="*/ 156829 h 159055"/>
                <a:gd name="connsiteX91" fmla="*/ 24813 w 108157"/>
                <a:gd name="connsiteY91" fmla="*/ 157147 h 159055"/>
                <a:gd name="connsiteX92" fmla="*/ 24176 w 108157"/>
                <a:gd name="connsiteY92" fmla="*/ 157783 h 159055"/>
                <a:gd name="connsiteX93" fmla="*/ 24813 w 108157"/>
                <a:gd name="connsiteY93" fmla="*/ 158102 h 159055"/>
                <a:gd name="connsiteX94" fmla="*/ 25449 w 108157"/>
                <a:gd name="connsiteY94" fmla="*/ 158738 h 159055"/>
                <a:gd name="connsiteX95" fmla="*/ 26085 w 108157"/>
                <a:gd name="connsiteY95" fmla="*/ 159692 h 159055"/>
                <a:gd name="connsiteX96" fmla="*/ 27676 w 108157"/>
                <a:gd name="connsiteY96" fmla="*/ 160965 h 159055"/>
                <a:gd name="connsiteX97" fmla="*/ 26403 w 108157"/>
                <a:gd name="connsiteY97" fmla="*/ 160965 h 159055"/>
                <a:gd name="connsiteX98" fmla="*/ 26085 w 108157"/>
                <a:gd name="connsiteY98" fmla="*/ 160965 h 159055"/>
                <a:gd name="connsiteX99" fmla="*/ 26403 w 108157"/>
                <a:gd name="connsiteY99" fmla="*/ 160965 h 159055"/>
                <a:gd name="connsiteX100" fmla="*/ 27676 w 108157"/>
                <a:gd name="connsiteY100" fmla="*/ 160965 h 159055"/>
                <a:gd name="connsiteX101" fmla="*/ 28312 w 108157"/>
                <a:gd name="connsiteY101" fmla="*/ 160965 h 159055"/>
                <a:gd name="connsiteX102" fmla="*/ 28630 w 108157"/>
                <a:gd name="connsiteY102" fmla="*/ 161601 h 159055"/>
                <a:gd name="connsiteX103" fmla="*/ 27994 w 108157"/>
                <a:gd name="connsiteY103" fmla="*/ 161919 h 159055"/>
                <a:gd name="connsiteX104" fmla="*/ 25131 w 108157"/>
                <a:gd name="connsiteY104" fmla="*/ 161283 h 159055"/>
                <a:gd name="connsiteX105" fmla="*/ 24176 w 108157"/>
                <a:gd name="connsiteY105" fmla="*/ 160328 h 159055"/>
                <a:gd name="connsiteX106" fmla="*/ 24495 w 108157"/>
                <a:gd name="connsiteY106" fmla="*/ 159374 h 159055"/>
                <a:gd name="connsiteX107" fmla="*/ 23540 w 108157"/>
                <a:gd name="connsiteY107" fmla="*/ 159056 h 159055"/>
                <a:gd name="connsiteX108" fmla="*/ 21950 w 108157"/>
                <a:gd name="connsiteY108" fmla="*/ 158738 h 159055"/>
                <a:gd name="connsiteX109" fmla="*/ 21314 w 108157"/>
                <a:gd name="connsiteY109" fmla="*/ 159056 h 159055"/>
                <a:gd name="connsiteX110" fmla="*/ 20041 w 108157"/>
                <a:gd name="connsiteY110" fmla="*/ 159374 h 159055"/>
                <a:gd name="connsiteX111" fmla="*/ 17178 w 108157"/>
                <a:gd name="connsiteY111" fmla="*/ 158420 h 159055"/>
                <a:gd name="connsiteX112" fmla="*/ 14315 w 108157"/>
                <a:gd name="connsiteY112" fmla="*/ 157783 h 159055"/>
                <a:gd name="connsiteX113" fmla="*/ 13679 w 108157"/>
                <a:gd name="connsiteY113" fmla="*/ 158102 h 159055"/>
                <a:gd name="connsiteX114" fmla="*/ 13997 w 108157"/>
                <a:gd name="connsiteY114" fmla="*/ 158738 h 159055"/>
                <a:gd name="connsiteX115" fmla="*/ 13997 w 108157"/>
                <a:gd name="connsiteY115" fmla="*/ 159056 h 159055"/>
                <a:gd name="connsiteX116" fmla="*/ 13679 w 108157"/>
                <a:gd name="connsiteY116" fmla="*/ 159374 h 159055"/>
                <a:gd name="connsiteX117" fmla="*/ 12406 w 108157"/>
                <a:gd name="connsiteY117" fmla="*/ 159056 h 159055"/>
                <a:gd name="connsiteX118" fmla="*/ 11134 w 108157"/>
                <a:gd name="connsiteY118" fmla="*/ 157783 h 159055"/>
                <a:gd name="connsiteX119" fmla="*/ 10816 w 108157"/>
                <a:gd name="connsiteY119" fmla="*/ 158102 h 159055"/>
                <a:gd name="connsiteX120" fmla="*/ 11452 w 108157"/>
                <a:gd name="connsiteY120" fmla="*/ 159056 h 159055"/>
                <a:gd name="connsiteX121" fmla="*/ 12406 w 108157"/>
                <a:gd name="connsiteY121" fmla="*/ 159056 h 159055"/>
                <a:gd name="connsiteX122" fmla="*/ 13043 w 108157"/>
                <a:gd name="connsiteY122" fmla="*/ 159692 h 159055"/>
                <a:gd name="connsiteX123" fmla="*/ 14315 w 108157"/>
                <a:gd name="connsiteY123" fmla="*/ 159692 h 159055"/>
                <a:gd name="connsiteX124" fmla="*/ 14951 w 108157"/>
                <a:gd name="connsiteY124" fmla="*/ 159692 h 159055"/>
                <a:gd name="connsiteX125" fmla="*/ 16542 w 108157"/>
                <a:gd name="connsiteY125" fmla="*/ 159374 h 159055"/>
                <a:gd name="connsiteX126" fmla="*/ 16224 w 108157"/>
                <a:gd name="connsiteY126" fmla="*/ 159692 h 159055"/>
                <a:gd name="connsiteX127" fmla="*/ 19723 w 108157"/>
                <a:gd name="connsiteY127" fmla="*/ 160965 h 159055"/>
                <a:gd name="connsiteX128" fmla="*/ 21314 w 108157"/>
                <a:gd name="connsiteY128" fmla="*/ 161283 h 159055"/>
                <a:gd name="connsiteX129" fmla="*/ 22586 w 108157"/>
                <a:gd name="connsiteY129" fmla="*/ 161919 h 159055"/>
                <a:gd name="connsiteX130" fmla="*/ 20995 w 108157"/>
                <a:gd name="connsiteY130" fmla="*/ 162555 h 159055"/>
                <a:gd name="connsiteX131" fmla="*/ 19405 w 108157"/>
                <a:gd name="connsiteY131" fmla="*/ 162555 h 159055"/>
                <a:gd name="connsiteX132" fmla="*/ 17496 w 108157"/>
                <a:gd name="connsiteY132" fmla="*/ 161601 h 159055"/>
                <a:gd name="connsiteX133" fmla="*/ 16860 w 108157"/>
                <a:gd name="connsiteY133" fmla="*/ 160965 h 159055"/>
                <a:gd name="connsiteX134" fmla="*/ 16224 w 108157"/>
                <a:gd name="connsiteY134" fmla="*/ 160646 h 159055"/>
                <a:gd name="connsiteX135" fmla="*/ 16224 w 108157"/>
                <a:gd name="connsiteY135" fmla="*/ 160965 h 159055"/>
                <a:gd name="connsiteX136" fmla="*/ 16542 w 108157"/>
                <a:gd name="connsiteY136" fmla="*/ 161919 h 159055"/>
                <a:gd name="connsiteX137" fmla="*/ 16224 w 108157"/>
                <a:gd name="connsiteY137" fmla="*/ 162555 h 159055"/>
                <a:gd name="connsiteX138" fmla="*/ 15906 w 108157"/>
                <a:gd name="connsiteY138" fmla="*/ 162555 h 159055"/>
                <a:gd name="connsiteX139" fmla="*/ 13997 w 108157"/>
                <a:gd name="connsiteY139" fmla="*/ 161919 h 159055"/>
                <a:gd name="connsiteX140" fmla="*/ 13679 w 108157"/>
                <a:gd name="connsiteY140" fmla="*/ 162555 h 159055"/>
                <a:gd name="connsiteX141" fmla="*/ 12406 w 108157"/>
                <a:gd name="connsiteY141" fmla="*/ 163509 h 159055"/>
                <a:gd name="connsiteX142" fmla="*/ 11134 w 108157"/>
                <a:gd name="connsiteY142" fmla="*/ 163191 h 159055"/>
                <a:gd name="connsiteX143" fmla="*/ 8271 w 108157"/>
                <a:gd name="connsiteY143" fmla="*/ 162873 h 159055"/>
                <a:gd name="connsiteX144" fmla="*/ 7317 w 108157"/>
                <a:gd name="connsiteY144" fmla="*/ 162237 h 159055"/>
                <a:gd name="connsiteX145" fmla="*/ 5090 w 108157"/>
                <a:gd name="connsiteY145" fmla="*/ 160328 h 159055"/>
                <a:gd name="connsiteX146" fmla="*/ 4454 w 108157"/>
                <a:gd name="connsiteY146" fmla="*/ 157783 h 159055"/>
                <a:gd name="connsiteX147" fmla="*/ 5408 w 108157"/>
                <a:gd name="connsiteY147" fmla="*/ 157147 h 159055"/>
                <a:gd name="connsiteX148" fmla="*/ 5726 w 108157"/>
                <a:gd name="connsiteY148" fmla="*/ 157783 h 159055"/>
                <a:gd name="connsiteX149" fmla="*/ 7317 w 108157"/>
                <a:gd name="connsiteY149" fmla="*/ 157783 h 159055"/>
                <a:gd name="connsiteX150" fmla="*/ 6362 w 108157"/>
                <a:gd name="connsiteY150" fmla="*/ 156511 h 159055"/>
                <a:gd name="connsiteX151" fmla="*/ 5090 w 108157"/>
                <a:gd name="connsiteY151" fmla="*/ 156511 h 159055"/>
                <a:gd name="connsiteX152" fmla="*/ 4454 w 108157"/>
                <a:gd name="connsiteY152" fmla="*/ 156193 h 159055"/>
                <a:gd name="connsiteX153" fmla="*/ 2545 w 108157"/>
                <a:gd name="connsiteY153" fmla="*/ 151421 h 159055"/>
                <a:gd name="connsiteX154" fmla="*/ 1909 w 108157"/>
                <a:gd name="connsiteY154" fmla="*/ 149194 h 159055"/>
                <a:gd name="connsiteX155" fmla="*/ 1909 w 108157"/>
                <a:gd name="connsiteY155" fmla="*/ 148240 h 159055"/>
                <a:gd name="connsiteX156" fmla="*/ 318 w 108157"/>
                <a:gd name="connsiteY156" fmla="*/ 143787 h 159055"/>
                <a:gd name="connsiteX157" fmla="*/ 0 w 108157"/>
                <a:gd name="connsiteY157" fmla="*/ 141560 h 159055"/>
                <a:gd name="connsiteX158" fmla="*/ 636 w 108157"/>
                <a:gd name="connsiteY158" fmla="*/ 139333 h 159055"/>
                <a:gd name="connsiteX159" fmla="*/ 1909 w 108157"/>
                <a:gd name="connsiteY159" fmla="*/ 137424 h 159055"/>
                <a:gd name="connsiteX160" fmla="*/ 3181 w 108157"/>
                <a:gd name="connsiteY160" fmla="*/ 135516 h 159055"/>
                <a:gd name="connsiteX161" fmla="*/ 5090 w 108157"/>
                <a:gd name="connsiteY161" fmla="*/ 133607 h 159055"/>
                <a:gd name="connsiteX162" fmla="*/ 6998 w 108157"/>
                <a:gd name="connsiteY162" fmla="*/ 131380 h 159055"/>
                <a:gd name="connsiteX163" fmla="*/ 7953 w 108157"/>
                <a:gd name="connsiteY163" fmla="*/ 130744 h 159055"/>
                <a:gd name="connsiteX164" fmla="*/ 10816 w 108157"/>
                <a:gd name="connsiteY164" fmla="*/ 128835 h 159055"/>
                <a:gd name="connsiteX165" fmla="*/ 12724 w 108157"/>
                <a:gd name="connsiteY165" fmla="*/ 127563 h 159055"/>
                <a:gd name="connsiteX166" fmla="*/ 13997 w 108157"/>
                <a:gd name="connsiteY166" fmla="*/ 126609 h 159055"/>
                <a:gd name="connsiteX167" fmla="*/ 16860 w 108157"/>
                <a:gd name="connsiteY167" fmla="*/ 124382 h 159055"/>
                <a:gd name="connsiteX168" fmla="*/ 18132 w 108157"/>
                <a:gd name="connsiteY168" fmla="*/ 124700 h 159055"/>
                <a:gd name="connsiteX169" fmla="*/ 20041 w 108157"/>
                <a:gd name="connsiteY169" fmla="*/ 125018 h 159055"/>
                <a:gd name="connsiteX170" fmla="*/ 23858 w 108157"/>
                <a:gd name="connsiteY170" fmla="*/ 123109 h 159055"/>
                <a:gd name="connsiteX171" fmla="*/ 25449 w 108157"/>
                <a:gd name="connsiteY171" fmla="*/ 122791 h 159055"/>
                <a:gd name="connsiteX172" fmla="*/ 27994 w 108157"/>
                <a:gd name="connsiteY172" fmla="*/ 123109 h 159055"/>
                <a:gd name="connsiteX173" fmla="*/ 28630 w 108157"/>
                <a:gd name="connsiteY173" fmla="*/ 122473 h 159055"/>
                <a:gd name="connsiteX174" fmla="*/ 30221 w 108157"/>
                <a:gd name="connsiteY174" fmla="*/ 122473 h 159055"/>
                <a:gd name="connsiteX175" fmla="*/ 30221 w 108157"/>
                <a:gd name="connsiteY175" fmla="*/ 123109 h 159055"/>
                <a:gd name="connsiteX176" fmla="*/ 25449 w 108157"/>
                <a:gd name="connsiteY176" fmla="*/ 125018 h 159055"/>
                <a:gd name="connsiteX177" fmla="*/ 25131 w 108157"/>
                <a:gd name="connsiteY177" fmla="*/ 125654 h 159055"/>
                <a:gd name="connsiteX178" fmla="*/ 25449 w 108157"/>
                <a:gd name="connsiteY178" fmla="*/ 126609 h 159055"/>
                <a:gd name="connsiteX179" fmla="*/ 25131 w 108157"/>
                <a:gd name="connsiteY179" fmla="*/ 127881 h 159055"/>
                <a:gd name="connsiteX180" fmla="*/ 25131 w 108157"/>
                <a:gd name="connsiteY180" fmla="*/ 128517 h 159055"/>
                <a:gd name="connsiteX181" fmla="*/ 25131 w 108157"/>
                <a:gd name="connsiteY181" fmla="*/ 129472 h 159055"/>
                <a:gd name="connsiteX182" fmla="*/ 25131 w 108157"/>
                <a:gd name="connsiteY182" fmla="*/ 130108 h 159055"/>
                <a:gd name="connsiteX183" fmla="*/ 26403 w 108157"/>
                <a:gd name="connsiteY183" fmla="*/ 131380 h 159055"/>
                <a:gd name="connsiteX184" fmla="*/ 25767 w 108157"/>
                <a:gd name="connsiteY184" fmla="*/ 132335 h 159055"/>
                <a:gd name="connsiteX185" fmla="*/ 25767 w 108157"/>
                <a:gd name="connsiteY185" fmla="*/ 132653 h 159055"/>
                <a:gd name="connsiteX186" fmla="*/ 19405 w 108157"/>
                <a:gd name="connsiteY186" fmla="*/ 136152 h 159055"/>
                <a:gd name="connsiteX187" fmla="*/ 19087 w 108157"/>
                <a:gd name="connsiteY187" fmla="*/ 137742 h 159055"/>
                <a:gd name="connsiteX188" fmla="*/ 17814 w 108157"/>
                <a:gd name="connsiteY188" fmla="*/ 139651 h 159055"/>
                <a:gd name="connsiteX189" fmla="*/ 19087 w 108157"/>
                <a:gd name="connsiteY189" fmla="*/ 140605 h 159055"/>
                <a:gd name="connsiteX190" fmla="*/ 21950 w 108157"/>
                <a:gd name="connsiteY190" fmla="*/ 140605 h 159055"/>
                <a:gd name="connsiteX191" fmla="*/ 24813 w 108157"/>
                <a:gd name="connsiteY191" fmla="*/ 140605 h 159055"/>
                <a:gd name="connsiteX192" fmla="*/ 26085 w 108157"/>
                <a:gd name="connsiteY192" fmla="*/ 140605 h 159055"/>
                <a:gd name="connsiteX193" fmla="*/ 28948 w 108157"/>
                <a:gd name="connsiteY193" fmla="*/ 140605 h 159055"/>
                <a:gd name="connsiteX194" fmla="*/ 30221 w 108157"/>
                <a:gd name="connsiteY194" fmla="*/ 140605 h 159055"/>
                <a:gd name="connsiteX195" fmla="*/ 31175 w 108157"/>
                <a:gd name="connsiteY195" fmla="*/ 140605 h 159055"/>
                <a:gd name="connsiteX196" fmla="*/ 33084 w 108157"/>
                <a:gd name="connsiteY196" fmla="*/ 140605 h 159055"/>
                <a:gd name="connsiteX197" fmla="*/ 34038 w 108157"/>
                <a:gd name="connsiteY197" fmla="*/ 140605 h 159055"/>
                <a:gd name="connsiteX198" fmla="*/ 39764 w 108157"/>
                <a:gd name="connsiteY198" fmla="*/ 139333 h 159055"/>
                <a:gd name="connsiteX199" fmla="*/ 41991 w 108157"/>
                <a:gd name="connsiteY199" fmla="*/ 139015 h 159055"/>
                <a:gd name="connsiteX200" fmla="*/ 43263 w 108157"/>
                <a:gd name="connsiteY200" fmla="*/ 138697 h 159055"/>
                <a:gd name="connsiteX201" fmla="*/ 48353 w 108157"/>
                <a:gd name="connsiteY201" fmla="*/ 137742 h 159055"/>
                <a:gd name="connsiteX202" fmla="*/ 50898 w 108157"/>
                <a:gd name="connsiteY202" fmla="*/ 137106 h 159055"/>
                <a:gd name="connsiteX203" fmla="*/ 60759 w 108157"/>
                <a:gd name="connsiteY203" fmla="*/ 134243 h 159055"/>
                <a:gd name="connsiteX204" fmla="*/ 64259 w 108157"/>
                <a:gd name="connsiteY204" fmla="*/ 133289 h 159055"/>
                <a:gd name="connsiteX205" fmla="*/ 72211 w 108157"/>
                <a:gd name="connsiteY205" fmla="*/ 129790 h 159055"/>
                <a:gd name="connsiteX206" fmla="*/ 76665 w 108157"/>
                <a:gd name="connsiteY206" fmla="*/ 126927 h 159055"/>
                <a:gd name="connsiteX207" fmla="*/ 79210 w 108157"/>
                <a:gd name="connsiteY207" fmla="*/ 125654 h 159055"/>
                <a:gd name="connsiteX208" fmla="*/ 81437 w 108157"/>
                <a:gd name="connsiteY208" fmla="*/ 123427 h 159055"/>
                <a:gd name="connsiteX209" fmla="*/ 82391 w 108157"/>
                <a:gd name="connsiteY209" fmla="*/ 122155 h 159055"/>
                <a:gd name="connsiteX210" fmla="*/ 82073 w 108157"/>
                <a:gd name="connsiteY210" fmla="*/ 121837 h 159055"/>
                <a:gd name="connsiteX211" fmla="*/ 80164 w 108157"/>
                <a:gd name="connsiteY211" fmla="*/ 120882 h 159055"/>
                <a:gd name="connsiteX212" fmla="*/ 77937 w 108157"/>
                <a:gd name="connsiteY212" fmla="*/ 119292 h 159055"/>
                <a:gd name="connsiteX213" fmla="*/ 76983 w 108157"/>
                <a:gd name="connsiteY213" fmla="*/ 118974 h 159055"/>
                <a:gd name="connsiteX214" fmla="*/ 71575 w 108157"/>
                <a:gd name="connsiteY214" fmla="*/ 117065 h 159055"/>
                <a:gd name="connsiteX215" fmla="*/ 68394 w 108157"/>
                <a:gd name="connsiteY215" fmla="*/ 116111 h 159055"/>
                <a:gd name="connsiteX216" fmla="*/ 67440 w 108157"/>
                <a:gd name="connsiteY216" fmla="*/ 115793 h 159055"/>
                <a:gd name="connsiteX217" fmla="*/ 67440 w 108157"/>
                <a:gd name="connsiteY217" fmla="*/ 114838 h 159055"/>
                <a:gd name="connsiteX218" fmla="*/ 66485 w 108157"/>
                <a:gd name="connsiteY218" fmla="*/ 114202 h 159055"/>
                <a:gd name="connsiteX219" fmla="*/ 62986 w 108157"/>
                <a:gd name="connsiteY219" fmla="*/ 113884 h 159055"/>
                <a:gd name="connsiteX220" fmla="*/ 61396 w 108157"/>
                <a:gd name="connsiteY220" fmla="*/ 114202 h 159055"/>
                <a:gd name="connsiteX221" fmla="*/ 59169 w 108157"/>
                <a:gd name="connsiteY221" fmla="*/ 112293 h 159055"/>
                <a:gd name="connsiteX222" fmla="*/ 56942 w 108157"/>
                <a:gd name="connsiteY222" fmla="*/ 111657 h 159055"/>
                <a:gd name="connsiteX223" fmla="*/ 56624 w 108157"/>
                <a:gd name="connsiteY223" fmla="*/ 111339 h 159055"/>
                <a:gd name="connsiteX224" fmla="*/ 56624 w 108157"/>
                <a:gd name="connsiteY224" fmla="*/ 111021 h 159055"/>
                <a:gd name="connsiteX225" fmla="*/ 56942 w 108157"/>
                <a:gd name="connsiteY225" fmla="*/ 110385 h 159055"/>
                <a:gd name="connsiteX226" fmla="*/ 54715 w 108157"/>
                <a:gd name="connsiteY226" fmla="*/ 109749 h 159055"/>
                <a:gd name="connsiteX227" fmla="*/ 54079 w 108157"/>
                <a:gd name="connsiteY227" fmla="*/ 110385 h 159055"/>
                <a:gd name="connsiteX228" fmla="*/ 53761 w 108157"/>
                <a:gd name="connsiteY228" fmla="*/ 111021 h 159055"/>
                <a:gd name="connsiteX229" fmla="*/ 50580 w 108157"/>
                <a:gd name="connsiteY229" fmla="*/ 111021 h 159055"/>
                <a:gd name="connsiteX230" fmla="*/ 50580 w 108157"/>
                <a:gd name="connsiteY230" fmla="*/ 111339 h 159055"/>
                <a:gd name="connsiteX231" fmla="*/ 50262 w 108157"/>
                <a:gd name="connsiteY231" fmla="*/ 111657 h 159055"/>
                <a:gd name="connsiteX232" fmla="*/ 48671 w 108157"/>
                <a:gd name="connsiteY232" fmla="*/ 110385 h 159055"/>
                <a:gd name="connsiteX233" fmla="*/ 48353 w 108157"/>
                <a:gd name="connsiteY233" fmla="*/ 109749 h 159055"/>
                <a:gd name="connsiteX234" fmla="*/ 45808 w 108157"/>
                <a:gd name="connsiteY234" fmla="*/ 108158 h 159055"/>
                <a:gd name="connsiteX235" fmla="*/ 45172 w 108157"/>
                <a:gd name="connsiteY235" fmla="*/ 108476 h 159055"/>
                <a:gd name="connsiteX236" fmla="*/ 45172 w 108157"/>
                <a:gd name="connsiteY236" fmla="*/ 109430 h 159055"/>
                <a:gd name="connsiteX237" fmla="*/ 45490 w 108157"/>
                <a:gd name="connsiteY237" fmla="*/ 109749 h 159055"/>
                <a:gd name="connsiteX238" fmla="*/ 46762 w 108157"/>
                <a:gd name="connsiteY238" fmla="*/ 109749 h 159055"/>
                <a:gd name="connsiteX239" fmla="*/ 47081 w 108157"/>
                <a:gd name="connsiteY239" fmla="*/ 110385 h 159055"/>
                <a:gd name="connsiteX240" fmla="*/ 46444 w 108157"/>
                <a:gd name="connsiteY240" fmla="*/ 111021 h 159055"/>
                <a:gd name="connsiteX241" fmla="*/ 47081 w 108157"/>
                <a:gd name="connsiteY241" fmla="*/ 111339 h 159055"/>
                <a:gd name="connsiteX242" fmla="*/ 47399 w 108157"/>
                <a:gd name="connsiteY242" fmla="*/ 111657 h 159055"/>
                <a:gd name="connsiteX243" fmla="*/ 46444 w 108157"/>
                <a:gd name="connsiteY243" fmla="*/ 111657 h 159055"/>
                <a:gd name="connsiteX244" fmla="*/ 45172 w 108157"/>
                <a:gd name="connsiteY244" fmla="*/ 110703 h 159055"/>
                <a:gd name="connsiteX245" fmla="*/ 43581 w 108157"/>
                <a:gd name="connsiteY245" fmla="*/ 109430 h 159055"/>
                <a:gd name="connsiteX246" fmla="*/ 43581 w 108157"/>
                <a:gd name="connsiteY246" fmla="*/ 108794 h 159055"/>
                <a:gd name="connsiteX247" fmla="*/ 41991 w 108157"/>
                <a:gd name="connsiteY247" fmla="*/ 108158 h 159055"/>
                <a:gd name="connsiteX248" fmla="*/ 41036 w 108157"/>
                <a:gd name="connsiteY248" fmla="*/ 108158 h 159055"/>
                <a:gd name="connsiteX249" fmla="*/ 39128 w 108157"/>
                <a:gd name="connsiteY249" fmla="*/ 108158 h 159055"/>
                <a:gd name="connsiteX250" fmla="*/ 38810 w 108157"/>
                <a:gd name="connsiteY250" fmla="*/ 108158 h 159055"/>
                <a:gd name="connsiteX251" fmla="*/ 37537 w 108157"/>
                <a:gd name="connsiteY251" fmla="*/ 108158 h 159055"/>
                <a:gd name="connsiteX252" fmla="*/ 37537 w 108157"/>
                <a:gd name="connsiteY252" fmla="*/ 107522 h 159055"/>
                <a:gd name="connsiteX253" fmla="*/ 35629 w 108157"/>
                <a:gd name="connsiteY253" fmla="*/ 106249 h 159055"/>
                <a:gd name="connsiteX254" fmla="*/ 34674 w 108157"/>
                <a:gd name="connsiteY254" fmla="*/ 106249 h 159055"/>
                <a:gd name="connsiteX255" fmla="*/ 33402 w 108157"/>
                <a:gd name="connsiteY255" fmla="*/ 104977 h 159055"/>
                <a:gd name="connsiteX256" fmla="*/ 31175 w 108157"/>
                <a:gd name="connsiteY256" fmla="*/ 104023 h 159055"/>
                <a:gd name="connsiteX257" fmla="*/ 29903 w 108157"/>
                <a:gd name="connsiteY257" fmla="*/ 104023 h 159055"/>
                <a:gd name="connsiteX258" fmla="*/ 23858 w 108157"/>
                <a:gd name="connsiteY258" fmla="*/ 100841 h 159055"/>
                <a:gd name="connsiteX259" fmla="*/ 20041 w 108157"/>
                <a:gd name="connsiteY259" fmla="*/ 98933 h 159055"/>
                <a:gd name="connsiteX260" fmla="*/ 19405 w 108157"/>
                <a:gd name="connsiteY260" fmla="*/ 97978 h 159055"/>
                <a:gd name="connsiteX261" fmla="*/ 18132 w 108157"/>
                <a:gd name="connsiteY261" fmla="*/ 97024 h 159055"/>
                <a:gd name="connsiteX262" fmla="*/ 16542 w 108157"/>
                <a:gd name="connsiteY262" fmla="*/ 94797 h 159055"/>
                <a:gd name="connsiteX263" fmla="*/ 15269 w 108157"/>
                <a:gd name="connsiteY263" fmla="*/ 93207 h 159055"/>
                <a:gd name="connsiteX264" fmla="*/ 12088 w 108157"/>
                <a:gd name="connsiteY264" fmla="*/ 90980 h 159055"/>
                <a:gd name="connsiteX265" fmla="*/ 11134 w 108157"/>
                <a:gd name="connsiteY265" fmla="*/ 89708 h 159055"/>
                <a:gd name="connsiteX266" fmla="*/ 11134 w 108157"/>
                <a:gd name="connsiteY266" fmla="*/ 89389 h 159055"/>
                <a:gd name="connsiteX267" fmla="*/ 9543 w 108157"/>
                <a:gd name="connsiteY267" fmla="*/ 87799 h 159055"/>
                <a:gd name="connsiteX268" fmla="*/ 6680 w 108157"/>
                <a:gd name="connsiteY268" fmla="*/ 83345 h 159055"/>
                <a:gd name="connsiteX269" fmla="*/ 6680 w 108157"/>
                <a:gd name="connsiteY269" fmla="*/ 82073 h 159055"/>
                <a:gd name="connsiteX270" fmla="*/ 5726 w 108157"/>
                <a:gd name="connsiteY270" fmla="*/ 79210 h 159055"/>
                <a:gd name="connsiteX271" fmla="*/ 5090 w 108157"/>
                <a:gd name="connsiteY271" fmla="*/ 77619 h 159055"/>
                <a:gd name="connsiteX272" fmla="*/ 3817 w 108157"/>
                <a:gd name="connsiteY272" fmla="*/ 71893 h 159055"/>
                <a:gd name="connsiteX273" fmla="*/ 3817 w 108157"/>
                <a:gd name="connsiteY273" fmla="*/ 70303 h 159055"/>
                <a:gd name="connsiteX274" fmla="*/ 3817 w 108157"/>
                <a:gd name="connsiteY274" fmla="*/ 69030 h 159055"/>
                <a:gd name="connsiteX275" fmla="*/ 2863 w 108157"/>
                <a:gd name="connsiteY275" fmla="*/ 65849 h 159055"/>
                <a:gd name="connsiteX276" fmla="*/ 3181 w 108157"/>
                <a:gd name="connsiteY276" fmla="*/ 61396 h 159055"/>
                <a:gd name="connsiteX277" fmla="*/ 3817 w 108157"/>
                <a:gd name="connsiteY277" fmla="*/ 59805 h 159055"/>
                <a:gd name="connsiteX278" fmla="*/ 4454 w 108157"/>
                <a:gd name="connsiteY278" fmla="*/ 56624 h 159055"/>
                <a:gd name="connsiteX279" fmla="*/ 6998 w 108157"/>
                <a:gd name="connsiteY279" fmla="*/ 50898 h 159055"/>
                <a:gd name="connsiteX280" fmla="*/ 8589 w 108157"/>
                <a:gd name="connsiteY280" fmla="*/ 48989 h 159055"/>
                <a:gd name="connsiteX281" fmla="*/ 8589 w 108157"/>
                <a:gd name="connsiteY281" fmla="*/ 48035 h 159055"/>
                <a:gd name="connsiteX282" fmla="*/ 9543 w 108157"/>
                <a:gd name="connsiteY282" fmla="*/ 46444 h 159055"/>
                <a:gd name="connsiteX283" fmla="*/ 11770 w 108157"/>
                <a:gd name="connsiteY283" fmla="*/ 43263 h 159055"/>
                <a:gd name="connsiteX284" fmla="*/ 12724 w 108157"/>
                <a:gd name="connsiteY284" fmla="*/ 41991 h 159055"/>
                <a:gd name="connsiteX285" fmla="*/ 13679 w 108157"/>
                <a:gd name="connsiteY285" fmla="*/ 40082 h 159055"/>
                <a:gd name="connsiteX286" fmla="*/ 15906 w 108157"/>
                <a:gd name="connsiteY286" fmla="*/ 39128 h 159055"/>
                <a:gd name="connsiteX287" fmla="*/ 16224 w 108157"/>
                <a:gd name="connsiteY287" fmla="*/ 39128 h 159055"/>
                <a:gd name="connsiteX288" fmla="*/ 17814 w 108157"/>
                <a:gd name="connsiteY288" fmla="*/ 38173 h 159055"/>
                <a:gd name="connsiteX289" fmla="*/ 21314 w 108157"/>
                <a:gd name="connsiteY289" fmla="*/ 34674 h 159055"/>
                <a:gd name="connsiteX290" fmla="*/ 22586 w 108157"/>
                <a:gd name="connsiteY290" fmla="*/ 33084 h 159055"/>
                <a:gd name="connsiteX291" fmla="*/ 24813 w 108157"/>
                <a:gd name="connsiteY291" fmla="*/ 31493 h 159055"/>
                <a:gd name="connsiteX292" fmla="*/ 26403 w 108157"/>
                <a:gd name="connsiteY292" fmla="*/ 29903 h 159055"/>
                <a:gd name="connsiteX293" fmla="*/ 29266 w 108157"/>
                <a:gd name="connsiteY293" fmla="*/ 28312 h 159055"/>
                <a:gd name="connsiteX294" fmla="*/ 31175 w 108157"/>
                <a:gd name="connsiteY294" fmla="*/ 26403 h 159055"/>
                <a:gd name="connsiteX295" fmla="*/ 35310 w 108157"/>
                <a:gd name="connsiteY295" fmla="*/ 22904 h 159055"/>
                <a:gd name="connsiteX296" fmla="*/ 38810 w 108157"/>
                <a:gd name="connsiteY296" fmla="*/ 20677 h 159055"/>
                <a:gd name="connsiteX297" fmla="*/ 39128 w 108157"/>
                <a:gd name="connsiteY297" fmla="*/ 20041 h 159055"/>
                <a:gd name="connsiteX298" fmla="*/ 43263 w 108157"/>
                <a:gd name="connsiteY298" fmla="*/ 17496 h 159055"/>
                <a:gd name="connsiteX299" fmla="*/ 46762 w 108157"/>
                <a:gd name="connsiteY299" fmla="*/ 15906 h 159055"/>
                <a:gd name="connsiteX300" fmla="*/ 48035 w 108157"/>
                <a:gd name="connsiteY300" fmla="*/ 14951 h 159055"/>
                <a:gd name="connsiteX301" fmla="*/ 49307 w 108157"/>
                <a:gd name="connsiteY301" fmla="*/ 14315 h 159055"/>
                <a:gd name="connsiteX302" fmla="*/ 51216 w 108157"/>
                <a:gd name="connsiteY302" fmla="*/ 13679 h 159055"/>
                <a:gd name="connsiteX303" fmla="*/ 52806 w 108157"/>
                <a:gd name="connsiteY303" fmla="*/ 12724 h 159055"/>
                <a:gd name="connsiteX304" fmla="*/ 55670 w 108157"/>
                <a:gd name="connsiteY304" fmla="*/ 11134 h 159055"/>
                <a:gd name="connsiteX305" fmla="*/ 55988 w 108157"/>
                <a:gd name="connsiteY305" fmla="*/ 11134 h 159055"/>
                <a:gd name="connsiteX306" fmla="*/ 59169 w 108157"/>
                <a:gd name="connsiteY306" fmla="*/ 11452 h 159055"/>
                <a:gd name="connsiteX307" fmla="*/ 59487 w 108157"/>
                <a:gd name="connsiteY307" fmla="*/ 11134 h 159055"/>
                <a:gd name="connsiteX308" fmla="*/ 61396 w 108157"/>
                <a:gd name="connsiteY308" fmla="*/ 9861 h 159055"/>
                <a:gd name="connsiteX309" fmla="*/ 62350 w 108157"/>
                <a:gd name="connsiteY309" fmla="*/ 9861 h 159055"/>
                <a:gd name="connsiteX310" fmla="*/ 65849 w 108157"/>
                <a:gd name="connsiteY310" fmla="*/ 8271 h 159055"/>
                <a:gd name="connsiteX311" fmla="*/ 68076 w 108157"/>
                <a:gd name="connsiteY311" fmla="*/ 7953 h 159055"/>
                <a:gd name="connsiteX312" fmla="*/ 69985 w 108157"/>
                <a:gd name="connsiteY312" fmla="*/ 6998 h 159055"/>
                <a:gd name="connsiteX313" fmla="*/ 72848 w 108157"/>
                <a:gd name="connsiteY313" fmla="*/ 6680 h 159055"/>
                <a:gd name="connsiteX314" fmla="*/ 73802 w 108157"/>
                <a:gd name="connsiteY314" fmla="*/ 6680 h 159055"/>
                <a:gd name="connsiteX315" fmla="*/ 75074 w 108157"/>
                <a:gd name="connsiteY315" fmla="*/ 6044 h 159055"/>
                <a:gd name="connsiteX316" fmla="*/ 75393 w 108157"/>
                <a:gd name="connsiteY316" fmla="*/ 6044 h 159055"/>
                <a:gd name="connsiteX317" fmla="*/ 76347 w 108157"/>
                <a:gd name="connsiteY317" fmla="*/ 6044 h 159055"/>
                <a:gd name="connsiteX318" fmla="*/ 78574 w 108157"/>
                <a:gd name="connsiteY318" fmla="*/ 5408 h 159055"/>
                <a:gd name="connsiteX319" fmla="*/ 80482 w 108157"/>
                <a:gd name="connsiteY319" fmla="*/ 5408 h 159055"/>
                <a:gd name="connsiteX320" fmla="*/ 81437 w 108157"/>
                <a:gd name="connsiteY320" fmla="*/ 4772 h 159055"/>
                <a:gd name="connsiteX321" fmla="*/ 82709 w 108157"/>
                <a:gd name="connsiteY321" fmla="*/ 3499 h 159055"/>
                <a:gd name="connsiteX322" fmla="*/ 84618 w 108157"/>
                <a:gd name="connsiteY322" fmla="*/ 2863 h 159055"/>
                <a:gd name="connsiteX323" fmla="*/ 85254 w 108157"/>
                <a:gd name="connsiteY323" fmla="*/ 2545 h 159055"/>
                <a:gd name="connsiteX324" fmla="*/ 87799 w 108157"/>
                <a:gd name="connsiteY324" fmla="*/ 2545 h 159055"/>
                <a:gd name="connsiteX325" fmla="*/ 85254 w 108157"/>
                <a:gd name="connsiteY325" fmla="*/ 3499 h 159055"/>
                <a:gd name="connsiteX326" fmla="*/ 84618 w 108157"/>
                <a:gd name="connsiteY326" fmla="*/ 4135 h 159055"/>
                <a:gd name="connsiteX327" fmla="*/ 84300 w 108157"/>
                <a:gd name="connsiteY327" fmla="*/ 4135 h 159055"/>
                <a:gd name="connsiteX328" fmla="*/ 84618 w 108157"/>
                <a:gd name="connsiteY328" fmla="*/ 4135 h 159055"/>
                <a:gd name="connsiteX329" fmla="*/ 87799 w 108157"/>
                <a:gd name="connsiteY329" fmla="*/ 3499 h 159055"/>
                <a:gd name="connsiteX330" fmla="*/ 89389 w 108157"/>
                <a:gd name="connsiteY330" fmla="*/ 3499 h 159055"/>
                <a:gd name="connsiteX331" fmla="*/ 90026 w 108157"/>
                <a:gd name="connsiteY331" fmla="*/ 2545 h 159055"/>
                <a:gd name="connsiteX332" fmla="*/ 89708 w 108157"/>
                <a:gd name="connsiteY332" fmla="*/ 2545 h 159055"/>
                <a:gd name="connsiteX333" fmla="*/ 90026 w 108157"/>
                <a:gd name="connsiteY333" fmla="*/ 1272 h 159055"/>
                <a:gd name="connsiteX334" fmla="*/ 93525 w 108157"/>
                <a:gd name="connsiteY334" fmla="*/ 1272 h 159055"/>
                <a:gd name="connsiteX335" fmla="*/ 98297 w 108157"/>
                <a:gd name="connsiteY335" fmla="*/ 954 h 159055"/>
                <a:gd name="connsiteX336" fmla="*/ 99251 w 108157"/>
                <a:gd name="connsiteY336" fmla="*/ 0 h 159055"/>
                <a:gd name="connsiteX337" fmla="*/ 99569 w 108157"/>
                <a:gd name="connsiteY337" fmla="*/ 0 h 159055"/>
                <a:gd name="connsiteX338" fmla="*/ 102114 w 108157"/>
                <a:gd name="connsiteY338" fmla="*/ 636 h 159055"/>
                <a:gd name="connsiteX339" fmla="*/ 106249 w 108157"/>
                <a:gd name="connsiteY339" fmla="*/ 1591 h 159055"/>
                <a:gd name="connsiteX340" fmla="*/ 107204 w 108157"/>
                <a:gd name="connsiteY340" fmla="*/ 2545 h 159055"/>
                <a:gd name="connsiteX341" fmla="*/ 108158 w 108157"/>
                <a:gd name="connsiteY341" fmla="*/ 4772 h 159055"/>
                <a:gd name="connsiteX342" fmla="*/ 110703 w 108157"/>
                <a:gd name="connsiteY342" fmla="*/ 7635 h 159055"/>
                <a:gd name="connsiteX343" fmla="*/ 111657 w 108157"/>
                <a:gd name="connsiteY343" fmla="*/ 8907 h 159055"/>
                <a:gd name="connsiteX344" fmla="*/ 111657 w 108157"/>
                <a:gd name="connsiteY344" fmla="*/ 10816 h 159055"/>
                <a:gd name="connsiteX345" fmla="*/ 111339 w 108157"/>
                <a:gd name="connsiteY345" fmla="*/ 12088 h 159055"/>
                <a:gd name="connsiteX346" fmla="*/ 111339 w 108157"/>
                <a:gd name="connsiteY346" fmla="*/ 16860 h 159055"/>
                <a:gd name="connsiteX347" fmla="*/ 111021 w 108157"/>
                <a:gd name="connsiteY347" fmla="*/ 20041 h 159055"/>
                <a:gd name="connsiteX348" fmla="*/ 111021 w 108157"/>
                <a:gd name="connsiteY348" fmla="*/ 21950 h 159055"/>
                <a:gd name="connsiteX349" fmla="*/ 110703 w 108157"/>
                <a:gd name="connsiteY349" fmla="*/ 22268 h 159055"/>
                <a:gd name="connsiteX350" fmla="*/ 110067 w 108157"/>
                <a:gd name="connsiteY350" fmla="*/ 21950 h 159055"/>
                <a:gd name="connsiteX351" fmla="*/ 109749 w 108157"/>
                <a:gd name="connsiteY351" fmla="*/ 20995 h 159055"/>
                <a:gd name="connsiteX352" fmla="*/ 108158 w 108157"/>
                <a:gd name="connsiteY352" fmla="*/ 20359 h 159055"/>
                <a:gd name="connsiteX353" fmla="*/ 107840 w 108157"/>
                <a:gd name="connsiteY353" fmla="*/ 20677 h 159055"/>
                <a:gd name="connsiteX354" fmla="*/ 107840 w 108157"/>
                <a:gd name="connsiteY354" fmla="*/ 20995 h 159055"/>
                <a:gd name="connsiteX355" fmla="*/ 109431 w 108157"/>
                <a:gd name="connsiteY355" fmla="*/ 22268 h 159055"/>
                <a:gd name="connsiteX356" fmla="*/ 109749 w 108157"/>
                <a:gd name="connsiteY356" fmla="*/ 23222 h 159055"/>
                <a:gd name="connsiteX357" fmla="*/ 109431 w 108157"/>
                <a:gd name="connsiteY357" fmla="*/ 23858 h 159055"/>
                <a:gd name="connsiteX358" fmla="*/ 109431 w 108157"/>
                <a:gd name="connsiteY358" fmla="*/ 26403 h 159055"/>
                <a:gd name="connsiteX359" fmla="*/ 108794 w 108157"/>
                <a:gd name="connsiteY359" fmla="*/ 26721 h 159055"/>
                <a:gd name="connsiteX360" fmla="*/ 107204 w 108157"/>
                <a:gd name="connsiteY360" fmla="*/ 24177 h 159055"/>
                <a:gd name="connsiteX361" fmla="*/ 103386 w 108157"/>
                <a:gd name="connsiteY361" fmla="*/ 21950 h 159055"/>
                <a:gd name="connsiteX362" fmla="*/ 97024 w 108157"/>
                <a:gd name="connsiteY362" fmla="*/ 21950 h 159055"/>
                <a:gd name="connsiteX363" fmla="*/ 95752 w 108157"/>
                <a:gd name="connsiteY363" fmla="*/ 22268 h 159055"/>
                <a:gd name="connsiteX364" fmla="*/ 92889 w 108157"/>
                <a:gd name="connsiteY364" fmla="*/ 22268 h 159055"/>
                <a:gd name="connsiteX365" fmla="*/ 91616 w 108157"/>
                <a:gd name="connsiteY365" fmla="*/ 22586 h 159055"/>
                <a:gd name="connsiteX366" fmla="*/ 89708 w 108157"/>
                <a:gd name="connsiteY366" fmla="*/ 23222 h 159055"/>
                <a:gd name="connsiteX367" fmla="*/ 89071 w 108157"/>
                <a:gd name="connsiteY367" fmla="*/ 23540 h 159055"/>
                <a:gd name="connsiteX368" fmla="*/ 85572 w 108157"/>
                <a:gd name="connsiteY368" fmla="*/ 24495 h 159055"/>
                <a:gd name="connsiteX369" fmla="*/ 81755 w 108157"/>
                <a:gd name="connsiteY369" fmla="*/ 25449 h 159055"/>
                <a:gd name="connsiteX370" fmla="*/ 81119 w 108157"/>
                <a:gd name="connsiteY370" fmla="*/ 25767 h 159055"/>
                <a:gd name="connsiteX371" fmla="*/ 77301 w 108157"/>
                <a:gd name="connsiteY371" fmla="*/ 26721 h 159055"/>
                <a:gd name="connsiteX372" fmla="*/ 76347 w 108157"/>
                <a:gd name="connsiteY372" fmla="*/ 27358 h 159055"/>
                <a:gd name="connsiteX373" fmla="*/ 73166 w 108157"/>
                <a:gd name="connsiteY373" fmla="*/ 28948 h 159055"/>
                <a:gd name="connsiteX374" fmla="*/ 69348 w 108157"/>
                <a:gd name="connsiteY374" fmla="*/ 30539 h 159055"/>
                <a:gd name="connsiteX375" fmla="*/ 65531 w 108157"/>
                <a:gd name="connsiteY375" fmla="*/ 31811 h 159055"/>
                <a:gd name="connsiteX376" fmla="*/ 63304 w 108157"/>
                <a:gd name="connsiteY376" fmla="*/ 32766 h 159055"/>
                <a:gd name="connsiteX377" fmla="*/ 62668 w 108157"/>
                <a:gd name="connsiteY377" fmla="*/ 33720 h 159055"/>
                <a:gd name="connsiteX378" fmla="*/ 60759 w 108157"/>
                <a:gd name="connsiteY378" fmla="*/ 35310 h 159055"/>
                <a:gd name="connsiteX379" fmla="*/ 60123 w 108157"/>
                <a:gd name="connsiteY379" fmla="*/ 35629 h 159055"/>
                <a:gd name="connsiteX380" fmla="*/ 59169 w 108157"/>
                <a:gd name="connsiteY380" fmla="*/ 35629 h 159055"/>
                <a:gd name="connsiteX381" fmla="*/ 56306 w 108157"/>
                <a:gd name="connsiteY381" fmla="*/ 37537 h 159055"/>
                <a:gd name="connsiteX382" fmla="*/ 52170 w 108157"/>
                <a:gd name="connsiteY382" fmla="*/ 39764 h 159055"/>
                <a:gd name="connsiteX383" fmla="*/ 49307 w 108157"/>
                <a:gd name="connsiteY383" fmla="*/ 41036 h 159055"/>
                <a:gd name="connsiteX384" fmla="*/ 49307 w 108157"/>
                <a:gd name="connsiteY384" fmla="*/ 41991 h 159055"/>
                <a:gd name="connsiteX385" fmla="*/ 46444 w 108157"/>
                <a:gd name="connsiteY385" fmla="*/ 44218 h 159055"/>
                <a:gd name="connsiteX386" fmla="*/ 43263 w 108157"/>
                <a:gd name="connsiteY386" fmla="*/ 46444 h 159055"/>
                <a:gd name="connsiteX387" fmla="*/ 42309 w 108157"/>
                <a:gd name="connsiteY387" fmla="*/ 46762 h 159055"/>
                <a:gd name="connsiteX388" fmla="*/ 40718 w 108157"/>
                <a:gd name="connsiteY388" fmla="*/ 47399 h 159055"/>
                <a:gd name="connsiteX389" fmla="*/ 38810 w 108157"/>
                <a:gd name="connsiteY389" fmla="*/ 49625 h 159055"/>
                <a:gd name="connsiteX390" fmla="*/ 38810 w 108157"/>
                <a:gd name="connsiteY390" fmla="*/ 50262 h 159055"/>
                <a:gd name="connsiteX391" fmla="*/ 38173 w 108157"/>
                <a:gd name="connsiteY391" fmla="*/ 50898 h 159055"/>
                <a:gd name="connsiteX392" fmla="*/ 34674 w 108157"/>
                <a:gd name="connsiteY392" fmla="*/ 53761 h 159055"/>
                <a:gd name="connsiteX393" fmla="*/ 34674 w 108157"/>
                <a:gd name="connsiteY393" fmla="*/ 54079 h 159055"/>
                <a:gd name="connsiteX394" fmla="*/ 34038 w 108157"/>
                <a:gd name="connsiteY394" fmla="*/ 55033 h 159055"/>
                <a:gd name="connsiteX395" fmla="*/ 32765 w 108157"/>
                <a:gd name="connsiteY395" fmla="*/ 55988 h 159055"/>
                <a:gd name="connsiteX396" fmla="*/ 31175 w 108157"/>
                <a:gd name="connsiteY396" fmla="*/ 56624 h 159055"/>
                <a:gd name="connsiteX397" fmla="*/ 30539 w 108157"/>
                <a:gd name="connsiteY397" fmla="*/ 56942 h 159055"/>
                <a:gd name="connsiteX398" fmla="*/ 30221 w 108157"/>
                <a:gd name="connsiteY398" fmla="*/ 57896 h 159055"/>
                <a:gd name="connsiteX399" fmla="*/ 29266 w 108157"/>
                <a:gd name="connsiteY399" fmla="*/ 58851 h 159055"/>
                <a:gd name="connsiteX400" fmla="*/ 27994 w 108157"/>
                <a:gd name="connsiteY400" fmla="*/ 61077 h 159055"/>
                <a:gd name="connsiteX401" fmla="*/ 25449 w 108157"/>
                <a:gd name="connsiteY401" fmla="*/ 62986 h 159055"/>
                <a:gd name="connsiteX402" fmla="*/ 25131 w 108157"/>
                <a:gd name="connsiteY402" fmla="*/ 63304 h 159055"/>
                <a:gd name="connsiteX403" fmla="*/ 23540 w 108157"/>
                <a:gd name="connsiteY403" fmla="*/ 66485 h 159055"/>
                <a:gd name="connsiteX404" fmla="*/ 22268 w 108157"/>
                <a:gd name="connsiteY404" fmla="*/ 68394 h 159055"/>
                <a:gd name="connsiteX405" fmla="*/ 21632 w 108157"/>
                <a:gd name="connsiteY405" fmla="*/ 69030 h 159055"/>
                <a:gd name="connsiteX406" fmla="*/ 21314 w 108157"/>
                <a:gd name="connsiteY406" fmla="*/ 70303 h 159055"/>
                <a:gd name="connsiteX407" fmla="*/ 21314 w 108157"/>
                <a:gd name="connsiteY407" fmla="*/ 71257 h 159055"/>
                <a:gd name="connsiteX408" fmla="*/ 27040 w 108157"/>
                <a:gd name="connsiteY408" fmla="*/ 76665 h 159055"/>
                <a:gd name="connsiteX409" fmla="*/ 29903 w 108157"/>
                <a:gd name="connsiteY409" fmla="*/ 77937 h 159055"/>
                <a:gd name="connsiteX410" fmla="*/ 29903 w 108157"/>
                <a:gd name="connsiteY410" fmla="*/ 78574 h 159055"/>
                <a:gd name="connsiteX411" fmla="*/ 30221 w 108157"/>
                <a:gd name="connsiteY411" fmla="*/ 79528 h 159055"/>
                <a:gd name="connsiteX412" fmla="*/ 31175 w 108157"/>
                <a:gd name="connsiteY412" fmla="*/ 80164 h 159055"/>
                <a:gd name="connsiteX413" fmla="*/ 33720 w 108157"/>
                <a:gd name="connsiteY413" fmla="*/ 80482 h 159055"/>
                <a:gd name="connsiteX414" fmla="*/ 34356 w 108157"/>
                <a:gd name="connsiteY414" fmla="*/ 81119 h 159055"/>
                <a:gd name="connsiteX415" fmla="*/ 37855 w 108157"/>
                <a:gd name="connsiteY415" fmla="*/ 81437 h 159055"/>
                <a:gd name="connsiteX416" fmla="*/ 39128 w 108157"/>
                <a:gd name="connsiteY416" fmla="*/ 82073 h 159055"/>
                <a:gd name="connsiteX417" fmla="*/ 43581 w 108157"/>
                <a:gd name="connsiteY417" fmla="*/ 84618 h 159055"/>
                <a:gd name="connsiteX418" fmla="*/ 45808 w 108157"/>
                <a:gd name="connsiteY418" fmla="*/ 84936 h 159055"/>
                <a:gd name="connsiteX419" fmla="*/ 45808 w 108157"/>
                <a:gd name="connsiteY419" fmla="*/ 85254 h 159055"/>
                <a:gd name="connsiteX420" fmla="*/ 46444 w 108157"/>
                <a:gd name="connsiteY420" fmla="*/ 85254 h 159055"/>
                <a:gd name="connsiteX421" fmla="*/ 46126 w 108157"/>
                <a:gd name="connsiteY421" fmla="*/ 84936 h 159055"/>
                <a:gd name="connsiteX422" fmla="*/ 45808 w 108157"/>
                <a:gd name="connsiteY422" fmla="*/ 84936 h 159055"/>
                <a:gd name="connsiteX423" fmla="*/ 46444 w 108157"/>
                <a:gd name="connsiteY423" fmla="*/ 84618 h 159055"/>
                <a:gd name="connsiteX424" fmla="*/ 50262 w 108157"/>
                <a:gd name="connsiteY424" fmla="*/ 85890 h 159055"/>
                <a:gd name="connsiteX425" fmla="*/ 50898 w 108157"/>
                <a:gd name="connsiteY425" fmla="*/ 87163 h 159055"/>
                <a:gd name="connsiteX426" fmla="*/ 52170 w 108157"/>
                <a:gd name="connsiteY426" fmla="*/ 87163 h 159055"/>
                <a:gd name="connsiteX427" fmla="*/ 56306 w 108157"/>
                <a:gd name="connsiteY427" fmla="*/ 87481 h 159055"/>
                <a:gd name="connsiteX428" fmla="*/ 60123 w 108157"/>
                <a:gd name="connsiteY428" fmla="*/ 88753 h 159055"/>
                <a:gd name="connsiteX429" fmla="*/ 62986 w 108157"/>
                <a:gd name="connsiteY429" fmla="*/ 89708 h 159055"/>
                <a:gd name="connsiteX430" fmla="*/ 67122 w 108157"/>
                <a:gd name="connsiteY430" fmla="*/ 90980 h 159055"/>
                <a:gd name="connsiteX431" fmla="*/ 70621 w 108157"/>
                <a:gd name="connsiteY431" fmla="*/ 91934 h 159055"/>
                <a:gd name="connsiteX432" fmla="*/ 71893 w 108157"/>
                <a:gd name="connsiteY432" fmla="*/ 92252 h 159055"/>
                <a:gd name="connsiteX433" fmla="*/ 76347 w 108157"/>
                <a:gd name="connsiteY433" fmla="*/ 94479 h 159055"/>
                <a:gd name="connsiteX434" fmla="*/ 78255 w 108157"/>
                <a:gd name="connsiteY434" fmla="*/ 95115 h 159055"/>
                <a:gd name="connsiteX435" fmla="*/ 81755 w 108157"/>
                <a:gd name="connsiteY435" fmla="*/ 96388 h 159055"/>
                <a:gd name="connsiteX436" fmla="*/ 86208 w 108157"/>
                <a:gd name="connsiteY436" fmla="*/ 98297 h 159055"/>
                <a:gd name="connsiteX437" fmla="*/ 89708 w 108157"/>
                <a:gd name="connsiteY437" fmla="*/ 99569 h 159055"/>
                <a:gd name="connsiteX438" fmla="*/ 91616 w 108157"/>
                <a:gd name="connsiteY438" fmla="*/ 100523 h 159055"/>
                <a:gd name="connsiteX439" fmla="*/ 94797 w 108157"/>
                <a:gd name="connsiteY439" fmla="*/ 102432 h 159055"/>
                <a:gd name="connsiteX440" fmla="*/ 95752 w 108157"/>
                <a:gd name="connsiteY440" fmla="*/ 102750 h 159055"/>
                <a:gd name="connsiteX441" fmla="*/ 96706 w 108157"/>
                <a:gd name="connsiteY441" fmla="*/ 103386 h 159055"/>
                <a:gd name="connsiteX442" fmla="*/ 98615 w 108157"/>
                <a:gd name="connsiteY442" fmla="*/ 104341 h 159055"/>
                <a:gd name="connsiteX443" fmla="*/ 99251 w 108157"/>
                <a:gd name="connsiteY443" fmla="*/ 105931 h 159055"/>
                <a:gd name="connsiteX444" fmla="*/ 103068 w 108157"/>
                <a:gd name="connsiteY444" fmla="*/ 110703 h 159055"/>
                <a:gd name="connsiteX445" fmla="*/ 103068 w 108157"/>
                <a:gd name="connsiteY445" fmla="*/ 112930 h 159055"/>
                <a:gd name="connsiteX446" fmla="*/ 102114 w 108157"/>
                <a:gd name="connsiteY446" fmla="*/ 113248 h 159055"/>
                <a:gd name="connsiteX447" fmla="*/ 101796 w 108157"/>
                <a:gd name="connsiteY447" fmla="*/ 111975 h 159055"/>
                <a:gd name="connsiteX448" fmla="*/ 101478 w 108157"/>
                <a:gd name="connsiteY448" fmla="*/ 111975 h 159055"/>
                <a:gd name="connsiteX449" fmla="*/ 101160 w 108157"/>
                <a:gd name="connsiteY449" fmla="*/ 112293 h 159055"/>
                <a:gd name="connsiteX450" fmla="*/ 101160 w 108157"/>
                <a:gd name="connsiteY450" fmla="*/ 114838 h 159055"/>
                <a:gd name="connsiteX451" fmla="*/ 101160 w 108157"/>
                <a:gd name="connsiteY451" fmla="*/ 115793 h 159055"/>
                <a:gd name="connsiteX452" fmla="*/ 101796 w 108157"/>
                <a:gd name="connsiteY452" fmla="*/ 116429 h 159055"/>
                <a:gd name="connsiteX453" fmla="*/ 102432 w 108157"/>
                <a:gd name="connsiteY453" fmla="*/ 117701 h 159055"/>
                <a:gd name="connsiteX454" fmla="*/ 102750 w 108157"/>
                <a:gd name="connsiteY454" fmla="*/ 118338 h 159055"/>
                <a:gd name="connsiteX455" fmla="*/ 102750 w 108157"/>
                <a:gd name="connsiteY455" fmla="*/ 122473 h 159055"/>
                <a:gd name="connsiteX456" fmla="*/ 102432 w 108157"/>
                <a:gd name="connsiteY456" fmla="*/ 124064 h 159055"/>
                <a:gd name="connsiteX457" fmla="*/ 102114 w 108157"/>
                <a:gd name="connsiteY457" fmla="*/ 126290 h 159055"/>
                <a:gd name="connsiteX458" fmla="*/ 102114 w 108157"/>
                <a:gd name="connsiteY458" fmla="*/ 127563 h 159055"/>
                <a:gd name="connsiteX459" fmla="*/ 102114 w 108157"/>
                <a:gd name="connsiteY459" fmla="*/ 130744 h 159055"/>
                <a:gd name="connsiteX460" fmla="*/ 100841 w 108157"/>
                <a:gd name="connsiteY460" fmla="*/ 131380 h 159055"/>
                <a:gd name="connsiteX461" fmla="*/ 99569 w 108157"/>
                <a:gd name="connsiteY461" fmla="*/ 131062 h 159055"/>
                <a:gd name="connsiteX462" fmla="*/ 99569 w 108157"/>
                <a:gd name="connsiteY462" fmla="*/ 131062 h 159055"/>
                <a:gd name="connsiteX463" fmla="*/ 99887 w 108157"/>
                <a:gd name="connsiteY463" fmla="*/ 133607 h 159055"/>
                <a:gd name="connsiteX464" fmla="*/ 99251 w 108157"/>
                <a:gd name="connsiteY464" fmla="*/ 134561 h 159055"/>
                <a:gd name="connsiteX465" fmla="*/ 99251 w 108157"/>
                <a:gd name="connsiteY465" fmla="*/ 135516 h 159055"/>
                <a:gd name="connsiteX466" fmla="*/ 97660 w 108157"/>
                <a:gd name="connsiteY466" fmla="*/ 137106 h 159055"/>
                <a:gd name="connsiteX467" fmla="*/ 96706 w 108157"/>
                <a:gd name="connsiteY467" fmla="*/ 138061 h 159055"/>
                <a:gd name="connsiteX468" fmla="*/ 96388 w 108157"/>
                <a:gd name="connsiteY468" fmla="*/ 138379 h 159055"/>
                <a:gd name="connsiteX469" fmla="*/ 95434 w 108157"/>
                <a:gd name="connsiteY469" fmla="*/ 137742 h 159055"/>
                <a:gd name="connsiteX470" fmla="*/ 95115 w 108157"/>
                <a:gd name="connsiteY470" fmla="*/ 137742 h 159055"/>
                <a:gd name="connsiteX471" fmla="*/ 95434 w 108157"/>
                <a:gd name="connsiteY471" fmla="*/ 137742 h 159055"/>
                <a:gd name="connsiteX472" fmla="*/ 95115 w 108157"/>
                <a:gd name="connsiteY472" fmla="*/ 139969 h 159055"/>
                <a:gd name="connsiteX473" fmla="*/ 7953 w 108157"/>
                <a:gd name="connsiteY473" fmla="*/ 159056 h 159055"/>
                <a:gd name="connsiteX474" fmla="*/ 7953 w 108157"/>
                <a:gd name="connsiteY474" fmla="*/ 159374 h 159055"/>
                <a:gd name="connsiteX475" fmla="*/ 8271 w 108157"/>
                <a:gd name="connsiteY475" fmla="*/ 159056 h 159055"/>
                <a:gd name="connsiteX476" fmla="*/ 7953 w 108157"/>
                <a:gd name="connsiteY476" fmla="*/ 159056 h 159055"/>
                <a:gd name="connsiteX477" fmla="*/ 9225 w 108157"/>
                <a:gd name="connsiteY477" fmla="*/ 160646 h 159055"/>
                <a:gd name="connsiteX478" fmla="*/ 8907 w 108157"/>
                <a:gd name="connsiteY478" fmla="*/ 160646 h 159055"/>
                <a:gd name="connsiteX479" fmla="*/ 8589 w 108157"/>
                <a:gd name="connsiteY479" fmla="*/ 160646 h 159055"/>
                <a:gd name="connsiteX480" fmla="*/ 8589 w 108157"/>
                <a:gd name="connsiteY480" fmla="*/ 161919 h 159055"/>
                <a:gd name="connsiteX481" fmla="*/ 9225 w 108157"/>
                <a:gd name="connsiteY481" fmla="*/ 161919 h 159055"/>
                <a:gd name="connsiteX482" fmla="*/ 9861 w 108157"/>
                <a:gd name="connsiteY482" fmla="*/ 161919 h 159055"/>
                <a:gd name="connsiteX483" fmla="*/ 9225 w 108157"/>
                <a:gd name="connsiteY483" fmla="*/ 160646 h 159055"/>
                <a:gd name="connsiteX484" fmla="*/ 14315 w 108157"/>
                <a:gd name="connsiteY484" fmla="*/ 127245 h 159055"/>
                <a:gd name="connsiteX485" fmla="*/ 14315 w 108157"/>
                <a:gd name="connsiteY485" fmla="*/ 127563 h 159055"/>
                <a:gd name="connsiteX486" fmla="*/ 14951 w 108157"/>
                <a:gd name="connsiteY486" fmla="*/ 127563 h 159055"/>
                <a:gd name="connsiteX487" fmla="*/ 14315 w 108157"/>
                <a:gd name="connsiteY487" fmla="*/ 127245 h 159055"/>
                <a:gd name="connsiteX488" fmla="*/ 16860 w 108157"/>
                <a:gd name="connsiteY488" fmla="*/ 37537 h 159055"/>
                <a:gd name="connsiteX489" fmla="*/ 16860 w 108157"/>
                <a:gd name="connsiteY489" fmla="*/ 37855 h 159055"/>
                <a:gd name="connsiteX490" fmla="*/ 15906 w 108157"/>
                <a:gd name="connsiteY490" fmla="*/ 39128 h 159055"/>
                <a:gd name="connsiteX491" fmla="*/ 16860 w 108157"/>
                <a:gd name="connsiteY491" fmla="*/ 37537 h 159055"/>
                <a:gd name="connsiteX492" fmla="*/ 15906 w 108157"/>
                <a:gd name="connsiteY492" fmla="*/ 163828 h 159055"/>
                <a:gd name="connsiteX493" fmla="*/ 15906 w 108157"/>
                <a:gd name="connsiteY493" fmla="*/ 163509 h 159055"/>
                <a:gd name="connsiteX494" fmla="*/ 16542 w 108157"/>
                <a:gd name="connsiteY494" fmla="*/ 164146 h 159055"/>
                <a:gd name="connsiteX495" fmla="*/ 16224 w 108157"/>
                <a:gd name="connsiteY495" fmla="*/ 164146 h 159055"/>
                <a:gd name="connsiteX496" fmla="*/ 15906 w 108157"/>
                <a:gd name="connsiteY496" fmla="*/ 163828 h 159055"/>
                <a:gd name="connsiteX497" fmla="*/ 19087 w 108157"/>
                <a:gd name="connsiteY497" fmla="*/ 157783 h 159055"/>
                <a:gd name="connsiteX498" fmla="*/ 19087 w 108157"/>
                <a:gd name="connsiteY498" fmla="*/ 157465 h 159055"/>
                <a:gd name="connsiteX499" fmla="*/ 18450 w 108157"/>
                <a:gd name="connsiteY499" fmla="*/ 157783 h 159055"/>
                <a:gd name="connsiteX500" fmla="*/ 19087 w 108157"/>
                <a:gd name="connsiteY500" fmla="*/ 158102 h 159055"/>
                <a:gd name="connsiteX501" fmla="*/ 19087 w 108157"/>
                <a:gd name="connsiteY501" fmla="*/ 157783 h 159055"/>
                <a:gd name="connsiteX502" fmla="*/ 19087 w 108157"/>
                <a:gd name="connsiteY502" fmla="*/ 163828 h 159055"/>
                <a:gd name="connsiteX503" fmla="*/ 19405 w 108157"/>
                <a:gd name="connsiteY503" fmla="*/ 163509 h 159055"/>
                <a:gd name="connsiteX504" fmla="*/ 19723 w 108157"/>
                <a:gd name="connsiteY504" fmla="*/ 163828 h 159055"/>
                <a:gd name="connsiteX505" fmla="*/ 19405 w 108157"/>
                <a:gd name="connsiteY505" fmla="*/ 164146 h 159055"/>
                <a:gd name="connsiteX506" fmla="*/ 19087 w 108157"/>
                <a:gd name="connsiteY506" fmla="*/ 163828 h 159055"/>
                <a:gd name="connsiteX507" fmla="*/ 20041 w 108157"/>
                <a:gd name="connsiteY507" fmla="*/ 158102 h 159055"/>
                <a:gd name="connsiteX508" fmla="*/ 21632 w 108157"/>
                <a:gd name="connsiteY508" fmla="*/ 158102 h 159055"/>
                <a:gd name="connsiteX509" fmla="*/ 21950 w 108157"/>
                <a:gd name="connsiteY509" fmla="*/ 157783 h 159055"/>
                <a:gd name="connsiteX510" fmla="*/ 21632 w 108157"/>
                <a:gd name="connsiteY510" fmla="*/ 157147 h 159055"/>
                <a:gd name="connsiteX511" fmla="*/ 20041 w 108157"/>
                <a:gd name="connsiteY511" fmla="*/ 157465 h 159055"/>
                <a:gd name="connsiteX512" fmla="*/ 20041 w 108157"/>
                <a:gd name="connsiteY512" fmla="*/ 157783 h 159055"/>
                <a:gd name="connsiteX513" fmla="*/ 20041 w 108157"/>
                <a:gd name="connsiteY513" fmla="*/ 158102 h 159055"/>
                <a:gd name="connsiteX514" fmla="*/ 20359 w 108157"/>
                <a:gd name="connsiteY514" fmla="*/ 122791 h 159055"/>
                <a:gd name="connsiteX515" fmla="*/ 20677 w 108157"/>
                <a:gd name="connsiteY515" fmla="*/ 122791 h 159055"/>
                <a:gd name="connsiteX516" fmla="*/ 20359 w 108157"/>
                <a:gd name="connsiteY516" fmla="*/ 123109 h 159055"/>
                <a:gd name="connsiteX517" fmla="*/ 20359 w 108157"/>
                <a:gd name="connsiteY517" fmla="*/ 122791 h 159055"/>
                <a:gd name="connsiteX518" fmla="*/ 22586 w 108157"/>
                <a:gd name="connsiteY518" fmla="*/ 160328 h 159055"/>
                <a:gd name="connsiteX519" fmla="*/ 22904 w 108157"/>
                <a:gd name="connsiteY519" fmla="*/ 160328 h 159055"/>
                <a:gd name="connsiteX520" fmla="*/ 22586 w 108157"/>
                <a:gd name="connsiteY520" fmla="*/ 160010 h 159055"/>
                <a:gd name="connsiteX521" fmla="*/ 22586 w 108157"/>
                <a:gd name="connsiteY521" fmla="*/ 160328 h 159055"/>
                <a:gd name="connsiteX522" fmla="*/ 27040 w 108157"/>
                <a:gd name="connsiteY522" fmla="*/ 77937 h 159055"/>
                <a:gd name="connsiteX523" fmla="*/ 27040 w 108157"/>
                <a:gd name="connsiteY523" fmla="*/ 77619 h 159055"/>
                <a:gd name="connsiteX524" fmla="*/ 26721 w 108157"/>
                <a:gd name="connsiteY524" fmla="*/ 77301 h 159055"/>
                <a:gd name="connsiteX525" fmla="*/ 26721 w 108157"/>
                <a:gd name="connsiteY525" fmla="*/ 77937 h 159055"/>
                <a:gd name="connsiteX526" fmla="*/ 27040 w 108157"/>
                <a:gd name="connsiteY526" fmla="*/ 77937 h 159055"/>
                <a:gd name="connsiteX527" fmla="*/ 27040 w 108157"/>
                <a:gd name="connsiteY527" fmla="*/ 163509 h 159055"/>
                <a:gd name="connsiteX528" fmla="*/ 27040 w 108157"/>
                <a:gd name="connsiteY528" fmla="*/ 163828 h 159055"/>
                <a:gd name="connsiteX529" fmla="*/ 27040 w 108157"/>
                <a:gd name="connsiteY529" fmla="*/ 163509 h 159055"/>
                <a:gd name="connsiteX530" fmla="*/ 27994 w 108157"/>
                <a:gd name="connsiteY530" fmla="*/ 157783 h 159055"/>
                <a:gd name="connsiteX531" fmla="*/ 27994 w 108157"/>
                <a:gd name="connsiteY531" fmla="*/ 157783 h 159055"/>
                <a:gd name="connsiteX532" fmla="*/ 29266 w 108157"/>
                <a:gd name="connsiteY532" fmla="*/ 156511 h 159055"/>
                <a:gd name="connsiteX533" fmla="*/ 29266 w 108157"/>
                <a:gd name="connsiteY533" fmla="*/ 156511 h 159055"/>
                <a:gd name="connsiteX534" fmla="*/ 27676 w 108157"/>
                <a:gd name="connsiteY534" fmla="*/ 157465 h 159055"/>
                <a:gd name="connsiteX535" fmla="*/ 27994 w 108157"/>
                <a:gd name="connsiteY535" fmla="*/ 157783 h 159055"/>
                <a:gd name="connsiteX536" fmla="*/ 32129 w 108157"/>
                <a:gd name="connsiteY536" fmla="*/ 160965 h 159055"/>
                <a:gd name="connsiteX537" fmla="*/ 32129 w 108157"/>
                <a:gd name="connsiteY537" fmla="*/ 161283 h 159055"/>
                <a:gd name="connsiteX538" fmla="*/ 32129 w 108157"/>
                <a:gd name="connsiteY538" fmla="*/ 161283 h 159055"/>
                <a:gd name="connsiteX539" fmla="*/ 30539 w 108157"/>
                <a:gd name="connsiteY539" fmla="*/ 161601 h 159055"/>
                <a:gd name="connsiteX540" fmla="*/ 29266 w 108157"/>
                <a:gd name="connsiteY540" fmla="*/ 160965 h 159055"/>
                <a:gd name="connsiteX541" fmla="*/ 29266 w 108157"/>
                <a:gd name="connsiteY541" fmla="*/ 160328 h 159055"/>
                <a:gd name="connsiteX542" fmla="*/ 30539 w 108157"/>
                <a:gd name="connsiteY542" fmla="*/ 160646 h 159055"/>
                <a:gd name="connsiteX543" fmla="*/ 32129 w 108157"/>
                <a:gd name="connsiteY543" fmla="*/ 160965 h 159055"/>
                <a:gd name="connsiteX544" fmla="*/ 30857 w 108157"/>
                <a:gd name="connsiteY544" fmla="*/ 157147 h 159055"/>
                <a:gd name="connsiteX545" fmla="*/ 30857 w 108157"/>
                <a:gd name="connsiteY545" fmla="*/ 156829 h 159055"/>
                <a:gd name="connsiteX546" fmla="*/ 30539 w 108157"/>
                <a:gd name="connsiteY546" fmla="*/ 156829 h 159055"/>
                <a:gd name="connsiteX547" fmla="*/ 30857 w 108157"/>
                <a:gd name="connsiteY547" fmla="*/ 157147 h 159055"/>
                <a:gd name="connsiteX548" fmla="*/ 33402 w 108157"/>
                <a:gd name="connsiteY548" fmla="*/ 79528 h 159055"/>
                <a:gd name="connsiteX549" fmla="*/ 33084 w 108157"/>
                <a:gd name="connsiteY549" fmla="*/ 79528 h 159055"/>
                <a:gd name="connsiteX550" fmla="*/ 33402 w 108157"/>
                <a:gd name="connsiteY550" fmla="*/ 79528 h 159055"/>
                <a:gd name="connsiteX551" fmla="*/ 33720 w 108157"/>
                <a:gd name="connsiteY551" fmla="*/ 79528 h 159055"/>
                <a:gd name="connsiteX552" fmla="*/ 33402 w 108157"/>
                <a:gd name="connsiteY552" fmla="*/ 79528 h 159055"/>
                <a:gd name="connsiteX553" fmla="*/ 33720 w 108157"/>
                <a:gd name="connsiteY553" fmla="*/ 79528 h 159055"/>
                <a:gd name="connsiteX554" fmla="*/ 33720 w 108157"/>
                <a:gd name="connsiteY554" fmla="*/ 80482 h 159055"/>
                <a:gd name="connsiteX555" fmla="*/ 33720 w 108157"/>
                <a:gd name="connsiteY555" fmla="*/ 79528 h 159055"/>
                <a:gd name="connsiteX556" fmla="*/ 34356 w 108157"/>
                <a:gd name="connsiteY556" fmla="*/ 102750 h 159055"/>
                <a:gd name="connsiteX557" fmla="*/ 34674 w 108157"/>
                <a:gd name="connsiteY557" fmla="*/ 102432 h 159055"/>
                <a:gd name="connsiteX558" fmla="*/ 33720 w 108157"/>
                <a:gd name="connsiteY558" fmla="*/ 102432 h 159055"/>
                <a:gd name="connsiteX559" fmla="*/ 33720 w 108157"/>
                <a:gd name="connsiteY559" fmla="*/ 102750 h 159055"/>
                <a:gd name="connsiteX560" fmla="*/ 34356 w 108157"/>
                <a:gd name="connsiteY560" fmla="*/ 102750 h 159055"/>
                <a:gd name="connsiteX561" fmla="*/ 34038 w 108157"/>
                <a:gd name="connsiteY561" fmla="*/ 161283 h 159055"/>
                <a:gd name="connsiteX562" fmla="*/ 34038 w 108157"/>
                <a:gd name="connsiteY562" fmla="*/ 160965 h 159055"/>
                <a:gd name="connsiteX563" fmla="*/ 34038 w 108157"/>
                <a:gd name="connsiteY563" fmla="*/ 160646 h 159055"/>
                <a:gd name="connsiteX564" fmla="*/ 37537 w 108157"/>
                <a:gd name="connsiteY564" fmla="*/ 159374 h 159055"/>
                <a:gd name="connsiteX565" fmla="*/ 39764 w 108157"/>
                <a:gd name="connsiteY565" fmla="*/ 159056 h 159055"/>
                <a:gd name="connsiteX566" fmla="*/ 40718 w 108157"/>
                <a:gd name="connsiteY566" fmla="*/ 160010 h 159055"/>
                <a:gd name="connsiteX567" fmla="*/ 37219 w 108157"/>
                <a:gd name="connsiteY567" fmla="*/ 160010 h 159055"/>
                <a:gd name="connsiteX568" fmla="*/ 36265 w 108157"/>
                <a:gd name="connsiteY568" fmla="*/ 160646 h 159055"/>
                <a:gd name="connsiteX569" fmla="*/ 34356 w 108157"/>
                <a:gd name="connsiteY569" fmla="*/ 161283 h 159055"/>
                <a:gd name="connsiteX570" fmla="*/ 34038 w 108157"/>
                <a:gd name="connsiteY570" fmla="*/ 161283 h 159055"/>
                <a:gd name="connsiteX571" fmla="*/ 36265 w 108157"/>
                <a:gd name="connsiteY571" fmla="*/ 158102 h 159055"/>
                <a:gd name="connsiteX572" fmla="*/ 35629 w 108157"/>
                <a:gd name="connsiteY572" fmla="*/ 157783 h 159055"/>
                <a:gd name="connsiteX573" fmla="*/ 36265 w 108157"/>
                <a:gd name="connsiteY573" fmla="*/ 157147 h 159055"/>
                <a:gd name="connsiteX574" fmla="*/ 37537 w 108157"/>
                <a:gd name="connsiteY574" fmla="*/ 157465 h 159055"/>
                <a:gd name="connsiteX575" fmla="*/ 37855 w 108157"/>
                <a:gd name="connsiteY575" fmla="*/ 158102 h 159055"/>
                <a:gd name="connsiteX576" fmla="*/ 37537 w 108157"/>
                <a:gd name="connsiteY576" fmla="*/ 158420 h 159055"/>
                <a:gd name="connsiteX577" fmla="*/ 36901 w 108157"/>
                <a:gd name="connsiteY577" fmla="*/ 158420 h 159055"/>
                <a:gd name="connsiteX578" fmla="*/ 36265 w 108157"/>
                <a:gd name="connsiteY578" fmla="*/ 158102 h 159055"/>
                <a:gd name="connsiteX579" fmla="*/ 36901 w 108157"/>
                <a:gd name="connsiteY579" fmla="*/ 24177 h 159055"/>
                <a:gd name="connsiteX580" fmla="*/ 37219 w 108157"/>
                <a:gd name="connsiteY580" fmla="*/ 24177 h 159055"/>
                <a:gd name="connsiteX581" fmla="*/ 36901 w 108157"/>
                <a:gd name="connsiteY581" fmla="*/ 23540 h 159055"/>
                <a:gd name="connsiteX582" fmla="*/ 36583 w 108157"/>
                <a:gd name="connsiteY582" fmla="*/ 23858 h 159055"/>
                <a:gd name="connsiteX583" fmla="*/ 36901 w 108157"/>
                <a:gd name="connsiteY583" fmla="*/ 24177 h 159055"/>
                <a:gd name="connsiteX584" fmla="*/ 38810 w 108157"/>
                <a:gd name="connsiteY584" fmla="*/ 155239 h 159055"/>
                <a:gd name="connsiteX585" fmla="*/ 38491 w 108157"/>
                <a:gd name="connsiteY585" fmla="*/ 155239 h 159055"/>
                <a:gd name="connsiteX586" fmla="*/ 38810 w 108157"/>
                <a:gd name="connsiteY586" fmla="*/ 155239 h 159055"/>
                <a:gd name="connsiteX587" fmla="*/ 46762 w 108157"/>
                <a:gd name="connsiteY587" fmla="*/ 32766 h 159055"/>
                <a:gd name="connsiteX588" fmla="*/ 44854 w 108157"/>
                <a:gd name="connsiteY588" fmla="*/ 34038 h 159055"/>
                <a:gd name="connsiteX589" fmla="*/ 42309 w 108157"/>
                <a:gd name="connsiteY589" fmla="*/ 35629 h 159055"/>
                <a:gd name="connsiteX590" fmla="*/ 39764 w 108157"/>
                <a:gd name="connsiteY590" fmla="*/ 37537 h 159055"/>
                <a:gd name="connsiteX591" fmla="*/ 40082 w 108157"/>
                <a:gd name="connsiteY591" fmla="*/ 38173 h 159055"/>
                <a:gd name="connsiteX592" fmla="*/ 40718 w 108157"/>
                <a:gd name="connsiteY592" fmla="*/ 38173 h 159055"/>
                <a:gd name="connsiteX593" fmla="*/ 42309 w 108157"/>
                <a:gd name="connsiteY593" fmla="*/ 36583 h 159055"/>
                <a:gd name="connsiteX594" fmla="*/ 44854 w 108157"/>
                <a:gd name="connsiteY594" fmla="*/ 35310 h 159055"/>
                <a:gd name="connsiteX595" fmla="*/ 47081 w 108157"/>
                <a:gd name="connsiteY595" fmla="*/ 33402 h 159055"/>
                <a:gd name="connsiteX596" fmla="*/ 47081 w 108157"/>
                <a:gd name="connsiteY596" fmla="*/ 33084 h 159055"/>
                <a:gd name="connsiteX597" fmla="*/ 46762 w 108157"/>
                <a:gd name="connsiteY597" fmla="*/ 32766 h 159055"/>
                <a:gd name="connsiteX598" fmla="*/ 41991 w 108157"/>
                <a:gd name="connsiteY598" fmla="*/ 105613 h 159055"/>
                <a:gd name="connsiteX599" fmla="*/ 41991 w 108157"/>
                <a:gd name="connsiteY599" fmla="*/ 105295 h 159055"/>
                <a:gd name="connsiteX600" fmla="*/ 41036 w 108157"/>
                <a:gd name="connsiteY600" fmla="*/ 105295 h 159055"/>
                <a:gd name="connsiteX601" fmla="*/ 40718 w 108157"/>
                <a:gd name="connsiteY601" fmla="*/ 105295 h 159055"/>
                <a:gd name="connsiteX602" fmla="*/ 41036 w 108157"/>
                <a:gd name="connsiteY602" fmla="*/ 105295 h 159055"/>
                <a:gd name="connsiteX603" fmla="*/ 41673 w 108157"/>
                <a:gd name="connsiteY603" fmla="*/ 105931 h 159055"/>
                <a:gd name="connsiteX604" fmla="*/ 41991 w 108157"/>
                <a:gd name="connsiteY604" fmla="*/ 105613 h 159055"/>
                <a:gd name="connsiteX605" fmla="*/ 41036 w 108157"/>
                <a:gd name="connsiteY605" fmla="*/ 82709 h 159055"/>
                <a:gd name="connsiteX606" fmla="*/ 41355 w 108157"/>
                <a:gd name="connsiteY606" fmla="*/ 82709 h 159055"/>
                <a:gd name="connsiteX607" fmla="*/ 42309 w 108157"/>
                <a:gd name="connsiteY607" fmla="*/ 83345 h 159055"/>
                <a:gd name="connsiteX608" fmla="*/ 42309 w 108157"/>
                <a:gd name="connsiteY608" fmla="*/ 83663 h 159055"/>
                <a:gd name="connsiteX609" fmla="*/ 41991 w 108157"/>
                <a:gd name="connsiteY609" fmla="*/ 83982 h 159055"/>
                <a:gd name="connsiteX610" fmla="*/ 41036 w 108157"/>
                <a:gd name="connsiteY610" fmla="*/ 82709 h 159055"/>
                <a:gd name="connsiteX611" fmla="*/ 42945 w 108157"/>
                <a:gd name="connsiteY611" fmla="*/ 140924 h 159055"/>
                <a:gd name="connsiteX612" fmla="*/ 41673 w 108157"/>
                <a:gd name="connsiteY612" fmla="*/ 140605 h 159055"/>
                <a:gd name="connsiteX613" fmla="*/ 41673 w 108157"/>
                <a:gd name="connsiteY613" fmla="*/ 140924 h 159055"/>
                <a:gd name="connsiteX614" fmla="*/ 41673 w 108157"/>
                <a:gd name="connsiteY614" fmla="*/ 140924 h 159055"/>
                <a:gd name="connsiteX615" fmla="*/ 42309 w 108157"/>
                <a:gd name="connsiteY615" fmla="*/ 141560 h 159055"/>
                <a:gd name="connsiteX616" fmla="*/ 42945 w 108157"/>
                <a:gd name="connsiteY616" fmla="*/ 141560 h 159055"/>
                <a:gd name="connsiteX617" fmla="*/ 43263 w 108157"/>
                <a:gd name="connsiteY617" fmla="*/ 141242 h 159055"/>
                <a:gd name="connsiteX618" fmla="*/ 42945 w 108157"/>
                <a:gd name="connsiteY618" fmla="*/ 140924 h 159055"/>
                <a:gd name="connsiteX619" fmla="*/ 41991 w 108157"/>
                <a:gd name="connsiteY619" fmla="*/ 155557 h 159055"/>
                <a:gd name="connsiteX620" fmla="*/ 42309 w 108157"/>
                <a:gd name="connsiteY620" fmla="*/ 156193 h 159055"/>
                <a:gd name="connsiteX621" fmla="*/ 41991 w 108157"/>
                <a:gd name="connsiteY621" fmla="*/ 155557 h 159055"/>
                <a:gd name="connsiteX622" fmla="*/ 42627 w 108157"/>
                <a:gd name="connsiteY622" fmla="*/ 158738 h 159055"/>
                <a:gd name="connsiteX623" fmla="*/ 42309 w 108157"/>
                <a:gd name="connsiteY623" fmla="*/ 158420 h 159055"/>
                <a:gd name="connsiteX624" fmla="*/ 42945 w 108157"/>
                <a:gd name="connsiteY624" fmla="*/ 158420 h 159055"/>
                <a:gd name="connsiteX625" fmla="*/ 43899 w 108157"/>
                <a:gd name="connsiteY625" fmla="*/ 158420 h 159055"/>
                <a:gd name="connsiteX626" fmla="*/ 45172 w 108157"/>
                <a:gd name="connsiteY626" fmla="*/ 157783 h 159055"/>
                <a:gd name="connsiteX627" fmla="*/ 45808 w 108157"/>
                <a:gd name="connsiteY627" fmla="*/ 157147 h 159055"/>
                <a:gd name="connsiteX628" fmla="*/ 48671 w 108157"/>
                <a:gd name="connsiteY628" fmla="*/ 157147 h 159055"/>
                <a:gd name="connsiteX629" fmla="*/ 48671 w 108157"/>
                <a:gd name="connsiteY629" fmla="*/ 157465 h 159055"/>
                <a:gd name="connsiteX630" fmla="*/ 48353 w 108157"/>
                <a:gd name="connsiteY630" fmla="*/ 158420 h 159055"/>
                <a:gd name="connsiteX631" fmla="*/ 46762 w 108157"/>
                <a:gd name="connsiteY631" fmla="*/ 159056 h 159055"/>
                <a:gd name="connsiteX632" fmla="*/ 43581 w 108157"/>
                <a:gd name="connsiteY632" fmla="*/ 159374 h 159055"/>
                <a:gd name="connsiteX633" fmla="*/ 42627 w 108157"/>
                <a:gd name="connsiteY633" fmla="*/ 158738 h 159055"/>
                <a:gd name="connsiteX634" fmla="*/ 44218 w 108157"/>
                <a:gd name="connsiteY634" fmla="*/ 104341 h 159055"/>
                <a:gd name="connsiteX635" fmla="*/ 44218 w 108157"/>
                <a:gd name="connsiteY635" fmla="*/ 104659 h 159055"/>
                <a:gd name="connsiteX636" fmla="*/ 44854 w 108157"/>
                <a:gd name="connsiteY636" fmla="*/ 104341 h 159055"/>
                <a:gd name="connsiteX637" fmla="*/ 44218 w 108157"/>
                <a:gd name="connsiteY637" fmla="*/ 104341 h 159055"/>
                <a:gd name="connsiteX638" fmla="*/ 45808 w 108157"/>
                <a:gd name="connsiteY638" fmla="*/ 88753 h 159055"/>
                <a:gd name="connsiteX639" fmla="*/ 45490 w 108157"/>
                <a:gd name="connsiteY639" fmla="*/ 88753 h 159055"/>
                <a:gd name="connsiteX640" fmla="*/ 46444 w 108157"/>
                <a:gd name="connsiteY640" fmla="*/ 89708 h 159055"/>
                <a:gd name="connsiteX641" fmla="*/ 46444 w 108157"/>
                <a:gd name="connsiteY641" fmla="*/ 89389 h 159055"/>
                <a:gd name="connsiteX642" fmla="*/ 45808 w 108157"/>
                <a:gd name="connsiteY642" fmla="*/ 88753 h 159055"/>
                <a:gd name="connsiteX643" fmla="*/ 47717 w 108157"/>
                <a:gd name="connsiteY643" fmla="*/ 153330 h 159055"/>
                <a:gd name="connsiteX644" fmla="*/ 47399 w 108157"/>
                <a:gd name="connsiteY644" fmla="*/ 153012 h 159055"/>
                <a:gd name="connsiteX645" fmla="*/ 46762 w 108157"/>
                <a:gd name="connsiteY645" fmla="*/ 153012 h 159055"/>
                <a:gd name="connsiteX646" fmla="*/ 47081 w 108157"/>
                <a:gd name="connsiteY646" fmla="*/ 153648 h 159055"/>
                <a:gd name="connsiteX647" fmla="*/ 47399 w 108157"/>
                <a:gd name="connsiteY647" fmla="*/ 153648 h 159055"/>
                <a:gd name="connsiteX648" fmla="*/ 47717 w 108157"/>
                <a:gd name="connsiteY648" fmla="*/ 153330 h 159055"/>
                <a:gd name="connsiteX649" fmla="*/ 47081 w 108157"/>
                <a:gd name="connsiteY649" fmla="*/ 160328 h 159055"/>
                <a:gd name="connsiteX650" fmla="*/ 47399 w 108157"/>
                <a:gd name="connsiteY650" fmla="*/ 160010 h 159055"/>
                <a:gd name="connsiteX651" fmla="*/ 48035 w 108157"/>
                <a:gd name="connsiteY651" fmla="*/ 160010 h 159055"/>
                <a:gd name="connsiteX652" fmla="*/ 48353 w 108157"/>
                <a:gd name="connsiteY652" fmla="*/ 160010 h 159055"/>
                <a:gd name="connsiteX653" fmla="*/ 48353 w 108157"/>
                <a:gd name="connsiteY653" fmla="*/ 160646 h 159055"/>
                <a:gd name="connsiteX654" fmla="*/ 47399 w 108157"/>
                <a:gd name="connsiteY654" fmla="*/ 160646 h 159055"/>
                <a:gd name="connsiteX655" fmla="*/ 47081 w 108157"/>
                <a:gd name="connsiteY655" fmla="*/ 160328 h 159055"/>
                <a:gd name="connsiteX656" fmla="*/ 48353 w 108157"/>
                <a:gd name="connsiteY656" fmla="*/ 111975 h 159055"/>
                <a:gd name="connsiteX657" fmla="*/ 48353 w 108157"/>
                <a:gd name="connsiteY657" fmla="*/ 112293 h 159055"/>
                <a:gd name="connsiteX658" fmla="*/ 47399 w 108157"/>
                <a:gd name="connsiteY658" fmla="*/ 111657 h 159055"/>
                <a:gd name="connsiteX659" fmla="*/ 48353 w 108157"/>
                <a:gd name="connsiteY659" fmla="*/ 111975 h 159055"/>
                <a:gd name="connsiteX660" fmla="*/ 49944 w 108157"/>
                <a:gd name="connsiteY660" fmla="*/ 35310 h 159055"/>
                <a:gd name="connsiteX661" fmla="*/ 49625 w 108157"/>
                <a:gd name="connsiteY661" fmla="*/ 35310 h 159055"/>
                <a:gd name="connsiteX662" fmla="*/ 49307 w 108157"/>
                <a:gd name="connsiteY662" fmla="*/ 35310 h 159055"/>
                <a:gd name="connsiteX663" fmla="*/ 49625 w 108157"/>
                <a:gd name="connsiteY663" fmla="*/ 35629 h 159055"/>
                <a:gd name="connsiteX664" fmla="*/ 48035 w 108157"/>
                <a:gd name="connsiteY664" fmla="*/ 36265 h 159055"/>
                <a:gd name="connsiteX665" fmla="*/ 48035 w 108157"/>
                <a:gd name="connsiteY665" fmla="*/ 36583 h 159055"/>
                <a:gd name="connsiteX666" fmla="*/ 49625 w 108157"/>
                <a:gd name="connsiteY666" fmla="*/ 35629 h 159055"/>
                <a:gd name="connsiteX667" fmla="*/ 49944 w 108157"/>
                <a:gd name="connsiteY667" fmla="*/ 35310 h 159055"/>
                <a:gd name="connsiteX668" fmla="*/ 51216 w 108157"/>
                <a:gd name="connsiteY668" fmla="*/ 31811 h 159055"/>
                <a:gd name="connsiteX669" fmla="*/ 53761 w 108157"/>
                <a:gd name="connsiteY669" fmla="*/ 30221 h 159055"/>
                <a:gd name="connsiteX670" fmla="*/ 54715 w 108157"/>
                <a:gd name="connsiteY670" fmla="*/ 29584 h 159055"/>
                <a:gd name="connsiteX671" fmla="*/ 55033 w 108157"/>
                <a:gd name="connsiteY671" fmla="*/ 29266 h 159055"/>
                <a:gd name="connsiteX672" fmla="*/ 54079 w 108157"/>
                <a:gd name="connsiteY672" fmla="*/ 28948 h 159055"/>
                <a:gd name="connsiteX673" fmla="*/ 52488 w 108157"/>
                <a:gd name="connsiteY673" fmla="*/ 29903 h 159055"/>
                <a:gd name="connsiteX674" fmla="*/ 51534 w 108157"/>
                <a:gd name="connsiteY674" fmla="*/ 30539 h 159055"/>
                <a:gd name="connsiteX675" fmla="*/ 48671 w 108157"/>
                <a:gd name="connsiteY675" fmla="*/ 31811 h 159055"/>
                <a:gd name="connsiteX676" fmla="*/ 48671 w 108157"/>
                <a:gd name="connsiteY676" fmla="*/ 32129 h 159055"/>
                <a:gd name="connsiteX677" fmla="*/ 51216 w 108157"/>
                <a:gd name="connsiteY677" fmla="*/ 31811 h 159055"/>
                <a:gd name="connsiteX678" fmla="*/ 50262 w 108157"/>
                <a:gd name="connsiteY678" fmla="*/ 105295 h 159055"/>
                <a:gd name="connsiteX679" fmla="*/ 50262 w 108157"/>
                <a:gd name="connsiteY679" fmla="*/ 105295 h 159055"/>
                <a:gd name="connsiteX680" fmla="*/ 50580 w 108157"/>
                <a:gd name="connsiteY680" fmla="*/ 105295 h 159055"/>
                <a:gd name="connsiteX681" fmla="*/ 50262 w 108157"/>
                <a:gd name="connsiteY681" fmla="*/ 105295 h 159055"/>
                <a:gd name="connsiteX682" fmla="*/ 52488 w 108157"/>
                <a:gd name="connsiteY682" fmla="*/ 159692 h 159055"/>
                <a:gd name="connsiteX683" fmla="*/ 52488 w 108157"/>
                <a:gd name="connsiteY683" fmla="*/ 160010 h 159055"/>
                <a:gd name="connsiteX684" fmla="*/ 51216 w 108157"/>
                <a:gd name="connsiteY684" fmla="*/ 160010 h 159055"/>
                <a:gd name="connsiteX685" fmla="*/ 50580 w 108157"/>
                <a:gd name="connsiteY685" fmla="*/ 160010 h 159055"/>
                <a:gd name="connsiteX686" fmla="*/ 51216 w 108157"/>
                <a:gd name="connsiteY686" fmla="*/ 159374 h 159055"/>
                <a:gd name="connsiteX687" fmla="*/ 51852 w 108157"/>
                <a:gd name="connsiteY687" fmla="*/ 159374 h 159055"/>
                <a:gd name="connsiteX688" fmla="*/ 52488 w 108157"/>
                <a:gd name="connsiteY688" fmla="*/ 159692 h 159055"/>
                <a:gd name="connsiteX689" fmla="*/ 52170 w 108157"/>
                <a:gd name="connsiteY689" fmla="*/ 156193 h 159055"/>
                <a:gd name="connsiteX690" fmla="*/ 52488 w 108157"/>
                <a:gd name="connsiteY690" fmla="*/ 156193 h 159055"/>
                <a:gd name="connsiteX691" fmla="*/ 53443 w 108157"/>
                <a:gd name="connsiteY691" fmla="*/ 156829 h 159055"/>
                <a:gd name="connsiteX692" fmla="*/ 52488 w 108157"/>
                <a:gd name="connsiteY692" fmla="*/ 156829 h 159055"/>
                <a:gd name="connsiteX693" fmla="*/ 52170 w 108157"/>
                <a:gd name="connsiteY693" fmla="*/ 156193 h 159055"/>
                <a:gd name="connsiteX694" fmla="*/ 54715 w 108157"/>
                <a:gd name="connsiteY694" fmla="*/ 113884 h 159055"/>
                <a:gd name="connsiteX695" fmla="*/ 54715 w 108157"/>
                <a:gd name="connsiteY695" fmla="*/ 114202 h 159055"/>
                <a:gd name="connsiteX696" fmla="*/ 53761 w 108157"/>
                <a:gd name="connsiteY696" fmla="*/ 114520 h 159055"/>
                <a:gd name="connsiteX697" fmla="*/ 53443 w 108157"/>
                <a:gd name="connsiteY697" fmla="*/ 114202 h 159055"/>
                <a:gd name="connsiteX698" fmla="*/ 53443 w 108157"/>
                <a:gd name="connsiteY698" fmla="*/ 113884 h 159055"/>
                <a:gd name="connsiteX699" fmla="*/ 54397 w 108157"/>
                <a:gd name="connsiteY699" fmla="*/ 113884 h 159055"/>
                <a:gd name="connsiteX700" fmla="*/ 54715 w 108157"/>
                <a:gd name="connsiteY700" fmla="*/ 113884 h 159055"/>
                <a:gd name="connsiteX701" fmla="*/ 55033 w 108157"/>
                <a:gd name="connsiteY701" fmla="*/ 12406 h 159055"/>
                <a:gd name="connsiteX702" fmla="*/ 55670 w 108157"/>
                <a:gd name="connsiteY702" fmla="*/ 12724 h 159055"/>
                <a:gd name="connsiteX703" fmla="*/ 55988 w 108157"/>
                <a:gd name="connsiteY703" fmla="*/ 12406 h 159055"/>
                <a:gd name="connsiteX704" fmla="*/ 55033 w 108157"/>
                <a:gd name="connsiteY704" fmla="*/ 12406 h 159055"/>
                <a:gd name="connsiteX705" fmla="*/ 57260 w 108157"/>
                <a:gd name="connsiteY705" fmla="*/ 27358 h 159055"/>
                <a:gd name="connsiteX706" fmla="*/ 55670 w 108157"/>
                <a:gd name="connsiteY706" fmla="*/ 27676 h 159055"/>
                <a:gd name="connsiteX707" fmla="*/ 55988 w 108157"/>
                <a:gd name="connsiteY707" fmla="*/ 28312 h 159055"/>
                <a:gd name="connsiteX708" fmla="*/ 57260 w 108157"/>
                <a:gd name="connsiteY708" fmla="*/ 27994 h 159055"/>
                <a:gd name="connsiteX709" fmla="*/ 57896 w 108157"/>
                <a:gd name="connsiteY709" fmla="*/ 27676 h 159055"/>
                <a:gd name="connsiteX710" fmla="*/ 57260 w 108157"/>
                <a:gd name="connsiteY710" fmla="*/ 27358 h 159055"/>
                <a:gd name="connsiteX711" fmla="*/ 55988 w 108157"/>
                <a:gd name="connsiteY711" fmla="*/ 113884 h 159055"/>
                <a:gd name="connsiteX712" fmla="*/ 56306 w 108157"/>
                <a:gd name="connsiteY712" fmla="*/ 113566 h 159055"/>
                <a:gd name="connsiteX713" fmla="*/ 56942 w 108157"/>
                <a:gd name="connsiteY713" fmla="*/ 113566 h 159055"/>
                <a:gd name="connsiteX714" fmla="*/ 57260 w 108157"/>
                <a:gd name="connsiteY714" fmla="*/ 113884 h 159055"/>
                <a:gd name="connsiteX715" fmla="*/ 56942 w 108157"/>
                <a:gd name="connsiteY715" fmla="*/ 114202 h 159055"/>
                <a:gd name="connsiteX716" fmla="*/ 56624 w 108157"/>
                <a:gd name="connsiteY716" fmla="*/ 114202 h 159055"/>
                <a:gd name="connsiteX717" fmla="*/ 55988 w 108157"/>
                <a:gd name="connsiteY717" fmla="*/ 113884 h 159055"/>
                <a:gd name="connsiteX718" fmla="*/ 57896 w 108157"/>
                <a:gd name="connsiteY718" fmla="*/ 150785 h 159055"/>
                <a:gd name="connsiteX719" fmla="*/ 56306 w 108157"/>
                <a:gd name="connsiteY719" fmla="*/ 151421 h 159055"/>
                <a:gd name="connsiteX720" fmla="*/ 57260 w 108157"/>
                <a:gd name="connsiteY720" fmla="*/ 151739 h 159055"/>
                <a:gd name="connsiteX721" fmla="*/ 57896 w 108157"/>
                <a:gd name="connsiteY721" fmla="*/ 152376 h 159055"/>
                <a:gd name="connsiteX722" fmla="*/ 58533 w 108157"/>
                <a:gd name="connsiteY722" fmla="*/ 152376 h 159055"/>
                <a:gd name="connsiteX723" fmla="*/ 57896 w 108157"/>
                <a:gd name="connsiteY723" fmla="*/ 150785 h 159055"/>
                <a:gd name="connsiteX724" fmla="*/ 59487 w 108157"/>
                <a:gd name="connsiteY724" fmla="*/ 26403 h 159055"/>
                <a:gd name="connsiteX725" fmla="*/ 62986 w 108157"/>
                <a:gd name="connsiteY725" fmla="*/ 25131 h 159055"/>
                <a:gd name="connsiteX726" fmla="*/ 63304 w 108157"/>
                <a:gd name="connsiteY726" fmla="*/ 24813 h 159055"/>
                <a:gd name="connsiteX727" fmla="*/ 62986 w 108157"/>
                <a:gd name="connsiteY727" fmla="*/ 24813 h 159055"/>
                <a:gd name="connsiteX728" fmla="*/ 62032 w 108157"/>
                <a:gd name="connsiteY728" fmla="*/ 24813 h 159055"/>
                <a:gd name="connsiteX729" fmla="*/ 59487 w 108157"/>
                <a:gd name="connsiteY729" fmla="*/ 25449 h 159055"/>
                <a:gd name="connsiteX730" fmla="*/ 57896 w 108157"/>
                <a:gd name="connsiteY730" fmla="*/ 26403 h 159055"/>
                <a:gd name="connsiteX731" fmla="*/ 58214 w 108157"/>
                <a:gd name="connsiteY731" fmla="*/ 26721 h 159055"/>
                <a:gd name="connsiteX732" fmla="*/ 58533 w 108157"/>
                <a:gd name="connsiteY732" fmla="*/ 27040 h 159055"/>
                <a:gd name="connsiteX733" fmla="*/ 59487 w 108157"/>
                <a:gd name="connsiteY733" fmla="*/ 26403 h 159055"/>
                <a:gd name="connsiteX734" fmla="*/ 60441 w 108157"/>
                <a:gd name="connsiteY734" fmla="*/ 29584 h 159055"/>
                <a:gd name="connsiteX735" fmla="*/ 60441 w 108157"/>
                <a:gd name="connsiteY735" fmla="*/ 29266 h 159055"/>
                <a:gd name="connsiteX736" fmla="*/ 59805 w 108157"/>
                <a:gd name="connsiteY736" fmla="*/ 29266 h 159055"/>
                <a:gd name="connsiteX737" fmla="*/ 58533 w 108157"/>
                <a:gd name="connsiteY737" fmla="*/ 30539 h 159055"/>
                <a:gd name="connsiteX738" fmla="*/ 58533 w 108157"/>
                <a:gd name="connsiteY738" fmla="*/ 30539 h 159055"/>
                <a:gd name="connsiteX739" fmla="*/ 60441 w 108157"/>
                <a:gd name="connsiteY739" fmla="*/ 29584 h 159055"/>
                <a:gd name="connsiteX740" fmla="*/ 60441 w 108157"/>
                <a:gd name="connsiteY740" fmla="*/ 110385 h 159055"/>
                <a:gd name="connsiteX741" fmla="*/ 61396 w 108157"/>
                <a:gd name="connsiteY741" fmla="*/ 109112 h 159055"/>
                <a:gd name="connsiteX742" fmla="*/ 62032 w 108157"/>
                <a:gd name="connsiteY742" fmla="*/ 108476 h 159055"/>
                <a:gd name="connsiteX743" fmla="*/ 60123 w 108157"/>
                <a:gd name="connsiteY743" fmla="*/ 108794 h 159055"/>
                <a:gd name="connsiteX744" fmla="*/ 59805 w 108157"/>
                <a:gd name="connsiteY744" fmla="*/ 109749 h 159055"/>
                <a:gd name="connsiteX745" fmla="*/ 59805 w 108157"/>
                <a:gd name="connsiteY745" fmla="*/ 110385 h 159055"/>
                <a:gd name="connsiteX746" fmla="*/ 60441 w 108157"/>
                <a:gd name="connsiteY746" fmla="*/ 110385 h 159055"/>
                <a:gd name="connsiteX747" fmla="*/ 61077 w 108157"/>
                <a:gd name="connsiteY747" fmla="*/ 8907 h 159055"/>
                <a:gd name="connsiteX748" fmla="*/ 61077 w 108157"/>
                <a:gd name="connsiteY748" fmla="*/ 9225 h 159055"/>
                <a:gd name="connsiteX749" fmla="*/ 59805 w 108157"/>
                <a:gd name="connsiteY749" fmla="*/ 9225 h 159055"/>
                <a:gd name="connsiteX750" fmla="*/ 59805 w 108157"/>
                <a:gd name="connsiteY750" fmla="*/ 8907 h 159055"/>
                <a:gd name="connsiteX751" fmla="*/ 60759 w 108157"/>
                <a:gd name="connsiteY751" fmla="*/ 8589 h 159055"/>
                <a:gd name="connsiteX752" fmla="*/ 61077 w 108157"/>
                <a:gd name="connsiteY752" fmla="*/ 8907 h 159055"/>
                <a:gd name="connsiteX753" fmla="*/ 61077 w 108157"/>
                <a:gd name="connsiteY753" fmla="*/ 23540 h 159055"/>
                <a:gd name="connsiteX754" fmla="*/ 61396 w 108157"/>
                <a:gd name="connsiteY754" fmla="*/ 23222 h 159055"/>
                <a:gd name="connsiteX755" fmla="*/ 61396 w 108157"/>
                <a:gd name="connsiteY755" fmla="*/ 22586 h 159055"/>
                <a:gd name="connsiteX756" fmla="*/ 60759 w 108157"/>
                <a:gd name="connsiteY756" fmla="*/ 22586 h 159055"/>
                <a:gd name="connsiteX757" fmla="*/ 60441 w 108157"/>
                <a:gd name="connsiteY757" fmla="*/ 23222 h 159055"/>
                <a:gd name="connsiteX758" fmla="*/ 60123 w 108157"/>
                <a:gd name="connsiteY758" fmla="*/ 23540 h 159055"/>
                <a:gd name="connsiteX759" fmla="*/ 60441 w 108157"/>
                <a:gd name="connsiteY759" fmla="*/ 23540 h 159055"/>
                <a:gd name="connsiteX760" fmla="*/ 61077 w 108157"/>
                <a:gd name="connsiteY760" fmla="*/ 23540 h 159055"/>
                <a:gd name="connsiteX761" fmla="*/ 62032 w 108157"/>
                <a:gd name="connsiteY761" fmla="*/ 114520 h 159055"/>
                <a:gd name="connsiteX762" fmla="*/ 61396 w 108157"/>
                <a:gd name="connsiteY762" fmla="*/ 114520 h 159055"/>
                <a:gd name="connsiteX763" fmla="*/ 61396 w 108157"/>
                <a:gd name="connsiteY763" fmla="*/ 114202 h 159055"/>
                <a:gd name="connsiteX764" fmla="*/ 62032 w 108157"/>
                <a:gd name="connsiteY764" fmla="*/ 114520 h 159055"/>
                <a:gd name="connsiteX765" fmla="*/ 62986 w 108157"/>
                <a:gd name="connsiteY765" fmla="*/ 20041 h 159055"/>
                <a:gd name="connsiteX766" fmla="*/ 62350 w 108157"/>
                <a:gd name="connsiteY766" fmla="*/ 19405 h 159055"/>
                <a:gd name="connsiteX767" fmla="*/ 62032 w 108157"/>
                <a:gd name="connsiteY767" fmla="*/ 19723 h 159055"/>
                <a:gd name="connsiteX768" fmla="*/ 62350 w 108157"/>
                <a:gd name="connsiteY768" fmla="*/ 20359 h 159055"/>
                <a:gd name="connsiteX769" fmla="*/ 62986 w 108157"/>
                <a:gd name="connsiteY769" fmla="*/ 20041 h 159055"/>
                <a:gd name="connsiteX770" fmla="*/ 62986 w 108157"/>
                <a:gd name="connsiteY770" fmla="*/ 22268 h 159055"/>
                <a:gd name="connsiteX771" fmla="*/ 62986 w 108157"/>
                <a:gd name="connsiteY771" fmla="*/ 22586 h 159055"/>
                <a:gd name="connsiteX772" fmla="*/ 62986 w 108157"/>
                <a:gd name="connsiteY772" fmla="*/ 22268 h 159055"/>
                <a:gd name="connsiteX773" fmla="*/ 62986 w 108157"/>
                <a:gd name="connsiteY773" fmla="*/ 22268 h 159055"/>
                <a:gd name="connsiteX774" fmla="*/ 63304 w 108157"/>
                <a:gd name="connsiteY774" fmla="*/ 109749 h 159055"/>
                <a:gd name="connsiteX775" fmla="*/ 63304 w 108157"/>
                <a:gd name="connsiteY775" fmla="*/ 109112 h 159055"/>
                <a:gd name="connsiteX776" fmla="*/ 62986 w 108157"/>
                <a:gd name="connsiteY776" fmla="*/ 109430 h 159055"/>
                <a:gd name="connsiteX777" fmla="*/ 63304 w 108157"/>
                <a:gd name="connsiteY777" fmla="*/ 109749 h 159055"/>
                <a:gd name="connsiteX778" fmla="*/ 64895 w 108157"/>
                <a:gd name="connsiteY778" fmla="*/ 155875 h 159055"/>
                <a:gd name="connsiteX779" fmla="*/ 64577 w 108157"/>
                <a:gd name="connsiteY779" fmla="*/ 156193 h 159055"/>
                <a:gd name="connsiteX780" fmla="*/ 63622 w 108157"/>
                <a:gd name="connsiteY780" fmla="*/ 157147 h 159055"/>
                <a:gd name="connsiteX781" fmla="*/ 63304 w 108157"/>
                <a:gd name="connsiteY781" fmla="*/ 156511 h 159055"/>
                <a:gd name="connsiteX782" fmla="*/ 63940 w 108157"/>
                <a:gd name="connsiteY782" fmla="*/ 155875 h 159055"/>
                <a:gd name="connsiteX783" fmla="*/ 64259 w 108157"/>
                <a:gd name="connsiteY783" fmla="*/ 155875 h 159055"/>
                <a:gd name="connsiteX784" fmla="*/ 64895 w 108157"/>
                <a:gd name="connsiteY784" fmla="*/ 155875 h 159055"/>
                <a:gd name="connsiteX785" fmla="*/ 63940 w 108157"/>
                <a:gd name="connsiteY785" fmla="*/ 115793 h 159055"/>
                <a:gd name="connsiteX786" fmla="*/ 64259 w 108157"/>
                <a:gd name="connsiteY786" fmla="*/ 116111 h 159055"/>
                <a:gd name="connsiteX787" fmla="*/ 64259 w 108157"/>
                <a:gd name="connsiteY787" fmla="*/ 116429 h 159055"/>
                <a:gd name="connsiteX788" fmla="*/ 63622 w 108157"/>
                <a:gd name="connsiteY788" fmla="*/ 116429 h 159055"/>
                <a:gd name="connsiteX789" fmla="*/ 63940 w 108157"/>
                <a:gd name="connsiteY789" fmla="*/ 115793 h 159055"/>
                <a:gd name="connsiteX790" fmla="*/ 65531 w 108157"/>
                <a:gd name="connsiteY790" fmla="*/ 20995 h 159055"/>
                <a:gd name="connsiteX791" fmla="*/ 65531 w 108157"/>
                <a:gd name="connsiteY791" fmla="*/ 20995 h 159055"/>
                <a:gd name="connsiteX792" fmla="*/ 65531 w 108157"/>
                <a:gd name="connsiteY792" fmla="*/ 20677 h 159055"/>
                <a:gd name="connsiteX793" fmla="*/ 64577 w 108157"/>
                <a:gd name="connsiteY793" fmla="*/ 21313 h 159055"/>
                <a:gd name="connsiteX794" fmla="*/ 63940 w 108157"/>
                <a:gd name="connsiteY794" fmla="*/ 21632 h 159055"/>
                <a:gd name="connsiteX795" fmla="*/ 64259 w 108157"/>
                <a:gd name="connsiteY795" fmla="*/ 21632 h 159055"/>
                <a:gd name="connsiteX796" fmla="*/ 64577 w 108157"/>
                <a:gd name="connsiteY796" fmla="*/ 21313 h 159055"/>
                <a:gd name="connsiteX797" fmla="*/ 65531 w 108157"/>
                <a:gd name="connsiteY797" fmla="*/ 20995 h 159055"/>
                <a:gd name="connsiteX798" fmla="*/ 64895 w 108157"/>
                <a:gd name="connsiteY798" fmla="*/ 111657 h 159055"/>
                <a:gd name="connsiteX799" fmla="*/ 65213 w 108157"/>
                <a:gd name="connsiteY799" fmla="*/ 111657 h 159055"/>
                <a:gd name="connsiteX800" fmla="*/ 64577 w 108157"/>
                <a:gd name="connsiteY800" fmla="*/ 111339 h 159055"/>
                <a:gd name="connsiteX801" fmla="*/ 64577 w 108157"/>
                <a:gd name="connsiteY801" fmla="*/ 111657 h 159055"/>
                <a:gd name="connsiteX802" fmla="*/ 64895 w 108157"/>
                <a:gd name="connsiteY802" fmla="*/ 111657 h 159055"/>
                <a:gd name="connsiteX803" fmla="*/ 65849 w 108157"/>
                <a:gd name="connsiteY803" fmla="*/ 109430 h 159055"/>
                <a:gd name="connsiteX804" fmla="*/ 66803 w 108157"/>
                <a:gd name="connsiteY804" fmla="*/ 110067 h 159055"/>
                <a:gd name="connsiteX805" fmla="*/ 67122 w 108157"/>
                <a:gd name="connsiteY805" fmla="*/ 109749 h 159055"/>
                <a:gd name="connsiteX806" fmla="*/ 67122 w 108157"/>
                <a:gd name="connsiteY806" fmla="*/ 109430 h 159055"/>
                <a:gd name="connsiteX807" fmla="*/ 65849 w 108157"/>
                <a:gd name="connsiteY807" fmla="*/ 108794 h 159055"/>
                <a:gd name="connsiteX808" fmla="*/ 65531 w 108157"/>
                <a:gd name="connsiteY808" fmla="*/ 109112 h 159055"/>
                <a:gd name="connsiteX809" fmla="*/ 65849 w 108157"/>
                <a:gd name="connsiteY809" fmla="*/ 109430 h 159055"/>
                <a:gd name="connsiteX810" fmla="*/ 68394 w 108157"/>
                <a:gd name="connsiteY810" fmla="*/ 19087 h 159055"/>
                <a:gd name="connsiteX811" fmla="*/ 66485 w 108157"/>
                <a:gd name="connsiteY811" fmla="*/ 19723 h 159055"/>
                <a:gd name="connsiteX812" fmla="*/ 66485 w 108157"/>
                <a:gd name="connsiteY812" fmla="*/ 20359 h 159055"/>
                <a:gd name="connsiteX813" fmla="*/ 67440 w 108157"/>
                <a:gd name="connsiteY813" fmla="*/ 20677 h 159055"/>
                <a:gd name="connsiteX814" fmla="*/ 69985 w 108157"/>
                <a:gd name="connsiteY814" fmla="*/ 19723 h 159055"/>
                <a:gd name="connsiteX815" fmla="*/ 75074 w 108157"/>
                <a:gd name="connsiteY815" fmla="*/ 18450 h 159055"/>
                <a:gd name="connsiteX816" fmla="*/ 78255 w 108157"/>
                <a:gd name="connsiteY816" fmla="*/ 17496 h 159055"/>
                <a:gd name="connsiteX817" fmla="*/ 82709 w 108157"/>
                <a:gd name="connsiteY817" fmla="*/ 16224 h 159055"/>
                <a:gd name="connsiteX818" fmla="*/ 88117 w 108157"/>
                <a:gd name="connsiteY818" fmla="*/ 15269 h 159055"/>
                <a:gd name="connsiteX819" fmla="*/ 88117 w 108157"/>
                <a:gd name="connsiteY819" fmla="*/ 14951 h 159055"/>
                <a:gd name="connsiteX820" fmla="*/ 90662 w 108157"/>
                <a:gd name="connsiteY820" fmla="*/ 14633 h 159055"/>
                <a:gd name="connsiteX821" fmla="*/ 92570 w 108157"/>
                <a:gd name="connsiteY821" fmla="*/ 14315 h 159055"/>
                <a:gd name="connsiteX822" fmla="*/ 93843 w 108157"/>
                <a:gd name="connsiteY822" fmla="*/ 14315 h 159055"/>
                <a:gd name="connsiteX823" fmla="*/ 97024 w 108157"/>
                <a:gd name="connsiteY823" fmla="*/ 15269 h 159055"/>
                <a:gd name="connsiteX824" fmla="*/ 97978 w 108157"/>
                <a:gd name="connsiteY824" fmla="*/ 15906 h 159055"/>
                <a:gd name="connsiteX825" fmla="*/ 98615 w 108157"/>
                <a:gd name="connsiteY825" fmla="*/ 15587 h 159055"/>
                <a:gd name="connsiteX826" fmla="*/ 98297 w 108157"/>
                <a:gd name="connsiteY826" fmla="*/ 15269 h 159055"/>
                <a:gd name="connsiteX827" fmla="*/ 99251 w 108157"/>
                <a:gd name="connsiteY827" fmla="*/ 14315 h 159055"/>
                <a:gd name="connsiteX828" fmla="*/ 99887 w 108157"/>
                <a:gd name="connsiteY828" fmla="*/ 14315 h 159055"/>
                <a:gd name="connsiteX829" fmla="*/ 100841 w 108157"/>
                <a:gd name="connsiteY829" fmla="*/ 15587 h 159055"/>
                <a:gd name="connsiteX830" fmla="*/ 104023 w 108157"/>
                <a:gd name="connsiteY830" fmla="*/ 15587 h 159055"/>
                <a:gd name="connsiteX831" fmla="*/ 104341 w 108157"/>
                <a:gd name="connsiteY831" fmla="*/ 14951 h 159055"/>
                <a:gd name="connsiteX832" fmla="*/ 104023 w 108157"/>
                <a:gd name="connsiteY832" fmla="*/ 13679 h 159055"/>
                <a:gd name="connsiteX833" fmla="*/ 102750 w 108157"/>
                <a:gd name="connsiteY833" fmla="*/ 13361 h 159055"/>
                <a:gd name="connsiteX834" fmla="*/ 100841 w 108157"/>
                <a:gd name="connsiteY834" fmla="*/ 12088 h 159055"/>
                <a:gd name="connsiteX835" fmla="*/ 98615 w 108157"/>
                <a:gd name="connsiteY835" fmla="*/ 10816 h 159055"/>
                <a:gd name="connsiteX836" fmla="*/ 96388 w 108157"/>
                <a:gd name="connsiteY836" fmla="*/ 10816 h 159055"/>
                <a:gd name="connsiteX837" fmla="*/ 95115 w 108157"/>
                <a:gd name="connsiteY837" fmla="*/ 11134 h 159055"/>
                <a:gd name="connsiteX838" fmla="*/ 93207 w 108157"/>
                <a:gd name="connsiteY838" fmla="*/ 11770 h 159055"/>
                <a:gd name="connsiteX839" fmla="*/ 90662 w 108157"/>
                <a:gd name="connsiteY839" fmla="*/ 12088 h 159055"/>
                <a:gd name="connsiteX840" fmla="*/ 90026 w 108157"/>
                <a:gd name="connsiteY840" fmla="*/ 12406 h 159055"/>
                <a:gd name="connsiteX841" fmla="*/ 88117 w 108157"/>
                <a:gd name="connsiteY841" fmla="*/ 13043 h 159055"/>
                <a:gd name="connsiteX842" fmla="*/ 86526 w 108157"/>
                <a:gd name="connsiteY842" fmla="*/ 13043 h 159055"/>
                <a:gd name="connsiteX843" fmla="*/ 84936 w 108157"/>
                <a:gd name="connsiteY843" fmla="*/ 13679 h 159055"/>
                <a:gd name="connsiteX844" fmla="*/ 82391 w 108157"/>
                <a:gd name="connsiteY844" fmla="*/ 14633 h 159055"/>
                <a:gd name="connsiteX845" fmla="*/ 79846 w 108157"/>
                <a:gd name="connsiteY845" fmla="*/ 14951 h 159055"/>
                <a:gd name="connsiteX846" fmla="*/ 78255 w 108157"/>
                <a:gd name="connsiteY846" fmla="*/ 14633 h 159055"/>
                <a:gd name="connsiteX847" fmla="*/ 78574 w 108157"/>
                <a:gd name="connsiteY847" fmla="*/ 13679 h 159055"/>
                <a:gd name="connsiteX848" fmla="*/ 80164 w 108157"/>
                <a:gd name="connsiteY848" fmla="*/ 12724 h 159055"/>
                <a:gd name="connsiteX849" fmla="*/ 80482 w 108157"/>
                <a:gd name="connsiteY849" fmla="*/ 12724 h 159055"/>
                <a:gd name="connsiteX850" fmla="*/ 80164 w 108157"/>
                <a:gd name="connsiteY850" fmla="*/ 12406 h 159055"/>
                <a:gd name="connsiteX851" fmla="*/ 76983 w 108157"/>
                <a:gd name="connsiteY851" fmla="*/ 12724 h 159055"/>
                <a:gd name="connsiteX852" fmla="*/ 76347 w 108157"/>
                <a:gd name="connsiteY852" fmla="*/ 13361 h 159055"/>
                <a:gd name="connsiteX853" fmla="*/ 75393 w 108157"/>
                <a:gd name="connsiteY853" fmla="*/ 14315 h 159055"/>
                <a:gd name="connsiteX854" fmla="*/ 76347 w 108157"/>
                <a:gd name="connsiteY854" fmla="*/ 14633 h 159055"/>
                <a:gd name="connsiteX855" fmla="*/ 76665 w 108157"/>
                <a:gd name="connsiteY855" fmla="*/ 14633 h 159055"/>
                <a:gd name="connsiteX856" fmla="*/ 76665 w 108157"/>
                <a:gd name="connsiteY856" fmla="*/ 15587 h 159055"/>
                <a:gd name="connsiteX857" fmla="*/ 76347 w 108157"/>
                <a:gd name="connsiteY857" fmla="*/ 16542 h 159055"/>
                <a:gd name="connsiteX858" fmla="*/ 75074 w 108157"/>
                <a:gd name="connsiteY858" fmla="*/ 16542 h 159055"/>
                <a:gd name="connsiteX859" fmla="*/ 75074 w 108157"/>
                <a:gd name="connsiteY859" fmla="*/ 16860 h 159055"/>
                <a:gd name="connsiteX860" fmla="*/ 74120 w 108157"/>
                <a:gd name="connsiteY860" fmla="*/ 17496 h 159055"/>
                <a:gd name="connsiteX861" fmla="*/ 72848 w 108157"/>
                <a:gd name="connsiteY861" fmla="*/ 17496 h 159055"/>
                <a:gd name="connsiteX862" fmla="*/ 71257 w 108157"/>
                <a:gd name="connsiteY862" fmla="*/ 18450 h 159055"/>
                <a:gd name="connsiteX863" fmla="*/ 69030 w 108157"/>
                <a:gd name="connsiteY863" fmla="*/ 18450 h 159055"/>
                <a:gd name="connsiteX864" fmla="*/ 69985 w 108157"/>
                <a:gd name="connsiteY864" fmla="*/ 17178 h 159055"/>
                <a:gd name="connsiteX865" fmla="*/ 70621 w 108157"/>
                <a:gd name="connsiteY865" fmla="*/ 16224 h 159055"/>
                <a:gd name="connsiteX866" fmla="*/ 71575 w 108157"/>
                <a:gd name="connsiteY866" fmla="*/ 15587 h 159055"/>
                <a:gd name="connsiteX867" fmla="*/ 69985 w 108157"/>
                <a:gd name="connsiteY867" fmla="*/ 15269 h 159055"/>
                <a:gd name="connsiteX868" fmla="*/ 69667 w 108157"/>
                <a:gd name="connsiteY868" fmla="*/ 15269 h 159055"/>
                <a:gd name="connsiteX869" fmla="*/ 66803 w 108157"/>
                <a:gd name="connsiteY869" fmla="*/ 16860 h 159055"/>
                <a:gd name="connsiteX870" fmla="*/ 66803 w 108157"/>
                <a:gd name="connsiteY870" fmla="*/ 17178 h 159055"/>
                <a:gd name="connsiteX871" fmla="*/ 67440 w 108157"/>
                <a:gd name="connsiteY871" fmla="*/ 17814 h 159055"/>
                <a:gd name="connsiteX872" fmla="*/ 69030 w 108157"/>
                <a:gd name="connsiteY872" fmla="*/ 18450 h 159055"/>
                <a:gd name="connsiteX873" fmla="*/ 68394 w 108157"/>
                <a:gd name="connsiteY873" fmla="*/ 19087 h 159055"/>
                <a:gd name="connsiteX874" fmla="*/ 66803 w 108157"/>
                <a:gd name="connsiteY874" fmla="*/ 5408 h 159055"/>
                <a:gd name="connsiteX875" fmla="*/ 67122 w 108157"/>
                <a:gd name="connsiteY875" fmla="*/ 5090 h 159055"/>
                <a:gd name="connsiteX876" fmla="*/ 67440 w 108157"/>
                <a:gd name="connsiteY876" fmla="*/ 5090 h 159055"/>
                <a:gd name="connsiteX877" fmla="*/ 67440 w 108157"/>
                <a:gd name="connsiteY877" fmla="*/ 5408 h 159055"/>
                <a:gd name="connsiteX878" fmla="*/ 66803 w 108157"/>
                <a:gd name="connsiteY878" fmla="*/ 5726 h 159055"/>
                <a:gd name="connsiteX879" fmla="*/ 66803 w 108157"/>
                <a:gd name="connsiteY879" fmla="*/ 5408 h 159055"/>
                <a:gd name="connsiteX880" fmla="*/ 70621 w 108157"/>
                <a:gd name="connsiteY880" fmla="*/ 149513 h 159055"/>
                <a:gd name="connsiteX881" fmla="*/ 70939 w 108157"/>
                <a:gd name="connsiteY881" fmla="*/ 149194 h 159055"/>
                <a:gd name="connsiteX882" fmla="*/ 70939 w 108157"/>
                <a:gd name="connsiteY882" fmla="*/ 148240 h 159055"/>
                <a:gd name="connsiteX883" fmla="*/ 69348 w 108157"/>
                <a:gd name="connsiteY883" fmla="*/ 147922 h 159055"/>
                <a:gd name="connsiteX884" fmla="*/ 68394 w 108157"/>
                <a:gd name="connsiteY884" fmla="*/ 147604 h 159055"/>
                <a:gd name="connsiteX885" fmla="*/ 67440 w 108157"/>
                <a:gd name="connsiteY885" fmla="*/ 149194 h 159055"/>
                <a:gd name="connsiteX886" fmla="*/ 69348 w 108157"/>
                <a:gd name="connsiteY886" fmla="*/ 149831 h 159055"/>
                <a:gd name="connsiteX887" fmla="*/ 70621 w 108157"/>
                <a:gd name="connsiteY887" fmla="*/ 149513 h 159055"/>
                <a:gd name="connsiteX888" fmla="*/ 69030 w 108157"/>
                <a:gd name="connsiteY888" fmla="*/ 21950 h 159055"/>
                <a:gd name="connsiteX889" fmla="*/ 69030 w 108157"/>
                <a:gd name="connsiteY889" fmla="*/ 21632 h 159055"/>
                <a:gd name="connsiteX890" fmla="*/ 68076 w 108157"/>
                <a:gd name="connsiteY890" fmla="*/ 21632 h 159055"/>
                <a:gd name="connsiteX891" fmla="*/ 68076 w 108157"/>
                <a:gd name="connsiteY891" fmla="*/ 21950 h 159055"/>
                <a:gd name="connsiteX892" fmla="*/ 69030 w 108157"/>
                <a:gd name="connsiteY892" fmla="*/ 22586 h 159055"/>
                <a:gd name="connsiteX893" fmla="*/ 69030 w 108157"/>
                <a:gd name="connsiteY893" fmla="*/ 21950 h 159055"/>
                <a:gd name="connsiteX894" fmla="*/ 71575 w 108157"/>
                <a:gd name="connsiteY894" fmla="*/ 115793 h 159055"/>
                <a:gd name="connsiteX895" fmla="*/ 71893 w 108157"/>
                <a:gd name="connsiteY895" fmla="*/ 115793 h 159055"/>
                <a:gd name="connsiteX896" fmla="*/ 71893 w 108157"/>
                <a:gd name="connsiteY896" fmla="*/ 115156 h 159055"/>
                <a:gd name="connsiteX897" fmla="*/ 69030 w 108157"/>
                <a:gd name="connsiteY897" fmla="*/ 114838 h 159055"/>
                <a:gd name="connsiteX898" fmla="*/ 68712 w 108157"/>
                <a:gd name="connsiteY898" fmla="*/ 115475 h 159055"/>
                <a:gd name="connsiteX899" fmla="*/ 68712 w 108157"/>
                <a:gd name="connsiteY899" fmla="*/ 115793 h 159055"/>
                <a:gd name="connsiteX900" fmla="*/ 70621 w 108157"/>
                <a:gd name="connsiteY900" fmla="*/ 115793 h 159055"/>
                <a:gd name="connsiteX901" fmla="*/ 71575 w 108157"/>
                <a:gd name="connsiteY901" fmla="*/ 115793 h 159055"/>
                <a:gd name="connsiteX902" fmla="*/ 69667 w 108157"/>
                <a:gd name="connsiteY902" fmla="*/ 112930 h 159055"/>
                <a:gd name="connsiteX903" fmla="*/ 69667 w 108157"/>
                <a:gd name="connsiteY903" fmla="*/ 112930 h 159055"/>
                <a:gd name="connsiteX904" fmla="*/ 69985 w 108157"/>
                <a:gd name="connsiteY904" fmla="*/ 112930 h 159055"/>
                <a:gd name="connsiteX905" fmla="*/ 69667 w 108157"/>
                <a:gd name="connsiteY905" fmla="*/ 112930 h 159055"/>
                <a:gd name="connsiteX906" fmla="*/ 73802 w 108157"/>
                <a:gd name="connsiteY906" fmla="*/ 14315 h 159055"/>
                <a:gd name="connsiteX907" fmla="*/ 72848 w 108157"/>
                <a:gd name="connsiteY907" fmla="*/ 14633 h 159055"/>
                <a:gd name="connsiteX908" fmla="*/ 72848 w 108157"/>
                <a:gd name="connsiteY908" fmla="*/ 14951 h 159055"/>
                <a:gd name="connsiteX909" fmla="*/ 74120 w 108157"/>
                <a:gd name="connsiteY909" fmla="*/ 14633 h 159055"/>
                <a:gd name="connsiteX910" fmla="*/ 73802 w 108157"/>
                <a:gd name="connsiteY910" fmla="*/ 14315 h 159055"/>
                <a:gd name="connsiteX911" fmla="*/ 75074 w 108157"/>
                <a:gd name="connsiteY911" fmla="*/ 112612 h 159055"/>
                <a:gd name="connsiteX912" fmla="*/ 75074 w 108157"/>
                <a:gd name="connsiteY912" fmla="*/ 111975 h 159055"/>
                <a:gd name="connsiteX913" fmla="*/ 74438 w 108157"/>
                <a:gd name="connsiteY913" fmla="*/ 111657 h 159055"/>
                <a:gd name="connsiteX914" fmla="*/ 73166 w 108157"/>
                <a:gd name="connsiteY914" fmla="*/ 113566 h 159055"/>
                <a:gd name="connsiteX915" fmla="*/ 73484 w 108157"/>
                <a:gd name="connsiteY915" fmla="*/ 113884 h 159055"/>
                <a:gd name="connsiteX916" fmla="*/ 73802 w 108157"/>
                <a:gd name="connsiteY916" fmla="*/ 113884 h 159055"/>
                <a:gd name="connsiteX917" fmla="*/ 75074 w 108157"/>
                <a:gd name="connsiteY917" fmla="*/ 112612 h 159055"/>
                <a:gd name="connsiteX918" fmla="*/ 75074 w 108157"/>
                <a:gd name="connsiteY918" fmla="*/ 20677 h 159055"/>
                <a:gd name="connsiteX919" fmla="*/ 74120 w 108157"/>
                <a:gd name="connsiteY919" fmla="*/ 20677 h 159055"/>
                <a:gd name="connsiteX920" fmla="*/ 74438 w 108157"/>
                <a:gd name="connsiteY920" fmla="*/ 20677 h 159055"/>
                <a:gd name="connsiteX921" fmla="*/ 75074 w 108157"/>
                <a:gd name="connsiteY921" fmla="*/ 20677 h 159055"/>
                <a:gd name="connsiteX922" fmla="*/ 79528 w 108157"/>
                <a:gd name="connsiteY922" fmla="*/ 19405 h 159055"/>
                <a:gd name="connsiteX923" fmla="*/ 79846 w 108157"/>
                <a:gd name="connsiteY923" fmla="*/ 19087 h 159055"/>
                <a:gd name="connsiteX924" fmla="*/ 79210 w 108157"/>
                <a:gd name="connsiteY924" fmla="*/ 18769 h 159055"/>
                <a:gd name="connsiteX925" fmla="*/ 76347 w 108157"/>
                <a:gd name="connsiteY925" fmla="*/ 19087 h 159055"/>
                <a:gd name="connsiteX926" fmla="*/ 76347 w 108157"/>
                <a:gd name="connsiteY926" fmla="*/ 19405 h 159055"/>
                <a:gd name="connsiteX927" fmla="*/ 76029 w 108157"/>
                <a:gd name="connsiteY927" fmla="*/ 19723 h 159055"/>
                <a:gd name="connsiteX928" fmla="*/ 76665 w 108157"/>
                <a:gd name="connsiteY928" fmla="*/ 19723 h 159055"/>
                <a:gd name="connsiteX929" fmla="*/ 79528 w 108157"/>
                <a:gd name="connsiteY929" fmla="*/ 19405 h 159055"/>
                <a:gd name="connsiteX930" fmla="*/ 76665 w 108157"/>
                <a:gd name="connsiteY930" fmla="*/ 2863 h 159055"/>
                <a:gd name="connsiteX931" fmla="*/ 76665 w 108157"/>
                <a:gd name="connsiteY931" fmla="*/ 3181 h 159055"/>
                <a:gd name="connsiteX932" fmla="*/ 76347 w 108157"/>
                <a:gd name="connsiteY932" fmla="*/ 3499 h 159055"/>
                <a:gd name="connsiteX933" fmla="*/ 76665 w 108157"/>
                <a:gd name="connsiteY933" fmla="*/ 2863 h 159055"/>
                <a:gd name="connsiteX934" fmla="*/ 76983 w 108157"/>
                <a:gd name="connsiteY934" fmla="*/ 144423 h 159055"/>
                <a:gd name="connsiteX935" fmla="*/ 76665 w 108157"/>
                <a:gd name="connsiteY935" fmla="*/ 144423 h 159055"/>
                <a:gd name="connsiteX936" fmla="*/ 76983 w 108157"/>
                <a:gd name="connsiteY936" fmla="*/ 144423 h 159055"/>
                <a:gd name="connsiteX937" fmla="*/ 77619 w 108157"/>
                <a:gd name="connsiteY937" fmla="*/ 150149 h 159055"/>
                <a:gd name="connsiteX938" fmla="*/ 77619 w 108157"/>
                <a:gd name="connsiteY938" fmla="*/ 149831 h 159055"/>
                <a:gd name="connsiteX939" fmla="*/ 78255 w 108157"/>
                <a:gd name="connsiteY939" fmla="*/ 149831 h 159055"/>
                <a:gd name="connsiteX940" fmla="*/ 78574 w 108157"/>
                <a:gd name="connsiteY940" fmla="*/ 150467 h 159055"/>
                <a:gd name="connsiteX941" fmla="*/ 78255 w 108157"/>
                <a:gd name="connsiteY941" fmla="*/ 150785 h 159055"/>
                <a:gd name="connsiteX942" fmla="*/ 77619 w 108157"/>
                <a:gd name="connsiteY942" fmla="*/ 150149 h 159055"/>
                <a:gd name="connsiteX943" fmla="*/ 79846 w 108157"/>
                <a:gd name="connsiteY943" fmla="*/ 143787 h 159055"/>
                <a:gd name="connsiteX944" fmla="*/ 79846 w 108157"/>
                <a:gd name="connsiteY944" fmla="*/ 143468 h 159055"/>
                <a:gd name="connsiteX945" fmla="*/ 79210 w 108157"/>
                <a:gd name="connsiteY945" fmla="*/ 143150 h 159055"/>
                <a:gd name="connsiteX946" fmla="*/ 78255 w 108157"/>
                <a:gd name="connsiteY946" fmla="*/ 143150 h 159055"/>
                <a:gd name="connsiteX947" fmla="*/ 78255 w 108157"/>
                <a:gd name="connsiteY947" fmla="*/ 144105 h 159055"/>
                <a:gd name="connsiteX948" fmla="*/ 78255 w 108157"/>
                <a:gd name="connsiteY948" fmla="*/ 144423 h 159055"/>
                <a:gd name="connsiteX949" fmla="*/ 79846 w 108157"/>
                <a:gd name="connsiteY949" fmla="*/ 143787 h 159055"/>
                <a:gd name="connsiteX950" fmla="*/ 84300 w 108157"/>
                <a:gd name="connsiteY950" fmla="*/ 21950 h 159055"/>
                <a:gd name="connsiteX951" fmla="*/ 84936 w 108157"/>
                <a:gd name="connsiteY951" fmla="*/ 21950 h 159055"/>
                <a:gd name="connsiteX952" fmla="*/ 85254 w 108157"/>
                <a:gd name="connsiteY952" fmla="*/ 21313 h 159055"/>
                <a:gd name="connsiteX953" fmla="*/ 84936 w 108157"/>
                <a:gd name="connsiteY953" fmla="*/ 20995 h 159055"/>
                <a:gd name="connsiteX954" fmla="*/ 84300 w 108157"/>
                <a:gd name="connsiteY954" fmla="*/ 21313 h 159055"/>
                <a:gd name="connsiteX955" fmla="*/ 81755 w 108157"/>
                <a:gd name="connsiteY955" fmla="*/ 21950 h 159055"/>
                <a:gd name="connsiteX956" fmla="*/ 81437 w 108157"/>
                <a:gd name="connsiteY956" fmla="*/ 21950 h 159055"/>
                <a:gd name="connsiteX957" fmla="*/ 81755 w 108157"/>
                <a:gd name="connsiteY957" fmla="*/ 22268 h 159055"/>
                <a:gd name="connsiteX958" fmla="*/ 83663 w 108157"/>
                <a:gd name="connsiteY958" fmla="*/ 22904 h 159055"/>
                <a:gd name="connsiteX959" fmla="*/ 84300 w 108157"/>
                <a:gd name="connsiteY959" fmla="*/ 23540 h 159055"/>
                <a:gd name="connsiteX960" fmla="*/ 84936 w 108157"/>
                <a:gd name="connsiteY960" fmla="*/ 23540 h 159055"/>
                <a:gd name="connsiteX961" fmla="*/ 84936 w 108157"/>
                <a:gd name="connsiteY961" fmla="*/ 23222 h 159055"/>
                <a:gd name="connsiteX962" fmla="*/ 84936 w 108157"/>
                <a:gd name="connsiteY962" fmla="*/ 22904 h 159055"/>
                <a:gd name="connsiteX963" fmla="*/ 83663 w 108157"/>
                <a:gd name="connsiteY963" fmla="*/ 22904 h 159055"/>
                <a:gd name="connsiteX964" fmla="*/ 84300 w 108157"/>
                <a:gd name="connsiteY964" fmla="*/ 21950 h 159055"/>
                <a:gd name="connsiteX965" fmla="*/ 82709 w 108157"/>
                <a:gd name="connsiteY965" fmla="*/ 13043 h 159055"/>
                <a:gd name="connsiteX966" fmla="*/ 81755 w 108157"/>
                <a:gd name="connsiteY966" fmla="*/ 13361 h 159055"/>
                <a:gd name="connsiteX967" fmla="*/ 81755 w 108157"/>
                <a:gd name="connsiteY967" fmla="*/ 13679 h 159055"/>
                <a:gd name="connsiteX968" fmla="*/ 82709 w 108157"/>
                <a:gd name="connsiteY968" fmla="*/ 13043 h 159055"/>
                <a:gd name="connsiteX969" fmla="*/ 83027 w 108157"/>
                <a:gd name="connsiteY969" fmla="*/ 13043 h 159055"/>
                <a:gd name="connsiteX970" fmla="*/ 82709 w 108157"/>
                <a:gd name="connsiteY970" fmla="*/ 13043 h 159055"/>
                <a:gd name="connsiteX971" fmla="*/ 83027 w 108157"/>
                <a:gd name="connsiteY971" fmla="*/ 148558 h 159055"/>
                <a:gd name="connsiteX972" fmla="*/ 82391 w 108157"/>
                <a:gd name="connsiteY972" fmla="*/ 148240 h 159055"/>
                <a:gd name="connsiteX973" fmla="*/ 82391 w 108157"/>
                <a:gd name="connsiteY973" fmla="*/ 147604 h 159055"/>
                <a:gd name="connsiteX974" fmla="*/ 83027 w 108157"/>
                <a:gd name="connsiteY974" fmla="*/ 147286 h 159055"/>
                <a:gd name="connsiteX975" fmla="*/ 83663 w 108157"/>
                <a:gd name="connsiteY975" fmla="*/ 147604 h 159055"/>
                <a:gd name="connsiteX976" fmla="*/ 83663 w 108157"/>
                <a:gd name="connsiteY976" fmla="*/ 147922 h 159055"/>
                <a:gd name="connsiteX977" fmla="*/ 83027 w 108157"/>
                <a:gd name="connsiteY977" fmla="*/ 148558 h 159055"/>
                <a:gd name="connsiteX978" fmla="*/ 82709 w 108157"/>
                <a:gd name="connsiteY978" fmla="*/ 11770 h 159055"/>
                <a:gd name="connsiteX979" fmla="*/ 83027 w 108157"/>
                <a:gd name="connsiteY979" fmla="*/ 11770 h 159055"/>
                <a:gd name="connsiteX980" fmla="*/ 82709 w 108157"/>
                <a:gd name="connsiteY980" fmla="*/ 11770 h 159055"/>
                <a:gd name="connsiteX981" fmla="*/ 84618 w 108157"/>
                <a:gd name="connsiteY981" fmla="*/ 11134 h 159055"/>
                <a:gd name="connsiteX982" fmla="*/ 84936 w 108157"/>
                <a:gd name="connsiteY982" fmla="*/ 11770 h 159055"/>
                <a:gd name="connsiteX983" fmla="*/ 85254 w 108157"/>
                <a:gd name="connsiteY983" fmla="*/ 11134 h 159055"/>
                <a:gd name="connsiteX984" fmla="*/ 85254 w 108157"/>
                <a:gd name="connsiteY984" fmla="*/ 10498 h 159055"/>
                <a:gd name="connsiteX985" fmla="*/ 84618 w 108157"/>
                <a:gd name="connsiteY985" fmla="*/ 11134 h 159055"/>
                <a:gd name="connsiteX986" fmla="*/ 86526 w 108157"/>
                <a:gd name="connsiteY986" fmla="*/ 16224 h 159055"/>
                <a:gd name="connsiteX987" fmla="*/ 86526 w 108157"/>
                <a:gd name="connsiteY987" fmla="*/ 16542 h 159055"/>
                <a:gd name="connsiteX988" fmla="*/ 86526 w 108157"/>
                <a:gd name="connsiteY988" fmla="*/ 16224 h 159055"/>
                <a:gd name="connsiteX989" fmla="*/ 86844 w 108157"/>
                <a:gd name="connsiteY989" fmla="*/ 16224 h 159055"/>
                <a:gd name="connsiteX990" fmla="*/ 86526 w 108157"/>
                <a:gd name="connsiteY990" fmla="*/ 16224 h 159055"/>
                <a:gd name="connsiteX991" fmla="*/ 93843 w 108157"/>
                <a:gd name="connsiteY991" fmla="*/ 20041 h 159055"/>
                <a:gd name="connsiteX992" fmla="*/ 95115 w 108157"/>
                <a:gd name="connsiteY992" fmla="*/ 20041 h 159055"/>
                <a:gd name="connsiteX993" fmla="*/ 97342 w 108157"/>
                <a:gd name="connsiteY993" fmla="*/ 20359 h 159055"/>
                <a:gd name="connsiteX994" fmla="*/ 99569 w 108157"/>
                <a:gd name="connsiteY994" fmla="*/ 19405 h 159055"/>
                <a:gd name="connsiteX995" fmla="*/ 98933 w 108157"/>
                <a:gd name="connsiteY995" fmla="*/ 19087 h 159055"/>
                <a:gd name="connsiteX996" fmla="*/ 97978 w 108157"/>
                <a:gd name="connsiteY996" fmla="*/ 19087 h 159055"/>
                <a:gd name="connsiteX997" fmla="*/ 92889 w 108157"/>
                <a:gd name="connsiteY997" fmla="*/ 19087 h 159055"/>
                <a:gd name="connsiteX998" fmla="*/ 91616 w 108157"/>
                <a:gd name="connsiteY998" fmla="*/ 19405 h 159055"/>
                <a:gd name="connsiteX999" fmla="*/ 89389 w 108157"/>
                <a:gd name="connsiteY999" fmla="*/ 19723 h 159055"/>
                <a:gd name="connsiteX1000" fmla="*/ 87163 w 108157"/>
                <a:gd name="connsiteY1000" fmla="*/ 20677 h 159055"/>
                <a:gd name="connsiteX1001" fmla="*/ 87799 w 108157"/>
                <a:gd name="connsiteY1001" fmla="*/ 20677 h 159055"/>
                <a:gd name="connsiteX1002" fmla="*/ 88435 w 108157"/>
                <a:gd name="connsiteY1002" fmla="*/ 20677 h 159055"/>
                <a:gd name="connsiteX1003" fmla="*/ 92889 w 108157"/>
                <a:gd name="connsiteY1003" fmla="*/ 20677 h 159055"/>
                <a:gd name="connsiteX1004" fmla="*/ 93207 w 108157"/>
                <a:gd name="connsiteY1004" fmla="*/ 20677 h 159055"/>
                <a:gd name="connsiteX1005" fmla="*/ 93525 w 108157"/>
                <a:gd name="connsiteY1005" fmla="*/ 20677 h 159055"/>
                <a:gd name="connsiteX1006" fmla="*/ 93843 w 108157"/>
                <a:gd name="connsiteY1006" fmla="*/ 20995 h 159055"/>
                <a:gd name="connsiteX1007" fmla="*/ 93207 w 108157"/>
                <a:gd name="connsiteY1007" fmla="*/ 20677 h 159055"/>
                <a:gd name="connsiteX1008" fmla="*/ 93843 w 108157"/>
                <a:gd name="connsiteY1008" fmla="*/ 20041 h 159055"/>
                <a:gd name="connsiteX1009" fmla="*/ 92889 w 108157"/>
                <a:gd name="connsiteY1009" fmla="*/ 2863 h 159055"/>
                <a:gd name="connsiteX1010" fmla="*/ 92889 w 108157"/>
                <a:gd name="connsiteY1010" fmla="*/ 2545 h 159055"/>
                <a:gd name="connsiteX1011" fmla="*/ 92252 w 108157"/>
                <a:gd name="connsiteY1011" fmla="*/ 2545 h 159055"/>
                <a:gd name="connsiteX1012" fmla="*/ 91616 w 108157"/>
                <a:gd name="connsiteY1012" fmla="*/ 2863 h 159055"/>
                <a:gd name="connsiteX1013" fmla="*/ 92570 w 108157"/>
                <a:gd name="connsiteY1013" fmla="*/ 2863 h 159055"/>
                <a:gd name="connsiteX1014" fmla="*/ 92889 w 108157"/>
                <a:gd name="connsiteY1014" fmla="*/ 2863 h 159055"/>
                <a:gd name="connsiteX1015" fmla="*/ 93207 w 108157"/>
                <a:gd name="connsiteY1015" fmla="*/ 139969 h 159055"/>
                <a:gd name="connsiteX1016" fmla="*/ 93207 w 108157"/>
                <a:gd name="connsiteY1016" fmla="*/ 140287 h 159055"/>
                <a:gd name="connsiteX1017" fmla="*/ 92252 w 108157"/>
                <a:gd name="connsiteY1017" fmla="*/ 140287 h 159055"/>
                <a:gd name="connsiteX1018" fmla="*/ 91616 w 108157"/>
                <a:gd name="connsiteY1018" fmla="*/ 140605 h 159055"/>
                <a:gd name="connsiteX1019" fmla="*/ 92252 w 108157"/>
                <a:gd name="connsiteY1019" fmla="*/ 140924 h 159055"/>
                <a:gd name="connsiteX1020" fmla="*/ 92889 w 108157"/>
                <a:gd name="connsiteY1020" fmla="*/ 140924 h 159055"/>
                <a:gd name="connsiteX1021" fmla="*/ 93207 w 108157"/>
                <a:gd name="connsiteY1021" fmla="*/ 140287 h 159055"/>
                <a:gd name="connsiteX1022" fmla="*/ 93207 w 108157"/>
                <a:gd name="connsiteY1022" fmla="*/ 139969 h 159055"/>
                <a:gd name="connsiteX1023" fmla="*/ 93207 w 108157"/>
                <a:gd name="connsiteY1023" fmla="*/ 16224 h 159055"/>
                <a:gd name="connsiteX1024" fmla="*/ 93207 w 108157"/>
                <a:gd name="connsiteY1024" fmla="*/ 15906 h 159055"/>
                <a:gd name="connsiteX1025" fmla="*/ 92889 w 108157"/>
                <a:gd name="connsiteY1025" fmla="*/ 16224 h 159055"/>
                <a:gd name="connsiteX1026" fmla="*/ 93207 w 108157"/>
                <a:gd name="connsiteY1026" fmla="*/ 16224 h 159055"/>
                <a:gd name="connsiteX1027" fmla="*/ 94161 w 108157"/>
                <a:gd name="connsiteY1027" fmla="*/ 9225 h 159055"/>
                <a:gd name="connsiteX1028" fmla="*/ 94161 w 108157"/>
                <a:gd name="connsiteY1028" fmla="*/ 9225 h 159055"/>
                <a:gd name="connsiteX1029" fmla="*/ 93843 w 108157"/>
                <a:gd name="connsiteY1029" fmla="*/ 9225 h 159055"/>
                <a:gd name="connsiteX1030" fmla="*/ 94161 w 108157"/>
                <a:gd name="connsiteY1030" fmla="*/ 9543 h 159055"/>
                <a:gd name="connsiteX1031" fmla="*/ 94161 w 108157"/>
                <a:gd name="connsiteY1031" fmla="*/ 9225 h 159055"/>
                <a:gd name="connsiteX1032" fmla="*/ 101160 w 108157"/>
                <a:gd name="connsiteY1032" fmla="*/ 13997 h 159055"/>
                <a:gd name="connsiteX1033" fmla="*/ 101478 w 108157"/>
                <a:gd name="connsiteY1033" fmla="*/ 13997 h 159055"/>
                <a:gd name="connsiteX1034" fmla="*/ 101160 w 108157"/>
                <a:gd name="connsiteY1034" fmla="*/ 14315 h 159055"/>
                <a:gd name="connsiteX1035" fmla="*/ 99887 w 108157"/>
                <a:gd name="connsiteY1035" fmla="*/ 14315 h 159055"/>
                <a:gd name="connsiteX1036" fmla="*/ 101160 w 108157"/>
                <a:gd name="connsiteY1036" fmla="*/ 13997 h 159055"/>
                <a:gd name="connsiteX1037" fmla="*/ 100205 w 108157"/>
                <a:gd name="connsiteY1037" fmla="*/ 110067 h 159055"/>
                <a:gd name="connsiteX1038" fmla="*/ 101160 w 108157"/>
                <a:gd name="connsiteY1038" fmla="*/ 110067 h 159055"/>
                <a:gd name="connsiteX1039" fmla="*/ 99887 w 108157"/>
                <a:gd name="connsiteY1039" fmla="*/ 108794 h 159055"/>
                <a:gd name="connsiteX1040" fmla="*/ 100205 w 108157"/>
                <a:gd name="connsiteY1040" fmla="*/ 110067 h 159055"/>
                <a:gd name="connsiteX1041" fmla="*/ 111021 w 108157"/>
                <a:gd name="connsiteY1041" fmla="*/ 24495 h 159055"/>
                <a:gd name="connsiteX1042" fmla="*/ 111021 w 108157"/>
                <a:gd name="connsiteY1042" fmla="*/ 24177 h 159055"/>
                <a:gd name="connsiteX1043" fmla="*/ 111339 w 108157"/>
                <a:gd name="connsiteY1043" fmla="*/ 24177 h 159055"/>
                <a:gd name="connsiteX1044" fmla="*/ 111975 w 108157"/>
                <a:gd name="connsiteY1044" fmla="*/ 24495 h 159055"/>
                <a:gd name="connsiteX1045" fmla="*/ 111339 w 108157"/>
                <a:gd name="connsiteY1045" fmla="*/ 24813 h 159055"/>
                <a:gd name="connsiteX1046" fmla="*/ 111021 w 108157"/>
                <a:gd name="connsiteY1046" fmla="*/ 24495 h 15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</a:cxnLst>
              <a:rect l="l" t="t" r="r" b="b"/>
              <a:pathLst>
                <a:path w="108157" h="159055">
                  <a:moveTo>
                    <a:pt x="95115" y="139969"/>
                  </a:moveTo>
                  <a:cubicBezTo>
                    <a:pt x="94479" y="140924"/>
                    <a:pt x="92889" y="141560"/>
                    <a:pt x="92252" y="142514"/>
                  </a:cubicBezTo>
                  <a:cubicBezTo>
                    <a:pt x="91616" y="143150"/>
                    <a:pt x="91298" y="143150"/>
                    <a:pt x="90662" y="142832"/>
                  </a:cubicBezTo>
                  <a:cubicBezTo>
                    <a:pt x="90662" y="142832"/>
                    <a:pt x="90026" y="142832"/>
                    <a:pt x="89708" y="142832"/>
                  </a:cubicBezTo>
                  <a:cubicBezTo>
                    <a:pt x="89389" y="142832"/>
                    <a:pt x="88435" y="142832"/>
                    <a:pt x="88117" y="142832"/>
                  </a:cubicBezTo>
                  <a:cubicBezTo>
                    <a:pt x="87799" y="142832"/>
                    <a:pt x="87163" y="142196"/>
                    <a:pt x="86844" y="142832"/>
                  </a:cubicBezTo>
                  <a:cubicBezTo>
                    <a:pt x="86844" y="142832"/>
                    <a:pt x="87163" y="143468"/>
                    <a:pt x="87163" y="143787"/>
                  </a:cubicBezTo>
                  <a:cubicBezTo>
                    <a:pt x="88117" y="143787"/>
                    <a:pt x="88117" y="144105"/>
                    <a:pt x="87799" y="144423"/>
                  </a:cubicBezTo>
                  <a:cubicBezTo>
                    <a:pt x="87163" y="144741"/>
                    <a:pt x="86844" y="144741"/>
                    <a:pt x="86526" y="144423"/>
                  </a:cubicBezTo>
                  <a:cubicBezTo>
                    <a:pt x="86208" y="143787"/>
                    <a:pt x="86208" y="143787"/>
                    <a:pt x="85572" y="143787"/>
                  </a:cubicBezTo>
                  <a:cubicBezTo>
                    <a:pt x="85254" y="143787"/>
                    <a:pt x="84936" y="144105"/>
                    <a:pt x="84618" y="143787"/>
                  </a:cubicBezTo>
                  <a:cubicBezTo>
                    <a:pt x="84300" y="143787"/>
                    <a:pt x="83982" y="143787"/>
                    <a:pt x="83982" y="144423"/>
                  </a:cubicBezTo>
                  <a:cubicBezTo>
                    <a:pt x="83027" y="145059"/>
                    <a:pt x="82073" y="145059"/>
                    <a:pt x="81437" y="145695"/>
                  </a:cubicBezTo>
                  <a:cubicBezTo>
                    <a:pt x="81437" y="146013"/>
                    <a:pt x="81119" y="146331"/>
                    <a:pt x="80482" y="146331"/>
                  </a:cubicBezTo>
                  <a:cubicBezTo>
                    <a:pt x="79528" y="146331"/>
                    <a:pt x="79210" y="146968"/>
                    <a:pt x="78255" y="147604"/>
                  </a:cubicBezTo>
                  <a:cubicBezTo>
                    <a:pt x="79210" y="148558"/>
                    <a:pt x="77937" y="148558"/>
                    <a:pt x="77619" y="148558"/>
                  </a:cubicBezTo>
                  <a:cubicBezTo>
                    <a:pt x="77301" y="148240"/>
                    <a:pt x="76983" y="148240"/>
                    <a:pt x="76665" y="148240"/>
                  </a:cubicBezTo>
                  <a:cubicBezTo>
                    <a:pt x="76029" y="148240"/>
                    <a:pt x="75393" y="148240"/>
                    <a:pt x="74120" y="148558"/>
                  </a:cubicBezTo>
                  <a:cubicBezTo>
                    <a:pt x="73484" y="148876"/>
                    <a:pt x="72848" y="149194"/>
                    <a:pt x="72848" y="149831"/>
                  </a:cubicBezTo>
                  <a:cubicBezTo>
                    <a:pt x="72848" y="149831"/>
                    <a:pt x="72529" y="150149"/>
                    <a:pt x="72529" y="149831"/>
                  </a:cubicBezTo>
                  <a:cubicBezTo>
                    <a:pt x="71575" y="149513"/>
                    <a:pt x="71257" y="150149"/>
                    <a:pt x="70939" y="151103"/>
                  </a:cubicBezTo>
                  <a:cubicBezTo>
                    <a:pt x="70621" y="151421"/>
                    <a:pt x="69667" y="151421"/>
                    <a:pt x="69667" y="151421"/>
                  </a:cubicBezTo>
                  <a:cubicBezTo>
                    <a:pt x="68712" y="151421"/>
                    <a:pt x="68076" y="151739"/>
                    <a:pt x="67122" y="152376"/>
                  </a:cubicBezTo>
                  <a:cubicBezTo>
                    <a:pt x="67122" y="152694"/>
                    <a:pt x="67122" y="152694"/>
                    <a:pt x="67122" y="152694"/>
                  </a:cubicBezTo>
                  <a:cubicBezTo>
                    <a:pt x="66803" y="153330"/>
                    <a:pt x="65849" y="153648"/>
                    <a:pt x="65531" y="153330"/>
                  </a:cubicBezTo>
                  <a:cubicBezTo>
                    <a:pt x="64895" y="153012"/>
                    <a:pt x="64895" y="152694"/>
                    <a:pt x="64259" y="153012"/>
                  </a:cubicBezTo>
                  <a:cubicBezTo>
                    <a:pt x="63940" y="153330"/>
                    <a:pt x="64259" y="153966"/>
                    <a:pt x="64577" y="154284"/>
                  </a:cubicBezTo>
                  <a:cubicBezTo>
                    <a:pt x="64577" y="154284"/>
                    <a:pt x="64577" y="154284"/>
                    <a:pt x="64895" y="154284"/>
                  </a:cubicBezTo>
                  <a:cubicBezTo>
                    <a:pt x="64577" y="154284"/>
                    <a:pt x="64259" y="154602"/>
                    <a:pt x="64259" y="154284"/>
                  </a:cubicBezTo>
                  <a:cubicBezTo>
                    <a:pt x="63940" y="154284"/>
                    <a:pt x="63304" y="153966"/>
                    <a:pt x="62668" y="153330"/>
                  </a:cubicBezTo>
                  <a:cubicBezTo>
                    <a:pt x="62350" y="153330"/>
                    <a:pt x="62350" y="153330"/>
                    <a:pt x="62350" y="153966"/>
                  </a:cubicBezTo>
                  <a:cubicBezTo>
                    <a:pt x="62350" y="154284"/>
                    <a:pt x="62032" y="154284"/>
                    <a:pt x="61396" y="154284"/>
                  </a:cubicBezTo>
                  <a:cubicBezTo>
                    <a:pt x="61077" y="154284"/>
                    <a:pt x="60759" y="153648"/>
                    <a:pt x="60123" y="153330"/>
                  </a:cubicBezTo>
                  <a:cubicBezTo>
                    <a:pt x="59805" y="153330"/>
                    <a:pt x="59487" y="153648"/>
                    <a:pt x="59169" y="153648"/>
                  </a:cubicBezTo>
                  <a:cubicBezTo>
                    <a:pt x="59487" y="153648"/>
                    <a:pt x="59487" y="153966"/>
                    <a:pt x="59487" y="153966"/>
                  </a:cubicBezTo>
                  <a:cubicBezTo>
                    <a:pt x="59805" y="154284"/>
                    <a:pt x="60123" y="154284"/>
                    <a:pt x="60123" y="154284"/>
                  </a:cubicBezTo>
                  <a:cubicBezTo>
                    <a:pt x="60441" y="154602"/>
                    <a:pt x="60123" y="155239"/>
                    <a:pt x="60123" y="155239"/>
                  </a:cubicBezTo>
                  <a:cubicBezTo>
                    <a:pt x="59487" y="155557"/>
                    <a:pt x="59169" y="155557"/>
                    <a:pt x="58851" y="155557"/>
                  </a:cubicBezTo>
                  <a:cubicBezTo>
                    <a:pt x="58533" y="155557"/>
                    <a:pt x="57896" y="155557"/>
                    <a:pt x="57260" y="155557"/>
                  </a:cubicBezTo>
                  <a:lnTo>
                    <a:pt x="56942" y="155557"/>
                  </a:lnTo>
                  <a:cubicBezTo>
                    <a:pt x="56942" y="155557"/>
                    <a:pt x="56942" y="155239"/>
                    <a:pt x="57260" y="155239"/>
                  </a:cubicBezTo>
                  <a:cubicBezTo>
                    <a:pt x="57260" y="154920"/>
                    <a:pt x="57260" y="154602"/>
                    <a:pt x="57260" y="154284"/>
                  </a:cubicBezTo>
                  <a:cubicBezTo>
                    <a:pt x="56624" y="154284"/>
                    <a:pt x="55988" y="154284"/>
                    <a:pt x="55988" y="153330"/>
                  </a:cubicBezTo>
                  <a:cubicBezTo>
                    <a:pt x="55988" y="153012"/>
                    <a:pt x="55988" y="152694"/>
                    <a:pt x="55670" y="152376"/>
                  </a:cubicBezTo>
                  <a:cubicBezTo>
                    <a:pt x="55670" y="151739"/>
                    <a:pt x="55352" y="151421"/>
                    <a:pt x="55033" y="151421"/>
                  </a:cubicBezTo>
                  <a:cubicBezTo>
                    <a:pt x="54715" y="151103"/>
                    <a:pt x="54397" y="151421"/>
                    <a:pt x="54397" y="151421"/>
                  </a:cubicBezTo>
                  <a:cubicBezTo>
                    <a:pt x="54079" y="151739"/>
                    <a:pt x="54079" y="152057"/>
                    <a:pt x="52806" y="151739"/>
                  </a:cubicBezTo>
                  <a:cubicBezTo>
                    <a:pt x="52806" y="151739"/>
                    <a:pt x="52170" y="151421"/>
                    <a:pt x="51852" y="151739"/>
                  </a:cubicBezTo>
                  <a:cubicBezTo>
                    <a:pt x="51534" y="152057"/>
                    <a:pt x="50262" y="152376"/>
                    <a:pt x="49625" y="152376"/>
                  </a:cubicBezTo>
                  <a:cubicBezTo>
                    <a:pt x="49625" y="152376"/>
                    <a:pt x="49625" y="152376"/>
                    <a:pt x="49307" y="152376"/>
                  </a:cubicBezTo>
                  <a:cubicBezTo>
                    <a:pt x="49625" y="152376"/>
                    <a:pt x="49625" y="152694"/>
                    <a:pt x="49625" y="152694"/>
                  </a:cubicBezTo>
                  <a:cubicBezTo>
                    <a:pt x="49625" y="152694"/>
                    <a:pt x="49944" y="152694"/>
                    <a:pt x="50580" y="152694"/>
                  </a:cubicBezTo>
                  <a:cubicBezTo>
                    <a:pt x="50898" y="152694"/>
                    <a:pt x="51216" y="152694"/>
                    <a:pt x="51534" y="152694"/>
                  </a:cubicBezTo>
                  <a:cubicBezTo>
                    <a:pt x="51534" y="153012"/>
                    <a:pt x="51852" y="153012"/>
                    <a:pt x="52170" y="153330"/>
                  </a:cubicBezTo>
                  <a:cubicBezTo>
                    <a:pt x="52488" y="153648"/>
                    <a:pt x="52170" y="153966"/>
                    <a:pt x="51852" y="153966"/>
                  </a:cubicBezTo>
                  <a:lnTo>
                    <a:pt x="51534" y="153966"/>
                  </a:lnTo>
                  <a:cubicBezTo>
                    <a:pt x="51216" y="153966"/>
                    <a:pt x="50898" y="153648"/>
                    <a:pt x="50580" y="153648"/>
                  </a:cubicBezTo>
                  <a:cubicBezTo>
                    <a:pt x="50262" y="153648"/>
                    <a:pt x="49625" y="153966"/>
                    <a:pt x="49625" y="153966"/>
                  </a:cubicBezTo>
                  <a:cubicBezTo>
                    <a:pt x="48671" y="153966"/>
                    <a:pt x="49625" y="154602"/>
                    <a:pt x="49625" y="155239"/>
                  </a:cubicBezTo>
                  <a:lnTo>
                    <a:pt x="49625" y="155557"/>
                  </a:lnTo>
                  <a:cubicBezTo>
                    <a:pt x="49307" y="155557"/>
                    <a:pt x="48353" y="156193"/>
                    <a:pt x="48671" y="155875"/>
                  </a:cubicBezTo>
                  <a:cubicBezTo>
                    <a:pt x="47717" y="155557"/>
                    <a:pt x="46444" y="156193"/>
                    <a:pt x="45808" y="156193"/>
                  </a:cubicBezTo>
                  <a:cubicBezTo>
                    <a:pt x="45172" y="156193"/>
                    <a:pt x="45172" y="156511"/>
                    <a:pt x="44854" y="156829"/>
                  </a:cubicBezTo>
                  <a:cubicBezTo>
                    <a:pt x="43899" y="157783"/>
                    <a:pt x="43899" y="157783"/>
                    <a:pt x="42945" y="157147"/>
                  </a:cubicBezTo>
                  <a:cubicBezTo>
                    <a:pt x="42627" y="156829"/>
                    <a:pt x="42627" y="156829"/>
                    <a:pt x="42309" y="156193"/>
                  </a:cubicBezTo>
                  <a:cubicBezTo>
                    <a:pt x="42627" y="156193"/>
                    <a:pt x="42627" y="156193"/>
                    <a:pt x="42627" y="156193"/>
                  </a:cubicBezTo>
                  <a:cubicBezTo>
                    <a:pt x="43899" y="155875"/>
                    <a:pt x="43899" y="155875"/>
                    <a:pt x="43581" y="155239"/>
                  </a:cubicBezTo>
                  <a:cubicBezTo>
                    <a:pt x="43263" y="155239"/>
                    <a:pt x="43263" y="155239"/>
                    <a:pt x="43263" y="154920"/>
                  </a:cubicBezTo>
                  <a:cubicBezTo>
                    <a:pt x="43899" y="154920"/>
                    <a:pt x="44854" y="154920"/>
                    <a:pt x="45172" y="154920"/>
                  </a:cubicBezTo>
                  <a:lnTo>
                    <a:pt x="45490" y="154284"/>
                  </a:lnTo>
                  <a:cubicBezTo>
                    <a:pt x="45172" y="153966"/>
                    <a:pt x="45172" y="153966"/>
                    <a:pt x="45172" y="153966"/>
                  </a:cubicBezTo>
                  <a:cubicBezTo>
                    <a:pt x="44854" y="153966"/>
                    <a:pt x="44218" y="153966"/>
                    <a:pt x="43899" y="153966"/>
                  </a:cubicBezTo>
                  <a:cubicBezTo>
                    <a:pt x="43263" y="153966"/>
                    <a:pt x="43263" y="154602"/>
                    <a:pt x="43263" y="154920"/>
                  </a:cubicBezTo>
                  <a:cubicBezTo>
                    <a:pt x="42945" y="154602"/>
                    <a:pt x="42309" y="154284"/>
                    <a:pt x="41673" y="153966"/>
                  </a:cubicBezTo>
                  <a:cubicBezTo>
                    <a:pt x="41673" y="153966"/>
                    <a:pt x="41673" y="153966"/>
                    <a:pt x="41673" y="154284"/>
                  </a:cubicBezTo>
                  <a:lnTo>
                    <a:pt x="41673" y="154602"/>
                  </a:lnTo>
                  <a:cubicBezTo>
                    <a:pt x="41673" y="155239"/>
                    <a:pt x="41991" y="155239"/>
                    <a:pt x="41991" y="155557"/>
                  </a:cubicBezTo>
                  <a:cubicBezTo>
                    <a:pt x="41355" y="155557"/>
                    <a:pt x="40718" y="155557"/>
                    <a:pt x="39446" y="155875"/>
                  </a:cubicBezTo>
                  <a:cubicBezTo>
                    <a:pt x="38491" y="156511"/>
                    <a:pt x="37855" y="156829"/>
                    <a:pt x="37219" y="155557"/>
                  </a:cubicBezTo>
                  <a:cubicBezTo>
                    <a:pt x="37219" y="155557"/>
                    <a:pt x="36901" y="155557"/>
                    <a:pt x="36583" y="155557"/>
                  </a:cubicBezTo>
                  <a:cubicBezTo>
                    <a:pt x="36583" y="155557"/>
                    <a:pt x="35629" y="155557"/>
                    <a:pt x="35310" y="155557"/>
                  </a:cubicBezTo>
                  <a:cubicBezTo>
                    <a:pt x="34992" y="155557"/>
                    <a:pt x="34992" y="155557"/>
                    <a:pt x="34992" y="155875"/>
                  </a:cubicBezTo>
                  <a:cubicBezTo>
                    <a:pt x="34356" y="156193"/>
                    <a:pt x="34356" y="156193"/>
                    <a:pt x="34674" y="156511"/>
                  </a:cubicBezTo>
                  <a:cubicBezTo>
                    <a:pt x="34674" y="156511"/>
                    <a:pt x="34674" y="156511"/>
                    <a:pt x="34674" y="156829"/>
                  </a:cubicBezTo>
                  <a:cubicBezTo>
                    <a:pt x="34992" y="157147"/>
                    <a:pt x="34992" y="158420"/>
                    <a:pt x="34038" y="158420"/>
                  </a:cubicBezTo>
                  <a:cubicBezTo>
                    <a:pt x="33084" y="159056"/>
                    <a:pt x="32129" y="159374"/>
                    <a:pt x="30857" y="158738"/>
                  </a:cubicBezTo>
                  <a:cubicBezTo>
                    <a:pt x="29903" y="158420"/>
                    <a:pt x="29584" y="158420"/>
                    <a:pt x="29266" y="158420"/>
                  </a:cubicBezTo>
                  <a:cubicBezTo>
                    <a:pt x="28630" y="158738"/>
                    <a:pt x="27994" y="158738"/>
                    <a:pt x="26721" y="158738"/>
                  </a:cubicBezTo>
                  <a:cubicBezTo>
                    <a:pt x="26085" y="158738"/>
                    <a:pt x="26085" y="158738"/>
                    <a:pt x="26403" y="158102"/>
                  </a:cubicBezTo>
                  <a:cubicBezTo>
                    <a:pt x="26403" y="157783"/>
                    <a:pt x="26403" y="157147"/>
                    <a:pt x="26085" y="157147"/>
                  </a:cubicBezTo>
                  <a:cubicBezTo>
                    <a:pt x="26085" y="157147"/>
                    <a:pt x="26085" y="156829"/>
                    <a:pt x="25767" y="156829"/>
                  </a:cubicBezTo>
                  <a:cubicBezTo>
                    <a:pt x="25449" y="156829"/>
                    <a:pt x="25131" y="156829"/>
                    <a:pt x="24813" y="157147"/>
                  </a:cubicBezTo>
                  <a:cubicBezTo>
                    <a:pt x="24495" y="157147"/>
                    <a:pt x="24495" y="157465"/>
                    <a:pt x="24176" y="157783"/>
                  </a:cubicBezTo>
                  <a:cubicBezTo>
                    <a:pt x="24495" y="157783"/>
                    <a:pt x="24495" y="158102"/>
                    <a:pt x="24813" y="158102"/>
                  </a:cubicBezTo>
                  <a:cubicBezTo>
                    <a:pt x="25449" y="158102"/>
                    <a:pt x="25449" y="158102"/>
                    <a:pt x="25449" y="158738"/>
                  </a:cubicBezTo>
                  <a:cubicBezTo>
                    <a:pt x="25449" y="159374"/>
                    <a:pt x="25449" y="159692"/>
                    <a:pt x="26085" y="159692"/>
                  </a:cubicBezTo>
                  <a:cubicBezTo>
                    <a:pt x="27040" y="159692"/>
                    <a:pt x="27676" y="159692"/>
                    <a:pt x="27676" y="160965"/>
                  </a:cubicBezTo>
                  <a:cubicBezTo>
                    <a:pt x="27676" y="160965"/>
                    <a:pt x="26721" y="160965"/>
                    <a:pt x="26403" y="160965"/>
                  </a:cubicBezTo>
                  <a:lnTo>
                    <a:pt x="26085" y="160965"/>
                  </a:lnTo>
                  <a:cubicBezTo>
                    <a:pt x="26403" y="160965"/>
                    <a:pt x="26403" y="160965"/>
                    <a:pt x="26403" y="160965"/>
                  </a:cubicBezTo>
                  <a:cubicBezTo>
                    <a:pt x="27040" y="160965"/>
                    <a:pt x="27676" y="160965"/>
                    <a:pt x="27676" y="160965"/>
                  </a:cubicBezTo>
                  <a:cubicBezTo>
                    <a:pt x="27676" y="160965"/>
                    <a:pt x="27994" y="160965"/>
                    <a:pt x="28312" y="160965"/>
                  </a:cubicBezTo>
                  <a:cubicBezTo>
                    <a:pt x="28630" y="160965"/>
                    <a:pt x="28948" y="161601"/>
                    <a:pt x="28630" y="161601"/>
                  </a:cubicBezTo>
                  <a:cubicBezTo>
                    <a:pt x="28630" y="161919"/>
                    <a:pt x="28312" y="161919"/>
                    <a:pt x="27994" y="161919"/>
                  </a:cubicBezTo>
                  <a:cubicBezTo>
                    <a:pt x="26721" y="162237"/>
                    <a:pt x="25767" y="161919"/>
                    <a:pt x="25131" y="161283"/>
                  </a:cubicBezTo>
                  <a:cubicBezTo>
                    <a:pt x="24495" y="161283"/>
                    <a:pt x="24176" y="160965"/>
                    <a:pt x="24176" y="160328"/>
                  </a:cubicBezTo>
                  <a:cubicBezTo>
                    <a:pt x="24176" y="159692"/>
                    <a:pt x="24495" y="159692"/>
                    <a:pt x="24495" y="159374"/>
                  </a:cubicBezTo>
                  <a:cubicBezTo>
                    <a:pt x="24495" y="159056"/>
                    <a:pt x="23858" y="159056"/>
                    <a:pt x="23540" y="159056"/>
                  </a:cubicBezTo>
                  <a:cubicBezTo>
                    <a:pt x="22904" y="159056"/>
                    <a:pt x="22268" y="159056"/>
                    <a:pt x="21950" y="158738"/>
                  </a:cubicBezTo>
                  <a:cubicBezTo>
                    <a:pt x="21632" y="158738"/>
                    <a:pt x="21314" y="159056"/>
                    <a:pt x="21314" y="159056"/>
                  </a:cubicBezTo>
                  <a:cubicBezTo>
                    <a:pt x="20995" y="159374"/>
                    <a:pt x="20041" y="159692"/>
                    <a:pt x="20041" y="159374"/>
                  </a:cubicBezTo>
                  <a:cubicBezTo>
                    <a:pt x="19087" y="159056"/>
                    <a:pt x="17814" y="159056"/>
                    <a:pt x="17178" y="158420"/>
                  </a:cubicBezTo>
                  <a:cubicBezTo>
                    <a:pt x="16542" y="158102"/>
                    <a:pt x="15588" y="158102"/>
                    <a:pt x="14315" y="157783"/>
                  </a:cubicBezTo>
                  <a:cubicBezTo>
                    <a:pt x="14315" y="157465"/>
                    <a:pt x="13679" y="158102"/>
                    <a:pt x="13679" y="158102"/>
                  </a:cubicBezTo>
                  <a:cubicBezTo>
                    <a:pt x="13679" y="158102"/>
                    <a:pt x="13997" y="158420"/>
                    <a:pt x="13997" y="158738"/>
                  </a:cubicBezTo>
                  <a:lnTo>
                    <a:pt x="13997" y="159056"/>
                  </a:lnTo>
                  <a:lnTo>
                    <a:pt x="13679" y="159374"/>
                  </a:lnTo>
                  <a:cubicBezTo>
                    <a:pt x="13361" y="159374"/>
                    <a:pt x="13043" y="159374"/>
                    <a:pt x="12406" y="159056"/>
                  </a:cubicBezTo>
                  <a:cubicBezTo>
                    <a:pt x="12406" y="158420"/>
                    <a:pt x="11452" y="158102"/>
                    <a:pt x="11134" y="157783"/>
                  </a:cubicBezTo>
                  <a:cubicBezTo>
                    <a:pt x="11134" y="157783"/>
                    <a:pt x="11134" y="158102"/>
                    <a:pt x="10816" y="158102"/>
                  </a:cubicBezTo>
                  <a:cubicBezTo>
                    <a:pt x="10816" y="158420"/>
                    <a:pt x="11134" y="159056"/>
                    <a:pt x="11452" y="159056"/>
                  </a:cubicBezTo>
                  <a:cubicBezTo>
                    <a:pt x="11770" y="159056"/>
                    <a:pt x="12406" y="159056"/>
                    <a:pt x="12406" y="159056"/>
                  </a:cubicBezTo>
                  <a:cubicBezTo>
                    <a:pt x="12724" y="159374"/>
                    <a:pt x="12724" y="159692"/>
                    <a:pt x="13043" y="159692"/>
                  </a:cubicBezTo>
                  <a:cubicBezTo>
                    <a:pt x="13361" y="159692"/>
                    <a:pt x="13997" y="159692"/>
                    <a:pt x="14315" y="159692"/>
                  </a:cubicBezTo>
                  <a:cubicBezTo>
                    <a:pt x="14951" y="159692"/>
                    <a:pt x="14951" y="159692"/>
                    <a:pt x="14951" y="159692"/>
                  </a:cubicBezTo>
                  <a:cubicBezTo>
                    <a:pt x="15906" y="158738"/>
                    <a:pt x="15906" y="158738"/>
                    <a:pt x="16542" y="159374"/>
                  </a:cubicBezTo>
                  <a:lnTo>
                    <a:pt x="16224" y="159692"/>
                  </a:lnTo>
                  <a:cubicBezTo>
                    <a:pt x="17178" y="160328"/>
                    <a:pt x="17814" y="160965"/>
                    <a:pt x="19723" y="160965"/>
                  </a:cubicBezTo>
                  <a:cubicBezTo>
                    <a:pt x="20359" y="160965"/>
                    <a:pt x="20995" y="160965"/>
                    <a:pt x="21314" y="161283"/>
                  </a:cubicBezTo>
                  <a:cubicBezTo>
                    <a:pt x="21950" y="161601"/>
                    <a:pt x="22586" y="161283"/>
                    <a:pt x="22586" y="161919"/>
                  </a:cubicBezTo>
                  <a:cubicBezTo>
                    <a:pt x="22586" y="162555"/>
                    <a:pt x="21632" y="162555"/>
                    <a:pt x="20995" y="162555"/>
                  </a:cubicBezTo>
                  <a:cubicBezTo>
                    <a:pt x="20677" y="162555"/>
                    <a:pt x="19723" y="162555"/>
                    <a:pt x="19405" y="162555"/>
                  </a:cubicBezTo>
                  <a:cubicBezTo>
                    <a:pt x="18132" y="162555"/>
                    <a:pt x="17814" y="162237"/>
                    <a:pt x="17496" y="161601"/>
                  </a:cubicBezTo>
                  <a:cubicBezTo>
                    <a:pt x="17178" y="160965"/>
                    <a:pt x="16860" y="160965"/>
                    <a:pt x="16860" y="160965"/>
                  </a:cubicBezTo>
                  <a:cubicBezTo>
                    <a:pt x="16542" y="160646"/>
                    <a:pt x="16224" y="160328"/>
                    <a:pt x="16224" y="160646"/>
                  </a:cubicBezTo>
                  <a:cubicBezTo>
                    <a:pt x="16224" y="160965"/>
                    <a:pt x="16224" y="160965"/>
                    <a:pt x="16224" y="160965"/>
                  </a:cubicBezTo>
                  <a:cubicBezTo>
                    <a:pt x="16224" y="161283"/>
                    <a:pt x="16224" y="161919"/>
                    <a:pt x="16542" y="161919"/>
                  </a:cubicBezTo>
                  <a:cubicBezTo>
                    <a:pt x="16542" y="162237"/>
                    <a:pt x="16542" y="162555"/>
                    <a:pt x="16224" y="162555"/>
                  </a:cubicBezTo>
                  <a:cubicBezTo>
                    <a:pt x="16224" y="162555"/>
                    <a:pt x="16224" y="162555"/>
                    <a:pt x="15906" y="162555"/>
                  </a:cubicBezTo>
                  <a:cubicBezTo>
                    <a:pt x="15269" y="162555"/>
                    <a:pt x="14951" y="161919"/>
                    <a:pt x="13997" y="161919"/>
                  </a:cubicBezTo>
                  <a:cubicBezTo>
                    <a:pt x="13997" y="161919"/>
                    <a:pt x="13679" y="162237"/>
                    <a:pt x="13679" y="162555"/>
                  </a:cubicBezTo>
                  <a:cubicBezTo>
                    <a:pt x="13361" y="163509"/>
                    <a:pt x="13043" y="163828"/>
                    <a:pt x="12406" y="163509"/>
                  </a:cubicBezTo>
                  <a:cubicBezTo>
                    <a:pt x="11770" y="163509"/>
                    <a:pt x="11770" y="163191"/>
                    <a:pt x="11134" y="163191"/>
                  </a:cubicBezTo>
                  <a:cubicBezTo>
                    <a:pt x="9861" y="162873"/>
                    <a:pt x="9225" y="162873"/>
                    <a:pt x="8271" y="162873"/>
                  </a:cubicBezTo>
                  <a:cubicBezTo>
                    <a:pt x="7953" y="162555"/>
                    <a:pt x="7635" y="162555"/>
                    <a:pt x="7317" y="162237"/>
                  </a:cubicBezTo>
                  <a:cubicBezTo>
                    <a:pt x="6680" y="161283"/>
                    <a:pt x="5408" y="160646"/>
                    <a:pt x="5090" y="160328"/>
                  </a:cubicBezTo>
                  <a:cubicBezTo>
                    <a:pt x="4454" y="159374"/>
                    <a:pt x="4454" y="158738"/>
                    <a:pt x="4454" y="157783"/>
                  </a:cubicBezTo>
                  <a:cubicBezTo>
                    <a:pt x="4454" y="157465"/>
                    <a:pt x="4772" y="157147"/>
                    <a:pt x="5408" y="157147"/>
                  </a:cubicBezTo>
                  <a:cubicBezTo>
                    <a:pt x="5408" y="157465"/>
                    <a:pt x="5408" y="157465"/>
                    <a:pt x="5726" y="157783"/>
                  </a:cubicBezTo>
                  <a:cubicBezTo>
                    <a:pt x="6998" y="157783"/>
                    <a:pt x="7317" y="157783"/>
                    <a:pt x="7317" y="157783"/>
                  </a:cubicBezTo>
                  <a:cubicBezTo>
                    <a:pt x="6998" y="157465"/>
                    <a:pt x="6998" y="156829"/>
                    <a:pt x="6362" y="156511"/>
                  </a:cubicBezTo>
                  <a:cubicBezTo>
                    <a:pt x="5408" y="156511"/>
                    <a:pt x="5726" y="156193"/>
                    <a:pt x="5090" y="156511"/>
                  </a:cubicBezTo>
                  <a:cubicBezTo>
                    <a:pt x="4454" y="156511"/>
                    <a:pt x="4454" y="156193"/>
                    <a:pt x="4454" y="156193"/>
                  </a:cubicBezTo>
                  <a:cubicBezTo>
                    <a:pt x="4135" y="154602"/>
                    <a:pt x="2863" y="153012"/>
                    <a:pt x="2545" y="151421"/>
                  </a:cubicBezTo>
                  <a:cubicBezTo>
                    <a:pt x="2227" y="150467"/>
                    <a:pt x="1909" y="150149"/>
                    <a:pt x="1909" y="149194"/>
                  </a:cubicBezTo>
                  <a:cubicBezTo>
                    <a:pt x="1909" y="148876"/>
                    <a:pt x="2227" y="148558"/>
                    <a:pt x="1909" y="148240"/>
                  </a:cubicBezTo>
                  <a:cubicBezTo>
                    <a:pt x="318" y="146968"/>
                    <a:pt x="636" y="145377"/>
                    <a:pt x="318" y="143787"/>
                  </a:cubicBezTo>
                  <a:cubicBezTo>
                    <a:pt x="0" y="143150"/>
                    <a:pt x="318" y="142514"/>
                    <a:pt x="0" y="141560"/>
                  </a:cubicBezTo>
                  <a:cubicBezTo>
                    <a:pt x="0" y="140605"/>
                    <a:pt x="318" y="140287"/>
                    <a:pt x="636" y="139333"/>
                  </a:cubicBezTo>
                  <a:cubicBezTo>
                    <a:pt x="1273" y="138697"/>
                    <a:pt x="1273" y="138061"/>
                    <a:pt x="1909" y="137424"/>
                  </a:cubicBezTo>
                  <a:cubicBezTo>
                    <a:pt x="1909" y="136470"/>
                    <a:pt x="2227" y="135834"/>
                    <a:pt x="3181" y="135516"/>
                  </a:cubicBezTo>
                  <a:cubicBezTo>
                    <a:pt x="4135" y="134879"/>
                    <a:pt x="4454" y="134243"/>
                    <a:pt x="5090" y="133607"/>
                  </a:cubicBezTo>
                  <a:cubicBezTo>
                    <a:pt x="5408" y="132971"/>
                    <a:pt x="6362" y="132016"/>
                    <a:pt x="6998" y="131380"/>
                  </a:cubicBezTo>
                  <a:cubicBezTo>
                    <a:pt x="7317" y="130744"/>
                    <a:pt x="7635" y="130744"/>
                    <a:pt x="7953" y="130744"/>
                  </a:cubicBezTo>
                  <a:cubicBezTo>
                    <a:pt x="9861" y="130108"/>
                    <a:pt x="9861" y="130108"/>
                    <a:pt x="10816" y="128835"/>
                  </a:cubicBezTo>
                  <a:cubicBezTo>
                    <a:pt x="11452" y="128517"/>
                    <a:pt x="11770" y="127881"/>
                    <a:pt x="12724" y="127563"/>
                  </a:cubicBezTo>
                  <a:cubicBezTo>
                    <a:pt x="12724" y="127245"/>
                    <a:pt x="13361" y="126927"/>
                    <a:pt x="13997" y="126609"/>
                  </a:cubicBezTo>
                  <a:cubicBezTo>
                    <a:pt x="14315" y="125654"/>
                    <a:pt x="15588" y="125336"/>
                    <a:pt x="16860" y="124382"/>
                  </a:cubicBezTo>
                  <a:cubicBezTo>
                    <a:pt x="17178" y="124382"/>
                    <a:pt x="17814" y="124064"/>
                    <a:pt x="18132" y="124700"/>
                  </a:cubicBezTo>
                  <a:cubicBezTo>
                    <a:pt x="18450" y="125654"/>
                    <a:pt x="19405" y="125336"/>
                    <a:pt x="20041" y="125018"/>
                  </a:cubicBezTo>
                  <a:cubicBezTo>
                    <a:pt x="20995" y="124382"/>
                    <a:pt x="22268" y="123746"/>
                    <a:pt x="23858" y="123109"/>
                  </a:cubicBezTo>
                  <a:cubicBezTo>
                    <a:pt x="24495" y="122791"/>
                    <a:pt x="24813" y="122473"/>
                    <a:pt x="25449" y="122791"/>
                  </a:cubicBezTo>
                  <a:cubicBezTo>
                    <a:pt x="25767" y="123427"/>
                    <a:pt x="26721" y="123109"/>
                    <a:pt x="27994" y="123109"/>
                  </a:cubicBezTo>
                  <a:cubicBezTo>
                    <a:pt x="28312" y="123109"/>
                    <a:pt x="28312" y="122791"/>
                    <a:pt x="28630" y="122473"/>
                  </a:cubicBezTo>
                  <a:cubicBezTo>
                    <a:pt x="29266" y="121519"/>
                    <a:pt x="29584" y="121519"/>
                    <a:pt x="30221" y="122473"/>
                  </a:cubicBezTo>
                  <a:cubicBezTo>
                    <a:pt x="30857" y="122473"/>
                    <a:pt x="30857" y="122791"/>
                    <a:pt x="30221" y="123109"/>
                  </a:cubicBezTo>
                  <a:cubicBezTo>
                    <a:pt x="28630" y="123427"/>
                    <a:pt x="27040" y="124382"/>
                    <a:pt x="25449" y="125018"/>
                  </a:cubicBezTo>
                  <a:cubicBezTo>
                    <a:pt x="25449" y="125018"/>
                    <a:pt x="24813" y="125336"/>
                    <a:pt x="25131" y="125654"/>
                  </a:cubicBezTo>
                  <a:cubicBezTo>
                    <a:pt x="25449" y="125654"/>
                    <a:pt x="25449" y="126290"/>
                    <a:pt x="25449" y="126609"/>
                  </a:cubicBezTo>
                  <a:cubicBezTo>
                    <a:pt x="25767" y="127245"/>
                    <a:pt x="25767" y="127563"/>
                    <a:pt x="25131" y="127881"/>
                  </a:cubicBezTo>
                  <a:cubicBezTo>
                    <a:pt x="25131" y="128199"/>
                    <a:pt x="25131" y="128517"/>
                    <a:pt x="25131" y="128517"/>
                  </a:cubicBezTo>
                  <a:cubicBezTo>
                    <a:pt x="25131" y="128835"/>
                    <a:pt x="25131" y="129153"/>
                    <a:pt x="25131" y="129472"/>
                  </a:cubicBezTo>
                  <a:cubicBezTo>
                    <a:pt x="24813" y="130108"/>
                    <a:pt x="24813" y="130108"/>
                    <a:pt x="25131" y="130108"/>
                  </a:cubicBezTo>
                  <a:cubicBezTo>
                    <a:pt x="25767" y="130426"/>
                    <a:pt x="25767" y="130744"/>
                    <a:pt x="26403" y="131380"/>
                  </a:cubicBezTo>
                  <a:cubicBezTo>
                    <a:pt x="26403" y="131698"/>
                    <a:pt x="26403" y="132016"/>
                    <a:pt x="25767" y="132335"/>
                  </a:cubicBezTo>
                  <a:cubicBezTo>
                    <a:pt x="25767" y="132335"/>
                    <a:pt x="25767" y="132335"/>
                    <a:pt x="25767" y="132653"/>
                  </a:cubicBezTo>
                  <a:cubicBezTo>
                    <a:pt x="23540" y="133289"/>
                    <a:pt x="21314" y="134561"/>
                    <a:pt x="19405" y="136152"/>
                  </a:cubicBezTo>
                  <a:cubicBezTo>
                    <a:pt x="18450" y="136788"/>
                    <a:pt x="18132" y="136788"/>
                    <a:pt x="19087" y="137742"/>
                  </a:cubicBezTo>
                  <a:cubicBezTo>
                    <a:pt x="19087" y="138379"/>
                    <a:pt x="18132" y="139015"/>
                    <a:pt x="17814" y="139651"/>
                  </a:cubicBezTo>
                  <a:cubicBezTo>
                    <a:pt x="17814" y="140287"/>
                    <a:pt x="18132" y="140605"/>
                    <a:pt x="19087" y="140605"/>
                  </a:cubicBezTo>
                  <a:cubicBezTo>
                    <a:pt x="20041" y="140605"/>
                    <a:pt x="20995" y="140605"/>
                    <a:pt x="21950" y="140605"/>
                  </a:cubicBezTo>
                  <a:cubicBezTo>
                    <a:pt x="22586" y="140605"/>
                    <a:pt x="23858" y="140924"/>
                    <a:pt x="24813" y="140605"/>
                  </a:cubicBezTo>
                  <a:cubicBezTo>
                    <a:pt x="25131" y="140605"/>
                    <a:pt x="25767" y="140605"/>
                    <a:pt x="26085" y="140605"/>
                  </a:cubicBezTo>
                  <a:cubicBezTo>
                    <a:pt x="27040" y="140924"/>
                    <a:pt x="27994" y="140605"/>
                    <a:pt x="28948" y="140605"/>
                  </a:cubicBezTo>
                  <a:cubicBezTo>
                    <a:pt x="29266" y="140605"/>
                    <a:pt x="29903" y="140605"/>
                    <a:pt x="30221" y="140605"/>
                  </a:cubicBezTo>
                  <a:cubicBezTo>
                    <a:pt x="30539" y="140605"/>
                    <a:pt x="30857" y="140605"/>
                    <a:pt x="31175" y="140605"/>
                  </a:cubicBezTo>
                  <a:cubicBezTo>
                    <a:pt x="32129" y="140287"/>
                    <a:pt x="32447" y="140287"/>
                    <a:pt x="33084" y="140605"/>
                  </a:cubicBezTo>
                  <a:cubicBezTo>
                    <a:pt x="33402" y="140605"/>
                    <a:pt x="33720" y="140605"/>
                    <a:pt x="34038" y="140605"/>
                  </a:cubicBezTo>
                  <a:cubicBezTo>
                    <a:pt x="36265" y="139969"/>
                    <a:pt x="38173" y="139651"/>
                    <a:pt x="39764" y="139333"/>
                  </a:cubicBezTo>
                  <a:cubicBezTo>
                    <a:pt x="40718" y="139333"/>
                    <a:pt x="41355" y="139333"/>
                    <a:pt x="41991" y="139015"/>
                  </a:cubicBezTo>
                  <a:cubicBezTo>
                    <a:pt x="42627" y="139015"/>
                    <a:pt x="43263" y="138697"/>
                    <a:pt x="43263" y="138697"/>
                  </a:cubicBezTo>
                  <a:cubicBezTo>
                    <a:pt x="45172" y="138061"/>
                    <a:pt x="47081" y="137742"/>
                    <a:pt x="48353" y="137742"/>
                  </a:cubicBezTo>
                  <a:cubicBezTo>
                    <a:pt x="49625" y="137742"/>
                    <a:pt x="49944" y="137106"/>
                    <a:pt x="50898" y="137106"/>
                  </a:cubicBezTo>
                  <a:cubicBezTo>
                    <a:pt x="54397" y="136470"/>
                    <a:pt x="57896" y="135198"/>
                    <a:pt x="60759" y="134243"/>
                  </a:cubicBezTo>
                  <a:cubicBezTo>
                    <a:pt x="62032" y="133925"/>
                    <a:pt x="63304" y="133289"/>
                    <a:pt x="64259" y="133289"/>
                  </a:cubicBezTo>
                  <a:cubicBezTo>
                    <a:pt x="66803" y="132335"/>
                    <a:pt x="69348" y="131062"/>
                    <a:pt x="72211" y="129790"/>
                  </a:cubicBezTo>
                  <a:cubicBezTo>
                    <a:pt x="73802" y="129153"/>
                    <a:pt x="75711" y="128199"/>
                    <a:pt x="76665" y="126927"/>
                  </a:cubicBezTo>
                  <a:cubicBezTo>
                    <a:pt x="77301" y="126290"/>
                    <a:pt x="78255" y="125972"/>
                    <a:pt x="79210" y="125654"/>
                  </a:cubicBezTo>
                  <a:cubicBezTo>
                    <a:pt x="80482" y="125018"/>
                    <a:pt x="80800" y="124382"/>
                    <a:pt x="81437" y="123427"/>
                  </a:cubicBezTo>
                  <a:cubicBezTo>
                    <a:pt x="81755" y="123109"/>
                    <a:pt x="82073" y="122473"/>
                    <a:pt x="82391" y="122155"/>
                  </a:cubicBezTo>
                  <a:cubicBezTo>
                    <a:pt x="82391" y="122155"/>
                    <a:pt x="82391" y="121837"/>
                    <a:pt x="82073" y="121837"/>
                  </a:cubicBezTo>
                  <a:cubicBezTo>
                    <a:pt x="81119" y="121519"/>
                    <a:pt x="81119" y="121201"/>
                    <a:pt x="80164" y="120882"/>
                  </a:cubicBezTo>
                  <a:cubicBezTo>
                    <a:pt x="79210" y="120564"/>
                    <a:pt x="77937" y="120246"/>
                    <a:pt x="77937" y="119292"/>
                  </a:cubicBezTo>
                  <a:cubicBezTo>
                    <a:pt x="77937" y="118974"/>
                    <a:pt x="77301" y="118974"/>
                    <a:pt x="76983" y="118974"/>
                  </a:cubicBezTo>
                  <a:cubicBezTo>
                    <a:pt x="75074" y="118974"/>
                    <a:pt x="73484" y="118019"/>
                    <a:pt x="71575" y="117065"/>
                  </a:cubicBezTo>
                  <a:cubicBezTo>
                    <a:pt x="70621" y="116747"/>
                    <a:pt x="69667" y="115793"/>
                    <a:pt x="68394" y="116111"/>
                  </a:cubicBezTo>
                  <a:cubicBezTo>
                    <a:pt x="68076" y="116111"/>
                    <a:pt x="67758" y="115793"/>
                    <a:pt x="67440" y="115793"/>
                  </a:cubicBezTo>
                  <a:cubicBezTo>
                    <a:pt x="67122" y="115793"/>
                    <a:pt x="67122" y="115475"/>
                    <a:pt x="67440" y="114838"/>
                  </a:cubicBezTo>
                  <a:cubicBezTo>
                    <a:pt x="67440" y="114520"/>
                    <a:pt x="66803" y="114202"/>
                    <a:pt x="66485" y="114202"/>
                  </a:cubicBezTo>
                  <a:cubicBezTo>
                    <a:pt x="64895" y="114838"/>
                    <a:pt x="64259" y="114520"/>
                    <a:pt x="62986" y="113884"/>
                  </a:cubicBezTo>
                  <a:cubicBezTo>
                    <a:pt x="62668" y="113566"/>
                    <a:pt x="62032" y="113884"/>
                    <a:pt x="61396" y="114202"/>
                  </a:cubicBezTo>
                  <a:cubicBezTo>
                    <a:pt x="60441" y="113884"/>
                    <a:pt x="59805" y="112930"/>
                    <a:pt x="59169" y="112293"/>
                  </a:cubicBezTo>
                  <a:cubicBezTo>
                    <a:pt x="58533" y="111339"/>
                    <a:pt x="58214" y="111339"/>
                    <a:pt x="56942" y="111657"/>
                  </a:cubicBezTo>
                  <a:lnTo>
                    <a:pt x="56624" y="111339"/>
                  </a:lnTo>
                  <a:lnTo>
                    <a:pt x="56624" y="111021"/>
                  </a:lnTo>
                  <a:cubicBezTo>
                    <a:pt x="56942" y="110703"/>
                    <a:pt x="56942" y="110385"/>
                    <a:pt x="56942" y="110385"/>
                  </a:cubicBezTo>
                  <a:cubicBezTo>
                    <a:pt x="56306" y="109430"/>
                    <a:pt x="55352" y="109749"/>
                    <a:pt x="54715" y="109749"/>
                  </a:cubicBezTo>
                  <a:cubicBezTo>
                    <a:pt x="54397" y="109749"/>
                    <a:pt x="54079" y="110067"/>
                    <a:pt x="54079" y="110385"/>
                  </a:cubicBezTo>
                  <a:cubicBezTo>
                    <a:pt x="54079" y="110385"/>
                    <a:pt x="54079" y="111021"/>
                    <a:pt x="53761" y="111021"/>
                  </a:cubicBezTo>
                  <a:cubicBezTo>
                    <a:pt x="52806" y="111021"/>
                    <a:pt x="51852" y="111339"/>
                    <a:pt x="50580" y="111021"/>
                  </a:cubicBezTo>
                  <a:cubicBezTo>
                    <a:pt x="50580" y="111021"/>
                    <a:pt x="50580" y="111021"/>
                    <a:pt x="50580" y="111339"/>
                  </a:cubicBezTo>
                  <a:lnTo>
                    <a:pt x="50262" y="111657"/>
                  </a:lnTo>
                  <a:cubicBezTo>
                    <a:pt x="49625" y="111339"/>
                    <a:pt x="48671" y="111021"/>
                    <a:pt x="48671" y="110385"/>
                  </a:cubicBezTo>
                  <a:cubicBezTo>
                    <a:pt x="48671" y="110067"/>
                    <a:pt x="48353" y="109749"/>
                    <a:pt x="48353" y="109749"/>
                  </a:cubicBezTo>
                  <a:cubicBezTo>
                    <a:pt x="47399" y="109430"/>
                    <a:pt x="46444" y="108794"/>
                    <a:pt x="45808" y="108158"/>
                  </a:cubicBezTo>
                  <a:cubicBezTo>
                    <a:pt x="45808" y="108158"/>
                    <a:pt x="45490" y="108476"/>
                    <a:pt x="45172" y="108476"/>
                  </a:cubicBezTo>
                  <a:cubicBezTo>
                    <a:pt x="45172" y="109112"/>
                    <a:pt x="45172" y="109430"/>
                    <a:pt x="45172" y="109430"/>
                  </a:cubicBezTo>
                  <a:cubicBezTo>
                    <a:pt x="45172" y="109749"/>
                    <a:pt x="45490" y="109749"/>
                    <a:pt x="45490" y="109749"/>
                  </a:cubicBezTo>
                  <a:cubicBezTo>
                    <a:pt x="46126" y="109749"/>
                    <a:pt x="46444" y="109749"/>
                    <a:pt x="46762" y="109749"/>
                  </a:cubicBezTo>
                  <a:cubicBezTo>
                    <a:pt x="47081" y="109749"/>
                    <a:pt x="47081" y="110067"/>
                    <a:pt x="47081" y="110385"/>
                  </a:cubicBezTo>
                  <a:cubicBezTo>
                    <a:pt x="46762" y="110385"/>
                    <a:pt x="46444" y="110703"/>
                    <a:pt x="46444" y="111021"/>
                  </a:cubicBezTo>
                  <a:cubicBezTo>
                    <a:pt x="46762" y="111021"/>
                    <a:pt x="47081" y="111339"/>
                    <a:pt x="47081" y="111339"/>
                  </a:cubicBezTo>
                  <a:cubicBezTo>
                    <a:pt x="47081" y="111339"/>
                    <a:pt x="47081" y="111657"/>
                    <a:pt x="47399" y="111657"/>
                  </a:cubicBezTo>
                  <a:cubicBezTo>
                    <a:pt x="47081" y="111657"/>
                    <a:pt x="47081" y="111657"/>
                    <a:pt x="46444" y="111657"/>
                  </a:cubicBezTo>
                  <a:cubicBezTo>
                    <a:pt x="45808" y="111339"/>
                    <a:pt x="45172" y="111339"/>
                    <a:pt x="45172" y="110703"/>
                  </a:cubicBezTo>
                  <a:cubicBezTo>
                    <a:pt x="44218" y="110385"/>
                    <a:pt x="43581" y="110067"/>
                    <a:pt x="43581" y="109430"/>
                  </a:cubicBezTo>
                  <a:cubicBezTo>
                    <a:pt x="43581" y="109430"/>
                    <a:pt x="43581" y="109112"/>
                    <a:pt x="43581" y="108794"/>
                  </a:cubicBezTo>
                  <a:cubicBezTo>
                    <a:pt x="42945" y="108476"/>
                    <a:pt x="42627" y="108158"/>
                    <a:pt x="41991" y="108158"/>
                  </a:cubicBezTo>
                  <a:cubicBezTo>
                    <a:pt x="41673" y="108158"/>
                    <a:pt x="41355" y="108158"/>
                    <a:pt x="41036" y="108158"/>
                  </a:cubicBezTo>
                  <a:cubicBezTo>
                    <a:pt x="40718" y="108158"/>
                    <a:pt x="39764" y="108158"/>
                    <a:pt x="39128" y="108158"/>
                  </a:cubicBezTo>
                  <a:cubicBezTo>
                    <a:pt x="39128" y="108158"/>
                    <a:pt x="39128" y="108158"/>
                    <a:pt x="38810" y="108158"/>
                  </a:cubicBezTo>
                  <a:cubicBezTo>
                    <a:pt x="37855" y="108794"/>
                    <a:pt x="37537" y="108794"/>
                    <a:pt x="37537" y="108158"/>
                  </a:cubicBezTo>
                  <a:cubicBezTo>
                    <a:pt x="37537" y="107840"/>
                    <a:pt x="37537" y="107522"/>
                    <a:pt x="37537" y="107522"/>
                  </a:cubicBezTo>
                  <a:cubicBezTo>
                    <a:pt x="36583" y="106886"/>
                    <a:pt x="36265" y="106567"/>
                    <a:pt x="35629" y="106249"/>
                  </a:cubicBezTo>
                  <a:cubicBezTo>
                    <a:pt x="35310" y="106249"/>
                    <a:pt x="34992" y="106249"/>
                    <a:pt x="34674" y="106249"/>
                  </a:cubicBezTo>
                  <a:cubicBezTo>
                    <a:pt x="34356" y="105931"/>
                    <a:pt x="34038" y="104977"/>
                    <a:pt x="33402" y="104977"/>
                  </a:cubicBezTo>
                  <a:cubicBezTo>
                    <a:pt x="32765" y="104659"/>
                    <a:pt x="31493" y="104977"/>
                    <a:pt x="31175" y="104023"/>
                  </a:cubicBezTo>
                  <a:cubicBezTo>
                    <a:pt x="30857" y="104023"/>
                    <a:pt x="30221" y="104023"/>
                    <a:pt x="29903" y="104023"/>
                  </a:cubicBezTo>
                  <a:cubicBezTo>
                    <a:pt x="27994" y="103386"/>
                    <a:pt x="25449" y="101796"/>
                    <a:pt x="23858" y="100841"/>
                  </a:cubicBezTo>
                  <a:cubicBezTo>
                    <a:pt x="22268" y="100205"/>
                    <a:pt x="21314" y="98933"/>
                    <a:pt x="20041" y="98933"/>
                  </a:cubicBezTo>
                  <a:cubicBezTo>
                    <a:pt x="19723" y="98933"/>
                    <a:pt x="19405" y="98615"/>
                    <a:pt x="19405" y="97978"/>
                  </a:cubicBezTo>
                  <a:cubicBezTo>
                    <a:pt x="19405" y="97660"/>
                    <a:pt x="19087" y="97342"/>
                    <a:pt x="18132" y="97024"/>
                  </a:cubicBezTo>
                  <a:cubicBezTo>
                    <a:pt x="17496" y="96388"/>
                    <a:pt x="16860" y="95752"/>
                    <a:pt x="16542" y="94797"/>
                  </a:cubicBezTo>
                  <a:cubicBezTo>
                    <a:pt x="15906" y="94479"/>
                    <a:pt x="15588" y="93525"/>
                    <a:pt x="15269" y="93207"/>
                  </a:cubicBezTo>
                  <a:cubicBezTo>
                    <a:pt x="13997" y="92571"/>
                    <a:pt x="13043" y="91616"/>
                    <a:pt x="12088" y="90980"/>
                  </a:cubicBezTo>
                  <a:cubicBezTo>
                    <a:pt x="12406" y="90344"/>
                    <a:pt x="11770" y="90026"/>
                    <a:pt x="11134" y="89708"/>
                  </a:cubicBezTo>
                  <a:lnTo>
                    <a:pt x="11134" y="89389"/>
                  </a:lnTo>
                  <a:cubicBezTo>
                    <a:pt x="11134" y="88117"/>
                    <a:pt x="10498" y="88117"/>
                    <a:pt x="9543" y="87799"/>
                  </a:cubicBezTo>
                  <a:cubicBezTo>
                    <a:pt x="8271" y="86526"/>
                    <a:pt x="7317" y="85254"/>
                    <a:pt x="6680" y="83345"/>
                  </a:cubicBezTo>
                  <a:cubicBezTo>
                    <a:pt x="6998" y="83027"/>
                    <a:pt x="6680" y="82391"/>
                    <a:pt x="6680" y="82073"/>
                  </a:cubicBezTo>
                  <a:cubicBezTo>
                    <a:pt x="5408" y="81119"/>
                    <a:pt x="5408" y="80164"/>
                    <a:pt x="5726" y="79210"/>
                  </a:cubicBezTo>
                  <a:cubicBezTo>
                    <a:pt x="5726" y="78256"/>
                    <a:pt x="5408" y="77937"/>
                    <a:pt x="5090" y="77619"/>
                  </a:cubicBezTo>
                  <a:cubicBezTo>
                    <a:pt x="4772" y="75711"/>
                    <a:pt x="4454" y="73484"/>
                    <a:pt x="3817" y="71893"/>
                  </a:cubicBezTo>
                  <a:cubicBezTo>
                    <a:pt x="3817" y="71257"/>
                    <a:pt x="3817" y="70939"/>
                    <a:pt x="3817" y="70303"/>
                  </a:cubicBezTo>
                  <a:cubicBezTo>
                    <a:pt x="3817" y="69985"/>
                    <a:pt x="3817" y="69666"/>
                    <a:pt x="3817" y="69030"/>
                  </a:cubicBezTo>
                  <a:cubicBezTo>
                    <a:pt x="3181" y="68076"/>
                    <a:pt x="2863" y="67122"/>
                    <a:pt x="2863" y="65849"/>
                  </a:cubicBezTo>
                  <a:cubicBezTo>
                    <a:pt x="3181" y="64259"/>
                    <a:pt x="3181" y="62668"/>
                    <a:pt x="3181" y="61396"/>
                  </a:cubicBezTo>
                  <a:cubicBezTo>
                    <a:pt x="3499" y="60759"/>
                    <a:pt x="3499" y="60123"/>
                    <a:pt x="3817" y="59805"/>
                  </a:cubicBezTo>
                  <a:cubicBezTo>
                    <a:pt x="3817" y="58533"/>
                    <a:pt x="4135" y="57578"/>
                    <a:pt x="4454" y="56624"/>
                  </a:cubicBezTo>
                  <a:cubicBezTo>
                    <a:pt x="4772" y="54715"/>
                    <a:pt x="5726" y="52807"/>
                    <a:pt x="6998" y="50898"/>
                  </a:cubicBezTo>
                  <a:cubicBezTo>
                    <a:pt x="7635" y="50262"/>
                    <a:pt x="7953" y="49307"/>
                    <a:pt x="8589" y="48989"/>
                  </a:cubicBezTo>
                  <a:cubicBezTo>
                    <a:pt x="8589" y="48671"/>
                    <a:pt x="8589" y="48353"/>
                    <a:pt x="8589" y="48035"/>
                  </a:cubicBezTo>
                  <a:cubicBezTo>
                    <a:pt x="8271" y="47399"/>
                    <a:pt x="8907" y="46762"/>
                    <a:pt x="9543" y="46444"/>
                  </a:cubicBezTo>
                  <a:cubicBezTo>
                    <a:pt x="10816" y="45172"/>
                    <a:pt x="11452" y="44536"/>
                    <a:pt x="11770" y="43263"/>
                  </a:cubicBezTo>
                  <a:cubicBezTo>
                    <a:pt x="12088" y="42627"/>
                    <a:pt x="12406" y="42309"/>
                    <a:pt x="12724" y="41991"/>
                  </a:cubicBezTo>
                  <a:cubicBezTo>
                    <a:pt x="13043" y="41355"/>
                    <a:pt x="13679" y="40718"/>
                    <a:pt x="13679" y="40082"/>
                  </a:cubicBezTo>
                  <a:cubicBezTo>
                    <a:pt x="14315" y="39446"/>
                    <a:pt x="15269" y="39128"/>
                    <a:pt x="15906" y="39128"/>
                  </a:cubicBezTo>
                  <a:cubicBezTo>
                    <a:pt x="16224" y="39128"/>
                    <a:pt x="16224" y="39128"/>
                    <a:pt x="16224" y="39128"/>
                  </a:cubicBezTo>
                  <a:cubicBezTo>
                    <a:pt x="16860" y="39128"/>
                    <a:pt x="17496" y="38810"/>
                    <a:pt x="17814" y="38173"/>
                  </a:cubicBezTo>
                  <a:cubicBezTo>
                    <a:pt x="19087" y="37219"/>
                    <a:pt x="20359" y="35947"/>
                    <a:pt x="21314" y="34674"/>
                  </a:cubicBezTo>
                  <a:cubicBezTo>
                    <a:pt x="21632" y="34356"/>
                    <a:pt x="22268" y="33720"/>
                    <a:pt x="22586" y="33084"/>
                  </a:cubicBezTo>
                  <a:cubicBezTo>
                    <a:pt x="22904" y="32766"/>
                    <a:pt x="23858" y="32447"/>
                    <a:pt x="24813" y="31493"/>
                  </a:cubicBezTo>
                  <a:cubicBezTo>
                    <a:pt x="25131" y="30857"/>
                    <a:pt x="26403" y="30539"/>
                    <a:pt x="26403" y="29903"/>
                  </a:cubicBezTo>
                  <a:cubicBezTo>
                    <a:pt x="27676" y="29266"/>
                    <a:pt x="28630" y="28630"/>
                    <a:pt x="29266" y="28312"/>
                  </a:cubicBezTo>
                  <a:cubicBezTo>
                    <a:pt x="30221" y="27676"/>
                    <a:pt x="30221" y="27358"/>
                    <a:pt x="31175" y="26403"/>
                  </a:cubicBezTo>
                  <a:cubicBezTo>
                    <a:pt x="32447" y="25131"/>
                    <a:pt x="33720" y="23858"/>
                    <a:pt x="35310" y="22904"/>
                  </a:cubicBezTo>
                  <a:cubicBezTo>
                    <a:pt x="36583" y="22268"/>
                    <a:pt x="37855" y="21313"/>
                    <a:pt x="38810" y="20677"/>
                  </a:cubicBezTo>
                  <a:cubicBezTo>
                    <a:pt x="38810" y="20359"/>
                    <a:pt x="39128" y="20041"/>
                    <a:pt x="39128" y="20041"/>
                  </a:cubicBezTo>
                  <a:cubicBezTo>
                    <a:pt x="40082" y="18450"/>
                    <a:pt x="41673" y="18132"/>
                    <a:pt x="43263" y="17496"/>
                  </a:cubicBezTo>
                  <a:cubicBezTo>
                    <a:pt x="44218" y="16860"/>
                    <a:pt x="46126" y="16860"/>
                    <a:pt x="46762" y="15906"/>
                  </a:cubicBezTo>
                  <a:cubicBezTo>
                    <a:pt x="47081" y="15587"/>
                    <a:pt x="47717" y="15269"/>
                    <a:pt x="48035" y="14951"/>
                  </a:cubicBezTo>
                  <a:cubicBezTo>
                    <a:pt x="48353" y="14951"/>
                    <a:pt x="48671" y="14633"/>
                    <a:pt x="49307" y="14315"/>
                  </a:cubicBezTo>
                  <a:cubicBezTo>
                    <a:pt x="49944" y="13997"/>
                    <a:pt x="50580" y="13361"/>
                    <a:pt x="51216" y="13679"/>
                  </a:cubicBezTo>
                  <a:cubicBezTo>
                    <a:pt x="51852" y="13679"/>
                    <a:pt x="52488" y="13361"/>
                    <a:pt x="52806" y="12724"/>
                  </a:cubicBezTo>
                  <a:cubicBezTo>
                    <a:pt x="53443" y="11770"/>
                    <a:pt x="54715" y="11452"/>
                    <a:pt x="55670" y="11134"/>
                  </a:cubicBezTo>
                  <a:cubicBezTo>
                    <a:pt x="55988" y="10816"/>
                    <a:pt x="55988" y="11134"/>
                    <a:pt x="55988" y="11134"/>
                  </a:cubicBezTo>
                  <a:cubicBezTo>
                    <a:pt x="57260" y="11770"/>
                    <a:pt x="58214" y="11452"/>
                    <a:pt x="59169" y="11452"/>
                  </a:cubicBezTo>
                  <a:cubicBezTo>
                    <a:pt x="59487" y="11452"/>
                    <a:pt x="59487" y="11134"/>
                    <a:pt x="59487" y="11134"/>
                  </a:cubicBezTo>
                  <a:cubicBezTo>
                    <a:pt x="60441" y="10498"/>
                    <a:pt x="61077" y="10180"/>
                    <a:pt x="61396" y="9861"/>
                  </a:cubicBezTo>
                  <a:cubicBezTo>
                    <a:pt x="62032" y="9861"/>
                    <a:pt x="62350" y="9861"/>
                    <a:pt x="62350" y="9861"/>
                  </a:cubicBezTo>
                  <a:cubicBezTo>
                    <a:pt x="63304" y="8271"/>
                    <a:pt x="64895" y="8589"/>
                    <a:pt x="65849" y="8271"/>
                  </a:cubicBezTo>
                  <a:cubicBezTo>
                    <a:pt x="66485" y="8271"/>
                    <a:pt x="67122" y="8271"/>
                    <a:pt x="68076" y="7953"/>
                  </a:cubicBezTo>
                  <a:cubicBezTo>
                    <a:pt x="68712" y="7953"/>
                    <a:pt x="69348" y="7317"/>
                    <a:pt x="69985" y="6998"/>
                  </a:cubicBezTo>
                  <a:cubicBezTo>
                    <a:pt x="71257" y="6998"/>
                    <a:pt x="71893" y="6680"/>
                    <a:pt x="72848" y="6680"/>
                  </a:cubicBezTo>
                  <a:cubicBezTo>
                    <a:pt x="73166" y="6362"/>
                    <a:pt x="73484" y="6362"/>
                    <a:pt x="73802" y="6680"/>
                  </a:cubicBezTo>
                  <a:cubicBezTo>
                    <a:pt x="74120" y="6998"/>
                    <a:pt x="74438" y="6998"/>
                    <a:pt x="75074" y="6044"/>
                  </a:cubicBezTo>
                  <a:lnTo>
                    <a:pt x="75393" y="6044"/>
                  </a:lnTo>
                  <a:cubicBezTo>
                    <a:pt x="75711" y="6362"/>
                    <a:pt x="76347" y="6362"/>
                    <a:pt x="76347" y="6044"/>
                  </a:cubicBezTo>
                  <a:cubicBezTo>
                    <a:pt x="76665" y="5408"/>
                    <a:pt x="77619" y="5090"/>
                    <a:pt x="78574" y="5408"/>
                  </a:cubicBezTo>
                  <a:cubicBezTo>
                    <a:pt x="79528" y="5408"/>
                    <a:pt x="79846" y="5408"/>
                    <a:pt x="80482" y="5408"/>
                  </a:cubicBezTo>
                  <a:cubicBezTo>
                    <a:pt x="80800" y="5408"/>
                    <a:pt x="81437" y="5090"/>
                    <a:pt x="81437" y="4772"/>
                  </a:cubicBezTo>
                  <a:cubicBezTo>
                    <a:pt x="81119" y="3817"/>
                    <a:pt x="81755" y="3499"/>
                    <a:pt x="82709" y="3499"/>
                  </a:cubicBezTo>
                  <a:cubicBezTo>
                    <a:pt x="83027" y="3499"/>
                    <a:pt x="84300" y="3181"/>
                    <a:pt x="84618" y="2863"/>
                  </a:cubicBezTo>
                  <a:cubicBezTo>
                    <a:pt x="84936" y="2863"/>
                    <a:pt x="84936" y="2545"/>
                    <a:pt x="85254" y="2545"/>
                  </a:cubicBezTo>
                  <a:cubicBezTo>
                    <a:pt x="86208" y="2227"/>
                    <a:pt x="87799" y="2545"/>
                    <a:pt x="87799" y="2545"/>
                  </a:cubicBezTo>
                  <a:cubicBezTo>
                    <a:pt x="86844" y="2863"/>
                    <a:pt x="85890" y="3499"/>
                    <a:pt x="85254" y="3499"/>
                  </a:cubicBezTo>
                  <a:cubicBezTo>
                    <a:pt x="84936" y="3499"/>
                    <a:pt x="84618" y="3817"/>
                    <a:pt x="84618" y="4135"/>
                  </a:cubicBezTo>
                  <a:cubicBezTo>
                    <a:pt x="84300" y="4135"/>
                    <a:pt x="84300" y="4135"/>
                    <a:pt x="84300" y="4135"/>
                  </a:cubicBezTo>
                  <a:lnTo>
                    <a:pt x="84618" y="4135"/>
                  </a:lnTo>
                  <a:cubicBezTo>
                    <a:pt x="85572" y="4135"/>
                    <a:pt x="86208" y="3817"/>
                    <a:pt x="87799" y="3499"/>
                  </a:cubicBezTo>
                  <a:cubicBezTo>
                    <a:pt x="88435" y="3499"/>
                    <a:pt x="89071" y="3181"/>
                    <a:pt x="89389" y="3499"/>
                  </a:cubicBezTo>
                  <a:cubicBezTo>
                    <a:pt x="90026" y="3499"/>
                    <a:pt x="90662" y="2863"/>
                    <a:pt x="90026" y="2545"/>
                  </a:cubicBezTo>
                  <a:cubicBezTo>
                    <a:pt x="90026" y="2545"/>
                    <a:pt x="90026" y="2545"/>
                    <a:pt x="89708" y="2545"/>
                  </a:cubicBezTo>
                  <a:cubicBezTo>
                    <a:pt x="89708" y="1909"/>
                    <a:pt x="89708" y="1591"/>
                    <a:pt x="90026" y="1272"/>
                  </a:cubicBezTo>
                  <a:cubicBezTo>
                    <a:pt x="91298" y="1272"/>
                    <a:pt x="92570" y="1272"/>
                    <a:pt x="93525" y="1272"/>
                  </a:cubicBezTo>
                  <a:cubicBezTo>
                    <a:pt x="95115" y="954"/>
                    <a:pt x="96706" y="636"/>
                    <a:pt x="98297" y="954"/>
                  </a:cubicBezTo>
                  <a:cubicBezTo>
                    <a:pt x="98933" y="954"/>
                    <a:pt x="99251" y="636"/>
                    <a:pt x="99251" y="0"/>
                  </a:cubicBezTo>
                  <a:lnTo>
                    <a:pt x="99569" y="0"/>
                  </a:lnTo>
                  <a:cubicBezTo>
                    <a:pt x="100841" y="0"/>
                    <a:pt x="101478" y="318"/>
                    <a:pt x="102114" y="636"/>
                  </a:cubicBezTo>
                  <a:cubicBezTo>
                    <a:pt x="103386" y="636"/>
                    <a:pt x="104977" y="1591"/>
                    <a:pt x="106249" y="1591"/>
                  </a:cubicBezTo>
                  <a:cubicBezTo>
                    <a:pt x="106567" y="1591"/>
                    <a:pt x="107204" y="1909"/>
                    <a:pt x="107204" y="2545"/>
                  </a:cubicBezTo>
                  <a:cubicBezTo>
                    <a:pt x="107522" y="3181"/>
                    <a:pt x="108158" y="4135"/>
                    <a:pt x="108158" y="4772"/>
                  </a:cubicBezTo>
                  <a:cubicBezTo>
                    <a:pt x="108476" y="6362"/>
                    <a:pt x="109431" y="7317"/>
                    <a:pt x="110703" y="7635"/>
                  </a:cubicBezTo>
                  <a:cubicBezTo>
                    <a:pt x="111339" y="7635"/>
                    <a:pt x="111657" y="8271"/>
                    <a:pt x="111657" y="8907"/>
                  </a:cubicBezTo>
                  <a:cubicBezTo>
                    <a:pt x="111657" y="9543"/>
                    <a:pt x="111657" y="10180"/>
                    <a:pt x="111657" y="10816"/>
                  </a:cubicBezTo>
                  <a:cubicBezTo>
                    <a:pt x="111975" y="11134"/>
                    <a:pt x="111975" y="11452"/>
                    <a:pt x="111339" y="12088"/>
                  </a:cubicBezTo>
                  <a:cubicBezTo>
                    <a:pt x="111975" y="13679"/>
                    <a:pt x="111339" y="15269"/>
                    <a:pt x="111339" y="16860"/>
                  </a:cubicBezTo>
                  <a:cubicBezTo>
                    <a:pt x="111021" y="17814"/>
                    <a:pt x="111021" y="19087"/>
                    <a:pt x="111021" y="20041"/>
                  </a:cubicBezTo>
                  <a:cubicBezTo>
                    <a:pt x="111339" y="20677"/>
                    <a:pt x="111339" y="20995"/>
                    <a:pt x="111021" y="21950"/>
                  </a:cubicBezTo>
                  <a:lnTo>
                    <a:pt x="110703" y="22268"/>
                  </a:lnTo>
                  <a:cubicBezTo>
                    <a:pt x="110703" y="22268"/>
                    <a:pt x="110385" y="22268"/>
                    <a:pt x="110067" y="21950"/>
                  </a:cubicBezTo>
                  <a:cubicBezTo>
                    <a:pt x="110067" y="21632"/>
                    <a:pt x="109749" y="21313"/>
                    <a:pt x="109749" y="20995"/>
                  </a:cubicBezTo>
                  <a:cubicBezTo>
                    <a:pt x="109431" y="20677"/>
                    <a:pt x="108158" y="20677"/>
                    <a:pt x="108158" y="20359"/>
                  </a:cubicBezTo>
                  <a:cubicBezTo>
                    <a:pt x="108158" y="20359"/>
                    <a:pt x="107840" y="20359"/>
                    <a:pt x="107840" y="20677"/>
                  </a:cubicBezTo>
                  <a:lnTo>
                    <a:pt x="107840" y="20995"/>
                  </a:lnTo>
                  <a:cubicBezTo>
                    <a:pt x="107840" y="21632"/>
                    <a:pt x="108476" y="22268"/>
                    <a:pt x="109431" y="22268"/>
                  </a:cubicBezTo>
                  <a:cubicBezTo>
                    <a:pt x="109749" y="22586"/>
                    <a:pt x="109749" y="22904"/>
                    <a:pt x="109749" y="23222"/>
                  </a:cubicBezTo>
                  <a:cubicBezTo>
                    <a:pt x="109431" y="23540"/>
                    <a:pt x="109431" y="23858"/>
                    <a:pt x="109431" y="23858"/>
                  </a:cubicBezTo>
                  <a:cubicBezTo>
                    <a:pt x="109431" y="24813"/>
                    <a:pt x="109431" y="25449"/>
                    <a:pt x="109431" y="26403"/>
                  </a:cubicBezTo>
                  <a:cubicBezTo>
                    <a:pt x="109431" y="26403"/>
                    <a:pt x="109431" y="26721"/>
                    <a:pt x="108794" y="26721"/>
                  </a:cubicBezTo>
                  <a:cubicBezTo>
                    <a:pt x="108158" y="25767"/>
                    <a:pt x="107522" y="25131"/>
                    <a:pt x="107204" y="24177"/>
                  </a:cubicBezTo>
                  <a:cubicBezTo>
                    <a:pt x="106567" y="22586"/>
                    <a:pt x="105295" y="22268"/>
                    <a:pt x="103386" y="21950"/>
                  </a:cubicBezTo>
                  <a:cubicBezTo>
                    <a:pt x="101478" y="21950"/>
                    <a:pt x="98933" y="21950"/>
                    <a:pt x="97024" y="21950"/>
                  </a:cubicBezTo>
                  <a:cubicBezTo>
                    <a:pt x="96706" y="21950"/>
                    <a:pt x="96388" y="22268"/>
                    <a:pt x="95752" y="22268"/>
                  </a:cubicBezTo>
                  <a:cubicBezTo>
                    <a:pt x="94797" y="22268"/>
                    <a:pt x="93843" y="22586"/>
                    <a:pt x="92889" y="22268"/>
                  </a:cubicBezTo>
                  <a:cubicBezTo>
                    <a:pt x="92570" y="22268"/>
                    <a:pt x="92252" y="22586"/>
                    <a:pt x="91616" y="22586"/>
                  </a:cubicBezTo>
                  <a:cubicBezTo>
                    <a:pt x="90980" y="22904"/>
                    <a:pt x="90026" y="23222"/>
                    <a:pt x="89708" y="23222"/>
                  </a:cubicBezTo>
                  <a:cubicBezTo>
                    <a:pt x="89389" y="23222"/>
                    <a:pt x="89071" y="23222"/>
                    <a:pt x="89071" y="23540"/>
                  </a:cubicBezTo>
                  <a:cubicBezTo>
                    <a:pt x="88117" y="24177"/>
                    <a:pt x="86844" y="23858"/>
                    <a:pt x="85572" y="24495"/>
                  </a:cubicBezTo>
                  <a:cubicBezTo>
                    <a:pt x="84618" y="25131"/>
                    <a:pt x="83027" y="25131"/>
                    <a:pt x="81755" y="25449"/>
                  </a:cubicBezTo>
                  <a:cubicBezTo>
                    <a:pt x="81755" y="25767"/>
                    <a:pt x="81119" y="25767"/>
                    <a:pt x="81119" y="25767"/>
                  </a:cubicBezTo>
                  <a:cubicBezTo>
                    <a:pt x="80164" y="26403"/>
                    <a:pt x="78574" y="26721"/>
                    <a:pt x="77301" y="26721"/>
                  </a:cubicBezTo>
                  <a:cubicBezTo>
                    <a:pt x="76983" y="26721"/>
                    <a:pt x="76665" y="27040"/>
                    <a:pt x="76347" y="27358"/>
                  </a:cubicBezTo>
                  <a:cubicBezTo>
                    <a:pt x="75393" y="27994"/>
                    <a:pt x="74438" y="28630"/>
                    <a:pt x="73166" y="28948"/>
                  </a:cubicBezTo>
                  <a:cubicBezTo>
                    <a:pt x="71893" y="29266"/>
                    <a:pt x="70939" y="29584"/>
                    <a:pt x="69348" y="30539"/>
                  </a:cubicBezTo>
                  <a:cubicBezTo>
                    <a:pt x="68076" y="30539"/>
                    <a:pt x="67122" y="31811"/>
                    <a:pt x="65531" y="31811"/>
                  </a:cubicBezTo>
                  <a:cubicBezTo>
                    <a:pt x="64895" y="32129"/>
                    <a:pt x="63940" y="32447"/>
                    <a:pt x="63304" y="32766"/>
                  </a:cubicBezTo>
                  <a:cubicBezTo>
                    <a:pt x="62986" y="33402"/>
                    <a:pt x="62986" y="33720"/>
                    <a:pt x="62668" y="33720"/>
                  </a:cubicBezTo>
                  <a:cubicBezTo>
                    <a:pt x="61077" y="33720"/>
                    <a:pt x="61077" y="34356"/>
                    <a:pt x="60759" y="35310"/>
                  </a:cubicBezTo>
                  <a:cubicBezTo>
                    <a:pt x="60759" y="35310"/>
                    <a:pt x="60441" y="35629"/>
                    <a:pt x="60123" y="35629"/>
                  </a:cubicBezTo>
                  <a:cubicBezTo>
                    <a:pt x="59805" y="35310"/>
                    <a:pt x="59169" y="35629"/>
                    <a:pt x="59169" y="35629"/>
                  </a:cubicBezTo>
                  <a:cubicBezTo>
                    <a:pt x="57896" y="36583"/>
                    <a:pt x="56942" y="36583"/>
                    <a:pt x="56306" y="37537"/>
                  </a:cubicBezTo>
                  <a:cubicBezTo>
                    <a:pt x="55352" y="38492"/>
                    <a:pt x="54079" y="38810"/>
                    <a:pt x="52170" y="39764"/>
                  </a:cubicBezTo>
                  <a:cubicBezTo>
                    <a:pt x="51216" y="39764"/>
                    <a:pt x="50580" y="41036"/>
                    <a:pt x="49307" y="41036"/>
                  </a:cubicBezTo>
                  <a:cubicBezTo>
                    <a:pt x="49307" y="41355"/>
                    <a:pt x="49307" y="41991"/>
                    <a:pt x="49307" y="41991"/>
                  </a:cubicBezTo>
                  <a:cubicBezTo>
                    <a:pt x="48035" y="42945"/>
                    <a:pt x="47399" y="43899"/>
                    <a:pt x="46444" y="44218"/>
                  </a:cubicBezTo>
                  <a:cubicBezTo>
                    <a:pt x="45172" y="44536"/>
                    <a:pt x="43899" y="44854"/>
                    <a:pt x="43263" y="46444"/>
                  </a:cubicBezTo>
                  <a:cubicBezTo>
                    <a:pt x="42945" y="46762"/>
                    <a:pt x="42627" y="46762"/>
                    <a:pt x="42309" y="46762"/>
                  </a:cubicBezTo>
                  <a:cubicBezTo>
                    <a:pt x="41355" y="46762"/>
                    <a:pt x="41036" y="46762"/>
                    <a:pt x="40718" y="47399"/>
                  </a:cubicBezTo>
                  <a:cubicBezTo>
                    <a:pt x="40718" y="48671"/>
                    <a:pt x="40082" y="48989"/>
                    <a:pt x="38810" y="49625"/>
                  </a:cubicBezTo>
                  <a:cubicBezTo>
                    <a:pt x="38491" y="49625"/>
                    <a:pt x="38491" y="49625"/>
                    <a:pt x="38810" y="50262"/>
                  </a:cubicBezTo>
                  <a:cubicBezTo>
                    <a:pt x="38810" y="50580"/>
                    <a:pt x="38491" y="50898"/>
                    <a:pt x="38173" y="50898"/>
                  </a:cubicBezTo>
                  <a:cubicBezTo>
                    <a:pt x="36901" y="51852"/>
                    <a:pt x="35629" y="52807"/>
                    <a:pt x="34674" y="53761"/>
                  </a:cubicBezTo>
                  <a:cubicBezTo>
                    <a:pt x="34674" y="54079"/>
                    <a:pt x="34674" y="54079"/>
                    <a:pt x="34674" y="54079"/>
                  </a:cubicBezTo>
                  <a:cubicBezTo>
                    <a:pt x="34356" y="54715"/>
                    <a:pt x="34356" y="55033"/>
                    <a:pt x="34038" y="55033"/>
                  </a:cubicBezTo>
                  <a:cubicBezTo>
                    <a:pt x="33084" y="55351"/>
                    <a:pt x="33084" y="55670"/>
                    <a:pt x="32765" y="55988"/>
                  </a:cubicBezTo>
                  <a:cubicBezTo>
                    <a:pt x="32129" y="56624"/>
                    <a:pt x="31493" y="56942"/>
                    <a:pt x="31175" y="56624"/>
                  </a:cubicBezTo>
                  <a:cubicBezTo>
                    <a:pt x="30857" y="56624"/>
                    <a:pt x="30857" y="56942"/>
                    <a:pt x="30539" y="56942"/>
                  </a:cubicBezTo>
                  <a:cubicBezTo>
                    <a:pt x="30539" y="57260"/>
                    <a:pt x="30539" y="57578"/>
                    <a:pt x="30221" y="57896"/>
                  </a:cubicBezTo>
                  <a:cubicBezTo>
                    <a:pt x="29903" y="58214"/>
                    <a:pt x="29584" y="58533"/>
                    <a:pt x="29266" y="58851"/>
                  </a:cubicBezTo>
                  <a:cubicBezTo>
                    <a:pt x="29266" y="60123"/>
                    <a:pt x="28630" y="60759"/>
                    <a:pt x="27994" y="61077"/>
                  </a:cubicBezTo>
                  <a:cubicBezTo>
                    <a:pt x="26403" y="61714"/>
                    <a:pt x="25767" y="62032"/>
                    <a:pt x="25449" y="62986"/>
                  </a:cubicBezTo>
                  <a:cubicBezTo>
                    <a:pt x="25449" y="62986"/>
                    <a:pt x="25131" y="62986"/>
                    <a:pt x="25131" y="63304"/>
                  </a:cubicBezTo>
                  <a:cubicBezTo>
                    <a:pt x="25449" y="64577"/>
                    <a:pt x="24176" y="65531"/>
                    <a:pt x="23540" y="66485"/>
                  </a:cubicBezTo>
                  <a:cubicBezTo>
                    <a:pt x="23540" y="67122"/>
                    <a:pt x="23540" y="68076"/>
                    <a:pt x="22268" y="68394"/>
                  </a:cubicBezTo>
                  <a:cubicBezTo>
                    <a:pt x="21950" y="68394"/>
                    <a:pt x="21632" y="69030"/>
                    <a:pt x="21632" y="69030"/>
                  </a:cubicBezTo>
                  <a:cubicBezTo>
                    <a:pt x="21632" y="69348"/>
                    <a:pt x="21632" y="69985"/>
                    <a:pt x="21314" y="70303"/>
                  </a:cubicBezTo>
                  <a:cubicBezTo>
                    <a:pt x="20995" y="70621"/>
                    <a:pt x="20995" y="70939"/>
                    <a:pt x="21314" y="71257"/>
                  </a:cubicBezTo>
                  <a:cubicBezTo>
                    <a:pt x="21950" y="73484"/>
                    <a:pt x="24813" y="75393"/>
                    <a:pt x="27040" y="76665"/>
                  </a:cubicBezTo>
                  <a:cubicBezTo>
                    <a:pt x="28312" y="76983"/>
                    <a:pt x="29266" y="77301"/>
                    <a:pt x="29903" y="77937"/>
                  </a:cubicBezTo>
                  <a:cubicBezTo>
                    <a:pt x="30221" y="77937"/>
                    <a:pt x="30221" y="78256"/>
                    <a:pt x="29903" y="78574"/>
                  </a:cubicBezTo>
                  <a:cubicBezTo>
                    <a:pt x="29584" y="78892"/>
                    <a:pt x="29903" y="79210"/>
                    <a:pt x="30221" y="79528"/>
                  </a:cubicBezTo>
                  <a:cubicBezTo>
                    <a:pt x="30221" y="79528"/>
                    <a:pt x="30539" y="79846"/>
                    <a:pt x="31175" y="80164"/>
                  </a:cubicBezTo>
                  <a:cubicBezTo>
                    <a:pt x="32447" y="80164"/>
                    <a:pt x="33084" y="80482"/>
                    <a:pt x="33720" y="80482"/>
                  </a:cubicBezTo>
                  <a:cubicBezTo>
                    <a:pt x="34038" y="80800"/>
                    <a:pt x="34356" y="81119"/>
                    <a:pt x="34356" y="81119"/>
                  </a:cubicBezTo>
                  <a:cubicBezTo>
                    <a:pt x="35310" y="81437"/>
                    <a:pt x="36583" y="82073"/>
                    <a:pt x="37855" y="81437"/>
                  </a:cubicBezTo>
                  <a:cubicBezTo>
                    <a:pt x="37855" y="81119"/>
                    <a:pt x="38810" y="81437"/>
                    <a:pt x="39128" y="82073"/>
                  </a:cubicBezTo>
                  <a:cubicBezTo>
                    <a:pt x="39764" y="83663"/>
                    <a:pt x="41673" y="84300"/>
                    <a:pt x="43581" y="84618"/>
                  </a:cubicBezTo>
                  <a:cubicBezTo>
                    <a:pt x="44218" y="84936"/>
                    <a:pt x="45172" y="85254"/>
                    <a:pt x="45808" y="84936"/>
                  </a:cubicBezTo>
                  <a:lnTo>
                    <a:pt x="45808" y="85254"/>
                  </a:lnTo>
                  <a:cubicBezTo>
                    <a:pt x="46126" y="85254"/>
                    <a:pt x="46126" y="85254"/>
                    <a:pt x="46444" y="85254"/>
                  </a:cubicBezTo>
                  <a:cubicBezTo>
                    <a:pt x="46126" y="85254"/>
                    <a:pt x="46126" y="84936"/>
                    <a:pt x="46126" y="84936"/>
                  </a:cubicBezTo>
                  <a:cubicBezTo>
                    <a:pt x="45808" y="84936"/>
                    <a:pt x="45808" y="84936"/>
                    <a:pt x="45808" y="84936"/>
                  </a:cubicBezTo>
                  <a:cubicBezTo>
                    <a:pt x="45808" y="84936"/>
                    <a:pt x="46126" y="84618"/>
                    <a:pt x="46444" y="84618"/>
                  </a:cubicBezTo>
                  <a:cubicBezTo>
                    <a:pt x="47717" y="84618"/>
                    <a:pt x="48353" y="85572"/>
                    <a:pt x="50262" y="85890"/>
                  </a:cubicBezTo>
                  <a:cubicBezTo>
                    <a:pt x="50262" y="86526"/>
                    <a:pt x="50262" y="86845"/>
                    <a:pt x="50898" y="87163"/>
                  </a:cubicBezTo>
                  <a:cubicBezTo>
                    <a:pt x="51216" y="87163"/>
                    <a:pt x="51852" y="87163"/>
                    <a:pt x="52170" y="87163"/>
                  </a:cubicBezTo>
                  <a:cubicBezTo>
                    <a:pt x="54079" y="86845"/>
                    <a:pt x="55033" y="87163"/>
                    <a:pt x="56306" y="87481"/>
                  </a:cubicBezTo>
                  <a:cubicBezTo>
                    <a:pt x="57896" y="87799"/>
                    <a:pt x="58851" y="88435"/>
                    <a:pt x="60123" y="88753"/>
                  </a:cubicBezTo>
                  <a:cubicBezTo>
                    <a:pt x="60759" y="88753"/>
                    <a:pt x="62350" y="89071"/>
                    <a:pt x="62986" y="89708"/>
                  </a:cubicBezTo>
                  <a:cubicBezTo>
                    <a:pt x="64259" y="90344"/>
                    <a:pt x="65213" y="90980"/>
                    <a:pt x="67122" y="90980"/>
                  </a:cubicBezTo>
                  <a:cubicBezTo>
                    <a:pt x="68394" y="91298"/>
                    <a:pt x="69348" y="91616"/>
                    <a:pt x="70621" y="91934"/>
                  </a:cubicBezTo>
                  <a:cubicBezTo>
                    <a:pt x="70939" y="92252"/>
                    <a:pt x="71257" y="92252"/>
                    <a:pt x="71893" y="92252"/>
                  </a:cubicBezTo>
                  <a:cubicBezTo>
                    <a:pt x="73484" y="93207"/>
                    <a:pt x="75074" y="93525"/>
                    <a:pt x="76347" y="94479"/>
                  </a:cubicBezTo>
                  <a:cubicBezTo>
                    <a:pt x="76983" y="94479"/>
                    <a:pt x="77619" y="94797"/>
                    <a:pt x="78255" y="95115"/>
                  </a:cubicBezTo>
                  <a:cubicBezTo>
                    <a:pt x="79528" y="95115"/>
                    <a:pt x="80800" y="95434"/>
                    <a:pt x="81755" y="96388"/>
                  </a:cubicBezTo>
                  <a:cubicBezTo>
                    <a:pt x="83027" y="96706"/>
                    <a:pt x="84936" y="97978"/>
                    <a:pt x="86208" y="98297"/>
                  </a:cubicBezTo>
                  <a:cubicBezTo>
                    <a:pt x="87799" y="98297"/>
                    <a:pt x="88753" y="98615"/>
                    <a:pt x="89708" y="99569"/>
                  </a:cubicBezTo>
                  <a:cubicBezTo>
                    <a:pt x="90026" y="99887"/>
                    <a:pt x="90662" y="100205"/>
                    <a:pt x="91616" y="100523"/>
                  </a:cubicBezTo>
                  <a:cubicBezTo>
                    <a:pt x="92570" y="101478"/>
                    <a:pt x="93525" y="101796"/>
                    <a:pt x="94797" y="102432"/>
                  </a:cubicBezTo>
                  <a:cubicBezTo>
                    <a:pt x="95434" y="102750"/>
                    <a:pt x="95752" y="102750"/>
                    <a:pt x="95752" y="102750"/>
                  </a:cubicBezTo>
                  <a:cubicBezTo>
                    <a:pt x="96388" y="102750"/>
                    <a:pt x="96388" y="103386"/>
                    <a:pt x="96706" y="103386"/>
                  </a:cubicBezTo>
                  <a:cubicBezTo>
                    <a:pt x="97342" y="104023"/>
                    <a:pt x="97978" y="104023"/>
                    <a:pt x="98615" y="104341"/>
                  </a:cubicBezTo>
                  <a:cubicBezTo>
                    <a:pt x="99251" y="104659"/>
                    <a:pt x="98615" y="105295"/>
                    <a:pt x="99251" y="105931"/>
                  </a:cubicBezTo>
                  <a:cubicBezTo>
                    <a:pt x="101478" y="107204"/>
                    <a:pt x="102432" y="108794"/>
                    <a:pt x="103068" y="110703"/>
                  </a:cubicBezTo>
                  <a:cubicBezTo>
                    <a:pt x="103386" y="111339"/>
                    <a:pt x="103386" y="111975"/>
                    <a:pt x="103068" y="112930"/>
                  </a:cubicBezTo>
                  <a:cubicBezTo>
                    <a:pt x="102750" y="113248"/>
                    <a:pt x="102432" y="113248"/>
                    <a:pt x="102114" y="113248"/>
                  </a:cubicBezTo>
                  <a:cubicBezTo>
                    <a:pt x="102114" y="112930"/>
                    <a:pt x="101796" y="112612"/>
                    <a:pt x="101796" y="111975"/>
                  </a:cubicBezTo>
                  <a:cubicBezTo>
                    <a:pt x="101796" y="111975"/>
                    <a:pt x="101478" y="111657"/>
                    <a:pt x="101478" y="111975"/>
                  </a:cubicBezTo>
                  <a:cubicBezTo>
                    <a:pt x="101160" y="111975"/>
                    <a:pt x="100841" y="112293"/>
                    <a:pt x="101160" y="112293"/>
                  </a:cubicBezTo>
                  <a:cubicBezTo>
                    <a:pt x="101160" y="113248"/>
                    <a:pt x="101160" y="114202"/>
                    <a:pt x="101160" y="114838"/>
                  </a:cubicBezTo>
                  <a:cubicBezTo>
                    <a:pt x="101160" y="115156"/>
                    <a:pt x="100841" y="115475"/>
                    <a:pt x="101160" y="115793"/>
                  </a:cubicBezTo>
                  <a:cubicBezTo>
                    <a:pt x="100841" y="116111"/>
                    <a:pt x="102114" y="116111"/>
                    <a:pt x="101796" y="116429"/>
                  </a:cubicBezTo>
                  <a:cubicBezTo>
                    <a:pt x="101796" y="117383"/>
                    <a:pt x="102114" y="117383"/>
                    <a:pt x="102432" y="117701"/>
                  </a:cubicBezTo>
                  <a:cubicBezTo>
                    <a:pt x="102432" y="118019"/>
                    <a:pt x="102750" y="118338"/>
                    <a:pt x="102750" y="118338"/>
                  </a:cubicBezTo>
                  <a:cubicBezTo>
                    <a:pt x="102114" y="119610"/>
                    <a:pt x="103386" y="121201"/>
                    <a:pt x="102750" y="122473"/>
                  </a:cubicBezTo>
                  <a:cubicBezTo>
                    <a:pt x="102432" y="123109"/>
                    <a:pt x="102114" y="123746"/>
                    <a:pt x="102432" y="124064"/>
                  </a:cubicBezTo>
                  <a:cubicBezTo>
                    <a:pt x="102432" y="124700"/>
                    <a:pt x="102750" y="125336"/>
                    <a:pt x="102114" y="126290"/>
                  </a:cubicBezTo>
                  <a:cubicBezTo>
                    <a:pt x="101796" y="126609"/>
                    <a:pt x="101796" y="126927"/>
                    <a:pt x="102114" y="127563"/>
                  </a:cubicBezTo>
                  <a:cubicBezTo>
                    <a:pt x="102432" y="128517"/>
                    <a:pt x="102432" y="129472"/>
                    <a:pt x="102114" y="130744"/>
                  </a:cubicBezTo>
                  <a:cubicBezTo>
                    <a:pt x="102114" y="131380"/>
                    <a:pt x="101160" y="131380"/>
                    <a:pt x="100841" y="131380"/>
                  </a:cubicBezTo>
                  <a:cubicBezTo>
                    <a:pt x="100205" y="131062"/>
                    <a:pt x="100205" y="131062"/>
                    <a:pt x="99569" y="131062"/>
                  </a:cubicBezTo>
                  <a:cubicBezTo>
                    <a:pt x="99569" y="131062"/>
                    <a:pt x="99251" y="131062"/>
                    <a:pt x="99569" y="131062"/>
                  </a:cubicBezTo>
                  <a:cubicBezTo>
                    <a:pt x="99569" y="132016"/>
                    <a:pt x="99569" y="132653"/>
                    <a:pt x="99887" y="133607"/>
                  </a:cubicBezTo>
                  <a:cubicBezTo>
                    <a:pt x="100205" y="133925"/>
                    <a:pt x="99887" y="134243"/>
                    <a:pt x="99251" y="134561"/>
                  </a:cubicBezTo>
                  <a:cubicBezTo>
                    <a:pt x="99251" y="134879"/>
                    <a:pt x="98933" y="135198"/>
                    <a:pt x="99251" y="135516"/>
                  </a:cubicBezTo>
                  <a:cubicBezTo>
                    <a:pt x="99251" y="136788"/>
                    <a:pt x="98297" y="136788"/>
                    <a:pt x="97660" y="137106"/>
                  </a:cubicBezTo>
                  <a:cubicBezTo>
                    <a:pt x="96706" y="137106"/>
                    <a:pt x="96706" y="137424"/>
                    <a:pt x="96706" y="138061"/>
                  </a:cubicBezTo>
                  <a:lnTo>
                    <a:pt x="96388" y="138379"/>
                  </a:lnTo>
                  <a:cubicBezTo>
                    <a:pt x="96388" y="138061"/>
                    <a:pt x="95434" y="138061"/>
                    <a:pt x="95434" y="137742"/>
                  </a:cubicBezTo>
                  <a:cubicBezTo>
                    <a:pt x="95115" y="137742"/>
                    <a:pt x="95115" y="137742"/>
                    <a:pt x="95115" y="137742"/>
                  </a:cubicBezTo>
                  <a:lnTo>
                    <a:pt x="95434" y="137742"/>
                  </a:lnTo>
                  <a:cubicBezTo>
                    <a:pt x="96388" y="139015"/>
                    <a:pt x="96388" y="139333"/>
                    <a:pt x="95115" y="139969"/>
                  </a:cubicBezTo>
                  <a:close/>
                  <a:moveTo>
                    <a:pt x="7953" y="159056"/>
                  </a:moveTo>
                  <a:cubicBezTo>
                    <a:pt x="7635" y="159056"/>
                    <a:pt x="7635" y="159692"/>
                    <a:pt x="7953" y="159374"/>
                  </a:cubicBezTo>
                  <a:cubicBezTo>
                    <a:pt x="8271" y="159374"/>
                    <a:pt x="8271" y="159374"/>
                    <a:pt x="8271" y="159056"/>
                  </a:cubicBezTo>
                  <a:cubicBezTo>
                    <a:pt x="8271" y="159056"/>
                    <a:pt x="8271" y="159056"/>
                    <a:pt x="7953" y="159056"/>
                  </a:cubicBezTo>
                  <a:close/>
                  <a:moveTo>
                    <a:pt x="9225" y="160646"/>
                  </a:moveTo>
                  <a:cubicBezTo>
                    <a:pt x="9225" y="160646"/>
                    <a:pt x="8907" y="160328"/>
                    <a:pt x="8907" y="160646"/>
                  </a:cubicBezTo>
                  <a:lnTo>
                    <a:pt x="8589" y="160646"/>
                  </a:lnTo>
                  <a:cubicBezTo>
                    <a:pt x="8589" y="160965"/>
                    <a:pt x="8589" y="161283"/>
                    <a:pt x="8589" y="161919"/>
                  </a:cubicBezTo>
                  <a:cubicBezTo>
                    <a:pt x="8589" y="161919"/>
                    <a:pt x="8907" y="161919"/>
                    <a:pt x="9225" y="161919"/>
                  </a:cubicBezTo>
                  <a:cubicBezTo>
                    <a:pt x="9543" y="161919"/>
                    <a:pt x="9543" y="161919"/>
                    <a:pt x="9861" y="161919"/>
                  </a:cubicBezTo>
                  <a:cubicBezTo>
                    <a:pt x="9543" y="161283"/>
                    <a:pt x="9543" y="160965"/>
                    <a:pt x="9225" y="160646"/>
                  </a:cubicBezTo>
                  <a:close/>
                  <a:moveTo>
                    <a:pt x="14315" y="127245"/>
                  </a:moveTo>
                  <a:cubicBezTo>
                    <a:pt x="13997" y="127563"/>
                    <a:pt x="13997" y="127563"/>
                    <a:pt x="14315" y="127563"/>
                  </a:cubicBezTo>
                  <a:cubicBezTo>
                    <a:pt x="14951" y="127563"/>
                    <a:pt x="14951" y="127563"/>
                    <a:pt x="14951" y="127563"/>
                  </a:cubicBezTo>
                  <a:cubicBezTo>
                    <a:pt x="14315" y="127563"/>
                    <a:pt x="14315" y="127245"/>
                    <a:pt x="14315" y="127245"/>
                  </a:cubicBezTo>
                  <a:close/>
                  <a:moveTo>
                    <a:pt x="16860" y="37537"/>
                  </a:moveTo>
                  <a:cubicBezTo>
                    <a:pt x="16860" y="37537"/>
                    <a:pt x="16860" y="37537"/>
                    <a:pt x="16860" y="37855"/>
                  </a:cubicBezTo>
                  <a:cubicBezTo>
                    <a:pt x="16860" y="38173"/>
                    <a:pt x="16224" y="38810"/>
                    <a:pt x="15906" y="39128"/>
                  </a:cubicBezTo>
                  <a:cubicBezTo>
                    <a:pt x="15906" y="38173"/>
                    <a:pt x="16224" y="37855"/>
                    <a:pt x="16860" y="37537"/>
                  </a:cubicBezTo>
                  <a:close/>
                  <a:moveTo>
                    <a:pt x="15906" y="163828"/>
                  </a:moveTo>
                  <a:lnTo>
                    <a:pt x="15906" y="163509"/>
                  </a:lnTo>
                  <a:cubicBezTo>
                    <a:pt x="16224" y="163828"/>
                    <a:pt x="16224" y="163828"/>
                    <a:pt x="16542" y="164146"/>
                  </a:cubicBezTo>
                  <a:lnTo>
                    <a:pt x="16224" y="164146"/>
                  </a:lnTo>
                  <a:cubicBezTo>
                    <a:pt x="15906" y="164146"/>
                    <a:pt x="15906" y="163828"/>
                    <a:pt x="15906" y="163828"/>
                  </a:cubicBezTo>
                  <a:close/>
                  <a:moveTo>
                    <a:pt x="19087" y="157783"/>
                  </a:moveTo>
                  <a:cubicBezTo>
                    <a:pt x="19087" y="157783"/>
                    <a:pt x="19087" y="157783"/>
                    <a:pt x="19087" y="157465"/>
                  </a:cubicBezTo>
                  <a:cubicBezTo>
                    <a:pt x="19087" y="157783"/>
                    <a:pt x="19087" y="157783"/>
                    <a:pt x="18450" y="157783"/>
                  </a:cubicBezTo>
                  <a:cubicBezTo>
                    <a:pt x="18450" y="157783"/>
                    <a:pt x="19087" y="157783"/>
                    <a:pt x="19087" y="158102"/>
                  </a:cubicBezTo>
                  <a:cubicBezTo>
                    <a:pt x="19087" y="157783"/>
                    <a:pt x="19087" y="157783"/>
                    <a:pt x="19087" y="157783"/>
                  </a:cubicBezTo>
                  <a:close/>
                  <a:moveTo>
                    <a:pt x="19087" y="163828"/>
                  </a:moveTo>
                  <a:cubicBezTo>
                    <a:pt x="19405" y="163828"/>
                    <a:pt x="19405" y="163509"/>
                    <a:pt x="19405" y="163509"/>
                  </a:cubicBezTo>
                  <a:cubicBezTo>
                    <a:pt x="19405" y="163509"/>
                    <a:pt x="19405" y="163828"/>
                    <a:pt x="19723" y="163828"/>
                  </a:cubicBezTo>
                  <a:cubicBezTo>
                    <a:pt x="19723" y="164146"/>
                    <a:pt x="19405" y="164146"/>
                    <a:pt x="19405" y="164146"/>
                  </a:cubicBezTo>
                  <a:cubicBezTo>
                    <a:pt x="19405" y="164146"/>
                    <a:pt x="19405" y="164146"/>
                    <a:pt x="19087" y="163828"/>
                  </a:cubicBezTo>
                  <a:close/>
                  <a:moveTo>
                    <a:pt x="20041" y="158102"/>
                  </a:moveTo>
                  <a:cubicBezTo>
                    <a:pt x="20677" y="158102"/>
                    <a:pt x="21314" y="158102"/>
                    <a:pt x="21632" y="158102"/>
                  </a:cubicBezTo>
                  <a:cubicBezTo>
                    <a:pt x="21632" y="158102"/>
                    <a:pt x="21950" y="158102"/>
                    <a:pt x="21950" y="157783"/>
                  </a:cubicBezTo>
                  <a:cubicBezTo>
                    <a:pt x="21632" y="157783"/>
                    <a:pt x="21632" y="157147"/>
                    <a:pt x="21632" y="157147"/>
                  </a:cubicBezTo>
                  <a:cubicBezTo>
                    <a:pt x="21314" y="157147"/>
                    <a:pt x="20677" y="157465"/>
                    <a:pt x="20041" y="157465"/>
                  </a:cubicBezTo>
                  <a:lnTo>
                    <a:pt x="20041" y="157783"/>
                  </a:lnTo>
                  <a:lnTo>
                    <a:pt x="20041" y="158102"/>
                  </a:lnTo>
                  <a:close/>
                  <a:moveTo>
                    <a:pt x="20359" y="122791"/>
                  </a:moveTo>
                  <a:lnTo>
                    <a:pt x="20677" y="122791"/>
                  </a:lnTo>
                  <a:cubicBezTo>
                    <a:pt x="20677" y="122791"/>
                    <a:pt x="20359" y="122791"/>
                    <a:pt x="20359" y="123109"/>
                  </a:cubicBezTo>
                  <a:lnTo>
                    <a:pt x="20359" y="122791"/>
                  </a:lnTo>
                  <a:close/>
                  <a:moveTo>
                    <a:pt x="22586" y="160328"/>
                  </a:moveTo>
                  <a:cubicBezTo>
                    <a:pt x="22586" y="160328"/>
                    <a:pt x="22586" y="160328"/>
                    <a:pt x="22904" y="160328"/>
                  </a:cubicBezTo>
                  <a:cubicBezTo>
                    <a:pt x="22586" y="160328"/>
                    <a:pt x="22586" y="160328"/>
                    <a:pt x="22586" y="160010"/>
                  </a:cubicBezTo>
                  <a:cubicBezTo>
                    <a:pt x="22586" y="160010"/>
                    <a:pt x="22586" y="160010"/>
                    <a:pt x="22586" y="160328"/>
                  </a:cubicBezTo>
                  <a:close/>
                  <a:moveTo>
                    <a:pt x="27040" y="77937"/>
                  </a:moveTo>
                  <a:cubicBezTo>
                    <a:pt x="27040" y="77937"/>
                    <a:pt x="27676" y="77619"/>
                    <a:pt x="27040" y="77619"/>
                  </a:cubicBezTo>
                  <a:cubicBezTo>
                    <a:pt x="27040" y="77301"/>
                    <a:pt x="26721" y="77301"/>
                    <a:pt x="26721" y="77301"/>
                  </a:cubicBezTo>
                  <a:cubicBezTo>
                    <a:pt x="26721" y="77937"/>
                    <a:pt x="26721" y="77937"/>
                    <a:pt x="26721" y="77937"/>
                  </a:cubicBezTo>
                  <a:cubicBezTo>
                    <a:pt x="27040" y="77937"/>
                    <a:pt x="27040" y="77937"/>
                    <a:pt x="27040" y="77937"/>
                  </a:cubicBezTo>
                  <a:close/>
                  <a:moveTo>
                    <a:pt x="27040" y="163509"/>
                  </a:moveTo>
                  <a:cubicBezTo>
                    <a:pt x="27040" y="163509"/>
                    <a:pt x="27040" y="163509"/>
                    <a:pt x="27040" y="163828"/>
                  </a:cubicBezTo>
                  <a:cubicBezTo>
                    <a:pt x="27040" y="163509"/>
                    <a:pt x="27040" y="163509"/>
                    <a:pt x="27040" y="163509"/>
                  </a:cubicBezTo>
                  <a:close/>
                  <a:moveTo>
                    <a:pt x="27994" y="157783"/>
                  </a:moveTo>
                  <a:cubicBezTo>
                    <a:pt x="27994" y="157783"/>
                    <a:pt x="27994" y="158102"/>
                    <a:pt x="27994" y="157783"/>
                  </a:cubicBezTo>
                  <a:cubicBezTo>
                    <a:pt x="28630" y="157465"/>
                    <a:pt x="28948" y="157147"/>
                    <a:pt x="29266" y="156511"/>
                  </a:cubicBezTo>
                  <a:cubicBezTo>
                    <a:pt x="29266" y="156511"/>
                    <a:pt x="29266" y="156193"/>
                    <a:pt x="29266" y="156511"/>
                  </a:cubicBezTo>
                  <a:cubicBezTo>
                    <a:pt x="28312" y="156511"/>
                    <a:pt x="27994" y="156829"/>
                    <a:pt x="27676" y="157465"/>
                  </a:cubicBezTo>
                  <a:cubicBezTo>
                    <a:pt x="27994" y="157465"/>
                    <a:pt x="27994" y="157783"/>
                    <a:pt x="27994" y="157783"/>
                  </a:cubicBezTo>
                  <a:close/>
                  <a:moveTo>
                    <a:pt x="32129" y="160965"/>
                  </a:moveTo>
                  <a:lnTo>
                    <a:pt x="32129" y="161283"/>
                  </a:lnTo>
                  <a:cubicBezTo>
                    <a:pt x="32447" y="161283"/>
                    <a:pt x="32129" y="161283"/>
                    <a:pt x="32129" y="161283"/>
                  </a:cubicBezTo>
                  <a:cubicBezTo>
                    <a:pt x="31175" y="161283"/>
                    <a:pt x="30857" y="161283"/>
                    <a:pt x="30539" y="161601"/>
                  </a:cubicBezTo>
                  <a:cubicBezTo>
                    <a:pt x="29903" y="161919"/>
                    <a:pt x="29584" y="161283"/>
                    <a:pt x="29266" y="160965"/>
                  </a:cubicBezTo>
                  <a:cubicBezTo>
                    <a:pt x="29266" y="160646"/>
                    <a:pt x="29266" y="160328"/>
                    <a:pt x="29266" y="160328"/>
                  </a:cubicBezTo>
                  <a:cubicBezTo>
                    <a:pt x="29584" y="160328"/>
                    <a:pt x="30221" y="160646"/>
                    <a:pt x="30539" y="160646"/>
                  </a:cubicBezTo>
                  <a:cubicBezTo>
                    <a:pt x="30539" y="160646"/>
                    <a:pt x="31175" y="160646"/>
                    <a:pt x="32129" y="160965"/>
                  </a:cubicBezTo>
                  <a:close/>
                  <a:moveTo>
                    <a:pt x="30857" y="157147"/>
                  </a:moveTo>
                  <a:cubicBezTo>
                    <a:pt x="31175" y="156829"/>
                    <a:pt x="31175" y="156511"/>
                    <a:pt x="30857" y="156829"/>
                  </a:cubicBezTo>
                  <a:cubicBezTo>
                    <a:pt x="30539" y="156829"/>
                    <a:pt x="30539" y="156829"/>
                    <a:pt x="30539" y="156829"/>
                  </a:cubicBezTo>
                  <a:cubicBezTo>
                    <a:pt x="30221" y="157147"/>
                    <a:pt x="30539" y="157147"/>
                    <a:pt x="30857" y="157147"/>
                  </a:cubicBezTo>
                  <a:close/>
                  <a:moveTo>
                    <a:pt x="33402" y="79528"/>
                  </a:moveTo>
                  <a:cubicBezTo>
                    <a:pt x="33402" y="79528"/>
                    <a:pt x="33402" y="79528"/>
                    <a:pt x="33084" y="79528"/>
                  </a:cubicBezTo>
                  <a:cubicBezTo>
                    <a:pt x="33402" y="79528"/>
                    <a:pt x="33402" y="79528"/>
                    <a:pt x="33402" y="79528"/>
                  </a:cubicBezTo>
                  <a:cubicBezTo>
                    <a:pt x="33402" y="79528"/>
                    <a:pt x="33402" y="79528"/>
                    <a:pt x="33720" y="79528"/>
                  </a:cubicBezTo>
                  <a:lnTo>
                    <a:pt x="33402" y="79528"/>
                  </a:lnTo>
                  <a:close/>
                  <a:moveTo>
                    <a:pt x="33720" y="79528"/>
                  </a:moveTo>
                  <a:cubicBezTo>
                    <a:pt x="34356" y="79846"/>
                    <a:pt x="34356" y="79846"/>
                    <a:pt x="33720" y="80482"/>
                  </a:cubicBezTo>
                  <a:cubicBezTo>
                    <a:pt x="33720" y="80482"/>
                    <a:pt x="33402" y="79846"/>
                    <a:pt x="33720" y="79528"/>
                  </a:cubicBezTo>
                  <a:close/>
                  <a:moveTo>
                    <a:pt x="34356" y="102750"/>
                  </a:moveTo>
                  <a:cubicBezTo>
                    <a:pt x="34674" y="102750"/>
                    <a:pt x="34674" y="102750"/>
                    <a:pt x="34674" y="102432"/>
                  </a:cubicBezTo>
                  <a:cubicBezTo>
                    <a:pt x="34356" y="102432"/>
                    <a:pt x="33720" y="102432"/>
                    <a:pt x="33720" y="102432"/>
                  </a:cubicBezTo>
                  <a:lnTo>
                    <a:pt x="33720" y="102750"/>
                  </a:lnTo>
                  <a:cubicBezTo>
                    <a:pt x="34038" y="102750"/>
                    <a:pt x="34356" y="102750"/>
                    <a:pt x="34356" y="102750"/>
                  </a:cubicBezTo>
                  <a:close/>
                  <a:moveTo>
                    <a:pt x="34038" y="161283"/>
                  </a:moveTo>
                  <a:lnTo>
                    <a:pt x="34038" y="160965"/>
                  </a:lnTo>
                  <a:lnTo>
                    <a:pt x="34038" y="160646"/>
                  </a:lnTo>
                  <a:cubicBezTo>
                    <a:pt x="34674" y="160010"/>
                    <a:pt x="36265" y="159374"/>
                    <a:pt x="37537" y="159374"/>
                  </a:cubicBezTo>
                  <a:cubicBezTo>
                    <a:pt x="37855" y="159692"/>
                    <a:pt x="38810" y="159056"/>
                    <a:pt x="39764" y="159056"/>
                  </a:cubicBezTo>
                  <a:cubicBezTo>
                    <a:pt x="41036" y="159056"/>
                    <a:pt x="41036" y="159374"/>
                    <a:pt x="40718" y="160010"/>
                  </a:cubicBezTo>
                  <a:cubicBezTo>
                    <a:pt x="39128" y="160010"/>
                    <a:pt x="38173" y="160328"/>
                    <a:pt x="37219" y="160010"/>
                  </a:cubicBezTo>
                  <a:cubicBezTo>
                    <a:pt x="36901" y="160010"/>
                    <a:pt x="36583" y="160328"/>
                    <a:pt x="36265" y="160646"/>
                  </a:cubicBezTo>
                  <a:cubicBezTo>
                    <a:pt x="35310" y="161283"/>
                    <a:pt x="35310" y="161283"/>
                    <a:pt x="34356" y="161283"/>
                  </a:cubicBezTo>
                  <a:lnTo>
                    <a:pt x="34038" y="161283"/>
                  </a:lnTo>
                  <a:close/>
                  <a:moveTo>
                    <a:pt x="36265" y="158102"/>
                  </a:moveTo>
                  <a:lnTo>
                    <a:pt x="35629" y="157783"/>
                  </a:lnTo>
                  <a:cubicBezTo>
                    <a:pt x="36265" y="157465"/>
                    <a:pt x="36265" y="157147"/>
                    <a:pt x="36265" y="157147"/>
                  </a:cubicBezTo>
                  <a:cubicBezTo>
                    <a:pt x="36583" y="157147"/>
                    <a:pt x="37219" y="157147"/>
                    <a:pt x="37537" y="157465"/>
                  </a:cubicBezTo>
                  <a:cubicBezTo>
                    <a:pt x="37537" y="157465"/>
                    <a:pt x="37855" y="157783"/>
                    <a:pt x="37855" y="158102"/>
                  </a:cubicBezTo>
                  <a:lnTo>
                    <a:pt x="37537" y="158420"/>
                  </a:lnTo>
                  <a:cubicBezTo>
                    <a:pt x="37537" y="158420"/>
                    <a:pt x="37537" y="158420"/>
                    <a:pt x="36901" y="158420"/>
                  </a:cubicBezTo>
                  <a:cubicBezTo>
                    <a:pt x="36583" y="158420"/>
                    <a:pt x="36583" y="158102"/>
                    <a:pt x="36265" y="158102"/>
                  </a:cubicBezTo>
                  <a:close/>
                  <a:moveTo>
                    <a:pt x="36901" y="24177"/>
                  </a:moveTo>
                  <a:cubicBezTo>
                    <a:pt x="37219" y="24177"/>
                    <a:pt x="37219" y="24177"/>
                    <a:pt x="37219" y="24177"/>
                  </a:cubicBezTo>
                  <a:cubicBezTo>
                    <a:pt x="37219" y="23858"/>
                    <a:pt x="37219" y="23858"/>
                    <a:pt x="36901" y="23540"/>
                  </a:cubicBezTo>
                  <a:cubicBezTo>
                    <a:pt x="36901" y="23540"/>
                    <a:pt x="36901" y="23858"/>
                    <a:pt x="36583" y="23858"/>
                  </a:cubicBezTo>
                  <a:cubicBezTo>
                    <a:pt x="36901" y="23858"/>
                    <a:pt x="36901" y="24177"/>
                    <a:pt x="36901" y="24177"/>
                  </a:cubicBezTo>
                  <a:close/>
                  <a:moveTo>
                    <a:pt x="38810" y="155239"/>
                  </a:moveTo>
                  <a:lnTo>
                    <a:pt x="38491" y="155239"/>
                  </a:lnTo>
                  <a:cubicBezTo>
                    <a:pt x="38810" y="155239"/>
                    <a:pt x="38810" y="155239"/>
                    <a:pt x="38810" y="155239"/>
                  </a:cubicBezTo>
                  <a:close/>
                  <a:moveTo>
                    <a:pt x="46762" y="32766"/>
                  </a:moveTo>
                  <a:cubicBezTo>
                    <a:pt x="46126" y="33084"/>
                    <a:pt x="45490" y="33402"/>
                    <a:pt x="44854" y="34038"/>
                  </a:cubicBezTo>
                  <a:cubicBezTo>
                    <a:pt x="43581" y="34674"/>
                    <a:pt x="43263" y="34992"/>
                    <a:pt x="42309" y="35629"/>
                  </a:cubicBezTo>
                  <a:cubicBezTo>
                    <a:pt x="41355" y="35947"/>
                    <a:pt x="40718" y="36901"/>
                    <a:pt x="39764" y="37537"/>
                  </a:cubicBezTo>
                  <a:cubicBezTo>
                    <a:pt x="39764" y="37855"/>
                    <a:pt x="39764" y="37855"/>
                    <a:pt x="40082" y="38173"/>
                  </a:cubicBezTo>
                  <a:cubicBezTo>
                    <a:pt x="40082" y="38173"/>
                    <a:pt x="40718" y="38492"/>
                    <a:pt x="40718" y="38173"/>
                  </a:cubicBezTo>
                  <a:cubicBezTo>
                    <a:pt x="41355" y="37855"/>
                    <a:pt x="41991" y="37537"/>
                    <a:pt x="42309" y="36583"/>
                  </a:cubicBezTo>
                  <a:cubicBezTo>
                    <a:pt x="43263" y="36265"/>
                    <a:pt x="43581" y="35629"/>
                    <a:pt x="44854" y="35310"/>
                  </a:cubicBezTo>
                  <a:cubicBezTo>
                    <a:pt x="45808" y="34674"/>
                    <a:pt x="46762" y="34038"/>
                    <a:pt x="47081" y="33402"/>
                  </a:cubicBezTo>
                  <a:cubicBezTo>
                    <a:pt x="47399" y="33402"/>
                    <a:pt x="47081" y="33084"/>
                    <a:pt x="47081" y="33084"/>
                  </a:cubicBezTo>
                  <a:lnTo>
                    <a:pt x="46762" y="32766"/>
                  </a:lnTo>
                  <a:close/>
                  <a:moveTo>
                    <a:pt x="41991" y="105613"/>
                  </a:moveTo>
                  <a:cubicBezTo>
                    <a:pt x="41991" y="105613"/>
                    <a:pt x="41991" y="105613"/>
                    <a:pt x="41991" y="105295"/>
                  </a:cubicBezTo>
                  <a:cubicBezTo>
                    <a:pt x="41673" y="105295"/>
                    <a:pt x="41036" y="105295"/>
                    <a:pt x="41036" y="105295"/>
                  </a:cubicBezTo>
                  <a:lnTo>
                    <a:pt x="40718" y="105295"/>
                  </a:lnTo>
                  <a:cubicBezTo>
                    <a:pt x="40718" y="105295"/>
                    <a:pt x="40718" y="105295"/>
                    <a:pt x="41036" y="105295"/>
                  </a:cubicBezTo>
                  <a:cubicBezTo>
                    <a:pt x="41036" y="105613"/>
                    <a:pt x="41036" y="105613"/>
                    <a:pt x="41673" y="105931"/>
                  </a:cubicBezTo>
                  <a:cubicBezTo>
                    <a:pt x="41673" y="105613"/>
                    <a:pt x="41991" y="105613"/>
                    <a:pt x="41991" y="105613"/>
                  </a:cubicBezTo>
                  <a:close/>
                  <a:moveTo>
                    <a:pt x="41036" y="82709"/>
                  </a:moveTo>
                  <a:lnTo>
                    <a:pt x="41355" y="82709"/>
                  </a:lnTo>
                  <a:cubicBezTo>
                    <a:pt x="41991" y="82709"/>
                    <a:pt x="41991" y="83027"/>
                    <a:pt x="42309" y="83345"/>
                  </a:cubicBezTo>
                  <a:lnTo>
                    <a:pt x="42309" y="83663"/>
                  </a:lnTo>
                  <a:cubicBezTo>
                    <a:pt x="42309" y="83663"/>
                    <a:pt x="41991" y="83663"/>
                    <a:pt x="41991" y="83982"/>
                  </a:cubicBezTo>
                  <a:cubicBezTo>
                    <a:pt x="41673" y="83663"/>
                    <a:pt x="41355" y="83027"/>
                    <a:pt x="41036" y="82709"/>
                  </a:cubicBezTo>
                  <a:close/>
                  <a:moveTo>
                    <a:pt x="42945" y="140924"/>
                  </a:moveTo>
                  <a:cubicBezTo>
                    <a:pt x="42309" y="140924"/>
                    <a:pt x="41991" y="140924"/>
                    <a:pt x="41673" y="140605"/>
                  </a:cubicBezTo>
                  <a:lnTo>
                    <a:pt x="41673" y="140924"/>
                  </a:lnTo>
                  <a:cubicBezTo>
                    <a:pt x="41355" y="140924"/>
                    <a:pt x="41673" y="140924"/>
                    <a:pt x="41673" y="140924"/>
                  </a:cubicBezTo>
                  <a:cubicBezTo>
                    <a:pt x="41991" y="140924"/>
                    <a:pt x="42309" y="141242"/>
                    <a:pt x="42309" y="141560"/>
                  </a:cubicBezTo>
                  <a:cubicBezTo>
                    <a:pt x="42627" y="141878"/>
                    <a:pt x="42945" y="141560"/>
                    <a:pt x="42945" y="141560"/>
                  </a:cubicBezTo>
                  <a:lnTo>
                    <a:pt x="43263" y="141242"/>
                  </a:lnTo>
                  <a:cubicBezTo>
                    <a:pt x="43263" y="140924"/>
                    <a:pt x="43263" y="140924"/>
                    <a:pt x="42945" y="140924"/>
                  </a:cubicBezTo>
                  <a:close/>
                  <a:moveTo>
                    <a:pt x="41991" y="155557"/>
                  </a:moveTo>
                  <a:cubicBezTo>
                    <a:pt x="42309" y="155875"/>
                    <a:pt x="42309" y="155875"/>
                    <a:pt x="42309" y="156193"/>
                  </a:cubicBezTo>
                  <a:cubicBezTo>
                    <a:pt x="41991" y="156193"/>
                    <a:pt x="41991" y="155875"/>
                    <a:pt x="41991" y="155557"/>
                  </a:cubicBezTo>
                  <a:close/>
                  <a:moveTo>
                    <a:pt x="42627" y="158738"/>
                  </a:moveTo>
                  <a:lnTo>
                    <a:pt x="42309" y="158420"/>
                  </a:lnTo>
                  <a:cubicBezTo>
                    <a:pt x="42309" y="158420"/>
                    <a:pt x="42627" y="158420"/>
                    <a:pt x="42945" y="158420"/>
                  </a:cubicBezTo>
                  <a:cubicBezTo>
                    <a:pt x="43263" y="158420"/>
                    <a:pt x="43581" y="158420"/>
                    <a:pt x="43899" y="158420"/>
                  </a:cubicBezTo>
                  <a:cubicBezTo>
                    <a:pt x="44218" y="158420"/>
                    <a:pt x="44854" y="158102"/>
                    <a:pt x="45172" y="157783"/>
                  </a:cubicBezTo>
                  <a:cubicBezTo>
                    <a:pt x="45490" y="157465"/>
                    <a:pt x="45808" y="157147"/>
                    <a:pt x="45808" y="157147"/>
                  </a:cubicBezTo>
                  <a:cubicBezTo>
                    <a:pt x="46762" y="157147"/>
                    <a:pt x="47399" y="157147"/>
                    <a:pt x="48671" y="157147"/>
                  </a:cubicBezTo>
                  <a:cubicBezTo>
                    <a:pt x="49307" y="156829"/>
                    <a:pt x="48671" y="157147"/>
                    <a:pt x="48671" y="157465"/>
                  </a:cubicBezTo>
                  <a:cubicBezTo>
                    <a:pt x="48671" y="158102"/>
                    <a:pt x="48671" y="158420"/>
                    <a:pt x="48353" y="158420"/>
                  </a:cubicBezTo>
                  <a:cubicBezTo>
                    <a:pt x="47717" y="158420"/>
                    <a:pt x="47081" y="158738"/>
                    <a:pt x="46762" y="159056"/>
                  </a:cubicBezTo>
                  <a:cubicBezTo>
                    <a:pt x="45808" y="159374"/>
                    <a:pt x="44218" y="158738"/>
                    <a:pt x="43581" y="159374"/>
                  </a:cubicBezTo>
                  <a:cubicBezTo>
                    <a:pt x="43263" y="159374"/>
                    <a:pt x="42945" y="159056"/>
                    <a:pt x="42627" y="158738"/>
                  </a:cubicBezTo>
                  <a:close/>
                  <a:moveTo>
                    <a:pt x="44218" y="104341"/>
                  </a:moveTo>
                  <a:cubicBezTo>
                    <a:pt x="44218" y="104341"/>
                    <a:pt x="44218" y="104341"/>
                    <a:pt x="44218" y="104659"/>
                  </a:cubicBezTo>
                  <a:cubicBezTo>
                    <a:pt x="44218" y="104341"/>
                    <a:pt x="44218" y="104341"/>
                    <a:pt x="44854" y="104341"/>
                  </a:cubicBezTo>
                  <a:cubicBezTo>
                    <a:pt x="44854" y="104341"/>
                    <a:pt x="44854" y="104341"/>
                    <a:pt x="44218" y="104341"/>
                  </a:cubicBezTo>
                  <a:close/>
                  <a:moveTo>
                    <a:pt x="45808" y="88753"/>
                  </a:moveTo>
                  <a:lnTo>
                    <a:pt x="45490" y="88753"/>
                  </a:lnTo>
                  <a:cubicBezTo>
                    <a:pt x="45490" y="89071"/>
                    <a:pt x="46126" y="89708"/>
                    <a:pt x="46444" y="89708"/>
                  </a:cubicBezTo>
                  <a:lnTo>
                    <a:pt x="46444" y="89389"/>
                  </a:lnTo>
                  <a:cubicBezTo>
                    <a:pt x="46444" y="89071"/>
                    <a:pt x="46126" y="88753"/>
                    <a:pt x="45808" y="88753"/>
                  </a:cubicBezTo>
                  <a:close/>
                  <a:moveTo>
                    <a:pt x="47717" y="153330"/>
                  </a:moveTo>
                  <a:cubicBezTo>
                    <a:pt x="47399" y="153012"/>
                    <a:pt x="47399" y="153012"/>
                    <a:pt x="47399" y="153012"/>
                  </a:cubicBezTo>
                  <a:cubicBezTo>
                    <a:pt x="47081" y="153012"/>
                    <a:pt x="46762" y="153012"/>
                    <a:pt x="46762" y="153012"/>
                  </a:cubicBezTo>
                  <a:cubicBezTo>
                    <a:pt x="46762" y="153330"/>
                    <a:pt x="46762" y="153330"/>
                    <a:pt x="47081" y="153648"/>
                  </a:cubicBezTo>
                  <a:lnTo>
                    <a:pt x="47399" y="153648"/>
                  </a:lnTo>
                  <a:cubicBezTo>
                    <a:pt x="47399" y="153330"/>
                    <a:pt x="47399" y="153330"/>
                    <a:pt x="47717" y="153330"/>
                  </a:cubicBezTo>
                  <a:close/>
                  <a:moveTo>
                    <a:pt x="47081" y="160328"/>
                  </a:moveTo>
                  <a:cubicBezTo>
                    <a:pt x="47081" y="160328"/>
                    <a:pt x="47081" y="160010"/>
                    <a:pt x="47399" y="160010"/>
                  </a:cubicBezTo>
                  <a:cubicBezTo>
                    <a:pt x="47717" y="160010"/>
                    <a:pt x="48035" y="160010"/>
                    <a:pt x="48035" y="160010"/>
                  </a:cubicBezTo>
                  <a:cubicBezTo>
                    <a:pt x="48353" y="160010"/>
                    <a:pt x="48353" y="160010"/>
                    <a:pt x="48353" y="160010"/>
                  </a:cubicBezTo>
                  <a:cubicBezTo>
                    <a:pt x="48353" y="160010"/>
                    <a:pt x="48353" y="160328"/>
                    <a:pt x="48353" y="160646"/>
                  </a:cubicBezTo>
                  <a:cubicBezTo>
                    <a:pt x="48035" y="160646"/>
                    <a:pt x="47717" y="160646"/>
                    <a:pt x="47399" y="160646"/>
                  </a:cubicBezTo>
                  <a:cubicBezTo>
                    <a:pt x="47081" y="160646"/>
                    <a:pt x="47081" y="160328"/>
                    <a:pt x="47081" y="160328"/>
                  </a:cubicBezTo>
                  <a:close/>
                  <a:moveTo>
                    <a:pt x="48353" y="111975"/>
                  </a:moveTo>
                  <a:lnTo>
                    <a:pt x="48353" y="112293"/>
                  </a:lnTo>
                  <a:cubicBezTo>
                    <a:pt x="48035" y="112293"/>
                    <a:pt x="47717" y="111975"/>
                    <a:pt x="47399" y="111657"/>
                  </a:cubicBezTo>
                  <a:cubicBezTo>
                    <a:pt x="47717" y="111657"/>
                    <a:pt x="48353" y="111657"/>
                    <a:pt x="48353" y="111975"/>
                  </a:cubicBezTo>
                  <a:close/>
                  <a:moveTo>
                    <a:pt x="49944" y="35310"/>
                  </a:moveTo>
                  <a:lnTo>
                    <a:pt x="49625" y="35310"/>
                  </a:lnTo>
                  <a:lnTo>
                    <a:pt x="49307" y="35310"/>
                  </a:lnTo>
                  <a:cubicBezTo>
                    <a:pt x="49307" y="35629"/>
                    <a:pt x="49625" y="35629"/>
                    <a:pt x="49625" y="35629"/>
                  </a:cubicBezTo>
                  <a:cubicBezTo>
                    <a:pt x="49307" y="35629"/>
                    <a:pt x="48353" y="35629"/>
                    <a:pt x="48035" y="36265"/>
                  </a:cubicBezTo>
                  <a:cubicBezTo>
                    <a:pt x="48035" y="36583"/>
                    <a:pt x="48035" y="36583"/>
                    <a:pt x="48035" y="36583"/>
                  </a:cubicBezTo>
                  <a:cubicBezTo>
                    <a:pt x="48671" y="36583"/>
                    <a:pt x="48671" y="36265"/>
                    <a:pt x="49625" y="35629"/>
                  </a:cubicBezTo>
                  <a:cubicBezTo>
                    <a:pt x="49944" y="35629"/>
                    <a:pt x="50262" y="35629"/>
                    <a:pt x="49944" y="35310"/>
                  </a:cubicBezTo>
                  <a:close/>
                  <a:moveTo>
                    <a:pt x="51216" y="31811"/>
                  </a:moveTo>
                  <a:cubicBezTo>
                    <a:pt x="51852" y="30857"/>
                    <a:pt x="52488" y="30539"/>
                    <a:pt x="53761" y="30221"/>
                  </a:cubicBezTo>
                  <a:cubicBezTo>
                    <a:pt x="53761" y="30221"/>
                    <a:pt x="54397" y="29584"/>
                    <a:pt x="54715" y="29584"/>
                  </a:cubicBezTo>
                  <a:cubicBezTo>
                    <a:pt x="55033" y="29584"/>
                    <a:pt x="55033" y="29266"/>
                    <a:pt x="55033" y="29266"/>
                  </a:cubicBezTo>
                  <a:cubicBezTo>
                    <a:pt x="54715" y="29266"/>
                    <a:pt x="54397" y="28948"/>
                    <a:pt x="54079" y="28948"/>
                  </a:cubicBezTo>
                  <a:cubicBezTo>
                    <a:pt x="53761" y="28948"/>
                    <a:pt x="52806" y="29266"/>
                    <a:pt x="52488" y="29903"/>
                  </a:cubicBezTo>
                  <a:cubicBezTo>
                    <a:pt x="51852" y="30221"/>
                    <a:pt x="51852" y="30539"/>
                    <a:pt x="51534" y="30539"/>
                  </a:cubicBezTo>
                  <a:cubicBezTo>
                    <a:pt x="50580" y="30539"/>
                    <a:pt x="49944" y="31175"/>
                    <a:pt x="48671" y="31811"/>
                  </a:cubicBezTo>
                  <a:cubicBezTo>
                    <a:pt x="48671" y="32129"/>
                    <a:pt x="49307" y="32129"/>
                    <a:pt x="48671" y="32129"/>
                  </a:cubicBezTo>
                  <a:cubicBezTo>
                    <a:pt x="49944" y="32129"/>
                    <a:pt x="50580" y="31811"/>
                    <a:pt x="51216" y="31811"/>
                  </a:cubicBezTo>
                  <a:close/>
                  <a:moveTo>
                    <a:pt x="50262" y="105295"/>
                  </a:moveTo>
                  <a:cubicBezTo>
                    <a:pt x="49944" y="105295"/>
                    <a:pt x="49944" y="105295"/>
                    <a:pt x="50262" y="105295"/>
                  </a:cubicBezTo>
                  <a:cubicBezTo>
                    <a:pt x="50580" y="105295"/>
                    <a:pt x="50580" y="105295"/>
                    <a:pt x="50580" y="105295"/>
                  </a:cubicBezTo>
                  <a:cubicBezTo>
                    <a:pt x="50262" y="105295"/>
                    <a:pt x="50262" y="105295"/>
                    <a:pt x="50262" y="105295"/>
                  </a:cubicBezTo>
                  <a:close/>
                  <a:moveTo>
                    <a:pt x="52488" y="159692"/>
                  </a:moveTo>
                  <a:lnTo>
                    <a:pt x="52488" y="160010"/>
                  </a:lnTo>
                  <a:cubicBezTo>
                    <a:pt x="51852" y="160010"/>
                    <a:pt x="51534" y="160010"/>
                    <a:pt x="51216" y="160010"/>
                  </a:cubicBezTo>
                  <a:cubicBezTo>
                    <a:pt x="50898" y="160010"/>
                    <a:pt x="50898" y="160010"/>
                    <a:pt x="50580" y="160010"/>
                  </a:cubicBezTo>
                  <a:cubicBezTo>
                    <a:pt x="50580" y="159692"/>
                    <a:pt x="51216" y="159374"/>
                    <a:pt x="51216" y="159374"/>
                  </a:cubicBezTo>
                  <a:cubicBezTo>
                    <a:pt x="51534" y="159374"/>
                    <a:pt x="51852" y="159374"/>
                    <a:pt x="51852" y="159374"/>
                  </a:cubicBezTo>
                  <a:cubicBezTo>
                    <a:pt x="51852" y="159374"/>
                    <a:pt x="52170" y="159692"/>
                    <a:pt x="52488" y="159692"/>
                  </a:cubicBezTo>
                  <a:close/>
                  <a:moveTo>
                    <a:pt x="52170" y="156193"/>
                  </a:moveTo>
                  <a:cubicBezTo>
                    <a:pt x="52170" y="156193"/>
                    <a:pt x="52170" y="156193"/>
                    <a:pt x="52488" y="156193"/>
                  </a:cubicBezTo>
                  <a:cubicBezTo>
                    <a:pt x="53443" y="156193"/>
                    <a:pt x="53761" y="156829"/>
                    <a:pt x="53443" y="156829"/>
                  </a:cubicBezTo>
                  <a:cubicBezTo>
                    <a:pt x="53443" y="156829"/>
                    <a:pt x="52806" y="156829"/>
                    <a:pt x="52488" y="156829"/>
                  </a:cubicBezTo>
                  <a:cubicBezTo>
                    <a:pt x="52488" y="156829"/>
                    <a:pt x="52170" y="156511"/>
                    <a:pt x="52170" y="156193"/>
                  </a:cubicBezTo>
                  <a:close/>
                  <a:moveTo>
                    <a:pt x="54715" y="113884"/>
                  </a:moveTo>
                  <a:lnTo>
                    <a:pt x="54715" y="114202"/>
                  </a:lnTo>
                  <a:cubicBezTo>
                    <a:pt x="54715" y="114202"/>
                    <a:pt x="54397" y="114520"/>
                    <a:pt x="53761" y="114520"/>
                  </a:cubicBezTo>
                  <a:cubicBezTo>
                    <a:pt x="53761" y="114520"/>
                    <a:pt x="53443" y="114520"/>
                    <a:pt x="53443" y="114202"/>
                  </a:cubicBezTo>
                  <a:lnTo>
                    <a:pt x="53443" y="113884"/>
                  </a:lnTo>
                  <a:cubicBezTo>
                    <a:pt x="53761" y="113884"/>
                    <a:pt x="54079" y="113884"/>
                    <a:pt x="54397" y="113884"/>
                  </a:cubicBezTo>
                  <a:cubicBezTo>
                    <a:pt x="54715" y="113884"/>
                    <a:pt x="54715" y="113884"/>
                    <a:pt x="54715" y="113884"/>
                  </a:cubicBezTo>
                  <a:close/>
                  <a:moveTo>
                    <a:pt x="55033" y="12406"/>
                  </a:moveTo>
                  <a:cubicBezTo>
                    <a:pt x="55033" y="12724"/>
                    <a:pt x="55352" y="12724"/>
                    <a:pt x="55670" y="12724"/>
                  </a:cubicBezTo>
                  <a:cubicBezTo>
                    <a:pt x="55670" y="12724"/>
                    <a:pt x="55670" y="12406"/>
                    <a:pt x="55988" y="12406"/>
                  </a:cubicBezTo>
                  <a:cubicBezTo>
                    <a:pt x="55670" y="12406"/>
                    <a:pt x="55352" y="12406"/>
                    <a:pt x="55033" y="12406"/>
                  </a:cubicBezTo>
                  <a:close/>
                  <a:moveTo>
                    <a:pt x="57260" y="27358"/>
                  </a:moveTo>
                  <a:cubicBezTo>
                    <a:pt x="56624" y="26721"/>
                    <a:pt x="55988" y="27040"/>
                    <a:pt x="55670" y="27676"/>
                  </a:cubicBezTo>
                  <a:cubicBezTo>
                    <a:pt x="55670" y="27676"/>
                    <a:pt x="55988" y="27994"/>
                    <a:pt x="55988" y="28312"/>
                  </a:cubicBezTo>
                  <a:cubicBezTo>
                    <a:pt x="56306" y="28312"/>
                    <a:pt x="56624" y="28312"/>
                    <a:pt x="57260" y="27994"/>
                  </a:cubicBezTo>
                  <a:cubicBezTo>
                    <a:pt x="57896" y="27676"/>
                    <a:pt x="57896" y="27676"/>
                    <a:pt x="57896" y="27676"/>
                  </a:cubicBezTo>
                  <a:cubicBezTo>
                    <a:pt x="57896" y="27676"/>
                    <a:pt x="57260" y="27676"/>
                    <a:pt x="57260" y="27358"/>
                  </a:cubicBezTo>
                  <a:close/>
                  <a:moveTo>
                    <a:pt x="55988" y="113884"/>
                  </a:moveTo>
                  <a:lnTo>
                    <a:pt x="56306" y="113566"/>
                  </a:lnTo>
                  <a:cubicBezTo>
                    <a:pt x="56306" y="113566"/>
                    <a:pt x="56624" y="113566"/>
                    <a:pt x="56942" y="113566"/>
                  </a:cubicBezTo>
                  <a:cubicBezTo>
                    <a:pt x="57260" y="113566"/>
                    <a:pt x="57260" y="113884"/>
                    <a:pt x="57260" y="113884"/>
                  </a:cubicBezTo>
                  <a:cubicBezTo>
                    <a:pt x="57260" y="114202"/>
                    <a:pt x="56942" y="114202"/>
                    <a:pt x="56942" y="114202"/>
                  </a:cubicBezTo>
                  <a:lnTo>
                    <a:pt x="56624" y="114202"/>
                  </a:lnTo>
                  <a:cubicBezTo>
                    <a:pt x="56624" y="114202"/>
                    <a:pt x="56306" y="114202"/>
                    <a:pt x="55988" y="113884"/>
                  </a:cubicBezTo>
                  <a:close/>
                  <a:moveTo>
                    <a:pt x="57896" y="150785"/>
                  </a:moveTo>
                  <a:cubicBezTo>
                    <a:pt x="57896" y="150467"/>
                    <a:pt x="56942" y="151103"/>
                    <a:pt x="56306" y="151421"/>
                  </a:cubicBezTo>
                  <a:cubicBezTo>
                    <a:pt x="56306" y="151739"/>
                    <a:pt x="56942" y="151421"/>
                    <a:pt x="57260" y="151739"/>
                  </a:cubicBezTo>
                  <a:cubicBezTo>
                    <a:pt x="57896" y="152057"/>
                    <a:pt x="57260" y="152376"/>
                    <a:pt x="57896" y="152376"/>
                  </a:cubicBezTo>
                  <a:cubicBezTo>
                    <a:pt x="58214" y="152376"/>
                    <a:pt x="58214" y="152376"/>
                    <a:pt x="58533" y="152376"/>
                  </a:cubicBezTo>
                  <a:cubicBezTo>
                    <a:pt x="58851" y="151421"/>
                    <a:pt x="58851" y="151103"/>
                    <a:pt x="57896" y="150785"/>
                  </a:cubicBezTo>
                  <a:close/>
                  <a:moveTo>
                    <a:pt x="59487" y="26403"/>
                  </a:moveTo>
                  <a:cubicBezTo>
                    <a:pt x="60441" y="26085"/>
                    <a:pt x="61396" y="25449"/>
                    <a:pt x="62986" y="25131"/>
                  </a:cubicBezTo>
                  <a:lnTo>
                    <a:pt x="63304" y="24813"/>
                  </a:lnTo>
                  <a:cubicBezTo>
                    <a:pt x="63304" y="24813"/>
                    <a:pt x="63304" y="24813"/>
                    <a:pt x="62986" y="24813"/>
                  </a:cubicBezTo>
                  <a:cubicBezTo>
                    <a:pt x="62986" y="24495"/>
                    <a:pt x="62350" y="24495"/>
                    <a:pt x="62032" y="24813"/>
                  </a:cubicBezTo>
                  <a:cubicBezTo>
                    <a:pt x="60759" y="25131"/>
                    <a:pt x="60123" y="25449"/>
                    <a:pt x="59487" y="25449"/>
                  </a:cubicBezTo>
                  <a:cubicBezTo>
                    <a:pt x="59169" y="25449"/>
                    <a:pt x="58214" y="26085"/>
                    <a:pt x="57896" y="26403"/>
                  </a:cubicBezTo>
                  <a:cubicBezTo>
                    <a:pt x="57896" y="26403"/>
                    <a:pt x="57896" y="26721"/>
                    <a:pt x="58214" y="26721"/>
                  </a:cubicBezTo>
                  <a:cubicBezTo>
                    <a:pt x="58214" y="27040"/>
                    <a:pt x="58214" y="27040"/>
                    <a:pt x="58533" y="27040"/>
                  </a:cubicBezTo>
                  <a:cubicBezTo>
                    <a:pt x="58851" y="26721"/>
                    <a:pt x="59169" y="26721"/>
                    <a:pt x="59487" y="26403"/>
                  </a:cubicBezTo>
                  <a:close/>
                  <a:moveTo>
                    <a:pt x="60441" y="29584"/>
                  </a:moveTo>
                  <a:lnTo>
                    <a:pt x="60441" y="29266"/>
                  </a:lnTo>
                  <a:cubicBezTo>
                    <a:pt x="60123" y="29266"/>
                    <a:pt x="59805" y="29266"/>
                    <a:pt x="59805" y="29266"/>
                  </a:cubicBezTo>
                  <a:cubicBezTo>
                    <a:pt x="59169" y="29266"/>
                    <a:pt x="58851" y="29584"/>
                    <a:pt x="58533" y="30539"/>
                  </a:cubicBezTo>
                  <a:cubicBezTo>
                    <a:pt x="58214" y="30539"/>
                    <a:pt x="58533" y="30539"/>
                    <a:pt x="58533" y="30539"/>
                  </a:cubicBezTo>
                  <a:cubicBezTo>
                    <a:pt x="59169" y="30221"/>
                    <a:pt x="59805" y="29903"/>
                    <a:pt x="60441" y="29584"/>
                  </a:cubicBezTo>
                  <a:close/>
                  <a:moveTo>
                    <a:pt x="60441" y="110385"/>
                  </a:moveTo>
                  <a:cubicBezTo>
                    <a:pt x="61077" y="110067"/>
                    <a:pt x="61396" y="109749"/>
                    <a:pt x="61396" y="109112"/>
                  </a:cubicBezTo>
                  <a:cubicBezTo>
                    <a:pt x="62032" y="109112"/>
                    <a:pt x="61396" y="108794"/>
                    <a:pt x="62032" y="108476"/>
                  </a:cubicBezTo>
                  <a:cubicBezTo>
                    <a:pt x="62032" y="108158"/>
                    <a:pt x="60759" y="108476"/>
                    <a:pt x="60123" y="108794"/>
                  </a:cubicBezTo>
                  <a:cubicBezTo>
                    <a:pt x="60123" y="109112"/>
                    <a:pt x="59805" y="109430"/>
                    <a:pt x="59805" y="109749"/>
                  </a:cubicBezTo>
                  <a:cubicBezTo>
                    <a:pt x="59487" y="110067"/>
                    <a:pt x="59805" y="110067"/>
                    <a:pt x="59805" y="110385"/>
                  </a:cubicBezTo>
                  <a:cubicBezTo>
                    <a:pt x="60441" y="110385"/>
                    <a:pt x="60441" y="110385"/>
                    <a:pt x="60441" y="110385"/>
                  </a:cubicBezTo>
                  <a:close/>
                  <a:moveTo>
                    <a:pt x="61077" y="8907"/>
                  </a:moveTo>
                  <a:lnTo>
                    <a:pt x="61077" y="9225"/>
                  </a:lnTo>
                  <a:cubicBezTo>
                    <a:pt x="61077" y="9543"/>
                    <a:pt x="59805" y="9861"/>
                    <a:pt x="59805" y="9225"/>
                  </a:cubicBezTo>
                  <a:lnTo>
                    <a:pt x="59805" y="8907"/>
                  </a:lnTo>
                  <a:cubicBezTo>
                    <a:pt x="59805" y="8907"/>
                    <a:pt x="60441" y="8589"/>
                    <a:pt x="60759" y="8589"/>
                  </a:cubicBezTo>
                  <a:cubicBezTo>
                    <a:pt x="61077" y="8589"/>
                    <a:pt x="61396" y="8589"/>
                    <a:pt x="61077" y="8907"/>
                  </a:cubicBezTo>
                  <a:close/>
                  <a:moveTo>
                    <a:pt x="61077" y="23540"/>
                  </a:moveTo>
                  <a:cubicBezTo>
                    <a:pt x="61396" y="23540"/>
                    <a:pt x="61396" y="23222"/>
                    <a:pt x="61396" y="23222"/>
                  </a:cubicBezTo>
                  <a:lnTo>
                    <a:pt x="61396" y="22586"/>
                  </a:lnTo>
                  <a:cubicBezTo>
                    <a:pt x="61077" y="22586"/>
                    <a:pt x="61077" y="22586"/>
                    <a:pt x="60759" y="22586"/>
                  </a:cubicBezTo>
                  <a:cubicBezTo>
                    <a:pt x="60441" y="22904"/>
                    <a:pt x="60441" y="22904"/>
                    <a:pt x="60441" y="23222"/>
                  </a:cubicBezTo>
                  <a:cubicBezTo>
                    <a:pt x="60441" y="23222"/>
                    <a:pt x="60123" y="23222"/>
                    <a:pt x="60123" y="23540"/>
                  </a:cubicBezTo>
                  <a:cubicBezTo>
                    <a:pt x="60441" y="23540"/>
                    <a:pt x="60441" y="23540"/>
                    <a:pt x="60441" y="23540"/>
                  </a:cubicBezTo>
                  <a:cubicBezTo>
                    <a:pt x="60759" y="23540"/>
                    <a:pt x="61077" y="23540"/>
                    <a:pt x="61077" y="23540"/>
                  </a:cubicBezTo>
                  <a:close/>
                  <a:moveTo>
                    <a:pt x="62032" y="114520"/>
                  </a:moveTo>
                  <a:lnTo>
                    <a:pt x="61396" y="114520"/>
                  </a:lnTo>
                  <a:cubicBezTo>
                    <a:pt x="61396" y="114202"/>
                    <a:pt x="61396" y="114202"/>
                    <a:pt x="61396" y="114202"/>
                  </a:cubicBezTo>
                  <a:cubicBezTo>
                    <a:pt x="61396" y="114202"/>
                    <a:pt x="61396" y="114520"/>
                    <a:pt x="62032" y="114520"/>
                  </a:cubicBezTo>
                  <a:close/>
                  <a:moveTo>
                    <a:pt x="62986" y="20041"/>
                  </a:moveTo>
                  <a:cubicBezTo>
                    <a:pt x="63304" y="19723"/>
                    <a:pt x="62986" y="19405"/>
                    <a:pt x="62350" y="19405"/>
                  </a:cubicBezTo>
                  <a:cubicBezTo>
                    <a:pt x="62032" y="19405"/>
                    <a:pt x="62032" y="19723"/>
                    <a:pt x="62032" y="19723"/>
                  </a:cubicBezTo>
                  <a:cubicBezTo>
                    <a:pt x="62032" y="20041"/>
                    <a:pt x="62350" y="20359"/>
                    <a:pt x="62350" y="20359"/>
                  </a:cubicBezTo>
                  <a:cubicBezTo>
                    <a:pt x="62668" y="20359"/>
                    <a:pt x="62986" y="20359"/>
                    <a:pt x="62986" y="20041"/>
                  </a:cubicBezTo>
                  <a:close/>
                  <a:moveTo>
                    <a:pt x="62986" y="22268"/>
                  </a:moveTo>
                  <a:cubicBezTo>
                    <a:pt x="62668" y="22268"/>
                    <a:pt x="62668" y="22268"/>
                    <a:pt x="62986" y="22586"/>
                  </a:cubicBezTo>
                  <a:lnTo>
                    <a:pt x="62986" y="22268"/>
                  </a:lnTo>
                  <a:cubicBezTo>
                    <a:pt x="62986" y="22268"/>
                    <a:pt x="62986" y="21950"/>
                    <a:pt x="62986" y="22268"/>
                  </a:cubicBezTo>
                  <a:close/>
                  <a:moveTo>
                    <a:pt x="63304" y="109749"/>
                  </a:moveTo>
                  <a:cubicBezTo>
                    <a:pt x="63304" y="109430"/>
                    <a:pt x="63304" y="109430"/>
                    <a:pt x="63304" y="109112"/>
                  </a:cubicBezTo>
                  <a:cubicBezTo>
                    <a:pt x="63304" y="109430"/>
                    <a:pt x="62986" y="109430"/>
                    <a:pt x="62986" y="109430"/>
                  </a:cubicBezTo>
                  <a:cubicBezTo>
                    <a:pt x="63304" y="109749"/>
                    <a:pt x="63304" y="109749"/>
                    <a:pt x="63304" y="109749"/>
                  </a:cubicBezTo>
                  <a:close/>
                  <a:moveTo>
                    <a:pt x="64895" y="155875"/>
                  </a:moveTo>
                  <a:lnTo>
                    <a:pt x="64577" y="156193"/>
                  </a:lnTo>
                  <a:cubicBezTo>
                    <a:pt x="64577" y="156511"/>
                    <a:pt x="64259" y="156829"/>
                    <a:pt x="63622" y="157147"/>
                  </a:cubicBezTo>
                  <a:cubicBezTo>
                    <a:pt x="63622" y="157147"/>
                    <a:pt x="63304" y="156829"/>
                    <a:pt x="63304" y="156511"/>
                  </a:cubicBezTo>
                  <a:cubicBezTo>
                    <a:pt x="63304" y="156511"/>
                    <a:pt x="63304" y="156193"/>
                    <a:pt x="63940" y="155875"/>
                  </a:cubicBezTo>
                  <a:lnTo>
                    <a:pt x="64259" y="155875"/>
                  </a:lnTo>
                  <a:cubicBezTo>
                    <a:pt x="64577" y="155875"/>
                    <a:pt x="64895" y="155875"/>
                    <a:pt x="64895" y="155875"/>
                  </a:cubicBezTo>
                  <a:close/>
                  <a:moveTo>
                    <a:pt x="63940" y="115793"/>
                  </a:moveTo>
                  <a:cubicBezTo>
                    <a:pt x="64259" y="115793"/>
                    <a:pt x="63940" y="116111"/>
                    <a:pt x="64259" y="116111"/>
                  </a:cubicBezTo>
                  <a:lnTo>
                    <a:pt x="64259" y="116429"/>
                  </a:lnTo>
                  <a:cubicBezTo>
                    <a:pt x="63940" y="116429"/>
                    <a:pt x="63940" y="116429"/>
                    <a:pt x="63622" y="116429"/>
                  </a:cubicBezTo>
                  <a:cubicBezTo>
                    <a:pt x="63622" y="116111"/>
                    <a:pt x="63622" y="116111"/>
                    <a:pt x="63940" y="115793"/>
                  </a:cubicBezTo>
                  <a:close/>
                  <a:moveTo>
                    <a:pt x="65531" y="20995"/>
                  </a:moveTo>
                  <a:cubicBezTo>
                    <a:pt x="65531" y="20995"/>
                    <a:pt x="65849" y="20995"/>
                    <a:pt x="65531" y="20995"/>
                  </a:cubicBezTo>
                  <a:lnTo>
                    <a:pt x="65531" y="20677"/>
                  </a:lnTo>
                  <a:cubicBezTo>
                    <a:pt x="64895" y="20677"/>
                    <a:pt x="64895" y="20995"/>
                    <a:pt x="64577" y="21313"/>
                  </a:cubicBezTo>
                  <a:cubicBezTo>
                    <a:pt x="64577" y="21313"/>
                    <a:pt x="64577" y="21313"/>
                    <a:pt x="63940" y="21632"/>
                  </a:cubicBezTo>
                  <a:lnTo>
                    <a:pt x="64259" y="21632"/>
                  </a:lnTo>
                  <a:cubicBezTo>
                    <a:pt x="64259" y="21632"/>
                    <a:pt x="64259" y="21632"/>
                    <a:pt x="64577" y="21313"/>
                  </a:cubicBezTo>
                  <a:cubicBezTo>
                    <a:pt x="64895" y="21313"/>
                    <a:pt x="65213" y="21313"/>
                    <a:pt x="65531" y="20995"/>
                  </a:cubicBezTo>
                  <a:close/>
                  <a:moveTo>
                    <a:pt x="64895" y="111657"/>
                  </a:moveTo>
                  <a:cubicBezTo>
                    <a:pt x="64895" y="111657"/>
                    <a:pt x="64895" y="111657"/>
                    <a:pt x="65213" y="111657"/>
                  </a:cubicBezTo>
                  <a:cubicBezTo>
                    <a:pt x="64895" y="111657"/>
                    <a:pt x="64577" y="111339"/>
                    <a:pt x="64577" y="111339"/>
                  </a:cubicBezTo>
                  <a:cubicBezTo>
                    <a:pt x="64577" y="111339"/>
                    <a:pt x="64577" y="111339"/>
                    <a:pt x="64577" y="111657"/>
                  </a:cubicBezTo>
                  <a:cubicBezTo>
                    <a:pt x="64577" y="111657"/>
                    <a:pt x="64577" y="111657"/>
                    <a:pt x="64895" y="111657"/>
                  </a:cubicBezTo>
                  <a:close/>
                  <a:moveTo>
                    <a:pt x="65849" y="109430"/>
                  </a:moveTo>
                  <a:cubicBezTo>
                    <a:pt x="65849" y="109749"/>
                    <a:pt x="66485" y="110067"/>
                    <a:pt x="66803" y="110067"/>
                  </a:cubicBezTo>
                  <a:cubicBezTo>
                    <a:pt x="67122" y="110067"/>
                    <a:pt x="67122" y="109749"/>
                    <a:pt x="67122" y="109749"/>
                  </a:cubicBezTo>
                  <a:lnTo>
                    <a:pt x="67122" y="109430"/>
                  </a:lnTo>
                  <a:cubicBezTo>
                    <a:pt x="66803" y="109112"/>
                    <a:pt x="66485" y="109112"/>
                    <a:pt x="65849" y="108794"/>
                  </a:cubicBezTo>
                  <a:cubicBezTo>
                    <a:pt x="65849" y="108794"/>
                    <a:pt x="65849" y="109112"/>
                    <a:pt x="65531" y="109112"/>
                  </a:cubicBezTo>
                  <a:cubicBezTo>
                    <a:pt x="65531" y="109112"/>
                    <a:pt x="65531" y="109430"/>
                    <a:pt x="65849" y="109430"/>
                  </a:cubicBezTo>
                  <a:close/>
                  <a:moveTo>
                    <a:pt x="68394" y="19087"/>
                  </a:moveTo>
                  <a:cubicBezTo>
                    <a:pt x="67440" y="19405"/>
                    <a:pt x="67122" y="19405"/>
                    <a:pt x="66485" y="19723"/>
                  </a:cubicBezTo>
                  <a:lnTo>
                    <a:pt x="66485" y="20359"/>
                  </a:lnTo>
                  <a:cubicBezTo>
                    <a:pt x="66803" y="20677"/>
                    <a:pt x="67122" y="20677"/>
                    <a:pt x="67440" y="20677"/>
                  </a:cubicBezTo>
                  <a:cubicBezTo>
                    <a:pt x="68394" y="20359"/>
                    <a:pt x="69348" y="20359"/>
                    <a:pt x="69985" y="19723"/>
                  </a:cubicBezTo>
                  <a:cubicBezTo>
                    <a:pt x="71893" y="19087"/>
                    <a:pt x="73166" y="18769"/>
                    <a:pt x="75074" y="18450"/>
                  </a:cubicBezTo>
                  <a:cubicBezTo>
                    <a:pt x="76029" y="18132"/>
                    <a:pt x="76983" y="17496"/>
                    <a:pt x="78255" y="17496"/>
                  </a:cubicBezTo>
                  <a:cubicBezTo>
                    <a:pt x="79846" y="16542"/>
                    <a:pt x="81437" y="16224"/>
                    <a:pt x="82709" y="16224"/>
                  </a:cubicBezTo>
                  <a:cubicBezTo>
                    <a:pt x="84618" y="15906"/>
                    <a:pt x="85890" y="15269"/>
                    <a:pt x="88117" y="15269"/>
                  </a:cubicBezTo>
                  <a:lnTo>
                    <a:pt x="88117" y="14951"/>
                  </a:lnTo>
                  <a:cubicBezTo>
                    <a:pt x="88753" y="14315"/>
                    <a:pt x="89708" y="14633"/>
                    <a:pt x="90662" y="14633"/>
                  </a:cubicBezTo>
                  <a:cubicBezTo>
                    <a:pt x="90980" y="14633"/>
                    <a:pt x="91616" y="14315"/>
                    <a:pt x="92570" y="14315"/>
                  </a:cubicBezTo>
                  <a:cubicBezTo>
                    <a:pt x="92889" y="14315"/>
                    <a:pt x="93843" y="13997"/>
                    <a:pt x="93843" y="14315"/>
                  </a:cubicBezTo>
                  <a:cubicBezTo>
                    <a:pt x="94797" y="14951"/>
                    <a:pt x="95752" y="14951"/>
                    <a:pt x="97024" y="15269"/>
                  </a:cubicBezTo>
                  <a:cubicBezTo>
                    <a:pt x="97024" y="15906"/>
                    <a:pt x="97660" y="15906"/>
                    <a:pt x="97978" y="15906"/>
                  </a:cubicBezTo>
                  <a:cubicBezTo>
                    <a:pt x="98297" y="15906"/>
                    <a:pt x="98615" y="15906"/>
                    <a:pt x="98615" y="15587"/>
                  </a:cubicBezTo>
                  <a:cubicBezTo>
                    <a:pt x="98615" y="15269"/>
                    <a:pt x="98297" y="15269"/>
                    <a:pt x="98297" y="15269"/>
                  </a:cubicBezTo>
                  <a:cubicBezTo>
                    <a:pt x="98297" y="14633"/>
                    <a:pt x="98615" y="14633"/>
                    <a:pt x="99251" y="14315"/>
                  </a:cubicBezTo>
                  <a:lnTo>
                    <a:pt x="99887" y="14315"/>
                  </a:lnTo>
                  <a:cubicBezTo>
                    <a:pt x="99887" y="14951"/>
                    <a:pt x="99887" y="15587"/>
                    <a:pt x="100841" y="15587"/>
                  </a:cubicBezTo>
                  <a:cubicBezTo>
                    <a:pt x="101796" y="15587"/>
                    <a:pt x="102750" y="15587"/>
                    <a:pt x="104023" y="15587"/>
                  </a:cubicBezTo>
                  <a:lnTo>
                    <a:pt x="104341" y="14951"/>
                  </a:lnTo>
                  <a:cubicBezTo>
                    <a:pt x="104341" y="14315"/>
                    <a:pt x="104977" y="13679"/>
                    <a:pt x="104023" y="13679"/>
                  </a:cubicBezTo>
                  <a:cubicBezTo>
                    <a:pt x="103704" y="13361"/>
                    <a:pt x="103068" y="13361"/>
                    <a:pt x="102750" y="13361"/>
                  </a:cubicBezTo>
                  <a:cubicBezTo>
                    <a:pt x="102114" y="13043"/>
                    <a:pt x="101160" y="12406"/>
                    <a:pt x="100841" y="12088"/>
                  </a:cubicBezTo>
                  <a:cubicBezTo>
                    <a:pt x="100205" y="10816"/>
                    <a:pt x="99251" y="10816"/>
                    <a:pt x="98615" y="10816"/>
                  </a:cubicBezTo>
                  <a:cubicBezTo>
                    <a:pt x="97978" y="11134"/>
                    <a:pt x="97342" y="11452"/>
                    <a:pt x="96388" y="10816"/>
                  </a:cubicBezTo>
                  <a:cubicBezTo>
                    <a:pt x="96388" y="10816"/>
                    <a:pt x="95434" y="10816"/>
                    <a:pt x="95115" y="11134"/>
                  </a:cubicBezTo>
                  <a:cubicBezTo>
                    <a:pt x="94797" y="12088"/>
                    <a:pt x="94161" y="11770"/>
                    <a:pt x="93207" y="11770"/>
                  </a:cubicBezTo>
                  <a:cubicBezTo>
                    <a:pt x="92570" y="11770"/>
                    <a:pt x="91298" y="11770"/>
                    <a:pt x="90662" y="12088"/>
                  </a:cubicBezTo>
                  <a:cubicBezTo>
                    <a:pt x="90662" y="12406"/>
                    <a:pt x="90344" y="12406"/>
                    <a:pt x="90026" y="12406"/>
                  </a:cubicBezTo>
                  <a:cubicBezTo>
                    <a:pt x="89389" y="12406"/>
                    <a:pt x="88435" y="12724"/>
                    <a:pt x="88117" y="13043"/>
                  </a:cubicBezTo>
                  <a:cubicBezTo>
                    <a:pt x="87163" y="13043"/>
                    <a:pt x="86844" y="13043"/>
                    <a:pt x="86526" y="13043"/>
                  </a:cubicBezTo>
                  <a:cubicBezTo>
                    <a:pt x="85890" y="13043"/>
                    <a:pt x="84936" y="13043"/>
                    <a:pt x="84936" y="13679"/>
                  </a:cubicBezTo>
                  <a:cubicBezTo>
                    <a:pt x="83982" y="14633"/>
                    <a:pt x="83027" y="14633"/>
                    <a:pt x="82391" y="14633"/>
                  </a:cubicBezTo>
                  <a:cubicBezTo>
                    <a:pt x="81437" y="14633"/>
                    <a:pt x="80482" y="14633"/>
                    <a:pt x="79846" y="14951"/>
                  </a:cubicBezTo>
                  <a:cubicBezTo>
                    <a:pt x="79528" y="15269"/>
                    <a:pt x="79210" y="14951"/>
                    <a:pt x="78255" y="14633"/>
                  </a:cubicBezTo>
                  <a:cubicBezTo>
                    <a:pt x="78255" y="14633"/>
                    <a:pt x="78574" y="13997"/>
                    <a:pt x="78574" y="13679"/>
                  </a:cubicBezTo>
                  <a:cubicBezTo>
                    <a:pt x="79210" y="13043"/>
                    <a:pt x="79846" y="13043"/>
                    <a:pt x="80164" y="12724"/>
                  </a:cubicBezTo>
                  <a:cubicBezTo>
                    <a:pt x="80164" y="12724"/>
                    <a:pt x="80164" y="12724"/>
                    <a:pt x="80482" y="12724"/>
                  </a:cubicBezTo>
                  <a:cubicBezTo>
                    <a:pt x="80164" y="12724"/>
                    <a:pt x="80164" y="12406"/>
                    <a:pt x="80164" y="12406"/>
                  </a:cubicBezTo>
                  <a:cubicBezTo>
                    <a:pt x="79210" y="12724"/>
                    <a:pt x="78255" y="12724"/>
                    <a:pt x="76983" y="12724"/>
                  </a:cubicBezTo>
                  <a:cubicBezTo>
                    <a:pt x="76983" y="13043"/>
                    <a:pt x="76665" y="13043"/>
                    <a:pt x="76347" y="13361"/>
                  </a:cubicBezTo>
                  <a:cubicBezTo>
                    <a:pt x="76029" y="13679"/>
                    <a:pt x="75711" y="13997"/>
                    <a:pt x="75393" y="14315"/>
                  </a:cubicBezTo>
                  <a:cubicBezTo>
                    <a:pt x="75393" y="14633"/>
                    <a:pt x="76029" y="14633"/>
                    <a:pt x="76347" y="14633"/>
                  </a:cubicBezTo>
                  <a:lnTo>
                    <a:pt x="76665" y="14633"/>
                  </a:lnTo>
                  <a:cubicBezTo>
                    <a:pt x="76665" y="14951"/>
                    <a:pt x="76983" y="15587"/>
                    <a:pt x="76665" y="15587"/>
                  </a:cubicBezTo>
                  <a:cubicBezTo>
                    <a:pt x="76665" y="16224"/>
                    <a:pt x="76665" y="16224"/>
                    <a:pt x="76347" y="16542"/>
                  </a:cubicBezTo>
                  <a:cubicBezTo>
                    <a:pt x="76029" y="16542"/>
                    <a:pt x="75393" y="16542"/>
                    <a:pt x="75074" y="16542"/>
                  </a:cubicBezTo>
                  <a:cubicBezTo>
                    <a:pt x="75074" y="16542"/>
                    <a:pt x="75074" y="16542"/>
                    <a:pt x="75074" y="16860"/>
                  </a:cubicBezTo>
                  <a:cubicBezTo>
                    <a:pt x="75074" y="17496"/>
                    <a:pt x="75074" y="17496"/>
                    <a:pt x="74120" y="17496"/>
                  </a:cubicBezTo>
                  <a:cubicBezTo>
                    <a:pt x="73484" y="17496"/>
                    <a:pt x="73484" y="17496"/>
                    <a:pt x="72848" y="17496"/>
                  </a:cubicBezTo>
                  <a:cubicBezTo>
                    <a:pt x="72529" y="17496"/>
                    <a:pt x="71893" y="18132"/>
                    <a:pt x="71257" y="18450"/>
                  </a:cubicBezTo>
                  <a:cubicBezTo>
                    <a:pt x="70621" y="18450"/>
                    <a:pt x="69667" y="18450"/>
                    <a:pt x="69030" y="18450"/>
                  </a:cubicBezTo>
                  <a:cubicBezTo>
                    <a:pt x="69030" y="17814"/>
                    <a:pt x="69667" y="17178"/>
                    <a:pt x="69985" y="17178"/>
                  </a:cubicBezTo>
                  <a:cubicBezTo>
                    <a:pt x="69985" y="16860"/>
                    <a:pt x="69985" y="16542"/>
                    <a:pt x="70621" y="16224"/>
                  </a:cubicBezTo>
                  <a:cubicBezTo>
                    <a:pt x="71257" y="15906"/>
                    <a:pt x="71893" y="16224"/>
                    <a:pt x="71575" y="15587"/>
                  </a:cubicBezTo>
                  <a:cubicBezTo>
                    <a:pt x="71575" y="14633"/>
                    <a:pt x="70621" y="15587"/>
                    <a:pt x="69985" y="15269"/>
                  </a:cubicBezTo>
                  <a:cubicBezTo>
                    <a:pt x="69985" y="15269"/>
                    <a:pt x="69985" y="15269"/>
                    <a:pt x="69667" y="15269"/>
                  </a:cubicBezTo>
                  <a:cubicBezTo>
                    <a:pt x="68394" y="15269"/>
                    <a:pt x="67758" y="16224"/>
                    <a:pt x="66803" y="16860"/>
                  </a:cubicBezTo>
                  <a:lnTo>
                    <a:pt x="66803" y="17178"/>
                  </a:lnTo>
                  <a:cubicBezTo>
                    <a:pt x="67122" y="17178"/>
                    <a:pt x="66803" y="17814"/>
                    <a:pt x="67440" y="17814"/>
                  </a:cubicBezTo>
                  <a:cubicBezTo>
                    <a:pt x="68712" y="17178"/>
                    <a:pt x="68394" y="18132"/>
                    <a:pt x="69030" y="18450"/>
                  </a:cubicBezTo>
                  <a:cubicBezTo>
                    <a:pt x="68712" y="18450"/>
                    <a:pt x="68712" y="18769"/>
                    <a:pt x="68394" y="19087"/>
                  </a:cubicBezTo>
                  <a:close/>
                  <a:moveTo>
                    <a:pt x="66803" y="5408"/>
                  </a:moveTo>
                  <a:cubicBezTo>
                    <a:pt x="66803" y="5090"/>
                    <a:pt x="67122" y="5090"/>
                    <a:pt x="67122" y="5090"/>
                  </a:cubicBezTo>
                  <a:cubicBezTo>
                    <a:pt x="67122" y="5090"/>
                    <a:pt x="67122" y="5090"/>
                    <a:pt x="67440" y="5090"/>
                  </a:cubicBezTo>
                  <a:lnTo>
                    <a:pt x="67440" y="5408"/>
                  </a:lnTo>
                  <a:cubicBezTo>
                    <a:pt x="67122" y="5408"/>
                    <a:pt x="67122" y="5408"/>
                    <a:pt x="66803" y="5726"/>
                  </a:cubicBezTo>
                  <a:cubicBezTo>
                    <a:pt x="66803" y="5408"/>
                    <a:pt x="66803" y="5408"/>
                    <a:pt x="66803" y="5408"/>
                  </a:cubicBezTo>
                  <a:close/>
                  <a:moveTo>
                    <a:pt x="70621" y="149513"/>
                  </a:moveTo>
                  <a:lnTo>
                    <a:pt x="70939" y="149194"/>
                  </a:lnTo>
                  <a:cubicBezTo>
                    <a:pt x="70939" y="148876"/>
                    <a:pt x="70939" y="148558"/>
                    <a:pt x="70939" y="148240"/>
                  </a:cubicBezTo>
                  <a:cubicBezTo>
                    <a:pt x="69985" y="148240"/>
                    <a:pt x="69667" y="148240"/>
                    <a:pt x="69348" y="147922"/>
                  </a:cubicBezTo>
                  <a:cubicBezTo>
                    <a:pt x="69030" y="147286"/>
                    <a:pt x="69030" y="147286"/>
                    <a:pt x="68394" y="147604"/>
                  </a:cubicBezTo>
                  <a:cubicBezTo>
                    <a:pt x="67758" y="147922"/>
                    <a:pt x="67440" y="148240"/>
                    <a:pt x="67440" y="149194"/>
                  </a:cubicBezTo>
                  <a:cubicBezTo>
                    <a:pt x="68076" y="149513"/>
                    <a:pt x="68712" y="149831"/>
                    <a:pt x="69348" y="149831"/>
                  </a:cubicBezTo>
                  <a:cubicBezTo>
                    <a:pt x="69667" y="149831"/>
                    <a:pt x="69667" y="149831"/>
                    <a:pt x="70621" y="149513"/>
                  </a:cubicBezTo>
                  <a:close/>
                  <a:moveTo>
                    <a:pt x="69030" y="21950"/>
                  </a:moveTo>
                  <a:lnTo>
                    <a:pt x="69030" y="21632"/>
                  </a:lnTo>
                  <a:cubicBezTo>
                    <a:pt x="68712" y="21632"/>
                    <a:pt x="68394" y="21632"/>
                    <a:pt x="68076" y="21632"/>
                  </a:cubicBezTo>
                  <a:lnTo>
                    <a:pt x="68076" y="21950"/>
                  </a:lnTo>
                  <a:cubicBezTo>
                    <a:pt x="68076" y="22268"/>
                    <a:pt x="68394" y="22268"/>
                    <a:pt x="69030" y="22586"/>
                  </a:cubicBezTo>
                  <a:cubicBezTo>
                    <a:pt x="69030" y="22268"/>
                    <a:pt x="69030" y="22268"/>
                    <a:pt x="69030" y="21950"/>
                  </a:cubicBezTo>
                  <a:close/>
                  <a:moveTo>
                    <a:pt x="71575" y="115793"/>
                  </a:moveTo>
                  <a:cubicBezTo>
                    <a:pt x="71893" y="115793"/>
                    <a:pt x="71893" y="115793"/>
                    <a:pt x="71893" y="115793"/>
                  </a:cubicBezTo>
                  <a:cubicBezTo>
                    <a:pt x="71893" y="115793"/>
                    <a:pt x="71893" y="115475"/>
                    <a:pt x="71893" y="115156"/>
                  </a:cubicBezTo>
                  <a:cubicBezTo>
                    <a:pt x="71257" y="114520"/>
                    <a:pt x="70621" y="114520"/>
                    <a:pt x="69030" y="114838"/>
                  </a:cubicBezTo>
                  <a:cubicBezTo>
                    <a:pt x="69030" y="114838"/>
                    <a:pt x="68712" y="115156"/>
                    <a:pt x="68712" y="115475"/>
                  </a:cubicBezTo>
                  <a:lnTo>
                    <a:pt x="68712" y="115793"/>
                  </a:lnTo>
                  <a:cubicBezTo>
                    <a:pt x="69667" y="115793"/>
                    <a:pt x="69985" y="115793"/>
                    <a:pt x="70621" y="115793"/>
                  </a:cubicBezTo>
                  <a:cubicBezTo>
                    <a:pt x="70939" y="115793"/>
                    <a:pt x="71257" y="115793"/>
                    <a:pt x="71575" y="115793"/>
                  </a:cubicBezTo>
                  <a:close/>
                  <a:moveTo>
                    <a:pt x="69667" y="112930"/>
                  </a:moveTo>
                  <a:cubicBezTo>
                    <a:pt x="69348" y="112930"/>
                    <a:pt x="69348" y="112930"/>
                    <a:pt x="69667" y="112930"/>
                  </a:cubicBezTo>
                  <a:cubicBezTo>
                    <a:pt x="69985" y="112930"/>
                    <a:pt x="69985" y="112930"/>
                    <a:pt x="69985" y="112930"/>
                  </a:cubicBezTo>
                  <a:cubicBezTo>
                    <a:pt x="69667" y="112930"/>
                    <a:pt x="69667" y="112930"/>
                    <a:pt x="69667" y="112930"/>
                  </a:cubicBezTo>
                  <a:close/>
                  <a:moveTo>
                    <a:pt x="73802" y="14315"/>
                  </a:moveTo>
                  <a:cubicBezTo>
                    <a:pt x="73484" y="14633"/>
                    <a:pt x="73166" y="14633"/>
                    <a:pt x="72848" y="14633"/>
                  </a:cubicBezTo>
                  <a:lnTo>
                    <a:pt x="72848" y="14951"/>
                  </a:lnTo>
                  <a:cubicBezTo>
                    <a:pt x="73484" y="15587"/>
                    <a:pt x="73802" y="14951"/>
                    <a:pt x="74120" y="14633"/>
                  </a:cubicBezTo>
                  <a:cubicBezTo>
                    <a:pt x="74120" y="14315"/>
                    <a:pt x="73802" y="14315"/>
                    <a:pt x="73802" y="14315"/>
                  </a:cubicBezTo>
                  <a:close/>
                  <a:moveTo>
                    <a:pt x="75074" y="112612"/>
                  </a:moveTo>
                  <a:cubicBezTo>
                    <a:pt x="75074" y="112293"/>
                    <a:pt x="75074" y="111975"/>
                    <a:pt x="75074" y="111975"/>
                  </a:cubicBezTo>
                  <a:lnTo>
                    <a:pt x="74438" y="111657"/>
                  </a:lnTo>
                  <a:cubicBezTo>
                    <a:pt x="73802" y="112293"/>
                    <a:pt x="73484" y="112930"/>
                    <a:pt x="73166" y="113566"/>
                  </a:cubicBezTo>
                  <a:lnTo>
                    <a:pt x="73484" y="113884"/>
                  </a:lnTo>
                  <a:lnTo>
                    <a:pt x="73802" y="113884"/>
                  </a:lnTo>
                  <a:cubicBezTo>
                    <a:pt x="75393" y="113884"/>
                    <a:pt x="75711" y="113248"/>
                    <a:pt x="75074" y="112612"/>
                  </a:cubicBezTo>
                  <a:close/>
                  <a:moveTo>
                    <a:pt x="75074" y="20677"/>
                  </a:moveTo>
                  <a:cubicBezTo>
                    <a:pt x="74438" y="20677"/>
                    <a:pt x="74120" y="20677"/>
                    <a:pt x="74120" y="20677"/>
                  </a:cubicBezTo>
                  <a:cubicBezTo>
                    <a:pt x="74120" y="20677"/>
                    <a:pt x="74120" y="20677"/>
                    <a:pt x="74438" y="20677"/>
                  </a:cubicBezTo>
                  <a:lnTo>
                    <a:pt x="75074" y="20677"/>
                  </a:lnTo>
                  <a:close/>
                  <a:moveTo>
                    <a:pt x="79528" y="19405"/>
                  </a:moveTo>
                  <a:cubicBezTo>
                    <a:pt x="79528" y="19405"/>
                    <a:pt x="79528" y="19087"/>
                    <a:pt x="79846" y="19087"/>
                  </a:cubicBezTo>
                  <a:cubicBezTo>
                    <a:pt x="79846" y="19087"/>
                    <a:pt x="79528" y="18769"/>
                    <a:pt x="79210" y="18769"/>
                  </a:cubicBezTo>
                  <a:cubicBezTo>
                    <a:pt x="77937" y="19087"/>
                    <a:pt x="77301" y="19087"/>
                    <a:pt x="76347" y="19087"/>
                  </a:cubicBezTo>
                  <a:cubicBezTo>
                    <a:pt x="76347" y="19087"/>
                    <a:pt x="76347" y="19087"/>
                    <a:pt x="76347" y="19405"/>
                  </a:cubicBezTo>
                  <a:lnTo>
                    <a:pt x="76029" y="19723"/>
                  </a:lnTo>
                  <a:cubicBezTo>
                    <a:pt x="76029" y="19723"/>
                    <a:pt x="76029" y="19723"/>
                    <a:pt x="76665" y="19723"/>
                  </a:cubicBezTo>
                  <a:cubicBezTo>
                    <a:pt x="77301" y="19723"/>
                    <a:pt x="77937" y="19723"/>
                    <a:pt x="79528" y="19405"/>
                  </a:cubicBezTo>
                  <a:close/>
                  <a:moveTo>
                    <a:pt x="76665" y="2863"/>
                  </a:moveTo>
                  <a:lnTo>
                    <a:pt x="76665" y="3181"/>
                  </a:lnTo>
                  <a:lnTo>
                    <a:pt x="76347" y="3499"/>
                  </a:lnTo>
                  <a:cubicBezTo>
                    <a:pt x="76665" y="3181"/>
                    <a:pt x="76665" y="3181"/>
                    <a:pt x="76665" y="2863"/>
                  </a:cubicBezTo>
                  <a:close/>
                  <a:moveTo>
                    <a:pt x="76983" y="144423"/>
                  </a:moveTo>
                  <a:lnTo>
                    <a:pt x="76665" y="144423"/>
                  </a:lnTo>
                  <a:lnTo>
                    <a:pt x="76983" y="144423"/>
                  </a:lnTo>
                  <a:close/>
                  <a:moveTo>
                    <a:pt x="77619" y="150149"/>
                  </a:moveTo>
                  <a:cubicBezTo>
                    <a:pt x="77301" y="150149"/>
                    <a:pt x="77619" y="150149"/>
                    <a:pt x="77619" y="149831"/>
                  </a:cubicBezTo>
                  <a:cubicBezTo>
                    <a:pt x="77937" y="149831"/>
                    <a:pt x="78255" y="149831"/>
                    <a:pt x="78255" y="149831"/>
                  </a:cubicBezTo>
                  <a:cubicBezTo>
                    <a:pt x="78574" y="150149"/>
                    <a:pt x="78574" y="150149"/>
                    <a:pt x="78574" y="150467"/>
                  </a:cubicBezTo>
                  <a:cubicBezTo>
                    <a:pt x="78574" y="150467"/>
                    <a:pt x="78574" y="150467"/>
                    <a:pt x="78255" y="150785"/>
                  </a:cubicBezTo>
                  <a:cubicBezTo>
                    <a:pt x="77937" y="150467"/>
                    <a:pt x="77619" y="150467"/>
                    <a:pt x="77619" y="150149"/>
                  </a:cubicBezTo>
                  <a:close/>
                  <a:moveTo>
                    <a:pt x="79846" y="143787"/>
                  </a:moveTo>
                  <a:lnTo>
                    <a:pt x="79846" y="143468"/>
                  </a:lnTo>
                  <a:cubicBezTo>
                    <a:pt x="79846" y="143150"/>
                    <a:pt x="79528" y="143150"/>
                    <a:pt x="79210" y="143150"/>
                  </a:cubicBezTo>
                  <a:cubicBezTo>
                    <a:pt x="78574" y="143150"/>
                    <a:pt x="78255" y="143150"/>
                    <a:pt x="78255" y="143150"/>
                  </a:cubicBezTo>
                  <a:cubicBezTo>
                    <a:pt x="78255" y="143468"/>
                    <a:pt x="78255" y="143787"/>
                    <a:pt x="78255" y="144105"/>
                  </a:cubicBezTo>
                  <a:cubicBezTo>
                    <a:pt x="78255" y="144423"/>
                    <a:pt x="78255" y="144423"/>
                    <a:pt x="78255" y="144423"/>
                  </a:cubicBezTo>
                  <a:cubicBezTo>
                    <a:pt x="79210" y="144423"/>
                    <a:pt x="79528" y="143787"/>
                    <a:pt x="79846" y="143787"/>
                  </a:cubicBezTo>
                  <a:close/>
                  <a:moveTo>
                    <a:pt x="84300" y="21950"/>
                  </a:moveTo>
                  <a:cubicBezTo>
                    <a:pt x="84618" y="21950"/>
                    <a:pt x="84936" y="21950"/>
                    <a:pt x="84936" y="21950"/>
                  </a:cubicBezTo>
                  <a:cubicBezTo>
                    <a:pt x="84936" y="21950"/>
                    <a:pt x="84936" y="21632"/>
                    <a:pt x="85254" y="21313"/>
                  </a:cubicBezTo>
                  <a:cubicBezTo>
                    <a:pt x="85254" y="21313"/>
                    <a:pt x="85254" y="20995"/>
                    <a:pt x="84936" y="20995"/>
                  </a:cubicBezTo>
                  <a:cubicBezTo>
                    <a:pt x="84618" y="20995"/>
                    <a:pt x="84300" y="20995"/>
                    <a:pt x="84300" y="21313"/>
                  </a:cubicBezTo>
                  <a:cubicBezTo>
                    <a:pt x="83663" y="21950"/>
                    <a:pt x="82391" y="21950"/>
                    <a:pt x="81755" y="21950"/>
                  </a:cubicBezTo>
                  <a:lnTo>
                    <a:pt x="81437" y="21950"/>
                  </a:lnTo>
                  <a:lnTo>
                    <a:pt x="81755" y="22268"/>
                  </a:lnTo>
                  <a:cubicBezTo>
                    <a:pt x="82391" y="22586"/>
                    <a:pt x="83027" y="22586"/>
                    <a:pt x="83663" y="22904"/>
                  </a:cubicBezTo>
                  <a:cubicBezTo>
                    <a:pt x="83982" y="22904"/>
                    <a:pt x="83982" y="23222"/>
                    <a:pt x="84300" y="23540"/>
                  </a:cubicBezTo>
                  <a:cubicBezTo>
                    <a:pt x="84300" y="23540"/>
                    <a:pt x="84618" y="23540"/>
                    <a:pt x="84936" y="23540"/>
                  </a:cubicBezTo>
                  <a:cubicBezTo>
                    <a:pt x="84936" y="23222"/>
                    <a:pt x="84936" y="23222"/>
                    <a:pt x="84936" y="23222"/>
                  </a:cubicBezTo>
                  <a:cubicBezTo>
                    <a:pt x="84936" y="22904"/>
                    <a:pt x="84936" y="22904"/>
                    <a:pt x="84936" y="22904"/>
                  </a:cubicBezTo>
                  <a:cubicBezTo>
                    <a:pt x="84300" y="22904"/>
                    <a:pt x="83982" y="22904"/>
                    <a:pt x="83663" y="22904"/>
                  </a:cubicBezTo>
                  <a:cubicBezTo>
                    <a:pt x="83663" y="22586"/>
                    <a:pt x="83663" y="21950"/>
                    <a:pt x="84300" y="21950"/>
                  </a:cubicBezTo>
                  <a:close/>
                  <a:moveTo>
                    <a:pt x="82709" y="13043"/>
                  </a:moveTo>
                  <a:cubicBezTo>
                    <a:pt x="82709" y="13043"/>
                    <a:pt x="82073" y="13043"/>
                    <a:pt x="81755" y="13361"/>
                  </a:cubicBezTo>
                  <a:cubicBezTo>
                    <a:pt x="81755" y="13679"/>
                    <a:pt x="81755" y="13679"/>
                    <a:pt x="81755" y="13679"/>
                  </a:cubicBezTo>
                  <a:cubicBezTo>
                    <a:pt x="82391" y="13679"/>
                    <a:pt x="82709" y="13679"/>
                    <a:pt x="82709" y="13043"/>
                  </a:cubicBezTo>
                  <a:cubicBezTo>
                    <a:pt x="83027" y="13043"/>
                    <a:pt x="83027" y="13043"/>
                    <a:pt x="83027" y="13043"/>
                  </a:cubicBezTo>
                  <a:lnTo>
                    <a:pt x="82709" y="13043"/>
                  </a:lnTo>
                  <a:close/>
                  <a:moveTo>
                    <a:pt x="83027" y="148558"/>
                  </a:moveTo>
                  <a:lnTo>
                    <a:pt x="82391" y="148240"/>
                  </a:lnTo>
                  <a:cubicBezTo>
                    <a:pt x="82391" y="147922"/>
                    <a:pt x="82391" y="147604"/>
                    <a:pt x="82391" y="147604"/>
                  </a:cubicBezTo>
                  <a:cubicBezTo>
                    <a:pt x="82709" y="147604"/>
                    <a:pt x="82709" y="147286"/>
                    <a:pt x="83027" y="147286"/>
                  </a:cubicBezTo>
                  <a:cubicBezTo>
                    <a:pt x="83027" y="147286"/>
                    <a:pt x="83663" y="147286"/>
                    <a:pt x="83663" y="147604"/>
                  </a:cubicBezTo>
                  <a:cubicBezTo>
                    <a:pt x="83663" y="147604"/>
                    <a:pt x="83663" y="147604"/>
                    <a:pt x="83663" y="147922"/>
                  </a:cubicBezTo>
                  <a:lnTo>
                    <a:pt x="83027" y="148558"/>
                  </a:lnTo>
                  <a:close/>
                  <a:moveTo>
                    <a:pt x="82709" y="11770"/>
                  </a:moveTo>
                  <a:cubicBezTo>
                    <a:pt x="83027" y="11770"/>
                    <a:pt x="83027" y="11770"/>
                    <a:pt x="83027" y="11770"/>
                  </a:cubicBezTo>
                  <a:cubicBezTo>
                    <a:pt x="82709" y="11770"/>
                    <a:pt x="82709" y="11770"/>
                    <a:pt x="82709" y="11770"/>
                  </a:cubicBezTo>
                  <a:close/>
                  <a:moveTo>
                    <a:pt x="84618" y="11134"/>
                  </a:moveTo>
                  <a:cubicBezTo>
                    <a:pt x="84300" y="11452"/>
                    <a:pt x="84936" y="11770"/>
                    <a:pt x="84936" y="11770"/>
                  </a:cubicBezTo>
                  <a:cubicBezTo>
                    <a:pt x="84936" y="11770"/>
                    <a:pt x="85254" y="11452"/>
                    <a:pt x="85254" y="11134"/>
                  </a:cubicBezTo>
                  <a:cubicBezTo>
                    <a:pt x="85254" y="10816"/>
                    <a:pt x="84936" y="10816"/>
                    <a:pt x="85254" y="10498"/>
                  </a:cubicBezTo>
                  <a:cubicBezTo>
                    <a:pt x="84936" y="10816"/>
                    <a:pt x="84618" y="10816"/>
                    <a:pt x="84618" y="11134"/>
                  </a:cubicBezTo>
                  <a:close/>
                  <a:moveTo>
                    <a:pt x="86526" y="16224"/>
                  </a:moveTo>
                  <a:cubicBezTo>
                    <a:pt x="86208" y="16224"/>
                    <a:pt x="86208" y="16224"/>
                    <a:pt x="86526" y="16542"/>
                  </a:cubicBezTo>
                  <a:cubicBezTo>
                    <a:pt x="86526" y="16542"/>
                    <a:pt x="86526" y="16542"/>
                    <a:pt x="86526" y="16224"/>
                  </a:cubicBezTo>
                  <a:cubicBezTo>
                    <a:pt x="86844" y="16224"/>
                    <a:pt x="86844" y="16224"/>
                    <a:pt x="86844" y="16224"/>
                  </a:cubicBezTo>
                  <a:cubicBezTo>
                    <a:pt x="86526" y="16224"/>
                    <a:pt x="86526" y="16224"/>
                    <a:pt x="86526" y="16224"/>
                  </a:cubicBezTo>
                  <a:close/>
                  <a:moveTo>
                    <a:pt x="93843" y="20041"/>
                  </a:moveTo>
                  <a:cubicBezTo>
                    <a:pt x="94479" y="20041"/>
                    <a:pt x="94797" y="20041"/>
                    <a:pt x="95115" y="20041"/>
                  </a:cubicBezTo>
                  <a:cubicBezTo>
                    <a:pt x="96388" y="19723"/>
                    <a:pt x="97024" y="19723"/>
                    <a:pt x="97342" y="20359"/>
                  </a:cubicBezTo>
                  <a:cubicBezTo>
                    <a:pt x="98615" y="20995"/>
                    <a:pt x="98615" y="20995"/>
                    <a:pt x="99569" y="19405"/>
                  </a:cubicBezTo>
                  <a:cubicBezTo>
                    <a:pt x="99569" y="19087"/>
                    <a:pt x="99251" y="19087"/>
                    <a:pt x="98933" y="19087"/>
                  </a:cubicBezTo>
                  <a:cubicBezTo>
                    <a:pt x="98615" y="19087"/>
                    <a:pt x="98615" y="19087"/>
                    <a:pt x="97978" y="19087"/>
                  </a:cubicBezTo>
                  <a:cubicBezTo>
                    <a:pt x="96388" y="19405"/>
                    <a:pt x="94161" y="19405"/>
                    <a:pt x="92889" y="19087"/>
                  </a:cubicBezTo>
                  <a:cubicBezTo>
                    <a:pt x="92570" y="19087"/>
                    <a:pt x="92252" y="19087"/>
                    <a:pt x="91616" y="19405"/>
                  </a:cubicBezTo>
                  <a:cubicBezTo>
                    <a:pt x="90344" y="19723"/>
                    <a:pt x="90026" y="19723"/>
                    <a:pt x="89389" y="19723"/>
                  </a:cubicBezTo>
                  <a:cubicBezTo>
                    <a:pt x="88753" y="19723"/>
                    <a:pt x="88117" y="20041"/>
                    <a:pt x="87163" y="20677"/>
                  </a:cubicBezTo>
                  <a:lnTo>
                    <a:pt x="87799" y="20677"/>
                  </a:lnTo>
                  <a:cubicBezTo>
                    <a:pt x="88117" y="20677"/>
                    <a:pt x="88435" y="20995"/>
                    <a:pt x="88435" y="20677"/>
                  </a:cubicBezTo>
                  <a:cubicBezTo>
                    <a:pt x="89708" y="20677"/>
                    <a:pt x="91298" y="20677"/>
                    <a:pt x="92889" y="20677"/>
                  </a:cubicBezTo>
                  <a:lnTo>
                    <a:pt x="93207" y="20677"/>
                  </a:lnTo>
                  <a:lnTo>
                    <a:pt x="93525" y="20677"/>
                  </a:lnTo>
                  <a:cubicBezTo>
                    <a:pt x="93525" y="20995"/>
                    <a:pt x="93843" y="20995"/>
                    <a:pt x="93843" y="20995"/>
                  </a:cubicBezTo>
                  <a:cubicBezTo>
                    <a:pt x="93525" y="20677"/>
                    <a:pt x="93207" y="20677"/>
                    <a:pt x="93207" y="20677"/>
                  </a:cubicBezTo>
                  <a:cubicBezTo>
                    <a:pt x="93525" y="20359"/>
                    <a:pt x="93843" y="20359"/>
                    <a:pt x="93843" y="20041"/>
                  </a:cubicBezTo>
                  <a:close/>
                  <a:moveTo>
                    <a:pt x="92889" y="2863"/>
                  </a:moveTo>
                  <a:lnTo>
                    <a:pt x="92889" y="2545"/>
                  </a:lnTo>
                  <a:cubicBezTo>
                    <a:pt x="92889" y="2545"/>
                    <a:pt x="92570" y="2545"/>
                    <a:pt x="92252" y="2545"/>
                  </a:cubicBezTo>
                  <a:lnTo>
                    <a:pt x="91616" y="2863"/>
                  </a:lnTo>
                  <a:cubicBezTo>
                    <a:pt x="92252" y="2863"/>
                    <a:pt x="92252" y="2863"/>
                    <a:pt x="92570" y="2863"/>
                  </a:cubicBezTo>
                  <a:lnTo>
                    <a:pt x="92889" y="2863"/>
                  </a:lnTo>
                  <a:close/>
                  <a:moveTo>
                    <a:pt x="93207" y="139969"/>
                  </a:moveTo>
                  <a:cubicBezTo>
                    <a:pt x="93207" y="140287"/>
                    <a:pt x="93207" y="140287"/>
                    <a:pt x="93207" y="140287"/>
                  </a:cubicBezTo>
                  <a:cubicBezTo>
                    <a:pt x="92889" y="140287"/>
                    <a:pt x="92570" y="140287"/>
                    <a:pt x="92252" y="140287"/>
                  </a:cubicBezTo>
                  <a:cubicBezTo>
                    <a:pt x="92252" y="140287"/>
                    <a:pt x="91616" y="140287"/>
                    <a:pt x="91616" y="140605"/>
                  </a:cubicBezTo>
                  <a:lnTo>
                    <a:pt x="92252" y="140924"/>
                  </a:lnTo>
                  <a:lnTo>
                    <a:pt x="92889" y="140924"/>
                  </a:lnTo>
                  <a:cubicBezTo>
                    <a:pt x="93207" y="140605"/>
                    <a:pt x="93207" y="140605"/>
                    <a:pt x="93207" y="140287"/>
                  </a:cubicBezTo>
                  <a:lnTo>
                    <a:pt x="93207" y="139969"/>
                  </a:lnTo>
                  <a:close/>
                  <a:moveTo>
                    <a:pt x="93207" y="16224"/>
                  </a:moveTo>
                  <a:cubicBezTo>
                    <a:pt x="93207" y="16224"/>
                    <a:pt x="93207" y="16224"/>
                    <a:pt x="93207" y="15906"/>
                  </a:cubicBezTo>
                  <a:cubicBezTo>
                    <a:pt x="92889" y="15906"/>
                    <a:pt x="92889" y="16224"/>
                    <a:pt x="92889" y="16224"/>
                  </a:cubicBezTo>
                  <a:lnTo>
                    <a:pt x="93207" y="16224"/>
                  </a:lnTo>
                  <a:close/>
                  <a:moveTo>
                    <a:pt x="94161" y="9225"/>
                  </a:moveTo>
                  <a:cubicBezTo>
                    <a:pt x="94161" y="9225"/>
                    <a:pt x="94479" y="8907"/>
                    <a:pt x="94161" y="9225"/>
                  </a:cubicBezTo>
                  <a:cubicBezTo>
                    <a:pt x="94161" y="9225"/>
                    <a:pt x="94161" y="9225"/>
                    <a:pt x="93843" y="9225"/>
                  </a:cubicBezTo>
                  <a:cubicBezTo>
                    <a:pt x="94161" y="9225"/>
                    <a:pt x="94161" y="9543"/>
                    <a:pt x="94161" y="9543"/>
                  </a:cubicBezTo>
                  <a:cubicBezTo>
                    <a:pt x="94161" y="9225"/>
                    <a:pt x="94161" y="9225"/>
                    <a:pt x="94161" y="9225"/>
                  </a:cubicBezTo>
                  <a:close/>
                  <a:moveTo>
                    <a:pt x="101160" y="13997"/>
                  </a:moveTo>
                  <a:lnTo>
                    <a:pt x="101478" y="13997"/>
                  </a:lnTo>
                  <a:lnTo>
                    <a:pt x="101160" y="14315"/>
                  </a:lnTo>
                  <a:cubicBezTo>
                    <a:pt x="100841" y="14315"/>
                    <a:pt x="100205" y="14315"/>
                    <a:pt x="99887" y="14315"/>
                  </a:cubicBezTo>
                  <a:cubicBezTo>
                    <a:pt x="100841" y="13997"/>
                    <a:pt x="101160" y="13997"/>
                    <a:pt x="101160" y="13997"/>
                  </a:cubicBezTo>
                  <a:close/>
                  <a:moveTo>
                    <a:pt x="100205" y="110067"/>
                  </a:moveTo>
                  <a:cubicBezTo>
                    <a:pt x="100841" y="110385"/>
                    <a:pt x="101160" y="110067"/>
                    <a:pt x="101160" y="110067"/>
                  </a:cubicBezTo>
                  <a:cubicBezTo>
                    <a:pt x="101160" y="109430"/>
                    <a:pt x="100205" y="108794"/>
                    <a:pt x="99887" y="108794"/>
                  </a:cubicBezTo>
                  <a:cubicBezTo>
                    <a:pt x="99887" y="109749"/>
                    <a:pt x="99887" y="110067"/>
                    <a:pt x="100205" y="110067"/>
                  </a:cubicBezTo>
                  <a:close/>
                  <a:moveTo>
                    <a:pt x="111021" y="24495"/>
                  </a:moveTo>
                  <a:lnTo>
                    <a:pt x="111021" y="24177"/>
                  </a:lnTo>
                  <a:cubicBezTo>
                    <a:pt x="111021" y="24177"/>
                    <a:pt x="111021" y="24177"/>
                    <a:pt x="111339" y="24177"/>
                  </a:cubicBezTo>
                  <a:cubicBezTo>
                    <a:pt x="111339" y="24177"/>
                    <a:pt x="111657" y="24177"/>
                    <a:pt x="111975" y="24495"/>
                  </a:cubicBezTo>
                  <a:cubicBezTo>
                    <a:pt x="111657" y="24495"/>
                    <a:pt x="111657" y="24495"/>
                    <a:pt x="111339" y="24813"/>
                  </a:cubicBezTo>
                  <a:cubicBezTo>
                    <a:pt x="111339" y="24813"/>
                    <a:pt x="111021" y="24813"/>
                    <a:pt x="111021" y="24495"/>
                  </a:cubicBezTo>
                  <a:close/>
                </a:path>
              </a:pathLst>
            </a:custGeom>
            <a:solidFill>
              <a:srgbClr val="000000"/>
            </a:solidFill>
            <a:ln w="63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CF82A6D-84EA-4A8C-8EC4-1040B134107F}"/>
                </a:ext>
              </a:extLst>
            </p:cNvPr>
            <p:cNvSpPr/>
            <p:nvPr/>
          </p:nvSpPr>
          <p:spPr>
            <a:xfrm>
              <a:off x="2902775" y="3451489"/>
              <a:ext cx="203592" cy="279938"/>
            </a:xfrm>
            <a:custGeom>
              <a:avLst/>
              <a:gdLst>
                <a:gd name="connsiteX0" fmla="*/ 41355 w 203591"/>
                <a:gd name="connsiteY0" fmla="*/ 64577 h 279938"/>
                <a:gd name="connsiteX1" fmla="*/ 41036 w 203591"/>
                <a:gd name="connsiteY1" fmla="*/ 64259 h 279938"/>
                <a:gd name="connsiteX2" fmla="*/ 41036 w 203591"/>
                <a:gd name="connsiteY2" fmla="*/ 63940 h 279938"/>
                <a:gd name="connsiteX3" fmla="*/ 42945 w 203591"/>
                <a:gd name="connsiteY3" fmla="*/ 62668 h 279938"/>
                <a:gd name="connsiteX4" fmla="*/ 43581 w 203591"/>
                <a:gd name="connsiteY4" fmla="*/ 62668 h 279938"/>
                <a:gd name="connsiteX5" fmla="*/ 45808 w 203591"/>
                <a:gd name="connsiteY5" fmla="*/ 62350 h 279938"/>
                <a:gd name="connsiteX6" fmla="*/ 47081 w 203591"/>
                <a:gd name="connsiteY6" fmla="*/ 61714 h 279938"/>
                <a:gd name="connsiteX7" fmla="*/ 48671 w 203591"/>
                <a:gd name="connsiteY7" fmla="*/ 61077 h 279938"/>
                <a:gd name="connsiteX8" fmla="*/ 50580 w 203591"/>
                <a:gd name="connsiteY8" fmla="*/ 60123 h 279938"/>
                <a:gd name="connsiteX9" fmla="*/ 51852 w 203591"/>
                <a:gd name="connsiteY9" fmla="*/ 60123 h 279938"/>
                <a:gd name="connsiteX10" fmla="*/ 56306 w 203591"/>
                <a:gd name="connsiteY10" fmla="*/ 59169 h 279938"/>
                <a:gd name="connsiteX11" fmla="*/ 57260 w 203591"/>
                <a:gd name="connsiteY11" fmla="*/ 59169 h 279938"/>
                <a:gd name="connsiteX12" fmla="*/ 57896 w 203591"/>
                <a:gd name="connsiteY12" fmla="*/ 59805 h 279938"/>
                <a:gd name="connsiteX13" fmla="*/ 56306 w 203591"/>
                <a:gd name="connsiteY13" fmla="*/ 61714 h 279938"/>
                <a:gd name="connsiteX14" fmla="*/ 55352 w 203591"/>
                <a:gd name="connsiteY14" fmla="*/ 62032 h 279938"/>
                <a:gd name="connsiteX15" fmla="*/ 55033 w 203591"/>
                <a:gd name="connsiteY15" fmla="*/ 62350 h 279938"/>
                <a:gd name="connsiteX16" fmla="*/ 55033 w 203591"/>
                <a:gd name="connsiteY16" fmla="*/ 62668 h 279938"/>
                <a:gd name="connsiteX17" fmla="*/ 55670 w 203591"/>
                <a:gd name="connsiteY17" fmla="*/ 63304 h 279938"/>
                <a:gd name="connsiteX18" fmla="*/ 56306 w 203591"/>
                <a:gd name="connsiteY18" fmla="*/ 63622 h 279938"/>
                <a:gd name="connsiteX19" fmla="*/ 56942 w 203591"/>
                <a:gd name="connsiteY19" fmla="*/ 63622 h 279938"/>
                <a:gd name="connsiteX20" fmla="*/ 57578 w 203591"/>
                <a:gd name="connsiteY20" fmla="*/ 64259 h 279938"/>
                <a:gd name="connsiteX21" fmla="*/ 58215 w 203591"/>
                <a:gd name="connsiteY21" fmla="*/ 64259 h 279938"/>
                <a:gd name="connsiteX22" fmla="*/ 59487 w 203591"/>
                <a:gd name="connsiteY22" fmla="*/ 62668 h 279938"/>
                <a:gd name="connsiteX23" fmla="*/ 61714 w 203591"/>
                <a:gd name="connsiteY23" fmla="*/ 61077 h 279938"/>
                <a:gd name="connsiteX24" fmla="*/ 62350 w 203591"/>
                <a:gd name="connsiteY24" fmla="*/ 59169 h 279938"/>
                <a:gd name="connsiteX25" fmla="*/ 64259 w 203591"/>
                <a:gd name="connsiteY25" fmla="*/ 57896 h 279938"/>
                <a:gd name="connsiteX26" fmla="*/ 64895 w 203591"/>
                <a:gd name="connsiteY26" fmla="*/ 57896 h 279938"/>
                <a:gd name="connsiteX27" fmla="*/ 66485 w 203591"/>
                <a:gd name="connsiteY27" fmla="*/ 57578 h 279938"/>
                <a:gd name="connsiteX28" fmla="*/ 68076 w 203591"/>
                <a:gd name="connsiteY28" fmla="*/ 56942 h 279938"/>
                <a:gd name="connsiteX29" fmla="*/ 69030 w 203591"/>
                <a:gd name="connsiteY29" fmla="*/ 57578 h 279938"/>
                <a:gd name="connsiteX30" fmla="*/ 69349 w 203591"/>
                <a:gd name="connsiteY30" fmla="*/ 58214 h 279938"/>
                <a:gd name="connsiteX31" fmla="*/ 70621 w 203591"/>
                <a:gd name="connsiteY31" fmla="*/ 57896 h 279938"/>
                <a:gd name="connsiteX32" fmla="*/ 70939 w 203591"/>
                <a:gd name="connsiteY32" fmla="*/ 57896 h 279938"/>
                <a:gd name="connsiteX33" fmla="*/ 71257 w 203591"/>
                <a:gd name="connsiteY33" fmla="*/ 57578 h 279938"/>
                <a:gd name="connsiteX34" fmla="*/ 74438 w 203591"/>
                <a:gd name="connsiteY34" fmla="*/ 55351 h 279938"/>
                <a:gd name="connsiteX35" fmla="*/ 77619 w 203591"/>
                <a:gd name="connsiteY35" fmla="*/ 55351 h 279938"/>
                <a:gd name="connsiteX36" fmla="*/ 77937 w 203591"/>
                <a:gd name="connsiteY36" fmla="*/ 55670 h 279938"/>
                <a:gd name="connsiteX37" fmla="*/ 77937 w 203591"/>
                <a:gd name="connsiteY37" fmla="*/ 55988 h 279938"/>
                <a:gd name="connsiteX38" fmla="*/ 76983 w 203591"/>
                <a:gd name="connsiteY38" fmla="*/ 57260 h 279938"/>
                <a:gd name="connsiteX39" fmla="*/ 76983 w 203591"/>
                <a:gd name="connsiteY39" fmla="*/ 57578 h 279938"/>
                <a:gd name="connsiteX40" fmla="*/ 77937 w 203591"/>
                <a:gd name="connsiteY40" fmla="*/ 57578 h 279938"/>
                <a:gd name="connsiteX41" fmla="*/ 79846 w 203591"/>
                <a:gd name="connsiteY41" fmla="*/ 56942 h 279938"/>
                <a:gd name="connsiteX42" fmla="*/ 81119 w 203591"/>
                <a:gd name="connsiteY42" fmla="*/ 55988 h 279938"/>
                <a:gd name="connsiteX43" fmla="*/ 80164 w 203591"/>
                <a:gd name="connsiteY43" fmla="*/ 57260 h 279938"/>
                <a:gd name="connsiteX44" fmla="*/ 78256 w 203591"/>
                <a:gd name="connsiteY44" fmla="*/ 58533 h 279938"/>
                <a:gd name="connsiteX45" fmla="*/ 77619 w 203591"/>
                <a:gd name="connsiteY45" fmla="*/ 58533 h 279938"/>
                <a:gd name="connsiteX46" fmla="*/ 76983 w 203591"/>
                <a:gd name="connsiteY46" fmla="*/ 59169 h 279938"/>
                <a:gd name="connsiteX47" fmla="*/ 76983 w 203591"/>
                <a:gd name="connsiteY47" fmla="*/ 59805 h 279938"/>
                <a:gd name="connsiteX48" fmla="*/ 80164 w 203591"/>
                <a:gd name="connsiteY48" fmla="*/ 59169 h 279938"/>
                <a:gd name="connsiteX49" fmla="*/ 80800 w 203591"/>
                <a:gd name="connsiteY49" fmla="*/ 59169 h 279938"/>
                <a:gd name="connsiteX50" fmla="*/ 82391 w 203591"/>
                <a:gd name="connsiteY50" fmla="*/ 58533 h 279938"/>
                <a:gd name="connsiteX51" fmla="*/ 83027 w 203591"/>
                <a:gd name="connsiteY51" fmla="*/ 58214 h 279938"/>
                <a:gd name="connsiteX52" fmla="*/ 82391 w 203591"/>
                <a:gd name="connsiteY52" fmla="*/ 57896 h 279938"/>
                <a:gd name="connsiteX53" fmla="*/ 82073 w 203591"/>
                <a:gd name="connsiteY53" fmla="*/ 57578 h 279938"/>
                <a:gd name="connsiteX54" fmla="*/ 81755 w 203591"/>
                <a:gd name="connsiteY54" fmla="*/ 56942 h 279938"/>
                <a:gd name="connsiteX55" fmla="*/ 82391 w 203591"/>
                <a:gd name="connsiteY55" fmla="*/ 55988 h 279938"/>
                <a:gd name="connsiteX56" fmla="*/ 83345 w 203591"/>
                <a:gd name="connsiteY56" fmla="*/ 55351 h 279938"/>
                <a:gd name="connsiteX57" fmla="*/ 83982 w 203591"/>
                <a:gd name="connsiteY57" fmla="*/ 54079 h 279938"/>
                <a:gd name="connsiteX58" fmla="*/ 87481 w 203591"/>
                <a:gd name="connsiteY58" fmla="*/ 41355 h 279938"/>
                <a:gd name="connsiteX59" fmla="*/ 87799 w 203591"/>
                <a:gd name="connsiteY59" fmla="*/ 35947 h 279938"/>
                <a:gd name="connsiteX60" fmla="*/ 90026 w 203591"/>
                <a:gd name="connsiteY60" fmla="*/ 34356 h 279938"/>
                <a:gd name="connsiteX61" fmla="*/ 90662 w 203591"/>
                <a:gd name="connsiteY61" fmla="*/ 33720 h 279938"/>
                <a:gd name="connsiteX62" fmla="*/ 90344 w 203591"/>
                <a:gd name="connsiteY62" fmla="*/ 33402 h 279938"/>
                <a:gd name="connsiteX63" fmla="*/ 90662 w 203591"/>
                <a:gd name="connsiteY63" fmla="*/ 32447 h 279938"/>
                <a:gd name="connsiteX64" fmla="*/ 89390 w 203591"/>
                <a:gd name="connsiteY64" fmla="*/ 31811 h 279938"/>
                <a:gd name="connsiteX65" fmla="*/ 89071 w 203591"/>
                <a:gd name="connsiteY65" fmla="*/ 30221 h 279938"/>
                <a:gd name="connsiteX66" fmla="*/ 89071 w 203591"/>
                <a:gd name="connsiteY66" fmla="*/ 29584 h 279938"/>
                <a:gd name="connsiteX67" fmla="*/ 90026 w 203591"/>
                <a:gd name="connsiteY67" fmla="*/ 28630 h 279938"/>
                <a:gd name="connsiteX68" fmla="*/ 90344 w 203591"/>
                <a:gd name="connsiteY68" fmla="*/ 27676 h 279938"/>
                <a:gd name="connsiteX69" fmla="*/ 90344 w 203591"/>
                <a:gd name="connsiteY69" fmla="*/ 27040 h 279938"/>
                <a:gd name="connsiteX70" fmla="*/ 90980 w 203591"/>
                <a:gd name="connsiteY70" fmla="*/ 25449 h 279938"/>
                <a:gd name="connsiteX71" fmla="*/ 91934 w 203591"/>
                <a:gd name="connsiteY71" fmla="*/ 23858 h 279938"/>
                <a:gd name="connsiteX72" fmla="*/ 91934 w 203591"/>
                <a:gd name="connsiteY72" fmla="*/ 23540 h 279938"/>
                <a:gd name="connsiteX73" fmla="*/ 92571 w 203591"/>
                <a:gd name="connsiteY73" fmla="*/ 21950 h 279938"/>
                <a:gd name="connsiteX74" fmla="*/ 92889 w 203591"/>
                <a:gd name="connsiteY74" fmla="*/ 21632 h 279938"/>
                <a:gd name="connsiteX75" fmla="*/ 92889 w 203591"/>
                <a:gd name="connsiteY75" fmla="*/ 21313 h 279938"/>
                <a:gd name="connsiteX76" fmla="*/ 92571 w 203591"/>
                <a:gd name="connsiteY76" fmla="*/ 20995 h 279938"/>
                <a:gd name="connsiteX77" fmla="*/ 92571 w 203591"/>
                <a:gd name="connsiteY77" fmla="*/ 19405 h 279938"/>
                <a:gd name="connsiteX78" fmla="*/ 92889 w 203591"/>
                <a:gd name="connsiteY78" fmla="*/ 18769 h 279938"/>
                <a:gd name="connsiteX79" fmla="*/ 94479 w 203591"/>
                <a:gd name="connsiteY79" fmla="*/ 17496 h 279938"/>
                <a:gd name="connsiteX80" fmla="*/ 94161 w 203591"/>
                <a:gd name="connsiteY80" fmla="*/ 17178 h 279938"/>
                <a:gd name="connsiteX81" fmla="*/ 95115 w 203591"/>
                <a:gd name="connsiteY81" fmla="*/ 15269 h 279938"/>
                <a:gd name="connsiteX82" fmla="*/ 94797 w 203591"/>
                <a:gd name="connsiteY82" fmla="*/ 14951 h 279938"/>
                <a:gd name="connsiteX83" fmla="*/ 96070 w 203591"/>
                <a:gd name="connsiteY83" fmla="*/ 14315 h 279938"/>
                <a:gd name="connsiteX84" fmla="*/ 97342 w 203591"/>
                <a:gd name="connsiteY84" fmla="*/ 13361 h 279938"/>
                <a:gd name="connsiteX85" fmla="*/ 97342 w 203591"/>
                <a:gd name="connsiteY85" fmla="*/ 11770 h 279938"/>
                <a:gd name="connsiteX86" fmla="*/ 99251 w 203591"/>
                <a:gd name="connsiteY86" fmla="*/ 10180 h 279938"/>
                <a:gd name="connsiteX87" fmla="*/ 100205 w 203591"/>
                <a:gd name="connsiteY87" fmla="*/ 7317 h 279938"/>
                <a:gd name="connsiteX88" fmla="*/ 100841 w 203591"/>
                <a:gd name="connsiteY88" fmla="*/ 6998 h 279938"/>
                <a:gd name="connsiteX89" fmla="*/ 101160 w 203591"/>
                <a:gd name="connsiteY89" fmla="*/ 6044 h 279938"/>
                <a:gd name="connsiteX90" fmla="*/ 102114 w 203591"/>
                <a:gd name="connsiteY90" fmla="*/ 4454 h 279938"/>
                <a:gd name="connsiteX91" fmla="*/ 103705 w 203591"/>
                <a:gd name="connsiteY91" fmla="*/ 3181 h 279938"/>
                <a:gd name="connsiteX92" fmla="*/ 103386 w 203591"/>
                <a:gd name="connsiteY92" fmla="*/ 2545 h 279938"/>
                <a:gd name="connsiteX93" fmla="*/ 104659 w 203591"/>
                <a:gd name="connsiteY93" fmla="*/ 1909 h 279938"/>
                <a:gd name="connsiteX94" fmla="*/ 105295 w 203591"/>
                <a:gd name="connsiteY94" fmla="*/ 1591 h 279938"/>
                <a:gd name="connsiteX95" fmla="*/ 105931 w 203591"/>
                <a:gd name="connsiteY95" fmla="*/ 1272 h 279938"/>
                <a:gd name="connsiteX96" fmla="*/ 106249 w 203591"/>
                <a:gd name="connsiteY96" fmla="*/ 1272 h 279938"/>
                <a:gd name="connsiteX97" fmla="*/ 106567 w 203591"/>
                <a:gd name="connsiteY97" fmla="*/ 1591 h 279938"/>
                <a:gd name="connsiteX98" fmla="*/ 107204 w 203591"/>
                <a:gd name="connsiteY98" fmla="*/ 1272 h 279938"/>
                <a:gd name="connsiteX99" fmla="*/ 108794 w 203591"/>
                <a:gd name="connsiteY99" fmla="*/ 318 h 279938"/>
                <a:gd name="connsiteX100" fmla="*/ 109749 w 203591"/>
                <a:gd name="connsiteY100" fmla="*/ 0 h 279938"/>
                <a:gd name="connsiteX101" fmla="*/ 111021 w 203591"/>
                <a:gd name="connsiteY101" fmla="*/ 636 h 279938"/>
                <a:gd name="connsiteX102" fmla="*/ 111339 w 203591"/>
                <a:gd name="connsiteY102" fmla="*/ 954 h 279938"/>
                <a:gd name="connsiteX103" fmla="*/ 111021 w 203591"/>
                <a:gd name="connsiteY103" fmla="*/ 3181 h 279938"/>
                <a:gd name="connsiteX104" fmla="*/ 111657 w 203591"/>
                <a:gd name="connsiteY104" fmla="*/ 3499 h 279938"/>
                <a:gd name="connsiteX105" fmla="*/ 112294 w 203591"/>
                <a:gd name="connsiteY105" fmla="*/ 3499 h 279938"/>
                <a:gd name="connsiteX106" fmla="*/ 113248 w 203591"/>
                <a:gd name="connsiteY106" fmla="*/ 1909 h 279938"/>
                <a:gd name="connsiteX107" fmla="*/ 113566 w 203591"/>
                <a:gd name="connsiteY107" fmla="*/ 1909 h 279938"/>
                <a:gd name="connsiteX108" fmla="*/ 113884 w 203591"/>
                <a:gd name="connsiteY108" fmla="*/ 2545 h 279938"/>
                <a:gd name="connsiteX109" fmla="*/ 114520 w 203591"/>
                <a:gd name="connsiteY109" fmla="*/ 3181 h 279938"/>
                <a:gd name="connsiteX110" fmla="*/ 115156 w 203591"/>
                <a:gd name="connsiteY110" fmla="*/ 3499 h 279938"/>
                <a:gd name="connsiteX111" fmla="*/ 117701 w 203591"/>
                <a:gd name="connsiteY111" fmla="*/ 3499 h 279938"/>
                <a:gd name="connsiteX112" fmla="*/ 117383 w 203591"/>
                <a:gd name="connsiteY112" fmla="*/ 4135 h 279938"/>
                <a:gd name="connsiteX113" fmla="*/ 117383 w 203591"/>
                <a:gd name="connsiteY113" fmla="*/ 4772 h 279938"/>
                <a:gd name="connsiteX114" fmla="*/ 118656 w 203591"/>
                <a:gd name="connsiteY114" fmla="*/ 4772 h 279938"/>
                <a:gd name="connsiteX115" fmla="*/ 118974 w 203591"/>
                <a:gd name="connsiteY115" fmla="*/ 4454 h 279938"/>
                <a:gd name="connsiteX116" fmla="*/ 120246 w 203591"/>
                <a:gd name="connsiteY116" fmla="*/ 4135 h 279938"/>
                <a:gd name="connsiteX117" fmla="*/ 120882 w 203591"/>
                <a:gd name="connsiteY117" fmla="*/ 4454 h 279938"/>
                <a:gd name="connsiteX118" fmla="*/ 122791 w 203591"/>
                <a:gd name="connsiteY118" fmla="*/ 4772 h 279938"/>
                <a:gd name="connsiteX119" fmla="*/ 124064 w 203591"/>
                <a:gd name="connsiteY119" fmla="*/ 5726 h 279938"/>
                <a:gd name="connsiteX120" fmla="*/ 123746 w 203591"/>
                <a:gd name="connsiteY120" fmla="*/ 7953 h 279938"/>
                <a:gd name="connsiteX121" fmla="*/ 124382 w 203591"/>
                <a:gd name="connsiteY121" fmla="*/ 8907 h 279938"/>
                <a:gd name="connsiteX122" fmla="*/ 124700 w 203591"/>
                <a:gd name="connsiteY122" fmla="*/ 9543 h 279938"/>
                <a:gd name="connsiteX123" fmla="*/ 123746 w 203591"/>
                <a:gd name="connsiteY123" fmla="*/ 11134 h 279938"/>
                <a:gd name="connsiteX124" fmla="*/ 123428 w 203591"/>
                <a:gd name="connsiteY124" fmla="*/ 12088 h 279938"/>
                <a:gd name="connsiteX125" fmla="*/ 122155 w 203591"/>
                <a:gd name="connsiteY125" fmla="*/ 13361 h 279938"/>
                <a:gd name="connsiteX126" fmla="*/ 121837 w 203591"/>
                <a:gd name="connsiteY126" fmla="*/ 13997 h 279938"/>
                <a:gd name="connsiteX127" fmla="*/ 121519 w 203591"/>
                <a:gd name="connsiteY127" fmla="*/ 14951 h 279938"/>
                <a:gd name="connsiteX128" fmla="*/ 121201 w 203591"/>
                <a:gd name="connsiteY128" fmla="*/ 15269 h 279938"/>
                <a:gd name="connsiteX129" fmla="*/ 120882 w 203591"/>
                <a:gd name="connsiteY129" fmla="*/ 15587 h 279938"/>
                <a:gd name="connsiteX130" fmla="*/ 120882 w 203591"/>
                <a:gd name="connsiteY130" fmla="*/ 17178 h 279938"/>
                <a:gd name="connsiteX131" fmla="*/ 119928 w 203591"/>
                <a:gd name="connsiteY131" fmla="*/ 18769 h 279938"/>
                <a:gd name="connsiteX132" fmla="*/ 119928 w 203591"/>
                <a:gd name="connsiteY132" fmla="*/ 19087 h 279938"/>
                <a:gd name="connsiteX133" fmla="*/ 118974 w 203591"/>
                <a:gd name="connsiteY133" fmla="*/ 21313 h 279938"/>
                <a:gd name="connsiteX134" fmla="*/ 118656 w 203591"/>
                <a:gd name="connsiteY134" fmla="*/ 22586 h 279938"/>
                <a:gd name="connsiteX135" fmla="*/ 118656 w 203591"/>
                <a:gd name="connsiteY135" fmla="*/ 22904 h 279938"/>
                <a:gd name="connsiteX136" fmla="*/ 117701 w 203591"/>
                <a:gd name="connsiteY136" fmla="*/ 24176 h 279938"/>
                <a:gd name="connsiteX137" fmla="*/ 118020 w 203591"/>
                <a:gd name="connsiteY137" fmla="*/ 24495 h 279938"/>
                <a:gd name="connsiteX138" fmla="*/ 118020 w 203591"/>
                <a:gd name="connsiteY138" fmla="*/ 25131 h 279938"/>
                <a:gd name="connsiteX139" fmla="*/ 116429 w 203591"/>
                <a:gd name="connsiteY139" fmla="*/ 27040 h 279938"/>
                <a:gd name="connsiteX140" fmla="*/ 116747 w 203591"/>
                <a:gd name="connsiteY140" fmla="*/ 27358 h 279938"/>
                <a:gd name="connsiteX141" fmla="*/ 116747 w 203591"/>
                <a:gd name="connsiteY141" fmla="*/ 27676 h 279938"/>
                <a:gd name="connsiteX142" fmla="*/ 116429 w 203591"/>
                <a:gd name="connsiteY142" fmla="*/ 28312 h 279938"/>
                <a:gd name="connsiteX143" fmla="*/ 116429 w 203591"/>
                <a:gd name="connsiteY143" fmla="*/ 28630 h 279938"/>
                <a:gd name="connsiteX144" fmla="*/ 115475 w 203591"/>
                <a:gd name="connsiteY144" fmla="*/ 29584 h 279938"/>
                <a:gd name="connsiteX145" fmla="*/ 115475 w 203591"/>
                <a:gd name="connsiteY145" fmla="*/ 29903 h 279938"/>
                <a:gd name="connsiteX146" fmla="*/ 114838 w 203591"/>
                <a:gd name="connsiteY146" fmla="*/ 30857 h 279938"/>
                <a:gd name="connsiteX147" fmla="*/ 114202 w 203591"/>
                <a:gd name="connsiteY147" fmla="*/ 32447 h 279938"/>
                <a:gd name="connsiteX148" fmla="*/ 113884 w 203591"/>
                <a:gd name="connsiteY148" fmla="*/ 32766 h 279938"/>
                <a:gd name="connsiteX149" fmla="*/ 113884 w 203591"/>
                <a:gd name="connsiteY149" fmla="*/ 33402 h 279938"/>
                <a:gd name="connsiteX150" fmla="*/ 114202 w 203591"/>
                <a:gd name="connsiteY150" fmla="*/ 33720 h 279938"/>
                <a:gd name="connsiteX151" fmla="*/ 113248 w 203591"/>
                <a:gd name="connsiteY151" fmla="*/ 35629 h 279938"/>
                <a:gd name="connsiteX152" fmla="*/ 111657 w 203591"/>
                <a:gd name="connsiteY152" fmla="*/ 50898 h 279938"/>
                <a:gd name="connsiteX153" fmla="*/ 112612 w 203591"/>
                <a:gd name="connsiteY153" fmla="*/ 50262 h 279938"/>
                <a:gd name="connsiteX154" fmla="*/ 113248 w 203591"/>
                <a:gd name="connsiteY154" fmla="*/ 49944 h 279938"/>
                <a:gd name="connsiteX155" fmla="*/ 114520 w 203591"/>
                <a:gd name="connsiteY155" fmla="*/ 51216 h 279938"/>
                <a:gd name="connsiteX156" fmla="*/ 116111 w 203591"/>
                <a:gd name="connsiteY156" fmla="*/ 52488 h 279938"/>
                <a:gd name="connsiteX157" fmla="*/ 119292 w 203591"/>
                <a:gd name="connsiteY157" fmla="*/ 50898 h 279938"/>
                <a:gd name="connsiteX158" fmla="*/ 116111 w 203591"/>
                <a:gd name="connsiteY158" fmla="*/ 51534 h 279938"/>
                <a:gd name="connsiteX159" fmla="*/ 115475 w 203591"/>
                <a:gd name="connsiteY159" fmla="*/ 51216 h 279938"/>
                <a:gd name="connsiteX160" fmla="*/ 115475 w 203591"/>
                <a:gd name="connsiteY160" fmla="*/ 50898 h 279938"/>
                <a:gd name="connsiteX161" fmla="*/ 118338 w 203591"/>
                <a:gd name="connsiteY161" fmla="*/ 49944 h 279938"/>
                <a:gd name="connsiteX162" fmla="*/ 118974 w 203591"/>
                <a:gd name="connsiteY162" fmla="*/ 49625 h 279938"/>
                <a:gd name="connsiteX163" fmla="*/ 119610 w 203591"/>
                <a:gd name="connsiteY163" fmla="*/ 50262 h 279938"/>
                <a:gd name="connsiteX164" fmla="*/ 119292 w 203591"/>
                <a:gd name="connsiteY164" fmla="*/ 50898 h 279938"/>
                <a:gd name="connsiteX165" fmla="*/ 119928 w 203591"/>
                <a:gd name="connsiteY165" fmla="*/ 50580 h 279938"/>
                <a:gd name="connsiteX166" fmla="*/ 121519 w 203591"/>
                <a:gd name="connsiteY166" fmla="*/ 49944 h 279938"/>
                <a:gd name="connsiteX167" fmla="*/ 124700 w 203591"/>
                <a:gd name="connsiteY167" fmla="*/ 49307 h 279938"/>
                <a:gd name="connsiteX168" fmla="*/ 126609 w 203591"/>
                <a:gd name="connsiteY168" fmla="*/ 48989 h 279938"/>
                <a:gd name="connsiteX169" fmla="*/ 127563 w 203591"/>
                <a:gd name="connsiteY169" fmla="*/ 48989 h 279938"/>
                <a:gd name="connsiteX170" fmla="*/ 127245 w 203591"/>
                <a:gd name="connsiteY170" fmla="*/ 49625 h 279938"/>
                <a:gd name="connsiteX171" fmla="*/ 126609 w 203591"/>
                <a:gd name="connsiteY171" fmla="*/ 50262 h 279938"/>
                <a:gd name="connsiteX172" fmla="*/ 125972 w 203591"/>
                <a:gd name="connsiteY172" fmla="*/ 51216 h 279938"/>
                <a:gd name="connsiteX173" fmla="*/ 126290 w 203591"/>
                <a:gd name="connsiteY173" fmla="*/ 51534 h 279938"/>
                <a:gd name="connsiteX174" fmla="*/ 125972 w 203591"/>
                <a:gd name="connsiteY174" fmla="*/ 51852 h 279938"/>
                <a:gd name="connsiteX175" fmla="*/ 124700 w 203591"/>
                <a:gd name="connsiteY175" fmla="*/ 53443 h 279938"/>
                <a:gd name="connsiteX176" fmla="*/ 121837 w 203591"/>
                <a:gd name="connsiteY176" fmla="*/ 55670 h 279938"/>
                <a:gd name="connsiteX177" fmla="*/ 120882 w 203591"/>
                <a:gd name="connsiteY177" fmla="*/ 56306 h 279938"/>
                <a:gd name="connsiteX178" fmla="*/ 121837 w 203591"/>
                <a:gd name="connsiteY178" fmla="*/ 56942 h 279938"/>
                <a:gd name="connsiteX179" fmla="*/ 122473 w 203591"/>
                <a:gd name="connsiteY179" fmla="*/ 56306 h 279938"/>
                <a:gd name="connsiteX180" fmla="*/ 123428 w 203591"/>
                <a:gd name="connsiteY180" fmla="*/ 55670 h 279938"/>
                <a:gd name="connsiteX181" fmla="*/ 124700 w 203591"/>
                <a:gd name="connsiteY181" fmla="*/ 54715 h 279938"/>
                <a:gd name="connsiteX182" fmla="*/ 125972 w 203591"/>
                <a:gd name="connsiteY182" fmla="*/ 54715 h 279938"/>
                <a:gd name="connsiteX183" fmla="*/ 127881 w 203591"/>
                <a:gd name="connsiteY183" fmla="*/ 53443 h 279938"/>
                <a:gd name="connsiteX184" fmla="*/ 128199 w 203591"/>
                <a:gd name="connsiteY184" fmla="*/ 52807 h 279938"/>
                <a:gd name="connsiteX185" fmla="*/ 128517 w 203591"/>
                <a:gd name="connsiteY185" fmla="*/ 52488 h 279938"/>
                <a:gd name="connsiteX186" fmla="*/ 127881 w 203591"/>
                <a:gd name="connsiteY186" fmla="*/ 52170 h 279938"/>
                <a:gd name="connsiteX187" fmla="*/ 127245 w 203591"/>
                <a:gd name="connsiteY187" fmla="*/ 52170 h 279938"/>
                <a:gd name="connsiteX188" fmla="*/ 127563 w 203591"/>
                <a:gd name="connsiteY188" fmla="*/ 51534 h 279938"/>
                <a:gd name="connsiteX189" fmla="*/ 127881 w 203591"/>
                <a:gd name="connsiteY189" fmla="*/ 51216 h 279938"/>
                <a:gd name="connsiteX190" fmla="*/ 132016 w 203591"/>
                <a:gd name="connsiteY190" fmla="*/ 48989 h 279938"/>
                <a:gd name="connsiteX191" fmla="*/ 132653 w 203591"/>
                <a:gd name="connsiteY191" fmla="*/ 48671 h 279938"/>
                <a:gd name="connsiteX192" fmla="*/ 132971 w 203591"/>
                <a:gd name="connsiteY192" fmla="*/ 48989 h 279938"/>
                <a:gd name="connsiteX193" fmla="*/ 132971 w 203591"/>
                <a:gd name="connsiteY193" fmla="*/ 49625 h 279938"/>
                <a:gd name="connsiteX194" fmla="*/ 133289 w 203591"/>
                <a:gd name="connsiteY194" fmla="*/ 50898 h 279938"/>
                <a:gd name="connsiteX195" fmla="*/ 133925 w 203591"/>
                <a:gd name="connsiteY195" fmla="*/ 50898 h 279938"/>
                <a:gd name="connsiteX196" fmla="*/ 134879 w 203591"/>
                <a:gd name="connsiteY196" fmla="*/ 48353 h 279938"/>
                <a:gd name="connsiteX197" fmla="*/ 137106 w 203591"/>
                <a:gd name="connsiteY197" fmla="*/ 47081 h 279938"/>
                <a:gd name="connsiteX198" fmla="*/ 139969 w 203591"/>
                <a:gd name="connsiteY198" fmla="*/ 47081 h 279938"/>
                <a:gd name="connsiteX199" fmla="*/ 139651 w 203591"/>
                <a:gd name="connsiteY199" fmla="*/ 48353 h 279938"/>
                <a:gd name="connsiteX200" fmla="*/ 139333 w 203591"/>
                <a:gd name="connsiteY200" fmla="*/ 48671 h 279938"/>
                <a:gd name="connsiteX201" fmla="*/ 139333 w 203591"/>
                <a:gd name="connsiteY201" fmla="*/ 49307 h 279938"/>
                <a:gd name="connsiteX202" fmla="*/ 141242 w 203591"/>
                <a:gd name="connsiteY202" fmla="*/ 49625 h 279938"/>
                <a:gd name="connsiteX203" fmla="*/ 141560 w 203591"/>
                <a:gd name="connsiteY203" fmla="*/ 49625 h 279938"/>
                <a:gd name="connsiteX204" fmla="*/ 141560 w 203591"/>
                <a:gd name="connsiteY204" fmla="*/ 50580 h 279938"/>
                <a:gd name="connsiteX205" fmla="*/ 140287 w 203591"/>
                <a:gd name="connsiteY205" fmla="*/ 50898 h 279938"/>
                <a:gd name="connsiteX206" fmla="*/ 138697 w 203591"/>
                <a:gd name="connsiteY206" fmla="*/ 51534 h 279938"/>
                <a:gd name="connsiteX207" fmla="*/ 138379 w 203591"/>
                <a:gd name="connsiteY207" fmla="*/ 51852 h 279938"/>
                <a:gd name="connsiteX208" fmla="*/ 138379 w 203591"/>
                <a:gd name="connsiteY208" fmla="*/ 52488 h 279938"/>
                <a:gd name="connsiteX209" fmla="*/ 139333 w 203591"/>
                <a:gd name="connsiteY209" fmla="*/ 52488 h 279938"/>
                <a:gd name="connsiteX210" fmla="*/ 142832 w 203591"/>
                <a:gd name="connsiteY210" fmla="*/ 51852 h 279938"/>
                <a:gd name="connsiteX211" fmla="*/ 143787 w 203591"/>
                <a:gd name="connsiteY211" fmla="*/ 53125 h 279938"/>
                <a:gd name="connsiteX212" fmla="*/ 144423 w 203591"/>
                <a:gd name="connsiteY212" fmla="*/ 53443 h 279938"/>
                <a:gd name="connsiteX213" fmla="*/ 145059 w 203591"/>
                <a:gd name="connsiteY213" fmla="*/ 53125 h 279938"/>
                <a:gd name="connsiteX214" fmla="*/ 146331 w 203591"/>
                <a:gd name="connsiteY214" fmla="*/ 51534 h 279938"/>
                <a:gd name="connsiteX215" fmla="*/ 146331 w 203591"/>
                <a:gd name="connsiteY215" fmla="*/ 51216 h 279938"/>
                <a:gd name="connsiteX216" fmla="*/ 146013 w 203591"/>
                <a:gd name="connsiteY216" fmla="*/ 51216 h 279938"/>
                <a:gd name="connsiteX217" fmla="*/ 145695 w 203591"/>
                <a:gd name="connsiteY217" fmla="*/ 51534 h 279938"/>
                <a:gd name="connsiteX218" fmla="*/ 145377 w 203591"/>
                <a:gd name="connsiteY218" fmla="*/ 51534 h 279938"/>
                <a:gd name="connsiteX219" fmla="*/ 145695 w 203591"/>
                <a:gd name="connsiteY219" fmla="*/ 51216 h 279938"/>
                <a:gd name="connsiteX220" fmla="*/ 145695 w 203591"/>
                <a:gd name="connsiteY220" fmla="*/ 50898 h 279938"/>
                <a:gd name="connsiteX221" fmla="*/ 146650 w 203591"/>
                <a:gd name="connsiteY221" fmla="*/ 49625 h 279938"/>
                <a:gd name="connsiteX222" fmla="*/ 147286 w 203591"/>
                <a:gd name="connsiteY222" fmla="*/ 48353 h 279938"/>
                <a:gd name="connsiteX223" fmla="*/ 145695 w 203591"/>
                <a:gd name="connsiteY223" fmla="*/ 48671 h 279938"/>
                <a:gd name="connsiteX224" fmla="*/ 144105 w 203591"/>
                <a:gd name="connsiteY224" fmla="*/ 48353 h 279938"/>
                <a:gd name="connsiteX225" fmla="*/ 144423 w 203591"/>
                <a:gd name="connsiteY225" fmla="*/ 48035 h 279938"/>
                <a:gd name="connsiteX226" fmla="*/ 144423 w 203591"/>
                <a:gd name="connsiteY226" fmla="*/ 47717 h 279938"/>
                <a:gd name="connsiteX227" fmla="*/ 144741 w 203591"/>
                <a:gd name="connsiteY227" fmla="*/ 46762 h 279938"/>
                <a:gd name="connsiteX228" fmla="*/ 145695 w 203591"/>
                <a:gd name="connsiteY228" fmla="*/ 47081 h 279938"/>
                <a:gd name="connsiteX229" fmla="*/ 146650 w 203591"/>
                <a:gd name="connsiteY229" fmla="*/ 48035 h 279938"/>
                <a:gd name="connsiteX230" fmla="*/ 147922 w 203591"/>
                <a:gd name="connsiteY230" fmla="*/ 46444 h 279938"/>
                <a:gd name="connsiteX231" fmla="*/ 151421 w 203591"/>
                <a:gd name="connsiteY231" fmla="*/ 46444 h 279938"/>
                <a:gd name="connsiteX232" fmla="*/ 156511 w 203591"/>
                <a:gd name="connsiteY232" fmla="*/ 45172 h 279938"/>
                <a:gd name="connsiteX233" fmla="*/ 158738 w 203591"/>
                <a:gd name="connsiteY233" fmla="*/ 45172 h 279938"/>
                <a:gd name="connsiteX234" fmla="*/ 159374 w 203591"/>
                <a:gd name="connsiteY234" fmla="*/ 47081 h 279938"/>
                <a:gd name="connsiteX235" fmla="*/ 160010 w 203591"/>
                <a:gd name="connsiteY235" fmla="*/ 47717 h 279938"/>
                <a:gd name="connsiteX236" fmla="*/ 161601 w 203591"/>
                <a:gd name="connsiteY236" fmla="*/ 47399 h 279938"/>
                <a:gd name="connsiteX237" fmla="*/ 162873 w 203591"/>
                <a:gd name="connsiteY237" fmla="*/ 47399 h 279938"/>
                <a:gd name="connsiteX238" fmla="*/ 162237 w 203591"/>
                <a:gd name="connsiteY238" fmla="*/ 48989 h 279938"/>
                <a:gd name="connsiteX239" fmla="*/ 162873 w 203591"/>
                <a:gd name="connsiteY239" fmla="*/ 50580 h 279938"/>
                <a:gd name="connsiteX240" fmla="*/ 163828 w 203591"/>
                <a:gd name="connsiteY240" fmla="*/ 50898 h 279938"/>
                <a:gd name="connsiteX241" fmla="*/ 163510 w 203591"/>
                <a:gd name="connsiteY241" fmla="*/ 51216 h 279938"/>
                <a:gd name="connsiteX242" fmla="*/ 162873 w 203591"/>
                <a:gd name="connsiteY242" fmla="*/ 52170 h 279938"/>
                <a:gd name="connsiteX243" fmla="*/ 162237 w 203591"/>
                <a:gd name="connsiteY243" fmla="*/ 53125 h 279938"/>
                <a:gd name="connsiteX244" fmla="*/ 163510 w 203591"/>
                <a:gd name="connsiteY244" fmla="*/ 52170 h 279938"/>
                <a:gd name="connsiteX245" fmla="*/ 165418 w 203591"/>
                <a:gd name="connsiteY245" fmla="*/ 51216 h 279938"/>
                <a:gd name="connsiteX246" fmla="*/ 166054 w 203591"/>
                <a:gd name="connsiteY246" fmla="*/ 50898 h 279938"/>
                <a:gd name="connsiteX247" fmla="*/ 166373 w 203591"/>
                <a:gd name="connsiteY247" fmla="*/ 51216 h 279938"/>
                <a:gd name="connsiteX248" fmla="*/ 167327 w 203591"/>
                <a:gd name="connsiteY248" fmla="*/ 50580 h 279938"/>
                <a:gd name="connsiteX249" fmla="*/ 167963 w 203591"/>
                <a:gd name="connsiteY249" fmla="*/ 48671 h 279938"/>
                <a:gd name="connsiteX250" fmla="*/ 167963 w 203591"/>
                <a:gd name="connsiteY250" fmla="*/ 48353 h 279938"/>
                <a:gd name="connsiteX251" fmla="*/ 168917 w 203591"/>
                <a:gd name="connsiteY251" fmla="*/ 46762 h 279938"/>
                <a:gd name="connsiteX252" fmla="*/ 170826 w 203591"/>
                <a:gd name="connsiteY252" fmla="*/ 44854 h 279938"/>
                <a:gd name="connsiteX253" fmla="*/ 171780 w 203591"/>
                <a:gd name="connsiteY253" fmla="*/ 44854 h 279938"/>
                <a:gd name="connsiteX254" fmla="*/ 172735 w 203591"/>
                <a:gd name="connsiteY254" fmla="*/ 45172 h 279938"/>
                <a:gd name="connsiteX255" fmla="*/ 175916 w 203591"/>
                <a:gd name="connsiteY255" fmla="*/ 43899 h 279938"/>
                <a:gd name="connsiteX256" fmla="*/ 176552 w 203591"/>
                <a:gd name="connsiteY256" fmla="*/ 43899 h 279938"/>
                <a:gd name="connsiteX257" fmla="*/ 177507 w 203591"/>
                <a:gd name="connsiteY257" fmla="*/ 44218 h 279938"/>
                <a:gd name="connsiteX258" fmla="*/ 179415 w 203591"/>
                <a:gd name="connsiteY258" fmla="*/ 43899 h 279938"/>
                <a:gd name="connsiteX259" fmla="*/ 182278 w 203591"/>
                <a:gd name="connsiteY259" fmla="*/ 44536 h 279938"/>
                <a:gd name="connsiteX260" fmla="*/ 185777 w 203591"/>
                <a:gd name="connsiteY260" fmla="*/ 43899 h 279938"/>
                <a:gd name="connsiteX261" fmla="*/ 187050 w 203591"/>
                <a:gd name="connsiteY261" fmla="*/ 43899 h 279938"/>
                <a:gd name="connsiteX262" fmla="*/ 187050 w 203591"/>
                <a:gd name="connsiteY262" fmla="*/ 44218 h 279938"/>
                <a:gd name="connsiteX263" fmla="*/ 187368 w 203591"/>
                <a:gd name="connsiteY263" fmla="*/ 44536 h 279938"/>
                <a:gd name="connsiteX264" fmla="*/ 188004 w 203591"/>
                <a:gd name="connsiteY264" fmla="*/ 44218 h 279938"/>
                <a:gd name="connsiteX265" fmla="*/ 189277 w 203591"/>
                <a:gd name="connsiteY265" fmla="*/ 44218 h 279938"/>
                <a:gd name="connsiteX266" fmla="*/ 191503 w 203591"/>
                <a:gd name="connsiteY266" fmla="*/ 45172 h 279938"/>
                <a:gd name="connsiteX267" fmla="*/ 192140 w 203591"/>
                <a:gd name="connsiteY267" fmla="*/ 45808 h 279938"/>
                <a:gd name="connsiteX268" fmla="*/ 193412 w 203591"/>
                <a:gd name="connsiteY268" fmla="*/ 45490 h 279938"/>
                <a:gd name="connsiteX269" fmla="*/ 194048 w 203591"/>
                <a:gd name="connsiteY269" fmla="*/ 45490 h 279938"/>
                <a:gd name="connsiteX270" fmla="*/ 196593 w 203591"/>
                <a:gd name="connsiteY270" fmla="*/ 44854 h 279938"/>
                <a:gd name="connsiteX271" fmla="*/ 198184 w 203591"/>
                <a:gd name="connsiteY271" fmla="*/ 45808 h 279938"/>
                <a:gd name="connsiteX272" fmla="*/ 200729 w 203591"/>
                <a:gd name="connsiteY272" fmla="*/ 45808 h 279938"/>
                <a:gd name="connsiteX273" fmla="*/ 202001 w 203591"/>
                <a:gd name="connsiteY273" fmla="*/ 45490 h 279938"/>
                <a:gd name="connsiteX274" fmla="*/ 203592 w 203591"/>
                <a:gd name="connsiteY274" fmla="*/ 46444 h 279938"/>
                <a:gd name="connsiteX275" fmla="*/ 204228 w 203591"/>
                <a:gd name="connsiteY275" fmla="*/ 47399 h 279938"/>
                <a:gd name="connsiteX276" fmla="*/ 204228 w 203591"/>
                <a:gd name="connsiteY276" fmla="*/ 47717 h 279938"/>
                <a:gd name="connsiteX277" fmla="*/ 204864 w 203591"/>
                <a:gd name="connsiteY277" fmla="*/ 50262 h 279938"/>
                <a:gd name="connsiteX278" fmla="*/ 204864 w 203591"/>
                <a:gd name="connsiteY278" fmla="*/ 50898 h 279938"/>
                <a:gd name="connsiteX279" fmla="*/ 205818 w 203591"/>
                <a:gd name="connsiteY279" fmla="*/ 52170 h 279938"/>
                <a:gd name="connsiteX280" fmla="*/ 205182 w 203591"/>
                <a:gd name="connsiteY280" fmla="*/ 53761 h 279938"/>
                <a:gd name="connsiteX281" fmla="*/ 205182 w 203591"/>
                <a:gd name="connsiteY281" fmla="*/ 57260 h 279938"/>
                <a:gd name="connsiteX282" fmla="*/ 203910 w 203591"/>
                <a:gd name="connsiteY282" fmla="*/ 58533 h 279938"/>
                <a:gd name="connsiteX283" fmla="*/ 202955 w 203591"/>
                <a:gd name="connsiteY283" fmla="*/ 59487 h 279938"/>
                <a:gd name="connsiteX284" fmla="*/ 200729 w 203591"/>
                <a:gd name="connsiteY284" fmla="*/ 61077 h 279938"/>
                <a:gd name="connsiteX285" fmla="*/ 200092 w 203591"/>
                <a:gd name="connsiteY285" fmla="*/ 61714 h 279938"/>
                <a:gd name="connsiteX286" fmla="*/ 199138 w 203591"/>
                <a:gd name="connsiteY286" fmla="*/ 61714 h 279938"/>
                <a:gd name="connsiteX287" fmla="*/ 196593 w 203591"/>
                <a:gd name="connsiteY287" fmla="*/ 62668 h 279938"/>
                <a:gd name="connsiteX288" fmla="*/ 192458 w 203591"/>
                <a:gd name="connsiteY288" fmla="*/ 63940 h 279938"/>
                <a:gd name="connsiteX289" fmla="*/ 191185 w 203591"/>
                <a:gd name="connsiteY289" fmla="*/ 64259 h 279938"/>
                <a:gd name="connsiteX290" fmla="*/ 188004 w 203591"/>
                <a:gd name="connsiteY290" fmla="*/ 64895 h 279938"/>
                <a:gd name="connsiteX291" fmla="*/ 187050 w 203591"/>
                <a:gd name="connsiteY291" fmla="*/ 64895 h 279938"/>
                <a:gd name="connsiteX292" fmla="*/ 186414 w 203591"/>
                <a:gd name="connsiteY292" fmla="*/ 65213 h 279938"/>
                <a:gd name="connsiteX293" fmla="*/ 186414 w 203591"/>
                <a:gd name="connsiteY293" fmla="*/ 64895 h 279938"/>
                <a:gd name="connsiteX294" fmla="*/ 185141 w 203591"/>
                <a:gd name="connsiteY294" fmla="*/ 63304 h 279938"/>
                <a:gd name="connsiteX295" fmla="*/ 185777 w 203591"/>
                <a:gd name="connsiteY295" fmla="*/ 62668 h 279938"/>
                <a:gd name="connsiteX296" fmla="*/ 187368 w 203591"/>
                <a:gd name="connsiteY296" fmla="*/ 61396 h 279938"/>
                <a:gd name="connsiteX297" fmla="*/ 185141 w 203591"/>
                <a:gd name="connsiteY297" fmla="*/ 61396 h 279938"/>
                <a:gd name="connsiteX298" fmla="*/ 184823 w 203591"/>
                <a:gd name="connsiteY298" fmla="*/ 61077 h 279938"/>
                <a:gd name="connsiteX299" fmla="*/ 186414 w 203591"/>
                <a:gd name="connsiteY299" fmla="*/ 59487 h 279938"/>
                <a:gd name="connsiteX300" fmla="*/ 187050 w 203591"/>
                <a:gd name="connsiteY300" fmla="*/ 59487 h 279938"/>
                <a:gd name="connsiteX301" fmla="*/ 188004 w 203591"/>
                <a:gd name="connsiteY301" fmla="*/ 58533 h 279938"/>
                <a:gd name="connsiteX302" fmla="*/ 188004 w 203591"/>
                <a:gd name="connsiteY302" fmla="*/ 58214 h 279938"/>
                <a:gd name="connsiteX303" fmla="*/ 187050 w 203591"/>
                <a:gd name="connsiteY303" fmla="*/ 57896 h 279938"/>
                <a:gd name="connsiteX304" fmla="*/ 186414 w 203591"/>
                <a:gd name="connsiteY304" fmla="*/ 58214 h 279938"/>
                <a:gd name="connsiteX305" fmla="*/ 186095 w 203591"/>
                <a:gd name="connsiteY305" fmla="*/ 58214 h 279938"/>
                <a:gd name="connsiteX306" fmla="*/ 186414 w 203591"/>
                <a:gd name="connsiteY306" fmla="*/ 57896 h 279938"/>
                <a:gd name="connsiteX307" fmla="*/ 186732 w 203591"/>
                <a:gd name="connsiteY307" fmla="*/ 57260 h 279938"/>
                <a:gd name="connsiteX308" fmla="*/ 185141 w 203591"/>
                <a:gd name="connsiteY308" fmla="*/ 56624 h 279938"/>
                <a:gd name="connsiteX309" fmla="*/ 184187 w 203591"/>
                <a:gd name="connsiteY309" fmla="*/ 56624 h 279938"/>
                <a:gd name="connsiteX310" fmla="*/ 183232 w 203591"/>
                <a:gd name="connsiteY310" fmla="*/ 57260 h 279938"/>
                <a:gd name="connsiteX311" fmla="*/ 181642 w 203591"/>
                <a:gd name="connsiteY311" fmla="*/ 57896 h 279938"/>
                <a:gd name="connsiteX312" fmla="*/ 180051 w 203591"/>
                <a:gd name="connsiteY312" fmla="*/ 57896 h 279938"/>
                <a:gd name="connsiteX313" fmla="*/ 176552 w 203591"/>
                <a:gd name="connsiteY313" fmla="*/ 57260 h 279938"/>
                <a:gd name="connsiteX314" fmla="*/ 172099 w 203591"/>
                <a:gd name="connsiteY314" fmla="*/ 57260 h 279938"/>
                <a:gd name="connsiteX315" fmla="*/ 171462 w 203591"/>
                <a:gd name="connsiteY315" fmla="*/ 56942 h 279938"/>
                <a:gd name="connsiteX316" fmla="*/ 171144 w 203591"/>
                <a:gd name="connsiteY316" fmla="*/ 56306 h 279938"/>
                <a:gd name="connsiteX317" fmla="*/ 171144 w 203591"/>
                <a:gd name="connsiteY317" fmla="*/ 55670 h 279938"/>
                <a:gd name="connsiteX318" fmla="*/ 171780 w 203591"/>
                <a:gd name="connsiteY318" fmla="*/ 54397 h 279938"/>
                <a:gd name="connsiteX319" fmla="*/ 171462 w 203591"/>
                <a:gd name="connsiteY319" fmla="*/ 54079 h 279938"/>
                <a:gd name="connsiteX320" fmla="*/ 170190 w 203591"/>
                <a:gd name="connsiteY320" fmla="*/ 55351 h 279938"/>
                <a:gd name="connsiteX321" fmla="*/ 168599 w 203591"/>
                <a:gd name="connsiteY321" fmla="*/ 55988 h 279938"/>
                <a:gd name="connsiteX322" fmla="*/ 168281 w 203591"/>
                <a:gd name="connsiteY322" fmla="*/ 55988 h 279938"/>
                <a:gd name="connsiteX323" fmla="*/ 168599 w 203591"/>
                <a:gd name="connsiteY323" fmla="*/ 55351 h 279938"/>
                <a:gd name="connsiteX324" fmla="*/ 168281 w 203591"/>
                <a:gd name="connsiteY324" fmla="*/ 55351 h 279938"/>
                <a:gd name="connsiteX325" fmla="*/ 167327 w 203591"/>
                <a:gd name="connsiteY325" fmla="*/ 56306 h 279938"/>
                <a:gd name="connsiteX326" fmla="*/ 165736 w 203591"/>
                <a:gd name="connsiteY326" fmla="*/ 57578 h 279938"/>
                <a:gd name="connsiteX327" fmla="*/ 163828 w 203591"/>
                <a:gd name="connsiteY327" fmla="*/ 57260 h 279938"/>
                <a:gd name="connsiteX328" fmla="*/ 162237 w 203591"/>
                <a:gd name="connsiteY328" fmla="*/ 57896 h 279938"/>
                <a:gd name="connsiteX329" fmla="*/ 160965 w 203591"/>
                <a:gd name="connsiteY329" fmla="*/ 58214 h 279938"/>
                <a:gd name="connsiteX330" fmla="*/ 159374 w 203591"/>
                <a:gd name="connsiteY330" fmla="*/ 57896 h 279938"/>
                <a:gd name="connsiteX331" fmla="*/ 158738 w 203591"/>
                <a:gd name="connsiteY331" fmla="*/ 57896 h 279938"/>
                <a:gd name="connsiteX332" fmla="*/ 158102 w 203591"/>
                <a:gd name="connsiteY332" fmla="*/ 57578 h 279938"/>
                <a:gd name="connsiteX333" fmla="*/ 157465 w 203591"/>
                <a:gd name="connsiteY333" fmla="*/ 57578 h 279938"/>
                <a:gd name="connsiteX334" fmla="*/ 155557 w 203591"/>
                <a:gd name="connsiteY334" fmla="*/ 57896 h 279938"/>
                <a:gd name="connsiteX335" fmla="*/ 153648 w 203591"/>
                <a:gd name="connsiteY335" fmla="*/ 57260 h 279938"/>
                <a:gd name="connsiteX336" fmla="*/ 153012 w 203591"/>
                <a:gd name="connsiteY336" fmla="*/ 57578 h 279938"/>
                <a:gd name="connsiteX337" fmla="*/ 151739 w 203591"/>
                <a:gd name="connsiteY337" fmla="*/ 56942 h 279938"/>
                <a:gd name="connsiteX338" fmla="*/ 151103 w 203591"/>
                <a:gd name="connsiteY338" fmla="*/ 56624 h 279938"/>
                <a:gd name="connsiteX339" fmla="*/ 150149 w 203591"/>
                <a:gd name="connsiteY339" fmla="*/ 56942 h 279938"/>
                <a:gd name="connsiteX340" fmla="*/ 149194 w 203591"/>
                <a:gd name="connsiteY340" fmla="*/ 57896 h 279938"/>
                <a:gd name="connsiteX341" fmla="*/ 148876 w 203591"/>
                <a:gd name="connsiteY341" fmla="*/ 57896 h 279938"/>
                <a:gd name="connsiteX342" fmla="*/ 148876 w 203591"/>
                <a:gd name="connsiteY342" fmla="*/ 57578 h 279938"/>
                <a:gd name="connsiteX343" fmla="*/ 148240 w 203591"/>
                <a:gd name="connsiteY343" fmla="*/ 57260 h 279938"/>
                <a:gd name="connsiteX344" fmla="*/ 146331 w 203591"/>
                <a:gd name="connsiteY344" fmla="*/ 58533 h 279938"/>
                <a:gd name="connsiteX345" fmla="*/ 146331 w 203591"/>
                <a:gd name="connsiteY345" fmla="*/ 57896 h 279938"/>
                <a:gd name="connsiteX346" fmla="*/ 146013 w 203591"/>
                <a:gd name="connsiteY346" fmla="*/ 57578 h 279938"/>
                <a:gd name="connsiteX347" fmla="*/ 145377 w 203591"/>
                <a:gd name="connsiteY347" fmla="*/ 58214 h 279938"/>
                <a:gd name="connsiteX348" fmla="*/ 144105 w 203591"/>
                <a:gd name="connsiteY348" fmla="*/ 58533 h 279938"/>
                <a:gd name="connsiteX349" fmla="*/ 143787 w 203591"/>
                <a:gd name="connsiteY349" fmla="*/ 58533 h 279938"/>
                <a:gd name="connsiteX350" fmla="*/ 143787 w 203591"/>
                <a:gd name="connsiteY350" fmla="*/ 57896 h 279938"/>
                <a:gd name="connsiteX351" fmla="*/ 143469 w 203591"/>
                <a:gd name="connsiteY351" fmla="*/ 57896 h 279938"/>
                <a:gd name="connsiteX352" fmla="*/ 141878 w 203591"/>
                <a:gd name="connsiteY352" fmla="*/ 58851 h 279938"/>
                <a:gd name="connsiteX353" fmla="*/ 141242 w 203591"/>
                <a:gd name="connsiteY353" fmla="*/ 58851 h 279938"/>
                <a:gd name="connsiteX354" fmla="*/ 138061 w 203591"/>
                <a:gd name="connsiteY354" fmla="*/ 58214 h 279938"/>
                <a:gd name="connsiteX355" fmla="*/ 137743 w 203591"/>
                <a:gd name="connsiteY355" fmla="*/ 57896 h 279938"/>
                <a:gd name="connsiteX356" fmla="*/ 137106 w 203591"/>
                <a:gd name="connsiteY356" fmla="*/ 57260 h 279938"/>
                <a:gd name="connsiteX357" fmla="*/ 135834 w 203591"/>
                <a:gd name="connsiteY357" fmla="*/ 57896 h 279938"/>
                <a:gd name="connsiteX358" fmla="*/ 135516 w 203591"/>
                <a:gd name="connsiteY358" fmla="*/ 58214 h 279938"/>
                <a:gd name="connsiteX359" fmla="*/ 134879 w 203591"/>
                <a:gd name="connsiteY359" fmla="*/ 57896 h 279938"/>
                <a:gd name="connsiteX360" fmla="*/ 130744 w 203591"/>
                <a:gd name="connsiteY360" fmla="*/ 59169 h 279938"/>
                <a:gd name="connsiteX361" fmla="*/ 129472 w 203591"/>
                <a:gd name="connsiteY361" fmla="*/ 59487 h 279938"/>
                <a:gd name="connsiteX362" fmla="*/ 128199 w 203591"/>
                <a:gd name="connsiteY362" fmla="*/ 59487 h 279938"/>
                <a:gd name="connsiteX363" fmla="*/ 127245 w 203591"/>
                <a:gd name="connsiteY363" fmla="*/ 59805 h 279938"/>
                <a:gd name="connsiteX364" fmla="*/ 121837 w 203591"/>
                <a:gd name="connsiteY364" fmla="*/ 61077 h 279938"/>
                <a:gd name="connsiteX365" fmla="*/ 119610 w 203591"/>
                <a:gd name="connsiteY365" fmla="*/ 61396 h 279938"/>
                <a:gd name="connsiteX366" fmla="*/ 118338 w 203591"/>
                <a:gd name="connsiteY366" fmla="*/ 61396 h 279938"/>
                <a:gd name="connsiteX367" fmla="*/ 113884 w 203591"/>
                <a:gd name="connsiteY367" fmla="*/ 62350 h 279938"/>
                <a:gd name="connsiteX368" fmla="*/ 113248 w 203591"/>
                <a:gd name="connsiteY368" fmla="*/ 62032 h 279938"/>
                <a:gd name="connsiteX369" fmla="*/ 113248 w 203591"/>
                <a:gd name="connsiteY369" fmla="*/ 60123 h 279938"/>
                <a:gd name="connsiteX370" fmla="*/ 113884 w 203591"/>
                <a:gd name="connsiteY370" fmla="*/ 59487 h 279938"/>
                <a:gd name="connsiteX371" fmla="*/ 113566 w 203591"/>
                <a:gd name="connsiteY371" fmla="*/ 59169 h 279938"/>
                <a:gd name="connsiteX372" fmla="*/ 113248 w 203591"/>
                <a:gd name="connsiteY372" fmla="*/ 59487 h 279938"/>
                <a:gd name="connsiteX373" fmla="*/ 112612 w 203591"/>
                <a:gd name="connsiteY373" fmla="*/ 59805 h 279938"/>
                <a:gd name="connsiteX374" fmla="*/ 110385 w 203591"/>
                <a:gd name="connsiteY374" fmla="*/ 61396 h 279938"/>
                <a:gd name="connsiteX375" fmla="*/ 109431 w 203591"/>
                <a:gd name="connsiteY375" fmla="*/ 61396 h 279938"/>
                <a:gd name="connsiteX376" fmla="*/ 107204 w 203591"/>
                <a:gd name="connsiteY376" fmla="*/ 62350 h 279938"/>
                <a:gd name="connsiteX377" fmla="*/ 97979 w 203591"/>
                <a:gd name="connsiteY377" fmla="*/ 75393 h 279938"/>
                <a:gd name="connsiteX378" fmla="*/ 97342 w 203591"/>
                <a:gd name="connsiteY378" fmla="*/ 74120 h 279938"/>
                <a:gd name="connsiteX379" fmla="*/ 97342 w 203591"/>
                <a:gd name="connsiteY379" fmla="*/ 73802 h 279938"/>
                <a:gd name="connsiteX380" fmla="*/ 96706 w 203591"/>
                <a:gd name="connsiteY380" fmla="*/ 74120 h 279938"/>
                <a:gd name="connsiteX381" fmla="*/ 96388 w 203591"/>
                <a:gd name="connsiteY381" fmla="*/ 74438 h 279938"/>
                <a:gd name="connsiteX382" fmla="*/ 97660 w 203591"/>
                <a:gd name="connsiteY382" fmla="*/ 77619 h 279938"/>
                <a:gd name="connsiteX383" fmla="*/ 97660 w 203591"/>
                <a:gd name="connsiteY383" fmla="*/ 77937 h 279938"/>
                <a:gd name="connsiteX384" fmla="*/ 97024 w 203591"/>
                <a:gd name="connsiteY384" fmla="*/ 79528 h 279938"/>
                <a:gd name="connsiteX385" fmla="*/ 96070 w 203591"/>
                <a:gd name="connsiteY385" fmla="*/ 80164 h 279938"/>
                <a:gd name="connsiteX386" fmla="*/ 96706 w 203591"/>
                <a:gd name="connsiteY386" fmla="*/ 80800 h 279938"/>
                <a:gd name="connsiteX387" fmla="*/ 97024 w 203591"/>
                <a:gd name="connsiteY387" fmla="*/ 81437 h 279938"/>
                <a:gd name="connsiteX388" fmla="*/ 96706 w 203591"/>
                <a:gd name="connsiteY388" fmla="*/ 83027 h 279938"/>
                <a:gd name="connsiteX389" fmla="*/ 95752 w 203591"/>
                <a:gd name="connsiteY389" fmla="*/ 83663 h 279938"/>
                <a:gd name="connsiteX390" fmla="*/ 94797 w 203591"/>
                <a:gd name="connsiteY390" fmla="*/ 84300 h 279938"/>
                <a:gd name="connsiteX391" fmla="*/ 93843 w 203591"/>
                <a:gd name="connsiteY391" fmla="*/ 84936 h 279938"/>
                <a:gd name="connsiteX392" fmla="*/ 94797 w 203591"/>
                <a:gd name="connsiteY392" fmla="*/ 85572 h 279938"/>
                <a:gd name="connsiteX393" fmla="*/ 95115 w 203591"/>
                <a:gd name="connsiteY393" fmla="*/ 86208 h 279938"/>
                <a:gd name="connsiteX394" fmla="*/ 93843 w 203591"/>
                <a:gd name="connsiteY394" fmla="*/ 87481 h 279938"/>
                <a:gd name="connsiteX395" fmla="*/ 93843 w 203591"/>
                <a:gd name="connsiteY395" fmla="*/ 87799 h 279938"/>
                <a:gd name="connsiteX396" fmla="*/ 89071 w 203591"/>
                <a:gd name="connsiteY396" fmla="*/ 106567 h 279938"/>
                <a:gd name="connsiteX397" fmla="*/ 88117 w 203591"/>
                <a:gd name="connsiteY397" fmla="*/ 109112 h 279938"/>
                <a:gd name="connsiteX398" fmla="*/ 88117 w 203591"/>
                <a:gd name="connsiteY398" fmla="*/ 111339 h 279938"/>
                <a:gd name="connsiteX399" fmla="*/ 87163 w 203591"/>
                <a:gd name="connsiteY399" fmla="*/ 112293 h 279938"/>
                <a:gd name="connsiteX400" fmla="*/ 87481 w 203591"/>
                <a:gd name="connsiteY400" fmla="*/ 112612 h 279938"/>
                <a:gd name="connsiteX401" fmla="*/ 87163 w 203591"/>
                <a:gd name="connsiteY401" fmla="*/ 113884 h 279938"/>
                <a:gd name="connsiteX402" fmla="*/ 87163 w 203591"/>
                <a:gd name="connsiteY402" fmla="*/ 114520 h 279938"/>
                <a:gd name="connsiteX403" fmla="*/ 85572 w 203591"/>
                <a:gd name="connsiteY403" fmla="*/ 117383 h 279938"/>
                <a:gd name="connsiteX404" fmla="*/ 84936 w 203591"/>
                <a:gd name="connsiteY404" fmla="*/ 118338 h 279938"/>
                <a:gd name="connsiteX405" fmla="*/ 85890 w 203591"/>
                <a:gd name="connsiteY405" fmla="*/ 118974 h 279938"/>
                <a:gd name="connsiteX406" fmla="*/ 85254 w 203591"/>
                <a:gd name="connsiteY406" fmla="*/ 119610 h 279938"/>
                <a:gd name="connsiteX407" fmla="*/ 85572 w 203591"/>
                <a:gd name="connsiteY407" fmla="*/ 119928 h 279938"/>
                <a:gd name="connsiteX408" fmla="*/ 85572 w 203591"/>
                <a:gd name="connsiteY408" fmla="*/ 120882 h 279938"/>
                <a:gd name="connsiteX409" fmla="*/ 84936 w 203591"/>
                <a:gd name="connsiteY409" fmla="*/ 120882 h 279938"/>
                <a:gd name="connsiteX410" fmla="*/ 85254 w 203591"/>
                <a:gd name="connsiteY410" fmla="*/ 122473 h 279938"/>
                <a:gd name="connsiteX411" fmla="*/ 84300 w 203591"/>
                <a:gd name="connsiteY411" fmla="*/ 123745 h 279938"/>
                <a:gd name="connsiteX412" fmla="*/ 84618 w 203591"/>
                <a:gd name="connsiteY412" fmla="*/ 124382 h 279938"/>
                <a:gd name="connsiteX413" fmla="*/ 84618 w 203591"/>
                <a:gd name="connsiteY413" fmla="*/ 124700 h 279938"/>
                <a:gd name="connsiteX414" fmla="*/ 83982 w 203591"/>
                <a:gd name="connsiteY414" fmla="*/ 125336 h 279938"/>
                <a:gd name="connsiteX415" fmla="*/ 83664 w 203591"/>
                <a:gd name="connsiteY415" fmla="*/ 127563 h 279938"/>
                <a:gd name="connsiteX416" fmla="*/ 83345 w 203591"/>
                <a:gd name="connsiteY416" fmla="*/ 128517 h 279938"/>
                <a:gd name="connsiteX417" fmla="*/ 82709 w 203591"/>
                <a:gd name="connsiteY417" fmla="*/ 130108 h 279938"/>
                <a:gd name="connsiteX418" fmla="*/ 83027 w 203591"/>
                <a:gd name="connsiteY418" fmla="*/ 130744 h 279938"/>
                <a:gd name="connsiteX419" fmla="*/ 83027 w 203591"/>
                <a:gd name="connsiteY419" fmla="*/ 131380 h 279938"/>
                <a:gd name="connsiteX420" fmla="*/ 82391 w 203591"/>
                <a:gd name="connsiteY420" fmla="*/ 133289 h 279938"/>
                <a:gd name="connsiteX421" fmla="*/ 81755 w 203591"/>
                <a:gd name="connsiteY421" fmla="*/ 134243 h 279938"/>
                <a:gd name="connsiteX422" fmla="*/ 80164 w 203591"/>
                <a:gd name="connsiteY422" fmla="*/ 135198 h 279938"/>
                <a:gd name="connsiteX423" fmla="*/ 80800 w 203591"/>
                <a:gd name="connsiteY423" fmla="*/ 135516 h 279938"/>
                <a:gd name="connsiteX424" fmla="*/ 81119 w 203591"/>
                <a:gd name="connsiteY424" fmla="*/ 136152 h 279938"/>
                <a:gd name="connsiteX425" fmla="*/ 81119 w 203591"/>
                <a:gd name="connsiteY425" fmla="*/ 136788 h 279938"/>
                <a:gd name="connsiteX426" fmla="*/ 79528 w 203591"/>
                <a:gd name="connsiteY426" fmla="*/ 139015 h 279938"/>
                <a:gd name="connsiteX427" fmla="*/ 78892 w 203591"/>
                <a:gd name="connsiteY427" fmla="*/ 139651 h 279938"/>
                <a:gd name="connsiteX428" fmla="*/ 79210 w 203591"/>
                <a:gd name="connsiteY428" fmla="*/ 139969 h 279938"/>
                <a:gd name="connsiteX429" fmla="*/ 79528 w 203591"/>
                <a:gd name="connsiteY429" fmla="*/ 140924 h 279938"/>
                <a:gd name="connsiteX430" fmla="*/ 79846 w 203591"/>
                <a:gd name="connsiteY430" fmla="*/ 141560 h 279938"/>
                <a:gd name="connsiteX431" fmla="*/ 79528 w 203591"/>
                <a:gd name="connsiteY431" fmla="*/ 141878 h 279938"/>
                <a:gd name="connsiteX432" fmla="*/ 79846 w 203591"/>
                <a:gd name="connsiteY432" fmla="*/ 142514 h 279938"/>
                <a:gd name="connsiteX433" fmla="*/ 80482 w 203591"/>
                <a:gd name="connsiteY433" fmla="*/ 142514 h 279938"/>
                <a:gd name="connsiteX434" fmla="*/ 80482 w 203591"/>
                <a:gd name="connsiteY434" fmla="*/ 142832 h 279938"/>
                <a:gd name="connsiteX435" fmla="*/ 80164 w 203591"/>
                <a:gd name="connsiteY435" fmla="*/ 143150 h 279938"/>
                <a:gd name="connsiteX436" fmla="*/ 79528 w 203591"/>
                <a:gd name="connsiteY436" fmla="*/ 143150 h 279938"/>
                <a:gd name="connsiteX437" fmla="*/ 78892 w 203591"/>
                <a:gd name="connsiteY437" fmla="*/ 142514 h 279938"/>
                <a:gd name="connsiteX438" fmla="*/ 78574 w 203591"/>
                <a:gd name="connsiteY438" fmla="*/ 142514 h 279938"/>
                <a:gd name="connsiteX439" fmla="*/ 77619 w 203591"/>
                <a:gd name="connsiteY439" fmla="*/ 144105 h 279938"/>
                <a:gd name="connsiteX440" fmla="*/ 77301 w 203591"/>
                <a:gd name="connsiteY440" fmla="*/ 144423 h 279938"/>
                <a:gd name="connsiteX441" fmla="*/ 76665 w 203591"/>
                <a:gd name="connsiteY441" fmla="*/ 144423 h 279938"/>
                <a:gd name="connsiteX442" fmla="*/ 75711 w 203591"/>
                <a:gd name="connsiteY442" fmla="*/ 144741 h 279938"/>
                <a:gd name="connsiteX443" fmla="*/ 75393 w 203591"/>
                <a:gd name="connsiteY443" fmla="*/ 146013 h 279938"/>
                <a:gd name="connsiteX444" fmla="*/ 75393 w 203591"/>
                <a:gd name="connsiteY444" fmla="*/ 146650 h 279938"/>
                <a:gd name="connsiteX445" fmla="*/ 75074 w 203591"/>
                <a:gd name="connsiteY445" fmla="*/ 147286 h 279938"/>
                <a:gd name="connsiteX446" fmla="*/ 75074 w 203591"/>
                <a:gd name="connsiteY446" fmla="*/ 148558 h 279938"/>
                <a:gd name="connsiteX447" fmla="*/ 75711 w 203591"/>
                <a:gd name="connsiteY447" fmla="*/ 149831 h 279938"/>
                <a:gd name="connsiteX448" fmla="*/ 75711 w 203591"/>
                <a:gd name="connsiteY448" fmla="*/ 150149 h 279938"/>
                <a:gd name="connsiteX449" fmla="*/ 75393 w 203591"/>
                <a:gd name="connsiteY449" fmla="*/ 150467 h 279938"/>
                <a:gd name="connsiteX450" fmla="*/ 74438 w 203591"/>
                <a:gd name="connsiteY450" fmla="*/ 152057 h 279938"/>
                <a:gd name="connsiteX451" fmla="*/ 74756 w 203591"/>
                <a:gd name="connsiteY451" fmla="*/ 152694 h 279938"/>
                <a:gd name="connsiteX452" fmla="*/ 75074 w 203591"/>
                <a:gd name="connsiteY452" fmla="*/ 152694 h 279938"/>
                <a:gd name="connsiteX453" fmla="*/ 76029 w 203591"/>
                <a:gd name="connsiteY453" fmla="*/ 152057 h 279938"/>
                <a:gd name="connsiteX454" fmla="*/ 77301 w 203591"/>
                <a:gd name="connsiteY454" fmla="*/ 151421 h 279938"/>
                <a:gd name="connsiteX455" fmla="*/ 78256 w 203591"/>
                <a:gd name="connsiteY455" fmla="*/ 150785 h 279938"/>
                <a:gd name="connsiteX456" fmla="*/ 78892 w 203591"/>
                <a:gd name="connsiteY456" fmla="*/ 150785 h 279938"/>
                <a:gd name="connsiteX457" fmla="*/ 78892 w 203591"/>
                <a:gd name="connsiteY457" fmla="*/ 151421 h 279938"/>
                <a:gd name="connsiteX458" fmla="*/ 77937 w 203591"/>
                <a:gd name="connsiteY458" fmla="*/ 152694 h 279938"/>
                <a:gd name="connsiteX459" fmla="*/ 77937 w 203591"/>
                <a:gd name="connsiteY459" fmla="*/ 153330 h 279938"/>
                <a:gd name="connsiteX460" fmla="*/ 76029 w 203591"/>
                <a:gd name="connsiteY460" fmla="*/ 154602 h 279938"/>
                <a:gd name="connsiteX461" fmla="*/ 75711 w 203591"/>
                <a:gd name="connsiteY461" fmla="*/ 155557 h 279938"/>
                <a:gd name="connsiteX462" fmla="*/ 75711 w 203591"/>
                <a:gd name="connsiteY462" fmla="*/ 156511 h 279938"/>
                <a:gd name="connsiteX463" fmla="*/ 76029 w 203591"/>
                <a:gd name="connsiteY463" fmla="*/ 157147 h 279938"/>
                <a:gd name="connsiteX464" fmla="*/ 77301 w 203591"/>
                <a:gd name="connsiteY464" fmla="*/ 157783 h 279938"/>
                <a:gd name="connsiteX465" fmla="*/ 77301 w 203591"/>
                <a:gd name="connsiteY465" fmla="*/ 158102 h 279938"/>
                <a:gd name="connsiteX466" fmla="*/ 76983 w 203591"/>
                <a:gd name="connsiteY466" fmla="*/ 159056 h 279938"/>
                <a:gd name="connsiteX467" fmla="*/ 76347 w 203591"/>
                <a:gd name="connsiteY467" fmla="*/ 159692 h 279938"/>
                <a:gd name="connsiteX468" fmla="*/ 76029 w 203591"/>
                <a:gd name="connsiteY468" fmla="*/ 160010 h 279938"/>
                <a:gd name="connsiteX469" fmla="*/ 76347 w 203591"/>
                <a:gd name="connsiteY469" fmla="*/ 161283 h 279938"/>
                <a:gd name="connsiteX470" fmla="*/ 76029 w 203591"/>
                <a:gd name="connsiteY470" fmla="*/ 161601 h 279938"/>
                <a:gd name="connsiteX471" fmla="*/ 75393 w 203591"/>
                <a:gd name="connsiteY471" fmla="*/ 161283 h 279938"/>
                <a:gd name="connsiteX472" fmla="*/ 75393 w 203591"/>
                <a:gd name="connsiteY472" fmla="*/ 160965 h 279938"/>
                <a:gd name="connsiteX473" fmla="*/ 75074 w 203591"/>
                <a:gd name="connsiteY473" fmla="*/ 160646 h 279938"/>
                <a:gd name="connsiteX474" fmla="*/ 75711 w 203591"/>
                <a:gd name="connsiteY474" fmla="*/ 158738 h 279938"/>
                <a:gd name="connsiteX475" fmla="*/ 75393 w 203591"/>
                <a:gd name="connsiteY475" fmla="*/ 158102 h 279938"/>
                <a:gd name="connsiteX476" fmla="*/ 73484 w 203591"/>
                <a:gd name="connsiteY476" fmla="*/ 159692 h 279938"/>
                <a:gd name="connsiteX477" fmla="*/ 73166 w 203591"/>
                <a:gd name="connsiteY477" fmla="*/ 160010 h 279938"/>
                <a:gd name="connsiteX478" fmla="*/ 73484 w 203591"/>
                <a:gd name="connsiteY478" fmla="*/ 160328 h 279938"/>
                <a:gd name="connsiteX479" fmla="*/ 74120 w 203591"/>
                <a:gd name="connsiteY479" fmla="*/ 160646 h 279938"/>
                <a:gd name="connsiteX480" fmla="*/ 74120 w 203591"/>
                <a:gd name="connsiteY480" fmla="*/ 160965 h 279938"/>
                <a:gd name="connsiteX481" fmla="*/ 73484 w 203591"/>
                <a:gd name="connsiteY481" fmla="*/ 162555 h 279938"/>
                <a:gd name="connsiteX482" fmla="*/ 72530 w 203591"/>
                <a:gd name="connsiteY482" fmla="*/ 163191 h 279938"/>
                <a:gd name="connsiteX483" fmla="*/ 71575 w 203591"/>
                <a:gd name="connsiteY483" fmla="*/ 163828 h 279938"/>
                <a:gd name="connsiteX484" fmla="*/ 72211 w 203591"/>
                <a:gd name="connsiteY484" fmla="*/ 164464 h 279938"/>
                <a:gd name="connsiteX485" fmla="*/ 72848 w 203591"/>
                <a:gd name="connsiteY485" fmla="*/ 165736 h 279938"/>
                <a:gd name="connsiteX486" fmla="*/ 71893 w 203591"/>
                <a:gd name="connsiteY486" fmla="*/ 166691 h 279938"/>
                <a:gd name="connsiteX487" fmla="*/ 72211 w 203591"/>
                <a:gd name="connsiteY487" fmla="*/ 167009 h 279938"/>
                <a:gd name="connsiteX488" fmla="*/ 71893 w 203591"/>
                <a:gd name="connsiteY488" fmla="*/ 168281 h 279938"/>
                <a:gd name="connsiteX489" fmla="*/ 71257 w 203591"/>
                <a:gd name="connsiteY489" fmla="*/ 168917 h 279938"/>
                <a:gd name="connsiteX490" fmla="*/ 71893 w 203591"/>
                <a:gd name="connsiteY490" fmla="*/ 169872 h 279938"/>
                <a:gd name="connsiteX491" fmla="*/ 72211 w 203591"/>
                <a:gd name="connsiteY491" fmla="*/ 170190 h 279938"/>
                <a:gd name="connsiteX492" fmla="*/ 71575 w 203591"/>
                <a:gd name="connsiteY492" fmla="*/ 170826 h 279938"/>
                <a:gd name="connsiteX493" fmla="*/ 70621 w 203591"/>
                <a:gd name="connsiteY493" fmla="*/ 172735 h 279938"/>
                <a:gd name="connsiteX494" fmla="*/ 70621 w 203591"/>
                <a:gd name="connsiteY494" fmla="*/ 173053 h 279938"/>
                <a:gd name="connsiteX495" fmla="*/ 70939 w 203591"/>
                <a:gd name="connsiteY495" fmla="*/ 174325 h 279938"/>
                <a:gd name="connsiteX496" fmla="*/ 70621 w 203591"/>
                <a:gd name="connsiteY496" fmla="*/ 175280 h 279938"/>
                <a:gd name="connsiteX497" fmla="*/ 70621 w 203591"/>
                <a:gd name="connsiteY497" fmla="*/ 176552 h 279938"/>
                <a:gd name="connsiteX498" fmla="*/ 70939 w 203591"/>
                <a:gd name="connsiteY498" fmla="*/ 177188 h 279938"/>
                <a:gd name="connsiteX499" fmla="*/ 71257 w 203591"/>
                <a:gd name="connsiteY499" fmla="*/ 177506 h 279938"/>
                <a:gd name="connsiteX500" fmla="*/ 70621 w 203591"/>
                <a:gd name="connsiteY500" fmla="*/ 178143 h 279938"/>
                <a:gd name="connsiteX501" fmla="*/ 70303 w 203591"/>
                <a:gd name="connsiteY501" fmla="*/ 180051 h 279938"/>
                <a:gd name="connsiteX502" fmla="*/ 69985 w 203591"/>
                <a:gd name="connsiteY502" fmla="*/ 180688 h 279938"/>
                <a:gd name="connsiteX503" fmla="*/ 70303 w 203591"/>
                <a:gd name="connsiteY503" fmla="*/ 181324 h 279938"/>
                <a:gd name="connsiteX504" fmla="*/ 70303 w 203591"/>
                <a:gd name="connsiteY504" fmla="*/ 182278 h 279938"/>
                <a:gd name="connsiteX505" fmla="*/ 69030 w 203591"/>
                <a:gd name="connsiteY505" fmla="*/ 183232 h 279938"/>
                <a:gd name="connsiteX506" fmla="*/ 68394 w 203591"/>
                <a:gd name="connsiteY506" fmla="*/ 183551 h 279938"/>
                <a:gd name="connsiteX507" fmla="*/ 68712 w 203591"/>
                <a:gd name="connsiteY507" fmla="*/ 184505 h 279938"/>
                <a:gd name="connsiteX508" fmla="*/ 69985 w 203591"/>
                <a:gd name="connsiteY508" fmla="*/ 185777 h 279938"/>
                <a:gd name="connsiteX509" fmla="*/ 69667 w 203591"/>
                <a:gd name="connsiteY509" fmla="*/ 186414 h 279938"/>
                <a:gd name="connsiteX510" fmla="*/ 69985 w 203591"/>
                <a:gd name="connsiteY510" fmla="*/ 186732 h 279938"/>
                <a:gd name="connsiteX511" fmla="*/ 69985 w 203591"/>
                <a:gd name="connsiteY511" fmla="*/ 188004 h 279938"/>
                <a:gd name="connsiteX512" fmla="*/ 69030 w 203591"/>
                <a:gd name="connsiteY512" fmla="*/ 189277 h 279938"/>
                <a:gd name="connsiteX513" fmla="*/ 69030 w 203591"/>
                <a:gd name="connsiteY513" fmla="*/ 191185 h 279938"/>
                <a:gd name="connsiteX514" fmla="*/ 68712 w 203591"/>
                <a:gd name="connsiteY514" fmla="*/ 192140 h 279938"/>
                <a:gd name="connsiteX515" fmla="*/ 68394 w 203591"/>
                <a:gd name="connsiteY515" fmla="*/ 192776 h 279938"/>
                <a:gd name="connsiteX516" fmla="*/ 68712 w 203591"/>
                <a:gd name="connsiteY516" fmla="*/ 193412 h 279938"/>
                <a:gd name="connsiteX517" fmla="*/ 69985 w 203591"/>
                <a:gd name="connsiteY517" fmla="*/ 193412 h 279938"/>
                <a:gd name="connsiteX518" fmla="*/ 70621 w 203591"/>
                <a:gd name="connsiteY518" fmla="*/ 192776 h 279938"/>
                <a:gd name="connsiteX519" fmla="*/ 70939 w 203591"/>
                <a:gd name="connsiteY519" fmla="*/ 192776 h 279938"/>
                <a:gd name="connsiteX520" fmla="*/ 71257 w 203591"/>
                <a:gd name="connsiteY520" fmla="*/ 193094 h 279938"/>
                <a:gd name="connsiteX521" fmla="*/ 71575 w 203591"/>
                <a:gd name="connsiteY521" fmla="*/ 194366 h 279938"/>
                <a:gd name="connsiteX522" fmla="*/ 71893 w 203591"/>
                <a:gd name="connsiteY522" fmla="*/ 194684 h 279938"/>
                <a:gd name="connsiteX523" fmla="*/ 72211 w 203591"/>
                <a:gd name="connsiteY523" fmla="*/ 195321 h 279938"/>
                <a:gd name="connsiteX524" fmla="*/ 71257 w 203591"/>
                <a:gd name="connsiteY524" fmla="*/ 196275 h 279938"/>
                <a:gd name="connsiteX525" fmla="*/ 70621 w 203591"/>
                <a:gd name="connsiteY525" fmla="*/ 196593 h 279938"/>
                <a:gd name="connsiteX526" fmla="*/ 69349 w 203591"/>
                <a:gd name="connsiteY526" fmla="*/ 195003 h 279938"/>
                <a:gd name="connsiteX527" fmla="*/ 69030 w 203591"/>
                <a:gd name="connsiteY527" fmla="*/ 194684 h 279938"/>
                <a:gd name="connsiteX528" fmla="*/ 68712 w 203591"/>
                <a:gd name="connsiteY528" fmla="*/ 195321 h 279938"/>
                <a:gd name="connsiteX529" fmla="*/ 67758 w 203591"/>
                <a:gd name="connsiteY529" fmla="*/ 197229 h 279938"/>
                <a:gd name="connsiteX530" fmla="*/ 67758 w 203591"/>
                <a:gd name="connsiteY530" fmla="*/ 197547 h 279938"/>
                <a:gd name="connsiteX531" fmla="*/ 67440 w 203591"/>
                <a:gd name="connsiteY531" fmla="*/ 201047 h 279938"/>
                <a:gd name="connsiteX532" fmla="*/ 67440 w 203591"/>
                <a:gd name="connsiteY532" fmla="*/ 202319 h 279938"/>
                <a:gd name="connsiteX533" fmla="*/ 67122 w 203591"/>
                <a:gd name="connsiteY533" fmla="*/ 203273 h 279938"/>
                <a:gd name="connsiteX534" fmla="*/ 67122 w 203591"/>
                <a:gd name="connsiteY534" fmla="*/ 204546 h 279938"/>
                <a:gd name="connsiteX535" fmla="*/ 67440 w 203591"/>
                <a:gd name="connsiteY535" fmla="*/ 205182 h 279938"/>
                <a:gd name="connsiteX536" fmla="*/ 67440 w 203591"/>
                <a:gd name="connsiteY536" fmla="*/ 206455 h 279938"/>
                <a:gd name="connsiteX537" fmla="*/ 66803 w 203591"/>
                <a:gd name="connsiteY537" fmla="*/ 207409 h 279938"/>
                <a:gd name="connsiteX538" fmla="*/ 66803 w 203591"/>
                <a:gd name="connsiteY538" fmla="*/ 208363 h 279938"/>
                <a:gd name="connsiteX539" fmla="*/ 67122 w 203591"/>
                <a:gd name="connsiteY539" fmla="*/ 210272 h 279938"/>
                <a:gd name="connsiteX540" fmla="*/ 66803 w 203591"/>
                <a:gd name="connsiteY540" fmla="*/ 211862 h 279938"/>
                <a:gd name="connsiteX541" fmla="*/ 66803 w 203591"/>
                <a:gd name="connsiteY541" fmla="*/ 212181 h 279938"/>
                <a:gd name="connsiteX542" fmla="*/ 67122 w 203591"/>
                <a:gd name="connsiteY542" fmla="*/ 212499 h 279938"/>
                <a:gd name="connsiteX543" fmla="*/ 67440 w 203591"/>
                <a:gd name="connsiteY543" fmla="*/ 212499 h 279938"/>
                <a:gd name="connsiteX544" fmla="*/ 67758 w 203591"/>
                <a:gd name="connsiteY544" fmla="*/ 213135 h 279938"/>
                <a:gd name="connsiteX545" fmla="*/ 67122 w 203591"/>
                <a:gd name="connsiteY545" fmla="*/ 214089 h 279938"/>
                <a:gd name="connsiteX546" fmla="*/ 67122 w 203591"/>
                <a:gd name="connsiteY546" fmla="*/ 216634 h 279938"/>
                <a:gd name="connsiteX547" fmla="*/ 67440 w 203591"/>
                <a:gd name="connsiteY547" fmla="*/ 216952 h 279938"/>
                <a:gd name="connsiteX548" fmla="*/ 67758 w 203591"/>
                <a:gd name="connsiteY548" fmla="*/ 216952 h 279938"/>
                <a:gd name="connsiteX549" fmla="*/ 68394 w 203591"/>
                <a:gd name="connsiteY549" fmla="*/ 215362 h 279938"/>
                <a:gd name="connsiteX550" fmla="*/ 68712 w 203591"/>
                <a:gd name="connsiteY550" fmla="*/ 215044 h 279938"/>
                <a:gd name="connsiteX551" fmla="*/ 69030 w 203591"/>
                <a:gd name="connsiteY551" fmla="*/ 215362 h 279938"/>
                <a:gd name="connsiteX552" fmla="*/ 69985 w 203591"/>
                <a:gd name="connsiteY552" fmla="*/ 216634 h 279938"/>
                <a:gd name="connsiteX553" fmla="*/ 69349 w 203591"/>
                <a:gd name="connsiteY553" fmla="*/ 217270 h 279938"/>
                <a:gd name="connsiteX554" fmla="*/ 69985 w 203591"/>
                <a:gd name="connsiteY554" fmla="*/ 217588 h 279938"/>
                <a:gd name="connsiteX555" fmla="*/ 69667 w 203591"/>
                <a:gd name="connsiteY555" fmla="*/ 220770 h 279938"/>
                <a:gd name="connsiteX556" fmla="*/ 69030 w 203591"/>
                <a:gd name="connsiteY556" fmla="*/ 220770 h 279938"/>
                <a:gd name="connsiteX557" fmla="*/ 68394 w 203591"/>
                <a:gd name="connsiteY557" fmla="*/ 220133 h 279938"/>
                <a:gd name="connsiteX558" fmla="*/ 67758 w 203591"/>
                <a:gd name="connsiteY558" fmla="*/ 218861 h 279938"/>
                <a:gd name="connsiteX559" fmla="*/ 68394 w 203591"/>
                <a:gd name="connsiteY559" fmla="*/ 217907 h 279938"/>
                <a:gd name="connsiteX560" fmla="*/ 68712 w 203591"/>
                <a:gd name="connsiteY560" fmla="*/ 217588 h 279938"/>
                <a:gd name="connsiteX561" fmla="*/ 68394 w 203591"/>
                <a:gd name="connsiteY561" fmla="*/ 217588 h 279938"/>
                <a:gd name="connsiteX562" fmla="*/ 67758 w 203591"/>
                <a:gd name="connsiteY562" fmla="*/ 217270 h 279938"/>
                <a:gd name="connsiteX563" fmla="*/ 66803 w 203591"/>
                <a:gd name="connsiteY563" fmla="*/ 218861 h 279938"/>
                <a:gd name="connsiteX564" fmla="*/ 66803 w 203591"/>
                <a:gd name="connsiteY564" fmla="*/ 219815 h 279938"/>
                <a:gd name="connsiteX565" fmla="*/ 65849 w 203591"/>
                <a:gd name="connsiteY565" fmla="*/ 220770 h 279938"/>
                <a:gd name="connsiteX566" fmla="*/ 66485 w 203591"/>
                <a:gd name="connsiteY566" fmla="*/ 221406 h 279938"/>
                <a:gd name="connsiteX567" fmla="*/ 67122 w 203591"/>
                <a:gd name="connsiteY567" fmla="*/ 222042 h 279938"/>
                <a:gd name="connsiteX568" fmla="*/ 66167 w 203591"/>
                <a:gd name="connsiteY568" fmla="*/ 222678 h 279938"/>
                <a:gd name="connsiteX569" fmla="*/ 66167 w 203591"/>
                <a:gd name="connsiteY569" fmla="*/ 223314 h 279938"/>
                <a:gd name="connsiteX570" fmla="*/ 67758 w 203591"/>
                <a:gd name="connsiteY570" fmla="*/ 223951 h 279938"/>
                <a:gd name="connsiteX571" fmla="*/ 68712 w 203591"/>
                <a:gd name="connsiteY571" fmla="*/ 223951 h 279938"/>
                <a:gd name="connsiteX572" fmla="*/ 69985 w 203591"/>
                <a:gd name="connsiteY572" fmla="*/ 224269 h 279938"/>
                <a:gd name="connsiteX573" fmla="*/ 69667 w 203591"/>
                <a:gd name="connsiteY573" fmla="*/ 225541 h 279938"/>
                <a:gd name="connsiteX574" fmla="*/ 69985 w 203591"/>
                <a:gd name="connsiteY574" fmla="*/ 230949 h 279938"/>
                <a:gd name="connsiteX575" fmla="*/ 69985 w 203591"/>
                <a:gd name="connsiteY575" fmla="*/ 232222 h 279938"/>
                <a:gd name="connsiteX576" fmla="*/ 69349 w 203591"/>
                <a:gd name="connsiteY576" fmla="*/ 232540 h 279938"/>
                <a:gd name="connsiteX577" fmla="*/ 69667 w 203591"/>
                <a:gd name="connsiteY577" fmla="*/ 233494 h 279938"/>
                <a:gd name="connsiteX578" fmla="*/ 69985 w 203591"/>
                <a:gd name="connsiteY578" fmla="*/ 236039 h 279938"/>
                <a:gd name="connsiteX579" fmla="*/ 69667 w 203591"/>
                <a:gd name="connsiteY579" fmla="*/ 236675 h 279938"/>
                <a:gd name="connsiteX580" fmla="*/ 69030 w 203591"/>
                <a:gd name="connsiteY580" fmla="*/ 237630 h 279938"/>
                <a:gd name="connsiteX581" fmla="*/ 69030 w 203591"/>
                <a:gd name="connsiteY581" fmla="*/ 239538 h 279938"/>
                <a:gd name="connsiteX582" fmla="*/ 69667 w 203591"/>
                <a:gd name="connsiteY582" fmla="*/ 239856 h 279938"/>
                <a:gd name="connsiteX583" fmla="*/ 69349 w 203591"/>
                <a:gd name="connsiteY583" fmla="*/ 240174 h 279938"/>
                <a:gd name="connsiteX584" fmla="*/ 69985 w 203591"/>
                <a:gd name="connsiteY584" fmla="*/ 241129 h 279938"/>
                <a:gd name="connsiteX585" fmla="*/ 69985 w 203591"/>
                <a:gd name="connsiteY585" fmla="*/ 241447 h 279938"/>
                <a:gd name="connsiteX586" fmla="*/ 69349 w 203591"/>
                <a:gd name="connsiteY586" fmla="*/ 242083 h 279938"/>
                <a:gd name="connsiteX587" fmla="*/ 69667 w 203591"/>
                <a:gd name="connsiteY587" fmla="*/ 242719 h 279938"/>
                <a:gd name="connsiteX588" fmla="*/ 69349 w 203591"/>
                <a:gd name="connsiteY588" fmla="*/ 243037 h 279938"/>
                <a:gd name="connsiteX589" fmla="*/ 69030 w 203591"/>
                <a:gd name="connsiteY589" fmla="*/ 243356 h 279938"/>
                <a:gd name="connsiteX590" fmla="*/ 68712 w 203591"/>
                <a:gd name="connsiteY590" fmla="*/ 243037 h 279938"/>
                <a:gd name="connsiteX591" fmla="*/ 68712 w 203591"/>
                <a:gd name="connsiteY591" fmla="*/ 242083 h 279938"/>
                <a:gd name="connsiteX592" fmla="*/ 67758 w 203591"/>
                <a:gd name="connsiteY592" fmla="*/ 241447 h 279938"/>
                <a:gd name="connsiteX593" fmla="*/ 67440 w 203591"/>
                <a:gd name="connsiteY593" fmla="*/ 242083 h 279938"/>
                <a:gd name="connsiteX594" fmla="*/ 67122 w 203591"/>
                <a:gd name="connsiteY594" fmla="*/ 245582 h 279938"/>
                <a:gd name="connsiteX595" fmla="*/ 68076 w 203591"/>
                <a:gd name="connsiteY595" fmla="*/ 245900 h 279938"/>
                <a:gd name="connsiteX596" fmla="*/ 68712 w 203591"/>
                <a:gd name="connsiteY596" fmla="*/ 245264 h 279938"/>
                <a:gd name="connsiteX597" fmla="*/ 69667 w 203591"/>
                <a:gd name="connsiteY597" fmla="*/ 245582 h 279938"/>
                <a:gd name="connsiteX598" fmla="*/ 69985 w 203591"/>
                <a:gd name="connsiteY598" fmla="*/ 246537 h 279938"/>
                <a:gd name="connsiteX599" fmla="*/ 69985 w 203591"/>
                <a:gd name="connsiteY599" fmla="*/ 247809 h 279938"/>
                <a:gd name="connsiteX600" fmla="*/ 70621 w 203591"/>
                <a:gd name="connsiteY600" fmla="*/ 249082 h 279938"/>
                <a:gd name="connsiteX601" fmla="*/ 70621 w 203591"/>
                <a:gd name="connsiteY601" fmla="*/ 250354 h 279938"/>
                <a:gd name="connsiteX602" fmla="*/ 70303 w 203591"/>
                <a:gd name="connsiteY602" fmla="*/ 251308 h 279938"/>
                <a:gd name="connsiteX603" fmla="*/ 70939 w 203591"/>
                <a:gd name="connsiteY603" fmla="*/ 252581 h 279938"/>
                <a:gd name="connsiteX604" fmla="*/ 70939 w 203591"/>
                <a:gd name="connsiteY604" fmla="*/ 253535 h 279938"/>
                <a:gd name="connsiteX605" fmla="*/ 71257 w 203591"/>
                <a:gd name="connsiteY605" fmla="*/ 254171 h 279938"/>
                <a:gd name="connsiteX606" fmla="*/ 71257 w 203591"/>
                <a:gd name="connsiteY606" fmla="*/ 254489 h 279938"/>
                <a:gd name="connsiteX607" fmla="*/ 71257 w 203591"/>
                <a:gd name="connsiteY607" fmla="*/ 256716 h 279938"/>
                <a:gd name="connsiteX608" fmla="*/ 72211 w 203591"/>
                <a:gd name="connsiteY608" fmla="*/ 258307 h 279938"/>
                <a:gd name="connsiteX609" fmla="*/ 72211 w 203591"/>
                <a:gd name="connsiteY609" fmla="*/ 259261 h 279938"/>
                <a:gd name="connsiteX610" fmla="*/ 73166 w 203591"/>
                <a:gd name="connsiteY610" fmla="*/ 260215 h 279938"/>
                <a:gd name="connsiteX611" fmla="*/ 73166 w 203591"/>
                <a:gd name="connsiteY611" fmla="*/ 260852 h 279938"/>
                <a:gd name="connsiteX612" fmla="*/ 75074 w 203591"/>
                <a:gd name="connsiteY612" fmla="*/ 260534 h 279938"/>
                <a:gd name="connsiteX613" fmla="*/ 76983 w 203591"/>
                <a:gd name="connsiteY613" fmla="*/ 259579 h 279938"/>
                <a:gd name="connsiteX614" fmla="*/ 78574 w 203591"/>
                <a:gd name="connsiteY614" fmla="*/ 258307 h 279938"/>
                <a:gd name="connsiteX615" fmla="*/ 79528 w 203591"/>
                <a:gd name="connsiteY615" fmla="*/ 256716 h 279938"/>
                <a:gd name="connsiteX616" fmla="*/ 79528 w 203591"/>
                <a:gd name="connsiteY616" fmla="*/ 256398 h 279938"/>
                <a:gd name="connsiteX617" fmla="*/ 81755 w 203591"/>
                <a:gd name="connsiteY617" fmla="*/ 254171 h 279938"/>
                <a:gd name="connsiteX618" fmla="*/ 83027 w 203591"/>
                <a:gd name="connsiteY618" fmla="*/ 252899 h 279938"/>
                <a:gd name="connsiteX619" fmla="*/ 83027 w 203591"/>
                <a:gd name="connsiteY619" fmla="*/ 251945 h 279938"/>
                <a:gd name="connsiteX620" fmla="*/ 83345 w 203591"/>
                <a:gd name="connsiteY620" fmla="*/ 251308 h 279938"/>
                <a:gd name="connsiteX621" fmla="*/ 83982 w 203591"/>
                <a:gd name="connsiteY621" fmla="*/ 250672 h 279938"/>
                <a:gd name="connsiteX622" fmla="*/ 84300 w 203591"/>
                <a:gd name="connsiteY622" fmla="*/ 249400 h 279938"/>
                <a:gd name="connsiteX623" fmla="*/ 85572 w 203591"/>
                <a:gd name="connsiteY623" fmla="*/ 248445 h 279938"/>
                <a:gd name="connsiteX624" fmla="*/ 86526 w 203591"/>
                <a:gd name="connsiteY624" fmla="*/ 246855 h 279938"/>
                <a:gd name="connsiteX625" fmla="*/ 86526 w 203591"/>
                <a:gd name="connsiteY625" fmla="*/ 246219 h 279938"/>
                <a:gd name="connsiteX626" fmla="*/ 87163 w 203591"/>
                <a:gd name="connsiteY626" fmla="*/ 244310 h 279938"/>
                <a:gd name="connsiteX627" fmla="*/ 89390 w 203591"/>
                <a:gd name="connsiteY627" fmla="*/ 242401 h 279938"/>
                <a:gd name="connsiteX628" fmla="*/ 90026 w 203591"/>
                <a:gd name="connsiteY628" fmla="*/ 240811 h 279938"/>
                <a:gd name="connsiteX629" fmla="*/ 90662 w 203591"/>
                <a:gd name="connsiteY629" fmla="*/ 239538 h 279938"/>
                <a:gd name="connsiteX630" fmla="*/ 90344 w 203591"/>
                <a:gd name="connsiteY630" fmla="*/ 239220 h 279938"/>
                <a:gd name="connsiteX631" fmla="*/ 90980 w 203591"/>
                <a:gd name="connsiteY631" fmla="*/ 237948 h 279938"/>
                <a:gd name="connsiteX632" fmla="*/ 91934 w 203591"/>
                <a:gd name="connsiteY632" fmla="*/ 236039 h 279938"/>
                <a:gd name="connsiteX633" fmla="*/ 93525 w 203591"/>
                <a:gd name="connsiteY633" fmla="*/ 233494 h 279938"/>
                <a:gd name="connsiteX634" fmla="*/ 93525 w 203591"/>
                <a:gd name="connsiteY634" fmla="*/ 233176 h 279938"/>
                <a:gd name="connsiteX635" fmla="*/ 94479 w 203591"/>
                <a:gd name="connsiteY635" fmla="*/ 232540 h 279938"/>
                <a:gd name="connsiteX636" fmla="*/ 94161 w 203591"/>
                <a:gd name="connsiteY636" fmla="*/ 232540 h 279938"/>
                <a:gd name="connsiteX637" fmla="*/ 95115 w 203591"/>
                <a:gd name="connsiteY637" fmla="*/ 230631 h 279938"/>
                <a:gd name="connsiteX638" fmla="*/ 95434 w 203591"/>
                <a:gd name="connsiteY638" fmla="*/ 229359 h 279938"/>
                <a:gd name="connsiteX639" fmla="*/ 96706 w 203591"/>
                <a:gd name="connsiteY639" fmla="*/ 228086 h 279938"/>
                <a:gd name="connsiteX640" fmla="*/ 96388 w 203591"/>
                <a:gd name="connsiteY640" fmla="*/ 227132 h 279938"/>
                <a:gd name="connsiteX641" fmla="*/ 96706 w 203591"/>
                <a:gd name="connsiteY641" fmla="*/ 226496 h 279938"/>
                <a:gd name="connsiteX642" fmla="*/ 97660 w 203591"/>
                <a:gd name="connsiteY642" fmla="*/ 225541 h 279938"/>
                <a:gd name="connsiteX643" fmla="*/ 98297 w 203591"/>
                <a:gd name="connsiteY643" fmla="*/ 223951 h 279938"/>
                <a:gd name="connsiteX644" fmla="*/ 99887 w 203591"/>
                <a:gd name="connsiteY644" fmla="*/ 222042 h 279938"/>
                <a:gd name="connsiteX645" fmla="*/ 101478 w 203591"/>
                <a:gd name="connsiteY645" fmla="*/ 218861 h 279938"/>
                <a:gd name="connsiteX646" fmla="*/ 102114 w 203591"/>
                <a:gd name="connsiteY646" fmla="*/ 217907 h 279938"/>
                <a:gd name="connsiteX647" fmla="*/ 103068 w 203591"/>
                <a:gd name="connsiteY647" fmla="*/ 215362 h 279938"/>
                <a:gd name="connsiteX648" fmla="*/ 104341 w 203591"/>
                <a:gd name="connsiteY648" fmla="*/ 213453 h 279938"/>
                <a:gd name="connsiteX649" fmla="*/ 104023 w 203591"/>
                <a:gd name="connsiteY649" fmla="*/ 213135 h 279938"/>
                <a:gd name="connsiteX650" fmla="*/ 104659 w 203591"/>
                <a:gd name="connsiteY650" fmla="*/ 211862 h 279938"/>
                <a:gd name="connsiteX651" fmla="*/ 106249 w 203591"/>
                <a:gd name="connsiteY651" fmla="*/ 209636 h 279938"/>
                <a:gd name="connsiteX652" fmla="*/ 105931 w 203591"/>
                <a:gd name="connsiteY652" fmla="*/ 208999 h 279938"/>
                <a:gd name="connsiteX653" fmla="*/ 106249 w 203591"/>
                <a:gd name="connsiteY653" fmla="*/ 208045 h 279938"/>
                <a:gd name="connsiteX654" fmla="*/ 107840 w 203591"/>
                <a:gd name="connsiteY654" fmla="*/ 206455 h 279938"/>
                <a:gd name="connsiteX655" fmla="*/ 108476 w 203591"/>
                <a:gd name="connsiteY655" fmla="*/ 204864 h 279938"/>
                <a:gd name="connsiteX656" fmla="*/ 108794 w 203591"/>
                <a:gd name="connsiteY656" fmla="*/ 203592 h 279938"/>
                <a:gd name="connsiteX657" fmla="*/ 108476 w 203591"/>
                <a:gd name="connsiteY657" fmla="*/ 203273 h 279938"/>
                <a:gd name="connsiteX658" fmla="*/ 109112 w 203591"/>
                <a:gd name="connsiteY658" fmla="*/ 202319 h 279938"/>
                <a:gd name="connsiteX659" fmla="*/ 110385 w 203591"/>
                <a:gd name="connsiteY659" fmla="*/ 201047 h 279938"/>
                <a:gd name="connsiteX660" fmla="*/ 110703 w 203591"/>
                <a:gd name="connsiteY660" fmla="*/ 200092 h 279938"/>
                <a:gd name="connsiteX661" fmla="*/ 111339 w 203591"/>
                <a:gd name="connsiteY661" fmla="*/ 198820 h 279938"/>
                <a:gd name="connsiteX662" fmla="*/ 112612 w 203591"/>
                <a:gd name="connsiteY662" fmla="*/ 197547 h 279938"/>
                <a:gd name="connsiteX663" fmla="*/ 112294 w 203591"/>
                <a:gd name="connsiteY663" fmla="*/ 196593 h 279938"/>
                <a:gd name="connsiteX664" fmla="*/ 112612 w 203591"/>
                <a:gd name="connsiteY664" fmla="*/ 195321 h 279938"/>
                <a:gd name="connsiteX665" fmla="*/ 113248 w 203591"/>
                <a:gd name="connsiteY665" fmla="*/ 194684 h 279938"/>
                <a:gd name="connsiteX666" fmla="*/ 113248 w 203591"/>
                <a:gd name="connsiteY666" fmla="*/ 194366 h 279938"/>
                <a:gd name="connsiteX667" fmla="*/ 113884 w 203591"/>
                <a:gd name="connsiteY667" fmla="*/ 193730 h 279938"/>
                <a:gd name="connsiteX668" fmla="*/ 114202 w 203591"/>
                <a:gd name="connsiteY668" fmla="*/ 193094 h 279938"/>
                <a:gd name="connsiteX669" fmla="*/ 114838 w 203591"/>
                <a:gd name="connsiteY669" fmla="*/ 192140 h 279938"/>
                <a:gd name="connsiteX670" fmla="*/ 114838 w 203591"/>
                <a:gd name="connsiteY670" fmla="*/ 191503 h 279938"/>
                <a:gd name="connsiteX671" fmla="*/ 115156 w 203591"/>
                <a:gd name="connsiteY671" fmla="*/ 191185 h 279938"/>
                <a:gd name="connsiteX672" fmla="*/ 116747 w 203591"/>
                <a:gd name="connsiteY672" fmla="*/ 187686 h 279938"/>
                <a:gd name="connsiteX673" fmla="*/ 117065 w 203591"/>
                <a:gd name="connsiteY673" fmla="*/ 186095 h 279938"/>
                <a:gd name="connsiteX674" fmla="*/ 118020 w 203591"/>
                <a:gd name="connsiteY674" fmla="*/ 184505 h 279938"/>
                <a:gd name="connsiteX675" fmla="*/ 118974 w 203591"/>
                <a:gd name="connsiteY675" fmla="*/ 183232 h 279938"/>
                <a:gd name="connsiteX676" fmla="*/ 120246 w 203591"/>
                <a:gd name="connsiteY676" fmla="*/ 180688 h 279938"/>
                <a:gd name="connsiteX677" fmla="*/ 120246 w 203591"/>
                <a:gd name="connsiteY677" fmla="*/ 179415 h 279938"/>
                <a:gd name="connsiteX678" fmla="*/ 120564 w 203591"/>
                <a:gd name="connsiteY678" fmla="*/ 179097 h 279938"/>
                <a:gd name="connsiteX679" fmla="*/ 121519 w 203591"/>
                <a:gd name="connsiteY679" fmla="*/ 177188 h 279938"/>
                <a:gd name="connsiteX680" fmla="*/ 122155 w 203591"/>
                <a:gd name="connsiteY680" fmla="*/ 176234 h 279938"/>
                <a:gd name="connsiteX681" fmla="*/ 121519 w 203591"/>
                <a:gd name="connsiteY681" fmla="*/ 175916 h 279938"/>
                <a:gd name="connsiteX682" fmla="*/ 122473 w 203591"/>
                <a:gd name="connsiteY682" fmla="*/ 174962 h 279938"/>
                <a:gd name="connsiteX683" fmla="*/ 123428 w 203591"/>
                <a:gd name="connsiteY683" fmla="*/ 173689 h 279938"/>
                <a:gd name="connsiteX684" fmla="*/ 123109 w 203591"/>
                <a:gd name="connsiteY684" fmla="*/ 173689 h 279938"/>
                <a:gd name="connsiteX685" fmla="*/ 123109 w 203591"/>
                <a:gd name="connsiteY685" fmla="*/ 173371 h 279938"/>
                <a:gd name="connsiteX686" fmla="*/ 123746 w 203591"/>
                <a:gd name="connsiteY686" fmla="*/ 172735 h 279938"/>
                <a:gd name="connsiteX687" fmla="*/ 123428 w 203591"/>
                <a:gd name="connsiteY687" fmla="*/ 172098 h 279938"/>
                <a:gd name="connsiteX688" fmla="*/ 124064 w 203591"/>
                <a:gd name="connsiteY688" fmla="*/ 170826 h 279938"/>
                <a:gd name="connsiteX689" fmla="*/ 125018 w 203591"/>
                <a:gd name="connsiteY689" fmla="*/ 169872 h 279938"/>
                <a:gd name="connsiteX690" fmla="*/ 126609 w 203591"/>
                <a:gd name="connsiteY690" fmla="*/ 167645 h 279938"/>
                <a:gd name="connsiteX691" fmla="*/ 142514 w 203591"/>
                <a:gd name="connsiteY691" fmla="*/ 147286 h 279938"/>
                <a:gd name="connsiteX692" fmla="*/ 133607 w 203591"/>
                <a:gd name="connsiteY692" fmla="*/ 167327 h 279938"/>
                <a:gd name="connsiteX693" fmla="*/ 133925 w 203591"/>
                <a:gd name="connsiteY693" fmla="*/ 167327 h 279938"/>
                <a:gd name="connsiteX694" fmla="*/ 133925 w 203591"/>
                <a:gd name="connsiteY694" fmla="*/ 167645 h 279938"/>
                <a:gd name="connsiteX695" fmla="*/ 133607 w 203591"/>
                <a:gd name="connsiteY695" fmla="*/ 168599 h 279938"/>
                <a:gd name="connsiteX696" fmla="*/ 134243 w 203591"/>
                <a:gd name="connsiteY696" fmla="*/ 168599 h 279938"/>
                <a:gd name="connsiteX697" fmla="*/ 135834 w 203591"/>
                <a:gd name="connsiteY697" fmla="*/ 167963 h 279938"/>
                <a:gd name="connsiteX698" fmla="*/ 135834 w 203591"/>
                <a:gd name="connsiteY698" fmla="*/ 168599 h 279938"/>
                <a:gd name="connsiteX699" fmla="*/ 134879 w 203591"/>
                <a:gd name="connsiteY699" fmla="*/ 170826 h 279938"/>
                <a:gd name="connsiteX700" fmla="*/ 134879 w 203591"/>
                <a:gd name="connsiteY700" fmla="*/ 171144 h 279938"/>
                <a:gd name="connsiteX701" fmla="*/ 133607 w 203591"/>
                <a:gd name="connsiteY701" fmla="*/ 172098 h 279938"/>
                <a:gd name="connsiteX702" fmla="*/ 133289 w 203591"/>
                <a:gd name="connsiteY702" fmla="*/ 173053 h 279938"/>
                <a:gd name="connsiteX703" fmla="*/ 133289 w 203591"/>
                <a:gd name="connsiteY703" fmla="*/ 173689 h 279938"/>
                <a:gd name="connsiteX704" fmla="*/ 132971 w 203591"/>
                <a:gd name="connsiteY704" fmla="*/ 174325 h 279938"/>
                <a:gd name="connsiteX705" fmla="*/ 132335 w 203591"/>
                <a:gd name="connsiteY705" fmla="*/ 175280 h 279938"/>
                <a:gd name="connsiteX706" fmla="*/ 132971 w 203591"/>
                <a:gd name="connsiteY706" fmla="*/ 176234 h 279938"/>
                <a:gd name="connsiteX707" fmla="*/ 133289 w 203591"/>
                <a:gd name="connsiteY707" fmla="*/ 176552 h 279938"/>
                <a:gd name="connsiteX708" fmla="*/ 132653 w 203591"/>
                <a:gd name="connsiteY708" fmla="*/ 176870 h 279938"/>
                <a:gd name="connsiteX709" fmla="*/ 132016 w 203591"/>
                <a:gd name="connsiteY709" fmla="*/ 177188 h 279938"/>
                <a:gd name="connsiteX710" fmla="*/ 129472 w 203591"/>
                <a:gd name="connsiteY710" fmla="*/ 178461 h 279938"/>
                <a:gd name="connsiteX711" fmla="*/ 129472 w 203591"/>
                <a:gd name="connsiteY711" fmla="*/ 179097 h 279938"/>
                <a:gd name="connsiteX712" fmla="*/ 130744 w 203591"/>
                <a:gd name="connsiteY712" fmla="*/ 179733 h 279938"/>
                <a:gd name="connsiteX713" fmla="*/ 129153 w 203591"/>
                <a:gd name="connsiteY713" fmla="*/ 180369 h 279938"/>
                <a:gd name="connsiteX714" fmla="*/ 127881 w 203591"/>
                <a:gd name="connsiteY714" fmla="*/ 181006 h 279938"/>
                <a:gd name="connsiteX715" fmla="*/ 127563 w 203591"/>
                <a:gd name="connsiteY715" fmla="*/ 181642 h 279938"/>
                <a:gd name="connsiteX716" fmla="*/ 127563 w 203591"/>
                <a:gd name="connsiteY716" fmla="*/ 181960 h 279938"/>
                <a:gd name="connsiteX717" fmla="*/ 128835 w 203591"/>
                <a:gd name="connsiteY717" fmla="*/ 181960 h 279938"/>
                <a:gd name="connsiteX718" fmla="*/ 128835 w 203591"/>
                <a:gd name="connsiteY718" fmla="*/ 182596 h 279938"/>
                <a:gd name="connsiteX719" fmla="*/ 129153 w 203591"/>
                <a:gd name="connsiteY719" fmla="*/ 183232 h 279938"/>
                <a:gd name="connsiteX720" fmla="*/ 129472 w 203591"/>
                <a:gd name="connsiteY720" fmla="*/ 183869 h 279938"/>
                <a:gd name="connsiteX721" fmla="*/ 129153 w 203591"/>
                <a:gd name="connsiteY721" fmla="*/ 184187 h 279938"/>
                <a:gd name="connsiteX722" fmla="*/ 127881 w 203591"/>
                <a:gd name="connsiteY722" fmla="*/ 185141 h 279938"/>
                <a:gd name="connsiteX723" fmla="*/ 127881 w 203591"/>
                <a:gd name="connsiteY723" fmla="*/ 187686 h 279938"/>
                <a:gd name="connsiteX724" fmla="*/ 127563 w 203591"/>
                <a:gd name="connsiteY724" fmla="*/ 188322 h 279938"/>
                <a:gd name="connsiteX725" fmla="*/ 127245 w 203591"/>
                <a:gd name="connsiteY725" fmla="*/ 189277 h 279938"/>
                <a:gd name="connsiteX726" fmla="*/ 126927 w 203591"/>
                <a:gd name="connsiteY726" fmla="*/ 189595 h 279938"/>
                <a:gd name="connsiteX727" fmla="*/ 125972 w 203591"/>
                <a:gd name="connsiteY727" fmla="*/ 190867 h 279938"/>
                <a:gd name="connsiteX728" fmla="*/ 126609 w 203591"/>
                <a:gd name="connsiteY728" fmla="*/ 192140 h 279938"/>
                <a:gd name="connsiteX729" fmla="*/ 125018 w 203591"/>
                <a:gd name="connsiteY729" fmla="*/ 192776 h 279938"/>
                <a:gd name="connsiteX730" fmla="*/ 124700 w 203591"/>
                <a:gd name="connsiteY730" fmla="*/ 193094 h 279938"/>
                <a:gd name="connsiteX731" fmla="*/ 124700 w 203591"/>
                <a:gd name="connsiteY731" fmla="*/ 193730 h 279938"/>
                <a:gd name="connsiteX732" fmla="*/ 125018 w 203591"/>
                <a:gd name="connsiteY732" fmla="*/ 194684 h 279938"/>
                <a:gd name="connsiteX733" fmla="*/ 123428 w 203591"/>
                <a:gd name="connsiteY733" fmla="*/ 196275 h 279938"/>
                <a:gd name="connsiteX734" fmla="*/ 123428 w 203591"/>
                <a:gd name="connsiteY734" fmla="*/ 196911 h 279938"/>
                <a:gd name="connsiteX735" fmla="*/ 124700 w 203591"/>
                <a:gd name="connsiteY735" fmla="*/ 196911 h 279938"/>
                <a:gd name="connsiteX736" fmla="*/ 125336 w 203591"/>
                <a:gd name="connsiteY736" fmla="*/ 196593 h 279938"/>
                <a:gd name="connsiteX737" fmla="*/ 125972 w 203591"/>
                <a:gd name="connsiteY737" fmla="*/ 196911 h 279938"/>
                <a:gd name="connsiteX738" fmla="*/ 125654 w 203591"/>
                <a:gd name="connsiteY738" fmla="*/ 197547 h 279938"/>
                <a:gd name="connsiteX739" fmla="*/ 125336 w 203591"/>
                <a:gd name="connsiteY739" fmla="*/ 198184 h 279938"/>
                <a:gd name="connsiteX740" fmla="*/ 124700 w 203591"/>
                <a:gd name="connsiteY740" fmla="*/ 200410 h 279938"/>
                <a:gd name="connsiteX741" fmla="*/ 124700 w 203591"/>
                <a:gd name="connsiteY741" fmla="*/ 201365 h 279938"/>
                <a:gd name="connsiteX742" fmla="*/ 125018 w 203591"/>
                <a:gd name="connsiteY742" fmla="*/ 202001 h 279938"/>
                <a:gd name="connsiteX743" fmla="*/ 124700 w 203591"/>
                <a:gd name="connsiteY743" fmla="*/ 202955 h 279938"/>
                <a:gd name="connsiteX744" fmla="*/ 124382 w 203591"/>
                <a:gd name="connsiteY744" fmla="*/ 203273 h 279938"/>
                <a:gd name="connsiteX745" fmla="*/ 124382 w 203591"/>
                <a:gd name="connsiteY745" fmla="*/ 203592 h 279938"/>
                <a:gd name="connsiteX746" fmla="*/ 123746 w 203591"/>
                <a:gd name="connsiteY746" fmla="*/ 204228 h 279938"/>
                <a:gd name="connsiteX747" fmla="*/ 123109 w 203591"/>
                <a:gd name="connsiteY747" fmla="*/ 205500 h 279938"/>
                <a:gd name="connsiteX748" fmla="*/ 122791 w 203591"/>
                <a:gd name="connsiteY748" fmla="*/ 206455 h 279938"/>
                <a:gd name="connsiteX749" fmla="*/ 120564 w 203591"/>
                <a:gd name="connsiteY749" fmla="*/ 207409 h 279938"/>
                <a:gd name="connsiteX750" fmla="*/ 120564 w 203591"/>
                <a:gd name="connsiteY750" fmla="*/ 208363 h 279938"/>
                <a:gd name="connsiteX751" fmla="*/ 118338 w 203591"/>
                <a:gd name="connsiteY751" fmla="*/ 210590 h 279938"/>
                <a:gd name="connsiteX752" fmla="*/ 118656 w 203591"/>
                <a:gd name="connsiteY752" fmla="*/ 210590 h 279938"/>
                <a:gd name="connsiteX753" fmla="*/ 119292 w 203591"/>
                <a:gd name="connsiteY753" fmla="*/ 211544 h 279938"/>
                <a:gd name="connsiteX754" fmla="*/ 119292 w 203591"/>
                <a:gd name="connsiteY754" fmla="*/ 211862 h 279938"/>
                <a:gd name="connsiteX755" fmla="*/ 118974 w 203591"/>
                <a:gd name="connsiteY755" fmla="*/ 213135 h 279938"/>
                <a:gd name="connsiteX756" fmla="*/ 118656 w 203591"/>
                <a:gd name="connsiteY756" fmla="*/ 213771 h 279938"/>
                <a:gd name="connsiteX757" fmla="*/ 117701 w 203591"/>
                <a:gd name="connsiteY757" fmla="*/ 215362 h 279938"/>
                <a:gd name="connsiteX758" fmla="*/ 118338 w 203591"/>
                <a:gd name="connsiteY758" fmla="*/ 215680 h 279938"/>
                <a:gd name="connsiteX759" fmla="*/ 116747 w 203591"/>
                <a:gd name="connsiteY759" fmla="*/ 216952 h 279938"/>
                <a:gd name="connsiteX760" fmla="*/ 116111 w 203591"/>
                <a:gd name="connsiteY760" fmla="*/ 216634 h 279938"/>
                <a:gd name="connsiteX761" fmla="*/ 115793 w 203591"/>
                <a:gd name="connsiteY761" fmla="*/ 215362 h 279938"/>
                <a:gd name="connsiteX762" fmla="*/ 116429 w 203591"/>
                <a:gd name="connsiteY762" fmla="*/ 215044 h 279938"/>
                <a:gd name="connsiteX763" fmla="*/ 117065 w 203591"/>
                <a:gd name="connsiteY763" fmla="*/ 214089 h 279938"/>
                <a:gd name="connsiteX764" fmla="*/ 116747 w 203591"/>
                <a:gd name="connsiteY764" fmla="*/ 213771 h 279938"/>
                <a:gd name="connsiteX765" fmla="*/ 114520 w 203591"/>
                <a:gd name="connsiteY765" fmla="*/ 215044 h 279938"/>
                <a:gd name="connsiteX766" fmla="*/ 114520 w 203591"/>
                <a:gd name="connsiteY766" fmla="*/ 215362 h 279938"/>
                <a:gd name="connsiteX767" fmla="*/ 113566 w 203591"/>
                <a:gd name="connsiteY767" fmla="*/ 217588 h 279938"/>
                <a:gd name="connsiteX768" fmla="*/ 113566 w 203591"/>
                <a:gd name="connsiteY768" fmla="*/ 217907 h 279938"/>
                <a:gd name="connsiteX769" fmla="*/ 112930 w 203591"/>
                <a:gd name="connsiteY769" fmla="*/ 219179 h 279938"/>
                <a:gd name="connsiteX770" fmla="*/ 112930 w 203591"/>
                <a:gd name="connsiteY770" fmla="*/ 220451 h 279938"/>
                <a:gd name="connsiteX771" fmla="*/ 113566 w 203591"/>
                <a:gd name="connsiteY771" fmla="*/ 220770 h 279938"/>
                <a:gd name="connsiteX772" fmla="*/ 112930 w 203591"/>
                <a:gd name="connsiteY772" fmla="*/ 221406 h 279938"/>
                <a:gd name="connsiteX773" fmla="*/ 112612 w 203591"/>
                <a:gd name="connsiteY773" fmla="*/ 223314 h 279938"/>
                <a:gd name="connsiteX774" fmla="*/ 112612 w 203591"/>
                <a:gd name="connsiteY774" fmla="*/ 224905 h 279938"/>
                <a:gd name="connsiteX775" fmla="*/ 111657 w 203591"/>
                <a:gd name="connsiteY775" fmla="*/ 225859 h 279938"/>
                <a:gd name="connsiteX776" fmla="*/ 111657 w 203591"/>
                <a:gd name="connsiteY776" fmla="*/ 227132 h 279938"/>
                <a:gd name="connsiteX777" fmla="*/ 111021 w 203591"/>
                <a:gd name="connsiteY777" fmla="*/ 228404 h 279938"/>
                <a:gd name="connsiteX778" fmla="*/ 110385 w 203591"/>
                <a:gd name="connsiteY778" fmla="*/ 228404 h 279938"/>
                <a:gd name="connsiteX779" fmla="*/ 109431 w 203591"/>
                <a:gd name="connsiteY779" fmla="*/ 228722 h 279938"/>
                <a:gd name="connsiteX780" fmla="*/ 109112 w 203591"/>
                <a:gd name="connsiteY780" fmla="*/ 229359 h 279938"/>
                <a:gd name="connsiteX781" fmla="*/ 110067 w 203591"/>
                <a:gd name="connsiteY781" fmla="*/ 229995 h 279938"/>
                <a:gd name="connsiteX782" fmla="*/ 109431 w 203591"/>
                <a:gd name="connsiteY782" fmla="*/ 230949 h 279938"/>
                <a:gd name="connsiteX783" fmla="*/ 107204 w 203591"/>
                <a:gd name="connsiteY783" fmla="*/ 231904 h 279938"/>
                <a:gd name="connsiteX784" fmla="*/ 106567 w 203591"/>
                <a:gd name="connsiteY784" fmla="*/ 232222 h 279938"/>
                <a:gd name="connsiteX785" fmla="*/ 106249 w 203591"/>
                <a:gd name="connsiteY785" fmla="*/ 232858 h 279938"/>
                <a:gd name="connsiteX786" fmla="*/ 106249 w 203591"/>
                <a:gd name="connsiteY786" fmla="*/ 234130 h 279938"/>
                <a:gd name="connsiteX787" fmla="*/ 105295 w 203591"/>
                <a:gd name="connsiteY787" fmla="*/ 235721 h 279938"/>
                <a:gd name="connsiteX788" fmla="*/ 104659 w 203591"/>
                <a:gd name="connsiteY788" fmla="*/ 236357 h 279938"/>
                <a:gd name="connsiteX789" fmla="*/ 104659 w 203591"/>
                <a:gd name="connsiteY789" fmla="*/ 236993 h 279938"/>
                <a:gd name="connsiteX790" fmla="*/ 104341 w 203591"/>
                <a:gd name="connsiteY790" fmla="*/ 237630 h 279938"/>
                <a:gd name="connsiteX791" fmla="*/ 103386 w 203591"/>
                <a:gd name="connsiteY791" fmla="*/ 237311 h 279938"/>
                <a:gd name="connsiteX792" fmla="*/ 103386 w 203591"/>
                <a:gd name="connsiteY792" fmla="*/ 236993 h 279938"/>
                <a:gd name="connsiteX793" fmla="*/ 103068 w 203591"/>
                <a:gd name="connsiteY793" fmla="*/ 237311 h 279938"/>
                <a:gd name="connsiteX794" fmla="*/ 102114 w 203591"/>
                <a:gd name="connsiteY794" fmla="*/ 237948 h 279938"/>
                <a:gd name="connsiteX795" fmla="*/ 101796 w 203591"/>
                <a:gd name="connsiteY795" fmla="*/ 238584 h 279938"/>
                <a:gd name="connsiteX796" fmla="*/ 101796 w 203591"/>
                <a:gd name="connsiteY796" fmla="*/ 239220 h 279938"/>
                <a:gd name="connsiteX797" fmla="*/ 102114 w 203591"/>
                <a:gd name="connsiteY797" fmla="*/ 239538 h 279938"/>
                <a:gd name="connsiteX798" fmla="*/ 103386 w 203591"/>
                <a:gd name="connsiteY798" fmla="*/ 238266 h 279938"/>
                <a:gd name="connsiteX799" fmla="*/ 103705 w 203591"/>
                <a:gd name="connsiteY799" fmla="*/ 237948 h 279938"/>
                <a:gd name="connsiteX800" fmla="*/ 104341 w 203591"/>
                <a:gd name="connsiteY800" fmla="*/ 238266 h 279938"/>
                <a:gd name="connsiteX801" fmla="*/ 104977 w 203591"/>
                <a:gd name="connsiteY801" fmla="*/ 239220 h 279938"/>
                <a:gd name="connsiteX802" fmla="*/ 106249 w 203591"/>
                <a:gd name="connsiteY802" fmla="*/ 239856 h 279938"/>
                <a:gd name="connsiteX803" fmla="*/ 107204 w 203591"/>
                <a:gd name="connsiteY803" fmla="*/ 239856 h 279938"/>
                <a:gd name="connsiteX804" fmla="*/ 106886 w 203591"/>
                <a:gd name="connsiteY804" fmla="*/ 239538 h 279938"/>
                <a:gd name="connsiteX805" fmla="*/ 106886 w 203591"/>
                <a:gd name="connsiteY805" fmla="*/ 238266 h 279938"/>
                <a:gd name="connsiteX806" fmla="*/ 107522 w 203591"/>
                <a:gd name="connsiteY806" fmla="*/ 237948 h 279938"/>
                <a:gd name="connsiteX807" fmla="*/ 107522 w 203591"/>
                <a:gd name="connsiteY807" fmla="*/ 238266 h 279938"/>
                <a:gd name="connsiteX808" fmla="*/ 107840 w 203591"/>
                <a:gd name="connsiteY808" fmla="*/ 240493 h 279938"/>
                <a:gd name="connsiteX809" fmla="*/ 107840 w 203591"/>
                <a:gd name="connsiteY809" fmla="*/ 241129 h 279938"/>
                <a:gd name="connsiteX810" fmla="*/ 106249 w 203591"/>
                <a:gd name="connsiteY810" fmla="*/ 242401 h 279938"/>
                <a:gd name="connsiteX811" fmla="*/ 104977 w 203591"/>
                <a:gd name="connsiteY811" fmla="*/ 243356 h 279938"/>
                <a:gd name="connsiteX812" fmla="*/ 103705 w 203591"/>
                <a:gd name="connsiteY812" fmla="*/ 242719 h 279938"/>
                <a:gd name="connsiteX813" fmla="*/ 103068 w 203591"/>
                <a:gd name="connsiteY813" fmla="*/ 242401 h 279938"/>
                <a:gd name="connsiteX814" fmla="*/ 102432 w 203591"/>
                <a:gd name="connsiteY814" fmla="*/ 243037 h 279938"/>
                <a:gd name="connsiteX815" fmla="*/ 101478 w 203591"/>
                <a:gd name="connsiteY815" fmla="*/ 243674 h 279938"/>
                <a:gd name="connsiteX816" fmla="*/ 100841 w 203591"/>
                <a:gd name="connsiteY816" fmla="*/ 243992 h 279938"/>
                <a:gd name="connsiteX817" fmla="*/ 101796 w 203591"/>
                <a:gd name="connsiteY817" fmla="*/ 244946 h 279938"/>
                <a:gd name="connsiteX818" fmla="*/ 101796 w 203591"/>
                <a:gd name="connsiteY818" fmla="*/ 245582 h 279938"/>
                <a:gd name="connsiteX819" fmla="*/ 102432 w 203591"/>
                <a:gd name="connsiteY819" fmla="*/ 246219 h 279938"/>
                <a:gd name="connsiteX820" fmla="*/ 102750 w 203591"/>
                <a:gd name="connsiteY820" fmla="*/ 246855 h 279938"/>
                <a:gd name="connsiteX821" fmla="*/ 101796 w 203591"/>
                <a:gd name="connsiteY821" fmla="*/ 247491 h 279938"/>
                <a:gd name="connsiteX822" fmla="*/ 99569 w 203591"/>
                <a:gd name="connsiteY822" fmla="*/ 249718 h 279938"/>
                <a:gd name="connsiteX823" fmla="*/ 98933 w 203591"/>
                <a:gd name="connsiteY823" fmla="*/ 250354 h 279938"/>
                <a:gd name="connsiteX824" fmla="*/ 99569 w 203591"/>
                <a:gd name="connsiteY824" fmla="*/ 251308 h 279938"/>
                <a:gd name="connsiteX825" fmla="*/ 99887 w 203591"/>
                <a:gd name="connsiteY825" fmla="*/ 250990 h 279938"/>
                <a:gd name="connsiteX826" fmla="*/ 100523 w 203591"/>
                <a:gd name="connsiteY826" fmla="*/ 250672 h 279938"/>
                <a:gd name="connsiteX827" fmla="*/ 100523 w 203591"/>
                <a:gd name="connsiteY827" fmla="*/ 250990 h 279938"/>
                <a:gd name="connsiteX828" fmla="*/ 100841 w 203591"/>
                <a:gd name="connsiteY828" fmla="*/ 250990 h 279938"/>
                <a:gd name="connsiteX829" fmla="*/ 100523 w 203591"/>
                <a:gd name="connsiteY829" fmla="*/ 251308 h 279938"/>
                <a:gd name="connsiteX830" fmla="*/ 100205 w 203591"/>
                <a:gd name="connsiteY830" fmla="*/ 251945 h 279938"/>
                <a:gd name="connsiteX831" fmla="*/ 100523 w 203591"/>
                <a:gd name="connsiteY831" fmla="*/ 252263 h 279938"/>
                <a:gd name="connsiteX832" fmla="*/ 100205 w 203591"/>
                <a:gd name="connsiteY832" fmla="*/ 252581 h 279938"/>
                <a:gd name="connsiteX833" fmla="*/ 99569 w 203591"/>
                <a:gd name="connsiteY833" fmla="*/ 253535 h 279938"/>
                <a:gd name="connsiteX834" fmla="*/ 98933 w 203591"/>
                <a:gd name="connsiteY834" fmla="*/ 253853 h 279938"/>
                <a:gd name="connsiteX835" fmla="*/ 97979 w 203591"/>
                <a:gd name="connsiteY835" fmla="*/ 255444 h 279938"/>
                <a:gd name="connsiteX836" fmla="*/ 97979 w 203591"/>
                <a:gd name="connsiteY836" fmla="*/ 256080 h 279938"/>
                <a:gd name="connsiteX837" fmla="*/ 96706 w 203591"/>
                <a:gd name="connsiteY837" fmla="*/ 257989 h 279938"/>
                <a:gd name="connsiteX838" fmla="*/ 96706 w 203591"/>
                <a:gd name="connsiteY838" fmla="*/ 259579 h 279938"/>
                <a:gd name="connsiteX839" fmla="*/ 95434 w 203591"/>
                <a:gd name="connsiteY839" fmla="*/ 261170 h 279938"/>
                <a:gd name="connsiteX840" fmla="*/ 94479 w 203591"/>
                <a:gd name="connsiteY840" fmla="*/ 262760 h 279938"/>
                <a:gd name="connsiteX841" fmla="*/ 93843 w 203591"/>
                <a:gd name="connsiteY841" fmla="*/ 263397 h 279938"/>
                <a:gd name="connsiteX842" fmla="*/ 93525 w 203591"/>
                <a:gd name="connsiteY842" fmla="*/ 264033 h 279938"/>
                <a:gd name="connsiteX843" fmla="*/ 93525 w 203591"/>
                <a:gd name="connsiteY843" fmla="*/ 264669 h 279938"/>
                <a:gd name="connsiteX844" fmla="*/ 91616 w 203591"/>
                <a:gd name="connsiteY844" fmla="*/ 265941 h 279938"/>
                <a:gd name="connsiteX845" fmla="*/ 91298 w 203591"/>
                <a:gd name="connsiteY845" fmla="*/ 266578 h 279938"/>
                <a:gd name="connsiteX846" fmla="*/ 91934 w 203591"/>
                <a:gd name="connsiteY846" fmla="*/ 267214 h 279938"/>
                <a:gd name="connsiteX847" fmla="*/ 92252 w 203591"/>
                <a:gd name="connsiteY847" fmla="*/ 267850 h 279938"/>
                <a:gd name="connsiteX848" fmla="*/ 91934 w 203591"/>
                <a:gd name="connsiteY848" fmla="*/ 268168 h 279938"/>
                <a:gd name="connsiteX849" fmla="*/ 91298 w 203591"/>
                <a:gd name="connsiteY849" fmla="*/ 269123 h 279938"/>
                <a:gd name="connsiteX850" fmla="*/ 91616 w 203591"/>
                <a:gd name="connsiteY850" fmla="*/ 269759 h 279938"/>
                <a:gd name="connsiteX851" fmla="*/ 91934 w 203591"/>
                <a:gd name="connsiteY851" fmla="*/ 270395 h 279938"/>
                <a:gd name="connsiteX852" fmla="*/ 91934 w 203591"/>
                <a:gd name="connsiteY852" fmla="*/ 270713 h 279938"/>
                <a:gd name="connsiteX853" fmla="*/ 91616 w 203591"/>
                <a:gd name="connsiteY853" fmla="*/ 271031 h 279938"/>
                <a:gd name="connsiteX854" fmla="*/ 90662 w 203591"/>
                <a:gd name="connsiteY854" fmla="*/ 271031 h 279938"/>
                <a:gd name="connsiteX855" fmla="*/ 90026 w 203591"/>
                <a:gd name="connsiteY855" fmla="*/ 271667 h 279938"/>
                <a:gd name="connsiteX856" fmla="*/ 88435 w 203591"/>
                <a:gd name="connsiteY856" fmla="*/ 273894 h 279938"/>
                <a:gd name="connsiteX857" fmla="*/ 87163 w 203591"/>
                <a:gd name="connsiteY857" fmla="*/ 275167 h 279938"/>
                <a:gd name="connsiteX858" fmla="*/ 86845 w 203591"/>
                <a:gd name="connsiteY858" fmla="*/ 275803 h 279938"/>
                <a:gd name="connsiteX859" fmla="*/ 85572 w 203591"/>
                <a:gd name="connsiteY859" fmla="*/ 275803 h 279938"/>
                <a:gd name="connsiteX860" fmla="*/ 84300 w 203591"/>
                <a:gd name="connsiteY860" fmla="*/ 276439 h 279938"/>
                <a:gd name="connsiteX861" fmla="*/ 83345 w 203591"/>
                <a:gd name="connsiteY861" fmla="*/ 277075 h 279938"/>
                <a:gd name="connsiteX862" fmla="*/ 83027 w 203591"/>
                <a:gd name="connsiteY862" fmla="*/ 277394 h 279938"/>
                <a:gd name="connsiteX863" fmla="*/ 82709 w 203591"/>
                <a:gd name="connsiteY863" fmla="*/ 278030 h 279938"/>
                <a:gd name="connsiteX864" fmla="*/ 81755 w 203591"/>
                <a:gd name="connsiteY864" fmla="*/ 277712 h 279938"/>
                <a:gd name="connsiteX865" fmla="*/ 78892 w 203591"/>
                <a:gd name="connsiteY865" fmla="*/ 281211 h 279938"/>
                <a:gd name="connsiteX866" fmla="*/ 78256 w 203591"/>
                <a:gd name="connsiteY866" fmla="*/ 281847 h 279938"/>
                <a:gd name="connsiteX867" fmla="*/ 75393 w 203591"/>
                <a:gd name="connsiteY867" fmla="*/ 281847 h 279938"/>
                <a:gd name="connsiteX868" fmla="*/ 74438 w 203591"/>
                <a:gd name="connsiteY868" fmla="*/ 281211 h 279938"/>
                <a:gd name="connsiteX869" fmla="*/ 72211 w 203591"/>
                <a:gd name="connsiteY869" fmla="*/ 281529 h 279938"/>
                <a:gd name="connsiteX870" fmla="*/ 70939 w 203591"/>
                <a:gd name="connsiteY870" fmla="*/ 281211 h 279938"/>
                <a:gd name="connsiteX871" fmla="*/ 69667 w 203591"/>
                <a:gd name="connsiteY871" fmla="*/ 281529 h 279938"/>
                <a:gd name="connsiteX872" fmla="*/ 68712 w 203591"/>
                <a:gd name="connsiteY872" fmla="*/ 281847 h 279938"/>
                <a:gd name="connsiteX873" fmla="*/ 64259 w 203591"/>
                <a:gd name="connsiteY873" fmla="*/ 279302 h 279938"/>
                <a:gd name="connsiteX874" fmla="*/ 63304 w 203591"/>
                <a:gd name="connsiteY874" fmla="*/ 279620 h 279938"/>
                <a:gd name="connsiteX875" fmla="*/ 62668 w 203591"/>
                <a:gd name="connsiteY875" fmla="*/ 279938 h 279938"/>
                <a:gd name="connsiteX876" fmla="*/ 61714 w 203591"/>
                <a:gd name="connsiteY876" fmla="*/ 279620 h 279938"/>
                <a:gd name="connsiteX877" fmla="*/ 59487 w 203591"/>
                <a:gd name="connsiteY877" fmla="*/ 277712 h 279938"/>
                <a:gd name="connsiteX878" fmla="*/ 57578 w 203591"/>
                <a:gd name="connsiteY878" fmla="*/ 277075 h 279938"/>
                <a:gd name="connsiteX879" fmla="*/ 56942 w 203591"/>
                <a:gd name="connsiteY879" fmla="*/ 276121 h 279938"/>
                <a:gd name="connsiteX880" fmla="*/ 55988 w 203591"/>
                <a:gd name="connsiteY880" fmla="*/ 275167 h 279938"/>
                <a:gd name="connsiteX881" fmla="*/ 54397 w 203591"/>
                <a:gd name="connsiteY881" fmla="*/ 274212 h 279938"/>
                <a:gd name="connsiteX882" fmla="*/ 54079 w 203591"/>
                <a:gd name="connsiteY882" fmla="*/ 273576 h 279938"/>
                <a:gd name="connsiteX883" fmla="*/ 54715 w 203591"/>
                <a:gd name="connsiteY883" fmla="*/ 273258 h 279938"/>
                <a:gd name="connsiteX884" fmla="*/ 55033 w 203591"/>
                <a:gd name="connsiteY884" fmla="*/ 273258 h 279938"/>
                <a:gd name="connsiteX885" fmla="*/ 54715 w 203591"/>
                <a:gd name="connsiteY885" fmla="*/ 272940 h 279938"/>
                <a:gd name="connsiteX886" fmla="*/ 54715 w 203591"/>
                <a:gd name="connsiteY886" fmla="*/ 271986 h 279938"/>
                <a:gd name="connsiteX887" fmla="*/ 54397 w 203591"/>
                <a:gd name="connsiteY887" fmla="*/ 271667 h 279938"/>
                <a:gd name="connsiteX888" fmla="*/ 53125 w 203591"/>
                <a:gd name="connsiteY888" fmla="*/ 271031 h 279938"/>
                <a:gd name="connsiteX889" fmla="*/ 53443 w 203591"/>
                <a:gd name="connsiteY889" fmla="*/ 270713 h 279938"/>
                <a:gd name="connsiteX890" fmla="*/ 53761 w 203591"/>
                <a:gd name="connsiteY890" fmla="*/ 270395 h 279938"/>
                <a:gd name="connsiteX891" fmla="*/ 53761 w 203591"/>
                <a:gd name="connsiteY891" fmla="*/ 270077 h 279938"/>
                <a:gd name="connsiteX892" fmla="*/ 53443 w 203591"/>
                <a:gd name="connsiteY892" fmla="*/ 269441 h 279938"/>
                <a:gd name="connsiteX893" fmla="*/ 53125 w 203591"/>
                <a:gd name="connsiteY893" fmla="*/ 269123 h 279938"/>
                <a:gd name="connsiteX894" fmla="*/ 53443 w 203591"/>
                <a:gd name="connsiteY894" fmla="*/ 268168 h 279938"/>
                <a:gd name="connsiteX895" fmla="*/ 52807 w 203591"/>
                <a:gd name="connsiteY895" fmla="*/ 267532 h 279938"/>
                <a:gd name="connsiteX896" fmla="*/ 52807 w 203591"/>
                <a:gd name="connsiteY896" fmla="*/ 267214 h 279938"/>
                <a:gd name="connsiteX897" fmla="*/ 52488 w 203591"/>
                <a:gd name="connsiteY897" fmla="*/ 266260 h 279938"/>
                <a:gd name="connsiteX898" fmla="*/ 52170 w 203591"/>
                <a:gd name="connsiteY898" fmla="*/ 264669 h 279938"/>
                <a:gd name="connsiteX899" fmla="*/ 51852 w 203591"/>
                <a:gd name="connsiteY899" fmla="*/ 263397 h 279938"/>
                <a:gd name="connsiteX900" fmla="*/ 50580 w 203591"/>
                <a:gd name="connsiteY900" fmla="*/ 263078 h 279938"/>
                <a:gd name="connsiteX901" fmla="*/ 49944 w 203591"/>
                <a:gd name="connsiteY901" fmla="*/ 263078 h 279938"/>
                <a:gd name="connsiteX902" fmla="*/ 49307 w 203591"/>
                <a:gd name="connsiteY902" fmla="*/ 262760 h 279938"/>
                <a:gd name="connsiteX903" fmla="*/ 49307 w 203591"/>
                <a:gd name="connsiteY903" fmla="*/ 261806 h 279938"/>
                <a:gd name="connsiteX904" fmla="*/ 49626 w 203591"/>
                <a:gd name="connsiteY904" fmla="*/ 261488 h 279938"/>
                <a:gd name="connsiteX905" fmla="*/ 50262 w 203591"/>
                <a:gd name="connsiteY905" fmla="*/ 260534 h 279938"/>
                <a:gd name="connsiteX906" fmla="*/ 50262 w 203591"/>
                <a:gd name="connsiteY906" fmla="*/ 259579 h 279938"/>
                <a:gd name="connsiteX907" fmla="*/ 49944 w 203591"/>
                <a:gd name="connsiteY907" fmla="*/ 257034 h 279938"/>
                <a:gd name="connsiteX908" fmla="*/ 49307 w 203591"/>
                <a:gd name="connsiteY908" fmla="*/ 255762 h 279938"/>
                <a:gd name="connsiteX909" fmla="*/ 49307 w 203591"/>
                <a:gd name="connsiteY909" fmla="*/ 255444 h 279938"/>
                <a:gd name="connsiteX910" fmla="*/ 48989 w 203591"/>
                <a:gd name="connsiteY910" fmla="*/ 255126 h 279938"/>
                <a:gd name="connsiteX911" fmla="*/ 48989 w 203591"/>
                <a:gd name="connsiteY911" fmla="*/ 255444 h 279938"/>
                <a:gd name="connsiteX912" fmla="*/ 48353 w 203591"/>
                <a:gd name="connsiteY912" fmla="*/ 255444 h 279938"/>
                <a:gd name="connsiteX913" fmla="*/ 48353 w 203591"/>
                <a:gd name="connsiteY913" fmla="*/ 254489 h 279938"/>
                <a:gd name="connsiteX914" fmla="*/ 48035 w 203591"/>
                <a:gd name="connsiteY914" fmla="*/ 253853 h 279938"/>
                <a:gd name="connsiteX915" fmla="*/ 47717 w 203591"/>
                <a:gd name="connsiteY915" fmla="*/ 253535 h 279938"/>
                <a:gd name="connsiteX916" fmla="*/ 48671 w 203591"/>
                <a:gd name="connsiteY916" fmla="*/ 252581 h 279938"/>
                <a:gd name="connsiteX917" fmla="*/ 48353 w 203591"/>
                <a:gd name="connsiteY917" fmla="*/ 251626 h 279938"/>
                <a:gd name="connsiteX918" fmla="*/ 47717 w 203591"/>
                <a:gd name="connsiteY918" fmla="*/ 251308 h 279938"/>
                <a:gd name="connsiteX919" fmla="*/ 47717 w 203591"/>
                <a:gd name="connsiteY919" fmla="*/ 249082 h 279938"/>
                <a:gd name="connsiteX920" fmla="*/ 48035 w 203591"/>
                <a:gd name="connsiteY920" fmla="*/ 246855 h 279938"/>
                <a:gd name="connsiteX921" fmla="*/ 48671 w 203591"/>
                <a:gd name="connsiteY921" fmla="*/ 246855 h 279938"/>
                <a:gd name="connsiteX922" fmla="*/ 49307 w 203591"/>
                <a:gd name="connsiteY922" fmla="*/ 246219 h 279938"/>
                <a:gd name="connsiteX923" fmla="*/ 48989 w 203591"/>
                <a:gd name="connsiteY923" fmla="*/ 244310 h 279938"/>
                <a:gd name="connsiteX924" fmla="*/ 48671 w 203591"/>
                <a:gd name="connsiteY924" fmla="*/ 243674 h 279938"/>
                <a:gd name="connsiteX925" fmla="*/ 48671 w 203591"/>
                <a:gd name="connsiteY925" fmla="*/ 243037 h 279938"/>
                <a:gd name="connsiteX926" fmla="*/ 48989 w 203591"/>
                <a:gd name="connsiteY926" fmla="*/ 241765 h 279938"/>
                <a:gd name="connsiteX927" fmla="*/ 48671 w 203591"/>
                <a:gd name="connsiteY927" fmla="*/ 240174 h 279938"/>
                <a:gd name="connsiteX928" fmla="*/ 48989 w 203591"/>
                <a:gd name="connsiteY928" fmla="*/ 239856 h 279938"/>
                <a:gd name="connsiteX929" fmla="*/ 47399 w 203591"/>
                <a:gd name="connsiteY929" fmla="*/ 238266 h 279938"/>
                <a:gd name="connsiteX930" fmla="*/ 47717 w 203591"/>
                <a:gd name="connsiteY930" fmla="*/ 237630 h 279938"/>
                <a:gd name="connsiteX931" fmla="*/ 46762 w 203591"/>
                <a:gd name="connsiteY931" fmla="*/ 236993 h 279938"/>
                <a:gd name="connsiteX932" fmla="*/ 47081 w 203591"/>
                <a:gd name="connsiteY932" fmla="*/ 236675 h 279938"/>
                <a:gd name="connsiteX933" fmla="*/ 48671 w 203591"/>
                <a:gd name="connsiteY933" fmla="*/ 235403 h 279938"/>
                <a:gd name="connsiteX934" fmla="*/ 47717 w 203591"/>
                <a:gd name="connsiteY934" fmla="*/ 233494 h 279938"/>
                <a:gd name="connsiteX935" fmla="*/ 47399 w 203591"/>
                <a:gd name="connsiteY935" fmla="*/ 233176 h 279938"/>
                <a:gd name="connsiteX936" fmla="*/ 47717 w 203591"/>
                <a:gd name="connsiteY936" fmla="*/ 232540 h 279938"/>
                <a:gd name="connsiteX937" fmla="*/ 47081 w 203591"/>
                <a:gd name="connsiteY937" fmla="*/ 232222 h 279938"/>
                <a:gd name="connsiteX938" fmla="*/ 47081 w 203591"/>
                <a:gd name="connsiteY938" fmla="*/ 231585 h 279938"/>
                <a:gd name="connsiteX939" fmla="*/ 46762 w 203591"/>
                <a:gd name="connsiteY939" fmla="*/ 229041 h 279938"/>
                <a:gd name="connsiteX940" fmla="*/ 46762 w 203591"/>
                <a:gd name="connsiteY940" fmla="*/ 226814 h 279938"/>
                <a:gd name="connsiteX941" fmla="*/ 47081 w 203591"/>
                <a:gd name="connsiteY941" fmla="*/ 225541 h 279938"/>
                <a:gd name="connsiteX942" fmla="*/ 48353 w 203591"/>
                <a:gd name="connsiteY942" fmla="*/ 225223 h 279938"/>
                <a:gd name="connsiteX943" fmla="*/ 47399 w 203591"/>
                <a:gd name="connsiteY943" fmla="*/ 223951 h 279938"/>
                <a:gd name="connsiteX944" fmla="*/ 47081 w 203591"/>
                <a:gd name="connsiteY944" fmla="*/ 223314 h 279938"/>
                <a:gd name="connsiteX945" fmla="*/ 48035 w 203591"/>
                <a:gd name="connsiteY945" fmla="*/ 222042 h 279938"/>
                <a:gd name="connsiteX946" fmla="*/ 47717 w 203591"/>
                <a:gd name="connsiteY946" fmla="*/ 220770 h 279938"/>
                <a:gd name="connsiteX947" fmla="*/ 47717 w 203591"/>
                <a:gd name="connsiteY947" fmla="*/ 218861 h 279938"/>
                <a:gd name="connsiteX948" fmla="*/ 48989 w 203591"/>
                <a:gd name="connsiteY948" fmla="*/ 216952 h 279938"/>
                <a:gd name="connsiteX949" fmla="*/ 48671 w 203591"/>
                <a:gd name="connsiteY949" fmla="*/ 216634 h 279938"/>
                <a:gd name="connsiteX950" fmla="*/ 48671 w 203591"/>
                <a:gd name="connsiteY950" fmla="*/ 215044 h 279938"/>
                <a:gd name="connsiteX951" fmla="*/ 48353 w 203591"/>
                <a:gd name="connsiteY951" fmla="*/ 214725 h 279938"/>
                <a:gd name="connsiteX952" fmla="*/ 48671 w 203591"/>
                <a:gd name="connsiteY952" fmla="*/ 214089 h 279938"/>
                <a:gd name="connsiteX953" fmla="*/ 49626 w 203591"/>
                <a:gd name="connsiteY953" fmla="*/ 213135 h 279938"/>
                <a:gd name="connsiteX954" fmla="*/ 49307 w 203591"/>
                <a:gd name="connsiteY954" fmla="*/ 211226 h 279938"/>
                <a:gd name="connsiteX955" fmla="*/ 49626 w 203591"/>
                <a:gd name="connsiteY955" fmla="*/ 210272 h 279938"/>
                <a:gd name="connsiteX956" fmla="*/ 49307 w 203591"/>
                <a:gd name="connsiteY956" fmla="*/ 208999 h 279938"/>
                <a:gd name="connsiteX957" fmla="*/ 49307 w 203591"/>
                <a:gd name="connsiteY957" fmla="*/ 208363 h 279938"/>
                <a:gd name="connsiteX958" fmla="*/ 50262 w 203591"/>
                <a:gd name="connsiteY958" fmla="*/ 207091 h 279938"/>
                <a:gd name="connsiteX959" fmla="*/ 50262 w 203591"/>
                <a:gd name="connsiteY959" fmla="*/ 203592 h 279938"/>
                <a:gd name="connsiteX960" fmla="*/ 50580 w 203591"/>
                <a:gd name="connsiteY960" fmla="*/ 203273 h 279938"/>
                <a:gd name="connsiteX961" fmla="*/ 49944 w 203591"/>
                <a:gd name="connsiteY961" fmla="*/ 202001 h 279938"/>
                <a:gd name="connsiteX962" fmla="*/ 49944 w 203591"/>
                <a:gd name="connsiteY962" fmla="*/ 201365 h 279938"/>
                <a:gd name="connsiteX963" fmla="*/ 50898 w 203591"/>
                <a:gd name="connsiteY963" fmla="*/ 199774 h 279938"/>
                <a:gd name="connsiteX964" fmla="*/ 50580 w 203591"/>
                <a:gd name="connsiteY964" fmla="*/ 198820 h 279938"/>
                <a:gd name="connsiteX965" fmla="*/ 50262 w 203591"/>
                <a:gd name="connsiteY965" fmla="*/ 198184 h 279938"/>
                <a:gd name="connsiteX966" fmla="*/ 50580 w 203591"/>
                <a:gd name="connsiteY966" fmla="*/ 197866 h 279938"/>
                <a:gd name="connsiteX967" fmla="*/ 50898 w 203591"/>
                <a:gd name="connsiteY967" fmla="*/ 197547 h 279938"/>
                <a:gd name="connsiteX968" fmla="*/ 50262 w 203591"/>
                <a:gd name="connsiteY968" fmla="*/ 196911 h 279938"/>
                <a:gd name="connsiteX969" fmla="*/ 49626 w 203591"/>
                <a:gd name="connsiteY969" fmla="*/ 195957 h 279938"/>
                <a:gd name="connsiteX970" fmla="*/ 49626 w 203591"/>
                <a:gd name="connsiteY970" fmla="*/ 194366 h 279938"/>
                <a:gd name="connsiteX971" fmla="*/ 49944 w 203591"/>
                <a:gd name="connsiteY971" fmla="*/ 192776 h 279938"/>
                <a:gd name="connsiteX972" fmla="*/ 50262 w 203591"/>
                <a:gd name="connsiteY972" fmla="*/ 192140 h 279938"/>
                <a:gd name="connsiteX973" fmla="*/ 49944 w 203591"/>
                <a:gd name="connsiteY973" fmla="*/ 191185 h 279938"/>
                <a:gd name="connsiteX974" fmla="*/ 50898 w 203591"/>
                <a:gd name="connsiteY974" fmla="*/ 190231 h 279938"/>
                <a:gd name="connsiteX975" fmla="*/ 51216 w 203591"/>
                <a:gd name="connsiteY975" fmla="*/ 189913 h 279938"/>
                <a:gd name="connsiteX976" fmla="*/ 51216 w 203591"/>
                <a:gd name="connsiteY976" fmla="*/ 188640 h 279938"/>
                <a:gd name="connsiteX977" fmla="*/ 50898 w 203591"/>
                <a:gd name="connsiteY977" fmla="*/ 188322 h 279938"/>
                <a:gd name="connsiteX978" fmla="*/ 51216 w 203591"/>
                <a:gd name="connsiteY978" fmla="*/ 188004 h 279938"/>
                <a:gd name="connsiteX979" fmla="*/ 52170 w 203591"/>
                <a:gd name="connsiteY979" fmla="*/ 186414 h 279938"/>
                <a:gd name="connsiteX980" fmla="*/ 51216 w 203591"/>
                <a:gd name="connsiteY980" fmla="*/ 184823 h 279938"/>
                <a:gd name="connsiteX981" fmla="*/ 51852 w 203591"/>
                <a:gd name="connsiteY981" fmla="*/ 183551 h 279938"/>
                <a:gd name="connsiteX982" fmla="*/ 51852 w 203591"/>
                <a:gd name="connsiteY982" fmla="*/ 182914 h 279938"/>
                <a:gd name="connsiteX983" fmla="*/ 52488 w 203591"/>
                <a:gd name="connsiteY983" fmla="*/ 181960 h 279938"/>
                <a:gd name="connsiteX984" fmla="*/ 52807 w 203591"/>
                <a:gd name="connsiteY984" fmla="*/ 180369 h 279938"/>
                <a:gd name="connsiteX985" fmla="*/ 52807 w 203591"/>
                <a:gd name="connsiteY985" fmla="*/ 179415 h 279938"/>
                <a:gd name="connsiteX986" fmla="*/ 52807 w 203591"/>
                <a:gd name="connsiteY986" fmla="*/ 179097 h 279938"/>
                <a:gd name="connsiteX987" fmla="*/ 52488 w 203591"/>
                <a:gd name="connsiteY987" fmla="*/ 179097 h 279938"/>
                <a:gd name="connsiteX988" fmla="*/ 52488 w 203591"/>
                <a:gd name="connsiteY988" fmla="*/ 178143 h 279938"/>
                <a:gd name="connsiteX989" fmla="*/ 52807 w 203591"/>
                <a:gd name="connsiteY989" fmla="*/ 177824 h 279938"/>
                <a:gd name="connsiteX990" fmla="*/ 54079 w 203591"/>
                <a:gd name="connsiteY990" fmla="*/ 176234 h 279938"/>
                <a:gd name="connsiteX991" fmla="*/ 53761 w 203591"/>
                <a:gd name="connsiteY991" fmla="*/ 175280 h 279938"/>
                <a:gd name="connsiteX992" fmla="*/ 54397 w 203591"/>
                <a:gd name="connsiteY992" fmla="*/ 174007 h 279938"/>
                <a:gd name="connsiteX993" fmla="*/ 54397 w 203591"/>
                <a:gd name="connsiteY993" fmla="*/ 173689 h 279938"/>
                <a:gd name="connsiteX994" fmla="*/ 53761 w 203591"/>
                <a:gd name="connsiteY994" fmla="*/ 172417 h 279938"/>
                <a:gd name="connsiteX995" fmla="*/ 53761 w 203591"/>
                <a:gd name="connsiteY995" fmla="*/ 171144 h 279938"/>
                <a:gd name="connsiteX996" fmla="*/ 54079 w 203591"/>
                <a:gd name="connsiteY996" fmla="*/ 170508 h 279938"/>
                <a:gd name="connsiteX997" fmla="*/ 54397 w 203591"/>
                <a:gd name="connsiteY997" fmla="*/ 170190 h 279938"/>
                <a:gd name="connsiteX998" fmla="*/ 54715 w 203591"/>
                <a:gd name="connsiteY998" fmla="*/ 170190 h 279938"/>
                <a:gd name="connsiteX999" fmla="*/ 55033 w 203591"/>
                <a:gd name="connsiteY999" fmla="*/ 169872 h 279938"/>
                <a:gd name="connsiteX1000" fmla="*/ 54715 w 203591"/>
                <a:gd name="connsiteY1000" fmla="*/ 169235 h 279938"/>
                <a:gd name="connsiteX1001" fmla="*/ 54397 w 203591"/>
                <a:gd name="connsiteY1001" fmla="*/ 168599 h 279938"/>
                <a:gd name="connsiteX1002" fmla="*/ 54397 w 203591"/>
                <a:gd name="connsiteY1002" fmla="*/ 168281 h 279938"/>
                <a:gd name="connsiteX1003" fmla="*/ 55033 w 203591"/>
                <a:gd name="connsiteY1003" fmla="*/ 167009 h 279938"/>
                <a:gd name="connsiteX1004" fmla="*/ 55033 w 203591"/>
                <a:gd name="connsiteY1004" fmla="*/ 166691 h 279938"/>
                <a:gd name="connsiteX1005" fmla="*/ 55352 w 203591"/>
                <a:gd name="connsiteY1005" fmla="*/ 166054 h 279938"/>
                <a:gd name="connsiteX1006" fmla="*/ 55033 w 203591"/>
                <a:gd name="connsiteY1006" fmla="*/ 165100 h 279938"/>
                <a:gd name="connsiteX1007" fmla="*/ 54397 w 203591"/>
                <a:gd name="connsiteY1007" fmla="*/ 164146 h 279938"/>
                <a:gd name="connsiteX1008" fmla="*/ 55033 w 203591"/>
                <a:gd name="connsiteY1008" fmla="*/ 163509 h 279938"/>
                <a:gd name="connsiteX1009" fmla="*/ 57260 w 203591"/>
                <a:gd name="connsiteY1009" fmla="*/ 161601 h 279938"/>
                <a:gd name="connsiteX1010" fmla="*/ 57260 w 203591"/>
                <a:gd name="connsiteY1010" fmla="*/ 160646 h 279938"/>
                <a:gd name="connsiteX1011" fmla="*/ 56942 w 203591"/>
                <a:gd name="connsiteY1011" fmla="*/ 159374 h 279938"/>
                <a:gd name="connsiteX1012" fmla="*/ 56942 w 203591"/>
                <a:gd name="connsiteY1012" fmla="*/ 158102 h 279938"/>
                <a:gd name="connsiteX1013" fmla="*/ 57578 w 203591"/>
                <a:gd name="connsiteY1013" fmla="*/ 155239 h 279938"/>
                <a:gd name="connsiteX1014" fmla="*/ 57260 w 203591"/>
                <a:gd name="connsiteY1014" fmla="*/ 154284 h 279938"/>
                <a:gd name="connsiteX1015" fmla="*/ 57578 w 203591"/>
                <a:gd name="connsiteY1015" fmla="*/ 153330 h 279938"/>
                <a:gd name="connsiteX1016" fmla="*/ 57896 w 203591"/>
                <a:gd name="connsiteY1016" fmla="*/ 152057 h 279938"/>
                <a:gd name="connsiteX1017" fmla="*/ 57896 w 203591"/>
                <a:gd name="connsiteY1017" fmla="*/ 149831 h 279938"/>
                <a:gd name="connsiteX1018" fmla="*/ 58533 w 203591"/>
                <a:gd name="connsiteY1018" fmla="*/ 149513 h 279938"/>
                <a:gd name="connsiteX1019" fmla="*/ 58533 w 203591"/>
                <a:gd name="connsiteY1019" fmla="*/ 147922 h 279938"/>
                <a:gd name="connsiteX1020" fmla="*/ 58851 w 203591"/>
                <a:gd name="connsiteY1020" fmla="*/ 146331 h 279938"/>
                <a:gd name="connsiteX1021" fmla="*/ 58215 w 203591"/>
                <a:gd name="connsiteY1021" fmla="*/ 146013 h 279938"/>
                <a:gd name="connsiteX1022" fmla="*/ 59169 w 203591"/>
                <a:gd name="connsiteY1022" fmla="*/ 144423 h 279938"/>
                <a:gd name="connsiteX1023" fmla="*/ 59487 w 203591"/>
                <a:gd name="connsiteY1023" fmla="*/ 143787 h 279938"/>
                <a:gd name="connsiteX1024" fmla="*/ 59169 w 203591"/>
                <a:gd name="connsiteY1024" fmla="*/ 142514 h 279938"/>
                <a:gd name="connsiteX1025" fmla="*/ 60123 w 203591"/>
                <a:gd name="connsiteY1025" fmla="*/ 141242 h 279938"/>
                <a:gd name="connsiteX1026" fmla="*/ 60441 w 203591"/>
                <a:gd name="connsiteY1026" fmla="*/ 140605 h 279938"/>
                <a:gd name="connsiteX1027" fmla="*/ 60123 w 203591"/>
                <a:gd name="connsiteY1027" fmla="*/ 139333 h 279938"/>
                <a:gd name="connsiteX1028" fmla="*/ 61396 w 203591"/>
                <a:gd name="connsiteY1028" fmla="*/ 137742 h 279938"/>
                <a:gd name="connsiteX1029" fmla="*/ 61077 w 203591"/>
                <a:gd name="connsiteY1029" fmla="*/ 137106 h 279938"/>
                <a:gd name="connsiteX1030" fmla="*/ 61396 w 203591"/>
                <a:gd name="connsiteY1030" fmla="*/ 135516 h 279938"/>
                <a:gd name="connsiteX1031" fmla="*/ 61714 w 203591"/>
                <a:gd name="connsiteY1031" fmla="*/ 134561 h 279938"/>
                <a:gd name="connsiteX1032" fmla="*/ 62668 w 203591"/>
                <a:gd name="connsiteY1032" fmla="*/ 133607 h 279938"/>
                <a:gd name="connsiteX1033" fmla="*/ 62668 w 203591"/>
                <a:gd name="connsiteY1033" fmla="*/ 131062 h 279938"/>
                <a:gd name="connsiteX1034" fmla="*/ 61714 w 203591"/>
                <a:gd name="connsiteY1034" fmla="*/ 130108 h 279938"/>
                <a:gd name="connsiteX1035" fmla="*/ 62350 w 203591"/>
                <a:gd name="connsiteY1035" fmla="*/ 128835 h 279938"/>
                <a:gd name="connsiteX1036" fmla="*/ 63622 w 203591"/>
                <a:gd name="connsiteY1036" fmla="*/ 126927 h 279938"/>
                <a:gd name="connsiteX1037" fmla="*/ 63622 w 203591"/>
                <a:gd name="connsiteY1037" fmla="*/ 125018 h 279938"/>
                <a:gd name="connsiteX1038" fmla="*/ 64259 w 203591"/>
                <a:gd name="connsiteY1038" fmla="*/ 124382 h 279938"/>
                <a:gd name="connsiteX1039" fmla="*/ 64259 w 203591"/>
                <a:gd name="connsiteY1039" fmla="*/ 123745 h 279938"/>
                <a:gd name="connsiteX1040" fmla="*/ 64577 w 203591"/>
                <a:gd name="connsiteY1040" fmla="*/ 123427 h 279938"/>
                <a:gd name="connsiteX1041" fmla="*/ 64577 w 203591"/>
                <a:gd name="connsiteY1041" fmla="*/ 123109 h 279938"/>
                <a:gd name="connsiteX1042" fmla="*/ 65213 w 203591"/>
                <a:gd name="connsiteY1042" fmla="*/ 121519 h 279938"/>
                <a:gd name="connsiteX1043" fmla="*/ 65213 w 203591"/>
                <a:gd name="connsiteY1043" fmla="*/ 118974 h 279938"/>
                <a:gd name="connsiteX1044" fmla="*/ 65531 w 203591"/>
                <a:gd name="connsiteY1044" fmla="*/ 118338 h 279938"/>
                <a:gd name="connsiteX1045" fmla="*/ 65531 w 203591"/>
                <a:gd name="connsiteY1045" fmla="*/ 116747 h 279938"/>
                <a:gd name="connsiteX1046" fmla="*/ 66485 w 203591"/>
                <a:gd name="connsiteY1046" fmla="*/ 114838 h 279938"/>
                <a:gd name="connsiteX1047" fmla="*/ 66167 w 203591"/>
                <a:gd name="connsiteY1047" fmla="*/ 114202 h 279938"/>
                <a:gd name="connsiteX1048" fmla="*/ 67122 w 203591"/>
                <a:gd name="connsiteY1048" fmla="*/ 112612 h 279938"/>
                <a:gd name="connsiteX1049" fmla="*/ 66803 w 203591"/>
                <a:gd name="connsiteY1049" fmla="*/ 111975 h 279938"/>
                <a:gd name="connsiteX1050" fmla="*/ 66803 w 203591"/>
                <a:gd name="connsiteY1050" fmla="*/ 111339 h 279938"/>
                <a:gd name="connsiteX1051" fmla="*/ 67440 w 203591"/>
                <a:gd name="connsiteY1051" fmla="*/ 109112 h 279938"/>
                <a:gd name="connsiteX1052" fmla="*/ 67758 w 203591"/>
                <a:gd name="connsiteY1052" fmla="*/ 108476 h 279938"/>
                <a:gd name="connsiteX1053" fmla="*/ 72848 w 203591"/>
                <a:gd name="connsiteY1053" fmla="*/ 87799 h 279938"/>
                <a:gd name="connsiteX1054" fmla="*/ 74120 w 203591"/>
                <a:gd name="connsiteY1054" fmla="*/ 86526 h 279938"/>
                <a:gd name="connsiteX1055" fmla="*/ 74120 w 203591"/>
                <a:gd name="connsiteY1055" fmla="*/ 86208 h 279938"/>
                <a:gd name="connsiteX1056" fmla="*/ 73484 w 203591"/>
                <a:gd name="connsiteY1056" fmla="*/ 84618 h 279938"/>
                <a:gd name="connsiteX1057" fmla="*/ 72848 w 203591"/>
                <a:gd name="connsiteY1057" fmla="*/ 83982 h 279938"/>
                <a:gd name="connsiteX1058" fmla="*/ 74120 w 203591"/>
                <a:gd name="connsiteY1058" fmla="*/ 83663 h 279938"/>
                <a:gd name="connsiteX1059" fmla="*/ 75393 w 203591"/>
                <a:gd name="connsiteY1059" fmla="*/ 82391 h 279938"/>
                <a:gd name="connsiteX1060" fmla="*/ 75074 w 203591"/>
                <a:gd name="connsiteY1060" fmla="*/ 81119 h 279938"/>
                <a:gd name="connsiteX1061" fmla="*/ 75711 w 203591"/>
                <a:gd name="connsiteY1061" fmla="*/ 80164 h 279938"/>
                <a:gd name="connsiteX1062" fmla="*/ 79846 w 203591"/>
                <a:gd name="connsiteY1062" fmla="*/ 66167 h 279938"/>
                <a:gd name="connsiteX1063" fmla="*/ 77937 w 203591"/>
                <a:gd name="connsiteY1063" fmla="*/ 66167 h 279938"/>
                <a:gd name="connsiteX1064" fmla="*/ 76665 w 203591"/>
                <a:gd name="connsiteY1064" fmla="*/ 66803 h 279938"/>
                <a:gd name="connsiteX1065" fmla="*/ 71257 w 203591"/>
                <a:gd name="connsiteY1065" fmla="*/ 68394 h 279938"/>
                <a:gd name="connsiteX1066" fmla="*/ 70621 w 203591"/>
                <a:gd name="connsiteY1066" fmla="*/ 68394 h 279938"/>
                <a:gd name="connsiteX1067" fmla="*/ 69030 w 203591"/>
                <a:gd name="connsiteY1067" fmla="*/ 67440 h 279938"/>
                <a:gd name="connsiteX1068" fmla="*/ 68076 w 203591"/>
                <a:gd name="connsiteY1068" fmla="*/ 67440 h 279938"/>
                <a:gd name="connsiteX1069" fmla="*/ 66485 w 203591"/>
                <a:gd name="connsiteY1069" fmla="*/ 67758 h 279938"/>
                <a:gd name="connsiteX1070" fmla="*/ 65531 w 203591"/>
                <a:gd name="connsiteY1070" fmla="*/ 68712 h 279938"/>
                <a:gd name="connsiteX1071" fmla="*/ 63941 w 203591"/>
                <a:gd name="connsiteY1071" fmla="*/ 68712 h 279938"/>
                <a:gd name="connsiteX1072" fmla="*/ 62668 w 203591"/>
                <a:gd name="connsiteY1072" fmla="*/ 69030 h 279938"/>
                <a:gd name="connsiteX1073" fmla="*/ 61714 w 203591"/>
                <a:gd name="connsiteY1073" fmla="*/ 69666 h 279938"/>
                <a:gd name="connsiteX1074" fmla="*/ 61077 w 203591"/>
                <a:gd name="connsiteY1074" fmla="*/ 69666 h 279938"/>
                <a:gd name="connsiteX1075" fmla="*/ 57578 w 203591"/>
                <a:gd name="connsiteY1075" fmla="*/ 70621 h 279938"/>
                <a:gd name="connsiteX1076" fmla="*/ 53443 w 203591"/>
                <a:gd name="connsiteY1076" fmla="*/ 71257 h 279938"/>
                <a:gd name="connsiteX1077" fmla="*/ 52488 w 203591"/>
                <a:gd name="connsiteY1077" fmla="*/ 71257 h 279938"/>
                <a:gd name="connsiteX1078" fmla="*/ 50898 w 203591"/>
                <a:gd name="connsiteY1078" fmla="*/ 71893 h 279938"/>
                <a:gd name="connsiteX1079" fmla="*/ 50262 w 203591"/>
                <a:gd name="connsiteY1079" fmla="*/ 72211 h 279938"/>
                <a:gd name="connsiteX1080" fmla="*/ 49944 w 203591"/>
                <a:gd name="connsiteY1080" fmla="*/ 71893 h 279938"/>
                <a:gd name="connsiteX1081" fmla="*/ 49944 w 203591"/>
                <a:gd name="connsiteY1081" fmla="*/ 71575 h 279938"/>
                <a:gd name="connsiteX1082" fmla="*/ 50262 w 203591"/>
                <a:gd name="connsiteY1082" fmla="*/ 71257 h 279938"/>
                <a:gd name="connsiteX1083" fmla="*/ 49944 w 203591"/>
                <a:gd name="connsiteY1083" fmla="*/ 71257 h 279938"/>
                <a:gd name="connsiteX1084" fmla="*/ 49944 w 203591"/>
                <a:gd name="connsiteY1084" fmla="*/ 70621 h 279938"/>
                <a:gd name="connsiteX1085" fmla="*/ 48989 w 203591"/>
                <a:gd name="connsiteY1085" fmla="*/ 70939 h 279938"/>
                <a:gd name="connsiteX1086" fmla="*/ 48989 w 203591"/>
                <a:gd name="connsiteY1086" fmla="*/ 71257 h 279938"/>
                <a:gd name="connsiteX1087" fmla="*/ 49626 w 203591"/>
                <a:gd name="connsiteY1087" fmla="*/ 71575 h 279938"/>
                <a:gd name="connsiteX1088" fmla="*/ 48353 w 203591"/>
                <a:gd name="connsiteY1088" fmla="*/ 72529 h 279938"/>
                <a:gd name="connsiteX1089" fmla="*/ 48035 w 203591"/>
                <a:gd name="connsiteY1089" fmla="*/ 72529 h 279938"/>
                <a:gd name="connsiteX1090" fmla="*/ 47717 w 203591"/>
                <a:gd name="connsiteY1090" fmla="*/ 72848 h 279938"/>
                <a:gd name="connsiteX1091" fmla="*/ 47399 w 203591"/>
                <a:gd name="connsiteY1091" fmla="*/ 72848 h 279938"/>
                <a:gd name="connsiteX1092" fmla="*/ 46762 w 203591"/>
                <a:gd name="connsiteY1092" fmla="*/ 72529 h 279938"/>
                <a:gd name="connsiteX1093" fmla="*/ 47081 w 203591"/>
                <a:gd name="connsiteY1093" fmla="*/ 72211 h 279938"/>
                <a:gd name="connsiteX1094" fmla="*/ 46762 w 203591"/>
                <a:gd name="connsiteY1094" fmla="*/ 72211 h 279938"/>
                <a:gd name="connsiteX1095" fmla="*/ 46126 w 203591"/>
                <a:gd name="connsiteY1095" fmla="*/ 71893 h 279938"/>
                <a:gd name="connsiteX1096" fmla="*/ 46126 w 203591"/>
                <a:gd name="connsiteY1096" fmla="*/ 72211 h 279938"/>
                <a:gd name="connsiteX1097" fmla="*/ 44854 w 203591"/>
                <a:gd name="connsiteY1097" fmla="*/ 73802 h 279938"/>
                <a:gd name="connsiteX1098" fmla="*/ 43900 w 203591"/>
                <a:gd name="connsiteY1098" fmla="*/ 74120 h 279938"/>
                <a:gd name="connsiteX1099" fmla="*/ 43263 w 203591"/>
                <a:gd name="connsiteY1099" fmla="*/ 73166 h 279938"/>
                <a:gd name="connsiteX1100" fmla="*/ 41355 w 203591"/>
                <a:gd name="connsiteY1100" fmla="*/ 74120 h 279938"/>
                <a:gd name="connsiteX1101" fmla="*/ 38492 w 203591"/>
                <a:gd name="connsiteY1101" fmla="*/ 74756 h 279938"/>
                <a:gd name="connsiteX1102" fmla="*/ 37219 w 203591"/>
                <a:gd name="connsiteY1102" fmla="*/ 74756 h 279938"/>
                <a:gd name="connsiteX1103" fmla="*/ 36583 w 203591"/>
                <a:gd name="connsiteY1103" fmla="*/ 75393 h 279938"/>
                <a:gd name="connsiteX1104" fmla="*/ 35947 w 203591"/>
                <a:gd name="connsiteY1104" fmla="*/ 75074 h 279938"/>
                <a:gd name="connsiteX1105" fmla="*/ 34356 w 203591"/>
                <a:gd name="connsiteY1105" fmla="*/ 75711 h 279938"/>
                <a:gd name="connsiteX1106" fmla="*/ 30539 w 203591"/>
                <a:gd name="connsiteY1106" fmla="*/ 76665 h 279938"/>
                <a:gd name="connsiteX1107" fmla="*/ 29903 w 203591"/>
                <a:gd name="connsiteY1107" fmla="*/ 76665 h 279938"/>
                <a:gd name="connsiteX1108" fmla="*/ 28312 w 203591"/>
                <a:gd name="connsiteY1108" fmla="*/ 77937 h 279938"/>
                <a:gd name="connsiteX1109" fmla="*/ 26403 w 203591"/>
                <a:gd name="connsiteY1109" fmla="*/ 77937 h 279938"/>
                <a:gd name="connsiteX1110" fmla="*/ 25449 w 203591"/>
                <a:gd name="connsiteY1110" fmla="*/ 77619 h 279938"/>
                <a:gd name="connsiteX1111" fmla="*/ 24495 w 203591"/>
                <a:gd name="connsiteY1111" fmla="*/ 77937 h 279938"/>
                <a:gd name="connsiteX1112" fmla="*/ 22268 w 203591"/>
                <a:gd name="connsiteY1112" fmla="*/ 79528 h 279938"/>
                <a:gd name="connsiteX1113" fmla="*/ 20995 w 203591"/>
                <a:gd name="connsiteY1113" fmla="*/ 79846 h 279938"/>
                <a:gd name="connsiteX1114" fmla="*/ 20359 w 203591"/>
                <a:gd name="connsiteY1114" fmla="*/ 79528 h 279938"/>
                <a:gd name="connsiteX1115" fmla="*/ 18451 w 203591"/>
                <a:gd name="connsiteY1115" fmla="*/ 79528 h 279938"/>
                <a:gd name="connsiteX1116" fmla="*/ 14951 w 203591"/>
                <a:gd name="connsiteY1116" fmla="*/ 81437 h 279938"/>
                <a:gd name="connsiteX1117" fmla="*/ 12406 w 203591"/>
                <a:gd name="connsiteY1117" fmla="*/ 81437 h 279938"/>
                <a:gd name="connsiteX1118" fmla="*/ 3181 w 203591"/>
                <a:gd name="connsiteY1118" fmla="*/ 84300 h 279938"/>
                <a:gd name="connsiteX1119" fmla="*/ 1591 w 203591"/>
                <a:gd name="connsiteY1119" fmla="*/ 85254 h 279938"/>
                <a:gd name="connsiteX1120" fmla="*/ 318 w 203591"/>
                <a:gd name="connsiteY1120" fmla="*/ 85890 h 279938"/>
                <a:gd name="connsiteX1121" fmla="*/ 0 w 203591"/>
                <a:gd name="connsiteY1121" fmla="*/ 84618 h 279938"/>
                <a:gd name="connsiteX1122" fmla="*/ 8907 w 203591"/>
                <a:gd name="connsiteY1122" fmla="*/ 70939 h 279938"/>
                <a:gd name="connsiteX1123" fmla="*/ 9862 w 203591"/>
                <a:gd name="connsiteY1123" fmla="*/ 70939 h 279938"/>
                <a:gd name="connsiteX1124" fmla="*/ 9862 w 203591"/>
                <a:gd name="connsiteY1124" fmla="*/ 71257 h 279938"/>
                <a:gd name="connsiteX1125" fmla="*/ 11134 w 203591"/>
                <a:gd name="connsiteY1125" fmla="*/ 71257 h 279938"/>
                <a:gd name="connsiteX1126" fmla="*/ 10498 w 203591"/>
                <a:gd name="connsiteY1126" fmla="*/ 72211 h 279938"/>
                <a:gd name="connsiteX1127" fmla="*/ 9862 w 203591"/>
                <a:gd name="connsiteY1127" fmla="*/ 73484 h 279938"/>
                <a:gd name="connsiteX1128" fmla="*/ 9862 w 203591"/>
                <a:gd name="connsiteY1128" fmla="*/ 75074 h 279938"/>
                <a:gd name="connsiteX1129" fmla="*/ 10498 w 203591"/>
                <a:gd name="connsiteY1129" fmla="*/ 75074 h 279938"/>
                <a:gd name="connsiteX1130" fmla="*/ 10498 w 203591"/>
                <a:gd name="connsiteY1130" fmla="*/ 74438 h 279938"/>
                <a:gd name="connsiteX1131" fmla="*/ 12406 w 203591"/>
                <a:gd name="connsiteY1131" fmla="*/ 73484 h 279938"/>
                <a:gd name="connsiteX1132" fmla="*/ 12724 w 203591"/>
                <a:gd name="connsiteY1132" fmla="*/ 73484 h 279938"/>
                <a:gd name="connsiteX1133" fmla="*/ 12724 w 203591"/>
                <a:gd name="connsiteY1133" fmla="*/ 73802 h 279938"/>
                <a:gd name="connsiteX1134" fmla="*/ 12406 w 203591"/>
                <a:gd name="connsiteY1134" fmla="*/ 74438 h 279938"/>
                <a:gd name="connsiteX1135" fmla="*/ 13361 w 203591"/>
                <a:gd name="connsiteY1135" fmla="*/ 74756 h 279938"/>
                <a:gd name="connsiteX1136" fmla="*/ 14315 w 203591"/>
                <a:gd name="connsiteY1136" fmla="*/ 74438 h 279938"/>
                <a:gd name="connsiteX1137" fmla="*/ 14951 w 203591"/>
                <a:gd name="connsiteY1137" fmla="*/ 74120 h 279938"/>
                <a:gd name="connsiteX1138" fmla="*/ 15588 w 203591"/>
                <a:gd name="connsiteY1138" fmla="*/ 74120 h 279938"/>
                <a:gd name="connsiteX1139" fmla="*/ 15906 w 203591"/>
                <a:gd name="connsiteY1139" fmla="*/ 74438 h 279938"/>
                <a:gd name="connsiteX1140" fmla="*/ 17496 w 203591"/>
                <a:gd name="connsiteY1140" fmla="*/ 73802 h 279938"/>
                <a:gd name="connsiteX1141" fmla="*/ 18132 w 203591"/>
                <a:gd name="connsiteY1141" fmla="*/ 73166 h 279938"/>
                <a:gd name="connsiteX1142" fmla="*/ 18132 w 203591"/>
                <a:gd name="connsiteY1142" fmla="*/ 72211 h 279938"/>
                <a:gd name="connsiteX1143" fmla="*/ 17496 w 203591"/>
                <a:gd name="connsiteY1143" fmla="*/ 71893 h 279938"/>
                <a:gd name="connsiteX1144" fmla="*/ 17814 w 203591"/>
                <a:gd name="connsiteY1144" fmla="*/ 70621 h 279938"/>
                <a:gd name="connsiteX1145" fmla="*/ 16860 w 203591"/>
                <a:gd name="connsiteY1145" fmla="*/ 70303 h 279938"/>
                <a:gd name="connsiteX1146" fmla="*/ 19405 w 203591"/>
                <a:gd name="connsiteY1146" fmla="*/ 68394 h 279938"/>
                <a:gd name="connsiteX1147" fmla="*/ 23858 w 203591"/>
                <a:gd name="connsiteY1147" fmla="*/ 67122 h 279938"/>
                <a:gd name="connsiteX1148" fmla="*/ 26085 w 203591"/>
                <a:gd name="connsiteY1148" fmla="*/ 66803 h 279938"/>
                <a:gd name="connsiteX1149" fmla="*/ 28948 w 203591"/>
                <a:gd name="connsiteY1149" fmla="*/ 66485 h 279938"/>
                <a:gd name="connsiteX1150" fmla="*/ 29903 w 203591"/>
                <a:gd name="connsiteY1150" fmla="*/ 66485 h 279938"/>
                <a:gd name="connsiteX1151" fmla="*/ 34356 w 203591"/>
                <a:gd name="connsiteY1151" fmla="*/ 64577 h 279938"/>
                <a:gd name="connsiteX1152" fmla="*/ 37219 w 203591"/>
                <a:gd name="connsiteY1152" fmla="*/ 64577 h 279938"/>
                <a:gd name="connsiteX1153" fmla="*/ 38492 w 203591"/>
                <a:gd name="connsiteY1153" fmla="*/ 64895 h 279938"/>
                <a:gd name="connsiteX1154" fmla="*/ 38492 w 203591"/>
                <a:gd name="connsiteY1154" fmla="*/ 65213 h 279938"/>
                <a:gd name="connsiteX1155" fmla="*/ 37537 w 203591"/>
                <a:gd name="connsiteY1155" fmla="*/ 66167 h 279938"/>
                <a:gd name="connsiteX1156" fmla="*/ 35311 w 203591"/>
                <a:gd name="connsiteY1156" fmla="*/ 67758 h 279938"/>
                <a:gd name="connsiteX1157" fmla="*/ 34674 w 203591"/>
                <a:gd name="connsiteY1157" fmla="*/ 68394 h 279938"/>
                <a:gd name="connsiteX1158" fmla="*/ 33720 w 203591"/>
                <a:gd name="connsiteY1158" fmla="*/ 69030 h 279938"/>
                <a:gd name="connsiteX1159" fmla="*/ 33720 w 203591"/>
                <a:gd name="connsiteY1159" fmla="*/ 69348 h 279938"/>
                <a:gd name="connsiteX1160" fmla="*/ 34992 w 203591"/>
                <a:gd name="connsiteY1160" fmla="*/ 69348 h 279938"/>
                <a:gd name="connsiteX1161" fmla="*/ 35947 w 203591"/>
                <a:gd name="connsiteY1161" fmla="*/ 68712 h 279938"/>
                <a:gd name="connsiteX1162" fmla="*/ 36583 w 203591"/>
                <a:gd name="connsiteY1162" fmla="*/ 67758 h 279938"/>
                <a:gd name="connsiteX1163" fmla="*/ 37219 w 203591"/>
                <a:gd name="connsiteY1163" fmla="*/ 67440 h 279938"/>
                <a:gd name="connsiteX1164" fmla="*/ 37537 w 203591"/>
                <a:gd name="connsiteY1164" fmla="*/ 67440 h 279938"/>
                <a:gd name="connsiteX1165" fmla="*/ 38173 w 203591"/>
                <a:gd name="connsiteY1165" fmla="*/ 68712 h 279938"/>
                <a:gd name="connsiteX1166" fmla="*/ 39128 w 203591"/>
                <a:gd name="connsiteY1166" fmla="*/ 69030 h 279938"/>
                <a:gd name="connsiteX1167" fmla="*/ 40718 w 203591"/>
                <a:gd name="connsiteY1167" fmla="*/ 69030 h 279938"/>
                <a:gd name="connsiteX1168" fmla="*/ 42309 w 203591"/>
                <a:gd name="connsiteY1168" fmla="*/ 68394 h 279938"/>
                <a:gd name="connsiteX1169" fmla="*/ 43263 w 203591"/>
                <a:gd name="connsiteY1169" fmla="*/ 68394 h 279938"/>
                <a:gd name="connsiteX1170" fmla="*/ 43263 w 203591"/>
                <a:gd name="connsiteY1170" fmla="*/ 68076 h 279938"/>
                <a:gd name="connsiteX1171" fmla="*/ 44218 w 203591"/>
                <a:gd name="connsiteY1171" fmla="*/ 66167 h 279938"/>
                <a:gd name="connsiteX1172" fmla="*/ 45172 w 203591"/>
                <a:gd name="connsiteY1172" fmla="*/ 65849 h 279938"/>
                <a:gd name="connsiteX1173" fmla="*/ 44854 w 203591"/>
                <a:gd name="connsiteY1173" fmla="*/ 66485 h 279938"/>
                <a:gd name="connsiteX1174" fmla="*/ 44218 w 203591"/>
                <a:gd name="connsiteY1174" fmla="*/ 68076 h 279938"/>
                <a:gd name="connsiteX1175" fmla="*/ 44218 w 203591"/>
                <a:gd name="connsiteY1175" fmla="*/ 68712 h 279938"/>
                <a:gd name="connsiteX1176" fmla="*/ 44854 w 203591"/>
                <a:gd name="connsiteY1176" fmla="*/ 68712 h 279938"/>
                <a:gd name="connsiteX1177" fmla="*/ 46444 w 203591"/>
                <a:gd name="connsiteY1177" fmla="*/ 67122 h 279938"/>
                <a:gd name="connsiteX1178" fmla="*/ 46126 w 203591"/>
                <a:gd name="connsiteY1178" fmla="*/ 66167 h 279938"/>
                <a:gd name="connsiteX1179" fmla="*/ 46126 w 203591"/>
                <a:gd name="connsiteY1179" fmla="*/ 65849 h 279938"/>
                <a:gd name="connsiteX1180" fmla="*/ 46444 w 203591"/>
                <a:gd name="connsiteY1180" fmla="*/ 65531 h 279938"/>
                <a:gd name="connsiteX1181" fmla="*/ 47717 w 203591"/>
                <a:gd name="connsiteY1181" fmla="*/ 63940 h 279938"/>
                <a:gd name="connsiteX1182" fmla="*/ 46126 w 203591"/>
                <a:gd name="connsiteY1182" fmla="*/ 63622 h 279938"/>
                <a:gd name="connsiteX1183" fmla="*/ 46126 w 203591"/>
                <a:gd name="connsiteY1183" fmla="*/ 63304 h 279938"/>
                <a:gd name="connsiteX1184" fmla="*/ 45808 w 203591"/>
                <a:gd name="connsiteY1184" fmla="*/ 63304 h 279938"/>
                <a:gd name="connsiteX1185" fmla="*/ 44854 w 203591"/>
                <a:gd name="connsiteY1185" fmla="*/ 63622 h 279938"/>
                <a:gd name="connsiteX1186" fmla="*/ 43263 w 203591"/>
                <a:gd name="connsiteY1186" fmla="*/ 65531 h 279938"/>
                <a:gd name="connsiteX1187" fmla="*/ 42945 w 203591"/>
                <a:gd name="connsiteY1187" fmla="*/ 64577 h 279938"/>
                <a:gd name="connsiteX1188" fmla="*/ 41355 w 203591"/>
                <a:gd name="connsiteY1188" fmla="*/ 64577 h 279938"/>
                <a:gd name="connsiteX1189" fmla="*/ 20359 w 203591"/>
                <a:gd name="connsiteY1189" fmla="*/ 69985 h 279938"/>
                <a:gd name="connsiteX1190" fmla="*/ 18132 w 203591"/>
                <a:gd name="connsiteY1190" fmla="*/ 72211 h 279938"/>
                <a:gd name="connsiteX1191" fmla="*/ 20359 w 203591"/>
                <a:gd name="connsiteY1191" fmla="*/ 70303 h 279938"/>
                <a:gd name="connsiteX1192" fmla="*/ 20359 w 203591"/>
                <a:gd name="connsiteY1192" fmla="*/ 69985 h 279938"/>
                <a:gd name="connsiteX1193" fmla="*/ 19405 w 203591"/>
                <a:gd name="connsiteY1193" fmla="*/ 75393 h 279938"/>
                <a:gd name="connsiteX1194" fmla="*/ 18451 w 203591"/>
                <a:gd name="connsiteY1194" fmla="*/ 75393 h 279938"/>
                <a:gd name="connsiteX1195" fmla="*/ 18451 w 203591"/>
                <a:gd name="connsiteY1195" fmla="*/ 76665 h 279938"/>
                <a:gd name="connsiteX1196" fmla="*/ 19087 w 203591"/>
                <a:gd name="connsiteY1196" fmla="*/ 76029 h 279938"/>
                <a:gd name="connsiteX1197" fmla="*/ 19405 w 203591"/>
                <a:gd name="connsiteY1197" fmla="*/ 75393 h 279938"/>
                <a:gd name="connsiteX1198" fmla="*/ 22586 w 203591"/>
                <a:gd name="connsiteY1198" fmla="*/ 74120 h 279938"/>
                <a:gd name="connsiteX1199" fmla="*/ 22904 w 203591"/>
                <a:gd name="connsiteY1199" fmla="*/ 74120 h 279938"/>
                <a:gd name="connsiteX1200" fmla="*/ 23222 w 203591"/>
                <a:gd name="connsiteY1200" fmla="*/ 73484 h 279938"/>
                <a:gd name="connsiteX1201" fmla="*/ 23858 w 203591"/>
                <a:gd name="connsiteY1201" fmla="*/ 72848 h 279938"/>
                <a:gd name="connsiteX1202" fmla="*/ 23858 w 203591"/>
                <a:gd name="connsiteY1202" fmla="*/ 72529 h 279938"/>
                <a:gd name="connsiteX1203" fmla="*/ 23540 w 203591"/>
                <a:gd name="connsiteY1203" fmla="*/ 72529 h 279938"/>
                <a:gd name="connsiteX1204" fmla="*/ 21632 w 203591"/>
                <a:gd name="connsiteY1204" fmla="*/ 73484 h 279938"/>
                <a:gd name="connsiteX1205" fmla="*/ 22586 w 203591"/>
                <a:gd name="connsiteY1205" fmla="*/ 74120 h 279938"/>
                <a:gd name="connsiteX1206" fmla="*/ 31811 w 203591"/>
                <a:gd name="connsiteY1206" fmla="*/ 67758 h 279938"/>
                <a:gd name="connsiteX1207" fmla="*/ 29903 w 203591"/>
                <a:gd name="connsiteY1207" fmla="*/ 69348 h 279938"/>
                <a:gd name="connsiteX1208" fmla="*/ 29903 w 203591"/>
                <a:gd name="connsiteY1208" fmla="*/ 69666 h 279938"/>
                <a:gd name="connsiteX1209" fmla="*/ 30539 w 203591"/>
                <a:gd name="connsiteY1209" fmla="*/ 69666 h 279938"/>
                <a:gd name="connsiteX1210" fmla="*/ 31493 w 203591"/>
                <a:gd name="connsiteY1210" fmla="*/ 69030 h 279938"/>
                <a:gd name="connsiteX1211" fmla="*/ 31811 w 203591"/>
                <a:gd name="connsiteY1211" fmla="*/ 68076 h 279938"/>
                <a:gd name="connsiteX1212" fmla="*/ 31811 w 203591"/>
                <a:gd name="connsiteY1212" fmla="*/ 67758 h 279938"/>
                <a:gd name="connsiteX1213" fmla="*/ 43263 w 203591"/>
                <a:gd name="connsiteY1213" fmla="*/ 66167 h 279938"/>
                <a:gd name="connsiteX1214" fmla="*/ 42945 w 203591"/>
                <a:gd name="connsiteY1214" fmla="*/ 66803 h 279938"/>
                <a:gd name="connsiteX1215" fmla="*/ 42627 w 203591"/>
                <a:gd name="connsiteY1215" fmla="*/ 67122 h 279938"/>
                <a:gd name="connsiteX1216" fmla="*/ 42309 w 203591"/>
                <a:gd name="connsiteY1216" fmla="*/ 66485 h 279938"/>
                <a:gd name="connsiteX1217" fmla="*/ 43263 w 203591"/>
                <a:gd name="connsiteY1217" fmla="*/ 65849 h 279938"/>
                <a:gd name="connsiteX1218" fmla="*/ 43263 w 203591"/>
                <a:gd name="connsiteY1218" fmla="*/ 66167 h 279938"/>
                <a:gd name="connsiteX1219" fmla="*/ 50898 w 203591"/>
                <a:gd name="connsiteY1219" fmla="*/ 266896 h 279938"/>
                <a:gd name="connsiteX1220" fmla="*/ 50580 w 203591"/>
                <a:gd name="connsiteY1220" fmla="*/ 266578 h 279938"/>
                <a:gd name="connsiteX1221" fmla="*/ 50898 w 203591"/>
                <a:gd name="connsiteY1221" fmla="*/ 266260 h 279938"/>
                <a:gd name="connsiteX1222" fmla="*/ 50898 w 203591"/>
                <a:gd name="connsiteY1222" fmla="*/ 266896 h 279938"/>
                <a:gd name="connsiteX1223" fmla="*/ 66803 w 203591"/>
                <a:gd name="connsiteY1223" fmla="*/ 229359 h 279938"/>
                <a:gd name="connsiteX1224" fmla="*/ 67758 w 203591"/>
                <a:gd name="connsiteY1224" fmla="*/ 228404 h 279938"/>
                <a:gd name="connsiteX1225" fmla="*/ 67440 w 203591"/>
                <a:gd name="connsiteY1225" fmla="*/ 227450 h 279938"/>
                <a:gd name="connsiteX1226" fmla="*/ 68076 w 203591"/>
                <a:gd name="connsiteY1226" fmla="*/ 226814 h 279938"/>
                <a:gd name="connsiteX1227" fmla="*/ 66803 w 203591"/>
                <a:gd name="connsiteY1227" fmla="*/ 225859 h 279938"/>
                <a:gd name="connsiteX1228" fmla="*/ 67122 w 203591"/>
                <a:gd name="connsiteY1228" fmla="*/ 228404 h 279938"/>
                <a:gd name="connsiteX1229" fmla="*/ 66485 w 203591"/>
                <a:gd name="connsiteY1229" fmla="*/ 229041 h 279938"/>
                <a:gd name="connsiteX1230" fmla="*/ 66167 w 203591"/>
                <a:gd name="connsiteY1230" fmla="*/ 229041 h 279938"/>
                <a:gd name="connsiteX1231" fmla="*/ 66485 w 203591"/>
                <a:gd name="connsiteY1231" fmla="*/ 229359 h 279938"/>
                <a:gd name="connsiteX1232" fmla="*/ 66803 w 203591"/>
                <a:gd name="connsiteY1232" fmla="*/ 229359 h 279938"/>
                <a:gd name="connsiteX1233" fmla="*/ 67122 w 203591"/>
                <a:gd name="connsiteY1233" fmla="*/ 237630 h 279938"/>
                <a:gd name="connsiteX1234" fmla="*/ 67122 w 203591"/>
                <a:gd name="connsiteY1234" fmla="*/ 239538 h 279938"/>
                <a:gd name="connsiteX1235" fmla="*/ 68076 w 203591"/>
                <a:gd name="connsiteY1235" fmla="*/ 239856 h 279938"/>
                <a:gd name="connsiteX1236" fmla="*/ 68712 w 203591"/>
                <a:gd name="connsiteY1236" fmla="*/ 239856 h 279938"/>
                <a:gd name="connsiteX1237" fmla="*/ 68394 w 203591"/>
                <a:gd name="connsiteY1237" fmla="*/ 239538 h 279938"/>
                <a:gd name="connsiteX1238" fmla="*/ 68394 w 203591"/>
                <a:gd name="connsiteY1238" fmla="*/ 237630 h 279938"/>
                <a:gd name="connsiteX1239" fmla="*/ 67122 w 203591"/>
                <a:gd name="connsiteY1239" fmla="*/ 237630 h 279938"/>
                <a:gd name="connsiteX1240" fmla="*/ 67122 w 203591"/>
                <a:gd name="connsiteY1240" fmla="*/ 248127 h 279938"/>
                <a:gd name="connsiteX1241" fmla="*/ 67440 w 203591"/>
                <a:gd name="connsiteY1241" fmla="*/ 249082 h 279938"/>
                <a:gd name="connsiteX1242" fmla="*/ 67758 w 203591"/>
                <a:gd name="connsiteY1242" fmla="*/ 249400 h 279938"/>
                <a:gd name="connsiteX1243" fmla="*/ 67758 w 203591"/>
                <a:gd name="connsiteY1243" fmla="*/ 249082 h 279938"/>
                <a:gd name="connsiteX1244" fmla="*/ 68394 w 203591"/>
                <a:gd name="connsiteY1244" fmla="*/ 247809 h 279938"/>
                <a:gd name="connsiteX1245" fmla="*/ 67440 w 203591"/>
                <a:gd name="connsiteY1245" fmla="*/ 247173 h 279938"/>
                <a:gd name="connsiteX1246" fmla="*/ 67122 w 203591"/>
                <a:gd name="connsiteY1246" fmla="*/ 247809 h 279938"/>
                <a:gd name="connsiteX1247" fmla="*/ 67122 w 203591"/>
                <a:gd name="connsiteY1247" fmla="*/ 248127 h 279938"/>
                <a:gd name="connsiteX1248" fmla="*/ 67440 w 203591"/>
                <a:gd name="connsiteY1248" fmla="*/ 210908 h 279938"/>
                <a:gd name="connsiteX1249" fmla="*/ 67758 w 203591"/>
                <a:gd name="connsiteY1249" fmla="*/ 210590 h 279938"/>
                <a:gd name="connsiteX1250" fmla="*/ 70303 w 203591"/>
                <a:gd name="connsiteY1250" fmla="*/ 209636 h 279938"/>
                <a:gd name="connsiteX1251" fmla="*/ 70621 w 203591"/>
                <a:gd name="connsiteY1251" fmla="*/ 210590 h 279938"/>
                <a:gd name="connsiteX1252" fmla="*/ 68394 w 203591"/>
                <a:gd name="connsiteY1252" fmla="*/ 211226 h 279938"/>
                <a:gd name="connsiteX1253" fmla="*/ 67440 w 203591"/>
                <a:gd name="connsiteY1253" fmla="*/ 210908 h 279938"/>
                <a:gd name="connsiteX1254" fmla="*/ 67758 w 203591"/>
                <a:gd name="connsiteY1254" fmla="*/ 231267 h 279938"/>
                <a:gd name="connsiteX1255" fmla="*/ 67440 w 203591"/>
                <a:gd name="connsiteY1255" fmla="*/ 231585 h 279938"/>
                <a:gd name="connsiteX1256" fmla="*/ 67758 w 203591"/>
                <a:gd name="connsiteY1256" fmla="*/ 231904 h 279938"/>
                <a:gd name="connsiteX1257" fmla="*/ 67758 w 203591"/>
                <a:gd name="connsiteY1257" fmla="*/ 231267 h 279938"/>
                <a:gd name="connsiteX1258" fmla="*/ 68394 w 203591"/>
                <a:gd name="connsiteY1258" fmla="*/ 212499 h 279938"/>
                <a:gd name="connsiteX1259" fmla="*/ 68712 w 203591"/>
                <a:gd name="connsiteY1259" fmla="*/ 212181 h 279938"/>
                <a:gd name="connsiteX1260" fmla="*/ 69030 w 203591"/>
                <a:gd name="connsiteY1260" fmla="*/ 212499 h 279938"/>
                <a:gd name="connsiteX1261" fmla="*/ 68394 w 203591"/>
                <a:gd name="connsiteY1261" fmla="*/ 212499 h 279938"/>
                <a:gd name="connsiteX1262" fmla="*/ 69030 w 203591"/>
                <a:gd name="connsiteY1262" fmla="*/ 198820 h 279938"/>
                <a:gd name="connsiteX1263" fmla="*/ 68712 w 203591"/>
                <a:gd name="connsiteY1263" fmla="*/ 198502 h 279938"/>
                <a:gd name="connsiteX1264" fmla="*/ 69349 w 203591"/>
                <a:gd name="connsiteY1264" fmla="*/ 198184 h 279938"/>
                <a:gd name="connsiteX1265" fmla="*/ 69985 w 203591"/>
                <a:gd name="connsiteY1265" fmla="*/ 198502 h 279938"/>
                <a:gd name="connsiteX1266" fmla="*/ 69349 w 203591"/>
                <a:gd name="connsiteY1266" fmla="*/ 198820 h 279938"/>
                <a:gd name="connsiteX1267" fmla="*/ 69030 w 203591"/>
                <a:gd name="connsiteY1267" fmla="*/ 198820 h 279938"/>
                <a:gd name="connsiteX1268" fmla="*/ 69030 w 203591"/>
                <a:gd name="connsiteY1268" fmla="*/ 208363 h 279938"/>
                <a:gd name="connsiteX1269" fmla="*/ 69030 w 203591"/>
                <a:gd name="connsiteY1269" fmla="*/ 207409 h 279938"/>
                <a:gd name="connsiteX1270" fmla="*/ 69985 w 203591"/>
                <a:gd name="connsiteY1270" fmla="*/ 206773 h 279938"/>
                <a:gd name="connsiteX1271" fmla="*/ 70621 w 203591"/>
                <a:gd name="connsiteY1271" fmla="*/ 207091 h 279938"/>
                <a:gd name="connsiteX1272" fmla="*/ 70303 w 203591"/>
                <a:gd name="connsiteY1272" fmla="*/ 207727 h 279938"/>
                <a:gd name="connsiteX1273" fmla="*/ 69667 w 203591"/>
                <a:gd name="connsiteY1273" fmla="*/ 208363 h 279938"/>
                <a:gd name="connsiteX1274" fmla="*/ 69030 w 203591"/>
                <a:gd name="connsiteY1274" fmla="*/ 208363 h 279938"/>
                <a:gd name="connsiteX1275" fmla="*/ 69985 w 203591"/>
                <a:gd name="connsiteY1275" fmla="*/ 213135 h 279938"/>
                <a:gd name="connsiteX1276" fmla="*/ 69985 w 203591"/>
                <a:gd name="connsiteY1276" fmla="*/ 213453 h 279938"/>
                <a:gd name="connsiteX1277" fmla="*/ 69349 w 203591"/>
                <a:gd name="connsiteY1277" fmla="*/ 213135 h 279938"/>
                <a:gd name="connsiteX1278" fmla="*/ 69349 w 203591"/>
                <a:gd name="connsiteY1278" fmla="*/ 212817 h 279938"/>
                <a:gd name="connsiteX1279" fmla="*/ 69030 w 203591"/>
                <a:gd name="connsiteY1279" fmla="*/ 212499 h 279938"/>
                <a:gd name="connsiteX1280" fmla="*/ 69667 w 203591"/>
                <a:gd name="connsiteY1280" fmla="*/ 212499 h 279938"/>
                <a:gd name="connsiteX1281" fmla="*/ 69985 w 203591"/>
                <a:gd name="connsiteY1281" fmla="*/ 213135 h 279938"/>
                <a:gd name="connsiteX1282" fmla="*/ 69349 w 203591"/>
                <a:gd name="connsiteY1282" fmla="*/ 204864 h 279938"/>
                <a:gd name="connsiteX1283" fmla="*/ 70303 w 203591"/>
                <a:gd name="connsiteY1283" fmla="*/ 204864 h 279938"/>
                <a:gd name="connsiteX1284" fmla="*/ 70621 w 203591"/>
                <a:gd name="connsiteY1284" fmla="*/ 205500 h 279938"/>
                <a:gd name="connsiteX1285" fmla="*/ 70303 w 203591"/>
                <a:gd name="connsiteY1285" fmla="*/ 206455 h 279938"/>
                <a:gd name="connsiteX1286" fmla="*/ 69349 w 203591"/>
                <a:gd name="connsiteY1286" fmla="*/ 205818 h 279938"/>
                <a:gd name="connsiteX1287" fmla="*/ 69349 w 203591"/>
                <a:gd name="connsiteY1287" fmla="*/ 204864 h 279938"/>
                <a:gd name="connsiteX1288" fmla="*/ 70303 w 203591"/>
                <a:gd name="connsiteY1288" fmla="*/ 201365 h 279938"/>
                <a:gd name="connsiteX1289" fmla="*/ 69667 w 203591"/>
                <a:gd name="connsiteY1289" fmla="*/ 201365 h 279938"/>
                <a:gd name="connsiteX1290" fmla="*/ 69985 w 203591"/>
                <a:gd name="connsiteY1290" fmla="*/ 201047 h 279938"/>
                <a:gd name="connsiteX1291" fmla="*/ 70303 w 203591"/>
                <a:gd name="connsiteY1291" fmla="*/ 201365 h 279938"/>
                <a:gd name="connsiteX1292" fmla="*/ 71257 w 203591"/>
                <a:gd name="connsiteY1292" fmla="*/ 189595 h 279938"/>
                <a:gd name="connsiteX1293" fmla="*/ 71893 w 203591"/>
                <a:gd name="connsiteY1293" fmla="*/ 190231 h 279938"/>
                <a:gd name="connsiteX1294" fmla="*/ 71257 w 203591"/>
                <a:gd name="connsiteY1294" fmla="*/ 190867 h 279938"/>
                <a:gd name="connsiteX1295" fmla="*/ 70621 w 203591"/>
                <a:gd name="connsiteY1295" fmla="*/ 190549 h 279938"/>
                <a:gd name="connsiteX1296" fmla="*/ 71257 w 203591"/>
                <a:gd name="connsiteY1296" fmla="*/ 189595 h 279938"/>
                <a:gd name="connsiteX1297" fmla="*/ 73802 w 203591"/>
                <a:gd name="connsiteY1297" fmla="*/ 154284 h 279938"/>
                <a:gd name="connsiteX1298" fmla="*/ 75074 w 203591"/>
                <a:gd name="connsiteY1298" fmla="*/ 153966 h 279938"/>
                <a:gd name="connsiteX1299" fmla="*/ 74120 w 203591"/>
                <a:gd name="connsiteY1299" fmla="*/ 153330 h 279938"/>
                <a:gd name="connsiteX1300" fmla="*/ 73802 w 203591"/>
                <a:gd name="connsiteY1300" fmla="*/ 153966 h 279938"/>
                <a:gd name="connsiteX1301" fmla="*/ 73802 w 203591"/>
                <a:gd name="connsiteY1301" fmla="*/ 154284 h 279938"/>
                <a:gd name="connsiteX1302" fmla="*/ 73802 w 203591"/>
                <a:gd name="connsiteY1302" fmla="*/ 172735 h 279938"/>
                <a:gd name="connsiteX1303" fmla="*/ 73802 w 203591"/>
                <a:gd name="connsiteY1303" fmla="*/ 170826 h 279938"/>
                <a:gd name="connsiteX1304" fmla="*/ 74438 w 203591"/>
                <a:gd name="connsiteY1304" fmla="*/ 170508 h 279938"/>
                <a:gd name="connsiteX1305" fmla="*/ 75074 w 203591"/>
                <a:gd name="connsiteY1305" fmla="*/ 170826 h 279938"/>
                <a:gd name="connsiteX1306" fmla="*/ 74120 w 203591"/>
                <a:gd name="connsiteY1306" fmla="*/ 172417 h 279938"/>
                <a:gd name="connsiteX1307" fmla="*/ 73802 w 203591"/>
                <a:gd name="connsiteY1307" fmla="*/ 172735 h 279938"/>
                <a:gd name="connsiteX1308" fmla="*/ 78256 w 203591"/>
                <a:gd name="connsiteY1308" fmla="*/ 149513 h 279938"/>
                <a:gd name="connsiteX1309" fmla="*/ 76665 w 203591"/>
                <a:gd name="connsiteY1309" fmla="*/ 148240 h 279938"/>
                <a:gd name="connsiteX1310" fmla="*/ 76665 w 203591"/>
                <a:gd name="connsiteY1310" fmla="*/ 147922 h 279938"/>
                <a:gd name="connsiteX1311" fmla="*/ 78256 w 203591"/>
                <a:gd name="connsiteY1311" fmla="*/ 147286 h 279938"/>
                <a:gd name="connsiteX1312" fmla="*/ 79528 w 203591"/>
                <a:gd name="connsiteY1312" fmla="*/ 147922 h 279938"/>
                <a:gd name="connsiteX1313" fmla="*/ 79528 w 203591"/>
                <a:gd name="connsiteY1313" fmla="*/ 148558 h 279938"/>
                <a:gd name="connsiteX1314" fmla="*/ 78574 w 203591"/>
                <a:gd name="connsiteY1314" fmla="*/ 149513 h 279938"/>
                <a:gd name="connsiteX1315" fmla="*/ 78256 w 203591"/>
                <a:gd name="connsiteY1315" fmla="*/ 149513 h 279938"/>
                <a:gd name="connsiteX1316" fmla="*/ 81755 w 203591"/>
                <a:gd name="connsiteY1316" fmla="*/ 55670 h 279938"/>
                <a:gd name="connsiteX1317" fmla="*/ 81119 w 203591"/>
                <a:gd name="connsiteY1317" fmla="*/ 55988 h 279938"/>
                <a:gd name="connsiteX1318" fmla="*/ 81755 w 203591"/>
                <a:gd name="connsiteY1318" fmla="*/ 55670 h 279938"/>
                <a:gd name="connsiteX1319" fmla="*/ 94161 w 203591"/>
                <a:gd name="connsiteY1319" fmla="*/ 268168 h 279938"/>
                <a:gd name="connsiteX1320" fmla="*/ 93843 w 203591"/>
                <a:gd name="connsiteY1320" fmla="*/ 267850 h 279938"/>
                <a:gd name="connsiteX1321" fmla="*/ 94161 w 203591"/>
                <a:gd name="connsiteY1321" fmla="*/ 267214 h 279938"/>
                <a:gd name="connsiteX1322" fmla="*/ 94161 w 203591"/>
                <a:gd name="connsiteY1322" fmla="*/ 268168 h 279938"/>
                <a:gd name="connsiteX1323" fmla="*/ 100523 w 203591"/>
                <a:gd name="connsiteY1323" fmla="*/ 246537 h 279938"/>
                <a:gd name="connsiteX1324" fmla="*/ 100205 w 203591"/>
                <a:gd name="connsiteY1324" fmla="*/ 246219 h 279938"/>
                <a:gd name="connsiteX1325" fmla="*/ 99251 w 203591"/>
                <a:gd name="connsiteY1325" fmla="*/ 247491 h 279938"/>
                <a:gd name="connsiteX1326" fmla="*/ 99569 w 203591"/>
                <a:gd name="connsiteY1326" fmla="*/ 247809 h 279938"/>
                <a:gd name="connsiteX1327" fmla="*/ 100523 w 203591"/>
                <a:gd name="connsiteY1327" fmla="*/ 246537 h 279938"/>
                <a:gd name="connsiteX1328" fmla="*/ 106886 w 203591"/>
                <a:gd name="connsiteY1328" fmla="*/ 231267 h 279938"/>
                <a:gd name="connsiteX1329" fmla="*/ 107840 w 203591"/>
                <a:gd name="connsiteY1329" fmla="*/ 230949 h 279938"/>
                <a:gd name="connsiteX1330" fmla="*/ 107522 w 203591"/>
                <a:gd name="connsiteY1330" fmla="*/ 230631 h 279938"/>
                <a:gd name="connsiteX1331" fmla="*/ 106886 w 203591"/>
                <a:gd name="connsiteY1331" fmla="*/ 229995 h 279938"/>
                <a:gd name="connsiteX1332" fmla="*/ 106249 w 203591"/>
                <a:gd name="connsiteY1332" fmla="*/ 230631 h 279938"/>
                <a:gd name="connsiteX1333" fmla="*/ 106886 w 203591"/>
                <a:gd name="connsiteY1333" fmla="*/ 231267 h 279938"/>
                <a:gd name="connsiteX1334" fmla="*/ 114520 w 203591"/>
                <a:gd name="connsiteY1334" fmla="*/ 228722 h 279938"/>
                <a:gd name="connsiteX1335" fmla="*/ 114202 w 203591"/>
                <a:gd name="connsiteY1335" fmla="*/ 229041 h 279938"/>
                <a:gd name="connsiteX1336" fmla="*/ 114202 w 203591"/>
                <a:gd name="connsiteY1336" fmla="*/ 229359 h 279938"/>
                <a:gd name="connsiteX1337" fmla="*/ 112930 w 203591"/>
                <a:gd name="connsiteY1337" fmla="*/ 229359 h 279938"/>
                <a:gd name="connsiteX1338" fmla="*/ 112930 w 203591"/>
                <a:gd name="connsiteY1338" fmla="*/ 229041 h 279938"/>
                <a:gd name="connsiteX1339" fmla="*/ 113566 w 203591"/>
                <a:gd name="connsiteY1339" fmla="*/ 228404 h 279938"/>
                <a:gd name="connsiteX1340" fmla="*/ 112930 w 203591"/>
                <a:gd name="connsiteY1340" fmla="*/ 227450 h 279938"/>
                <a:gd name="connsiteX1341" fmla="*/ 112930 w 203591"/>
                <a:gd name="connsiteY1341" fmla="*/ 227132 h 279938"/>
                <a:gd name="connsiteX1342" fmla="*/ 113248 w 203591"/>
                <a:gd name="connsiteY1342" fmla="*/ 226496 h 279938"/>
                <a:gd name="connsiteX1343" fmla="*/ 113884 w 203591"/>
                <a:gd name="connsiteY1343" fmla="*/ 225859 h 279938"/>
                <a:gd name="connsiteX1344" fmla="*/ 114520 w 203591"/>
                <a:gd name="connsiteY1344" fmla="*/ 226496 h 279938"/>
                <a:gd name="connsiteX1345" fmla="*/ 114520 w 203591"/>
                <a:gd name="connsiteY1345" fmla="*/ 228722 h 279938"/>
                <a:gd name="connsiteX1346" fmla="*/ 117701 w 203591"/>
                <a:gd name="connsiteY1346" fmla="*/ 55351 h 279938"/>
                <a:gd name="connsiteX1347" fmla="*/ 119292 w 203591"/>
                <a:gd name="connsiteY1347" fmla="*/ 54715 h 279938"/>
                <a:gd name="connsiteX1348" fmla="*/ 119610 w 203591"/>
                <a:gd name="connsiteY1348" fmla="*/ 53761 h 279938"/>
                <a:gd name="connsiteX1349" fmla="*/ 119292 w 203591"/>
                <a:gd name="connsiteY1349" fmla="*/ 53443 h 279938"/>
                <a:gd name="connsiteX1350" fmla="*/ 117383 w 203591"/>
                <a:gd name="connsiteY1350" fmla="*/ 54715 h 279938"/>
                <a:gd name="connsiteX1351" fmla="*/ 117065 w 203591"/>
                <a:gd name="connsiteY1351" fmla="*/ 55351 h 279938"/>
                <a:gd name="connsiteX1352" fmla="*/ 117065 w 203591"/>
                <a:gd name="connsiteY1352" fmla="*/ 55670 h 279938"/>
                <a:gd name="connsiteX1353" fmla="*/ 117701 w 203591"/>
                <a:gd name="connsiteY1353" fmla="*/ 55351 h 279938"/>
                <a:gd name="connsiteX1354" fmla="*/ 122791 w 203591"/>
                <a:gd name="connsiteY1354" fmla="*/ 198820 h 279938"/>
                <a:gd name="connsiteX1355" fmla="*/ 123109 w 203591"/>
                <a:gd name="connsiteY1355" fmla="*/ 199774 h 279938"/>
                <a:gd name="connsiteX1356" fmla="*/ 123428 w 203591"/>
                <a:gd name="connsiteY1356" fmla="*/ 200092 h 279938"/>
                <a:gd name="connsiteX1357" fmla="*/ 124382 w 203591"/>
                <a:gd name="connsiteY1357" fmla="*/ 198820 h 279938"/>
                <a:gd name="connsiteX1358" fmla="*/ 122791 w 203591"/>
                <a:gd name="connsiteY1358" fmla="*/ 198820 h 279938"/>
                <a:gd name="connsiteX1359" fmla="*/ 123746 w 203591"/>
                <a:gd name="connsiteY1359" fmla="*/ 51534 h 279938"/>
                <a:gd name="connsiteX1360" fmla="*/ 124064 w 203591"/>
                <a:gd name="connsiteY1360" fmla="*/ 50898 h 279938"/>
                <a:gd name="connsiteX1361" fmla="*/ 124064 w 203591"/>
                <a:gd name="connsiteY1361" fmla="*/ 50580 h 279938"/>
                <a:gd name="connsiteX1362" fmla="*/ 123746 w 203591"/>
                <a:gd name="connsiteY1362" fmla="*/ 50898 h 279938"/>
                <a:gd name="connsiteX1363" fmla="*/ 123746 w 203591"/>
                <a:gd name="connsiteY1363" fmla="*/ 51534 h 279938"/>
                <a:gd name="connsiteX1364" fmla="*/ 126290 w 203591"/>
                <a:gd name="connsiteY1364" fmla="*/ 175916 h 279938"/>
                <a:gd name="connsiteX1365" fmla="*/ 124700 w 203591"/>
                <a:gd name="connsiteY1365" fmla="*/ 175280 h 279938"/>
                <a:gd name="connsiteX1366" fmla="*/ 124700 w 203591"/>
                <a:gd name="connsiteY1366" fmla="*/ 175916 h 279938"/>
                <a:gd name="connsiteX1367" fmla="*/ 125654 w 203591"/>
                <a:gd name="connsiteY1367" fmla="*/ 176552 h 279938"/>
                <a:gd name="connsiteX1368" fmla="*/ 126290 w 203591"/>
                <a:gd name="connsiteY1368" fmla="*/ 175916 h 279938"/>
                <a:gd name="connsiteX1369" fmla="*/ 127563 w 203591"/>
                <a:gd name="connsiteY1369" fmla="*/ 173371 h 279938"/>
                <a:gd name="connsiteX1370" fmla="*/ 127563 w 203591"/>
                <a:gd name="connsiteY1370" fmla="*/ 171780 h 279938"/>
                <a:gd name="connsiteX1371" fmla="*/ 126609 w 203591"/>
                <a:gd name="connsiteY1371" fmla="*/ 171780 h 279938"/>
                <a:gd name="connsiteX1372" fmla="*/ 126609 w 203591"/>
                <a:gd name="connsiteY1372" fmla="*/ 172098 h 279938"/>
                <a:gd name="connsiteX1373" fmla="*/ 126290 w 203591"/>
                <a:gd name="connsiteY1373" fmla="*/ 173053 h 279938"/>
                <a:gd name="connsiteX1374" fmla="*/ 126609 w 203591"/>
                <a:gd name="connsiteY1374" fmla="*/ 173689 h 279938"/>
                <a:gd name="connsiteX1375" fmla="*/ 127563 w 203591"/>
                <a:gd name="connsiteY1375" fmla="*/ 173371 h 279938"/>
                <a:gd name="connsiteX1376" fmla="*/ 129472 w 203591"/>
                <a:gd name="connsiteY1376" fmla="*/ 55670 h 279938"/>
                <a:gd name="connsiteX1377" fmla="*/ 130744 w 203591"/>
                <a:gd name="connsiteY1377" fmla="*/ 55033 h 279938"/>
                <a:gd name="connsiteX1378" fmla="*/ 130108 w 203591"/>
                <a:gd name="connsiteY1378" fmla="*/ 55033 h 279938"/>
                <a:gd name="connsiteX1379" fmla="*/ 129472 w 203591"/>
                <a:gd name="connsiteY1379" fmla="*/ 54715 h 279938"/>
                <a:gd name="connsiteX1380" fmla="*/ 128517 w 203591"/>
                <a:gd name="connsiteY1380" fmla="*/ 55033 h 279938"/>
                <a:gd name="connsiteX1381" fmla="*/ 128199 w 203591"/>
                <a:gd name="connsiteY1381" fmla="*/ 55033 h 279938"/>
                <a:gd name="connsiteX1382" fmla="*/ 127881 w 203591"/>
                <a:gd name="connsiteY1382" fmla="*/ 55351 h 279938"/>
                <a:gd name="connsiteX1383" fmla="*/ 128517 w 203591"/>
                <a:gd name="connsiteY1383" fmla="*/ 55670 h 279938"/>
                <a:gd name="connsiteX1384" fmla="*/ 129472 w 203591"/>
                <a:gd name="connsiteY1384" fmla="*/ 55670 h 279938"/>
                <a:gd name="connsiteX1385" fmla="*/ 130426 w 203591"/>
                <a:gd name="connsiteY1385" fmla="*/ 189277 h 279938"/>
                <a:gd name="connsiteX1386" fmla="*/ 130426 w 203591"/>
                <a:gd name="connsiteY1386" fmla="*/ 189595 h 279938"/>
                <a:gd name="connsiteX1387" fmla="*/ 129472 w 203591"/>
                <a:gd name="connsiteY1387" fmla="*/ 190231 h 279938"/>
                <a:gd name="connsiteX1388" fmla="*/ 129472 w 203591"/>
                <a:gd name="connsiteY1388" fmla="*/ 189913 h 279938"/>
                <a:gd name="connsiteX1389" fmla="*/ 128835 w 203591"/>
                <a:gd name="connsiteY1389" fmla="*/ 189277 h 279938"/>
                <a:gd name="connsiteX1390" fmla="*/ 129790 w 203591"/>
                <a:gd name="connsiteY1390" fmla="*/ 188640 h 279938"/>
                <a:gd name="connsiteX1391" fmla="*/ 130744 w 203591"/>
                <a:gd name="connsiteY1391" fmla="*/ 188640 h 279938"/>
                <a:gd name="connsiteX1392" fmla="*/ 130426 w 203591"/>
                <a:gd name="connsiteY1392" fmla="*/ 189277 h 279938"/>
                <a:gd name="connsiteX1393" fmla="*/ 130426 w 203591"/>
                <a:gd name="connsiteY1393" fmla="*/ 191185 h 279938"/>
                <a:gd name="connsiteX1394" fmla="*/ 130744 w 203591"/>
                <a:gd name="connsiteY1394" fmla="*/ 191503 h 279938"/>
                <a:gd name="connsiteX1395" fmla="*/ 129790 w 203591"/>
                <a:gd name="connsiteY1395" fmla="*/ 192140 h 279938"/>
                <a:gd name="connsiteX1396" fmla="*/ 129790 w 203591"/>
                <a:gd name="connsiteY1396" fmla="*/ 191821 h 279938"/>
                <a:gd name="connsiteX1397" fmla="*/ 129472 w 203591"/>
                <a:gd name="connsiteY1397" fmla="*/ 191503 h 279938"/>
                <a:gd name="connsiteX1398" fmla="*/ 128835 w 203591"/>
                <a:gd name="connsiteY1398" fmla="*/ 191185 h 279938"/>
                <a:gd name="connsiteX1399" fmla="*/ 130426 w 203591"/>
                <a:gd name="connsiteY1399" fmla="*/ 191185 h 279938"/>
                <a:gd name="connsiteX1400" fmla="*/ 131062 w 203591"/>
                <a:gd name="connsiteY1400" fmla="*/ 53443 h 279938"/>
                <a:gd name="connsiteX1401" fmla="*/ 131698 w 203591"/>
                <a:gd name="connsiteY1401" fmla="*/ 52488 h 279938"/>
                <a:gd name="connsiteX1402" fmla="*/ 131698 w 203591"/>
                <a:gd name="connsiteY1402" fmla="*/ 52170 h 279938"/>
                <a:gd name="connsiteX1403" fmla="*/ 130108 w 203591"/>
                <a:gd name="connsiteY1403" fmla="*/ 52488 h 279938"/>
                <a:gd name="connsiteX1404" fmla="*/ 129790 w 203591"/>
                <a:gd name="connsiteY1404" fmla="*/ 54397 h 279938"/>
                <a:gd name="connsiteX1405" fmla="*/ 131062 w 203591"/>
                <a:gd name="connsiteY1405" fmla="*/ 53443 h 279938"/>
                <a:gd name="connsiteX1406" fmla="*/ 132335 w 203591"/>
                <a:gd name="connsiteY1406" fmla="*/ 183551 h 279938"/>
                <a:gd name="connsiteX1407" fmla="*/ 132016 w 203591"/>
                <a:gd name="connsiteY1407" fmla="*/ 183232 h 279938"/>
                <a:gd name="connsiteX1408" fmla="*/ 132335 w 203591"/>
                <a:gd name="connsiteY1408" fmla="*/ 182914 h 279938"/>
                <a:gd name="connsiteX1409" fmla="*/ 132653 w 203591"/>
                <a:gd name="connsiteY1409" fmla="*/ 182914 h 279938"/>
                <a:gd name="connsiteX1410" fmla="*/ 132971 w 203591"/>
                <a:gd name="connsiteY1410" fmla="*/ 183232 h 279938"/>
                <a:gd name="connsiteX1411" fmla="*/ 133607 w 203591"/>
                <a:gd name="connsiteY1411" fmla="*/ 183551 h 279938"/>
                <a:gd name="connsiteX1412" fmla="*/ 132653 w 203591"/>
                <a:gd name="connsiteY1412" fmla="*/ 184187 h 279938"/>
                <a:gd name="connsiteX1413" fmla="*/ 132335 w 203591"/>
                <a:gd name="connsiteY1413" fmla="*/ 183551 h 279938"/>
                <a:gd name="connsiteX1414" fmla="*/ 135834 w 203591"/>
                <a:gd name="connsiteY1414" fmla="*/ 57896 h 279938"/>
                <a:gd name="connsiteX1415" fmla="*/ 135516 w 203591"/>
                <a:gd name="connsiteY1415" fmla="*/ 57578 h 279938"/>
                <a:gd name="connsiteX1416" fmla="*/ 134879 w 203591"/>
                <a:gd name="connsiteY1416" fmla="*/ 57896 h 279938"/>
                <a:gd name="connsiteX1417" fmla="*/ 135834 w 203591"/>
                <a:gd name="connsiteY1417" fmla="*/ 57896 h 279938"/>
                <a:gd name="connsiteX1418" fmla="*/ 137106 w 203591"/>
                <a:gd name="connsiteY1418" fmla="*/ 51852 h 279938"/>
                <a:gd name="connsiteX1419" fmla="*/ 137106 w 203591"/>
                <a:gd name="connsiteY1419" fmla="*/ 51534 h 279938"/>
                <a:gd name="connsiteX1420" fmla="*/ 136788 w 203591"/>
                <a:gd name="connsiteY1420" fmla="*/ 51534 h 279938"/>
                <a:gd name="connsiteX1421" fmla="*/ 136470 w 203591"/>
                <a:gd name="connsiteY1421" fmla="*/ 52170 h 279938"/>
                <a:gd name="connsiteX1422" fmla="*/ 137106 w 203591"/>
                <a:gd name="connsiteY1422" fmla="*/ 51852 h 279938"/>
                <a:gd name="connsiteX1423" fmla="*/ 137424 w 203591"/>
                <a:gd name="connsiteY1423" fmla="*/ 171780 h 279938"/>
                <a:gd name="connsiteX1424" fmla="*/ 137106 w 203591"/>
                <a:gd name="connsiteY1424" fmla="*/ 170826 h 279938"/>
                <a:gd name="connsiteX1425" fmla="*/ 137106 w 203591"/>
                <a:gd name="connsiteY1425" fmla="*/ 170190 h 279938"/>
                <a:gd name="connsiteX1426" fmla="*/ 136788 w 203591"/>
                <a:gd name="connsiteY1426" fmla="*/ 170190 h 279938"/>
                <a:gd name="connsiteX1427" fmla="*/ 137106 w 203591"/>
                <a:gd name="connsiteY1427" fmla="*/ 169554 h 279938"/>
                <a:gd name="connsiteX1428" fmla="*/ 137424 w 203591"/>
                <a:gd name="connsiteY1428" fmla="*/ 169235 h 279938"/>
                <a:gd name="connsiteX1429" fmla="*/ 139015 w 203591"/>
                <a:gd name="connsiteY1429" fmla="*/ 169872 h 279938"/>
                <a:gd name="connsiteX1430" fmla="*/ 139333 w 203591"/>
                <a:gd name="connsiteY1430" fmla="*/ 170190 h 279938"/>
                <a:gd name="connsiteX1431" fmla="*/ 139015 w 203591"/>
                <a:gd name="connsiteY1431" fmla="*/ 170826 h 279938"/>
                <a:gd name="connsiteX1432" fmla="*/ 137743 w 203591"/>
                <a:gd name="connsiteY1432" fmla="*/ 171780 h 279938"/>
                <a:gd name="connsiteX1433" fmla="*/ 137424 w 203591"/>
                <a:gd name="connsiteY1433" fmla="*/ 171780 h 279938"/>
                <a:gd name="connsiteX1434" fmla="*/ 139333 w 203591"/>
                <a:gd name="connsiteY1434" fmla="*/ 167645 h 279938"/>
                <a:gd name="connsiteX1435" fmla="*/ 139969 w 203591"/>
                <a:gd name="connsiteY1435" fmla="*/ 167645 h 279938"/>
                <a:gd name="connsiteX1436" fmla="*/ 140605 w 203591"/>
                <a:gd name="connsiteY1436" fmla="*/ 168917 h 279938"/>
                <a:gd name="connsiteX1437" fmla="*/ 140287 w 203591"/>
                <a:gd name="connsiteY1437" fmla="*/ 169235 h 279938"/>
                <a:gd name="connsiteX1438" fmla="*/ 139333 w 203591"/>
                <a:gd name="connsiteY1438" fmla="*/ 168917 h 279938"/>
                <a:gd name="connsiteX1439" fmla="*/ 139333 w 203591"/>
                <a:gd name="connsiteY1439" fmla="*/ 167645 h 279938"/>
                <a:gd name="connsiteX1440" fmla="*/ 145059 w 203591"/>
                <a:gd name="connsiteY1440" fmla="*/ 55033 h 279938"/>
                <a:gd name="connsiteX1441" fmla="*/ 146331 w 203591"/>
                <a:gd name="connsiteY1441" fmla="*/ 54715 h 279938"/>
                <a:gd name="connsiteX1442" fmla="*/ 146331 w 203591"/>
                <a:gd name="connsiteY1442" fmla="*/ 54397 h 279938"/>
                <a:gd name="connsiteX1443" fmla="*/ 146331 w 203591"/>
                <a:gd name="connsiteY1443" fmla="*/ 54079 h 279938"/>
                <a:gd name="connsiteX1444" fmla="*/ 145377 w 203591"/>
                <a:gd name="connsiteY1444" fmla="*/ 54079 h 279938"/>
                <a:gd name="connsiteX1445" fmla="*/ 145059 w 203591"/>
                <a:gd name="connsiteY1445" fmla="*/ 54715 h 279938"/>
                <a:gd name="connsiteX1446" fmla="*/ 145059 w 203591"/>
                <a:gd name="connsiteY1446" fmla="*/ 55033 h 279938"/>
                <a:gd name="connsiteX1447" fmla="*/ 150785 w 203591"/>
                <a:gd name="connsiteY1447" fmla="*/ 52488 h 279938"/>
                <a:gd name="connsiteX1448" fmla="*/ 151421 w 203591"/>
                <a:gd name="connsiteY1448" fmla="*/ 51534 h 279938"/>
                <a:gd name="connsiteX1449" fmla="*/ 151421 w 203591"/>
                <a:gd name="connsiteY1449" fmla="*/ 50898 h 279938"/>
                <a:gd name="connsiteX1450" fmla="*/ 151421 w 203591"/>
                <a:gd name="connsiteY1450" fmla="*/ 50580 h 279938"/>
                <a:gd name="connsiteX1451" fmla="*/ 151103 w 203591"/>
                <a:gd name="connsiteY1451" fmla="*/ 50580 h 279938"/>
                <a:gd name="connsiteX1452" fmla="*/ 150149 w 203591"/>
                <a:gd name="connsiteY1452" fmla="*/ 51216 h 279938"/>
                <a:gd name="connsiteX1453" fmla="*/ 150785 w 203591"/>
                <a:gd name="connsiteY1453" fmla="*/ 52170 h 279938"/>
                <a:gd name="connsiteX1454" fmla="*/ 150785 w 203591"/>
                <a:gd name="connsiteY1454" fmla="*/ 52488 h 279938"/>
                <a:gd name="connsiteX1455" fmla="*/ 160646 w 203591"/>
                <a:gd name="connsiteY1455" fmla="*/ 54397 h 279938"/>
                <a:gd name="connsiteX1456" fmla="*/ 162237 w 203591"/>
                <a:gd name="connsiteY1456" fmla="*/ 53125 h 279938"/>
                <a:gd name="connsiteX1457" fmla="*/ 160010 w 203591"/>
                <a:gd name="connsiteY1457" fmla="*/ 54397 h 279938"/>
                <a:gd name="connsiteX1458" fmla="*/ 160646 w 203591"/>
                <a:gd name="connsiteY1458" fmla="*/ 54397 h 279938"/>
                <a:gd name="connsiteX1459" fmla="*/ 188640 w 203591"/>
                <a:gd name="connsiteY1459" fmla="*/ 61077 h 279938"/>
                <a:gd name="connsiteX1460" fmla="*/ 188640 w 203591"/>
                <a:gd name="connsiteY1460" fmla="*/ 60759 h 279938"/>
                <a:gd name="connsiteX1461" fmla="*/ 188004 w 203591"/>
                <a:gd name="connsiteY1461" fmla="*/ 61077 h 279938"/>
                <a:gd name="connsiteX1462" fmla="*/ 188640 w 203591"/>
                <a:gd name="connsiteY1462" fmla="*/ 61077 h 279938"/>
                <a:gd name="connsiteX1463" fmla="*/ 193412 w 203591"/>
                <a:gd name="connsiteY1463" fmla="*/ 46762 h 279938"/>
                <a:gd name="connsiteX1464" fmla="*/ 193730 w 203591"/>
                <a:gd name="connsiteY1464" fmla="*/ 45808 h 279938"/>
                <a:gd name="connsiteX1465" fmla="*/ 193094 w 203591"/>
                <a:gd name="connsiteY1465" fmla="*/ 46444 h 279938"/>
                <a:gd name="connsiteX1466" fmla="*/ 193412 w 203591"/>
                <a:gd name="connsiteY1466" fmla="*/ 47081 h 279938"/>
                <a:gd name="connsiteX1467" fmla="*/ 193412 w 203591"/>
                <a:gd name="connsiteY1467" fmla="*/ 46762 h 279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</a:cxnLst>
              <a:rect l="l" t="t" r="r" b="b"/>
              <a:pathLst>
                <a:path w="203591" h="279938">
                  <a:moveTo>
                    <a:pt x="41355" y="64577"/>
                  </a:moveTo>
                  <a:cubicBezTo>
                    <a:pt x="41036" y="64577"/>
                    <a:pt x="41036" y="64577"/>
                    <a:pt x="41036" y="64259"/>
                  </a:cubicBezTo>
                  <a:lnTo>
                    <a:pt x="41036" y="63940"/>
                  </a:lnTo>
                  <a:cubicBezTo>
                    <a:pt x="42309" y="63622"/>
                    <a:pt x="42627" y="63304"/>
                    <a:pt x="42945" y="62668"/>
                  </a:cubicBezTo>
                  <a:lnTo>
                    <a:pt x="43581" y="62668"/>
                  </a:lnTo>
                  <a:cubicBezTo>
                    <a:pt x="43900" y="62668"/>
                    <a:pt x="44854" y="62350"/>
                    <a:pt x="45808" y="62350"/>
                  </a:cubicBezTo>
                  <a:cubicBezTo>
                    <a:pt x="46126" y="62032"/>
                    <a:pt x="46762" y="62350"/>
                    <a:pt x="47081" y="61714"/>
                  </a:cubicBezTo>
                  <a:cubicBezTo>
                    <a:pt x="47399" y="61714"/>
                    <a:pt x="48671" y="61077"/>
                    <a:pt x="48671" y="61077"/>
                  </a:cubicBezTo>
                  <a:cubicBezTo>
                    <a:pt x="49307" y="60441"/>
                    <a:pt x="49626" y="60123"/>
                    <a:pt x="50580" y="60123"/>
                  </a:cubicBezTo>
                  <a:lnTo>
                    <a:pt x="51852" y="60123"/>
                  </a:lnTo>
                  <a:lnTo>
                    <a:pt x="56306" y="59169"/>
                  </a:lnTo>
                  <a:lnTo>
                    <a:pt x="57260" y="59169"/>
                  </a:lnTo>
                  <a:lnTo>
                    <a:pt x="57896" y="59805"/>
                  </a:lnTo>
                  <a:cubicBezTo>
                    <a:pt x="57578" y="60441"/>
                    <a:pt x="57260" y="61077"/>
                    <a:pt x="56306" y="61714"/>
                  </a:cubicBezTo>
                  <a:cubicBezTo>
                    <a:pt x="55988" y="61714"/>
                    <a:pt x="55988" y="61714"/>
                    <a:pt x="55352" y="62032"/>
                  </a:cubicBezTo>
                  <a:cubicBezTo>
                    <a:pt x="55352" y="62032"/>
                    <a:pt x="55033" y="62032"/>
                    <a:pt x="55033" y="62350"/>
                  </a:cubicBezTo>
                  <a:lnTo>
                    <a:pt x="55033" y="62668"/>
                  </a:lnTo>
                  <a:cubicBezTo>
                    <a:pt x="55033" y="62986"/>
                    <a:pt x="55352" y="63304"/>
                    <a:pt x="55670" y="63304"/>
                  </a:cubicBezTo>
                  <a:cubicBezTo>
                    <a:pt x="55670" y="63304"/>
                    <a:pt x="55988" y="63622"/>
                    <a:pt x="56306" y="63622"/>
                  </a:cubicBezTo>
                  <a:lnTo>
                    <a:pt x="56942" y="63622"/>
                  </a:lnTo>
                  <a:cubicBezTo>
                    <a:pt x="57578" y="63622"/>
                    <a:pt x="57260" y="64259"/>
                    <a:pt x="57578" y="64259"/>
                  </a:cubicBezTo>
                  <a:lnTo>
                    <a:pt x="58215" y="64259"/>
                  </a:lnTo>
                  <a:cubicBezTo>
                    <a:pt x="59487" y="63622"/>
                    <a:pt x="59487" y="63304"/>
                    <a:pt x="59487" y="62668"/>
                  </a:cubicBezTo>
                  <a:cubicBezTo>
                    <a:pt x="60123" y="62032"/>
                    <a:pt x="60441" y="61714"/>
                    <a:pt x="61714" y="61077"/>
                  </a:cubicBezTo>
                  <a:lnTo>
                    <a:pt x="62350" y="59169"/>
                  </a:lnTo>
                  <a:cubicBezTo>
                    <a:pt x="63304" y="58533"/>
                    <a:pt x="63304" y="58214"/>
                    <a:pt x="64259" y="57896"/>
                  </a:cubicBezTo>
                  <a:lnTo>
                    <a:pt x="64895" y="57896"/>
                  </a:lnTo>
                  <a:cubicBezTo>
                    <a:pt x="65531" y="57896"/>
                    <a:pt x="65849" y="57896"/>
                    <a:pt x="66485" y="57578"/>
                  </a:cubicBezTo>
                  <a:cubicBezTo>
                    <a:pt x="67122" y="56942"/>
                    <a:pt x="67758" y="56942"/>
                    <a:pt x="68076" y="56942"/>
                  </a:cubicBezTo>
                  <a:cubicBezTo>
                    <a:pt x="68394" y="56942"/>
                    <a:pt x="68712" y="56942"/>
                    <a:pt x="69030" y="57578"/>
                  </a:cubicBezTo>
                  <a:cubicBezTo>
                    <a:pt x="69349" y="57578"/>
                    <a:pt x="69349" y="57896"/>
                    <a:pt x="69349" y="58214"/>
                  </a:cubicBezTo>
                  <a:cubicBezTo>
                    <a:pt x="69667" y="58214"/>
                    <a:pt x="70303" y="57896"/>
                    <a:pt x="70621" y="57896"/>
                  </a:cubicBezTo>
                  <a:lnTo>
                    <a:pt x="70939" y="57896"/>
                  </a:lnTo>
                  <a:cubicBezTo>
                    <a:pt x="70939" y="57578"/>
                    <a:pt x="70939" y="57578"/>
                    <a:pt x="71257" y="57578"/>
                  </a:cubicBezTo>
                  <a:cubicBezTo>
                    <a:pt x="72530" y="55988"/>
                    <a:pt x="73802" y="55351"/>
                    <a:pt x="74438" y="55351"/>
                  </a:cubicBezTo>
                  <a:lnTo>
                    <a:pt x="77619" y="55351"/>
                  </a:lnTo>
                  <a:cubicBezTo>
                    <a:pt x="77937" y="55351"/>
                    <a:pt x="77937" y="55351"/>
                    <a:pt x="77937" y="55670"/>
                  </a:cubicBezTo>
                  <a:lnTo>
                    <a:pt x="77937" y="55988"/>
                  </a:lnTo>
                  <a:lnTo>
                    <a:pt x="76983" y="57260"/>
                  </a:lnTo>
                  <a:lnTo>
                    <a:pt x="76983" y="57578"/>
                  </a:lnTo>
                  <a:lnTo>
                    <a:pt x="77937" y="57578"/>
                  </a:lnTo>
                  <a:cubicBezTo>
                    <a:pt x="78256" y="57578"/>
                    <a:pt x="78892" y="57578"/>
                    <a:pt x="79846" y="56942"/>
                  </a:cubicBezTo>
                  <a:cubicBezTo>
                    <a:pt x="79846" y="56306"/>
                    <a:pt x="80482" y="56306"/>
                    <a:pt x="81119" y="55988"/>
                  </a:cubicBezTo>
                  <a:cubicBezTo>
                    <a:pt x="80800" y="56306"/>
                    <a:pt x="80482" y="57260"/>
                    <a:pt x="80164" y="57260"/>
                  </a:cubicBezTo>
                  <a:cubicBezTo>
                    <a:pt x="79846" y="58533"/>
                    <a:pt x="79846" y="58533"/>
                    <a:pt x="78256" y="58533"/>
                  </a:cubicBezTo>
                  <a:lnTo>
                    <a:pt x="77619" y="58533"/>
                  </a:lnTo>
                  <a:cubicBezTo>
                    <a:pt x="77301" y="58851"/>
                    <a:pt x="76983" y="58851"/>
                    <a:pt x="76983" y="59169"/>
                  </a:cubicBezTo>
                  <a:lnTo>
                    <a:pt x="76983" y="59805"/>
                  </a:lnTo>
                  <a:cubicBezTo>
                    <a:pt x="78256" y="59169"/>
                    <a:pt x="79210" y="59169"/>
                    <a:pt x="80164" y="59169"/>
                  </a:cubicBezTo>
                  <a:lnTo>
                    <a:pt x="80800" y="59169"/>
                  </a:lnTo>
                  <a:cubicBezTo>
                    <a:pt x="81119" y="59169"/>
                    <a:pt x="81755" y="58533"/>
                    <a:pt x="82391" y="58533"/>
                  </a:cubicBezTo>
                  <a:cubicBezTo>
                    <a:pt x="82391" y="58533"/>
                    <a:pt x="82709" y="58214"/>
                    <a:pt x="83027" y="58214"/>
                  </a:cubicBezTo>
                  <a:cubicBezTo>
                    <a:pt x="82709" y="57896"/>
                    <a:pt x="82391" y="57896"/>
                    <a:pt x="82391" y="57896"/>
                  </a:cubicBezTo>
                  <a:lnTo>
                    <a:pt x="82073" y="57578"/>
                  </a:lnTo>
                  <a:cubicBezTo>
                    <a:pt x="82073" y="57260"/>
                    <a:pt x="82073" y="57260"/>
                    <a:pt x="81755" y="56942"/>
                  </a:cubicBezTo>
                  <a:cubicBezTo>
                    <a:pt x="81755" y="56942"/>
                    <a:pt x="82073" y="56306"/>
                    <a:pt x="82391" y="55988"/>
                  </a:cubicBezTo>
                  <a:cubicBezTo>
                    <a:pt x="83027" y="55988"/>
                    <a:pt x="83345" y="55670"/>
                    <a:pt x="83345" y="55351"/>
                  </a:cubicBezTo>
                  <a:cubicBezTo>
                    <a:pt x="83345" y="55033"/>
                    <a:pt x="83664" y="54397"/>
                    <a:pt x="83982" y="54079"/>
                  </a:cubicBezTo>
                  <a:cubicBezTo>
                    <a:pt x="84618" y="53125"/>
                    <a:pt x="87481" y="41673"/>
                    <a:pt x="87481" y="41355"/>
                  </a:cubicBezTo>
                  <a:cubicBezTo>
                    <a:pt x="87481" y="40718"/>
                    <a:pt x="87481" y="36265"/>
                    <a:pt x="87799" y="35947"/>
                  </a:cubicBezTo>
                  <a:cubicBezTo>
                    <a:pt x="89071" y="35629"/>
                    <a:pt x="89708" y="35629"/>
                    <a:pt x="90026" y="34356"/>
                  </a:cubicBezTo>
                  <a:cubicBezTo>
                    <a:pt x="90344" y="34038"/>
                    <a:pt x="90662" y="34038"/>
                    <a:pt x="90662" y="33720"/>
                  </a:cubicBezTo>
                  <a:lnTo>
                    <a:pt x="90344" y="33402"/>
                  </a:lnTo>
                  <a:cubicBezTo>
                    <a:pt x="90344" y="33084"/>
                    <a:pt x="90344" y="32766"/>
                    <a:pt x="90662" y="32447"/>
                  </a:cubicBezTo>
                  <a:cubicBezTo>
                    <a:pt x="89390" y="32447"/>
                    <a:pt x="89390" y="32447"/>
                    <a:pt x="89390" y="31811"/>
                  </a:cubicBezTo>
                  <a:cubicBezTo>
                    <a:pt x="89390" y="31175"/>
                    <a:pt x="89390" y="30539"/>
                    <a:pt x="89071" y="30221"/>
                  </a:cubicBezTo>
                  <a:lnTo>
                    <a:pt x="89071" y="29584"/>
                  </a:lnTo>
                  <a:cubicBezTo>
                    <a:pt x="89390" y="28948"/>
                    <a:pt x="89708" y="28948"/>
                    <a:pt x="90026" y="28630"/>
                  </a:cubicBezTo>
                  <a:cubicBezTo>
                    <a:pt x="90344" y="28312"/>
                    <a:pt x="90344" y="27994"/>
                    <a:pt x="90344" y="27676"/>
                  </a:cubicBezTo>
                  <a:lnTo>
                    <a:pt x="90344" y="27040"/>
                  </a:lnTo>
                  <a:cubicBezTo>
                    <a:pt x="90344" y="26403"/>
                    <a:pt x="90980" y="26085"/>
                    <a:pt x="90980" y="25449"/>
                  </a:cubicBezTo>
                  <a:cubicBezTo>
                    <a:pt x="91298" y="25131"/>
                    <a:pt x="91934" y="24495"/>
                    <a:pt x="91934" y="23858"/>
                  </a:cubicBezTo>
                  <a:lnTo>
                    <a:pt x="91934" y="23540"/>
                  </a:lnTo>
                  <a:cubicBezTo>
                    <a:pt x="92571" y="23540"/>
                    <a:pt x="92571" y="22904"/>
                    <a:pt x="92571" y="21950"/>
                  </a:cubicBezTo>
                  <a:lnTo>
                    <a:pt x="92889" y="21632"/>
                  </a:lnTo>
                  <a:lnTo>
                    <a:pt x="92889" y="21313"/>
                  </a:lnTo>
                  <a:lnTo>
                    <a:pt x="92571" y="20995"/>
                  </a:lnTo>
                  <a:lnTo>
                    <a:pt x="92571" y="19405"/>
                  </a:lnTo>
                  <a:cubicBezTo>
                    <a:pt x="92571" y="19087"/>
                    <a:pt x="92889" y="19087"/>
                    <a:pt x="92889" y="18769"/>
                  </a:cubicBezTo>
                  <a:cubicBezTo>
                    <a:pt x="93525" y="18450"/>
                    <a:pt x="94161" y="18132"/>
                    <a:pt x="94479" y="17496"/>
                  </a:cubicBezTo>
                  <a:lnTo>
                    <a:pt x="94161" y="17178"/>
                  </a:lnTo>
                  <a:cubicBezTo>
                    <a:pt x="95115" y="16860"/>
                    <a:pt x="95115" y="15587"/>
                    <a:pt x="95115" y="15269"/>
                  </a:cubicBezTo>
                  <a:lnTo>
                    <a:pt x="94797" y="14951"/>
                  </a:lnTo>
                  <a:cubicBezTo>
                    <a:pt x="94797" y="14951"/>
                    <a:pt x="95115" y="14633"/>
                    <a:pt x="96070" y="14315"/>
                  </a:cubicBezTo>
                  <a:lnTo>
                    <a:pt x="97342" y="13361"/>
                  </a:lnTo>
                  <a:lnTo>
                    <a:pt x="97342" y="11770"/>
                  </a:lnTo>
                  <a:cubicBezTo>
                    <a:pt x="97660" y="11452"/>
                    <a:pt x="97979" y="10816"/>
                    <a:pt x="99251" y="10180"/>
                  </a:cubicBezTo>
                  <a:cubicBezTo>
                    <a:pt x="99251" y="10180"/>
                    <a:pt x="99569" y="7953"/>
                    <a:pt x="100205" y="7317"/>
                  </a:cubicBezTo>
                  <a:cubicBezTo>
                    <a:pt x="100523" y="7317"/>
                    <a:pt x="100523" y="7317"/>
                    <a:pt x="100841" y="6998"/>
                  </a:cubicBezTo>
                  <a:cubicBezTo>
                    <a:pt x="101160" y="6680"/>
                    <a:pt x="101160" y="6362"/>
                    <a:pt x="101160" y="6044"/>
                  </a:cubicBezTo>
                  <a:cubicBezTo>
                    <a:pt x="101160" y="5090"/>
                    <a:pt x="101160" y="5090"/>
                    <a:pt x="102114" y="4454"/>
                  </a:cubicBezTo>
                  <a:lnTo>
                    <a:pt x="103705" y="3181"/>
                  </a:lnTo>
                  <a:cubicBezTo>
                    <a:pt x="103386" y="2863"/>
                    <a:pt x="103386" y="2863"/>
                    <a:pt x="103386" y="2545"/>
                  </a:cubicBezTo>
                  <a:cubicBezTo>
                    <a:pt x="103386" y="2227"/>
                    <a:pt x="103705" y="1909"/>
                    <a:pt x="104659" y="1909"/>
                  </a:cubicBezTo>
                  <a:cubicBezTo>
                    <a:pt x="104659" y="1909"/>
                    <a:pt x="104977" y="1591"/>
                    <a:pt x="105295" y="1591"/>
                  </a:cubicBezTo>
                  <a:cubicBezTo>
                    <a:pt x="105613" y="1591"/>
                    <a:pt x="105613" y="1272"/>
                    <a:pt x="105931" y="1272"/>
                  </a:cubicBezTo>
                  <a:lnTo>
                    <a:pt x="106249" y="1272"/>
                  </a:lnTo>
                  <a:cubicBezTo>
                    <a:pt x="106249" y="1272"/>
                    <a:pt x="106249" y="1591"/>
                    <a:pt x="106567" y="1591"/>
                  </a:cubicBezTo>
                  <a:cubicBezTo>
                    <a:pt x="106567" y="1591"/>
                    <a:pt x="106886" y="1591"/>
                    <a:pt x="107204" y="1272"/>
                  </a:cubicBezTo>
                  <a:cubicBezTo>
                    <a:pt x="107840" y="954"/>
                    <a:pt x="108158" y="954"/>
                    <a:pt x="108794" y="318"/>
                  </a:cubicBezTo>
                  <a:cubicBezTo>
                    <a:pt x="109112" y="318"/>
                    <a:pt x="109431" y="0"/>
                    <a:pt x="109749" y="0"/>
                  </a:cubicBezTo>
                  <a:cubicBezTo>
                    <a:pt x="110067" y="0"/>
                    <a:pt x="110385" y="318"/>
                    <a:pt x="111021" y="636"/>
                  </a:cubicBezTo>
                  <a:cubicBezTo>
                    <a:pt x="111021" y="954"/>
                    <a:pt x="111339" y="954"/>
                    <a:pt x="111339" y="954"/>
                  </a:cubicBezTo>
                  <a:cubicBezTo>
                    <a:pt x="111339" y="1909"/>
                    <a:pt x="111339" y="2545"/>
                    <a:pt x="111021" y="3181"/>
                  </a:cubicBezTo>
                  <a:lnTo>
                    <a:pt x="111657" y="3499"/>
                  </a:lnTo>
                  <a:lnTo>
                    <a:pt x="112294" y="3499"/>
                  </a:lnTo>
                  <a:lnTo>
                    <a:pt x="113248" y="1909"/>
                  </a:lnTo>
                  <a:lnTo>
                    <a:pt x="113566" y="1909"/>
                  </a:lnTo>
                  <a:cubicBezTo>
                    <a:pt x="113884" y="1909"/>
                    <a:pt x="113884" y="2227"/>
                    <a:pt x="113884" y="2545"/>
                  </a:cubicBezTo>
                  <a:lnTo>
                    <a:pt x="114520" y="3181"/>
                  </a:lnTo>
                  <a:cubicBezTo>
                    <a:pt x="114520" y="3181"/>
                    <a:pt x="114838" y="3499"/>
                    <a:pt x="115156" y="3499"/>
                  </a:cubicBezTo>
                  <a:lnTo>
                    <a:pt x="117701" y="3499"/>
                  </a:lnTo>
                  <a:cubicBezTo>
                    <a:pt x="117701" y="3499"/>
                    <a:pt x="117383" y="3817"/>
                    <a:pt x="117383" y="4135"/>
                  </a:cubicBezTo>
                  <a:lnTo>
                    <a:pt x="117383" y="4772"/>
                  </a:lnTo>
                  <a:lnTo>
                    <a:pt x="118656" y="4772"/>
                  </a:lnTo>
                  <a:lnTo>
                    <a:pt x="118974" y="4454"/>
                  </a:lnTo>
                  <a:cubicBezTo>
                    <a:pt x="119610" y="4454"/>
                    <a:pt x="119928" y="4135"/>
                    <a:pt x="120246" y="4135"/>
                  </a:cubicBezTo>
                  <a:cubicBezTo>
                    <a:pt x="120246" y="4135"/>
                    <a:pt x="120564" y="4454"/>
                    <a:pt x="120882" y="4454"/>
                  </a:cubicBezTo>
                  <a:cubicBezTo>
                    <a:pt x="121519" y="4454"/>
                    <a:pt x="122155" y="4772"/>
                    <a:pt x="122791" y="4772"/>
                  </a:cubicBezTo>
                  <a:cubicBezTo>
                    <a:pt x="123746" y="4772"/>
                    <a:pt x="124064" y="5408"/>
                    <a:pt x="124064" y="5726"/>
                  </a:cubicBezTo>
                  <a:cubicBezTo>
                    <a:pt x="124064" y="6680"/>
                    <a:pt x="123746" y="7317"/>
                    <a:pt x="123746" y="7953"/>
                  </a:cubicBezTo>
                  <a:cubicBezTo>
                    <a:pt x="123746" y="8271"/>
                    <a:pt x="123746" y="8589"/>
                    <a:pt x="124382" y="8907"/>
                  </a:cubicBezTo>
                  <a:lnTo>
                    <a:pt x="124700" y="9543"/>
                  </a:lnTo>
                  <a:cubicBezTo>
                    <a:pt x="124064" y="10180"/>
                    <a:pt x="123746" y="10816"/>
                    <a:pt x="123746" y="11134"/>
                  </a:cubicBezTo>
                  <a:cubicBezTo>
                    <a:pt x="123746" y="11452"/>
                    <a:pt x="123428" y="11452"/>
                    <a:pt x="123428" y="12088"/>
                  </a:cubicBezTo>
                  <a:cubicBezTo>
                    <a:pt x="122473" y="12088"/>
                    <a:pt x="122791" y="13043"/>
                    <a:pt x="122155" y="13361"/>
                  </a:cubicBezTo>
                  <a:cubicBezTo>
                    <a:pt x="121837" y="13361"/>
                    <a:pt x="121837" y="13679"/>
                    <a:pt x="121837" y="13997"/>
                  </a:cubicBezTo>
                  <a:cubicBezTo>
                    <a:pt x="121837" y="14315"/>
                    <a:pt x="121519" y="14633"/>
                    <a:pt x="121519" y="14951"/>
                  </a:cubicBezTo>
                  <a:cubicBezTo>
                    <a:pt x="121201" y="14951"/>
                    <a:pt x="121201" y="15269"/>
                    <a:pt x="121201" y="15269"/>
                  </a:cubicBezTo>
                  <a:cubicBezTo>
                    <a:pt x="121201" y="15269"/>
                    <a:pt x="121201" y="15587"/>
                    <a:pt x="120882" y="15587"/>
                  </a:cubicBezTo>
                  <a:lnTo>
                    <a:pt x="120882" y="17178"/>
                  </a:lnTo>
                  <a:cubicBezTo>
                    <a:pt x="120882" y="17814"/>
                    <a:pt x="119928" y="18450"/>
                    <a:pt x="119928" y="18769"/>
                  </a:cubicBezTo>
                  <a:lnTo>
                    <a:pt x="119928" y="19087"/>
                  </a:lnTo>
                  <a:cubicBezTo>
                    <a:pt x="119292" y="20041"/>
                    <a:pt x="119928" y="20995"/>
                    <a:pt x="118974" y="21313"/>
                  </a:cubicBezTo>
                  <a:cubicBezTo>
                    <a:pt x="118974" y="21950"/>
                    <a:pt x="118656" y="22268"/>
                    <a:pt x="118656" y="22586"/>
                  </a:cubicBezTo>
                  <a:lnTo>
                    <a:pt x="118656" y="22904"/>
                  </a:lnTo>
                  <a:cubicBezTo>
                    <a:pt x="118338" y="23540"/>
                    <a:pt x="117701" y="23858"/>
                    <a:pt x="117701" y="24176"/>
                  </a:cubicBezTo>
                  <a:lnTo>
                    <a:pt x="118020" y="24495"/>
                  </a:lnTo>
                  <a:lnTo>
                    <a:pt x="118020" y="25131"/>
                  </a:lnTo>
                  <a:cubicBezTo>
                    <a:pt x="117065" y="25449"/>
                    <a:pt x="116747" y="26403"/>
                    <a:pt x="116429" y="27040"/>
                  </a:cubicBezTo>
                  <a:cubicBezTo>
                    <a:pt x="116747" y="27040"/>
                    <a:pt x="116747" y="27358"/>
                    <a:pt x="116747" y="27358"/>
                  </a:cubicBezTo>
                  <a:lnTo>
                    <a:pt x="116747" y="27676"/>
                  </a:lnTo>
                  <a:cubicBezTo>
                    <a:pt x="116747" y="27994"/>
                    <a:pt x="116429" y="27994"/>
                    <a:pt x="116429" y="28312"/>
                  </a:cubicBezTo>
                  <a:lnTo>
                    <a:pt x="116429" y="28630"/>
                  </a:lnTo>
                  <a:cubicBezTo>
                    <a:pt x="115793" y="28948"/>
                    <a:pt x="115475" y="29266"/>
                    <a:pt x="115475" y="29584"/>
                  </a:cubicBezTo>
                  <a:lnTo>
                    <a:pt x="115475" y="29903"/>
                  </a:lnTo>
                  <a:cubicBezTo>
                    <a:pt x="115475" y="30539"/>
                    <a:pt x="114838" y="30539"/>
                    <a:pt x="114838" y="30857"/>
                  </a:cubicBezTo>
                  <a:cubicBezTo>
                    <a:pt x="114838" y="31175"/>
                    <a:pt x="114520" y="31811"/>
                    <a:pt x="114202" y="32447"/>
                  </a:cubicBezTo>
                  <a:lnTo>
                    <a:pt x="113884" y="32766"/>
                  </a:lnTo>
                  <a:lnTo>
                    <a:pt x="113884" y="33402"/>
                  </a:lnTo>
                  <a:lnTo>
                    <a:pt x="114202" y="33720"/>
                  </a:lnTo>
                  <a:cubicBezTo>
                    <a:pt x="113884" y="34356"/>
                    <a:pt x="113248" y="34674"/>
                    <a:pt x="113248" y="35629"/>
                  </a:cubicBezTo>
                  <a:lnTo>
                    <a:pt x="111657" y="50898"/>
                  </a:lnTo>
                  <a:cubicBezTo>
                    <a:pt x="111975" y="50898"/>
                    <a:pt x="112294" y="50580"/>
                    <a:pt x="112612" y="50262"/>
                  </a:cubicBezTo>
                  <a:cubicBezTo>
                    <a:pt x="112930" y="49944"/>
                    <a:pt x="112930" y="49944"/>
                    <a:pt x="113248" y="49944"/>
                  </a:cubicBezTo>
                  <a:cubicBezTo>
                    <a:pt x="113884" y="49944"/>
                    <a:pt x="114520" y="50580"/>
                    <a:pt x="114520" y="51216"/>
                  </a:cubicBezTo>
                  <a:cubicBezTo>
                    <a:pt x="114520" y="52488"/>
                    <a:pt x="115156" y="52488"/>
                    <a:pt x="116111" y="52488"/>
                  </a:cubicBezTo>
                  <a:cubicBezTo>
                    <a:pt x="117383" y="52488"/>
                    <a:pt x="118338" y="52488"/>
                    <a:pt x="119292" y="50898"/>
                  </a:cubicBezTo>
                  <a:lnTo>
                    <a:pt x="116111" y="51534"/>
                  </a:lnTo>
                  <a:cubicBezTo>
                    <a:pt x="116111" y="51534"/>
                    <a:pt x="115475" y="51534"/>
                    <a:pt x="115475" y="51216"/>
                  </a:cubicBezTo>
                  <a:lnTo>
                    <a:pt x="115475" y="50898"/>
                  </a:lnTo>
                  <a:cubicBezTo>
                    <a:pt x="116747" y="49944"/>
                    <a:pt x="117383" y="49944"/>
                    <a:pt x="118338" y="49944"/>
                  </a:cubicBezTo>
                  <a:cubicBezTo>
                    <a:pt x="118656" y="49625"/>
                    <a:pt x="118656" y="49625"/>
                    <a:pt x="118974" y="49625"/>
                  </a:cubicBezTo>
                  <a:cubicBezTo>
                    <a:pt x="119292" y="49625"/>
                    <a:pt x="119610" y="49625"/>
                    <a:pt x="119610" y="50262"/>
                  </a:cubicBezTo>
                  <a:cubicBezTo>
                    <a:pt x="119292" y="50580"/>
                    <a:pt x="119292" y="50898"/>
                    <a:pt x="119292" y="50898"/>
                  </a:cubicBezTo>
                  <a:cubicBezTo>
                    <a:pt x="119610" y="50898"/>
                    <a:pt x="119610" y="50898"/>
                    <a:pt x="119928" y="50580"/>
                  </a:cubicBezTo>
                  <a:cubicBezTo>
                    <a:pt x="120564" y="50580"/>
                    <a:pt x="121519" y="50262"/>
                    <a:pt x="121519" y="49944"/>
                  </a:cubicBezTo>
                  <a:cubicBezTo>
                    <a:pt x="123109" y="49307"/>
                    <a:pt x="124064" y="49307"/>
                    <a:pt x="124700" y="49307"/>
                  </a:cubicBezTo>
                  <a:cubicBezTo>
                    <a:pt x="125336" y="49307"/>
                    <a:pt x="125654" y="49307"/>
                    <a:pt x="126609" y="48989"/>
                  </a:cubicBezTo>
                  <a:lnTo>
                    <a:pt x="127563" y="48989"/>
                  </a:lnTo>
                  <a:lnTo>
                    <a:pt x="127245" y="49625"/>
                  </a:lnTo>
                  <a:cubicBezTo>
                    <a:pt x="127245" y="49944"/>
                    <a:pt x="126927" y="49944"/>
                    <a:pt x="126609" y="50262"/>
                  </a:cubicBezTo>
                  <a:lnTo>
                    <a:pt x="125972" y="51216"/>
                  </a:lnTo>
                  <a:cubicBezTo>
                    <a:pt x="125972" y="51534"/>
                    <a:pt x="126290" y="51534"/>
                    <a:pt x="126290" y="51534"/>
                  </a:cubicBezTo>
                  <a:lnTo>
                    <a:pt x="125972" y="51852"/>
                  </a:lnTo>
                  <a:cubicBezTo>
                    <a:pt x="125972" y="52170"/>
                    <a:pt x="125654" y="52488"/>
                    <a:pt x="124700" y="53443"/>
                  </a:cubicBezTo>
                  <a:cubicBezTo>
                    <a:pt x="123428" y="54079"/>
                    <a:pt x="122473" y="55351"/>
                    <a:pt x="121837" y="55670"/>
                  </a:cubicBezTo>
                  <a:cubicBezTo>
                    <a:pt x="121201" y="55988"/>
                    <a:pt x="120882" y="56306"/>
                    <a:pt x="120882" y="56306"/>
                  </a:cubicBezTo>
                  <a:cubicBezTo>
                    <a:pt x="120882" y="56624"/>
                    <a:pt x="121201" y="56942"/>
                    <a:pt x="121837" y="56942"/>
                  </a:cubicBezTo>
                  <a:cubicBezTo>
                    <a:pt x="122155" y="56942"/>
                    <a:pt x="122473" y="56306"/>
                    <a:pt x="122473" y="56306"/>
                  </a:cubicBezTo>
                  <a:cubicBezTo>
                    <a:pt x="122473" y="56306"/>
                    <a:pt x="122791" y="55988"/>
                    <a:pt x="123428" y="55670"/>
                  </a:cubicBezTo>
                  <a:cubicBezTo>
                    <a:pt x="123428" y="55351"/>
                    <a:pt x="123746" y="55033"/>
                    <a:pt x="124700" y="54715"/>
                  </a:cubicBezTo>
                  <a:lnTo>
                    <a:pt x="125972" y="54715"/>
                  </a:lnTo>
                  <a:cubicBezTo>
                    <a:pt x="126290" y="54715"/>
                    <a:pt x="126927" y="54397"/>
                    <a:pt x="127881" y="53443"/>
                  </a:cubicBezTo>
                  <a:cubicBezTo>
                    <a:pt x="128199" y="53125"/>
                    <a:pt x="128199" y="52807"/>
                    <a:pt x="128199" y="52807"/>
                  </a:cubicBezTo>
                  <a:lnTo>
                    <a:pt x="128517" y="52488"/>
                  </a:lnTo>
                  <a:cubicBezTo>
                    <a:pt x="128517" y="52488"/>
                    <a:pt x="128199" y="52488"/>
                    <a:pt x="127881" y="52170"/>
                  </a:cubicBezTo>
                  <a:lnTo>
                    <a:pt x="127245" y="52170"/>
                  </a:lnTo>
                  <a:cubicBezTo>
                    <a:pt x="126927" y="52170"/>
                    <a:pt x="127245" y="51852"/>
                    <a:pt x="127563" y="51534"/>
                  </a:cubicBezTo>
                  <a:cubicBezTo>
                    <a:pt x="127563" y="51534"/>
                    <a:pt x="127563" y="51216"/>
                    <a:pt x="127881" y="51216"/>
                  </a:cubicBezTo>
                  <a:cubicBezTo>
                    <a:pt x="129790" y="51216"/>
                    <a:pt x="130744" y="50262"/>
                    <a:pt x="132016" y="48989"/>
                  </a:cubicBezTo>
                  <a:cubicBezTo>
                    <a:pt x="132335" y="48671"/>
                    <a:pt x="132335" y="48671"/>
                    <a:pt x="132653" y="48671"/>
                  </a:cubicBezTo>
                  <a:lnTo>
                    <a:pt x="132971" y="48989"/>
                  </a:lnTo>
                  <a:lnTo>
                    <a:pt x="132971" y="49625"/>
                  </a:lnTo>
                  <a:cubicBezTo>
                    <a:pt x="132971" y="49944"/>
                    <a:pt x="132971" y="50262"/>
                    <a:pt x="133289" y="50898"/>
                  </a:cubicBezTo>
                  <a:lnTo>
                    <a:pt x="133925" y="50898"/>
                  </a:lnTo>
                  <a:cubicBezTo>
                    <a:pt x="133925" y="49944"/>
                    <a:pt x="134561" y="48671"/>
                    <a:pt x="134879" y="48353"/>
                  </a:cubicBezTo>
                  <a:cubicBezTo>
                    <a:pt x="135198" y="47717"/>
                    <a:pt x="136470" y="47081"/>
                    <a:pt x="137106" y="47081"/>
                  </a:cubicBezTo>
                  <a:lnTo>
                    <a:pt x="139969" y="47081"/>
                  </a:lnTo>
                  <a:cubicBezTo>
                    <a:pt x="140287" y="47081"/>
                    <a:pt x="139969" y="47717"/>
                    <a:pt x="139651" y="48353"/>
                  </a:cubicBezTo>
                  <a:lnTo>
                    <a:pt x="139333" y="48671"/>
                  </a:lnTo>
                  <a:lnTo>
                    <a:pt x="139333" y="49307"/>
                  </a:lnTo>
                  <a:cubicBezTo>
                    <a:pt x="139969" y="49307"/>
                    <a:pt x="140287" y="49625"/>
                    <a:pt x="141242" y="49625"/>
                  </a:cubicBezTo>
                  <a:lnTo>
                    <a:pt x="141560" y="49625"/>
                  </a:lnTo>
                  <a:lnTo>
                    <a:pt x="141560" y="50580"/>
                  </a:lnTo>
                  <a:cubicBezTo>
                    <a:pt x="141560" y="50580"/>
                    <a:pt x="140605" y="50898"/>
                    <a:pt x="140287" y="50898"/>
                  </a:cubicBezTo>
                  <a:cubicBezTo>
                    <a:pt x="139651" y="50898"/>
                    <a:pt x="139015" y="51216"/>
                    <a:pt x="138697" y="51534"/>
                  </a:cubicBezTo>
                  <a:lnTo>
                    <a:pt x="138379" y="51852"/>
                  </a:lnTo>
                  <a:lnTo>
                    <a:pt x="138379" y="52488"/>
                  </a:lnTo>
                  <a:lnTo>
                    <a:pt x="139333" y="52488"/>
                  </a:lnTo>
                  <a:cubicBezTo>
                    <a:pt x="140924" y="51852"/>
                    <a:pt x="141560" y="51852"/>
                    <a:pt x="142832" y="51852"/>
                  </a:cubicBezTo>
                  <a:cubicBezTo>
                    <a:pt x="143469" y="52170"/>
                    <a:pt x="143787" y="52170"/>
                    <a:pt x="143787" y="53125"/>
                  </a:cubicBezTo>
                  <a:cubicBezTo>
                    <a:pt x="144105" y="53443"/>
                    <a:pt x="144105" y="53443"/>
                    <a:pt x="144423" y="53443"/>
                  </a:cubicBezTo>
                  <a:cubicBezTo>
                    <a:pt x="144741" y="53443"/>
                    <a:pt x="144741" y="53443"/>
                    <a:pt x="145059" y="53125"/>
                  </a:cubicBezTo>
                  <a:cubicBezTo>
                    <a:pt x="146013" y="52807"/>
                    <a:pt x="146013" y="52488"/>
                    <a:pt x="146331" y="51534"/>
                  </a:cubicBezTo>
                  <a:lnTo>
                    <a:pt x="146331" y="51216"/>
                  </a:lnTo>
                  <a:lnTo>
                    <a:pt x="146013" y="51216"/>
                  </a:lnTo>
                  <a:lnTo>
                    <a:pt x="145695" y="51534"/>
                  </a:lnTo>
                  <a:lnTo>
                    <a:pt x="145377" y="51534"/>
                  </a:lnTo>
                  <a:lnTo>
                    <a:pt x="145695" y="51216"/>
                  </a:lnTo>
                  <a:lnTo>
                    <a:pt x="145695" y="50898"/>
                  </a:lnTo>
                  <a:cubicBezTo>
                    <a:pt x="146331" y="50580"/>
                    <a:pt x="146331" y="49944"/>
                    <a:pt x="146650" y="49625"/>
                  </a:cubicBezTo>
                  <a:cubicBezTo>
                    <a:pt x="146650" y="49307"/>
                    <a:pt x="146650" y="48989"/>
                    <a:pt x="147286" y="48353"/>
                  </a:cubicBezTo>
                  <a:cubicBezTo>
                    <a:pt x="146650" y="48671"/>
                    <a:pt x="146331" y="48671"/>
                    <a:pt x="145695" y="48671"/>
                  </a:cubicBezTo>
                  <a:cubicBezTo>
                    <a:pt x="145059" y="48671"/>
                    <a:pt x="144423" y="48671"/>
                    <a:pt x="144105" y="48353"/>
                  </a:cubicBezTo>
                  <a:lnTo>
                    <a:pt x="144423" y="48035"/>
                  </a:lnTo>
                  <a:lnTo>
                    <a:pt x="144423" y="47717"/>
                  </a:lnTo>
                  <a:cubicBezTo>
                    <a:pt x="144423" y="47399"/>
                    <a:pt x="144741" y="46762"/>
                    <a:pt x="144741" y="46762"/>
                  </a:cubicBezTo>
                  <a:cubicBezTo>
                    <a:pt x="145059" y="47081"/>
                    <a:pt x="145377" y="47081"/>
                    <a:pt x="145695" y="47081"/>
                  </a:cubicBezTo>
                  <a:cubicBezTo>
                    <a:pt x="145695" y="47717"/>
                    <a:pt x="146331" y="48035"/>
                    <a:pt x="146650" y="48035"/>
                  </a:cubicBezTo>
                  <a:cubicBezTo>
                    <a:pt x="146968" y="47717"/>
                    <a:pt x="147604" y="47399"/>
                    <a:pt x="147922" y="46444"/>
                  </a:cubicBezTo>
                  <a:lnTo>
                    <a:pt x="151421" y="46444"/>
                  </a:lnTo>
                  <a:cubicBezTo>
                    <a:pt x="152694" y="46444"/>
                    <a:pt x="154284" y="46126"/>
                    <a:pt x="156511" y="45172"/>
                  </a:cubicBezTo>
                  <a:lnTo>
                    <a:pt x="158738" y="45172"/>
                  </a:lnTo>
                  <a:cubicBezTo>
                    <a:pt x="159374" y="45490"/>
                    <a:pt x="159374" y="46126"/>
                    <a:pt x="159374" y="47081"/>
                  </a:cubicBezTo>
                  <a:cubicBezTo>
                    <a:pt x="159374" y="47717"/>
                    <a:pt x="160010" y="47717"/>
                    <a:pt x="160010" y="47717"/>
                  </a:cubicBezTo>
                  <a:cubicBezTo>
                    <a:pt x="161283" y="47399"/>
                    <a:pt x="161283" y="47399"/>
                    <a:pt x="161601" y="47399"/>
                  </a:cubicBezTo>
                  <a:lnTo>
                    <a:pt x="162873" y="47399"/>
                  </a:lnTo>
                  <a:cubicBezTo>
                    <a:pt x="162873" y="47399"/>
                    <a:pt x="162555" y="48353"/>
                    <a:pt x="162237" y="48989"/>
                  </a:cubicBezTo>
                  <a:cubicBezTo>
                    <a:pt x="162237" y="49625"/>
                    <a:pt x="162555" y="49944"/>
                    <a:pt x="162873" y="50580"/>
                  </a:cubicBezTo>
                  <a:cubicBezTo>
                    <a:pt x="163510" y="50580"/>
                    <a:pt x="163828" y="50580"/>
                    <a:pt x="163828" y="50898"/>
                  </a:cubicBezTo>
                  <a:lnTo>
                    <a:pt x="163510" y="51216"/>
                  </a:lnTo>
                  <a:cubicBezTo>
                    <a:pt x="163510" y="51534"/>
                    <a:pt x="163191" y="51852"/>
                    <a:pt x="162873" y="52170"/>
                  </a:cubicBezTo>
                  <a:cubicBezTo>
                    <a:pt x="162873" y="52807"/>
                    <a:pt x="162555" y="53125"/>
                    <a:pt x="162237" y="53125"/>
                  </a:cubicBezTo>
                  <a:cubicBezTo>
                    <a:pt x="162873" y="53125"/>
                    <a:pt x="163510" y="52807"/>
                    <a:pt x="163510" y="52170"/>
                  </a:cubicBezTo>
                  <a:cubicBezTo>
                    <a:pt x="164464" y="51852"/>
                    <a:pt x="165100" y="51216"/>
                    <a:pt x="165418" y="51216"/>
                  </a:cubicBezTo>
                  <a:cubicBezTo>
                    <a:pt x="165736" y="51216"/>
                    <a:pt x="165736" y="50898"/>
                    <a:pt x="166054" y="50898"/>
                  </a:cubicBezTo>
                  <a:lnTo>
                    <a:pt x="166373" y="51216"/>
                  </a:lnTo>
                  <a:lnTo>
                    <a:pt x="167327" y="50580"/>
                  </a:lnTo>
                  <a:cubicBezTo>
                    <a:pt x="167963" y="49307"/>
                    <a:pt x="167963" y="48989"/>
                    <a:pt x="167963" y="48671"/>
                  </a:cubicBezTo>
                  <a:cubicBezTo>
                    <a:pt x="167963" y="48353"/>
                    <a:pt x="167963" y="48353"/>
                    <a:pt x="167963" y="48353"/>
                  </a:cubicBezTo>
                  <a:cubicBezTo>
                    <a:pt x="168281" y="47717"/>
                    <a:pt x="168917" y="47081"/>
                    <a:pt x="168917" y="46762"/>
                  </a:cubicBezTo>
                  <a:cubicBezTo>
                    <a:pt x="169554" y="45490"/>
                    <a:pt x="170190" y="45490"/>
                    <a:pt x="170826" y="44854"/>
                  </a:cubicBezTo>
                  <a:cubicBezTo>
                    <a:pt x="170826" y="44536"/>
                    <a:pt x="170826" y="44854"/>
                    <a:pt x="171780" y="44854"/>
                  </a:cubicBezTo>
                  <a:cubicBezTo>
                    <a:pt x="172099" y="44854"/>
                    <a:pt x="172417" y="45172"/>
                    <a:pt x="172735" y="45172"/>
                  </a:cubicBezTo>
                  <a:cubicBezTo>
                    <a:pt x="174007" y="45172"/>
                    <a:pt x="174643" y="44536"/>
                    <a:pt x="175916" y="43899"/>
                  </a:cubicBezTo>
                  <a:lnTo>
                    <a:pt x="176552" y="43899"/>
                  </a:lnTo>
                  <a:cubicBezTo>
                    <a:pt x="176870" y="44218"/>
                    <a:pt x="176870" y="44218"/>
                    <a:pt x="177507" y="44218"/>
                  </a:cubicBezTo>
                  <a:cubicBezTo>
                    <a:pt x="178461" y="44218"/>
                    <a:pt x="178779" y="44218"/>
                    <a:pt x="179415" y="43899"/>
                  </a:cubicBezTo>
                  <a:cubicBezTo>
                    <a:pt x="180688" y="43899"/>
                    <a:pt x="181642" y="44536"/>
                    <a:pt x="182278" y="44536"/>
                  </a:cubicBezTo>
                  <a:cubicBezTo>
                    <a:pt x="183551" y="44536"/>
                    <a:pt x="184823" y="43899"/>
                    <a:pt x="185777" y="43899"/>
                  </a:cubicBezTo>
                  <a:lnTo>
                    <a:pt x="187050" y="43899"/>
                  </a:lnTo>
                  <a:lnTo>
                    <a:pt x="187050" y="44218"/>
                  </a:lnTo>
                  <a:cubicBezTo>
                    <a:pt x="187050" y="44536"/>
                    <a:pt x="187050" y="44536"/>
                    <a:pt x="187368" y="44536"/>
                  </a:cubicBezTo>
                  <a:cubicBezTo>
                    <a:pt x="187686" y="44536"/>
                    <a:pt x="187686" y="44536"/>
                    <a:pt x="188004" y="44218"/>
                  </a:cubicBezTo>
                  <a:lnTo>
                    <a:pt x="189277" y="44218"/>
                  </a:lnTo>
                  <a:cubicBezTo>
                    <a:pt x="189913" y="44218"/>
                    <a:pt x="191503" y="44218"/>
                    <a:pt x="191503" y="45172"/>
                  </a:cubicBezTo>
                  <a:cubicBezTo>
                    <a:pt x="191503" y="45490"/>
                    <a:pt x="191503" y="45808"/>
                    <a:pt x="192140" y="45808"/>
                  </a:cubicBezTo>
                  <a:cubicBezTo>
                    <a:pt x="192140" y="45808"/>
                    <a:pt x="192776" y="45490"/>
                    <a:pt x="193412" y="45490"/>
                  </a:cubicBezTo>
                  <a:lnTo>
                    <a:pt x="194048" y="45490"/>
                  </a:lnTo>
                  <a:cubicBezTo>
                    <a:pt x="194684" y="45172"/>
                    <a:pt x="195639" y="44854"/>
                    <a:pt x="196593" y="44854"/>
                  </a:cubicBezTo>
                  <a:cubicBezTo>
                    <a:pt x="197229" y="44854"/>
                    <a:pt x="197866" y="45172"/>
                    <a:pt x="198184" y="45808"/>
                  </a:cubicBezTo>
                  <a:lnTo>
                    <a:pt x="200729" y="45808"/>
                  </a:lnTo>
                  <a:cubicBezTo>
                    <a:pt x="201047" y="45490"/>
                    <a:pt x="201683" y="45490"/>
                    <a:pt x="202001" y="45490"/>
                  </a:cubicBezTo>
                  <a:cubicBezTo>
                    <a:pt x="202637" y="45490"/>
                    <a:pt x="202955" y="46126"/>
                    <a:pt x="203592" y="46444"/>
                  </a:cubicBezTo>
                  <a:cubicBezTo>
                    <a:pt x="203910" y="46444"/>
                    <a:pt x="204228" y="46762"/>
                    <a:pt x="204228" y="47399"/>
                  </a:cubicBezTo>
                  <a:lnTo>
                    <a:pt x="204228" y="47717"/>
                  </a:lnTo>
                  <a:cubicBezTo>
                    <a:pt x="204228" y="48671"/>
                    <a:pt x="204864" y="49307"/>
                    <a:pt x="204864" y="50262"/>
                  </a:cubicBezTo>
                  <a:lnTo>
                    <a:pt x="204864" y="50898"/>
                  </a:lnTo>
                  <a:cubicBezTo>
                    <a:pt x="205182" y="51216"/>
                    <a:pt x="205818" y="51852"/>
                    <a:pt x="205818" y="52170"/>
                  </a:cubicBezTo>
                  <a:cubicBezTo>
                    <a:pt x="205182" y="53125"/>
                    <a:pt x="204864" y="53761"/>
                    <a:pt x="205182" y="53761"/>
                  </a:cubicBezTo>
                  <a:lnTo>
                    <a:pt x="205182" y="57260"/>
                  </a:lnTo>
                  <a:cubicBezTo>
                    <a:pt x="205182" y="57896"/>
                    <a:pt x="204228" y="58214"/>
                    <a:pt x="203910" y="58533"/>
                  </a:cubicBezTo>
                  <a:cubicBezTo>
                    <a:pt x="203592" y="58533"/>
                    <a:pt x="203273" y="58851"/>
                    <a:pt x="202955" y="59487"/>
                  </a:cubicBezTo>
                  <a:lnTo>
                    <a:pt x="200729" y="61077"/>
                  </a:lnTo>
                  <a:cubicBezTo>
                    <a:pt x="200410" y="61714"/>
                    <a:pt x="200092" y="61714"/>
                    <a:pt x="200092" y="61714"/>
                  </a:cubicBezTo>
                  <a:lnTo>
                    <a:pt x="199138" y="61714"/>
                  </a:lnTo>
                  <a:cubicBezTo>
                    <a:pt x="198184" y="61714"/>
                    <a:pt x="197548" y="62032"/>
                    <a:pt x="196593" y="62668"/>
                  </a:cubicBezTo>
                  <a:cubicBezTo>
                    <a:pt x="195321" y="63304"/>
                    <a:pt x="193730" y="63940"/>
                    <a:pt x="192458" y="63940"/>
                  </a:cubicBezTo>
                  <a:cubicBezTo>
                    <a:pt x="191822" y="63940"/>
                    <a:pt x="191503" y="63940"/>
                    <a:pt x="191185" y="64259"/>
                  </a:cubicBezTo>
                  <a:cubicBezTo>
                    <a:pt x="190231" y="64895"/>
                    <a:pt x="189277" y="64895"/>
                    <a:pt x="188004" y="64895"/>
                  </a:cubicBezTo>
                  <a:lnTo>
                    <a:pt x="187050" y="64895"/>
                  </a:lnTo>
                  <a:cubicBezTo>
                    <a:pt x="186732" y="64895"/>
                    <a:pt x="186414" y="65213"/>
                    <a:pt x="186414" y="65213"/>
                  </a:cubicBezTo>
                  <a:lnTo>
                    <a:pt x="186414" y="64895"/>
                  </a:lnTo>
                  <a:cubicBezTo>
                    <a:pt x="185777" y="64577"/>
                    <a:pt x="186095" y="63622"/>
                    <a:pt x="185141" y="63304"/>
                  </a:cubicBezTo>
                  <a:lnTo>
                    <a:pt x="185777" y="62668"/>
                  </a:lnTo>
                  <a:lnTo>
                    <a:pt x="187368" y="61396"/>
                  </a:lnTo>
                  <a:lnTo>
                    <a:pt x="185141" y="61396"/>
                  </a:lnTo>
                  <a:cubicBezTo>
                    <a:pt x="184823" y="61396"/>
                    <a:pt x="184823" y="61396"/>
                    <a:pt x="184823" y="61077"/>
                  </a:cubicBezTo>
                  <a:lnTo>
                    <a:pt x="186414" y="59487"/>
                  </a:lnTo>
                  <a:lnTo>
                    <a:pt x="187050" y="59487"/>
                  </a:lnTo>
                  <a:cubicBezTo>
                    <a:pt x="187050" y="59169"/>
                    <a:pt x="187686" y="58851"/>
                    <a:pt x="188004" y="58533"/>
                  </a:cubicBezTo>
                  <a:lnTo>
                    <a:pt x="188004" y="58214"/>
                  </a:lnTo>
                  <a:cubicBezTo>
                    <a:pt x="187686" y="57896"/>
                    <a:pt x="187686" y="57896"/>
                    <a:pt x="187050" y="57896"/>
                  </a:cubicBezTo>
                  <a:lnTo>
                    <a:pt x="186414" y="58214"/>
                  </a:lnTo>
                  <a:lnTo>
                    <a:pt x="186095" y="58214"/>
                  </a:lnTo>
                  <a:lnTo>
                    <a:pt x="186414" y="57896"/>
                  </a:lnTo>
                  <a:cubicBezTo>
                    <a:pt x="186414" y="57578"/>
                    <a:pt x="186732" y="57578"/>
                    <a:pt x="186732" y="57260"/>
                  </a:cubicBezTo>
                  <a:cubicBezTo>
                    <a:pt x="186732" y="56942"/>
                    <a:pt x="186095" y="56624"/>
                    <a:pt x="185141" y="56624"/>
                  </a:cubicBezTo>
                  <a:lnTo>
                    <a:pt x="184187" y="56624"/>
                  </a:lnTo>
                  <a:cubicBezTo>
                    <a:pt x="183869" y="56624"/>
                    <a:pt x="183551" y="56624"/>
                    <a:pt x="183232" y="57260"/>
                  </a:cubicBezTo>
                  <a:cubicBezTo>
                    <a:pt x="182596" y="57896"/>
                    <a:pt x="181960" y="57896"/>
                    <a:pt x="181642" y="57896"/>
                  </a:cubicBezTo>
                  <a:lnTo>
                    <a:pt x="180051" y="57896"/>
                  </a:lnTo>
                  <a:cubicBezTo>
                    <a:pt x="179097" y="57578"/>
                    <a:pt x="177825" y="57260"/>
                    <a:pt x="176552" y="57260"/>
                  </a:cubicBezTo>
                  <a:lnTo>
                    <a:pt x="172099" y="57260"/>
                  </a:lnTo>
                  <a:cubicBezTo>
                    <a:pt x="171780" y="57260"/>
                    <a:pt x="171462" y="56942"/>
                    <a:pt x="171462" y="56942"/>
                  </a:cubicBezTo>
                  <a:cubicBezTo>
                    <a:pt x="171144" y="56942"/>
                    <a:pt x="171144" y="56624"/>
                    <a:pt x="171144" y="56306"/>
                  </a:cubicBezTo>
                  <a:lnTo>
                    <a:pt x="171144" y="55670"/>
                  </a:lnTo>
                  <a:cubicBezTo>
                    <a:pt x="171462" y="55033"/>
                    <a:pt x="171780" y="54715"/>
                    <a:pt x="171780" y="54397"/>
                  </a:cubicBezTo>
                  <a:cubicBezTo>
                    <a:pt x="171780" y="54079"/>
                    <a:pt x="171780" y="54079"/>
                    <a:pt x="171462" y="54079"/>
                  </a:cubicBezTo>
                  <a:cubicBezTo>
                    <a:pt x="170826" y="54715"/>
                    <a:pt x="170508" y="54715"/>
                    <a:pt x="170190" y="55351"/>
                  </a:cubicBezTo>
                  <a:cubicBezTo>
                    <a:pt x="169235" y="55988"/>
                    <a:pt x="168917" y="55988"/>
                    <a:pt x="168599" y="55988"/>
                  </a:cubicBezTo>
                  <a:lnTo>
                    <a:pt x="168281" y="55988"/>
                  </a:lnTo>
                  <a:cubicBezTo>
                    <a:pt x="168281" y="55988"/>
                    <a:pt x="168281" y="55670"/>
                    <a:pt x="168599" y="55351"/>
                  </a:cubicBezTo>
                  <a:lnTo>
                    <a:pt x="168281" y="55351"/>
                  </a:lnTo>
                  <a:cubicBezTo>
                    <a:pt x="167963" y="55351"/>
                    <a:pt x="167327" y="55988"/>
                    <a:pt x="167327" y="56306"/>
                  </a:cubicBezTo>
                  <a:cubicBezTo>
                    <a:pt x="167009" y="56942"/>
                    <a:pt x="166054" y="57578"/>
                    <a:pt x="165736" y="57578"/>
                  </a:cubicBezTo>
                  <a:cubicBezTo>
                    <a:pt x="164782" y="57578"/>
                    <a:pt x="164146" y="57578"/>
                    <a:pt x="163828" y="57260"/>
                  </a:cubicBezTo>
                  <a:lnTo>
                    <a:pt x="162237" y="57896"/>
                  </a:lnTo>
                  <a:cubicBezTo>
                    <a:pt x="161283" y="58214"/>
                    <a:pt x="161283" y="58214"/>
                    <a:pt x="160965" y="58214"/>
                  </a:cubicBezTo>
                  <a:cubicBezTo>
                    <a:pt x="160646" y="58214"/>
                    <a:pt x="160010" y="58214"/>
                    <a:pt x="159374" y="57896"/>
                  </a:cubicBezTo>
                  <a:lnTo>
                    <a:pt x="158738" y="57896"/>
                  </a:lnTo>
                  <a:cubicBezTo>
                    <a:pt x="158420" y="57896"/>
                    <a:pt x="157784" y="57896"/>
                    <a:pt x="158102" y="57578"/>
                  </a:cubicBezTo>
                  <a:cubicBezTo>
                    <a:pt x="158102" y="57260"/>
                    <a:pt x="157784" y="57578"/>
                    <a:pt x="157465" y="57578"/>
                  </a:cubicBezTo>
                  <a:cubicBezTo>
                    <a:pt x="156193" y="57896"/>
                    <a:pt x="156193" y="57896"/>
                    <a:pt x="155557" y="57896"/>
                  </a:cubicBezTo>
                  <a:cubicBezTo>
                    <a:pt x="154602" y="57896"/>
                    <a:pt x="153966" y="57896"/>
                    <a:pt x="153648" y="57260"/>
                  </a:cubicBezTo>
                  <a:cubicBezTo>
                    <a:pt x="153330" y="57578"/>
                    <a:pt x="153330" y="57578"/>
                    <a:pt x="153012" y="57578"/>
                  </a:cubicBezTo>
                  <a:cubicBezTo>
                    <a:pt x="152694" y="57578"/>
                    <a:pt x="152376" y="56942"/>
                    <a:pt x="151739" y="56942"/>
                  </a:cubicBezTo>
                  <a:cubicBezTo>
                    <a:pt x="151739" y="56942"/>
                    <a:pt x="151421" y="56624"/>
                    <a:pt x="151103" y="56624"/>
                  </a:cubicBezTo>
                  <a:cubicBezTo>
                    <a:pt x="150785" y="56624"/>
                    <a:pt x="150467" y="56942"/>
                    <a:pt x="150149" y="56942"/>
                  </a:cubicBezTo>
                  <a:cubicBezTo>
                    <a:pt x="150149" y="57260"/>
                    <a:pt x="150149" y="57578"/>
                    <a:pt x="149194" y="57896"/>
                  </a:cubicBezTo>
                  <a:lnTo>
                    <a:pt x="148876" y="57896"/>
                  </a:lnTo>
                  <a:lnTo>
                    <a:pt x="148876" y="57578"/>
                  </a:lnTo>
                  <a:cubicBezTo>
                    <a:pt x="148558" y="57578"/>
                    <a:pt x="148240" y="57260"/>
                    <a:pt x="148240" y="57260"/>
                  </a:cubicBezTo>
                  <a:cubicBezTo>
                    <a:pt x="147922" y="57260"/>
                    <a:pt x="147604" y="57896"/>
                    <a:pt x="146331" y="58533"/>
                  </a:cubicBezTo>
                  <a:lnTo>
                    <a:pt x="146331" y="57896"/>
                  </a:lnTo>
                  <a:lnTo>
                    <a:pt x="146013" y="57578"/>
                  </a:lnTo>
                  <a:cubicBezTo>
                    <a:pt x="145377" y="57896"/>
                    <a:pt x="145377" y="58214"/>
                    <a:pt x="145377" y="58214"/>
                  </a:cubicBezTo>
                  <a:cubicBezTo>
                    <a:pt x="144741" y="58533"/>
                    <a:pt x="144423" y="58533"/>
                    <a:pt x="144105" y="58533"/>
                  </a:cubicBezTo>
                  <a:lnTo>
                    <a:pt x="143787" y="58533"/>
                  </a:lnTo>
                  <a:lnTo>
                    <a:pt x="143787" y="57896"/>
                  </a:lnTo>
                  <a:lnTo>
                    <a:pt x="143469" y="57896"/>
                  </a:lnTo>
                  <a:cubicBezTo>
                    <a:pt x="142832" y="58533"/>
                    <a:pt x="142514" y="58851"/>
                    <a:pt x="141878" y="58851"/>
                  </a:cubicBezTo>
                  <a:lnTo>
                    <a:pt x="141242" y="58851"/>
                  </a:lnTo>
                  <a:cubicBezTo>
                    <a:pt x="139969" y="58533"/>
                    <a:pt x="139015" y="58214"/>
                    <a:pt x="138061" y="58214"/>
                  </a:cubicBezTo>
                  <a:cubicBezTo>
                    <a:pt x="138061" y="58214"/>
                    <a:pt x="137743" y="58214"/>
                    <a:pt x="137743" y="57896"/>
                  </a:cubicBezTo>
                  <a:cubicBezTo>
                    <a:pt x="137424" y="57578"/>
                    <a:pt x="137424" y="57260"/>
                    <a:pt x="137106" y="57260"/>
                  </a:cubicBezTo>
                  <a:cubicBezTo>
                    <a:pt x="136788" y="57260"/>
                    <a:pt x="136152" y="57896"/>
                    <a:pt x="135834" y="57896"/>
                  </a:cubicBezTo>
                  <a:lnTo>
                    <a:pt x="135516" y="58214"/>
                  </a:lnTo>
                  <a:lnTo>
                    <a:pt x="134879" y="57896"/>
                  </a:lnTo>
                  <a:cubicBezTo>
                    <a:pt x="133607" y="58533"/>
                    <a:pt x="132335" y="59169"/>
                    <a:pt x="130744" y="59169"/>
                  </a:cubicBezTo>
                  <a:cubicBezTo>
                    <a:pt x="130426" y="59487"/>
                    <a:pt x="130108" y="59487"/>
                    <a:pt x="129472" y="59487"/>
                  </a:cubicBezTo>
                  <a:lnTo>
                    <a:pt x="128199" y="59487"/>
                  </a:lnTo>
                  <a:cubicBezTo>
                    <a:pt x="127881" y="59487"/>
                    <a:pt x="127881" y="59487"/>
                    <a:pt x="127245" y="59805"/>
                  </a:cubicBezTo>
                  <a:cubicBezTo>
                    <a:pt x="125018" y="60759"/>
                    <a:pt x="123109" y="61077"/>
                    <a:pt x="121837" y="61077"/>
                  </a:cubicBezTo>
                  <a:cubicBezTo>
                    <a:pt x="120882" y="61396"/>
                    <a:pt x="120246" y="61396"/>
                    <a:pt x="119610" y="61396"/>
                  </a:cubicBezTo>
                  <a:lnTo>
                    <a:pt x="118338" y="61396"/>
                  </a:lnTo>
                  <a:cubicBezTo>
                    <a:pt x="117065" y="61396"/>
                    <a:pt x="115475" y="61714"/>
                    <a:pt x="113884" y="62350"/>
                  </a:cubicBezTo>
                  <a:cubicBezTo>
                    <a:pt x="113566" y="62350"/>
                    <a:pt x="113566" y="62032"/>
                    <a:pt x="113248" y="62032"/>
                  </a:cubicBezTo>
                  <a:lnTo>
                    <a:pt x="113248" y="60123"/>
                  </a:lnTo>
                  <a:cubicBezTo>
                    <a:pt x="113248" y="59805"/>
                    <a:pt x="113248" y="59805"/>
                    <a:pt x="113884" y="59487"/>
                  </a:cubicBezTo>
                  <a:cubicBezTo>
                    <a:pt x="113566" y="59487"/>
                    <a:pt x="113566" y="59169"/>
                    <a:pt x="113566" y="59169"/>
                  </a:cubicBezTo>
                  <a:cubicBezTo>
                    <a:pt x="113566" y="59169"/>
                    <a:pt x="113248" y="59169"/>
                    <a:pt x="113248" y="59487"/>
                  </a:cubicBezTo>
                  <a:cubicBezTo>
                    <a:pt x="112930" y="59487"/>
                    <a:pt x="112612" y="59805"/>
                    <a:pt x="112612" y="59805"/>
                  </a:cubicBezTo>
                  <a:lnTo>
                    <a:pt x="110385" y="61396"/>
                  </a:lnTo>
                  <a:lnTo>
                    <a:pt x="109431" y="61396"/>
                  </a:lnTo>
                  <a:cubicBezTo>
                    <a:pt x="108794" y="62032"/>
                    <a:pt x="108158" y="62350"/>
                    <a:pt x="107204" y="62350"/>
                  </a:cubicBezTo>
                  <a:cubicBezTo>
                    <a:pt x="101478" y="73166"/>
                    <a:pt x="98933" y="75393"/>
                    <a:pt x="97979" y="75393"/>
                  </a:cubicBezTo>
                  <a:cubicBezTo>
                    <a:pt x="97342" y="75393"/>
                    <a:pt x="97342" y="74756"/>
                    <a:pt x="97342" y="74120"/>
                  </a:cubicBezTo>
                  <a:lnTo>
                    <a:pt x="97342" y="73802"/>
                  </a:lnTo>
                  <a:cubicBezTo>
                    <a:pt x="97342" y="73802"/>
                    <a:pt x="97024" y="74120"/>
                    <a:pt x="96706" y="74120"/>
                  </a:cubicBezTo>
                  <a:cubicBezTo>
                    <a:pt x="96388" y="74120"/>
                    <a:pt x="96388" y="74120"/>
                    <a:pt x="96388" y="74438"/>
                  </a:cubicBezTo>
                  <a:cubicBezTo>
                    <a:pt x="96388" y="74756"/>
                    <a:pt x="97660" y="77301"/>
                    <a:pt x="97660" y="77619"/>
                  </a:cubicBezTo>
                  <a:lnTo>
                    <a:pt x="97660" y="77937"/>
                  </a:lnTo>
                  <a:cubicBezTo>
                    <a:pt x="97342" y="78256"/>
                    <a:pt x="97342" y="78574"/>
                    <a:pt x="97024" y="79528"/>
                  </a:cubicBezTo>
                  <a:lnTo>
                    <a:pt x="96070" y="80164"/>
                  </a:lnTo>
                  <a:cubicBezTo>
                    <a:pt x="96070" y="80482"/>
                    <a:pt x="96388" y="80482"/>
                    <a:pt x="96706" y="80800"/>
                  </a:cubicBezTo>
                  <a:cubicBezTo>
                    <a:pt x="96706" y="80800"/>
                    <a:pt x="97024" y="81119"/>
                    <a:pt x="97024" y="81437"/>
                  </a:cubicBezTo>
                  <a:cubicBezTo>
                    <a:pt x="97024" y="81755"/>
                    <a:pt x="97024" y="82391"/>
                    <a:pt x="96706" y="83027"/>
                  </a:cubicBezTo>
                  <a:cubicBezTo>
                    <a:pt x="96070" y="83345"/>
                    <a:pt x="95752" y="83663"/>
                    <a:pt x="95752" y="83663"/>
                  </a:cubicBezTo>
                  <a:cubicBezTo>
                    <a:pt x="95434" y="83982"/>
                    <a:pt x="95115" y="84300"/>
                    <a:pt x="94797" y="84300"/>
                  </a:cubicBezTo>
                  <a:cubicBezTo>
                    <a:pt x="94161" y="84618"/>
                    <a:pt x="93843" y="84618"/>
                    <a:pt x="93843" y="84936"/>
                  </a:cubicBezTo>
                  <a:cubicBezTo>
                    <a:pt x="93843" y="84936"/>
                    <a:pt x="94479" y="85254"/>
                    <a:pt x="94797" y="85572"/>
                  </a:cubicBezTo>
                  <a:cubicBezTo>
                    <a:pt x="95115" y="85572"/>
                    <a:pt x="95434" y="86208"/>
                    <a:pt x="95115" y="86208"/>
                  </a:cubicBezTo>
                  <a:cubicBezTo>
                    <a:pt x="94161" y="86845"/>
                    <a:pt x="94161" y="86845"/>
                    <a:pt x="93843" y="87481"/>
                  </a:cubicBezTo>
                  <a:lnTo>
                    <a:pt x="93843" y="87799"/>
                  </a:lnTo>
                  <a:cubicBezTo>
                    <a:pt x="94161" y="89071"/>
                    <a:pt x="89071" y="104341"/>
                    <a:pt x="89071" y="106567"/>
                  </a:cubicBezTo>
                  <a:cubicBezTo>
                    <a:pt x="89071" y="107840"/>
                    <a:pt x="89071" y="108794"/>
                    <a:pt x="88117" y="109112"/>
                  </a:cubicBezTo>
                  <a:lnTo>
                    <a:pt x="88117" y="111339"/>
                  </a:lnTo>
                  <a:cubicBezTo>
                    <a:pt x="88117" y="111657"/>
                    <a:pt x="87163" y="111657"/>
                    <a:pt x="87163" y="112293"/>
                  </a:cubicBezTo>
                  <a:lnTo>
                    <a:pt x="87481" y="112612"/>
                  </a:lnTo>
                  <a:cubicBezTo>
                    <a:pt x="87481" y="112930"/>
                    <a:pt x="87481" y="113884"/>
                    <a:pt x="87163" y="113884"/>
                  </a:cubicBezTo>
                  <a:lnTo>
                    <a:pt x="87163" y="114520"/>
                  </a:lnTo>
                  <a:cubicBezTo>
                    <a:pt x="87163" y="115156"/>
                    <a:pt x="86526" y="117383"/>
                    <a:pt x="85572" y="117383"/>
                  </a:cubicBezTo>
                  <a:cubicBezTo>
                    <a:pt x="84936" y="117383"/>
                    <a:pt x="84936" y="118338"/>
                    <a:pt x="84936" y="118338"/>
                  </a:cubicBezTo>
                  <a:cubicBezTo>
                    <a:pt x="85254" y="118338"/>
                    <a:pt x="85890" y="118656"/>
                    <a:pt x="85890" y="118974"/>
                  </a:cubicBezTo>
                  <a:cubicBezTo>
                    <a:pt x="85890" y="119292"/>
                    <a:pt x="85890" y="119292"/>
                    <a:pt x="85254" y="119610"/>
                  </a:cubicBezTo>
                  <a:lnTo>
                    <a:pt x="85572" y="119928"/>
                  </a:lnTo>
                  <a:lnTo>
                    <a:pt x="85572" y="120882"/>
                  </a:lnTo>
                  <a:lnTo>
                    <a:pt x="84936" y="120882"/>
                  </a:lnTo>
                  <a:cubicBezTo>
                    <a:pt x="85254" y="121519"/>
                    <a:pt x="85254" y="122155"/>
                    <a:pt x="85254" y="122473"/>
                  </a:cubicBezTo>
                  <a:lnTo>
                    <a:pt x="84300" y="123745"/>
                  </a:lnTo>
                  <a:cubicBezTo>
                    <a:pt x="84300" y="124064"/>
                    <a:pt x="84618" y="124064"/>
                    <a:pt x="84618" y="124382"/>
                  </a:cubicBezTo>
                  <a:lnTo>
                    <a:pt x="84618" y="124700"/>
                  </a:lnTo>
                  <a:cubicBezTo>
                    <a:pt x="84618" y="125018"/>
                    <a:pt x="84300" y="125018"/>
                    <a:pt x="83982" y="125336"/>
                  </a:cubicBezTo>
                  <a:cubicBezTo>
                    <a:pt x="83982" y="126290"/>
                    <a:pt x="83982" y="126927"/>
                    <a:pt x="83664" y="127563"/>
                  </a:cubicBezTo>
                  <a:cubicBezTo>
                    <a:pt x="83664" y="127881"/>
                    <a:pt x="83345" y="128199"/>
                    <a:pt x="83345" y="128517"/>
                  </a:cubicBezTo>
                  <a:cubicBezTo>
                    <a:pt x="83027" y="128517"/>
                    <a:pt x="82709" y="129153"/>
                    <a:pt x="82709" y="130108"/>
                  </a:cubicBezTo>
                  <a:cubicBezTo>
                    <a:pt x="82709" y="130426"/>
                    <a:pt x="83027" y="130426"/>
                    <a:pt x="83027" y="130744"/>
                  </a:cubicBezTo>
                  <a:lnTo>
                    <a:pt x="83027" y="131380"/>
                  </a:lnTo>
                  <a:cubicBezTo>
                    <a:pt x="83027" y="132016"/>
                    <a:pt x="82391" y="132016"/>
                    <a:pt x="82391" y="133289"/>
                  </a:cubicBezTo>
                  <a:cubicBezTo>
                    <a:pt x="82391" y="133607"/>
                    <a:pt x="81755" y="134243"/>
                    <a:pt x="81755" y="134243"/>
                  </a:cubicBezTo>
                  <a:cubicBezTo>
                    <a:pt x="80800" y="134879"/>
                    <a:pt x="80164" y="134879"/>
                    <a:pt x="80164" y="135198"/>
                  </a:cubicBezTo>
                  <a:cubicBezTo>
                    <a:pt x="80164" y="135198"/>
                    <a:pt x="80482" y="135516"/>
                    <a:pt x="80800" y="135516"/>
                  </a:cubicBezTo>
                  <a:cubicBezTo>
                    <a:pt x="80800" y="135834"/>
                    <a:pt x="81119" y="135834"/>
                    <a:pt x="81119" y="136152"/>
                  </a:cubicBezTo>
                  <a:lnTo>
                    <a:pt x="81119" y="136788"/>
                  </a:lnTo>
                  <a:cubicBezTo>
                    <a:pt x="81119" y="137742"/>
                    <a:pt x="80482" y="138379"/>
                    <a:pt x="79528" y="139015"/>
                  </a:cubicBezTo>
                  <a:cubicBezTo>
                    <a:pt x="79210" y="139333"/>
                    <a:pt x="78892" y="139333"/>
                    <a:pt x="78892" y="139651"/>
                  </a:cubicBezTo>
                  <a:lnTo>
                    <a:pt x="79210" y="139969"/>
                  </a:lnTo>
                  <a:cubicBezTo>
                    <a:pt x="79210" y="140287"/>
                    <a:pt x="79210" y="140605"/>
                    <a:pt x="79528" y="140924"/>
                  </a:cubicBezTo>
                  <a:cubicBezTo>
                    <a:pt x="79528" y="141242"/>
                    <a:pt x="79846" y="141560"/>
                    <a:pt x="79846" y="141560"/>
                  </a:cubicBezTo>
                  <a:cubicBezTo>
                    <a:pt x="79846" y="141878"/>
                    <a:pt x="79528" y="141878"/>
                    <a:pt x="79528" y="141878"/>
                  </a:cubicBezTo>
                  <a:cubicBezTo>
                    <a:pt x="79528" y="142196"/>
                    <a:pt x="79528" y="142514"/>
                    <a:pt x="79846" y="142514"/>
                  </a:cubicBezTo>
                  <a:lnTo>
                    <a:pt x="80482" y="142514"/>
                  </a:lnTo>
                  <a:lnTo>
                    <a:pt x="80482" y="142832"/>
                  </a:lnTo>
                  <a:lnTo>
                    <a:pt x="80164" y="143150"/>
                  </a:lnTo>
                  <a:lnTo>
                    <a:pt x="79528" y="143150"/>
                  </a:lnTo>
                  <a:cubicBezTo>
                    <a:pt x="79210" y="143150"/>
                    <a:pt x="79210" y="142832"/>
                    <a:pt x="78892" y="142514"/>
                  </a:cubicBezTo>
                  <a:lnTo>
                    <a:pt x="78574" y="142514"/>
                  </a:lnTo>
                  <a:cubicBezTo>
                    <a:pt x="78256" y="142514"/>
                    <a:pt x="77619" y="143150"/>
                    <a:pt x="77619" y="144105"/>
                  </a:cubicBezTo>
                  <a:cubicBezTo>
                    <a:pt x="77619" y="144423"/>
                    <a:pt x="77301" y="144423"/>
                    <a:pt x="77301" y="144423"/>
                  </a:cubicBezTo>
                  <a:lnTo>
                    <a:pt x="76665" y="144423"/>
                  </a:lnTo>
                  <a:cubicBezTo>
                    <a:pt x="76665" y="144105"/>
                    <a:pt x="75711" y="144741"/>
                    <a:pt x="75711" y="144741"/>
                  </a:cubicBezTo>
                  <a:cubicBezTo>
                    <a:pt x="75393" y="145377"/>
                    <a:pt x="75393" y="145695"/>
                    <a:pt x="75393" y="146013"/>
                  </a:cubicBezTo>
                  <a:lnTo>
                    <a:pt x="75393" y="146650"/>
                  </a:lnTo>
                  <a:cubicBezTo>
                    <a:pt x="75393" y="146968"/>
                    <a:pt x="75393" y="147286"/>
                    <a:pt x="75074" y="147286"/>
                  </a:cubicBezTo>
                  <a:lnTo>
                    <a:pt x="75074" y="148558"/>
                  </a:lnTo>
                  <a:lnTo>
                    <a:pt x="75711" y="149831"/>
                  </a:lnTo>
                  <a:lnTo>
                    <a:pt x="75711" y="150149"/>
                  </a:lnTo>
                  <a:cubicBezTo>
                    <a:pt x="75711" y="150467"/>
                    <a:pt x="75711" y="150467"/>
                    <a:pt x="75393" y="150467"/>
                  </a:cubicBezTo>
                  <a:cubicBezTo>
                    <a:pt x="75393" y="151103"/>
                    <a:pt x="75074" y="151421"/>
                    <a:pt x="74438" y="152057"/>
                  </a:cubicBezTo>
                  <a:cubicBezTo>
                    <a:pt x="74438" y="152057"/>
                    <a:pt x="74438" y="152376"/>
                    <a:pt x="74756" y="152694"/>
                  </a:cubicBezTo>
                  <a:lnTo>
                    <a:pt x="75074" y="152694"/>
                  </a:lnTo>
                  <a:lnTo>
                    <a:pt x="76029" y="152057"/>
                  </a:lnTo>
                  <a:cubicBezTo>
                    <a:pt x="76347" y="152057"/>
                    <a:pt x="76665" y="151421"/>
                    <a:pt x="77301" y="151421"/>
                  </a:cubicBezTo>
                  <a:cubicBezTo>
                    <a:pt x="77619" y="151421"/>
                    <a:pt x="78256" y="151103"/>
                    <a:pt x="78256" y="150785"/>
                  </a:cubicBezTo>
                  <a:lnTo>
                    <a:pt x="78892" y="150785"/>
                  </a:lnTo>
                  <a:lnTo>
                    <a:pt x="78892" y="151421"/>
                  </a:lnTo>
                  <a:cubicBezTo>
                    <a:pt x="78574" y="151421"/>
                    <a:pt x="78256" y="152057"/>
                    <a:pt x="77937" y="152694"/>
                  </a:cubicBezTo>
                  <a:lnTo>
                    <a:pt x="77937" y="153330"/>
                  </a:lnTo>
                  <a:cubicBezTo>
                    <a:pt x="77937" y="154284"/>
                    <a:pt x="77937" y="154602"/>
                    <a:pt x="76029" y="154602"/>
                  </a:cubicBezTo>
                  <a:cubicBezTo>
                    <a:pt x="75711" y="154602"/>
                    <a:pt x="75711" y="155239"/>
                    <a:pt x="75711" y="155557"/>
                  </a:cubicBezTo>
                  <a:lnTo>
                    <a:pt x="75711" y="156511"/>
                  </a:lnTo>
                  <a:cubicBezTo>
                    <a:pt x="75711" y="156829"/>
                    <a:pt x="75711" y="156829"/>
                    <a:pt x="76029" y="157147"/>
                  </a:cubicBezTo>
                  <a:cubicBezTo>
                    <a:pt x="76347" y="157465"/>
                    <a:pt x="77301" y="157147"/>
                    <a:pt x="77301" y="157783"/>
                  </a:cubicBezTo>
                  <a:lnTo>
                    <a:pt x="77301" y="158102"/>
                  </a:lnTo>
                  <a:cubicBezTo>
                    <a:pt x="77301" y="158420"/>
                    <a:pt x="76983" y="158420"/>
                    <a:pt x="76983" y="159056"/>
                  </a:cubicBezTo>
                  <a:cubicBezTo>
                    <a:pt x="76983" y="159692"/>
                    <a:pt x="76347" y="159692"/>
                    <a:pt x="76347" y="159692"/>
                  </a:cubicBezTo>
                  <a:lnTo>
                    <a:pt x="76029" y="160010"/>
                  </a:lnTo>
                  <a:cubicBezTo>
                    <a:pt x="76029" y="160646"/>
                    <a:pt x="76029" y="160646"/>
                    <a:pt x="76347" y="161283"/>
                  </a:cubicBezTo>
                  <a:cubicBezTo>
                    <a:pt x="76347" y="161601"/>
                    <a:pt x="76347" y="161601"/>
                    <a:pt x="76029" y="161601"/>
                  </a:cubicBezTo>
                  <a:cubicBezTo>
                    <a:pt x="76029" y="161601"/>
                    <a:pt x="75711" y="161601"/>
                    <a:pt x="75393" y="161283"/>
                  </a:cubicBezTo>
                  <a:lnTo>
                    <a:pt x="75393" y="160965"/>
                  </a:lnTo>
                  <a:lnTo>
                    <a:pt x="75074" y="160646"/>
                  </a:lnTo>
                  <a:cubicBezTo>
                    <a:pt x="75393" y="160010"/>
                    <a:pt x="75711" y="159692"/>
                    <a:pt x="75711" y="158738"/>
                  </a:cubicBezTo>
                  <a:lnTo>
                    <a:pt x="75393" y="158102"/>
                  </a:lnTo>
                  <a:cubicBezTo>
                    <a:pt x="74120" y="158738"/>
                    <a:pt x="73802" y="159374"/>
                    <a:pt x="73484" y="159692"/>
                  </a:cubicBezTo>
                  <a:lnTo>
                    <a:pt x="73166" y="160010"/>
                  </a:lnTo>
                  <a:cubicBezTo>
                    <a:pt x="73166" y="160010"/>
                    <a:pt x="73166" y="160328"/>
                    <a:pt x="73484" y="160328"/>
                  </a:cubicBezTo>
                  <a:cubicBezTo>
                    <a:pt x="73802" y="160646"/>
                    <a:pt x="74120" y="160646"/>
                    <a:pt x="74120" y="160646"/>
                  </a:cubicBezTo>
                  <a:lnTo>
                    <a:pt x="74120" y="160965"/>
                  </a:lnTo>
                  <a:cubicBezTo>
                    <a:pt x="73802" y="161283"/>
                    <a:pt x="73484" y="161601"/>
                    <a:pt x="73484" y="162555"/>
                  </a:cubicBezTo>
                  <a:cubicBezTo>
                    <a:pt x="73484" y="162873"/>
                    <a:pt x="73484" y="162873"/>
                    <a:pt x="72530" y="163191"/>
                  </a:cubicBezTo>
                  <a:cubicBezTo>
                    <a:pt x="71893" y="163509"/>
                    <a:pt x="71575" y="163509"/>
                    <a:pt x="71575" y="163828"/>
                  </a:cubicBezTo>
                  <a:cubicBezTo>
                    <a:pt x="71575" y="164146"/>
                    <a:pt x="71893" y="164146"/>
                    <a:pt x="72211" y="164464"/>
                  </a:cubicBezTo>
                  <a:cubicBezTo>
                    <a:pt x="72848" y="164782"/>
                    <a:pt x="72848" y="165736"/>
                    <a:pt x="72848" y="165736"/>
                  </a:cubicBezTo>
                  <a:cubicBezTo>
                    <a:pt x="71893" y="166054"/>
                    <a:pt x="71893" y="166372"/>
                    <a:pt x="71893" y="166691"/>
                  </a:cubicBezTo>
                  <a:lnTo>
                    <a:pt x="72211" y="167009"/>
                  </a:lnTo>
                  <a:cubicBezTo>
                    <a:pt x="72211" y="167645"/>
                    <a:pt x="72211" y="167645"/>
                    <a:pt x="71893" y="168281"/>
                  </a:cubicBezTo>
                  <a:cubicBezTo>
                    <a:pt x="71575" y="168599"/>
                    <a:pt x="71257" y="168599"/>
                    <a:pt x="71257" y="168917"/>
                  </a:cubicBezTo>
                  <a:cubicBezTo>
                    <a:pt x="71257" y="169235"/>
                    <a:pt x="71575" y="169554"/>
                    <a:pt x="71893" y="169872"/>
                  </a:cubicBezTo>
                  <a:lnTo>
                    <a:pt x="72211" y="170190"/>
                  </a:lnTo>
                  <a:cubicBezTo>
                    <a:pt x="72211" y="170508"/>
                    <a:pt x="71893" y="170826"/>
                    <a:pt x="71575" y="170826"/>
                  </a:cubicBezTo>
                  <a:lnTo>
                    <a:pt x="70621" y="172735"/>
                  </a:lnTo>
                  <a:lnTo>
                    <a:pt x="70621" y="173053"/>
                  </a:lnTo>
                  <a:cubicBezTo>
                    <a:pt x="70939" y="173371"/>
                    <a:pt x="70939" y="173689"/>
                    <a:pt x="70939" y="174325"/>
                  </a:cubicBezTo>
                  <a:cubicBezTo>
                    <a:pt x="70621" y="174643"/>
                    <a:pt x="70621" y="174962"/>
                    <a:pt x="70621" y="175280"/>
                  </a:cubicBezTo>
                  <a:lnTo>
                    <a:pt x="70621" y="176552"/>
                  </a:lnTo>
                  <a:cubicBezTo>
                    <a:pt x="70621" y="176870"/>
                    <a:pt x="70939" y="176870"/>
                    <a:pt x="70939" y="177188"/>
                  </a:cubicBezTo>
                  <a:cubicBezTo>
                    <a:pt x="71257" y="177188"/>
                    <a:pt x="71257" y="177188"/>
                    <a:pt x="71257" y="177506"/>
                  </a:cubicBezTo>
                  <a:cubicBezTo>
                    <a:pt x="71257" y="177824"/>
                    <a:pt x="70939" y="178143"/>
                    <a:pt x="70621" y="178143"/>
                  </a:cubicBezTo>
                  <a:cubicBezTo>
                    <a:pt x="70621" y="178461"/>
                    <a:pt x="70621" y="179415"/>
                    <a:pt x="70303" y="180051"/>
                  </a:cubicBezTo>
                  <a:cubicBezTo>
                    <a:pt x="69985" y="180369"/>
                    <a:pt x="69985" y="180688"/>
                    <a:pt x="69985" y="180688"/>
                  </a:cubicBezTo>
                  <a:cubicBezTo>
                    <a:pt x="69985" y="181006"/>
                    <a:pt x="69985" y="181324"/>
                    <a:pt x="70303" y="181324"/>
                  </a:cubicBezTo>
                  <a:lnTo>
                    <a:pt x="70303" y="182278"/>
                  </a:lnTo>
                  <a:cubicBezTo>
                    <a:pt x="70303" y="182596"/>
                    <a:pt x="69985" y="182914"/>
                    <a:pt x="69030" y="183232"/>
                  </a:cubicBezTo>
                  <a:cubicBezTo>
                    <a:pt x="68712" y="183551"/>
                    <a:pt x="68394" y="183551"/>
                    <a:pt x="68394" y="183551"/>
                  </a:cubicBezTo>
                  <a:cubicBezTo>
                    <a:pt x="68394" y="184187"/>
                    <a:pt x="68394" y="184505"/>
                    <a:pt x="68712" y="184505"/>
                  </a:cubicBezTo>
                  <a:cubicBezTo>
                    <a:pt x="69667" y="184505"/>
                    <a:pt x="69667" y="184823"/>
                    <a:pt x="69985" y="185777"/>
                  </a:cubicBezTo>
                  <a:cubicBezTo>
                    <a:pt x="69985" y="186095"/>
                    <a:pt x="69667" y="186095"/>
                    <a:pt x="69667" y="186414"/>
                  </a:cubicBezTo>
                  <a:lnTo>
                    <a:pt x="69985" y="186732"/>
                  </a:lnTo>
                  <a:lnTo>
                    <a:pt x="69985" y="188004"/>
                  </a:lnTo>
                  <a:cubicBezTo>
                    <a:pt x="69985" y="188322"/>
                    <a:pt x="69667" y="188958"/>
                    <a:pt x="69030" y="189277"/>
                  </a:cubicBezTo>
                  <a:lnTo>
                    <a:pt x="69030" y="191185"/>
                  </a:lnTo>
                  <a:cubicBezTo>
                    <a:pt x="68712" y="191503"/>
                    <a:pt x="68712" y="191821"/>
                    <a:pt x="68712" y="192140"/>
                  </a:cubicBezTo>
                  <a:cubicBezTo>
                    <a:pt x="68712" y="192458"/>
                    <a:pt x="68712" y="192458"/>
                    <a:pt x="68394" y="192776"/>
                  </a:cubicBezTo>
                  <a:cubicBezTo>
                    <a:pt x="68394" y="193094"/>
                    <a:pt x="68394" y="193412"/>
                    <a:pt x="68712" y="193412"/>
                  </a:cubicBezTo>
                  <a:lnTo>
                    <a:pt x="69985" y="193412"/>
                  </a:lnTo>
                  <a:cubicBezTo>
                    <a:pt x="70303" y="193412"/>
                    <a:pt x="70621" y="193094"/>
                    <a:pt x="70621" y="192776"/>
                  </a:cubicBezTo>
                  <a:lnTo>
                    <a:pt x="70939" y="192776"/>
                  </a:lnTo>
                  <a:cubicBezTo>
                    <a:pt x="70939" y="192776"/>
                    <a:pt x="71257" y="192776"/>
                    <a:pt x="71257" y="193094"/>
                  </a:cubicBezTo>
                  <a:cubicBezTo>
                    <a:pt x="71257" y="193412"/>
                    <a:pt x="71257" y="193730"/>
                    <a:pt x="71575" y="194366"/>
                  </a:cubicBezTo>
                  <a:cubicBezTo>
                    <a:pt x="71575" y="194366"/>
                    <a:pt x="71575" y="194684"/>
                    <a:pt x="71893" y="194684"/>
                  </a:cubicBezTo>
                  <a:cubicBezTo>
                    <a:pt x="72211" y="195003"/>
                    <a:pt x="72211" y="195321"/>
                    <a:pt x="72211" y="195321"/>
                  </a:cubicBezTo>
                  <a:cubicBezTo>
                    <a:pt x="72211" y="195639"/>
                    <a:pt x="71893" y="195639"/>
                    <a:pt x="71257" y="196275"/>
                  </a:cubicBezTo>
                  <a:cubicBezTo>
                    <a:pt x="70939" y="196593"/>
                    <a:pt x="70939" y="196593"/>
                    <a:pt x="70621" y="196593"/>
                  </a:cubicBezTo>
                  <a:cubicBezTo>
                    <a:pt x="70303" y="196275"/>
                    <a:pt x="69985" y="195321"/>
                    <a:pt x="69349" y="195003"/>
                  </a:cubicBezTo>
                  <a:lnTo>
                    <a:pt x="69030" y="194684"/>
                  </a:lnTo>
                  <a:cubicBezTo>
                    <a:pt x="69030" y="194684"/>
                    <a:pt x="69030" y="195003"/>
                    <a:pt x="68712" y="195321"/>
                  </a:cubicBezTo>
                  <a:cubicBezTo>
                    <a:pt x="68394" y="195957"/>
                    <a:pt x="67758" y="196593"/>
                    <a:pt x="67758" y="197229"/>
                  </a:cubicBezTo>
                  <a:lnTo>
                    <a:pt x="67758" y="197547"/>
                  </a:lnTo>
                  <a:cubicBezTo>
                    <a:pt x="67758" y="198502"/>
                    <a:pt x="67758" y="199774"/>
                    <a:pt x="67440" y="201047"/>
                  </a:cubicBezTo>
                  <a:lnTo>
                    <a:pt x="67440" y="202319"/>
                  </a:lnTo>
                  <a:cubicBezTo>
                    <a:pt x="67122" y="202637"/>
                    <a:pt x="67122" y="202955"/>
                    <a:pt x="67122" y="203273"/>
                  </a:cubicBezTo>
                  <a:lnTo>
                    <a:pt x="67122" y="204546"/>
                  </a:lnTo>
                  <a:cubicBezTo>
                    <a:pt x="67440" y="204864"/>
                    <a:pt x="67440" y="204864"/>
                    <a:pt x="67440" y="205182"/>
                  </a:cubicBezTo>
                  <a:lnTo>
                    <a:pt x="67440" y="206455"/>
                  </a:lnTo>
                  <a:cubicBezTo>
                    <a:pt x="67440" y="206455"/>
                    <a:pt x="67440" y="207091"/>
                    <a:pt x="66803" y="207409"/>
                  </a:cubicBezTo>
                  <a:lnTo>
                    <a:pt x="66803" y="208363"/>
                  </a:lnTo>
                  <a:cubicBezTo>
                    <a:pt x="66803" y="208999"/>
                    <a:pt x="67122" y="209636"/>
                    <a:pt x="67122" y="210272"/>
                  </a:cubicBezTo>
                  <a:cubicBezTo>
                    <a:pt x="67122" y="210908"/>
                    <a:pt x="66803" y="211226"/>
                    <a:pt x="66803" y="211862"/>
                  </a:cubicBezTo>
                  <a:lnTo>
                    <a:pt x="66803" y="212181"/>
                  </a:lnTo>
                  <a:cubicBezTo>
                    <a:pt x="66803" y="212499"/>
                    <a:pt x="66803" y="212499"/>
                    <a:pt x="67122" y="212499"/>
                  </a:cubicBezTo>
                  <a:lnTo>
                    <a:pt x="67440" y="212499"/>
                  </a:lnTo>
                  <a:lnTo>
                    <a:pt x="67758" y="213135"/>
                  </a:lnTo>
                  <a:cubicBezTo>
                    <a:pt x="67122" y="213453"/>
                    <a:pt x="67440" y="213771"/>
                    <a:pt x="67122" y="214089"/>
                  </a:cubicBezTo>
                  <a:lnTo>
                    <a:pt x="67122" y="216634"/>
                  </a:lnTo>
                  <a:cubicBezTo>
                    <a:pt x="67122" y="216952"/>
                    <a:pt x="67122" y="216952"/>
                    <a:pt x="67440" y="216952"/>
                  </a:cubicBezTo>
                  <a:lnTo>
                    <a:pt x="67758" y="216952"/>
                  </a:lnTo>
                  <a:cubicBezTo>
                    <a:pt x="67758" y="216316"/>
                    <a:pt x="68394" y="215680"/>
                    <a:pt x="68394" y="215362"/>
                  </a:cubicBezTo>
                  <a:lnTo>
                    <a:pt x="68712" y="215044"/>
                  </a:lnTo>
                  <a:cubicBezTo>
                    <a:pt x="68712" y="215044"/>
                    <a:pt x="68712" y="215362"/>
                    <a:pt x="69030" y="215362"/>
                  </a:cubicBezTo>
                  <a:cubicBezTo>
                    <a:pt x="69985" y="215680"/>
                    <a:pt x="69985" y="215680"/>
                    <a:pt x="69985" y="216634"/>
                  </a:cubicBezTo>
                  <a:cubicBezTo>
                    <a:pt x="69349" y="216634"/>
                    <a:pt x="69349" y="216952"/>
                    <a:pt x="69349" y="217270"/>
                  </a:cubicBezTo>
                  <a:cubicBezTo>
                    <a:pt x="69349" y="217270"/>
                    <a:pt x="69985" y="217270"/>
                    <a:pt x="69985" y="217588"/>
                  </a:cubicBezTo>
                  <a:cubicBezTo>
                    <a:pt x="69667" y="218861"/>
                    <a:pt x="69667" y="219815"/>
                    <a:pt x="69667" y="220770"/>
                  </a:cubicBezTo>
                  <a:lnTo>
                    <a:pt x="69030" y="220770"/>
                  </a:lnTo>
                  <a:cubicBezTo>
                    <a:pt x="68712" y="220770"/>
                    <a:pt x="68712" y="220451"/>
                    <a:pt x="68394" y="220133"/>
                  </a:cubicBezTo>
                  <a:cubicBezTo>
                    <a:pt x="67758" y="219497"/>
                    <a:pt x="67758" y="219179"/>
                    <a:pt x="67758" y="218861"/>
                  </a:cubicBezTo>
                  <a:cubicBezTo>
                    <a:pt x="67758" y="218861"/>
                    <a:pt x="67758" y="218543"/>
                    <a:pt x="68394" y="217907"/>
                  </a:cubicBezTo>
                  <a:lnTo>
                    <a:pt x="68712" y="217588"/>
                  </a:lnTo>
                  <a:lnTo>
                    <a:pt x="68394" y="217588"/>
                  </a:lnTo>
                  <a:cubicBezTo>
                    <a:pt x="68394" y="217270"/>
                    <a:pt x="67758" y="217270"/>
                    <a:pt x="67758" y="217270"/>
                  </a:cubicBezTo>
                  <a:cubicBezTo>
                    <a:pt x="67440" y="217588"/>
                    <a:pt x="67122" y="217907"/>
                    <a:pt x="66803" y="218861"/>
                  </a:cubicBezTo>
                  <a:lnTo>
                    <a:pt x="66803" y="219815"/>
                  </a:lnTo>
                  <a:cubicBezTo>
                    <a:pt x="66803" y="220133"/>
                    <a:pt x="66485" y="220451"/>
                    <a:pt x="65849" y="220770"/>
                  </a:cubicBezTo>
                  <a:cubicBezTo>
                    <a:pt x="65531" y="220770"/>
                    <a:pt x="65849" y="221088"/>
                    <a:pt x="66485" y="221406"/>
                  </a:cubicBezTo>
                  <a:lnTo>
                    <a:pt x="67122" y="222042"/>
                  </a:lnTo>
                  <a:cubicBezTo>
                    <a:pt x="66167" y="222360"/>
                    <a:pt x="66167" y="222360"/>
                    <a:pt x="66167" y="222678"/>
                  </a:cubicBezTo>
                  <a:lnTo>
                    <a:pt x="66167" y="223314"/>
                  </a:lnTo>
                  <a:cubicBezTo>
                    <a:pt x="66167" y="223633"/>
                    <a:pt x="67122" y="223951"/>
                    <a:pt x="67758" y="223951"/>
                  </a:cubicBezTo>
                  <a:lnTo>
                    <a:pt x="68712" y="223951"/>
                  </a:lnTo>
                  <a:cubicBezTo>
                    <a:pt x="69667" y="223951"/>
                    <a:pt x="69985" y="223951"/>
                    <a:pt x="69985" y="224269"/>
                  </a:cubicBezTo>
                  <a:cubicBezTo>
                    <a:pt x="69985" y="224587"/>
                    <a:pt x="69667" y="224905"/>
                    <a:pt x="69667" y="225541"/>
                  </a:cubicBezTo>
                  <a:cubicBezTo>
                    <a:pt x="69667" y="227132"/>
                    <a:pt x="69667" y="229041"/>
                    <a:pt x="69985" y="230949"/>
                  </a:cubicBezTo>
                  <a:lnTo>
                    <a:pt x="69985" y="232222"/>
                  </a:lnTo>
                  <a:cubicBezTo>
                    <a:pt x="69349" y="232222"/>
                    <a:pt x="69349" y="232540"/>
                    <a:pt x="69349" y="232540"/>
                  </a:cubicBezTo>
                  <a:cubicBezTo>
                    <a:pt x="69667" y="232858"/>
                    <a:pt x="69667" y="232858"/>
                    <a:pt x="69667" y="233494"/>
                  </a:cubicBezTo>
                  <a:cubicBezTo>
                    <a:pt x="69985" y="234448"/>
                    <a:pt x="69985" y="235403"/>
                    <a:pt x="69985" y="236039"/>
                  </a:cubicBezTo>
                  <a:cubicBezTo>
                    <a:pt x="69985" y="236039"/>
                    <a:pt x="69667" y="236357"/>
                    <a:pt x="69667" y="236675"/>
                  </a:cubicBezTo>
                  <a:cubicBezTo>
                    <a:pt x="69667" y="236993"/>
                    <a:pt x="69667" y="237311"/>
                    <a:pt x="69030" y="237630"/>
                  </a:cubicBezTo>
                  <a:lnTo>
                    <a:pt x="69030" y="239538"/>
                  </a:lnTo>
                  <a:cubicBezTo>
                    <a:pt x="69349" y="239856"/>
                    <a:pt x="69667" y="239856"/>
                    <a:pt x="69667" y="239856"/>
                  </a:cubicBezTo>
                  <a:lnTo>
                    <a:pt x="69349" y="240174"/>
                  </a:lnTo>
                  <a:cubicBezTo>
                    <a:pt x="69349" y="240493"/>
                    <a:pt x="69349" y="240811"/>
                    <a:pt x="69985" y="241129"/>
                  </a:cubicBezTo>
                  <a:lnTo>
                    <a:pt x="69985" y="241447"/>
                  </a:lnTo>
                  <a:cubicBezTo>
                    <a:pt x="69349" y="241765"/>
                    <a:pt x="69349" y="241765"/>
                    <a:pt x="69349" y="242083"/>
                  </a:cubicBezTo>
                  <a:cubicBezTo>
                    <a:pt x="69667" y="242401"/>
                    <a:pt x="69667" y="242719"/>
                    <a:pt x="69667" y="242719"/>
                  </a:cubicBezTo>
                  <a:cubicBezTo>
                    <a:pt x="69667" y="243037"/>
                    <a:pt x="69667" y="243037"/>
                    <a:pt x="69349" y="243037"/>
                  </a:cubicBezTo>
                  <a:lnTo>
                    <a:pt x="69030" y="243356"/>
                  </a:lnTo>
                  <a:lnTo>
                    <a:pt x="68712" y="243037"/>
                  </a:lnTo>
                  <a:lnTo>
                    <a:pt x="68712" y="242083"/>
                  </a:lnTo>
                  <a:cubicBezTo>
                    <a:pt x="68712" y="241765"/>
                    <a:pt x="68394" y="241447"/>
                    <a:pt x="67758" y="241447"/>
                  </a:cubicBezTo>
                  <a:cubicBezTo>
                    <a:pt x="67758" y="241447"/>
                    <a:pt x="67440" y="241765"/>
                    <a:pt x="67440" y="242083"/>
                  </a:cubicBezTo>
                  <a:cubicBezTo>
                    <a:pt x="67440" y="243037"/>
                    <a:pt x="67122" y="244310"/>
                    <a:pt x="67122" y="245582"/>
                  </a:cubicBezTo>
                  <a:cubicBezTo>
                    <a:pt x="67122" y="245900"/>
                    <a:pt x="67440" y="245900"/>
                    <a:pt x="68076" y="245900"/>
                  </a:cubicBezTo>
                  <a:cubicBezTo>
                    <a:pt x="68394" y="245900"/>
                    <a:pt x="68394" y="245264"/>
                    <a:pt x="68712" y="245264"/>
                  </a:cubicBezTo>
                  <a:cubicBezTo>
                    <a:pt x="69030" y="245264"/>
                    <a:pt x="69667" y="245582"/>
                    <a:pt x="69667" y="245582"/>
                  </a:cubicBezTo>
                  <a:cubicBezTo>
                    <a:pt x="69667" y="245900"/>
                    <a:pt x="69985" y="246537"/>
                    <a:pt x="69985" y="246537"/>
                  </a:cubicBezTo>
                  <a:lnTo>
                    <a:pt x="69985" y="247809"/>
                  </a:lnTo>
                  <a:lnTo>
                    <a:pt x="70621" y="249082"/>
                  </a:lnTo>
                  <a:lnTo>
                    <a:pt x="70621" y="250354"/>
                  </a:lnTo>
                  <a:cubicBezTo>
                    <a:pt x="70621" y="250672"/>
                    <a:pt x="70303" y="250990"/>
                    <a:pt x="70303" y="251308"/>
                  </a:cubicBezTo>
                  <a:cubicBezTo>
                    <a:pt x="70303" y="251626"/>
                    <a:pt x="70621" y="252263"/>
                    <a:pt x="70939" y="252581"/>
                  </a:cubicBezTo>
                  <a:lnTo>
                    <a:pt x="70939" y="253535"/>
                  </a:lnTo>
                  <a:cubicBezTo>
                    <a:pt x="70939" y="253853"/>
                    <a:pt x="70939" y="254171"/>
                    <a:pt x="71257" y="254171"/>
                  </a:cubicBezTo>
                  <a:cubicBezTo>
                    <a:pt x="71575" y="254171"/>
                    <a:pt x="71257" y="254489"/>
                    <a:pt x="71257" y="254489"/>
                  </a:cubicBezTo>
                  <a:lnTo>
                    <a:pt x="71257" y="256716"/>
                  </a:lnTo>
                  <a:cubicBezTo>
                    <a:pt x="71257" y="257034"/>
                    <a:pt x="71257" y="257671"/>
                    <a:pt x="72211" y="258307"/>
                  </a:cubicBezTo>
                  <a:lnTo>
                    <a:pt x="72211" y="259261"/>
                  </a:lnTo>
                  <a:cubicBezTo>
                    <a:pt x="72211" y="259579"/>
                    <a:pt x="72530" y="259897"/>
                    <a:pt x="73166" y="260215"/>
                  </a:cubicBezTo>
                  <a:cubicBezTo>
                    <a:pt x="73166" y="260534"/>
                    <a:pt x="72848" y="260852"/>
                    <a:pt x="73166" y="260852"/>
                  </a:cubicBezTo>
                  <a:cubicBezTo>
                    <a:pt x="73802" y="260852"/>
                    <a:pt x="73802" y="260852"/>
                    <a:pt x="75074" y="260534"/>
                  </a:cubicBezTo>
                  <a:cubicBezTo>
                    <a:pt x="75393" y="260215"/>
                    <a:pt x="76029" y="259579"/>
                    <a:pt x="76983" y="259579"/>
                  </a:cubicBezTo>
                  <a:lnTo>
                    <a:pt x="78574" y="258307"/>
                  </a:lnTo>
                  <a:cubicBezTo>
                    <a:pt x="78892" y="257989"/>
                    <a:pt x="78892" y="257034"/>
                    <a:pt x="79528" y="256716"/>
                  </a:cubicBezTo>
                  <a:lnTo>
                    <a:pt x="79528" y="256398"/>
                  </a:lnTo>
                  <a:cubicBezTo>
                    <a:pt x="80800" y="255762"/>
                    <a:pt x="81119" y="254489"/>
                    <a:pt x="81755" y="254171"/>
                  </a:cubicBezTo>
                  <a:cubicBezTo>
                    <a:pt x="82391" y="253853"/>
                    <a:pt x="82391" y="253535"/>
                    <a:pt x="83027" y="252899"/>
                  </a:cubicBezTo>
                  <a:lnTo>
                    <a:pt x="83027" y="251945"/>
                  </a:lnTo>
                  <a:cubicBezTo>
                    <a:pt x="83027" y="251626"/>
                    <a:pt x="83027" y="251626"/>
                    <a:pt x="83345" y="251308"/>
                  </a:cubicBezTo>
                  <a:lnTo>
                    <a:pt x="83982" y="250672"/>
                  </a:lnTo>
                  <a:cubicBezTo>
                    <a:pt x="83982" y="250354"/>
                    <a:pt x="84300" y="250036"/>
                    <a:pt x="84300" y="249400"/>
                  </a:cubicBezTo>
                  <a:lnTo>
                    <a:pt x="85572" y="248445"/>
                  </a:lnTo>
                  <a:cubicBezTo>
                    <a:pt x="85572" y="247809"/>
                    <a:pt x="85572" y="247173"/>
                    <a:pt x="86526" y="246855"/>
                  </a:cubicBezTo>
                  <a:lnTo>
                    <a:pt x="86526" y="246219"/>
                  </a:lnTo>
                  <a:cubicBezTo>
                    <a:pt x="86526" y="245582"/>
                    <a:pt x="86845" y="244946"/>
                    <a:pt x="87163" y="244310"/>
                  </a:cubicBezTo>
                  <a:lnTo>
                    <a:pt x="89390" y="242401"/>
                  </a:lnTo>
                  <a:cubicBezTo>
                    <a:pt x="89708" y="241765"/>
                    <a:pt x="89708" y="241129"/>
                    <a:pt x="90026" y="240811"/>
                  </a:cubicBezTo>
                  <a:cubicBezTo>
                    <a:pt x="90344" y="240174"/>
                    <a:pt x="90662" y="239856"/>
                    <a:pt x="90662" y="239538"/>
                  </a:cubicBezTo>
                  <a:lnTo>
                    <a:pt x="90344" y="239220"/>
                  </a:lnTo>
                  <a:cubicBezTo>
                    <a:pt x="90344" y="238902"/>
                    <a:pt x="90344" y="238266"/>
                    <a:pt x="90980" y="237948"/>
                  </a:cubicBezTo>
                  <a:lnTo>
                    <a:pt x="91934" y="236039"/>
                  </a:lnTo>
                  <a:cubicBezTo>
                    <a:pt x="92571" y="235721"/>
                    <a:pt x="92571" y="234448"/>
                    <a:pt x="93525" y="233494"/>
                  </a:cubicBezTo>
                  <a:lnTo>
                    <a:pt x="93525" y="233176"/>
                  </a:lnTo>
                  <a:cubicBezTo>
                    <a:pt x="93525" y="232858"/>
                    <a:pt x="94161" y="232858"/>
                    <a:pt x="94479" y="232540"/>
                  </a:cubicBezTo>
                  <a:lnTo>
                    <a:pt x="94161" y="232540"/>
                  </a:lnTo>
                  <a:cubicBezTo>
                    <a:pt x="94797" y="232222"/>
                    <a:pt x="95115" y="231585"/>
                    <a:pt x="95115" y="230631"/>
                  </a:cubicBezTo>
                  <a:cubicBezTo>
                    <a:pt x="95115" y="229995"/>
                    <a:pt x="95434" y="229359"/>
                    <a:pt x="95434" y="229359"/>
                  </a:cubicBezTo>
                  <a:cubicBezTo>
                    <a:pt x="95434" y="229041"/>
                    <a:pt x="96706" y="228722"/>
                    <a:pt x="96706" y="228086"/>
                  </a:cubicBezTo>
                  <a:cubicBezTo>
                    <a:pt x="96706" y="227768"/>
                    <a:pt x="96388" y="227450"/>
                    <a:pt x="96388" y="227132"/>
                  </a:cubicBezTo>
                  <a:cubicBezTo>
                    <a:pt x="96388" y="226814"/>
                    <a:pt x="96388" y="226814"/>
                    <a:pt x="96706" y="226496"/>
                  </a:cubicBezTo>
                  <a:cubicBezTo>
                    <a:pt x="97660" y="225859"/>
                    <a:pt x="97660" y="225859"/>
                    <a:pt x="97660" y="225541"/>
                  </a:cubicBezTo>
                  <a:cubicBezTo>
                    <a:pt x="97979" y="224905"/>
                    <a:pt x="98297" y="224269"/>
                    <a:pt x="98297" y="223951"/>
                  </a:cubicBezTo>
                  <a:cubicBezTo>
                    <a:pt x="98615" y="223314"/>
                    <a:pt x="99569" y="222360"/>
                    <a:pt x="99887" y="222042"/>
                  </a:cubicBezTo>
                  <a:cubicBezTo>
                    <a:pt x="99887" y="220451"/>
                    <a:pt x="100523" y="219179"/>
                    <a:pt x="101478" y="218861"/>
                  </a:cubicBezTo>
                  <a:cubicBezTo>
                    <a:pt x="101478" y="218225"/>
                    <a:pt x="102114" y="217907"/>
                    <a:pt x="102114" y="217907"/>
                  </a:cubicBezTo>
                  <a:cubicBezTo>
                    <a:pt x="102432" y="217270"/>
                    <a:pt x="103068" y="216316"/>
                    <a:pt x="103068" y="215362"/>
                  </a:cubicBezTo>
                  <a:cubicBezTo>
                    <a:pt x="103386" y="215362"/>
                    <a:pt x="104341" y="213771"/>
                    <a:pt x="104341" y="213453"/>
                  </a:cubicBezTo>
                  <a:lnTo>
                    <a:pt x="104023" y="213135"/>
                  </a:lnTo>
                  <a:cubicBezTo>
                    <a:pt x="104023" y="212817"/>
                    <a:pt x="104659" y="212181"/>
                    <a:pt x="104659" y="211862"/>
                  </a:cubicBezTo>
                  <a:cubicBezTo>
                    <a:pt x="104659" y="210908"/>
                    <a:pt x="105931" y="210590"/>
                    <a:pt x="106249" y="209636"/>
                  </a:cubicBezTo>
                  <a:cubicBezTo>
                    <a:pt x="105931" y="209318"/>
                    <a:pt x="105931" y="208999"/>
                    <a:pt x="105931" y="208999"/>
                  </a:cubicBezTo>
                  <a:cubicBezTo>
                    <a:pt x="105931" y="208363"/>
                    <a:pt x="106249" y="208363"/>
                    <a:pt x="106249" y="208045"/>
                  </a:cubicBezTo>
                  <a:cubicBezTo>
                    <a:pt x="107522" y="207727"/>
                    <a:pt x="106886" y="206773"/>
                    <a:pt x="107840" y="206455"/>
                  </a:cubicBezTo>
                  <a:cubicBezTo>
                    <a:pt x="107840" y="205818"/>
                    <a:pt x="108158" y="205182"/>
                    <a:pt x="108476" y="204864"/>
                  </a:cubicBezTo>
                  <a:cubicBezTo>
                    <a:pt x="108476" y="204546"/>
                    <a:pt x="108794" y="203910"/>
                    <a:pt x="108794" y="203592"/>
                  </a:cubicBezTo>
                  <a:lnTo>
                    <a:pt x="108476" y="203273"/>
                  </a:lnTo>
                  <a:cubicBezTo>
                    <a:pt x="108476" y="203273"/>
                    <a:pt x="108794" y="202319"/>
                    <a:pt x="109112" y="202319"/>
                  </a:cubicBezTo>
                  <a:lnTo>
                    <a:pt x="110385" y="201047"/>
                  </a:lnTo>
                  <a:cubicBezTo>
                    <a:pt x="110703" y="200729"/>
                    <a:pt x="110703" y="200410"/>
                    <a:pt x="110703" y="200092"/>
                  </a:cubicBezTo>
                  <a:lnTo>
                    <a:pt x="111339" y="198820"/>
                  </a:lnTo>
                  <a:cubicBezTo>
                    <a:pt x="111339" y="198184"/>
                    <a:pt x="112612" y="198184"/>
                    <a:pt x="112612" y="197547"/>
                  </a:cubicBezTo>
                  <a:cubicBezTo>
                    <a:pt x="112294" y="197229"/>
                    <a:pt x="112294" y="196911"/>
                    <a:pt x="112294" y="196593"/>
                  </a:cubicBezTo>
                  <a:cubicBezTo>
                    <a:pt x="112294" y="196275"/>
                    <a:pt x="112294" y="195957"/>
                    <a:pt x="112612" y="195321"/>
                  </a:cubicBezTo>
                  <a:cubicBezTo>
                    <a:pt x="112612" y="195321"/>
                    <a:pt x="113248" y="195003"/>
                    <a:pt x="113248" y="194684"/>
                  </a:cubicBezTo>
                  <a:lnTo>
                    <a:pt x="113248" y="194366"/>
                  </a:lnTo>
                  <a:cubicBezTo>
                    <a:pt x="113248" y="194048"/>
                    <a:pt x="113248" y="194048"/>
                    <a:pt x="113884" y="193730"/>
                  </a:cubicBezTo>
                  <a:cubicBezTo>
                    <a:pt x="114202" y="193730"/>
                    <a:pt x="114202" y="193412"/>
                    <a:pt x="114202" y="193094"/>
                  </a:cubicBezTo>
                  <a:cubicBezTo>
                    <a:pt x="114202" y="192776"/>
                    <a:pt x="114520" y="192458"/>
                    <a:pt x="114838" y="192140"/>
                  </a:cubicBezTo>
                  <a:lnTo>
                    <a:pt x="114838" y="191503"/>
                  </a:lnTo>
                  <a:cubicBezTo>
                    <a:pt x="114838" y="191185"/>
                    <a:pt x="114838" y="191185"/>
                    <a:pt x="115156" y="191185"/>
                  </a:cubicBezTo>
                  <a:cubicBezTo>
                    <a:pt x="115156" y="189913"/>
                    <a:pt x="115793" y="188640"/>
                    <a:pt x="116747" y="187686"/>
                  </a:cubicBezTo>
                  <a:cubicBezTo>
                    <a:pt x="116747" y="187050"/>
                    <a:pt x="117065" y="186414"/>
                    <a:pt x="117065" y="186095"/>
                  </a:cubicBezTo>
                  <a:cubicBezTo>
                    <a:pt x="117065" y="185777"/>
                    <a:pt x="118020" y="185141"/>
                    <a:pt x="118020" y="184505"/>
                  </a:cubicBezTo>
                  <a:cubicBezTo>
                    <a:pt x="118020" y="184187"/>
                    <a:pt x="118338" y="183551"/>
                    <a:pt x="118974" y="183232"/>
                  </a:cubicBezTo>
                  <a:cubicBezTo>
                    <a:pt x="119610" y="182596"/>
                    <a:pt x="120246" y="181642"/>
                    <a:pt x="120246" y="180688"/>
                  </a:cubicBezTo>
                  <a:lnTo>
                    <a:pt x="120246" y="179415"/>
                  </a:lnTo>
                  <a:cubicBezTo>
                    <a:pt x="119928" y="179097"/>
                    <a:pt x="120564" y="179097"/>
                    <a:pt x="120564" y="179097"/>
                  </a:cubicBezTo>
                  <a:lnTo>
                    <a:pt x="121519" y="177188"/>
                  </a:lnTo>
                  <a:cubicBezTo>
                    <a:pt x="121519" y="176870"/>
                    <a:pt x="122473" y="176552"/>
                    <a:pt x="122155" y="176234"/>
                  </a:cubicBezTo>
                  <a:lnTo>
                    <a:pt x="121519" y="175916"/>
                  </a:lnTo>
                  <a:cubicBezTo>
                    <a:pt x="121519" y="175598"/>
                    <a:pt x="122473" y="175280"/>
                    <a:pt x="122473" y="174962"/>
                  </a:cubicBezTo>
                  <a:cubicBezTo>
                    <a:pt x="122473" y="174643"/>
                    <a:pt x="123428" y="174007"/>
                    <a:pt x="123428" y="173689"/>
                  </a:cubicBezTo>
                  <a:lnTo>
                    <a:pt x="123109" y="173689"/>
                  </a:lnTo>
                  <a:lnTo>
                    <a:pt x="123109" y="173371"/>
                  </a:lnTo>
                  <a:cubicBezTo>
                    <a:pt x="123109" y="173053"/>
                    <a:pt x="123746" y="173053"/>
                    <a:pt x="123746" y="172735"/>
                  </a:cubicBezTo>
                  <a:cubicBezTo>
                    <a:pt x="123746" y="172735"/>
                    <a:pt x="123746" y="172417"/>
                    <a:pt x="123428" y="172098"/>
                  </a:cubicBezTo>
                  <a:cubicBezTo>
                    <a:pt x="123428" y="171780"/>
                    <a:pt x="124382" y="171144"/>
                    <a:pt x="124064" y="170826"/>
                  </a:cubicBezTo>
                  <a:cubicBezTo>
                    <a:pt x="124382" y="170190"/>
                    <a:pt x="124700" y="169872"/>
                    <a:pt x="125018" y="169872"/>
                  </a:cubicBezTo>
                  <a:cubicBezTo>
                    <a:pt x="125654" y="169235"/>
                    <a:pt x="125018" y="168281"/>
                    <a:pt x="126609" y="167645"/>
                  </a:cubicBezTo>
                  <a:cubicBezTo>
                    <a:pt x="137743" y="152694"/>
                    <a:pt x="141878" y="147286"/>
                    <a:pt x="142514" y="147286"/>
                  </a:cubicBezTo>
                  <a:cubicBezTo>
                    <a:pt x="143469" y="147286"/>
                    <a:pt x="133925" y="162873"/>
                    <a:pt x="133607" y="167327"/>
                  </a:cubicBezTo>
                  <a:lnTo>
                    <a:pt x="133925" y="167327"/>
                  </a:lnTo>
                  <a:lnTo>
                    <a:pt x="133925" y="167645"/>
                  </a:lnTo>
                  <a:cubicBezTo>
                    <a:pt x="133925" y="168281"/>
                    <a:pt x="133925" y="168281"/>
                    <a:pt x="133607" y="168599"/>
                  </a:cubicBezTo>
                  <a:lnTo>
                    <a:pt x="134243" y="168599"/>
                  </a:lnTo>
                  <a:cubicBezTo>
                    <a:pt x="134561" y="168599"/>
                    <a:pt x="134879" y="168599"/>
                    <a:pt x="135834" y="167963"/>
                  </a:cubicBezTo>
                  <a:lnTo>
                    <a:pt x="135834" y="168599"/>
                  </a:lnTo>
                  <a:cubicBezTo>
                    <a:pt x="135834" y="169554"/>
                    <a:pt x="135198" y="170190"/>
                    <a:pt x="134879" y="170826"/>
                  </a:cubicBezTo>
                  <a:lnTo>
                    <a:pt x="134879" y="171144"/>
                  </a:lnTo>
                  <a:cubicBezTo>
                    <a:pt x="134561" y="171780"/>
                    <a:pt x="134561" y="171780"/>
                    <a:pt x="133607" y="172098"/>
                  </a:cubicBezTo>
                  <a:cubicBezTo>
                    <a:pt x="133289" y="172417"/>
                    <a:pt x="133289" y="172735"/>
                    <a:pt x="133289" y="173053"/>
                  </a:cubicBezTo>
                  <a:lnTo>
                    <a:pt x="133289" y="173689"/>
                  </a:lnTo>
                  <a:cubicBezTo>
                    <a:pt x="133289" y="173689"/>
                    <a:pt x="133289" y="174007"/>
                    <a:pt x="132971" y="174325"/>
                  </a:cubicBezTo>
                  <a:cubicBezTo>
                    <a:pt x="132335" y="174643"/>
                    <a:pt x="132335" y="174962"/>
                    <a:pt x="132335" y="175280"/>
                  </a:cubicBezTo>
                  <a:cubicBezTo>
                    <a:pt x="132335" y="175598"/>
                    <a:pt x="132335" y="175916"/>
                    <a:pt x="132971" y="176234"/>
                  </a:cubicBezTo>
                  <a:lnTo>
                    <a:pt x="133289" y="176552"/>
                  </a:lnTo>
                  <a:cubicBezTo>
                    <a:pt x="133289" y="176552"/>
                    <a:pt x="132971" y="176552"/>
                    <a:pt x="132653" y="176870"/>
                  </a:cubicBezTo>
                  <a:cubicBezTo>
                    <a:pt x="132653" y="176870"/>
                    <a:pt x="132335" y="177188"/>
                    <a:pt x="132016" y="177188"/>
                  </a:cubicBezTo>
                  <a:cubicBezTo>
                    <a:pt x="131380" y="177824"/>
                    <a:pt x="130744" y="178461"/>
                    <a:pt x="129472" y="178461"/>
                  </a:cubicBezTo>
                  <a:lnTo>
                    <a:pt x="129472" y="179097"/>
                  </a:lnTo>
                  <a:cubicBezTo>
                    <a:pt x="129790" y="179415"/>
                    <a:pt x="129790" y="179733"/>
                    <a:pt x="130744" y="179733"/>
                  </a:cubicBezTo>
                  <a:cubicBezTo>
                    <a:pt x="129790" y="180051"/>
                    <a:pt x="129790" y="180369"/>
                    <a:pt x="129153" y="180369"/>
                  </a:cubicBezTo>
                  <a:cubicBezTo>
                    <a:pt x="128517" y="180369"/>
                    <a:pt x="127881" y="180369"/>
                    <a:pt x="127881" y="181006"/>
                  </a:cubicBezTo>
                  <a:cubicBezTo>
                    <a:pt x="127563" y="181006"/>
                    <a:pt x="127563" y="181324"/>
                    <a:pt x="127563" y="181642"/>
                  </a:cubicBezTo>
                  <a:lnTo>
                    <a:pt x="127563" y="181960"/>
                  </a:lnTo>
                  <a:lnTo>
                    <a:pt x="128835" y="181960"/>
                  </a:lnTo>
                  <a:lnTo>
                    <a:pt x="128835" y="182596"/>
                  </a:lnTo>
                  <a:cubicBezTo>
                    <a:pt x="128835" y="182914"/>
                    <a:pt x="128835" y="183232"/>
                    <a:pt x="129153" y="183232"/>
                  </a:cubicBezTo>
                  <a:cubicBezTo>
                    <a:pt x="129153" y="183551"/>
                    <a:pt x="129472" y="183551"/>
                    <a:pt x="129472" y="183869"/>
                  </a:cubicBezTo>
                  <a:cubicBezTo>
                    <a:pt x="129472" y="184187"/>
                    <a:pt x="129153" y="184187"/>
                    <a:pt x="129153" y="184187"/>
                  </a:cubicBezTo>
                  <a:lnTo>
                    <a:pt x="127881" y="185141"/>
                  </a:lnTo>
                  <a:lnTo>
                    <a:pt x="127881" y="187686"/>
                  </a:lnTo>
                  <a:cubicBezTo>
                    <a:pt x="127563" y="187686"/>
                    <a:pt x="127563" y="188004"/>
                    <a:pt x="127563" y="188322"/>
                  </a:cubicBezTo>
                  <a:cubicBezTo>
                    <a:pt x="127563" y="188640"/>
                    <a:pt x="127245" y="188958"/>
                    <a:pt x="127245" y="189277"/>
                  </a:cubicBezTo>
                  <a:lnTo>
                    <a:pt x="126927" y="189595"/>
                  </a:lnTo>
                  <a:cubicBezTo>
                    <a:pt x="126290" y="189913"/>
                    <a:pt x="125972" y="190549"/>
                    <a:pt x="125972" y="190867"/>
                  </a:cubicBezTo>
                  <a:cubicBezTo>
                    <a:pt x="125972" y="191185"/>
                    <a:pt x="126609" y="191503"/>
                    <a:pt x="126609" y="192140"/>
                  </a:cubicBezTo>
                  <a:cubicBezTo>
                    <a:pt x="126609" y="192140"/>
                    <a:pt x="125336" y="192776"/>
                    <a:pt x="125018" y="192776"/>
                  </a:cubicBezTo>
                  <a:cubicBezTo>
                    <a:pt x="124700" y="192776"/>
                    <a:pt x="124700" y="192776"/>
                    <a:pt x="124700" y="193094"/>
                  </a:cubicBezTo>
                  <a:lnTo>
                    <a:pt x="124700" y="193730"/>
                  </a:lnTo>
                  <a:cubicBezTo>
                    <a:pt x="124700" y="194048"/>
                    <a:pt x="125018" y="194366"/>
                    <a:pt x="125018" y="194684"/>
                  </a:cubicBezTo>
                  <a:cubicBezTo>
                    <a:pt x="125018" y="195321"/>
                    <a:pt x="124382" y="195639"/>
                    <a:pt x="123428" y="196275"/>
                  </a:cubicBezTo>
                  <a:lnTo>
                    <a:pt x="123428" y="196911"/>
                  </a:lnTo>
                  <a:lnTo>
                    <a:pt x="124700" y="196911"/>
                  </a:lnTo>
                  <a:cubicBezTo>
                    <a:pt x="124700" y="196593"/>
                    <a:pt x="125018" y="196593"/>
                    <a:pt x="125336" y="196593"/>
                  </a:cubicBezTo>
                  <a:cubicBezTo>
                    <a:pt x="125654" y="196911"/>
                    <a:pt x="125972" y="196911"/>
                    <a:pt x="125972" y="196911"/>
                  </a:cubicBezTo>
                  <a:cubicBezTo>
                    <a:pt x="125972" y="196911"/>
                    <a:pt x="125654" y="197229"/>
                    <a:pt x="125654" y="197547"/>
                  </a:cubicBezTo>
                  <a:cubicBezTo>
                    <a:pt x="125336" y="197866"/>
                    <a:pt x="125336" y="197866"/>
                    <a:pt x="125336" y="198184"/>
                  </a:cubicBezTo>
                  <a:cubicBezTo>
                    <a:pt x="125336" y="198820"/>
                    <a:pt x="125336" y="199774"/>
                    <a:pt x="124700" y="200410"/>
                  </a:cubicBezTo>
                  <a:lnTo>
                    <a:pt x="124700" y="201365"/>
                  </a:lnTo>
                  <a:cubicBezTo>
                    <a:pt x="125018" y="201365"/>
                    <a:pt x="125018" y="201683"/>
                    <a:pt x="125018" y="202001"/>
                  </a:cubicBezTo>
                  <a:cubicBezTo>
                    <a:pt x="125018" y="202319"/>
                    <a:pt x="125018" y="202637"/>
                    <a:pt x="124700" y="202955"/>
                  </a:cubicBezTo>
                  <a:cubicBezTo>
                    <a:pt x="124382" y="202955"/>
                    <a:pt x="124382" y="202955"/>
                    <a:pt x="124382" y="203273"/>
                  </a:cubicBezTo>
                  <a:lnTo>
                    <a:pt x="124382" y="203592"/>
                  </a:lnTo>
                  <a:cubicBezTo>
                    <a:pt x="123746" y="203592"/>
                    <a:pt x="123746" y="203592"/>
                    <a:pt x="123746" y="204228"/>
                  </a:cubicBezTo>
                  <a:cubicBezTo>
                    <a:pt x="123746" y="204864"/>
                    <a:pt x="123109" y="204864"/>
                    <a:pt x="123109" y="205500"/>
                  </a:cubicBezTo>
                  <a:cubicBezTo>
                    <a:pt x="123109" y="205818"/>
                    <a:pt x="123109" y="206455"/>
                    <a:pt x="122791" y="206455"/>
                  </a:cubicBezTo>
                  <a:cubicBezTo>
                    <a:pt x="121519" y="206455"/>
                    <a:pt x="121519" y="207091"/>
                    <a:pt x="120564" y="207409"/>
                  </a:cubicBezTo>
                  <a:lnTo>
                    <a:pt x="120564" y="208363"/>
                  </a:lnTo>
                  <a:cubicBezTo>
                    <a:pt x="119292" y="208999"/>
                    <a:pt x="118974" y="209636"/>
                    <a:pt x="118338" y="210590"/>
                  </a:cubicBezTo>
                  <a:lnTo>
                    <a:pt x="118656" y="210590"/>
                  </a:lnTo>
                  <a:cubicBezTo>
                    <a:pt x="119292" y="210590"/>
                    <a:pt x="118974" y="211226"/>
                    <a:pt x="119292" y="211544"/>
                  </a:cubicBezTo>
                  <a:lnTo>
                    <a:pt x="119292" y="211862"/>
                  </a:lnTo>
                  <a:cubicBezTo>
                    <a:pt x="118974" y="212181"/>
                    <a:pt x="118974" y="212817"/>
                    <a:pt x="118974" y="213135"/>
                  </a:cubicBezTo>
                  <a:cubicBezTo>
                    <a:pt x="118974" y="213453"/>
                    <a:pt x="118974" y="213771"/>
                    <a:pt x="118656" y="213771"/>
                  </a:cubicBezTo>
                  <a:cubicBezTo>
                    <a:pt x="118338" y="214407"/>
                    <a:pt x="117701" y="214725"/>
                    <a:pt x="117701" y="215362"/>
                  </a:cubicBezTo>
                  <a:lnTo>
                    <a:pt x="118338" y="215680"/>
                  </a:lnTo>
                  <a:cubicBezTo>
                    <a:pt x="118338" y="216634"/>
                    <a:pt x="117065" y="216634"/>
                    <a:pt x="116747" y="216952"/>
                  </a:cubicBezTo>
                  <a:cubicBezTo>
                    <a:pt x="116747" y="216952"/>
                    <a:pt x="116111" y="216952"/>
                    <a:pt x="116111" y="216634"/>
                  </a:cubicBezTo>
                  <a:cubicBezTo>
                    <a:pt x="116111" y="216316"/>
                    <a:pt x="116111" y="215680"/>
                    <a:pt x="115793" y="215362"/>
                  </a:cubicBezTo>
                  <a:cubicBezTo>
                    <a:pt x="115793" y="215362"/>
                    <a:pt x="116111" y="215044"/>
                    <a:pt x="116429" y="215044"/>
                  </a:cubicBezTo>
                  <a:cubicBezTo>
                    <a:pt x="116747" y="215044"/>
                    <a:pt x="116747" y="214725"/>
                    <a:pt x="117065" y="214089"/>
                  </a:cubicBezTo>
                  <a:cubicBezTo>
                    <a:pt x="117065" y="213771"/>
                    <a:pt x="116747" y="213771"/>
                    <a:pt x="116747" y="213771"/>
                  </a:cubicBezTo>
                  <a:cubicBezTo>
                    <a:pt x="115793" y="213771"/>
                    <a:pt x="115156" y="214089"/>
                    <a:pt x="114520" y="215044"/>
                  </a:cubicBezTo>
                  <a:lnTo>
                    <a:pt x="114520" y="215362"/>
                  </a:lnTo>
                  <a:cubicBezTo>
                    <a:pt x="114520" y="215998"/>
                    <a:pt x="113566" y="216634"/>
                    <a:pt x="113566" y="217588"/>
                  </a:cubicBezTo>
                  <a:lnTo>
                    <a:pt x="113566" y="217907"/>
                  </a:lnTo>
                  <a:cubicBezTo>
                    <a:pt x="112930" y="218543"/>
                    <a:pt x="112930" y="218861"/>
                    <a:pt x="112930" y="219179"/>
                  </a:cubicBezTo>
                  <a:lnTo>
                    <a:pt x="112930" y="220451"/>
                  </a:lnTo>
                  <a:cubicBezTo>
                    <a:pt x="113248" y="220451"/>
                    <a:pt x="113566" y="220770"/>
                    <a:pt x="113566" y="220770"/>
                  </a:cubicBezTo>
                  <a:cubicBezTo>
                    <a:pt x="113566" y="221088"/>
                    <a:pt x="113248" y="221088"/>
                    <a:pt x="112930" y="221406"/>
                  </a:cubicBezTo>
                  <a:cubicBezTo>
                    <a:pt x="112612" y="222042"/>
                    <a:pt x="112612" y="222360"/>
                    <a:pt x="112612" y="223314"/>
                  </a:cubicBezTo>
                  <a:lnTo>
                    <a:pt x="112612" y="224905"/>
                  </a:lnTo>
                  <a:cubicBezTo>
                    <a:pt x="112294" y="225541"/>
                    <a:pt x="111657" y="225541"/>
                    <a:pt x="111657" y="225859"/>
                  </a:cubicBezTo>
                  <a:lnTo>
                    <a:pt x="111657" y="227132"/>
                  </a:lnTo>
                  <a:cubicBezTo>
                    <a:pt x="111657" y="227450"/>
                    <a:pt x="111339" y="228404"/>
                    <a:pt x="111021" y="228404"/>
                  </a:cubicBezTo>
                  <a:lnTo>
                    <a:pt x="110385" y="228404"/>
                  </a:lnTo>
                  <a:cubicBezTo>
                    <a:pt x="110067" y="228404"/>
                    <a:pt x="109749" y="228404"/>
                    <a:pt x="109431" y="228722"/>
                  </a:cubicBezTo>
                  <a:cubicBezTo>
                    <a:pt x="109112" y="229041"/>
                    <a:pt x="109112" y="229359"/>
                    <a:pt x="109112" y="229359"/>
                  </a:cubicBezTo>
                  <a:cubicBezTo>
                    <a:pt x="109749" y="229677"/>
                    <a:pt x="110067" y="229677"/>
                    <a:pt x="110067" y="229995"/>
                  </a:cubicBezTo>
                  <a:cubicBezTo>
                    <a:pt x="110067" y="230313"/>
                    <a:pt x="109749" y="230631"/>
                    <a:pt x="109431" y="230949"/>
                  </a:cubicBezTo>
                  <a:cubicBezTo>
                    <a:pt x="108794" y="231904"/>
                    <a:pt x="108158" y="231904"/>
                    <a:pt x="107204" y="231904"/>
                  </a:cubicBezTo>
                  <a:cubicBezTo>
                    <a:pt x="106886" y="231904"/>
                    <a:pt x="106567" y="232222"/>
                    <a:pt x="106567" y="232222"/>
                  </a:cubicBezTo>
                  <a:cubicBezTo>
                    <a:pt x="106567" y="232540"/>
                    <a:pt x="106249" y="232858"/>
                    <a:pt x="106249" y="232858"/>
                  </a:cubicBezTo>
                  <a:lnTo>
                    <a:pt x="106249" y="234130"/>
                  </a:lnTo>
                  <a:cubicBezTo>
                    <a:pt x="105295" y="234448"/>
                    <a:pt x="105295" y="235085"/>
                    <a:pt x="105295" y="235721"/>
                  </a:cubicBezTo>
                  <a:cubicBezTo>
                    <a:pt x="105295" y="236039"/>
                    <a:pt x="104977" y="236039"/>
                    <a:pt x="104659" y="236357"/>
                  </a:cubicBezTo>
                  <a:lnTo>
                    <a:pt x="104659" y="236993"/>
                  </a:lnTo>
                  <a:cubicBezTo>
                    <a:pt x="104659" y="237311"/>
                    <a:pt x="104659" y="237630"/>
                    <a:pt x="104341" y="237630"/>
                  </a:cubicBezTo>
                  <a:cubicBezTo>
                    <a:pt x="104023" y="237630"/>
                    <a:pt x="103705" y="237311"/>
                    <a:pt x="103386" y="237311"/>
                  </a:cubicBezTo>
                  <a:lnTo>
                    <a:pt x="103386" y="236993"/>
                  </a:lnTo>
                  <a:cubicBezTo>
                    <a:pt x="103068" y="236993"/>
                    <a:pt x="103068" y="237311"/>
                    <a:pt x="103068" y="237311"/>
                  </a:cubicBezTo>
                  <a:cubicBezTo>
                    <a:pt x="102750" y="237311"/>
                    <a:pt x="102432" y="237630"/>
                    <a:pt x="102114" y="237948"/>
                  </a:cubicBezTo>
                  <a:cubicBezTo>
                    <a:pt x="101796" y="238266"/>
                    <a:pt x="101796" y="238266"/>
                    <a:pt x="101796" y="238584"/>
                  </a:cubicBezTo>
                  <a:lnTo>
                    <a:pt x="101796" y="239220"/>
                  </a:lnTo>
                  <a:lnTo>
                    <a:pt x="102114" y="239538"/>
                  </a:lnTo>
                  <a:lnTo>
                    <a:pt x="103386" y="238266"/>
                  </a:lnTo>
                  <a:cubicBezTo>
                    <a:pt x="103386" y="238266"/>
                    <a:pt x="103386" y="237948"/>
                    <a:pt x="103705" y="237948"/>
                  </a:cubicBezTo>
                  <a:cubicBezTo>
                    <a:pt x="104023" y="237948"/>
                    <a:pt x="104341" y="238266"/>
                    <a:pt x="104341" y="238266"/>
                  </a:cubicBezTo>
                  <a:cubicBezTo>
                    <a:pt x="104659" y="238584"/>
                    <a:pt x="104977" y="238902"/>
                    <a:pt x="104977" y="239220"/>
                  </a:cubicBezTo>
                  <a:cubicBezTo>
                    <a:pt x="104977" y="239538"/>
                    <a:pt x="105613" y="239856"/>
                    <a:pt x="106249" y="239856"/>
                  </a:cubicBezTo>
                  <a:lnTo>
                    <a:pt x="107204" y="239856"/>
                  </a:lnTo>
                  <a:lnTo>
                    <a:pt x="106886" y="239538"/>
                  </a:lnTo>
                  <a:lnTo>
                    <a:pt x="106886" y="238266"/>
                  </a:lnTo>
                  <a:lnTo>
                    <a:pt x="107522" y="237948"/>
                  </a:lnTo>
                  <a:lnTo>
                    <a:pt x="107522" y="238266"/>
                  </a:lnTo>
                  <a:cubicBezTo>
                    <a:pt x="107522" y="238902"/>
                    <a:pt x="107522" y="239538"/>
                    <a:pt x="107840" y="240493"/>
                  </a:cubicBezTo>
                  <a:lnTo>
                    <a:pt x="107840" y="241129"/>
                  </a:lnTo>
                  <a:cubicBezTo>
                    <a:pt x="106886" y="241447"/>
                    <a:pt x="106567" y="242083"/>
                    <a:pt x="106249" y="242401"/>
                  </a:cubicBezTo>
                  <a:cubicBezTo>
                    <a:pt x="105613" y="243037"/>
                    <a:pt x="105295" y="243356"/>
                    <a:pt x="104977" y="243356"/>
                  </a:cubicBezTo>
                  <a:cubicBezTo>
                    <a:pt x="104659" y="243356"/>
                    <a:pt x="104341" y="243037"/>
                    <a:pt x="103705" y="242719"/>
                  </a:cubicBezTo>
                  <a:cubicBezTo>
                    <a:pt x="103705" y="242719"/>
                    <a:pt x="103386" y="242401"/>
                    <a:pt x="103068" y="242401"/>
                  </a:cubicBezTo>
                  <a:cubicBezTo>
                    <a:pt x="102750" y="242401"/>
                    <a:pt x="102750" y="242719"/>
                    <a:pt x="102432" y="243037"/>
                  </a:cubicBezTo>
                  <a:cubicBezTo>
                    <a:pt x="102114" y="243037"/>
                    <a:pt x="101796" y="243037"/>
                    <a:pt x="101478" y="243674"/>
                  </a:cubicBezTo>
                  <a:cubicBezTo>
                    <a:pt x="100841" y="243674"/>
                    <a:pt x="100841" y="243992"/>
                    <a:pt x="100841" y="243992"/>
                  </a:cubicBezTo>
                  <a:cubicBezTo>
                    <a:pt x="101796" y="244310"/>
                    <a:pt x="101796" y="244628"/>
                    <a:pt x="101796" y="244946"/>
                  </a:cubicBezTo>
                  <a:lnTo>
                    <a:pt x="101796" y="245582"/>
                  </a:lnTo>
                  <a:cubicBezTo>
                    <a:pt x="101796" y="245900"/>
                    <a:pt x="101796" y="245900"/>
                    <a:pt x="102432" y="246219"/>
                  </a:cubicBezTo>
                  <a:cubicBezTo>
                    <a:pt x="102432" y="246537"/>
                    <a:pt x="102750" y="246537"/>
                    <a:pt x="102750" y="246855"/>
                  </a:cubicBezTo>
                  <a:lnTo>
                    <a:pt x="101796" y="247491"/>
                  </a:lnTo>
                  <a:cubicBezTo>
                    <a:pt x="100523" y="248127"/>
                    <a:pt x="100205" y="249082"/>
                    <a:pt x="99569" y="249718"/>
                  </a:cubicBezTo>
                  <a:cubicBezTo>
                    <a:pt x="99251" y="250036"/>
                    <a:pt x="98933" y="250036"/>
                    <a:pt x="98933" y="250354"/>
                  </a:cubicBezTo>
                  <a:cubicBezTo>
                    <a:pt x="98933" y="250672"/>
                    <a:pt x="99251" y="250990"/>
                    <a:pt x="99569" y="251308"/>
                  </a:cubicBezTo>
                  <a:lnTo>
                    <a:pt x="99887" y="250990"/>
                  </a:lnTo>
                  <a:cubicBezTo>
                    <a:pt x="99887" y="250990"/>
                    <a:pt x="100205" y="250672"/>
                    <a:pt x="100523" y="250672"/>
                  </a:cubicBezTo>
                  <a:cubicBezTo>
                    <a:pt x="100523" y="250672"/>
                    <a:pt x="100841" y="250672"/>
                    <a:pt x="100523" y="250990"/>
                  </a:cubicBezTo>
                  <a:lnTo>
                    <a:pt x="100841" y="250990"/>
                  </a:lnTo>
                  <a:lnTo>
                    <a:pt x="100523" y="251308"/>
                  </a:lnTo>
                  <a:cubicBezTo>
                    <a:pt x="100205" y="251308"/>
                    <a:pt x="100205" y="251626"/>
                    <a:pt x="100205" y="251945"/>
                  </a:cubicBezTo>
                  <a:cubicBezTo>
                    <a:pt x="100205" y="252263"/>
                    <a:pt x="100523" y="252263"/>
                    <a:pt x="100523" y="252263"/>
                  </a:cubicBezTo>
                  <a:lnTo>
                    <a:pt x="100205" y="252581"/>
                  </a:lnTo>
                  <a:cubicBezTo>
                    <a:pt x="99887" y="252899"/>
                    <a:pt x="99569" y="253535"/>
                    <a:pt x="99569" y="253535"/>
                  </a:cubicBezTo>
                  <a:lnTo>
                    <a:pt x="98933" y="253853"/>
                  </a:lnTo>
                  <a:cubicBezTo>
                    <a:pt x="98615" y="254489"/>
                    <a:pt x="98615" y="254808"/>
                    <a:pt x="97979" y="255444"/>
                  </a:cubicBezTo>
                  <a:lnTo>
                    <a:pt x="97979" y="256080"/>
                  </a:lnTo>
                  <a:cubicBezTo>
                    <a:pt x="97979" y="257034"/>
                    <a:pt x="97342" y="257352"/>
                    <a:pt x="96706" y="257989"/>
                  </a:cubicBezTo>
                  <a:lnTo>
                    <a:pt x="96706" y="259579"/>
                  </a:lnTo>
                  <a:cubicBezTo>
                    <a:pt x="96706" y="260215"/>
                    <a:pt x="96070" y="260534"/>
                    <a:pt x="95434" y="261170"/>
                  </a:cubicBezTo>
                  <a:cubicBezTo>
                    <a:pt x="94797" y="261488"/>
                    <a:pt x="94479" y="261806"/>
                    <a:pt x="94479" y="262760"/>
                  </a:cubicBezTo>
                  <a:cubicBezTo>
                    <a:pt x="94479" y="263078"/>
                    <a:pt x="94479" y="263397"/>
                    <a:pt x="93843" y="263397"/>
                  </a:cubicBezTo>
                  <a:cubicBezTo>
                    <a:pt x="93525" y="263715"/>
                    <a:pt x="93525" y="263715"/>
                    <a:pt x="93525" y="264033"/>
                  </a:cubicBezTo>
                  <a:lnTo>
                    <a:pt x="93525" y="264669"/>
                  </a:lnTo>
                  <a:cubicBezTo>
                    <a:pt x="92889" y="264669"/>
                    <a:pt x="92571" y="264987"/>
                    <a:pt x="91616" y="265941"/>
                  </a:cubicBezTo>
                  <a:cubicBezTo>
                    <a:pt x="91298" y="266260"/>
                    <a:pt x="91298" y="266260"/>
                    <a:pt x="91298" y="266578"/>
                  </a:cubicBezTo>
                  <a:cubicBezTo>
                    <a:pt x="91298" y="266896"/>
                    <a:pt x="91616" y="267214"/>
                    <a:pt x="91934" y="267214"/>
                  </a:cubicBezTo>
                  <a:cubicBezTo>
                    <a:pt x="91934" y="267532"/>
                    <a:pt x="92252" y="267850"/>
                    <a:pt x="92252" y="267850"/>
                  </a:cubicBezTo>
                  <a:cubicBezTo>
                    <a:pt x="92252" y="268168"/>
                    <a:pt x="91934" y="268168"/>
                    <a:pt x="91934" y="268168"/>
                  </a:cubicBezTo>
                  <a:lnTo>
                    <a:pt x="91298" y="269123"/>
                  </a:lnTo>
                  <a:cubicBezTo>
                    <a:pt x="91298" y="269441"/>
                    <a:pt x="91298" y="269759"/>
                    <a:pt x="91616" y="269759"/>
                  </a:cubicBezTo>
                  <a:cubicBezTo>
                    <a:pt x="91616" y="269759"/>
                    <a:pt x="91616" y="270077"/>
                    <a:pt x="91934" y="270395"/>
                  </a:cubicBezTo>
                  <a:lnTo>
                    <a:pt x="91934" y="270713"/>
                  </a:lnTo>
                  <a:lnTo>
                    <a:pt x="91616" y="271031"/>
                  </a:lnTo>
                  <a:lnTo>
                    <a:pt x="90662" y="271031"/>
                  </a:lnTo>
                  <a:cubicBezTo>
                    <a:pt x="90344" y="271031"/>
                    <a:pt x="90026" y="271031"/>
                    <a:pt x="90026" y="271667"/>
                  </a:cubicBezTo>
                  <a:cubicBezTo>
                    <a:pt x="89708" y="272940"/>
                    <a:pt x="89708" y="272940"/>
                    <a:pt x="88435" y="273894"/>
                  </a:cubicBezTo>
                  <a:cubicBezTo>
                    <a:pt x="88435" y="274212"/>
                    <a:pt x="88117" y="274530"/>
                    <a:pt x="87163" y="275167"/>
                  </a:cubicBezTo>
                  <a:lnTo>
                    <a:pt x="86845" y="275803"/>
                  </a:lnTo>
                  <a:lnTo>
                    <a:pt x="85572" y="275803"/>
                  </a:lnTo>
                  <a:cubicBezTo>
                    <a:pt x="85572" y="276121"/>
                    <a:pt x="85254" y="276439"/>
                    <a:pt x="84300" y="276439"/>
                  </a:cubicBezTo>
                  <a:cubicBezTo>
                    <a:pt x="83982" y="276439"/>
                    <a:pt x="83664" y="277394"/>
                    <a:pt x="83345" y="277075"/>
                  </a:cubicBezTo>
                  <a:lnTo>
                    <a:pt x="83027" y="277394"/>
                  </a:lnTo>
                  <a:cubicBezTo>
                    <a:pt x="83027" y="277712"/>
                    <a:pt x="83027" y="278030"/>
                    <a:pt x="82709" y="278030"/>
                  </a:cubicBezTo>
                  <a:cubicBezTo>
                    <a:pt x="82391" y="278030"/>
                    <a:pt x="81755" y="277712"/>
                    <a:pt x="81755" y="277712"/>
                  </a:cubicBezTo>
                  <a:lnTo>
                    <a:pt x="78892" y="281211"/>
                  </a:lnTo>
                  <a:cubicBezTo>
                    <a:pt x="78892" y="281847"/>
                    <a:pt x="78574" y="281847"/>
                    <a:pt x="78256" y="281847"/>
                  </a:cubicBezTo>
                  <a:lnTo>
                    <a:pt x="75393" y="281847"/>
                  </a:lnTo>
                  <a:cubicBezTo>
                    <a:pt x="75393" y="281211"/>
                    <a:pt x="75074" y="281211"/>
                    <a:pt x="74438" y="281211"/>
                  </a:cubicBezTo>
                  <a:cubicBezTo>
                    <a:pt x="73802" y="281211"/>
                    <a:pt x="72848" y="281529"/>
                    <a:pt x="72211" y="281529"/>
                  </a:cubicBezTo>
                  <a:cubicBezTo>
                    <a:pt x="71575" y="281529"/>
                    <a:pt x="71257" y="281211"/>
                    <a:pt x="70939" y="281211"/>
                  </a:cubicBezTo>
                  <a:cubicBezTo>
                    <a:pt x="70303" y="281529"/>
                    <a:pt x="69985" y="281529"/>
                    <a:pt x="69667" y="281529"/>
                  </a:cubicBezTo>
                  <a:cubicBezTo>
                    <a:pt x="69349" y="281529"/>
                    <a:pt x="69030" y="281529"/>
                    <a:pt x="68712" y="281847"/>
                  </a:cubicBezTo>
                  <a:lnTo>
                    <a:pt x="64259" y="279302"/>
                  </a:lnTo>
                  <a:cubicBezTo>
                    <a:pt x="63622" y="279302"/>
                    <a:pt x="63622" y="279620"/>
                    <a:pt x="63304" y="279620"/>
                  </a:cubicBezTo>
                  <a:cubicBezTo>
                    <a:pt x="62986" y="279938"/>
                    <a:pt x="62668" y="279938"/>
                    <a:pt x="62668" y="279938"/>
                  </a:cubicBezTo>
                  <a:cubicBezTo>
                    <a:pt x="62350" y="279938"/>
                    <a:pt x="62032" y="279938"/>
                    <a:pt x="61714" y="279620"/>
                  </a:cubicBezTo>
                  <a:cubicBezTo>
                    <a:pt x="61077" y="279302"/>
                    <a:pt x="60441" y="278348"/>
                    <a:pt x="59487" y="277712"/>
                  </a:cubicBezTo>
                  <a:cubicBezTo>
                    <a:pt x="58851" y="277712"/>
                    <a:pt x="58851" y="277075"/>
                    <a:pt x="57578" y="277075"/>
                  </a:cubicBezTo>
                  <a:cubicBezTo>
                    <a:pt x="57578" y="276757"/>
                    <a:pt x="57578" y="276439"/>
                    <a:pt x="56942" y="276121"/>
                  </a:cubicBezTo>
                  <a:cubicBezTo>
                    <a:pt x="56624" y="275803"/>
                    <a:pt x="55988" y="275803"/>
                    <a:pt x="55988" y="275167"/>
                  </a:cubicBezTo>
                  <a:cubicBezTo>
                    <a:pt x="55988" y="274212"/>
                    <a:pt x="55033" y="274212"/>
                    <a:pt x="54397" y="274212"/>
                  </a:cubicBezTo>
                  <a:cubicBezTo>
                    <a:pt x="54079" y="274212"/>
                    <a:pt x="54079" y="273894"/>
                    <a:pt x="54079" y="273576"/>
                  </a:cubicBezTo>
                  <a:cubicBezTo>
                    <a:pt x="54079" y="273576"/>
                    <a:pt x="54397" y="273258"/>
                    <a:pt x="54715" y="273258"/>
                  </a:cubicBezTo>
                  <a:lnTo>
                    <a:pt x="55033" y="273258"/>
                  </a:lnTo>
                  <a:lnTo>
                    <a:pt x="54715" y="272940"/>
                  </a:lnTo>
                  <a:lnTo>
                    <a:pt x="54715" y="271986"/>
                  </a:lnTo>
                  <a:cubicBezTo>
                    <a:pt x="54715" y="271667"/>
                    <a:pt x="54715" y="271667"/>
                    <a:pt x="54397" y="271667"/>
                  </a:cubicBezTo>
                  <a:cubicBezTo>
                    <a:pt x="53761" y="271667"/>
                    <a:pt x="53125" y="271349"/>
                    <a:pt x="53125" y="271031"/>
                  </a:cubicBezTo>
                  <a:lnTo>
                    <a:pt x="53443" y="270713"/>
                  </a:lnTo>
                  <a:cubicBezTo>
                    <a:pt x="53761" y="270713"/>
                    <a:pt x="53761" y="270713"/>
                    <a:pt x="53761" y="270395"/>
                  </a:cubicBezTo>
                  <a:lnTo>
                    <a:pt x="53761" y="270077"/>
                  </a:lnTo>
                  <a:cubicBezTo>
                    <a:pt x="53761" y="269759"/>
                    <a:pt x="53443" y="269759"/>
                    <a:pt x="53443" y="269441"/>
                  </a:cubicBezTo>
                  <a:lnTo>
                    <a:pt x="53125" y="269123"/>
                  </a:lnTo>
                  <a:cubicBezTo>
                    <a:pt x="53443" y="268805"/>
                    <a:pt x="53443" y="268486"/>
                    <a:pt x="53443" y="268168"/>
                  </a:cubicBezTo>
                  <a:cubicBezTo>
                    <a:pt x="53443" y="267850"/>
                    <a:pt x="53443" y="267532"/>
                    <a:pt x="52807" y="267532"/>
                  </a:cubicBezTo>
                  <a:lnTo>
                    <a:pt x="52807" y="267214"/>
                  </a:lnTo>
                  <a:cubicBezTo>
                    <a:pt x="52488" y="266896"/>
                    <a:pt x="52488" y="266578"/>
                    <a:pt x="52488" y="266260"/>
                  </a:cubicBezTo>
                  <a:cubicBezTo>
                    <a:pt x="52488" y="265623"/>
                    <a:pt x="52170" y="264987"/>
                    <a:pt x="52170" y="264669"/>
                  </a:cubicBezTo>
                  <a:cubicBezTo>
                    <a:pt x="51852" y="264033"/>
                    <a:pt x="51852" y="264033"/>
                    <a:pt x="51852" y="263397"/>
                  </a:cubicBezTo>
                  <a:cubicBezTo>
                    <a:pt x="51534" y="263397"/>
                    <a:pt x="50898" y="263078"/>
                    <a:pt x="50580" y="263078"/>
                  </a:cubicBezTo>
                  <a:lnTo>
                    <a:pt x="49944" y="263078"/>
                  </a:lnTo>
                  <a:cubicBezTo>
                    <a:pt x="49944" y="263078"/>
                    <a:pt x="49626" y="263078"/>
                    <a:pt x="49307" y="262760"/>
                  </a:cubicBezTo>
                  <a:lnTo>
                    <a:pt x="49307" y="261806"/>
                  </a:lnTo>
                  <a:lnTo>
                    <a:pt x="49626" y="261488"/>
                  </a:lnTo>
                  <a:cubicBezTo>
                    <a:pt x="49626" y="260852"/>
                    <a:pt x="50262" y="260852"/>
                    <a:pt x="50262" y="260534"/>
                  </a:cubicBezTo>
                  <a:lnTo>
                    <a:pt x="50262" y="259579"/>
                  </a:lnTo>
                  <a:cubicBezTo>
                    <a:pt x="50262" y="258307"/>
                    <a:pt x="49944" y="257671"/>
                    <a:pt x="49944" y="257034"/>
                  </a:cubicBezTo>
                  <a:cubicBezTo>
                    <a:pt x="49944" y="256716"/>
                    <a:pt x="49307" y="256398"/>
                    <a:pt x="49307" y="255762"/>
                  </a:cubicBezTo>
                  <a:lnTo>
                    <a:pt x="49307" y="255444"/>
                  </a:lnTo>
                  <a:cubicBezTo>
                    <a:pt x="49307" y="255126"/>
                    <a:pt x="48989" y="255126"/>
                    <a:pt x="48989" y="255126"/>
                  </a:cubicBezTo>
                  <a:lnTo>
                    <a:pt x="48989" y="255444"/>
                  </a:lnTo>
                  <a:lnTo>
                    <a:pt x="48353" y="255444"/>
                  </a:lnTo>
                  <a:lnTo>
                    <a:pt x="48353" y="254489"/>
                  </a:lnTo>
                  <a:cubicBezTo>
                    <a:pt x="48353" y="254171"/>
                    <a:pt x="48353" y="254171"/>
                    <a:pt x="48035" y="253853"/>
                  </a:cubicBezTo>
                  <a:cubicBezTo>
                    <a:pt x="47717" y="253853"/>
                    <a:pt x="47717" y="253853"/>
                    <a:pt x="47717" y="253535"/>
                  </a:cubicBezTo>
                  <a:lnTo>
                    <a:pt x="48671" y="252581"/>
                  </a:lnTo>
                  <a:cubicBezTo>
                    <a:pt x="48671" y="252581"/>
                    <a:pt x="48353" y="251945"/>
                    <a:pt x="48353" y="251626"/>
                  </a:cubicBezTo>
                  <a:cubicBezTo>
                    <a:pt x="47717" y="251626"/>
                    <a:pt x="47717" y="251308"/>
                    <a:pt x="47717" y="251308"/>
                  </a:cubicBezTo>
                  <a:lnTo>
                    <a:pt x="47717" y="249082"/>
                  </a:lnTo>
                  <a:cubicBezTo>
                    <a:pt x="47717" y="248445"/>
                    <a:pt x="47717" y="247809"/>
                    <a:pt x="48035" y="246855"/>
                  </a:cubicBezTo>
                  <a:lnTo>
                    <a:pt x="48671" y="246855"/>
                  </a:lnTo>
                  <a:cubicBezTo>
                    <a:pt x="48989" y="246855"/>
                    <a:pt x="49307" y="246855"/>
                    <a:pt x="49307" y="246219"/>
                  </a:cubicBezTo>
                  <a:cubicBezTo>
                    <a:pt x="48989" y="245582"/>
                    <a:pt x="48989" y="245264"/>
                    <a:pt x="48989" y="244310"/>
                  </a:cubicBezTo>
                  <a:cubicBezTo>
                    <a:pt x="48989" y="243992"/>
                    <a:pt x="48671" y="243992"/>
                    <a:pt x="48671" y="243674"/>
                  </a:cubicBezTo>
                  <a:cubicBezTo>
                    <a:pt x="48353" y="243674"/>
                    <a:pt x="48671" y="243356"/>
                    <a:pt x="48671" y="243037"/>
                  </a:cubicBezTo>
                  <a:cubicBezTo>
                    <a:pt x="48989" y="242719"/>
                    <a:pt x="48989" y="242083"/>
                    <a:pt x="48989" y="241765"/>
                  </a:cubicBezTo>
                  <a:cubicBezTo>
                    <a:pt x="48989" y="241447"/>
                    <a:pt x="48989" y="241129"/>
                    <a:pt x="48671" y="240174"/>
                  </a:cubicBezTo>
                  <a:lnTo>
                    <a:pt x="48989" y="239856"/>
                  </a:lnTo>
                  <a:cubicBezTo>
                    <a:pt x="48353" y="239538"/>
                    <a:pt x="47399" y="238902"/>
                    <a:pt x="47399" y="238266"/>
                  </a:cubicBezTo>
                  <a:cubicBezTo>
                    <a:pt x="47399" y="237948"/>
                    <a:pt x="47717" y="237948"/>
                    <a:pt x="47717" y="237630"/>
                  </a:cubicBezTo>
                  <a:cubicBezTo>
                    <a:pt x="47717" y="237630"/>
                    <a:pt x="46762" y="237311"/>
                    <a:pt x="46762" y="236993"/>
                  </a:cubicBezTo>
                  <a:cubicBezTo>
                    <a:pt x="46762" y="236993"/>
                    <a:pt x="46762" y="236675"/>
                    <a:pt x="47081" y="236675"/>
                  </a:cubicBezTo>
                  <a:cubicBezTo>
                    <a:pt x="48671" y="236039"/>
                    <a:pt x="48671" y="236039"/>
                    <a:pt x="48671" y="235403"/>
                  </a:cubicBezTo>
                  <a:cubicBezTo>
                    <a:pt x="48671" y="234448"/>
                    <a:pt x="48671" y="233812"/>
                    <a:pt x="47717" y="233494"/>
                  </a:cubicBezTo>
                  <a:lnTo>
                    <a:pt x="47399" y="233176"/>
                  </a:lnTo>
                  <a:cubicBezTo>
                    <a:pt x="47399" y="233176"/>
                    <a:pt x="47399" y="232858"/>
                    <a:pt x="47717" y="232540"/>
                  </a:cubicBezTo>
                  <a:lnTo>
                    <a:pt x="47081" y="232222"/>
                  </a:lnTo>
                  <a:lnTo>
                    <a:pt x="47081" y="231585"/>
                  </a:lnTo>
                  <a:cubicBezTo>
                    <a:pt x="46762" y="230631"/>
                    <a:pt x="46762" y="229677"/>
                    <a:pt x="46762" y="229041"/>
                  </a:cubicBezTo>
                  <a:lnTo>
                    <a:pt x="46762" y="226814"/>
                  </a:lnTo>
                  <a:cubicBezTo>
                    <a:pt x="46762" y="225859"/>
                    <a:pt x="46762" y="225859"/>
                    <a:pt x="47081" y="225541"/>
                  </a:cubicBezTo>
                  <a:cubicBezTo>
                    <a:pt x="47717" y="225541"/>
                    <a:pt x="48035" y="225541"/>
                    <a:pt x="48353" y="225223"/>
                  </a:cubicBezTo>
                  <a:cubicBezTo>
                    <a:pt x="48353" y="224905"/>
                    <a:pt x="48035" y="224587"/>
                    <a:pt x="47399" y="223951"/>
                  </a:cubicBezTo>
                  <a:cubicBezTo>
                    <a:pt x="47081" y="223951"/>
                    <a:pt x="47081" y="223314"/>
                    <a:pt x="47081" y="223314"/>
                  </a:cubicBezTo>
                  <a:cubicBezTo>
                    <a:pt x="47717" y="222996"/>
                    <a:pt x="48035" y="222678"/>
                    <a:pt x="48035" y="222042"/>
                  </a:cubicBezTo>
                  <a:cubicBezTo>
                    <a:pt x="48035" y="221724"/>
                    <a:pt x="47717" y="221088"/>
                    <a:pt x="47717" y="220770"/>
                  </a:cubicBezTo>
                  <a:lnTo>
                    <a:pt x="47717" y="218861"/>
                  </a:lnTo>
                  <a:cubicBezTo>
                    <a:pt x="48035" y="217907"/>
                    <a:pt x="48671" y="217270"/>
                    <a:pt x="48989" y="216952"/>
                  </a:cubicBezTo>
                  <a:lnTo>
                    <a:pt x="48671" y="216634"/>
                  </a:lnTo>
                  <a:lnTo>
                    <a:pt x="48671" y="215044"/>
                  </a:lnTo>
                  <a:cubicBezTo>
                    <a:pt x="48353" y="215044"/>
                    <a:pt x="48353" y="214725"/>
                    <a:pt x="48353" y="214725"/>
                  </a:cubicBezTo>
                  <a:cubicBezTo>
                    <a:pt x="48353" y="214725"/>
                    <a:pt x="48353" y="214407"/>
                    <a:pt x="48671" y="214089"/>
                  </a:cubicBezTo>
                  <a:cubicBezTo>
                    <a:pt x="49307" y="213771"/>
                    <a:pt x="49307" y="213135"/>
                    <a:pt x="49626" y="213135"/>
                  </a:cubicBezTo>
                  <a:cubicBezTo>
                    <a:pt x="49307" y="212499"/>
                    <a:pt x="49307" y="211862"/>
                    <a:pt x="49307" y="211226"/>
                  </a:cubicBezTo>
                  <a:cubicBezTo>
                    <a:pt x="49307" y="210908"/>
                    <a:pt x="49626" y="210590"/>
                    <a:pt x="49626" y="210272"/>
                  </a:cubicBezTo>
                  <a:cubicBezTo>
                    <a:pt x="49626" y="209954"/>
                    <a:pt x="49307" y="209636"/>
                    <a:pt x="49307" y="208999"/>
                  </a:cubicBezTo>
                  <a:lnTo>
                    <a:pt x="49307" y="208363"/>
                  </a:lnTo>
                  <a:cubicBezTo>
                    <a:pt x="49307" y="208363"/>
                    <a:pt x="49307" y="207727"/>
                    <a:pt x="50262" y="207091"/>
                  </a:cubicBezTo>
                  <a:lnTo>
                    <a:pt x="50262" y="203592"/>
                  </a:lnTo>
                  <a:lnTo>
                    <a:pt x="50580" y="203273"/>
                  </a:lnTo>
                  <a:cubicBezTo>
                    <a:pt x="49944" y="202955"/>
                    <a:pt x="49944" y="202319"/>
                    <a:pt x="49944" y="202001"/>
                  </a:cubicBezTo>
                  <a:lnTo>
                    <a:pt x="49944" y="201365"/>
                  </a:lnTo>
                  <a:cubicBezTo>
                    <a:pt x="49944" y="200729"/>
                    <a:pt x="49944" y="200410"/>
                    <a:pt x="50898" y="199774"/>
                  </a:cubicBezTo>
                  <a:cubicBezTo>
                    <a:pt x="50898" y="199774"/>
                    <a:pt x="50898" y="198820"/>
                    <a:pt x="50580" y="198820"/>
                  </a:cubicBezTo>
                  <a:cubicBezTo>
                    <a:pt x="50262" y="198502"/>
                    <a:pt x="50262" y="198502"/>
                    <a:pt x="50262" y="198184"/>
                  </a:cubicBezTo>
                  <a:cubicBezTo>
                    <a:pt x="50262" y="198184"/>
                    <a:pt x="50262" y="197866"/>
                    <a:pt x="50580" y="197866"/>
                  </a:cubicBezTo>
                  <a:cubicBezTo>
                    <a:pt x="50580" y="197866"/>
                    <a:pt x="50898" y="197866"/>
                    <a:pt x="50898" y="197547"/>
                  </a:cubicBezTo>
                  <a:cubicBezTo>
                    <a:pt x="50580" y="197229"/>
                    <a:pt x="50262" y="197229"/>
                    <a:pt x="50262" y="196911"/>
                  </a:cubicBezTo>
                  <a:cubicBezTo>
                    <a:pt x="49626" y="196593"/>
                    <a:pt x="49626" y="196275"/>
                    <a:pt x="49626" y="195957"/>
                  </a:cubicBezTo>
                  <a:lnTo>
                    <a:pt x="49626" y="194366"/>
                  </a:lnTo>
                  <a:cubicBezTo>
                    <a:pt x="49944" y="194048"/>
                    <a:pt x="49944" y="193412"/>
                    <a:pt x="49944" y="192776"/>
                  </a:cubicBezTo>
                  <a:cubicBezTo>
                    <a:pt x="50262" y="192458"/>
                    <a:pt x="50262" y="192458"/>
                    <a:pt x="50262" y="192140"/>
                  </a:cubicBezTo>
                  <a:cubicBezTo>
                    <a:pt x="50262" y="191821"/>
                    <a:pt x="49944" y="191503"/>
                    <a:pt x="49944" y="191185"/>
                  </a:cubicBezTo>
                  <a:cubicBezTo>
                    <a:pt x="49944" y="190867"/>
                    <a:pt x="50262" y="190549"/>
                    <a:pt x="50898" y="190231"/>
                  </a:cubicBezTo>
                  <a:cubicBezTo>
                    <a:pt x="51216" y="190231"/>
                    <a:pt x="51216" y="190231"/>
                    <a:pt x="51216" y="189913"/>
                  </a:cubicBezTo>
                  <a:lnTo>
                    <a:pt x="51216" y="188640"/>
                  </a:lnTo>
                  <a:cubicBezTo>
                    <a:pt x="51216" y="188640"/>
                    <a:pt x="50898" y="188640"/>
                    <a:pt x="50898" y="188322"/>
                  </a:cubicBezTo>
                  <a:lnTo>
                    <a:pt x="51216" y="188004"/>
                  </a:lnTo>
                  <a:cubicBezTo>
                    <a:pt x="51216" y="188004"/>
                    <a:pt x="52170" y="187050"/>
                    <a:pt x="52170" y="186414"/>
                  </a:cubicBezTo>
                  <a:cubicBezTo>
                    <a:pt x="51534" y="185777"/>
                    <a:pt x="51216" y="185141"/>
                    <a:pt x="51216" y="184823"/>
                  </a:cubicBezTo>
                  <a:cubicBezTo>
                    <a:pt x="51216" y="184505"/>
                    <a:pt x="51216" y="184187"/>
                    <a:pt x="51852" y="183551"/>
                  </a:cubicBezTo>
                  <a:lnTo>
                    <a:pt x="51852" y="182914"/>
                  </a:lnTo>
                  <a:cubicBezTo>
                    <a:pt x="51852" y="182596"/>
                    <a:pt x="51852" y="182278"/>
                    <a:pt x="52488" y="181960"/>
                  </a:cubicBezTo>
                  <a:cubicBezTo>
                    <a:pt x="52807" y="181642"/>
                    <a:pt x="52807" y="181006"/>
                    <a:pt x="52807" y="180369"/>
                  </a:cubicBezTo>
                  <a:lnTo>
                    <a:pt x="52807" y="179415"/>
                  </a:lnTo>
                  <a:cubicBezTo>
                    <a:pt x="53125" y="179415"/>
                    <a:pt x="52807" y="179097"/>
                    <a:pt x="52807" y="179097"/>
                  </a:cubicBezTo>
                  <a:lnTo>
                    <a:pt x="52488" y="179097"/>
                  </a:lnTo>
                  <a:lnTo>
                    <a:pt x="52488" y="178143"/>
                  </a:lnTo>
                  <a:lnTo>
                    <a:pt x="52807" y="177824"/>
                  </a:lnTo>
                  <a:cubicBezTo>
                    <a:pt x="53761" y="177188"/>
                    <a:pt x="54079" y="176870"/>
                    <a:pt x="54079" y="176234"/>
                  </a:cubicBezTo>
                  <a:cubicBezTo>
                    <a:pt x="53761" y="175916"/>
                    <a:pt x="53761" y="175598"/>
                    <a:pt x="53761" y="175280"/>
                  </a:cubicBezTo>
                  <a:cubicBezTo>
                    <a:pt x="53761" y="174962"/>
                    <a:pt x="54079" y="174325"/>
                    <a:pt x="54397" y="174007"/>
                  </a:cubicBezTo>
                  <a:lnTo>
                    <a:pt x="54397" y="173689"/>
                  </a:lnTo>
                  <a:cubicBezTo>
                    <a:pt x="54079" y="173371"/>
                    <a:pt x="53761" y="172735"/>
                    <a:pt x="53761" y="172417"/>
                  </a:cubicBezTo>
                  <a:lnTo>
                    <a:pt x="53761" y="171144"/>
                  </a:lnTo>
                  <a:cubicBezTo>
                    <a:pt x="53761" y="170826"/>
                    <a:pt x="53761" y="170826"/>
                    <a:pt x="54079" y="170508"/>
                  </a:cubicBezTo>
                  <a:cubicBezTo>
                    <a:pt x="54079" y="170190"/>
                    <a:pt x="54397" y="170190"/>
                    <a:pt x="54397" y="170190"/>
                  </a:cubicBezTo>
                  <a:lnTo>
                    <a:pt x="54715" y="170190"/>
                  </a:lnTo>
                  <a:cubicBezTo>
                    <a:pt x="54715" y="170190"/>
                    <a:pt x="55033" y="170190"/>
                    <a:pt x="55033" y="169872"/>
                  </a:cubicBezTo>
                  <a:cubicBezTo>
                    <a:pt x="55033" y="169872"/>
                    <a:pt x="54715" y="169554"/>
                    <a:pt x="54715" y="169235"/>
                  </a:cubicBezTo>
                  <a:cubicBezTo>
                    <a:pt x="54715" y="169235"/>
                    <a:pt x="54397" y="168917"/>
                    <a:pt x="54397" y="168599"/>
                  </a:cubicBezTo>
                  <a:lnTo>
                    <a:pt x="54397" y="168281"/>
                  </a:lnTo>
                  <a:cubicBezTo>
                    <a:pt x="55033" y="167963"/>
                    <a:pt x="55033" y="167327"/>
                    <a:pt x="55033" y="167009"/>
                  </a:cubicBezTo>
                  <a:lnTo>
                    <a:pt x="55033" y="166691"/>
                  </a:lnTo>
                  <a:cubicBezTo>
                    <a:pt x="55352" y="166372"/>
                    <a:pt x="55352" y="166054"/>
                    <a:pt x="55352" y="166054"/>
                  </a:cubicBezTo>
                  <a:cubicBezTo>
                    <a:pt x="55352" y="165736"/>
                    <a:pt x="55033" y="165736"/>
                    <a:pt x="55033" y="165100"/>
                  </a:cubicBezTo>
                  <a:cubicBezTo>
                    <a:pt x="54715" y="164782"/>
                    <a:pt x="54397" y="164464"/>
                    <a:pt x="54397" y="164146"/>
                  </a:cubicBezTo>
                  <a:cubicBezTo>
                    <a:pt x="54397" y="163828"/>
                    <a:pt x="54715" y="163828"/>
                    <a:pt x="55033" y="163509"/>
                  </a:cubicBezTo>
                  <a:cubicBezTo>
                    <a:pt x="56942" y="163191"/>
                    <a:pt x="56942" y="162555"/>
                    <a:pt x="57260" y="161601"/>
                  </a:cubicBezTo>
                  <a:lnTo>
                    <a:pt x="57260" y="160646"/>
                  </a:lnTo>
                  <a:cubicBezTo>
                    <a:pt x="56942" y="160328"/>
                    <a:pt x="56942" y="159692"/>
                    <a:pt x="56942" y="159374"/>
                  </a:cubicBezTo>
                  <a:lnTo>
                    <a:pt x="56942" y="158102"/>
                  </a:lnTo>
                  <a:cubicBezTo>
                    <a:pt x="57260" y="157465"/>
                    <a:pt x="57260" y="156193"/>
                    <a:pt x="57578" y="155239"/>
                  </a:cubicBezTo>
                  <a:cubicBezTo>
                    <a:pt x="57578" y="154920"/>
                    <a:pt x="57260" y="154602"/>
                    <a:pt x="57260" y="154284"/>
                  </a:cubicBezTo>
                  <a:cubicBezTo>
                    <a:pt x="57260" y="153966"/>
                    <a:pt x="57260" y="153648"/>
                    <a:pt x="57578" y="153330"/>
                  </a:cubicBezTo>
                  <a:cubicBezTo>
                    <a:pt x="57578" y="153012"/>
                    <a:pt x="57896" y="152376"/>
                    <a:pt x="57896" y="152057"/>
                  </a:cubicBezTo>
                  <a:lnTo>
                    <a:pt x="57896" y="149831"/>
                  </a:lnTo>
                  <a:cubicBezTo>
                    <a:pt x="58533" y="149831"/>
                    <a:pt x="58533" y="149513"/>
                    <a:pt x="58533" y="149513"/>
                  </a:cubicBezTo>
                  <a:lnTo>
                    <a:pt x="58533" y="147922"/>
                  </a:lnTo>
                  <a:cubicBezTo>
                    <a:pt x="58851" y="147286"/>
                    <a:pt x="58851" y="146968"/>
                    <a:pt x="58851" y="146331"/>
                  </a:cubicBezTo>
                  <a:lnTo>
                    <a:pt x="58215" y="146013"/>
                  </a:lnTo>
                  <a:cubicBezTo>
                    <a:pt x="58215" y="145695"/>
                    <a:pt x="58851" y="145059"/>
                    <a:pt x="59169" y="144423"/>
                  </a:cubicBezTo>
                  <a:cubicBezTo>
                    <a:pt x="59169" y="144423"/>
                    <a:pt x="59487" y="144105"/>
                    <a:pt x="59487" y="143787"/>
                  </a:cubicBezTo>
                  <a:cubicBezTo>
                    <a:pt x="59487" y="143468"/>
                    <a:pt x="59169" y="143150"/>
                    <a:pt x="59169" y="142514"/>
                  </a:cubicBezTo>
                  <a:cubicBezTo>
                    <a:pt x="59169" y="142514"/>
                    <a:pt x="59169" y="141878"/>
                    <a:pt x="60123" y="141242"/>
                  </a:cubicBezTo>
                  <a:cubicBezTo>
                    <a:pt x="60441" y="141242"/>
                    <a:pt x="60441" y="140924"/>
                    <a:pt x="60441" y="140605"/>
                  </a:cubicBezTo>
                  <a:cubicBezTo>
                    <a:pt x="60441" y="140287"/>
                    <a:pt x="60441" y="139969"/>
                    <a:pt x="60123" y="139333"/>
                  </a:cubicBezTo>
                  <a:cubicBezTo>
                    <a:pt x="61077" y="139015"/>
                    <a:pt x="60441" y="138379"/>
                    <a:pt x="61396" y="137742"/>
                  </a:cubicBezTo>
                  <a:cubicBezTo>
                    <a:pt x="61714" y="137742"/>
                    <a:pt x="61396" y="137424"/>
                    <a:pt x="61077" y="137106"/>
                  </a:cubicBezTo>
                  <a:cubicBezTo>
                    <a:pt x="61077" y="137106"/>
                    <a:pt x="61396" y="136152"/>
                    <a:pt x="61396" y="135516"/>
                  </a:cubicBezTo>
                  <a:cubicBezTo>
                    <a:pt x="61396" y="135516"/>
                    <a:pt x="61396" y="135198"/>
                    <a:pt x="61714" y="134561"/>
                  </a:cubicBezTo>
                  <a:cubicBezTo>
                    <a:pt x="62350" y="134243"/>
                    <a:pt x="62350" y="133925"/>
                    <a:pt x="62668" y="133607"/>
                  </a:cubicBezTo>
                  <a:lnTo>
                    <a:pt x="62668" y="131062"/>
                  </a:lnTo>
                  <a:cubicBezTo>
                    <a:pt x="62668" y="130744"/>
                    <a:pt x="61714" y="130426"/>
                    <a:pt x="61714" y="130108"/>
                  </a:cubicBezTo>
                  <a:cubicBezTo>
                    <a:pt x="61714" y="129790"/>
                    <a:pt x="62032" y="129472"/>
                    <a:pt x="62350" y="128835"/>
                  </a:cubicBezTo>
                  <a:cubicBezTo>
                    <a:pt x="62668" y="128517"/>
                    <a:pt x="62350" y="127563"/>
                    <a:pt x="63622" y="126927"/>
                  </a:cubicBezTo>
                  <a:lnTo>
                    <a:pt x="63622" y="125018"/>
                  </a:lnTo>
                  <a:cubicBezTo>
                    <a:pt x="64259" y="124700"/>
                    <a:pt x="64259" y="124700"/>
                    <a:pt x="64259" y="124382"/>
                  </a:cubicBezTo>
                  <a:lnTo>
                    <a:pt x="64259" y="123745"/>
                  </a:lnTo>
                  <a:lnTo>
                    <a:pt x="64577" y="123427"/>
                  </a:lnTo>
                  <a:lnTo>
                    <a:pt x="64577" y="123109"/>
                  </a:lnTo>
                  <a:cubicBezTo>
                    <a:pt x="64577" y="122473"/>
                    <a:pt x="65213" y="122155"/>
                    <a:pt x="65213" y="121519"/>
                  </a:cubicBezTo>
                  <a:lnTo>
                    <a:pt x="65213" y="118974"/>
                  </a:lnTo>
                  <a:cubicBezTo>
                    <a:pt x="65531" y="118974"/>
                    <a:pt x="65531" y="118656"/>
                    <a:pt x="65531" y="118338"/>
                  </a:cubicBezTo>
                  <a:lnTo>
                    <a:pt x="65531" y="116747"/>
                  </a:lnTo>
                  <a:cubicBezTo>
                    <a:pt x="65531" y="116429"/>
                    <a:pt x="66485" y="115475"/>
                    <a:pt x="66485" y="114838"/>
                  </a:cubicBezTo>
                  <a:cubicBezTo>
                    <a:pt x="66485" y="114520"/>
                    <a:pt x="66485" y="114520"/>
                    <a:pt x="66167" y="114202"/>
                  </a:cubicBezTo>
                  <a:cubicBezTo>
                    <a:pt x="66803" y="113566"/>
                    <a:pt x="67122" y="112930"/>
                    <a:pt x="67122" y="112612"/>
                  </a:cubicBezTo>
                  <a:cubicBezTo>
                    <a:pt x="67122" y="112293"/>
                    <a:pt x="66803" y="112293"/>
                    <a:pt x="66803" y="111975"/>
                  </a:cubicBezTo>
                  <a:lnTo>
                    <a:pt x="66803" y="111339"/>
                  </a:lnTo>
                  <a:cubicBezTo>
                    <a:pt x="66803" y="110703"/>
                    <a:pt x="67122" y="109749"/>
                    <a:pt x="67440" y="109112"/>
                  </a:cubicBezTo>
                  <a:cubicBezTo>
                    <a:pt x="67758" y="108794"/>
                    <a:pt x="67758" y="108794"/>
                    <a:pt x="67758" y="108476"/>
                  </a:cubicBezTo>
                  <a:cubicBezTo>
                    <a:pt x="67758" y="107840"/>
                    <a:pt x="73166" y="88435"/>
                    <a:pt x="72848" y="87799"/>
                  </a:cubicBezTo>
                  <a:cubicBezTo>
                    <a:pt x="73166" y="86845"/>
                    <a:pt x="74120" y="86845"/>
                    <a:pt x="74120" y="86526"/>
                  </a:cubicBezTo>
                  <a:lnTo>
                    <a:pt x="74120" y="86208"/>
                  </a:lnTo>
                  <a:cubicBezTo>
                    <a:pt x="74120" y="85572"/>
                    <a:pt x="73802" y="84936"/>
                    <a:pt x="73484" y="84618"/>
                  </a:cubicBezTo>
                  <a:cubicBezTo>
                    <a:pt x="72848" y="84618"/>
                    <a:pt x="72848" y="84300"/>
                    <a:pt x="72848" y="83982"/>
                  </a:cubicBezTo>
                  <a:cubicBezTo>
                    <a:pt x="72848" y="83663"/>
                    <a:pt x="73802" y="83663"/>
                    <a:pt x="74120" y="83663"/>
                  </a:cubicBezTo>
                  <a:cubicBezTo>
                    <a:pt x="75074" y="83663"/>
                    <a:pt x="75393" y="83027"/>
                    <a:pt x="75393" y="82391"/>
                  </a:cubicBezTo>
                  <a:cubicBezTo>
                    <a:pt x="75074" y="81755"/>
                    <a:pt x="75074" y="81437"/>
                    <a:pt x="75074" y="81119"/>
                  </a:cubicBezTo>
                  <a:cubicBezTo>
                    <a:pt x="75074" y="80800"/>
                    <a:pt x="75711" y="80482"/>
                    <a:pt x="75711" y="80164"/>
                  </a:cubicBezTo>
                  <a:cubicBezTo>
                    <a:pt x="79528" y="67122"/>
                    <a:pt x="78574" y="71257"/>
                    <a:pt x="79846" y="66167"/>
                  </a:cubicBezTo>
                  <a:lnTo>
                    <a:pt x="77937" y="66167"/>
                  </a:lnTo>
                  <a:cubicBezTo>
                    <a:pt x="77619" y="66167"/>
                    <a:pt x="76983" y="66803"/>
                    <a:pt x="76665" y="66803"/>
                  </a:cubicBezTo>
                  <a:cubicBezTo>
                    <a:pt x="74756" y="67122"/>
                    <a:pt x="73484" y="67122"/>
                    <a:pt x="71257" y="68394"/>
                  </a:cubicBezTo>
                  <a:lnTo>
                    <a:pt x="70621" y="68394"/>
                  </a:lnTo>
                  <a:cubicBezTo>
                    <a:pt x="69667" y="68394"/>
                    <a:pt x="69349" y="67758"/>
                    <a:pt x="69030" y="67440"/>
                  </a:cubicBezTo>
                  <a:lnTo>
                    <a:pt x="68076" y="67440"/>
                  </a:lnTo>
                  <a:cubicBezTo>
                    <a:pt x="67440" y="67440"/>
                    <a:pt x="66803" y="67440"/>
                    <a:pt x="66485" y="67758"/>
                  </a:cubicBezTo>
                  <a:cubicBezTo>
                    <a:pt x="66167" y="68394"/>
                    <a:pt x="65531" y="68712"/>
                    <a:pt x="65531" y="68712"/>
                  </a:cubicBezTo>
                  <a:lnTo>
                    <a:pt x="63941" y="68712"/>
                  </a:lnTo>
                  <a:cubicBezTo>
                    <a:pt x="63304" y="68712"/>
                    <a:pt x="63304" y="68712"/>
                    <a:pt x="62668" y="69030"/>
                  </a:cubicBezTo>
                  <a:cubicBezTo>
                    <a:pt x="62350" y="69666"/>
                    <a:pt x="61714" y="69666"/>
                    <a:pt x="61714" y="69666"/>
                  </a:cubicBezTo>
                  <a:lnTo>
                    <a:pt x="61077" y="69666"/>
                  </a:lnTo>
                  <a:cubicBezTo>
                    <a:pt x="60123" y="69666"/>
                    <a:pt x="58851" y="69985"/>
                    <a:pt x="57578" y="70621"/>
                  </a:cubicBezTo>
                  <a:lnTo>
                    <a:pt x="53443" y="71257"/>
                  </a:lnTo>
                  <a:lnTo>
                    <a:pt x="52488" y="71257"/>
                  </a:lnTo>
                  <a:cubicBezTo>
                    <a:pt x="51216" y="71575"/>
                    <a:pt x="50898" y="71893"/>
                    <a:pt x="50898" y="71893"/>
                  </a:cubicBezTo>
                  <a:cubicBezTo>
                    <a:pt x="50580" y="72211"/>
                    <a:pt x="50580" y="72211"/>
                    <a:pt x="50262" y="72211"/>
                  </a:cubicBezTo>
                  <a:cubicBezTo>
                    <a:pt x="49944" y="72211"/>
                    <a:pt x="49944" y="72211"/>
                    <a:pt x="49944" y="71893"/>
                  </a:cubicBezTo>
                  <a:lnTo>
                    <a:pt x="49944" y="71575"/>
                  </a:lnTo>
                  <a:lnTo>
                    <a:pt x="50262" y="71257"/>
                  </a:lnTo>
                  <a:lnTo>
                    <a:pt x="49944" y="71257"/>
                  </a:lnTo>
                  <a:lnTo>
                    <a:pt x="49944" y="70621"/>
                  </a:lnTo>
                  <a:cubicBezTo>
                    <a:pt x="49626" y="70621"/>
                    <a:pt x="48989" y="70939"/>
                    <a:pt x="48989" y="70939"/>
                  </a:cubicBezTo>
                  <a:lnTo>
                    <a:pt x="48989" y="71257"/>
                  </a:lnTo>
                  <a:cubicBezTo>
                    <a:pt x="48989" y="71257"/>
                    <a:pt x="49626" y="71257"/>
                    <a:pt x="49626" y="71575"/>
                  </a:cubicBezTo>
                  <a:cubicBezTo>
                    <a:pt x="49307" y="71893"/>
                    <a:pt x="48989" y="72529"/>
                    <a:pt x="48353" y="72529"/>
                  </a:cubicBezTo>
                  <a:lnTo>
                    <a:pt x="48035" y="72529"/>
                  </a:lnTo>
                  <a:lnTo>
                    <a:pt x="47717" y="72848"/>
                  </a:lnTo>
                  <a:lnTo>
                    <a:pt x="47399" y="72848"/>
                  </a:lnTo>
                  <a:cubicBezTo>
                    <a:pt x="47081" y="72848"/>
                    <a:pt x="46762" y="72529"/>
                    <a:pt x="46762" y="72529"/>
                  </a:cubicBezTo>
                  <a:lnTo>
                    <a:pt x="47081" y="72211"/>
                  </a:lnTo>
                  <a:lnTo>
                    <a:pt x="46762" y="72211"/>
                  </a:lnTo>
                  <a:cubicBezTo>
                    <a:pt x="46444" y="72211"/>
                    <a:pt x="46126" y="71893"/>
                    <a:pt x="46126" y="71893"/>
                  </a:cubicBezTo>
                  <a:lnTo>
                    <a:pt x="46126" y="72211"/>
                  </a:lnTo>
                  <a:cubicBezTo>
                    <a:pt x="45490" y="72529"/>
                    <a:pt x="45490" y="73166"/>
                    <a:pt x="44854" y="73802"/>
                  </a:cubicBezTo>
                  <a:cubicBezTo>
                    <a:pt x="44536" y="74120"/>
                    <a:pt x="44218" y="74120"/>
                    <a:pt x="43900" y="74120"/>
                  </a:cubicBezTo>
                  <a:cubicBezTo>
                    <a:pt x="43263" y="73802"/>
                    <a:pt x="43581" y="73166"/>
                    <a:pt x="43263" y="73166"/>
                  </a:cubicBezTo>
                  <a:cubicBezTo>
                    <a:pt x="42945" y="73166"/>
                    <a:pt x="41991" y="73802"/>
                    <a:pt x="41355" y="74120"/>
                  </a:cubicBezTo>
                  <a:lnTo>
                    <a:pt x="38492" y="74756"/>
                  </a:lnTo>
                  <a:lnTo>
                    <a:pt x="37219" y="74756"/>
                  </a:lnTo>
                  <a:cubicBezTo>
                    <a:pt x="37219" y="75393"/>
                    <a:pt x="36901" y="75393"/>
                    <a:pt x="36583" y="75393"/>
                  </a:cubicBezTo>
                  <a:cubicBezTo>
                    <a:pt x="36265" y="75393"/>
                    <a:pt x="35947" y="75393"/>
                    <a:pt x="35947" y="75074"/>
                  </a:cubicBezTo>
                  <a:cubicBezTo>
                    <a:pt x="35311" y="75074"/>
                    <a:pt x="34674" y="75393"/>
                    <a:pt x="34356" y="75711"/>
                  </a:cubicBezTo>
                  <a:cubicBezTo>
                    <a:pt x="32766" y="76029"/>
                    <a:pt x="31811" y="76665"/>
                    <a:pt x="30539" y="76665"/>
                  </a:cubicBezTo>
                  <a:lnTo>
                    <a:pt x="29903" y="76665"/>
                  </a:lnTo>
                  <a:cubicBezTo>
                    <a:pt x="28948" y="77301"/>
                    <a:pt x="28312" y="77937"/>
                    <a:pt x="28312" y="77937"/>
                  </a:cubicBezTo>
                  <a:lnTo>
                    <a:pt x="26403" y="77937"/>
                  </a:lnTo>
                  <a:cubicBezTo>
                    <a:pt x="26085" y="77937"/>
                    <a:pt x="25767" y="77937"/>
                    <a:pt x="25449" y="77619"/>
                  </a:cubicBezTo>
                  <a:cubicBezTo>
                    <a:pt x="24813" y="77619"/>
                    <a:pt x="24495" y="77937"/>
                    <a:pt x="24495" y="77937"/>
                  </a:cubicBezTo>
                  <a:cubicBezTo>
                    <a:pt x="23858" y="78574"/>
                    <a:pt x="22904" y="78256"/>
                    <a:pt x="22268" y="79528"/>
                  </a:cubicBezTo>
                  <a:cubicBezTo>
                    <a:pt x="21314" y="79846"/>
                    <a:pt x="20995" y="79846"/>
                    <a:pt x="20995" y="79846"/>
                  </a:cubicBezTo>
                  <a:cubicBezTo>
                    <a:pt x="20995" y="79528"/>
                    <a:pt x="20995" y="79528"/>
                    <a:pt x="20359" y="79528"/>
                  </a:cubicBezTo>
                  <a:lnTo>
                    <a:pt x="18451" y="79528"/>
                  </a:lnTo>
                  <a:cubicBezTo>
                    <a:pt x="17496" y="79528"/>
                    <a:pt x="16860" y="79846"/>
                    <a:pt x="14951" y="81437"/>
                  </a:cubicBezTo>
                  <a:lnTo>
                    <a:pt x="12406" y="81437"/>
                  </a:lnTo>
                  <a:cubicBezTo>
                    <a:pt x="10498" y="82709"/>
                    <a:pt x="5408" y="84300"/>
                    <a:pt x="3181" y="84300"/>
                  </a:cubicBezTo>
                  <a:cubicBezTo>
                    <a:pt x="2545" y="84300"/>
                    <a:pt x="2227" y="84936"/>
                    <a:pt x="1591" y="85254"/>
                  </a:cubicBezTo>
                  <a:cubicBezTo>
                    <a:pt x="1273" y="85890"/>
                    <a:pt x="636" y="85890"/>
                    <a:pt x="318" y="85890"/>
                  </a:cubicBezTo>
                  <a:cubicBezTo>
                    <a:pt x="0" y="85890"/>
                    <a:pt x="0" y="85254"/>
                    <a:pt x="0" y="84618"/>
                  </a:cubicBezTo>
                  <a:cubicBezTo>
                    <a:pt x="0" y="81437"/>
                    <a:pt x="4772" y="70939"/>
                    <a:pt x="8907" y="70939"/>
                  </a:cubicBezTo>
                  <a:lnTo>
                    <a:pt x="9862" y="70939"/>
                  </a:lnTo>
                  <a:lnTo>
                    <a:pt x="9862" y="71257"/>
                  </a:lnTo>
                  <a:lnTo>
                    <a:pt x="11134" y="71257"/>
                  </a:lnTo>
                  <a:cubicBezTo>
                    <a:pt x="11452" y="71257"/>
                    <a:pt x="10816" y="71893"/>
                    <a:pt x="10498" y="72211"/>
                  </a:cubicBezTo>
                  <a:lnTo>
                    <a:pt x="9862" y="73484"/>
                  </a:lnTo>
                  <a:lnTo>
                    <a:pt x="9862" y="75074"/>
                  </a:lnTo>
                  <a:cubicBezTo>
                    <a:pt x="9862" y="75393"/>
                    <a:pt x="10180" y="75074"/>
                    <a:pt x="10498" y="75074"/>
                  </a:cubicBezTo>
                  <a:lnTo>
                    <a:pt x="10498" y="74438"/>
                  </a:lnTo>
                  <a:cubicBezTo>
                    <a:pt x="10816" y="73484"/>
                    <a:pt x="11770" y="73484"/>
                    <a:pt x="12406" y="73484"/>
                  </a:cubicBezTo>
                  <a:lnTo>
                    <a:pt x="12724" y="73484"/>
                  </a:lnTo>
                  <a:lnTo>
                    <a:pt x="12724" y="73802"/>
                  </a:lnTo>
                  <a:cubicBezTo>
                    <a:pt x="12724" y="74120"/>
                    <a:pt x="12406" y="74438"/>
                    <a:pt x="12406" y="74438"/>
                  </a:cubicBezTo>
                  <a:cubicBezTo>
                    <a:pt x="13043" y="74438"/>
                    <a:pt x="13361" y="74756"/>
                    <a:pt x="13361" y="74756"/>
                  </a:cubicBezTo>
                  <a:cubicBezTo>
                    <a:pt x="13997" y="74756"/>
                    <a:pt x="13997" y="74756"/>
                    <a:pt x="14315" y="74438"/>
                  </a:cubicBezTo>
                  <a:lnTo>
                    <a:pt x="14951" y="74120"/>
                  </a:lnTo>
                  <a:lnTo>
                    <a:pt x="15588" y="74120"/>
                  </a:lnTo>
                  <a:cubicBezTo>
                    <a:pt x="15588" y="74438"/>
                    <a:pt x="15906" y="74438"/>
                    <a:pt x="15906" y="74438"/>
                  </a:cubicBezTo>
                  <a:cubicBezTo>
                    <a:pt x="16224" y="74438"/>
                    <a:pt x="16860" y="73802"/>
                    <a:pt x="17496" y="73802"/>
                  </a:cubicBezTo>
                  <a:cubicBezTo>
                    <a:pt x="17496" y="73802"/>
                    <a:pt x="17496" y="73484"/>
                    <a:pt x="18132" y="73166"/>
                  </a:cubicBezTo>
                  <a:lnTo>
                    <a:pt x="18132" y="72211"/>
                  </a:lnTo>
                  <a:cubicBezTo>
                    <a:pt x="17496" y="72211"/>
                    <a:pt x="17496" y="72211"/>
                    <a:pt x="17496" y="71893"/>
                  </a:cubicBezTo>
                  <a:cubicBezTo>
                    <a:pt x="17496" y="71575"/>
                    <a:pt x="17496" y="71257"/>
                    <a:pt x="17814" y="70621"/>
                  </a:cubicBezTo>
                  <a:cubicBezTo>
                    <a:pt x="17814" y="70303"/>
                    <a:pt x="17496" y="70303"/>
                    <a:pt x="16860" y="70303"/>
                  </a:cubicBezTo>
                  <a:cubicBezTo>
                    <a:pt x="17496" y="69666"/>
                    <a:pt x="18769" y="68394"/>
                    <a:pt x="19405" y="68394"/>
                  </a:cubicBezTo>
                  <a:cubicBezTo>
                    <a:pt x="20995" y="67758"/>
                    <a:pt x="22904" y="67758"/>
                    <a:pt x="23858" y="67122"/>
                  </a:cubicBezTo>
                  <a:cubicBezTo>
                    <a:pt x="24813" y="66803"/>
                    <a:pt x="25449" y="66803"/>
                    <a:pt x="26085" y="66803"/>
                  </a:cubicBezTo>
                  <a:cubicBezTo>
                    <a:pt x="27040" y="66485"/>
                    <a:pt x="27994" y="66485"/>
                    <a:pt x="28948" y="66485"/>
                  </a:cubicBezTo>
                  <a:lnTo>
                    <a:pt x="29903" y="66485"/>
                  </a:lnTo>
                  <a:cubicBezTo>
                    <a:pt x="31175" y="65213"/>
                    <a:pt x="33084" y="65213"/>
                    <a:pt x="34356" y="64577"/>
                  </a:cubicBezTo>
                  <a:lnTo>
                    <a:pt x="37219" y="64577"/>
                  </a:lnTo>
                  <a:cubicBezTo>
                    <a:pt x="37219" y="64577"/>
                    <a:pt x="38173" y="64895"/>
                    <a:pt x="38492" y="64895"/>
                  </a:cubicBezTo>
                  <a:lnTo>
                    <a:pt x="38492" y="65213"/>
                  </a:lnTo>
                  <a:cubicBezTo>
                    <a:pt x="38492" y="65849"/>
                    <a:pt x="38173" y="65849"/>
                    <a:pt x="37537" y="66167"/>
                  </a:cubicBezTo>
                  <a:cubicBezTo>
                    <a:pt x="36583" y="66167"/>
                    <a:pt x="35629" y="66485"/>
                    <a:pt x="35311" y="67758"/>
                  </a:cubicBezTo>
                  <a:cubicBezTo>
                    <a:pt x="35311" y="67758"/>
                    <a:pt x="34992" y="67758"/>
                    <a:pt x="34674" y="68394"/>
                  </a:cubicBezTo>
                  <a:lnTo>
                    <a:pt x="33720" y="69030"/>
                  </a:lnTo>
                  <a:lnTo>
                    <a:pt x="33720" y="69348"/>
                  </a:lnTo>
                  <a:lnTo>
                    <a:pt x="34992" y="69348"/>
                  </a:lnTo>
                  <a:lnTo>
                    <a:pt x="35947" y="68712"/>
                  </a:lnTo>
                  <a:cubicBezTo>
                    <a:pt x="35947" y="68712"/>
                    <a:pt x="36265" y="68394"/>
                    <a:pt x="36583" y="67758"/>
                  </a:cubicBezTo>
                  <a:cubicBezTo>
                    <a:pt x="36583" y="67758"/>
                    <a:pt x="36583" y="67440"/>
                    <a:pt x="37219" y="67440"/>
                  </a:cubicBezTo>
                  <a:lnTo>
                    <a:pt x="37537" y="67440"/>
                  </a:lnTo>
                  <a:cubicBezTo>
                    <a:pt x="37537" y="67758"/>
                    <a:pt x="38173" y="68076"/>
                    <a:pt x="38173" y="68712"/>
                  </a:cubicBezTo>
                  <a:cubicBezTo>
                    <a:pt x="38492" y="69030"/>
                    <a:pt x="38810" y="69030"/>
                    <a:pt x="39128" y="69030"/>
                  </a:cubicBezTo>
                  <a:lnTo>
                    <a:pt x="40718" y="69030"/>
                  </a:lnTo>
                  <a:cubicBezTo>
                    <a:pt x="41036" y="68394"/>
                    <a:pt x="41673" y="68394"/>
                    <a:pt x="42309" y="68394"/>
                  </a:cubicBezTo>
                  <a:lnTo>
                    <a:pt x="43263" y="68394"/>
                  </a:lnTo>
                  <a:lnTo>
                    <a:pt x="43263" y="68076"/>
                  </a:lnTo>
                  <a:lnTo>
                    <a:pt x="44218" y="66167"/>
                  </a:lnTo>
                  <a:cubicBezTo>
                    <a:pt x="44218" y="66167"/>
                    <a:pt x="45172" y="65531"/>
                    <a:pt x="45172" y="65849"/>
                  </a:cubicBezTo>
                  <a:cubicBezTo>
                    <a:pt x="45172" y="65849"/>
                    <a:pt x="45172" y="66167"/>
                    <a:pt x="44854" y="66485"/>
                  </a:cubicBezTo>
                  <a:cubicBezTo>
                    <a:pt x="44854" y="67122"/>
                    <a:pt x="44536" y="67440"/>
                    <a:pt x="44218" y="68076"/>
                  </a:cubicBezTo>
                  <a:lnTo>
                    <a:pt x="44218" y="68712"/>
                  </a:lnTo>
                  <a:lnTo>
                    <a:pt x="44854" y="68712"/>
                  </a:lnTo>
                  <a:cubicBezTo>
                    <a:pt x="45808" y="68712"/>
                    <a:pt x="46126" y="67440"/>
                    <a:pt x="46444" y="67122"/>
                  </a:cubicBezTo>
                  <a:cubicBezTo>
                    <a:pt x="46444" y="66803"/>
                    <a:pt x="46126" y="66485"/>
                    <a:pt x="46126" y="66167"/>
                  </a:cubicBezTo>
                  <a:lnTo>
                    <a:pt x="46126" y="65849"/>
                  </a:lnTo>
                  <a:cubicBezTo>
                    <a:pt x="46126" y="65849"/>
                    <a:pt x="46126" y="65531"/>
                    <a:pt x="46444" y="65531"/>
                  </a:cubicBezTo>
                  <a:lnTo>
                    <a:pt x="47717" y="63940"/>
                  </a:lnTo>
                  <a:lnTo>
                    <a:pt x="46126" y="63622"/>
                  </a:lnTo>
                  <a:lnTo>
                    <a:pt x="46126" y="63304"/>
                  </a:lnTo>
                  <a:lnTo>
                    <a:pt x="45808" y="63304"/>
                  </a:lnTo>
                  <a:lnTo>
                    <a:pt x="44854" y="63622"/>
                  </a:lnTo>
                  <a:cubicBezTo>
                    <a:pt x="43900" y="63940"/>
                    <a:pt x="43581" y="64259"/>
                    <a:pt x="43263" y="65531"/>
                  </a:cubicBezTo>
                  <a:cubicBezTo>
                    <a:pt x="43263" y="65213"/>
                    <a:pt x="43263" y="64577"/>
                    <a:pt x="42945" y="64577"/>
                  </a:cubicBezTo>
                  <a:lnTo>
                    <a:pt x="41355" y="64577"/>
                  </a:lnTo>
                  <a:close/>
                  <a:moveTo>
                    <a:pt x="20359" y="69985"/>
                  </a:moveTo>
                  <a:cubicBezTo>
                    <a:pt x="19723" y="70303"/>
                    <a:pt x="19087" y="71257"/>
                    <a:pt x="18132" y="72211"/>
                  </a:cubicBezTo>
                  <a:cubicBezTo>
                    <a:pt x="18769" y="72211"/>
                    <a:pt x="19723" y="71257"/>
                    <a:pt x="20359" y="70303"/>
                  </a:cubicBezTo>
                  <a:cubicBezTo>
                    <a:pt x="20677" y="70303"/>
                    <a:pt x="20359" y="69985"/>
                    <a:pt x="20359" y="69985"/>
                  </a:cubicBezTo>
                  <a:close/>
                  <a:moveTo>
                    <a:pt x="19405" y="75393"/>
                  </a:moveTo>
                  <a:lnTo>
                    <a:pt x="18451" y="75393"/>
                  </a:lnTo>
                  <a:lnTo>
                    <a:pt x="18451" y="76665"/>
                  </a:lnTo>
                  <a:cubicBezTo>
                    <a:pt x="18451" y="76347"/>
                    <a:pt x="18769" y="76347"/>
                    <a:pt x="19087" y="76029"/>
                  </a:cubicBezTo>
                  <a:lnTo>
                    <a:pt x="19405" y="75393"/>
                  </a:lnTo>
                  <a:close/>
                  <a:moveTo>
                    <a:pt x="22586" y="74120"/>
                  </a:moveTo>
                  <a:lnTo>
                    <a:pt x="22904" y="74120"/>
                  </a:lnTo>
                  <a:cubicBezTo>
                    <a:pt x="23222" y="73802"/>
                    <a:pt x="23222" y="73484"/>
                    <a:pt x="23222" y="73484"/>
                  </a:cubicBezTo>
                  <a:cubicBezTo>
                    <a:pt x="23222" y="73484"/>
                    <a:pt x="23858" y="73166"/>
                    <a:pt x="23858" y="72848"/>
                  </a:cubicBezTo>
                  <a:lnTo>
                    <a:pt x="23858" y="72529"/>
                  </a:lnTo>
                  <a:lnTo>
                    <a:pt x="23540" y="72529"/>
                  </a:lnTo>
                  <a:cubicBezTo>
                    <a:pt x="22904" y="72529"/>
                    <a:pt x="22268" y="72529"/>
                    <a:pt x="21632" y="73484"/>
                  </a:cubicBezTo>
                  <a:cubicBezTo>
                    <a:pt x="21632" y="73802"/>
                    <a:pt x="22268" y="74120"/>
                    <a:pt x="22586" y="74120"/>
                  </a:cubicBezTo>
                  <a:close/>
                  <a:moveTo>
                    <a:pt x="31811" y="67758"/>
                  </a:moveTo>
                  <a:lnTo>
                    <a:pt x="29903" y="69348"/>
                  </a:lnTo>
                  <a:lnTo>
                    <a:pt x="29903" y="69666"/>
                  </a:lnTo>
                  <a:lnTo>
                    <a:pt x="30539" y="69666"/>
                  </a:lnTo>
                  <a:cubicBezTo>
                    <a:pt x="31175" y="69666"/>
                    <a:pt x="31493" y="69666"/>
                    <a:pt x="31493" y="69030"/>
                  </a:cubicBezTo>
                  <a:cubicBezTo>
                    <a:pt x="31493" y="69030"/>
                    <a:pt x="31811" y="68712"/>
                    <a:pt x="31811" y="68076"/>
                  </a:cubicBezTo>
                  <a:lnTo>
                    <a:pt x="31811" y="67758"/>
                  </a:lnTo>
                  <a:close/>
                  <a:moveTo>
                    <a:pt x="43263" y="66167"/>
                  </a:moveTo>
                  <a:cubicBezTo>
                    <a:pt x="43263" y="66485"/>
                    <a:pt x="42945" y="66803"/>
                    <a:pt x="42945" y="66803"/>
                  </a:cubicBezTo>
                  <a:cubicBezTo>
                    <a:pt x="42945" y="67122"/>
                    <a:pt x="42945" y="67122"/>
                    <a:pt x="42627" y="67122"/>
                  </a:cubicBezTo>
                  <a:cubicBezTo>
                    <a:pt x="42627" y="67122"/>
                    <a:pt x="42309" y="66803"/>
                    <a:pt x="42309" y="66485"/>
                  </a:cubicBezTo>
                  <a:cubicBezTo>
                    <a:pt x="42945" y="65849"/>
                    <a:pt x="43263" y="65849"/>
                    <a:pt x="43263" y="65849"/>
                  </a:cubicBezTo>
                  <a:lnTo>
                    <a:pt x="43263" y="66167"/>
                  </a:lnTo>
                  <a:close/>
                  <a:moveTo>
                    <a:pt x="50898" y="266896"/>
                  </a:moveTo>
                  <a:cubicBezTo>
                    <a:pt x="50898" y="266896"/>
                    <a:pt x="50580" y="266896"/>
                    <a:pt x="50580" y="266578"/>
                  </a:cubicBezTo>
                  <a:cubicBezTo>
                    <a:pt x="50580" y="266578"/>
                    <a:pt x="50898" y="266578"/>
                    <a:pt x="50898" y="266260"/>
                  </a:cubicBezTo>
                  <a:lnTo>
                    <a:pt x="50898" y="266896"/>
                  </a:lnTo>
                  <a:close/>
                  <a:moveTo>
                    <a:pt x="66803" y="229359"/>
                  </a:moveTo>
                  <a:cubicBezTo>
                    <a:pt x="67122" y="229359"/>
                    <a:pt x="67440" y="229041"/>
                    <a:pt x="67758" y="228404"/>
                  </a:cubicBezTo>
                  <a:cubicBezTo>
                    <a:pt x="67758" y="228086"/>
                    <a:pt x="67440" y="227450"/>
                    <a:pt x="67440" y="227450"/>
                  </a:cubicBezTo>
                  <a:cubicBezTo>
                    <a:pt x="67440" y="227450"/>
                    <a:pt x="68076" y="227132"/>
                    <a:pt x="68076" y="226814"/>
                  </a:cubicBezTo>
                  <a:cubicBezTo>
                    <a:pt x="67440" y="226496"/>
                    <a:pt x="67440" y="225859"/>
                    <a:pt x="66803" y="225859"/>
                  </a:cubicBezTo>
                  <a:lnTo>
                    <a:pt x="67122" y="228404"/>
                  </a:lnTo>
                  <a:cubicBezTo>
                    <a:pt x="67122" y="228722"/>
                    <a:pt x="66485" y="229041"/>
                    <a:pt x="66485" y="229041"/>
                  </a:cubicBezTo>
                  <a:lnTo>
                    <a:pt x="66167" y="229041"/>
                  </a:lnTo>
                  <a:cubicBezTo>
                    <a:pt x="66167" y="229041"/>
                    <a:pt x="66167" y="229359"/>
                    <a:pt x="66485" y="229359"/>
                  </a:cubicBezTo>
                  <a:lnTo>
                    <a:pt x="66803" y="229359"/>
                  </a:lnTo>
                  <a:close/>
                  <a:moveTo>
                    <a:pt x="67122" y="237630"/>
                  </a:moveTo>
                  <a:lnTo>
                    <a:pt x="67122" y="239538"/>
                  </a:lnTo>
                  <a:cubicBezTo>
                    <a:pt x="67758" y="239856"/>
                    <a:pt x="68076" y="239856"/>
                    <a:pt x="68076" y="239856"/>
                  </a:cubicBezTo>
                  <a:lnTo>
                    <a:pt x="68712" y="239856"/>
                  </a:lnTo>
                  <a:lnTo>
                    <a:pt x="68394" y="239538"/>
                  </a:lnTo>
                  <a:lnTo>
                    <a:pt x="68394" y="237630"/>
                  </a:lnTo>
                  <a:lnTo>
                    <a:pt x="67122" y="237630"/>
                  </a:lnTo>
                  <a:close/>
                  <a:moveTo>
                    <a:pt x="67122" y="248127"/>
                  </a:moveTo>
                  <a:cubicBezTo>
                    <a:pt x="67122" y="248445"/>
                    <a:pt x="67122" y="248763"/>
                    <a:pt x="67440" y="249082"/>
                  </a:cubicBezTo>
                  <a:cubicBezTo>
                    <a:pt x="67440" y="249082"/>
                    <a:pt x="67440" y="249400"/>
                    <a:pt x="67758" y="249400"/>
                  </a:cubicBezTo>
                  <a:lnTo>
                    <a:pt x="67758" y="249082"/>
                  </a:lnTo>
                  <a:cubicBezTo>
                    <a:pt x="68394" y="248763"/>
                    <a:pt x="68394" y="248127"/>
                    <a:pt x="68394" y="247809"/>
                  </a:cubicBezTo>
                  <a:cubicBezTo>
                    <a:pt x="68394" y="247491"/>
                    <a:pt x="68076" y="247173"/>
                    <a:pt x="67440" y="247173"/>
                  </a:cubicBezTo>
                  <a:cubicBezTo>
                    <a:pt x="67122" y="247173"/>
                    <a:pt x="67122" y="247491"/>
                    <a:pt x="67122" y="247809"/>
                  </a:cubicBezTo>
                  <a:lnTo>
                    <a:pt x="67122" y="248127"/>
                  </a:lnTo>
                  <a:close/>
                  <a:moveTo>
                    <a:pt x="67440" y="210908"/>
                  </a:moveTo>
                  <a:lnTo>
                    <a:pt x="67758" y="210590"/>
                  </a:lnTo>
                  <a:cubicBezTo>
                    <a:pt x="68712" y="209954"/>
                    <a:pt x="69985" y="209636"/>
                    <a:pt x="70303" y="209636"/>
                  </a:cubicBezTo>
                  <a:cubicBezTo>
                    <a:pt x="70303" y="209636"/>
                    <a:pt x="70621" y="210272"/>
                    <a:pt x="70621" y="210590"/>
                  </a:cubicBezTo>
                  <a:cubicBezTo>
                    <a:pt x="69985" y="210908"/>
                    <a:pt x="69667" y="211226"/>
                    <a:pt x="68394" y="211226"/>
                  </a:cubicBezTo>
                  <a:cubicBezTo>
                    <a:pt x="68076" y="211226"/>
                    <a:pt x="67440" y="211226"/>
                    <a:pt x="67440" y="210908"/>
                  </a:cubicBezTo>
                  <a:close/>
                  <a:moveTo>
                    <a:pt x="67758" y="231267"/>
                  </a:moveTo>
                  <a:cubicBezTo>
                    <a:pt x="67758" y="231585"/>
                    <a:pt x="67440" y="231585"/>
                    <a:pt x="67440" y="231585"/>
                  </a:cubicBezTo>
                  <a:cubicBezTo>
                    <a:pt x="67440" y="231585"/>
                    <a:pt x="67440" y="231904"/>
                    <a:pt x="67758" y="231904"/>
                  </a:cubicBezTo>
                  <a:lnTo>
                    <a:pt x="67758" y="231267"/>
                  </a:lnTo>
                  <a:close/>
                  <a:moveTo>
                    <a:pt x="68394" y="212499"/>
                  </a:moveTo>
                  <a:cubicBezTo>
                    <a:pt x="68394" y="212181"/>
                    <a:pt x="68712" y="212181"/>
                    <a:pt x="68712" y="212181"/>
                  </a:cubicBezTo>
                  <a:cubicBezTo>
                    <a:pt x="68712" y="212181"/>
                    <a:pt x="68712" y="212499"/>
                    <a:pt x="69030" y="212499"/>
                  </a:cubicBezTo>
                  <a:lnTo>
                    <a:pt x="68394" y="212499"/>
                  </a:lnTo>
                  <a:close/>
                  <a:moveTo>
                    <a:pt x="69030" y="198820"/>
                  </a:moveTo>
                  <a:lnTo>
                    <a:pt x="68712" y="198502"/>
                  </a:lnTo>
                  <a:cubicBezTo>
                    <a:pt x="69030" y="198502"/>
                    <a:pt x="69349" y="198184"/>
                    <a:pt x="69349" y="198184"/>
                  </a:cubicBezTo>
                  <a:cubicBezTo>
                    <a:pt x="69985" y="198184"/>
                    <a:pt x="69985" y="198502"/>
                    <a:pt x="69985" y="198502"/>
                  </a:cubicBezTo>
                  <a:cubicBezTo>
                    <a:pt x="69985" y="198502"/>
                    <a:pt x="69985" y="198820"/>
                    <a:pt x="69349" y="198820"/>
                  </a:cubicBezTo>
                  <a:lnTo>
                    <a:pt x="69030" y="198820"/>
                  </a:lnTo>
                  <a:close/>
                  <a:moveTo>
                    <a:pt x="69030" y="208363"/>
                  </a:moveTo>
                  <a:lnTo>
                    <a:pt x="69030" y="207409"/>
                  </a:lnTo>
                  <a:cubicBezTo>
                    <a:pt x="69349" y="207091"/>
                    <a:pt x="69985" y="206773"/>
                    <a:pt x="69985" y="206773"/>
                  </a:cubicBezTo>
                  <a:cubicBezTo>
                    <a:pt x="70303" y="206773"/>
                    <a:pt x="70621" y="206773"/>
                    <a:pt x="70621" y="207091"/>
                  </a:cubicBezTo>
                  <a:cubicBezTo>
                    <a:pt x="70621" y="207091"/>
                    <a:pt x="70303" y="207409"/>
                    <a:pt x="70303" y="207727"/>
                  </a:cubicBezTo>
                  <a:cubicBezTo>
                    <a:pt x="70303" y="208363"/>
                    <a:pt x="69667" y="208363"/>
                    <a:pt x="69667" y="208363"/>
                  </a:cubicBezTo>
                  <a:lnTo>
                    <a:pt x="69030" y="208363"/>
                  </a:lnTo>
                  <a:close/>
                  <a:moveTo>
                    <a:pt x="69985" y="213135"/>
                  </a:moveTo>
                  <a:lnTo>
                    <a:pt x="69985" y="213453"/>
                  </a:lnTo>
                  <a:cubicBezTo>
                    <a:pt x="69985" y="213453"/>
                    <a:pt x="69349" y="213453"/>
                    <a:pt x="69349" y="213135"/>
                  </a:cubicBezTo>
                  <a:lnTo>
                    <a:pt x="69349" y="212817"/>
                  </a:lnTo>
                  <a:lnTo>
                    <a:pt x="69030" y="212499"/>
                  </a:lnTo>
                  <a:lnTo>
                    <a:pt x="69667" y="212499"/>
                  </a:lnTo>
                  <a:lnTo>
                    <a:pt x="69985" y="213135"/>
                  </a:lnTo>
                  <a:close/>
                  <a:moveTo>
                    <a:pt x="69349" y="204864"/>
                  </a:moveTo>
                  <a:lnTo>
                    <a:pt x="70303" y="204864"/>
                  </a:lnTo>
                  <a:cubicBezTo>
                    <a:pt x="70621" y="204864"/>
                    <a:pt x="70621" y="205182"/>
                    <a:pt x="70621" y="205500"/>
                  </a:cubicBezTo>
                  <a:cubicBezTo>
                    <a:pt x="70621" y="205818"/>
                    <a:pt x="70621" y="206136"/>
                    <a:pt x="70303" y="206455"/>
                  </a:cubicBezTo>
                  <a:cubicBezTo>
                    <a:pt x="69985" y="206455"/>
                    <a:pt x="69985" y="206455"/>
                    <a:pt x="69349" y="205818"/>
                  </a:cubicBezTo>
                  <a:lnTo>
                    <a:pt x="69349" y="204864"/>
                  </a:lnTo>
                  <a:close/>
                  <a:moveTo>
                    <a:pt x="70303" y="201365"/>
                  </a:moveTo>
                  <a:lnTo>
                    <a:pt x="69667" y="201365"/>
                  </a:lnTo>
                  <a:cubicBezTo>
                    <a:pt x="69667" y="201365"/>
                    <a:pt x="69985" y="201365"/>
                    <a:pt x="69985" y="201047"/>
                  </a:cubicBezTo>
                  <a:lnTo>
                    <a:pt x="70303" y="201365"/>
                  </a:lnTo>
                  <a:close/>
                  <a:moveTo>
                    <a:pt x="71257" y="189595"/>
                  </a:moveTo>
                  <a:cubicBezTo>
                    <a:pt x="71575" y="189595"/>
                    <a:pt x="71893" y="189913"/>
                    <a:pt x="71893" y="190231"/>
                  </a:cubicBezTo>
                  <a:cubicBezTo>
                    <a:pt x="71893" y="190549"/>
                    <a:pt x="71575" y="190867"/>
                    <a:pt x="71257" y="190867"/>
                  </a:cubicBezTo>
                  <a:cubicBezTo>
                    <a:pt x="70939" y="190867"/>
                    <a:pt x="70621" y="190549"/>
                    <a:pt x="70621" y="190549"/>
                  </a:cubicBezTo>
                  <a:cubicBezTo>
                    <a:pt x="70621" y="189913"/>
                    <a:pt x="70621" y="189595"/>
                    <a:pt x="71257" y="189595"/>
                  </a:cubicBezTo>
                  <a:close/>
                  <a:moveTo>
                    <a:pt x="73802" y="154284"/>
                  </a:moveTo>
                  <a:cubicBezTo>
                    <a:pt x="74756" y="154284"/>
                    <a:pt x="75074" y="154284"/>
                    <a:pt x="75074" y="153966"/>
                  </a:cubicBezTo>
                  <a:cubicBezTo>
                    <a:pt x="75074" y="153648"/>
                    <a:pt x="74756" y="153330"/>
                    <a:pt x="74120" y="153330"/>
                  </a:cubicBezTo>
                  <a:cubicBezTo>
                    <a:pt x="73802" y="153330"/>
                    <a:pt x="73802" y="153648"/>
                    <a:pt x="73802" y="153966"/>
                  </a:cubicBezTo>
                  <a:lnTo>
                    <a:pt x="73802" y="154284"/>
                  </a:lnTo>
                  <a:close/>
                  <a:moveTo>
                    <a:pt x="73802" y="172735"/>
                  </a:moveTo>
                  <a:lnTo>
                    <a:pt x="73802" y="170826"/>
                  </a:lnTo>
                  <a:cubicBezTo>
                    <a:pt x="74120" y="170508"/>
                    <a:pt x="74120" y="170508"/>
                    <a:pt x="74438" y="170508"/>
                  </a:cubicBezTo>
                  <a:cubicBezTo>
                    <a:pt x="75074" y="170508"/>
                    <a:pt x="75074" y="170508"/>
                    <a:pt x="75074" y="170826"/>
                  </a:cubicBezTo>
                  <a:cubicBezTo>
                    <a:pt x="75074" y="171144"/>
                    <a:pt x="75074" y="171780"/>
                    <a:pt x="74120" y="172417"/>
                  </a:cubicBezTo>
                  <a:lnTo>
                    <a:pt x="73802" y="172735"/>
                  </a:lnTo>
                  <a:close/>
                  <a:moveTo>
                    <a:pt x="78256" y="149513"/>
                  </a:moveTo>
                  <a:cubicBezTo>
                    <a:pt x="77619" y="149513"/>
                    <a:pt x="77301" y="148876"/>
                    <a:pt x="76665" y="148240"/>
                  </a:cubicBezTo>
                  <a:lnTo>
                    <a:pt x="76665" y="147922"/>
                  </a:lnTo>
                  <a:cubicBezTo>
                    <a:pt x="76983" y="147604"/>
                    <a:pt x="77937" y="147286"/>
                    <a:pt x="78256" y="147286"/>
                  </a:cubicBezTo>
                  <a:cubicBezTo>
                    <a:pt x="78892" y="147286"/>
                    <a:pt x="79210" y="147604"/>
                    <a:pt x="79528" y="147922"/>
                  </a:cubicBezTo>
                  <a:lnTo>
                    <a:pt x="79528" y="148558"/>
                  </a:lnTo>
                  <a:cubicBezTo>
                    <a:pt x="79528" y="148876"/>
                    <a:pt x="78892" y="149194"/>
                    <a:pt x="78574" y="149513"/>
                  </a:cubicBezTo>
                  <a:lnTo>
                    <a:pt x="78256" y="149513"/>
                  </a:lnTo>
                  <a:close/>
                  <a:moveTo>
                    <a:pt x="81755" y="55670"/>
                  </a:moveTo>
                  <a:cubicBezTo>
                    <a:pt x="81437" y="55988"/>
                    <a:pt x="81119" y="55988"/>
                    <a:pt x="81119" y="55988"/>
                  </a:cubicBezTo>
                  <a:lnTo>
                    <a:pt x="81755" y="55670"/>
                  </a:lnTo>
                  <a:close/>
                  <a:moveTo>
                    <a:pt x="94161" y="268168"/>
                  </a:moveTo>
                  <a:lnTo>
                    <a:pt x="93843" y="267850"/>
                  </a:lnTo>
                  <a:cubicBezTo>
                    <a:pt x="93843" y="267532"/>
                    <a:pt x="94161" y="267532"/>
                    <a:pt x="94161" y="267214"/>
                  </a:cubicBezTo>
                  <a:lnTo>
                    <a:pt x="94161" y="268168"/>
                  </a:lnTo>
                  <a:close/>
                  <a:moveTo>
                    <a:pt x="100523" y="246537"/>
                  </a:moveTo>
                  <a:lnTo>
                    <a:pt x="100205" y="246219"/>
                  </a:lnTo>
                  <a:cubicBezTo>
                    <a:pt x="100205" y="246219"/>
                    <a:pt x="99569" y="246855"/>
                    <a:pt x="99251" y="247491"/>
                  </a:cubicBezTo>
                  <a:cubicBezTo>
                    <a:pt x="99251" y="247491"/>
                    <a:pt x="99251" y="247809"/>
                    <a:pt x="99569" y="247809"/>
                  </a:cubicBezTo>
                  <a:cubicBezTo>
                    <a:pt x="99887" y="247809"/>
                    <a:pt x="100523" y="246855"/>
                    <a:pt x="100523" y="246537"/>
                  </a:cubicBezTo>
                  <a:close/>
                  <a:moveTo>
                    <a:pt x="106886" y="231267"/>
                  </a:moveTo>
                  <a:cubicBezTo>
                    <a:pt x="107522" y="231267"/>
                    <a:pt x="107840" y="231267"/>
                    <a:pt x="107840" y="230949"/>
                  </a:cubicBezTo>
                  <a:cubicBezTo>
                    <a:pt x="107840" y="230949"/>
                    <a:pt x="107522" y="230949"/>
                    <a:pt x="107522" y="230631"/>
                  </a:cubicBezTo>
                  <a:cubicBezTo>
                    <a:pt x="107522" y="230313"/>
                    <a:pt x="107522" y="229995"/>
                    <a:pt x="106886" y="229995"/>
                  </a:cubicBezTo>
                  <a:cubicBezTo>
                    <a:pt x="106567" y="229995"/>
                    <a:pt x="106249" y="230313"/>
                    <a:pt x="106249" y="230631"/>
                  </a:cubicBezTo>
                  <a:lnTo>
                    <a:pt x="106886" y="231267"/>
                  </a:lnTo>
                  <a:close/>
                  <a:moveTo>
                    <a:pt x="114520" y="228722"/>
                  </a:moveTo>
                  <a:lnTo>
                    <a:pt x="114202" y="229041"/>
                  </a:lnTo>
                  <a:lnTo>
                    <a:pt x="114202" y="229359"/>
                  </a:lnTo>
                  <a:lnTo>
                    <a:pt x="112930" y="229359"/>
                  </a:lnTo>
                  <a:lnTo>
                    <a:pt x="112930" y="229041"/>
                  </a:lnTo>
                  <a:cubicBezTo>
                    <a:pt x="112930" y="229041"/>
                    <a:pt x="113566" y="228722"/>
                    <a:pt x="113566" y="228404"/>
                  </a:cubicBezTo>
                  <a:cubicBezTo>
                    <a:pt x="113566" y="228086"/>
                    <a:pt x="113248" y="228086"/>
                    <a:pt x="112930" y="227450"/>
                  </a:cubicBezTo>
                  <a:lnTo>
                    <a:pt x="112930" y="227132"/>
                  </a:lnTo>
                  <a:cubicBezTo>
                    <a:pt x="112930" y="226814"/>
                    <a:pt x="112930" y="226814"/>
                    <a:pt x="113248" y="226496"/>
                  </a:cubicBezTo>
                  <a:lnTo>
                    <a:pt x="113884" y="225859"/>
                  </a:lnTo>
                  <a:cubicBezTo>
                    <a:pt x="114202" y="225859"/>
                    <a:pt x="114520" y="226496"/>
                    <a:pt x="114520" y="226496"/>
                  </a:cubicBezTo>
                  <a:lnTo>
                    <a:pt x="114520" y="228722"/>
                  </a:lnTo>
                  <a:close/>
                  <a:moveTo>
                    <a:pt x="117701" y="55351"/>
                  </a:moveTo>
                  <a:cubicBezTo>
                    <a:pt x="118656" y="55033"/>
                    <a:pt x="119292" y="55033"/>
                    <a:pt x="119292" y="54715"/>
                  </a:cubicBezTo>
                  <a:cubicBezTo>
                    <a:pt x="119292" y="54079"/>
                    <a:pt x="119292" y="54079"/>
                    <a:pt x="119610" y="53761"/>
                  </a:cubicBezTo>
                  <a:cubicBezTo>
                    <a:pt x="119610" y="53761"/>
                    <a:pt x="119610" y="53443"/>
                    <a:pt x="119292" y="53443"/>
                  </a:cubicBezTo>
                  <a:cubicBezTo>
                    <a:pt x="118656" y="53443"/>
                    <a:pt x="118020" y="54079"/>
                    <a:pt x="117383" y="54715"/>
                  </a:cubicBezTo>
                  <a:lnTo>
                    <a:pt x="117065" y="55351"/>
                  </a:lnTo>
                  <a:lnTo>
                    <a:pt x="117065" y="55670"/>
                  </a:lnTo>
                  <a:lnTo>
                    <a:pt x="117701" y="55351"/>
                  </a:lnTo>
                  <a:close/>
                  <a:moveTo>
                    <a:pt x="122791" y="198820"/>
                  </a:moveTo>
                  <a:lnTo>
                    <a:pt x="123109" y="199774"/>
                  </a:lnTo>
                  <a:lnTo>
                    <a:pt x="123428" y="200092"/>
                  </a:lnTo>
                  <a:cubicBezTo>
                    <a:pt x="123746" y="199774"/>
                    <a:pt x="124382" y="199456"/>
                    <a:pt x="124382" y="198820"/>
                  </a:cubicBezTo>
                  <a:lnTo>
                    <a:pt x="122791" y="198820"/>
                  </a:lnTo>
                  <a:close/>
                  <a:moveTo>
                    <a:pt x="123746" y="51534"/>
                  </a:moveTo>
                  <a:cubicBezTo>
                    <a:pt x="124064" y="51534"/>
                    <a:pt x="124064" y="51216"/>
                    <a:pt x="124064" y="50898"/>
                  </a:cubicBezTo>
                  <a:lnTo>
                    <a:pt x="124064" y="50580"/>
                  </a:lnTo>
                  <a:cubicBezTo>
                    <a:pt x="123746" y="50580"/>
                    <a:pt x="124064" y="50898"/>
                    <a:pt x="123746" y="50898"/>
                  </a:cubicBezTo>
                  <a:lnTo>
                    <a:pt x="123746" y="51534"/>
                  </a:lnTo>
                  <a:close/>
                  <a:moveTo>
                    <a:pt x="126290" y="175916"/>
                  </a:moveTo>
                  <a:cubicBezTo>
                    <a:pt x="126290" y="175916"/>
                    <a:pt x="125336" y="175280"/>
                    <a:pt x="124700" y="175280"/>
                  </a:cubicBezTo>
                  <a:lnTo>
                    <a:pt x="124700" y="175916"/>
                  </a:lnTo>
                  <a:cubicBezTo>
                    <a:pt x="125018" y="176552"/>
                    <a:pt x="125018" y="176552"/>
                    <a:pt x="125654" y="176552"/>
                  </a:cubicBezTo>
                  <a:cubicBezTo>
                    <a:pt x="125654" y="176552"/>
                    <a:pt x="126609" y="176234"/>
                    <a:pt x="126290" y="175916"/>
                  </a:cubicBezTo>
                  <a:close/>
                  <a:moveTo>
                    <a:pt x="127563" y="173371"/>
                  </a:moveTo>
                  <a:lnTo>
                    <a:pt x="127563" y="171780"/>
                  </a:lnTo>
                  <a:lnTo>
                    <a:pt x="126609" y="171780"/>
                  </a:lnTo>
                  <a:lnTo>
                    <a:pt x="126609" y="172098"/>
                  </a:lnTo>
                  <a:cubicBezTo>
                    <a:pt x="126609" y="172417"/>
                    <a:pt x="126290" y="172735"/>
                    <a:pt x="126290" y="173053"/>
                  </a:cubicBezTo>
                  <a:cubicBezTo>
                    <a:pt x="126609" y="173371"/>
                    <a:pt x="126609" y="173689"/>
                    <a:pt x="126609" y="173689"/>
                  </a:cubicBezTo>
                  <a:cubicBezTo>
                    <a:pt x="126927" y="173689"/>
                    <a:pt x="127563" y="173371"/>
                    <a:pt x="127563" y="173371"/>
                  </a:cubicBezTo>
                  <a:close/>
                  <a:moveTo>
                    <a:pt x="129472" y="55670"/>
                  </a:moveTo>
                  <a:cubicBezTo>
                    <a:pt x="130426" y="55670"/>
                    <a:pt x="130426" y="55351"/>
                    <a:pt x="130744" y="55033"/>
                  </a:cubicBezTo>
                  <a:lnTo>
                    <a:pt x="130108" y="55033"/>
                  </a:lnTo>
                  <a:cubicBezTo>
                    <a:pt x="129790" y="55033"/>
                    <a:pt x="129790" y="54715"/>
                    <a:pt x="129472" y="54715"/>
                  </a:cubicBezTo>
                  <a:cubicBezTo>
                    <a:pt x="129153" y="54715"/>
                    <a:pt x="128517" y="55033"/>
                    <a:pt x="128517" y="55033"/>
                  </a:cubicBezTo>
                  <a:lnTo>
                    <a:pt x="128199" y="55033"/>
                  </a:lnTo>
                  <a:lnTo>
                    <a:pt x="127881" y="55351"/>
                  </a:lnTo>
                  <a:cubicBezTo>
                    <a:pt x="128199" y="55670"/>
                    <a:pt x="128517" y="55670"/>
                    <a:pt x="128517" y="55670"/>
                  </a:cubicBezTo>
                  <a:lnTo>
                    <a:pt x="129472" y="55670"/>
                  </a:lnTo>
                  <a:close/>
                  <a:moveTo>
                    <a:pt x="130426" y="189277"/>
                  </a:moveTo>
                  <a:lnTo>
                    <a:pt x="130426" y="189595"/>
                  </a:lnTo>
                  <a:cubicBezTo>
                    <a:pt x="130426" y="189913"/>
                    <a:pt x="129472" y="189913"/>
                    <a:pt x="129472" y="190231"/>
                  </a:cubicBezTo>
                  <a:lnTo>
                    <a:pt x="129472" y="189913"/>
                  </a:lnTo>
                  <a:lnTo>
                    <a:pt x="128835" y="189277"/>
                  </a:lnTo>
                  <a:cubicBezTo>
                    <a:pt x="129153" y="189277"/>
                    <a:pt x="129790" y="188640"/>
                    <a:pt x="129790" y="188640"/>
                  </a:cubicBezTo>
                  <a:lnTo>
                    <a:pt x="130744" y="188640"/>
                  </a:lnTo>
                  <a:lnTo>
                    <a:pt x="130426" y="189277"/>
                  </a:lnTo>
                  <a:close/>
                  <a:moveTo>
                    <a:pt x="130426" y="191185"/>
                  </a:moveTo>
                  <a:lnTo>
                    <a:pt x="130744" y="191503"/>
                  </a:lnTo>
                  <a:cubicBezTo>
                    <a:pt x="130744" y="191821"/>
                    <a:pt x="130426" y="191821"/>
                    <a:pt x="129790" y="192140"/>
                  </a:cubicBezTo>
                  <a:lnTo>
                    <a:pt x="129790" y="191821"/>
                  </a:lnTo>
                  <a:cubicBezTo>
                    <a:pt x="129472" y="191821"/>
                    <a:pt x="129472" y="191503"/>
                    <a:pt x="129472" y="191503"/>
                  </a:cubicBezTo>
                  <a:cubicBezTo>
                    <a:pt x="129153" y="191503"/>
                    <a:pt x="128835" y="191185"/>
                    <a:pt x="128835" y="191185"/>
                  </a:cubicBezTo>
                  <a:lnTo>
                    <a:pt x="130426" y="191185"/>
                  </a:lnTo>
                  <a:close/>
                  <a:moveTo>
                    <a:pt x="131062" y="53443"/>
                  </a:moveTo>
                  <a:cubicBezTo>
                    <a:pt x="131062" y="53443"/>
                    <a:pt x="131380" y="53125"/>
                    <a:pt x="131698" y="52488"/>
                  </a:cubicBezTo>
                  <a:lnTo>
                    <a:pt x="131698" y="52170"/>
                  </a:lnTo>
                  <a:cubicBezTo>
                    <a:pt x="130744" y="52170"/>
                    <a:pt x="130744" y="52170"/>
                    <a:pt x="130108" y="52488"/>
                  </a:cubicBezTo>
                  <a:cubicBezTo>
                    <a:pt x="130108" y="53125"/>
                    <a:pt x="130108" y="53761"/>
                    <a:pt x="129790" y="54397"/>
                  </a:cubicBezTo>
                  <a:cubicBezTo>
                    <a:pt x="130426" y="53761"/>
                    <a:pt x="131062" y="53761"/>
                    <a:pt x="131062" y="53443"/>
                  </a:cubicBezTo>
                  <a:close/>
                  <a:moveTo>
                    <a:pt x="132335" y="183551"/>
                  </a:moveTo>
                  <a:cubicBezTo>
                    <a:pt x="132016" y="183551"/>
                    <a:pt x="132016" y="183232"/>
                    <a:pt x="132016" y="183232"/>
                  </a:cubicBezTo>
                  <a:lnTo>
                    <a:pt x="132335" y="182914"/>
                  </a:lnTo>
                  <a:lnTo>
                    <a:pt x="132653" y="182914"/>
                  </a:lnTo>
                  <a:lnTo>
                    <a:pt x="132971" y="183232"/>
                  </a:lnTo>
                  <a:lnTo>
                    <a:pt x="133607" y="183551"/>
                  </a:lnTo>
                  <a:cubicBezTo>
                    <a:pt x="132971" y="183551"/>
                    <a:pt x="132971" y="184187"/>
                    <a:pt x="132653" y="184187"/>
                  </a:cubicBezTo>
                  <a:cubicBezTo>
                    <a:pt x="132335" y="184187"/>
                    <a:pt x="132335" y="184187"/>
                    <a:pt x="132335" y="183551"/>
                  </a:cubicBezTo>
                  <a:close/>
                  <a:moveTo>
                    <a:pt x="135834" y="57896"/>
                  </a:moveTo>
                  <a:cubicBezTo>
                    <a:pt x="135516" y="57896"/>
                    <a:pt x="135516" y="57578"/>
                    <a:pt x="135516" y="57578"/>
                  </a:cubicBezTo>
                  <a:cubicBezTo>
                    <a:pt x="135516" y="57578"/>
                    <a:pt x="135198" y="57896"/>
                    <a:pt x="134879" y="57896"/>
                  </a:cubicBezTo>
                  <a:lnTo>
                    <a:pt x="135834" y="57896"/>
                  </a:lnTo>
                  <a:close/>
                  <a:moveTo>
                    <a:pt x="137106" y="51852"/>
                  </a:moveTo>
                  <a:cubicBezTo>
                    <a:pt x="137106" y="51852"/>
                    <a:pt x="137424" y="51534"/>
                    <a:pt x="137106" y="51534"/>
                  </a:cubicBezTo>
                  <a:lnTo>
                    <a:pt x="136788" y="51534"/>
                  </a:lnTo>
                  <a:cubicBezTo>
                    <a:pt x="136470" y="51852"/>
                    <a:pt x="136470" y="51852"/>
                    <a:pt x="136470" y="52170"/>
                  </a:cubicBezTo>
                  <a:cubicBezTo>
                    <a:pt x="136788" y="51852"/>
                    <a:pt x="137106" y="51852"/>
                    <a:pt x="137106" y="51852"/>
                  </a:cubicBezTo>
                  <a:close/>
                  <a:moveTo>
                    <a:pt x="137424" y="171780"/>
                  </a:moveTo>
                  <a:cubicBezTo>
                    <a:pt x="137106" y="171462"/>
                    <a:pt x="137106" y="171144"/>
                    <a:pt x="137106" y="170826"/>
                  </a:cubicBezTo>
                  <a:lnTo>
                    <a:pt x="137106" y="170190"/>
                  </a:lnTo>
                  <a:lnTo>
                    <a:pt x="136788" y="170190"/>
                  </a:lnTo>
                  <a:cubicBezTo>
                    <a:pt x="136788" y="169872"/>
                    <a:pt x="137106" y="169872"/>
                    <a:pt x="137106" y="169554"/>
                  </a:cubicBezTo>
                  <a:lnTo>
                    <a:pt x="137424" y="169235"/>
                  </a:lnTo>
                  <a:cubicBezTo>
                    <a:pt x="137743" y="169554"/>
                    <a:pt x="138061" y="169872"/>
                    <a:pt x="139015" y="169872"/>
                  </a:cubicBezTo>
                  <a:cubicBezTo>
                    <a:pt x="139333" y="169872"/>
                    <a:pt x="139333" y="170190"/>
                    <a:pt x="139333" y="170190"/>
                  </a:cubicBezTo>
                  <a:cubicBezTo>
                    <a:pt x="139333" y="170190"/>
                    <a:pt x="139333" y="170508"/>
                    <a:pt x="139015" y="170826"/>
                  </a:cubicBezTo>
                  <a:cubicBezTo>
                    <a:pt x="139015" y="171780"/>
                    <a:pt x="139015" y="171780"/>
                    <a:pt x="137743" y="171780"/>
                  </a:cubicBezTo>
                  <a:lnTo>
                    <a:pt x="137424" y="171780"/>
                  </a:lnTo>
                  <a:close/>
                  <a:moveTo>
                    <a:pt x="139333" y="167645"/>
                  </a:moveTo>
                  <a:lnTo>
                    <a:pt x="139969" y="167645"/>
                  </a:lnTo>
                  <a:cubicBezTo>
                    <a:pt x="139969" y="167963"/>
                    <a:pt x="139969" y="168599"/>
                    <a:pt x="140605" y="168917"/>
                  </a:cubicBezTo>
                  <a:lnTo>
                    <a:pt x="140287" y="169235"/>
                  </a:lnTo>
                  <a:cubicBezTo>
                    <a:pt x="139969" y="169235"/>
                    <a:pt x="139651" y="169235"/>
                    <a:pt x="139333" y="168917"/>
                  </a:cubicBezTo>
                  <a:lnTo>
                    <a:pt x="139333" y="167645"/>
                  </a:lnTo>
                  <a:close/>
                  <a:moveTo>
                    <a:pt x="145059" y="55033"/>
                  </a:moveTo>
                  <a:cubicBezTo>
                    <a:pt x="145377" y="55033"/>
                    <a:pt x="146013" y="55033"/>
                    <a:pt x="146331" y="54715"/>
                  </a:cubicBezTo>
                  <a:lnTo>
                    <a:pt x="146331" y="54397"/>
                  </a:lnTo>
                  <a:cubicBezTo>
                    <a:pt x="146650" y="54079"/>
                    <a:pt x="146331" y="54079"/>
                    <a:pt x="146331" y="54079"/>
                  </a:cubicBezTo>
                  <a:lnTo>
                    <a:pt x="145377" y="54079"/>
                  </a:lnTo>
                  <a:cubicBezTo>
                    <a:pt x="145377" y="54079"/>
                    <a:pt x="145059" y="54397"/>
                    <a:pt x="145059" y="54715"/>
                  </a:cubicBezTo>
                  <a:lnTo>
                    <a:pt x="145059" y="55033"/>
                  </a:lnTo>
                  <a:close/>
                  <a:moveTo>
                    <a:pt x="150785" y="52488"/>
                  </a:moveTo>
                  <a:lnTo>
                    <a:pt x="151421" y="51534"/>
                  </a:lnTo>
                  <a:lnTo>
                    <a:pt x="151421" y="50898"/>
                  </a:lnTo>
                  <a:cubicBezTo>
                    <a:pt x="151739" y="50580"/>
                    <a:pt x="151421" y="50580"/>
                    <a:pt x="151421" y="50580"/>
                  </a:cubicBezTo>
                  <a:lnTo>
                    <a:pt x="151103" y="50580"/>
                  </a:lnTo>
                  <a:cubicBezTo>
                    <a:pt x="150785" y="50580"/>
                    <a:pt x="150467" y="50898"/>
                    <a:pt x="150149" y="51216"/>
                  </a:cubicBezTo>
                  <a:cubicBezTo>
                    <a:pt x="150149" y="51534"/>
                    <a:pt x="150785" y="51534"/>
                    <a:pt x="150785" y="52170"/>
                  </a:cubicBezTo>
                  <a:lnTo>
                    <a:pt x="150785" y="52488"/>
                  </a:lnTo>
                  <a:close/>
                  <a:moveTo>
                    <a:pt x="160646" y="54397"/>
                  </a:moveTo>
                  <a:cubicBezTo>
                    <a:pt x="161919" y="54079"/>
                    <a:pt x="161919" y="53443"/>
                    <a:pt x="162237" y="53125"/>
                  </a:cubicBezTo>
                  <a:cubicBezTo>
                    <a:pt x="160965" y="53125"/>
                    <a:pt x="160646" y="53761"/>
                    <a:pt x="160010" y="54397"/>
                  </a:cubicBezTo>
                  <a:lnTo>
                    <a:pt x="160646" y="54397"/>
                  </a:lnTo>
                  <a:close/>
                  <a:moveTo>
                    <a:pt x="188640" y="61077"/>
                  </a:moveTo>
                  <a:cubicBezTo>
                    <a:pt x="188640" y="61077"/>
                    <a:pt x="188958" y="60759"/>
                    <a:pt x="188640" y="60759"/>
                  </a:cubicBezTo>
                  <a:cubicBezTo>
                    <a:pt x="188322" y="61077"/>
                    <a:pt x="188322" y="61077"/>
                    <a:pt x="188004" y="61077"/>
                  </a:cubicBezTo>
                  <a:lnTo>
                    <a:pt x="188640" y="61077"/>
                  </a:lnTo>
                  <a:close/>
                  <a:moveTo>
                    <a:pt x="193412" y="46762"/>
                  </a:moveTo>
                  <a:cubicBezTo>
                    <a:pt x="193412" y="46444"/>
                    <a:pt x="193412" y="46444"/>
                    <a:pt x="193730" y="45808"/>
                  </a:cubicBezTo>
                  <a:lnTo>
                    <a:pt x="193094" y="46444"/>
                  </a:lnTo>
                  <a:cubicBezTo>
                    <a:pt x="193094" y="46762"/>
                    <a:pt x="193412" y="46762"/>
                    <a:pt x="193412" y="47081"/>
                  </a:cubicBezTo>
                  <a:lnTo>
                    <a:pt x="193412" y="46762"/>
                  </a:lnTo>
                  <a:close/>
                </a:path>
              </a:pathLst>
            </a:custGeom>
            <a:solidFill>
              <a:srgbClr val="000000"/>
            </a:solidFill>
            <a:ln w="63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FEB2203-5306-4DDF-9944-3C1CE81BFC4A}"/>
                </a:ext>
              </a:extLst>
            </p:cNvPr>
            <p:cNvSpPr/>
            <p:nvPr/>
          </p:nvSpPr>
          <p:spPr>
            <a:xfrm>
              <a:off x="3022703" y="3546286"/>
              <a:ext cx="89071" cy="146331"/>
            </a:xfrm>
            <a:custGeom>
              <a:avLst/>
              <a:gdLst>
                <a:gd name="connsiteX0" fmla="*/ 40400 w 89071"/>
                <a:gd name="connsiteY0" fmla="*/ 90026 h 146331"/>
                <a:gd name="connsiteX1" fmla="*/ 39764 w 89071"/>
                <a:gd name="connsiteY1" fmla="*/ 91616 h 146331"/>
                <a:gd name="connsiteX2" fmla="*/ 38810 w 89071"/>
                <a:gd name="connsiteY2" fmla="*/ 92571 h 146331"/>
                <a:gd name="connsiteX3" fmla="*/ 38810 w 89071"/>
                <a:gd name="connsiteY3" fmla="*/ 94479 h 146331"/>
                <a:gd name="connsiteX4" fmla="*/ 38492 w 89071"/>
                <a:gd name="connsiteY4" fmla="*/ 95434 h 146331"/>
                <a:gd name="connsiteX5" fmla="*/ 37537 w 89071"/>
                <a:gd name="connsiteY5" fmla="*/ 96388 h 146331"/>
                <a:gd name="connsiteX6" fmla="*/ 34356 w 89071"/>
                <a:gd name="connsiteY6" fmla="*/ 105613 h 146331"/>
                <a:gd name="connsiteX7" fmla="*/ 33720 w 89071"/>
                <a:gd name="connsiteY7" fmla="*/ 107522 h 146331"/>
                <a:gd name="connsiteX8" fmla="*/ 32447 w 89071"/>
                <a:gd name="connsiteY8" fmla="*/ 109430 h 146331"/>
                <a:gd name="connsiteX9" fmla="*/ 32129 w 89071"/>
                <a:gd name="connsiteY9" fmla="*/ 111657 h 146331"/>
                <a:gd name="connsiteX10" fmla="*/ 31175 w 89071"/>
                <a:gd name="connsiteY10" fmla="*/ 113248 h 146331"/>
                <a:gd name="connsiteX11" fmla="*/ 30539 w 89071"/>
                <a:gd name="connsiteY11" fmla="*/ 114202 h 146331"/>
                <a:gd name="connsiteX12" fmla="*/ 29584 w 89071"/>
                <a:gd name="connsiteY12" fmla="*/ 118656 h 146331"/>
                <a:gd name="connsiteX13" fmla="*/ 27994 w 89071"/>
                <a:gd name="connsiteY13" fmla="*/ 123746 h 146331"/>
                <a:gd name="connsiteX14" fmla="*/ 27040 w 89071"/>
                <a:gd name="connsiteY14" fmla="*/ 125654 h 146331"/>
                <a:gd name="connsiteX15" fmla="*/ 26403 w 89071"/>
                <a:gd name="connsiteY15" fmla="*/ 127563 h 146331"/>
                <a:gd name="connsiteX16" fmla="*/ 25767 w 89071"/>
                <a:gd name="connsiteY16" fmla="*/ 128517 h 146331"/>
                <a:gd name="connsiteX17" fmla="*/ 23540 w 89071"/>
                <a:gd name="connsiteY17" fmla="*/ 133925 h 146331"/>
                <a:gd name="connsiteX18" fmla="*/ 21950 w 89071"/>
                <a:gd name="connsiteY18" fmla="*/ 137424 h 146331"/>
                <a:gd name="connsiteX19" fmla="*/ 21314 w 89071"/>
                <a:gd name="connsiteY19" fmla="*/ 138379 h 146331"/>
                <a:gd name="connsiteX20" fmla="*/ 19405 w 89071"/>
                <a:gd name="connsiteY20" fmla="*/ 140605 h 146331"/>
                <a:gd name="connsiteX21" fmla="*/ 17178 w 89071"/>
                <a:gd name="connsiteY21" fmla="*/ 142514 h 146331"/>
                <a:gd name="connsiteX22" fmla="*/ 16224 w 89071"/>
                <a:gd name="connsiteY22" fmla="*/ 143787 h 146331"/>
                <a:gd name="connsiteX23" fmla="*/ 14951 w 89071"/>
                <a:gd name="connsiteY23" fmla="*/ 144741 h 146331"/>
                <a:gd name="connsiteX24" fmla="*/ 14633 w 89071"/>
                <a:gd name="connsiteY24" fmla="*/ 145059 h 146331"/>
                <a:gd name="connsiteX25" fmla="*/ 14633 w 89071"/>
                <a:gd name="connsiteY25" fmla="*/ 145695 h 146331"/>
                <a:gd name="connsiteX26" fmla="*/ 12724 w 89071"/>
                <a:gd name="connsiteY26" fmla="*/ 147604 h 146331"/>
                <a:gd name="connsiteX27" fmla="*/ 11134 w 89071"/>
                <a:gd name="connsiteY27" fmla="*/ 148240 h 146331"/>
                <a:gd name="connsiteX28" fmla="*/ 10816 w 89071"/>
                <a:gd name="connsiteY28" fmla="*/ 148558 h 146331"/>
                <a:gd name="connsiteX29" fmla="*/ 9225 w 89071"/>
                <a:gd name="connsiteY29" fmla="*/ 149513 h 146331"/>
                <a:gd name="connsiteX30" fmla="*/ 7635 w 89071"/>
                <a:gd name="connsiteY30" fmla="*/ 148876 h 146331"/>
                <a:gd name="connsiteX31" fmla="*/ 3817 w 89071"/>
                <a:gd name="connsiteY31" fmla="*/ 147286 h 146331"/>
                <a:gd name="connsiteX32" fmla="*/ 2863 w 89071"/>
                <a:gd name="connsiteY32" fmla="*/ 146650 h 146331"/>
                <a:gd name="connsiteX33" fmla="*/ 636 w 89071"/>
                <a:gd name="connsiteY33" fmla="*/ 144741 h 146331"/>
                <a:gd name="connsiteX34" fmla="*/ 636 w 89071"/>
                <a:gd name="connsiteY34" fmla="*/ 144423 h 146331"/>
                <a:gd name="connsiteX35" fmla="*/ 0 w 89071"/>
                <a:gd name="connsiteY35" fmla="*/ 142196 h 146331"/>
                <a:gd name="connsiteX36" fmla="*/ 0 w 89071"/>
                <a:gd name="connsiteY36" fmla="*/ 141560 h 146331"/>
                <a:gd name="connsiteX37" fmla="*/ 636 w 89071"/>
                <a:gd name="connsiteY37" fmla="*/ 139015 h 146331"/>
                <a:gd name="connsiteX38" fmla="*/ 954 w 89071"/>
                <a:gd name="connsiteY38" fmla="*/ 135516 h 146331"/>
                <a:gd name="connsiteX39" fmla="*/ 954 w 89071"/>
                <a:gd name="connsiteY39" fmla="*/ 134879 h 146331"/>
                <a:gd name="connsiteX40" fmla="*/ 1909 w 89071"/>
                <a:gd name="connsiteY40" fmla="*/ 131698 h 146331"/>
                <a:gd name="connsiteX41" fmla="*/ 3181 w 89071"/>
                <a:gd name="connsiteY41" fmla="*/ 126609 h 146331"/>
                <a:gd name="connsiteX42" fmla="*/ 3817 w 89071"/>
                <a:gd name="connsiteY42" fmla="*/ 122155 h 146331"/>
                <a:gd name="connsiteX43" fmla="*/ 4454 w 89071"/>
                <a:gd name="connsiteY43" fmla="*/ 119292 h 146331"/>
                <a:gd name="connsiteX44" fmla="*/ 6044 w 89071"/>
                <a:gd name="connsiteY44" fmla="*/ 111975 h 146331"/>
                <a:gd name="connsiteX45" fmla="*/ 6362 w 89071"/>
                <a:gd name="connsiteY45" fmla="*/ 106886 h 146331"/>
                <a:gd name="connsiteX46" fmla="*/ 6362 w 89071"/>
                <a:gd name="connsiteY46" fmla="*/ 104659 h 146331"/>
                <a:gd name="connsiteX47" fmla="*/ 6680 w 89071"/>
                <a:gd name="connsiteY47" fmla="*/ 100523 h 146331"/>
                <a:gd name="connsiteX48" fmla="*/ 6680 w 89071"/>
                <a:gd name="connsiteY48" fmla="*/ 98933 h 146331"/>
                <a:gd name="connsiteX49" fmla="*/ 7317 w 89071"/>
                <a:gd name="connsiteY49" fmla="*/ 97978 h 146331"/>
                <a:gd name="connsiteX50" fmla="*/ 7635 w 89071"/>
                <a:gd name="connsiteY50" fmla="*/ 93843 h 146331"/>
                <a:gd name="connsiteX51" fmla="*/ 8271 w 89071"/>
                <a:gd name="connsiteY51" fmla="*/ 89389 h 146331"/>
                <a:gd name="connsiteX52" fmla="*/ 8907 w 89071"/>
                <a:gd name="connsiteY52" fmla="*/ 85254 h 146331"/>
                <a:gd name="connsiteX53" fmla="*/ 9862 w 89071"/>
                <a:gd name="connsiteY53" fmla="*/ 78574 h 146331"/>
                <a:gd name="connsiteX54" fmla="*/ 9862 w 89071"/>
                <a:gd name="connsiteY54" fmla="*/ 77937 h 146331"/>
                <a:gd name="connsiteX55" fmla="*/ 9862 w 89071"/>
                <a:gd name="connsiteY55" fmla="*/ 76665 h 146331"/>
                <a:gd name="connsiteX56" fmla="*/ 10180 w 89071"/>
                <a:gd name="connsiteY56" fmla="*/ 71575 h 146331"/>
                <a:gd name="connsiteX57" fmla="*/ 11452 w 89071"/>
                <a:gd name="connsiteY57" fmla="*/ 66485 h 146331"/>
                <a:gd name="connsiteX58" fmla="*/ 11770 w 89071"/>
                <a:gd name="connsiteY58" fmla="*/ 65213 h 146331"/>
                <a:gd name="connsiteX59" fmla="*/ 12724 w 89071"/>
                <a:gd name="connsiteY59" fmla="*/ 59805 h 146331"/>
                <a:gd name="connsiteX60" fmla="*/ 12724 w 89071"/>
                <a:gd name="connsiteY60" fmla="*/ 56624 h 146331"/>
                <a:gd name="connsiteX61" fmla="*/ 13043 w 89071"/>
                <a:gd name="connsiteY61" fmla="*/ 53125 h 146331"/>
                <a:gd name="connsiteX62" fmla="*/ 13361 w 89071"/>
                <a:gd name="connsiteY62" fmla="*/ 51534 h 146331"/>
                <a:gd name="connsiteX63" fmla="*/ 13997 w 89071"/>
                <a:gd name="connsiteY63" fmla="*/ 45808 h 146331"/>
                <a:gd name="connsiteX64" fmla="*/ 15269 w 89071"/>
                <a:gd name="connsiteY64" fmla="*/ 39128 h 146331"/>
                <a:gd name="connsiteX65" fmla="*/ 15906 w 89071"/>
                <a:gd name="connsiteY65" fmla="*/ 34992 h 146331"/>
                <a:gd name="connsiteX66" fmla="*/ 16224 w 89071"/>
                <a:gd name="connsiteY66" fmla="*/ 32766 h 146331"/>
                <a:gd name="connsiteX67" fmla="*/ 16224 w 89071"/>
                <a:gd name="connsiteY67" fmla="*/ 31811 h 146331"/>
                <a:gd name="connsiteX68" fmla="*/ 16542 w 89071"/>
                <a:gd name="connsiteY68" fmla="*/ 31175 h 146331"/>
                <a:gd name="connsiteX69" fmla="*/ 17814 w 89071"/>
                <a:gd name="connsiteY69" fmla="*/ 24495 h 146331"/>
                <a:gd name="connsiteX70" fmla="*/ 19087 w 89071"/>
                <a:gd name="connsiteY70" fmla="*/ 15906 h 146331"/>
                <a:gd name="connsiteX71" fmla="*/ 19405 w 89071"/>
                <a:gd name="connsiteY71" fmla="*/ 15587 h 146331"/>
                <a:gd name="connsiteX72" fmla="*/ 21314 w 89071"/>
                <a:gd name="connsiteY72" fmla="*/ 10180 h 146331"/>
                <a:gd name="connsiteX73" fmla="*/ 21632 w 89071"/>
                <a:gd name="connsiteY73" fmla="*/ 8589 h 146331"/>
                <a:gd name="connsiteX74" fmla="*/ 22586 w 89071"/>
                <a:gd name="connsiteY74" fmla="*/ 3499 h 146331"/>
                <a:gd name="connsiteX75" fmla="*/ 24495 w 89071"/>
                <a:gd name="connsiteY75" fmla="*/ 318 h 146331"/>
                <a:gd name="connsiteX76" fmla="*/ 25131 w 89071"/>
                <a:gd name="connsiteY76" fmla="*/ 0 h 146331"/>
                <a:gd name="connsiteX77" fmla="*/ 25449 w 89071"/>
                <a:gd name="connsiteY77" fmla="*/ 0 h 146331"/>
                <a:gd name="connsiteX78" fmla="*/ 26721 w 89071"/>
                <a:gd name="connsiteY78" fmla="*/ 318 h 146331"/>
                <a:gd name="connsiteX79" fmla="*/ 27676 w 89071"/>
                <a:gd name="connsiteY79" fmla="*/ 318 h 146331"/>
                <a:gd name="connsiteX80" fmla="*/ 30857 w 89071"/>
                <a:gd name="connsiteY80" fmla="*/ 1272 h 146331"/>
                <a:gd name="connsiteX81" fmla="*/ 35311 w 89071"/>
                <a:gd name="connsiteY81" fmla="*/ 2227 h 146331"/>
                <a:gd name="connsiteX82" fmla="*/ 36901 w 89071"/>
                <a:gd name="connsiteY82" fmla="*/ 2863 h 146331"/>
                <a:gd name="connsiteX83" fmla="*/ 37537 w 89071"/>
                <a:gd name="connsiteY83" fmla="*/ 2863 h 146331"/>
                <a:gd name="connsiteX84" fmla="*/ 38810 w 89071"/>
                <a:gd name="connsiteY84" fmla="*/ 3817 h 146331"/>
                <a:gd name="connsiteX85" fmla="*/ 38810 w 89071"/>
                <a:gd name="connsiteY85" fmla="*/ 4135 h 146331"/>
                <a:gd name="connsiteX86" fmla="*/ 38492 w 89071"/>
                <a:gd name="connsiteY86" fmla="*/ 5408 h 146331"/>
                <a:gd name="connsiteX87" fmla="*/ 39128 w 89071"/>
                <a:gd name="connsiteY87" fmla="*/ 5726 h 146331"/>
                <a:gd name="connsiteX88" fmla="*/ 39446 w 89071"/>
                <a:gd name="connsiteY88" fmla="*/ 6362 h 146331"/>
                <a:gd name="connsiteX89" fmla="*/ 39128 w 89071"/>
                <a:gd name="connsiteY89" fmla="*/ 9225 h 146331"/>
                <a:gd name="connsiteX90" fmla="*/ 38492 w 89071"/>
                <a:gd name="connsiteY90" fmla="*/ 11452 h 146331"/>
                <a:gd name="connsiteX91" fmla="*/ 37537 w 89071"/>
                <a:gd name="connsiteY91" fmla="*/ 12088 h 146331"/>
                <a:gd name="connsiteX92" fmla="*/ 37219 w 89071"/>
                <a:gd name="connsiteY92" fmla="*/ 12406 h 146331"/>
                <a:gd name="connsiteX93" fmla="*/ 37855 w 89071"/>
                <a:gd name="connsiteY93" fmla="*/ 12724 h 146331"/>
                <a:gd name="connsiteX94" fmla="*/ 38173 w 89071"/>
                <a:gd name="connsiteY94" fmla="*/ 13361 h 146331"/>
                <a:gd name="connsiteX95" fmla="*/ 36901 w 89071"/>
                <a:gd name="connsiteY95" fmla="*/ 14951 h 146331"/>
                <a:gd name="connsiteX96" fmla="*/ 36583 w 89071"/>
                <a:gd name="connsiteY96" fmla="*/ 15269 h 146331"/>
                <a:gd name="connsiteX97" fmla="*/ 36265 w 89071"/>
                <a:gd name="connsiteY97" fmla="*/ 14951 h 146331"/>
                <a:gd name="connsiteX98" fmla="*/ 35311 w 89071"/>
                <a:gd name="connsiteY98" fmla="*/ 15587 h 146331"/>
                <a:gd name="connsiteX99" fmla="*/ 35311 w 89071"/>
                <a:gd name="connsiteY99" fmla="*/ 16542 h 146331"/>
                <a:gd name="connsiteX100" fmla="*/ 35629 w 89071"/>
                <a:gd name="connsiteY100" fmla="*/ 17178 h 146331"/>
                <a:gd name="connsiteX101" fmla="*/ 36583 w 89071"/>
                <a:gd name="connsiteY101" fmla="*/ 18450 h 146331"/>
                <a:gd name="connsiteX102" fmla="*/ 36265 w 89071"/>
                <a:gd name="connsiteY102" fmla="*/ 19087 h 146331"/>
                <a:gd name="connsiteX103" fmla="*/ 34992 w 89071"/>
                <a:gd name="connsiteY103" fmla="*/ 24177 h 146331"/>
                <a:gd name="connsiteX104" fmla="*/ 34992 w 89071"/>
                <a:gd name="connsiteY104" fmla="*/ 24813 h 146331"/>
                <a:gd name="connsiteX105" fmla="*/ 34992 w 89071"/>
                <a:gd name="connsiteY105" fmla="*/ 26085 h 146331"/>
                <a:gd name="connsiteX106" fmla="*/ 34992 w 89071"/>
                <a:gd name="connsiteY106" fmla="*/ 27994 h 146331"/>
                <a:gd name="connsiteX107" fmla="*/ 35311 w 89071"/>
                <a:gd name="connsiteY107" fmla="*/ 30221 h 146331"/>
                <a:gd name="connsiteX108" fmla="*/ 35311 w 89071"/>
                <a:gd name="connsiteY108" fmla="*/ 30539 h 146331"/>
                <a:gd name="connsiteX109" fmla="*/ 34356 w 89071"/>
                <a:gd name="connsiteY109" fmla="*/ 33402 h 146331"/>
                <a:gd name="connsiteX110" fmla="*/ 33402 w 89071"/>
                <a:gd name="connsiteY110" fmla="*/ 39128 h 146331"/>
                <a:gd name="connsiteX111" fmla="*/ 33084 w 89071"/>
                <a:gd name="connsiteY111" fmla="*/ 41991 h 146331"/>
                <a:gd name="connsiteX112" fmla="*/ 33402 w 89071"/>
                <a:gd name="connsiteY112" fmla="*/ 43581 h 146331"/>
                <a:gd name="connsiteX113" fmla="*/ 32765 w 89071"/>
                <a:gd name="connsiteY113" fmla="*/ 46126 h 146331"/>
                <a:gd name="connsiteX114" fmla="*/ 33402 w 89071"/>
                <a:gd name="connsiteY114" fmla="*/ 48353 h 146331"/>
                <a:gd name="connsiteX115" fmla="*/ 33084 w 89071"/>
                <a:gd name="connsiteY115" fmla="*/ 48989 h 146331"/>
                <a:gd name="connsiteX116" fmla="*/ 33084 w 89071"/>
                <a:gd name="connsiteY116" fmla="*/ 49944 h 146331"/>
                <a:gd name="connsiteX117" fmla="*/ 33084 w 89071"/>
                <a:gd name="connsiteY117" fmla="*/ 50580 h 146331"/>
                <a:gd name="connsiteX118" fmla="*/ 32765 w 89071"/>
                <a:gd name="connsiteY118" fmla="*/ 52170 h 146331"/>
                <a:gd name="connsiteX119" fmla="*/ 32129 w 89071"/>
                <a:gd name="connsiteY119" fmla="*/ 53761 h 146331"/>
                <a:gd name="connsiteX120" fmla="*/ 31493 w 89071"/>
                <a:gd name="connsiteY120" fmla="*/ 56942 h 146331"/>
                <a:gd name="connsiteX121" fmla="*/ 31811 w 89071"/>
                <a:gd name="connsiteY121" fmla="*/ 57896 h 146331"/>
                <a:gd name="connsiteX122" fmla="*/ 31811 w 89071"/>
                <a:gd name="connsiteY122" fmla="*/ 60123 h 146331"/>
                <a:gd name="connsiteX123" fmla="*/ 31493 w 89071"/>
                <a:gd name="connsiteY123" fmla="*/ 62032 h 146331"/>
                <a:gd name="connsiteX124" fmla="*/ 31493 w 89071"/>
                <a:gd name="connsiteY124" fmla="*/ 63622 h 146331"/>
                <a:gd name="connsiteX125" fmla="*/ 31493 w 89071"/>
                <a:gd name="connsiteY125" fmla="*/ 64577 h 146331"/>
                <a:gd name="connsiteX126" fmla="*/ 30857 w 89071"/>
                <a:gd name="connsiteY126" fmla="*/ 66803 h 146331"/>
                <a:gd name="connsiteX127" fmla="*/ 30857 w 89071"/>
                <a:gd name="connsiteY127" fmla="*/ 67440 h 146331"/>
                <a:gd name="connsiteX128" fmla="*/ 31493 w 89071"/>
                <a:gd name="connsiteY128" fmla="*/ 67122 h 146331"/>
                <a:gd name="connsiteX129" fmla="*/ 34992 w 89071"/>
                <a:gd name="connsiteY129" fmla="*/ 62032 h 146331"/>
                <a:gd name="connsiteX130" fmla="*/ 36265 w 89071"/>
                <a:gd name="connsiteY130" fmla="*/ 60123 h 146331"/>
                <a:gd name="connsiteX131" fmla="*/ 40082 w 89071"/>
                <a:gd name="connsiteY131" fmla="*/ 53125 h 146331"/>
                <a:gd name="connsiteX132" fmla="*/ 44536 w 89071"/>
                <a:gd name="connsiteY132" fmla="*/ 46444 h 146331"/>
                <a:gd name="connsiteX133" fmla="*/ 46444 w 89071"/>
                <a:gd name="connsiteY133" fmla="*/ 44218 h 146331"/>
                <a:gd name="connsiteX134" fmla="*/ 48353 w 89071"/>
                <a:gd name="connsiteY134" fmla="*/ 41991 h 146331"/>
                <a:gd name="connsiteX135" fmla="*/ 50262 w 89071"/>
                <a:gd name="connsiteY135" fmla="*/ 39764 h 146331"/>
                <a:gd name="connsiteX136" fmla="*/ 51216 w 89071"/>
                <a:gd name="connsiteY136" fmla="*/ 39128 h 146331"/>
                <a:gd name="connsiteX137" fmla="*/ 54715 w 89071"/>
                <a:gd name="connsiteY137" fmla="*/ 34674 h 146331"/>
                <a:gd name="connsiteX138" fmla="*/ 55670 w 89071"/>
                <a:gd name="connsiteY138" fmla="*/ 34038 h 146331"/>
                <a:gd name="connsiteX139" fmla="*/ 56306 w 89071"/>
                <a:gd name="connsiteY139" fmla="*/ 33402 h 146331"/>
                <a:gd name="connsiteX140" fmla="*/ 61396 w 89071"/>
                <a:gd name="connsiteY140" fmla="*/ 28948 h 146331"/>
                <a:gd name="connsiteX141" fmla="*/ 62350 w 89071"/>
                <a:gd name="connsiteY141" fmla="*/ 28630 h 146331"/>
                <a:gd name="connsiteX142" fmla="*/ 62668 w 89071"/>
                <a:gd name="connsiteY142" fmla="*/ 28948 h 146331"/>
                <a:gd name="connsiteX143" fmla="*/ 62986 w 89071"/>
                <a:gd name="connsiteY143" fmla="*/ 28630 h 146331"/>
                <a:gd name="connsiteX144" fmla="*/ 65213 w 89071"/>
                <a:gd name="connsiteY144" fmla="*/ 27676 h 146331"/>
                <a:gd name="connsiteX145" fmla="*/ 65531 w 89071"/>
                <a:gd name="connsiteY145" fmla="*/ 27676 h 146331"/>
                <a:gd name="connsiteX146" fmla="*/ 65849 w 89071"/>
                <a:gd name="connsiteY146" fmla="*/ 27040 h 146331"/>
                <a:gd name="connsiteX147" fmla="*/ 69348 w 89071"/>
                <a:gd name="connsiteY147" fmla="*/ 24177 h 146331"/>
                <a:gd name="connsiteX148" fmla="*/ 70939 w 89071"/>
                <a:gd name="connsiteY148" fmla="*/ 22904 h 146331"/>
                <a:gd name="connsiteX149" fmla="*/ 71257 w 89071"/>
                <a:gd name="connsiteY149" fmla="*/ 22586 h 146331"/>
                <a:gd name="connsiteX150" fmla="*/ 73802 w 89071"/>
                <a:gd name="connsiteY150" fmla="*/ 21950 h 146331"/>
                <a:gd name="connsiteX151" fmla="*/ 74438 w 89071"/>
                <a:gd name="connsiteY151" fmla="*/ 21950 h 146331"/>
                <a:gd name="connsiteX152" fmla="*/ 75711 w 89071"/>
                <a:gd name="connsiteY152" fmla="*/ 22268 h 146331"/>
                <a:gd name="connsiteX153" fmla="*/ 76665 w 89071"/>
                <a:gd name="connsiteY153" fmla="*/ 22586 h 146331"/>
                <a:gd name="connsiteX154" fmla="*/ 77937 w 89071"/>
                <a:gd name="connsiteY154" fmla="*/ 21950 h 146331"/>
                <a:gd name="connsiteX155" fmla="*/ 78574 w 89071"/>
                <a:gd name="connsiteY155" fmla="*/ 21632 h 146331"/>
                <a:gd name="connsiteX156" fmla="*/ 79528 w 89071"/>
                <a:gd name="connsiteY156" fmla="*/ 21950 h 146331"/>
                <a:gd name="connsiteX157" fmla="*/ 81437 w 89071"/>
                <a:gd name="connsiteY157" fmla="*/ 21632 h 146331"/>
                <a:gd name="connsiteX158" fmla="*/ 84618 w 89071"/>
                <a:gd name="connsiteY158" fmla="*/ 22586 h 146331"/>
                <a:gd name="connsiteX159" fmla="*/ 84936 w 89071"/>
                <a:gd name="connsiteY159" fmla="*/ 22586 h 146331"/>
                <a:gd name="connsiteX160" fmla="*/ 85572 w 89071"/>
                <a:gd name="connsiteY160" fmla="*/ 22586 h 146331"/>
                <a:gd name="connsiteX161" fmla="*/ 87163 w 89071"/>
                <a:gd name="connsiteY161" fmla="*/ 23540 h 146331"/>
                <a:gd name="connsiteX162" fmla="*/ 86844 w 89071"/>
                <a:gd name="connsiteY162" fmla="*/ 24177 h 146331"/>
                <a:gd name="connsiteX163" fmla="*/ 88117 w 89071"/>
                <a:gd name="connsiteY163" fmla="*/ 25131 h 146331"/>
                <a:gd name="connsiteX164" fmla="*/ 89390 w 89071"/>
                <a:gd name="connsiteY164" fmla="*/ 25131 h 146331"/>
                <a:gd name="connsiteX165" fmla="*/ 90344 w 89071"/>
                <a:gd name="connsiteY165" fmla="*/ 25131 h 146331"/>
                <a:gd name="connsiteX166" fmla="*/ 91616 w 89071"/>
                <a:gd name="connsiteY166" fmla="*/ 24813 h 146331"/>
                <a:gd name="connsiteX167" fmla="*/ 93843 w 89071"/>
                <a:gd name="connsiteY167" fmla="*/ 25131 h 146331"/>
                <a:gd name="connsiteX168" fmla="*/ 94161 w 89071"/>
                <a:gd name="connsiteY168" fmla="*/ 25449 h 146331"/>
                <a:gd name="connsiteX169" fmla="*/ 94797 w 89071"/>
                <a:gd name="connsiteY169" fmla="*/ 28948 h 146331"/>
                <a:gd name="connsiteX170" fmla="*/ 94797 w 89071"/>
                <a:gd name="connsiteY170" fmla="*/ 29266 h 146331"/>
                <a:gd name="connsiteX171" fmla="*/ 94161 w 89071"/>
                <a:gd name="connsiteY171" fmla="*/ 29903 h 146331"/>
                <a:gd name="connsiteX172" fmla="*/ 93525 w 89071"/>
                <a:gd name="connsiteY172" fmla="*/ 29903 h 146331"/>
                <a:gd name="connsiteX173" fmla="*/ 93525 w 89071"/>
                <a:gd name="connsiteY173" fmla="*/ 30539 h 146331"/>
                <a:gd name="connsiteX174" fmla="*/ 93207 w 89071"/>
                <a:gd name="connsiteY174" fmla="*/ 31493 h 146331"/>
                <a:gd name="connsiteX175" fmla="*/ 92252 w 89071"/>
                <a:gd name="connsiteY175" fmla="*/ 31175 h 146331"/>
                <a:gd name="connsiteX176" fmla="*/ 91934 w 89071"/>
                <a:gd name="connsiteY176" fmla="*/ 31493 h 146331"/>
                <a:gd name="connsiteX177" fmla="*/ 91934 w 89071"/>
                <a:gd name="connsiteY177" fmla="*/ 32129 h 146331"/>
                <a:gd name="connsiteX178" fmla="*/ 91934 w 89071"/>
                <a:gd name="connsiteY178" fmla="*/ 32447 h 146331"/>
                <a:gd name="connsiteX179" fmla="*/ 90980 w 89071"/>
                <a:gd name="connsiteY179" fmla="*/ 33084 h 146331"/>
                <a:gd name="connsiteX180" fmla="*/ 90344 w 89071"/>
                <a:gd name="connsiteY180" fmla="*/ 33402 h 146331"/>
                <a:gd name="connsiteX181" fmla="*/ 90344 w 89071"/>
                <a:gd name="connsiteY181" fmla="*/ 33720 h 146331"/>
                <a:gd name="connsiteX182" fmla="*/ 90662 w 89071"/>
                <a:gd name="connsiteY182" fmla="*/ 34038 h 146331"/>
                <a:gd name="connsiteX183" fmla="*/ 90662 w 89071"/>
                <a:gd name="connsiteY183" fmla="*/ 34356 h 146331"/>
                <a:gd name="connsiteX184" fmla="*/ 90026 w 89071"/>
                <a:gd name="connsiteY184" fmla="*/ 34674 h 146331"/>
                <a:gd name="connsiteX185" fmla="*/ 89390 w 89071"/>
                <a:gd name="connsiteY185" fmla="*/ 34674 h 146331"/>
                <a:gd name="connsiteX186" fmla="*/ 85572 w 89071"/>
                <a:gd name="connsiteY186" fmla="*/ 32766 h 146331"/>
                <a:gd name="connsiteX187" fmla="*/ 83345 w 89071"/>
                <a:gd name="connsiteY187" fmla="*/ 32447 h 146331"/>
                <a:gd name="connsiteX188" fmla="*/ 79846 w 89071"/>
                <a:gd name="connsiteY188" fmla="*/ 33084 h 146331"/>
                <a:gd name="connsiteX189" fmla="*/ 79528 w 89071"/>
                <a:gd name="connsiteY189" fmla="*/ 33402 h 146331"/>
                <a:gd name="connsiteX190" fmla="*/ 76665 w 89071"/>
                <a:gd name="connsiteY190" fmla="*/ 34992 h 146331"/>
                <a:gd name="connsiteX191" fmla="*/ 70303 w 89071"/>
                <a:gd name="connsiteY191" fmla="*/ 39128 h 146331"/>
                <a:gd name="connsiteX192" fmla="*/ 69030 w 89071"/>
                <a:gd name="connsiteY192" fmla="*/ 41355 h 146331"/>
                <a:gd name="connsiteX193" fmla="*/ 68394 w 89071"/>
                <a:gd name="connsiteY193" fmla="*/ 42309 h 146331"/>
                <a:gd name="connsiteX194" fmla="*/ 64577 w 89071"/>
                <a:gd name="connsiteY194" fmla="*/ 46444 h 146331"/>
                <a:gd name="connsiteX195" fmla="*/ 61396 w 89071"/>
                <a:gd name="connsiteY195" fmla="*/ 51216 h 146331"/>
                <a:gd name="connsiteX196" fmla="*/ 59169 w 89071"/>
                <a:gd name="connsiteY196" fmla="*/ 54079 h 146331"/>
                <a:gd name="connsiteX197" fmla="*/ 58851 w 89071"/>
                <a:gd name="connsiteY197" fmla="*/ 55351 h 146331"/>
                <a:gd name="connsiteX198" fmla="*/ 56624 w 89071"/>
                <a:gd name="connsiteY198" fmla="*/ 57896 h 146331"/>
                <a:gd name="connsiteX199" fmla="*/ 55033 w 89071"/>
                <a:gd name="connsiteY199" fmla="*/ 60441 h 146331"/>
                <a:gd name="connsiteX200" fmla="*/ 53761 w 89071"/>
                <a:gd name="connsiteY200" fmla="*/ 63622 h 146331"/>
                <a:gd name="connsiteX201" fmla="*/ 51216 w 89071"/>
                <a:gd name="connsiteY201" fmla="*/ 68076 h 146331"/>
                <a:gd name="connsiteX202" fmla="*/ 50580 w 89071"/>
                <a:gd name="connsiteY202" fmla="*/ 69030 h 146331"/>
                <a:gd name="connsiteX203" fmla="*/ 49626 w 89071"/>
                <a:gd name="connsiteY203" fmla="*/ 71257 h 146331"/>
                <a:gd name="connsiteX204" fmla="*/ 49307 w 89071"/>
                <a:gd name="connsiteY204" fmla="*/ 71575 h 146331"/>
                <a:gd name="connsiteX205" fmla="*/ 48353 w 89071"/>
                <a:gd name="connsiteY205" fmla="*/ 73802 h 146331"/>
                <a:gd name="connsiteX206" fmla="*/ 47717 w 89071"/>
                <a:gd name="connsiteY206" fmla="*/ 74756 h 146331"/>
                <a:gd name="connsiteX207" fmla="*/ 46444 w 89071"/>
                <a:gd name="connsiteY207" fmla="*/ 75393 h 146331"/>
                <a:gd name="connsiteX208" fmla="*/ 46126 w 89071"/>
                <a:gd name="connsiteY208" fmla="*/ 76347 h 146331"/>
                <a:gd name="connsiteX209" fmla="*/ 46126 w 89071"/>
                <a:gd name="connsiteY209" fmla="*/ 76983 h 146331"/>
                <a:gd name="connsiteX210" fmla="*/ 46126 w 89071"/>
                <a:gd name="connsiteY210" fmla="*/ 77619 h 146331"/>
                <a:gd name="connsiteX211" fmla="*/ 44218 w 89071"/>
                <a:gd name="connsiteY211" fmla="*/ 83027 h 146331"/>
                <a:gd name="connsiteX212" fmla="*/ 43899 w 89071"/>
                <a:gd name="connsiteY212" fmla="*/ 83345 h 146331"/>
                <a:gd name="connsiteX213" fmla="*/ 42945 w 89071"/>
                <a:gd name="connsiteY213" fmla="*/ 84300 h 146331"/>
                <a:gd name="connsiteX214" fmla="*/ 42945 w 89071"/>
                <a:gd name="connsiteY214" fmla="*/ 84618 h 146331"/>
                <a:gd name="connsiteX215" fmla="*/ 41673 w 89071"/>
                <a:gd name="connsiteY215" fmla="*/ 85890 h 146331"/>
                <a:gd name="connsiteX216" fmla="*/ 41673 w 89071"/>
                <a:gd name="connsiteY216" fmla="*/ 86845 h 146331"/>
                <a:gd name="connsiteX217" fmla="*/ 41673 w 89071"/>
                <a:gd name="connsiteY217" fmla="*/ 87481 h 146331"/>
                <a:gd name="connsiteX218" fmla="*/ 40400 w 89071"/>
                <a:gd name="connsiteY218" fmla="*/ 89071 h 146331"/>
                <a:gd name="connsiteX219" fmla="*/ 40400 w 89071"/>
                <a:gd name="connsiteY219" fmla="*/ 90026 h 146331"/>
                <a:gd name="connsiteX220" fmla="*/ 40400 w 89071"/>
                <a:gd name="connsiteY220" fmla="*/ 88435 h 146331"/>
                <a:gd name="connsiteX221" fmla="*/ 40082 w 89071"/>
                <a:gd name="connsiteY221" fmla="*/ 88435 h 146331"/>
                <a:gd name="connsiteX222" fmla="*/ 40400 w 89071"/>
                <a:gd name="connsiteY222" fmla="*/ 89071 h 146331"/>
                <a:gd name="connsiteX223" fmla="*/ 40400 w 89071"/>
                <a:gd name="connsiteY223" fmla="*/ 88435 h 146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89071" h="146331">
                  <a:moveTo>
                    <a:pt x="40400" y="90026"/>
                  </a:moveTo>
                  <a:cubicBezTo>
                    <a:pt x="40400" y="90344"/>
                    <a:pt x="40082" y="90980"/>
                    <a:pt x="39764" y="91616"/>
                  </a:cubicBezTo>
                  <a:cubicBezTo>
                    <a:pt x="39128" y="91616"/>
                    <a:pt x="38810" y="91934"/>
                    <a:pt x="38810" y="92571"/>
                  </a:cubicBezTo>
                  <a:lnTo>
                    <a:pt x="38810" y="94479"/>
                  </a:lnTo>
                  <a:cubicBezTo>
                    <a:pt x="38810" y="94797"/>
                    <a:pt x="38810" y="95115"/>
                    <a:pt x="38492" y="95434"/>
                  </a:cubicBezTo>
                  <a:cubicBezTo>
                    <a:pt x="38173" y="95752"/>
                    <a:pt x="37537" y="96070"/>
                    <a:pt x="37537" y="96388"/>
                  </a:cubicBezTo>
                  <a:lnTo>
                    <a:pt x="34356" y="105613"/>
                  </a:lnTo>
                  <a:cubicBezTo>
                    <a:pt x="34356" y="106249"/>
                    <a:pt x="34038" y="106886"/>
                    <a:pt x="33720" y="107522"/>
                  </a:cubicBezTo>
                  <a:cubicBezTo>
                    <a:pt x="33084" y="107840"/>
                    <a:pt x="32765" y="108476"/>
                    <a:pt x="32447" y="109430"/>
                  </a:cubicBezTo>
                  <a:cubicBezTo>
                    <a:pt x="32447" y="109749"/>
                    <a:pt x="32129" y="111021"/>
                    <a:pt x="32129" y="111657"/>
                  </a:cubicBezTo>
                  <a:cubicBezTo>
                    <a:pt x="32129" y="111975"/>
                    <a:pt x="31811" y="112612"/>
                    <a:pt x="31175" y="113248"/>
                  </a:cubicBezTo>
                  <a:cubicBezTo>
                    <a:pt x="30539" y="113248"/>
                    <a:pt x="30539" y="113884"/>
                    <a:pt x="30539" y="114202"/>
                  </a:cubicBezTo>
                  <a:cubicBezTo>
                    <a:pt x="30539" y="116111"/>
                    <a:pt x="30221" y="117701"/>
                    <a:pt x="29584" y="118656"/>
                  </a:cubicBezTo>
                  <a:cubicBezTo>
                    <a:pt x="28630" y="120882"/>
                    <a:pt x="28312" y="122473"/>
                    <a:pt x="27994" y="123746"/>
                  </a:cubicBezTo>
                  <a:lnTo>
                    <a:pt x="27040" y="125654"/>
                  </a:lnTo>
                  <a:cubicBezTo>
                    <a:pt x="27040" y="126290"/>
                    <a:pt x="26721" y="127245"/>
                    <a:pt x="26403" y="127563"/>
                  </a:cubicBezTo>
                  <a:cubicBezTo>
                    <a:pt x="26403" y="127881"/>
                    <a:pt x="25767" y="128199"/>
                    <a:pt x="25767" y="128517"/>
                  </a:cubicBezTo>
                  <a:cubicBezTo>
                    <a:pt x="25449" y="130426"/>
                    <a:pt x="24177" y="132335"/>
                    <a:pt x="23540" y="133925"/>
                  </a:cubicBezTo>
                  <a:cubicBezTo>
                    <a:pt x="23222" y="135198"/>
                    <a:pt x="22586" y="136470"/>
                    <a:pt x="21950" y="137424"/>
                  </a:cubicBezTo>
                  <a:cubicBezTo>
                    <a:pt x="21632" y="137742"/>
                    <a:pt x="21632" y="138379"/>
                    <a:pt x="21314" y="138379"/>
                  </a:cubicBezTo>
                  <a:cubicBezTo>
                    <a:pt x="20041" y="138697"/>
                    <a:pt x="19723" y="139651"/>
                    <a:pt x="19405" y="140605"/>
                  </a:cubicBezTo>
                  <a:cubicBezTo>
                    <a:pt x="18769" y="141560"/>
                    <a:pt x="18132" y="142514"/>
                    <a:pt x="17178" y="142514"/>
                  </a:cubicBezTo>
                  <a:cubicBezTo>
                    <a:pt x="16860" y="142832"/>
                    <a:pt x="16224" y="143150"/>
                    <a:pt x="16224" y="143787"/>
                  </a:cubicBezTo>
                  <a:cubicBezTo>
                    <a:pt x="15906" y="144423"/>
                    <a:pt x="15906" y="144741"/>
                    <a:pt x="14951" y="144741"/>
                  </a:cubicBezTo>
                  <a:cubicBezTo>
                    <a:pt x="14633" y="144741"/>
                    <a:pt x="14633" y="144741"/>
                    <a:pt x="14633" y="145059"/>
                  </a:cubicBezTo>
                  <a:lnTo>
                    <a:pt x="14633" y="145695"/>
                  </a:lnTo>
                  <a:cubicBezTo>
                    <a:pt x="13679" y="146331"/>
                    <a:pt x="13361" y="146968"/>
                    <a:pt x="12724" y="147604"/>
                  </a:cubicBezTo>
                  <a:cubicBezTo>
                    <a:pt x="12088" y="147604"/>
                    <a:pt x="11452" y="147604"/>
                    <a:pt x="11134" y="148240"/>
                  </a:cubicBezTo>
                  <a:cubicBezTo>
                    <a:pt x="11134" y="148240"/>
                    <a:pt x="11134" y="148558"/>
                    <a:pt x="10816" y="148558"/>
                  </a:cubicBezTo>
                  <a:cubicBezTo>
                    <a:pt x="9862" y="149194"/>
                    <a:pt x="9543" y="149513"/>
                    <a:pt x="9225" y="149513"/>
                  </a:cubicBezTo>
                  <a:cubicBezTo>
                    <a:pt x="8907" y="149513"/>
                    <a:pt x="8271" y="149194"/>
                    <a:pt x="7635" y="148876"/>
                  </a:cubicBezTo>
                  <a:lnTo>
                    <a:pt x="3817" y="147286"/>
                  </a:lnTo>
                  <a:cubicBezTo>
                    <a:pt x="3499" y="147286"/>
                    <a:pt x="2863" y="146968"/>
                    <a:pt x="2863" y="146650"/>
                  </a:cubicBezTo>
                  <a:cubicBezTo>
                    <a:pt x="2545" y="145377"/>
                    <a:pt x="1273" y="145059"/>
                    <a:pt x="636" y="144741"/>
                  </a:cubicBezTo>
                  <a:lnTo>
                    <a:pt x="636" y="144423"/>
                  </a:lnTo>
                  <a:cubicBezTo>
                    <a:pt x="636" y="143787"/>
                    <a:pt x="636" y="143150"/>
                    <a:pt x="0" y="142196"/>
                  </a:cubicBezTo>
                  <a:lnTo>
                    <a:pt x="0" y="141560"/>
                  </a:lnTo>
                  <a:cubicBezTo>
                    <a:pt x="318" y="140924"/>
                    <a:pt x="636" y="139969"/>
                    <a:pt x="636" y="139015"/>
                  </a:cubicBezTo>
                  <a:cubicBezTo>
                    <a:pt x="636" y="137742"/>
                    <a:pt x="954" y="136788"/>
                    <a:pt x="954" y="135516"/>
                  </a:cubicBezTo>
                  <a:lnTo>
                    <a:pt x="954" y="134879"/>
                  </a:lnTo>
                  <a:cubicBezTo>
                    <a:pt x="1591" y="133925"/>
                    <a:pt x="1591" y="132335"/>
                    <a:pt x="1909" y="131698"/>
                  </a:cubicBezTo>
                  <a:cubicBezTo>
                    <a:pt x="2863" y="130108"/>
                    <a:pt x="3181" y="128199"/>
                    <a:pt x="3181" y="126609"/>
                  </a:cubicBezTo>
                  <a:cubicBezTo>
                    <a:pt x="3181" y="125336"/>
                    <a:pt x="3499" y="123427"/>
                    <a:pt x="3817" y="122155"/>
                  </a:cubicBezTo>
                  <a:cubicBezTo>
                    <a:pt x="3817" y="121201"/>
                    <a:pt x="4135" y="120564"/>
                    <a:pt x="4454" y="119292"/>
                  </a:cubicBezTo>
                  <a:lnTo>
                    <a:pt x="6044" y="111975"/>
                  </a:lnTo>
                  <a:cubicBezTo>
                    <a:pt x="6044" y="110067"/>
                    <a:pt x="6362" y="108476"/>
                    <a:pt x="6362" y="106886"/>
                  </a:cubicBezTo>
                  <a:lnTo>
                    <a:pt x="6362" y="104659"/>
                  </a:lnTo>
                  <a:cubicBezTo>
                    <a:pt x="6362" y="103386"/>
                    <a:pt x="6680" y="102114"/>
                    <a:pt x="6680" y="100523"/>
                  </a:cubicBezTo>
                  <a:lnTo>
                    <a:pt x="6680" y="98933"/>
                  </a:lnTo>
                  <a:cubicBezTo>
                    <a:pt x="6680" y="98615"/>
                    <a:pt x="7317" y="98297"/>
                    <a:pt x="7317" y="97978"/>
                  </a:cubicBezTo>
                  <a:cubicBezTo>
                    <a:pt x="7317" y="96388"/>
                    <a:pt x="7635" y="94797"/>
                    <a:pt x="7635" y="93843"/>
                  </a:cubicBezTo>
                  <a:cubicBezTo>
                    <a:pt x="7953" y="92252"/>
                    <a:pt x="8271" y="90662"/>
                    <a:pt x="8271" y="89389"/>
                  </a:cubicBezTo>
                  <a:cubicBezTo>
                    <a:pt x="8271" y="88117"/>
                    <a:pt x="8589" y="86845"/>
                    <a:pt x="8907" y="85254"/>
                  </a:cubicBezTo>
                  <a:cubicBezTo>
                    <a:pt x="8907" y="83027"/>
                    <a:pt x="9225" y="80800"/>
                    <a:pt x="9862" y="78574"/>
                  </a:cubicBezTo>
                  <a:lnTo>
                    <a:pt x="9862" y="77937"/>
                  </a:lnTo>
                  <a:cubicBezTo>
                    <a:pt x="9862" y="77619"/>
                    <a:pt x="9862" y="76983"/>
                    <a:pt x="9862" y="76665"/>
                  </a:cubicBezTo>
                  <a:cubicBezTo>
                    <a:pt x="9862" y="75074"/>
                    <a:pt x="10180" y="73484"/>
                    <a:pt x="10180" y="71575"/>
                  </a:cubicBezTo>
                  <a:cubicBezTo>
                    <a:pt x="10180" y="69985"/>
                    <a:pt x="10498" y="68076"/>
                    <a:pt x="11452" y="66485"/>
                  </a:cubicBezTo>
                  <a:cubicBezTo>
                    <a:pt x="11452" y="65849"/>
                    <a:pt x="11452" y="65849"/>
                    <a:pt x="11770" y="65213"/>
                  </a:cubicBezTo>
                  <a:cubicBezTo>
                    <a:pt x="12088" y="63622"/>
                    <a:pt x="12724" y="62032"/>
                    <a:pt x="12724" y="59805"/>
                  </a:cubicBezTo>
                  <a:lnTo>
                    <a:pt x="12724" y="56624"/>
                  </a:lnTo>
                  <a:cubicBezTo>
                    <a:pt x="13043" y="55670"/>
                    <a:pt x="13043" y="54397"/>
                    <a:pt x="13043" y="53125"/>
                  </a:cubicBezTo>
                  <a:cubicBezTo>
                    <a:pt x="13043" y="53125"/>
                    <a:pt x="13043" y="52170"/>
                    <a:pt x="13361" y="51534"/>
                  </a:cubicBezTo>
                  <a:cubicBezTo>
                    <a:pt x="13997" y="49625"/>
                    <a:pt x="13997" y="47717"/>
                    <a:pt x="13997" y="45808"/>
                  </a:cubicBezTo>
                  <a:cubicBezTo>
                    <a:pt x="14633" y="43581"/>
                    <a:pt x="14951" y="41355"/>
                    <a:pt x="15269" y="39128"/>
                  </a:cubicBezTo>
                  <a:cubicBezTo>
                    <a:pt x="15588" y="37855"/>
                    <a:pt x="15269" y="36583"/>
                    <a:pt x="15906" y="34992"/>
                  </a:cubicBezTo>
                  <a:cubicBezTo>
                    <a:pt x="16224" y="34674"/>
                    <a:pt x="16224" y="33720"/>
                    <a:pt x="16224" y="32766"/>
                  </a:cubicBezTo>
                  <a:cubicBezTo>
                    <a:pt x="16224" y="32447"/>
                    <a:pt x="16224" y="32129"/>
                    <a:pt x="16224" y="31811"/>
                  </a:cubicBezTo>
                  <a:cubicBezTo>
                    <a:pt x="16224" y="31811"/>
                    <a:pt x="16224" y="31493"/>
                    <a:pt x="16542" y="31175"/>
                  </a:cubicBezTo>
                  <a:cubicBezTo>
                    <a:pt x="16860" y="29266"/>
                    <a:pt x="17178" y="26721"/>
                    <a:pt x="17814" y="24495"/>
                  </a:cubicBezTo>
                  <a:cubicBezTo>
                    <a:pt x="18450" y="21632"/>
                    <a:pt x="18769" y="18769"/>
                    <a:pt x="19087" y="15906"/>
                  </a:cubicBezTo>
                  <a:cubicBezTo>
                    <a:pt x="19405" y="15906"/>
                    <a:pt x="19087" y="15587"/>
                    <a:pt x="19405" y="15587"/>
                  </a:cubicBezTo>
                  <a:cubicBezTo>
                    <a:pt x="20359" y="13679"/>
                    <a:pt x="20359" y="11770"/>
                    <a:pt x="21314" y="10180"/>
                  </a:cubicBezTo>
                  <a:cubicBezTo>
                    <a:pt x="21314" y="9861"/>
                    <a:pt x="21314" y="8907"/>
                    <a:pt x="21632" y="8589"/>
                  </a:cubicBezTo>
                  <a:cubicBezTo>
                    <a:pt x="21950" y="6680"/>
                    <a:pt x="22586" y="5726"/>
                    <a:pt x="22586" y="3499"/>
                  </a:cubicBezTo>
                  <a:lnTo>
                    <a:pt x="24495" y="318"/>
                  </a:lnTo>
                  <a:cubicBezTo>
                    <a:pt x="24813" y="0"/>
                    <a:pt x="24813" y="0"/>
                    <a:pt x="25131" y="0"/>
                  </a:cubicBezTo>
                  <a:lnTo>
                    <a:pt x="25449" y="0"/>
                  </a:lnTo>
                  <a:cubicBezTo>
                    <a:pt x="25767" y="318"/>
                    <a:pt x="26403" y="318"/>
                    <a:pt x="26721" y="318"/>
                  </a:cubicBezTo>
                  <a:cubicBezTo>
                    <a:pt x="27040" y="318"/>
                    <a:pt x="27358" y="318"/>
                    <a:pt x="27676" y="318"/>
                  </a:cubicBezTo>
                  <a:cubicBezTo>
                    <a:pt x="28948" y="954"/>
                    <a:pt x="29903" y="1272"/>
                    <a:pt x="30857" y="1272"/>
                  </a:cubicBezTo>
                  <a:cubicBezTo>
                    <a:pt x="32447" y="1272"/>
                    <a:pt x="34038" y="1909"/>
                    <a:pt x="35311" y="2227"/>
                  </a:cubicBezTo>
                  <a:cubicBezTo>
                    <a:pt x="35947" y="2545"/>
                    <a:pt x="36265" y="2863"/>
                    <a:pt x="36901" y="2863"/>
                  </a:cubicBezTo>
                  <a:cubicBezTo>
                    <a:pt x="37219" y="2863"/>
                    <a:pt x="37219" y="2863"/>
                    <a:pt x="37537" y="2863"/>
                  </a:cubicBezTo>
                  <a:cubicBezTo>
                    <a:pt x="38173" y="2863"/>
                    <a:pt x="38492" y="3181"/>
                    <a:pt x="38810" y="3817"/>
                  </a:cubicBezTo>
                  <a:lnTo>
                    <a:pt x="38810" y="4135"/>
                  </a:lnTo>
                  <a:cubicBezTo>
                    <a:pt x="38810" y="4454"/>
                    <a:pt x="38810" y="5090"/>
                    <a:pt x="38492" y="5408"/>
                  </a:cubicBezTo>
                  <a:cubicBezTo>
                    <a:pt x="38492" y="5408"/>
                    <a:pt x="38810" y="5726"/>
                    <a:pt x="39128" y="5726"/>
                  </a:cubicBezTo>
                  <a:cubicBezTo>
                    <a:pt x="39446" y="5726"/>
                    <a:pt x="39446" y="6044"/>
                    <a:pt x="39446" y="6362"/>
                  </a:cubicBezTo>
                  <a:cubicBezTo>
                    <a:pt x="39446" y="7317"/>
                    <a:pt x="39128" y="7953"/>
                    <a:pt x="39128" y="9225"/>
                  </a:cubicBezTo>
                  <a:cubicBezTo>
                    <a:pt x="39128" y="9861"/>
                    <a:pt x="38492" y="10816"/>
                    <a:pt x="38492" y="11452"/>
                  </a:cubicBezTo>
                  <a:cubicBezTo>
                    <a:pt x="38492" y="12088"/>
                    <a:pt x="38173" y="11770"/>
                    <a:pt x="37537" y="12088"/>
                  </a:cubicBezTo>
                  <a:cubicBezTo>
                    <a:pt x="37219" y="12406"/>
                    <a:pt x="37219" y="12406"/>
                    <a:pt x="37219" y="12406"/>
                  </a:cubicBezTo>
                  <a:cubicBezTo>
                    <a:pt x="37219" y="12406"/>
                    <a:pt x="37219" y="12724"/>
                    <a:pt x="37855" y="12724"/>
                  </a:cubicBezTo>
                  <a:cubicBezTo>
                    <a:pt x="37855" y="12724"/>
                    <a:pt x="38173" y="13043"/>
                    <a:pt x="38173" y="13361"/>
                  </a:cubicBezTo>
                  <a:cubicBezTo>
                    <a:pt x="37537" y="13997"/>
                    <a:pt x="36901" y="14633"/>
                    <a:pt x="36901" y="14951"/>
                  </a:cubicBezTo>
                  <a:cubicBezTo>
                    <a:pt x="36901" y="15269"/>
                    <a:pt x="36583" y="15269"/>
                    <a:pt x="36583" y="15269"/>
                  </a:cubicBezTo>
                  <a:cubicBezTo>
                    <a:pt x="36583" y="15269"/>
                    <a:pt x="36265" y="15269"/>
                    <a:pt x="36265" y="14951"/>
                  </a:cubicBezTo>
                  <a:cubicBezTo>
                    <a:pt x="35311" y="14951"/>
                    <a:pt x="35311" y="14951"/>
                    <a:pt x="35311" y="15587"/>
                  </a:cubicBezTo>
                  <a:lnTo>
                    <a:pt x="35311" y="16542"/>
                  </a:lnTo>
                  <a:cubicBezTo>
                    <a:pt x="35311" y="16860"/>
                    <a:pt x="35629" y="17178"/>
                    <a:pt x="35629" y="17178"/>
                  </a:cubicBezTo>
                  <a:cubicBezTo>
                    <a:pt x="36265" y="17496"/>
                    <a:pt x="36583" y="18132"/>
                    <a:pt x="36583" y="18450"/>
                  </a:cubicBezTo>
                  <a:cubicBezTo>
                    <a:pt x="36583" y="18769"/>
                    <a:pt x="36265" y="18769"/>
                    <a:pt x="36265" y="19087"/>
                  </a:cubicBezTo>
                  <a:cubicBezTo>
                    <a:pt x="35947" y="20677"/>
                    <a:pt x="35629" y="22586"/>
                    <a:pt x="34992" y="24177"/>
                  </a:cubicBezTo>
                  <a:lnTo>
                    <a:pt x="34992" y="24813"/>
                  </a:lnTo>
                  <a:cubicBezTo>
                    <a:pt x="34992" y="25131"/>
                    <a:pt x="34992" y="25767"/>
                    <a:pt x="34992" y="26085"/>
                  </a:cubicBezTo>
                  <a:cubicBezTo>
                    <a:pt x="34992" y="26721"/>
                    <a:pt x="34992" y="27358"/>
                    <a:pt x="34992" y="27994"/>
                  </a:cubicBezTo>
                  <a:cubicBezTo>
                    <a:pt x="34992" y="28630"/>
                    <a:pt x="34992" y="29584"/>
                    <a:pt x="35311" y="30221"/>
                  </a:cubicBezTo>
                  <a:lnTo>
                    <a:pt x="35311" y="30539"/>
                  </a:lnTo>
                  <a:cubicBezTo>
                    <a:pt x="34674" y="31493"/>
                    <a:pt x="34674" y="32447"/>
                    <a:pt x="34356" y="33402"/>
                  </a:cubicBezTo>
                  <a:cubicBezTo>
                    <a:pt x="33720" y="35310"/>
                    <a:pt x="33720" y="37219"/>
                    <a:pt x="33402" y="39128"/>
                  </a:cubicBezTo>
                  <a:cubicBezTo>
                    <a:pt x="33402" y="40082"/>
                    <a:pt x="33084" y="41036"/>
                    <a:pt x="33084" y="41991"/>
                  </a:cubicBezTo>
                  <a:cubicBezTo>
                    <a:pt x="33084" y="42627"/>
                    <a:pt x="33084" y="42945"/>
                    <a:pt x="33402" y="43581"/>
                  </a:cubicBezTo>
                  <a:cubicBezTo>
                    <a:pt x="33084" y="44536"/>
                    <a:pt x="32765" y="45172"/>
                    <a:pt x="32765" y="46126"/>
                  </a:cubicBezTo>
                  <a:cubicBezTo>
                    <a:pt x="32765" y="46762"/>
                    <a:pt x="33084" y="47717"/>
                    <a:pt x="33402" y="48353"/>
                  </a:cubicBezTo>
                  <a:cubicBezTo>
                    <a:pt x="33084" y="48353"/>
                    <a:pt x="33084" y="48671"/>
                    <a:pt x="33084" y="48989"/>
                  </a:cubicBezTo>
                  <a:cubicBezTo>
                    <a:pt x="33084" y="49307"/>
                    <a:pt x="33084" y="49625"/>
                    <a:pt x="33084" y="49944"/>
                  </a:cubicBezTo>
                  <a:cubicBezTo>
                    <a:pt x="33084" y="50262"/>
                    <a:pt x="33084" y="50262"/>
                    <a:pt x="33084" y="50580"/>
                  </a:cubicBezTo>
                  <a:cubicBezTo>
                    <a:pt x="33084" y="50898"/>
                    <a:pt x="33084" y="51852"/>
                    <a:pt x="32765" y="52170"/>
                  </a:cubicBezTo>
                  <a:cubicBezTo>
                    <a:pt x="32447" y="52807"/>
                    <a:pt x="32129" y="53125"/>
                    <a:pt x="32129" y="53761"/>
                  </a:cubicBezTo>
                  <a:cubicBezTo>
                    <a:pt x="32129" y="55033"/>
                    <a:pt x="31493" y="55988"/>
                    <a:pt x="31493" y="56942"/>
                  </a:cubicBezTo>
                  <a:cubicBezTo>
                    <a:pt x="31493" y="57260"/>
                    <a:pt x="31493" y="57578"/>
                    <a:pt x="31811" y="57896"/>
                  </a:cubicBezTo>
                  <a:lnTo>
                    <a:pt x="31811" y="60123"/>
                  </a:lnTo>
                  <a:cubicBezTo>
                    <a:pt x="31493" y="60759"/>
                    <a:pt x="31493" y="61396"/>
                    <a:pt x="31493" y="62032"/>
                  </a:cubicBezTo>
                  <a:cubicBezTo>
                    <a:pt x="31493" y="62668"/>
                    <a:pt x="31493" y="62986"/>
                    <a:pt x="31493" y="63622"/>
                  </a:cubicBezTo>
                  <a:cubicBezTo>
                    <a:pt x="31493" y="63940"/>
                    <a:pt x="31493" y="64259"/>
                    <a:pt x="31493" y="64577"/>
                  </a:cubicBezTo>
                  <a:cubicBezTo>
                    <a:pt x="31493" y="65213"/>
                    <a:pt x="31175" y="66803"/>
                    <a:pt x="30857" y="66803"/>
                  </a:cubicBezTo>
                  <a:lnTo>
                    <a:pt x="30857" y="67440"/>
                  </a:lnTo>
                  <a:cubicBezTo>
                    <a:pt x="31175" y="67440"/>
                    <a:pt x="31493" y="67440"/>
                    <a:pt x="31493" y="67122"/>
                  </a:cubicBezTo>
                  <a:lnTo>
                    <a:pt x="34992" y="62032"/>
                  </a:lnTo>
                  <a:cubicBezTo>
                    <a:pt x="35629" y="61714"/>
                    <a:pt x="35947" y="60759"/>
                    <a:pt x="36265" y="60123"/>
                  </a:cubicBezTo>
                  <a:cubicBezTo>
                    <a:pt x="37219" y="57578"/>
                    <a:pt x="38810" y="55351"/>
                    <a:pt x="40082" y="53125"/>
                  </a:cubicBezTo>
                  <a:lnTo>
                    <a:pt x="44536" y="46444"/>
                  </a:lnTo>
                  <a:cubicBezTo>
                    <a:pt x="45172" y="46126"/>
                    <a:pt x="45808" y="45172"/>
                    <a:pt x="46444" y="44218"/>
                  </a:cubicBezTo>
                  <a:lnTo>
                    <a:pt x="48353" y="41991"/>
                  </a:lnTo>
                  <a:cubicBezTo>
                    <a:pt x="48989" y="41355"/>
                    <a:pt x="49307" y="40400"/>
                    <a:pt x="50262" y="39764"/>
                  </a:cubicBezTo>
                  <a:cubicBezTo>
                    <a:pt x="50580" y="39446"/>
                    <a:pt x="50898" y="39128"/>
                    <a:pt x="51216" y="39128"/>
                  </a:cubicBezTo>
                  <a:cubicBezTo>
                    <a:pt x="52170" y="37537"/>
                    <a:pt x="53125" y="35629"/>
                    <a:pt x="54715" y="34674"/>
                  </a:cubicBezTo>
                  <a:cubicBezTo>
                    <a:pt x="55352" y="34674"/>
                    <a:pt x="55352" y="34356"/>
                    <a:pt x="55670" y="34038"/>
                  </a:cubicBezTo>
                  <a:lnTo>
                    <a:pt x="56306" y="33402"/>
                  </a:lnTo>
                  <a:cubicBezTo>
                    <a:pt x="58214" y="32129"/>
                    <a:pt x="59805" y="30539"/>
                    <a:pt x="61396" y="28948"/>
                  </a:cubicBezTo>
                  <a:cubicBezTo>
                    <a:pt x="61714" y="28630"/>
                    <a:pt x="62032" y="28630"/>
                    <a:pt x="62350" y="28630"/>
                  </a:cubicBezTo>
                  <a:cubicBezTo>
                    <a:pt x="62350" y="28948"/>
                    <a:pt x="62668" y="28948"/>
                    <a:pt x="62668" y="28948"/>
                  </a:cubicBezTo>
                  <a:cubicBezTo>
                    <a:pt x="62668" y="28948"/>
                    <a:pt x="62986" y="28948"/>
                    <a:pt x="62986" y="28630"/>
                  </a:cubicBezTo>
                  <a:cubicBezTo>
                    <a:pt x="63941" y="28312"/>
                    <a:pt x="64577" y="27676"/>
                    <a:pt x="65213" y="27676"/>
                  </a:cubicBezTo>
                  <a:lnTo>
                    <a:pt x="65531" y="27676"/>
                  </a:lnTo>
                  <a:cubicBezTo>
                    <a:pt x="65849" y="27676"/>
                    <a:pt x="65849" y="27358"/>
                    <a:pt x="65849" y="27040"/>
                  </a:cubicBezTo>
                  <a:cubicBezTo>
                    <a:pt x="66485" y="25767"/>
                    <a:pt x="67440" y="25131"/>
                    <a:pt x="69348" y="24177"/>
                  </a:cubicBezTo>
                  <a:cubicBezTo>
                    <a:pt x="69985" y="23858"/>
                    <a:pt x="70939" y="23858"/>
                    <a:pt x="70939" y="22904"/>
                  </a:cubicBezTo>
                  <a:cubicBezTo>
                    <a:pt x="71257" y="22904"/>
                    <a:pt x="71257" y="22586"/>
                    <a:pt x="71257" y="22586"/>
                  </a:cubicBezTo>
                  <a:cubicBezTo>
                    <a:pt x="72211" y="22268"/>
                    <a:pt x="73166" y="21950"/>
                    <a:pt x="73802" y="21950"/>
                  </a:cubicBezTo>
                  <a:cubicBezTo>
                    <a:pt x="74120" y="21950"/>
                    <a:pt x="74120" y="21950"/>
                    <a:pt x="74438" y="21950"/>
                  </a:cubicBezTo>
                  <a:cubicBezTo>
                    <a:pt x="74756" y="21950"/>
                    <a:pt x="75393" y="21950"/>
                    <a:pt x="75711" y="22268"/>
                  </a:cubicBezTo>
                  <a:cubicBezTo>
                    <a:pt x="76029" y="22268"/>
                    <a:pt x="76347" y="22586"/>
                    <a:pt x="76665" y="22586"/>
                  </a:cubicBezTo>
                  <a:cubicBezTo>
                    <a:pt x="76983" y="22586"/>
                    <a:pt x="77619" y="22268"/>
                    <a:pt x="77937" y="21950"/>
                  </a:cubicBezTo>
                  <a:cubicBezTo>
                    <a:pt x="78256" y="21950"/>
                    <a:pt x="78256" y="21632"/>
                    <a:pt x="78574" y="21632"/>
                  </a:cubicBezTo>
                  <a:cubicBezTo>
                    <a:pt x="78892" y="21632"/>
                    <a:pt x="79210" y="21950"/>
                    <a:pt x="79528" y="21950"/>
                  </a:cubicBezTo>
                  <a:cubicBezTo>
                    <a:pt x="80164" y="21632"/>
                    <a:pt x="80482" y="21632"/>
                    <a:pt x="81437" y="21632"/>
                  </a:cubicBezTo>
                  <a:cubicBezTo>
                    <a:pt x="82709" y="21950"/>
                    <a:pt x="83663" y="21632"/>
                    <a:pt x="84618" y="22586"/>
                  </a:cubicBezTo>
                  <a:lnTo>
                    <a:pt x="84936" y="22586"/>
                  </a:lnTo>
                  <a:cubicBezTo>
                    <a:pt x="85254" y="22586"/>
                    <a:pt x="85254" y="22586"/>
                    <a:pt x="85572" y="22586"/>
                  </a:cubicBezTo>
                  <a:cubicBezTo>
                    <a:pt x="86208" y="22586"/>
                    <a:pt x="86844" y="22904"/>
                    <a:pt x="87163" y="23540"/>
                  </a:cubicBezTo>
                  <a:cubicBezTo>
                    <a:pt x="87163" y="23858"/>
                    <a:pt x="86844" y="24177"/>
                    <a:pt x="86844" y="24177"/>
                  </a:cubicBezTo>
                  <a:cubicBezTo>
                    <a:pt x="86844" y="24813"/>
                    <a:pt x="87799" y="24495"/>
                    <a:pt x="88117" y="25131"/>
                  </a:cubicBezTo>
                  <a:cubicBezTo>
                    <a:pt x="88435" y="25131"/>
                    <a:pt x="88753" y="25131"/>
                    <a:pt x="89390" y="25131"/>
                  </a:cubicBezTo>
                  <a:cubicBezTo>
                    <a:pt x="89708" y="25131"/>
                    <a:pt x="90026" y="25131"/>
                    <a:pt x="90344" y="25131"/>
                  </a:cubicBezTo>
                  <a:cubicBezTo>
                    <a:pt x="90662" y="24813"/>
                    <a:pt x="91298" y="24813"/>
                    <a:pt x="91616" y="24813"/>
                  </a:cubicBezTo>
                  <a:cubicBezTo>
                    <a:pt x="92571" y="24813"/>
                    <a:pt x="93207" y="25131"/>
                    <a:pt x="93843" y="25131"/>
                  </a:cubicBezTo>
                  <a:cubicBezTo>
                    <a:pt x="94161" y="25131"/>
                    <a:pt x="94161" y="25131"/>
                    <a:pt x="94161" y="25449"/>
                  </a:cubicBezTo>
                  <a:cubicBezTo>
                    <a:pt x="94161" y="26721"/>
                    <a:pt x="94161" y="27994"/>
                    <a:pt x="94797" y="28948"/>
                  </a:cubicBezTo>
                  <a:lnTo>
                    <a:pt x="94797" y="29266"/>
                  </a:lnTo>
                  <a:cubicBezTo>
                    <a:pt x="94797" y="29584"/>
                    <a:pt x="94479" y="29903"/>
                    <a:pt x="94161" y="29903"/>
                  </a:cubicBezTo>
                  <a:lnTo>
                    <a:pt x="93525" y="29903"/>
                  </a:lnTo>
                  <a:lnTo>
                    <a:pt x="93525" y="30539"/>
                  </a:lnTo>
                  <a:cubicBezTo>
                    <a:pt x="93525" y="30857"/>
                    <a:pt x="93525" y="31493"/>
                    <a:pt x="93207" y="31493"/>
                  </a:cubicBezTo>
                  <a:cubicBezTo>
                    <a:pt x="92889" y="31493"/>
                    <a:pt x="92571" y="31175"/>
                    <a:pt x="92252" y="31175"/>
                  </a:cubicBezTo>
                  <a:cubicBezTo>
                    <a:pt x="92252" y="31175"/>
                    <a:pt x="91934" y="31175"/>
                    <a:pt x="91934" y="31493"/>
                  </a:cubicBezTo>
                  <a:cubicBezTo>
                    <a:pt x="91934" y="31493"/>
                    <a:pt x="91934" y="31811"/>
                    <a:pt x="91934" y="32129"/>
                  </a:cubicBezTo>
                  <a:lnTo>
                    <a:pt x="91934" y="32447"/>
                  </a:lnTo>
                  <a:cubicBezTo>
                    <a:pt x="91934" y="33084"/>
                    <a:pt x="91934" y="33084"/>
                    <a:pt x="90980" y="33084"/>
                  </a:cubicBezTo>
                  <a:cubicBezTo>
                    <a:pt x="90662" y="33084"/>
                    <a:pt x="90344" y="33084"/>
                    <a:pt x="90344" y="33402"/>
                  </a:cubicBezTo>
                  <a:cubicBezTo>
                    <a:pt x="90344" y="33402"/>
                    <a:pt x="90344" y="33402"/>
                    <a:pt x="90344" y="33720"/>
                  </a:cubicBezTo>
                  <a:lnTo>
                    <a:pt x="90662" y="34038"/>
                  </a:lnTo>
                  <a:lnTo>
                    <a:pt x="90662" y="34356"/>
                  </a:lnTo>
                  <a:cubicBezTo>
                    <a:pt x="90662" y="34674"/>
                    <a:pt x="90026" y="34992"/>
                    <a:pt x="90026" y="34674"/>
                  </a:cubicBezTo>
                  <a:lnTo>
                    <a:pt x="89390" y="34674"/>
                  </a:lnTo>
                  <a:cubicBezTo>
                    <a:pt x="88435" y="33720"/>
                    <a:pt x="87163" y="33402"/>
                    <a:pt x="85572" y="32766"/>
                  </a:cubicBezTo>
                  <a:cubicBezTo>
                    <a:pt x="84936" y="32766"/>
                    <a:pt x="84300" y="32447"/>
                    <a:pt x="83345" y="32447"/>
                  </a:cubicBezTo>
                  <a:cubicBezTo>
                    <a:pt x="82073" y="32447"/>
                    <a:pt x="80800" y="32447"/>
                    <a:pt x="79846" y="33084"/>
                  </a:cubicBezTo>
                  <a:cubicBezTo>
                    <a:pt x="79846" y="33402"/>
                    <a:pt x="79846" y="33402"/>
                    <a:pt x="79528" y="33402"/>
                  </a:cubicBezTo>
                  <a:cubicBezTo>
                    <a:pt x="78256" y="33720"/>
                    <a:pt x="77301" y="34356"/>
                    <a:pt x="76665" y="34992"/>
                  </a:cubicBezTo>
                  <a:lnTo>
                    <a:pt x="70303" y="39128"/>
                  </a:lnTo>
                  <a:lnTo>
                    <a:pt x="69030" y="41355"/>
                  </a:lnTo>
                  <a:lnTo>
                    <a:pt x="68394" y="42309"/>
                  </a:lnTo>
                  <a:cubicBezTo>
                    <a:pt x="66803" y="43581"/>
                    <a:pt x="65849" y="45172"/>
                    <a:pt x="64577" y="46444"/>
                  </a:cubicBezTo>
                  <a:cubicBezTo>
                    <a:pt x="63941" y="48353"/>
                    <a:pt x="62668" y="49307"/>
                    <a:pt x="61396" y="51216"/>
                  </a:cubicBezTo>
                  <a:cubicBezTo>
                    <a:pt x="60441" y="52170"/>
                    <a:pt x="59805" y="53125"/>
                    <a:pt x="59169" y="54079"/>
                  </a:cubicBezTo>
                  <a:cubicBezTo>
                    <a:pt x="58851" y="54397"/>
                    <a:pt x="58851" y="55033"/>
                    <a:pt x="58851" y="55351"/>
                  </a:cubicBezTo>
                  <a:cubicBezTo>
                    <a:pt x="58214" y="56306"/>
                    <a:pt x="57578" y="57578"/>
                    <a:pt x="56624" y="57896"/>
                  </a:cubicBezTo>
                  <a:cubicBezTo>
                    <a:pt x="55988" y="58533"/>
                    <a:pt x="55352" y="59487"/>
                    <a:pt x="55033" y="60441"/>
                  </a:cubicBezTo>
                  <a:cubicBezTo>
                    <a:pt x="54715" y="61714"/>
                    <a:pt x="54397" y="62668"/>
                    <a:pt x="53761" y="63622"/>
                  </a:cubicBezTo>
                  <a:cubicBezTo>
                    <a:pt x="53125" y="64895"/>
                    <a:pt x="52488" y="66803"/>
                    <a:pt x="51216" y="68076"/>
                  </a:cubicBezTo>
                  <a:cubicBezTo>
                    <a:pt x="50898" y="68394"/>
                    <a:pt x="50580" y="68712"/>
                    <a:pt x="50580" y="69030"/>
                  </a:cubicBezTo>
                  <a:cubicBezTo>
                    <a:pt x="49944" y="69030"/>
                    <a:pt x="49626" y="69985"/>
                    <a:pt x="49626" y="71257"/>
                  </a:cubicBezTo>
                  <a:cubicBezTo>
                    <a:pt x="49626" y="71575"/>
                    <a:pt x="49626" y="71575"/>
                    <a:pt x="49307" y="71575"/>
                  </a:cubicBezTo>
                  <a:cubicBezTo>
                    <a:pt x="48353" y="71893"/>
                    <a:pt x="48353" y="72848"/>
                    <a:pt x="48353" y="73802"/>
                  </a:cubicBezTo>
                  <a:cubicBezTo>
                    <a:pt x="48353" y="74438"/>
                    <a:pt x="48035" y="74756"/>
                    <a:pt x="47717" y="74756"/>
                  </a:cubicBezTo>
                  <a:cubicBezTo>
                    <a:pt x="47081" y="74756"/>
                    <a:pt x="46762" y="75393"/>
                    <a:pt x="46444" y="75393"/>
                  </a:cubicBezTo>
                  <a:cubicBezTo>
                    <a:pt x="46126" y="75711"/>
                    <a:pt x="46126" y="76029"/>
                    <a:pt x="46126" y="76347"/>
                  </a:cubicBezTo>
                  <a:cubicBezTo>
                    <a:pt x="46126" y="76665"/>
                    <a:pt x="46126" y="76983"/>
                    <a:pt x="46126" y="76983"/>
                  </a:cubicBezTo>
                  <a:cubicBezTo>
                    <a:pt x="46126" y="77301"/>
                    <a:pt x="46126" y="77301"/>
                    <a:pt x="46126" y="77619"/>
                  </a:cubicBezTo>
                  <a:lnTo>
                    <a:pt x="44218" y="83027"/>
                  </a:lnTo>
                  <a:cubicBezTo>
                    <a:pt x="44218" y="83027"/>
                    <a:pt x="43899" y="83027"/>
                    <a:pt x="43899" y="83345"/>
                  </a:cubicBezTo>
                  <a:lnTo>
                    <a:pt x="42945" y="84300"/>
                  </a:lnTo>
                  <a:lnTo>
                    <a:pt x="42945" y="84618"/>
                  </a:lnTo>
                  <a:lnTo>
                    <a:pt x="41673" y="85890"/>
                  </a:lnTo>
                  <a:cubicBezTo>
                    <a:pt x="41673" y="86208"/>
                    <a:pt x="41673" y="86526"/>
                    <a:pt x="41673" y="86845"/>
                  </a:cubicBezTo>
                  <a:cubicBezTo>
                    <a:pt x="41673" y="87163"/>
                    <a:pt x="41673" y="87163"/>
                    <a:pt x="41673" y="87481"/>
                  </a:cubicBezTo>
                  <a:cubicBezTo>
                    <a:pt x="41355" y="88435"/>
                    <a:pt x="41355" y="88753"/>
                    <a:pt x="40400" y="89071"/>
                  </a:cubicBezTo>
                  <a:lnTo>
                    <a:pt x="40400" y="90026"/>
                  </a:lnTo>
                  <a:close/>
                  <a:moveTo>
                    <a:pt x="40400" y="88435"/>
                  </a:moveTo>
                  <a:lnTo>
                    <a:pt x="40082" y="88435"/>
                  </a:lnTo>
                  <a:cubicBezTo>
                    <a:pt x="40082" y="88753"/>
                    <a:pt x="40400" y="88753"/>
                    <a:pt x="40400" y="89071"/>
                  </a:cubicBezTo>
                  <a:lnTo>
                    <a:pt x="40400" y="88435"/>
                  </a:lnTo>
                  <a:close/>
                </a:path>
              </a:pathLst>
            </a:custGeom>
            <a:solidFill>
              <a:srgbClr val="000000"/>
            </a:solidFill>
            <a:ln w="63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49D1F686-E3D2-481B-9225-F20A33F39E6C}"/>
                </a:ext>
              </a:extLst>
            </p:cNvPr>
            <p:cNvSpPr/>
            <p:nvPr/>
          </p:nvSpPr>
          <p:spPr>
            <a:xfrm>
              <a:off x="3099686" y="3542469"/>
              <a:ext cx="108158" cy="171780"/>
            </a:xfrm>
            <a:custGeom>
              <a:avLst/>
              <a:gdLst>
                <a:gd name="connsiteX0" fmla="*/ 65213 w 108157"/>
                <a:gd name="connsiteY0" fmla="*/ 154602 h 171780"/>
                <a:gd name="connsiteX1" fmla="*/ 64895 w 108157"/>
                <a:gd name="connsiteY1" fmla="*/ 153330 h 171780"/>
                <a:gd name="connsiteX2" fmla="*/ 64895 w 108157"/>
                <a:gd name="connsiteY2" fmla="*/ 151739 h 171780"/>
                <a:gd name="connsiteX3" fmla="*/ 64577 w 108157"/>
                <a:gd name="connsiteY3" fmla="*/ 148876 h 171780"/>
                <a:gd name="connsiteX4" fmla="*/ 63940 w 108157"/>
                <a:gd name="connsiteY4" fmla="*/ 147286 h 171780"/>
                <a:gd name="connsiteX5" fmla="*/ 64895 w 108157"/>
                <a:gd name="connsiteY5" fmla="*/ 143787 h 171780"/>
                <a:gd name="connsiteX6" fmla="*/ 64895 w 108157"/>
                <a:gd name="connsiteY6" fmla="*/ 142514 h 171780"/>
                <a:gd name="connsiteX7" fmla="*/ 64577 w 108157"/>
                <a:gd name="connsiteY7" fmla="*/ 140924 h 171780"/>
                <a:gd name="connsiteX8" fmla="*/ 64577 w 108157"/>
                <a:gd name="connsiteY8" fmla="*/ 139333 h 171780"/>
                <a:gd name="connsiteX9" fmla="*/ 63940 w 108157"/>
                <a:gd name="connsiteY9" fmla="*/ 136788 h 171780"/>
                <a:gd name="connsiteX10" fmla="*/ 65213 w 108157"/>
                <a:gd name="connsiteY10" fmla="*/ 111657 h 171780"/>
                <a:gd name="connsiteX11" fmla="*/ 65213 w 108157"/>
                <a:gd name="connsiteY11" fmla="*/ 111021 h 171780"/>
                <a:gd name="connsiteX12" fmla="*/ 66803 w 108157"/>
                <a:gd name="connsiteY12" fmla="*/ 110703 h 171780"/>
                <a:gd name="connsiteX13" fmla="*/ 66803 w 108157"/>
                <a:gd name="connsiteY13" fmla="*/ 109430 h 171780"/>
                <a:gd name="connsiteX14" fmla="*/ 65849 w 108157"/>
                <a:gd name="connsiteY14" fmla="*/ 108476 h 171780"/>
                <a:gd name="connsiteX15" fmla="*/ 65531 w 108157"/>
                <a:gd name="connsiteY15" fmla="*/ 107204 h 171780"/>
                <a:gd name="connsiteX16" fmla="*/ 65531 w 108157"/>
                <a:gd name="connsiteY16" fmla="*/ 106567 h 171780"/>
                <a:gd name="connsiteX17" fmla="*/ 65849 w 108157"/>
                <a:gd name="connsiteY17" fmla="*/ 105613 h 171780"/>
                <a:gd name="connsiteX18" fmla="*/ 66803 w 108157"/>
                <a:gd name="connsiteY18" fmla="*/ 104023 h 171780"/>
                <a:gd name="connsiteX19" fmla="*/ 66803 w 108157"/>
                <a:gd name="connsiteY19" fmla="*/ 103704 h 171780"/>
                <a:gd name="connsiteX20" fmla="*/ 65849 w 108157"/>
                <a:gd name="connsiteY20" fmla="*/ 103386 h 171780"/>
                <a:gd name="connsiteX21" fmla="*/ 66167 w 108157"/>
                <a:gd name="connsiteY21" fmla="*/ 103704 h 171780"/>
                <a:gd name="connsiteX22" fmla="*/ 65531 w 108157"/>
                <a:gd name="connsiteY22" fmla="*/ 104023 h 171780"/>
                <a:gd name="connsiteX23" fmla="*/ 64577 w 108157"/>
                <a:gd name="connsiteY23" fmla="*/ 104659 h 171780"/>
                <a:gd name="connsiteX24" fmla="*/ 64259 w 108157"/>
                <a:gd name="connsiteY24" fmla="*/ 104341 h 171780"/>
                <a:gd name="connsiteX25" fmla="*/ 63622 w 108157"/>
                <a:gd name="connsiteY25" fmla="*/ 104341 h 171780"/>
                <a:gd name="connsiteX26" fmla="*/ 61077 w 108157"/>
                <a:gd name="connsiteY26" fmla="*/ 105931 h 171780"/>
                <a:gd name="connsiteX27" fmla="*/ 59169 w 108157"/>
                <a:gd name="connsiteY27" fmla="*/ 108158 h 171780"/>
                <a:gd name="connsiteX28" fmla="*/ 57896 w 108157"/>
                <a:gd name="connsiteY28" fmla="*/ 109749 h 171780"/>
                <a:gd name="connsiteX29" fmla="*/ 56942 w 108157"/>
                <a:gd name="connsiteY29" fmla="*/ 110703 h 171780"/>
                <a:gd name="connsiteX30" fmla="*/ 56942 w 108157"/>
                <a:gd name="connsiteY30" fmla="*/ 111021 h 171780"/>
                <a:gd name="connsiteX31" fmla="*/ 55033 w 108157"/>
                <a:gd name="connsiteY31" fmla="*/ 113884 h 171780"/>
                <a:gd name="connsiteX32" fmla="*/ 55033 w 108157"/>
                <a:gd name="connsiteY32" fmla="*/ 114202 h 171780"/>
                <a:gd name="connsiteX33" fmla="*/ 53125 w 108157"/>
                <a:gd name="connsiteY33" fmla="*/ 117701 h 171780"/>
                <a:gd name="connsiteX34" fmla="*/ 52488 w 108157"/>
                <a:gd name="connsiteY34" fmla="*/ 118338 h 171780"/>
                <a:gd name="connsiteX35" fmla="*/ 50262 w 108157"/>
                <a:gd name="connsiteY35" fmla="*/ 119610 h 171780"/>
                <a:gd name="connsiteX36" fmla="*/ 49307 w 108157"/>
                <a:gd name="connsiteY36" fmla="*/ 121201 h 171780"/>
                <a:gd name="connsiteX37" fmla="*/ 42945 w 108157"/>
                <a:gd name="connsiteY37" fmla="*/ 126290 h 171780"/>
                <a:gd name="connsiteX38" fmla="*/ 39764 w 108157"/>
                <a:gd name="connsiteY38" fmla="*/ 127245 h 171780"/>
                <a:gd name="connsiteX39" fmla="*/ 38810 w 108157"/>
                <a:gd name="connsiteY39" fmla="*/ 127881 h 171780"/>
                <a:gd name="connsiteX40" fmla="*/ 33402 w 108157"/>
                <a:gd name="connsiteY40" fmla="*/ 128835 h 171780"/>
                <a:gd name="connsiteX41" fmla="*/ 31175 w 108157"/>
                <a:gd name="connsiteY41" fmla="*/ 128835 h 171780"/>
                <a:gd name="connsiteX42" fmla="*/ 25767 w 108157"/>
                <a:gd name="connsiteY42" fmla="*/ 129471 h 171780"/>
                <a:gd name="connsiteX43" fmla="*/ 23858 w 108157"/>
                <a:gd name="connsiteY43" fmla="*/ 129471 h 171780"/>
                <a:gd name="connsiteX44" fmla="*/ 22268 w 108157"/>
                <a:gd name="connsiteY44" fmla="*/ 128835 h 171780"/>
                <a:gd name="connsiteX45" fmla="*/ 20995 w 108157"/>
                <a:gd name="connsiteY45" fmla="*/ 128199 h 171780"/>
                <a:gd name="connsiteX46" fmla="*/ 19723 w 108157"/>
                <a:gd name="connsiteY46" fmla="*/ 128199 h 171780"/>
                <a:gd name="connsiteX47" fmla="*/ 17814 w 108157"/>
                <a:gd name="connsiteY47" fmla="*/ 127881 h 171780"/>
                <a:gd name="connsiteX48" fmla="*/ 15906 w 108157"/>
                <a:gd name="connsiteY48" fmla="*/ 127563 h 171780"/>
                <a:gd name="connsiteX49" fmla="*/ 12724 w 108157"/>
                <a:gd name="connsiteY49" fmla="*/ 127563 h 171780"/>
                <a:gd name="connsiteX50" fmla="*/ 11770 w 108157"/>
                <a:gd name="connsiteY50" fmla="*/ 126608 h 171780"/>
                <a:gd name="connsiteX51" fmla="*/ 7953 w 108157"/>
                <a:gd name="connsiteY51" fmla="*/ 122791 h 171780"/>
                <a:gd name="connsiteX52" fmla="*/ 6998 w 108157"/>
                <a:gd name="connsiteY52" fmla="*/ 121837 h 171780"/>
                <a:gd name="connsiteX53" fmla="*/ 5408 w 108157"/>
                <a:gd name="connsiteY53" fmla="*/ 118656 h 171780"/>
                <a:gd name="connsiteX54" fmla="*/ 3181 w 108157"/>
                <a:gd name="connsiteY54" fmla="*/ 115793 h 171780"/>
                <a:gd name="connsiteX55" fmla="*/ 2227 w 108157"/>
                <a:gd name="connsiteY55" fmla="*/ 114202 h 171780"/>
                <a:gd name="connsiteX56" fmla="*/ 2545 w 108157"/>
                <a:gd name="connsiteY56" fmla="*/ 113566 h 171780"/>
                <a:gd name="connsiteX57" fmla="*/ 3499 w 108157"/>
                <a:gd name="connsiteY57" fmla="*/ 113248 h 171780"/>
                <a:gd name="connsiteX58" fmla="*/ 2863 w 108157"/>
                <a:gd name="connsiteY58" fmla="*/ 112293 h 171780"/>
                <a:gd name="connsiteX59" fmla="*/ 2545 w 108157"/>
                <a:gd name="connsiteY59" fmla="*/ 111975 h 171780"/>
                <a:gd name="connsiteX60" fmla="*/ 2227 w 108157"/>
                <a:gd name="connsiteY60" fmla="*/ 111975 h 171780"/>
                <a:gd name="connsiteX61" fmla="*/ 2227 w 108157"/>
                <a:gd name="connsiteY61" fmla="*/ 112293 h 171780"/>
                <a:gd name="connsiteX62" fmla="*/ 1273 w 108157"/>
                <a:gd name="connsiteY62" fmla="*/ 112293 h 171780"/>
                <a:gd name="connsiteX63" fmla="*/ 636 w 108157"/>
                <a:gd name="connsiteY63" fmla="*/ 109112 h 171780"/>
                <a:gd name="connsiteX64" fmla="*/ 0 w 108157"/>
                <a:gd name="connsiteY64" fmla="*/ 107840 h 171780"/>
                <a:gd name="connsiteX65" fmla="*/ 318 w 108157"/>
                <a:gd name="connsiteY65" fmla="*/ 106886 h 171780"/>
                <a:gd name="connsiteX66" fmla="*/ 636 w 108157"/>
                <a:gd name="connsiteY66" fmla="*/ 106886 h 171780"/>
                <a:gd name="connsiteX67" fmla="*/ 954 w 108157"/>
                <a:gd name="connsiteY67" fmla="*/ 107204 h 171780"/>
                <a:gd name="connsiteX68" fmla="*/ 954 w 108157"/>
                <a:gd name="connsiteY68" fmla="*/ 107522 h 171780"/>
                <a:gd name="connsiteX69" fmla="*/ 1591 w 108157"/>
                <a:gd name="connsiteY69" fmla="*/ 109430 h 171780"/>
                <a:gd name="connsiteX70" fmla="*/ 1909 w 108157"/>
                <a:gd name="connsiteY70" fmla="*/ 110385 h 171780"/>
                <a:gd name="connsiteX71" fmla="*/ 2545 w 108157"/>
                <a:gd name="connsiteY71" fmla="*/ 111021 h 171780"/>
                <a:gd name="connsiteX72" fmla="*/ 2863 w 108157"/>
                <a:gd name="connsiteY72" fmla="*/ 110703 h 171780"/>
                <a:gd name="connsiteX73" fmla="*/ 2863 w 108157"/>
                <a:gd name="connsiteY73" fmla="*/ 108476 h 171780"/>
                <a:gd name="connsiteX74" fmla="*/ 3499 w 108157"/>
                <a:gd name="connsiteY74" fmla="*/ 107204 h 171780"/>
                <a:gd name="connsiteX75" fmla="*/ 3181 w 108157"/>
                <a:gd name="connsiteY75" fmla="*/ 106249 h 171780"/>
                <a:gd name="connsiteX76" fmla="*/ 2545 w 108157"/>
                <a:gd name="connsiteY76" fmla="*/ 102432 h 171780"/>
                <a:gd name="connsiteX77" fmla="*/ 2545 w 108157"/>
                <a:gd name="connsiteY77" fmla="*/ 97660 h 171780"/>
                <a:gd name="connsiteX78" fmla="*/ 2863 w 108157"/>
                <a:gd name="connsiteY78" fmla="*/ 96706 h 171780"/>
                <a:gd name="connsiteX79" fmla="*/ 2863 w 108157"/>
                <a:gd name="connsiteY79" fmla="*/ 94479 h 171780"/>
                <a:gd name="connsiteX80" fmla="*/ 5408 w 108157"/>
                <a:gd name="connsiteY80" fmla="*/ 92889 h 171780"/>
                <a:gd name="connsiteX81" fmla="*/ 4135 w 108157"/>
                <a:gd name="connsiteY81" fmla="*/ 91298 h 171780"/>
                <a:gd name="connsiteX82" fmla="*/ 3499 w 108157"/>
                <a:gd name="connsiteY82" fmla="*/ 90980 h 171780"/>
                <a:gd name="connsiteX83" fmla="*/ 3181 w 108157"/>
                <a:gd name="connsiteY83" fmla="*/ 90980 h 171780"/>
                <a:gd name="connsiteX84" fmla="*/ 3817 w 108157"/>
                <a:gd name="connsiteY84" fmla="*/ 90344 h 171780"/>
                <a:gd name="connsiteX85" fmla="*/ 5726 w 108157"/>
                <a:gd name="connsiteY85" fmla="*/ 89071 h 171780"/>
                <a:gd name="connsiteX86" fmla="*/ 5726 w 108157"/>
                <a:gd name="connsiteY86" fmla="*/ 87163 h 171780"/>
                <a:gd name="connsiteX87" fmla="*/ 5408 w 108157"/>
                <a:gd name="connsiteY87" fmla="*/ 86845 h 171780"/>
                <a:gd name="connsiteX88" fmla="*/ 6044 w 108157"/>
                <a:gd name="connsiteY88" fmla="*/ 83982 h 171780"/>
                <a:gd name="connsiteX89" fmla="*/ 6362 w 108157"/>
                <a:gd name="connsiteY89" fmla="*/ 81437 h 171780"/>
                <a:gd name="connsiteX90" fmla="*/ 6680 w 108157"/>
                <a:gd name="connsiteY90" fmla="*/ 79528 h 171780"/>
                <a:gd name="connsiteX91" fmla="*/ 7635 w 108157"/>
                <a:gd name="connsiteY91" fmla="*/ 77301 h 171780"/>
                <a:gd name="connsiteX92" fmla="*/ 8907 w 108157"/>
                <a:gd name="connsiteY92" fmla="*/ 76029 h 171780"/>
                <a:gd name="connsiteX93" fmla="*/ 8907 w 108157"/>
                <a:gd name="connsiteY93" fmla="*/ 75711 h 171780"/>
                <a:gd name="connsiteX94" fmla="*/ 9225 w 108157"/>
                <a:gd name="connsiteY94" fmla="*/ 75074 h 171780"/>
                <a:gd name="connsiteX95" fmla="*/ 9225 w 108157"/>
                <a:gd name="connsiteY95" fmla="*/ 74756 h 171780"/>
                <a:gd name="connsiteX96" fmla="*/ 10498 w 108157"/>
                <a:gd name="connsiteY96" fmla="*/ 72848 h 171780"/>
                <a:gd name="connsiteX97" fmla="*/ 10816 w 108157"/>
                <a:gd name="connsiteY97" fmla="*/ 70939 h 171780"/>
                <a:gd name="connsiteX98" fmla="*/ 12088 w 108157"/>
                <a:gd name="connsiteY98" fmla="*/ 68394 h 171780"/>
                <a:gd name="connsiteX99" fmla="*/ 12724 w 108157"/>
                <a:gd name="connsiteY99" fmla="*/ 66167 h 171780"/>
                <a:gd name="connsiteX100" fmla="*/ 13361 w 108157"/>
                <a:gd name="connsiteY100" fmla="*/ 65213 h 171780"/>
                <a:gd name="connsiteX101" fmla="*/ 14315 w 108157"/>
                <a:gd name="connsiteY101" fmla="*/ 63304 h 171780"/>
                <a:gd name="connsiteX102" fmla="*/ 15588 w 108157"/>
                <a:gd name="connsiteY102" fmla="*/ 62350 h 171780"/>
                <a:gd name="connsiteX103" fmla="*/ 15588 w 108157"/>
                <a:gd name="connsiteY103" fmla="*/ 61077 h 171780"/>
                <a:gd name="connsiteX104" fmla="*/ 18132 w 108157"/>
                <a:gd name="connsiteY104" fmla="*/ 56942 h 171780"/>
                <a:gd name="connsiteX105" fmla="*/ 19087 w 108157"/>
                <a:gd name="connsiteY105" fmla="*/ 55670 h 171780"/>
                <a:gd name="connsiteX106" fmla="*/ 20677 w 108157"/>
                <a:gd name="connsiteY106" fmla="*/ 53761 h 171780"/>
                <a:gd name="connsiteX107" fmla="*/ 20995 w 108157"/>
                <a:gd name="connsiteY107" fmla="*/ 52807 h 171780"/>
                <a:gd name="connsiteX108" fmla="*/ 22904 w 108157"/>
                <a:gd name="connsiteY108" fmla="*/ 49944 h 171780"/>
                <a:gd name="connsiteX109" fmla="*/ 24176 w 108157"/>
                <a:gd name="connsiteY109" fmla="*/ 48353 h 171780"/>
                <a:gd name="connsiteX110" fmla="*/ 25131 w 108157"/>
                <a:gd name="connsiteY110" fmla="*/ 47717 h 171780"/>
                <a:gd name="connsiteX111" fmla="*/ 26721 w 108157"/>
                <a:gd name="connsiteY111" fmla="*/ 44854 h 171780"/>
                <a:gd name="connsiteX112" fmla="*/ 27040 w 108157"/>
                <a:gd name="connsiteY112" fmla="*/ 44536 h 171780"/>
                <a:gd name="connsiteX113" fmla="*/ 27358 w 108157"/>
                <a:gd name="connsiteY113" fmla="*/ 44536 h 171780"/>
                <a:gd name="connsiteX114" fmla="*/ 29266 w 108157"/>
                <a:gd name="connsiteY114" fmla="*/ 41036 h 171780"/>
                <a:gd name="connsiteX115" fmla="*/ 31175 w 108157"/>
                <a:gd name="connsiteY115" fmla="*/ 38492 h 171780"/>
                <a:gd name="connsiteX116" fmla="*/ 33402 w 108157"/>
                <a:gd name="connsiteY116" fmla="*/ 35310 h 171780"/>
                <a:gd name="connsiteX117" fmla="*/ 37537 w 108157"/>
                <a:gd name="connsiteY117" fmla="*/ 32129 h 171780"/>
                <a:gd name="connsiteX118" fmla="*/ 39446 w 108157"/>
                <a:gd name="connsiteY118" fmla="*/ 29903 h 171780"/>
                <a:gd name="connsiteX119" fmla="*/ 41355 w 108157"/>
                <a:gd name="connsiteY119" fmla="*/ 28630 h 171780"/>
                <a:gd name="connsiteX120" fmla="*/ 42945 w 108157"/>
                <a:gd name="connsiteY120" fmla="*/ 27676 h 171780"/>
                <a:gd name="connsiteX121" fmla="*/ 44854 w 108157"/>
                <a:gd name="connsiteY121" fmla="*/ 25449 h 171780"/>
                <a:gd name="connsiteX122" fmla="*/ 45172 w 108157"/>
                <a:gd name="connsiteY122" fmla="*/ 26085 h 171780"/>
                <a:gd name="connsiteX123" fmla="*/ 46126 w 108157"/>
                <a:gd name="connsiteY123" fmla="*/ 27676 h 171780"/>
                <a:gd name="connsiteX124" fmla="*/ 47081 w 108157"/>
                <a:gd name="connsiteY124" fmla="*/ 26403 h 171780"/>
                <a:gd name="connsiteX125" fmla="*/ 46444 w 108157"/>
                <a:gd name="connsiteY125" fmla="*/ 25131 h 171780"/>
                <a:gd name="connsiteX126" fmla="*/ 46444 w 108157"/>
                <a:gd name="connsiteY126" fmla="*/ 24813 h 171780"/>
                <a:gd name="connsiteX127" fmla="*/ 49944 w 108157"/>
                <a:gd name="connsiteY127" fmla="*/ 23222 h 171780"/>
                <a:gd name="connsiteX128" fmla="*/ 57896 w 108157"/>
                <a:gd name="connsiteY128" fmla="*/ 21632 h 171780"/>
                <a:gd name="connsiteX129" fmla="*/ 59805 w 108157"/>
                <a:gd name="connsiteY129" fmla="*/ 21313 h 171780"/>
                <a:gd name="connsiteX130" fmla="*/ 62350 w 108157"/>
                <a:gd name="connsiteY130" fmla="*/ 21632 h 171780"/>
                <a:gd name="connsiteX131" fmla="*/ 63304 w 108157"/>
                <a:gd name="connsiteY131" fmla="*/ 21950 h 171780"/>
                <a:gd name="connsiteX132" fmla="*/ 64259 w 108157"/>
                <a:gd name="connsiteY132" fmla="*/ 22268 h 171780"/>
                <a:gd name="connsiteX133" fmla="*/ 66485 w 108157"/>
                <a:gd name="connsiteY133" fmla="*/ 22586 h 171780"/>
                <a:gd name="connsiteX134" fmla="*/ 69667 w 108157"/>
                <a:gd name="connsiteY134" fmla="*/ 24813 h 171780"/>
                <a:gd name="connsiteX135" fmla="*/ 75074 w 108157"/>
                <a:gd name="connsiteY135" fmla="*/ 28630 h 171780"/>
                <a:gd name="connsiteX136" fmla="*/ 77937 w 108157"/>
                <a:gd name="connsiteY136" fmla="*/ 29584 h 171780"/>
                <a:gd name="connsiteX137" fmla="*/ 78574 w 108157"/>
                <a:gd name="connsiteY137" fmla="*/ 29903 h 171780"/>
                <a:gd name="connsiteX138" fmla="*/ 79846 w 108157"/>
                <a:gd name="connsiteY138" fmla="*/ 28948 h 171780"/>
                <a:gd name="connsiteX139" fmla="*/ 80482 w 108157"/>
                <a:gd name="connsiteY139" fmla="*/ 27994 h 171780"/>
                <a:gd name="connsiteX140" fmla="*/ 80164 w 108157"/>
                <a:gd name="connsiteY140" fmla="*/ 27358 h 171780"/>
                <a:gd name="connsiteX141" fmla="*/ 81119 w 108157"/>
                <a:gd name="connsiteY141" fmla="*/ 26721 h 171780"/>
                <a:gd name="connsiteX142" fmla="*/ 82073 w 108157"/>
                <a:gd name="connsiteY142" fmla="*/ 27358 h 171780"/>
                <a:gd name="connsiteX143" fmla="*/ 83027 w 108157"/>
                <a:gd name="connsiteY143" fmla="*/ 27676 h 171780"/>
                <a:gd name="connsiteX144" fmla="*/ 83345 w 108157"/>
                <a:gd name="connsiteY144" fmla="*/ 27358 h 171780"/>
                <a:gd name="connsiteX145" fmla="*/ 83345 w 108157"/>
                <a:gd name="connsiteY145" fmla="*/ 27040 h 171780"/>
                <a:gd name="connsiteX146" fmla="*/ 81119 w 108157"/>
                <a:gd name="connsiteY146" fmla="*/ 24813 h 171780"/>
                <a:gd name="connsiteX147" fmla="*/ 82073 w 108157"/>
                <a:gd name="connsiteY147" fmla="*/ 23540 h 171780"/>
                <a:gd name="connsiteX148" fmla="*/ 87481 w 108157"/>
                <a:gd name="connsiteY148" fmla="*/ 10180 h 171780"/>
                <a:gd name="connsiteX149" fmla="*/ 87481 w 108157"/>
                <a:gd name="connsiteY149" fmla="*/ 9543 h 171780"/>
                <a:gd name="connsiteX150" fmla="*/ 89389 w 108157"/>
                <a:gd name="connsiteY150" fmla="*/ 4772 h 171780"/>
                <a:gd name="connsiteX151" fmla="*/ 90026 w 108157"/>
                <a:gd name="connsiteY151" fmla="*/ 3181 h 171780"/>
                <a:gd name="connsiteX152" fmla="*/ 90980 w 108157"/>
                <a:gd name="connsiteY152" fmla="*/ 2227 h 171780"/>
                <a:gd name="connsiteX153" fmla="*/ 91934 w 108157"/>
                <a:gd name="connsiteY153" fmla="*/ 1272 h 171780"/>
                <a:gd name="connsiteX154" fmla="*/ 93843 w 108157"/>
                <a:gd name="connsiteY154" fmla="*/ 318 h 171780"/>
                <a:gd name="connsiteX155" fmla="*/ 94797 w 108157"/>
                <a:gd name="connsiteY155" fmla="*/ 318 h 171780"/>
                <a:gd name="connsiteX156" fmla="*/ 97978 w 108157"/>
                <a:gd name="connsiteY156" fmla="*/ 0 h 171780"/>
                <a:gd name="connsiteX157" fmla="*/ 99887 w 108157"/>
                <a:gd name="connsiteY157" fmla="*/ 954 h 171780"/>
                <a:gd name="connsiteX158" fmla="*/ 100523 w 108157"/>
                <a:gd name="connsiteY158" fmla="*/ 1272 h 171780"/>
                <a:gd name="connsiteX159" fmla="*/ 104341 w 108157"/>
                <a:gd name="connsiteY159" fmla="*/ 3817 h 171780"/>
                <a:gd name="connsiteX160" fmla="*/ 107522 w 108157"/>
                <a:gd name="connsiteY160" fmla="*/ 5090 h 171780"/>
                <a:gd name="connsiteX161" fmla="*/ 110067 w 108157"/>
                <a:gd name="connsiteY161" fmla="*/ 7635 h 171780"/>
                <a:gd name="connsiteX162" fmla="*/ 111657 w 108157"/>
                <a:gd name="connsiteY162" fmla="*/ 7953 h 171780"/>
                <a:gd name="connsiteX163" fmla="*/ 112293 w 108157"/>
                <a:gd name="connsiteY163" fmla="*/ 9861 h 171780"/>
                <a:gd name="connsiteX164" fmla="*/ 112293 w 108157"/>
                <a:gd name="connsiteY164" fmla="*/ 10816 h 171780"/>
                <a:gd name="connsiteX165" fmla="*/ 104659 w 108157"/>
                <a:gd name="connsiteY165" fmla="*/ 23222 h 171780"/>
                <a:gd name="connsiteX166" fmla="*/ 104659 w 108157"/>
                <a:gd name="connsiteY166" fmla="*/ 24176 h 171780"/>
                <a:gd name="connsiteX167" fmla="*/ 104341 w 108157"/>
                <a:gd name="connsiteY167" fmla="*/ 24176 h 171780"/>
                <a:gd name="connsiteX168" fmla="*/ 103704 w 108157"/>
                <a:gd name="connsiteY168" fmla="*/ 24813 h 171780"/>
                <a:gd name="connsiteX169" fmla="*/ 103704 w 108157"/>
                <a:gd name="connsiteY169" fmla="*/ 24176 h 171780"/>
                <a:gd name="connsiteX170" fmla="*/ 103068 w 108157"/>
                <a:gd name="connsiteY170" fmla="*/ 23858 h 171780"/>
                <a:gd name="connsiteX171" fmla="*/ 101796 w 108157"/>
                <a:gd name="connsiteY171" fmla="*/ 24176 h 171780"/>
                <a:gd name="connsiteX172" fmla="*/ 101796 w 108157"/>
                <a:gd name="connsiteY172" fmla="*/ 24813 h 171780"/>
                <a:gd name="connsiteX173" fmla="*/ 104023 w 108157"/>
                <a:gd name="connsiteY173" fmla="*/ 24813 h 171780"/>
                <a:gd name="connsiteX174" fmla="*/ 104023 w 108157"/>
                <a:gd name="connsiteY174" fmla="*/ 25767 h 171780"/>
                <a:gd name="connsiteX175" fmla="*/ 103068 w 108157"/>
                <a:gd name="connsiteY175" fmla="*/ 26721 h 171780"/>
                <a:gd name="connsiteX176" fmla="*/ 103386 w 108157"/>
                <a:gd name="connsiteY176" fmla="*/ 27676 h 171780"/>
                <a:gd name="connsiteX177" fmla="*/ 104023 w 108157"/>
                <a:gd name="connsiteY177" fmla="*/ 28312 h 171780"/>
                <a:gd name="connsiteX178" fmla="*/ 103704 w 108157"/>
                <a:gd name="connsiteY178" fmla="*/ 28630 h 171780"/>
                <a:gd name="connsiteX179" fmla="*/ 104023 w 108157"/>
                <a:gd name="connsiteY179" fmla="*/ 29903 h 171780"/>
                <a:gd name="connsiteX180" fmla="*/ 103704 w 108157"/>
                <a:gd name="connsiteY180" fmla="*/ 30539 h 171780"/>
                <a:gd name="connsiteX181" fmla="*/ 103386 w 108157"/>
                <a:gd name="connsiteY181" fmla="*/ 31175 h 171780"/>
                <a:gd name="connsiteX182" fmla="*/ 101796 w 108157"/>
                <a:gd name="connsiteY182" fmla="*/ 34038 h 171780"/>
                <a:gd name="connsiteX183" fmla="*/ 101160 w 108157"/>
                <a:gd name="connsiteY183" fmla="*/ 36583 h 171780"/>
                <a:gd name="connsiteX184" fmla="*/ 101160 w 108157"/>
                <a:gd name="connsiteY184" fmla="*/ 37855 h 171780"/>
                <a:gd name="connsiteX185" fmla="*/ 99569 w 108157"/>
                <a:gd name="connsiteY185" fmla="*/ 41991 h 171780"/>
                <a:gd name="connsiteX186" fmla="*/ 99569 w 108157"/>
                <a:gd name="connsiteY186" fmla="*/ 45808 h 171780"/>
                <a:gd name="connsiteX187" fmla="*/ 98615 w 108157"/>
                <a:gd name="connsiteY187" fmla="*/ 48671 h 171780"/>
                <a:gd name="connsiteX188" fmla="*/ 97978 w 108157"/>
                <a:gd name="connsiteY188" fmla="*/ 49307 h 171780"/>
                <a:gd name="connsiteX189" fmla="*/ 98615 w 108157"/>
                <a:gd name="connsiteY189" fmla="*/ 50580 h 171780"/>
                <a:gd name="connsiteX190" fmla="*/ 98615 w 108157"/>
                <a:gd name="connsiteY190" fmla="*/ 50898 h 171780"/>
                <a:gd name="connsiteX191" fmla="*/ 97660 w 108157"/>
                <a:gd name="connsiteY191" fmla="*/ 54079 h 171780"/>
                <a:gd name="connsiteX192" fmla="*/ 96070 w 108157"/>
                <a:gd name="connsiteY192" fmla="*/ 57578 h 171780"/>
                <a:gd name="connsiteX193" fmla="*/ 96070 w 108157"/>
                <a:gd name="connsiteY193" fmla="*/ 58851 h 171780"/>
                <a:gd name="connsiteX194" fmla="*/ 95115 w 108157"/>
                <a:gd name="connsiteY194" fmla="*/ 58851 h 171780"/>
                <a:gd name="connsiteX195" fmla="*/ 95115 w 108157"/>
                <a:gd name="connsiteY195" fmla="*/ 59169 h 171780"/>
                <a:gd name="connsiteX196" fmla="*/ 95434 w 108157"/>
                <a:gd name="connsiteY196" fmla="*/ 60441 h 171780"/>
                <a:gd name="connsiteX197" fmla="*/ 95434 w 108157"/>
                <a:gd name="connsiteY197" fmla="*/ 60759 h 171780"/>
                <a:gd name="connsiteX198" fmla="*/ 93525 w 108157"/>
                <a:gd name="connsiteY198" fmla="*/ 62032 h 171780"/>
                <a:gd name="connsiteX199" fmla="*/ 93207 w 108157"/>
                <a:gd name="connsiteY199" fmla="*/ 62350 h 171780"/>
                <a:gd name="connsiteX200" fmla="*/ 92889 w 108157"/>
                <a:gd name="connsiteY200" fmla="*/ 62668 h 171780"/>
                <a:gd name="connsiteX201" fmla="*/ 93525 w 108157"/>
                <a:gd name="connsiteY201" fmla="*/ 63622 h 171780"/>
                <a:gd name="connsiteX202" fmla="*/ 93843 w 108157"/>
                <a:gd name="connsiteY202" fmla="*/ 63622 h 171780"/>
                <a:gd name="connsiteX203" fmla="*/ 94479 w 108157"/>
                <a:gd name="connsiteY203" fmla="*/ 63940 h 171780"/>
                <a:gd name="connsiteX204" fmla="*/ 94479 w 108157"/>
                <a:gd name="connsiteY204" fmla="*/ 64895 h 171780"/>
                <a:gd name="connsiteX205" fmla="*/ 94161 w 108157"/>
                <a:gd name="connsiteY205" fmla="*/ 66167 h 171780"/>
                <a:gd name="connsiteX206" fmla="*/ 93207 w 108157"/>
                <a:gd name="connsiteY206" fmla="*/ 70303 h 171780"/>
                <a:gd name="connsiteX207" fmla="*/ 92889 w 108157"/>
                <a:gd name="connsiteY207" fmla="*/ 71257 h 171780"/>
                <a:gd name="connsiteX208" fmla="*/ 91298 w 108157"/>
                <a:gd name="connsiteY208" fmla="*/ 71257 h 171780"/>
                <a:gd name="connsiteX209" fmla="*/ 90344 w 108157"/>
                <a:gd name="connsiteY209" fmla="*/ 71575 h 171780"/>
                <a:gd name="connsiteX210" fmla="*/ 89708 w 108157"/>
                <a:gd name="connsiteY210" fmla="*/ 71575 h 171780"/>
                <a:gd name="connsiteX211" fmla="*/ 89389 w 108157"/>
                <a:gd name="connsiteY211" fmla="*/ 71893 h 171780"/>
                <a:gd name="connsiteX212" fmla="*/ 88435 w 108157"/>
                <a:gd name="connsiteY212" fmla="*/ 72848 h 171780"/>
                <a:gd name="connsiteX213" fmla="*/ 87163 w 108157"/>
                <a:gd name="connsiteY213" fmla="*/ 73484 h 171780"/>
                <a:gd name="connsiteX214" fmla="*/ 86526 w 108157"/>
                <a:gd name="connsiteY214" fmla="*/ 73802 h 171780"/>
                <a:gd name="connsiteX215" fmla="*/ 85572 w 108157"/>
                <a:gd name="connsiteY215" fmla="*/ 73802 h 171780"/>
                <a:gd name="connsiteX216" fmla="*/ 85254 w 108157"/>
                <a:gd name="connsiteY216" fmla="*/ 74438 h 171780"/>
                <a:gd name="connsiteX217" fmla="*/ 85572 w 108157"/>
                <a:gd name="connsiteY217" fmla="*/ 74756 h 171780"/>
                <a:gd name="connsiteX218" fmla="*/ 87163 w 108157"/>
                <a:gd name="connsiteY218" fmla="*/ 76029 h 171780"/>
                <a:gd name="connsiteX219" fmla="*/ 88117 w 108157"/>
                <a:gd name="connsiteY219" fmla="*/ 75074 h 171780"/>
                <a:gd name="connsiteX220" fmla="*/ 88435 w 108157"/>
                <a:gd name="connsiteY220" fmla="*/ 74438 h 171780"/>
                <a:gd name="connsiteX221" fmla="*/ 89071 w 108157"/>
                <a:gd name="connsiteY221" fmla="*/ 74120 h 171780"/>
                <a:gd name="connsiteX222" fmla="*/ 90026 w 108157"/>
                <a:gd name="connsiteY222" fmla="*/ 74756 h 171780"/>
                <a:gd name="connsiteX223" fmla="*/ 90980 w 108157"/>
                <a:gd name="connsiteY223" fmla="*/ 77937 h 171780"/>
                <a:gd name="connsiteX224" fmla="*/ 90980 w 108157"/>
                <a:gd name="connsiteY224" fmla="*/ 78256 h 171780"/>
                <a:gd name="connsiteX225" fmla="*/ 90662 w 108157"/>
                <a:gd name="connsiteY225" fmla="*/ 78892 h 171780"/>
                <a:gd name="connsiteX226" fmla="*/ 90026 w 108157"/>
                <a:gd name="connsiteY226" fmla="*/ 79846 h 171780"/>
                <a:gd name="connsiteX227" fmla="*/ 90344 w 108157"/>
                <a:gd name="connsiteY227" fmla="*/ 80482 h 171780"/>
                <a:gd name="connsiteX228" fmla="*/ 90026 w 108157"/>
                <a:gd name="connsiteY228" fmla="*/ 80800 h 171780"/>
                <a:gd name="connsiteX229" fmla="*/ 90026 w 108157"/>
                <a:gd name="connsiteY229" fmla="*/ 81119 h 171780"/>
                <a:gd name="connsiteX230" fmla="*/ 90344 w 108157"/>
                <a:gd name="connsiteY230" fmla="*/ 82073 h 171780"/>
                <a:gd name="connsiteX231" fmla="*/ 90344 w 108157"/>
                <a:gd name="connsiteY231" fmla="*/ 83027 h 171780"/>
                <a:gd name="connsiteX232" fmla="*/ 89708 w 108157"/>
                <a:gd name="connsiteY232" fmla="*/ 85254 h 171780"/>
                <a:gd name="connsiteX233" fmla="*/ 89071 w 108157"/>
                <a:gd name="connsiteY233" fmla="*/ 85890 h 171780"/>
                <a:gd name="connsiteX234" fmla="*/ 88117 w 108157"/>
                <a:gd name="connsiteY234" fmla="*/ 85572 h 171780"/>
                <a:gd name="connsiteX235" fmla="*/ 87163 w 108157"/>
                <a:gd name="connsiteY235" fmla="*/ 84936 h 171780"/>
                <a:gd name="connsiteX236" fmla="*/ 86208 w 108157"/>
                <a:gd name="connsiteY236" fmla="*/ 83982 h 171780"/>
                <a:gd name="connsiteX237" fmla="*/ 84936 w 108157"/>
                <a:gd name="connsiteY237" fmla="*/ 82709 h 171780"/>
                <a:gd name="connsiteX238" fmla="*/ 84618 w 108157"/>
                <a:gd name="connsiteY238" fmla="*/ 82709 h 171780"/>
                <a:gd name="connsiteX239" fmla="*/ 83982 w 108157"/>
                <a:gd name="connsiteY239" fmla="*/ 83027 h 171780"/>
                <a:gd name="connsiteX240" fmla="*/ 84300 w 108157"/>
                <a:gd name="connsiteY240" fmla="*/ 83345 h 171780"/>
                <a:gd name="connsiteX241" fmla="*/ 84936 w 108157"/>
                <a:gd name="connsiteY241" fmla="*/ 83663 h 171780"/>
                <a:gd name="connsiteX242" fmla="*/ 84936 w 108157"/>
                <a:gd name="connsiteY242" fmla="*/ 84618 h 171780"/>
                <a:gd name="connsiteX243" fmla="*/ 85572 w 108157"/>
                <a:gd name="connsiteY243" fmla="*/ 85890 h 171780"/>
                <a:gd name="connsiteX244" fmla="*/ 85890 w 108157"/>
                <a:gd name="connsiteY244" fmla="*/ 86526 h 171780"/>
                <a:gd name="connsiteX245" fmla="*/ 84618 w 108157"/>
                <a:gd name="connsiteY245" fmla="*/ 86845 h 171780"/>
                <a:gd name="connsiteX246" fmla="*/ 84300 w 108157"/>
                <a:gd name="connsiteY246" fmla="*/ 86526 h 171780"/>
                <a:gd name="connsiteX247" fmla="*/ 84300 w 108157"/>
                <a:gd name="connsiteY247" fmla="*/ 85890 h 171780"/>
                <a:gd name="connsiteX248" fmla="*/ 83982 w 108157"/>
                <a:gd name="connsiteY248" fmla="*/ 85254 h 171780"/>
                <a:gd name="connsiteX249" fmla="*/ 83663 w 108157"/>
                <a:gd name="connsiteY249" fmla="*/ 85254 h 171780"/>
                <a:gd name="connsiteX250" fmla="*/ 83345 w 108157"/>
                <a:gd name="connsiteY250" fmla="*/ 85572 h 171780"/>
                <a:gd name="connsiteX251" fmla="*/ 83027 w 108157"/>
                <a:gd name="connsiteY251" fmla="*/ 85890 h 171780"/>
                <a:gd name="connsiteX252" fmla="*/ 82391 w 108157"/>
                <a:gd name="connsiteY252" fmla="*/ 86208 h 171780"/>
                <a:gd name="connsiteX253" fmla="*/ 81755 w 108157"/>
                <a:gd name="connsiteY253" fmla="*/ 85254 h 171780"/>
                <a:gd name="connsiteX254" fmla="*/ 80800 w 108157"/>
                <a:gd name="connsiteY254" fmla="*/ 85890 h 171780"/>
                <a:gd name="connsiteX255" fmla="*/ 81119 w 108157"/>
                <a:gd name="connsiteY255" fmla="*/ 86526 h 171780"/>
                <a:gd name="connsiteX256" fmla="*/ 83345 w 108157"/>
                <a:gd name="connsiteY256" fmla="*/ 88117 h 171780"/>
                <a:gd name="connsiteX257" fmla="*/ 83663 w 108157"/>
                <a:gd name="connsiteY257" fmla="*/ 88435 h 171780"/>
                <a:gd name="connsiteX258" fmla="*/ 84618 w 108157"/>
                <a:gd name="connsiteY258" fmla="*/ 88117 h 171780"/>
                <a:gd name="connsiteX259" fmla="*/ 85254 w 108157"/>
                <a:gd name="connsiteY259" fmla="*/ 87799 h 171780"/>
                <a:gd name="connsiteX260" fmla="*/ 87163 w 108157"/>
                <a:gd name="connsiteY260" fmla="*/ 89708 h 171780"/>
                <a:gd name="connsiteX261" fmla="*/ 86526 w 108157"/>
                <a:gd name="connsiteY261" fmla="*/ 89708 h 171780"/>
                <a:gd name="connsiteX262" fmla="*/ 85572 w 108157"/>
                <a:gd name="connsiteY262" fmla="*/ 90344 h 171780"/>
                <a:gd name="connsiteX263" fmla="*/ 84618 w 108157"/>
                <a:gd name="connsiteY263" fmla="*/ 90344 h 171780"/>
                <a:gd name="connsiteX264" fmla="*/ 83663 w 108157"/>
                <a:gd name="connsiteY264" fmla="*/ 90980 h 171780"/>
                <a:gd name="connsiteX265" fmla="*/ 82073 w 108157"/>
                <a:gd name="connsiteY265" fmla="*/ 91934 h 171780"/>
                <a:gd name="connsiteX266" fmla="*/ 81755 w 108157"/>
                <a:gd name="connsiteY266" fmla="*/ 92252 h 171780"/>
                <a:gd name="connsiteX267" fmla="*/ 82709 w 108157"/>
                <a:gd name="connsiteY267" fmla="*/ 93525 h 171780"/>
                <a:gd name="connsiteX268" fmla="*/ 83982 w 108157"/>
                <a:gd name="connsiteY268" fmla="*/ 94479 h 171780"/>
                <a:gd name="connsiteX269" fmla="*/ 87163 w 108157"/>
                <a:gd name="connsiteY269" fmla="*/ 95115 h 171780"/>
                <a:gd name="connsiteX270" fmla="*/ 88117 w 108157"/>
                <a:gd name="connsiteY270" fmla="*/ 97024 h 171780"/>
                <a:gd name="connsiteX271" fmla="*/ 88435 w 108157"/>
                <a:gd name="connsiteY271" fmla="*/ 97342 h 171780"/>
                <a:gd name="connsiteX272" fmla="*/ 88435 w 108157"/>
                <a:gd name="connsiteY272" fmla="*/ 97978 h 171780"/>
                <a:gd name="connsiteX273" fmla="*/ 88117 w 108157"/>
                <a:gd name="connsiteY273" fmla="*/ 99569 h 171780"/>
                <a:gd name="connsiteX274" fmla="*/ 87481 w 108157"/>
                <a:gd name="connsiteY274" fmla="*/ 100841 h 171780"/>
                <a:gd name="connsiteX275" fmla="*/ 87481 w 108157"/>
                <a:gd name="connsiteY275" fmla="*/ 104341 h 171780"/>
                <a:gd name="connsiteX276" fmla="*/ 87163 w 108157"/>
                <a:gd name="connsiteY276" fmla="*/ 107204 h 171780"/>
                <a:gd name="connsiteX277" fmla="*/ 87481 w 108157"/>
                <a:gd name="connsiteY277" fmla="*/ 108476 h 171780"/>
                <a:gd name="connsiteX278" fmla="*/ 87163 w 108157"/>
                <a:gd name="connsiteY278" fmla="*/ 109749 h 171780"/>
                <a:gd name="connsiteX279" fmla="*/ 86526 w 108157"/>
                <a:gd name="connsiteY279" fmla="*/ 111339 h 171780"/>
                <a:gd name="connsiteX280" fmla="*/ 87163 w 108157"/>
                <a:gd name="connsiteY280" fmla="*/ 112612 h 171780"/>
                <a:gd name="connsiteX281" fmla="*/ 86844 w 108157"/>
                <a:gd name="connsiteY281" fmla="*/ 116747 h 171780"/>
                <a:gd name="connsiteX282" fmla="*/ 86526 w 108157"/>
                <a:gd name="connsiteY282" fmla="*/ 112612 h 171780"/>
                <a:gd name="connsiteX283" fmla="*/ 86208 w 108157"/>
                <a:gd name="connsiteY283" fmla="*/ 112293 h 171780"/>
                <a:gd name="connsiteX284" fmla="*/ 85890 w 108157"/>
                <a:gd name="connsiteY284" fmla="*/ 111975 h 171780"/>
                <a:gd name="connsiteX285" fmla="*/ 84936 w 108157"/>
                <a:gd name="connsiteY285" fmla="*/ 111339 h 171780"/>
                <a:gd name="connsiteX286" fmla="*/ 84300 w 108157"/>
                <a:gd name="connsiteY286" fmla="*/ 111975 h 171780"/>
                <a:gd name="connsiteX287" fmla="*/ 83663 w 108157"/>
                <a:gd name="connsiteY287" fmla="*/ 118019 h 171780"/>
                <a:gd name="connsiteX288" fmla="*/ 83345 w 108157"/>
                <a:gd name="connsiteY288" fmla="*/ 112612 h 171780"/>
                <a:gd name="connsiteX289" fmla="*/ 82709 w 108157"/>
                <a:gd name="connsiteY289" fmla="*/ 112293 h 171780"/>
                <a:gd name="connsiteX290" fmla="*/ 83027 w 108157"/>
                <a:gd name="connsiteY290" fmla="*/ 115793 h 171780"/>
                <a:gd name="connsiteX291" fmla="*/ 80164 w 108157"/>
                <a:gd name="connsiteY291" fmla="*/ 141878 h 171780"/>
                <a:gd name="connsiteX292" fmla="*/ 79846 w 108157"/>
                <a:gd name="connsiteY292" fmla="*/ 143468 h 171780"/>
                <a:gd name="connsiteX293" fmla="*/ 80800 w 108157"/>
                <a:gd name="connsiteY293" fmla="*/ 144105 h 171780"/>
                <a:gd name="connsiteX294" fmla="*/ 81119 w 108157"/>
                <a:gd name="connsiteY294" fmla="*/ 143787 h 171780"/>
                <a:gd name="connsiteX295" fmla="*/ 81755 w 108157"/>
                <a:gd name="connsiteY295" fmla="*/ 142514 h 171780"/>
                <a:gd name="connsiteX296" fmla="*/ 82391 w 108157"/>
                <a:gd name="connsiteY296" fmla="*/ 141560 h 171780"/>
                <a:gd name="connsiteX297" fmla="*/ 83663 w 108157"/>
                <a:gd name="connsiteY297" fmla="*/ 141878 h 171780"/>
                <a:gd name="connsiteX298" fmla="*/ 84618 w 108157"/>
                <a:gd name="connsiteY298" fmla="*/ 142832 h 171780"/>
                <a:gd name="connsiteX299" fmla="*/ 84936 w 108157"/>
                <a:gd name="connsiteY299" fmla="*/ 144423 h 171780"/>
                <a:gd name="connsiteX300" fmla="*/ 85254 w 108157"/>
                <a:gd name="connsiteY300" fmla="*/ 152376 h 171780"/>
                <a:gd name="connsiteX301" fmla="*/ 85254 w 108157"/>
                <a:gd name="connsiteY301" fmla="*/ 153330 h 171780"/>
                <a:gd name="connsiteX302" fmla="*/ 84300 w 108157"/>
                <a:gd name="connsiteY302" fmla="*/ 154284 h 171780"/>
                <a:gd name="connsiteX303" fmla="*/ 83982 w 108157"/>
                <a:gd name="connsiteY303" fmla="*/ 153330 h 171780"/>
                <a:gd name="connsiteX304" fmla="*/ 83982 w 108157"/>
                <a:gd name="connsiteY304" fmla="*/ 151421 h 171780"/>
                <a:gd name="connsiteX305" fmla="*/ 83345 w 108157"/>
                <a:gd name="connsiteY305" fmla="*/ 151103 h 171780"/>
                <a:gd name="connsiteX306" fmla="*/ 83027 w 108157"/>
                <a:gd name="connsiteY306" fmla="*/ 151421 h 171780"/>
                <a:gd name="connsiteX307" fmla="*/ 82073 w 108157"/>
                <a:gd name="connsiteY307" fmla="*/ 155557 h 171780"/>
                <a:gd name="connsiteX308" fmla="*/ 82391 w 108157"/>
                <a:gd name="connsiteY308" fmla="*/ 155875 h 171780"/>
                <a:gd name="connsiteX309" fmla="*/ 83027 w 108157"/>
                <a:gd name="connsiteY309" fmla="*/ 155875 h 171780"/>
                <a:gd name="connsiteX310" fmla="*/ 83982 w 108157"/>
                <a:gd name="connsiteY310" fmla="*/ 155557 h 171780"/>
                <a:gd name="connsiteX311" fmla="*/ 84618 w 108157"/>
                <a:gd name="connsiteY311" fmla="*/ 154920 h 171780"/>
                <a:gd name="connsiteX312" fmla="*/ 85254 w 108157"/>
                <a:gd name="connsiteY312" fmla="*/ 154920 h 171780"/>
                <a:gd name="connsiteX313" fmla="*/ 82391 w 108157"/>
                <a:gd name="connsiteY313" fmla="*/ 165736 h 171780"/>
                <a:gd name="connsiteX314" fmla="*/ 82709 w 108157"/>
                <a:gd name="connsiteY314" fmla="*/ 167645 h 171780"/>
                <a:gd name="connsiteX315" fmla="*/ 82709 w 108157"/>
                <a:gd name="connsiteY315" fmla="*/ 167963 h 171780"/>
                <a:gd name="connsiteX316" fmla="*/ 81755 w 108157"/>
                <a:gd name="connsiteY316" fmla="*/ 168917 h 171780"/>
                <a:gd name="connsiteX317" fmla="*/ 76983 w 108157"/>
                <a:gd name="connsiteY317" fmla="*/ 175916 h 171780"/>
                <a:gd name="connsiteX318" fmla="*/ 76347 w 108157"/>
                <a:gd name="connsiteY318" fmla="*/ 175916 h 171780"/>
                <a:gd name="connsiteX319" fmla="*/ 76029 w 108157"/>
                <a:gd name="connsiteY319" fmla="*/ 174007 h 171780"/>
                <a:gd name="connsiteX320" fmla="*/ 75711 w 108157"/>
                <a:gd name="connsiteY320" fmla="*/ 169235 h 171780"/>
                <a:gd name="connsiteX321" fmla="*/ 75711 w 108157"/>
                <a:gd name="connsiteY321" fmla="*/ 162555 h 171780"/>
                <a:gd name="connsiteX322" fmla="*/ 75393 w 108157"/>
                <a:gd name="connsiteY322" fmla="*/ 161919 h 171780"/>
                <a:gd name="connsiteX323" fmla="*/ 73484 w 108157"/>
                <a:gd name="connsiteY323" fmla="*/ 167645 h 171780"/>
                <a:gd name="connsiteX324" fmla="*/ 73166 w 108157"/>
                <a:gd name="connsiteY324" fmla="*/ 167327 h 171780"/>
                <a:gd name="connsiteX325" fmla="*/ 72529 w 108157"/>
                <a:gd name="connsiteY325" fmla="*/ 167009 h 171780"/>
                <a:gd name="connsiteX326" fmla="*/ 70303 w 108157"/>
                <a:gd name="connsiteY326" fmla="*/ 167009 h 171780"/>
                <a:gd name="connsiteX327" fmla="*/ 67440 w 108157"/>
                <a:gd name="connsiteY327" fmla="*/ 168917 h 171780"/>
                <a:gd name="connsiteX328" fmla="*/ 65213 w 108157"/>
                <a:gd name="connsiteY328" fmla="*/ 158420 h 171780"/>
                <a:gd name="connsiteX329" fmla="*/ 64895 w 108157"/>
                <a:gd name="connsiteY329" fmla="*/ 156511 h 171780"/>
                <a:gd name="connsiteX330" fmla="*/ 65213 w 108157"/>
                <a:gd name="connsiteY330" fmla="*/ 155557 h 171780"/>
                <a:gd name="connsiteX331" fmla="*/ 65213 w 108157"/>
                <a:gd name="connsiteY331" fmla="*/ 154602 h 171780"/>
                <a:gd name="connsiteX332" fmla="*/ 0 w 108157"/>
                <a:gd name="connsiteY332" fmla="*/ 103704 h 171780"/>
                <a:gd name="connsiteX333" fmla="*/ 318 w 108157"/>
                <a:gd name="connsiteY333" fmla="*/ 103386 h 171780"/>
                <a:gd name="connsiteX334" fmla="*/ 636 w 108157"/>
                <a:gd name="connsiteY334" fmla="*/ 103704 h 171780"/>
                <a:gd name="connsiteX335" fmla="*/ 636 w 108157"/>
                <a:gd name="connsiteY335" fmla="*/ 105931 h 171780"/>
                <a:gd name="connsiteX336" fmla="*/ 0 w 108157"/>
                <a:gd name="connsiteY336" fmla="*/ 104341 h 171780"/>
                <a:gd name="connsiteX337" fmla="*/ 0 w 108157"/>
                <a:gd name="connsiteY337" fmla="*/ 103704 h 171780"/>
                <a:gd name="connsiteX338" fmla="*/ 49944 w 108157"/>
                <a:gd name="connsiteY338" fmla="*/ 43263 h 171780"/>
                <a:gd name="connsiteX339" fmla="*/ 49307 w 108157"/>
                <a:gd name="connsiteY339" fmla="*/ 44536 h 171780"/>
                <a:gd name="connsiteX340" fmla="*/ 49625 w 108157"/>
                <a:gd name="connsiteY340" fmla="*/ 44854 h 171780"/>
                <a:gd name="connsiteX341" fmla="*/ 49625 w 108157"/>
                <a:gd name="connsiteY341" fmla="*/ 45490 h 171780"/>
                <a:gd name="connsiteX342" fmla="*/ 48035 w 108157"/>
                <a:gd name="connsiteY342" fmla="*/ 47399 h 171780"/>
                <a:gd name="connsiteX343" fmla="*/ 44854 w 108157"/>
                <a:gd name="connsiteY343" fmla="*/ 50262 h 171780"/>
                <a:gd name="connsiteX344" fmla="*/ 44854 w 108157"/>
                <a:gd name="connsiteY344" fmla="*/ 50898 h 171780"/>
                <a:gd name="connsiteX345" fmla="*/ 42945 w 108157"/>
                <a:gd name="connsiteY345" fmla="*/ 52488 h 171780"/>
                <a:gd name="connsiteX346" fmla="*/ 41673 w 108157"/>
                <a:gd name="connsiteY346" fmla="*/ 54715 h 171780"/>
                <a:gd name="connsiteX347" fmla="*/ 39764 w 108157"/>
                <a:gd name="connsiteY347" fmla="*/ 57260 h 171780"/>
                <a:gd name="connsiteX348" fmla="*/ 39446 w 108157"/>
                <a:gd name="connsiteY348" fmla="*/ 57260 h 171780"/>
                <a:gd name="connsiteX349" fmla="*/ 39446 w 108157"/>
                <a:gd name="connsiteY349" fmla="*/ 57578 h 171780"/>
                <a:gd name="connsiteX350" fmla="*/ 37537 w 108157"/>
                <a:gd name="connsiteY350" fmla="*/ 61077 h 171780"/>
                <a:gd name="connsiteX351" fmla="*/ 36901 w 108157"/>
                <a:gd name="connsiteY351" fmla="*/ 62032 h 171780"/>
                <a:gd name="connsiteX352" fmla="*/ 36901 w 108157"/>
                <a:gd name="connsiteY352" fmla="*/ 62350 h 171780"/>
                <a:gd name="connsiteX353" fmla="*/ 35947 w 108157"/>
                <a:gd name="connsiteY353" fmla="*/ 62986 h 171780"/>
                <a:gd name="connsiteX354" fmla="*/ 34038 w 108157"/>
                <a:gd name="connsiteY354" fmla="*/ 65849 h 171780"/>
                <a:gd name="connsiteX355" fmla="*/ 33720 w 108157"/>
                <a:gd name="connsiteY355" fmla="*/ 66167 h 171780"/>
                <a:gd name="connsiteX356" fmla="*/ 33720 w 108157"/>
                <a:gd name="connsiteY356" fmla="*/ 65849 h 171780"/>
                <a:gd name="connsiteX357" fmla="*/ 32447 w 108157"/>
                <a:gd name="connsiteY357" fmla="*/ 64895 h 171780"/>
                <a:gd name="connsiteX358" fmla="*/ 31811 w 108157"/>
                <a:gd name="connsiteY358" fmla="*/ 64895 h 171780"/>
                <a:gd name="connsiteX359" fmla="*/ 30857 w 108157"/>
                <a:gd name="connsiteY359" fmla="*/ 66167 h 171780"/>
                <a:gd name="connsiteX360" fmla="*/ 31175 w 108157"/>
                <a:gd name="connsiteY360" fmla="*/ 67122 h 171780"/>
                <a:gd name="connsiteX361" fmla="*/ 32129 w 108157"/>
                <a:gd name="connsiteY361" fmla="*/ 67122 h 171780"/>
                <a:gd name="connsiteX362" fmla="*/ 32765 w 108157"/>
                <a:gd name="connsiteY362" fmla="*/ 66803 h 171780"/>
                <a:gd name="connsiteX363" fmla="*/ 32765 w 108157"/>
                <a:gd name="connsiteY363" fmla="*/ 67122 h 171780"/>
                <a:gd name="connsiteX364" fmla="*/ 33084 w 108157"/>
                <a:gd name="connsiteY364" fmla="*/ 69985 h 171780"/>
                <a:gd name="connsiteX365" fmla="*/ 32765 w 108157"/>
                <a:gd name="connsiteY365" fmla="*/ 70303 h 171780"/>
                <a:gd name="connsiteX366" fmla="*/ 31811 w 108157"/>
                <a:gd name="connsiteY366" fmla="*/ 69985 h 171780"/>
                <a:gd name="connsiteX367" fmla="*/ 31493 w 108157"/>
                <a:gd name="connsiteY367" fmla="*/ 70621 h 171780"/>
                <a:gd name="connsiteX368" fmla="*/ 30857 w 108157"/>
                <a:gd name="connsiteY368" fmla="*/ 71893 h 171780"/>
                <a:gd name="connsiteX369" fmla="*/ 29584 w 108157"/>
                <a:gd name="connsiteY369" fmla="*/ 72848 h 171780"/>
                <a:gd name="connsiteX370" fmla="*/ 28948 w 108157"/>
                <a:gd name="connsiteY370" fmla="*/ 72848 h 171780"/>
                <a:gd name="connsiteX371" fmla="*/ 28312 w 108157"/>
                <a:gd name="connsiteY371" fmla="*/ 73166 h 171780"/>
                <a:gd name="connsiteX372" fmla="*/ 28630 w 108157"/>
                <a:gd name="connsiteY372" fmla="*/ 73484 h 171780"/>
                <a:gd name="connsiteX373" fmla="*/ 29584 w 108157"/>
                <a:gd name="connsiteY373" fmla="*/ 75074 h 171780"/>
                <a:gd name="connsiteX374" fmla="*/ 30539 w 108157"/>
                <a:gd name="connsiteY374" fmla="*/ 75074 h 171780"/>
                <a:gd name="connsiteX375" fmla="*/ 29266 w 108157"/>
                <a:gd name="connsiteY375" fmla="*/ 76665 h 171780"/>
                <a:gd name="connsiteX376" fmla="*/ 28312 w 108157"/>
                <a:gd name="connsiteY376" fmla="*/ 77301 h 171780"/>
                <a:gd name="connsiteX377" fmla="*/ 27994 w 108157"/>
                <a:gd name="connsiteY377" fmla="*/ 79528 h 171780"/>
                <a:gd name="connsiteX378" fmla="*/ 27040 w 108157"/>
                <a:gd name="connsiteY378" fmla="*/ 81437 h 171780"/>
                <a:gd name="connsiteX379" fmla="*/ 26403 w 108157"/>
                <a:gd name="connsiteY379" fmla="*/ 83982 h 171780"/>
                <a:gd name="connsiteX380" fmla="*/ 26721 w 108157"/>
                <a:gd name="connsiteY380" fmla="*/ 84618 h 171780"/>
                <a:gd name="connsiteX381" fmla="*/ 27040 w 108157"/>
                <a:gd name="connsiteY381" fmla="*/ 85572 h 171780"/>
                <a:gd name="connsiteX382" fmla="*/ 26403 w 108157"/>
                <a:gd name="connsiteY382" fmla="*/ 86845 h 171780"/>
                <a:gd name="connsiteX383" fmla="*/ 24495 w 108157"/>
                <a:gd name="connsiteY383" fmla="*/ 89389 h 171780"/>
                <a:gd name="connsiteX384" fmla="*/ 22586 w 108157"/>
                <a:gd name="connsiteY384" fmla="*/ 91934 h 171780"/>
                <a:gd name="connsiteX385" fmla="*/ 22586 w 108157"/>
                <a:gd name="connsiteY385" fmla="*/ 92571 h 171780"/>
                <a:gd name="connsiteX386" fmla="*/ 21950 w 108157"/>
                <a:gd name="connsiteY386" fmla="*/ 98615 h 171780"/>
                <a:gd name="connsiteX387" fmla="*/ 22268 w 108157"/>
                <a:gd name="connsiteY387" fmla="*/ 99887 h 171780"/>
                <a:gd name="connsiteX388" fmla="*/ 22268 w 108157"/>
                <a:gd name="connsiteY388" fmla="*/ 100841 h 171780"/>
                <a:gd name="connsiteX389" fmla="*/ 21950 w 108157"/>
                <a:gd name="connsiteY389" fmla="*/ 102114 h 171780"/>
                <a:gd name="connsiteX390" fmla="*/ 22268 w 108157"/>
                <a:gd name="connsiteY390" fmla="*/ 103704 h 171780"/>
                <a:gd name="connsiteX391" fmla="*/ 22586 w 108157"/>
                <a:gd name="connsiteY391" fmla="*/ 104659 h 171780"/>
                <a:gd name="connsiteX392" fmla="*/ 22268 w 108157"/>
                <a:gd name="connsiteY392" fmla="*/ 105613 h 171780"/>
                <a:gd name="connsiteX393" fmla="*/ 22268 w 108157"/>
                <a:gd name="connsiteY393" fmla="*/ 107204 h 171780"/>
                <a:gd name="connsiteX394" fmla="*/ 22904 w 108157"/>
                <a:gd name="connsiteY394" fmla="*/ 112930 h 171780"/>
                <a:gd name="connsiteX395" fmla="*/ 23540 w 108157"/>
                <a:gd name="connsiteY395" fmla="*/ 114202 h 171780"/>
                <a:gd name="connsiteX396" fmla="*/ 25131 w 108157"/>
                <a:gd name="connsiteY396" fmla="*/ 115793 h 171780"/>
                <a:gd name="connsiteX397" fmla="*/ 26721 w 108157"/>
                <a:gd name="connsiteY397" fmla="*/ 115156 h 171780"/>
                <a:gd name="connsiteX398" fmla="*/ 28312 w 108157"/>
                <a:gd name="connsiteY398" fmla="*/ 114202 h 171780"/>
                <a:gd name="connsiteX399" fmla="*/ 30857 w 108157"/>
                <a:gd name="connsiteY399" fmla="*/ 111975 h 171780"/>
                <a:gd name="connsiteX400" fmla="*/ 34038 w 108157"/>
                <a:gd name="connsiteY400" fmla="*/ 107840 h 171780"/>
                <a:gd name="connsiteX401" fmla="*/ 34992 w 108157"/>
                <a:gd name="connsiteY401" fmla="*/ 107204 h 171780"/>
                <a:gd name="connsiteX402" fmla="*/ 38810 w 108157"/>
                <a:gd name="connsiteY402" fmla="*/ 103386 h 171780"/>
                <a:gd name="connsiteX403" fmla="*/ 40718 w 108157"/>
                <a:gd name="connsiteY403" fmla="*/ 101478 h 171780"/>
                <a:gd name="connsiteX404" fmla="*/ 44854 w 108157"/>
                <a:gd name="connsiteY404" fmla="*/ 96706 h 171780"/>
                <a:gd name="connsiteX405" fmla="*/ 48353 w 108157"/>
                <a:gd name="connsiteY405" fmla="*/ 92252 h 171780"/>
                <a:gd name="connsiteX406" fmla="*/ 50898 w 108157"/>
                <a:gd name="connsiteY406" fmla="*/ 88753 h 171780"/>
                <a:gd name="connsiteX407" fmla="*/ 51534 w 108157"/>
                <a:gd name="connsiteY407" fmla="*/ 87481 h 171780"/>
                <a:gd name="connsiteX408" fmla="*/ 53761 w 108157"/>
                <a:gd name="connsiteY408" fmla="*/ 84936 h 171780"/>
                <a:gd name="connsiteX409" fmla="*/ 54715 w 108157"/>
                <a:gd name="connsiteY409" fmla="*/ 83663 h 171780"/>
                <a:gd name="connsiteX410" fmla="*/ 58214 w 108157"/>
                <a:gd name="connsiteY410" fmla="*/ 79846 h 171780"/>
                <a:gd name="connsiteX411" fmla="*/ 58533 w 108157"/>
                <a:gd name="connsiteY411" fmla="*/ 78574 h 171780"/>
                <a:gd name="connsiteX412" fmla="*/ 59487 w 108157"/>
                <a:gd name="connsiteY412" fmla="*/ 76983 h 171780"/>
                <a:gd name="connsiteX413" fmla="*/ 62032 w 108157"/>
                <a:gd name="connsiteY413" fmla="*/ 73166 h 171780"/>
                <a:gd name="connsiteX414" fmla="*/ 63622 w 108157"/>
                <a:gd name="connsiteY414" fmla="*/ 71575 h 171780"/>
                <a:gd name="connsiteX415" fmla="*/ 63940 w 108157"/>
                <a:gd name="connsiteY415" fmla="*/ 71575 h 171780"/>
                <a:gd name="connsiteX416" fmla="*/ 64259 w 108157"/>
                <a:gd name="connsiteY416" fmla="*/ 70939 h 171780"/>
                <a:gd name="connsiteX417" fmla="*/ 64259 w 108157"/>
                <a:gd name="connsiteY417" fmla="*/ 70621 h 171780"/>
                <a:gd name="connsiteX418" fmla="*/ 64577 w 108157"/>
                <a:gd name="connsiteY418" fmla="*/ 69666 h 171780"/>
                <a:gd name="connsiteX419" fmla="*/ 65213 w 108157"/>
                <a:gd name="connsiteY419" fmla="*/ 68394 h 171780"/>
                <a:gd name="connsiteX420" fmla="*/ 67122 w 108157"/>
                <a:gd name="connsiteY420" fmla="*/ 66803 h 171780"/>
                <a:gd name="connsiteX421" fmla="*/ 69030 w 108157"/>
                <a:gd name="connsiteY421" fmla="*/ 65213 h 171780"/>
                <a:gd name="connsiteX422" fmla="*/ 69348 w 108157"/>
                <a:gd name="connsiteY422" fmla="*/ 64577 h 171780"/>
                <a:gd name="connsiteX423" fmla="*/ 69030 w 108157"/>
                <a:gd name="connsiteY423" fmla="*/ 63304 h 171780"/>
                <a:gd name="connsiteX424" fmla="*/ 68076 w 108157"/>
                <a:gd name="connsiteY424" fmla="*/ 61396 h 171780"/>
                <a:gd name="connsiteX425" fmla="*/ 69030 w 108157"/>
                <a:gd name="connsiteY425" fmla="*/ 59487 h 171780"/>
                <a:gd name="connsiteX426" fmla="*/ 70303 w 108157"/>
                <a:gd name="connsiteY426" fmla="*/ 57896 h 171780"/>
                <a:gd name="connsiteX427" fmla="*/ 70939 w 108157"/>
                <a:gd name="connsiteY427" fmla="*/ 57260 h 171780"/>
                <a:gd name="connsiteX428" fmla="*/ 71575 w 108157"/>
                <a:gd name="connsiteY428" fmla="*/ 57260 h 171780"/>
                <a:gd name="connsiteX429" fmla="*/ 72848 w 108157"/>
                <a:gd name="connsiteY429" fmla="*/ 55988 h 171780"/>
                <a:gd name="connsiteX430" fmla="*/ 73166 w 108157"/>
                <a:gd name="connsiteY430" fmla="*/ 55988 h 171780"/>
                <a:gd name="connsiteX431" fmla="*/ 73802 w 108157"/>
                <a:gd name="connsiteY431" fmla="*/ 55351 h 171780"/>
                <a:gd name="connsiteX432" fmla="*/ 75074 w 108157"/>
                <a:gd name="connsiteY432" fmla="*/ 51852 h 171780"/>
                <a:gd name="connsiteX433" fmla="*/ 75711 w 108157"/>
                <a:gd name="connsiteY433" fmla="*/ 49307 h 171780"/>
                <a:gd name="connsiteX434" fmla="*/ 75711 w 108157"/>
                <a:gd name="connsiteY434" fmla="*/ 48989 h 171780"/>
                <a:gd name="connsiteX435" fmla="*/ 75393 w 108157"/>
                <a:gd name="connsiteY435" fmla="*/ 48671 h 171780"/>
                <a:gd name="connsiteX436" fmla="*/ 75711 w 108157"/>
                <a:gd name="connsiteY436" fmla="*/ 48035 h 171780"/>
                <a:gd name="connsiteX437" fmla="*/ 76029 w 108157"/>
                <a:gd name="connsiteY437" fmla="*/ 47399 h 171780"/>
                <a:gd name="connsiteX438" fmla="*/ 75711 w 108157"/>
                <a:gd name="connsiteY438" fmla="*/ 46762 h 171780"/>
                <a:gd name="connsiteX439" fmla="*/ 75393 w 108157"/>
                <a:gd name="connsiteY439" fmla="*/ 46444 h 171780"/>
                <a:gd name="connsiteX440" fmla="*/ 75711 w 108157"/>
                <a:gd name="connsiteY440" fmla="*/ 45808 h 171780"/>
                <a:gd name="connsiteX441" fmla="*/ 75393 w 108157"/>
                <a:gd name="connsiteY441" fmla="*/ 44854 h 171780"/>
                <a:gd name="connsiteX442" fmla="*/ 72211 w 108157"/>
                <a:gd name="connsiteY442" fmla="*/ 41355 h 171780"/>
                <a:gd name="connsiteX443" fmla="*/ 70621 w 108157"/>
                <a:gd name="connsiteY443" fmla="*/ 39446 h 171780"/>
                <a:gd name="connsiteX444" fmla="*/ 69985 w 108157"/>
                <a:gd name="connsiteY444" fmla="*/ 37537 h 171780"/>
                <a:gd name="connsiteX445" fmla="*/ 68076 w 108157"/>
                <a:gd name="connsiteY445" fmla="*/ 35310 h 171780"/>
                <a:gd name="connsiteX446" fmla="*/ 66803 w 108157"/>
                <a:gd name="connsiteY446" fmla="*/ 34038 h 171780"/>
                <a:gd name="connsiteX447" fmla="*/ 62668 w 108157"/>
                <a:gd name="connsiteY447" fmla="*/ 31493 h 171780"/>
                <a:gd name="connsiteX448" fmla="*/ 61714 w 108157"/>
                <a:gd name="connsiteY448" fmla="*/ 31493 h 171780"/>
                <a:gd name="connsiteX449" fmla="*/ 60759 w 108157"/>
                <a:gd name="connsiteY449" fmla="*/ 31175 h 171780"/>
                <a:gd name="connsiteX450" fmla="*/ 59169 w 108157"/>
                <a:gd name="connsiteY450" fmla="*/ 31811 h 171780"/>
                <a:gd name="connsiteX451" fmla="*/ 56306 w 108157"/>
                <a:gd name="connsiteY451" fmla="*/ 33720 h 171780"/>
                <a:gd name="connsiteX452" fmla="*/ 55670 w 108157"/>
                <a:gd name="connsiteY452" fmla="*/ 34356 h 171780"/>
                <a:gd name="connsiteX453" fmla="*/ 55033 w 108157"/>
                <a:gd name="connsiteY453" fmla="*/ 35310 h 171780"/>
                <a:gd name="connsiteX454" fmla="*/ 53443 w 108157"/>
                <a:gd name="connsiteY454" fmla="*/ 37855 h 171780"/>
                <a:gd name="connsiteX455" fmla="*/ 53443 w 108157"/>
                <a:gd name="connsiteY455" fmla="*/ 38492 h 171780"/>
                <a:gd name="connsiteX456" fmla="*/ 51534 w 108157"/>
                <a:gd name="connsiteY456" fmla="*/ 41355 h 171780"/>
                <a:gd name="connsiteX457" fmla="*/ 51534 w 108157"/>
                <a:gd name="connsiteY457" fmla="*/ 41036 h 171780"/>
                <a:gd name="connsiteX458" fmla="*/ 50580 w 108157"/>
                <a:gd name="connsiteY458" fmla="*/ 39764 h 171780"/>
                <a:gd name="connsiteX459" fmla="*/ 50262 w 108157"/>
                <a:gd name="connsiteY459" fmla="*/ 40400 h 171780"/>
                <a:gd name="connsiteX460" fmla="*/ 51852 w 108157"/>
                <a:gd name="connsiteY460" fmla="*/ 41355 h 171780"/>
                <a:gd name="connsiteX461" fmla="*/ 49944 w 108157"/>
                <a:gd name="connsiteY461" fmla="*/ 43263 h 171780"/>
                <a:gd name="connsiteX462" fmla="*/ 33084 w 108157"/>
                <a:gd name="connsiteY462" fmla="*/ 64577 h 171780"/>
                <a:gd name="connsiteX463" fmla="*/ 33720 w 108157"/>
                <a:gd name="connsiteY463" fmla="*/ 63940 h 171780"/>
                <a:gd name="connsiteX464" fmla="*/ 33402 w 108157"/>
                <a:gd name="connsiteY464" fmla="*/ 62986 h 171780"/>
                <a:gd name="connsiteX465" fmla="*/ 32765 w 108157"/>
                <a:gd name="connsiteY465" fmla="*/ 63622 h 171780"/>
                <a:gd name="connsiteX466" fmla="*/ 33084 w 108157"/>
                <a:gd name="connsiteY466" fmla="*/ 64577 h 171780"/>
                <a:gd name="connsiteX467" fmla="*/ 63940 w 108157"/>
                <a:gd name="connsiteY467" fmla="*/ 108476 h 171780"/>
                <a:gd name="connsiteX468" fmla="*/ 63622 w 108157"/>
                <a:gd name="connsiteY468" fmla="*/ 108476 h 171780"/>
                <a:gd name="connsiteX469" fmla="*/ 62668 w 108157"/>
                <a:gd name="connsiteY469" fmla="*/ 107204 h 171780"/>
                <a:gd name="connsiteX470" fmla="*/ 62668 w 108157"/>
                <a:gd name="connsiteY470" fmla="*/ 106886 h 171780"/>
                <a:gd name="connsiteX471" fmla="*/ 62986 w 108157"/>
                <a:gd name="connsiteY471" fmla="*/ 106567 h 171780"/>
                <a:gd name="connsiteX472" fmla="*/ 63304 w 108157"/>
                <a:gd name="connsiteY472" fmla="*/ 106886 h 171780"/>
                <a:gd name="connsiteX473" fmla="*/ 63940 w 108157"/>
                <a:gd name="connsiteY473" fmla="*/ 107840 h 171780"/>
                <a:gd name="connsiteX474" fmla="*/ 63940 w 108157"/>
                <a:gd name="connsiteY474" fmla="*/ 108476 h 171780"/>
                <a:gd name="connsiteX475" fmla="*/ 77937 w 108157"/>
                <a:gd name="connsiteY475" fmla="*/ 101796 h 171780"/>
                <a:gd name="connsiteX476" fmla="*/ 77619 w 108157"/>
                <a:gd name="connsiteY476" fmla="*/ 100841 h 171780"/>
                <a:gd name="connsiteX477" fmla="*/ 77937 w 108157"/>
                <a:gd name="connsiteY477" fmla="*/ 100205 h 171780"/>
                <a:gd name="connsiteX478" fmla="*/ 77937 w 108157"/>
                <a:gd name="connsiteY478" fmla="*/ 98933 h 171780"/>
                <a:gd name="connsiteX479" fmla="*/ 77619 w 108157"/>
                <a:gd name="connsiteY479" fmla="*/ 97660 h 171780"/>
                <a:gd name="connsiteX480" fmla="*/ 77619 w 108157"/>
                <a:gd name="connsiteY480" fmla="*/ 96706 h 171780"/>
                <a:gd name="connsiteX481" fmla="*/ 76983 w 108157"/>
                <a:gd name="connsiteY481" fmla="*/ 97024 h 171780"/>
                <a:gd name="connsiteX482" fmla="*/ 76347 w 108157"/>
                <a:gd name="connsiteY482" fmla="*/ 98933 h 171780"/>
                <a:gd name="connsiteX483" fmla="*/ 76347 w 108157"/>
                <a:gd name="connsiteY483" fmla="*/ 99887 h 171780"/>
                <a:gd name="connsiteX484" fmla="*/ 77301 w 108157"/>
                <a:gd name="connsiteY484" fmla="*/ 101796 h 171780"/>
                <a:gd name="connsiteX485" fmla="*/ 77937 w 108157"/>
                <a:gd name="connsiteY485" fmla="*/ 102114 h 171780"/>
                <a:gd name="connsiteX486" fmla="*/ 77937 w 108157"/>
                <a:gd name="connsiteY486" fmla="*/ 101796 h 171780"/>
                <a:gd name="connsiteX487" fmla="*/ 78892 w 108157"/>
                <a:gd name="connsiteY487" fmla="*/ 91298 h 171780"/>
                <a:gd name="connsiteX488" fmla="*/ 78255 w 108157"/>
                <a:gd name="connsiteY488" fmla="*/ 93207 h 171780"/>
                <a:gd name="connsiteX489" fmla="*/ 78574 w 108157"/>
                <a:gd name="connsiteY489" fmla="*/ 94479 h 171780"/>
                <a:gd name="connsiteX490" fmla="*/ 78892 w 108157"/>
                <a:gd name="connsiteY490" fmla="*/ 95115 h 171780"/>
                <a:gd name="connsiteX491" fmla="*/ 78574 w 108157"/>
                <a:gd name="connsiteY491" fmla="*/ 96070 h 171780"/>
                <a:gd name="connsiteX492" fmla="*/ 78574 w 108157"/>
                <a:gd name="connsiteY492" fmla="*/ 96706 h 171780"/>
                <a:gd name="connsiteX493" fmla="*/ 79210 w 108157"/>
                <a:gd name="connsiteY493" fmla="*/ 97342 h 171780"/>
                <a:gd name="connsiteX494" fmla="*/ 79846 w 108157"/>
                <a:gd name="connsiteY494" fmla="*/ 97660 h 171780"/>
                <a:gd name="connsiteX495" fmla="*/ 80164 w 108157"/>
                <a:gd name="connsiteY495" fmla="*/ 97342 h 171780"/>
                <a:gd name="connsiteX496" fmla="*/ 79846 w 108157"/>
                <a:gd name="connsiteY496" fmla="*/ 96706 h 171780"/>
                <a:gd name="connsiteX497" fmla="*/ 79528 w 108157"/>
                <a:gd name="connsiteY497" fmla="*/ 96388 h 171780"/>
                <a:gd name="connsiteX498" fmla="*/ 79846 w 108157"/>
                <a:gd name="connsiteY498" fmla="*/ 93525 h 171780"/>
                <a:gd name="connsiteX499" fmla="*/ 80164 w 108157"/>
                <a:gd name="connsiteY499" fmla="*/ 92571 h 171780"/>
                <a:gd name="connsiteX500" fmla="*/ 80164 w 108157"/>
                <a:gd name="connsiteY500" fmla="*/ 91298 h 171780"/>
                <a:gd name="connsiteX501" fmla="*/ 78892 w 108157"/>
                <a:gd name="connsiteY501" fmla="*/ 90662 h 171780"/>
                <a:gd name="connsiteX502" fmla="*/ 79528 w 108157"/>
                <a:gd name="connsiteY502" fmla="*/ 89708 h 171780"/>
                <a:gd name="connsiteX503" fmla="*/ 79528 w 108157"/>
                <a:gd name="connsiteY503" fmla="*/ 89389 h 171780"/>
                <a:gd name="connsiteX504" fmla="*/ 78255 w 108157"/>
                <a:gd name="connsiteY504" fmla="*/ 90026 h 171780"/>
                <a:gd name="connsiteX505" fmla="*/ 78892 w 108157"/>
                <a:gd name="connsiteY505" fmla="*/ 90980 h 171780"/>
                <a:gd name="connsiteX506" fmla="*/ 78892 w 108157"/>
                <a:gd name="connsiteY506" fmla="*/ 91298 h 171780"/>
                <a:gd name="connsiteX507" fmla="*/ 79210 w 108157"/>
                <a:gd name="connsiteY507" fmla="*/ 84618 h 171780"/>
                <a:gd name="connsiteX508" fmla="*/ 79210 w 108157"/>
                <a:gd name="connsiteY508" fmla="*/ 84936 h 171780"/>
                <a:gd name="connsiteX509" fmla="*/ 79528 w 108157"/>
                <a:gd name="connsiteY509" fmla="*/ 84618 h 171780"/>
                <a:gd name="connsiteX510" fmla="*/ 79210 w 108157"/>
                <a:gd name="connsiteY510" fmla="*/ 84618 h 171780"/>
                <a:gd name="connsiteX511" fmla="*/ 81755 w 108157"/>
                <a:gd name="connsiteY511" fmla="*/ 101796 h 171780"/>
                <a:gd name="connsiteX512" fmla="*/ 83982 w 108157"/>
                <a:gd name="connsiteY512" fmla="*/ 102114 h 171780"/>
                <a:gd name="connsiteX513" fmla="*/ 84300 w 108157"/>
                <a:gd name="connsiteY513" fmla="*/ 102114 h 171780"/>
                <a:gd name="connsiteX514" fmla="*/ 84936 w 108157"/>
                <a:gd name="connsiteY514" fmla="*/ 100841 h 171780"/>
                <a:gd name="connsiteX515" fmla="*/ 84618 w 108157"/>
                <a:gd name="connsiteY515" fmla="*/ 100523 h 171780"/>
                <a:gd name="connsiteX516" fmla="*/ 83027 w 108157"/>
                <a:gd name="connsiteY516" fmla="*/ 101160 h 171780"/>
                <a:gd name="connsiteX517" fmla="*/ 82073 w 108157"/>
                <a:gd name="connsiteY517" fmla="*/ 100523 h 171780"/>
                <a:gd name="connsiteX518" fmla="*/ 82073 w 108157"/>
                <a:gd name="connsiteY518" fmla="*/ 99887 h 171780"/>
                <a:gd name="connsiteX519" fmla="*/ 81755 w 108157"/>
                <a:gd name="connsiteY519" fmla="*/ 99251 h 171780"/>
                <a:gd name="connsiteX520" fmla="*/ 79846 w 108157"/>
                <a:gd name="connsiteY520" fmla="*/ 98615 h 171780"/>
                <a:gd name="connsiteX521" fmla="*/ 79210 w 108157"/>
                <a:gd name="connsiteY521" fmla="*/ 98615 h 171780"/>
                <a:gd name="connsiteX522" fmla="*/ 80800 w 108157"/>
                <a:gd name="connsiteY522" fmla="*/ 101796 h 171780"/>
                <a:gd name="connsiteX523" fmla="*/ 81755 w 108157"/>
                <a:gd name="connsiteY523" fmla="*/ 101796 h 171780"/>
                <a:gd name="connsiteX524" fmla="*/ 80800 w 108157"/>
                <a:gd name="connsiteY524" fmla="*/ 148558 h 171780"/>
                <a:gd name="connsiteX525" fmla="*/ 81755 w 108157"/>
                <a:gd name="connsiteY525" fmla="*/ 148558 h 171780"/>
                <a:gd name="connsiteX526" fmla="*/ 81755 w 108157"/>
                <a:gd name="connsiteY526" fmla="*/ 148240 h 171780"/>
                <a:gd name="connsiteX527" fmla="*/ 80800 w 108157"/>
                <a:gd name="connsiteY527" fmla="*/ 147922 h 171780"/>
                <a:gd name="connsiteX528" fmla="*/ 80800 w 108157"/>
                <a:gd name="connsiteY528" fmla="*/ 148558 h 171780"/>
                <a:gd name="connsiteX529" fmla="*/ 81755 w 108157"/>
                <a:gd name="connsiteY529" fmla="*/ 76029 h 171780"/>
                <a:gd name="connsiteX530" fmla="*/ 81119 w 108157"/>
                <a:gd name="connsiteY530" fmla="*/ 76029 h 171780"/>
                <a:gd name="connsiteX531" fmla="*/ 81755 w 108157"/>
                <a:gd name="connsiteY531" fmla="*/ 76347 h 171780"/>
                <a:gd name="connsiteX532" fmla="*/ 81119 w 108157"/>
                <a:gd name="connsiteY532" fmla="*/ 76347 h 171780"/>
                <a:gd name="connsiteX533" fmla="*/ 85254 w 108157"/>
                <a:gd name="connsiteY533" fmla="*/ 79210 h 171780"/>
                <a:gd name="connsiteX534" fmla="*/ 85572 w 108157"/>
                <a:gd name="connsiteY534" fmla="*/ 79210 h 171780"/>
                <a:gd name="connsiteX535" fmla="*/ 81755 w 108157"/>
                <a:gd name="connsiteY535" fmla="*/ 76029 h 171780"/>
                <a:gd name="connsiteX536" fmla="*/ 82073 w 108157"/>
                <a:gd name="connsiteY536" fmla="*/ 104341 h 171780"/>
                <a:gd name="connsiteX537" fmla="*/ 82709 w 108157"/>
                <a:gd name="connsiteY537" fmla="*/ 104977 h 171780"/>
                <a:gd name="connsiteX538" fmla="*/ 82391 w 108157"/>
                <a:gd name="connsiteY538" fmla="*/ 104341 h 171780"/>
                <a:gd name="connsiteX539" fmla="*/ 82073 w 108157"/>
                <a:gd name="connsiteY539" fmla="*/ 104341 h 171780"/>
                <a:gd name="connsiteX540" fmla="*/ 82391 w 108157"/>
                <a:gd name="connsiteY540" fmla="*/ 110703 h 171780"/>
                <a:gd name="connsiteX541" fmla="*/ 82391 w 108157"/>
                <a:gd name="connsiteY541" fmla="*/ 111021 h 171780"/>
                <a:gd name="connsiteX542" fmla="*/ 82709 w 108157"/>
                <a:gd name="connsiteY542" fmla="*/ 111339 h 171780"/>
                <a:gd name="connsiteX543" fmla="*/ 83027 w 108157"/>
                <a:gd name="connsiteY543" fmla="*/ 110703 h 171780"/>
                <a:gd name="connsiteX544" fmla="*/ 82391 w 108157"/>
                <a:gd name="connsiteY544" fmla="*/ 110703 h 171780"/>
                <a:gd name="connsiteX545" fmla="*/ 83663 w 108157"/>
                <a:gd name="connsiteY545" fmla="*/ 147604 h 171780"/>
                <a:gd name="connsiteX546" fmla="*/ 83027 w 108157"/>
                <a:gd name="connsiteY546" fmla="*/ 147286 h 171780"/>
                <a:gd name="connsiteX547" fmla="*/ 82709 w 108157"/>
                <a:gd name="connsiteY547" fmla="*/ 146968 h 171780"/>
                <a:gd name="connsiteX548" fmla="*/ 82391 w 108157"/>
                <a:gd name="connsiteY548" fmla="*/ 147286 h 171780"/>
                <a:gd name="connsiteX549" fmla="*/ 83345 w 108157"/>
                <a:gd name="connsiteY549" fmla="*/ 147922 h 171780"/>
                <a:gd name="connsiteX550" fmla="*/ 83663 w 108157"/>
                <a:gd name="connsiteY550" fmla="*/ 147604 h 171780"/>
                <a:gd name="connsiteX551" fmla="*/ 84618 w 108157"/>
                <a:gd name="connsiteY551" fmla="*/ 70939 h 171780"/>
                <a:gd name="connsiteX552" fmla="*/ 84618 w 108157"/>
                <a:gd name="connsiteY552" fmla="*/ 70621 h 171780"/>
                <a:gd name="connsiteX553" fmla="*/ 83982 w 108157"/>
                <a:gd name="connsiteY553" fmla="*/ 69666 h 171780"/>
                <a:gd name="connsiteX554" fmla="*/ 83663 w 108157"/>
                <a:gd name="connsiteY554" fmla="*/ 69666 h 171780"/>
                <a:gd name="connsiteX555" fmla="*/ 83027 w 108157"/>
                <a:gd name="connsiteY555" fmla="*/ 70621 h 171780"/>
                <a:gd name="connsiteX556" fmla="*/ 83345 w 108157"/>
                <a:gd name="connsiteY556" fmla="*/ 71257 h 171780"/>
                <a:gd name="connsiteX557" fmla="*/ 83982 w 108157"/>
                <a:gd name="connsiteY557" fmla="*/ 71575 h 171780"/>
                <a:gd name="connsiteX558" fmla="*/ 84618 w 108157"/>
                <a:gd name="connsiteY558" fmla="*/ 70939 h 171780"/>
                <a:gd name="connsiteX559" fmla="*/ 83345 w 108157"/>
                <a:gd name="connsiteY559" fmla="*/ 96070 h 171780"/>
                <a:gd name="connsiteX560" fmla="*/ 83663 w 108157"/>
                <a:gd name="connsiteY560" fmla="*/ 95752 h 171780"/>
                <a:gd name="connsiteX561" fmla="*/ 83345 w 108157"/>
                <a:gd name="connsiteY561" fmla="*/ 95434 h 171780"/>
                <a:gd name="connsiteX562" fmla="*/ 83345 w 108157"/>
                <a:gd name="connsiteY562" fmla="*/ 96070 h 171780"/>
                <a:gd name="connsiteX563" fmla="*/ 85254 w 108157"/>
                <a:gd name="connsiteY563" fmla="*/ 98297 h 171780"/>
                <a:gd name="connsiteX564" fmla="*/ 85890 w 108157"/>
                <a:gd name="connsiteY564" fmla="*/ 98933 h 171780"/>
                <a:gd name="connsiteX565" fmla="*/ 85890 w 108157"/>
                <a:gd name="connsiteY565" fmla="*/ 98297 h 171780"/>
                <a:gd name="connsiteX566" fmla="*/ 86526 w 108157"/>
                <a:gd name="connsiteY566" fmla="*/ 97024 h 171780"/>
                <a:gd name="connsiteX567" fmla="*/ 85572 w 108157"/>
                <a:gd name="connsiteY567" fmla="*/ 96388 h 171780"/>
                <a:gd name="connsiteX568" fmla="*/ 85254 w 108157"/>
                <a:gd name="connsiteY568" fmla="*/ 97024 h 171780"/>
                <a:gd name="connsiteX569" fmla="*/ 84936 w 108157"/>
                <a:gd name="connsiteY569" fmla="*/ 97660 h 171780"/>
                <a:gd name="connsiteX570" fmla="*/ 85254 w 108157"/>
                <a:gd name="connsiteY570" fmla="*/ 98297 h 171780"/>
                <a:gd name="connsiteX571" fmla="*/ 85890 w 108157"/>
                <a:gd name="connsiteY571" fmla="*/ 110067 h 171780"/>
                <a:gd name="connsiteX572" fmla="*/ 85890 w 108157"/>
                <a:gd name="connsiteY572" fmla="*/ 109749 h 171780"/>
                <a:gd name="connsiteX573" fmla="*/ 85254 w 108157"/>
                <a:gd name="connsiteY573" fmla="*/ 109430 h 171780"/>
                <a:gd name="connsiteX574" fmla="*/ 85254 w 108157"/>
                <a:gd name="connsiteY574" fmla="*/ 110067 h 171780"/>
                <a:gd name="connsiteX575" fmla="*/ 85890 w 108157"/>
                <a:gd name="connsiteY575" fmla="*/ 110067 h 171780"/>
                <a:gd name="connsiteX576" fmla="*/ 86526 w 108157"/>
                <a:gd name="connsiteY576" fmla="*/ 92571 h 171780"/>
                <a:gd name="connsiteX577" fmla="*/ 86208 w 108157"/>
                <a:gd name="connsiteY577" fmla="*/ 92571 h 171780"/>
                <a:gd name="connsiteX578" fmla="*/ 85572 w 108157"/>
                <a:gd name="connsiteY578" fmla="*/ 92252 h 171780"/>
                <a:gd name="connsiteX579" fmla="*/ 85890 w 108157"/>
                <a:gd name="connsiteY579" fmla="*/ 91616 h 171780"/>
                <a:gd name="connsiteX580" fmla="*/ 86208 w 108157"/>
                <a:gd name="connsiteY580" fmla="*/ 91616 h 171780"/>
                <a:gd name="connsiteX581" fmla="*/ 87163 w 108157"/>
                <a:gd name="connsiteY581" fmla="*/ 92252 h 171780"/>
                <a:gd name="connsiteX582" fmla="*/ 86526 w 108157"/>
                <a:gd name="connsiteY582" fmla="*/ 92571 h 171780"/>
                <a:gd name="connsiteX583" fmla="*/ 87163 w 108157"/>
                <a:gd name="connsiteY583" fmla="*/ 69030 h 171780"/>
                <a:gd name="connsiteX584" fmla="*/ 87163 w 108157"/>
                <a:gd name="connsiteY584" fmla="*/ 69348 h 171780"/>
                <a:gd name="connsiteX585" fmla="*/ 87481 w 108157"/>
                <a:gd name="connsiteY585" fmla="*/ 69666 h 171780"/>
                <a:gd name="connsiteX586" fmla="*/ 88435 w 108157"/>
                <a:gd name="connsiteY586" fmla="*/ 69666 h 171780"/>
                <a:gd name="connsiteX587" fmla="*/ 88117 w 108157"/>
                <a:gd name="connsiteY587" fmla="*/ 69030 h 171780"/>
                <a:gd name="connsiteX588" fmla="*/ 87481 w 108157"/>
                <a:gd name="connsiteY588" fmla="*/ 68712 h 171780"/>
                <a:gd name="connsiteX589" fmla="*/ 87163 w 108157"/>
                <a:gd name="connsiteY589" fmla="*/ 69030 h 171780"/>
                <a:gd name="connsiteX590" fmla="*/ 87799 w 108157"/>
                <a:gd name="connsiteY590" fmla="*/ 80800 h 171780"/>
                <a:gd name="connsiteX591" fmla="*/ 87163 w 108157"/>
                <a:gd name="connsiteY591" fmla="*/ 80800 h 171780"/>
                <a:gd name="connsiteX592" fmla="*/ 87163 w 108157"/>
                <a:gd name="connsiteY592" fmla="*/ 81119 h 171780"/>
                <a:gd name="connsiteX593" fmla="*/ 87481 w 108157"/>
                <a:gd name="connsiteY593" fmla="*/ 81755 h 171780"/>
                <a:gd name="connsiteX594" fmla="*/ 87799 w 108157"/>
                <a:gd name="connsiteY594" fmla="*/ 81755 h 171780"/>
                <a:gd name="connsiteX595" fmla="*/ 88435 w 108157"/>
                <a:gd name="connsiteY595" fmla="*/ 81119 h 171780"/>
                <a:gd name="connsiteX596" fmla="*/ 87799 w 108157"/>
                <a:gd name="connsiteY596" fmla="*/ 80800 h 171780"/>
                <a:gd name="connsiteX597" fmla="*/ 87799 w 108157"/>
                <a:gd name="connsiteY597" fmla="*/ 79528 h 171780"/>
                <a:gd name="connsiteX598" fmla="*/ 87799 w 108157"/>
                <a:gd name="connsiteY598" fmla="*/ 79210 h 171780"/>
                <a:gd name="connsiteX599" fmla="*/ 87481 w 108157"/>
                <a:gd name="connsiteY599" fmla="*/ 79528 h 171780"/>
                <a:gd name="connsiteX600" fmla="*/ 87799 w 108157"/>
                <a:gd name="connsiteY600" fmla="*/ 79528 h 171780"/>
                <a:gd name="connsiteX601" fmla="*/ 88435 w 108157"/>
                <a:gd name="connsiteY601" fmla="*/ 83663 h 171780"/>
                <a:gd name="connsiteX602" fmla="*/ 88753 w 108157"/>
                <a:gd name="connsiteY602" fmla="*/ 83345 h 171780"/>
                <a:gd name="connsiteX603" fmla="*/ 88435 w 108157"/>
                <a:gd name="connsiteY603" fmla="*/ 82709 h 171780"/>
                <a:gd name="connsiteX604" fmla="*/ 87799 w 108157"/>
                <a:gd name="connsiteY604" fmla="*/ 82709 h 171780"/>
                <a:gd name="connsiteX605" fmla="*/ 88117 w 108157"/>
                <a:gd name="connsiteY605" fmla="*/ 83663 h 171780"/>
                <a:gd name="connsiteX606" fmla="*/ 88435 w 108157"/>
                <a:gd name="connsiteY606" fmla="*/ 83663 h 171780"/>
                <a:gd name="connsiteX607" fmla="*/ 88753 w 108157"/>
                <a:gd name="connsiteY607" fmla="*/ 66167 h 171780"/>
                <a:gd name="connsiteX608" fmla="*/ 89389 w 108157"/>
                <a:gd name="connsiteY608" fmla="*/ 66167 h 171780"/>
                <a:gd name="connsiteX609" fmla="*/ 90344 w 108157"/>
                <a:gd name="connsiteY609" fmla="*/ 66485 h 171780"/>
                <a:gd name="connsiteX610" fmla="*/ 91298 w 108157"/>
                <a:gd name="connsiteY610" fmla="*/ 67758 h 171780"/>
                <a:gd name="connsiteX611" fmla="*/ 92252 w 108157"/>
                <a:gd name="connsiteY611" fmla="*/ 67758 h 171780"/>
                <a:gd name="connsiteX612" fmla="*/ 92252 w 108157"/>
                <a:gd name="connsiteY612" fmla="*/ 67440 h 171780"/>
                <a:gd name="connsiteX613" fmla="*/ 89071 w 108157"/>
                <a:gd name="connsiteY613" fmla="*/ 64259 h 171780"/>
                <a:gd name="connsiteX614" fmla="*/ 88753 w 108157"/>
                <a:gd name="connsiteY614" fmla="*/ 65213 h 171780"/>
                <a:gd name="connsiteX615" fmla="*/ 88753 w 108157"/>
                <a:gd name="connsiteY615" fmla="*/ 66167 h 171780"/>
                <a:gd name="connsiteX616" fmla="*/ 88753 w 108157"/>
                <a:gd name="connsiteY616" fmla="*/ 67758 h 171780"/>
                <a:gd name="connsiteX617" fmla="*/ 89071 w 108157"/>
                <a:gd name="connsiteY617" fmla="*/ 67440 h 171780"/>
                <a:gd name="connsiteX618" fmla="*/ 88753 w 108157"/>
                <a:gd name="connsiteY618" fmla="*/ 67440 h 171780"/>
                <a:gd name="connsiteX619" fmla="*/ 88753 w 108157"/>
                <a:gd name="connsiteY619" fmla="*/ 67758 h 171780"/>
                <a:gd name="connsiteX620" fmla="*/ 91934 w 108157"/>
                <a:gd name="connsiteY620" fmla="*/ 61714 h 171780"/>
                <a:gd name="connsiteX621" fmla="*/ 92252 w 108157"/>
                <a:gd name="connsiteY621" fmla="*/ 61396 h 171780"/>
                <a:gd name="connsiteX622" fmla="*/ 92570 w 108157"/>
                <a:gd name="connsiteY622" fmla="*/ 60759 h 171780"/>
                <a:gd name="connsiteX623" fmla="*/ 92252 w 108157"/>
                <a:gd name="connsiteY623" fmla="*/ 60123 h 171780"/>
                <a:gd name="connsiteX624" fmla="*/ 90344 w 108157"/>
                <a:gd name="connsiteY624" fmla="*/ 58533 h 171780"/>
                <a:gd name="connsiteX625" fmla="*/ 89389 w 108157"/>
                <a:gd name="connsiteY625" fmla="*/ 58533 h 171780"/>
                <a:gd name="connsiteX626" fmla="*/ 89071 w 108157"/>
                <a:gd name="connsiteY626" fmla="*/ 59169 h 171780"/>
                <a:gd name="connsiteX627" fmla="*/ 89389 w 108157"/>
                <a:gd name="connsiteY627" fmla="*/ 59487 h 171780"/>
                <a:gd name="connsiteX628" fmla="*/ 91298 w 108157"/>
                <a:gd name="connsiteY628" fmla="*/ 61714 h 171780"/>
                <a:gd name="connsiteX629" fmla="*/ 91934 w 108157"/>
                <a:gd name="connsiteY629" fmla="*/ 61714 h 171780"/>
                <a:gd name="connsiteX630" fmla="*/ 90980 w 108157"/>
                <a:gd name="connsiteY630" fmla="*/ 69030 h 171780"/>
                <a:gd name="connsiteX631" fmla="*/ 91934 w 108157"/>
                <a:gd name="connsiteY631" fmla="*/ 69666 h 171780"/>
                <a:gd name="connsiteX632" fmla="*/ 92252 w 108157"/>
                <a:gd name="connsiteY632" fmla="*/ 69666 h 171780"/>
                <a:gd name="connsiteX633" fmla="*/ 91934 w 108157"/>
                <a:gd name="connsiteY633" fmla="*/ 69030 h 171780"/>
                <a:gd name="connsiteX634" fmla="*/ 90980 w 108157"/>
                <a:gd name="connsiteY634" fmla="*/ 69030 h 171780"/>
                <a:gd name="connsiteX635" fmla="*/ 92252 w 108157"/>
                <a:gd name="connsiteY635" fmla="*/ 74120 h 171780"/>
                <a:gd name="connsiteX636" fmla="*/ 92252 w 108157"/>
                <a:gd name="connsiteY636" fmla="*/ 74438 h 171780"/>
                <a:gd name="connsiteX637" fmla="*/ 91934 w 108157"/>
                <a:gd name="connsiteY637" fmla="*/ 74756 h 171780"/>
                <a:gd name="connsiteX638" fmla="*/ 91298 w 108157"/>
                <a:gd name="connsiteY638" fmla="*/ 74120 h 171780"/>
                <a:gd name="connsiteX639" fmla="*/ 92252 w 108157"/>
                <a:gd name="connsiteY639" fmla="*/ 74120 h 171780"/>
                <a:gd name="connsiteX640" fmla="*/ 95115 w 108157"/>
                <a:gd name="connsiteY640" fmla="*/ 42627 h 171780"/>
                <a:gd name="connsiteX641" fmla="*/ 94161 w 108157"/>
                <a:gd name="connsiteY641" fmla="*/ 41991 h 171780"/>
                <a:gd name="connsiteX642" fmla="*/ 93207 w 108157"/>
                <a:gd name="connsiteY642" fmla="*/ 41673 h 171780"/>
                <a:gd name="connsiteX643" fmla="*/ 92570 w 108157"/>
                <a:gd name="connsiteY643" fmla="*/ 41991 h 171780"/>
                <a:gd name="connsiteX644" fmla="*/ 92889 w 108157"/>
                <a:gd name="connsiteY644" fmla="*/ 42309 h 171780"/>
                <a:gd name="connsiteX645" fmla="*/ 93207 w 108157"/>
                <a:gd name="connsiteY645" fmla="*/ 42945 h 171780"/>
                <a:gd name="connsiteX646" fmla="*/ 93525 w 108157"/>
                <a:gd name="connsiteY646" fmla="*/ 44218 h 171780"/>
                <a:gd name="connsiteX647" fmla="*/ 93843 w 108157"/>
                <a:gd name="connsiteY647" fmla="*/ 44854 h 171780"/>
                <a:gd name="connsiteX648" fmla="*/ 94161 w 108157"/>
                <a:gd name="connsiteY648" fmla="*/ 45172 h 171780"/>
                <a:gd name="connsiteX649" fmla="*/ 96070 w 108157"/>
                <a:gd name="connsiteY649" fmla="*/ 45490 h 171780"/>
                <a:gd name="connsiteX650" fmla="*/ 96388 w 108157"/>
                <a:gd name="connsiteY650" fmla="*/ 45172 h 171780"/>
                <a:gd name="connsiteX651" fmla="*/ 96388 w 108157"/>
                <a:gd name="connsiteY651" fmla="*/ 44854 h 171780"/>
                <a:gd name="connsiteX652" fmla="*/ 95434 w 108157"/>
                <a:gd name="connsiteY652" fmla="*/ 44218 h 171780"/>
                <a:gd name="connsiteX653" fmla="*/ 95115 w 108157"/>
                <a:gd name="connsiteY653" fmla="*/ 42627 h 171780"/>
                <a:gd name="connsiteX654" fmla="*/ 94479 w 108157"/>
                <a:gd name="connsiteY654" fmla="*/ 52807 h 171780"/>
                <a:gd name="connsiteX655" fmla="*/ 94161 w 108157"/>
                <a:gd name="connsiteY655" fmla="*/ 52170 h 171780"/>
                <a:gd name="connsiteX656" fmla="*/ 93207 w 108157"/>
                <a:gd name="connsiteY656" fmla="*/ 52488 h 171780"/>
                <a:gd name="connsiteX657" fmla="*/ 93207 w 108157"/>
                <a:gd name="connsiteY657" fmla="*/ 52807 h 171780"/>
                <a:gd name="connsiteX658" fmla="*/ 94161 w 108157"/>
                <a:gd name="connsiteY658" fmla="*/ 53443 h 171780"/>
                <a:gd name="connsiteX659" fmla="*/ 94479 w 108157"/>
                <a:gd name="connsiteY659" fmla="*/ 52807 h 171780"/>
                <a:gd name="connsiteX660" fmla="*/ 95752 w 108157"/>
                <a:gd name="connsiteY660" fmla="*/ 32129 h 171780"/>
                <a:gd name="connsiteX661" fmla="*/ 94161 w 108157"/>
                <a:gd name="connsiteY661" fmla="*/ 32766 h 171780"/>
                <a:gd name="connsiteX662" fmla="*/ 94161 w 108157"/>
                <a:gd name="connsiteY662" fmla="*/ 33402 h 171780"/>
                <a:gd name="connsiteX663" fmla="*/ 95752 w 108157"/>
                <a:gd name="connsiteY663" fmla="*/ 35629 h 171780"/>
                <a:gd name="connsiteX664" fmla="*/ 95752 w 108157"/>
                <a:gd name="connsiteY664" fmla="*/ 36265 h 171780"/>
                <a:gd name="connsiteX665" fmla="*/ 96388 w 108157"/>
                <a:gd name="connsiteY665" fmla="*/ 36901 h 171780"/>
                <a:gd name="connsiteX666" fmla="*/ 96706 w 108157"/>
                <a:gd name="connsiteY666" fmla="*/ 36901 h 171780"/>
                <a:gd name="connsiteX667" fmla="*/ 97978 w 108157"/>
                <a:gd name="connsiteY667" fmla="*/ 36583 h 171780"/>
                <a:gd name="connsiteX668" fmla="*/ 98615 w 108157"/>
                <a:gd name="connsiteY668" fmla="*/ 36583 h 171780"/>
                <a:gd name="connsiteX669" fmla="*/ 98933 w 108157"/>
                <a:gd name="connsiteY669" fmla="*/ 35947 h 171780"/>
                <a:gd name="connsiteX670" fmla="*/ 97660 w 108157"/>
                <a:gd name="connsiteY670" fmla="*/ 34992 h 171780"/>
                <a:gd name="connsiteX671" fmla="*/ 97342 w 108157"/>
                <a:gd name="connsiteY671" fmla="*/ 34356 h 171780"/>
                <a:gd name="connsiteX672" fmla="*/ 97978 w 108157"/>
                <a:gd name="connsiteY672" fmla="*/ 32766 h 171780"/>
                <a:gd name="connsiteX673" fmla="*/ 96070 w 108157"/>
                <a:gd name="connsiteY673" fmla="*/ 32129 h 171780"/>
                <a:gd name="connsiteX674" fmla="*/ 95752 w 108157"/>
                <a:gd name="connsiteY674" fmla="*/ 32129 h 171780"/>
                <a:gd name="connsiteX675" fmla="*/ 95752 w 108157"/>
                <a:gd name="connsiteY675" fmla="*/ 54715 h 171780"/>
                <a:gd name="connsiteX676" fmla="*/ 96070 w 108157"/>
                <a:gd name="connsiteY676" fmla="*/ 54397 h 171780"/>
                <a:gd name="connsiteX677" fmla="*/ 95752 w 108157"/>
                <a:gd name="connsiteY677" fmla="*/ 53761 h 171780"/>
                <a:gd name="connsiteX678" fmla="*/ 95434 w 108157"/>
                <a:gd name="connsiteY678" fmla="*/ 54397 h 171780"/>
                <a:gd name="connsiteX679" fmla="*/ 95752 w 108157"/>
                <a:gd name="connsiteY679" fmla="*/ 54715 h 171780"/>
                <a:gd name="connsiteX680" fmla="*/ 97342 w 108157"/>
                <a:gd name="connsiteY680" fmla="*/ 41036 h 171780"/>
                <a:gd name="connsiteX681" fmla="*/ 96706 w 108157"/>
                <a:gd name="connsiteY681" fmla="*/ 40718 h 171780"/>
                <a:gd name="connsiteX682" fmla="*/ 96070 w 108157"/>
                <a:gd name="connsiteY682" fmla="*/ 41036 h 171780"/>
                <a:gd name="connsiteX683" fmla="*/ 96388 w 108157"/>
                <a:gd name="connsiteY683" fmla="*/ 41355 h 171780"/>
                <a:gd name="connsiteX684" fmla="*/ 97342 w 108157"/>
                <a:gd name="connsiteY684" fmla="*/ 41036 h 171780"/>
                <a:gd name="connsiteX685" fmla="*/ 99569 w 108157"/>
                <a:gd name="connsiteY685" fmla="*/ 29584 h 171780"/>
                <a:gd name="connsiteX686" fmla="*/ 99569 w 108157"/>
                <a:gd name="connsiteY686" fmla="*/ 29266 h 171780"/>
                <a:gd name="connsiteX687" fmla="*/ 98933 w 108157"/>
                <a:gd name="connsiteY687" fmla="*/ 29266 h 171780"/>
                <a:gd name="connsiteX688" fmla="*/ 98297 w 108157"/>
                <a:gd name="connsiteY688" fmla="*/ 28948 h 171780"/>
                <a:gd name="connsiteX689" fmla="*/ 97978 w 108157"/>
                <a:gd name="connsiteY689" fmla="*/ 28948 h 171780"/>
                <a:gd name="connsiteX690" fmla="*/ 97660 w 108157"/>
                <a:gd name="connsiteY690" fmla="*/ 29903 h 171780"/>
                <a:gd name="connsiteX691" fmla="*/ 97978 w 108157"/>
                <a:gd name="connsiteY691" fmla="*/ 30539 h 171780"/>
                <a:gd name="connsiteX692" fmla="*/ 99569 w 108157"/>
                <a:gd name="connsiteY692" fmla="*/ 29584 h 171780"/>
                <a:gd name="connsiteX693" fmla="*/ 101160 w 108157"/>
                <a:gd name="connsiteY693" fmla="*/ 31175 h 171780"/>
                <a:gd name="connsiteX694" fmla="*/ 100841 w 108157"/>
                <a:gd name="connsiteY694" fmla="*/ 30539 h 171780"/>
                <a:gd name="connsiteX695" fmla="*/ 99887 w 108157"/>
                <a:gd name="connsiteY695" fmla="*/ 30539 h 171780"/>
                <a:gd name="connsiteX696" fmla="*/ 100205 w 108157"/>
                <a:gd name="connsiteY696" fmla="*/ 31175 h 171780"/>
                <a:gd name="connsiteX697" fmla="*/ 101160 w 108157"/>
                <a:gd name="connsiteY697" fmla="*/ 31175 h 171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</a:cxnLst>
              <a:rect l="l" t="t" r="r" b="b"/>
              <a:pathLst>
                <a:path w="108157" h="171780">
                  <a:moveTo>
                    <a:pt x="65213" y="154602"/>
                  </a:moveTo>
                  <a:cubicBezTo>
                    <a:pt x="65213" y="154284"/>
                    <a:pt x="64895" y="153648"/>
                    <a:pt x="64895" y="153330"/>
                  </a:cubicBezTo>
                  <a:lnTo>
                    <a:pt x="64895" y="151739"/>
                  </a:lnTo>
                  <a:cubicBezTo>
                    <a:pt x="64895" y="151103"/>
                    <a:pt x="64895" y="150149"/>
                    <a:pt x="64577" y="148876"/>
                  </a:cubicBezTo>
                  <a:cubicBezTo>
                    <a:pt x="64577" y="148558"/>
                    <a:pt x="64577" y="147922"/>
                    <a:pt x="63940" y="147286"/>
                  </a:cubicBezTo>
                  <a:cubicBezTo>
                    <a:pt x="64577" y="145695"/>
                    <a:pt x="64577" y="144741"/>
                    <a:pt x="64895" y="143787"/>
                  </a:cubicBezTo>
                  <a:lnTo>
                    <a:pt x="64895" y="142514"/>
                  </a:lnTo>
                  <a:cubicBezTo>
                    <a:pt x="64577" y="141242"/>
                    <a:pt x="64577" y="141242"/>
                    <a:pt x="64577" y="140924"/>
                  </a:cubicBezTo>
                  <a:lnTo>
                    <a:pt x="64577" y="139333"/>
                  </a:lnTo>
                  <a:cubicBezTo>
                    <a:pt x="64577" y="138061"/>
                    <a:pt x="64577" y="137424"/>
                    <a:pt x="63940" y="136788"/>
                  </a:cubicBezTo>
                  <a:cubicBezTo>
                    <a:pt x="63940" y="136470"/>
                    <a:pt x="65213" y="115793"/>
                    <a:pt x="65213" y="111657"/>
                  </a:cubicBezTo>
                  <a:lnTo>
                    <a:pt x="65213" y="111021"/>
                  </a:lnTo>
                  <a:cubicBezTo>
                    <a:pt x="65531" y="110703"/>
                    <a:pt x="66485" y="110703"/>
                    <a:pt x="66803" y="110703"/>
                  </a:cubicBezTo>
                  <a:lnTo>
                    <a:pt x="66803" y="109430"/>
                  </a:lnTo>
                  <a:cubicBezTo>
                    <a:pt x="66803" y="109112"/>
                    <a:pt x="66485" y="108794"/>
                    <a:pt x="65849" y="108476"/>
                  </a:cubicBezTo>
                  <a:cubicBezTo>
                    <a:pt x="65531" y="108158"/>
                    <a:pt x="65531" y="107840"/>
                    <a:pt x="65531" y="107204"/>
                  </a:cubicBezTo>
                  <a:lnTo>
                    <a:pt x="65531" y="106567"/>
                  </a:lnTo>
                  <a:cubicBezTo>
                    <a:pt x="65531" y="106249"/>
                    <a:pt x="65531" y="105931"/>
                    <a:pt x="65849" y="105613"/>
                  </a:cubicBezTo>
                  <a:cubicBezTo>
                    <a:pt x="66485" y="105295"/>
                    <a:pt x="66803" y="104977"/>
                    <a:pt x="66803" y="104023"/>
                  </a:cubicBezTo>
                  <a:cubicBezTo>
                    <a:pt x="67122" y="104023"/>
                    <a:pt x="66803" y="103704"/>
                    <a:pt x="66803" y="103704"/>
                  </a:cubicBezTo>
                  <a:cubicBezTo>
                    <a:pt x="66485" y="103386"/>
                    <a:pt x="66485" y="103386"/>
                    <a:pt x="65849" y="103386"/>
                  </a:cubicBezTo>
                  <a:cubicBezTo>
                    <a:pt x="66167" y="103386"/>
                    <a:pt x="66167" y="103704"/>
                    <a:pt x="66167" y="103704"/>
                  </a:cubicBezTo>
                  <a:cubicBezTo>
                    <a:pt x="66167" y="104023"/>
                    <a:pt x="65849" y="104023"/>
                    <a:pt x="65531" y="104023"/>
                  </a:cubicBezTo>
                  <a:cubicBezTo>
                    <a:pt x="65213" y="104341"/>
                    <a:pt x="64895" y="104659"/>
                    <a:pt x="64577" y="104659"/>
                  </a:cubicBezTo>
                  <a:lnTo>
                    <a:pt x="64259" y="104341"/>
                  </a:lnTo>
                  <a:lnTo>
                    <a:pt x="63622" y="104341"/>
                  </a:lnTo>
                  <a:cubicBezTo>
                    <a:pt x="62032" y="104341"/>
                    <a:pt x="61077" y="104977"/>
                    <a:pt x="61077" y="105931"/>
                  </a:cubicBezTo>
                  <a:cubicBezTo>
                    <a:pt x="61077" y="106886"/>
                    <a:pt x="59805" y="107522"/>
                    <a:pt x="59169" y="108158"/>
                  </a:cubicBezTo>
                  <a:cubicBezTo>
                    <a:pt x="58533" y="108476"/>
                    <a:pt x="57896" y="108794"/>
                    <a:pt x="57896" y="109749"/>
                  </a:cubicBezTo>
                  <a:cubicBezTo>
                    <a:pt x="57896" y="110385"/>
                    <a:pt x="56942" y="110067"/>
                    <a:pt x="56942" y="110703"/>
                  </a:cubicBezTo>
                  <a:lnTo>
                    <a:pt x="56942" y="111021"/>
                  </a:lnTo>
                  <a:lnTo>
                    <a:pt x="55033" y="113884"/>
                  </a:lnTo>
                  <a:lnTo>
                    <a:pt x="55033" y="114202"/>
                  </a:lnTo>
                  <a:cubicBezTo>
                    <a:pt x="53761" y="115475"/>
                    <a:pt x="53443" y="116747"/>
                    <a:pt x="53125" y="117701"/>
                  </a:cubicBezTo>
                  <a:cubicBezTo>
                    <a:pt x="53125" y="117701"/>
                    <a:pt x="52806" y="118338"/>
                    <a:pt x="52488" y="118338"/>
                  </a:cubicBezTo>
                  <a:cubicBezTo>
                    <a:pt x="51534" y="118338"/>
                    <a:pt x="50898" y="118974"/>
                    <a:pt x="50262" y="119610"/>
                  </a:cubicBezTo>
                  <a:lnTo>
                    <a:pt x="49307" y="121201"/>
                  </a:lnTo>
                  <a:lnTo>
                    <a:pt x="42945" y="126290"/>
                  </a:lnTo>
                  <a:cubicBezTo>
                    <a:pt x="41991" y="126608"/>
                    <a:pt x="40718" y="126608"/>
                    <a:pt x="39764" y="127245"/>
                  </a:cubicBezTo>
                  <a:cubicBezTo>
                    <a:pt x="39446" y="127563"/>
                    <a:pt x="39128" y="127881"/>
                    <a:pt x="38810" y="127881"/>
                  </a:cubicBezTo>
                  <a:cubicBezTo>
                    <a:pt x="36901" y="128199"/>
                    <a:pt x="34674" y="128199"/>
                    <a:pt x="33402" y="128835"/>
                  </a:cubicBezTo>
                  <a:lnTo>
                    <a:pt x="31175" y="128835"/>
                  </a:lnTo>
                  <a:cubicBezTo>
                    <a:pt x="29266" y="128835"/>
                    <a:pt x="27358" y="129153"/>
                    <a:pt x="25767" y="129471"/>
                  </a:cubicBezTo>
                  <a:lnTo>
                    <a:pt x="23858" y="129471"/>
                  </a:lnTo>
                  <a:cubicBezTo>
                    <a:pt x="23222" y="129471"/>
                    <a:pt x="22586" y="129153"/>
                    <a:pt x="22268" y="128835"/>
                  </a:cubicBezTo>
                  <a:cubicBezTo>
                    <a:pt x="21950" y="128199"/>
                    <a:pt x="21314" y="128199"/>
                    <a:pt x="20995" y="128199"/>
                  </a:cubicBezTo>
                  <a:lnTo>
                    <a:pt x="19723" y="128199"/>
                  </a:lnTo>
                  <a:cubicBezTo>
                    <a:pt x="19087" y="128199"/>
                    <a:pt x="18450" y="127881"/>
                    <a:pt x="17814" y="127881"/>
                  </a:cubicBezTo>
                  <a:cubicBezTo>
                    <a:pt x="17178" y="127563"/>
                    <a:pt x="16542" y="127563"/>
                    <a:pt x="15906" y="127563"/>
                  </a:cubicBezTo>
                  <a:lnTo>
                    <a:pt x="12724" y="127563"/>
                  </a:lnTo>
                  <a:cubicBezTo>
                    <a:pt x="12088" y="127245"/>
                    <a:pt x="12088" y="126608"/>
                    <a:pt x="11770" y="126608"/>
                  </a:cubicBezTo>
                  <a:cubicBezTo>
                    <a:pt x="10816" y="125336"/>
                    <a:pt x="9225" y="123746"/>
                    <a:pt x="7953" y="122791"/>
                  </a:cubicBezTo>
                  <a:lnTo>
                    <a:pt x="6998" y="121837"/>
                  </a:lnTo>
                  <a:lnTo>
                    <a:pt x="5408" y="118656"/>
                  </a:lnTo>
                  <a:cubicBezTo>
                    <a:pt x="4135" y="117701"/>
                    <a:pt x="3181" y="117065"/>
                    <a:pt x="3181" y="115793"/>
                  </a:cubicBezTo>
                  <a:cubicBezTo>
                    <a:pt x="3181" y="115156"/>
                    <a:pt x="2545" y="114838"/>
                    <a:pt x="2227" y="114202"/>
                  </a:cubicBezTo>
                  <a:cubicBezTo>
                    <a:pt x="2227" y="113884"/>
                    <a:pt x="2227" y="113566"/>
                    <a:pt x="2545" y="113566"/>
                  </a:cubicBezTo>
                  <a:cubicBezTo>
                    <a:pt x="3181" y="113566"/>
                    <a:pt x="3499" y="113566"/>
                    <a:pt x="3499" y="113248"/>
                  </a:cubicBezTo>
                  <a:cubicBezTo>
                    <a:pt x="3499" y="112612"/>
                    <a:pt x="3181" y="112293"/>
                    <a:pt x="2863" y="112293"/>
                  </a:cubicBezTo>
                  <a:cubicBezTo>
                    <a:pt x="2863" y="111975"/>
                    <a:pt x="2863" y="111975"/>
                    <a:pt x="2545" y="111975"/>
                  </a:cubicBezTo>
                  <a:lnTo>
                    <a:pt x="2227" y="111975"/>
                  </a:lnTo>
                  <a:lnTo>
                    <a:pt x="2227" y="112293"/>
                  </a:lnTo>
                  <a:lnTo>
                    <a:pt x="1273" y="112293"/>
                  </a:lnTo>
                  <a:lnTo>
                    <a:pt x="636" y="109112"/>
                  </a:lnTo>
                  <a:cubicBezTo>
                    <a:pt x="318" y="108476"/>
                    <a:pt x="0" y="108476"/>
                    <a:pt x="0" y="107840"/>
                  </a:cubicBezTo>
                  <a:cubicBezTo>
                    <a:pt x="0" y="107522"/>
                    <a:pt x="318" y="107204"/>
                    <a:pt x="318" y="106886"/>
                  </a:cubicBezTo>
                  <a:lnTo>
                    <a:pt x="636" y="106886"/>
                  </a:lnTo>
                  <a:cubicBezTo>
                    <a:pt x="636" y="107204"/>
                    <a:pt x="636" y="107204"/>
                    <a:pt x="954" y="107204"/>
                  </a:cubicBezTo>
                  <a:lnTo>
                    <a:pt x="954" y="107522"/>
                  </a:lnTo>
                  <a:cubicBezTo>
                    <a:pt x="954" y="108476"/>
                    <a:pt x="1273" y="108794"/>
                    <a:pt x="1591" y="109430"/>
                  </a:cubicBezTo>
                  <a:cubicBezTo>
                    <a:pt x="1591" y="109749"/>
                    <a:pt x="1909" y="110067"/>
                    <a:pt x="1909" y="110385"/>
                  </a:cubicBezTo>
                  <a:cubicBezTo>
                    <a:pt x="2227" y="111021"/>
                    <a:pt x="2227" y="111021"/>
                    <a:pt x="2545" y="111021"/>
                  </a:cubicBezTo>
                  <a:lnTo>
                    <a:pt x="2863" y="110703"/>
                  </a:lnTo>
                  <a:lnTo>
                    <a:pt x="2863" y="108476"/>
                  </a:lnTo>
                  <a:cubicBezTo>
                    <a:pt x="2863" y="108158"/>
                    <a:pt x="2863" y="107522"/>
                    <a:pt x="3499" y="107204"/>
                  </a:cubicBezTo>
                  <a:cubicBezTo>
                    <a:pt x="3499" y="107204"/>
                    <a:pt x="3181" y="106567"/>
                    <a:pt x="3181" y="106249"/>
                  </a:cubicBezTo>
                  <a:cubicBezTo>
                    <a:pt x="2863" y="105295"/>
                    <a:pt x="2545" y="103704"/>
                    <a:pt x="2545" y="102432"/>
                  </a:cubicBezTo>
                  <a:lnTo>
                    <a:pt x="2545" y="97660"/>
                  </a:lnTo>
                  <a:cubicBezTo>
                    <a:pt x="2545" y="97342"/>
                    <a:pt x="2545" y="97024"/>
                    <a:pt x="2863" y="96706"/>
                  </a:cubicBezTo>
                  <a:lnTo>
                    <a:pt x="2863" y="94479"/>
                  </a:lnTo>
                  <a:cubicBezTo>
                    <a:pt x="3181" y="93843"/>
                    <a:pt x="4135" y="93207"/>
                    <a:pt x="5408" y="92889"/>
                  </a:cubicBezTo>
                  <a:cubicBezTo>
                    <a:pt x="5408" y="92252"/>
                    <a:pt x="4135" y="91934"/>
                    <a:pt x="4135" y="91298"/>
                  </a:cubicBezTo>
                  <a:cubicBezTo>
                    <a:pt x="3499" y="91298"/>
                    <a:pt x="3499" y="91298"/>
                    <a:pt x="3499" y="90980"/>
                  </a:cubicBezTo>
                  <a:lnTo>
                    <a:pt x="3181" y="90980"/>
                  </a:lnTo>
                  <a:lnTo>
                    <a:pt x="3817" y="90344"/>
                  </a:lnTo>
                  <a:cubicBezTo>
                    <a:pt x="4135" y="90026"/>
                    <a:pt x="5726" y="90026"/>
                    <a:pt x="5726" y="89071"/>
                  </a:cubicBezTo>
                  <a:lnTo>
                    <a:pt x="5726" y="87163"/>
                  </a:lnTo>
                  <a:lnTo>
                    <a:pt x="5408" y="86845"/>
                  </a:lnTo>
                  <a:cubicBezTo>
                    <a:pt x="5726" y="85890"/>
                    <a:pt x="5726" y="84618"/>
                    <a:pt x="6044" y="83982"/>
                  </a:cubicBezTo>
                  <a:cubicBezTo>
                    <a:pt x="6044" y="83027"/>
                    <a:pt x="6362" y="82391"/>
                    <a:pt x="6362" y="81437"/>
                  </a:cubicBezTo>
                  <a:cubicBezTo>
                    <a:pt x="6362" y="80482"/>
                    <a:pt x="6680" y="80164"/>
                    <a:pt x="6680" y="79528"/>
                  </a:cubicBezTo>
                  <a:cubicBezTo>
                    <a:pt x="6998" y="78892"/>
                    <a:pt x="6998" y="78256"/>
                    <a:pt x="7635" y="77301"/>
                  </a:cubicBezTo>
                  <a:cubicBezTo>
                    <a:pt x="7953" y="76665"/>
                    <a:pt x="8589" y="76347"/>
                    <a:pt x="8907" y="76029"/>
                  </a:cubicBezTo>
                  <a:lnTo>
                    <a:pt x="8907" y="75711"/>
                  </a:lnTo>
                  <a:cubicBezTo>
                    <a:pt x="8907" y="75392"/>
                    <a:pt x="9225" y="75711"/>
                    <a:pt x="9225" y="75074"/>
                  </a:cubicBezTo>
                  <a:lnTo>
                    <a:pt x="9225" y="74756"/>
                  </a:lnTo>
                  <a:lnTo>
                    <a:pt x="10498" y="72848"/>
                  </a:lnTo>
                  <a:cubicBezTo>
                    <a:pt x="10816" y="72529"/>
                    <a:pt x="10816" y="71575"/>
                    <a:pt x="10816" y="70939"/>
                  </a:cubicBezTo>
                  <a:lnTo>
                    <a:pt x="12088" y="68394"/>
                  </a:lnTo>
                  <a:cubicBezTo>
                    <a:pt x="12088" y="67440"/>
                    <a:pt x="12406" y="66485"/>
                    <a:pt x="12724" y="66167"/>
                  </a:cubicBezTo>
                  <a:lnTo>
                    <a:pt x="13361" y="65213"/>
                  </a:lnTo>
                  <a:cubicBezTo>
                    <a:pt x="13361" y="64259"/>
                    <a:pt x="13679" y="63622"/>
                    <a:pt x="14315" y="63304"/>
                  </a:cubicBezTo>
                  <a:lnTo>
                    <a:pt x="15588" y="62350"/>
                  </a:lnTo>
                  <a:lnTo>
                    <a:pt x="15588" y="61077"/>
                  </a:lnTo>
                  <a:cubicBezTo>
                    <a:pt x="16860" y="59805"/>
                    <a:pt x="17496" y="58533"/>
                    <a:pt x="18132" y="56942"/>
                  </a:cubicBezTo>
                  <a:cubicBezTo>
                    <a:pt x="18132" y="55988"/>
                    <a:pt x="18450" y="55988"/>
                    <a:pt x="19087" y="55670"/>
                  </a:cubicBezTo>
                  <a:cubicBezTo>
                    <a:pt x="19723" y="55351"/>
                    <a:pt x="20677" y="54715"/>
                    <a:pt x="20677" y="53761"/>
                  </a:cubicBezTo>
                  <a:cubicBezTo>
                    <a:pt x="20677" y="53443"/>
                    <a:pt x="20995" y="53125"/>
                    <a:pt x="20995" y="52807"/>
                  </a:cubicBezTo>
                  <a:cubicBezTo>
                    <a:pt x="21632" y="51852"/>
                    <a:pt x="22268" y="51216"/>
                    <a:pt x="22904" y="49944"/>
                  </a:cubicBezTo>
                  <a:cubicBezTo>
                    <a:pt x="23222" y="49307"/>
                    <a:pt x="24176" y="48989"/>
                    <a:pt x="24176" y="48353"/>
                  </a:cubicBezTo>
                  <a:cubicBezTo>
                    <a:pt x="24176" y="48035"/>
                    <a:pt x="24495" y="47717"/>
                    <a:pt x="25131" y="47717"/>
                  </a:cubicBezTo>
                  <a:lnTo>
                    <a:pt x="26721" y="44854"/>
                  </a:lnTo>
                  <a:cubicBezTo>
                    <a:pt x="26721" y="44536"/>
                    <a:pt x="26721" y="44536"/>
                    <a:pt x="27040" y="44536"/>
                  </a:cubicBezTo>
                  <a:lnTo>
                    <a:pt x="27358" y="44536"/>
                  </a:lnTo>
                  <a:cubicBezTo>
                    <a:pt x="28630" y="43263"/>
                    <a:pt x="28630" y="41991"/>
                    <a:pt x="29266" y="41036"/>
                  </a:cubicBezTo>
                  <a:cubicBezTo>
                    <a:pt x="29584" y="40082"/>
                    <a:pt x="29903" y="39446"/>
                    <a:pt x="31175" y="38492"/>
                  </a:cubicBezTo>
                  <a:cubicBezTo>
                    <a:pt x="32129" y="37855"/>
                    <a:pt x="32129" y="36583"/>
                    <a:pt x="33402" y="35310"/>
                  </a:cubicBezTo>
                  <a:cubicBezTo>
                    <a:pt x="34356" y="34356"/>
                    <a:pt x="35629" y="32766"/>
                    <a:pt x="37537" y="32129"/>
                  </a:cubicBezTo>
                  <a:cubicBezTo>
                    <a:pt x="38491" y="31493"/>
                    <a:pt x="38810" y="30539"/>
                    <a:pt x="39446" y="29903"/>
                  </a:cubicBezTo>
                  <a:cubicBezTo>
                    <a:pt x="39764" y="29266"/>
                    <a:pt x="40082" y="28630"/>
                    <a:pt x="41355" y="28630"/>
                  </a:cubicBezTo>
                  <a:lnTo>
                    <a:pt x="42945" y="27676"/>
                  </a:lnTo>
                  <a:cubicBezTo>
                    <a:pt x="43581" y="27040"/>
                    <a:pt x="44536" y="26403"/>
                    <a:pt x="44854" y="25449"/>
                  </a:cubicBezTo>
                  <a:lnTo>
                    <a:pt x="45172" y="26085"/>
                  </a:lnTo>
                  <a:cubicBezTo>
                    <a:pt x="45808" y="26721"/>
                    <a:pt x="45808" y="27040"/>
                    <a:pt x="46126" y="27676"/>
                  </a:cubicBezTo>
                  <a:cubicBezTo>
                    <a:pt x="46444" y="27040"/>
                    <a:pt x="47081" y="27040"/>
                    <a:pt x="47081" y="26403"/>
                  </a:cubicBezTo>
                  <a:cubicBezTo>
                    <a:pt x="47081" y="26085"/>
                    <a:pt x="46762" y="25449"/>
                    <a:pt x="46444" y="25131"/>
                  </a:cubicBezTo>
                  <a:lnTo>
                    <a:pt x="46444" y="24813"/>
                  </a:lnTo>
                  <a:cubicBezTo>
                    <a:pt x="47717" y="24495"/>
                    <a:pt x="48671" y="23858"/>
                    <a:pt x="49944" y="23222"/>
                  </a:cubicBezTo>
                  <a:cubicBezTo>
                    <a:pt x="52806" y="21950"/>
                    <a:pt x="55352" y="21950"/>
                    <a:pt x="57896" y="21632"/>
                  </a:cubicBezTo>
                  <a:cubicBezTo>
                    <a:pt x="58533" y="21313"/>
                    <a:pt x="59169" y="21313"/>
                    <a:pt x="59805" y="21313"/>
                  </a:cubicBezTo>
                  <a:cubicBezTo>
                    <a:pt x="60441" y="21632"/>
                    <a:pt x="61714" y="21632"/>
                    <a:pt x="62350" y="21632"/>
                  </a:cubicBezTo>
                  <a:cubicBezTo>
                    <a:pt x="62668" y="21632"/>
                    <a:pt x="62986" y="21950"/>
                    <a:pt x="63304" y="21950"/>
                  </a:cubicBezTo>
                  <a:cubicBezTo>
                    <a:pt x="63622" y="21950"/>
                    <a:pt x="63940" y="22268"/>
                    <a:pt x="64259" y="22268"/>
                  </a:cubicBezTo>
                  <a:cubicBezTo>
                    <a:pt x="64895" y="22268"/>
                    <a:pt x="65531" y="22268"/>
                    <a:pt x="66485" y="22586"/>
                  </a:cubicBezTo>
                  <a:cubicBezTo>
                    <a:pt x="67440" y="23222"/>
                    <a:pt x="68712" y="23858"/>
                    <a:pt x="69667" y="24813"/>
                  </a:cubicBezTo>
                  <a:cubicBezTo>
                    <a:pt x="71893" y="26085"/>
                    <a:pt x="73484" y="27358"/>
                    <a:pt x="75074" y="28630"/>
                  </a:cubicBezTo>
                  <a:cubicBezTo>
                    <a:pt x="75711" y="29266"/>
                    <a:pt x="77301" y="29584"/>
                    <a:pt x="77937" y="29584"/>
                  </a:cubicBezTo>
                  <a:cubicBezTo>
                    <a:pt x="78255" y="29903"/>
                    <a:pt x="78255" y="29903"/>
                    <a:pt x="78574" y="29903"/>
                  </a:cubicBezTo>
                  <a:cubicBezTo>
                    <a:pt x="78892" y="29903"/>
                    <a:pt x="79528" y="29266"/>
                    <a:pt x="79846" y="28948"/>
                  </a:cubicBezTo>
                  <a:cubicBezTo>
                    <a:pt x="80164" y="28630"/>
                    <a:pt x="80482" y="28312"/>
                    <a:pt x="80482" y="27994"/>
                  </a:cubicBezTo>
                  <a:cubicBezTo>
                    <a:pt x="80482" y="27676"/>
                    <a:pt x="80164" y="27676"/>
                    <a:pt x="80164" y="27358"/>
                  </a:cubicBezTo>
                  <a:cubicBezTo>
                    <a:pt x="80164" y="27040"/>
                    <a:pt x="80482" y="26721"/>
                    <a:pt x="81119" y="26721"/>
                  </a:cubicBezTo>
                  <a:lnTo>
                    <a:pt x="82073" y="27358"/>
                  </a:lnTo>
                  <a:cubicBezTo>
                    <a:pt x="82391" y="27676"/>
                    <a:pt x="82709" y="27676"/>
                    <a:pt x="83027" y="27676"/>
                  </a:cubicBezTo>
                  <a:lnTo>
                    <a:pt x="83345" y="27358"/>
                  </a:lnTo>
                  <a:lnTo>
                    <a:pt x="83345" y="27040"/>
                  </a:lnTo>
                  <a:cubicBezTo>
                    <a:pt x="82391" y="26403"/>
                    <a:pt x="81119" y="25131"/>
                    <a:pt x="81119" y="24813"/>
                  </a:cubicBezTo>
                  <a:cubicBezTo>
                    <a:pt x="81119" y="23858"/>
                    <a:pt x="81437" y="24176"/>
                    <a:pt x="82073" y="23540"/>
                  </a:cubicBezTo>
                  <a:cubicBezTo>
                    <a:pt x="84300" y="24176"/>
                    <a:pt x="87163" y="10180"/>
                    <a:pt x="87481" y="10180"/>
                  </a:cubicBezTo>
                  <a:lnTo>
                    <a:pt x="87481" y="9543"/>
                  </a:lnTo>
                  <a:cubicBezTo>
                    <a:pt x="88753" y="7953"/>
                    <a:pt x="89071" y="6362"/>
                    <a:pt x="89389" y="4772"/>
                  </a:cubicBezTo>
                  <a:cubicBezTo>
                    <a:pt x="89389" y="4135"/>
                    <a:pt x="89708" y="3817"/>
                    <a:pt x="90026" y="3181"/>
                  </a:cubicBezTo>
                  <a:cubicBezTo>
                    <a:pt x="90344" y="2863"/>
                    <a:pt x="90662" y="2863"/>
                    <a:pt x="90980" y="2227"/>
                  </a:cubicBezTo>
                  <a:cubicBezTo>
                    <a:pt x="91298" y="1591"/>
                    <a:pt x="91298" y="1272"/>
                    <a:pt x="91934" y="1272"/>
                  </a:cubicBezTo>
                  <a:cubicBezTo>
                    <a:pt x="92570" y="636"/>
                    <a:pt x="92889" y="318"/>
                    <a:pt x="93843" y="318"/>
                  </a:cubicBezTo>
                  <a:lnTo>
                    <a:pt x="94797" y="318"/>
                  </a:lnTo>
                  <a:cubicBezTo>
                    <a:pt x="95752" y="318"/>
                    <a:pt x="97024" y="0"/>
                    <a:pt x="97978" y="0"/>
                  </a:cubicBezTo>
                  <a:cubicBezTo>
                    <a:pt x="98615" y="0"/>
                    <a:pt x="99251" y="318"/>
                    <a:pt x="99887" y="954"/>
                  </a:cubicBezTo>
                  <a:cubicBezTo>
                    <a:pt x="99887" y="954"/>
                    <a:pt x="100205" y="1272"/>
                    <a:pt x="100523" y="1272"/>
                  </a:cubicBezTo>
                  <a:cubicBezTo>
                    <a:pt x="101796" y="2863"/>
                    <a:pt x="103068" y="3499"/>
                    <a:pt x="104341" y="3817"/>
                  </a:cubicBezTo>
                  <a:cubicBezTo>
                    <a:pt x="105295" y="4454"/>
                    <a:pt x="106567" y="5090"/>
                    <a:pt x="107522" y="5090"/>
                  </a:cubicBezTo>
                  <a:cubicBezTo>
                    <a:pt x="108794" y="6044"/>
                    <a:pt x="110067" y="6362"/>
                    <a:pt x="110067" y="7635"/>
                  </a:cubicBezTo>
                  <a:cubicBezTo>
                    <a:pt x="110385" y="7635"/>
                    <a:pt x="110703" y="7953"/>
                    <a:pt x="111657" y="7953"/>
                  </a:cubicBezTo>
                  <a:cubicBezTo>
                    <a:pt x="111975" y="8589"/>
                    <a:pt x="112293" y="9225"/>
                    <a:pt x="112293" y="9861"/>
                  </a:cubicBezTo>
                  <a:lnTo>
                    <a:pt x="112293" y="10816"/>
                  </a:lnTo>
                  <a:cubicBezTo>
                    <a:pt x="111657" y="11452"/>
                    <a:pt x="105295" y="23858"/>
                    <a:pt x="104659" y="23222"/>
                  </a:cubicBezTo>
                  <a:lnTo>
                    <a:pt x="104659" y="24176"/>
                  </a:lnTo>
                  <a:lnTo>
                    <a:pt x="104341" y="24176"/>
                  </a:lnTo>
                  <a:cubicBezTo>
                    <a:pt x="104341" y="24495"/>
                    <a:pt x="104023" y="24813"/>
                    <a:pt x="103704" y="24813"/>
                  </a:cubicBezTo>
                  <a:lnTo>
                    <a:pt x="103704" y="24176"/>
                  </a:lnTo>
                  <a:cubicBezTo>
                    <a:pt x="103704" y="24176"/>
                    <a:pt x="103386" y="24176"/>
                    <a:pt x="103068" y="23858"/>
                  </a:cubicBezTo>
                  <a:cubicBezTo>
                    <a:pt x="102432" y="23858"/>
                    <a:pt x="102114" y="24176"/>
                    <a:pt x="101796" y="24176"/>
                  </a:cubicBezTo>
                  <a:lnTo>
                    <a:pt x="101796" y="24813"/>
                  </a:lnTo>
                  <a:lnTo>
                    <a:pt x="104023" y="24813"/>
                  </a:lnTo>
                  <a:lnTo>
                    <a:pt x="104023" y="25767"/>
                  </a:lnTo>
                  <a:cubicBezTo>
                    <a:pt x="103386" y="26085"/>
                    <a:pt x="103068" y="26403"/>
                    <a:pt x="103068" y="26721"/>
                  </a:cubicBezTo>
                  <a:cubicBezTo>
                    <a:pt x="103068" y="27040"/>
                    <a:pt x="103386" y="27676"/>
                    <a:pt x="103386" y="27676"/>
                  </a:cubicBezTo>
                  <a:lnTo>
                    <a:pt x="104023" y="28312"/>
                  </a:lnTo>
                  <a:cubicBezTo>
                    <a:pt x="104023" y="28630"/>
                    <a:pt x="103704" y="28630"/>
                    <a:pt x="103704" y="28630"/>
                  </a:cubicBezTo>
                  <a:cubicBezTo>
                    <a:pt x="103704" y="28948"/>
                    <a:pt x="104023" y="29584"/>
                    <a:pt x="104023" y="29903"/>
                  </a:cubicBezTo>
                  <a:cubicBezTo>
                    <a:pt x="104023" y="30221"/>
                    <a:pt x="104023" y="30221"/>
                    <a:pt x="103704" y="30539"/>
                  </a:cubicBezTo>
                  <a:cubicBezTo>
                    <a:pt x="103386" y="30539"/>
                    <a:pt x="103386" y="30857"/>
                    <a:pt x="103386" y="31175"/>
                  </a:cubicBezTo>
                  <a:cubicBezTo>
                    <a:pt x="103068" y="32447"/>
                    <a:pt x="102750" y="33402"/>
                    <a:pt x="101796" y="34038"/>
                  </a:cubicBezTo>
                  <a:cubicBezTo>
                    <a:pt x="101160" y="34674"/>
                    <a:pt x="101478" y="35310"/>
                    <a:pt x="101160" y="36583"/>
                  </a:cubicBezTo>
                  <a:lnTo>
                    <a:pt x="101160" y="37855"/>
                  </a:lnTo>
                  <a:cubicBezTo>
                    <a:pt x="100205" y="39446"/>
                    <a:pt x="99887" y="40718"/>
                    <a:pt x="99569" y="41991"/>
                  </a:cubicBezTo>
                  <a:lnTo>
                    <a:pt x="99569" y="45808"/>
                  </a:lnTo>
                  <a:cubicBezTo>
                    <a:pt x="99569" y="46762"/>
                    <a:pt x="98933" y="47717"/>
                    <a:pt x="98615" y="48671"/>
                  </a:cubicBezTo>
                  <a:lnTo>
                    <a:pt x="97978" y="49307"/>
                  </a:lnTo>
                  <a:lnTo>
                    <a:pt x="98615" y="50580"/>
                  </a:lnTo>
                  <a:lnTo>
                    <a:pt x="98615" y="50898"/>
                  </a:lnTo>
                  <a:cubicBezTo>
                    <a:pt x="97978" y="51852"/>
                    <a:pt x="98297" y="52807"/>
                    <a:pt x="97660" y="54079"/>
                  </a:cubicBezTo>
                  <a:cubicBezTo>
                    <a:pt x="96706" y="55351"/>
                    <a:pt x="96070" y="55988"/>
                    <a:pt x="96070" y="57578"/>
                  </a:cubicBezTo>
                  <a:lnTo>
                    <a:pt x="96070" y="58851"/>
                  </a:lnTo>
                  <a:lnTo>
                    <a:pt x="95115" y="58851"/>
                  </a:lnTo>
                  <a:lnTo>
                    <a:pt x="95115" y="59169"/>
                  </a:lnTo>
                  <a:cubicBezTo>
                    <a:pt x="95115" y="59805"/>
                    <a:pt x="95434" y="60123"/>
                    <a:pt x="95434" y="60441"/>
                  </a:cubicBezTo>
                  <a:lnTo>
                    <a:pt x="95434" y="60759"/>
                  </a:lnTo>
                  <a:cubicBezTo>
                    <a:pt x="94797" y="61714"/>
                    <a:pt x="94479" y="61714"/>
                    <a:pt x="93525" y="62032"/>
                  </a:cubicBezTo>
                  <a:lnTo>
                    <a:pt x="93207" y="62350"/>
                  </a:lnTo>
                  <a:cubicBezTo>
                    <a:pt x="92889" y="62350"/>
                    <a:pt x="92889" y="62350"/>
                    <a:pt x="92889" y="62668"/>
                  </a:cubicBezTo>
                  <a:cubicBezTo>
                    <a:pt x="92889" y="62986"/>
                    <a:pt x="93207" y="63622"/>
                    <a:pt x="93525" y="63622"/>
                  </a:cubicBezTo>
                  <a:lnTo>
                    <a:pt x="93843" y="63622"/>
                  </a:lnTo>
                  <a:cubicBezTo>
                    <a:pt x="94161" y="63622"/>
                    <a:pt x="94479" y="63622"/>
                    <a:pt x="94479" y="63940"/>
                  </a:cubicBezTo>
                  <a:lnTo>
                    <a:pt x="94479" y="64895"/>
                  </a:lnTo>
                  <a:cubicBezTo>
                    <a:pt x="94479" y="65531"/>
                    <a:pt x="94161" y="66167"/>
                    <a:pt x="94161" y="66167"/>
                  </a:cubicBezTo>
                  <a:cubicBezTo>
                    <a:pt x="93843" y="67440"/>
                    <a:pt x="93207" y="69030"/>
                    <a:pt x="93207" y="70303"/>
                  </a:cubicBezTo>
                  <a:cubicBezTo>
                    <a:pt x="93207" y="70621"/>
                    <a:pt x="92889" y="70939"/>
                    <a:pt x="92889" y="71257"/>
                  </a:cubicBezTo>
                  <a:lnTo>
                    <a:pt x="91298" y="71257"/>
                  </a:lnTo>
                  <a:cubicBezTo>
                    <a:pt x="90980" y="71575"/>
                    <a:pt x="90662" y="71575"/>
                    <a:pt x="90344" y="71575"/>
                  </a:cubicBezTo>
                  <a:lnTo>
                    <a:pt x="89708" y="71575"/>
                  </a:lnTo>
                  <a:cubicBezTo>
                    <a:pt x="89389" y="71575"/>
                    <a:pt x="89389" y="71893"/>
                    <a:pt x="89389" y="71893"/>
                  </a:cubicBezTo>
                  <a:cubicBezTo>
                    <a:pt x="89389" y="72529"/>
                    <a:pt x="89071" y="72848"/>
                    <a:pt x="88435" y="72848"/>
                  </a:cubicBezTo>
                  <a:cubicBezTo>
                    <a:pt x="87799" y="72848"/>
                    <a:pt x="87163" y="73166"/>
                    <a:pt x="87163" y="73484"/>
                  </a:cubicBezTo>
                  <a:cubicBezTo>
                    <a:pt x="87163" y="73802"/>
                    <a:pt x="86844" y="73802"/>
                    <a:pt x="86526" y="73802"/>
                  </a:cubicBezTo>
                  <a:lnTo>
                    <a:pt x="85572" y="73802"/>
                  </a:lnTo>
                  <a:cubicBezTo>
                    <a:pt x="85254" y="74120"/>
                    <a:pt x="85254" y="74438"/>
                    <a:pt x="85254" y="74438"/>
                  </a:cubicBezTo>
                  <a:cubicBezTo>
                    <a:pt x="85254" y="74756"/>
                    <a:pt x="85254" y="74756"/>
                    <a:pt x="85572" y="74756"/>
                  </a:cubicBezTo>
                  <a:lnTo>
                    <a:pt x="87163" y="76029"/>
                  </a:lnTo>
                  <a:cubicBezTo>
                    <a:pt x="87481" y="76029"/>
                    <a:pt x="88117" y="76029"/>
                    <a:pt x="88117" y="75074"/>
                  </a:cubicBezTo>
                  <a:cubicBezTo>
                    <a:pt x="88117" y="74756"/>
                    <a:pt x="88117" y="74438"/>
                    <a:pt x="88435" y="74438"/>
                  </a:cubicBezTo>
                  <a:cubicBezTo>
                    <a:pt x="88435" y="74120"/>
                    <a:pt x="88753" y="74120"/>
                    <a:pt x="89071" y="74120"/>
                  </a:cubicBezTo>
                  <a:cubicBezTo>
                    <a:pt x="89071" y="74120"/>
                    <a:pt x="89708" y="74438"/>
                    <a:pt x="90026" y="74756"/>
                  </a:cubicBezTo>
                  <a:cubicBezTo>
                    <a:pt x="90344" y="76029"/>
                    <a:pt x="90980" y="76665"/>
                    <a:pt x="90980" y="77937"/>
                  </a:cubicBezTo>
                  <a:lnTo>
                    <a:pt x="90980" y="78256"/>
                  </a:lnTo>
                  <a:cubicBezTo>
                    <a:pt x="90980" y="78574"/>
                    <a:pt x="90980" y="78574"/>
                    <a:pt x="90662" y="78892"/>
                  </a:cubicBezTo>
                  <a:cubicBezTo>
                    <a:pt x="90344" y="79210"/>
                    <a:pt x="90026" y="79528"/>
                    <a:pt x="90026" y="79846"/>
                  </a:cubicBezTo>
                  <a:cubicBezTo>
                    <a:pt x="90026" y="80164"/>
                    <a:pt x="90344" y="80164"/>
                    <a:pt x="90344" y="80482"/>
                  </a:cubicBezTo>
                  <a:lnTo>
                    <a:pt x="90026" y="80800"/>
                  </a:lnTo>
                  <a:lnTo>
                    <a:pt x="90026" y="81119"/>
                  </a:lnTo>
                  <a:cubicBezTo>
                    <a:pt x="90026" y="81437"/>
                    <a:pt x="90344" y="81755"/>
                    <a:pt x="90344" y="82073"/>
                  </a:cubicBezTo>
                  <a:lnTo>
                    <a:pt x="90344" y="83027"/>
                  </a:lnTo>
                  <a:cubicBezTo>
                    <a:pt x="90344" y="83982"/>
                    <a:pt x="90026" y="84300"/>
                    <a:pt x="89708" y="85254"/>
                  </a:cubicBezTo>
                  <a:lnTo>
                    <a:pt x="89071" y="85890"/>
                  </a:lnTo>
                  <a:cubicBezTo>
                    <a:pt x="88753" y="85890"/>
                    <a:pt x="88435" y="85890"/>
                    <a:pt x="88117" y="85572"/>
                  </a:cubicBezTo>
                  <a:lnTo>
                    <a:pt x="87163" y="84936"/>
                  </a:lnTo>
                  <a:cubicBezTo>
                    <a:pt x="86208" y="84936"/>
                    <a:pt x="86208" y="84936"/>
                    <a:pt x="86208" y="83982"/>
                  </a:cubicBezTo>
                  <a:cubicBezTo>
                    <a:pt x="86208" y="83027"/>
                    <a:pt x="86208" y="82709"/>
                    <a:pt x="84936" y="82709"/>
                  </a:cubicBezTo>
                  <a:lnTo>
                    <a:pt x="84618" y="82709"/>
                  </a:lnTo>
                  <a:cubicBezTo>
                    <a:pt x="84300" y="82709"/>
                    <a:pt x="84300" y="83027"/>
                    <a:pt x="83982" y="83027"/>
                  </a:cubicBezTo>
                  <a:lnTo>
                    <a:pt x="84300" y="83345"/>
                  </a:lnTo>
                  <a:cubicBezTo>
                    <a:pt x="84618" y="83345"/>
                    <a:pt x="84936" y="83345"/>
                    <a:pt x="84936" y="83663"/>
                  </a:cubicBezTo>
                  <a:lnTo>
                    <a:pt x="84936" y="84618"/>
                  </a:lnTo>
                  <a:cubicBezTo>
                    <a:pt x="84936" y="85254"/>
                    <a:pt x="85254" y="85572"/>
                    <a:pt x="85572" y="85890"/>
                  </a:cubicBezTo>
                  <a:cubicBezTo>
                    <a:pt x="85572" y="86208"/>
                    <a:pt x="86208" y="86208"/>
                    <a:pt x="85890" y="86526"/>
                  </a:cubicBezTo>
                  <a:cubicBezTo>
                    <a:pt x="85254" y="86845"/>
                    <a:pt x="84936" y="86845"/>
                    <a:pt x="84618" y="86845"/>
                  </a:cubicBezTo>
                  <a:lnTo>
                    <a:pt x="84300" y="86526"/>
                  </a:lnTo>
                  <a:lnTo>
                    <a:pt x="84300" y="85890"/>
                  </a:lnTo>
                  <a:cubicBezTo>
                    <a:pt x="84300" y="85572"/>
                    <a:pt x="84300" y="85254"/>
                    <a:pt x="83982" y="85254"/>
                  </a:cubicBezTo>
                  <a:lnTo>
                    <a:pt x="83663" y="85254"/>
                  </a:lnTo>
                  <a:cubicBezTo>
                    <a:pt x="83345" y="85254"/>
                    <a:pt x="83345" y="85254"/>
                    <a:pt x="83345" y="85572"/>
                  </a:cubicBezTo>
                  <a:cubicBezTo>
                    <a:pt x="83345" y="85890"/>
                    <a:pt x="83345" y="85890"/>
                    <a:pt x="83027" y="85890"/>
                  </a:cubicBezTo>
                  <a:cubicBezTo>
                    <a:pt x="82709" y="86208"/>
                    <a:pt x="82709" y="86208"/>
                    <a:pt x="82391" y="86208"/>
                  </a:cubicBezTo>
                  <a:cubicBezTo>
                    <a:pt x="82073" y="85572"/>
                    <a:pt x="81755" y="85254"/>
                    <a:pt x="81755" y="85254"/>
                  </a:cubicBezTo>
                  <a:cubicBezTo>
                    <a:pt x="81119" y="85254"/>
                    <a:pt x="81119" y="85572"/>
                    <a:pt x="80800" y="85890"/>
                  </a:cubicBezTo>
                  <a:cubicBezTo>
                    <a:pt x="80800" y="86208"/>
                    <a:pt x="80800" y="86526"/>
                    <a:pt x="81119" y="86526"/>
                  </a:cubicBezTo>
                  <a:cubicBezTo>
                    <a:pt x="82391" y="86845"/>
                    <a:pt x="82709" y="87163"/>
                    <a:pt x="83345" y="88117"/>
                  </a:cubicBezTo>
                  <a:cubicBezTo>
                    <a:pt x="83345" y="88435"/>
                    <a:pt x="83345" y="88435"/>
                    <a:pt x="83663" y="88435"/>
                  </a:cubicBezTo>
                  <a:cubicBezTo>
                    <a:pt x="83982" y="88435"/>
                    <a:pt x="83982" y="88435"/>
                    <a:pt x="84618" y="88117"/>
                  </a:cubicBezTo>
                  <a:cubicBezTo>
                    <a:pt x="84936" y="88117"/>
                    <a:pt x="84936" y="87799"/>
                    <a:pt x="85254" y="87799"/>
                  </a:cubicBezTo>
                  <a:cubicBezTo>
                    <a:pt x="85572" y="88435"/>
                    <a:pt x="86526" y="88753"/>
                    <a:pt x="87163" y="89708"/>
                  </a:cubicBezTo>
                  <a:lnTo>
                    <a:pt x="86526" y="89708"/>
                  </a:lnTo>
                  <a:cubicBezTo>
                    <a:pt x="86208" y="90026"/>
                    <a:pt x="85890" y="90344"/>
                    <a:pt x="85572" y="90344"/>
                  </a:cubicBezTo>
                  <a:lnTo>
                    <a:pt x="84618" y="90344"/>
                  </a:lnTo>
                  <a:cubicBezTo>
                    <a:pt x="83982" y="90344"/>
                    <a:pt x="83663" y="90662"/>
                    <a:pt x="83663" y="90980"/>
                  </a:cubicBezTo>
                  <a:cubicBezTo>
                    <a:pt x="83663" y="91298"/>
                    <a:pt x="82709" y="91934"/>
                    <a:pt x="82073" y="91934"/>
                  </a:cubicBezTo>
                  <a:cubicBezTo>
                    <a:pt x="82073" y="91934"/>
                    <a:pt x="81755" y="91934"/>
                    <a:pt x="81755" y="92252"/>
                  </a:cubicBezTo>
                  <a:lnTo>
                    <a:pt x="82709" y="93525"/>
                  </a:lnTo>
                  <a:cubicBezTo>
                    <a:pt x="82709" y="94161"/>
                    <a:pt x="83345" y="94479"/>
                    <a:pt x="83982" y="94479"/>
                  </a:cubicBezTo>
                  <a:cubicBezTo>
                    <a:pt x="84936" y="94479"/>
                    <a:pt x="85890" y="94797"/>
                    <a:pt x="87163" y="95115"/>
                  </a:cubicBezTo>
                  <a:cubicBezTo>
                    <a:pt x="87799" y="96070"/>
                    <a:pt x="88117" y="96388"/>
                    <a:pt x="88117" y="97024"/>
                  </a:cubicBezTo>
                  <a:cubicBezTo>
                    <a:pt x="88435" y="97024"/>
                    <a:pt x="88435" y="97024"/>
                    <a:pt x="88435" y="97342"/>
                  </a:cubicBezTo>
                  <a:lnTo>
                    <a:pt x="88435" y="97978"/>
                  </a:lnTo>
                  <a:cubicBezTo>
                    <a:pt x="88435" y="98615"/>
                    <a:pt x="88435" y="98933"/>
                    <a:pt x="88117" y="99569"/>
                  </a:cubicBezTo>
                  <a:cubicBezTo>
                    <a:pt x="87799" y="99887"/>
                    <a:pt x="87481" y="100523"/>
                    <a:pt x="87481" y="100841"/>
                  </a:cubicBezTo>
                  <a:lnTo>
                    <a:pt x="87481" y="104341"/>
                  </a:lnTo>
                  <a:cubicBezTo>
                    <a:pt x="87163" y="105295"/>
                    <a:pt x="87163" y="105931"/>
                    <a:pt x="87163" y="107204"/>
                  </a:cubicBezTo>
                  <a:cubicBezTo>
                    <a:pt x="87163" y="107522"/>
                    <a:pt x="87481" y="108158"/>
                    <a:pt x="87481" y="108476"/>
                  </a:cubicBezTo>
                  <a:cubicBezTo>
                    <a:pt x="87481" y="108794"/>
                    <a:pt x="87163" y="109430"/>
                    <a:pt x="87163" y="109749"/>
                  </a:cubicBezTo>
                  <a:cubicBezTo>
                    <a:pt x="86844" y="110385"/>
                    <a:pt x="86526" y="110703"/>
                    <a:pt x="86526" y="111339"/>
                  </a:cubicBezTo>
                  <a:cubicBezTo>
                    <a:pt x="86526" y="111975"/>
                    <a:pt x="86844" y="112293"/>
                    <a:pt x="87163" y="112612"/>
                  </a:cubicBezTo>
                  <a:cubicBezTo>
                    <a:pt x="87163" y="115475"/>
                    <a:pt x="86844" y="116747"/>
                    <a:pt x="86844" y="116747"/>
                  </a:cubicBezTo>
                  <a:cubicBezTo>
                    <a:pt x="86844" y="116747"/>
                    <a:pt x="86526" y="114838"/>
                    <a:pt x="86526" y="112612"/>
                  </a:cubicBezTo>
                  <a:cubicBezTo>
                    <a:pt x="86526" y="112612"/>
                    <a:pt x="86526" y="112293"/>
                    <a:pt x="86208" y="112293"/>
                  </a:cubicBezTo>
                  <a:cubicBezTo>
                    <a:pt x="85890" y="112293"/>
                    <a:pt x="85890" y="111975"/>
                    <a:pt x="85890" y="111975"/>
                  </a:cubicBezTo>
                  <a:cubicBezTo>
                    <a:pt x="85572" y="111657"/>
                    <a:pt x="85254" y="111339"/>
                    <a:pt x="84936" y="111339"/>
                  </a:cubicBezTo>
                  <a:cubicBezTo>
                    <a:pt x="84618" y="111339"/>
                    <a:pt x="84300" y="111657"/>
                    <a:pt x="84300" y="111975"/>
                  </a:cubicBezTo>
                  <a:cubicBezTo>
                    <a:pt x="83982" y="115793"/>
                    <a:pt x="83663" y="118019"/>
                    <a:pt x="83663" y="118019"/>
                  </a:cubicBezTo>
                  <a:cubicBezTo>
                    <a:pt x="83663" y="118019"/>
                    <a:pt x="83345" y="116429"/>
                    <a:pt x="83345" y="112612"/>
                  </a:cubicBezTo>
                  <a:cubicBezTo>
                    <a:pt x="83345" y="112293"/>
                    <a:pt x="83027" y="112293"/>
                    <a:pt x="82709" y="112293"/>
                  </a:cubicBezTo>
                  <a:cubicBezTo>
                    <a:pt x="83027" y="112612"/>
                    <a:pt x="83027" y="113884"/>
                    <a:pt x="83027" y="115793"/>
                  </a:cubicBezTo>
                  <a:cubicBezTo>
                    <a:pt x="83027" y="123427"/>
                    <a:pt x="81755" y="140924"/>
                    <a:pt x="80164" y="141878"/>
                  </a:cubicBezTo>
                  <a:cubicBezTo>
                    <a:pt x="79846" y="142514"/>
                    <a:pt x="79846" y="142514"/>
                    <a:pt x="79846" y="143468"/>
                  </a:cubicBezTo>
                  <a:lnTo>
                    <a:pt x="80800" y="144105"/>
                  </a:lnTo>
                  <a:cubicBezTo>
                    <a:pt x="80800" y="144105"/>
                    <a:pt x="81119" y="144105"/>
                    <a:pt x="81119" y="143787"/>
                  </a:cubicBezTo>
                  <a:cubicBezTo>
                    <a:pt x="81755" y="143787"/>
                    <a:pt x="81755" y="142832"/>
                    <a:pt x="81755" y="142514"/>
                  </a:cubicBezTo>
                  <a:cubicBezTo>
                    <a:pt x="81755" y="141560"/>
                    <a:pt x="82073" y="141560"/>
                    <a:pt x="82391" y="141560"/>
                  </a:cubicBezTo>
                  <a:cubicBezTo>
                    <a:pt x="83027" y="141878"/>
                    <a:pt x="83345" y="141878"/>
                    <a:pt x="83663" y="141878"/>
                  </a:cubicBezTo>
                  <a:cubicBezTo>
                    <a:pt x="84300" y="141878"/>
                    <a:pt x="84618" y="141878"/>
                    <a:pt x="84618" y="142832"/>
                  </a:cubicBezTo>
                  <a:cubicBezTo>
                    <a:pt x="84936" y="143150"/>
                    <a:pt x="84936" y="144105"/>
                    <a:pt x="84936" y="144423"/>
                  </a:cubicBezTo>
                  <a:cubicBezTo>
                    <a:pt x="84936" y="147604"/>
                    <a:pt x="84936" y="149513"/>
                    <a:pt x="85254" y="152376"/>
                  </a:cubicBezTo>
                  <a:lnTo>
                    <a:pt x="85254" y="153330"/>
                  </a:lnTo>
                  <a:cubicBezTo>
                    <a:pt x="84936" y="154284"/>
                    <a:pt x="84618" y="154284"/>
                    <a:pt x="84300" y="154284"/>
                  </a:cubicBezTo>
                  <a:cubicBezTo>
                    <a:pt x="83982" y="154284"/>
                    <a:pt x="83982" y="154284"/>
                    <a:pt x="83982" y="153330"/>
                  </a:cubicBezTo>
                  <a:lnTo>
                    <a:pt x="83982" y="151421"/>
                  </a:lnTo>
                  <a:cubicBezTo>
                    <a:pt x="83663" y="151421"/>
                    <a:pt x="83663" y="151103"/>
                    <a:pt x="83345" y="151103"/>
                  </a:cubicBezTo>
                  <a:lnTo>
                    <a:pt x="83027" y="151421"/>
                  </a:lnTo>
                  <a:cubicBezTo>
                    <a:pt x="82709" y="153966"/>
                    <a:pt x="82073" y="155239"/>
                    <a:pt x="82073" y="155557"/>
                  </a:cubicBezTo>
                  <a:lnTo>
                    <a:pt x="82391" y="155875"/>
                  </a:lnTo>
                  <a:lnTo>
                    <a:pt x="83027" y="155875"/>
                  </a:lnTo>
                  <a:cubicBezTo>
                    <a:pt x="83345" y="155875"/>
                    <a:pt x="83345" y="155875"/>
                    <a:pt x="83982" y="155557"/>
                  </a:cubicBezTo>
                  <a:cubicBezTo>
                    <a:pt x="83982" y="154920"/>
                    <a:pt x="84300" y="154920"/>
                    <a:pt x="84618" y="154920"/>
                  </a:cubicBezTo>
                  <a:lnTo>
                    <a:pt x="85254" y="154920"/>
                  </a:lnTo>
                  <a:cubicBezTo>
                    <a:pt x="85254" y="154920"/>
                    <a:pt x="83345" y="165418"/>
                    <a:pt x="82391" y="165736"/>
                  </a:cubicBezTo>
                  <a:cubicBezTo>
                    <a:pt x="82709" y="166372"/>
                    <a:pt x="82709" y="167327"/>
                    <a:pt x="82709" y="167645"/>
                  </a:cubicBezTo>
                  <a:lnTo>
                    <a:pt x="82709" y="167963"/>
                  </a:lnTo>
                  <a:cubicBezTo>
                    <a:pt x="82073" y="167963"/>
                    <a:pt x="81755" y="168599"/>
                    <a:pt x="81755" y="168917"/>
                  </a:cubicBezTo>
                  <a:cubicBezTo>
                    <a:pt x="81755" y="170190"/>
                    <a:pt x="77937" y="175280"/>
                    <a:pt x="76983" y="175916"/>
                  </a:cubicBezTo>
                  <a:lnTo>
                    <a:pt x="76347" y="175916"/>
                  </a:lnTo>
                  <a:cubicBezTo>
                    <a:pt x="76029" y="175916"/>
                    <a:pt x="76029" y="175280"/>
                    <a:pt x="76029" y="174007"/>
                  </a:cubicBezTo>
                  <a:cubicBezTo>
                    <a:pt x="75711" y="173053"/>
                    <a:pt x="75711" y="171144"/>
                    <a:pt x="75711" y="169235"/>
                  </a:cubicBezTo>
                  <a:lnTo>
                    <a:pt x="75711" y="162555"/>
                  </a:lnTo>
                  <a:cubicBezTo>
                    <a:pt x="75711" y="162237"/>
                    <a:pt x="75393" y="161919"/>
                    <a:pt x="75393" y="161919"/>
                  </a:cubicBezTo>
                  <a:cubicBezTo>
                    <a:pt x="75074" y="161919"/>
                    <a:pt x="74438" y="167645"/>
                    <a:pt x="73484" y="167645"/>
                  </a:cubicBezTo>
                  <a:lnTo>
                    <a:pt x="73166" y="167327"/>
                  </a:lnTo>
                  <a:lnTo>
                    <a:pt x="72529" y="167009"/>
                  </a:lnTo>
                  <a:lnTo>
                    <a:pt x="70303" y="167009"/>
                  </a:lnTo>
                  <a:cubicBezTo>
                    <a:pt x="69348" y="167009"/>
                    <a:pt x="68394" y="167327"/>
                    <a:pt x="67440" y="168917"/>
                  </a:cubicBezTo>
                  <a:cubicBezTo>
                    <a:pt x="66803" y="168917"/>
                    <a:pt x="65213" y="161919"/>
                    <a:pt x="65213" y="158420"/>
                  </a:cubicBezTo>
                  <a:cubicBezTo>
                    <a:pt x="64895" y="157465"/>
                    <a:pt x="64895" y="156829"/>
                    <a:pt x="64895" y="156511"/>
                  </a:cubicBezTo>
                  <a:cubicBezTo>
                    <a:pt x="64895" y="156193"/>
                    <a:pt x="64895" y="155875"/>
                    <a:pt x="65213" y="155557"/>
                  </a:cubicBezTo>
                  <a:lnTo>
                    <a:pt x="65213" y="154602"/>
                  </a:lnTo>
                  <a:close/>
                  <a:moveTo>
                    <a:pt x="0" y="103704"/>
                  </a:moveTo>
                  <a:lnTo>
                    <a:pt x="318" y="103386"/>
                  </a:lnTo>
                  <a:lnTo>
                    <a:pt x="636" y="103704"/>
                  </a:lnTo>
                  <a:lnTo>
                    <a:pt x="636" y="105931"/>
                  </a:lnTo>
                  <a:cubicBezTo>
                    <a:pt x="636" y="105931"/>
                    <a:pt x="0" y="105295"/>
                    <a:pt x="0" y="104341"/>
                  </a:cubicBezTo>
                  <a:lnTo>
                    <a:pt x="0" y="103704"/>
                  </a:lnTo>
                  <a:close/>
                  <a:moveTo>
                    <a:pt x="49944" y="43263"/>
                  </a:moveTo>
                  <a:cubicBezTo>
                    <a:pt x="49625" y="43581"/>
                    <a:pt x="49307" y="43899"/>
                    <a:pt x="49307" y="44536"/>
                  </a:cubicBezTo>
                  <a:cubicBezTo>
                    <a:pt x="49307" y="44854"/>
                    <a:pt x="49625" y="44854"/>
                    <a:pt x="49625" y="44854"/>
                  </a:cubicBezTo>
                  <a:lnTo>
                    <a:pt x="49625" y="45490"/>
                  </a:lnTo>
                  <a:cubicBezTo>
                    <a:pt x="48671" y="45808"/>
                    <a:pt x="48671" y="46762"/>
                    <a:pt x="48035" y="47399"/>
                  </a:cubicBezTo>
                  <a:cubicBezTo>
                    <a:pt x="47081" y="48035"/>
                    <a:pt x="46444" y="49307"/>
                    <a:pt x="44854" y="50262"/>
                  </a:cubicBezTo>
                  <a:lnTo>
                    <a:pt x="44854" y="50898"/>
                  </a:lnTo>
                  <a:cubicBezTo>
                    <a:pt x="44536" y="51852"/>
                    <a:pt x="43581" y="52170"/>
                    <a:pt x="42945" y="52488"/>
                  </a:cubicBezTo>
                  <a:cubicBezTo>
                    <a:pt x="41991" y="53125"/>
                    <a:pt x="41673" y="53761"/>
                    <a:pt x="41673" y="54715"/>
                  </a:cubicBezTo>
                  <a:cubicBezTo>
                    <a:pt x="41355" y="55670"/>
                    <a:pt x="41355" y="56624"/>
                    <a:pt x="39764" y="57260"/>
                  </a:cubicBezTo>
                  <a:lnTo>
                    <a:pt x="39446" y="57260"/>
                  </a:lnTo>
                  <a:lnTo>
                    <a:pt x="39446" y="57578"/>
                  </a:lnTo>
                  <a:cubicBezTo>
                    <a:pt x="39446" y="58851"/>
                    <a:pt x="38173" y="59805"/>
                    <a:pt x="37537" y="61077"/>
                  </a:cubicBezTo>
                  <a:cubicBezTo>
                    <a:pt x="37219" y="61396"/>
                    <a:pt x="36901" y="61714"/>
                    <a:pt x="36901" y="62032"/>
                  </a:cubicBezTo>
                  <a:lnTo>
                    <a:pt x="36901" y="62350"/>
                  </a:lnTo>
                  <a:cubicBezTo>
                    <a:pt x="36901" y="62668"/>
                    <a:pt x="36583" y="62986"/>
                    <a:pt x="35947" y="62986"/>
                  </a:cubicBezTo>
                  <a:cubicBezTo>
                    <a:pt x="35629" y="63940"/>
                    <a:pt x="34356" y="64577"/>
                    <a:pt x="34038" y="65849"/>
                  </a:cubicBezTo>
                  <a:cubicBezTo>
                    <a:pt x="34038" y="66167"/>
                    <a:pt x="33720" y="66167"/>
                    <a:pt x="33720" y="66167"/>
                  </a:cubicBezTo>
                  <a:lnTo>
                    <a:pt x="33720" y="65849"/>
                  </a:lnTo>
                  <a:cubicBezTo>
                    <a:pt x="33084" y="65849"/>
                    <a:pt x="32765" y="65531"/>
                    <a:pt x="32447" y="64895"/>
                  </a:cubicBezTo>
                  <a:cubicBezTo>
                    <a:pt x="32129" y="64895"/>
                    <a:pt x="31811" y="64577"/>
                    <a:pt x="31811" y="64895"/>
                  </a:cubicBezTo>
                  <a:cubicBezTo>
                    <a:pt x="31493" y="65531"/>
                    <a:pt x="31493" y="66167"/>
                    <a:pt x="30857" y="66167"/>
                  </a:cubicBezTo>
                  <a:cubicBezTo>
                    <a:pt x="30857" y="66167"/>
                    <a:pt x="31175" y="66803"/>
                    <a:pt x="31175" y="67122"/>
                  </a:cubicBezTo>
                  <a:lnTo>
                    <a:pt x="32129" y="67122"/>
                  </a:lnTo>
                  <a:cubicBezTo>
                    <a:pt x="32447" y="67122"/>
                    <a:pt x="32447" y="67122"/>
                    <a:pt x="32765" y="66803"/>
                  </a:cubicBezTo>
                  <a:lnTo>
                    <a:pt x="32765" y="67122"/>
                  </a:lnTo>
                  <a:cubicBezTo>
                    <a:pt x="32765" y="68076"/>
                    <a:pt x="32765" y="69348"/>
                    <a:pt x="33084" y="69985"/>
                  </a:cubicBezTo>
                  <a:lnTo>
                    <a:pt x="32765" y="70303"/>
                  </a:lnTo>
                  <a:cubicBezTo>
                    <a:pt x="32447" y="70303"/>
                    <a:pt x="32129" y="70303"/>
                    <a:pt x="31811" y="69985"/>
                  </a:cubicBezTo>
                  <a:cubicBezTo>
                    <a:pt x="31493" y="69985"/>
                    <a:pt x="31493" y="69985"/>
                    <a:pt x="31493" y="70621"/>
                  </a:cubicBezTo>
                  <a:cubicBezTo>
                    <a:pt x="31175" y="71257"/>
                    <a:pt x="30857" y="71575"/>
                    <a:pt x="30857" y="71893"/>
                  </a:cubicBezTo>
                  <a:cubicBezTo>
                    <a:pt x="29903" y="72529"/>
                    <a:pt x="30539" y="72848"/>
                    <a:pt x="29584" y="72848"/>
                  </a:cubicBezTo>
                  <a:lnTo>
                    <a:pt x="28948" y="72848"/>
                  </a:lnTo>
                  <a:cubicBezTo>
                    <a:pt x="28630" y="72848"/>
                    <a:pt x="28312" y="72848"/>
                    <a:pt x="28312" y="73166"/>
                  </a:cubicBezTo>
                  <a:lnTo>
                    <a:pt x="28630" y="73484"/>
                  </a:lnTo>
                  <a:lnTo>
                    <a:pt x="29584" y="75074"/>
                  </a:lnTo>
                  <a:lnTo>
                    <a:pt x="30539" y="75074"/>
                  </a:lnTo>
                  <a:cubicBezTo>
                    <a:pt x="30539" y="76029"/>
                    <a:pt x="30539" y="76347"/>
                    <a:pt x="29266" y="76665"/>
                  </a:cubicBezTo>
                  <a:cubicBezTo>
                    <a:pt x="28948" y="76665"/>
                    <a:pt x="28312" y="76665"/>
                    <a:pt x="28312" y="77301"/>
                  </a:cubicBezTo>
                  <a:cubicBezTo>
                    <a:pt x="27994" y="78256"/>
                    <a:pt x="27994" y="78574"/>
                    <a:pt x="27994" y="79528"/>
                  </a:cubicBezTo>
                  <a:cubicBezTo>
                    <a:pt x="27994" y="80164"/>
                    <a:pt x="27676" y="80800"/>
                    <a:pt x="27040" y="81437"/>
                  </a:cubicBezTo>
                  <a:cubicBezTo>
                    <a:pt x="26721" y="82709"/>
                    <a:pt x="26403" y="83345"/>
                    <a:pt x="26403" y="83982"/>
                  </a:cubicBezTo>
                  <a:cubicBezTo>
                    <a:pt x="26403" y="83982"/>
                    <a:pt x="26403" y="84300"/>
                    <a:pt x="26721" y="84618"/>
                  </a:cubicBezTo>
                  <a:cubicBezTo>
                    <a:pt x="26721" y="84936"/>
                    <a:pt x="27040" y="85254"/>
                    <a:pt x="27040" y="85572"/>
                  </a:cubicBezTo>
                  <a:cubicBezTo>
                    <a:pt x="27040" y="85890"/>
                    <a:pt x="26721" y="86526"/>
                    <a:pt x="26403" y="86845"/>
                  </a:cubicBezTo>
                  <a:cubicBezTo>
                    <a:pt x="25767" y="87481"/>
                    <a:pt x="25449" y="88435"/>
                    <a:pt x="24495" y="89389"/>
                  </a:cubicBezTo>
                  <a:cubicBezTo>
                    <a:pt x="23858" y="90344"/>
                    <a:pt x="23858" y="91298"/>
                    <a:pt x="22586" y="91934"/>
                  </a:cubicBezTo>
                  <a:lnTo>
                    <a:pt x="22586" y="92571"/>
                  </a:lnTo>
                  <a:cubicBezTo>
                    <a:pt x="22586" y="94797"/>
                    <a:pt x="21950" y="97024"/>
                    <a:pt x="21950" y="98615"/>
                  </a:cubicBezTo>
                  <a:cubicBezTo>
                    <a:pt x="21950" y="99251"/>
                    <a:pt x="22268" y="99569"/>
                    <a:pt x="22268" y="99887"/>
                  </a:cubicBezTo>
                  <a:lnTo>
                    <a:pt x="22268" y="100841"/>
                  </a:lnTo>
                  <a:cubicBezTo>
                    <a:pt x="21950" y="101160"/>
                    <a:pt x="21950" y="101796"/>
                    <a:pt x="21950" y="102114"/>
                  </a:cubicBezTo>
                  <a:cubicBezTo>
                    <a:pt x="21950" y="102750"/>
                    <a:pt x="21950" y="103068"/>
                    <a:pt x="22268" y="103704"/>
                  </a:cubicBezTo>
                  <a:cubicBezTo>
                    <a:pt x="22268" y="104023"/>
                    <a:pt x="22586" y="104341"/>
                    <a:pt x="22586" y="104659"/>
                  </a:cubicBezTo>
                  <a:cubicBezTo>
                    <a:pt x="22586" y="104977"/>
                    <a:pt x="22268" y="105295"/>
                    <a:pt x="22268" y="105613"/>
                  </a:cubicBezTo>
                  <a:lnTo>
                    <a:pt x="22268" y="107204"/>
                  </a:lnTo>
                  <a:cubicBezTo>
                    <a:pt x="22586" y="109112"/>
                    <a:pt x="22904" y="111021"/>
                    <a:pt x="22904" y="112930"/>
                  </a:cubicBezTo>
                  <a:cubicBezTo>
                    <a:pt x="22904" y="113248"/>
                    <a:pt x="23222" y="113566"/>
                    <a:pt x="23540" y="114202"/>
                  </a:cubicBezTo>
                  <a:cubicBezTo>
                    <a:pt x="24176" y="115156"/>
                    <a:pt x="24495" y="115475"/>
                    <a:pt x="25131" y="115793"/>
                  </a:cubicBezTo>
                  <a:cubicBezTo>
                    <a:pt x="25449" y="115793"/>
                    <a:pt x="26085" y="115475"/>
                    <a:pt x="26721" y="115156"/>
                  </a:cubicBezTo>
                  <a:lnTo>
                    <a:pt x="28312" y="114202"/>
                  </a:lnTo>
                  <a:cubicBezTo>
                    <a:pt x="28948" y="113248"/>
                    <a:pt x="29903" y="112612"/>
                    <a:pt x="30857" y="111975"/>
                  </a:cubicBezTo>
                  <a:cubicBezTo>
                    <a:pt x="32765" y="110703"/>
                    <a:pt x="33720" y="109112"/>
                    <a:pt x="34038" y="107840"/>
                  </a:cubicBezTo>
                  <a:cubicBezTo>
                    <a:pt x="34356" y="107522"/>
                    <a:pt x="34674" y="107204"/>
                    <a:pt x="34992" y="107204"/>
                  </a:cubicBezTo>
                  <a:cubicBezTo>
                    <a:pt x="36901" y="106249"/>
                    <a:pt x="38173" y="104977"/>
                    <a:pt x="38810" y="103386"/>
                  </a:cubicBezTo>
                  <a:cubicBezTo>
                    <a:pt x="39446" y="102432"/>
                    <a:pt x="40082" y="101478"/>
                    <a:pt x="40718" y="101478"/>
                  </a:cubicBezTo>
                  <a:cubicBezTo>
                    <a:pt x="41991" y="99569"/>
                    <a:pt x="43581" y="97978"/>
                    <a:pt x="44854" y="96706"/>
                  </a:cubicBezTo>
                  <a:lnTo>
                    <a:pt x="48353" y="92252"/>
                  </a:lnTo>
                  <a:cubicBezTo>
                    <a:pt x="49307" y="90980"/>
                    <a:pt x="50262" y="90344"/>
                    <a:pt x="50898" y="88753"/>
                  </a:cubicBezTo>
                  <a:lnTo>
                    <a:pt x="51534" y="87481"/>
                  </a:lnTo>
                  <a:cubicBezTo>
                    <a:pt x="52806" y="87163"/>
                    <a:pt x="53443" y="86208"/>
                    <a:pt x="53761" y="84936"/>
                  </a:cubicBezTo>
                  <a:lnTo>
                    <a:pt x="54715" y="83663"/>
                  </a:lnTo>
                  <a:cubicBezTo>
                    <a:pt x="55988" y="83027"/>
                    <a:pt x="56624" y="81119"/>
                    <a:pt x="58214" y="79846"/>
                  </a:cubicBezTo>
                  <a:cubicBezTo>
                    <a:pt x="58533" y="79210"/>
                    <a:pt x="58533" y="78892"/>
                    <a:pt x="58533" y="78574"/>
                  </a:cubicBezTo>
                  <a:cubicBezTo>
                    <a:pt x="58851" y="78256"/>
                    <a:pt x="58851" y="77619"/>
                    <a:pt x="59487" y="76983"/>
                  </a:cubicBezTo>
                  <a:cubicBezTo>
                    <a:pt x="60759" y="76347"/>
                    <a:pt x="61714" y="74756"/>
                    <a:pt x="62032" y="73166"/>
                  </a:cubicBezTo>
                  <a:cubicBezTo>
                    <a:pt x="62668" y="72211"/>
                    <a:pt x="62668" y="71575"/>
                    <a:pt x="63622" y="71575"/>
                  </a:cubicBezTo>
                  <a:lnTo>
                    <a:pt x="63940" y="71575"/>
                  </a:lnTo>
                  <a:cubicBezTo>
                    <a:pt x="64259" y="71575"/>
                    <a:pt x="64259" y="71257"/>
                    <a:pt x="64259" y="70939"/>
                  </a:cubicBezTo>
                  <a:lnTo>
                    <a:pt x="64259" y="70621"/>
                  </a:lnTo>
                  <a:cubicBezTo>
                    <a:pt x="64259" y="70303"/>
                    <a:pt x="64259" y="69666"/>
                    <a:pt x="64577" y="69666"/>
                  </a:cubicBezTo>
                  <a:cubicBezTo>
                    <a:pt x="64895" y="69348"/>
                    <a:pt x="65213" y="69030"/>
                    <a:pt x="65213" y="68394"/>
                  </a:cubicBezTo>
                  <a:cubicBezTo>
                    <a:pt x="65531" y="67440"/>
                    <a:pt x="66485" y="66803"/>
                    <a:pt x="67122" y="66803"/>
                  </a:cubicBezTo>
                  <a:cubicBezTo>
                    <a:pt x="68076" y="66803"/>
                    <a:pt x="68712" y="66167"/>
                    <a:pt x="69030" y="65213"/>
                  </a:cubicBezTo>
                  <a:cubicBezTo>
                    <a:pt x="69348" y="64895"/>
                    <a:pt x="69348" y="64577"/>
                    <a:pt x="69348" y="64577"/>
                  </a:cubicBezTo>
                  <a:cubicBezTo>
                    <a:pt x="69030" y="63940"/>
                    <a:pt x="69030" y="63622"/>
                    <a:pt x="69030" y="63304"/>
                  </a:cubicBezTo>
                  <a:cubicBezTo>
                    <a:pt x="68394" y="62668"/>
                    <a:pt x="68076" y="62032"/>
                    <a:pt x="68076" y="61396"/>
                  </a:cubicBezTo>
                  <a:cubicBezTo>
                    <a:pt x="68076" y="60759"/>
                    <a:pt x="68394" y="60123"/>
                    <a:pt x="69030" y="59487"/>
                  </a:cubicBezTo>
                  <a:lnTo>
                    <a:pt x="70303" y="57896"/>
                  </a:lnTo>
                  <a:cubicBezTo>
                    <a:pt x="70621" y="57578"/>
                    <a:pt x="70621" y="57260"/>
                    <a:pt x="70939" y="57260"/>
                  </a:cubicBezTo>
                  <a:lnTo>
                    <a:pt x="71575" y="57260"/>
                  </a:lnTo>
                  <a:cubicBezTo>
                    <a:pt x="72211" y="56942"/>
                    <a:pt x="72211" y="56306"/>
                    <a:pt x="72848" y="55988"/>
                  </a:cubicBezTo>
                  <a:lnTo>
                    <a:pt x="73166" y="55988"/>
                  </a:lnTo>
                  <a:cubicBezTo>
                    <a:pt x="73484" y="55988"/>
                    <a:pt x="73802" y="55670"/>
                    <a:pt x="73802" y="55351"/>
                  </a:cubicBezTo>
                  <a:cubicBezTo>
                    <a:pt x="73802" y="54079"/>
                    <a:pt x="74438" y="52807"/>
                    <a:pt x="75074" y="51852"/>
                  </a:cubicBezTo>
                  <a:cubicBezTo>
                    <a:pt x="75393" y="51216"/>
                    <a:pt x="75711" y="50262"/>
                    <a:pt x="75711" y="49307"/>
                  </a:cubicBezTo>
                  <a:lnTo>
                    <a:pt x="75711" y="48989"/>
                  </a:lnTo>
                  <a:cubicBezTo>
                    <a:pt x="75393" y="48989"/>
                    <a:pt x="75393" y="48989"/>
                    <a:pt x="75393" y="48671"/>
                  </a:cubicBezTo>
                  <a:cubicBezTo>
                    <a:pt x="75393" y="48671"/>
                    <a:pt x="75393" y="48353"/>
                    <a:pt x="75711" y="48035"/>
                  </a:cubicBezTo>
                  <a:cubicBezTo>
                    <a:pt x="75711" y="48035"/>
                    <a:pt x="76029" y="47717"/>
                    <a:pt x="76029" y="47399"/>
                  </a:cubicBezTo>
                  <a:cubicBezTo>
                    <a:pt x="76029" y="47081"/>
                    <a:pt x="75711" y="47081"/>
                    <a:pt x="75711" y="46762"/>
                  </a:cubicBezTo>
                  <a:cubicBezTo>
                    <a:pt x="75393" y="46762"/>
                    <a:pt x="75393" y="46762"/>
                    <a:pt x="75393" y="46444"/>
                  </a:cubicBezTo>
                  <a:cubicBezTo>
                    <a:pt x="75393" y="46444"/>
                    <a:pt x="75393" y="46126"/>
                    <a:pt x="75711" y="45808"/>
                  </a:cubicBezTo>
                  <a:cubicBezTo>
                    <a:pt x="75711" y="45490"/>
                    <a:pt x="75711" y="45172"/>
                    <a:pt x="75393" y="44854"/>
                  </a:cubicBezTo>
                  <a:cubicBezTo>
                    <a:pt x="74120" y="43899"/>
                    <a:pt x="73166" y="42627"/>
                    <a:pt x="72211" y="41355"/>
                  </a:cubicBezTo>
                  <a:cubicBezTo>
                    <a:pt x="71575" y="40718"/>
                    <a:pt x="70939" y="40400"/>
                    <a:pt x="70621" y="39446"/>
                  </a:cubicBezTo>
                  <a:cubicBezTo>
                    <a:pt x="70621" y="38810"/>
                    <a:pt x="70303" y="37855"/>
                    <a:pt x="69985" y="37537"/>
                  </a:cubicBezTo>
                  <a:cubicBezTo>
                    <a:pt x="69030" y="36901"/>
                    <a:pt x="68712" y="36265"/>
                    <a:pt x="68076" y="35310"/>
                  </a:cubicBezTo>
                  <a:cubicBezTo>
                    <a:pt x="67440" y="34992"/>
                    <a:pt x="67440" y="34356"/>
                    <a:pt x="66803" y="34038"/>
                  </a:cubicBezTo>
                  <a:cubicBezTo>
                    <a:pt x="64895" y="32129"/>
                    <a:pt x="64895" y="32129"/>
                    <a:pt x="62668" y="31493"/>
                  </a:cubicBezTo>
                  <a:lnTo>
                    <a:pt x="61714" y="31493"/>
                  </a:lnTo>
                  <a:cubicBezTo>
                    <a:pt x="61396" y="31175"/>
                    <a:pt x="61396" y="31175"/>
                    <a:pt x="60759" y="31175"/>
                  </a:cubicBezTo>
                  <a:cubicBezTo>
                    <a:pt x="60441" y="31175"/>
                    <a:pt x="59805" y="31493"/>
                    <a:pt x="59169" y="31811"/>
                  </a:cubicBezTo>
                  <a:cubicBezTo>
                    <a:pt x="58214" y="32447"/>
                    <a:pt x="57260" y="33402"/>
                    <a:pt x="56306" y="33720"/>
                  </a:cubicBezTo>
                  <a:lnTo>
                    <a:pt x="55670" y="34356"/>
                  </a:lnTo>
                  <a:cubicBezTo>
                    <a:pt x="55352" y="34356"/>
                    <a:pt x="55033" y="34992"/>
                    <a:pt x="55033" y="35310"/>
                  </a:cubicBezTo>
                  <a:cubicBezTo>
                    <a:pt x="53761" y="35629"/>
                    <a:pt x="53443" y="36583"/>
                    <a:pt x="53443" y="37855"/>
                  </a:cubicBezTo>
                  <a:lnTo>
                    <a:pt x="53443" y="38492"/>
                  </a:lnTo>
                  <a:cubicBezTo>
                    <a:pt x="53443" y="39764"/>
                    <a:pt x="52806" y="40718"/>
                    <a:pt x="51534" y="41355"/>
                  </a:cubicBezTo>
                  <a:lnTo>
                    <a:pt x="51534" y="41036"/>
                  </a:lnTo>
                  <a:cubicBezTo>
                    <a:pt x="51216" y="40082"/>
                    <a:pt x="50898" y="39764"/>
                    <a:pt x="50580" y="39764"/>
                  </a:cubicBezTo>
                  <a:cubicBezTo>
                    <a:pt x="50262" y="39764"/>
                    <a:pt x="50262" y="40082"/>
                    <a:pt x="50262" y="40400"/>
                  </a:cubicBezTo>
                  <a:cubicBezTo>
                    <a:pt x="50262" y="40718"/>
                    <a:pt x="50580" y="41355"/>
                    <a:pt x="51852" y="41355"/>
                  </a:cubicBezTo>
                  <a:cubicBezTo>
                    <a:pt x="51216" y="41991"/>
                    <a:pt x="51534" y="42945"/>
                    <a:pt x="49944" y="43263"/>
                  </a:cubicBezTo>
                  <a:close/>
                  <a:moveTo>
                    <a:pt x="33084" y="64577"/>
                  </a:moveTo>
                  <a:cubicBezTo>
                    <a:pt x="33402" y="64577"/>
                    <a:pt x="33720" y="64259"/>
                    <a:pt x="33720" y="63940"/>
                  </a:cubicBezTo>
                  <a:cubicBezTo>
                    <a:pt x="33720" y="63622"/>
                    <a:pt x="33720" y="63304"/>
                    <a:pt x="33402" y="62986"/>
                  </a:cubicBezTo>
                  <a:cubicBezTo>
                    <a:pt x="33084" y="62986"/>
                    <a:pt x="32765" y="63304"/>
                    <a:pt x="32765" y="63622"/>
                  </a:cubicBezTo>
                  <a:cubicBezTo>
                    <a:pt x="32765" y="63940"/>
                    <a:pt x="32765" y="64577"/>
                    <a:pt x="33084" y="64577"/>
                  </a:cubicBezTo>
                  <a:close/>
                  <a:moveTo>
                    <a:pt x="63940" y="108476"/>
                  </a:moveTo>
                  <a:lnTo>
                    <a:pt x="63622" y="108476"/>
                  </a:lnTo>
                  <a:cubicBezTo>
                    <a:pt x="62986" y="107840"/>
                    <a:pt x="62668" y="107522"/>
                    <a:pt x="62668" y="107204"/>
                  </a:cubicBezTo>
                  <a:lnTo>
                    <a:pt x="62668" y="106886"/>
                  </a:lnTo>
                  <a:lnTo>
                    <a:pt x="62986" y="106567"/>
                  </a:lnTo>
                  <a:cubicBezTo>
                    <a:pt x="62986" y="106567"/>
                    <a:pt x="63304" y="106567"/>
                    <a:pt x="63304" y="106886"/>
                  </a:cubicBezTo>
                  <a:cubicBezTo>
                    <a:pt x="63622" y="107204"/>
                    <a:pt x="63940" y="107522"/>
                    <a:pt x="63940" y="107840"/>
                  </a:cubicBezTo>
                  <a:lnTo>
                    <a:pt x="63940" y="108476"/>
                  </a:lnTo>
                  <a:close/>
                  <a:moveTo>
                    <a:pt x="77937" y="101796"/>
                  </a:moveTo>
                  <a:cubicBezTo>
                    <a:pt x="77937" y="101478"/>
                    <a:pt x="77619" y="101160"/>
                    <a:pt x="77619" y="100841"/>
                  </a:cubicBezTo>
                  <a:cubicBezTo>
                    <a:pt x="77619" y="100523"/>
                    <a:pt x="77619" y="100523"/>
                    <a:pt x="77937" y="100205"/>
                  </a:cubicBezTo>
                  <a:lnTo>
                    <a:pt x="77937" y="98933"/>
                  </a:lnTo>
                  <a:cubicBezTo>
                    <a:pt x="77619" y="98615"/>
                    <a:pt x="77619" y="97978"/>
                    <a:pt x="77619" y="97660"/>
                  </a:cubicBezTo>
                  <a:lnTo>
                    <a:pt x="77619" y="96706"/>
                  </a:lnTo>
                  <a:cubicBezTo>
                    <a:pt x="77301" y="96706"/>
                    <a:pt x="76983" y="97024"/>
                    <a:pt x="76983" y="97024"/>
                  </a:cubicBezTo>
                  <a:cubicBezTo>
                    <a:pt x="76347" y="97978"/>
                    <a:pt x="76347" y="98297"/>
                    <a:pt x="76347" y="98933"/>
                  </a:cubicBezTo>
                  <a:lnTo>
                    <a:pt x="76347" y="99887"/>
                  </a:lnTo>
                  <a:cubicBezTo>
                    <a:pt x="76347" y="100841"/>
                    <a:pt x="76983" y="101478"/>
                    <a:pt x="77301" y="101796"/>
                  </a:cubicBezTo>
                  <a:cubicBezTo>
                    <a:pt x="77619" y="102114"/>
                    <a:pt x="77619" y="102114"/>
                    <a:pt x="77937" y="102114"/>
                  </a:cubicBezTo>
                  <a:lnTo>
                    <a:pt x="77937" y="101796"/>
                  </a:lnTo>
                  <a:close/>
                  <a:moveTo>
                    <a:pt x="78892" y="91298"/>
                  </a:moveTo>
                  <a:cubicBezTo>
                    <a:pt x="78574" y="91934"/>
                    <a:pt x="78255" y="92571"/>
                    <a:pt x="78255" y="93207"/>
                  </a:cubicBezTo>
                  <a:cubicBezTo>
                    <a:pt x="78255" y="93525"/>
                    <a:pt x="78255" y="93843"/>
                    <a:pt x="78574" y="94479"/>
                  </a:cubicBezTo>
                  <a:cubicBezTo>
                    <a:pt x="78574" y="94479"/>
                    <a:pt x="78892" y="94797"/>
                    <a:pt x="78892" y="95115"/>
                  </a:cubicBezTo>
                  <a:cubicBezTo>
                    <a:pt x="78892" y="95434"/>
                    <a:pt x="78574" y="95752"/>
                    <a:pt x="78574" y="96070"/>
                  </a:cubicBezTo>
                  <a:lnTo>
                    <a:pt x="78574" y="96706"/>
                  </a:lnTo>
                  <a:cubicBezTo>
                    <a:pt x="78574" y="97024"/>
                    <a:pt x="78892" y="97024"/>
                    <a:pt x="79210" y="97342"/>
                  </a:cubicBezTo>
                  <a:cubicBezTo>
                    <a:pt x="79528" y="97660"/>
                    <a:pt x="79846" y="97660"/>
                    <a:pt x="79846" y="97660"/>
                  </a:cubicBezTo>
                  <a:lnTo>
                    <a:pt x="80164" y="97342"/>
                  </a:lnTo>
                  <a:cubicBezTo>
                    <a:pt x="79846" y="97024"/>
                    <a:pt x="79846" y="97024"/>
                    <a:pt x="79846" y="96706"/>
                  </a:cubicBezTo>
                  <a:lnTo>
                    <a:pt x="79528" y="96388"/>
                  </a:lnTo>
                  <a:cubicBezTo>
                    <a:pt x="79528" y="95434"/>
                    <a:pt x="79528" y="94479"/>
                    <a:pt x="79846" y="93525"/>
                  </a:cubicBezTo>
                  <a:cubicBezTo>
                    <a:pt x="80164" y="93207"/>
                    <a:pt x="80164" y="92889"/>
                    <a:pt x="80164" y="92571"/>
                  </a:cubicBezTo>
                  <a:lnTo>
                    <a:pt x="80164" y="91298"/>
                  </a:lnTo>
                  <a:cubicBezTo>
                    <a:pt x="80164" y="90980"/>
                    <a:pt x="79528" y="90980"/>
                    <a:pt x="78892" y="90662"/>
                  </a:cubicBezTo>
                  <a:cubicBezTo>
                    <a:pt x="79210" y="90662"/>
                    <a:pt x="79210" y="90026"/>
                    <a:pt x="79528" y="89708"/>
                  </a:cubicBezTo>
                  <a:lnTo>
                    <a:pt x="79528" y="89389"/>
                  </a:lnTo>
                  <a:cubicBezTo>
                    <a:pt x="78574" y="89708"/>
                    <a:pt x="78255" y="89708"/>
                    <a:pt x="78255" y="90026"/>
                  </a:cubicBezTo>
                  <a:cubicBezTo>
                    <a:pt x="78255" y="90344"/>
                    <a:pt x="78574" y="90662"/>
                    <a:pt x="78892" y="90980"/>
                  </a:cubicBezTo>
                  <a:lnTo>
                    <a:pt x="78892" y="91298"/>
                  </a:lnTo>
                  <a:close/>
                  <a:moveTo>
                    <a:pt x="79210" y="84618"/>
                  </a:moveTo>
                  <a:lnTo>
                    <a:pt x="79210" y="84936"/>
                  </a:lnTo>
                  <a:cubicBezTo>
                    <a:pt x="79528" y="84936"/>
                    <a:pt x="79528" y="84618"/>
                    <a:pt x="79528" y="84618"/>
                  </a:cubicBezTo>
                  <a:lnTo>
                    <a:pt x="79210" y="84618"/>
                  </a:lnTo>
                  <a:close/>
                  <a:moveTo>
                    <a:pt x="81755" y="101796"/>
                  </a:moveTo>
                  <a:cubicBezTo>
                    <a:pt x="82391" y="101796"/>
                    <a:pt x="83027" y="102114"/>
                    <a:pt x="83982" y="102114"/>
                  </a:cubicBezTo>
                  <a:lnTo>
                    <a:pt x="84300" y="102114"/>
                  </a:lnTo>
                  <a:cubicBezTo>
                    <a:pt x="84618" y="101478"/>
                    <a:pt x="84936" y="101160"/>
                    <a:pt x="84936" y="100841"/>
                  </a:cubicBezTo>
                  <a:lnTo>
                    <a:pt x="84618" y="100523"/>
                  </a:lnTo>
                  <a:cubicBezTo>
                    <a:pt x="84300" y="100841"/>
                    <a:pt x="83663" y="101160"/>
                    <a:pt x="83027" y="101160"/>
                  </a:cubicBezTo>
                  <a:cubicBezTo>
                    <a:pt x="83027" y="101160"/>
                    <a:pt x="82391" y="100523"/>
                    <a:pt x="82073" y="100523"/>
                  </a:cubicBezTo>
                  <a:lnTo>
                    <a:pt x="82073" y="99887"/>
                  </a:lnTo>
                  <a:cubicBezTo>
                    <a:pt x="82073" y="99569"/>
                    <a:pt x="82073" y="99251"/>
                    <a:pt x="81755" y="99251"/>
                  </a:cubicBezTo>
                  <a:cubicBezTo>
                    <a:pt x="80800" y="99251"/>
                    <a:pt x="80164" y="99251"/>
                    <a:pt x="79846" y="98615"/>
                  </a:cubicBezTo>
                  <a:cubicBezTo>
                    <a:pt x="79528" y="98615"/>
                    <a:pt x="79210" y="98297"/>
                    <a:pt x="79210" y="98615"/>
                  </a:cubicBezTo>
                  <a:cubicBezTo>
                    <a:pt x="79528" y="100205"/>
                    <a:pt x="79846" y="101160"/>
                    <a:pt x="80800" y="101796"/>
                  </a:cubicBezTo>
                  <a:lnTo>
                    <a:pt x="81755" y="101796"/>
                  </a:lnTo>
                  <a:close/>
                  <a:moveTo>
                    <a:pt x="80800" y="148558"/>
                  </a:moveTo>
                  <a:lnTo>
                    <a:pt x="81755" y="148558"/>
                  </a:lnTo>
                  <a:lnTo>
                    <a:pt x="81755" y="148240"/>
                  </a:lnTo>
                  <a:cubicBezTo>
                    <a:pt x="81755" y="148240"/>
                    <a:pt x="81119" y="147922"/>
                    <a:pt x="80800" y="147922"/>
                  </a:cubicBezTo>
                  <a:lnTo>
                    <a:pt x="80800" y="148558"/>
                  </a:lnTo>
                  <a:close/>
                  <a:moveTo>
                    <a:pt x="81755" y="76029"/>
                  </a:moveTo>
                  <a:lnTo>
                    <a:pt x="81119" y="76029"/>
                  </a:lnTo>
                  <a:cubicBezTo>
                    <a:pt x="81119" y="76029"/>
                    <a:pt x="81437" y="76347"/>
                    <a:pt x="81755" y="76347"/>
                  </a:cubicBezTo>
                  <a:lnTo>
                    <a:pt x="81119" y="76347"/>
                  </a:lnTo>
                  <a:cubicBezTo>
                    <a:pt x="82709" y="77619"/>
                    <a:pt x="83982" y="78574"/>
                    <a:pt x="85254" y="79210"/>
                  </a:cubicBezTo>
                  <a:cubicBezTo>
                    <a:pt x="85254" y="79528"/>
                    <a:pt x="85254" y="79210"/>
                    <a:pt x="85572" y="79210"/>
                  </a:cubicBezTo>
                  <a:cubicBezTo>
                    <a:pt x="84618" y="77619"/>
                    <a:pt x="83345" y="76983"/>
                    <a:pt x="81755" y="76029"/>
                  </a:cubicBezTo>
                  <a:close/>
                  <a:moveTo>
                    <a:pt x="82073" y="104341"/>
                  </a:moveTo>
                  <a:lnTo>
                    <a:pt x="82709" y="104977"/>
                  </a:lnTo>
                  <a:cubicBezTo>
                    <a:pt x="82709" y="104977"/>
                    <a:pt x="82709" y="104659"/>
                    <a:pt x="82391" y="104341"/>
                  </a:cubicBezTo>
                  <a:lnTo>
                    <a:pt x="82073" y="104341"/>
                  </a:lnTo>
                  <a:close/>
                  <a:moveTo>
                    <a:pt x="82391" y="110703"/>
                  </a:moveTo>
                  <a:lnTo>
                    <a:pt x="82391" y="111021"/>
                  </a:lnTo>
                  <a:cubicBezTo>
                    <a:pt x="82391" y="111021"/>
                    <a:pt x="82709" y="111657"/>
                    <a:pt x="82709" y="111339"/>
                  </a:cubicBezTo>
                  <a:cubicBezTo>
                    <a:pt x="83027" y="111339"/>
                    <a:pt x="83027" y="111021"/>
                    <a:pt x="83027" y="110703"/>
                  </a:cubicBezTo>
                  <a:lnTo>
                    <a:pt x="82391" y="110703"/>
                  </a:lnTo>
                  <a:close/>
                  <a:moveTo>
                    <a:pt x="83663" y="147604"/>
                  </a:moveTo>
                  <a:cubicBezTo>
                    <a:pt x="83663" y="147604"/>
                    <a:pt x="83345" y="147286"/>
                    <a:pt x="83027" y="147286"/>
                  </a:cubicBezTo>
                  <a:cubicBezTo>
                    <a:pt x="82709" y="147286"/>
                    <a:pt x="82709" y="146968"/>
                    <a:pt x="82709" y="146968"/>
                  </a:cubicBezTo>
                  <a:lnTo>
                    <a:pt x="82391" y="147286"/>
                  </a:lnTo>
                  <a:cubicBezTo>
                    <a:pt x="82391" y="147286"/>
                    <a:pt x="82709" y="147922"/>
                    <a:pt x="83345" y="147922"/>
                  </a:cubicBezTo>
                  <a:cubicBezTo>
                    <a:pt x="83345" y="147922"/>
                    <a:pt x="83663" y="147922"/>
                    <a:pt x="83663" y="147604"/>
                  </a:cubicBezTo>
                  <a:close/>
                  <a:moveTo>
                    <a:pt x="84618" y="70939"/>
                  </a:moveTo>
                  <a:lnTo>
                    <a:pt x="84618" y="70621"/>
                  </a:lnTo>
                  <a:cubicBezTo>
                    <a:pt x="84618" y="69985"/>
                    <a:pt x="84300" y="69666"/>
                    <a:pt x="83982" y="69666"/>
                  </a:cubicBezTo>
                  <a:lnTo>
                    <a:pt x="83663" y="69666"/>
                  </a:lnTo>
                  <a:cubicBezTo>
                    <a:pt x="83345" y="69985"/>
                    <a:pt x="83027" y="70303"/>
                    <a:pt x="83027" y="70621"/>
                  </a:cubicBezTo>
                  <a:cubicBezTo>
                    <a:pt x="83027" y="70939"/>
                    <a:pt x="83345" y="70939"/>
                    <a:pt x="83345" y="71257"/>
                  </a:cubicBezTo>
                  <a:cubicBezTo>
                    <a:pt x="83663" y="71257"/>
                    <a:pt x="83982" y="71257"/>
                    <a:pt x="83982" y="71575"/>
                  </a:cubicBezTo>
                  <a:cubicBezTo>
                    <a:pt x="84300" y="71257"/>
                    <a:pt x="84618" y="71257"/>
                    <a:pt x="84618" y="70939"/>
                  </a:cubicBezTo>
                  <a:close/>
                  <a:moveTo>
                    <a:pt x="83345" y="96070"/>
                  </a:moveTo>
                  <a:cubicBezTo>
                    <a:pt x="83663" y="96070"/>
                    <a:pt x="83663" y="95752"/>
                    <a:pt x="83663" y="95752"/>
                  </a:cubicBezTo>
                  <a:cubicBezTo>
                    <a:pt x="83663" y="95752"/>
                    <a:pt x="83345" y="95752"/>
                    <a:pt x="83345" y="95434"/>
                  </a:cubicBezTo>
                  <a:lnTo>
                    <a:pt x="83345" y="96070"/>
                  </a:lnTo>
                  <a:close/>
                  <a:moveTo>
                    <a:pt x="85254" y="98297"/>
                  </a:moveTo>
                  <a:lnTo>
                    <a:pt x="85890" y="98933"/>
                  </a:lnTo>
                  <a:lnTo>
                    <a:pt x="85890" y="98297"/>
                  </a:lnTo>
                  <a:lnTo>
                    <a:pt x="86526" y="97024"/>
                  </a:lnTo>
                  <a:cubicBezTo>
                    <a:pt x="86526" y="97024"/>
                    <a:pt x="85890" y="96388"/>
                    <a:pt x="85572" y="96388"/>
                  </a:cubicBezTo>
                  <a:cubicBezTo>
                    <a:pt x="85254" y="96388"/>
                    <a:pt x="85254" y="97024"/>
                    <a:pt x="85254" y="97024"/>
                  </a:cubicBezTo>
                  <a:cubicBezTo>
                    <a:pt x="85254" y="97024"/>
                    <a:pt x="85254" y="97342"/>
                    <a:pt x="84936" y="97660"/>
                  </a:cubicBezTo>
                  <a:cubicBezTo>
                    <a:pt x="85254" y="97978"/>
                    <a:pt x="85254" y="98297"/>
                    <a:pt x="85254" y="98297"/>
                  </a:cubicBezTo>
                  <a:close/>
                  <a:moveTo>
                    <a:pt x="85890" y="110067"/>
                  </a:moveTo>
                  <a:lnTo>
                    <a:pt x="85890" y="109749"/>
                  </a:lnTo>
                  <a:cubicBezTo>
                    <a:pt x="85572" y="109749"/>
                    <a:pt x="85254" y="109430"/>
                    <a:pt x="85254" y="109430"/>
                  </a:cubicBezTo>
                  <a:lnTo>
                    <a:pt x="85254" y="110067"/>
                  </a:lnTo>
                  <a:lnTo>
                    <a:pt x="85890" y="110067"/>
                  </a:lnTo>
                  <a:close/>
                  <a:moveTo>
                    <a:pt x="86526" y="92571"/>
                  </a:moveTo>
                  <a:lnTo>
                    <a:pt x="86208" y="92571"/>
                  </a:lnTo>
                  <a:cubicBezTo>
                    <a:pt x="85890" y="92571"/>
                    <a:pt x="85572" y="92571"/>
                    <a:pt x="85572" y="92252"/>
                  </a:cubicBezTo>
                  <a:cubicBezTo>
                    <a:pt x="85572" y="91934"/>
                    <a:pt x="85572" y="91934"/>
                    <a:pt x="85890" y="91616"/>
                  </a:cubicBezTo>
                  <a:lnTo>
                    <a:pt x="86208" y="91616"/>
                  </a:lnTo>
                  <a:cubicBezTo>
                    <a:pt x="86526" y="91934"/>
                    <a:pt x="86526" y="92252"/>
                    <a:pt x="87163" y="92252"/>
                  </a:cubicBezTo>
                  <a:lnTo>
                    <a:pt x="86526" y="92571"/>
                  </a:lnTo>
                  <a:close/>
                  <a:moveTo>
                    <a:pt x="87163" y="69030"/>
                  </a:moveTo>
                  <a:lnTo>
                    <a:pt x="87163" y="69348"/>
                  </a:lnTo>
                  <a:cubicBezTo>
                    <a:pt x="87163" y="69666"/>
                    <a:pt x="87163" y="69666"/>
                    <a:pt x="87481" y="69666"/>
                  </a:cubicBezTo>
                  <a:lnTo>
                    <a:pt x="88435" y="69666"/>
                  </a:lnTo>
                  <a:cubicBezTo>
                    <a:pt x="88435" y="69666"/>
                    <a:pt x="88435" y="69348"/>
                    <a:pt x="88117" y="69030"/>
                  </a:cubicBezTo>
                  <a:cubicBezTo>
                    <a:pt x="88117" y="68712"/>
                    <a:pt x="87799" y="68712"/>
                    <a:pt x="87481" y="68712"/>
                  </a:cubicBezTo>
                  <a:lnTo>
                    <a:pt x="87163" y="69030"/>
                  </a:lnTo>
                  <a:close/>
                  <a:moveTo>
                    <a:pt x="87799" y="80800"/>
                  </a:moveTo>
                  <a:lnTo>
                    <a:pt x="87163" y="80800"/>
                  </a:lnTo>
                  <a:lnTo>
                    <a:pt x="87163" y="81119"/>
                  </a:lnTo>
                  <a:cubicBezTo>
                    <a:pt x="87163" y="81437"/>
                    <a:pt x="87481" y="81755"/>
                    <a:pt x="87481" y="81755"/>
                  </a:cubicBezTo>
                  <a:lnTo>
                    <a:pt x="87799" y="81755"/>
                  </a:lnTo>
                  <a:cubicBezTo>
                    <a:pt x="88117" y="81755"/>
                    <a:pt x="88435" y="81437"/>
                    <a:pt x="88435" y="81119"/>
                  </a:cubicBezTo>
                  <a:cubicBezTo>
                    <a:pt x="88117" y="80800"/>
                    <a:pt x="87799" y="80800"/>
                    <a:pt x="87799" y="80800"/>
                  </a:cubicBezTo>
                  <a:close/>
                  <a:moveTo>
                    <a:pt x="87799" y="79528"/>
                  </a:moveTo>
                  <a:lnTo>
                    <a:pt x="87799" y="79210"/>
                  </a:lnTo>
                  <a:cubicBezTo>
                    <a:pt x="87799" y="79528"/>
                    <a:pt x="87481" y="79528"/>
                    <a:pt x="87481" y="79528"/>
                  </a:cubicBezTo>
                  <a:lnTo>
                    <a:pt x="87799" y="79528"/>
                  </a:lnTo>
                  <a:close/>
                  <a:moveTo>
                    <a:pt x="88435" y="83663"/>
                  </a:moveTo>
                  <a:cubicBezTo>
                    <a:pt x="88435" y="83345"/>
                    <a:pt x="88753" y="83345"/>
                    <a:pt x="88753" y="83345"/>
                  </a:cubicBezTo>
                  <a:cubicBezTo>
                    <a:pt x="88753" y="83027"/>
                    <a:pt x="88435" y="82709"/>
                    <a:pt x="88435" y="82709"/>
                  </a:cubicBezTo>
                  <a:lnTo>
                    <a:pt x="87799" y="82709"/>
                  </a:lnTo>
                  <a:cubicBezTo>
                    <a:pt x="87799" y="83027"/>
                    <a:pt x="87799" y="83345"/>
                    <a:pt x="88117" y="83663"/>
                  </a:cubicBezTo>
                  <a:lnTo>
                    <a:pt x="88435" y="83663"/>
                  </a:lnTo>
                  <a:close/>
                  <a:moveTo>
                    <a:pt x="88753" y="66167"/>
                  </a:moveTo>
                  <a:lnTo>
                    <a:pt x="89389" y="66167"/>
                  </a:lnTo>
                  <a:cubicBezTo>
                    <a:pt x="90026" y="66167"/>
                    <a:pt x="90344" y="66167"/>
                    <a:pt x="90344" y="66485"/>
                  </a:cubicBezTo>
                  <a:lnTo>
                    <a:pt x="91298" y="67758"/>
                  </a:lnTo>
                  <a:lnTo>
                    <a:pt x="92252" y="67758"/>
                  </a:lnTo>
                  <a:lnTo>
                    <a:pt x="92252" y="67440"/>
                  </a:lnTo>
                  <a:cubicBezTo>
                    <a:pt x="91934" y="66167"/>
                    <a:pt x="90344" y="65213"/>
                    <a:pt x="89071" y="64259"/>
                  </a:cubicBezTo>
                  <a:cubicBezTo>
                    <a:pt x="89071" y="64895"/>
                    <a:pt x="88753" y="65213"/>
                    <a:pt x="88753" y="65213"/>
                  </a:cubicBezTo>
                  <a:lnTo>
                    <a:pt x="88753" y="66167"/>
                  </a:lnTo>
                  <a:close/>
                  <a:moveTo>
                    <a:pt x="88753" y="67758"/>
                  </a:moveTo>
                  <a:cubicBezTo>
                    <a:pt x="88753" y="67758"/>
                    <a:pt x="89071" y="67758"/>
                    <a:pt x="89071" y="67440"/>
                  </a:cubicBezTo>
                  <a:lnTo>
                    <a:pt x="88753" y="67440"/>
                  </a:lnTo>
                  <a:lnTo>
                    <a:pt x="88753" y="67758"/>
                  </a:lnTo>
                  <a:close/>
                  <a:moveTo>
                    <a:pt x="91934" y="61714"/>
                  </a:moveTo>
                  <a:lnTo>
                    <a:pt x="92252" y="61396"/>
                  </a:lnTo>
                  <a:cubicBezTo>
                    <a:pt x="92252" y="61396"/>
                    <a:pt x="92570" y="61077"/>
                    <a:pt x="92570" y="60759"/>
                  </a:cubicBezTo>
                  <a:cubicBezTo>
                    <a:pt x="92570" y="60441"/>
                    <a:pt x="92252" y="60441"/>
                    <a:pt x="92252" y="60123"/>
                  </a:cubicBezTo>
                  <a:cubicBezTo>
                    <a:pt x="91298" y="59805"/>
                    <a:pt x="90662" y="58851"/>
                    <a:pt x="90344" y="58533"/>
                  </a:cubicBezTo>
                  <a:lnTo>
                    <a:pt x="89389" y="58533"/>
                  </a:lnTo>
                  <a:cubicBezTo>
                    <a:pt x="89071" y="58851"/>
                    <a:pt x="89071" y="58851"/>
                    <a:pt x="89071" y="59169"/>
                  </a:cubicBezTo>
                  <a:cubicBezTo>
                    <a:pt x="89071" y="59487"/>
                    <a:pt x="89071" y="59487"/>
                    <a:pt x="89389" y="59487"/>
                  </a:cubicBezTo>
                  <a:lnTo>
                    <a:pt x="91298" y="61714"/>
                  </a:lnTo>
                  <a:lnTo>
                    <a:pt x="91934" y="61714"/>
                  </a:lnTo>
                  <a:close/>
                  <a:moveTo>
                    <a:pt x="90980" y="69030"/>
                  </a:moveTo>
                  <a:cubicBezTo>
                    <a:pt x="90980" y="69348"/>
                    <a:pt x="91298" y="69666"/>
                    <a:pt x="91934" y="69666"/>
                  </a:cubicBezTo>
                  <a:lnTo>
                    <a:pt x="92252" y="69666"/>
                  </a:lnTo>
                  <a:cubicBezTo>
                    <a:pt x="92252" y="69348"/>
                    <a:pt x="92252" y="69348"/>
                    <a:pt x="91934" y="69030"/>
                  </a:cubicBezTo>
                  <a:lnTo>
                    <a:pt x="90980" y="69030"/>
                  </a:lnTo>
                  <a:close/>
                  <a:moveTo>
                    <a:pt x="92252" y="74120"/>
                  </a:moveTo>
                  <a:lnTo>
                    <a:pt x="92252" y="74438"/>
                  </a:lnTo>
                  <a:lnTo>
                    <a:pt x="91934" y="74756"/>
                  </a:lnTo>
                  <a:cubicBezTo>
                    <a:pt x="91934" y="74438"/>
                    <a:pt x="91298" y="74438"/>
                    <a:pt x="91298" y="74120"/>
                  </a:cubicBezTo>
                  <a:lnTo>
                    <a:pt x="92252" y="74120"/>
                  </a:lnTo>
                  <a:close/>
                  <a:moveTo>
                    <a:pt x="95115" y="42627"/>
                  </a:moveTo>
                  <a:cubicBezTo>
                    <a:pt x="94797" y="41991"/>
                    <a:pt x="94479" y="41991"/>
                    <a:pt x="94161" y="41991"/>
                  </a:cubicBezTo>
                  <a:cubicBezTo>
                    <a:pt x="93843" y="41673"/>
                    <a:pt x="93207" y="41673"/>
                    <a:pt x="93207" y="41673"/>
                  </a:cubicBezTo>
                  <a:cubicBezTo>
                    <a:pt x="92889" y="41673"/>
                    <a:pt x="92570" y="41673"/>
                    <a:pt x="92570" y="41991"/>
                  </a:cubicBezTo>
                  <a:lnTo>
                    <a:pt x="92889" y="42309"/>
                  </a:lnTo>
                  <a:cubicBezTo>
                    <a:pt x="92889" y="42627"/>
                    <a:pt x="92889" y="42945"/>
                    <a:pt x="93207" y="42945"/>
                  </a:cubicBezTo>
                  <a:cubicBezTo>
                    <a:pt x="93525" y="43263"/>
                    <a:pt x="93525" y="43899"/>
                    <a:pt x="93525" y="44218"/>
                  </a:cubicBezTo>
                  <a:cubicBezTo>
                    <a:pt x="93843" y="44536"/>
                    <a:pt x="93843" y="44536"/>
                    <a:pt x="93843" y="44854"/>
                  </a:cubicBezTo>
                  <a:cubicBezTo>
                    <a:pt x="93843" y="44854"/>
                    <a:pt x="93843" y="45172"/>
                    <a:pt x="94161" y="45172"/>
                  </a:cubicBezTo>
                  <a:cubicBezTo>
                    <a:pt x="95115" y="45490"/>
                    <a:pt x="95434" y="45490"/>
                    <a:pt x="96070" y="45490"/>
                  </a:cubicBezTo>
                  <a:cubicBezTo>
                    <a:pt x="96388" y="45490"/>
                    <a:pt x="96388" y="45490"/>
                    <a:pt x="96388" y="45172"/>
                  </a:cubicBezTo>
                  <a:lnTo>
                    <a:pt x="96388" y="44854"/>
                  </a:lnTo>
                  <a:cubicBezTo>
                    <a:pt x="96388" y="44854"/>
                    <a:pt x="96070" y="44536"/>
                    <a:pt x="95434" y="44218"/>
                  </a:cubicBezTo>
                  <a:cubicBezTo>
                    <a:pt x="95434" y="43899"/>
                    <a:pt x="95434" y="43263"/>
                    <a:pt x="95115" y="42627"/>
                  </a:cubicBezTo>
                  <a:close/>
                  <a:moveTo>
                    <a:pt x="94479" y="52807"/>
                  </a:moveTo>
                  <a:cubicBezTo>
                    <a:pt x="94479" y="52488"/>
                    <a:pt x="94479" y="52170"/>
                    <a:pt x="94161" y="52170"/>
                  </a:cubicBezTo>
                  <a:cubicBezTo>
                    <a:pt x="93525" y="52488"/>
                    <a:pt x="93207" y="52488"/>
                    <a:pt x="93207" y="52488"/>
                  </a:cubicBezTo>
                  <a:lnTo>
                    <a:pt x="93207" y="52807"/>
                  </a:lnTo>
                  <a:cubicBezTo>
                    <a:pt x="93207" y="53125"/>
                    <a:pt x="93525" y="53443"/>
                    <a:pt x="94161" y="53443"/>
                  </a:cubicBezTo>
                  <a:cubicBezTo>
                    <a:pt x="94161" y="53125"/>
                    <a:pt x="94479" y="53125"/>
                    <a:pt x="94479" y="52807"/>
                  </a:cubicBezTo>
                  <a:close/>
                  <a:moveTo>
                    <a:pt x="95752" y="32129"/>
                  </a:moveTo>
                  <a:cubicBezTo>
                    <a:pt x="94479" y="32129"/>
                    <a:pt x="94161" y="32447"/>
                    <a:pt x="94161" y="32766"/>
                  </a:cubicBezTo>
                  <a:lnTo>
                    <a:pt x="94161" y="33402"/>
                  </a:lnTo>
                  <a:cubicBezTo>
                    <a:pt x="95115" y="34356"/>
                    <a:pt x="95434" y="34674"/>
                    <a:pt x="95752" y="35629"/>
                  </a:cubicBezTo>
                  <a:cubicBezTo>
                    <a:pt x="95434" y="35629"/>
                    <a:pt x="95752" y="35947"/>
                    <a:pt x="95752" y="36265"/>
                  </a:cubicBezTo>
                  <a:cubicBezTo>
                    <a:pt x="95752" y="36583"/>
                    <a:pt x="96070" y="36901"/>
                    <a:pt x="96388" y="36901"/>
                  </a:cubicBezTo>
                  <a:lnTo>
                    <a:pt x="96706" y="36901"/>
                  </a:lnTo>
                  <a:cubicBezTo>
                    <a:pt x="97342" y="36583"/>
                    <a:pt x="97660" y="36583"/>
                    <a:pt x="97978" y="36583"/>
                  </a:cubicBezTo>
                  <a:lnTo>
                    <a:pt x="98615" y="36583"/>
                  </a:lnTo>
                  <a:cubicBezTo>
                    <a:pt x="98933" y="36583"/>
                    <a:pt x="98933" y="36265"/>
                    <a:pt x="98933" y="35947"/>
                  </a:cubicBezTo>
                  <a:lnTo>
                    <a:pt x="97660" y="34992"/>
                  </a:lnTo>
                  <a:cubicBezTo>
                    <a:pt x="97342" y="34674"/>
                    <a:pt x="97342" y="34356"/>
                    <a:pt x="97342" y="34356"/>
                  </a:cubicBezTo>
                  <a:cubicBezTo>
                    <a:pt x="97660" y="33720"/>
                    <a:pt x="97978" y="33084"/>
                    <a:pt x="97978" y="32766"/>
                  </a:cubicBezTo>
                  <a:cubicBezTo>
                    <a:pt x="97978" y="32447"/>
                    <a:pt x="97660" y="32447"/>
                    <a:pt x="96070" y="32129"/>
                  </a:cubicBezTo>
                  <a:lnTo>
                    <a:pt x="95752" y="32129"/>
                  </a:lnTo>
                  <a:close/>
                  <a:moveTo>
                    <a:pt x="95752" y="54715"/>
                  </a:moveTo>
                  <a:lnTo>
                    <a:pt x="96070" y="54397"/>
                  </a:lnTo>
                  <a:cubicBezTo>
                    <a:pt x="96070" y="54079"/>
                    <a:pt x="95752" y="53761"/>
                    <a:pt x="95752" y="53761"/>
                  </a:cubicBezTo>
                  <a:cubicBezTo>
                    <a:pt x="95752" y="53443"/>
                    <a:pt x="95434" y="53761"/>
                    <a:pt x="95434" y="54397"/>
                  </a:cubicBezTo>
                  <a:lnTo>
                    <a:pt x="95752" y="54715"/>
                  </a:lnTo>
                  <a:close/>
                  <a:moveTo>
                    <a:pt x="97342" y="41036"/>
                  </a:moveTo>
                  <a:cubicBezTo>
                    <a:pt x="97342" y="41036"/>
                    <a:pt x="97342" y="40718"/>
                    <a:pt x="96706" y="40718"/>
                  </a:cubicBezTo>
                  <a:cubicBezTo>
                    <a:pt x="96388" y="40718"/>
                    <a:pt x="96070" y="40718"/>
                    <a:pt x="96070" y="41036"/>
                  </a:cubicBezTo>
                  <a:cubicBezTo>
                    <a:pt x="96070" y="41355"/>
                    <a:pt x="96388" y="41355"/>
                    <a:pt x="96388" y="41355"/>
                  </a:cubicBezTo>
                  <a:cubicBezTo>
                    <a:pt x="96706" y="41355"/>
                    <a:pt x="97342" y="41355"/>
                    <a:pt x="97342" y="41036"/>
                  </a:cubicBezTo>
                  <a:close/>
                  <a:moveTo>
                    <a:pt x="99569" y="29584"/>
                  </a:moveTo>
                  <a:lnTo>
                    <a:pt x="99569" y="29266"/>
                  </a:lnTo>
                  <a:lnTo>
                    <a:pt x="98933" y="29266"/>
                  </a:lnTo>
                  <a:cubicBezTo>
                    <a:pt x="98615" y="29266"/>
                    <a:pt x="98297" y="29266"/>
                    <a:pt x="98297" y="28948"/>
                  </a:cubicBezTo>
                  <a:lnTo>
                    <a:pt x="97978" y="28948"/>
                  </a:lnTo>
                  <a:cubicBezTo>
                    <a:pt x="97978" y="29266"/>
                    <a:pt x="97978" y="29584"/>
                    <a:pt x="97660" y="29903"/>
                  </a:cubicBezTo>
                  <a:cubicBezTo>
                    <a:pt x="97660" y="29903"/>
                    <a:pt x="97978" y="30221"/>
                    <a:pt x="97978" y="30539"/>
                  </a:cubicBezTo>
                  <a:cubicBezTo>
                    <a:pt x="98615" y="30539"/>
                    <a:pt x="99251" y="30221"/>
                    <a:pt x="99569" y="29584"/>
                  </a:cubicBezTo>
                  <a:close/>
                  <a:moveTo>
                    <a:pt x="101160" y="31175"/>
                  </a:moveTo>
                  <a:cubicBezTo>
                    <a:pt x="101160" y="30857"/>
                    <a:pt x="101160" y="30539"/>
                    <a:pt x="100841" y="30539"/>
                  </a:cubicBezTo>
                  <a:lnTo>
                    <a:pt x="99887" y="30539"/>
                  </a:lnTo>
                  <a:cubicBezTo>
                    <a:pt x="99887" y="30857"/>
                    <a:pt x="100205" y="31175"/>
                    <a:pt x="100205" y="31175"/>
                  </a:cubicBezTo>
                  <a:lnTo>
                    <a:pt x="101160" y="31175"/>
                  </a:lnTo>
                  <a:close/>
                </a:path>
              </a:pathLst>
            </a:custGeom>
            <a:solidFill>
              <a:srgbClr val="000000"/>
            </a:solidFill>
            <a:ln w="63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58282B-B87B-4AC8-A172-27E099066225}"/>
                </a:ext>
              </a:extLst>
            </p:cNvPr>
            <p:cNvSpPr/>
            <p:nvPr/>
          </p:nvSpPr>
          <p:spPr>
            <a:xfrm>
              <a:off x="3168717" y="3451489"/>
              <a:ext cx="203592" cy="279938"/>
            </a:xfrm>
            <a:custGeom>
              <a:avLst/>
              <a:gdLst>
                <a:gd name="connsiteX0" fmla="*/ 41355 w 203591"/>
                <a:gd name="connsiteY0" fmla="*/ 64577 h 279938"/>
                <a:gd name="connsiteX1" fmla="*/ 41036 w 203591"/>
                <a:gd name="connsiteY1" fmla="*/ 64259 h 279938"/>
                <a:gd name="connsiteX2" fmla="*/ 41036 w 203591"/>
                <a:gd name="connsiteY2" fmla="*/ 63940 h 279938"/>
                <a:gd name="connsiteX3" fmla="*/ 42945 w 203591"/>
                <a:gd name="connsiteY3" fmla="*/ 62668 h 279938"/>
                <a:gd name="connsiteX4" fmla="*/ 43581 w 203591"/>
                <a:gd name="connsiteY4" fmla="*/ 62668 h 279938"/>
                <a:gd name="connsiteX5" fmla="*/ 45808 w 203591"/>
                <a:gd name="connsiteY5" fmla="*/ 62350 h 279938"/>
                <a:gd name="connsiteX6" fmla="*/ 47081 w 203591"/>
                <a:gd name="connsiteY6" fmla="*/ 61714 h 279938"/>
                <a:gd name="connsiteX7" fmla="*/ 48671 w 203591"/>
                <a:gd name="connsiteY7" fmla="*/ 61077 h 279938"/>
                <a:gd name="connsiteX8" fmla="*/ 50580 w 203591"/>
                <a:gd name="connsiteY8" fmla="*/ 60123 h 279938"/>
                <a:gd name="connsiteX9" fmla="*/ 51852 w 203591"/>
                <a:gd name="connsiteY9" fmla="*/ 60123 h 279938"/>
                <a:gd name="connsiteX10" fmla="*/ 56306 w 203591"/>
                <a:gd name="connsiteY10" fmla="*/ 59169 h 279938"/>
                <a:gd name="connsiteX11" fmla="*/ 57260 w 203591"/>
                <a:gd name="connsiteY11" fmla="*/ 59169 h 279938"/>
                <a:gd name="connsiteX12" fmla="*/ 57896 w 203591"/>
                <a:gd name="connsiteY12" fmla="*/ 59805 h 279938"/>
                <a:gd name="connsiteX13" fmla="*/ 56306 w 203591"/>
                <a:gd name="connsiteY13" fmla="*/ 61714 h 279938"/>
                <a:gd name="connsiteX14" fmla="*/ 55351 w 203591"/>
                <a:gd name="connsiteY14" fmla="*/ 62032 h 279938"/>
                <a:gd name="connsiteX15" fmla="*/ 55033 w 203591"/>
                <a:gd name="connsiteY15" fmla="*/ 62350 h 279938"/>
                <a:gd name="connsiteX16" fmla="*/ 55033 w 203591"/>
                <a:gd name="connsiteY16" fmla="*/ 62668 h 279938"/>
                <a:gd name="connsiteX17" fmla="*/ 55670 w 203591"/>
                <a:gd name="connsiteY17" fmla="*/ 63304 h 279938"/>
                <a:gd name="connsiteX18" fmla="*/ 56306 w 203591"/>
                <a:gd name="connsiteY18" fmla="*/ 63622 h 279938"/>
                <a:gd name="connsiteX19" fmla="*/ 56942 w 203591"/>
                <a:gd name="connsiteY19" fmla="*/ 63622 h 279938"/>
                <a:gd name="connsiteX20" fmla="*/ 57578 w 203591"/>
                <a:gd name="connsiteY20" fmla="*/ 64259 h 279938"/>
                <a:gd name="connsiteX21" fmla="*/ 58214 w 203591"/>
                <a:gd name="connsiteY21" fmla="*/ 64259 h 279938"/>
                <a:gd name="connsiteX22" fmla="*/ 59487 w 203591"/>
                <a:gd name="connsiteY22" fmla="*/ 62668 h 279938"/>
                <a:gd name="connsiteX23" fmla="*/ 61714 w 203591"/>
                <a:gd name="connsiteY23" fmla="*/ 61077 h 279938"/>
                <a:gd name="connsiteX24" fmla="*/ 62350 w 203591"/>
                <a:gd name="connsiteY24" fmla="*/ 59169 h 279938"/>
                <a:gd name="connsiteX25" fmla="*/ 64259 w 203591"/>
                <a:gd name="connsiteY25" fmla="*/ 57896 h 279938"/>
                <a:gd name="connsiteX26" fmla="*/ 64895 w 203591"/>
                <a:gd name="connsiteY26" fmla="*/ 57896 h 279938"/>
                <a:gd name="connsiteX27" fmla="*/ 66485 w 203591"/>
                <a:gd name="connsiteY27" fmla="*/ 57578 h 279938"/>
                <a:gd name="connsiteX28" fmla="*/ 68076 w 203591"/>
                <a:gd name="connsiteY28" fmla="*/ 56942 h 279938"/>
                <a:gd name="connsiteX29" fmla="*/ 69030 w 203591"/>
                <a:gd name="connsiteY29" fmla="*/ 57578 h 279938"/>
                <a:gd name="connsiteX30" fmla="*/ 69348 w 203591"/>
                <a:gd name="connsiteY30" fmla="*/ 58214 h 279938"/>
                <a:gd name="connsiteX31" fmla="*/ 70621 w 203591"/>
                <a:gd name="connsiteY31" fmla="*/ 57896 h 279938"/>
                <a:gd name="connsiteX32" fmla="*/ 70939 w 203591"/>
                <a:gd name="connsiteY32" fmla="*/ 57896 h 279938"/>
                <a:gd name="connsiteX33" fmla="*/ 71257 w 203591"/>
                <a:gd name="connsiteY33" fmla="*/ 57578 h 279938"/>
                <a:gd name="connsiteX34" fmla="*/ 74438 w 203591"/>
                <a:gd name="connsiteY34" fmla="*/ 55351 h 279938"/>
                <a:gd name="connsiteX35" fmla="*/ 77619 w 203591"/>
                <a:gd name="connsiteY35" fmla="*/ 55351 h 279938"/>
                <a:gd name="connsiteX36" fmla="*/ 77937 w 203591"/>
                <a:gd name="connsiteY36" fmla="*/ 55670 h 279938"/>
                <a:gd name="connsiteX37" fmla="*/ 77937 w 203591"/>
                <a:gd name="connsiteY37" fmla="*/ 55988 h 279938"/>
                <a:gd name="connsiteX38" fmla="*/ 76983 w 203591"/>
                <a:gd name="connsiteY38" fmla="*/ 57260 h 279938"/>
                <a:gd name="connsiteX39" fmla="*/ 76983 w 203591"/>
                <a:gd name="connsiteY39" fmla="*/ 57578 h 279938"/>
                <a:gd name="connsiteX40" fmla="*/ 77937 w 203591"/>
                <a:gd name="connsiteY40" fmla="*/ 57578 h 279938"/>
                <a:gd name="connsiteX41" fmla="*/ 79846 w 203591"/>
                <a:gd name="connsiteY41" fmla="*/ 56942 h 279938"/>
                <a:gd name="connsiteX42" fmla="*/ 81118 w 203591"/>
                <a:gd name="connsiteY42" fmla="*/ 55988 h 279938"/>
                <a:gd name="connsiteX43" fmla="*/ 80164 w 203591"/>
                <a:gd name="connsiteY43" fmla="*/ 57260 h 279938"/>
                <a:gd name="connsiteX44" fmla="*/ 78256 w 203591"/>
                <a:gd name="connsiteY44" fmla="*/ 58533 h 279938"/>
                <a:gd name="connsiteX45" fmla="*/ 77619 w 203591"/>
                <a:gd name="connsiteY45" fmla="*/ 58533 h 279938"/>
                <a:gd name="connsiteX46" fmla="*/ 76983 w 203591"/>
                <a:gd name="connsiteY46" fmla="*/ 59169 h 279938"/>
                <a:gd name="connsiteX47" fmla="*/ 76983 w 203591"/>
                <a:gd name="connsiteY47" fmla="*/ 59805 h 279938"/>
                <a:gd name="connsiteX48" fmla="*/ 80164 w 203591"/>
                <a:gd name="connsiteY48" fmla="*/ 59169 h 279938"/>
                <a:gd name="connsiteX49" fmla="*/ 80800 w 203591"/>
                <a:gd name="connsiteY49" fmla="*/ 59169 h 279938"/>
                <a:gd name="connsiteX50" fmla="*/ 82391 w 203591"/>
                <a:gd name="connsiteY50" fmla="*/ 58533 h 279938"/>
                <a:gd name="connsiteX51" fmla="*/ 83027 w 203591"/>
                <a:gd name="connsiteY51" fmla="*/ 58214 h 279938"/>
                <a:gd name="connsiteX52" fmla="*/ 82391 w 203591"/>
                <a:gd name="connsiteY52" fmla="*/ 57896 h 279938"/>
                <a:gd name="connsiteX53" fmla="*/ 82073 w 203591"/>
                <a:gd name="connsiteY53" fmla="*/ 57578 h 279938"/>
                <a:gd name="connsiteX54" fmla="*/ 81755 w 203591"/>
                <a:gd name="connsiteY54" fmla="*/ 56942 h 279938"/>
                <a:gd name="connsiteX55" fmla="*/ 82391 w 203591"/>
                <a:gd name="connsiteY55" fmla="*/ 55988 h 279938"/>
                <a:gd name="connsiteX56" fmla="*/ 83345 w 203591"/>
                <a:gd name="connsiteY56" fmla="*/ 55351 h 279938"/>
                <a:gd name="connsiteX57" fmla="*/ 83981 w 203591"/>
                <a:gd name="connsiteY57" fmla="*/ 54079 h 279938"/>
                <a:gd name="connsiteX58" fmla="*/ 87481 w 203591"/>
                <a:gd name="connsiteY58" fmla="*/ 41355 h 279938"/>
                <a:gd name="connsiteX59" fmla="*/ 87799 w 203591"/>
                <a:gd name="connsiteY59" fmla="*/ 35947 h 279938"/>
                <a:gd name="connsiteX60" fmla="*/ 90026 w 203591"/>
                <a:gd name="connsiteY60" fmla="*/ 34356 h 279938"/>
                <a:gd name="connsiteX61" fmla="*/ 90662 w 203591"/>
                <a:gd name="connsiteY61" fmla="*/ 33720 h 279938"/>
                <a:gd name="connsiteX62" fmla="*/ 90344 w 203591"/>
                <a:gd name="connsiteY62" fmla="*/ 33402 h 279938"/>
                <a:gd name="connsiteX63" fmla="*/ 90662 w 203591"/>
                <a:gd name="connsiteY63" fmla="*/ 32447 h 279938"/>
                <a:gd name="connsiteX64" fmla="*/ 89390 w 203591"/>
                <a:gd name="connsiteY64" fmla="*/ 31811 h 279938"/>
                <a:gd name="connsiteX65" fmla="*/ 89071 w 203591"/>
                <a:gd name="connsiteY65" fmla="*/ 30221 h 279938"/>
                <a:gd name="connsiteX66" fmla="*/ 89071 w 203591"/>
                <a:gd name="connsiteY66" fmla="*/ 29584 h 279938"/>
                <a:gd name="connsiteX67" fmla="*/ 90026 w 203591"/>
                <a:gd name="connsiteY67" fmla="*/ 28630 h 279938"/>
                <a:gd name="connsiteX68" fmla="*/ 90344 w 203591"/>
                <a:gd name="connsiteY68" fmla="*/ 27676 h 279938"/>
                <a:gd name="connsiteX69" fmla="*/ 90344 w 203591"/>
                <a:gd name="connsiteY69" fmla="*/ 27040 h 279938"/>
                <a:gd name="connsiteX70" fmla="*/ 90980 w 203591"/>
                <a:gd name="connsiteY70" fmla="*/ 25449 h 279938"/>
                <a:gd name="connsiteX71" fmla="*/ 91934 w 203591"/>
                <a:gd name="connsiteY71" fmla="*/ 23858 h 279938"/>
                <a:gd name="connsiteX72" fmla="*/ 91934 w 203591"/>
                <a:gd name="connsiteY72" fmla="*/ 23540 h 279938"/>
                <a:gd name="connsiteX73" fmla="*/ 92571 w 203591"/>
                <a:gd name="connsiteY73" fmla="*/ 21950 h 279938"/>
                <a:gd name="connsiteX74" fmla="*/ 92889 w 203591"/>
                <a:gd name="connsiteY74" fmla="*/ 21632 h 279938"/>
                <a:gd name="connsiteX75" fmla="*/ 92889 w 203591"/>
                <a:gd name="connsiteY75" fmla="*/ 21313 h 279938"/>
                <a:gd name="connsiteX76" fmla="*/ 92571 w 203591"/>
                <a:gd name="connsiteY76" fmla="*/ 20995 h 279938"/>
                <a:gd name="connsiteX77" fmla="*/ 92571 w 203591"/>
                <a:gd name="connsiteY77" fmla="*/ 19405 h 279938"/>
                <a:gd name="connsiteX78" fmla="*/ 92889 w 203591"/>
                <a:gd name="connsiteY78" fmla="*/ 18769 h 279938"/>
                <a:gd name="connsiteX79" fmla="*/ 94479 w 203591"/>
                <a:gd name="connsiteY79" fmla="*/ 17496 h 279938"/>
                <a:gd name="connsiteX80" fmla="*/ 94161 w 203591"/>
                <a:gd name="connsiteY80" fmla="*/ 17178 h 279938"/>
                <a:gd name="connsiteX81" fmla="*/ 95115 w 203591"/>
                <a:gd name="connsiteY81" fmla="*/ 15269 h 279938"/>
                <a:gd name="connsiteX82" fmla="*/ 94797 w 203591"/>
                <a:gd name="connsiteY82" fmla="*/ 14951 h 279938"/>
                <a:gd name="connsiteX83" fmla="*/ 96070 w 203591"/>
                <a:gd name="connsiteY83" fmla="*/ 14315 h 279938"/>
                <a:gd name="connsiteX84" fmla="*/ 97342 w 203591"/>
                <a:gd name="connsiteY84" fmla="*/ 13361 h 279938"/>
                <a:gd name="connsiteX85" fmla="*/ 97342 w 203591"/>
                <a:gd name="connsiteY85" fmla="*/ 11770 h 279938"/>
                <a:gd name="connsiteX86" fmla="*/ 99251 w 203591"/>
                <a:gd name="connsiteY86" fmla="*/ 10180 h 279938"/>
                <a:gd name="connsiteX87" fmla="*/ 100205 w 203591"/>
                <a:gd name="connsiteY87" fmla="*/ 7317 h 279938"/>
                <a:gd name="connsiteX88" fmla="*/ 100841 w 203591"/>
                <a:gd name="connsiteY88" fmla="*/ 6998 h 279938"/>
                <a:gd name="connsiteX89" fmla="*/ 101160 w 203591"/>
                <a:gd name="connsiteY89" fmla="*/ 6044 h 279938"/>
                <a:gd name="connsiteX90" fmla="*/ 102114 w 203591"/>
                <a:gd name="connsiteY90" fmla="*/ 4454 h 279938"/>
                <a:gd name="connsiteX91" fmla="*/ 103705 w 203591"/>
                <a:gd name="connsiteY91" fmla="*/ 3181 h 279938"/>
                <a:gd name="connsiteX92" fmla="*/ 103386 w 203591"/>
                <a:gd name="connsiteY92" fmla="*/ 2545 h 279938"/>
                <a:gd name="connsiteX93" fmla="*/ 104659 w 203591"/>
                <a:gd name="connsiteY93" fmla="*/ 1909 h 279938"/>
                <a:gd name="connsiteX94" fmla="*/ 105295 w 203591"/>
                <a:gd name="connsiteY94" fmla="*/ 1591 h 279938"/>
                <a:gd name="connsiteX95" fmla="*/ 105931 w 203591"/>
                <a:gd name="connsiteY95" fmla="*/ 1272 h 279938"/>
                <a:gd name="connsiteX96" fmla="*/ 106249 w 203591"/>
                <a:gd name="connsiteY96" fmla="*/ 1272 h 279938"/>
                <a:gd name="connsiteX97" fmla="*/ 106567 w 203591"/>
                <a:gd name="connsiteY97" fmla="*/ 1591 h 279938"/>
                <a:gd name="connsiteX98" fmla="*/ 107204 w 203591"/>
                <a:gd name="connsiteY98" fmla="*/ 1272 h 279938"/>
                <a:gd name="connsiteX99" fmla="*/ 108794 w 203591"/>
                <a:gd name="connsiteY99" fmla="*/ 318 h 279938"/>
                <a:gd name="connsiteX100" fmla="*/ 109748 w 203591"/>
                <a:gd name="connsiteY100" fmla="*/ 0 h 279938"/>
                <a:gd name="connsiteX101" fmla="*/ 111021 w 203591"/>
                <a:gd name="connsiteY101" fmla="*/ 636 h 279938"/>
                <a:gd name="connsiteX102" fmla="*/ 111339 w 203591"/>
                <a:gd name="connsiteY102" fmla="*/ 954 h 279938"/>
                <a:gd name="connsiteX103" fmla="*/ 111021 w 203591"/>
                <a:gd name="connsiteY103" fmla="*/ 3181 h 279938"/>
                <a:gd name="connsiteX104" fmla="*/ 111657 w 203591"/>
                <a:gd name="connsiteY104" fmla="*/ 3499 h 279938"/>
                <a:gd name="connsiteX105" fmla="*/ 112293 w 203591"/>
                <a:gd name="connsiteY105" fmla="*/ 3499 h 279938"/>
                <a:gd name="connsiteX106" fmla="*/ 113248 w 203591"/>
                <a:gd name="connsiteY106" fmla="*/ 1909 h 279938"/>
                <a:gd name="connsiteX107" fmla="*/ 113566 w 203591"/>
                <a:gd name="connsiteY107" fmla="*/ 1909 h 279938"/>
                <a:gd name="connsiteX108" fmla="*/ 113884 w 203591"/>
                <a:gd name="connsiteY108" fmla="*/ 2545 h 279938"/>
                <a:gd name="connsiteX109" fmla="*/ 114520 w 203591"/>
                <a:gd name="connsiteY109" fmla="*/ 3181 h 279938"/>
                <a:gd name="connsiteX110" fmla="*/ 115156 w 203591"/>
                <a:gd name="connsiteY110" fmla="*/ 3499 h 279938"/>
                <a:gd name="connsiteX111" fmla="*/ 117701 w 203591"/>
                <a:gd name="connsiteY111" fmla="*/ 3499 h 279938"/>
                <a:gd name="connsiteX112" fmla="*/ 117383 w 203591"/>
                <a:gd name="connsiteY112" fmla="*/ 4135 h 279938"/>
                <a:gd name="connsiteX113" fmla="*/ 117383 w 203591"/>
                <a:gd name="connsiteY113" fmla="*/ 4772 h 279938"/>
                <a:gd name="connsiteX114" fmla="*/ 118656 w 203591"/>
                <a:gd name="connsiteY114" fmla="*/ 4772 h 279938"/>
                <a:gd name="connsiteX115" fmla="*/ 118974 w 203591"/>
                <a:gd name="connsiteY115" fmla="*/ 4454 h 279938"/>
                <a:gd name="connsiteX116" fmla="*/ 120246 w 203591"/>
                <a:gd name="connsiteY116" fmla="*/ 4135 h 279938"/>
                <a:gd name="connsiteX117" fmla="*/ 120882 w 203591"/>
                <a:gd name="connsiteY117" fmla="*/ 4454 h 279938"/>
                <a:gd name="connsiteX118" fmla="*/ 122791 w 203591"/>
                <a:gd name="connsiteY118" fmla="*/ 4772 h 279938"/>
                <a:gd name="connsiteX119" fmla="*/ 124063 w 203591"/>
                <a:gd name="connsiteY119" fmla="*/ 5726 h 279938"/>
                <a:gd name="connsiteX120" fmla="*/ 123745 w 203591"/>
                <a:gd name="connsiteY120" fmla="*/ 7953 h 279938"/>
                <a:gd name="connsiteX121" fmla="*/ 124382 w 203591"/>
                <a:gd name="connsiteY121" fmla="*/ 8907 h 279938"/>
                <a:gd name="connsiteX122" fmla="*/ 124700 w 203591"/>
                <a:gd name="connsiteY122" fmla="*/ 9543 h 279938"/>
                <a:gd name="connsiteX123" fmla="*/ 123745 w 203591"/>
                <a:gd name="connsiteY123" fmla="*/ 11134 h 279938"/>
                <a:gd name="connsiteX124" fmla="*/ 123427 w 203591"/>
                <a:gd name="connsiteY124" fmla="*/ 12088 h 279938"/>
                <a:gd name="connsiteX125" fmla="*/ 122155 w 203591"/>
                <a:gd name="connsiteY125" fmla="*/ 13361 h 279938"/>
                <a:gd name="connsiteX126" fmla="*/ 121837 w 203591"/>
                <a:gd name="connsiteY126" fmla="*/ 13997 h 279938"/>
                <a:gd name="connsiteX127" fmla="*/ 121519 w 203591"/>
                <a:gd name="connsiteY127" fmla="*/ 14951 h 279938"/>
                <a:gd name="connsiteX128" fmla="*/ 121201 w 203591"/>
                <a:gd name="connsiteY128" fmla="*/ 15269 h 279938"/>
                <a:gd name="connsiteX129" fmla="*/ 120882 w 203591"/>
                <a:gd name="connsiteY129" fmla="*/ 15587 h 279938"/>
                <a:gd name="connsiteX130" fmla="*/ 120882 w 203591"/>
                <a:gd name="connsiteY130" fmla="*/ 17178 h 279938"/>
                <a:gd name="connsiteX131" fmla="*/ 119928 w 203591"/>
                <a:gd name="connsiteY131" fmla="*/ 18769 h 279938"/>
                <a:gd name="connsiteX132" fmla="*/ 119928 w 203591"/>
                <a:gd name="connsiteY132" fmla="*/ 19087 h 279938"/>
                <a:gd name="connsiteX133" fmla="*/ 118974 w 203591"/>
                <a:gd name="connsiteY133" fmla="*/ 21313 h 279938"/>
                <a:gd name="connsiteX134" fmla="*/ 118656 w 203591"/>
                <a:gd name="connsiteY134" fmla="*/ 22586 h 279938"/>
                <a:gd name="connsiteX135" fmla="*/ 118656 w 203591"/>
                <a:gd name="connsiteY135" fmla="*/ 22904 h 279938"/>
                <a:gd name="connsiteX136" fmla="*/ 117701 w 203591"/>
                <a:gd name="connsiteY136" fmla="*/ 24176 h 279938"/>
                <a:gd name="connsiteX137" fmla="*/ 118020 w 203591"/>
                <a:gd name="connsiteY137" fmla="*/ 24495 h 279938"/>
                <a:gd name="connsiteX138" fmla="*/ 118020 w 203591"/>
                <a:gd name="connsiteY138" fmla="*/ 25131 h 279938"/>
                <a:gd name="connsiteX139" fmla="*/ 116429 w 203591"/>
                <a:gd name="connsiteY139" fmla="*/ 27040 h 279938"/>
                <a:gd name="connsiteX140" fmla="*/ 116747 w 203591"/>
                <a:gd name="connsiteY140" fmla="*/ 27358 h 279938"/>
                <a:gd name="connsiteX141" fmla="*/ 116747 w 203591"/>
                <a:gd name="connsiteY141" fmla="*/ 27676 h 279938"/>
                <a:gd name="connsiteX142" fmla="*/ 116429 w 203591"/>
                <a:gd name="connsiteY142" fmla="*/ 28312 h 279938"/>
                <a:gd name="connsiteX143" fmla="*/ 116429 w 203591"/>
                <a:gd name="connsiteY143" fmla="*/ 28630 h 279938"/>
                <a:gd name="connsiteX144" fmla="*/ 115475 w 203591"/>
                <a:gd name="connsiteY144" fmla="*/ 29584 h 279938"/>
                <a:gd name="connsiteX145" fmla="*/ 115475 w 203591"/>
                <a:gd name="connsiteY145" fmla="*/ 29903 h 279938"/>
                <a:gd name="connsiteX146" fmla="*/ 114838 w 203591"/>
                <a:gd name="connsiteY146" fmla="*/ 30857 h 279938"/>
                <a:gd name="connsiteX147" fmla="*/ 114202 w 203591"/>
                <a:gd name="connsiteY147" fmla="*/ 32447 h 279938"/>
                <a:gd name="connsiteX148" fmla="*/ 113884 w 203591"/>
                <a:gd name="connsiteY148" fmla="*/ 32766 h 279938"/>
                <a:gd name="connsiteX149" fmla="*/ 113884 w 203591"/>
                <a:gd name="connsiteY149" fmla="*/ 33402 h 279938"/>
                <a:gd name="connsiteX150" fmla="*/ 114202 w 203591"/>
                <a:gd name="connsiteY150" fmla="*/ 33720 h 279938"/>
                <a:gd name="connsiteX151" fmla="*/ 113248 w 203591"/>
                <a:gd name="connsiteY151" fmla="*/ 35629 h 279938"/>
                <a:gd name="connsiteX152" fmla="*/ 111657 w 203591"/>
                <a:gd name="connsiteY152" fmla="*/ 50898 h 279938"/>
                <a:gd name="connsiteX153" fmla="*/ 112611 w 203591"/>
                <a:gd name="connsiteY153" fmla="*/ 50262 h 279938"/>
                <a:gd name="connsiteX154" fmla="*/ 113248 w 203591"/>
                <a:gd name="connsiteY154" fmla="*/ 49944 h 279938"/>
                <a:gd name="connsiteX155" fmla="*/ 114520 w 203591"/>
                <a:gd name="connsiteY155" fmla="*/ 51216 h 279938"/>
                <a:gd name="connsiteX156" fmla="*/ 116111 w 203591"/>
                <a:gd name="connsiteY156" fmla="*/ 52488 h 279938"/>
                <a:gd name="connsiteX157" fmla="*/ 119292 w 203591"/>
                <a:gd name="connsiteY157" fmla="*/ 50898 h 279938"/>
                <a:gd name="connsiteX158" fmla="*/ 116111 w 203591"/>
                <a:gd name="connsiteY158" fmla="*/ 51534 h 279938"/>
                <a:gd name="connsiteX159" fmla="*/ 115475 w 203591"/>
                <a:gd name="connsiteY159" fmla="*/ 51216 h 279938"/>
                <a:gd name="connsiteX160" fmla="*/ 115475 w 203591"/>
                <a:gd name="connsiteY160" fmla="*/ 50898 h 279938"/>
                <a:gd name="connsiteX161" fmla="*/ 118338 w 203591"/>
                <a:gd name="connsiteY161" fmla="*/ 49944 h 279938"/>
                <a:gd name="connsiteX162" fmla="*/ 118974 w 203591"/>
                <a:gd name="connsiteY162" fmla="*/ 49625 h 279938"/>
                <a:gd name="connsiteX163" fmla="*/ 119610 w 203591"/>
                <a:gd name="connsiteY163" fmla="*/ 50262 h 279938"/>
                <a:gd name="connsiteX164" fmla="*/ 119292 w 203591"/>
                <a:gd name="connsiteY164" fmla="*/ 50898 h 279938"/>
                <a:gd name="connsiteX165" fmla="*/ 119928 w 203591"/>
                <a:gd name="connsiteY165" fmla="*/ 50580 h 279938"/>
                <a:gd name="connsiteX166" fmla="*/ 121519 w 203591"/>
                <a:gd name="connsiteY166" fmla="*/ 49944 h 279938"/>
                <a:gd name="connsiteX167" fmla="*/ 124700 w 203591"/>
                <a:gd name="connsiteY167" fmla="*/ 49307 h 279938"/>
                <a:gd name="connsiteX168" fmla="*/ 126608 w 203591"/>
                <a:gd name="connsiteY168" fmla="*/ 48989 h 279938"/>
                <a:gd name="connsiteX169" fmla="*/ 127563 w 203591"/>
                <a:gd name="connsiteY169" fmla="*/ 48989 h 279938"/>
                <a:gd name="connsiteX170" fmla="*/ 127245 w 203591"/>
                <a:gd name="connsiteY170" fmla="*/ 49625 h 279938"/>
                <a:gd name="connsiteX171" fmla="*/ 126608 w 203591"/>
                <a:gd name="connsiteY171" fmla="*/ 50262 h 279938"/>
                <a:gd name="connsiteX172" fmla="*/ 125972 w 203591"/>
                <a:gd name="connsiteY172" fmla="*/ 51216 h 279938"/>
                <a:gd name="connsiteX173" fmla="*/ 126290 w 203591"/>
                <a:gd name="connsiteY173" fmla="*/ 51534 h 279938"/>
                <a:gd name="connsiteX174" fmla="*/ 125972 w 203591"/>
                <a:gd name="connsiteY174" fmla="*/ 51852 h 279938"/>
                <a:gd name="connsiteX175" fmla="*/ 124700 w 203591"/>
                <a:gd name="connsiteY175" fmla="*/ 53443 h 279938"/>
                <a:gd name="connsiteX176" fmla="*/ 121837 w 203591"/>
                <a:gd name="connsiteY176" fmla="*/ 55670 h 279938"/>
                <a:gd name="connsiteX177" fmla="*/ 120882 w 203591"/>
                <a:gd name="connsiteY177" fmla="*/ 56306 h 279938"/>
                <a:gd name="connsiteX178" fmla="*/ 121837 w 203591"/>
                <a:gd name="connsiteY178" fmla="*/ 56942 h 279938"/>
                <a:gd name="connsiteX179" fmla="*/ 122473 w 203591"/>
                <a:gd name="connsiteY179" fmla="*/ 56306 h 279938"/>
                <a:gd name="connsiteX180" fmla="*/ 123427 w 203591"/>
                <a:gd name="connsiteY180" fmla="*/ 55670 h 279938"/>
                <a:gd name="connsiteX181" fmla="*/ 124700 w 203591"/>
                <a:gd name="connsiteY181" fmla="*/ 54715 h 279938"/>
                <a:gd name="connsiteX182" fmla="*/ 125972 w 203591"/>
                <a:gd name="connsiteY182" fmla="*/ 54715 h 279938"/>
                <a:gd name="connsiteX183" fmla="*/ 127881 w 203591"/>
                <a:gd name="connsiteY183" fmla="*/ 53443 h 279938"/>
                <a:gd name="connsiteX184" fmla="*/ 128199 w 203591"/>
                <a:gd name="connsiteY184" fmla="*/ 52807 h 279938"/>
                <a:gd name="connsiteX185" fmla="*/ 128517 w 203591"/>
                <a:gd name="connsiteY185" fmla="*/ 52488 h 279938"/>
                <a:gd name="connsiteX186" fmla="*/ 127881 w 203591"/>
                <a:gd name="connsiteY186" fmla="*/ 52170 h 279938"/>
                <a:gd name="connsiteX187" fmla="*/ 127245 w 203591"/>
                <a:gd name="connsiteY187" fmla="*/ 52170 h 279938"/>
                <a:gd name="connsiteX188" fmla="*/ 127563 w 203591"/>
                <a:gd name="connsiteY188" fmla="*/ 51534 h 279938"/>
                <a:gd name="connsiteX189" fmla="*/ 127881 w 203591"/>
                <a:gd name="connsiteY189" fmla="*/ 51216 h 279938"/>
                <a:gd name="connsiteX190" fmla="*/ 132016 w 203591"/>
                <a:gd name="connsiteY190" fmla="*/ 48989 h 279938"/>
                <a:gd name="connsiteX191" fmla="*/ 132653 w 203591"/>
                <a:gd name="connsiteY191" fmla="*/ 48671 h 279938"/>
                <a:gd name="connsiteX192" fmla="*/ 132971 w 203591"/>
                <a:gd name="connsiteY192" fmla="*/ 48989 h 279938"/>
                <a:gd name="connsiteX193" fmla="*/ 132971 w 203591"/>
                <a:gd name="connsiteY193" fmla="*/ 49625 h 279938"/>
                <a:gd name="connsiteX194" fmla="*/ 133289 w 203591"/>
                <a:gd name="connsiteY194" fmla="*/ 50898 h 279938"/>
                <a:gd name="connsiteX195" fmla="*/ 133925 w 203591"/>
                <a:gd name="connsiteY195" fmla="*/ 50898 h 279938"/>
                <a:gd name="connsiteX196" fmla="*/ 134879 w 203591"/>
                <a:gd name="connsiteY196" fmla="*/ 48353 h 279938"/>
                <a:gd name="connsiteX197" fmla="*/ 137106 w 203591"/>
                <a:gd name="connsiteY197" fmla="*/ 47081 h 279938"/>
                <a:gd name="connsiteX198" fmla="*/ 139969 w 203591"/>
                <a:gd name="connsiteY198" fmla="*/ 47081 h 279938"/>
                <a:gd name="connsiteX199" fmla="*/ 139651 w 203591"/>
                <a:gd name="connsiteY199" fmla="*/ 48353 h 279938"/>
                <a:gd name="connsiteX200" fmla="*/ 139333 w 203591"/>
                <a:gd name="connsiteY200" fmla="*/ 48671 h 279938"/>
                <a:gd name="connsiteX201" fmla="*/ 139333 w 203591"/>
                <a:gd name="connsiteY201" fmla="*/ 49307 h 279938"/>
                <a:gd name="connsiteX202" fmla="*/ 141242 w 203591"/>
                <a:gd name="connsiteY202" fmla="*/ 49625 h 279938"/>
                <a:gd name="connsiteX203" fmla="*/ 141560 w 203591"/>
                <a:gd name="connsiteY203" fmla="*/ 49625 h 279938"/>
                <a:gd name="connsiteX204" fmla="*/ 141560 w 203591"/>
                <a:gd name="connsiteY204" fmla="*/ 50580 h 279938"/>
                <a:gd name="connsiteX205" fmla="*/ 140287 w 203591"/>
                <a:gd name="connsiteY205" fmla="*/ 50898 h 279938"/>
                <a:gd name="connsiteX206" fmla="*/ 138697 w 203591"/>
                <a:gd name="connsiteY206" fmla="*/ 51534 h 279938"/>
                <a:gd name="connsiteX207" fmla="*/ 138378 w 203591"/>
                <a:gd name="connsiteY207" fmla="*/ 51852 h 279938"/>
                <a:gd name="connsiteX208" fmla="*/ 138378 w 203591"/>
                <a:gd name="connsiteY208" fmla="*/ 52488 h 279938"/>
                <a:gd name="connsiteX209" fmla="*/ 139333 w 203591"/>
                <a:gd name="connsiteY209" fmla="*/ 52488 h 279938"/>
                <a:gd name="connsiteX210" fmla="*/ 142832 w 203591"/>
                <a:gd name="connsiteY210" fmla="*/ 51852 h 279938"/>
                <a:gd name="connsiteX211" fmla="*/ 143787 w 203591"/>
                <a:gd name="connsiteY211" fmla="*/ 53125 h 279938"/>
                <a:gd name="connsiteX212" fmla="*/ 144423 w 203591"/>
                <a:gd name="connsiteY212" fmla="*/ 53443 h 279938"/>
                <a:gd name="connsiteX213" fmla="*/ 145059 w 203591"/>
                <a:gd name="connsiteY213" fmla="*/ 53125 h 279938"/>
                <a:gd name="connsiteX214" fmla="*/ 146331 w 203591"/>
                <a:gd name="connsiteY214" fmla="*/ 51534 h 279938"/>
                <a:gd name="connsiteX215" fmla="*/ 146331 w 203591"/>
                <a:gd name="connsiteY215" fmla="*/ 51216 h 279938"/>
                <a:gd name="connsiteX216" fmla="*/ 146013 w 203591"/>
                <a:gd name="connsiteY216" fmla="*/ 51216 h 279938"/>
                <a:gd name="connsiteX217" fmla="*/ 145695 w 203591"/>
                <a:gd name="connsiteY217" fmla="*/ 51534 h 279938"/>
                <a:gd name="connsiteX218" fmla="*/ 145377 w 203591"/>
                <a:gd name="connsiteY218" fmla="*/ 51534 h 279938"/>
                <a:gd name="connsiteX219" fmla="*/ 145695 w 203591"/>
                <a:gd name="connsiteY219" fmla="*/ 51216 h 279938"/>
                <a:gd name="connsiteX220" fmla="*/ 145695 w 203591"/>
                <a:gd name="connsiteY220" fmla="*/ 50898 h 279938"/>
                <a:gd name="connsiteX221" fmla="*/ 146650 w 203591"/>
                <a:gd name="connsiteY221" fmla="*/ 49625 h 279938"/>
                <a:gd name="connsiteX222" fmla="*/ 147286 w 203591"/>
                <a:gd name="connsiteY222" fmla="*/ 48353 h 279938"/>
                <a:gd name="connsiteX223" fmla="*/ 145695 w 203591"/>
                <a:gd name="connsiteY223" fmla="*/ 48671 h 279938"/>
                <a:gd name="connsiteX224" fmla="*/ 144105 w 203591"/>
                <a:gd name="connsiteY224" fmla="*/ 48353 h 279938"/>
                <a:gd name="connsiteX225" fmla="*/ 144423 w 203591"/>
                <a:gd name="connsiteY225" fmla="*/ 48035 h 279938"/>
                <a:gd name="connsiteX226" fmla="*/ 144423 w 203591"/>
                <a:gd name="connsiteY226" fmla="*/ 47717 h 279938"/>
                <a:gd name="connsiteX227" fmla="*/ 144741 w 203591"/>
                <a:gd name="connsiteY227" fmla="*/ 46762 h 279938"/>
                <a:gd name="connsiteX228" fmla="*/ 145695 w 203591"/>
                <a:gd name="connsiteY228" fmla="*/ 47081 h 279938"/>
                <a:gd name="connsiteX229" fmla="*/ 146650 w 203591"/>
                <a:gd name="connsiteY229" fmla="*/ 48035 h 279938"/>
                <a:gd name="connsiteX230" fmla="*/ 147922 w 203591"/>
                <a:gd name="connsiteY230" fmla="*/ 46444 h 279938"/>
                <a:gd name="connsiteX231" fmla="*/ 151421 w 203591"/>
                <a:gd name="connsiteY231" fmla="*/ 46444 h 279938"/>
                <a:gd name="connsiteX232" fmla="*/ 156511 w 203591"/>
                <a:gd name="connsiteY232" fmla="*/ 45172 h 279938"/>
                <a:gd name="connsiteX233" fmla="*/ 158738 w 203591"/>
                <a:gd name="connsiteY233" fmla="*/ 45172 h 279938"/>
                <a:gd name="connsiteX234" fmla="*/ 159374 w 203591"/>
                <a:gd name="connsiteY234" fmla="*/ 47081 h 279938"/>
                <a:gd name="connsiteX235" fmla="*/ 160010 w 203591"/>
                <a:gd name="connsiteY235" fmla="*/ 47717 h 279938"/>
                <a:gd name="connsiteX236" fmla="*/ 161601 w 203591"/>
                <a:gd name="connsiteY236" fmla="*/ 47399 h 279938"/>
                <a:gd name="connsiteX237" fmla="*/ 162873 w 203591"/>
                <a:gd name="connsiteY237" fmla="*/ 47399 h 279938"/>
                <a:gd name="connsiteX238" fmla="*/ 162237 w 203591"/>
                <a:gd name="connsiteY238" fmla="*/ 48989 h 279938"/>
                <a:gd name="connsiteX239" fmla="*/ 162873 w 203591"/>
                <a:gd name="connsiteY239" fmla="*/ 50580 h 279938"/>
                <a:gd name="connsiteX240" fmla="*/ 163827 w 203591"/>
                <a:gd name="connsiteY240" fmla="*/ 50898 h 279938"/>
                <a:gd name="connsiteX241" fmla="*/ 163509 w 203591"/>
                <a:gd name="connsiteY241" fmla="*/ 51216 h 279938"/>
                <a:gd name="connsiteX242" fmla="*/ 162873 w 203591"/>
                <a:gd name="connsiteY242" fmla="*/ 52170 h 279938"/>
                <a:gd name="connsiteX243" fmla="*/ 162237 w 203591"/>
                <a:gd name="connsiteY243" fmla="*/ 53125 h 279938"/>
                <a:gd name="connsiteX244" fmla="*/ 163509 w 203591"/>
                <a:gd name="connsiteY244" fmla="*/ 52170 h 279938"/>
                <a:gd name="connsiteX245" fmla="*/ 165418 w 203591"/>
                <a:gd name="connsiteY245" fmla="*/ 51216 h 279938"/>
                <a:gd name="connsiteX246" fmla="*/ 166054 w 203591"/>
                <a:gd name="connsiteY246" fmla="*/ 50898 h 279938"/>
                <a:gd name="connsiteX247" fmla="*/ 166372 w 203591"/>
                <a:gd name="connsiteY247" fmla="*/ 51216 h 279938"/>
                <a:gd name="connsiteX248" fmla="*/ 167327 w 203591"/>
                <a:gd name="connsiteY248" fmla="*/ 50580 h 279938"/>
                <a:gd name="connsiteX249" fmla="*/ 167963 w 203591"/>
                <a:gd name="connsiteY249" fmla="*/ 48671 h 279938"/>
                <a:gd name="connsiteX250" fmla="*/ 167963 w 203591"/>
                <a:gd name="connsiteY250" fmla="*/ 48353 h 279938"/>
                <a:gd name="connsiteX251" fmla="*/ 168917 w 203591"/>
                <a:gd name="connsiteY251" fmla="*/ 46762 h 279938"/>
                <a:gd name="connsiteX252" fmla="*/ 170826 w 203591"/>
                <a:gd name="connsiteY252" fmla="*/ 44854 h 279938"/>
                <a:gd name="connsiteX253" fmla="*/ 171780 w 203591"/>
                <a:gd name="connsiteY253" fmla="*/ 44854 h 279938"/>
                <a:gd name="connsiteX254" fmla="*/ 172735 w 203591"/>
                <a:gd name="connsiteY254" fmla="*/ 45172 h 279938"/>
                <a:gd name="connsiteX255" fmla="*/ 175916 w 203591"/>
                <a:gd name="connsiteY255" fmla="*/ 43899 h 279938"/>
                <a:gd name="connsiteX256" fmla="*/ 176552 w 203591"/>
                <a:gd name="connsiteY256" fmla="*/ 43899 h 279938"/>
                <a:gd name="connsiteX257" fmla="*/ 177506 w 203591"/>
                <a:gd name="connsiteY257" fmla="*/ 44218 h 279938"/>
                <a:gd name="connsiteX258" fmla="*/ 179415 w 203591"/>
                <a:gd name="connsiteY258" fmla="*/ 43899 h 279938"/>
                <a:gd name="connsiteX259" fmla="*/ 182278 w 203591"/>
                <a:gd name="connsiteY259" fmla="*/ 44536 h 279938"/>
                <a:gd name="connsiteX260" fmla="*/ 185777 w 203591"/>
                <a:gd name="connsiteY260" fmla="*/ 43899 h 279938"/>
                <a:gd name="connsiteX261" fmla="*/ 187050 w 203591"/>
                <a:gd name="connsiteY261" fmla="*/ 43899 h 279938"/>
                <a:gd name="connsiteX262" fmla="*/ 187050 w 203591"/>
                <a:gd name="connsiteY262" fmla="*/ 44218 h 279938"/>
                <a:gd name="connsiteX263" fmla="*/ 187368 w 203591"/>
                <a:gd name="connsiteY263" fmla="*/ 44536 h 279938"/>
                <a:gd name="connsiteX264" fmla="*/ 188004 w 203591"/>
                <a:gd name="connsiteY264" fmla="*/ 44218 h 279938"/>
                <a:gd name="connsiteX265" fmla="*/ 189276 w 203591"/>
                <a:gd name="connsiteY265" fmla="*/ 44218 h 279938"/>
                <a:gd name="connsiteX266" fmla="*/ 191503 w 203591"/>
                <a:gd name="connsiteY266" fmla="*/ 45172 h 279938"/>
                <a:gd name="connsiteX267" fmla="*/ 192139 w 203591"/>
                <a:gd name="connsiteY267" fmla="*/ 45808 h 279938"/>
                <a:gd name="connsiteX268" fmla="*/ 193412 w 203591"/>
                <a:gd name="connsiteY268" fmla="*/ 45490 h 279938"/>
                <a:gd name="connsiteX269" fmla="*/ 194048 w 203591"/>
                <a:gd name="connsiteY269" fmla="*/ 45490 h 279938"/>
                <a:gd name="connsiteX270" fmla="*/ 196593 w 203591"/>
                <a:gd name="connsiteY270" fmla="*/ 44854 h 279938"/>
                <a:gd name="connsiteX271" fmla="*/ 198184 w 203591"/>
                <a:gd name="connsiteY271" fmla="*/ 45808 h 279938"/>
                <a:gd name="connsiteX272" fmla="*/ 200729 w 203591"/>
                <a:gd name="connsiteY272" fmla="*/ 45808 h 279938"/>
                <a:gd name="connsiteX273" fmla="*/ 202001 w 203591"/>
                <a:gd name="connsiteY273" fmla="*/ 45490 h 279938"/>
                <a:gd name="connsiteX274" fmla="*/ 203591 w 203591"/>
                <a:gd name="connsiteY274" fmla="*/ 46444 h 279938"/>
                <a:gd name="connsiteX275" fmla="*/ 204228 w 203591"/>
                <a:gd name="connsiteY275" fmla="*/ 47399 h 279938"/>
                <a:gd name="connsiteX276" fmla="*/ 204228 w 203591"/>
                <a:gd name="connsiteY276" fmla="*/ 47717 h 279938"/>
                <a:gd name="connsiteX277" fmla="*/ 204864 w 203591"/>
                <a:gd name="connsiteY277" fmla="*/ 50262 h 279938"/>
                <a:gd name="connsiteX278" fmla="*/ 204864 w 203591"/>
                <a:gd name="connsiteY278" fmla="*/ 50898 h 279938"/>
                <a:gd name="connsiteX279" fmla="*/ 205818 w 203591"/>
                <a:gd name="connsiteY279" fmla="*/ 52170 h 279938"/>
                <a:gd name="connsiteX280" fmla="*/ 205182 w 203591"/>
                <a:gd name="connsiteY280" fmla="*/ 53761 h 279938"/>
                <a:gd name="connsiteX281" fmla="*/ 205182 w 203591"/>
                <a:gd name="connsiteY281" fmla="*/ 57260 h 279938"/>
                <a:gd name="connsiteX282" fmla="*/ 203910 w 203591"/>
                <a:gd name="connsiteY282" fmla="*/ 58533 h 279938"/>
                <a:gd name="connsiteX283" fmla="*/ 202955 w 203591"/>
                <a:gd name="connsiteY283" fmla="*/ 59487 h 279938"/>
                <a:gd name="connsiteX284" fmla="*/ 200729 w 203591"/>
                <a:gd name="connsiteY284" fmla="*/ 61077 h 279938"/>
                <a:gd name="connsiteX285" fmla="*/ 200092 w 203591"/>
                <a:gd name="connsiteY285" fmla="*/ 61714 h 279938"/>
                <a:gd name="connsiteX286" fmla="*/ 199138 w 203591"/>
                <a:gd name="connsiteY286" fmla="*/ 61714 h 279938"/>
                <a:gd name="connsiteX287" fmla="*/ 196593 w 203591"/>
                <a:gd name="connsiteY287" fmla="*/ 62668 h 279938"/>
                <a:gd name="connsiteX288" fmla="*/ 192457 w 203591"/>
                <a:gd name="connsiteY288" fmla="*/ 63940 h 279938"/>
                <a:gd name="connsiteX289" fmla="*/ 191185 w 203591"/>
                <a:gd name="connsiteY289" fmla="*/ 64259 h 279938"/>
                <a:gd name="connsiteX290" fmla="*/ 188004 w 203591"/>
                <a:gd name="connsiteY290" fmla="*/ 64895 h 279938"/>
                <a:gd name="connsiteX291" fmla="*/ 187050 w 203591"/>
                <a:gd name="connsiteY291" fmla="*/ 64895 h 279938"/>
                <a:gd name="connsiteX292" fmla="*/ 186414 w 203591"/>
                <a:gd name="connsiteY292" fmla="*/ 65213 h 279938"/>
                <a:gd name="connsiteX293" fmla="*/ 186414 w 203591"/>
                <a:gd name="connsiteY293" fmla="*/ 64895 h 279938"/>
                <a:gd name="connsiteX294" fmla="*/ 185141 w 203591"/>
                <a:gd name="connsiteY294" fmla="*/ 63304 h 279938"/>
                <a:gd name="connsiteX295" fmla="*/ 185777 w 203591"/>
                <a:gd name="connsiteY295" fmla="*/ 62668 h 279938"/>
                <a:gd name="connsiteX296" fmla="*/ 187368 w 203591"/>
                <a:gd name="connsiteY296" fmla="*/ 61396 h 279938"/>
                <a:gd name="connsiteX297" fmla="*/ 185141 w 203591"/>
                <a:gd name="connsiteY297" fmla="*/ 61396 h 279938"/>
                <a:gd name="connsiteX298" fmla="*/ 184823 w 203591"/>
                <a:gd name="connsiteY298" fmla="*/ 61077 h 279938"/>
                <a:gd name="connsiteX299" fmla="*/ 186414 w 203591"/>
                <a:gd name="connsiteY299" fmla="*/ 59487 h 279938"/>
                <a:gd name="connsiteX300" fmla="*/ 187050 w 203591"/>
                <a:gd name="connsiteY300" fmla="*/ 59487 h 279938"/>
                <a:gd name="connsiteX301" fmla="*/ 188004 w 203591"/>
                <a:gd name="connsiteY301" fmla="*/ 58533 h 279938"/>
                <a:gd name="connsiteX302" fmla="*/ 188004 w 203591"/>
                <a:gd name="connsiteY302" fmla="*/ 58214 h 279938"/>
                <a:gd name="connsiteX303" fmla="*/ 187050 w 203591"/>
                <a:gd name="connsiteY303" fmla="*/ 57896 h 279938"/>
                <a:gd name="connsiteX304" fmla="*/ 186414 w 203591"/>
                <a:gd name="connsiteY304" fmla="*/ 58214 h 279938"/>
                <a:gd name="connsiteX305" fmla="*/ 186095 w 203591"/>
                <a:gd name="connsiteY305" fmla="*/ 58214 h 279938"/>
                <a:gd name="connsiteX306" fmla="*/ 186414 w 203591"/>
                <a:gd name="connsiteY306" fmla="*/ 57896 h 279938"/>
                <a:gd name="connsiteX307" fmla="*/ 186732 w 203591"/>
                <a:gd name="connsiteY307" fmla="*/ 57260 h 279938"/>
                <a:gd name="connsiteX308" fmla="*/ 185141 w 203591"/>
                <a:gd name="connsiteY308" fmla="*/ 56624 h 279938"/>
                <a:gd name="connsiteX309" fmla="*/ 184187 w 203591"/>
                <a:gd name="connsiteY309" fmla="*/ 56624 h 279938"/>
                <a:gd name="connsiteX310" fmla="*/ 183232 w 203591"/>
                <a:gd name="connsiteY310" fmla="*/ 57260 h 279938"/>
                <a:gd name="connsiteX311" fmla="*/ 181642 w 203591"/>
                <a:gd name="connsiteY311" fmla="*/ 57896 h 279938"/>
                <a:gd name="connsiteX312" fmla="*/ 180051 w 203591"/>
                <a:gd name="connsiteY312" fmla="*/ 57896 h 279938"/>
                <a:gd name="connsiteX313" fmla="*/ 176552 w 203591"/>
                <a:gd name="connsiteY313" fmla="*/ 57260 h 279938"/>
                <a:gd name="connsiteX314" fmla="*/ 172099 w 203591"/>
                <a:gd name="connsiteY314" fmla="*/ 57260 h 279938"/>
                <a:gd name="connsiteX315" fmla="*/ 171462 w 203591"/>
                <a:gd name="connsiteY315" fmla="*/ 56942 h 279938"/>
                <a:gd name="connsiteX316" fmla="*/ 171144 w 203591"/>
                <a:gd name="connsiteY316" fmla="*/ 56306 h 279938"/>
                <a:gd name="connsiteX317" fmla="*/ 171144 w 203591"/>
                <a:gd name="connsiteY317" fmla="*/ 55670 h 279938"/>
                <a:gd name="connsiteX318" fmla="*/ 171780 w 203591"/>
                <a:gd name="connsiteY318" fmla="*/ 54397 h 279938"/>
                <a:gd name="connsiteX319" fmla="*/ 171462 w 203591"/>
                <a:gd name="connsiteY319" fmla="*/ 54079 h 279938"/>
                <a:gd name="connsiteX320" fmla="*/ 170190 w 203591"/>
                <a:gd name="connsiteY320" fmla="*/ 55351 h 279938"/>
                <a:gd name="connsiteX321" fmla="*/ 168599 w 203591"/>
                <a:gd name="connsiteY321" fmla="*/ 55988 h 279938"/>
                <a:gd name="connsiteX322" fmla="*/ 168281 w 203591"/>
                <a:gd name="connsiteY322" fmla="*/ 55988 h 279938"/>
                <a:gd name="connsiteX323" fmla="*/ 168599 w 203591"/>
                <a:gd name="connsiteY323" fmla="*/ 55351 h 279938"/>
                <a:gd name="connsiteX324" fmla="*/ 168281 w 203591"/>
                <a:gd name="connsiteY324" fmla="*/ 55351 h 279938"/>
                <a:gd name="connsiteX325" fmla="*/ 167327 w 203591"/>
                <a:gd name="connsiteY325" fmla="*/ 56306 h 279938"/>
                <a:gd name="connsiteX326" fmla="*/ 165736 w 203591"/>
                <a:gd name="connsiteY326" fmla="*/ 57578 h 279938"/>
                <a:gd name="connsiteX327" fmla="*/ 163827 w 203591"/>
                <a:gd name="connsiteY327" fmla="*/ 57260 h 279938"/>
                <a:gd name="connsiteX328" fmla="*/ 162237 w 203591"/>
                <a:gd name="connsiteY328" fmla="*/ 57896 h 279938"/>
                <a:gd name="connsiteX329" fmla="*/ 160965 w 203591"/>
                <a:gd name="connsiteY329" fmla="*/ 58214 h 279938"/>
                <a:gd name="connsiteX330" fmla="*/ 159374 w 203591"/>
                <a:gd name="connsiteY330" fmla="*/ 57896 h 279938"/>
                <a:gd name="connsiteX331" fmla="*/ 158738 w 203591"/>
                <a:gd name="connsiteY331" fmla="*/ 57896 h 279938"/>
                <a:gd name="connsiteX332" fmla="*/ 158102 w 203591"/>
                <a:gd name="connsiteY332" fmla="*/ 57578 h 279938"/>
                <a:gd name="connsiteX333" fmla="*/ 157465 w 203591"/>
                <a:gd name="connsiteY333" fmla="*/ 57578 h 279938"/>
                <a:gd name="connsiteX334" fmla="*/ 155557 w 203591"/>
                <a:gd name="connsiteY334" fmla="*/ 57896 h 279938"/>
                <a:gd name="connsiteX335" fmla="*/ 153648 w 203591"/>
                <a:gd name="connsiteY335" fmla="*/ 57260 h 279938"/>
                <a:gd name="connsiteX336" fmla="*/ 153012 w 203591"/>
                <a:gd name="connsiteY336" fmla="*/ 57578 h 279938"/>
                <a:gd name="connsiteX337" fmla="*/ 151739 w 203591"/>
                <a:gd name="connsiteY337" fmla="*/ 56942 h 279938"/>
                <a:gd name="connsiteX338" fmla="*/ 151103 w 203591"/>
                <a:gd name="connsiteY338" fmla="*/ 56624 h 279938"/>
                <a:gd name="connsiteX339" fmla="*/ 150149 w 203591"/>
                <a:gd name="connsiteY339" fmla="*/ 56942 h 279938"/>
                <a:gd name="connsiteX340" fmla="*/ 149194 w 203591"/>
                <a:gd name="connsiteY340" fmla="*/ 57896 h 279938"/>
                <a:gd name="connsiteX341" fmla="*/ 148876 w 203591"/>
                <a:gd name="connsiteY341" fmla="*/ 57896 h 279938"/>
                <a:gd name="connsiteX342" fmla="*/ 148876 w 203591"/>
                <a:gd name="connsiteY342" fmla="*/ 57578 h 279938"/>
                <a:gd name="connsiteX343" fmla="*/ 148240 w 203591"/>
                <a:gd name="connsiteY343" fmla="*/ 57260 h 279938"/>
                <a:gd name="connsiteX344" fmla="*/ 146331 w 203591"/>
                <a:gd name="connsiteY344" fmla="*/ 58533 h 279938"/>
                <a:gd name="connsiteX345" fmla="*/ 146331 w 203591"/>
                <a:gd name="connsiteY345" fmla="*/ 57896 h 279938"/>
                <a:gd name="connsiteX346" fmla="*/ 146013 w 203591"/>
                <a:gd name="connsiteY346" fmla="*/ 57578 h 279938"/>
                <a:gd name="connsiteX347" fmla="*/ 145377 w 203591"/>
                <a:gd name="connsiteY347" fmla="*/ 58214 h 279938"/>
                <a:gd name="connsiteX348" fmla="*/ 144105 w 203591"/>
                <a:gd name="connsiteY348" fmla="*/ 58533 h 279938"/>
                <a:gd name="connsiteX349" fmla="*/ 143787 w 203591"/>
                <a:gd name="connsiteY349" fmla="*/ 58533 h 279938"/>
                <a:gd name="connsiteX350" fmla="*/ 143787 w 203591"/>
                <a:gd name="connsiteY350" fmla="*/ 57896 h 279938"/>
                <a:gd name="connsiteX351" fmla="*/ 143469 w 203591"/>
                <a:gd name="connsiteY351" fmla="*/ 57896 h 279938"/>
                <a:gd name="connsiteX352" fmla="*/ 141878 w 203591"/>
                <a:gd name="connsiteY352" fmla="*/ 58851 h 279938"/>
                <a:gd name="connsiteX353" fmla="*/ 141242 w 203591"/>
                <a:gd name="connsiteY353" fmla="*/ 58851 h 279938"/>
                <a:gd name="connsiteX354" fmla="*/ 138060 w 203591"/>
                <a:gd name="connsiteY354" fmla="*/ 58214 h 279938"/>
                <a:gd name="connsiteX355" fmla="*/ 137742 w 203591"/>
                <a:gd name="connsiteY355" fmla="*/ 57896 h 279938"/>
                <a:gd name="connsiteX356" fmla="*/ 137106 w 203591"/>
                <a:gd name="connsiteY356" fmla="*/ 57260 h 279938"/>
                <a:gd name="connsiteX357" fmla="*/ 135834 w 203591"/>
                <a:gd name="connsiteY357" fmla="*/ 57896 h 279938"/>
                <a:gd name="connsiteX358" fmla="*/ 135516 w 203591"/>
                <a:gd name="connsiteY358" fmla="*/ 58214 h 279938"/>
                <a:gd name="connsiteX359" fmla="*/ 134879 w 203591"/>
                <a:gd name="connsiteY359" fmla="*/ 57896 h 279938"/>
                <a:gd name="connsiteX360" fmla="*/ 130744 w 203591"/>
                <a:gd name="connsiteY360" fmla="*/ 59169 h 279938"/>
                <a:gd name="connsiteX361" fmla="*/ 129472 w 203591"/>
                <a:gd name="connsiteY361" fmla="*/ 59487 h 279938"/>
                <a:gd name="connsiteX362" fmla="*/ 128199 w 203591"/>
                <a:gd name="connsiteY362" fmla="*/ 59487 h 279938"/>
                <a:gd name="connsiteX363" fmla="*/ 127245 w 203591"/>
                <a:gd name="connsiteY363" fmla="*/ 59805 h 279938"/>
                <a:gd name="connsiteX364" fmla="*/ 121837 w 203591"/>
                <a:gd name="connsiteY364" fmla="*/ 61077 h 279938"/>
                <a:gd name="connsiteX365" fmla="*/ 119610 w 203591"/>
                <a:gd name="connsiteY365" fmla="*/ 61396 h 279938"/>
                <a:gd name="connsiteX366" fmla="*/ 118338 w 203591"/>
                <a:gd name="connsiteY366" fmla="*/ 61396 h 279938"/>
                <a:gd name="connsiteX367" fmla="*/ 113884 w 203591"/>
                <a:gd name="connsiteY367" fmla="*/ 62350 h 279938"/>
                <a:gd name="connsiteX368" fmla="*/ 113248 w 203591"/>
                <a:gd name="connsiteY368" fmla="*/ 62032 h 279938"/>
                <a:gd name="connsiteX369" fmla="*/ 113248 w 203591"/>
                <a:gd name="connsiteY369" fmla="*/ 60123 h 279938"/>
                <a:gd name="connsiteX370" fmla="*/ 113884 w 203591"/>
                <a:gd name="connsiteY370" fmla="*/ 59487 h 279938"/>
                <a:gd name="connsiteX371" fmla="*/ 113566 w 203591"/>
                <a:gd name="connsiteY371" fmla="*/ 59169 h 279938"/>
                <a:gd name="connsiteX372" fmla="*/ 113248 w 203591"/>
                <a:gd name="connsiteY372" fmla="*/ 59487 h 279938"/>
                <a:gd name="connsiteX373" fmla="*/ 112611 w 203591"/>
                <a:gd name="connsiteY373" fmla="*/ 59805 h 279938"/>
                <a:gd name="connsiteX374" fmla="*/ 110385 w 203591"/>
                <a:gd name="connsiteY374" fmla="*/ 61396 h 279938"/>
                <a:gd name="connsiteX375" fmla="*/ 109430 w 203591"/>
                <a:gd name="connsiteY375" fmla="*/ 61396 h 279938"/>
                <a:gd name="connsiteX376" fmla="*/ 107204 w 203591"/>
                <a:gd name="connsiteY376" fmla="*/ 62350 h 279938"/>
                <a:gd name="connsiteX377" fmla="*/ 97978 w 203591"/>
                <a:gd name="connsiteY377" fmla="*/ 75393 h 279938"/>
                <a:gd name="connsiteX378" fmla="*/ 97342 w 203591"/>
                <a:gd name="connsiteY378" fmla="*/ 74120 h 279938"/>
                <a:gd name="connsiteX379" fmla="*/ 97342 w 203591"/>
                <a:gd name="connsiteY379" fmla="*/ 73802 h 279938"/>
                <a:gd name="connsiteX380" fmla="*/ 96706 w 203591"/>
                <a:gd name="connsiteY380" fmla="*/ 74120 h 279938"/>
                <a:gd name="connsiteX381" fmla="*/ 96388 w 203591"/>
                <a:gd name="connsiteY381" fmla="*/ 74438 h 279938"/>
                <a:gd name="connsiteX382" fmla="*/ 97660 w 203591"/>
                <a:gd name="connsiteY382" fmla="*/ 77619 h 279938"/>
                <a:gd name="connsiteX383" fmla="*/ 97660 w 203591"/>
                <a:gd name="connsiteY383" fmla="*/ 77937 h 279938"/>
                <a:gd name="connsiteX384" fmla="*/ 97024 w 203591"/>
                <a:gd name="connsiteY384" fmla="*/ 79528 h 279938"/>
                <a:gd name="connsiteX385" fmla="*/ 96070 w 203591"/>
                <a:gd name="connsiteY385" fmla="*/ 80164 h 279938"/>
                <a:gd name="connsiteX386" fmla="*/ 96706 w 203591"/>
                <a:gd name="connsiteY386" fmla="*/ 80800 h 279938"/>
                <a:gd name="connsiteX387" fmla="*/ 97024 w 203591"/>
                <a:gd name="connsiteY387" fmla="*/ 81437 h 279938"/>
                <a:gd name="connsiteX388" fmla="*/ 96706 w 203591"/>
                <a:gd name="connsiteY388" fmla="*/ 83027 h 279938"/>
                <a:gd name="connsiteX389" fmla="*/ 95752 w 203591"/>
                <a:gd name="connsiteY389" fmla="*/ 83663 h 279938"/>
                <a:gd name="connsiteX390" fmla="*/ 94797 w 203591"/>
                <a:gd name="connsiteY390" fmla="*/ 84300 h 279938"/>
                <a:gd name="connsiteX391" fmla="*/ 93843 w 203591"/>
                <a:gd name="connsiteY391" fmla="*/ 84936 h 279938"/>
                <a:gd name="connsiteX392" fmla="*/ 94797 w 203591"/>
                <a:gd name="connsiteY392" fmla="*/ 85572 h 279938"/>
                <a:gd name="connsiteX393" fmla="*/ 95115 w 203591"/>
                <a:gd name="connsiteY393" fmla="*/ 86208 h 279938"/>
                <a:gd name="connsiteX394" fmla="*/ 93843 w 203591"/>
                <a:gd name="connsiteY394" fmla="*/ 87481 h 279938"/>
                <a:gd name="connsiteX395" fmla="*/ 93843 w 203591"/>
                <a:gd name="connsiteY395" fmla="*/ 87799 h 279938"/>
                <a:gd name="connsiteX396" fmla="*/ 89071 w 203591"/>
                <a:gd name="connsiteY396" fmla="*/ 106567 h 279938"/>
                <a:gd name="connsiteX397" fmla="*/ 88117 w 203591"/>
                <a:gd name="connsiteY397" fmla="*/ 109112 h 279938"/>
                <a:gd name="connsiteX398" fmla="*/ 88117 w 203591"/>
                <a:gd name="connsiteY398" fmla="*/ 111339 h 279938"/>
                <a:gd name="connsiteX399" fmla="*/ 87163 w 203591"/>
                <a:gd name="connsiteY399" fmla="*/ 112293 h 279938"/>
                <a:gd name="connsiteX400" fmla="*/ 87481 w 203591"/>
                <a:gd name="connsiteY400" fmla="*/ 112612 h 279938"/>
                <a:gd name="connsiteX401" fmla="*/ 87163 w 203591"/>
                <a:gd name="connsiteY401" fmla="*/ 113884 h 279938"/>
                <a:gd name="connsiteX402" fmla="*/ 87163 w 203591"/>
                <a:gd name="connsiteY402" fmla="*/ 114520 h 279938"/>
                <a:gd name="connsiteX403" fmla="*/ 85572 w 203591"/>
                <a:gd name="connsiteY403" fmla="*/ 117383 h 279938"/>
                <a:gd name="connsiteX404" fmla="*/ 84936 w 203591"/>
                <a:gd name="connsiteY404" fmla="*/ 118338 h 279938"/>
                <a:gd name="connsiteX405" fmla="*/ 85890 w 203591"/>
                <a:gd name="connsiteY405" fmla="*/ 118974 h 279938"/>
                <a:gd name="connsiteX406" fmla="*/ 85254 w 203591"/>
                <a:gd name="connsiteY406" fmla="*/ 119610 h 279938"/>
                <a:gd name="connsiteX407" fmla="*/ 85572 w 203591"/>
                <a:gd name="connsiteY407" fmla="*/ 119928 h 279938"/>
                <a:gd name="connsiteX408" fmla="*/ 85572 w 203591"/>
                <a:gd name="connsiteY408" fmla="*/ 120882 h 279938"/>
                <a:gd name="connsiteX409" fmla="*/ 84936 w 203591"/>
                <a:gd name="connsiteY409" fmla="*/ 120882 h 279938"/>
                <a:gd name="connsiteX410" fmla="*/ 85254 w 203591"/>
                <a:gd name="connsiteY410" fmla="*/ 122473 h 279938"/>
                <a:gd name="connsiteX411" fmla="*/ 84299 w 203591"/>
                <a:gd name="connsiteY411" fmla="*/ 123745 h 279938"/>
                <a:gd name="connsiteX412" fmla="*/ 84618 w 203591"/>
                <a:gd name="connsiteY412" fmla="*/ 124382 h 279938"/>
                <a:gd name="connsiteX413" fmla="*/ 84618 w 203591"/>
                <a:gd name="connsiteY413" fmla="*/ 124700 h 279938"/>
                <a:gd name="connsiteX414" fmla="*/ 83981 w 203591"/>
                <a:gd name="connsiteY414" fmla="*/ 125336 h 279938"/>
                <a:gd name="connsiteX415" fmla="*/ 83663 w 203591"/>
                <a:gd name="connsiteY415" fmla="*/ 127563 h 279938"/>
                <a:gd name="connsiteX416" fmla="*/ 83345 w 203591"/>
                <a:gd name="connsiteY416" fmla="*/ 128517 h 279938"/>
                <a:gd name="connsiteX417" fmla="*/ 82709 w 203591"/>
                <a:gd name="connsiteY417" fmla="*/ 130108 h 279938"/>
                <a:gd name="connsiteX418" fmla="*/ 83027 w 203591"/>
                <a:gd name="connsiteY418" fmla="*/ 130744 h 279938"/>
                <a:gd name="connsiteX419" fmla="*/ 83027 w 203591"/>
                <a:gd name="connsiteY419" fmla="*/ 131380 h 279938"/>
                <a:gd name="connsiteX420" fmla="*/ 82391 w 203591"/>
                <a:gd name="connsiteY420" fmla="*/ 133289 h 279938"/>
                <a:gd name="connsiteX421" fmla="*/ 81755 w 203591"/>
                <a:gd name="connsiteY421" fmla="*/ 134243 h 279938"/>
                <a:gd name="connsiteX422" fmla="*/ 80164 w 203591"/>
                <a:gd name="connsiteY422" fmla="*/ 135198 h 279938"/>
                <a:gd name="connsiteX423" fmla="*/ 80800 w 203591"/>
                <a:gd name="connsiteY423" fmla="*/ 135516 h 279938"/>
                <a:gd name="connsiteX424" fmla="*/ 81118 w 203591"/>
                <a:gd name="connsiteY424" fmla="*/ 136152 h 279938"/>
                <a:gd name="connsiteX425" fmla="*/ 81118 w 203591"/>
                <a:gd name="connsiteY425" fmla="*/ 136788 h 279938"/>
                <a:gd name="connsiteX426" fmla="*/ 79528 w 203591"/>
                <a:gd name="connsiteY426" fmla="*/ 139015 h 279938"/>
                <a:gd name="connsiteX427" fmla="*/ 78892 w 203591"/>
                <a:gd name="connsiteY427" fmla="*/ 139651 h 279938"/>
                <a:gd name="connsiteX428" fmla="*/ 79210 w 203591"/>
                <a:gd name="connsiteY428" fmla="*/ 139969 h 279938"/>
                <a:gd name="connsiteX429" fmla="*/ 79528 w 203591"/>
                <a:gd name="connsiteY429" fmla="*/ 140924 h 279938"/>
                <a:gd name="connsiteX430" fmla="*/ 79846 w 203591"/>
                <a:gd name="connsiteY430" fmla="*/ 141560 h 279938"/>
                <a:gd name="connsiteX431" fmla="*/ 79528 w 203591"/>
                <a:gd name="connsiteY431" fmla="*/ 141878 h 279938"/>
                <a:gd name="connsiteX432" fmla="*/ 79846 w 203591"/>
                <a:gd name="connsiteY432" fmla="*/ 142514 h 279938"/>
                <a:gd name="connsiteX433" fmla="*/ 80482 w 203591"/>
                <a:gd name="connsiteY433" fmla="*/ 142514 h 279938"/>
                <a:gd name="connsiteX434" fmla="*/ 80482 w 203591"/>
                <a:gd name="connsiteY434" fmla="*/ 142832 h 279938"/>
                <a:gd name="connsiteX435" fmla="*/ 80164 w 203591"/>
                <a:gd name="connsiteY435" fmla="*/ 143150 h 279938"/>
                <a:gd name="connsiteX436" fmla="*/ 79528 w 203591"/>
                <a:gd name="connsiteY436" fmla="*/ 143150 h 279938"/>
                <a:gd name="connsiteX437" fmla="*/ 78892 w 203591"/>
                <a:gd name="connsiteY437" fmla="*/ 142514 h 279938"/>
                <a:gd name="connsiteX438" fmla="*/ 78574 w 203591"/>
                <a:gd name="connsiteY438" fmla="*/ 142514 h 279938"/>
                <a:gd name="connsiteX439" fmla="*/ 77619 w 203591"/>
                <a:gd name="connsiteY439" fmla="*/ 144105 h 279938"/>
                <a:gd name="connsiteX440" fmla="*/ 77301 w 203591"/>
                <a:gd name="connsiteY440" fmla="*/ 144423 h 279938"/>
                <a:gd name="connsiteX441" fmla="*/ 76665 w 203591"/>
                <a:gd name="connsiteY441" fmla="*/ 144423 h 279938"/>
                <a:gd name="connsiteX442" fmla="*/ 75711 w 203591"/>
                <a:gd name="connsiteY442" fmla="*/ 144741 h 279938"/>
                <a:gd name="connsiteX443" fmla="*/ 75393 w 203591"/>
                <a:gd name="connsiteY443" fmla="*/ 146013 h 279938"/>
                <a:gd name="connsiteX444" fmla="*/ 75393 w 203591"/>
                <a:gd name="connsiteY444" fmla="*/ 146650 h 279938"/>
                <a:gd name="connsiteX445" fmla="*/ 75074 w 203591"/>
                <a:gd name="connsiteY445" fmla="*/ 147286 h 279938"/>
                <a:gd name="connsiteX446" fmla="*/ 75074 w 203591"/>
                <a:gd name="connsiteY446" fmla="*/ 148558 h 279938"/>
                <a:gd name="connsiteX447" fmla="*/ 75711 w 203591"/>
                <a:gd name="connsiteY447" fmla="*/ 149831 h 279938"/>
                <a:gd name="connsiteX448" fmla="*/ 75711 w 203591"/>
                <a:gd name="connsiteY448" fmla="*/ 150149 h 279938"/>
                <a:gd name="connsiteX449" fmla="*/ 75393 w 203591"/>
                <a:gd name="connsiteY449" fmla="*/ 150467 h 279938"/>
                <a:gd name="connsiteX450" fmla="*/ 74438 w 203591"/>
                <a:gd name="connsiteY450" fmla="*/ 152057 h 279938"/>
                <a:gd name="connsiteX451" fmla="*/ 74756 w 203591"/>
                <a:gd name="connsiteY451" fmla="*/ 152694 h 279938"/>
                <a:gd name="connsiteX452" fmla="*/ 75074 w 203591"/>
                <a:gd name="connsiteY452" fmla="*/ 152694 h 279938"/>
                <a:gd name="connsiteX453" fmla="*/ 76029 w 203591"/>
                <a:gd name="connsiteY453" fmla="*/ 152057 h 279938"/>
                <a:gd name="connsiteX454" fmla="*/ 77301 w 203591"/>
                <a:gd name="connsiteY454" fmla="*/ 151421 h 279938"/>
                <a:gd name="connsiteX455" fmla="*/ 78256 w 203591"/>
                <a:gd name="connsiteY455" fmla="*/ 150785 h 279938"/>
                <a:gd name="connsiteX456" fmla="*/ 78892 w 203591"/>
                <a:gd name="connsiteY456" fmla="*/ 150785 h 279938"/>
                <a:gd name="connsiteX457" fmla="*/ 78892 w 203591"/>
                <a:gd name="connsiteY457" fmla="*/ 151421 h 279938"/>
                <a:gd name="connsiteX458" fmla="*/ 77937 w 203591"/>
                <a:gd name="connsiteY458" fmla="*/ 152694 h 279938"/>
                <a:gd name="connsiteX459" fmla="*/ 77937 w 203591"/>
                <a:gd name="connsiteY459" fmla="*/ 153330 h 279938"/>
                <a:gd name="connsiteX460" fmla="*/ 76029 w 203591"/>
                <a:gd name="connsiteY460" fmla="*/ 154602 h 279938"/>
                <a:gd name="connsiteX461" fmla="*/ 75711 w 203591"/>
                <a:gd name="connsiteY461" fmla="*/ 155557 h 279938"/>
                <a:gd name="connsiteX462" fmla="*/ 75711 w 203591"/>
                <a:gd name="connsiteY462" fmla="*/ 156511 h 279938"/>
                <a:gd name="connsiteX463" fmla="*/ 76029 w 203591"/>
                <a:gd name="connsiteY463" fmla="*/ 157147 h 279938"/>
                <a:gd name="connsiteX464" fmla="*/ 77301 w 203591"/>
                <a:gd name="connsiteY464" fmla="*/ 157783 h 279938"/>
                <a:gd name="connsiteX465" fmla="*/ 77301 w 203591"/>
                <a:gd name="connsiteY465" fmla="*/ 158102 h 279938"/>
                <a:gd name="connsiteX466" fmla="*/ 76983 w 203591"/>
                <a:gd name="connsiteY466" fmla="*/ 159056 h 279938"/>
                <a:gd name="connsiteX467" fmla="*/ 76347 w 203591"/>
                <a:gd name="connsiteY467" fmla="*/ 159692 h 279938"/>
                <a:gd name="connsiteX468" fmla="*/ 76029 w 203591"/>
                <a:gd name="connsiteY468" fmla="*/ 160010 h 279938"/>
                <a:gd name="connsiteX469" fmla="*/ 76347 w 203591"/>
                <a:gd name="connsiteY469" fmla="*/ 161283 h 279938"/>
                <a:gd name="connsiteX470" fmla="*/ 76029 w 203591"/>
                <a:gd name="connsiteY470" fmla="*/ 161601 h 279938"/>
                <a:gd name="connsiteX471" fmla="*/ 75393 w 203591"/>
                <a:gd name="connsiteY471" fmla="*/ 161283 h 279938"/>
                <a:gd name="connsiteX472" fmla="*/ 75393 w 203591"/>
                <a:gd name="connsiteY472" fmla="*/ 160965 h 279938"/>
                <a:gd name="connsiteX473" fmla="*/ 75074 w 203591"/>
                <a:gd name="connsiteY473" fmla="*/ 160646 h 279938"/>
                <a:gd name="connsiteX474" fmla="*/ 75711 w 203591"/>
                <a:gd name="connsiteY474" fmla="*/ 158738 h 279938"/>
                <a:gd name="connsiteX475" fmla="*/ 75393 w 203591"/>
                <a:gd name="connsiteY475" fmla="*/ 158102 h 279938"/>
                <a:gd name="connsiteX476" fmla="*/ 73484 w 203591"/>
                <a:gd name="connsiteY476" fmla="*/ 159692 h 279938"/>
                <a:gd name="connsiteX477" fmla="*/ 73166 w 203591"/>
                <a:gd name="connsiteY477" fmla="*/ 160010 h 279938"/>
                <a:gd name="connsiteX478" fmla="*/ 73484 w 203591"/>
                <a:gd name="connsiteY478" fmla="*/ 160328 h 279938"/>
                <a:gd name="connsiteX479" fmla="*/ 74120 w 203591"/>
                <a:gd name="connsiteY479" fmla="*/ 160646 h 279938"/>
                <a:gd name="connsiteX480" fmla="*/ 74120 w 203591"/>
                <a:gd name="connsiteY480" fmla="*/ 160965 h 279938"/>
                <a:gd name="connsiteX481" fmla="*/ 73484 w 203591"/>
                <a:gd name="connsiteY481" fmla="*/ 162555 h 279938"/>
                <a:gd name="connsiteX482" fmla="*/ 72529 w 203591"/>
                <a:gd name="connsiteY482" fmla="*/ 163191 h 279938"/>
                <a:gd name="connsiteX483" fmla="*/ 71575 w 203591"/>
                <a:gd name="connsiteY483" fmla="*/ 163828 h 279938"/>
                <a:gd name="connsiteX484" fmla="*/ 72211 w 203591"/>
                <a:gd name="connsiteY484" fmla="*/ 164464 h 279938"/>
                <a:gd name="connsiteX485" fmla="*/ 72847 w 203591"/>
                <a:gd name="connsiteY485" fmla="*/ 165736 h 279938"/>
                <a:gd name="connsiteX486" fmla="*/ 71893 w 203591"/>
                <a:gd name="connsiteY486" fmla="*/ 166691 h 279938"/>
                <a:gd name="connsiteX487" fmla="*/ 72211 w 203591"/>
                <a:gd name="connsiteY487" fmla="*/ 167009 h 279938"/>
                <a:gd name="connsiteX488" fmla="*/ 71893 w 203591"/>
                <a:gd name="connsiteY488" fmla="*/ 168281 h 279938"/>
                <a:gd name="connsiteX489" fmla="*/ 71257 w 203591"/>
                <a:gd name="connsiteY489" fmla="*/ 168917 h 279938"/>
                <a:gd name="connsiteX490" fmla="*/ 71893 w 203591"/>
                <a:gd name="connsiteY490" fmla="*/ 169872 h 279938"/>
                <a:gd name="connsiteX491" fmla="*/ 72211 w 203591"/>
                <a:gd name="connsiteY491" fmla="*/ 170190 h 279938"/>
                <a:gd name="connsiteX492" fmla="*/ 71575 w 203591"/>
                <a:gd name="connsiteY492" fmla="*/ 170826 h 279938"/>
                <a:gd name="connsiteX493" fmla="*/ 70621 w 203591"/>
                <a:gd name="connsiteY493" fmla="*/ 172735 h 279938"/>
                <a:gd name="connsiteX494" fmla="*/ 70621 w 203591"/>
                <a:gd name="connsiteY494" fmla="*/ 173053 h 279938"/>
                <a:gd name="connsiteX495" fmla="*/ 70939 w 203591"/>
                <a:gd name="connsiteY495" fmla="*/ 174325 h 279938"/>
                <a:gd name="connsiteX496" fmla="*/ 70621 w 203591"/>
                <a:gd name="connsiteY496" fmla="*/ 175280 h 279938"/>
                <a:gd name="connsiteX497" fmla="*/ 70621 w 203591"/>
                <a:gd name="connsiteY497" fmla="*/ 176552 h 279938"/>
                <a:gd name="connsiteX498" fmla="*/ 70939 w 203591"/>
                <a:gd name="connsiteY498" fmla="*/ 177188 h 279938"/>
                <a:gd name="connsiteX499" fmla="*/ 71257 w 203591"/>
                <a:gd name="connsiteY499" fmla="*/ 177506 h 279938"/>
                <a:gd name="connsiteX500" fmla="*/ 70621 w 203591"/>
                <a:gd name="connsiteY500" fmla="*/ 178143 h 279938"/>
                <a:gd name="connsiteX501" fmla="*/ 70303 w 203591"/>
                <a:gd name="connsiteY501" fmla="*/ 180051 h 279938"/>
                <a:gd name="connsiteX502" fmla="*/ 69985 w 203591"/>
                <a:gd name="connsiteY502" fmla="*/ 180688 h 279938"/>
                <a:gd name="connsiteX503" fmla="*/ 70303 w 203591"/>
                <a:gd name="connsiteY503" fmla="*/ 181324 h 279938"/>
                <a:gd name="connsiteX504" fmla="*/ 70303 w 203591"/>
                <a:gd name="connsiteY504" fmla="*/ 182278 h 279938"/>
                <a:gd name="connsiteX505" fmla="*/ 69030 w 203591"/>
                <a:gd name="connsiteY505" fmla="*/ 183232 h 279938"/>
                <a:gd name="connsiteX506" fmla="*/ 68394 w 203591"/>
                <a:gd name="connsiteY506" fmla="*/ 183551 h 279938"/>
                <a:gd name="connsiteX507" fmla="*/ 68712 w 203591"/>
                <a:gd name="connsiteY507" fmla="*/ 184505 h 279938"/>
                <a:gd name="connsiteX508" fmla="*/ 69985 w 203591"/>
                <a:gd name="connsiteY508" fmla="*/ 185777 h 279938"/>
                <a:gd name="connsiteX509" fmla="*/ 69666 w 203591"/>
                <a:gd name="connsiteY509" fmla="*/ 186414 h 279938"/>
                <a:gd name="connsiteX510" fmla="*/ 69985 w 203591"/>
                <a:gd name="connsiteY510" fmla="*/ 186732 h 279938"/>
                <a:gd name="connsiteX511" fmla="*/ 69985 w 203591"/>
                <a:gd name="connsiteY511" fmla="*/ 188004 h 279938"/>
                <a:gd name="connsiteX512" fmla="*/ 69030 w 203591"/>
                <a:gd name="connsiteY512" fmla="*/ 189277 h 279938"/>
                <a:gd name="connsiteX513" fmla="*/ 69030 w 203591"/>
                <a:gd name="connsiteY513" fmla="*/ 191185 h 279938"/>
                <a:gd name="connsiteX514" fmla="*/ 68712 w 203591"/>
                <a:gd name="connsiteY514" fmla="*/ 192140 h 279938"/>
                <a:gd name="connsiteX515" fmla="*/ 68394 w 203591"/>
                <a:gd name="connsiteY515" fmla="*/ 192776 h 279938"/>
                <a:gd name="connsiteX516" fmla="*/ 68712 w 203591"/>
                <a:gd name="connsiteY516" fmla="*/ 193412 h 279938"/>
                <a:gd name="connsiteX517" fmla="*/ 69985 w 203591"/>
                <a:gd name="connsiteY517" fmla="*/ 193412 h 279938"/>
                <a:gd name="connsiteX518" fmla="*/ 70621 w 203591"/>
                <a:gd name="connsiteY518" fmla="*/ 192776 h 279938"/>
                <a:gd name="connsiteX519" fmla="*/ 70939 w 203591"/>
                <a:gd name="connsiteY519" fmla="*/ 192776 h 279938"/>
                <a:gd name="connsiteX520" fmla="*/ 71257 w 203591"/>
                <a:gd name="connsiteY520" fmla="*/ 193094 h 279938"/>
                <a:gd name="connsiteX521" fmla="*/ 71575 w 203591"/>
                <a:gd name="connsiteY521" fmla="*/ 194366 h 279938"/>
                <a:gd name="connsiteX522" fmla="*/ 71893 w 203591"/>
                <a:gd name="connsiteY522" fmla="*/ 194684 h 279938"/>
                <a:gd name="connsiteX523" fmla="*/ 72211 w 203591"/>
                <a:gd name="connsiteY523" fmla="*/ 195321 h 279938"/>
                <a:gd name="connsiteX524" fmla="*/ 71257 w 203591"/>
                <a:gd name="connsiteY524" fmla="*/ 196275 h 279938"/>
                <a:gd name="connsiteX525" fmla="*/ 70621 w 203591"/>
                <a:gd name="connsiteY525" fmla="*/ 196593 h 279938"/>
                <a:gd name="connsiteX526" fmla="*/ 69348 w 203591"/>
                <a:gd name="connsiteY526" fmla="*/ 195003 h 279938"/>
                <a:gd name="connsiteX527" fmla="*/ 69030 w 203591"/>
                <a:gd name="connsiteY527" fmla="*/ 194684 h 279938"/>
                <a:gd name="connsiteX528" fmla="*/ 68712 w 203591"/>
                <a:gd name="connsiteY528" fmla="*/ 195321 h 279938"/>
                <a:gd name="connsiteX529" fmla="*/ 67758 w 203591"/>
                <a:gd name="connsiteY529" fmla="*/ 197229 h 279938"/>
                <a:gd name="connsiteX530" fmla="*/ 67758 w 203591"/>
                <a:gd name="connsiteY530" fmla="*/ 197547 h 279938"/>
                <a:gd name="connsiteX531" fmla="*/ 67440 w 203591"/>
                <a:gd name="connsiteY531" fmla="*/ 201047 h 279938"/>
                <a:gd name="connsiteX532" fmla="*/ 67440 w 203591"/>
                <a:gd name="connsiteY532" fmla="*/ 202319 h 279938"/>
                <a:gd name="connsiteX533" fmla="*/ 67122 w 203591"/>
                <a:gd name="connsiteY533" fmla="*/ 203273 h 279938"/>
                <a:gd name="connsiteX534" fmla="*/ 67122 w 203591"/>
                <a:gd name="connsiteY534" fmla="*/ 204546 h 279938"/>
                <a:gd name="connsiteX535" fmla="*/ 67440 w 203591"/>
                <a:gd name="connsiteY535" fmla="*/ 205182 h 279938"/>
                <a:gd name="connsiteX536" fmla="*/ 67440 w 203591"/>
                <a:gd name="connsiteY536" fmla="*/ 206455 h 279938"/>
                <a:gd name="connsiteX537" fmla="*/ 66803 w 203591"/>
                <a:gd name="connsiteY537" fmla="*/ 207409 h 279938"/>
                <a:gd name="connsiteX538" fmla="*/ 66803 w 203591"/>
                <a:gd name="connsiteY538" fmla="*/ 208363 h 279938"/>
                <a:gd name="connsiteX539" fmla="*/ 67122 w 203591"/>
                <a:gd name="connsiteY539" fmla="*/ 210272 h 279938"/>
                <a:gd name="connsiteX540" fmla="*/ 66803 w 203591"/>
                <a:gd name="connsiteY540" fmla="*/ 211862 h 279938"/>
                <a:gd name="connsiteX541" fmla="*/ 66803 w 203591"/>
                <a:gd name="connsiteY541" fmla="*/ 212181 h 279938"/>
                <a:gd name="connsiteX542" fmla="*/ 67122 w 203591"/>
                <a:gd name="connsiteY542" fmla="*/ 212499 h 279938"/>
                <a:gd name="connsiteX543" fmla="*/ 67440 w 203591"/>
                <a:gd name="connsiteY543" fmla="*/ 212499 h 279938"/>
                <a:gd name="connsiteX544" fmla="*/ 67758 w 203591"/>
                <a:gd name="connsiteY544" fmla="*/ 213135 h 279938"/>
                <a:gd name="connsiteX545" fmla="*/ 67122 w 203591"/>
                <a:gd name="connsiteY545" fmla="*/ 214089 h 279938"/>
                <a:gd name="connsiteX546" fmla="*/ 67122 w 203591"/>
                <a:gd name="connsiteY546" fmla="*/ 216634 h 279938"/>
                <a:gd name="connsiteX547" fmla="*/ 67440 w 203591"/>
                <a:gd name="connsiteY547" fmla="*/ 216952 h 279938"/>
                <a:gd name="connsiteX548" fmla="*/ 67758 w 203591"/>
                <a:gd name="connsiteY548" fmla="*/ 216952 h 279938"/>
                <a:gd name="connsiteX549" fmla="*/ 68394 w 203591"/>
                <a:gd name="connsiteY549" fmla="*/ 215362 h 279938"/>
                <a:gd name="connsiteX550" fmla="*/ 68712 w 203591"/>
                <a:gd name="connsiteY550" fmla="*/ 215044 h 279938"/>
                <a:gd name="connsiteX551" fmla="*/ 69030 w 203591"/>
                <a:gd name="connsiteY551" fmla="*/ 215362 h 279938"/>
                <a:gd name="connsiteX552" fmla="*/ 69985 w 203591"/>
                <a:gd name="connsiteY552" fmla="*/ 216634 h 279938"/>
                <a:gd name="connsiteX553" fmla="*/ 69348 w 203591"/>
                <a:gd name="connsiteY553" fmla="*/ 217270 h 279938"/>
                <a:gd name="connsiteX554" fmla="*/ 69985 w 203591"/>
                <a:gd name="connsiteY554" fmla="*/ 217588 h 279938"/>
                <a:gd name="connsiteX555" fmla="*/ 69666 w 203591"/>
                <a:gd name="connsiteY555" fmla="*/ 220770 h 279938"/>
                <a:gd name="connsiteX556" fmla="*/ 69030 w 203591"/>
                <a:gd name="connsiteY556" fmla="*/ 220770 h 279938"/>
                <a:gd name="connsiteX557" fmla="*/ 68394 w 203591"/>
                <a:gd name="connsiteY557" fmla="*/ 220133 h 279938"/>
                <a:gd name="connsiteX558" fmla="*/ 67758 w 203591"/>
                <a:gd name="connsiteY558" fmla="*/ 218861 h 279938"/>
                <a:gd name="connsiteX559" fmla="*/ 68394 w 203591"/>
                <a:gd name="connsiteY559" fmla="*/ 217907 h 279938"/>
                <a:gd name="connsiteX560" fmla="*/ 68712 w 203591"/>
                <a:gd name="connsiteY560" fmla="*/ 217588 h 279938"/>
                <a:gd name="connsiteX561" fmla="*/ 68394 w 203591"/>
                <a:gd name="connsiteY561" fmla="*/ 217588 h 279938"/>
                <a:gd name="connsiteX562" fmla="*/ 67758 w 203591"/>
                <a:gd name="connsiteY562" fmla="*/ 217270 h 279938"/>
                <a:gd name="connsiteX563" fmla="*/ 66803 w 203591"/>
                <a:gd name="connsiteY563" fmla="*/ 218861 h 279938"/>
                <a:gd name="connsiteX564" fmla="*/ 66803 w 203591"/>
                <a:gd name="connsiteY564" fmla="*/ 219815 h 279938"/>
                <a:gd name="connsiteX565" fmla="*/ 65849 w 203591"/>
                <a:gd name="connsiteY565" fmla="*/ 220770 h 279938"/>
                <a:gd name="connsiteX566" fmla="*/ 66485 w 203591"/>
                <a:gd name="connsiteY566" fmla="*/ 221406 h 279938"/>
                <a:gd name="connsiteX567" fmla="*/ 67122 w 203591"/>
                <a:gd name="connsiteY567" fmla="*/ 222042 h 279938"/>
                <a:gd name="connsiteX568" fmla="*/ 66167 w 203591"/>
                <a:gd name="connsiteY568" fmla="*/ 222678 h 279938"/>
                <a:gd name="connsiteX569" fmla="*/ 66167 w 203591"/>
                <a:gd name="connsiteY569" fmla="*/ 223314 h 279938"/>
                <a:gd name="connsiteX570" fmla="*/ 67758 w 203591"/>
                <a:gd name="connsiteY570" fmla="*/ 223951 h 279938"/>
                <a:gd name="connsiteX571" fmla="*/ 68712 w 203591"/>
                <a:gd name="connsiteY571" fmla="*/ 223951 h 279938"/>
                <a:gd name="connsiteX572" fmla="*/ 69985 w 203591"/>
                <a:gd name="connsiteY572" fmla="*/ 224269 h 279938"/>
                <a:gd name="connsiteX573" fmla="*/ 69666 w 203591"/>
                <a:gd name="connsiteY573" fmla="*/ 225541 h 279938"/>
                <a:gd name="connsiteX574" fmla="*/ 69985 w 203591"/>
                <a:gd name="connsiteY574" fmla="*/ 230949 h 279938"/>
                <a:gd name="connsiteX575" fmla="*/ 69985 w 203591"/>
                <a:gd name="connsiteY575" fmla="*/ 232222 h 279938"/>
                <a:gd name="connsiteX576" fmla="*/ 69348 w 203591"/>
                <a:gd name="connsiteY576" fmla="*/ 232540 h 279938"/>
                <a:gd name="connsiteX577" fmla="*/ 69666 w 203591"/>
                <a:gd name="connsiteY577" fmla="*/ 233494 h 279938"/>
                <a:gd name="connsiteX578" fmla="*/ 69985 w 203591"/>
                <a:gd name="connsiteY578" fmla="*/ 236039 h 279938"/>
                <a:gd name="connsiteX579" fmla="*/ 69666 w 203591"/>
                <a:gd name="connsiteY579" fmla="*/ 236675 h 279938"/>
                <a:gd name="connsiteX580" fmla="*/ 69030 w 203591"/>
                <a:gd name="connsiteY580" fmla="*/ 237630 h 279938"/>
                <a:gd name="connsiteX581" fmla="*/ 69030 w 203591"/>
                <a:gd name="connsiteY581" fmla="*/ 239538 h 279938"/>
                <a:gd name="connsiteX582" fmla="*/ 69666 w 203591"/>
                <a:gd name="connsiteY582" fmla="*/ 239856 h 279938"/>
                <a:gd name="connsiteX583" fmla="*/ 69348 w 203591"/>
                <a:gd name="connsiteY583" fmla="*/ 240174 h 279938"/>
                <a:gd name="connsiteX584" fmla="*/ 69985 w 203591"/>
                <a:gd name="connsiteY584" fmla="*/ 241129 h 279938"/>
                <a:gd name="connsiteX585" fmla="*/ 69985 w 203591"/>
                <a:gd name="connsiteY585" fmla="*/ 241447 h 279938"/>
                <a:gd name="connsiteX586" fmla="*/ 69348 w 203591"/>
                <a:gd name="connsiteY586" fmla="*/ 242083 h 279938"/>
                <a:gd name="connsiteX587" fmla="*/ 69666 w 203591"/>
                <a:gd name="connsiteY587" fmla="*/ 242719 h 279938"/>
                <a:gd name="connsiteX588" fmla="*/ 69348 w 203591"/>
                <a:gd name="connsiteY588" fmla="*/ 243037 h 279938"/>
                <a:gd name="connsiteX589" fmla="*/ 69030 w 203591"/>
                <a:gd name="connsiteY589" fmla="*/ 243356 h 279938"/>
                <a:gd name="connsiteX590" fmla="*/ 68712 w 203591"/>
                <a:gd name="connsiteY590" fmla="*/ 243037 h 279938"/>
                <a:gd name="connsiteX591" fmla="*/ 68712 w 203591"/>
                <a:gd name="connsiteY591" fmla="*/ 242083 h 279938"/>
                <a:gd name="connsiteX592" fmla="*/ 67758 w 203591"/>
                <a:gd name="connsiteY592" fmla="*/ 241447 h 279938"/>
                <a:gd name="connsiteX593" fmla="*/ 67440 w 203591"/>
                <a:gd name="connsiteY593" fmla="*/ 242083 h 279938"/>
                <a:gd name="connsiteX594" fmla="*/ 67122 w 203591"/>
                <a:gd name="connsiteY594" fmla="*/ 245582 h 279938"/>
                <a:gd name="connsiteX595" fmla="*/ 68076 w 203591"/>
                <a:gd name="connsiteY595" fmla="*/ 245900 h 279938"/>
                <a:gd name="connsiteX596" fmla="*/ 68712 w 203591"/>
                <a:gd name="connsiteY596" fmla="*/ 245264 h 279938"/>
                <a:gd name="connsiteX597" fmla="*/ 69666 w 203591"/>
                <a:gd name="connsiteY597" fmla="*/ 245582 h 279938"/>
                <a:gd name="connsiteX598" fmla="*/ 69985 w 203591"/>
                <a:gd name="connsiteY598" fmla="*/ 246537 h 279938"/>
                <a:gd name="connsiteX599" fmla="*/ 69985 w 203591"/>
                <a:gd name="connsiteY599" fmla="*/ 247809 h 279938"/>
                <a:gd name="connsiteX600" fmla="*/ 70621 w 203591"/>
                <a:gd name="connsiteY600" fmla="*/ 249082 h 279938"/>
                <a:gd name="connsiteX601" fmla="*/ 70621 w 203591"/>
                <a:gd name="connsiteY601" fmla="*/ 250354 h 279938"/>
                <a:gd name="connsiteX602" fmla="*/ 70303 w 203591"/>
                <a:gd name="connsiteY602" fmla="*/ 251308 h 279938"/>
                <a:gd name="connsiteX603" fmla="*/ 70939 w 203591"/>
                <a:gd name="connsiteY603" fmla="*/ 252581 h 279938"/>
                <a:gd name="connsiteX604" fmla="*/ 70939 w 203591"/>
                <a:gd name="connsiteY604" fmla="*/ 253535 h 279938"/>
                <a:gd name="connsiteX605" fmla="*/ 71257 w 203591"/>
                <a:gd name="connsiteY605" fmla="*/ 254171 h 279938"/>
                <a:gd name="connsiteX606" fmla="*/ 71257 w 203591"/>
                <a:gd name="connsiteY606" fmla="*/ 254489 h 279938"/>
                <a:gd name="connsiteX607" fmla="*/ 71257 w 203591"/>
                <a:gd name="connsiteY607" fmla="*/ 256716 h 279938"/>
                <a:gd name="connsiteX608" fmla="*/ 72211 w 203591"/>
                <a:gd name="connsiteY608" fmla="*/ 258307 h 279938"/>
                <a:gd name="connsiteX609" fmla="*/ 72211 w 203591"/>
                <a:gd name="connsiteY609" fmla="*/ 259261 h 279938"/>
                <a:gd name="connsiteX610" fmla="*/ 73166 w 203591"/>
                <a:gd name="connsiteY610" fmla="*/ 260215 h 279938"/>
                <a:gd name="connsiteX611" fmla="*/ 73166 w 203591"/>
                <a:gd name="connsiteY611" fmla="*/ 260852 h 279938"/>
                <a:gd name="connsiteX612" fmla="*/ 75074 w 203591"/>
                <a:gd name="connsiteY612" fmla="*/ 260534 h 279938"/>
                <a:gd name="connsiteX613" fmla="*/ 76983 w 203591"/>
                <a:gd name="connsiteY613" fmla="*/ 259579 h 279938"/>
                <a:gd name="connsiteX614" fmla="*/ 78574 w 203591"/>
                <a:gd name="connsiteY614" fmla="*/ 258307 h 279938"/>
                <a:gd name="connsiteX615" fmla="*/ 79528 w 203591"/>
                <a:gd name="connsiteY615" fmla="*/ 256716 h 279938"/>
                <a:gd name="connsiteX616" fmla="*/ 79528 w 203591"/>
                <a:gd name="connsiteY616" fmla="*/ 256398 h 279938"/>
                <a:gd name="connsiteX617" fmla="*/ 81755 w 203591"/>
                <a:gd name="connsiteY617" fmla="*/ 254171 h 279938"/>
                <a:gd name="connsiteX618" fmla="*/ 83027 w 203591"/>
                <a:gd name="connsiteY618" fmla="*/ 252899 h 279938"/>
                <a:gd name="connsiteX619" fmla="*/ 83027 w 203591"/>
                <a:gd name="connsiteY619" fmla="*/ 251945 h 279938"/>
                <a:gd name="connsiteX620" fmla="*/ 83345 w 203591"/>
                <a:gd name="connsiteY620" fmla="*/ 251308 h 279938"/>
                <a:gd name="connsiteX621" fmla="*/ 83981 w 203591"/>
                <a:gd name="connsiteY621" fmla="*/ 250672 h 279938"/>
                <a:gd name="connsiteX622" fmla="*/ 84299 w 203591"/>
                <a:gd name="connsiteY622" fmla="*/ 249400 h 279938"/>
                <a:gd name="connsiteX623" fmla="*/ 85572 w 203591"/>
                <a:gd name="connsiteY623" fmla="*/ 248445 h 279938"/>
                <a:gd name="connsiteX624" fmla="*/ 86526 w 203591"/>
                <a:gd name="connsiteY624" fmla="*/ 246855 h 279938"/>
                <a:gd name="connsiteX625" fmla="*/ 86526 w 203591"/>
                <a:gd name="connsiteY625" fmla="*/ 246219 h 279938"/>
                <a:gd name="connsiteX626" fmla="*/ 87163 w 203591"/>
                <a:gd name="connsiteY626" fmla="*/ 244310 h 279938"/>
                <a:gd name="connsiteX627" fmla="*/ 89390 w 203591"/>
                <a:gd name="connsiteY627" fmla="*/ 242401 h 279938"/>
                <a:gd name="connsiteX628" fmla="*/ 90026 w 203591"/>
                <a:gd name="connsiteY628" fmla="*/ 240811 h 279938"/>
                <a:gd name="connsiteX629" fmla="*/ 90662 w 203591"/>
                <a:gd name="connsiteY629" fmla="*/ 239538 h 279938"/>
                <a:gd name="connsiteX630" fmla="*/ 90344 w 203591"/>
                <a:gd name="connsiteY630" fmla="*/ 239220 h 279938"/>
                <a:gd name="connsiteX631" fmla="*/ 90980 w 203591"/>
                <a:gd name="connsiteY631" fmla="*/ 237948 h 279938"/>
                <a:gd name="connsiteX632" fmla="*/ 91934 w 203591"/>
                <a:gd name="connsiteY632" fmla="*/ 236039 h 279938"/>
                <a:gd name="connsiteX633" fmla="*/ 93525 w 203591"/>
                <a:gd name="connsiteY633" fmla="*/ 233494 h 279938"/>
                <a:gd name="connsiteX634" fmla="*/ 93525 w 203591"/>
                <a:gd name="connsiteY634" fmla="*/ 233176 h 279938"/>
                <a:gd name="connsiteX635" fmla="*/ 94479 w 203591"/>
                <a:gd name="connsiteY635" fmla="*/ 232540 h 279938"/>
                <a:gd name="connsiteX636" fmla="*/ 94161 w 203591"/>
                <a:gd name="connsiteY636" fmla="*/ 232540 h 279938"/>
                <a:gd name="connsiteX637" fmla="*/ 95115 w 203591"/>
                <a:gd name="connsiteY637" fmla="*/ 230631 h 279938"/>
                <a:gd name="connsiteX638" fmla="*/ 95433 w 203591"/>
                <a:gd name="connsiteY638" fmla="*/ 229359 h 279938"/>
                <a:gd name="connsiteX639" fmla="*/ 96706 w 203591"/>
                <a:gd name="connsiteY639" fmla="*/ 228086 h 279938"/>
                <a:gd name="connsiteX640" fmla="*/ 96388 w 203591"/>
                <a:gd name="connsiteY640" fmla="*/ 227132 h 279938"/>
                <a:gd name="connsiteX641" fmla="*/ 96706 w 203591"/>
                <a:gd name="connsiteY641" fmla="*/ 226496 h 279938"/>
                <a:gd name="connsiteX642" fmla="*/ 97660 w 203591"/>
                <a:gd name="connsiteY642" fmla="*/ 225541 h 279938"/>
                <a:gd name="connsiteX643" fmla="*/ 98296 w 203591"/>
                <a:gd name="connsiteY643" fmla="*/ 223951 h 279938"/>
                <a:gd name="connsiteX644" fmla="*/ 99887 w 203591"/>
                <a:gd name="connsiteY644" fmla="*/ 222042 h 279938"/>
                <a:gd name="connsiteX645" fmla="*/ 101478 w 203591"/>
                <a:gd name="connsiteY645" fmla="*/ 218861 h 279938"/>
                <a:gd name="connsiteX646" fmla="*/ 102114 w 203591"/>
                <a:gd name="connsiteY646" fmla="*/ 217907 h 279938"/>
                <a:gd name="connsiteX647" fmla="*/ 103068 w 203591"/>
                <a:gd name="connsiteY647" fmla="*/ 215362 h 279938"/>
                <a:gd name="connsiteX648" fmla="*/ 104341 w 203591"/>
                <a:gd name="connsiteY648" fmla="*/ 213453 h 279938"/>
                <a:gd name="connsiteX649" fmla="*/ 104023 w 203591"/>
                <a:gd name="connsiteY649" fmla="*/ 213135 h 279938"/>
                <a:gd name="connsiteX650" fmla="*/ 104659 w 203591"/>
                <a:gd name="connsiteY650" fmla="*/ 211862 h 279938"/>
                <a:gd name="connsiteX651" fmla="*/ 106249 w 203591"/>
                <a:gd name="connsiteY651" fmla="*/ 209636 h 279938"/>
                <a:gd name="connsiteX652" fmla="*/ 105931 w 203591"/>
                <a:gd name="connsiteY652" fmla="*/ 208999 h 279938"/>
                <a:gd name="connsiteX653" fmla="*/ 106249 w 203591"/>
                <a:gd name="connsiteY653" fmla="*/ 208045 h 279938"/>
                <a:gd name="connsiteX654" fmla="*/ 107840 w 203591"/>
                <a:gd name="connsiteY654" fmla="*/ 206455 h 279938"/>
                <a:gd name="connsiteX655" fmla="*/ 108476 w 203591"/>
                <a:gd name="connsiteY655" fmla="*/ 204864 h 279938"/>
                <a:gd name="connsiteX656" fmla="*/ 108794 w 203591"/>
                <a:gd name="connsiteY656" fmla="*/ 203592 h 279938"/>
                <a:gd name="connsiteX657" fmla="*/ 108476 w 203591"/>
                <a:gd name="connsiteY657" fmla="*/ 203273 h 279938"/>
                <a:gd name="connsiteX658" fmla="*/ 109112 w 203591"/>
                <a:gd name="connsiteY658" fmla="*/ 202319 h 279938"/>
                <a:gd name="connsiteX659" fmla="*/ 110385 w 203591"/>
                <a:gd name="connsiteY659" fmla="*/ 201047 h 279938"/>
                <a:gd name="connsiteX660" fmla="*/ 110703 w 203591"/>
                <a:gd name="connsiteY660" fmla="*/ 200092 h 279938"/>
                <a:gd name="connsiteX661" fmla="*/ 111339 w 203591"/>
                <a:gd name="connsiteY661" fmla="*/ 198820 h 279938"/>
                <a:gd name="connsiteX662" fmla="*/ 112611 w 203591"/>
                <a:gd name="connsiteY662" fmla="*/ 197547 h 279938"/>
                <a:gd name="connsiteX663" fmla="*/ 112293 w 203591"/>
                <a:gd name="connsiteY663" fmla="*/ 196593 h 279938"/>
                <a:gd name="connsiteX664" fmla="*/ 112611 w 203591"/>
                <a:gd name="connsiteY664" fmla="*/ 195321 h 279938"/>
                <a:gd name="connsiteX665" fmla="*/ 113248 w 203591"/>
                <a:gd name="connsiteY665" fmla="*/ 194684 h 279938"/>
                <a:gd name="connsiteX666" fmla="*/ 113248 w 203591"/>
                <a:gd name="connsiteY666" fmla="*/ 194366 h 279938"/>
                <a:gd name="connsiteX667" fmla="*/ 113884 w 203591"/>
                <a:gd name="connsiteY667" fmla="*/ 193730 h 279938"/>
                <a:gd name="connsiteX668" fmla="*/ 114202 w 203591"/>
                <a:gd name="connsiteY668" fmla="*/ 193094 h 279938"/>
                <a:gd name="connsiteX669" fmla="*/ 114838 w 203591"/>
                <a:gd name="connsiteY669" fmla="*/ 192140 h 279938"/>
                <a:gd name="connsiteX670" fmla="*/ 114838 w 203591"/>
                <a:gd name="connsiteY670" fmla="*/ 191503 h 279938"/>
                <a:gd name="connsiteX671" fmla="*/ 115156 w 203591"/>
                <a:gd name="connsiteY671" fmla="*/ 191185 h 279938"/>
                <a:gd name="connsiteX672" fmla="*/ 116747 w 203591"/>
                <a:gd name="connsiteY672" fmla="*/ 187686 h 279938"/>
                <a:gd name="connsiteX673" fmla="*/ 117065 w 203591"/>
                <a:gd name="connsiteY673" fmla="*/ 186095 h 279938"/>
                <a:gd name="connsiteX674" fmla="*/ 118020 w 203591"/>
                <a:gd name="connsiteY674" fmla="*/ 184505 h 279938"/>
                <a:gd name="connsiteX675" fmla="*/ 118974 w 203591"/>
                <a:gd name="connsiteY675" fmla="*/ 183232 h 279938"/>
                <a:gd name="connsiteX676" fmla="*/ 120246 w 203591"/>
                <a:gd name="connsiteY676" fmla="*/ 180688 h 279938"/>
                <a:gd name="connsiteX677" fmla="*/ 120246 w 203591"/>
                <a:gd name="connsiteY677" fmla="*/ 179415 h 279938"/>
                <a:gd name="connsiteX678" fmla="*/ 120564 w 203591"/>
                <a:gd name="connsiteY678" fmla="*/ 179097 h 279938"/>
                <a:gd name="connsiteX679" fmla="*/ 121519 w 203591"/>
                <a:gd name="connsiteY679" fmla="*/ 177188 h 279938"/>
                <a:gd name="connsiteX680" fmla="*/ 122155 w 203591"/>
                <a:gd name="connsiteY680" fmla="*/ 176234 h 279938"/>
                <a:gd name="connsiteX681" fmla="*/ 121519 w 203591"/>
                <a:gd name="connsiteY681" fmla="*/ 175916 h 279938"/>
                <a:gd name="connsiteX682" fmla="*/ 122473 w 203591"/>
                <a:gd name="connsiteY682" fmla="*/ 174962 h 279938"/>
                <a:gd name="connsiteX683" fmla="*/ 123427 w 203591"/>
                <a:gd name="connsiteY683" fmla="*/ 173689 h 279938"/>
                <a:gd name="connsiteX684" fmla="*/ 123109 w 203591"/>
                <a:gd name="connsiteY684" fmla="*/ 173689 h 279938"/>
                <a:gd name="connsiteX685" fmla="*/ 123109 w 203591"/>
                <a:gd name="connsiteY685" fmla="*/ 173371 h 279938"/>
                <a:gd name="connsiteX686" fmla="*/ 123745 w 203591"/>
                <a:gd name="connsiteY686" fmla="*/ 172735 h 279938"/>
                <a:gd name="connsiteX687" fmla="*/ 123427 w 203591"/>
                <a:gd name="connsiteY687" fmla="*/ 172098 h 279938"/>
                <a:gd name="connsiteX688" fmla="*/ 124063 w 203591"/>
                <a:gd name="connsiteY688" fmla="*/ 170826 h 279938"/>
                <a:gd name="connsiteX689" fmla="*/ 125018 w 203591"/>
                <a:gd name="connsiteY689" fmla="*/ 169872 h 279938"/>
                <a:gd name="connsiteX690" fmla="*/ 126608 w 203591"/>
                <a:gd name="connsiteY690" fmla="*/ 167645 h 279938"/>
                <a:gd name="connsiteX691" fmla="*/ 142514 w 203591"/>
                <a:gd name="connsiteY691" fmla="*/ 147286 h 279938"/>
                <a:gd name="connsiteX692" fmla="*/ 133607 w 203591"/>
                <a:gd name="connsiteY692" fmla="*/ 167327 h 279938"/>
                <a:gd name="connsiteX693" fmla="*/ 133925 w 203591"/>
                <a:gd name="connsiteY693" fmla="*/ 167327 h 279938"/>
                <a:gd name="connsiteX694" fmla="*/ 133925 w 203591"/>
                <a:gd name="connsiteY694" fmla="*/ 167645 h 279938"/>
                <a:gd name="connsiteX695" fmla="*/ 133607 w 203591"/>
                <a:gd name="connsiteY695" fmla="*/ 168599 h 279938"/>
                <a:gd name="connsiteX696" fmla="*/ 134243 w 203591"/>
                <a:gd name="connsiteY696" fmla="*/ 168599 h 279938"/>
                <a:gd name="connsiteX697" fmla="*/ 135834 w 203591"/>
                <a:gd name="connsiteY697" fmla="*/ 167963 h 279938"/>
                <a:gd name="connsiteX698" fmla="*/ 135834 w 203591"/>
                <a:gd name="connsiteY698" fmla="*/ 168599 h 279938"/>
                <a:gd name="connsiteX699" fmla="*/ 134879 w 203591"/>
                <a:gd name="connsiteY699" fmla="*/ 170826 h 279938"/>
                <a:gd name="connsiteX700" fmla="*/ 134879 w 203591"/>
                <a:gd name="connsiteY700" fmla="*/ 171144 h 279938"/>
                <a:gd name="connsiteX701" fmla="*/ 133607 w 203591"/>
                <a:gd name="connsiteY701" fmla="*/ 172098 h 279938"/>
                <a:gd name="connsiteX702" fmla="*/ 133289 w 203591"/>
                <a:gd name="connsiteY702" fmla="*/ 173053 h 279938"/>
                <a:gd name="connsiteX703" fmla="*/ 133289 w 203591"/>
                <a:gd name="connsiteY703" fmla="*/ 173689 h 279938"/>
                <a:gd name="connsiteX704" fmla="*/ 132971 w 203591"/>
                <a:gd name="connsiteY704" fmla="*/ 174325 h 279938"/>
                <a:gd name="connsiteX705" fmla="*/ 132335 w 203591"/>
                <a:gd name="connsiteY705" fmla="*/ 175280 h 279938"/>
                <a:gd name="connsiteX706" fmla="*/ 132971 w 203591"/>
                <a:gd name="connsiteY706" fmla="*/ 176234 h 279938"/>
                <a:gd name="connsiteX707" fmla="*/ 133289 w 203591"/>
                <a:gd name="connsiteY707" fmla="*/ 176552 h 279938"/>
                <a:gd name="connsiteX708" fmla="*/ 132653 w 203591"/>
                <a:gd name="connsiteY708" fmla="*/ 176870 h 279938"/>
                <a:gd name="connsiteX709" fmla="*/ 132016 w 203591"/>
                <a:gd name="connsiteY709" fmla="*/ 177188 h 279938"/>
                <a:gd name="connsiteX710" fmla="*/ 129472 w 203591"/>
                <a:gd name="connsiteY710" fmla="*/ 178461 h 279938"/>
                <a:gd name="connsiteX711" fmla="*/ 129472 w 203591"/>
                <a:gd name="connsiteY711" fmla="*/ 179097 h 279938"/>
                <a:gd name="connsiteX712" fmla="*/ 130744 w 203591"/>
                <a:gd name="connsiteY712" fmla="*/ 179733 h 279938"/>
                <a:gd name="connsiteX713" fmla="*/ 129153 w 203591"/>
                <a:gd name="connsiteY713" fmla="*/ 180369 h 279938"/>
                <a:gd name="connsiteX714" fmla="*/ 127881 w 203591"/>
                <a:gd name="connsiteY714" fmla="*/ 181006 h 279938"/>
                <a:gd name="connsiteX715" fmla="*/ 127563 w 203591"/>
                <a:gd name="connsiteY715" fmla="*/ 181642 h 279938"/>
                <a:gd name="connsiteX716" fmla="*/ 127563 w 203591"/>
                <a:gd name="connsiteY716" fmla="*/ 181960 h 279938"/>
                <a:gd name="connsiteX717" fmla="*/ 128835 w 203591"/>
                <a:gd name="connsiteY717" fmla="*/ 181960 h 279938"/>
                <a:gd name="connsiteX718" fmla="*/ 128835 w 203591"/>
                <a:gd name="connsiteY718" fmla="*/ 182596 h 279938"/>
                <a:gd name="connsiteX719" fmla="*/ 129153 w 203591"/>
                <a:gd name="connsiteY719" fmla="*/ 183232 h 279938"/>
                <a:gd name="connsiteX720" fmla="*/ 129472 w 203591"/>
                <a:gd name="connsiteY720" fmla="*/ 183869 h 279938"/>
                <a:gd name="connsiteX721" fmla="*/ 129153 w 203591"/>
                <a:gd name="connsiteY721" fmla="*/ 184187 h 279938"/>
                <a:gd name="connsiteX722" fmla="*/ 127881 w 203591"/>
                <a:gd name="connsiteY722" fmla="*/ 185141 h 279938"/>
                <a:gd name="connsiteX723" fmla="*/ 127881 w 203591"/>
                <a:gd name="connsiteY723" fmla="*/ 187686 h 279938"/>
                <a:gd name="connsiteX724" fmla="*/ 127563 w 203591"/>
                <a:gd name="connsiteY724" fmla="*/ 188322 h 279938"/>
                <a:gd name="connsiteX725" fmla="*/ 127245 w 203591"/>
                <a:gd name="connsiteY725" fmla="*/ 189277 h 279938"/>
                <a:gd name="connsiteX726" fmla="*/ 126926 w 203591"/>
                <a:gd name="connsiteY726" fmla="*/ 189595 h 279938"/>
                <a:gd name="connsiteX727" fmla="*/ 125972 w 203591"/>
                <a:gd name="connsiteY727" fmla="*/ 190867 h 279938"/>
                <a:gd name="connsiteX728" fmla="*/ 126608 w 203591"/>
                <a:gd name="connsiteY728" fmla="*/ 192140 h 279938"/>
                <a:gd name="connsiteX729" fmla="*/ 125018 w 203591"/>
                <a:gd name="connsiteY729" fmla="*/ 192776 h 279938"/>
                <a:gd name="connsiteX730" fmla="*/ 124700 w 203591"/>
                <a:gd name="connsiteY730" fmla="*/ 193094 h 279938"/>
                <a:gd name="connsiteX731" fmla="*/ 124700 w 203591"/>
                <a:gd name="connsiteY731" fmla="*/ 193730 h 279938"/>
                <a:gd name="connsiteX732" fmla="*/ 125018 w 203591"/>
                <a:gd name="connsiteY732" fmla="*/ 194684 h 279938"/>
                <a:gd name="connsiteX733" fmla="*/ 123427 w 203591"/>
                <a:gd name="connsiteY733" fmla="*/ 196275 h 279938"/>
                <a:gd name="connsiteX734" fmla="*/ 123427 w 203591"/>
                <a:gd name="connsiteY734" fmla="*/ 196911 h 279938"/>
                <a:gd name="connsiteX735" fmla="*/ 124700 w 203591"/>
                <a:gd name="connsiteY735" fmla="*/ 196911 h 279938"/>
                <a:gd name="connsiteX736" fmla="*/ 125336 w 203591"/>
                <a:gd name="connsiteY736" fmla="*/ 196593 h 279938"/>
                <a:gd name="connsiteX737" fmla="*/ 125972 w 203591"/>
                <a:gd name="connsiteY737" fmla="*/ 196911 h 279938"/>
                <a:gd name="connsiteX738" fmla="*/ 125654 w 203591"/>
                <a:gd name="connsiteY738" fmla="*/ 197547 h 279938"/>
                <a:gd name="connsiteX739" fmla="*/ 125336 w 203591"/>
                <a:gd name="connsiteY739" fmla="*/ 198184 h 279938"/>
                <a:gd name="connsiteX740" fmla="*/ 124700 w 203591"/>
                <a:gd name="connsiteY740" fmla="*/ 200410 h 279938"/>
                <a:gd name="connsiteX741" fmla="*/ 124700 w 203591"/>
                <a:gd name="connsiteY741" fmla="*/ 201365 h 279938"/>
                <a:gd name="connsiteX742" fmla="*/ 125018 w 203591"/>
                <a:gd name="connsiteY742" fmla="*/ 202001 h 279938"/>
                <a:gd name="connsiteX743" fmla="*/ 124700 w 203591"/>
                <a:gd name="connsiteY743" fmla="*/ 202955 h 279938"/>
                <a:gd name="connsiteX744" fmla="*/ 124382 w 203591"/>
                <a:gd name="connsiteY744" fmla="*/ 203273 h 279938"/>
                <a:gd name="connsiteX745" fmla="*/ 124382 w 203591"/>
                <a:gd name="connsiteY745" fmla="*/ 203592 h 279938"/>
                <a:gd name="connsiteX746" fmla="*/ 123745 w 203591"/>
                <a:gd name="connsiteY746" fmla="*/ 204228 h 279938"/>
                <a:gd name="connsiteX747" fmla="*/ 123109 w 203591"/>
                <a:gd name="connsiteY747" fmla="*/ 205500 h 279938"/>
                <a:gd name="connsiteX748" fmla="*/ 122791 w 203591"/>
                <a:gd name="connsiteY748" fmla="*/ 206455 h 279938"/>
                <a:gd name="connsiteX749" fmla="*/ 120564 w 203591"/>
                <a:gd name="connsiteY749" fmla="*/ 207409 h 279938"/>
                <a:gd name="connsiteX750" fmla="*/ 120564 w 203591"/>
                <a:gd name="connsiteY750" fmla="*/ 208363 h 279938"/>
                <a:gd name="connsiteX751" fmla="*/ 118338 w 203591"/>
                <a:gd name="connsiteY751" fmla="*/ 210590 h 279938"/>
                <a:gd name="connsiteX752" fmla="*/ 118656 w 203591"/>
                <a:gd name="connsiteY752" fmla="*/ 210590 h 279938"/>
                <a:gd name="connsiteX753" fmla="*/ 119292 w 203591"/>
                <a:gd name="connsiteY753" fmla="*/ 211544 h 279938"/>
                <a:gd name="connsiteX754" fmla="*/ 119292 w 203591"/>
                <a:gd name="connsiteY754" fmla="*/ 211862 h 279938"/>
                <a:gd name="connsiteX755" fmla="*/ 118974 w 203591"/>
                <a:gd name="connsiteY755" fmla="*/ 213135 h 279938"/>
                <a:gd name="connsiteX756" fmla="*/ 118656 w 203591"/>
                <a:gd name="connsiteY756" fmla="*/ 213771 h 279938"/>
                <a:gd name="connsiteX757" fmla="*/ 117701 w 203591"/>
                <a:gd name="connsiteY757" fmla="*/ 215362 h 279938"/>
                <a:gd name="connsiteX758" fmla="*/ 118338 w 203591"/>
                <a:gd name="connsiteY758" fmla="*/ 215680 h 279938"/>
                <a:gd name="connsiteX759" fmla="*/ 116747 w 203591"/>
                <a:gd name="connsiteY759" fmla="*/ 216952 h 279938"/>
                <a:gd name="connsiteX760" fmla="*/ 116111 w 203591"/>
                <a:gd name="connsiteY760" fmla="*/ 216634 h 279938"/>
                <a:gd name="connsiteX761" fmla="*/ 115793 w 203591"/>
                <a:gd name="connsiteY761" fmla="*/ 215362 h 279938"/>
                <a:gd name="connsiteX762" fmla="*/ 116429 w 203591"/>
                <a:gd name="connsiteY762" fmla="*/ 215044 h 279938"/>
                <a:gd name="connsiteX763" fmla="*/ 117065 w 203591"/>
                <a:gd name="connsiteY763" fmla="*/ 214089 h 279938"/>
                <a:gd name="connsiteX764" fmla="*/ 116747 w 203591"/>
                <a:gd name="connsiteY764" fmla="*/ 213771 h 279938"/>
                <a:gd name="connsiteX765" fmla="*/ 114520 w 203591"/>
                <a:gd name="connsiteY765" fmla="*/ 215044 h 279938"/>
                <a:gd name="connsiteX766" fmla="*/ 114520 w 203591"/>
                <a:gd name="connsiteY766" fmla="*/ 215362 h 279938"/>
                <a:gd name="connsiteX767" fmla="*/ 113566 w 203591"/>
                <a:gd name="connsiteY767" fmla="*/ 217588 h 279938"/>
                <a:gd name="connsiteX768" fmla="*/ 113566 w 203591"/>
                <a:gd name="connsiteY768" fmla="*/ 217907 h 279938"/>
                <a:gd name="connsiteX769" fmla="*/ 112929 w 203591"/>
                <a:gd name="connsiteY769" fmla="*/ 219179 h 279938"/>
                <a:gd name="connsiteX770" fmla="*/ 112929 w 203591"/>
                <a:gd name="connsiteY770" fmla="*/ 220451 h 279938"/>
                <a:gd name="connsiteX771" fmla="*/ 113566 w 203591"/>
                <a:gd name="connsiteY771" fmla="*/ 220770 h 279938"/>
                <a:gd name="connsiteX772" fmla="*/ 112929 w 203591"/>
                <a:gd name="connsiteY772" fmla="*/ 221406 h 279938"/>
                <a:gd name="connsiteX773" fmla="*/ 112611 w 203591"/>
                <a:gd name="connsiteY773" fmla="*/ 223314 h 279938"/>
                <a:gd name="connsiteX774" fmla="*/ 112611 w 203591"/>
                <a:gd name="connsiteY774" fmla="*/ 224905 h 279938"/>
                <a:gd name="connsiteX775" fmla="*/ 111657 w 203591"/>
                <a:gd name="connsiteY775" fmla="*/ 225859 h 279938"/>
                <a:gd name="connsiteX776" fmla="*/ 111657 w 203591"/>
                <a:gd name="connsiteY776" fmla="*/ 227132 h 279938"/>
                <a:gd name="connsiteX777" fmla="*/ 111021 w 203591"/>
                <a:gd name="connsiteY777" fmla="*/ 228404 h 279938"/>
                <a:gd name="connsiteX778" fmla="*/ 110385 w 203591"/>
                <a:gd name="connsiteY778" fmla="*/ 228404 h 279938"/>
                <a:gd name="connsiteX779" fmla="*/ 109430 w 203591"/>
                <a:gd name="connsiteY779" fmla="*/ 228722 h 279938"/>
                <a:gd name="connsiteX780" fmla="*/ 109112 w 203591"/>
                <a:gd name="connsiteY780" fmla="*/ 229359 h 279938"/>
                <a:gd name="connsiteX781" fmla="*/ 110067 w 203591"/>
                <a:gd name="connsiteY781" fmla="*/ 229995 h 279938"/>
                <a:gd name="connsiteX782" fmla="*/ 109430 w 203591"/>
                <a:gd name="connsiteY782" fmla="*/ 230949 h 279938"/>
                <a:gd name="connsiteX783" fmla="*/ 107204 w 203591"/>
                <a:gd name="connsiteY783" fmla="*/ 231904 h 279938"/>
                <a:gd name="connsiteX784" fmla="*/ 106567 w 203591"/>
                <a:gd name="connsiteY784" fmla="*/ 232222 h 279938"/>
                <a:gd name="connsiteX785" fmla="*/ 106249 w 203591"/>
                <a:gd name="connsiteY785" fmla="*/ 232858 h 279938"/>
                <a:gd name="connsiteX786" fmla="*/ 106249 w 203591"/>
                <a:gd name="connsiteY786" fmla="*/ 234130 h 279938"/>
                <a:gd name="connsiteX787" fmla="*/ 105295 w 203591"/>
                <a:gd name="connsiteY787" fmla="*/ 235721 h 279938"/>
                <a:gd name="connsiteX788" fmla="*/ 104659 w 203591"/>
                <a:gd name="connsiteY788" fmla="*/ 236357 h 279938"/>
                <a:gd name="connsiteX789" fmla="*/ 104659 w 203591"/>
                <a:gd name="connsiteY789" fmla="*/ 236993 h 279938"/>
                <a:gd name="connsiteX790" fmla="*/ 104341 w 203591"/>
                <a:gd name="connsiteY790" fmla="*/ 237630 h 279938"/>
                <a:gd name="connsiteX791" fmla="*/ 103386 w 203591"/>
                <a:gd name="connsiteY791" fmla="*/ 237311 h 279938"/>
                <a:gd name="connsiteX792" fmla="*/ 103386 w 203591"/>
                <a:gd name="connsiteY792" fmla="*/ 236993 h 279938"/>
                <a:gd name="connsiteX793" fmla="*/ 103068 w 203591"/>
                <a:gd name="connsiteY793" fmla="*/ 237311 h 279938"/>
                <a:gd name="connsiteX794" fmla="*/ 102114 w 203591"/>
                <a:gd name="connsiteY794" fmla="*/ 237948 h 279938"/>
                <a:gd name="connsiteX795" fmla="*/ 101796 w 203591"/>
                <a:gd name="connsiteY795" fmla="*/ 238584 h 279938"/>
                <a:gd name="connsiteX796" fmla="*/ 101796 w 203591"/>
                <a:gd name="connsiteY796" fmla="*/ 239220 h 279938"/>
                <a:gd name="connsiteX797" fmla="*/ 102114 w 203591"/>
                <a:gd name="connsiteY797" fmla="*/ 239538 h 279938"/>
                <a:gd name="connsiteX798" fmla="*/ 103386 w 203591"/>
                <a:gd name="connsiteY798" fmla="*/ 238266 h 279938"/>
                <a:gd name="connsiteX799" fmla="*/ 103705 w 203591"/>
                <a:gd name="connsiteY799" fmla="*/ 237948 h 279938"/>
                <a:gd name="connsiteX800" fmla="*/ 104341 w 203591"/>
                <a:gd name="connsiteY800" fmla="*/ 238266 h 279938"/>
                <a:gd name="connsiteX801" fmla="*/ 104977 w 203591"/>
                <a:gd name="connsiteY801" fmla="*/ 239220 h 279938"/>
                <a:gd name="connsiteX802" fmla="*/ 106249 w 203591"/>
                <a:gd name="connsiteY802" fmla="*/ 239856 h 279938"/>
                <a:gd name="connsiteX803" fmla="*/ 107204 w 203591"/>
                <a:gd name="connsiteY803" fmla="*/ 239856 h 279938"/>
                <a:gd name="connsiteX804" fmla="*/ 106886 w 203591"/>
                <a:gd name="connsiteY804" fmla="*/ 239538 h 279938"/>
                <a:gd name="connsiteX805" fmla="*/ 106886 w 203591"/>
                <a:gd name="connsiteY805" fmla="*/ 238266 h 279938"/>
                <a:gd name="connsiteX806" fmla="*/ 107522 w 203591"/>
                <a:gd name="connsiteY806" fmla="*/ 237948 h 279938"/>
                <a:gd name="connsiteX807" fmla="*/ 107522 w 203591"/>
                <a:gd name="connsiteY807" fmla="*/ 238266 h 279938"/>
                <a:gd name="connsiteX808" fmla="*/ 107840 w 203591"/>
                <a:gd name="connsiteY808" fmla="*/ 240493 h 279938"/>
                <a:gd name="connsiteX809" fmla="*/ 107840 w 203591"/>
                <a:gd name="connsiteY809" fmla="*/ 241129 h 279938"/>
                <a:gd name="connsiteX810" fmla="*/ 106249 w 203591"/>
                <a:gd name="connsiteY810" fmla="*/ 242401 h 279938"/>
                <a:gd name="connsiteX811" fmla="*/ 104977 w 203591"/>
                <a:gd name="connsiteY811" fmla="*/ 243356 h 279938"/>
                <a:gd name="connsiteX812" fmla="*/ 103705 w 203591"/>
                <a:gd name="connsiteY812" fmla="*/ 242719 h 279938"/>
                <a:gd name="connsiteX813" fmla="*/ 103068 w 203591"/>
                <a:gd name="connsiteY813" fmla="*/ 242401 h 279938"/>
                <a:gd name="connsiteX814" fmla="*/ 102432 w 203591"/>
                <a:gd name="connsiteY814" fmla="*/ 243037 h 279938"/>
                <a:gd name="connsiteX815" fmla="*/ 101478 w 203591"/>
                <a:gd name="connsiteY815" fmla="*/ 243674 h 279938"/>
                <a:gd name="connsiteX816" fmla="*/ 100841 w 203591"/>
                <a:gd name="connsiteY816" fmla="*/ 243992 h 279938"/>
                <a:gd name="connsiteX817" fmla="*/ 101796 w 203591"/>
                <a:gd name="connsiteY817" fmla="*/ 244946 h 279938"/>
                <a:gd name="connsiteX818" fmla="*/ 101796 w 203591"/>
                <a:gd name="connsiteY818" fmla="*/ 245582 h 279938"/>
                <a:gd name="connsiteX819" fmla="*/ 102432 w 203591"/>
                <a:gd name="connsiteY819" fmla="*/ 246219 h 279938"/>
                <a:gd name="connsiteX820" fmla="*/ 102750 w 203591"/>
                <a:gd name="connsiteY820" fmla="*/ 246855 h 279938"/>
                <a:gd name="connsiteX821" fmla="*/ 101796 w 203591"/>
                <a:gd name="connsiteY821" fmla="*/ 247491 h 279938"/>
                <a:gd name="connsiteX822" fmla="*/ 99569 w 203591"/>
                <a:gd name="connsiteY822" fmla="*/ 249718 h 279938"/>
                <a:gd name="connsiteX823" fmla="*/ 98933 w 203591"/>
                <a:gd name="connsiteY823" fmla="*/ 250354 h 279938"/>
                <a:gd name="connsiteX824" fmla="*/ 99569 w 203591"/>
                <a:gd name="connsiteY824" fmla="*/ 251308 h 279938"/>
                <a:gd name="connsiteX825" fmla="*/ 99887 w 203591"/>
                <a:gd name="connsiteY825" fmla="*/ 250990 h 279938"/>
                <a:gd name="connsiteX826" fmla="*/ 100523 w 203591"/>
                <a:gd name="connsiteY826" fmla="*/ 250672 h 279938"/>
                <a:gd name="connsiteX827" fmla="*/ 100523 w 203591"/>
                <a:gd name="connsiteY827" fmla="*/ 250990 h 279938"/>
                <a:gd name="connsiteX828" fmla="*/ 100841 w 203591"/>
                <a:gd name="connsiteY828" fmla="*/ 250990 h 279938"/>
                <a:gd name="connsiteX829" fmla="*/ 100523 w 203591"/>
                <a:gd name="connsiteY829" fmla="*/ 251308 h 279938"/>
                <a:gd name="connsiteX830" fmla="*/ 100205 w 203591"/>
                <a:gd name="connsiteY830" fmla="*/ 251945 h 279938"/>
                <a:gd name="connsiteX831" fmla="*/ 100523 w 203591"/>
                <a:gd name="connsiteY831" fmla="*/ 252263 h 279938"/>
                <a:gd name="connsiteX832" fmla="*/ 100205 w 203591"/>
                <a:gd name="connsiteY832" fmla="*/ 252581 h 279938"/>
                <a:gd name="connsiteX833" fmla="*/ 99569 w 203591"/>
                <a:gd name="connsiteY833" fmla="*/ 253535 h 279938"/>
                <a:gd name="connsiteX834" fmla="*/ 98933 w 203591"/>
                <a:gd name="connsiteY834" fmla="*/ 253853 h 279938"/>
                <a:gd name="connsiteX835" fmla="*/ 97978 w 203591"/>
                <a:gd name="connsiteY835" fmla="*/ 255444 h 279938"/>
                <a:gd name="connsiteX836" fmla="*/ 97978 w 203591"/>
                <a:gd name="connsiteY836" fmla="*/ 256080 h 279938"/>
                <a:gd name="connsiteX837" fmla="*/ 96706 w 203591"/>
                <a:gd name="connsiteY837" fmla="*/ 257989 h 279938"/>
                <a:gd name="connsiteX838" fmla="*/ 96706 w 203591"/>
                <a:gd name="connsiteY838" fmla="*/ 259579 h 279938"/>
                <a:gd name="connsiteX839" fmla="*/ 95433 w 203591"/>
                <a:gd name="connsiteY839" fmla="*/ 261170 h 279938"/>
                <a:gd name="connsiteX840" fmla="*/ 94479 w 203591"/>
                <a:gd name="connsiteY840" fmla="*/ 262760 h 279938"/>
                <a:gd name="connsiteX841" fmla="*/ 93843 w 203591"/>
                <a:gd name="connsiteY841" fmla="*/ 263397 h 279938"/>
                <a:gd name="connsiteX842" fmla="*/ 93525 w 203591"/>
                <a:gd name="connsiteY842" fmla="*/ 264033 h 279938"/>
                <a:gd name="connsiteX843" fmla="*/ 93525 w 203591"/>
                <a:gd name="connsiteY843" fmla="*/ 264669 h 279938"/>
                <a:gd name="connsiteX844" fmla="*/ 91616 w 203591"/>
                <a:gd name="connsiteY844" fmla="*/ 265941 h 279938"/>
                <a:gd name="connsiteX845" fmla="*/ 91298 w 203591"/>
                <a:gd name="connsiteY845" fmla="*/ 266578 h 279938"/>
                <a:gd name="connsiteX846" fmla="*/ 91934 w 203591"/>
                <a:gd name="connsiteY846" fmla="*/ 267214 h 279938"/>
                <a:gd name="connsiteX847" fmla="*/ 92252 w 203591"/>
                <a:gd name="connsiteY847" fmla="*/ 267850 h 279938"/>
                <a:gd name="connsiteX848" fmla="*/ 91934 w 203591"/>
                <a:gd name="connsiteY848" fmla="*/ 268168 h 279938"/>
                <a:gd name="connsiteX849" fmla="*/ 91298 w 203591"/>
                <a:gd name="connsiteY849" fmla="*/ 269123 h 279938"/>
                <a:gd name="connsiteX850" fmla="*/ 91616 w 203591"/>
                <a:gd name="connsiteY850" fmla="*/ 269759 h 279938"/>
                <a:gd name="connsiteX851" fmla="*/ 91934 w 203591"/>
                <a:gd name="connsiteY851" fmla="*/ 270395 h 279938"/>
                <a:gd name="connsiteX852" fmla="*/ 91934 w 203591"/>
                <a:gd name="connsiteY852" fmla="*/ 270713 h 279938"/>
                <a:gd name="connsiteX853" fmla="*/ 91616 w 203591"/>
                <a:gd name="connsiteY853" fmla="*/ 271031 h 279938"/>
                <a:gd name="connsiteX854" fmla="*/ 90662 w 203591"/>
                <a:gd name="connsiteY854" fmla="*/ 271031 h 279938"/>
                <a:gd name="connsiteX855" fmla="*/ 90026 w 203591"/>
                <a:gd name="connsiteY855" fmla="*/ 271667 h 279938"/>
                <a:gd name="connsiteX856" fmla="*/ 88435 w 203591"/>
                <a:gd name="connsiteY856" fmla="*/ 273894 h 279938"/>
                <a:gd name="connsiteX857" fmla="*/ 87163 w 203591"/>
                <a:gd name="connsiteY857" fmla="*/ 275167 h 279938"/>
                <a:gd name="connsiteX858" fmla="*/ 86844 w 203591"/>
                <a:gd name="connsiteY858" fmla="*/ 275803 h 279938"/>
                <a:gd name="connsiteX859" fmla="*/ 85572 w 203591"/>
                <a:gd name="connsiteY859" fmla="*/ 275803 h 279938"/>
                <a:gd name="connsiteX860" fmla="*/ 84299 w 203591"/>
                <a:gd name="connsiteY860" fmla="*/ 276439 h 279938"/>
                <a:gd name="connsiteX861" fmla="*/ 83345 w 203591"/>
                <a:gd name="connsiteY861" fmla="*/ 277075 h 279938"/>
                <a:gd name="connsiteX862" fmla="*/ 83027 w 203591"/>
                <a:gd name="connsiteY862" fmla="*/ 277394 h 279938"/>
                <a:gd name="connsiteX863" fmla="*/ 82709 w 203591"/>
                <a:gd name="connsiteY863" fmla="*/ 278030 h 279938"/>
                <a:gd name="connsiteX864" fmla="*/ 81755 w 203591"/>
                <a:gd name="connsiteY864" fmla="*/ 277712 h 279938"/>
                <a:gd name="connsiteX865" fmla="*/ 78892 w 203591"/>
                <a:gd name="connsiteY865" fmla="*/ 281211 h 279938"/>
                <a:gd name="connsiteX866" fmla="*/ 78256 w 203591"/>
                <a:gd name="connsiteY866" fmla="*/ 281847 h 279938"/>
                <a:gd name="connsiteX867" fmla="*/ 75393 w 203591"/>
                <a:gd name="connsiteY867" fmla="*/ 281847 h 279938"/>
                <a:gd name="connsiteX868" fmla="*/ 74438 w 203591"/>
                <a:gd name="connsiteY868" fmla="*/ 281211 h 279938"/>
                <a:gd name="connsiteX869" fmla="*/ 72211 w 203591"/>
                <a:gd name="connsiteY869" fmla="*/ 281529 h 279938"/>
                <a:gd name="connsiteX870" fmla="*/ 70939 w 203591"/>
                <a:gd name="connsiteY870" fmla="*/ 281211 h 279938"/>
                <a:gd name="connsiteX871" fmla="*/ 69666 w 203591"/>
                <a:gd name="connsiteY871" fmla="*/ 281529 h 279938"/>
                <a:gd name="connsiteX872" fmla="*/ 68712 w 203591"/>
                <a:gd name="connsiteY872" fmla="*/ 281847 h 279938"/>
                <a:gd name="connsiteX873" fmla="*/ 64259 w 203591"/>
                <a:gd name="connsiteY873" fmla="*/ 279302 h 279938"/>
                <a:gd name="connsiteX874" fmla="*/ 63304 w 203591"/>
                <a:gd name="connsiteY874" fmla="*/ 279620 h 279938"/>
                <a:gd name="connsiteX875" fmla="*/ 62668 w 203591"/>
                <a:gd name="connsiteY875" fmla="*/ 279938 h 279938"/>
                <a:gd name="connsiteX876" fmla="*/ 61714 w 203591"/>
                <a:gd name="connsiteY876" fmla="*/ 279620 h 279938"/>
                <a:gd name="connsiteX877" fmla="*/ 59487 w 203591"/>
                <a:gd name="connsiteY877" fmla="*/ 277712 h 279938"/>
                <a:gd name="connsiteX878" fmla="*/ 57578 w 203591"/>
                <a:gd name="connsiteY878" fmla="*/ 277075 h 279938"/>
                <a:gd name="connsiteX879" fmla="*/ 56942 w 203591"/>
                <a:gd name="connsiteY879" fmla="*/ 276121 h 279938"/>
                <a:gd name="connsiteX880" fmla="*/ 55988 w 203591"/>
                <a:gd name="connsiteY880" fmla="*/ 275167 h 279938"/>
                <a:gd name="connsiteX881" fmla="*/ 54397 w 203591"/>
                <a:gd name="connsiteY881" fmla="*/ 274212 h 279938"/>
                <a:gd name="connsiteX882" fmla="*/ 54079 w 203591"/>
                <a:gd name="connsiteY882" fmla="*/ 273576 h 279938"/>
                <a:gd name="connsiteX883" fmla="*/ 54715 w 203591"/>
                <a:gd name="connsiteY883" fmla="*/ 273258 h 279938"/>
                <a:gd name="connsiteX884" fmla="*/ 55033 w 203591"/>
                <a:gd name="connsiteY884" fmla="*/ 273258 h 279938"/>
                <a:gd name="connsiteX885" fmla="*/ 54715 w 203591"/>
                <a:gd name="connsiteY885" fmla="*/ 272940 h 279938"/>
                <a:gd name="connsiteX886" fmla="*/ 54715 w 203591"/>
                <a:gd name="connsiteY886" fmla="*/ 271986 h 279938"/>
                <a:gd name="connsiteX887" fmla="*/ 54397 w 203591"/>
                <a:gd name="connsiteY887" fmla="*/ 271667 h 279938"/>
                <a:gd name="connsiteX888" fmla="*/ 53125 w 203591"/>
                <a:gd name="connsiteY888" fmla="*/ 271031 h 279938"/>
                <a:gd name="connsiteX889" fmla="*/ 53443 w 203591"/>
                <a:gd name="connsiteY889" fmla="*/ 270713 h 279938"/>
                <a:gd name="connsiteX890" fmla="*/ 53761 w 203591"/>
                <a:gd name="connsiteY890" fmla="*/ 270395 h 279938"/>
                <a:gd name="connsiteX891" fmla="*/ 53761 w 203591"/>
                <a:gd name="connsiteY891" fmla="*/ 270077 h 279938"/>
                <a:gd name="connsiteX892" fmla="*/ 53443 w 203591"/>
                <a:gd name="connsiteY892" fmla="*/ 269441 h 279938"/>
                <a:gd name="connsiteX893" fmla="*/ 53125 w 203591"/>
                <a:gd name="connsiteY893" fmla="*/ 269123 h 279938"/>
                <a:gd name="connsiteX894" fmla="*/ 53443 w 203591"/>
                <a:gd name="connsiteY894" fmla="*/ 268168 h 279938"/>
                <a:gd name="connsiteX895" fmla="*/ 52806 w 203591"/>
                <a:gd name="connsiteY895" fmla="*/ 267532 h 279938"/>
                <a:gd name="connsiteX896" fmla="*/ 52806 w 203591"/>
                <a:gd name="connsiteY896" fmla="*/ 267214 h 279938"/>
                <a:gd name="connsiteX897" fmla="*/ 52488 w 203591"/>
                <a:gd name="connsiteY897" fmla="*/ 266260 h 279938"/>
                <a:gd name="connsiteX898" fmla="*/ 52170 w 203591"/>
                <a:gd name="connsiteY898" fmla="*/ 264669 h 279938"/>
                <a:gd name="connsiteX899" fmla="*/ 51852 w 203591"/>
                <a:gd name="connsiteY899" fmla="*/ 263397 h 279938"/>
                <a:gd name="connsiteX900" fmla="*/ 50580 w 203591"/>
                <a:gd name="connsiteY900" fmla="*/ 263078 h 279938"/>
                <a:gd name="connsiteX901" fmla="*/ 49944 w 203591"/>
                <a:gd name="connsiteY901" fmla="*/ 263078 h 279938"/>
                <a:gd name="connsiteX902" fmla="*/ 49307 w 203591"/>
                <a:gd name="connsiteY902" fmla="*/ 262760 h 279938"/>
                <a:gd name="connsiteX903" fmla="*/ 49307 w 203591"/>
                <a:gd name="connsiteY903" fmla="*/ 261806 h 279938"/>
                <a:gd name="connsiteX904" fmla="*/ 49625 w 203591"/>
                <a:gd name="connsiteY904" fmla="*/ 261488 h 279938"/>
                <a:gd name="connsiteX905" fmla="*/ 50262 w 203591"/>
                <a:gd name="connsiteY905" fmla="*/ 260534 h 279938"/>
                <a:gd name="connsiteX906" fmla="*/ 50262 w 203591"/>
                <a:gd name="connsiteY906" fmla="*/ 259579 h 279938"/>
                <a:gd name="connsiteX907" fmla="*/ 49944 w 203591"/>
                <a:gd name="connsiteY907" fmla="*/ 257034 h 279938"/>
                <a:gd name="connsiteX908" fmla="*/ 49307 w 203591"/>
                <a:gd name="connsiteY908" fmla="*/ 255762 h 279938"/>
                <a:gd name="connsiteX909" fmla="*/ 49307 w 203591"/>
                <a:gd name="connsiteY909" fmla="*/ 255444 h 279938"/>
                <a:gd name="connsiteX910" fmla="*/ 48989 w 203591"/>
                <a:gd name="connsiteY910" fmla="*/ 255126 h 279938"/>
                <a:gd name="connsiteX911" fmla="*/ 48989 w 203591"/>
                <a:gd name="connsiteY911" fmla="*/ 255444 h 279938"/>
                <a:gd name="connsiteX912" fmla="*/ 48353 w 203591"/>
                <a:gd name="connsiteY912" fmla="*/ 255444 h 279938"/>
                <a:gd name="connsiteX913" fmla="*/ 48353 w 203591"/>
                <a:gd name="connsiteY913" fmla="*/ 254489 h 279938"/>
                <a:gd name="connsiteX914" fmla="*/ 48035 w 203591"/>
                <a:gd name="connsiteY914" fmla="*/ 253853 h 279938"/>
                <a:gd name="connsiteX915" fmla="*/ 47717 w 203591"/>
                <a:gd name="connsiteY915" fmla="*/ 253535 h 279938"/>
                <a:gd name="connsiteX916" fmla="*/ 48671 w 203591"/>
                <a:gd name="connsiteY916" fmla="*/ 252581 h 279938"/>
                <a:gd name="connsiteX917" fmla="*/ 48353 w 203591"/>
                <a:gd name="connsiteY917" fmla="*/ 251626 h 279938"/>
                <a:gd name="connsiteX918" fmla="*/ 47717 w 203591"/>
                <a:gd name="connsiteY918" fmla="*/ 251308 h 279938"/>
                <a:gd name="connsiteX919" fmla="*/ 47717 w 203591"/>
                <a:gd name="connsiteY919" fmla="*/ 249082 h 279938"/>
                <a:gd name="connsiteX920" fmla="*/ 48035 w 203591"/>
                <a:gd name="connsiteY920" fmla="*/ 246855 h 279938"/>
                <a:gd name="connsiteX921" fmla="*/ 48671 w 203591"/>
                <a:gd name="connsiteY921" fmla="*/ 246855 h 279938"/>
                <a:gd name="connsiteX922" fmla="*/ 49307 w 203591"/>
                <a:gd name="connsiteY922" fmla="*/ 246219 h 279938"/>
                <a:gd name="connsiteX923" fmla="*/ 48989 w 203591"/>
                <a:gd name="connsiteY923" fmla="*/ 244310 h 279938"/>
                <a:gd name="connsiteX924" fmla="*/ 48671 w 203591"/>
                <a:gd name="connsiteY924" fmla="*/ 243674 h 279938"/>
                <a:gd name="connsiteX925" fmla="*/ 48671 w 203591"/>
                <a:gd name="connsiteY925" fmla="*/ 243037 h 279938"/>
                <a:gd name="connsiteX926" fmla="*/ 48989 w 203591"/>
                <a:gd name="connsiteY926" fmla="*/ 241765 h 279938"/>
                <a:gd name="connsiteX927" fmla="*/ 48671 w 203591"/>
                <a:gd name="connsiteY927" fmla="*/ 240174 h 279938"/>
                <a:gd name="connsiteX928" fmla="*/ 48989 w 203591"/>
                <a:gd name="connsiteY928" fmla="*/ 239856 h 279938"/>
                <a:gd name="connsiteX929" fmla="*/ 47399 w 203591"/>
                <a:gd name="connsiteY929" fmla="*/ 238266 h 279938"/>
                <a:gd name="connsiteX930" fmla="*/ 47717 w 203591"/>
                <a:gd name="connsiteY930" fmla="*/ 237630 h 279938"/>
                <a:gd name="connsiteX931" fmla="*/ 46762 w 203591"/>
                <a:gd name="connsiteY931" fmla="*/ 236993 h 279938"/>
                <a:gd name="connsiteX932" fmla="*/ 47081 w 203591"/>
                <a:gd name="connsiteY932" fmla="*/ 236675 h 279938"/>
                <a:gd name="connsiteX933" fmla="*/ 48671 w 203591"/>
                <a:gd name="connsiteY933" fmla="*/ 235403 h 279938"/>
                <a:gd name="connsiteX934" fmla="*/ 47717 w 203591"/>
                <a:gd name="connsiteY934" fmla="*/ 233494 h 279938"/>
                <a:gd name="connsiteX935" fmla="*/ 47399 w 203591"/>
                <a:gd name="connsiteY935" fmla="*/ 233176 h 279938"/>
                <a:gd name="connsiteX936" fmla="*/ 47717 w 203591"/>
                <a:gd name="connsiteY936" fmla="*/ 232540 h 279938"/>
                <a:gd name="connsiteX937" fmla="*/ 47081 w 203591"/>
                <a:gd name="connsiteY937" fmla="*/ 232222 h 279938"/>
                <a:gd name="connsiteX938" fmla="*/ 47081 w 203591"/>
                <a:gd name="connsiteY938" fmla="*/ 231585 h 279938"/>
                <a:gd name="connsiteX939" fmla="*/ 46762 w 203591"/>
                <a:gd name="connsiteY939" fmla="*/ 229041 h 279938"/>
                <a:gd name="connsiteX940" fmla="*/ 46762 w 203591"/>
                <a:gd name="connsiteY940" fmla="*/ 226814 h 279938"/>
                <a:gd name="connsiteX941" fmla="*/ 47081 w 203591"/>
                <a:gd name="connsiteY941" fmla="*/ 225541 h 279938"/>
                <a:gd name="connsiteX942" fmla="*/ 48353 w 203591"/>
                <a:gd name="connsiteY942" fmla="*/ 225223 h 279938"/>
                <a:gd name="connsiteX943" fmla="*/ 47399 w 203591"/>
                <a:gd name="connsiteY943" fmla="*/ 223951 h 279938"/>
                <a:gd name="connsiteX944" fmla="*/ 47081 w 203591"/>
                <a:gd name="connsiteY944" fmla="*/ 223314 h 279938"/>
                <a:gd name="connsiteX945" fmla="*/ 48035 w 203591"/>
                <a:gd name="connsiteY945" fmla="*/ 222042 h 279938"/>
                <a:gd name="connsiteX946" fmla="*/ 47717 w 203591"/>
                <a:gd name="connsiteY946" fmla="*/ 220770 h 279938"/>
                <a:gd name="connsiteX947" fmla="*/ 47717 w 203591"/>
                <a:gd name="connsiteY947" fmla="*/ 218861 h 279938"/>
                <a:gd name="connsiteX948" fmla="*/ 48989 w 203591"/>
                <a:gd name="connsiteY948" fmla="*/ 216952 h 279938"/>
                <a:gd name="connsiteX949" fmla="*/ 48671 w 203591"/>
                <a:gd name="connsiteY949" fmla="*/ 216634 h 279938"/>
                <a:gd name="connsiteX950" fmla="*/ 48671 w 203591"/>
                <a:gd name="connsiteY950" fmla="*/ 215044 h 279938"/>
                <a:gd name="connsiteX951" fmla="*/ 48353 w 203591"/>
                <a:gd name="connsiteY951" fmla="*/ 214725 h 279938"/>
                <a:gd name="connsiteX952" fmla="*/ 48671 w 203591"/>
                <a:gd name="connsiteY952" fmla="*/ 214089 h 279938"/>
                <a:gd name="connsiteX953" fmla="*/ 49625 w 203591"/>
                <a:gd name="connsiteY953" fmla="*/ 213135 h 279938"/>
                <a:gd name="connsiteX954" fmla="*/ 49307 w 203591"/>
                <a:gd name="connsiteY954" fmla="*/ 211226 h 279938"/>
                <a:gd name="connsiteX955" fmla="*/ 49625 w 203591"/>
                <a:gd name="connsiteY955" fmla="*/ 210272 h 279938"/>
                <a:gd name="connsiteX956" fmla="*/ 49307 w 203591"/>
                <a:gd name="connsiteY956" fmla="*/ 208999 h 279938"/>
                <a:gd name="connsiteX957" fmla="*/ 49307 w 203591"/>
                <a:gd name="connsiteY957" fmla="*/ 208363 h 279938"/>
                <a:gd name="connsiteX958" fmla="*/ 50262 w 203591"/>
                <a:gd name="connsiteY958" fmla="*/ 207091 h 279938"/>
                <a:gd name="connsiteX959" fmla="*/ 50262 w 203591"/>
                <a:gd name="connsiteY959" fmla="*/ 203592 h 279938"/>
                <a:gd name="connsiteX960" fmla="*/ 50580 w 203591"/>
                <a:gd name="connsiteY960" fmla="*/ 203273 h 279938"/>
                <a:gd name="connsiteX961" fmla="*/ 49944 w 203591"/>
                <a:gd name="connsiteY961" fmla="*/ 202001 h 279938"/>
                <a:gd name="connsiteX962" fmla="*/ 49944 w 203591"/>
                <a:gd name="connsiteY962" fmla="*/ 201365 h 279938"/>
                <a:gd name="connsiteX963" fmla="*/ 50898 w 203591"/>
                <a:gd name="connsiteY963" fmla="*/ 199774 h 279938"/>
                <a:gd name="connsiteX964" fmla="*/ 50580 w 203591"/>
                <a:gd name="connsiteY964" fmla="*/ 198820 h 279938"/>
                <a:gd name="connsiteX965" fmla="*/ 50262 w 203591"/>
                <a:gd name="connsiteY965" fmla="*/ 198184 h 279938"/>
                <a:gd name="connsiteX966" fmla="*/ 50580 w 203591"/>
                <a:gd name="connsiteY966" fmla="*/ 197866 h 279938"/>
                <a:gd name="connsiteX967" fmla="*/ 50898 w 203591"/>
                <a:gd name="connsiteY967" fmla="*/ 197547 h 279938"/>
                <a:gd name="connsiteX968" fmla="*/ 50262 w 203591"/>
                <a:gd name="connsiteY968" fmla="*/ 196911 h 279938"/>
                <a:gd name="connsiteX969" fmla="*/ 49625 w 203591"/>
                <a:gd name="connsiteY969" fmla="*/ 195957 h 279938"/>
                <a:gd name="connsiteX970" fmla="*/ 49625 w 203591"/>
                <a:gd name="connsiteY970" fmla="*/ 194366 h 279938"/>
                <a:gd name="connsiteX971" fmla="*/ 49944 w 203591"/>
                <a:gd name="connsiteY971" fmla="*/ 192776 h 279938"/>
                <a:gd name="connsiteX972" fmla="*/ 50262 w 203591"/>
                <a:gd name="connsiteY972" fmla="*/ 192140 h 279938"/>
                <a:gd name="connsiteX973" fmla="*/ 49944 w 203591"/>
                <a:gd name="connsiteY973" fmla="*/ 191185 h 279938"/>
                <a:gd name="connsiteX974" fmla="*/ 50898 w 203591"/>
                <a:gd name="connsiteY974" fmla="*/ 190231 h 279938"/>
                <a:gd name="connsiteX975" fmla="*/ 51216 w 203591"/>
                <a:gd name="connsiteY975" fmla="*/ 189913 h 279938"/>
                <a:gd name="connsiteX976" fmla="*/ 51216 w 203591"/>
                <a:gd name="connsiteY976" fmla="*/ 188640 h 279938"/>
                <a:gd name="connsiteX977" fmla="*/ 50898 w 203591"/>
                <a:gd name="connsiteY977" fmla="*/ 188322 h 279938"/>
                <a:gd name="connsiteX978" fmla="*/ 51216 w 203591"/>
                <a:gd name="connsiteY978" fmla="*/ 188004 h 279938"/>
                <a:gd name="connsiteX979" fmla="*/ 52170 w 203591"/>
                <a:gd name="connsiteY979" fmla="*/ 186414 h 279938"/>
                <a:gd name="connsiteX980" fmla="*/ 51216 w 203591"/>
                <a:gd name="connsiteY980" fmla="*/ 184823 h 279938"/>
                <a:gd name="connsiteX981" fmla="*/ 51852 w 203591"/>
                <a:gd name="connsiteY981" fmla="*/ 183551 h 279938"/>
                <a:gd name="connsiteX982" fmla="*/ 51852 w 203591"/>
                <a:gd name="connsiteY982" fmla="*/ 182914 h 279938"/>
                <a:gd name="connsiteX983" fmla="*/ 52488 w 203591"/>
                <a:gd name="connsiteY983" fmla="*/ 181960 h 279938"/>
                <a:gd name="connsiteX984" fmla="*/ 52806 w 203591"/>
                <a:gd name="connsiteY984" fmla="*/ 180369 h 279938"/>
                <a:gd name="connsiteX985" fmla="*/ 52806 w 203591"/>
                <a:gd name="connsiteY985" fmla="*/ 179415 h 279938"/>
                <a:gd name="connsiteX986" fmla="*/ 52806 w 203591"/>
                <a:gd name="connsiteY986" fmla="*/ 179097 h 279938"/>
                <a:gd name="connsiteX987" fmla="*/ 52488 w 203591"/>
                <a:gd name="connsiteY987" fmla="*/ 179097 h 279938"/>
                <a:gd name="connsiteX988" fmla="*/ 52488 w 203591"/>
                <a:gd name="connsiteY988" fmla="*/ 178143 h 279938"/>
                <a:gd name="connsiteX989" fmla="*/ 52806 w 203591"/>
                <a:gd name="connsiteY989" fmla="*/ 177824 h 279938"/>
                <a:gd name="connsiteX990" fmla="*/ 54079 w 203591"/>
                <a:gd name="connsiteY990" fmla="*/ 176234 h 279938"/>
                <a:gd name="connsiteX991" fmla="*/ 53761 w 203591"/>
                <a:gd name="connsiteY991" fmla="*/ 175280 h 279938"/>
                <a:gd name="connsiteX992" fmla="*/ 54397 w 203591"/>
                <a:gd name="connsiteY992" fmla="*/ 174007 h 279938"/>
                <a:gd name="connsiteX993" fmla="*/ 54397 w 203591"/>
                <a:gd name="connsiteY993" fmla="*/ 173689 h 279938"/>
                <a:gd name="connsiteX994" fmla="*/ 53761 w 203591"/>
                <a:gd name="connsiteY994" fmla="*/ 172417 h 279938"/>
                <a:gd name="connsiteX995" fmla="*/ 53761 w 203591"/>
                <a:gd name="connsiteY995" fmla="*/ 171144 h 279938"/>
                <a:gd name="connsiteX996" fmla="*/ 54079 w 203591"/>
                <a:gd name="connsiteY996" fmla="*/ 170508 h 279938"/>
                <a:gd name="connsiteX997" fmla="*/ 54397 w 203591"/>
                <a:gd name="connsiteY997" fmla="*/ 170190 h 279938"/>
                <a:gd name="connsiteX998" fmla="*/ 54715 w 203591"/>
                <a:gd name="connsiteY998" fmla="*/ 170190 h 279938"/>
                <a:gd name="connsiteX999" fmla="*/ 55033 w 203591"/>
                <a:gd name="connsiteY999" fmla="*/ 169872 h 279938"/>
                <a:gd name="connsiteX1000" fmla="*/ 54715 w 203591"/>
                <a:gd name="connsiteY1000" fmla="*/ 169235 h 279938"/>
                <a:gd name="connsiteX1001" fmla="*/ 54397 w 203591"/>
                <a:gd name="connsiteY1001" fmla="*/ 168599 h 279938"/>
                <a:gd name="connsiteX1002" fmla="*/ 54397 w 203591"/>
                <a:gd name="connsiteY1002" fmla="*/ 168281 h 279938"/>
                <a:gd name="connsiteX1003" fmla="*/ 55033 w 203591"/>
                <a:gd name="connsiteY1003" fmla="*/ 167009 h 279938"/>
                <a:gd name="connsiteX1004" fmla="*/ 55033 w 203591"/>
                <a:gd name="connsiteY1004" fmla="*/ 166691 h 279938"/>
                <a:gd name="connsiteX1005" fmla="*/ 55351 w 203591"/>
                <a:gd name="connsiteY1005" fmla="*/ 166054 h 279938"/>
                <a:gd name="connsiteX1006" fmla="*/ 55033 w 203591"/>
                <a:gd name="connsiteY1006" fmla="*/ 165100 h 279938"/>
                <a:gd name="connsiteX1007" fmla="*/ 54397 w 203591"/>
                <a:gd name="connsiteY1007" fmla="*/ 164146 h 279938"/>
                <a:gd name="connsiteX1008" fmla="*/ 55033 w 203591"/>
                <a:gd name="connsiteY1008" fmla="*/ 163509 h 279938"/>
                <a:gd name="connsiteX1009" fmla="*/ 57260 w 203591"/>
                <a:gd name="connsiteY1009" fmla="*/ 161601 h 279938"/>
                <a:gd name="connsiteX1010" fmla="*/ 57260 w 203591"/>
                <a:gd name="connsiteY1010" fmla="*/ 160646 h 279938"/>
                <a:gd name="connsiteX1011" fmla="*/ 56942 w 203591"/>
                <a:gd name="connsiteY1011" fmla="*/ 159374 h 279938"/>
                <a:gd name="connsiteX1012" fmla="*/ 56942 w 203591"/>
                <a:gd name="connsiteY1012" fmla="*/ 158102 h 279938"/>
                <a:gd name="connsiteX1013" fmla="*/ 57578 w 203591"/>
                <a:gd name="connsiteY1013" fmla="*/ 155239 h 279938"/>
                <a:gd name="connsiteX1014" fmla="*/ 57260 w 203591"/>
                <a:gd name="connsiteY1014" fmla="*/ 154284 h 279938"/>
                <a:gd name="connsiteX1015" fmla="*/ 57578 w 203591"/>
                <a:gd name="connsiteY1015" fmla="*/ 153330 h 279938"/>
                <a:gd name="connsiteX1016" fmla="*/ 57896 w 203591"/>
                <a:gd name="connsiteY1016" fmla="*/ 152057 h 279938"/>
                <a:gd name="connsiteX1017" fmla="*/ 57896 w 203591"/>
                <a:gd name="connsiteY1017" fmla="*/ 149831 h 279938"/>
                <a:gd name="connsiteX1018" fmla="*/ 58532 w 203591"/>
                <a:gd name="connsiteY1018" fmla="*/ 149513 h 279938"/>
                <a:gd name="connsiteX1019" fmla="*/ 58532 w 203591"/>
                <a:gd name="connsiteY1019" fmla="*/ 147922 h 279938"/>
                <a:gd name="connsiteX1020" fmla="*/ 58851 w 203591"/>
                <a:gd name="connsiteY1020" fmla="*/ 146331 h 279938"/>
                <a:gd name="connsiteX1021" fmla="*/ 58214 w 203591"/>
                <a:gd name="connsiteY1021" fmla="*/ 146013 h 279938"/>
                <a:gd name="connsiteX1022" fmla="*/ 59169 w 203591"/>
                <a:gd name="connsiteY1022" fmla="*/ 144423 h 279938"/>
                <a:gd name="connsiteX1023" fmla="*/ 59487 w 203591"/>
                <a:gd name="connsiteY1023" fmla="*/ 143787 h 279938"/>
                <a:gd name="connsiteX1024" fmla="*/ 59169 w 203591"/>
                <a:gd name="connsiteY1024" fmla="*/ 142514 h 279938"/>
                <a:gd name="connsiteX1025" fmla="*/ 60123 w 203591"/>
                <a:gd name="connsiteY1025" fmla="*/ 141242 h 279938"/>
                <a:gd name="connsiteX1026" fmla="*/ 60441 w 203591"/>
                <a:gd name="connsiteY1026" fmla="*/ 140605 h 279938"/>
                <a:gd name="connsiteX1027" fmla="*/ 60123 w 203591"/>
                <a:gd name="connsiteY1027" fmla="*/ 139333 h 279938"/>
                <a:gd name="connsiteX1028" fmla="*/ 61396 w 203591"/>
                <a:gd name="connsiteY1028" fmla="*/ 137742 h 279938"/>
                <a:gd name="connsiteX1029" fmla="*/ 61077 w 203591"/>
                <a:gd name="connsiteY1029" fmla="*/ 137106 h 279938"/>
                <a:gd name="connsiteX1030" fmla="*/ 61396 w 203591"/>
                <a:gd name="connsiteY1030" fmla="*/ 135516 h 279938"/>
                <a:gd name="connsiteX1031" fmla="*/ 61714 w 203591"/>
                <a:gd name="connsiteY1031" fmla="*/ 134561 h 279938"/>
                <a:gd name="connsiteX1032" fmla="*/ 62668 w 203591"/>
                <a:gd name="connsiteY1032" fmla="*/ 133607 h 279938"/>
                <a:gd name="connsiteX1033" fmla="*/ 62668 w 203591"/>
                <a:gd name="connsiteY1033" fmla="*/ 131062 h 279938"/>
                <a:gd name="connsiteX1034" fmla="*/ 61714 w 203591"/>
                <a:gd name="connsiteY1034" fmla="*/ 130108 h 279938"/>
                <a:gd name="connsiteX1035" fmla="*/ 62350 w 203591"/>
                <a:gd name="connsiteY1035" fmla="*/ 128835 h 279938"/>
                <a:gd name="connsiteX1036" fmla="*/ 63622 w 203591"/>
                <a:gd name="connsiteY1036" fmla="*/ 126927 h 279938"/>
                <a:gd name="connsiteX1037" fmla="*/ 63622 w 203591"/>
                <a:gd name="connsiteY1037" fmla="*/ 125018 h 279938"/>
                <a:gd name="connsiteX1038" fmla="*/ 64259 w 203591"/>
                <a:gd name="connsiteY1038" fmla="*/ 124382 h 279938"/>
                <a:gd name="connsiteX1039" fmla="*/ 64259 w 203591"/>
                <a:gd name="connsiteY1039" fmla="*/ 123745 h 279938"/>
                <a:gd name="connsiteX1040" fmla="*/ 64577 w 203591"/>
                <a:gd name="connsiteY1040" fmla="*/ 123427 h 279938"/>
                <a:gd name="connsiteX1041" fmla="*/ 64577 w 203591"/>
                <a:gd name="connsiteY1041" fmla="*/ 123109 h 279938"/>
                <a:gd name="connsiteX1042" fmla="*/ 65213 w 203591"/>
                <a:gd name="connsiteY1042" fmla="*/ 121519 h 279938"/>
                <a:gd name="connsiteX1043" fmla="*/ 65213 w 203591"/>
                <a:gd name="connsiteY1043" fmla="*/ 118974 h 279938"/>
                <a:gd name="connsiteX1044" fmla="*/ 65531 w 203591"/>
                <a:gd name="connsiteY1044" fmla="*/ 118338 h 279938"/>
                <a:gd name="connsiteX1045" fmla="*/ 65531 w 203591"/>
                <a:gd name="connsiteY1045" fmla="*/ 116747 h 279938"/>
                <a:gd name="connsiteX1046" fmla="*/ 66485 w 203591"/>
                <a:gd name="connsiteY1046" fmla="*/ 114838 h 279938"/>
                <a:gd name="connsiteX1047" fmla="*/ 66167 w 203591"/>
                <a:gd name="connsiteY1047" fmla="*/ 114202 h 279938"/>
                <a:gd name="connsiteX1048" fmla="*/ 67122 w 203591"/>
                <a:gd name="connsiteY1048" fmla="*/ 112612 h 279938"/>
                <a:gd name="connsiteX1049" fmla="*/ 66803 w 203591"/>
                <a:gd name="connsiteY1049" fmla="*/ 111975 h 279938"/>
                <a:gd name="connsiteX1050" fmla="*/ 66803 w 203591"/>
                <a:gd name="connsiteY1050" fmla="*/ 111339 h 279938"/>
                <a:gd name="connsiteX1051" fmla="*/ 67440 w 203591"/>
                <a:gd name="connsiteY1051" fmla="*/ 109112 h 279938"/>
                <a:gd name="connsiteX1052" fmla="*/ 67758 w 203591"/>
                <a:gd name="connsiteY1052" fmla="*/ 108476 h 279938"/>
                <a:gd name="connsiteX1053" fmla="*/ 72847 w 203591"/>
                <a:gd name="connsiteY1053" fmla="*/ 87799 h 279938"/>
                <a:gd name="connsiteX1054" fmla="*/ 74120 w 203591"/>
                <a:gd name="connsiteY1054" fmla="*/ 86526 h 279938"/>
                <a:gd name="connsiteX1055" fmla="*/ 74120 w 203591"/>
                <a:gd name="connsiteY1055" fmla="*/ 86208 h 279938"/>
                <a:gd name="connsiteX1056" fmla="*/ 73484 w 203591"/>
                <a:gd name="connsiteY1056" fmla="*/ 84618 h 279938"/>
                <a:gd name="connsiteX1057" fmla="*/ 72847 w 203591"/>
                <a:gd name="connsiteY1057" fmla="*/ 83982 h 279938"/>
                <a:gd name="connsiteX1058" fmla="*/ 74120 w 203591"/>
                <a:gd name="connsiteY1058" fmla="*/ 83663 h 279938"/>
                <a:gd name="connsiteX1059" fmla="*/ 75393 w 203591"/>
                <a:gd name="connsiteY1059" fmla="*/ 82391 h 279938"/>
                <a:gd name="connsiteX1060" fmla="*/ 75074 w 203591"/>
                <a:gd name="connsiteY1060" fmla="*/ 81119 h 279938"/>
                <a:gd name="connsiteX1061" fmla="*/ 75711 w 203591"/>
                <a:gd name="connsiteY1061" fmla="*/ 80164 h 279938"/>
                <a:gd name="connsiteX1062" fmla="*/ 79846 w 203591"/>
                <a:gd name="connsiteY1062" fmla="*/ 66167 h 279938"/>
                <a:gd name="connsiteX1063" fmla="*/ 77937 w 203591"/>
                <a:gd name="connsiteY1063" fmla="*/ 66167 h 279938"/>
                <a:gd name="connsiteX1064" fmla="*/ 76665 w 203591"/>
                <a:gd name="connsiteY1064" fmla="*/ 66803 h 279938"/>
                <a:gd name="connsiteX1065" fmla="*/ 71257 w 203591"/>
                <a:gd name="connsiteY1065" fmla="*/ 68394 h 279938"/>
                <a:gd name="connsiteX1066" fmla="*/ 70621 w 203591"/>
                <a:gd name="connsiteY1066" fmla="*/ 68394 h 279938"/>
                <a:gd name="connsiteX1067" fmla="*/ 69030 w 203591"/>
                <a:gd name="connsiteY1067" fmla="*/ 67440 h 279938"/>
                <a:gd name="connsiteX1068" fmla="*/ 68076 w 203591"/>
                <a:gd name="connsiteY1068" fmla="*/ 67440 h 279938"/>
                <a:gd name="connsiteX1069" fmla="*/ 66485 w 203591"/>
                <a:gd name="connsiteY1069" fmla="*/ 67758 h 279938"/>
                <a:gd name="connsiteX1070" fmla="*/ 65531 w 203591"/>
                <a:gd name="connsiteY1070" fmla="*/ 68712 h 279938"/>
                <a:gd name="connsiteX1071" fmla="*/ 63940 w 203591"/>
                <a:gd name="connsiteY1071" fmla="*/ 68712 h 279938"/>
                <a:gd name="connsiteX1072" fmla="*/ 62668 w 203591"/>
                <a:gd name="connsiteY1072" fmla="*/ 69030 h 279938"/>
                <a:gd name="connsiteX1073" fmla="*/ 61714 w 203591"/>
                <a:gd name="connsiteY1073" fmla="*/ 69666 h 279938"/>
                <a:gd name="connsiteX1074" fmla="*/ 61077 w 203591"/>
                <a:gd name="connsiteY1074" fmla="*/ 69666 h 279938"/>
                <a:gd name="connsiteX1075" fmla="*/ 57578 w 203591"/>
                <a:gd name="connsiteY1075" fmla="*/ 70621 h 279938"/>
                <a:gd name="connsiteX1076" fmla="*/ 53443 w 203591"/>
                <a:gd name="connsiteY1076" fmla="*/ 71257 h 279938"/>
                <a:gd name="connsiteX1077" fmla="*/ 52488 w 203591"/>
                <a:gd name="connsiteY1077" fmla="*/ 71257 h 279938"/>
                <a:gd name="connsiteX1078" fmla="*/ 50898 w 203591"/>
                <a:gd name="connsiteY1078" fmla="*/ 71893 h 279938"/>
                <a:gd name="connsiteX1079" fmla="*/ 50262 w 203591"/>
                <a:gd name="connsiteY1079" fmla="*/ 72211 h 279938"/>
                <a:gd name="connsiteX1080" fmla="*/ 49944 w 203591"/>
                <a:gd name="connsiteY1080" fmla="*/ 71893 h 279938"/>
                <a:gd name="connsiteX1081" fmla="*/ 49944 w 203591"/>
                <a:gd name="connsiteY1081" fmla="*/ 71575 h 279938"/>
                <a:gd name="connsiteX1082" fmla="*/ 50262 w 203591"/>
                <a:gd name="connsiteY1082" fmla="*/ 71257 h 279938"/>
                <a:gd name="connsiteX1083" fmla="*/ 49944 w 203591"/>
                <a:gd name="connsiteY1083" fmla="*/ 71257 h 279938"/>
                <a:gd name="connsiteX1084" fmla="*/ 49944 w 203591"/>
                <a:gd name="connsiteY1084" fmla="*/ 70621 h 279938"/>
                <a:gd name="connsiteX1085" fmla="*/ 48989 w 203591"/>
                <a:gd name="connsiteY1085" fmla="*/ 70939 h 279938"/>
                <a:gd name="connsiteX1086" fmla="*/ 48989 w 203591"/>
                <a:gd name="connsiteY1086" fmla="*/ 71257 h 279938"/>
                <a:gd name="connsiteX1087" fmla="*/ 49625 w 203591"/>
                <a:gd name="connsiteY1087" fmla="*/ 71575 h 279938"/>
                <a:gd name="connsiteX1088" fmla="*/ 48353 w 203591"/>
                <a:gd name="connsiteY1088" fmla="*/ 72529 h 279938"/>
                <a:gd name="connsiteX1089" fmla="*/ 48035 w 203591"/>
                <a:gd name="connsiteY1089" fmla="*/ 72529 h 279938"/>
                <a:gd name="connsiteX1090" fmla="*/ 47717 w 203591"/>
                <a:gd name="connsiteY1090" fmla="*/ 72848 h 279938"/>
                <a:gd name="connsiteX1091" fmla="*/ 47399 w 203591"/>
                <a:gd name="connsiteY1091" fmla="*/ 72848 h 279938"/>
                <a:gd name="connsiteX1092" fmla="*/ 46762 w 203591"/>
                <a:gd name="connsiteY1092" fmla="*/ 72529 h 279938"/>
                <a:gd name="connsiteX1093" fmla="*/ 47081 w 203591"/>
                <a:gd name="connsiteY1093" fmla="*/ 72211 h 279938"/>
                <a:gd name="connsiteX1094" fmla="*/ 46762 w 203591"/>
                <a:gd name="connsiteY1094" fmla="*/ 72211 h 279938"/>
                <a:gd name="connsiteX1095" fmla="*/ 46126 w 203591"/>
                <a:gd name="connsiteY1095" fmla="*/ 71893 h 279938"/>
                <a:gd name="connsiteX1096" fmla="*/ 46126 w 203591"/>
                <a:gd name="connsiteY1096" fmla="*/ 72211 h 279938"/>
                <a:gd name="connsiteX1097" fmla="*/ 44854 w 203591"/>
                <a:gd name="connsiteY1097" fmla="*/ 73802 h 279938"/>
                <a:gd name="connsiteX1098" fmla="*/ 43899 w 203591"/>
                <a:gd name="connsiteY1098" fmla="*/ 74120 h 279938"/>
                <a:gd name="connsiteX1099" fmla="*/ 43263 w 203591"/>
                <a:gd name="connsiteY1099" fmla="*/ 73166 h 279938"/>
                <a:gd name="connsiteX1100" fmla="*/ 41355 w 203591"/>
                <a:gd name="connsiteY1100" fmla="*/ 74120 h 279938"/>
                <a:gd name="connsiteX1101" fmla="*/ 38491 w 203591"/>
                <a:gd name="connsiteY1101" fmla="*/ 74756 h 279938"/>
                <a:gd name="connsiteX1102" fmla="*/ 37219 w 203591"/>
                <a:gd name="connsiteY1102" fmla="*/ 74756 h 279938"/>
                <a:gd name="connsiteX1103" fmla="*/ 36583 w 203591"/>
                <a:gd name="connsiteY1103" fmla="*/ 75393 h 279938"/>
                <a:gd name="connsiteX1104" fmla="*/ 35947 w 203591"/>
                <a:gd name="connsiteY1104" fmla="*/ 75074 h 279938"/>
                <a:gd name="connsiteX1105" fmla="*/ 34356 w 203591"/>
                <a:gd name="connsiteY1105" fmla="*/ 75711 h 279938"/>
                <a:gd name="connsiteX1106" fmla="*/ 30539 w 203591"/>
                <a:gd name="connsiteY1106" fmla="*/ 76665 h 279938"/>
                <a:gd name="connsiteX1107" fmla="*/ 29902 w 203591"/>
                <a:gd name="connsiteY1107" fmla="*/ 76665 h 279938"/>
                <a:gd name="connsiteX1108" fmla="*/ 28312 w 203591"/>
                <a:gd name="connsiteY1108" fmla="*/ 77937 h 279938"/>
                <a:gd name="connsiteX1109" fmla="*/ 26403 w 203591"/>
                <a:gd name="connsiteY1109" fmla="*/ 77937 h 279938"/>
                <a:gd name="connsiteX1110" fmla="*/ 25449 w 203591"/>
                <a:gd name="connsiteY1110" fmla="*/ 77619 h 279938"/>
                <a:gd name="connsiteX1111" fmla="*/ 24495 w 203591"/>
                <a:gd name="connsiteY1111" fmla="*/ 77937 h 279938"/>
                <a:gd name="connsiteX1112" fmla="*/ 22268 w 203591"/>
                <a:gd name="connsiteY1112" fmla="*/ 79528 h 279938"/>
                <a:gd name="connsiteX1113" fmla="*/ 20995 w 203591"/>
                <a:gd name="connsiteY1113" fmla="*/ 79846 h 279938"/>
                <a:gd name="connsiteX1114" fmla="*/ 20359 w 203591"/>
                <a:gd name="connsiteY1114" fmla="*/ 79528 h 279938"/>
                <a:gd name="connsiteX1115" fmla="*/ 18450 w 203591"/>
                <a:gd name="connsiteY1115" fmla="*/ 79528 h 279938"/>
                <a:gd name="connsiteX1116" fmla="*/ 14951 w 203591"/>
                <a:gd name="connsiteY1116" fmla="*/ 81437 h 279938"/>
                <a:gd name="connsiteX1117" fmla="*/ 12406 w 203591"/>
                <a:gd name="connsiteY1117" fmla="*/ 81437 h 279938"/>
                <a:gd name="connsiteX1118" fmla="*/ 3181 w 203591"/>
                <a:gd name="connsiteY1118" fmla="*/ 84300 h 279938"/>
                <a:gd name="connsiteX1119" fmla="*/ 1591 w 203591"/>
                <a:gd name="connsiteY1119" fmla="*/ 85254 h 279938"/>
                <a:gd name="connsiteX1120" fmla="*/ 318 w 203591"/>
                <a:gd name="connsiteY1120" fmla="*/ 85890 h 279938"/>
                <a:gd name="connsiteX1121" fmla="*/ 0 w 203591"/>
                <a:gd name="connsiteY1121" fmla="*/ 84618 h 279938"/>
                <a:gd name="connsiteX1122" fmla="*/ 8907 w 203591"/>
                <a:gd name="connsiteY1122" fmla="*/ 70939 h 279938"/>
                <a:gd name="connsiteX1123" fmla="*/ 9861 w 203591"/>
                <a:gd name="connsiteY1123" fmla="*/ 70939 h 279938"/>
                <a:gd name="connsiteX1124" fmla="*/ 9861 w 203591"/>
                <a:gd name="connsiteY1124" fmla="*/ 71257 h 279938"/>
                <a:gd name="connsiteX1125" fmla="*/ 11134 w 203591"/>
                <a:gd name="connsiteY1125" fmla="*/ 71257 h 279938"/>
                <a:gd name="connsiteX1126" fmla="*/ 10498 w 203591"/>
                <a:gd name="connsiteY1126" fmla="*/ 72211 h 279938"/>
                <a:gd name="connsiteX1127" fmla="*/ 9861 w 203591"/>
                <a:gd name="connsiteY1127" fmla="*/ 73484 h 279938"/>
                <a:gd name="connsiteX1128" fmla="*/ 9861 w 203591"/>
                <a:gd name="connsiteY1128" fmla="*/ 75074 h 279938"/>
                <a:gd name="connsiteX1129" fmla="*/ 10498 w 203591"/>
                <a:gd name="connsiteY1129" fmla="*/ 75074 h 279938"/>
                <a:gd name="connsiteX1130" fmla="*/ 10498 w 203591"/>
                <a:gd name="connsiteY1130" fmla="*/ 74438 h 279938"/>
                <a:gd name="connsiteX1131" fmla="*/ 12406 w 203591"/>
                <a:gd name="connsiteY1131" fmla="*/ 73484 h 279938"/>
                <a:gd name="connsiteX1132" fmla="*/ 12724 w 203591"/>
                <a:gd name="connsiteY1132" fmla="*/ 73484 h 279938"/>
                <a:gd name="connsiteX1133" fmla="*/ 12724 w 203591"/>
                <a:gd name="connsiteY1133" fmla="*/ 73802 h 279938"/>
                <a:gd name="connsiteX1134" fmla="*/ 12406 w 203591"/>
                <a:gd name="connsiteY1134" fmla="*/ 74438 h 279938"/>
                <a:gd name="connsiteX1135" fmla="*/ 13361 w 203591"/>
                <a:gd name="connsiteY1135" fmla="*/ 74756 h 279938"/>
                <a:gd name="connsiteX1136" fmla="*/ 14315 w 203591"/>
                <a:gd name="connsiteY1136" fmla="*/ 74438 h 279938"/>
                <a:gd name="connsiteX1137" fmla="*/ 14951 w 203591"/>
                <a:gd name="connsiteY1137" fmla="*/ 74120 h 279938"/>
                <a:gd name="connsiteX1138" fmla="*/ 15587 w 203591"/>
                <a:gd name="connsiteY1138" fmla="*/ 74120 h 279938"/>
                <a:gd name="connsiteX1139" fmla="*/ 15906 w 203591"/>
                <a:gd name="connsiteY1139" fmla="*/ 74438 h 279938"/>
                <a:gd name="connsiteX1140" fmla="*/ 17496 w 203591"/>
                <a:gd name="connsiteY1140" fmla="*/ 73802 h 279938"/>
                <a:gd name="connsiteX1141" fmla="*/ 18132 w 203591"/>
                <a:gd name="connsiteY1141" fmla="*/ 73166 h 279938"/>
                <a:gd name="connsiteX1142" fmla="*/ 18132 w 203591"/>
                <a:gd name="connsiteY1142" fmla="*/ 72211 h 279938"/>
                <a:gd name="connsiteX1143" fmla="*/ 17496 w 203591"/>
                <a:gd name="connsiteY1143" fmla="*/ 71893 h 279938"/>
                <a:gd name="connsiteX1144" fmla="*/ 17814 w 203591"/>
                <a:gd name="connsiteY1144" fmla="*/ 70621 h 279938"/>
                <a:gd name="connsiteX1145" fmla="*/ 16860 w 203591"/>
                <a:gd name="connsiteY1145" fmla="*/ 70303 h 279938"/>
                <a:gd name="connsiteX1146" fmla="*/ 19405 w 203591"/>
                <a:gd name="connsiteY1146" fmla="*/ 68394 h 279938"/>
                <a:gd name="connsiteX1147" fmla="*/ 23858 w 203591"/>
                <a:gd name="connsiteY1147" fmla="*/ 67122 h 279938"/>
                <a:gd name="connsiteX1148" fmla="*/ 26085 w 203591"/>
                <a:gd name="connsiteY1148" fmla="*/ 66803 h 279938"/>
                <a:gd name="connsiteX1149" fmla="*/ 28948 w 203591"/>
                <a:gd name="connsiteY1149" fmla="*/ 66485 h 279938"/>
                <a:gd name="connsiteX1150" fmla="*/ 29902 w 203591"/>
                <a:gd name="connsiteY1150" fmla="*/ 66485 h 279938"/>
                <a:gd name="connsiteX1151" fmla="*/ 34356 w 203591"/>
                <a:gd name="connsiteY1151" fmla="*/ 64577 h 279938"/>
                <a:gd name="connsiteX1152" fmla="*/ 37219 w 203591"/>
                <a:gd name="connsiteY1152" fmla="*/ 64577 h 279938"/>
                <a:gd name="connsiteX1153" fmla="*/ 38491 w 203591"/>
                <a:gd name="connsiteY1153" fmla="*/ 64895 h 279938"/>
                <a:gd name="connsiteX1154" fmla="*/ 38491 w 203591"/>
                <a:gd name="connsiteY1154" fmla="*/ 65213 h 279938"/>
                <a:gd name="connsiteX1155" fmla="*/ 37537 w 203591"/>
                <a:gd name="connsiteY1155" fmla="*/ 66167 h 279938"/>
                <a:gd name="connsiteX1156" fmla="*/ 35310 w 203591"/>
                <a:gd name="connsiteY1156" fmla="*/ 67758 h 279938"/>
                <a:gd name="connsiteX1157" fmla="*/ 34674 w 203591"/>
                <a:gd name="connsiteY1157" fmla="*/ 68394 h 279938"/>
                <a:gd name="connsiteX1158" fmla="*/ 33720 w 203591"/>
                <a:gd name="connsiteY1158" fmla="*/ 69030 h 279938"/>
                <a:gd name="connsiteX1159" fmla="*/ 33720 w 203591"/>
                <a:gd name="connsiteY1159" fmla="*/ 69348 h 279938"/>
                <a:gd name="connsiteX1160" fmla="*/ 34992 w 203591"/>
                <a:gd name="connsiteY1160" fmla="*/ 69348 h 279938"/>
                <a:gd name="connsiteX1161" fmla="*/ 35947 w 203591"/>
                <a:gd name="connsiteY1161" fmla="*/ 68712 h 279938"/>
                <a:gd name="connsiteX1162" fmla="*/ 36583 w 203591"/>
                <a:gd name="connsiteY1162" fmla="*/ 67758 h 279938"/>
                <a:gd name="connsiteX1163" fmla="*/ 37219 w 203591"/>
                <a:gd name="connsiteY1163" fmla="*/ 67440 h 279938"/>
                <a:gd name="connsiteX1164" fmla="*/ 37537 w 203591"/>
                <a:gd name="connsiteY1164" fmla="*/ 67440 h 279938"/>
                <a:gd name="connsiteX1165" fmla="*/ 38173 w 203591"/>
                <a:gd name="connsiteY1165" fmla="*/ 68712 h 279938"/>
                <a:gd name="connsiteX1166" fmla="*/ 39128 w 203591"/>
                <a:gd name="connsiteY1166" fmla="*/ 69030 h 279938"/>
                <a:gd name="connsiteX1167" fmla="*/ 40718 w 203591"/>
                <a:gd name="connsiteY1167" fmla="*/ 69030 h 279938"/>
                <a:gd name="connsiteX1168" fmla="*/ 42309 w 203591"/>
                <a:gd name="connsiteY1168" fmla="*/ 68394 h 279938"/>
                <a:gd name="connsiteX1169" fmla="*/ 43263 w 203591"/>
                <a:gd name="connsiteY1169" fmla="*/ 68394 h 279938"/>
                <a:gd name="connsiteX1170" fmla="*/ 43263 w 203591"/>
                <a:gd name="connsiteY1170" fmla="*/ 68076 h 279938"/>
                <a:gd name="connsiteX1171" fmla="*/ 44217 w 203591"/>
                <a:gd name="connsiteY1171" fmla="*/ 66167 h 279938"/>
                <a:gd name="connsiteX1172" fmla="*/ 45172 w 203591"/>
                <a:gd name="connsiteY1172" fmla="*/ 65849 h 279938"/>
                <a:gd name="connsiteX1173" fmla="*/ 44854 w 203591"/>
                <a:gd name="connsiteY1173" fmla="*/ 66485 h 279938"/>
                <a:gd name="connsiteX1174" fmla="*/ 44217 w 203591"/>
                <a:gd name="connsiteY1174" fmla="*/ 68076 h 279938"/>
                <a:gd name="connsiteX1175" fmla="*/ 44217 w 203591"/>
                <a:gd name="connsiteY1175" fmla="*/ 68712 h 279938"/>
                <a:gd name="connsiteX1176" fmla="*/ 44854 w 203591"/>
                <a:gd name="connsiteY1176" fmla="*/ 68712 h 279938"/>
                <a:gd name="connsiteX1177" fmla="*/ 46444 w 203591"/>
                <a:gd name="connsiteY1177" fmla="*/ 67122 h 279938"/>
                <a:gd name="connsiteX1178" fmla="*/ 46126 w 203591"/>
                <a:gd name="connsiteY1178" fmla="*/ 66167 h 279938"/>
                <a:gd name="connsiteX1179" fmla="*/ 46126 w 203591"/>
                <a:gd name="connsiteY1179" fmla="*/ 65849 h 279938"/>
                <a:gd name="connsiteX1180" fmla="*/ 46444 w 203591"/>
                <a:gd name="connsiteY1180" fmla="*/ 65531 h 279938"/>
                <a:gd name="connsiteX1181" fmla="*/ 47717 w 203591"/>
                <a:gd name="connsiteY1181" fmla="*/ 63940 h 279938"/>
                <a:gd name="connsiteX1182" fmla="*/ 46126 w 203591"/>
                <a:gd name="connsiteY1182" fmla="*/ 63622 h 279938"/>
                <a:gd name="connsiteX1183" fmla="*/ 46126 w 203591"/>
                <a:gd name="connsiteY1183" fmla="*/ 63304 h 279938"/>
                <a:gd name="connsiteX1184" fmla="*/ 45808 w 203591"/>
                <a:gd name="connsiteY1184" fmla="*/ 63304 h 279938"/>
                <a:gd name="connsiteX1185" fmla="*/ 44854 w 203591"/>
                <a:gd name="connsiteY1185" fmla="*/ 63622 h 279938"/>
                <a:gd name="connsiteX1186" fmla="*/ 43263 w 203591"/>
                <a:gd name="connsiteY1186" fmla="*/ 65531 h 279938"/>
                <a:gd name="connsiteX1187" fmla="*/ 42945 w 203591"/>
                <a:gd name="connsiteY1187" fmla="*/ 64577 h 279938"/>
                <a:gd name="connsiteX1188" fmla="*/ 41355 w 203591"/>
                <a:gd name="connsiteY1188" fmla="*/ 64577 h 279938"/>
                <a:gd name="connsiteX1189" fmla="*/ 20359 w 203591"/>
                <a:gd name="connsiteY1189" fmla="*/ 69985 h 279938"/>
                <a:gd name="connsiteX1190" fmla="*/ 18132 w 203591"/>
                <a:gd name="connsiteY1190" fmla="*/ 72211 h 279938"/>
                <a:gd name="connsiteX1191" fmla="*/ 20359 w 203591"/>
                <a:gd name="connsiteY1191" fmla="*/ 70303 h 279938"/>
                <a:gd name="connsiteX1192" fmla="*/ 20359 w 203591"/>
                <a:gd name="connsiteY1192" fmla="*/ 69985 h 279938"/>
                <a:gd name="connsiteX1193" fmla="*/ 19405 w 203591"/>
                <a:gd name="connsiteY1193" fmla="*/ 75393 h 279938"/>
                <a:gd name="connsiteX1194" fmla="*/ 18450 w 203591"/>
                <a:gd name="connsiteY1194" fmla="*/ 75393 h 279938"/>
                <a:gd name="connsiteX1195" fmla="*/ 18450 w 203591"/>
                <a:gd name="connsiteY1195" fmla="*/ 76665 h 279938"/>
                <a:gd name="connsiteX1196" fmla="*/ 19087 w 203591"/>
                <a:gd name="connsiteY1196" fmla="*/ 76029 h 279938"/>
                <a:gd name="connsiteX1197" fmla="*/ 19405 w 203591"/>
                <a:gd name="connsiteY1197" fmla="*/ 75393 h 279938"/>
                <a:gd name="connsiteX1198" fmla="*/ 22586 w 203591"/>
                <a:gd name="connsiteY1198" fmla="*/ 74120 h 279938"/>
                <a:gd name="connsiteX1199" fmla="*/ 22904 w 203591"/>
                <a:gd name="connsiteY1199" fmla="*/ 74120 h 279938"/>
                <a:gd name="connsiteX1200" fmla="*/ 23222 w 203591"/>
                <a:gd name="connsiteY1200" fmla="*/ 73484 h 279938"/>
                <a:gd name="connsiteX1201" fmla="*/ 23858 w 203591"/>
                <a:gd name="connsiteY1201" fmla="*/ 72848 h 279938"/>
                <a:gd name="connsiteX1202" fmla="*/ 23858 w 203591"/>
                <a:gd name="connsiteY1202" fmla="*/ 72529 h 279938"/>
                <a:gd name="connsiteX1203" fmla="*/ 23540 w 203591"/>
                <a:gd name="connsiteY1203" fmla="*/ 72529 h 279938"/>
                <a:gd name="connsiteX1204" fmla="*/ 21632 w 203591"/>
                <a:gd name="connsiteY1204" fmla="*/ 73484 h 279938"/>
                <a:gd name="connsiteX1205" fmla="*/ 22586 w 203591"/>
                <a:gd name="connsiteY1205" fmla="*/ 74120 h 279938"/>
                <a:gd name="connsiteX1206" fmla="*/ 31811 w 203591"/>
                <a:gd name="connsiteY1206" fmla="*/ 67758 h 279938"/>
                <a:gd name="connsiteX1207" fmla="*/ 29902 w 203591"/>
                <a:gd name="connsiteY1207" fmla="*/ 69348 h 279938"/>
                <a:gd name="connsiteX1208" fmla="*/ 29902 w 203591"/>
                <a:gd name="connsiteY1208" fmla="*/ 69666 h 279938"/>
                <a:gd name="connsiteX1209" fmla="*/ 30539 w 203591"/>
                <a:gd name="connsiteY1209" fmla="*/ 69666 h 279938"/>
                <a:gd name="connsiteX1210" fmla="*/ 31493 w 203591"/>
                <a:gd name="connsiteY1210" fmla="*/ 69030 h 279938"/>
                <a:gd name="connsiteX1211" fmla="*/ 31811 w 203591"/>
                <a:gd name="connsiteY1211" fmla="*/ 68076 h 279938"/>
                <a:gd name="connsiteX1212" fmla="*/ 31811 w 203591"/>
                <a:gd name="connsiteY1212" fmla="*/ 67758 h 279938"/>
                <a:gd name="connsiteX1213" fmla="*/ 43263 w 203591"/>
                <a:gd name="connsiteY1213" fmla="*/ 66167 h 279938"/>
                <a:gd name="connsiteX1214" fmla="*/ 42945 w 203591"/>
                <a:gd name="connsiteY1214" fmla="*/ 66803 h 279938"/>
                <a:gd name="connsiteX1215" fmla="*/ 42627 w 203591"/>
                <a:gd name="connsiteY1215" fmla="*/ 67122 h 279938"/>
                <a:gd name="connsiteX1216" fmla="*/ 42309 w 203591"/>
                <a:gd name="connsiteY1216" fmla="*/ 66485 h 279938"/>
                <a:gd name="connsiteX1217" fmla="*/ 43263 w 203591"/>
                <a:gd name="connsiteY1217" fmla="*/ 65849 h 279938"/>
                <a:gd name="connsiteX1218" fmla="*/ 43263 w 203591"/>
                <a:gd name="connsiteY1218" fmla="*/ 66167 h 279938"/>
                <a:gd name="connsiteX1219" fmla="*/ 50898 w 203591"/>
                <a:gd name="connsiteY1219" fmla="*/ 266896 h 279938"/>
                <a:gd name="connsiteX1220" fmla="*/ 50580 w 203591"/>
                <a:gd name="connsiteY1220" fmla="*/ 266578 h 279938"/>
                <a:gd name="connsiteX1221" fmla="*/ 50898 w 203591"/>
                <a:gd name="connsiteY1221" fmla="*/ 266260 h 279938"/>
                <a:gd name="connsiteX1222" fmla="*/ 50898 w 203591"/>
                <a:gd name="connsiteY1222" fmla="*/ 266896 h 279938"/>
                <a:gd name="connsiteX1223" fmla="*/ 66803 w 203591"/>
                <a:gd name="connsiteY1223" fmla="*/ 229359 h 279938"/>
                <a:gd name="connsiteX1224" fmla="*/ 67758 w 203591"/>
                <a:gd name="connsiteY1224" fmla="*/ 228404 h 279938"/>
                <a:gd name="connsiteX1225" fmla="*/ 67440 w 203591"/>
                <a:gd name="connsiteY1225" fmla="*/ 227450 h 279938"/>
                <a:gd name="connsiteX1226" fmla="*/ 68076 w 203591"/>
                <a:gd name="connsiteY1226" fmla="*/ 226814 h 279938"/>
                <a:gd name="connsiteX1227" fmla="*/ 66803 w 203591"/>
                <a:gd name="connsiteY1227" fmla="*/ 225859 h 279938"/>
                <a:gd name="connsiteX1228" fmla="*/ 67122 w 203591"/>
                <a:gd name="connsiteY1228" fmla="*/ 228404 h 279938"/>
                <a:gd name="connsiteX1229" fmla="*/ 66485 w 203591"/>
                <a:gd name="connsiteY1229" fmla="*/ 229041 h 279938"/>
                <a:gd name="connsiteX1230" fmla="*/ 66167 w 203591"/>
                <a:gd name="connsiteY1230" fmla="*/ 229041 h 279938"/>
                <a:gd name="connsiteX1231" fmla="*/ 66485 w 203591"/>
                <a:gd name="connsiteY1231" fmla="*/ 229359 h 279938"/>
                <a:gd name="connsiteX1232" fmla="*/ 66803 w 203591"/>
                <a:gd name="connsiteY1232" fmla="*/ 229359 h 279938"/>
                <a:gd name="connsiteX1233" fmla="*/ 67122 w 203591"/>
                <a:gd name="connsiteY1233" fmla="*/ 237630 h 279938"/>
                <a:gd name="connsiteX1234" fmla="*/ 67122 w 203591"/>
                <a:gd name="connsiteY1234" fmla="*/ 239538 h 279938"/>
                <a:gd name="connsiteX1235" fmla="*/ 68076 w 203591"/>
                <a:gd name="connsiteY1235" fmla="*/ 239856 h 279938"/>
                <a:gd name="connsiteX1236" fmla="*/ 68712 w 203591"/>
                <a:gd name="connsiteY1236" fmla="*/ 239856 h 279938"/>
                <a:gd name="connsiteX1237" fmla="*/ 68394 w 203591"/>
                <a:gd name="connsiteY1237" fmla="*/ 239538 h 279938"/>
                <a:gd name="connsiteX1238" fmla="*/ 68394 w 203591"/>
                <a:gd name="connsiteY1238" fmla="*/ 237630 h 279938"/>
                <a:gd name="connsiteX1239" fmla="*/ 67122 w 203591"/>
                <a:gd name="connsiteY1239" fmla="*/ 237630 h 279938"/>
                <a:gd name="connsiteX1240" fmla="*/ 67122 w 203591"/>
                <a:gd name="connsiteY1240" fmla="*/ 248127 h 279938"/>
                <a:gd name="connsiteX1241" fmla="*/ 67440 w 203591"/>
                <a:gd name="connsiteY1241" fmla="*/ 249082 h 279938"/>
                <a:gd name="connsiteX1242" fmla="*/ 67758 w 203591"/>
                <a:gd name="connsiteY1242" fmla="*/ 249400 h 279938"/>
                <a:gd name="connsiteX1243" fmla="*/ 67758 w 203591"/>
                <a:gd name="connsiteY1243" fmla="*/ 249082 h 279938"/>
                <a:gd name="connsiteX1244" fmla="*/ 68394 w 203591"/>
                <a:gd name="connsiteY1244" fmla="*/ 247809 h 279938"/>
                <a:gd name="connsiteX1245" fmla="*/ 67440 w 203591"/>
                <a:gd name="connsiteY1245" fmla="*/ 247173 h 279938"/>
                <a:gd name="connsiteX1246" fmla="*/ 67122 w 203591"/>
                <a:gd name="connsiteY1246" fmla="*/ 247809 h 279938"/>
                <a:gd name="connsiteX1247" fmla="*/ 67122 w 203591"/>
                <a:gd name="connsiteY1247" fmla="*/ 248127 h 279938"/>
                <a:gd name="connsiteX1248" fmla="*/ 67440 w 203591"/>
                <a:gd name="connsiteY1248" fmla="*/ 210908 h 279938"/>
                <a:gd name="connsiteX1249" fmla="*/ 67758 w 203591"/>
                <a:gd name="connsiteY1249" fmla="*/ 210590 h 279938"/>
                <a:gd name="connsiteX1250" fmla="*/ 70303 w 203591"/>
                <a:gd name="connsiteY1250" fmla="*/ 209636 h 279938"/>
                <a:gd name="connsiteX1251" fmla="*/ 70621 w 203591"/>
                <a:gd name="connsiteY1251" fmla="*/ 210590 h 279938"/>
                <a:gd name="connsiteX1252" fmla="*/ 68394 w 203591"/>
                <a:gd name="connsiteY1252" fmla="*/ 211226 h 279938"/>
                <a:gd name="connsiteX1253" fmla="*/ 67440 w 203591"/>
                <a:gd name="connsiteY1253" fmla="*/ 210908 h 279938"/>
                <a:gd name="connsiteX1254" fmla="*/ 67758 w 203591"/>
                <a:gd name="connsiteY1254" fmla="*/ 231267 h 279938"/>
                <a:gd name="connsiteX1255" fmla="*/ 67440 w 203591"/>
                <a:gd name="connsiteY1255" fmla="*/ 231585 h 279938"/>
                <a:gd name="connsiteX1256" fmla="*/ 67758 w 203591"/>
                <a:gd name="connsiteY1256" fmla="*/ 231904 h 279938"/>
                <a:gd name="connsiteX1257" fmla="*/ 67758 w 203591"/>
                <a:gd name="connsiteY1257" fmla="*/ 231267 h 279938"/>
                <a:gd name="connsiteX1258" fmla="*/ 68394 w 203591"/>
                <a:gd name="connsiteY1258" fmla="*/ 212499 h 279938"/>
                <a:gd name="connsiteX1259" fmla="*/ 68712 w 203591"/>
                <a:gd name="connsiteY1259" fmla="*/ 212181 h 279938"/>
                <a:gd name="connsiteX1260" fmla="*/ 69030 w 203591"/>
                <a:gd name="connsiteY1260" fmla="*/ 212499 h 279938"/>
                <a:gd name="connsiteX1261" fmla="*/ 68394 w 203591"/>
                <a:gd name="connsiteY1261" fmla="*/ 212499 h 279938"/>
                <a:gd name="connsiteX1262" fmla="*/ 69030 w 203591"/>
                <a:gd name="connsiteY1262" fmla="*/ 198820 h 279938"/>
                <a:gd name="connsiteX1263" fmla="*/ 68712 w 203591"/>
                <a:gd name="connsiteY1263" fmla="*/ 198502 h 279938"/>
                <a:gd name="connsiteX1264" fmla="*/ 69348 w 203591"/>
                <a:gd name="connsiteY1264" fmla="*/ 198184 h 279938"/>
                <a:gd name="connsiteX1265" fmla="*/ 69985 w 203591"/>
                <a:gd name="connsiteY1265" fmla="*/ 198502 h 279938"/>
                <a:gd name="connsiteX1266" fmla="*/ 69348 w 203591"/>
                <a:gd name="connsiteY1266" fmla="*/ 198820 h 279938"/>
                <a:gd name="connsiteX1267" fmla="*/ 69030 w 203591"/>
                <a:gd name="connsiteY1267" fmla="*/ 198820 h 279938"/>
                <a:gd name="connsiteX1268" fmla="*/ 69030 w 203591"/>
                <a:gd name="connsiteY1268" fmla="*/ 208363 h 279938"/>
                <a:gd name="connsiteX1269" fmla="*/ 69030 w 203591"/>
                <a:gd name="connsiteY1269" fmla="*/ 207409 h 279938"/>
                <a:gd name="connsiteX1270" fmla="*/ 69985 w 203591"/>
                <a:gd name="connsiteY1270" fmla="*/ 206773 h 279938"/>
                <a:gd name="connsiteX1271" fmla="*/ 70621 w 203591"/>
                <a:gd name="connsiteY1271" fmla="*/ 207091 h 279938"/>
                <a:gd name="connsiteX1272" fmla="*/ 70303 w 203591"/>
                <a:gd name="connsiteY1272" fmla="*/ 207727 h 279938"/>
                <a:gd name="connsiteX1273" fmla="*/ 69666 w 203591"/>
                <a:gd name="connsiteY1273" fmla="*/ 208363 h 279938"/>
                <a:gd name="connsiteX1274" fmla="*/ 69030 w 203591"/>
                <a:gd name="connsiteY1274" fmla="*/ 208363 h 279938"/>
                <a:gd name="connsiteX1275" fmla="*/ 69985 w 203591"/>
                <a:gd name="connsiteY1275" fmla="*/ 213135 h 279938"/>
                <a:gd name="connsiteX1276" fmla="*/ 69985 w 203591"/>
                <a:gd name="connsiteY1276" fmla="*/ 213453 h 279938"/>
                <a:gd name="connsiteX1277" fmla="*/ 69348 w 203591"/>
                <a:gd name="connsiteY1277" fmla="*/ 213135 h 279938"/>
                <a:gd name="connsiteX1278" fmla="*/ 69348 w 203591"/>
                <a:gd name="connsiteY1278" fmla="*/ 212817 h 279938"/>
                <a:gd name="connsiteX1279" fmla="*/ 69030 w 203591"/>
                <a:gd name="connsiteY1279" fmla="*/ 212499 h 279938"/>
                <a:gd name="connsiteX1280" fmla="*/ 69666 w 203591"/>
                <a:gd name="connsiteY1280" fmla="*/ 212499 h 279938"/>
                <a:gd name="connsiteX1281" fmla="*/ 69985 w 203591"/>
                <a:gd name="connsiteY1281" fmla="*/ 213135 h 279938"/>
                <a:gd name="connsiteX1282" fmla="*/ 69348 w 203591"/>
                <a:gd name="connsiteY1282" fmla="*/ 204864 h 279938"/>
                <a:gd name="connsiteX1283" fmla="*/ 70303 w 203591"/>
                <a:gd name="connsiteY1283" fmla="*/ 204864 h 279938"/>
                <a:gd name="connsiteX1284" fmla="*/ 70621 w 203591"/>
                <a:gd name="connsiteY1284" fmla="*/ 205500 h 279938"/>
                <a:gd name="connsiteX1285" fmla="*/ 70303 w 203591"/>
                <a:gd name="connsiteY1285" fmla="*/ 206455 h 279938"/>
                <a:gd name="connsiteX1286" fmla="*/ 69348 w 203591"/>
                <a:gd name="connsiteY1286" fmla="*/ 205818 h 279938"/>
                <a:gd name="connsiteX1287" fmla="*/ 69348 w 203591"/>
                <a:gd name="connsiteY1287" fmla="*/ 204864 h 279938"/>
                <a:gd name="connsiteX1288" fmla="*/ 70303 w 203591"/>
                <a:gd name="connsiteY1288" fmla="*/ 201365 h 279938"/>
                <a:gd name="connsiteX1289" fmla="*/ 69666 w 203591"/>
                <a:gd name="connsiteY1289" fmla="*/ 201365 h 279938"/>
                <a:gd name="connsiteX1290" fmla="*/ 69985 w 203591"/>
                <a:gd name="connsiteY1290" fmla="*/ 201047 h 279938"/>
                <a:gd name="connsiteX1291" fmla="*/ 70303 w 203591"/>
                <a:gd name="connsiteY1291" fmla="*/ 201365 h 279938"/>
                <a:gd name="connsiteX1292" fmla="*/ 71257 w 203591"/>
                <a:gd name="connsiteY1292" fmla="*/ 189595 h 279938"/>
                <a:gd name="connsiteX1293" fmla="*/ 71893 w 203591"/>
                <a:gd name="connsiteY1293" fmla="*/ 190231 h 279938"/>
                <a:gd name="connsiteX1294" fmla="*/ 71257 w 203591"/>
                <a:gd name="connsiteY1294" fmla="*/ 190867 h 279938"/>
                <a:gd name="connsiteX1295" fmla="*/ 70621 w 203591"/>
                <a:gd name="connsiteY1295" fmla="*/ 190549 h 279938"/>
                <a:gd name="connsiteX1296" fmla="*/ 71257 w 203591"/>
                <a:gd name="connsiteY1296" fmla="*/ 189595 h 279938"/>
                <a:gd name="connsiteX1297" fmla="*/ 73802 w 203591"/>
                <a:gd name="connsiteY1297" fmla="*/ 154284 h 279938"/>
                <a:gd name="connsiteX1298" fmla="*/ 75074 w 203591"/>
                <a:gd name="connsiteY1298" fmla="*/ 153966 h 279938"/>
                <a:gd name="connsiteX1299" fmla="*/ 74120 w 203591"/>
                <a:gd name="connsiteY1299" fmla="*/ 153330 h 279938"/>
                <a:gd name="connsiteX1300" fmla="*/ 73802 w 203591"/>
                <a:gd name="connsiteY1300" fmla="*/ 153966 h 279938"/>
                <a:gd name="connsiteX1301" fmla="*/ 73802 w 203591"/>
                <a:gd name="connsiteY1301" fmla="*/ 154284 h 279938"/>
                <a:gd name="connsiteX1302" fmla="*/ 73802 w 203591"/>
                <a:gd name="connsiteY1302" fmla="*/ 172735 h 279938"/>
                <a:gd name="connsiteX1303" fmla="*/ 73802 w 203591"/>
                <a:gd name="connsiteY1303" fmla="*/ 170826 h 279938"/>
                <a:gd name="connsiteX1304" fmla="*/ 74438 w 203591"/>
                <a:gd name="connsiteY1304" fmla="*/ 170508 h 279938"/>
                <a:gd name="connsiteX1305" fmla="*/ 75074 w 203591"/>
                <a:gd name="connsiteY1305" fmla="*/ 170826 h 279938"/>
                <a:gd name="connsiteX1306" fmla="*/ 74120 w 203591"/>
                <a:gd name="connsiteY1306" fmla="*/ 172417 h 279938"/>
                <a:gd name="connsiteX1307" fmla="*/ 73802 w 203591"/>
                <a:gd name="connsiteY1307" fmla="*/ 172735 h 279938"/>
                <a:gd name="connsiteX1308" fmla="*/ 78256 w 203591"/>
                <a:gd name="connsiteY1308" fmla="*/ 149513 h 279938"/>
                <a:gd name="connsiteX1309" fmla="*/ 76665 w 203591"/>
                <a:gd name="connsiteY1309" fmla="*/ 148240 h 279938"/>
                <a:gd name="connsiteX1310" fmla="*/ 76665 w 203591"/>
                <a:gd name="connsiteY1310" fmla="*/ 147922 h 279938"/>
                <a:gd name="connsiteX1311" fmla="*/ 78256 w 203591"/>
                <a:gd name="connsiteY1311" fmla="*/ 147286 h 279938"/>
                <a:gd name="connsiteX1312" fmla="*/ 79528 w 203591"/>
                <a:gd name="connsiteY1312" fmla="*/ 147922 h 279938"/>
                <a:gd name="connsiteX1313" fmla="*/ 79528 w 203591"/>
                <a:gd name="connsiteY1313" fmla="*/ 148558 h 279938"/>
                <a:gd name="connsiteX1314" fmla="*/ 78574 w 203591"/>
                <a:gd name="connsiteY1314" fmla="*/ 149513 h 279938"/>
                <a:gd name="connsiteX1315" fmla="*/ 78256 w 203591"/>
                <a:gd name="connsiteY1315" fmla="*/ 149513 h 279938"/>
                <a:gd name="connsiteX1316" fmla="*/ 81755 w 203591"/>
                <a:gd name="connsiteY1316" fmla="*/ 55670 h 279938"/>
                <a:gd name="connsiteX1317" fmla="*/ 81118 w 203591"/>
                <a:gd name="connsiteY1317" fmla="*/ 55988 h 279938"/>
                <a:gd name="connsiteX1318" fmla="*/ 81755 w 203591"/>
                <a:gd name="connsiteY1318" fmla="*/ 55670 h 279938"/>
                <a:gd name="connsiteX1319" fmla="*/ 94161 w 203591"/>
                <a:gd name="connsiteY1319" fmla="*/ 268168 h 279938"/>
                <a:gd name="connsiteX1320" fmla="*/ 93843 w 203591"/>
                <a:gd name="connsiteY1320" fmla="*/ 267850 h 279938"/>
                <a:gd name="connsiteX1321" fmla="*/ 94161 w 203591"/>
                <a:gd name="connsiteY1321" fmla="*/ 267214 h 279938"/>
                <a:gd name="connsiteX1322" fmla="*/ 94161 w 203591"/>
                <a:gd name="connsiteY1322" fmla="*/ 268168 h 279938"/>
                <a:gd name="connsiteX1323" fmla="*/ 100523 w 203591"/>
                <a:gd name="connsiteY1323" fmla="*/ 246537 h 279938"/>
                <a:gd name="connsiteX1324" fmla="*/ 100205 w 203591"/>
                <a:gd name="connsiteY1324" fmla="*/ 246219 h 279938"/>
                <a:gd name="connsiteX1325" fmla="*/ 99251 w 203591"/>
                <a:gd name="connsiteY1325" fmla="*/ 247491 h 279938"/>
                <a:gd name="connsiteX1326" fmla="*/ 99569 w 203591"/>
                <a:gd name="connsiteY1326" fmla="*/ 247809 h 279938"/>
                <a:gd name="connsiteX1327" fmla="*/ 100523 w 203591"/>
                <a:gd name="connsiteY1327" fmla="*/ 246537 h 279938"/>
                <a:gd name="connsiteX1328" fmla="*/ 106886 w 203591"/>
                <a:gd name="connsiteY1328" fmla="*/ 231267 h 279938"/>
                <a:gd name="connsiteX1329" fmla="*/ 107840 w 203591"/>
                <a:gd name="connsiteY1329" fmla="*/ 230949 h 279938"/>
                <a:gd name="connsiteX1330" fmla="*/ 107522 w 203591"/>
                <a:gd name="connsiteY1330" fmla="*/ 230631 h 279938"/>
                <a:gd name="connsiteX1331" fmla="*/ 106886 w 203591"/>
                <a:gd name="connsiteY1331" fmla="*/ 229995 h 279938"/>
                <a:gd name="connsiteX1332" fmla="*/ 106249 w 203591"/>
                <a:gd name="connsiteY1332" fmla="*/ 230631 h 279938"/>
                <a:gd name="connsiteX1333" fmla="*/ 106886 w 203591"/>
                <a:gd name="connsiteY1333" fmla="*/ 231267 h 279938"/>
                <a:gd name="connsiteX1334" fmla="*/ 114520 w 203591"/>
                <a:gd name="connsiteY1334" fmla="*/ 228722 h 279938"/>
                <a:gd name="connsiteX1335" fmla="*/ 114202 w 203591"/>
                <a:gd name="connsiteY1335" fmla="*/ 229041 h 279938"/>
                <a:gd name="connsiteX1336" fmla="*/ 114202 w 203591"/>
                <a:gd name="connsiteY1336" fmla="*/ 229359 h 279938"/>
                <a:gd name="connsiteX1337" fmla="*/ 112929 w 203591"/>
                <a:gd name="connsiteY1337" fmla="*/ 229359 h 279938"/>
                <a:gd name="connsiteX1338" fmla="*/ 112929 w 203591"/>
                <a:gd name="connsiteY1338" fmla="*/ 229041 h 279938"/>
                <a:gd name="connsiteX1339" fmla="*/ 113566 w 203591"/>
                <a:gd name="connsiteY1339" fmla="*/ 228404 h 279938"/>
                <a:gd name="connsiteX1340" fmla="*/ 112929 w 203591"/>
                <a:gd name="connsiteY1340" fmla="*/ 227450 h 279938"/>
                <a:gd name="connsiteX1341" fmla="*/ 112929 w 203591"/>
                <a:gd name="connsiteY1341" fmla="*/ 227132 h 279938"/>
                <a:gd name="connsiteX1342" fmla="*/ 113248 w 203591"/>
                <a:gd name="connsiteY1342" fmla="*/ 226496 h 279938"/>
                <a:gd name="connsiteX1343" fmla="*/ 113884 w 203591"/>
                <a:gd name="connsiteY1343" fmla="*/ 225859 h 279938"/>
                <a:gd name="connsiteX1344" fmla="*/ 114520 w 203591"/>
                <a:gd name="connsiteY1344" fmla="*/ 226496 h 279938"/>
                <a:gd name="connsiteX1345" fmla="*/ 114520 w 203591"/>
                <a:gd name="connsiteY1345" fmla="*/ 228722 h 279938"/>
                <a:gd name="connsiteX1346" fmla="*/ 117701 w 203591"/>
                <a:gd name="connsiteY1346" fmla="*/ 55351 h 279938"/>
                <a:gd name="connsiteX1347" fmla="*/ 119292 w 203591"/>
                <a:gd name="connsiteY1347" fmla="*/ 54715 h 279938"/>
                <a:gd name="connsiteX1348" fmla="*/ 119610 w 203591"/>
                <a:gd name="connsiteY1348" fmla="*/ 53761 h 279938"/>
                <a:gd name="connsiteX1349" fmla="*/ 119292 w 203591"/>
                <a:gd name="connsiteY1349" fmla="*/ 53443 h 279938"/>
                <a:gd name="connsiteX1350" fmla="*/ 117383 w 203591"/>
                <a:gd name="connsiteY1350" fmla="*/ 54715 h 279938"/>
                <a:gd name="connsiteX1351" fmla="*/ 117065 w 203591"/>
                <a:gd name="connsiteY1351" fmla="*/ 55351 h 279938"/>
                <a:gd name="connsiteX1352" fmla="*/ 117065 w 203591"/>
                <a:gd name="connsiteY1352" fmla="*/ 55670 h 279938"/>
                <a:gd name="connsiteX1353" fmla="*/ 117701 w 203591"/>
                <a:gd name="connsiteY1353" fmla="*/ 55351 h 279938"/>
                <a:gd name="connsiteX1354" fmla="*/ 122791 w 203591"/>
                <a:gd name="connsiteY1354" fmla="*/ 198820 h 279938"/>
                <a:gd name="connsiteX1355" fmla="*/ 123109 w 203591"/>
                <a:gd name="connsiteY1355" fmla="*/ 199774 h 279938"/>
                <a:gd name="connsiteX1356" fmla="*/ 123427 w 203591"/>
                <a:gd name="connsiteY1356" fmla="*/ 200092 h 279938"/>
                <a:gd name="connsiteX1357" fmla="*/ 124382 w 203591"/>
                <a:gd name="connsiteY1357" fmla="*/ 198820 h 279938"/>
                <a:gd name="connsiteX1358" fmla="*/ 122791 w 203591"/>
                <a:gd name="connsiteY1358" fmla="*/ 198820 h 279938"/>
                <a:gd name="connsiteX1359" fmla="*/ 123745 w 203591"/>
                <a:gd name="connsiteY1359" fmla="*/ 51534 h 279938"/>
                <a:gd name="connsiteX1360" fmla="*/ 124063 w 203591"/>
                <a:gd name="connsiteY1360" fmla="*/ 50898 h 279938"/>
                <a:gd name="connsiteX1361" fmla="*/ 124063 w 203591"/>
                <a:gd name="connsiteY1361" fmla="*/ 50580 h 279938"/>
                <a:gd name="connsiteX1362" fmla="*/ 123745 w 203591"/>
                <a:gd name="connsiteY1362" fmla="*/ 50898 h 279938"/>
                <a:gd name="connsiteX1363" fmla="*/ 123745 w 203591"/>
                <a:gd name="connsiteY1363" fmla="*/ 51534 h 279938"/>
                <a:gd name="connsiteX1364" fmla="*/ 126290 w 203591"/>
                <a:gd name="connsiteY1364" fmla="*/ 175916 h 279938"/>
                <a:gd name="connsiteX1365" fmla="*/ 124700 w 203591"/>
                <a:gd name="connsiteY1365" fmla="*/ 175280 h 279938"/>
                <a:gd name="connsiteX1366" fmla="*/ 124700 w 203591"/>
                <a:gd name="connsiteY1366" fmla="*/ 175916 h 279938"/>
                <a:gd name="connsiteX1367" fmla="*/ 125654 w 203591"/>
                <a:gd name="connsiteY1367" fmla="*/ 176552 h 279938"/>
                <a:gd name="connsiteX1368" fmla="*/ 126290 w 203591"/>
                <a:gd name="connsiteY1368" fmla="*/ 175916 h 279938"/>
                <a:gd name="connsiteX1369" fmla="*/ 127563 w 203591"/>
                <a:gd name="connsiteY1369" fmla="*/ 173371 h 279938"/>
                <a:gd name="connsiteX1370" fmla="*/ 127563 w 203591"/>
                <a:gd name="connsiteY1370" fmla="*/ 171780 h 279938"/>
                <a:gd name="connsiteX1371" fmla="*/ 126608 w 203591"/>
                <a:gd name="connsiteY1371" fmla="*/ 171780 h 279938"/>
                <a:gd name="connsiteX1372" fmla="*/ 126608 w 203591"/>
                <a:gd name="connsiteY1372" fmla="*/ 172098 h 279938"/>
                <a:gd name="connsiteX1373" fmla="*/ 126290 w 203591"/>
                <a:gd name="connsiteY1373" fmla="*/ 173053 h 279938"/>
                <a:gd name="connsiteX1374" fmla="*/ 126608 w 203591"/>
                <a:gd name="connsiteY1374" fmla="*/ 173689 h 279938"/>
                <a:gd name="connsiteX1375" fmla="*/ 127563 w 203591"/>
                <a:gd name="connsiteY1375" fmla="*/ 173371 h 279938"/>
                <a:gd name="connsiteX1376" fmla="*/ 129472 w 203591"/>
                <a:gd name="connsiteY1376" fmla="*/ 55670 h 279938"/>
                <a:gd name="connsiteX1377" fmla="*/ 130744 w 203591"/>
                <a:gd name="connsiteY1377" fmla="*/ 55033 h 279938"/>
                <a:gd name="connsiteX1378" fmla="*/ 130108 w 203591"/>
                <a:gd name="connsiteY1378" fmla="*/ 55033 h 279938"/>
                <a:gd name="connsiteX1379" fmla="*/ 129472 w 203591"/>
                <a:gd name="connsiteY1379" fmla="*/ 54715 h 279938"/>
                <a:gd name="connsiteX1380" fmla="*/ 128517 w 203591"/>
                <a:gd name="connsiteY1380" fmla="*/ 55033 h 279938"/>
                <a:gd name="connsiteX1381" fmla="*/ 128199 w 203591"/>
                <a:gd name="connsiteY1381" fmla="*/ 55033 h 279938"/>
                <a:gd name="connsiteX1382" fmla="*/ 127881 w 203591"/>
                <a:gd name="connsiteY1382" fmla="*/ 55351 h 279938"/>
                <a:gd name="connsiteX1383" fmla="*/ 128517 w 203591"/>
                <a:gd name="connsiteY1383" fmla="*/ 55670 h 279938"/>
                <a:gd name="connsiteX1384" fmla="*/ 129472 w 203591"/>
                <a:gd name="connsiteY1384" fmla="*/ 55670 h 279938"/>
                <a:gd name="connsiteX1385" fmla="*/ 130426 w 203591"/>
                <a:gd name="connsiteY1385" fmla="*/ 189277 h 279938"/>
                <a:gd name="connsiteX1386" fmla="*/ 130426 w 203591"/>
                <a:gd name="connsiteY1386" fmla="*/ 189595 h 279938"/>
                <a:gd name="connsiteX1387" fmla="*/ 129472 w 203591"/>
                <a:gd name="connsiteY1387" fmla="*/ 190231 h 279938"/>
                <a:gd name="connsiteX1388" fmla="*/ 129472 w 203591"/>
                <a:gd name="connsiteY1388" fmla="*/ 189913 h 279938"/>
                <a:gd name="connsiteX1389" fmla="*/ 128835 w 203591"/>
                <a:gd name="connsiteY1389" fmla="*/ 189277 h 279938"/>
                <a:gd name="connsiteX1390" fmla="*/ 129790 w 203591"/>
                <a:gd name="connsiteY1390" fmla="*/ 188640 h 279938"/>
                <a:gd name="connsiteX1391" fmla="*/ 130744 w 203591"/>
                <a:gd name="connsiteY1391" fmla="*/ 188640 h 279938"/>
                <a:gd name="connsiteX1392" fmla="*/ 130426 w 203591"/>
                <a:gd name="connsiteY1392" fmla="*/ 189277 h 279938"/>
                <a:gd name="connsiteX1393" fmla="*/ 130426 w 203591"/>
                <a:gd name="connsiteY1393" fmla="*/ 191185 h 279938"/>
                <a:gd name="connsiteX1394" fmla="*/ 130744 w 203591"/>
                <a:gd name="connsiteY1394" fmla="*/ 191503 h 279938"/>
                <a:gd name="connsiteX1395" fmla="*/ 129790 w 203591"/>
                <a:gd name="connsiteY1395" fmla="*/ 192140 h 279938"/>
                <a:gd name="connsiteX1396" fmla="*/ 129790 w 203591"/>
                <a:gd name="connsiteY1396" fmla="*/ 191821 h 279938"/>
                <a:gd name="connsiteX1397" fmla="*/ 129472 w 203591"/>
                <a:gd name="connsiteY1397" fmla="*/ 191503 h 279938"/>
                <a:gd name="connsiteX1398" fmla="*/ 128835 w 203591"/>
                <a:gd name="connsiteY1398" fmla="*/ 191185 h 279938"/>
                <a:gd name="connsiteX1399" fmla="*/ 130426 w 203591"/>
                <a:gd name="connsiteY1399" fmla="*/ 191185 h 279938"/>
                <a:gd name="connsiteX1400" fmla="*/ 131062 w 203591"/>
                <a:gd name="connsiteY1400" fmla="*/ 53443 h 279938"/>
                <a:gd name="connsiteX1401" fmla="*/ 131698 w 203591"/>
                <a:gd name="connsiteY1401" fmla="*/ 52488 h 279938"/>
                <a:gd name="connsiteX1402" fmla="*/ 131698 w 203591"/>
                <a:gd name="connsiteY1402" fmla="*/ 52170 h 279938"/>
                <a:gd name="connsiteX1403" fmla="*/ 130108 w 203591"/>
                <a:gd name="connsiteY1403" fmla="*/ 52488 h 279938"/>
                <a:gd name="connsiteX1404" fmla="*/ 129790 w 203591"/>
                <a:gd name="connsiteY1404" fmla="*/ 54397 h 279938"/>
                <a:gd name="connsiteX1405" fmla="*/ 131062 w 203591"/>
                <a:gd name="connsiteY1405" fmla="*/ 53443 h 279938"/>
                <a:gd name="connsiteX1406" fmla="*/ 132335 w 203591"/>
                <a:gd name="connsiteY1406" fmla="*/ 183551 h 279938"/>
                <a:gd name="connsiteX1407" fmla="*/ 132016 w 203591"/>
                <a:gd name="connsiteY1407" fmla="*/ 183232 h 279938"/>
                <a:gd name="connsiteX1408" fmla="*/ 132335 w 203591"/>
                <a:gd name="connsiteY1408" fmla="*/ 182914 h 279938"/>
                <a:gd name="connsiteX1409" fmla="*/ 132653 w 203591"/>
                <a:gd name="connsiteY1409" fmla="*/ 182914 h 279938"/>
                <a:gd name="connsiteX1410" fmla="*/ 132971 w 203591"/>
                <a:gd name="connsiteY1410" fmla="*/ 183232 h 279938"/>
                <a:gd name="connsiteX1411" fmla="*/ 133607 w 203591"/>
                <a:gd name="connsiteY1411" fmla="*/ 183551 h 279938"/>
                <a:gd name="connsiteX1412" fmla="*/ 132653 w 203591"/>
                <a:gd name="connsiteY1412" fmla="*/ 184187 h 279938"/>
                <a:gd name="connsiteX1413" fmla="*/ 132335 w 203591"/>
                <a:gd name="connsiteY1413" fmla="*/ 183551 h 279938"/>
                <a:gd name="connsiteX1414" fmla="*/ 135834 w 203591"/>
                <a:gd name="connsiteY1414" fmla="*/ 57896 h 279938"/>
                <a:gd name="connsiteX1415" fmla="*/ 135516 w 203591"/>
                <a:gd name="connsiteY1415" fmla="*/ 57578 h 279938"/>
                <a:gd name="connsiteX1416" fmla="*/ 134879 w 203591"/>
                <a:gd name="connsiteY1416" fmla="*/ 57896 h 279938"/>
                <a:gd name="connsiteX1417" fmla="*/ 135834 w 203591"/>
                <a:gd name="connsiteY1417" fmla="*/ 57896 h 279938"/>
                <a:gd name="connsiteX1418" fmla="*/ 137106 w 203591"/>
                <a:gd name="connsiteY1418" fmla="*/ 51852 h 279938"/>
                <a:gd name="connsiteX1419" fmla="*/ 137106 w 203591"/>
                <a:gd name="connsiteY1419" fmla="*/ 51534 h 279938"/>
                <a:gd name="connsiteX1420" fmla="*/ 136788 w 203591"/>
                <a:gd name="connsiteY1420" fmla="*/ 51534 h 279938"/>
                <a:gd name="connsiteX1421" fmla="*/ 136470 w 203591"/>
                <a:gd name="connsiteY1421" fmla="*/ 52170 h 279938"/>
                <a:gd name="connsiteX1422" fmla="*/ 137106 w 203591"/>
                <a:gd name="connsiteY1422" fmla="*/ 51852 h 279938"/>
                <a:gd name="connsiteX1423" fmla="*/ 137424 w 203591"/>
                <a:gd name="connsiteY1423" fmla="*/ 171780 h 279938"/>
                <a:gd name="connsiteX1424" fmla="*/ 137106 w 203591"/>
                <a:gd name="connsiteY1424" fmla="*/ 170826 h 279938"/>
                <a:gd name="connsiteX1425" fmla="*/ 137106 w 203591"/>
                <a:gd name="connsiteY1425" fmla="*/ 170190 h 279938"/>
                <a:gd name="connsiteX1426" fmla="*/ 136788 w 203591"/>
                <a:gd name="connsiteY1426" fmla="*/ 170190 h 279938"/>
                <a:gd name="connsiteX1427" fmla="*/ 137106 w 203591"/>
                <a:gd name="connsiteY1427" fmla="*/ 169554 h 279938"/>
                <a:gd name="connsiteX1428" fmla="*/ 137424 w 203591"/>
                <a:gd name="connsiteY1428" fmla="*/ 169235 h 279938"/>
                <a:gd name="connsiteX1429" fmla="*/ 139015 w 203591"/>
                <a:gd name="connsiteY1429" fmla="*/ 169872 h 279938"/>
                <a:gd name="connsiteX1430" fmla="*/ 139333 w 203591"/>
                <a:gd name="connsiteY1430" fmla="*/ 170190 h 279938"/>
                <a:gd name="connsiteX1431" fmla="*/ 139015 w 203591"/>
                <a:gd name="connsiteY1431" fmla="*/ 170826 h 279938"/>
                <a:gd name="connsiteX1432" fmla="*/ 137742 w 203591"/>
                <a:gd name="connsiteY1432" fmla="*/ 171780 h 279938"/>
                <a:gd name="connsiteX1433" fmla="*/ 137424 w 203591"/>
                <a:gd name="connsiteY1433" fmla="*/ 171780 h 279938"/>
                <a:gd name="connsiteX1434" fmla="*/ 139333 w 203591"/>
                <a:gd name="connsiteY1434" fmla="*/ 167645 h 279938"/>
                <a:gd name="connsiteX1435" fmla="*/ 139969 w 203591"/>
                <a:gd name="connsiteY1435" fmla="*/ 167645 h 279938"/>
                <a:gd name="connsiteX1436" fmla="*/ 140605 w 203591"/>
                <a:gd name="connsiteY1436" fmla="*/ 168917 h 279938"/>
                <a:gd name="connsiteX1437" fmla="*/ 140287 w 203591"/>
                <a:gd name="connsiteY1437" fmla="*/ 169235 h 279938"/>
                <a:gd name="connsiteX1438" fmla="*/ 139333 w 203591"/>
                <a:gd name="connsiteY1438" fmla="*/ 168917 h 279938"/>
                <a:gd name="connsiteX1439" fmla="*/ 139333 w 203591"/>
                <a:gd name="connsiteY1439" fmla="*/ 167645 h 279938"/>
                <a:gd name="connsiteX1440" fmla="*/ 145059 w 203591"/>
                <a:gd name="connsiteY1440" fmla="*/ 55033 h 279938"/>
                <a:gd name="connsiteX1441" fmla="*/ 146331 w 203591"/>
                <a:gd name="connsiteY1441" fmla="*/ 54715 h 279938"/>
                <a:gd name="connsiteX1442" fmla="*/ 146331 w 203591"/>
                <a:gd name="connsiteY1442" fmla="*/ 54397 h 279938"/>
                <a:gd name="connsiteX1443" fmla="*/ 146331 w 203591"/>
                <a:gd name="connsiteY1443" fmla="*/ 54079 h 279938"/>
                <a:gd name="connsiteX1444" fmla="*/ 145377 w 203591"/>
                <a:gd name="connsiteY1444" fmla="*/ 54079 h 279938"/>
                <a:gd name="connsiteX1445" fmla="*/ 145059 w 203591"/>
                <a:gd name="connsiteY1445" fmla="*/ 54715 h 279938"/>
                <a:gd name="connsiteX1446" fmla="*/ 145059 w 203591"/>
                <a:gd name="connsiteY1446" fmla="*/ 55033 h 279938"/>
                <a:gd name="connsiteX1447" fmla="*/ 150785 w 203591"/>
                <a:gd name="connsiteY1447" fmla="*/ 52488 h 279938"/>
                <a:gd name="connsiteX1448" fmla="*/ 151421 w 203591"/>
                <a:gd name="connsiteY1448" fmla="*/ 51534 h 279938"/>
                <a:gd name="connsiteX1449" fmla="*/ 151421 w 203591"/>
                <a:gd name="connsiteY1449" fmla="*/ 50898 h 279938"/>
                <a:gd name="connsiteX1450" fmla="*/ 151421 w 203591"/>
                <a:gd name="connsiteY1450" fmla="*/ 50580 h 279938"/>
                <a:gd name="connsiteX1451" fmla="*/ 151103 w 203591"/>
                <a:gd name="connsiteY1451" fmla="*/ 50580 h 279938"/>
                <a:gd name="connsiteX1452" fmla="*/ 150149 w 203591"/>
                <a:gd name="connsiteY1452" fmla="*/ 51216 h 279938"/>
                <a:gd name="connsiteX1453" fmla="*/ 150785 w 203591"/>
                <a:gd name="connsiteY1453" fmla="*/ 52170 h 279938"/>
                <a:gd name="connsiteX1454" fmla="*/ 150785 w 203591"/>
                <a:gd name="connsiteY1454" fmla="*/ 52488 h 279938"/>
                <a:gd name="connsiteX1455" fmla="*/ 160646 w 203591"/>
                <a:gd name="connsiteY1455" fmla="*/ 54397 h 279938"/>
                <a:gd name="connsiteX1456" fmla="*/ 162237 w 203591"/>
                <a:gd name="connsiteY1456" fmla="*/ 53125 h 279938"/>
                <a:gd name="connsiteX1457" fmla="*/ 160010 w 203591"/>
                <a:gd name="connsiteY1457" fmla="*/ 54397 h 279938"/>
                <a:gd name="connsiteX1458" fmla="*/ 160646 w 203591"/>
                <a:gd name="connsiteY1458" fmla="*/ 54397 h 279938"/>
                <a:gd name="connsiteX1459" fmla="*/ 188640 w 203591"/>
                <a:gd name="connsiteY1459" fmla="*/ 61077 h 279938"/>
                <a:gd name="connsiteX1460" fmla="*/ 188640 w 203591"/>
                <a:gd name="connsiteY1460" fmla="*/ 60759 h 279938"/>
                <a:gd name="connsiteX1461" fmla="*/ 188004 w 203591"/>
                <a:gd name="connsiteY1461" fmla="*/ 61077 h 279938"/>
                <a:gd name="connsiteX1462" fmla="*/ 188640 w 203591"/>
                <a:gd name="connsiteY1462" fmla="*/ 61077 h 279938"/>
                <a:gd name="connsiteX1463" fmla="*/ 193412 w 203591"/>
                <a:gd name="connsiteY1463" fmla="*/ 46762 h 279938"/>
                <a:gd name="connsiteX1464" fmla="*/ 193730 w 203591"/>
                <a:gd name="connsiteY1464" fmla="*/ 45808 h 279938"/>
                <a:gd name="connsiteX1465" fmla="*/ 193094 w 203591"/>
                <a:gd name="connsiteY1465" fmla="*/ 46444 h 279938"/>
                <a:gd name="connsiteX1466" fmla="*/ 193412 w 203591"/>
                <a:gd name="connsiteY1466" fmla="*/ 47081 h 279938"/>
                <a:gd name="connsiteX1467" fmla="*/ 193412 w 203591"/>
                <a:gd name="connsiteY1467" fmla="*/ 46762 h 279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</a:cxnLst>
              <a:rect l="l" t="t" r="r" b="b"/>
              <a:pathLst>
                <a:path w="203591" h="279938">
                  <a:moveTo>
                    <a:pt x="41355" y="64577"/>
                  </a:moveTo>
                  <a:cubicBezTo>
                    <a:pt x="41036" y="64577"/>
                    <a:pt x="41036" y="64577"/>
                    <a:pt x="41036" y="64259"/>
                  </a:cubicBezTo>
                  <a:lnTo>
                    <a:pt x="41036" y="63940"/>
                  </a:lnTo>
                  <a:cubicBezTo>
                    <a:pt x="42309" y="63622"/>
                    <a:pt x="42627" y="63304"/>
                    <a:pt x="42945" y="62668"/>
                  </a:cubicBezTo>
                  <a:lnTo>
                    <a:pt x="43581" y="62668"/>
                  </a:lnTo>
                  <a:cubicBezTo>
                    <a:pt x="43899" y="62668"/>
                    <a:pt x="44854" y="62350"/>
                    <a:pt x="45808" y="62350"/>
                  </a:cubicBezTo>
                  <a:cubicBezTo>
                    <a:pt x="46126" y="62032"/>
                    <a:pt x="46762" y="62350"/>
                    <a:pt x="47081" y="61714"/>
                  </a:cubicBezTo>
                  <a:cubicBezTo>
                    <a:pt x="47399" y="61714"/>
                    <a:pt x="48671" y="61077"/>
                    <a:pt x="48671" y="61077"/>
                  </a:cubicBezTo>
                  <a:cubicBezTo>
                    <a:pt x="49307" y="60441"/>
                    <a:pt x="49625" y="60123"/>
                    <a:pt x="50580" y="60123"/>
                  </a:cubicBezTo>
                  <a:lnTo>
                    <a:pt x="51852" y="60123"/>
                  </a:lnTo>
                  <a:lnTo>
                    <a:pt x="56306" y="59169"/>
                  </a:lnTo>
                  <a:lnTo>
                    <a:pt x="57260" y="59169"/>
                  </a:lnTo>
                  <a:lnTo>
                    <a:pt x="57896" y="59805"/>
                  </a:lnTo>
                  <a:cubicBezTo>
                    <a:pt x="57578" y="60441"/>
                    <a:pt x="57260" y="61077"/>
                    <a:pt x="56306" y="61714"/>
                  </a:cubicBezTo>
                  <a:cubicBezTo>
                    <a:pt x="55988" y="61714"/>
                    <a:pt x="55988" y="61714"/>
                    <a:pt x="55351" y="62032"/>
                  </a:cubicBezTo>
                  <a:cubicBezTo>
                    <a:pt x="55351" y="62032"/>
                    <a:pt x="55033" y="62032"/>
                    <a:pt x="55033" y="62350"/>
                  </a:cubicBezTo>
                  <a:lnTo>
                    <a:pt x="55033" y="62668"/>
                  </a:lnTo>
                  <a:cubicBezTo>
                    <a:pt x="55033" y="62986"/>
                    <a:pt x="55351" y="63304"/>
                    <a:pt x="55670" y="63304"/>
                  </a:cubicBezTo>
                  <a:cubicBezTo>
                    <a:pt x="55670" y="63304"/>
                    <a:pt x="55988" y="63622"/>
                    <a:pt x="56306" y="63622"/>
                  </a:cubicBezTo>
                  <a:lnTo>
                    <a:pt x="56942" y="63622"/>
                  </a:lnTo>
                  <a:cubicBezTo>
                    <a:pt x="57578" y="63622"/>
                    <a:pt x="57260" y="64259"/>
                    <a:pt x="57578" y="64259"/>
                  </a:cubicBezTo>
                  <a:lnTo>
                    <a:pt x="58214" y="64259"/>
                  </a:lnTo>
                  <a:cubicBezTo>
                    <a:pt x="59487" y="63622"/>
                    <a:pt x="59487" y="63304"/>
                    <a:pt x="59487" y="62668"/>
                  </a:cubicBezTo>
                  <a:cubicBezTo>
                    <a:pt x="60123" y="62032"/>
                    <a:pt x="60441" y="61714"/>
                    <a:pt x="61714" y="61077"/>
                  </a:cubicBezTo>
                  <a:lnTo>
                    <a:pt x="62350" y="59169"/>
                  </a:lnTo>
                  <a:cubicBezTo>
                    <a:pt x="63304" y="58533"/>
                    <a:pt x="63304" y="58214"/>
                    <a:pt x="64259" y="57896"/>
                  </a:cubicBezTo>
                  <a:lnTo>
                    <a:pt x="64895" y="57896"/>
                  </a:lnTo>
                  <a:cubicBezTo>
                    <a:pt x="65531" y="57896"/>
                    <a:pt x="65849" y="57896"/>
                    <a:pt x="66485" y="57578"/>
                  </a:cubicBezTo>
                  <a:cubicBezTo>
                    <a:pt x="67122" y="56942"/>
                    <a:pt x="67758" y="56942"/>
                    <a:pt x="68076" y="56942"/>
                  </a:cubicBezTo>
                  <a:cubicBezTo>
                    <a:pt x="68394" y="56942"/>
                    <a:pt x="68712" y="56942"/>
                    <a:pt x="69030" y="57578"/>
                  </a:cubicBezTo>
                  <a:cubicBezTo>
                    <a:pt x="69348" y="57578"/>
                    <a:pt x="69348" y="57896"/>
                    <a:pt x="69348" y="58214"/>
                  </a:cubicBezTo>
                  <a:cubicBezTo>
                    <a:pt x="69666" y="58214"/>
                    <a:pt x="70303" y="57896"/>
                    <a:pt x="70621" y="57896"/>
                  </a:cubicBezTo>
                  <a:lnTo>
                    <a:pt x="70939" y="57896"/>
                  </a:lnTo>
                  <a:cubicBezTo>
                    <a:pt x="70939" y="57578"/>
                    <a:pt x="70939" y="57578"/>
                    <a:pt x="71257" y="57578"/>
                  </a:cubicBezTo>
                  <a:cubicBezTo>
                    <a:pt x="72529" y="55988"/>
                    <a:pt x="73802" y="55351"/>
                    <a:pt x="74438" y="55351"/>
                  </a:cubicBezTo>
                  <a:lnTo>
                    <a:pt x="77619" y="55351"/>
                  </a:lnTo>
                  <a:cubicBezTo>
                    <a:pt x="77937" y="55351"/>
                    <a:pt x="77937" y="55351"/>
                    <a:pt x="77937" y="55670"/>
                  </a:cubicBezTo>
                  <a:lnTo>
                    <a:pt x="77937" y="55988"/>
                  </a:lnTo>
                  <a:lnTo>
                    <a:pt x="76983" y="57260"/>
                  </a:lnTo>
                  <a:lnTo>
                    <a:pt x="76983" y="57578"/>
                  </a:lnTo>
                  <a:lnTo>
                    <a:pt x="77937" y="57578"/>
                  </a:lnTo>
                  <a:cubicBezTo>
                    <a:pt x="78256" y="57578"/>
                    <a:pt x="78892" y="57578"/>
                    <a:pt x="79846" y="56942"/>
                  </a:cubicBezTo>
                  <a:cubicBezTo>
                    <a:pt x="79846" y="56306"/>
                    <a:pt x="80482" y="56306"/>
                    <a:pt x="81118" y="55988"/>
                  </a:cubicBezTo>
                  <a:cubicBezTo>
                    <a:pt x="80800" y="56306"/>
                    <a:pt x="80482" y="57260"/>
                    <a:pt x="80164" y="57260"/>
                  </a:cubicBezTo>
                  <a:cubicBezTo>
                    <a:pt x="79846" y="58533"/>
                    <a:pt x="79846" y="58533"/>
                    <a:pt x="78256" y="58533"/>
                  </a:cubicBezTo>
                  <a:lnTo>
                    <a:pt x="77619" y="58533"/>
                  </a:lnTo>
                  <a:cubicBezTo>
                    <a:pt x="77301" y="58851"/>
                    <a:pt x="76983" y="58851"/>
                    <a:pt x="76983" y="59169"/>
                  </a:cubicBezTo>
                  <a:lnTo>
                    <a:pt x="76983" y="59805"/>
                  </a:lnTo>
                  <a:cubicBezTo>
                    <a:pt x="78256" y="59169"/>
                    <a:pt x="79210" y="59169"/>
                    <a:pt x="80164" y="59169"/>
                  </a:cubicBezTo>
                  <a:lnTo>
                    <a:pt x="80800" y="59169"/>
                  </a:lnTo>
                  <a:cubicBezTo>
                    <a:pt x="81118" y="59169"/>
                    <a:pt x="81755" y="58533"/>
                    <a:pt x="82391" y="58533"/>
                  </a:cubicBezTo>
                  <a:cubicBezTo>
                    <a:pt x="82391" y="58533"/>
                    <a:pt x="82709" y="58214"/>
                    <a:pt x="83027" y="58214"/>
                  </a:cubicBezTo>
                  <a:cubicBezTo>
                    <a:pt x="82709" y="57896"/>
                    <a:pt x="82391" y="57896"/>
                    <a:pt x="82391" y="57896"/>
                  </a:cubicBezTo>
                  <a:lnTo>
                    <a:pt x="82073" y="57578"/>
                  </a:lnTo>
                  <a:cubicBezTo>
                    <a:pt x="82073" y="57260"/>
                    <a:pt x="82073" y="57260"/>
                    <a:pt x="81755" y="56942"/>
                  </a:cubicBezTo>
                  <a:cubicBezTo>
                    <a:pt x="81755" y="56942"/>
                    <a:pt x="82073" y="56306"/>
                    <a:pt x="82391" y="55988"/>
                  </a:cubicBezTo>
                  <a:cubicBezTo>
                    <a:pt x="83027" y="55988"/>
                    <a:pt x="83345" y="55670"/>
                    <a:pt x="83345" y="55351"/>
                  </a:cubicBezTo>
                  <a:cubicBezTo>
                    <a:pt x="83345" y="55033"/>
                    <a:pt x="83663" y="54397"/>
                    <a:pt x="83981" y="54079"/>
                  </a:cubicBezTo>
                  <a:cubicBezTo>
                    <a:pt x="84618" y="53125"/>
                    <a:pt x="87481" y="41673"/>
                    <a:pt x="87481" y="41355"/>
                  </a:cubicBezTo>
                  <a:cubicBezTo>
                    <a:pt x="87481" y="40718"/>
                    <a:pt x="87481" y="36265"/>
                    <a:pt x="87799" y="35947"/>
                  </a:cubicBezTo>
                  <a:cubicBezTo>
                    <a:pt x="89071" y="35629"/>
                    <a:pt x="89708" y="35629"/>
                    <a:pt x="90026" y="34356"/>
                  </a:cubicBezTo>
                  <a:cubicBezTo>
                    <a:pt x="90344" y="34038"/>
                    <a:pt x="90662" y="34038"/>
                    <a:pt x="90662" y="33720"/>
                  </a:cubicBezTo>
                  <a:lnTo>
                    <a:pt x="90344" y="33402"/>
                  </a:lnTo>
                  <a:cubicBezTo>
                    <a:pt x="90344" y="33084"/>
                    <a:pt x="90344" y="32766"/>
                    <a:pt x="90662" y="32447"/>
                  </a:cubicBezTo>
                  <a:cubicBezTo>
                    <a:pt x="89390" y="32447"/>
                    <a:pt x="89390" y="32447"/>
                    <a:pt x="89390" y="31811"/>
                  </a:cubicBezTo>
                  <a:cubicBezTo>
                    <a:pt x="89390" y="31175"/>
                    <a:pt x="89390" y="30539"/>
                    <a:pt x="89071" y="30221"/>
                  </a:cubicBezTo>
                  <a:lnTo>
                    <a:pt x="89071" y="29584"/>
                  </a:lnTo>
                  <a:cubicBezTo>
                    <a:pt x="89390" y="28948"/>
                    <a:pt x="89708" y="28948"/>
                    <a:pt x="90026" y="28630"/>
                  </a:cubicBezTo>
                  <a:cubicBezTo>
                    <a:pt x="90344" y="28312"/>
                    <a:pt x="90344" y="27994"/>
                    <a:pt x="90344" y="27676"/>
                  </a:cubicBezTo>
                  <a:lnTo>
                    <a:pt x="90344" y="27040"/>
                  </a:lnTo>
                  <a:cubicBezTo>
                    <a:pt x="90344" y="26403"/>
                    <a:pt x="90980" y="26085"/>
                    <a:pt x="90980" y="25449"/>
                  </a:cubicBezTo>
                  <a:cubicBezTo>
                    <a:pt x="91298" y="25131"/>
                    <a:pt x="91934" y="24495"/>
                    <a:pt x="91934" y="23858"/>
                  </a:cubicBezTo>
                  <a:lnTo>
                    <a:pt x="91934" y="23540"/>
                  </a:lnTo>
                  <a:cubicBezTo>
                    <a:pt x="92571" y="23540"/>
                    <a:pt x="92571" y="22904"/>
                    <a:pt x="92571" y="21950"/>
                  </a:cubicBezTo>
                  <a:lnTo>
                    <a:pt x="92889" y="21632"/>
                  </a:lnTo>
                  <a:lnTo>
                    <a:pt x="92889" y="21313"/>
                  </a:lnTo>
                  <a:lnTo>
                    <a:pt x="92571" y="20995"/>
                  </a:lnTo>
                  <a:lnTo>
                    <a:pt x="92571" y="19405"/>
                  </a:lnTo>
                  <a:cubicBezTo>
                    <a:pt x="92571" y="19087"/>
                    <a:pt x="92889" y="19087"/>
                    <a:pt x="92889" y="18769"/>
                  </a:cubicBezTo>
                  <a:cubicBezTo>
                    <a:pt x="93525" y="18450"/>
                    <a:pt x="94161" y="18132"/>
                    <a:pt x="94479" y="17496"/>
                  </a:cubicBezTo>
                  <a:lnTo>
                    <a:pt x="94161" y="17178"/>
                  </a:lnTo>
                  <a:cubicBezTo>
                    <a:pt x="95115" y="16860"/>
                    <a:pt x="95115" y="15587"/>
                    <a:pt x="95115" y="15269"/>
                  </a:cubicBezTo>
                  <a:lnTo>
                    <a:pt x="94797" y="14951"/>
                  </a:lnTo>
                  <a:cubicBezTo>
                    <a:pt x="94797" y="14951"/>
                    <a:pt x="95115" y="14633"/>
                    <a:pt x="96070" y="14315"/>
                  </a:cubicBezTo>
                  <a:lnTo>
                    <a:pt x="97342" y="13361"/>
                  </a:lnTo>
                  <a:lnTo>
                    <a:pt x="97342" y="11770"/>
                  </a:lnTo>
                  <a:cubicBezTo>
                    <a:pt x="97660" y="11452"/>
                    <a:pt x="97978" y="10816"/>
                    <a:pt x="99251" y="10180"/>
                  </a:cubicBezTo>
                  <a:cubicBezTo>
                    <a:pt x="99251" y="10180"/>
                    <a:pt x="99569" y="7953"/>
                    <a:pt x="100205" y="7317"/>
                  </a:cubicBezTo>
                  <a:cubicBezTo>
                    <a:pt x="100523" y="7317"/>
                    <a:pt x="100523" y="7317"/>
                    <a:pt x="100841" y="6998"/>
                  </a:cubicBezTo>
                  <a:cubicBezTo>
                    <a:pt x="101160" y="6680"/>
                    <a:pt x="101160" y="6362"/>
                    <a:pt x="101160" y="6044"/>
                  </a:cubicBezTo>
                  <a:cubicBezTo>
                    <a:pt x="101160" y="5090"/>
                    <a:pt x="101160" y="5090"/>
                    <a:pt x="102114" y="4454"/>
                  </a:cubicBezTo>
                  <a:lnTo>
                    <a:pt x="103705" y="3181"/>
                  </a:lnTo>
                  <a:cubicBezTo>
                    <a:pt x="103386" y="2863"/>
                    <a:pt x="103386" y="2863"/>
                    <a:pt x="103386" y="2545"/>
                  </a:cubicBezTo>
                  <a:cubicBezTo>
                    <a:pt x="103386" y="2227"/>
                    <a:pt x="103705" y="1909"/>
                    <a:pt x="104659" y="1909"/>
                  </a:cubicBezTo>
                  <a:cubicBezTo>
                    <a:pt x="104659" y="1909"/>
                    <a:pt x="104977" y="1591"/>
                    <a:pt x="105295" y="1591"/>
                  </a:cubicBezTo>
                  <a:cubicBezTo>
                    <a:pt x="105613" y="1591"/>
                    <a:pt x="105613" y="1272"/>
                    <a:pt x="105931" y="1272"/>
                  </a:cubicBezTo>
                  <a:lnTo>
                    <a:pt x="106249" y="1272"/>
                  </a:lnTo>
                  <a:cubicBezTo>
                    <a:pt x="106249" y="1272"/>
                    <a:pt x="106249" y="1591"/>
                    <a:pt x="106567" y="1591"/>
                  </a:cubicBezTo>
                  <a:cubicBezTo>
                    <a:pt x="106567" y="1591"/>
                    <a:pt x="106886" y="1591"/>
                    <a:pt x="107204" y="1272"/>
                  </a:cubicBezTo>
                  <a:cubicBezTo>
                    <a:pt x="107840" y="954"/>
                    <a:pt x="108158" y="954"/>
                    <a:pt x="108794" y="318"/>
                  </a:cubicBezTo>
                  <a:cubicBezTo>
                    <a:pt x="109112" y="318"/>
                    <a:pt x="109430" y="0"/>
                    <a:pt x="109748" y="0"/>
                  </a:cubicBezTo>
                  <a:cubicBezTo>
                    <a:pt x="110067" y="0"/>
                    <a:pt x="110385" y="318"/>
                    <a:pt x="111021" y="636"/>
                  </a:cubicBezTo>
                  <a:cubicBezTo>
                    <a:pt x="111021" y="954"/>
                    <a:pt x="111339" y="954"/>
                    <a:pt x="111339" y="954"/>
                  </a:cubicBezTo>
                  <a:cubicBezTo>
                    <a:pt x="111339" y="1909"/>
                    <a:pt x="111339" y="2545"/>
                    <a:pt x="111021" y="3181"/>
                  </a:cubicBezTo>
                  <a:lnTo>
                    <a:pt x="111657" y="3499"/>
                  </a:lnTo>
                  <a:lnTo>
                    <a:pt x="112293" y="3499"/>
                  </a:lnTo>
                  <a:lnTo>
                    <a:pt x="113248" y="1909"/>
                  </a:lnTo>
                  <a:lnTo>
                    <a:pt x="113566" y="1909"/>
                  </a:lnTo>
                  <a:cubicBezTo>
                    <a:pt x="113884" y="1909"/>
                    <a:pt x="113884" y="2227"/>
                    <a:pt x="113884" y="2545"/>
                  </a:cubicBezTo>
                  <a:lnTo>
                    <a:pt x="114520" y="3181"/>
                  </a:lnTo>
                  <a:cubicBezTo>
                    <a:pt x="114520" y="3181"/>
                    <a:pt x="114838" y="3499"/>
                    <a:pt x="115156" y="3499"/>
                  </a:cubicBezTo>
                  <a:lnTo>
                    <a:pt x="117701" y="3499"/>
                  </a:lnTo>
                  <a:cubicBezTo>
                    <a:pt x="117701" y="3499"/>
                    <a:pt x="117383" y="3817"/>
                    <a:pt x="117383" y="4135"/>
                  </a:cubicBezTo>
                  <a:lnTo>
                    <a:pt x="117383" y="4772"/>
                  </a:lnTo>
                  <a:lnTo>
                    <a:pt x="118656" y="4772"/>
                  </a:lnTo>
                  <a:lnTo>
                    <a:pt x="118974" y="4454"/>
                  </a:lnTo>
                  <a:cubicBezTo>
                    <a:pt x="119610" y="4454"/>
                    <a:pt x="119928" y="4135"/>
                    <a:pt x="120246" y="4135"/>
                  </a:cubicBezTo>
                  <a:cubicBezTo>
                    <a:pt x="120246" y="4135"/>
                    <a:pt x="120564" y="4454"/>
                    <a:pt x="120882" y="4454"/>
                  </a:cubicBezTo>
                  <a:cubicBezTo>
                    <a:pt x="121519" y="4454"/>
                    <a:pt x="122155" y="4772"/>
                    <a:pt x="122791" y="4772"/>
                  </a:cubicBezTo>
                  <a:cubicBezTo>
                    <a:pt x="123745" y="4772"/>
                    <a:pt x="124063" y="5408"/>
                    <a:pt x="124063" y="5726"/>
                  </a:cubicBezTo>
                  <a:cubicBezTo>
                    <a:pt x="124063" y="6680"/>
                    <a:pt x="123745" y="7317"/>
                    <a:pt x="123745" y="7953"/>
                  </a:cubicBezTo>
                  <a:cubicBezTo>
                    <a:pt x="123745" y="8271"/>
                    <a:pt x="123745" y="8589"/>
                    <a:pt x="124382" y="8907"/>
                  </a:cubicBezTo>
                  <a:lnTo>
                    <a:pt x="124700" y="9543"/>
                  </a:lnTo>
                  <a:cubicBezTo>
                    <a:pt x="124063" y="10180"/>
                    <a:pt x="123745" y="10816"/>
                    <a:pt x="123745" y="11134"/>
                  </a:cubicBezTo>
                  <a:cubicBezTo>
                    <a:pt x="123745" y="11452"/>
                    <a:pt x="123427" y="11452"/>
                    <a:pt x="123427" y="12088"/>
                  </a:cubicBezTo>
                  <a:cubicBezTo>
                    <a:pt x="122473" y="12088"/>
                    <a:pt x="122791" y="13043"/>
                    <a:pt x="122155" y="13361"/>
                  </a:cubicBezTo>
                  <a:cubicBezTo>
                    <a:pt x="121837" y="13361"/>
                    <a:pt x="121837" y="13679"/>
                    <a:pt x="121837" y="13997"/>
                  </a:cubicBezTo>
                  <a:cubicBezTo>
                    <a:pt x="121837" y="14315"/>
                    <a:pt x="121519" y="14633"/>
                    <a:pt x="121519" y="14951"/>
                  </a:cubicBezTo>
                  <a:cubicBezTo>
                    <a:pt x="121201" y="14951"/>
                    <a:pt x="121201" y="15269"/>
                    <a:pt x="121201" y="15269"/>
                  </a:cubicBezTo>
                  <a:cubicBezTo>
                    <a:pt x="121201" y="15269"/>
                    <a:pt x="121201" y="15587"/>
                    <a:pt x="120882" y="15587"/>
                  </a:cubicBezTo>
                  <a:lnTo>
                    <a:pt x="120882" y="17178"/>
                  </a:lnTo>
                  <a:cubicBezTo>
                    <a:pt x="120882" y="17814"/>
                    <a:pt x="119928" y="18450"/>
                    <a:pt x="119928" y="18769"/>
                  </a:cubicBezTo>
                  <a:lnTo>
                    <a:pt x="119928" y="19087"/>
                  </a:lnTo>
                  <a:cubicBezTo>
                    <a:pt x="119292" y="20041"/>
                    <a:pt x="119928" y="20995"/>
                    <a:pt x="118974" y="21313"/>
                  </a:cubicBezTo>
                  <a:cubicBezTo>
                    <a:pt x="118974" y="21950"/>
                    <a:pt x="118656" y="22268"/>
                    <a:pt x="118656" y="22586"/>
                  </a:cubicBezTo>
                  <a:lnTo>
                    <a:pt x="118656" y="22904"/>
                  </a:lnTo>
                  <a:cubicBezTo>
                    <a:pt x="118338" y="23540"/>
                    <a:pt x="117701" y="23858"/>
                    <a:pt x="117701" y="24176"/>
                  </a:cubicBezTo>
                  <a:lnTo>
                    <a:pt x="118020" y="24495"/>
                  </a:lnTo>
                  <a:lnTo>
                    <a:pt x="118020" y="25131"/>
                  </a:lnTo>
                  <a:cubicBezTo>
                    <a:pt x="117065" y="25449"/>
                    <a:pt x="116747" y="26403"/>
                    <a:pt x="116429" y="27040"/>
                  </a:cubicBezTo>
                  <a:cubicBezTo>
                    <a:pt x="116747" y="27040"/>
                    <a:pt x="116747" y="27358"/>
                    <a:pt x="116747" y="27358"/>
                  </a:cubicBezTo>
                  <a:lnTo>
                    <a:pt x="116747" y="27676"/>
                  </a:lnTo>
                  <a:cubicBezTo>
                    <a:pt x="116747" y="27994"/>
                    <a:pt x="116429" y="27994"/>
                    <a:pt x="116429" y="28312"/>
                  </a:cubicBezTo>
                  <a:lnTo>
                    <a:pt x="116429" y="28630"/>
                  </a:lnTo>
                  <a:cubicBezTo>
                    <a:pt x="115793" y="28948"/>
                    <a:pt x="115475" y="29266"/>
                    <a:pt x="115475" y="29584"/>
                  </a:cubicBezTo>
                  <a:lnTo>
                    <a:pt x="115475" y="29903"/>
                  </a:lnTo>
                  <a:cubicBezTo>
                    <a:pt x="115475" y="30539"/>
                    <a:pt x="114838" y="30539"/>
                    <a:pt x="114838" y="30857"/>
                  </a:cubicBezTo>
                  <a:cubicBezTo>
                    <a:pt x="114838" y="31175"/>
                    <a:pt x="114520" y="31811"/>
                    <a:pt x="114202" y="32447"/>
                  </a:cubicBezTo>
                  <a:lnTo>
                    <a:pt x="113884" y="32766"/>
                  </a:lnTo>
                  <a:lnTo>
                    <a:pt x="113884" y="33402"/>
                  </a:lnTo>
                  <a:lnTo>
                    <a:pt x="114202" y="33720"/>
                  </a:lnTo>
                  <a:cubicBezTo>
                    <a:pt x="113884" y="34356"/>
                    <a:pt x="113248" y="34674"/>
                    <a:pt x="113248" y="35629"/>
                  </a:cubicBezTo>
                  <a:lnTo>
                    <a:pt x="111657" y="50898"/>
                  </a:lnTo>
                  <a:cubicBezTo>
                    <a:pt x="111975" y="50898"/>
                    <a:pt x="112293" y="50580"/>
                    <a:pt x="112611" y="50262"/>
                  </a:cubicBezTo>
                  <a:cubicBezTo>
                    <a:pt x="112929" y="49944"/>
                    <a:pt x="112929" y="49944"/>
                    <a:pt x="113248" y="49944"/>
                  </a:cubicBezTo>
                  <a:cubicBezTo>
                    <a:pt x="113884" y="49944"/>
                    <a:pt x="114520" y="50580"/>
                    <a:pt x="114520" y="51216"/>
                  </a:cubicBezTo>
                  <a:cubicBezTo>
                    <a:pt x="114520" y="52488"/>
                    <a:pt x="115156" y="52488"/>
                    <a:pt x="116111" y="52488"/>
                  </a:cubicBezTo>
                  <a:cubicBezTo>
                    <a:pt x="117383" y="52488"/>
                    <a:pt x="118338" y="52488"/>
                    <a:pt x="119292" y="50898"/>
                  </a:cubicBezTo>
                  <a:lnTo>
                    <a:pt x="116111" y="51534"/>
                  </a:lnTo>
                  <a:cubicBezTo>
                    <a:pt x="116111" y="51534"/>
                    <a:pt x="115475" y="51534"/>
                    <a:pt x="115475" y="51216"/>
                  </a:cubicBezTo>
                  <a:lnTo>
                    <a:pt x="115475" y="50898"/>
                  </a:lnTo>
                  <a:cubicBezTo>
                    <a:pt x="116747" y="49944"/>
                    <a:pt x="117383" y="49944"/>
                    <a:pt x="118338" y="49944"/>
                  </a:cubicBezTo>
                  <a:cubicBezTo>
                    <a:pt x="118656" y="49625"/>
                    <a:pt x="118656" y="49625"/>
                    <a:pt x="118974" y="49625"/>
                  </a:cubicBezTo>
                  <a:cubicBezTo>
                    <a:pt x="119292" y="49625"/>
                    <a:pt x="119610" y="49625"/>
                    <a:pt x="119610" y="50262"/>
                  </a:cubicBezTo>
                  <a:cubicBezTo>
                    <a:pt x="119292" y="50580"/>
                    <a:pt x="119292" y="50898"/>
                    <a:pt x="119292" y="50898"/>
                  </a:cubicBezTo>
                  <a:cubicBezTo>
                    <a:pt x="119610" y="50898"/>
                    <a:pt x="119610" y="50898"/>
                    <a:pt x="119928" y="50580"/>
                  </a:cubicBezTo>
                  <a:cubicBezTo>
                    <a:pt x="120564" y="50580"/>
                    <a:pt x="121519" y="50262"/>
                    <a:pt x="121519" y="49944"/>
                  </a:cubicBezTo>
                  <a:cubicBezTo>
                    <a:pt x="123109" y="49307"/>
                    <a:pt x="124063" y="49307"/>
                    <a:pt x="124700" y="49307"/>
                  </a:cubicBezTo>
                  <a:cubicBezTo>
                    <a:pt x="125336" y="49307"/>
                    <a:pt x="125654" y="49307"/>
                    <a:pt x="126608" y="48989"/>
                  </a:cubicBezTo>
                  <a:lnTo>
                    <a:pt x="127563" y="48989"/>
                  </a:lnTo>
                  <a:lnTo>
                    <a:pt x="127245" y="49625"/>
                  </a:lnTo>
                  <a:cubicBezTo>
                    <a:pt x="127245" y="49944"/>
                    <a:pt x="126926" y="49944"/>
                    <a:pt x="126608" y="50262"/>
                  </a:cubicBezTo>
                  <a:lnTo>
                    <a:pt x="125972" y="51216"/>
                  </a:lnTo>
                  <a:cubicBezTo>
                    <a:pt x="125972" y="51534"/>
                    <a:pt x="126290" y="51534"/>
                    <a:pt x="126290" y="51534"/>
                  </a:cubicBezTo>
                  <a:lnTo>
                    <a:pt x="125972" y="51852"/>
                  </a:lnTo>
                  <a:cubicBezTo>
                    <a:pt x="125972" y="52170"/>
                    <a:pt x="125654" y="52488"/>
                    <a:pt x="124700" y="53443"/>
                  </a:cubicBezTo>
                  <a:cubicBezTo>
                    <a:pt x="123427" y="54079"/>
                    <a:pt x="122473" y="55351"/>
                    <a:pt x="121837" y="55670"/>
                  </a:cubicBezTo>
                  <a:cubicBezTo>
                    <a:pt x="121201" y="55988"/>
                    <a:pt x="120882" y="56306"/>
                    <a:pt x="120882" y="56306"/>
                  </a:cubicBezTo>
                  <a:cubicBezTo>
                    <a:pt x="120882" y="56624"/>
                    <a:pt x="121201" y="56942"/>
                    <a:pt x="121837" y="56942"/>
                  </a:cubicBezTo>
                  <a:cubicBezTo>
                    <a:pt x="122155" y="56942"/>
                    <a:pt x="122473" y="56306"/>
                    <a:pt x="122473" y="56306"/>
                  </a:cubicBezTo>
                  <a:cubicBezTo>
                    <a:pt x="122473" y="56306"/>
                    <a:pt x="122791" y="55988"/>
                    <a:pt x="123427" y="55670"/>
                  </a:cubicBezTo>
                  <a:cubicBezTo>
                    <a:pt x="123427" y="55351"/>
                    <a:pt x="123745" y="55033"/>
                    <a:pt x="124700" y="54715"/>
                  </a:cubicBezTo>
                  <a:lnTo>
                    <a:pt x="125972" y="54715"/>
                  </a:lnTo>
                  <a:cubicBezTo>
                    <a:pt x="126290" y="54715"/>
                    <a:pt x="126926" y="54397"/>
                    <a:pt x="127881" y="53443"/>
                  </a:cubicBezTo>
                  <a:cubicBezTo>
                    <a:pt x="128199" y="53125"/>
                    <a:pt x="128199" y="52807"/>
                    <a:pt x="128199" y="52807"/>
                  </a:cubicBezTo>
                  <a:lnTo>
                    <a:pt x="128517" y="52488"/>
                  </a:lnTo>
                  <a:cubicBezTo>
                    <a:pt x="128517" y="52488"/>
                    <a:pt x="128199" y="52488"/>
                    <a:pt x="127881" y="52170"/>
                  </a:cubicBezTo>
                  <a:lnTo>
                    <a:pt x="127245" y="52170"/>
                  </a:lnTo>
                  <a:cubicBezTo>
                    <a:pt x="126926" y="52170"/>
                    <a:pt x="127245" y="51852"/>
                    <a:pt x="127563" y="51534"/>
                  </a:cubicBezTo>
                  <a:cubicBezTo>
                    <a:pt x="127563" y="51534"/>
                    <a:pt x="127563" y="51216"/>
                    <a:pt x="127881" y="51216"/>
                  </a:cubicBezTo>
                  <a:cubicBezTo>
                    <a:pt x="129790" y="51216"/>
                    <a:pt x="130744" y="50262"/>
                    <a:pt x="132016" y="48989"/>
                  </a:cubicBezTo>
                  <a:cubicBezTo>
                    <a:pt x="132335" y="48671"/>
                    <a:pt x="132335" y="48671"/>
                    <a:pt x="132653" y="48671"/>
                  </a:cubicBezTo>
                  <a:lnTo>
                    <a:pt x="132971" y="48989"/>
                  </a:lnTo>
                  <a:lnTo>
                    <a:pt x="132971" y="49625"/>
                  </a:lnTo>
                  <a:cubicBezTo>
                    <a:pt x="132971" y="49944"/>
                    <a:pt x="132971" y="50262"/>
                    <a:pt x="133289" y="50898"/>
                  </a:cubicBezTo>
                  <a:lnTo>
                    <a:pt x="133925" y="50898"/>
                  </a:lnTo>
                  <a:cubicBezTo>
                    <a:pt x="133925" y="49944"/>
                    <a:pt x="134561" y="48671"/>
                    <a:pt x="134879" y="48353"/>
                  </a:cubicBezTo>
                  <a:cubicBezTo>
                    <a:pt x="135197" y="47717"/>
                    <a:pt x="136470" y="47081"/>
                    <a:pt x="137106" y="47081"/>
                  </a:cubicBezTo>
                  <a:lnTo>
                    <a:pt x="139969" y="47081"/>
                  </a:lnTo>
                  <a:cubicBezTo>
                    <a:pt x="140287" y="47081"/>
                    <a:pt x="139969" y="47717"/>
                    <a:pt x="139651" y="48353"/>
                  </a:cubicBezTo>
                  <a:lnTo>
                    <a:pt x="139333" y="48671"/>
                  </a:lnTo>
                  <a:lnTo>
                    <a:pt x="139333" y="49307"/>
                  </a:lnTo>
                  <a:cubicBezTo>
                    <a:pt x="139969" y="49307"/>
                    <a:pt x="140287" y="49625"/>
                    <a:pt x="141242" y="49625"/>
                  </a:cubicBezTo>
                  <a:lnTo>
                    <a:pt x="141560" y="49625"/>
                  </a:lnTo>
                  <a:lnTo>
                    <a:pt x="141560" y="50580"/>
                  </a:lnTo>
                  <a:cubicBezTo>
                    <a:pt x="141560" y="50580"/>
                    <a:pt x="140605" y="50898"/>
                    <a:pt x="140287" y="50898"/>
                  </a:cubicBezTo>
                  <a:cubicBezTo>
                    <a:pt x="139651" y="50898"/>
                    <a:pt x="139015" y="51216"/>
                    <a:pt x="138697" y="51534"/>
                  </a:cubicBezTo>
                  <a:lnTo>
                    <a:pt x="138378" y="51852"/>
                  </a:lnTo>
                  <a:lnTo>
                    <a:pt x="138378" y="52488"/>
                  </a:lnTo>
                  <a:lnTo>
                    <a:pt x="139333" y="52488"/>
                  </a:lnTo>
                  <a:cubicBezTo>
                    <a:pt x="140923" y="51852"/>
                    <a:pt x="141560" y="51852"/>
                    <a:pt x="142832" y="51852"/>
                  </a:cubicBezTo>
                  <a:cubicBezTo>
                    <a:pt x="143469" y="52170"/>
                    <a:pt x="143787" y="52170"/>
                    <a:pt x="143787" y="53125"/>
                  </a:cubicBezTo>
                  <a:cubicBezTo>
                    <a:pt x="144105" y="53443"/>
                    <a:pt x="144105" y="53443"/>
                    <a:pt x="144423" y="53443"/>
                  </a:cubicBezTo>
                  <a:cubicBezTo>
                    <a:pt x="144741" y="53443"/>
                    <a:pt x="144741" y="53443"/>
                    <a:pt x="145059" y="53125"/>
                  </a:cubicBezTo>
                  <a:cubicBezTo>
                    <a:pt x="146013" y="52807"/>
                    <a:pt x="146013" y="52488"/>
                    <a:pt x="146331" y="51534"/>
                  </a:cubicBezTo>
                  <a:lnTo>
                    <a:pt x="146331" y="51216"/>
                  </a:lnTo>
                  <a:lnTo>
                    <a:pt x="146013" y="51216"/>
                  </a:lnTo>
                  <a:lnTo>
                    <a:pt x="145695" y="51534"/>
                  </a:lnTo>
                  <a:lnTo>
                    <a:pt x="145377" y="51534"/>
                  </a:lnTo>
                  <a:lnTo>
                    <a:pt x="145695" y="51216"/>
                  </a:lnTo>
                  <a:lnTo>
                    <a:pt x="145695" y="50898"/>
                  </a:lnTo>
                  <a:cubicBezTo>
                    <a:pt x="146331" y="50580"/>
                    <a:pt x="146331" y="49944"/>
                    <a:pt x="146650" y="49625"/>
                  </a:cubicBezTo>
                  <a:cubicBezTo>
                    <a:pt x="146650" y="49307"/>
                    <a:pt x="146650" y="48989"/>
                    <a:pt x="147286" y="48353"/>
                  </a:cubicBezTo>
                  <a:cubicBezTo>
                    <a:pt x="146650" y="48671"/>
                    <a:pt x="146331" y="48671"/>
                    <a:pt x="145695" y="48671"/>
                  </a:cubicBezTo>
                  <a:cubicBezTo>
                    <a:pt x="145059" y="48671"/>
                    <a:pt x="144423" y="48671"/>
                    <a:pt x="144105" y="48353"/>
                  </a:cubicBezTo>
                  <a:lnTo>
                    <a:pt x="144423" y="48035"/>
                  </a:lnTo>
                  <a:lnTo>
                    <a:pt x="144423" y="47717"/>
                  </a:lnTo>
                  <a:cubicBezTo>
                    <a:pt x="144423" y="47399"/>
                    <a:pt x="144741" y="46762"/>
                    <a:pt x="144741" y="46762"/>
                  </a:cubicBezTo>
                  <a:cubicBezTo>
                    <a:pt x="145059" y="47081"/>
                    <a:pt x="145377" y="47081"/>
                    <a:pt x="145695" y="47081"/>
                  </a:cubicBezTo>
                  <a:cubicBezTo>
                    <a:pt x="145695" y="47717"/>
                    <a:pt x="146331" y="48035"/>
                    <a:pt x="146650" y="48035"/>
                  </a:cubicBezTo>
                  <a:cubicBezTo>
                    <a:pt x="146968" y="47717"/>
                    <a:pt x="147604" y="47399"/>
                    <a:pt x="147922" y="46444"/>
                  </a:cubicBezTo>
                  <a:lnTo>
                    <a:pt x="151421" y="46444"/>
                  </a:lnTo>
                  <a:cubicBezTo>
                    <a:pt x="152693" y="46444"/>
                    <a:pt x="154284" y="46126"/>
                    <a:pt x="156511" y="45172"/>
                  </a:cubicBezTo>
                  <a:lnTo>
                    <a:pt x="158738" y="45172"/>
                  </a:lnTo>
                  <a:cubicBezTo>
                    <a:pt x="159374" y="45490"/>
                    <a:pt x="159374" y="46126"/>
                    <a:pt x="159374" y="47081"/>
                  </a:cubicBezTo>
                  <a:cubicBezTo>
                    <a:pt x="159374" y="47717"/>
                    <a:pt x="160010" y="47717"/>
                    <a:pt x="160010" y="47717"/>
                  </a:cubicBezTo>
                  <a:cubicBezTo>
                    <a:pt x="161283" y="47399"/>
                    <a:pt x="161283" y="47399"/>
                    <a:pt x="161601" y="47399"/>
                  </a:cubicBezTo>
                  <a:lnTo>
                    <a:pt x="162873" y="47399"/>
                  </a:lnTo>
                  <a:cubicBezTo>
                    <a:pt x="162873" y="47399"/>
                    <a:pt x="162555" y="48353"/>
                    <a:pt x="162237" y="48989"/>
                  </a:cubicBezTo>
                  <a:cubicBezTo>
                    <a:pt x="162237" y="49625"/>
                    <a:pt x="162555" y="49944"/>
                    <a:pt x="162873" y="50580"/>
                  </a:cubicBezTo>
                  <a:cubicBezTo>
                    <a:pt x="163509" y="50580"/>
                    <a:pt x="163827" y="50580"/>
                    <a:pt x="163827" y="50898"/>
                  </a:cubicBezTo>
                  <a:lnTo>
                    <a:pt x="163509" y="51216"/>
                  </a:lnTo>
                  <a:cubicBezTo>
                    <a:pt x="163509" y="51534"/>
                    <a:pt x="163191" y="51852"/>
                    <a:pt x="162873" y="52170"/>
                  </a:cubicBezTo>
                  <a:cubicBezTo>
                    <a:pt x="162873" y="52807"/>
                    <a:pt x="162555" y="53125"/>
                    <a:pt x="162237" y="53125"/>
                  </a:cubicBezTo>
                  <a:cubicBezTo>
                    <a:pt x="162873" y="53125"/>
                    <a:pt x="163509" y="52807"/>
                    <a:pt x="163509" y="52170"/>
                  </a:cubicBezTo>
                  <a:cubicBezTo>
                    <a:pt x="164464" y="51852"/>
                    <a:pt x="165100" y="51216"/>
                    <a:pt x="165418" y="51216"/>
                  </a:cubicBezTo>
                  <a:cubicBezTo>
                    <a:pt x="165736" y="51216"/>
                    <a:pt x="165736" y="50898"/>
                    <a:pt x="166054" y="50898"/>
                  </a:cubicBezTo>
                  <a:lnTo>
                    <a:pt x="166372" y="51216"/>
                  </a:lnTo>
                  <a:lnTo>
                    <a:pt x="167327" y="50580"/>
                  </a:lnTo>
                  <a:cubicBezTo>
                    <a:pt x="167963" y="49307"/>
                    <a:pt x="167963" y="48989"/>
                    <a:pt x="167963" y="48671"/>
                  </a:cubicBezTo>
                  <a:cubicBezTo>
                    <a:pt x="167963" y="48353"/>
                    <a:pt x="167963" y="48353"/>
                    <a:pt x="167963" y="48353"/>
                  </a:cubicBezTo>
                  <a:cubicBezTo>
                    <a:pt x="168281" y="47717"/>
                    <a:pt x="168917" y="47081"/>
                    <a:pt x="168917" y="46762"/>
                  </a:cubicBezTo>
                  <a:cubicBezTo>
                    <a:pt x="169554" y="45490"/>
                    <a:pt x="170190" y="45490"/>
                    <a:pt x="170826" y="44854"/>
                  </a:cubicBezTo>
                  <a:cubicBezTo>
                    <a:pt x="170826" y="44536"/>
                    <a:pt x="170826" y="44854"/>
                    <a:pt x="171780" y="44854"/>
                  </a:cubicBezTo>
                  <a:cubicBezTo>
                    <a:pt x="172099" y="44854"/>
                    <a:pt x="172417" y="45172"/>
                    <a:pt x="172735" y="45172"/>
                  </a:cubicBezTo>
                  <a:cubicBezTo>
                    <a:pt x="174007" y="45172"/>
                    <a:pt x="174643" y="44536"/>
                    <a:pt x="175916" y="43899"/>
                  </a:cubicBezTo>
                  <a:lnTo>
                    <a:pt x="176552" y="43899"/>
                  </a:lnTo>
                  <a:cubicBezTo>
                    <a:pt x="176870" y="44218"/>
                    <a:pt x="176870" y="44218"/>
                    <a:pt x="177506" y="44218"/>
                  </a:cubicBezTo>
                  <a:cubicBezTo>
                    <a:pt x="178461" y="44218"/>
                    <a:pt x="178779" y="44218"/>
                    <a:pt x="179415" y="43899"/>
                  </a:cubicBezTo>
                  <a:cubicBezTo>
                    <a:pt x="180687" y="43899"/>
                    <a:pt x="181642" y="44536"/>
                    <a:pt x="182278" y="44536"/>
                  </a:cubicBezTo>
                  <a:cubicBezTo>
                    <a:pt x="183551" y="44536"/>
                    <a:pt x="184823" y="43899"/>
                    <a:pt x="185777" y="43899"/>
                  </a:cubicBezTo>
                  <a:lnTo>
                    <a:pt x="187050" y="43899"/>
                  </a:lnTo>
                  <a:lnTo>
                    <a:pt x="187050" y="44218"/>
                  </a:lnTo>
                  <a:cubicBezTo>
                    <a:pt x="187050" y="44536"/>
                    <a:pt x="187050" y="44536"/>
                    <a:pt x="187368" y="44536"/>
                  </a:cubicBezTo>
                  <a:cubicBezTo>
                    <a:pt x="187686" y="44536"/>
                    <a:pt x="187686" y="44536"/>
                    <a:pt x="188004" y="44218"/>
                  </a:cubicBezTo>
                  <a:lnTo>
                    <a:pt x="189276" y="44218"/>
                  </a:lnTo>
                  <a:cubicBezTo>
                    <a:pt x="189913" y="44218"/>
                    <a:pt x="191503" y="44218"/>
                    <a:pt x="191503" y="45172"/>
                  </a:cubicBezTo>
                  <a:cubicBezTo>
                    <a:pt x="191503" y="45490"/>
                    <a:pt x="191503" y="45808"/>
                    <a:pt x="192139" y="45808"/>
                  </a:cubicBezTo>
                  <a:cubicBezTo>
                    <a:pt x="192139" y="45808"/>
                    <a:pt x="192776" y="45490"/>
                    <a:pt x="193412" y="45490"/>
                  </a:cubicBezTo>
                  <a:lnTo>
                    <a:pt x="194048" y="45490"/>
                  </a:lnTo>
                  <a:cubicBezTo>
                    <a:pt x="194684" y="45172"/>
                    <a:pt x="195639" y="44854"/>
                    <a:pt x="196593" y="44854"/>
                  </a:cubicBezTo>
                  <a:cubicBezTo>
                    <a:pt x="197229" y="44854"/>
                    <a:pt x="197866" y="45172"/>
                    <a:pt x="198184" y="45808"/>
                  </a:cubicBezTo>
                  <a:lnTo>
                    <a:pt x="200729" y="45808"/>
                  </a:lnTo>
                  <a:cubicBezTo>
                    <a:pt x="201047" y="45490"/>
                    <a:pt x="201683" y="45490"/>
                    <a:pt x="202001" y="45490"/>
                  </a:cubicBezTo>
                  <a:cubicBezTo>
                    <a:pt x="202637" y="45490"/>
                    <a:pt x="202955" y="46126"/>
                    <a:pt x="203591" y="46444"/>
                  </a:cubicBezTo>
                  <a:cubicBezTo>
                    <a:pt x="203910" y="46444"/>
                    <a:pt x="204228" y="46762"/>
                    <a:pt x="204228" y="47399"/>
                  </a:cubicBezTo>
                  <a:lnTo>
                    <a:pt x="204228" y="47717"/>
                  </a:lnTo>
                  <a:cubicBezTo>
                    <a:pt x="204228" y="48671"/>
                    <a:pt x="204864" y="49307"/>
                    <a:pt x="204864" y="50262"/>
                  </a:cubicBezTo>
                  <a:lnTo>
                    <a:pt x="204864" y="50898"/>
                  </a:lnTo>
                  <a:cubicBezTo>
                    <a:pt x="205182" y="51216"/>
                    <a:pt x="205818" y="51852"/>
                    <a:pt x="205818" y="52170"/>
                  </a:cubicBezTo>
                  <a:cubicBezTo>
                    <a:pt x="205182" y="53125"/>
                    <a:pt x="204864" y="53761"/>
                    <a:pt x="205182" y="53761"/>
                  </a:cubicBezTo>
                  <a:lnTo>
                    <a:pt x="205182" y="57260"/>
                  </a:lnTo>
                  <a:cubicBezTo>
                    <a:pt x="205182" y="57896"/>
                    <a:pt x="204228" y="58214"/>
                    <a:pt x="203910" y="58533"/>
                  </a:cubicBezTo>
                  <a:cubicBezTo>
                    <a:pt x="203591" y="58533"/>
                    <a:pt x="203273" y="58851"/>
                    <a:pt x="202955" y="59487"/>
                  </a:cubicBezTo>
                  <a:lnTo>
                    <a:pt x="200729" y="61077"/>
                  </a:lnTo>
                  <a:cubicBezTo>
                    <a:pt x="200410" y="61714"/>
                    <a:pt x="200092" y="61714"/>
                    <a:pt x="200092" y="61714"/>
                  </a:cubicBezTo>
                  <a:lnTo>
                    <a:pt x="199138" y="61714"/>
                  </a:lnTo>
                  <a:cubicBezTo>
                    <a:pt x="198184" y="61714"/>
                    <a:pt x="197548" y="62032"/>
                    <a:pt x="196593" y="62668"/>
                  </a:cubicBezTo>
                  <a:cubicBezTo>
                    <a:pt x="195321" y="63304"/>
                    <a:pt x="193730" y="63940"/>
                    <a:pt x="192457" y="63940"/>
                  </a:cubicBezTo>
                  <a:cubicBezTo>
                    <a:pt x="191821" y="63940"/>
                    <a:pt x="191503" y="63940"/>
                    <a:pt x="191185" y="64259"/>
                  </a:cubicBezTo>
                  <a:cubicBezTo>
                    <a:pt x="190231" y="64895"/>
                    <a:pt x="189276" y="64895"/>
                    <a:pt x="188004" y="64895"/>
                  </a:cubicBezTo>
                  <a:lnTo>
                    <a:pt x="187050" y="64895"/>
                  </a:lnTo>
                  <a:cubicBezTo>
                    <a:pt x="186732" y="64895"/>
                    <a:pt x="186414" y="65213"/>
                    <a:pt x="186414" y="65213"/>
                  </a:cubicBezTo>
                  <a:lnTo>
                    <a:pt x="186414" y="64895"/>
                  </a:lnTo>
                  <a:cubicBezTo>
                    <a:pt x="185777" y="64577"/>
                    <a:pt x="186095" y="63622"/>
                    <a:pt x="185141" y="63304"/>
                  </a:cubicBezTo>
                  <a:lnTo>
                    <a:pt x="185777" y="62668"/>
                  </a:lnTo>
                  <a:lnTo>
                    <a:pt x="187368" y="61396"/>
                  </a:lnTo>
                  <a:lnTo>
                    <a:pt x="185141" y="61396"/>
                  </a:lnTo>
                  <a:cubicBezTo>
                    <a:pt x="184823" y="61396"/>
                    <a:pt x="184823" y="61396"/>
                    <a:pt x="184823" y="61077"/>
                  </a:cubicBezTo>
                  <a:lnTo>
                    <a:pt x="186414" y="59487"/>
                  </a:lnTo>
                  <a:lnTo>
                    <a:pt x="187050" y="59487"/>
                  </a:lnTo>
                  <a:cubicBezTo>
                    <a:pt x="187050" y="59169"/>
                    <a:pt x="187686" y="58851"/>
                    <a:pt x="188004" y="58533"/>
                  </a:cubicBezTo>
                  <a:lnTo>
                    <a:pt x="188004" y="58214"/>
                  </a:lnTo>
                  <a:cubicBezTo>
                    <a:pt x="187686" y="57896"/>
                    <a:pt x="187686" y="57896"/>
                    <a:pt x="187050" y="57896"/>
                  </a:cubicBezTo>
                  <a:lnTo>
                    <a:pt x="186414" y="58214"/>
                  </a:lnTo>
                  <a:lnTo>
                    <a:pt x="186095" y="58214"/>
                  </a:lnTo>
                  <a:lnTo>
                    <a:pt x="186414" y="57896"/>
                  </a:lnTo>
                  <a:cubicBezTo>
                    <a:pt x="186414" y="57578"/>
                    <a:pt x="186732" y="57578"/>
                    <a:pt x="186732" y="57260"/>
                  </a:cubicBezTo>
                  <a:cubicBezTo>
                    <a:pt x="186732" y="56942"/>
                    <a:pt x="186095" y="56624"/>
                    <a:pt x="185141" y="56624"/>
                  </a:cubicBezTo>
                  <a:lnTo>
                    <a:pt x="184187" y="56624"/>
                  </a:lnTo>
                  <a:cubicBezTo>
                    <a:pt x="183869" y="56624"/>
                    <a:pt x="183551" y="56624"/>
                    <a:pt x="183232" y="57260"/>
                  </a:cubicBezTo>
                  <a:cubicBezTo>
                    <a:pt x="182596" y="57896"/>
                    <a:pt x="181960" y="57896"/>
                    <a:pt x="181642" y="57896"/>
                  </a:cubicBezTo>
                  <a:lnTo>
                    <a:pt x="180051" y="57896"/>
                  </a:lnTo>
                  <a:cubicBezTo>
                    <a:pt x="179097" y="57578"/>
                    <a:pt x="177824" y="57260"/>
                    <a:pt x="176552" y="57260"/>
                  </a:cubicBezTo>
                  <a:lnTo>
                    <a:pt x="172099" y="57260"/>
                  </a:lnTo>
                  <a:cubicBezTo>
                    <a:pt x="171780" y="57260"/>
                    <a:pt x="171462" y="56942"/>
                    <a:pt x="171462" y="56942"/>
                  </a:cubicBezTo>
                  <a:cubicBezTo>
                    <a:pt x="171144" y="56942"/>
                    <a:pt x="171144" y="56624"/>
                    <a:pt x="171144" y="56306"/>
                  </a:cubicBezTo>
                  <a:lnTo>
                    <a:pt x="171144" y="55670"/>
                  </a:lnTo>
                  <a:cubicBezTo>
                    <a:pt x="171462" y="55033"/>
                    <a:pt x="171780" y="54715"/>
                    <a:pt x="171780" y="54397"/>
                  </a:cubicBezTo>
                  <a:cubicBezTo>
                    <a:pt x="171780" y="54079"/>
                    <a:pt x="171780" y="54079"/>
                    <a:pt x="171462" y="54079"/>
                  </a:cubicBezTo>
                  <a:cubicBezTo>
                    <a:pt x="170826" y="54715"/>
                    <a:pt x="170508" y="54715"/>
                    <a:pt x="170190" y="55351"/>
                  </a:cubicBezTo>
                  <a:cubicBezTo>
                    <a:pt x="169235" y="55988"/>
                    <a:pt x="168917" y="55988"/>
                    <a:pt x="168599" y="55988"/>
                  </a:cubicBezTo>
                  <a:lnTo>
                    <a:pt x="168281" y="55988"/>
                  </a:lnTo>
                  <a:cubicBezTo>
                    <a:pt x="168281" y="55988"/>
                    <a:pt x="168281" y="55670"/>
                    <a:pt x="168599" y="55351"/>
                  </a:cubicBezTo>
                  <a:lnTo>
                    <a:pt x="168281" y="55351"/>
                  </a:lnTo>
                  <a:cubicBezTo>
                    <a:pt x="167963" y="55351"/>
                    <a:pt x="167327" y="55988"/>
                    <a:pt x="167327" y="56306"/>
                  </a:cubicBezTo>
                  <a:cubicBezTo>
                    <a:pt x="167008" y="56942"/>
                    <a:pt x="166054" y="57578"/>
                    <a:pt x="165736" y="57578"/>
                  </a:cubicBezTo>
                  <a:cubicBezTo>
                    <a:pt x="164782" y="57578"/>
                    <a:pt x="164146" y="57578"/>
                    <a:pt x="163827" y="57260"/>
                  </a:cubicBezTo>
                  <a:lnTo>
                    <a:pt x="162237" y="57896"/>
                  </a:lnTo>
                  <a:cubicBezTo>
                    <a:pt x="161283" y="58214"/>
                    <a:pt x="161283" y="58214"/>
                    <a:pt x="160965" y="58214"/>
                  </a:cubicBezTo>
                  <a:cubicBezTo>
                    <a:pt x="160646" y="58214"/>
                    <a:pt x="160010" y="58214"/>
                    <a:pt x="159374" y="57896"/>
                  </a:cubicBezTo>
                  <a:lnTo>
                    <a:pt x="158738" y="57896"/>
                  </a:lnTo>
                  <a:cubicBezTo>
                    <a:pt x="158420" y="57896"/>
                    <a:pt x="157784" y="57896"/>
                    <a:pt x="158102" y="57578"/>
                  </a:cubicBezTo>
                  <a:cubicBezTo>
                    <a:pt x="158102" y="57260"/>
                    <a:pt x="157784" y="57578"/>
                    <a:pt x="157465" y="57578"/>
                  </a:cubicBezTo>
                  <a:cubicBezTo>
                    <a:pt x="156193" y="57896"/>
                    <a:pt x="156193" y="57896"/>
                    <a:pt x="155557" y="57896"/>
                  </a:cubicBezTo>
                  <a:cubicBezTo>
                    <a:pt x="154602" y="57896"/>
                    <a:pt x="153966" y="57896"/>
                    <a:pt x="153648" y="57260"/>
                  </a:cubicBezTo>
                  <a:cubicBezTo>
                    <a:pt x="153330" y="57578"/>
                    <a:pt x="153330" y="57578"/>
                    <a:pt x="153012" y="57578"/>
                  </a:cubicBezTo>
                  <a:cubicBezTo>
                    <a:pt x="152693" y="57578"/>
                    <a:pt x="152375" y="56942"/>
                    <a:pt x="151739" y="56942"/>
                  </a:cubicBezTo>
                  <a:cubicBezTo>
                    <a:pt x="151739" y="56942"/>
                    <a:pt x="151421" y="56624"/>
                    <a:pt x="151103" y="56624"/>
                  </a:cubicBezTo>
                  <a:cubicBezTo>
                    <a:pt x="150785" y="56624"/>
                    <a:pt x="150467" y="56942"/>
                    <a:pt x="150149" y="56942"/>
                  </a:cubicBezTo>
                  <a:cubicBezTo>
                    <a:pt x="150149" y="57260"/>
                    <a:pt x="150149" y="57578"/>
                    <a:pt x="149194" y="57896"/>
                  </a:cubicBezTo>
                  <a:lnTo>
                    <a:pt x="148876" y="57896"/>
                  </a:lnTo>
                  <a:lnTo>
                    <a:pt x="148876" y="57578"/>
                  </a:lnTo>
                  <a:cubicBezTo>
                    <a:pt x="148558" y="57578"/>
                    <a:pt x="148240" y="57260"/>
                    <a:pt x="148240" y="57260"/>
                  </a:cubicBezTo>
                  <a:cubicBezTo>
                    <a:pt x="147922" y="57260"/>
                    <a:pt x="147604" y="57896"/>
                    <a:pt x="146331" y="58533"/>
                  </a:cubicBezTo>
                  <a:lnTo>
                    <a:pt x="146331" y="57896"/>
                  </a:lnTo>
                  <a:lnTo>
                    <a:pt x="146013" y="57578"/>
                  </a:lnTo>
                  <a:cubicBezTo>
                    <a:pt x="145377" y="57896"/>
                    <a:pt x="145377" y="58214"/>
                    <a:pt x="145377" y="58214"/>
                  </a:cubicBezTo>
                  <a:cubicBezTo>
                    <a:pt x="144741" y="58533"/>
                    <a:pt x="144423" y="58533"/>
                    <a:pt x="144105" y="58533"/>
                  </a:cubicBezTo>
                  <a:lnTo>
                    <a:pt x="143787" y="58533"/>
                  </a:lnTo>
                  <a:lnTo>
                    <a:pt x="143787" y="57896"/>
                  </a:lnTo>
                  <a:lnTo>
                    <a:pt x="143469" y="57896"/>
                  </a:lnTo>
                  <a:cubicBezTo>
                    <a:pt x="142832" y="58533"/>
                    <a:pt x="142514" y="58851"/>
                    <a:pt x="141878" y="58851"/>
                  </a:cubicBezTo>
                  <a:lnTo>
                    <a:pt x="141242" y="58851"/>
                  </a:lnTo>
                  <a:cubicBezTo>
                    <a:pt x="139969" y="58533"/>
                    <a:pt x="139015" y="58214"/>
                    <a:pt x="138060" y="58214"/>
                  </a:cubicBezTo>
                  <a:cubicBezTo>
                    <a:pt x="138060" y="58214"/>
                    <a:pt x="137742" y="58214"/>
                    <a:pt x="137742" y="57896"/>
                  </a:cubicBezTo>
                  <a:cubicBezTo>
                    <a:pt x="137424" y="57578"/>
                    <a:pt x="137424" y="57260"/>
                    <a:pt x="137106" y="57260"/>
                  </a:cubicBezTo>
                  <a:cubicBezTo>
                    <a:pt x="136788" y="57260"/>
                    <a:pt x="136152" y="57896"/>
                    <a:pt x="135834" y="57896"/>
                  </a:cubicBezTo>
                  <a:lnTo>
                    <a:pt x="135516" y="58214"/>
                  </a:lnTo>
                  <a:lnTo>
                    <a:pt x="134879" y="57896"/>
                  </a:lnTo>
                  <a:cubicBezTo>
                    <a:pt x="133607" y="58533"/>
                    <a:pt x="132335" y="59169"/>
                    <a:pt x="130744" y="59169"/>
                  </a:cubicBezTo>
                  <a:cubicBezTo>
                    <a:pt x="130426" y="59487"/>
                    <a:pt x="130108" y="59487"/>
                    <a:pt x="129472" y="59487"/>
                  </a:cubicBezTo>
                  <a:lnTo>
                    <a:pt x="128199" y="59487"/>
                  </a:lnTo>
                  <a:cubicBezTo>
                    <a:pt x="127881" y="59487"/>
                    <a:pt x="127881" y="59487"/>
                    <a:pt x="127245" y="59805"/>
                  </a:cubicBezTo>
                  <a:cubicBezTo>
                    <a:pt x="125018" y="60759"/>
                    <a:pt x="123109" y="61077"/>
                    <a:pt x="121837" y="61077"/>
                  </a:cubicBezTo>
                  <a:cubicBezTo>
                    <a:pt x="120882" y="61396"/>
                    <a:pt x="120246" y="61396"/>
                    <a:pt x="119610" y="61396"/>
                  </a:cubicBezTo>
                  <a:lnTo>
                    <a:pt x="118338" y="61396"/>
                  </a:lnTo>
                  <a:cubicBezTo>
                    <a:pt x="117065" y="61396"/>
                    <a:pt x="115475" y="61714"/>
                    <a:pt x="113884" y="62350"/>
                  </a:cubicBezTo>
                  <a:cubicBezTo>
                    <a:pt x="113566" y="62350"/>
                    <a:pt x="113566" y="62032"/>
                    <a:pt x="113248" y="62032"/>
                  </a:cubicBezTo>
                  <a:lnTo>
                    <a:pt x="113248" y="60123"/>
                  </a:lnTo>
                  <a:cubicBezTo>
                    <a:pt x="113248" y="59805"/>
                    <a:pt x="113248" y="59805"/>
                    <a:pt x="113884" y="59487"/>
                  </a:cubicBezTo>
                  <a:cubicBezTo>
                    <a:pt x="113566" y="59487"/>
                    <a:pt x="113566" y="59169"/>
                    <a:pt x="113566" y="59169"/>
                  </a:cubicBezTo>
                  <a:cubicBezTo>
                    <a:pt x="113566" y="59169"/>
                    <a:pt x="113248" y="59169"/>
                    <a:pt x="113248" y="59487"/>
                  </a:cubicBezTo>
                  <a:cubicBezTo>
                    <a:pt x="112929" y="59487"/>
                    <a:pt x="112611" y="59805"/>
                    <a:pt x="112611" y="59805"/>
                  </a:cubicBezTo>
                  <a:lnTo>
                    <a:pt x="110385" y="61396"/>
                  </a:lnTo>
                  <a:lnTo>
                    <a:pt x="109430" y="61396"/>
                  </a:lnTo>
                  <a:cubicBezTo>
                    <a:pt x="108794" y="62032"/>
                    <a:pt x="108158" y="62350"/>
                    <a:pt x="107204" y="62350"/>
                  </a:cubicBezTo>
                  <a:cubicBezTo>
                    <a:pt x="101478" y="73166"/>
                    <a:pt x="98933" y="75393"/>
                    <a:pt x="97978" y="75393"/>
                  </a:cubicBezTo>
                  <a:cubicBezTo>
                    <a:pt x="97342" y="75393"/>
                    <a:pt x="97342" y="74756"/>
                    <a:pt x="97342" y="74120"/>
                  </a:cubicBezTo>
                  <a:lnTo>
                    <a:pt x="97342" y="73802"/>
                  </a:lnTo>
                  <a:cubicBezTo>
                    <a:pt x="97342" y="73802"/>
                    <a:pt x="97024" y="74120"/>
                    <a:pt x="96706" y="74120"/>
                  </a:cubicBezTo>
                  <a:cubicBezTo>
                    <a:pt x="96388" y="74120"/>
                    <a:pt x="96388" y="74120"/>
                    <a:pt x="96388" y="74438"/>
                  </a:cubicBezTo>
                  <a:cubicBezTo>
                    <a:pt x="96388" y="74756"/>
                    <a:pt x="97660" y="77301"/>
                    <a:pt x="97660" y="77619"/>
                  </a:cubicBezTo>
                  <a:lnTo>
                    <a:pt x="97660" y="77937"/>
                  </a:lnTo>
                  <a:cubicBezTo>
                    <a:pt x="97342" y="78256"/>
                    <a:pt x="97342" y="78574"/>
                    <a:pt x="97024" y="79528"/>
                  </a:cubicBezTo>
                  <a:lnTo>
                    <a:pt x="96070" y="80164"/>
                  </a:lnTo>
                  <a:cubicBezTo>
                    <a:pt x="96070" y="80482"/>
                    <a:pt x="96388" y="80482"/>
                    <a:pt x="96706" y="80800"/>
                  </a:cubicBezTo>
                  <a:cubicBezTo>
                    <a:pt x="96706" y="80800"/>
                    <a:pt x="97024" y="81119"/>
                    <a:pt x="97024" y="81437"/>
                  </a:cubicBezTo>
                  <a:cubicBezTo>
                    <a:pt x="97024" y="81755"/>
                    <a:pt x="97024" y="82391"/>
                    <a:pt x="96706" y="83027"/>
                  </a:cubicBezTo>
                  <a:cubicBezTo>
                    <a:pt x="96070" y="83345"/>
                    <a:pt x="95752" y="83663"/>
                    <a:pt x="95752" y="83663"/>
                  </a:cubicBezTo>
                  <a:cubicBezTo>
                    <a:pt x="95433" y="83982"/>
                    <a:pt x="95115" y="84300"/>
                    <a:pt x="94797" y="84300"/>
                  </a:cubicBezTo>
                  <a:cubicBezTo>
                    <a:pt x="94161" y="84618"/>
                    <a:pt x="93843" y="84618"/>
                    <a:pt x="93843" y="84936"/>
                  </a:cubicBezTo>
                  <a:cubicBezTo>
                    <a:pt x="93843" y="84936"/>
                    <a:pt x="94479" y="85254"/>
                    <a:pt x="94797" y="85572"/>
                  </a:cubicBezTo>
                  <a:cubicBezTo>
                    <a:pt x="95115" y="85572"/>
                    <a:pt x="95433" y="86208"/>
                    <a:pt x="95115" y="86208"/>
                  </a:cubicBezTo>
                  <a:cubicBezTo>
                    <a:pt x="94161" y="86845"/>
                    <a:pt x="94161" y="86845"/>
                    <a:pt x="93843" y="87481"/>
                  </a:cubicBezTo>
                  <a:lnTo>
                    <a:pt x="93843" y="87799"/>
                  </a:lnTo>
                  <a:cubicBezTo>
                    <a:pt x="94161" y="89071"/>
                    <a:pt x="89071" y="104341"/>
                    <a:pt x="89071" y="106567"/>
                  </a:cubicBezTo>
                  <a:cubicBezTo>
                    <a:pt x="89071" y="107840"/>
                    <a:pt x="89071" y="108794"/>
                    <a:pt x="88117" y="109112"/>
                  </a:cubicBezTo>
                  <a:lnTo>
                    <a:pt x="88117" y="111339"/>
                  </a:lnTo>
                  <a:cubicBezTo>
                    <a:pt x="88117" y="111657"/>
                    <a:pt x="87163" y="111657"/>
                    <a:pt x="87163" y="112293"/>
                  </a:cubicBezTo>
                  <a:lnTo>
                    <a:pt x="87481" y="112612"/>
                  </a:lnTo>
                  <a:cubicBezTo>
                    <a:pt x="87481" y="112930"/>
                    <a:pt x="87481" y="113884"/>
                    <a:pt x="87163" y="113884"/>
                  </a:cubicBezTo>
                  <a:lnTo>
                    <a:pt x="87163" y="114520"/>
                  </a:lnTo>
                  <a:cubicBezTo>
                    <a:pt x="87163" y="115156"/>
                    <a:pt x="86526" y="117383"/>
                    <a:pt x="85572" y="117383"/>
                  </a:cubicBezTo>
                  <a:cubicBezTo>
                    <a:pt x="84936" y="117383"/>
                    <a:pt x="84936" y="118338"/>
                    <a:pt x="84936" y="118338"/>
                  </a:cubicBezTo>
                  <a:cubicBezTo>
                    <a:pt x="85254" y="118338"/>
                    <a:pt x="85890" y="118656"/>
                    <a:pt x="85890" y="118974"/>
                  </a:cubicBezTo>
                  <a:cubicBezTo>
                    <a:pt x="85890" y="119292"/>
                    <a:pt x="85890" y="119292"/>
                    <a:pt x="85254" y="119610"/>
                  </a:cubicBezTo>
                  <a:lnTo>
                    <a:pt x="85572" y="119928"/>
                  </a:lnTo>
                  <a:lnTo>
                    <a:pt x="85572" y="120882"/>
                  </a:lnTo>
                  <a:lnTo>
                    <a:pt x="84936" y="120882"/>
                  </a:lnTo>
                  <a:cubicBezTo>
                    <a:pt x="85254" y="121519"/>
                    <a:pt x="85254" y="122155"/>
                    <a:pt x="85254" y="122473"/>
                  </a:cubicBezTo>
                  <a:lnTo>
                    <a:pt x="84299" y="123745"/>
                  </a:lnTo>
                  <a:cubicBezTo>
                    <a:pt x="84299" y="124064"/>
                    <a:pt x="84618" y="124064"/>
                    <a:pt x="84618" y="124382"/>
                  </a:cubicBezTo>
                  <a:lnTo>
                    <a:pt x="84618" y="124700"/>
                  </a:lnTo>
                  <a:cubicBezTo>
                    <a:pt x="84618" y="125018"/>
                    <a:pt x="84299" y="125018"/>
                    <a:pt x="83981" y="125336"/>
                  </a:cubicBezTo>
                  <a:cubicBezTo>
                    <a:pt x="83981" y="126290"/>
                    <a:pt x="83981" y="126927"/>
                    <a:pt x="83663" y="127563"/>
                  </a:cubicBezTo>
                  <a:cubicBezTo>
                    <a:pt x="83663" y="127881"/>
                    <a:pt x="83345" y="128199"/>
                    <a:pt x="83345" y="128517"/>
                  </a:cubicBezTo>
                  <a:cubicBezTo>
                    <a:pt x="83027" y="128517"/>
                    <a:pt x="82709" y="129153"/>
                    <a:pt x="82709" y="130108"/>
                  </a:cubicBezTo>
                  <a:cubicBezTo>
                    <a:pt x="82709" y="130426"/>
                    <a:pt x="83027" y="130426"/>
                    <a:pt x="83027" y="130744"/>
                  </a:cubicBezTo>
                  <a:lnTo>
                    <a:pt x="83027" y="131380"/>
                  </a:lnTo>
                  <a:cubicBezTo>
                    <a:pt x="83027" y="132016"/>
                    <a:pt x="82391" y="132016"/>
                    <a:pt x="82391" y="133289"/>
                  </a:cubicBezTo>
                  <a:cubicBezTo>
                    <a:pt x="82391" y="133607"/>
                    <a:pt x="81755" y="134243"/>
                    <a:pt x="81755" y="134243"/>
                  </a:cubicBezTo>
                  <a:cubicBezTo>
                    <a:pt x="80800" y="134879"/>
                    <a:pt x="80164" y="134879"/>
                    <a:pt x="80164" y="135198"/>
                  </a:cubicBezTo>
                  <a:cubicBezTo>
                    <a:pt x="80164" y="135198"/>
                    <a:pt x="80482" y="135516"/>
                    <a:pt x="80800" y="135516"/>
                  </a:cubicBezTo>
                  <a:cubicBezTo>
                    <a:pt x="80800" y="135834"/>
                    <a:pt x="81118" y="135834"/>
                    <a:pt x="81118" y="136152"/>
                  </a:cubicBezTo>
                  <a:lnTo>
                    <a:pt x="81118" y="136788"/>
                  </a:lnTo>
                  <a:cubicBezTo>
                    <a:pt x="81118" y="137742"/>
                    <a:pt x="80482" y="138379"/>
                    <a:pt x="79528" y="139015"/>
                  </a:cubicBezTo>
                  <a:cubicBezTo>
                    <a:pt x="79210" y="139333"/>
                    <a:pt x="78892" y="139333"/>
                    <a:pt x="78892" y="139651"/>
                  </a:cubicBezTo>
                  <a:lnTo>
                    <a:pt x="79210" y="139969"/>
                  </a:lnTo>
                  <a:cubicBezTo>
                    <a:pt x="79210" y="140287"/>
                    <a:pt x="79210" y="140605"/>
                    <a:pt x="79528" y="140924"/>
                  </a:cubicBezTo>
                  <a:cubicBezTo>
                    <a:pt x="79528" y="141242"/>
                    <a:pt x="79846" y="141560"/>
                    <a:pt x="79846" y="141560"/>
                  </a:cubicBezTo>
                  <a:cubicBezTo>
                    <a:pt x="79846" y="141878"/>
                    <a:pt x="79528" y="141878"/>
                    <a:pt x="79528" y="141878"/>
                  </a:cubicBezTo>
                  <a:cubicBezTo>
                    <a:pt x="79528" y="142196"/>
                    <a:pt x="79528" y="142514"/>
                    <a:pt x="79846" y="142514"/>
                  </a:cubicBezTo>
                  <a:lnTo>
                    <a:pt x="80482" y="142514"/>
                  </a:lnTo>
                  <a:lnTo>
                    <a:pt x="80482" y="142832"/>
                  </a:lnTo>
                  <a:lnTo>
                    <a:pt x="80164" y="143150"/>
                  </a:lnTo>
                  <a:lnTo>
                    <a:pt x="79528" y="143150"/>
                  </a:lnTo>
                  <a:cubicBezTo>
                    <a:pt x="79210" y="143150"/>
                    <a:pt x="79210" y="142832"/>
                    <a:pt x="78892" y="142514"/>
                  </a:cubicBezTo>
                  <a:lnTo>
                    <a:pt x="78574" y="142514"/>
                  </a:lnTo>
                  <a:cubicBezTo>
                    <a:pt x="78256" y="142514"/>
                    <a:pt x="77619" y="143150"/>
                    <a:pt x="77619" y="144105"/>
                  </a:cubicBezTo>
                  <a:cubicBezTo>
                    <a:pt x="77619" y="144423"/>
                    <a:pt x="77301" y="144423"/>
                    <a:pt x="77301" y="144423"/>
                  </a:cubicBezTo>
                  <a:lnTo>
                    <a:pt x="76665" y="144423"/>
                  </a:lnTo>
                  <a:cubicBezTo>
                    <a:pt x="76665" y="144105"/>
                    <a:pt x="75711" y="144741"/>
                    <a:pt x="75711" y="144741"/>
                  </a:cubicBezTo>
                  <a:cubicBezTo>
                    <a:pt x="75393" y="145377"/>
                    <a:pt x="75393" y="145695"/>
                    <a:pt x="75393" y="146013"/>
                  </a:cubicBezTo>
                  <a:lnTo>
                    <a:pt x="75393" y="146650"/>
                  </a:lnTo>
                  <a:cubicBezTo>
                    <a:pt x="75393" y="146968"/>
                    <a:pt x="75393" y="147286"/>
                    <a:pt x="75074" y="147286"/>
                  </a:cubicBezTo>
                  <a:lnTo>
                    <a:pt x="75074" y="148558"/>
                  </a:lnTo>
                  <a:lnTo>
                    <a:pt x="75711" y="149831"/>
                  </a:lnTo>
                  <a:lnTo>
                    <a:pt x="75711" y="150149"/>
                  </a:lnTo>
                  <a:cubicBezTo>
                    <a:pt x="75711" y="150467"/>
                    <a:pt x="75711" y="150467"/>
                    <a:pt x="75393" y="150467"/>
                  </a:cubicBezTo>
                  <a:cubicBezTo>
                    <a:pt x="75393" y="151103"/>
                    <a:pt x="75074" y="151421"/>
                    <a:pt x="74438" y="152057"/>
                  </a:cubicBezTo>
                  <a:cubicBezTo>
                    <a:pt x="74438" y="152057"/>
                    <a:pt x="74438" y="152376"/>
                    <a:pt x="74756" y="152694"/>
                  </a:cubicBezTo>
                  <a:lnTo>
                    <a:pt x="75074" y="152694"/>
                  </a:lnTo>
                  <a:lnTo>
                    <a:pt x="76029" y="152057"/>
                  </a:lnTo>
                  <a:cubicBezTo>
                    <a:pt x="76347" y="152057"/>
                    <a:pt x="76665" y="151421"/>
                    <a:pt x="77301" y="151421"/>
                  </a:cubicBezTo>
                  <a:cubicBezTo>
                    <a:pt x="77619" y="151421"/>
                    <a:pt x="78256" y="151103"/>
                    <a:pt x="78256" y="150785"/>
                  </a:cubicBezTo>
                  <a:lnTo>
                    <a:pt x="78892" y="150785"/>
                  </a:lnTo>
                  <a:lnTo>
                    <a:pt x="78892" y="151421"/>
                  </a:lnTo>
                  <a:cubicBezTo>
                    <a:pt x="78574" y="151421"/>
                    <a:pt x="78256" y="152057"/>
                    <a:pt x="77937" y="152694"/>
                  </a:cubicBezTo>
                  <a:lnTo>
                    <a:pt x="77937" y="153330"/>
                  </a:lnTo>
                  <a:cubicBezTo>
                    <a:pt x="77937" y="154284"/>
                    <a:pt x="77937" y="154602"/>
                    <a:pt x="76029" y="154602"/>
                  </a:cubicBezTo>
                  <a:cubicBezTo>
                    <a:pt x="75711" y="154602"/>
                    <a:pt x="75711" y="155239"/>
                    <a:pt x="75711" y="155557"/>
                  </a:cubicBezTo>
                  <a:lnTo>
                    <a:pt x="75711" y="156511"/>
                  </a:lnTo>
                  <a:cubicBezTo>
                    <a:pt x="75711" y="156829"/>
                    <a:pt x="75711" y="156829"/>
                    <a:pt x="76029" y="157147"/>
                  </a:cubicBezTo>
                  <a:cubicBezTo>
                    <a:pt x="76347" y="157465"/>
                    <a:pt x="77301" y="157147"/>
                    <a:pt x="77301" y="157783"/>
                  </a:cubicBezTo>
                  <a:lnTo>
                    <a:pt x="77301" y="158102"/>
                  </a:lnTo>
                  <a:cubicBezTo>
                    <a:pt x="77301" y="158420"/>
                    <a:pt x="76983" y="158420"/>
                    <a:pt x="76983" y="159056"/>
                  </a:cubicBezTo>
                  <a:cubicBezTo>
                    <a:pt x="76983" y="159692"/>
                    <a:pt x="76347" y="159692"/>
                    <a:pt x="76347" y="159692"/>
                  </a:cubicBezTo>
                  <a:lnTo>
                    <a:pt x="76029" y="160010"/>
                  </a:lnTo>
                  <a:cubicBezTo>
                    <a:pt x="76029" y="160646"/>
                    <a:pt x="76029" y="160646"/>
                    <a:pt x="76347" y="161283"/>
                  </a:cubicBezTo>
                  <a:cubicBezTo>
                    <a:pt x="76347" y="161601"/>
                    <a:pt x="76347" y="161601"/>
                    <a:pt x="76029" y="161601"/>
                  </a:cubicBezTo>
                  <a:cubicBezTo>
                    <a:pt x="76029" y="161601"/>
                    <a:pt x="75711" y="161601"/>
                    <a:pt x="75393" y="161283"/>
                  </a:cubicBezTo>
                  <a:lnTo>
                    <a:pt x="75393" y="160965"/>
                  </a:lnTo>
                  <a:lnTo>
                    <a:pt x="75074" y="160646"/>
                  </a:lnTo>
                  <a:cubicBezTo>
                    <a:pt x="75393" y="160010"/>
                    <a:pt x="75711" y="159692"/>
                    <a:pt x="75711" y="158738"/>
                  </a:cubicBezTo>
                  <a:lnTo>
                    <a:pt x="75393" y="158102"/>
                  </a:lnTo>
                  <a:cubicBezTo>
                    <a:pt x="74120" y="158738"/>
                    <a:pt x="73802" y="159374"/>
                    <a:pt x="73484" y="159692"/>
                  </a:cubicBezTo>
                  <a:lnTo>
                    <a:pt x="73166" y="160010"/>
                  </a:lnTo>
                  <a:cubicBezTo>
                    <a:pt x="73166" y="160010"/>
                    <a:pt x="73166" y="160328"/>
                    <a:pt x="73484" y="160328"/>
                  </a:cubicBezTo>
                  <a:cubicBezTo>
                    <a:pt x="73802" y="160646"/>
                    <a:pt x="74120" y="160646"/>
                    <a:pt x="74120" y="160646"/>
                  </a:cubicBezTo>
                  <a:lnTo>
                    <a:pt x="74120" y="160965"/>
                  </a:lnTo>
                  <a:cubicBezTo>
                    <a:pt x="73802" y="161283"/>
                    <a:pt x="73484" y="161601"/>
                    <a:pt x="73484" y="162555"/>
                  </a:cubicBezTo>
                  <a:cubicBezTo>
                    <a:pt x="73484" y="162873"/>
                    <a:pt x="73484" y="162873"/>
                    <a:pt x="72529" y="163191"/>
                  </a:cubicBezTo>
                  <a:cubicBezTo>
                    <a:pt x="71893" y="163509"/>
                    <a:pt x="71575" y="163509"/>
                    <a:pt x="71575" y="163828"/>
                  </a:cubicBezTo>
                  <a:cubicBezTo>
                    <a:pt x="71575" y="164146"/>
                    <a:pt x="71893" y="164146"/>
                    <a:pt x="72211" y="164464"/>
                  </a:cubicBezTo>
                  <a:cubicBezTo>
                    <a:pt x="72847" y="164782"/>
                    <a:pt x="72847" y="165736"/>
                    <a:pt x="72847" y="165736"/>
                  </a:cubicBezTo>
                  <a:cubicBezTo>
                    <a:pt x="71893" y="166054"/>
                    <a:pt x="71893" y="166372"/>
                    <a:pt x="71893" y="166691"/>
                  </a:cubicBezTo>
                  <a:lnTo>
                    <a:pt x="72211" y="167009"/>
                  </a:lnTo>
                  <a:cubicBezTo>
                    <a:pt x="72211" y="167645"/>
                    <a:pt x="72211" y="167645"/>
                    <a:pt x="71893" y="168281"/>
                  </a:cubicBezTo>
                  <a:cubicBezTo>
                    <a:pt x="71575" y="168599"/>
                    <a:pt x="71257" y="168599"/>
                    <a:pt x="71257" y="168917"/>
                  </a:cubicBezTo>
                  <a:cubicBezTo>
                    <a:pt x="71257" y="169235"/>
                    <a:pt x="71575" y="169554"/>
                    <a:pt x="71893" y="169872"/>
                  </a:cubicBezTo>
                  <a:lnTo>
                    <a:pt x="72211" y="170190"/>
                  </a:lnTo>
                  <a:cubicBezTo>
                    <a:pt x="72211" y="170508"/>
                    <a:pt x="71893" y="170826"/>
                    <a:pt x="71575" y="170826"/>
                  </a:cubicBezTo>
                  <a:lnTo>
                    <a:pt x="70621" y="172735"/>
                  </a:lnTo>
                  <a:lnTo>
                    <a:pt x="70621" y="173053"/>
                  </a:lnTo>
                  <a:cubicBezTo>
                    <a:pt x="70939" y="173371"/>
                    <a:pt x="70939" y="173689"/>
                    <a:pt x="70939" y="174325"/>
                  </a:cubicBezTo>
                  <a:cubicBezTo>
                    <a:pt x="70621" y="174643"/>
                    <a:pt x="70621" y="174962"/>
                    <a:pt x="70621" y="175280"/>
                  </a:cubicBezTo>
                  <a:lnTo>
                    <a:pt x="70621" y="176552"/>
                  </a:lnTo>
                  <a:cubicBezTo>
                    <a:pt x="70621" y="176870"/>
                    <a:pt x="70939" y="176870"/>
                    <a:pt x="70939" y="177188"/>
                  </a:cubicBezTo>
                  <a:cubicBezTo>
                    <a:pt x="71257" y="177188"/>
                    <a:pt x="71257" y="177188"/>
                    <a:pt x="71257" y="177506"/>
                  </a:cubicBezTo>
                  <a:cubicBezTo>
                    <a:pt x="71257" y="177824"/>
                    <a:pt x="70939" y="178143"/>
                    <a:pt x="70621" y="178143"/>
                  </a:cubicBezTo>
                  <a:cubicBezTo>
                    <a:pt x="70621" y="178461"/>
                    <a:pt x="70621" y="179415"/>
                    <a:pt x="70303" y="180051"/>
                  </a:cubicBezTo>
                  <a:cubicBezTo>
                    <a:pt x="69985" y="180369"/>
                    <a:pt x="69985" y="180688"/>
                    <a:pt x="69985" y="180688"/>
                  </a:cubicBezTo>
                  <a:cubicBezTo>
                    <a:pt x="69985" y="181006"/>
                    <a:pt x="69985" y="181324"/>
                    <a:pt x="70303" y="181324"/>
                  </a:cubicBezTo>
                  <a:lnTo>
                    <a:pt x="70303" y="182278"/>
                  </a:lnTo>
                  <a:cubicBezTo>
                    <a:pt x="70303" y="182596"/>
                    <a:pt x="69985" y="182914"/>
                    <a:pt x="69030" y="183232"/>
                  </a:cubicBezTo>
                  <a:cubicBezTo>
                    <a:pt x="68712" y="183551"/>
                    <a:pt x="68394" y="183551"/>
                    <a:pt x="68394" y="183551"/>
                  </a:cubicBezTo>
                  <a:cubicBezTo>
                    <a:pt x="68394" y="184187"/>
                    <a:pt x="68394" y="184505"/>
                    <a:pt x="68712" y="184505"/>
                  </a:cubicBezTo>
                  <a:cubicBezTo>
                    <a:pt x="69666" y="184505"/>
                    <a:pt x="69666" y="184823"/>
                    <a:pt x="69985" y="185777"/>
                  </a:cubicBezTo>
                  <a:cubicBezTo>
                    <a:pt x="69985" y="186095"/>
                    <a:pt x="69666" y="186095"/>
                    <a:pt x="69666" y="186414"/>
                  </a:cubicBezTo>
                  <a:lnTo>
                    <a:pt x="69985" y="186732"/>
                  </a:lnTo>
                  <a:lnTo>
                    <a:pt x="69985" y="188004"/>
                  </a:lnTo>
                  <a:cubicBezTo>
                    <a:pt x="69985" y="188322"/>
                    <a:pt x="69666" y="188958"/>
                    <a:pt x="69030" y="189277"/>
                  </a:cubicBezTo>
                  <a:lnTo>
                    <a:pt x="69030" y="191185"/>
                  </a:lnTo>
                  <a:cubicBezTo>
                    <a:pt x="68712" y="191503"/>
                    <a:pt x="68712" y="191821"/>
                    <a:pt x="68712" y="192140"/>
                  </a:cubicBezTo>
                  <a:cubicBezTo>
                    <a:pt x="68712" y="192458"/>
                    <a:pt x="68712" y="192458"/>
                    <a:pt x="68394" y="192776"/>
                  </a:cubicBezTo>
                  <a:cubicBezTo>
                    <a:pt x="68394" y="193094"/>
                    <a:pt x="68394" y="193412"/>
                    <a:pt x="68712" y="193412"/>
                  </a:cubicBezTo>
                  <a:lnTo>
                    <a:pt x="69985" y="193412"/>
                  </a:lnTo>
                  <a:cubicBezTo>
                    <a:pt x="70303" y="193412"/>
                    <a:pt x="70621" y="193094"/>
                    <a:pt x="70621" y="192776"/>
                  </a:cubicBezTo>
                  <a:lnTo>
                    <a:pt x="70939" y="192776"/>
                  </a:lnTo>
                  <a:cubicBezTo>
                    <a:pt x="70939" y="192776"/>
                    <a:pt x="71257" y="192776"/>
                    <a:pt x="71257" y="193094"/>
                  </a:cubicBezTo>
                  <a:cubicBezTo>
                    <a:pt x="71257" y="193412"/>
                    <a:pt x="71257" y="193730"/>
                    <a:pt x="71575" y="194366"/>
                  </a:cubicBezTo>
                  <a:cubicBezTo>
                    <a:pt x="71575" y="194366"/>
                    <a:pt x="71575" y="194684"/>
                    <a:pt x="71893" y="194684"/>
                  </a:cubicBezTo>
                  <a:cubicBezTo>
                    <a:pt x="72211" y="195003"/>
                    <a:pt x="72211" y="195321"/>
                    <a:pt x="72211" y="195321"/>
                  </a:cubicBezTo>
                  <a:cubicBezTo>
                    <a:pt x="72211" y="195639"/>
                    <a:pt x="71893" y="195639"/>
                    <a:pt x="71257" y="196275"/>
                  </a:cubicBezTo>
                  <a:cubicBezTo>
                    <a:pt x="70939" y="196593"/>
                    <a:pt x="70939" y="196593"/>
                    <a:pt x="70621" y="196593"/>
                  </a:cubicBezTo>
                  <a:cubicBezTo>
                    <a:pt x="70303" y="196275"/>
                    <a:pt x="69985" y="195321"/>
                    <a:pt x="69348" y="195003"/>
                  </a:cubicBezTo>
                  <a:lnTo>
                    <a:pt x="69030" y="194684"/>
                  </a:lnTo>
                  <a:cubicBezTo>
                    <a:pt x="69030" y="194684"/>
                    <a:pt x="69030" y="195003"/>
                    <a:pt x="68712" y="195321"/>
                  </a:cubicBezTo>
                  <a:cubicBezTo>
                    <a:pt x="68394" y="195957"/>
                    <a:pt x="67758" y="196593"/>
                    <a:pt x="67758" y="197229"/>
                  </a:cubicBezTo>
                  <a:lnTo>
                    <a:pt x="67758" y="197547"/>
                  </a:lnTo>
                  <a:cubicBezTo>
                    <a:pt x="67758" y="198502"/>
                    <a:pt x="67758" y="199774"/>
                    <a:pt x="67440" y="201047"/>
                  </a:cubicBezTo>
                  <a:lnTo>
                    <a:pt x="67440" y="202319"/>
                  </a:lnTo>
                  <a:cubicBezTo>
                    <a:pt x="67122" y="202637"/>
                    <a:pt x="67122" y="202955"/>
                    <a:pt x="67122" y="203273"/>
                  </a:cubicBezTo>
                  <a:lnTo>
                    <a:pt x="67122" y="204546"/>
                  </a:lnTo>
                  <a:cubicBezTo>
                    <a:pt x="67440" y="204864"/>
                    <a:pt x="67440" y="204864"/>
                    <a:pt x="67440" y="205182"/>
                  </a:cubicBezTo>
                  <a:lnTo>
                    <a:pt x="67440" y="206455"/>
                  </a:lnTo>
                  <a:cubicBezTo>
                    <a:pt x="67440" y="206455"/>
                    <a:pt x="67440" y="207091"/>
                    <a:pt x="66803" y="207409"/>
                  </a:cubicBezTo>
                  <a:lnTo>
                    <a:pt x="66803" y="208363"/>
                  </a:lnTo>
                  <a:cubicBezTo>
                    <a:pt x="66803" y="208999"/>
                    <a:pt x="67122" y="209636"/>
                    <a:pt x="67122" y="210272"/>
                  </a:cubicBezTo>
                  <a:cubicBezTo>
                    <a:pt x="67122" y="210908"/>
                    <a:pt x="66803" y="211226"/>
                    <a:pt x="66803" y="211862"/>
                  </a:cubicBezTo>
                  <a:lnTo>
                    <a:pt x="66803" y="212181"/>
                  </a:lnTo>
                  <a:cubicBezTo>
                    <a:pt x="66803" y="212499"/>
                    <a:pt x="66803" y="212499"/>
                    <a:pt x="67122" y="212499"/>
                  </a:cubicBezTo>
                  <a:lnTo>
                    <a:pt x="67440" y="212499"/>
                  </a:lnTo>
                  <a:lnTo>
                    <a:pt x="67758" y="213135"/>
                  </a:lnTo>
                  <a:cubicBezTo>
                    <a:pt x="67122" y="213453"/>
                    <a:pt x="67440" y="213771"/>
                    <a:pt x="67122" y="214089"/>
                  </a:cubicBezTo>
                  <a:lnTo>
                    <a:pt x="67122" y="216634"/>
                  </a:lnTo>
                  <a:cubicBezTo>
                    <a:pt x="67122" y="216952"/>
                    <a:pt x="67122" y="216952"/>
                    <a:pt x="67440" y="216952"/>
                  </a:cubicBezTo>
                  <a:lnTo>
                    <a:pt x="67758" y="216952"/>
                  </a:lnTo>
                  <a:cubicBezTo>
                    <a:pt x="67758" y="216316"/>
                    <a:pt x="68394" y="215680"/>
                    <a:pt x="68394" y="215362"/>
                  </a:cubicBezTo>
                  <a:lnTo>
                    <a:pt x="68712" y="215044"/>
                  </a:lnTo>
                  <a:cubicBezTo>
                    <a:pt x="68712" y="215044"/>
                    <a:pt x="68712" y="215362"/>
                    <a:pt x="69030" y="215362"/>
                  </a:cubicBezTo>
                  <a:cubicBezTo>
                    <a:pt x="69985" y="215680"/>
                    <a:pt x="69985" y="215680"/>
                    <a:pt x="69985" y="216634"/>
                  </a:cubicBezTo>
                  <a:cubicBezTo>
                    <a:pt x="69348" y="216634"/>
                    <a:pt x="69348" y="216952"/>
                    <a:pt x="69348" y="217270"/>
                  </a:cubicBezTo>
                  <a:cubicBezTo>
                    <a:pt x="69348" y="217270"/>
                    <a:pt x="69985" y="217270"/>
                    <a:pt x="69985" y="217588"/>
                  </a:cubicBezTo>
                  <a:cubicBezTo>
                    <a:pt x="69666" y="218861"/>
                    <a:pt x="69666" y="219815"/>
                    <a:pt x="69666" y="220770"/>
                  </a:cubicBezTo>
                  <a:lnTo>
                    <a:pt x="69030" y="220770"/>
                  </a:lnTo>
                  <a:cubicBezTo>
                    <a:pt x="68712" y="220770"/>
                    <a:pt x="68712" y="220451"/>
                    <a:pt x="68394" y="220133"/>
                  </a:cubicBezTo>
                  <a:cubicBezTo>
                    <a:pt x="67758" y="219497"/>
                    <a:pt x="67758" y="219179"/>
                    <a:pt x="67758" y="218861"/>
                  </a:cubicBezTo>
                  <a:cubicBezTo>
                    <a:pt x="67758" y="218861"/>
                    <a:pt x="67758" y="218543"/>
                    <a:pt x="68394" y="217907"/>
                  </a:cubicBezTo>
                  <a:lnTo>
                    <a:pt x="68712" y="217588"/>
                  </a:lnTo>
                  <a:lnTo>
                    <a:pt x="68394" y="217588"/>
                  </a:lnTo>
                  <a:cubicBezTo>
                    <a:pt x="68394" y="217270"/>
                    <a:pt x="67758" y="217270"/>
                    <a:pt x="67758" y="217270"/>
                  </a:cubicBezTo>
                  <a:cubicBezTo>
                    <a:pt x="67440" y="217588"/>
                    <a:pt x="67122" y="217907"/>
                    <a:pt x="66803" y="218861"/>
                  </a:cubicBezTo>
                  <a:lnTo>
                    <a:pt x="66803" y="219815"/>
                  </a:lnTo>
                  <a:cubicBezTo>
                    <a:pt x="66803" y="220133"/>
                    <a:pt x="66485" y="220451"/>
                    <a:pt x="65849" y="220770"/>
                  </a:cubicBezTo>
                  <a:cubicBezTo>
                    <a:pt x="65531" y="220770"/>
                    <a:pt x="65849" y="221088"/>
                    <a:pt x="66485" y="221406"/>
                  </a:cubicBezTo>
                  <a:lnTo>
                    <a:pt x="67122" y="222042"/>
                  </a:lnTo>
                  <a:cubicBezTo>
                    <a:pt x="66167" y="222360"/>
                    <a:pt x="66167" y="222360"/>
                    <a:pt x="66167" y="222678"/>
                  </a:cubicBezTo>
                  <a:lnTo>
                    <a:pt x="66167" y="223314"/>
                  </a:lnTo>
                  <a:cubicBezTo>
                    <a:pt x="66167" y="223633"/>
                    <a:pt x="67122" y="223951"/>
                    <a:pt x="67758" y="223951"/>
                  </a:cubicBezTo>
                  <a:lnTo>
                    <a:pt x="68712" y="223951"/>
                  </a:lnTo>
                  <a:cubicBezTo>
                    <a:pt x="69666" y="223951"/>
                    <a:pt x="69985" y="223951"/>
                    <a:pt x="69985" y="224269"/>
                  </a:cubicBezTo>
                  <a:cubicBezTo>
                    <a:pt x="69985" y="224587"/>
                    <a:pt x="69666" y="224905"/>
                    <a:pt x="69666" y="225541"/>
                  </a:cubicBezTo>
                  <a:cubicBezTo>
                    <a:pt x="69666" y="227132"/>
                    <a:pt x="69666" y="229041"/>
                    <a:pt x="69985" y="230949"/>
                  </a:cubicBezTo>
                  <a:lnTo>
                    <a:pt x="69985" y="232222"/>
                  </a:lnTo>
                  <a:cubicBezTo>
                    <a:pt x="69348" y="232222"/>
                    <a:pt x="69348" y="232540"/>
                    <a:pt x="69348" y="232540"/>
                  </a:cubicBezTo>
                  <a:cubicBezTo>
                    <a:pt x="69666" y="232858"/>
                    <a:pt x="69666" y="232858"/>
                    <a:pt x="69666" y="233494"/>
                  </a:cubicBezTo>
                  <a:cubicBezTo>
                    <a:pt x="69985" y="234448"/>
                    <a:pt x="69985" y="235403"/>
                    <a:pt x="69985" y="236039"/>
                  </a:cubicBezTo>
                  <a:cubicBezTo>
                    <a:pt x="69985" y="236039"/>
                    <a:pt x="69666" y="236357"/>
                    <a:pt x="69666" y="236675"/>
                  </a:cubicBezTo>
                  <a:cubicBezTo>
                    <a:pt x="69666" y="236993"/>
                    <a:pt x="69666" y="237311"/>
                    <a:pt x="69030" y="237630"/>
                  </a:cubicBezTo>
                  <a:lnTo>
                    <a:pt x="69030" y="239538"/>
                  </a:lnTo>
                  <a:cubicBezTo>
                    <a:pt x="69348" y="239856"/>
                    <a:pt x="69666" y="239856"/>
                    <a:pt x="69666" y="239856"/>
                  </a:cubicBezTo>
                  <a:lnTo>
                    <a:pt x="69348" y="240174"/>
                  </a:lnTo>
                  <a:cubicBezTo>
                    <a:pt x="69348" y="240493"/>
                    <a:pt x="69348" y="240811"/>
                    <a:pt x="69985" y="241129"/>
                  </a:cubicBezTo>
                  <a:lnTo>
                    <a:pt x="69985" y="241447"/>
                  </a:lnTo>
                  <a:cubicBezTo>
                    <a:pt x="69348" y="241765"/>
                    <a:pt x="69348" y="241765"/>
                    <a:pt x="69348" y="242083"/>
                  </a:cubicBezTo>
                  <a:cubicBezTo>
                    <a:pt x="69666" y="242401"/>
                    <a:pt x="69666" y="242719"/>
                    <a:pt x="69666" y="242719"/>
                  </a:cubicBezTo>
                  <a:cubicBezTo>
                    <a:pt x="69666" y="243037"/>
                    <a:pt x="69666" y="243037"/>
                    <a:pt x="69348" y="243037"/>
                  </a:cubicBezTo>
                  <a:lnTo>
                    <a:pt x="69030" y="243356"/>
                  </a:lnTo>
                  <a:lnTo>
                    <a:pt x="68712" y="243037"/>
                  </a:lnTo>
                  <a:lnTo>
                    <a:pt x="68712" y="242083"/>
                  </a:lnTo>
                  <a:cubicBezTo>
                    <a:pt x="68712" y="241765"/>
                    <a:pt x="68394" y="241447"/>
                    <a:pt x="67758" y="241447"/>
                  </a:cubicBezTo>
                  <a:cubicBezTo>
                    <a:pt x="67758" y="241447"/>
                    <a:pt x="67440" y="241765"/>
                    <a:pt x="67440" y="242083"/>
                  </a:cubicBezTo>
                  <a:cubicBezTo>
                    <a:pt x="67440" y="243037"/>
                    <a:pt x="67122" y="244310"/>
                    <a:pt x="67122" y="245582"/>
                  </a:cubicBezTo>
                  <a:cubicBezTo>
                    <a:pt x="67122" y="245900"/>
                    <a:pt x="67440" y="245900"/>
                    <a:pt x="68076" y="245900"/>
                  </a:cubicBezTo>
                  <a:cubicBezTo>
                    <a:pt x="68394" y="245900"/>
                    <a:pt x="68394" y="245264"/>
                    <a:pt x="68712" y="245264"/>
                  </a:cubicBezTo>
                  <a:cubicBezTo>
                    <a:pt x="69030" y="245264"/>
                    <a:pt x="69666" y="245582"/>
                    <a:pt x="69666" y="245582"/>
                  </a:cubicBezTo>
                  <a:cubicBezTo>
                    <a:pt x="69666" y="245900"/>
                    <a:pt x="69985" y="246537"/>
                    <a:pt x="69985" y="246537"/>
                  </a:cubicBezTo>
                  <a:lnTo>
                    <a:pt x="69985" y="247809"/>
                  </a:lnTo>
                  <a:lnTo>
                    <a:pt x="70621" y="249082"/>
                  </a:lnTo>
                  <a:lnTo>
                    <a:pt x="70621" y="250354"/>
                  </a:lnTo>
                  <a:cubicBezTo>
                    <a:pt x="70621" y="250672"/>
                    <a:pt x="70303" y="250990"/>
                    <a:pt x="70303" y="251308"/>
                  </a:cubicBezTo>
                  <a:cubicBezTo>
                    <a:pt x="70303" y="251626"/>
                    <a:pt x="70621" y="252263"/>
                    <a:pt x="70939" y="252581"/>
                  </a:cubicBezTo>
                  <a:lnTo>
                    <a:pt x="70939" y="253535"/>
                  </a:lnTo>
                  <a:cubicBezTo>
                    <a:pt x="70939" y="253853"/>
                    <a:pt x="70939" y="254171"/>
                    <a:pt x="71257" y="254171"/>
                  </a:cubicBezTo>
                  <a:cubicBezTo>
                    <a:pt x="71575" y="254171"/>
                    <a:pt x="71257" y="254489"/>
                    <a:pt x="71257" y="254489"/>
                  </a:cubicBezTo>
                  <a:lnTo>
                    <a:pt x="71257" y="256716"/>
                  </a:lnTo>
                  <a:cubicBezTo>
                    <a:pt x="71257" y="257034"/>
                    <a:pt x="71257" y="257671"/>
                    <a:pt x="72211" y="258307"/>
                  </a:cubicBezTo>
                  <a:lnTo>
                    <a:pt x="72211" y="259261"/>
                  </a:lnTo>
                  <a:cubicBezTo>
                    <a:pt x="72211" y="259579"/>
                    <a:pt x="72529" y="259897"/>
                    <a:pt x="73166" y="260215"/>
                  </a:cubicBezTo>
                  <a:cubicBezTo>
                    <a:pt x="73166" y="260534"/>
                    <a:pt x="72847" y="260852"/>
                    <a:pt x="73166" y="260852"/>
                  </a:cubicBezTo>
                  <a:cubicBezTo>
                    <a:pt x="73802" y="260852"/>
                    <a:pt x="73802" y="260852"/>
                    <a:pt x="75074" y="260534"/>
                  </a:cubicBezTo>
                  <a:cubicBezTo>
                    <a:pt x="75393" y="260215"/>
                    <a:pt x="76029" y="259579"/>
                    <a:pt x="76983" y="259579"/>
                  </a:cubicBezTo>
                  <a:lnTo>
                    <a:pt x="78574" y="258307"/>
                  </a:lnTo>
                  <a:cubicBezTo>
                    <a:pt x="78892" y="257989"/>
                    <a:pt x="78892" y="257034"/>
                    <a:pt x="79528" y="256716"/>
                  </a:cubicBezTo>
                  <a:lnTo>
                    <a:pt x="79528" y="256398"/>
                  </a:lnTo>
                  <a:cubicBezTo>
                    <a:pt x="80800" y="255762"/>
                    <a:pt x="81118" y="254489"/>
                    <a:pt x="81755" y="254171"/>
                  </a:cubicBezTo>
                  <a:cubicBezTo>
                    <a:pt x="82391" y="253853"/>
                    <a:pt x="82391" y="253535"/>
                    <a:pt x="83027" y="252899"/>
                  </a:cubicBezTo>
                  <a:lnTo>
                    <a:pt x="83027" y="251945"/>
                  </a:lnTo>
                  <a:cubicBezTo>
                    <a:pt x="83027" y="251626"/>
                    <a:pt x="83027" y="251626"/>
                    <a:pt x="83345" y="251308"/>
                  </a:cubicBezTo>
                  <a:lnTo>
                    <a:pt x="83981" y="250672"/>
                  </a:lnTo>
                  <a:cubicBezTo>
                    <a:pt x="83981" y="250354"/>
                    <a:pt x="84299" y="250036"/>
                    <a:pt x="84299" y="249400"/>
                  </a:cubicBezTo>
                  <a:lnTo>
                    <a:pt x="85572" y="248445"/>
                  </a:lnTo>
                  <a:cubicBezTo>
                    <a:pt x="85572" y="247809"/>
                    <a:pt x="85572" y="247173"/>
                    <a:pt x="86526" y="246855"/>
                  </a:cubicBezTo>
                  <a:lnTo>
                    <a:pt x="86526" y="246219"/>
                  </a:lnTo>
                  <a:cubicBezTo>
                    <a:pt x="86526" y="245582"/>
                    <a:pt x="86844" y="244946"/>
                    <a:pt x="87163" y="244310"/>
                  </a:cubicBezTo>
                  <a:lnTo>
                    <a:pt x="89390" y="242401"/>
                  </a:lnTo>
                  <a:cubicBezTo>
                    <a:pt x="89708" y="241765"/>
                    <a:pt x="89708" y="241129"/>
                    <a:pt x="90026" y="240811"/>
                  </a:cubicBezTo>
                  <a:cubicBezTo>
                    <a:pt x="90344" y="240174"/>
                    <a:pt x="90662" y="239856"/>
                    <a:pt x="90662" y="239538"/>
                  </a:cubicBezTo>
                  <a:lnTo>
                    <a:pt x="90344" y="239220"/>
                  </a:lnTo>
                  <a:cubicBezTo>
                    <a:pt x="90344" y="238902"/>
                    <a:pt x="90344" y="238266"/>
                    <a:pt x="90980" y="237948"/>
                  </a:cubicBezTo>
                  <a:lnTo>
                    <a:pt x="91934" y="236039"/>
                  </a:lnTo>
                  <a:cubicBezTo>
                    <a:pt x="92571" y="235721"/>
                    <a:pt x="92571" y="234448"/>
                    <a:pt x="93525" y="233494"/>
                  </a:cubicBezTo>
                  <a:lnTo>
                    <a:pt x="93525" y="233176"/>
                  </a:lnTo>
                  <a:cubicBezTo>
                    <a:pt x="93525" y="232858"/>
                    <a:pt x="94161" y="232858"/>
                    <a:pt x="94479" y="232540"/>
                  </a:cubicBezTo>
                  <a:lnTo>
                    <a:pt x="94161" y="232540"/>
                  </a:lnTo>
                  <a:cubicBezTo>
                    <a:pt x="94797" y="232222"/>
                    <a:pt x="95115" y="231585"/>
                    <a:pt x="95115" y="230631"/>
                  </a:cubicBezTo>
                  <a:cubicBezTo>
                    <a:pt x="95115" y="229995"/>
                    <a:pt x="95433" y="229359"/>
                    <a:pt x="95433" y="229359"/>
                  </a:cubicBezTo>
                  <a:cubicBezTo>
                    <a:pt x="95433" y="229041"/>
                    <a:pt x="96706" y="228722"/>
                    <a:pt x="96706" y="228086"/>
                  </a:cubicBezTo>
                  <a:cubicBezTo>
                    <a:pt x="96706" y="227768"/>
                    <a:pt x="96388" y="227450"/>
                    <a:pt x="96388" y="227132"/>
                  </a:cubicBezTo>
                  <a:cubicBezTo>
                    <a:pt x="96388" y="226814"/>
                    <a:pt x="96388" y="226814"/>
                    <a:pt x="96706" y="226496"/>
                  </a:cubicBezTo>
                  <a:cubicBezTo>
                    <a:pt x="97660" y="225859"/>
                    <a:pt x="97660" y="225859"/>
                    <a:pt x="97660" y="225541"/>
                  </a:cubicBezTo>
                  <a:cubicBezTo>
                    <a:pt x="97978" y="224905"/>
                    <a:pt x="98296" y="224269"/>
                    <a:pt x="98296" y="223951"/>
                  </a:cubicBezTo>
                  <a:cubicBezTo>
                    <a:pt x="98614" y="223314"/>
                    <a:pt x="99569" y="222360"/>
                    <a:pt x="99887" y="222042"/>
                  </a:cubicBezTo>
                  <a:cubicBezTo>
                    <a:pt x="99887" y="220451"/>
                    <a:pt x="100523" y="219179"/>
                    <a:pt x="101478" y="218861"/>
                  </a:cubicBezTo>
                  <a:cubicBezTo>
                    <a:pt x="101478" y="218225"/>
                    <a:pt x="102114" y="217907"/>
                    <a:pt x="102114" y="217907"/>
                  </a:cubicBezTo>
                  <a:cubicBezTo>
                    <a:pt x="102432" y="217270"/>
                    <a:pt x="103068" y="216316"/>
                    <a:pt x="103068" y="215362"/>
                  </a:cubicBezTo>
                  <a:cubicBezTo>
                    <a:pt x="103386" y="215362"/>
                    <a:pt x="104341" y="213771"/>
                    <a:pt x="104341" y="213453"/>
                  </a:cubicBezTo>
                  <a:lnTo>
                    <a:pt x="104023" y="213135"/>
                  </a:lnTo>
                  <a:cubicBezTo>
                    <a:pt x="104023" y="212817"/>
                    <a:pt x="104659" y="212181"/>
                    <a:pt x="104659" y="211862"/>
                  </a:cubicBezTo>
                  <a:cubicBezTo>
                    <a:pt x="104659" y="210908"/>
                    <a:pt x="105931" y="210590"/>
                    <a:pt x="106249" y="209636"/>
                  </a:cubicBezTo>
                  <a:cubicBezTo>
                    <a:pt x="105931" y="209318"/>
                    <a:pt x="105931" y="208999"/>
                    <a:pt x="105931" y="208999"/>
                  </a:cubicBezTo>
                  <a:cubicBezTo>
                    <a:pt x="105931" y="208363"/>
                    <a:pt x="106249" y="208363"/>
                    <a:pt x="106249" y="208045"/>
                  </a:cubicBezTo>
                  <a:cubicBezTo>
                    <a:pt x="107522" y="207727"/>
                    <a:pt x="106886" y="206773"/>
                    <a:pt x="107840" y="206455"/>
                  </a:cubicBezTo>
                  <a:cubicBezTo>
                    <a:pt x="107840" y="205818"/>
                    <a:pt x="108158" y="205182"/>
                    <a:pt x="108476" y="204864"/>
                  </a:cubicBezTo>
                  <a:cubicBezTo>
                    <a:pt x="108476" y="204546"/>
                    <a:pt x="108794" y="203910"/>
                    <a:pt x="108794" y="203592"/>
                  </a:cubicBezTo>
                  <a:lnTo>
                    <a:pt x="108476" y="203273"/>
                  </a:lnTo>
                  <a:cubicBezTo>
                    <a:pt x="108476" y="203273"/>
                    <a:pt x="108794" y="202319"/>
                    <a:pt x="109112" y="202319"/>
                  </a:cubicBezTo>
                  <a:lnTo>
                    <a:pt x="110385" y="201047"/>
                  </a:lnTo>
                  <a:cubicBezTo>
                    <a:pt x="110703" y="200729"/>
                    <a:pt x="110703" y="200410"/>
                    <a:pt x="110703" y="200092"/>
                  </a:cubicBezTo>
                  <a:lnTo>
                    <a:pt x="111339" y="198820"/>
                  </a:lnTo>
                  <a:cubicBezTo>
                    <a:pt x="111339" y="198184"/>
                    <a:pt x="112611" y="198184"/>
                    <a:pt x="112611" y="197547"/>
                  </a:cubicBezTo>
                  <a:cubicBezTo>
                    <a:pt x="112293" y="197229"/>
                    <a:pt x="112293" y="196911"/>
                    <a:pt x="112293" y="196593"/>
                  </a:cubicBezTo>
                  <a:cubicBezTo>
                    <a:pt x="112293" y="196275"/>
                    <a:pt x="112293" y="195957"/>
                    <a:pt x="112611" y="195321"/>
                  </a:cubicBezTo>
                  <a:cubicBezTo>
                    <a:pt x="112611" y="195321"/>
                    <a:pt x="113248" y="195003"/>
                    <a:pt x="113248" y="194684"/>
                  </a:cubicBezTo>
                  <a:lnTo>
                    <a:pt x="113248" y="194366"/>
                  </a:lnTo>
                  <a:cubicBezTo>
                    <a:pt x="113248" y="194048"/>
                    <a:pt x="113248" y="194048"/>
                    <a:pt x="113884" y="193730"/>
                  </a:cubicBezTo>
                  <a:cubicBezTo>
                    <a:pt x="114202" y="193730"/>
                    <a:pt x="114202" y="193412"/>
                    <a:pt x="114202" y="193094"/>
                  </a:cubicBezTo>
                  <a:cubicBezTo>
                    <a:pt x="114202" y="192776"/>
                    <a:pt x="114520" y="192458"/>
                    <a:pt x="114838" y="192140"/>
                  </a:cubicBezTo>
                  <a:lnTo>
                    <a:pt x="114838" y="191503"/>
                  </a:lnTo>
                  <a:cubicBezTo>
                    <a:pt x="114838" y="191185"/>
                    <a:pt x="114838" y="191185"/>
                    <a:pt x="115156" y="191185"/>
                  </a:cubicBezTo>
                  <a:cubicBezTo>
                    <a:pt x="115156" y="189913"/>
                    <a:pt x="115793" y="188640"/>
                    <a:pt x="116747" y="187686"/>
                  </a:cubicBezTo>
                  <a:cubicBezTo>
                    <a:pt x="116747" y="187050"/>
                    <a:pt x="117065" y="186414"/>
                    <a:pt x="117065" y="186095"/>
                  </a:cubicBezTo>
                  <a:cubicBezTo>
                    <a:pt x="117065" y="185777"/>
                    <a:pt x="118020" y="185141"/>
                    <a:pt x="118020" y="184505"/>
                  </a:cubicBezTo>
                  <a:cubicBezTo>
                    <a:pt x="118020" y="184187"/>
                    <a:pt x="118338" y="183551"/>
                    <a:pt x="118974" y="183232"/>
                  </a:cubicBezTo>
                  <a:cubicBezTo>
                    <a:pt x="119610" y="182596"/>
                    <a:pt x="120246" y="181642"/>
                    <a:pt x="120246" y="180688"/>
                  </a:cubicBezTo>
                  <a:lnTo>
                    <a:pt x="120246" y="179415"/>
                  </a:lnTo>
                  <a:cubicBezTo>
                    <a:pt x="119928" y="179097"/>
                    <a:pt x="120564" y="179097"/>
                    <a:pt x="120564" y="179097"/>
                  </a:cubicBezTo>
                  <a:lnTo>
                    <a:pt x="121519" y="177188"/>
                  </a:lnTo>
                  <a:cubicBezTo>
                    <a:pt x="121519" y="176870"/>
                    <a:pt x="122473" y="176552"/>
                    <a:pt x="122155" y="176234"/>
                  </a:cubicBezTo>
                  <a:lnTo>
                    <a:pt x="121519" y="175916"/>
                  </a:lnTo>
                  <a:cubicBezTo>
                    <a:pt x="121519" y="175598"/>
                    <a:pt x="122473" y="175280"/>
                    <a:pt x="122473" y="174962"/>
                  </a:cubicBezTo>
                  <a:cubicBezTo>
                    <a:pt x="122473" y="174643"/>
                    <a:pt x="123427" y="174007"/>
                    <a:pt x="123427" y="173689"/>
                  </a:cubicBezTo>
                  <a:lnTo>
                    <a:pt x="123109" y="173689"/>
                  </a:lnTo>
                  <a:lnTo>
                    <a:pt x="123109" y="173371"/>
                  </a:lnTo>
                  <a:cubicBezTo>
                    <a:pt x="123109" y="173053"/>
                    <a:pt x="123745" y="173053"/>
                    <a:pt x="123745" y="172735"/>
                  </a:cubicBezTo>
                  <a:cubicBezTo>
                    <a:pt x="123745" y="172735"/>
                    <a:pt x="123745" y="172417"/>
                    <a:pt x="123427" y="172098"/>
                  </a:cubicBezTo>
                  <a:cubicBezTo>
                    <a:pt x="123427" y="171780"/>
                    <a:pt x="124382" y="171144"/>
                    <a:pt x="124063" y="170826"/>
                  </a:cubicBezTo>
                  <a:cubicBezTo>
                    <a:pt x="124382" y="170190"/>
                    <a:pt x="124700" y="169872"/>
                    <a:pt x="125018" y="169872"/>
                  </a:cubicBezTo>
                  <a:cubicBezTo>
                    <a:pt x="125654" y="169235"/>
                    <a:pt x="125018" y="168281"/>
                    <a:pt x="126608" y="167645"/>
                  </a:cubicBezTo>
                  <a:cubicBezTo>
                    <a:pt x="137742" y="152694"/>
                    <a:pt x="141878" y="147286"/>
                    <a:pt x="142514" y="147286"/>
                  </a:cubicBezTo>
                  <a:cubicBezTo>
                    <a:pt x="143469" y="147286"/>
                    <a:pt x="133925" y="162873"/>
                    <a:pt x="133607" y="167327"/>
                  </a:cubicBezTo>
                  <a:lnTo>
                    <a:pt x="133925" y="167327"/>
                  </a:lnTo>
                  <a:lnTo>
                    <a:pt x="133925" y="167645"/>
                  </a:lnTo>
                  <a:cubicBezTo>
                    <a:pt x="133925" y="168281"/>
                    <a:pt x="133925" y="168281"/>
                    <a:pt x="133607" y="168599"/>
                  </a:cubicBezTo>
                  <a:lnTo>
                    <a:pt x="134243" y="168599"/>
                  </a:lnTo>
                  <a:cubicBezTo>
                    <a:pt x="134561" y="168599"/>
                    <a:pt x="134879" y="168599"/>
                    <a:pt x="135834" y="167963"/>
                  </a:cubicBezTo>
                  <a:lnTo>
                    <a:pt x="135834" y="168599"/>
                  </a:lnTo>
                  <a:cubicBezTo>
                    <a:pt x="135834" y="169554"/>
                    <a:pt x="135197" y="170190"/>
                    <a:pt x="134879" y="170826"/>
                  </a:cubicBezTo>
                  <a:lnTo>
                    <a:pt x="134879" y="171144"/>
                  </a:lnTo>
                  <a:cubicBezTo>
                    <a:pt x="134561" y="171780"/>
                    <a:pt x="134561" y="171780"/>
                    <a:pt x="133607" y="172098"/>
                  </a:cubicBezTo>
                  <a:cubicBezTo>
                    <a:pt x="133289" y="172417"/>
                    <a:pt x="133289" y="172735"/>
                    <a:pt x="133289" y="173053"/>
                  </a:cubicBezTo>
                  <a:lnTo>
                    <a:pt x="133289" y="173689"/>
                  </a:lnTo>
                  <a:cubicBezTo>
                    <a:pt x="133289" y="173689"/>
                    <a:pt x="133289" y="174007"/>
                    <a:pt x="132971" y="174325"/>
                  </a:cubicBezTo>
                  <a:cubicBezTo>
                    <a:pt x="132335" y="174643"/>
                    <a:pt x="132335" y="174962"/>
                    <a:pt x="132335" y="175280"/>
                  </a:cubicBezTo>
                  <a:cubicBezTo>
                    <a:pt x="132335" y="175598"/>
                    <a:pt x="132335" y="175916"/>
                    <a:pt x="132971" y="176234"/>
                  </a:cubicBezTo>
                  <a:lnTo>
                    <a:pt x="133289" y="176552"/>
                  </a:lnTo>
                  <a:cubicBezTo>
                    <a:pt x="133289" y="176552"/>
                    <a:pt x="132971" y="176552"/>
                    <a:pt x="132653" y="176870"/>
                  </a:cubicBezTo>
                  <a:cubicBezTo>
                    <a:pt x="132653" y="176870"/>
                    <a:pt x="132335" y="177188"/>
                    <a:pt x="132016" y="177188"/>
                  </a:cubicBezTo>
                  <a:cubicBezTo>
                    <a:pt x="131380" y="177824"/>
                    <a:pt x="130744" y="178461"/>
                    <a:pt x="129472" y="178461"/>
                  </a:cubicBezTo>
                  <a:lnTo>
                    <a:pt x="129472" y="179097"/>
                  </a:lnTo>
                  <a:cubicBezTo>
                    <a:pt x="129790" y="179415"/>
                    <a:pt x="129790" y="179733"/>
                    <a:pt x="130744" y="179733"/>
                  </a:cubicBezTo>
                  <a:cubicBezTo>
                    <a:pt x="129790" y="180051"/>
                    <a:pt x="129790" y="180369"/>
                    <a:pt x="129153" y="180369"/>
                  </a:cubicBezTo>
                  <a:cubicBezTo>
                    <a:pt x="128517" y="180369"/>
                    <a:pt x="127881" y="180369"/>
                    <a:pt x="127881" y="181006"/>
                  </a:cubicBezTo>
                  <a:cubicBezTo>
                    <a:pt x="127563" y="181006"/>
                    <a:pt x="127563" y="181324"/>
                    <a:pt x="127563" y="181642"/>
                  </a:cubicBezTo>
                  <a:lnTo>
                    <a:pt x="127563" y="181960"/>
                  </a:lnTo>
                  <a:lnTo>
                    <a:pt x="128835" y="181960"/>
                  </a:lnTo>
                  <a:lnTo>
                    <a:pt x="128835" y="182596"/>
                  </a:lnTo>
                  <a:cubicBezTo>
                    <a:pt x="128835" y="182914"/>
                    <a:pt x="128835" y="183232"/>
                    <a:pt x="129153" y="183232"/>
                  </a:cubicBezTo>
                  <a:cubicBezTo>
                    <a:pt x="129153" y="183551"/>
                    <a:pt x="129472" y="183551"/>
                    <a:pt x="129472" y="183869"/>
                  </a:cubicBezTo>
                  <a:cubicBezTo>
                    <a:pt x="129472" y="184187"/>
                    <a:pt x="129153" y="184187"/>
                    <a:pt x="129153" y="184187"/>
                  </a:cubicBezTo>
                  <a:lnTo>
                    <a:pt x="127881" y="185141"/>
                  </a:lnTo>
                  <a:lnTo>
                    <a:pt x="127881" y="187686"/>
                  </a:lnTo>
                  <a:cubicBezTo>
                    <a:pt x="127563" y="187686"/>
                    <a:pt x="127563" y="188004"/>
                    <a:pt x="127563" y="188322"/>
                  </a:cubicBezTo>
                  <a:cubicBezTo>
                    <a:pt x="127563" y="188640"/>
                    <a:pt x="127245" y="188958"/>
                    <a:pt x="127245" y="189277"/>
                  </a:cubicBezTo>
                  <a:lnTo>
                    <a:pt x="126926" y="189595"/>
                  </a:lnTo>
                  <a:cubicBezTo>
                    <a:pt x="126290" y="189913"/>
                    <a:pt x="125972" y="190549"/>
                    <a:pt x="125972" y="190867"/>
                  </a:cubicBezTo>
                  <a:cubicBezTo>
                    <a:pt x="125972" y="191185"/>
                    <a:pt x="126608" y="191503"/>
                    <a:pt x="126608" y="192140"/>
                  </a:cubicBezTo>
                  <a:cubicBezTo>
                    <a:pt x="126608" y="192140"/>
                    <a:pt x="125336" y="192776"/>
                    <a:pt x="125018" y="192776"/>
                  </a:cubicBezTo>
                  <a:cubicBezTo>
                    <a:pt x="124700" y="192776"/>
                    <a:pt x="124700" y="192776"/>
                    <a:pt x="124700" y="193094"/>
                  </a:cubicBezTo>
                  <a:lnTo>
                    <a:pt x="124700" y="193730"/>
                  </a:lnTo>
                  <a:cubicBezTo>
                    <a:pt x="124700" y="194048"/>
                    <a:pt x="125018" y="194366"/>
                    <a:pt x="125018" y="194684"/>
                  </a:cubicBezTo>
                  <a:cubicBezTo>
                    <a:pt x="125018" y="195321"/>
                    <a:pt x="124382" y="195639"/>
                    <a:pt x="123427" y="196275"/>
                  </a:cubicBezTo>
                  <a:lnTo>
                    <a:pt x="123427" y="196911"/>
                  </a:lnTo>
                  <a:lnTo>
                    <a:pt x="124700" y="196911"/>
                  </a:lnTo>
                  <a:cubicBezTo>
                    <a:pt x="124700" y="196593"/>
                    <a:pt x="125018" y="196593"/>
                    <a:pt x="125336" y="196593"/>
                  </a:cubicBezTo>
                  <a:cubicBezTo>
                    <a:pt x="125654" y="196911"/>
                    <a:pt x="125972" y="196911"/>
                    <a:pt x="125972" y="196911"/>
                  </a:cubicBezTo>
                  <a:cubicBezTo>
                    <a:pt x="125972" y="196911"/>
                    <a:pt x="125654" y="197229"/>
                    <a:pt x="125654" y="197547"/>
                  </a:cubicBezTo>
                  <a:cubicBezTo>
                    <a:pt x="125336" y="197866"/>
                    <a:pt x="125336" y="197866"/>
                    <a:pt x="125336" y="198184"/>
                  </a:cubicBezTo>
                  <a:cubicBezTo>
                    <a:pt x="125336" y="198820"/>
                    <a:pt x="125336" y="199774"/>
                    <a:pt x="124700" y="200410"/>
                  </a:cubicBezTo>
                  <a:lnTo>
                    <a:pt x="124700" y="201365"/>
                  </a:lnTo>
                  <a:cubicBezTo>
                    <a:pt x="125018" y="201365"/>
                    <a:pt x="125018" y="201683"/>
                    <a:pt x="125018" y="202001"/>
                  </a:cubicBezTo>
                  <a:cubicBezTo>
                    <a:pt x="125018" y="202319"/>
                    <a:pt x="125018" y="202637"/>
                    <a:pt x="124700" y="202955"/>
                  </a:cubicBezTo>
                  <a:cubicBezTo>
                    <a:pt x="124382" y="202955"/>
                    <a:pt x="124382" y="202955"/>
                    <a:pt x="124382" y="203273"/>
                  </a:cubicBezTo>
                  <a:lnTo>
                    <a:pt x="124382" y="203592"/>
                  </a:lnTo>
                  <a:cubicBezTo>
                    <a:pt x="123745" y="203592"/>
                    <a:pt x="123745" y="203592"/>
                    <a:pt x="123745" y="204228"/>
                  </a:cubicBezTo>
                  <a:cubicBezTo>
                    <a:pt x="123745" y="204864"/>
                    <a:pt x="123109" y="204864"/>
                    <a:pt x="123109" y="205500"/>
                  </a:cubicBezTo>
                  <a:cubicBezTo>
                    <a:pt x="123109" y="205818"/>
                    <a:pt x="123109" y="206455"/>
                    <a:pt x="122791" y="206455"/>
                  </a:cubicBezTo>
                  <a:cubicBezTo>
                    <a:pt x="121519" y="206455"/>
                    <a:pt x="121519" y="207091"/>
                    <a:pt x="120564" y="207409"/>
                  </a:cubicBezTo>
                  <a:lnTo>
                    <a:pt x="120564" y="208363"/>
                  </a:lnTo>
                  <a:cubicBezTo>
                    <a:pt x="119292" y="208999"/>
                    <a:pt x="118974" y="209636"/>
                    <a:pt x="118338" y="210590"/>
                  </a:cubicBezTo>
                  <a:lnTo>
                    <a:pt x="118656" y="210590"/>
                  </a:lnTo>
                  <a:cubicBezTo>
                    <a:pt x="119292" y="210590"/>
                    <a:pt x="118974" y="211226"/>
                    <a:pt x="119292" y="211544"/>
                  </a:cubicBezTo>
                  <a:lnTo>
                    <a:pt x="119292" y="211862"/>
                  </a:lnTo>
                  <a:cubicBezTo>
                    <a:pt x="118974" y="212181"/>
                    <a:pt x="118974" y="212817"/>
                    <a:pt x="118974" y="213135"/>
                  </a:cubicBezTo>
                  <a:cubicBezTo>
                    <a:pt x="118974" y="213453"/>
                    <a:pt x="118974" y="213771"/>
                    <a:pt x="118656" y="213771"/>
                  </a:cubicBezTo>
                  <a:cubicBezTo>
                    <a:pt x="118338" y="214407"/>
                    <a:pt x="117701" y="214725"/>
                    <a:pt x="117701" y="215362"/>
                  </a:cubicBezTo>
                  <a:lnTo>
                    <a:pt x="118338" y="215680"/>
                  </a:lnTo>
                  <a:cubicBezTo>
                    <a:pt x="118338" y="216634"/>
                    <a:pt x="117065" y="216634"/>
                    <a:pt x="116747" y="216952"/>
                  </a:cubicBezTo>
                  <a:cubicBezTo>
                    <a:pt x="116747" y="216952"/>
                    <a:pt x="116111" y="216952"/>
                    <a:pt x="116111" y="216634"/>
                  </a:cubicBezTo>
                  <a:cubicBezTo>
                    <a:pt x="116111" y="216316"/>
                    <a:pt x="116111" y="215680"/>
                    <a:pt x="115793" y="215362"/>
                  </a:cubicBezTo>
                  <a:cubicBezTo>
                    <a:pt x="115793" y="215362"/>
                    <a:pt x="116111" y="215044"/>
                    <a:pt x="116429" y="215044"/>
                  </a:cubicBezTo>
                  <a:cubicBezTo>
                    <a:pt x="116747" y="215044"/>
                    <a:pt x="116747" y="214725"/>
                    <a:pt x="117065" y="214089"/>
                  </a:cubicBezTo>
                  <a:cubicBezTo>
                    <a:pt x="117065" y="213771"/>
                    <a:pt x="116747" y="213771"/>
                    <a:pt x="116747" y="213771"/>
                  </a:cubicBezTo>
                  <a:cubicBezTo>
                    <a:pt x="115793" y="213771"/>
                    <a:pt x="115156" y="214089"/>
                    <a:pt x="114520" y="215044"/>
                  </a:cubicBezTo>
                  <a:lnTo>
                    <a:pt x="114520" y="215362"/>
                  </a:lnTo>
                  <a:cubicBezTo>
                    <a:pt x="114520" y="215998"/>
                    <a:pt x="113566" y="216634"/>
                    <a:pt x="113566" y="217588"/>
                  </a:cubicBezTo>
                  <a:lnTo>
                    <a:pt x="113566" y="217907"/>
                  </a:lnTo>
                  <a:cubicBezTo>
                    <a:pt x="112929" y="218543"/>
                    <a:pt x="112929" y="218861"/>
                    <a:pt x="112929" y="219179"/>
                  </a:cubicBezTo>
                  <a:lnTo>
                    <a:pt x="112929" y="220451"/>
                  </a:lnTo>
                  <a:cubicBezTo>
                    <a:pt x="113248" y="220451"/>
                    <a:pt x="113566" y="220770"/>
                    <a:pt x="113566" y="220770"/>
                  </a:cubicBezTo>
                  <a:cubicBezTo>
                    <a:pt x="113566" y="221088"/>
                    <a:pt x="113248" y="221088"/>
                    <a:pt x="112929" y="221406"/>
                  </a:cubicBezTo>
                  <a:cubicBezTo>
                    <a:pt x="112611" y="222042"/>
                    <a:pt x="112611" y="222360"/>
                    <a:pt x="112611" y="223314"/>
                  </a:cubicBezTo>
                  <a:lnTo>
                    <a:pt x="112611" y="224905"/>
                  </a:lnTo>
                  <a:cubicBezTo>
                    <a:pt x="112293" y="225541"/>
                    <a:pt x="111657" y="225541"/>
                    <a:pt x="111657" y="225859"/>
                  </a:cubicBezTo>
                  <a:lnTo>
                    <a:pt x="111657" y="227132"/>
                  </a:lnTo>
                  <a:cubicBezTo>
                    <a:pt x="111657" y="227450"/>
                    <a:pt x="111339" y="228404"/>
                    <a:pt x="111021" y="228404"/>
                  </a:cubicBezTo>
                  <a:lnTo>
                    <a:pt x="110385" y="228404"/>
                  </a:lnTo>
                  <a:cubicBezTo>
                    <a:pt x="110067" y="228404"/>
                    <a:pt x="109748" y="228404"/>
                    <a:pt x="109430" y="228722"/>
                  </a:cubicBezTo>
                  <a:cubicBezTo>
                    <a:pt x="109112" y="229041"/>
                    <a:pt x="109112" y="229359"/>
                    <a:pt x="109112" y="229359"/>
                  </a:cubicBezTo>
                  <a:cubicBezTo>
                    <a:pt x="109748" y="229677"/>
                    <a:pt x="110067" y="229677"/>
                    <a:pt x="110067" y="229995"/>
                  </a:cubicBezTo>
                  <a:cubicBezTo>
                    <a:pt x="110067" y="230313"/>
                    <a:pt x="109748" y="230631"/>
                    <a:pt x="109430" y="230949"/>
                  </a:cubicBezTo>
                  <a:cubicBezTo>
                    <a:pt x="108794" y="231904"/>
                    <a:pt x="108158" y="231904"/>
                    <a:pt x="107204" y="231904"/>
                  </a:cubicBezTo>
                  <a:cubicBezTo>
                    <a:pt x="106886" y="231904"/>
                    <a:pt x="106567" y="232222"/>
                    <a:pt x="106567" y="232222"/>
                  </a:cubicBezTo>
                  <a:cubicBezTo>
                    <a:pt x="106567" y="232540"/>
                    <a:pt x="106249" y="232858"/>
                    <a:pt x="106249" y="232858"/>
                  </a:cubicBezTo>
                  <a:lnTo>
                    <a:pt x="106249" y="234130"/>
                  </a:lnTo>
                  <a:cubicBezTo>
                    <a:pt x="105295" y="234448"/>
                    <a:pt x="105295" y="235085"/>
                    <a:pt x="105295" y="235721"/>
                  </a:cubicBezTo>
                  <a:cubicBezTo>
                    <a:pt x="105295" y="236039"/>
                    <a:pt x="104977" y="236039"/>
                    <a:pt x="104659" y="236357"/>
                  </a:cubicBezTo>
                  <a:lnTo>
                    <a:pt x="104659" y="236993"/>
                  </a:lnTo>
                  <a:cubicBezTo>
                    <a:pt x="104659" y="237311"/>
                    <a:pt x="104659" y="237630"/>
                    <a:pt x="104341" y="237630"/>
                  </a:cubicBezTo>
                  <a:cubicBezTo>
                    <a:pt x="104023" y="237630"/>
                    <a:pt x="103705" y="237311"/>
                    <a:pt x="103386" y="237311"/>
                  </a:cubicBezTo>
                  <a:lnTo>
                    <a:pt x="103386" y="236993"/>
                  </a:lnTo>
                  <a:cubicBezTo>
                    <a:pt x="103068" y="236993"/>
                    <a:pt x="103068" y="237311"/>
                    <a:pt x="103068" y="237311"/>
                  </a:cubicBezTo>
                  <a:cubicBezTo>
                    <a:pt x="102750" y="237311"/>
                    <a:pt x="102432" y="237630"/>
                    <a:pt x="102114" y="237948"/>
                  </a:cubicBezTo>
                  <a:cubicBezTo>
                    <a:pt x="101796" y="238266"/>
                    <a:pt x="101796" y="238266"/>
                    <a:pt x="101796" y="238584"/>
                  </a:cubicBezTo>
                  <a:lnTo>
                    <a:pt x="101796" y="239220"/>
                  </a:lnTo>
                  <a:lnTo>
                    <a:pt x="102114" y="239538"/>
                  </a:lnTo>
                  <a:lnTo>
                    <a:pt x="103386" y="238266"/>
                  </a:lnTo>
                  <a:cubicBezTo>
                    <a:pt x="103386" y="238266"/>
                    <a:pt x="103386" y="237948"/>
                    <a:pt x="103705" y="237948"/>
                  </a:cubicBezTo>
                  <a:cubicBezTo>
                    <a:pt x="104023" y="237948"/>
                    <a:pt x="104341" y="238266"/>
                    <a:pt x="104341" y="238266"/>
                  </a:cubicBezTo>
                  <a:cubicBezTo>
                    <a:pt x="104659" y="238584"/>
                    <a:pt x="104977" y="238902"/>
                    <a:pt x="104977" y="239220"/>
                  </a:cubicBezTo>
                  <a:cubicBezTo>
                    <a:pt x="104977" y="239538"/>
                    <a:pt x="105613" y="239856"/>
                    <a:pt x="106249" y="239856"/>
                  </a:cubicBezTo>
                  <a:lnTo>
                    <a:pt x="107204" y="239856"/>
                  </a:lnTo>
                  <a:lnTo>
                    <a:pt x="106886" y="239538"/>
                  </a:lnTo>
                  <a:lnTo>
                    <a:pt x="106886" y="238266"/>
                  </a:lnTo>
                  <a:lnTo>
                    <a:pt x="107522" y="237948"/>
                  </a:lnTo>
                  <a:lnTo>
                    <a:pt x="107522" y="238266"/>
                  </a:lnTo>
                  <a:cubicBezTo>
                    <a:pt x="107522" y="238902"/>
                    <a:pt x="107522" y="239538"/>
                    <a:pt x="107840" y="240493"/>
                  </a:cubicBezTo>
                  <a:lnTo>
                    <a:pt x="107840" y="241129"/>
                  </a:lnTo>
                  <a:cubicBezTo>
                    <a:pt x="106886" y="241447"/>
                    <a:pt x="106567" y="242083"/>
                    <a:pt x="106249" y="242401"/>
                  </a:cubicBezTo>
                  <a:cubicBezTo>
                    <a:pt x="105613" y="243037"/>
                    <a:pt x="105295" y="243356"/>
                    <a:pt x="104977" y="243356"/>
                  </a:cubicBezTo>
                  <a:cubicBezTo>
                    <a:pt x="104659" y="243356"/>
                    <a:pt x="104341" y="243037"/>
                    <a:pt x="103705" y="242719"/>
                  </a:cubicBezTo>
                  <a:cubicBezTo>
                    <a:pt x="103705" y="242719"/>
                    <a:pt x="103386" y="242401"/>
                    <a:pt x="103068" y="242401"/>
                  </a:cubicBezTo>
                  <a:cubicBezTo>
                    <a:pt x="102750" y="242401"/>
                    <a:pt x="102750" y="242719"/>
                    <a:pt x="102432" y="243037"/>
                  </a:cubicBezTo>
                  <a:cubicBezTo>
                    <a:pt x="102114" y="243037"/>
                    <a:pt x="101796" y="243037"/>
                    <a:pt x="101478" y="243674"/>
                  </a:cubicBezTo>
                  <a:cubicBezTo>
                    <a:pt x="100841" y="243674"/>
                    <a:pt x="100841" y="243992"/>
                    <a:pt x="100841" y="243992"/>
                  </a:cubicBezTo>
                  <a:cubicBezTo>
                    <a:pt x="101796" y="244310"/>
                    <a:pt x="101796" y="244628"/>
                    <a:pt x="101796" y="244946"/>
                  </a:cubicBezTo>
                  <a:lnTo>
                    <a:pt x="101796" y="245582"/>
                  </a:lnTo>
                  <a:cubicBezTo>
                    <a:pt x="101796" y="245900"/>
                    <a:pt x="101796" y="245900"/>
                    <a:pt x="102432" y="246219"/>
                  </a:cubicBezTo>
                  <a:cubicBezTo>
                    <a:pt x="102432" y="246537"/>
                    <a:pt x="102750" y="246537"/>
                    <a:pt x="102750" y="246855"/>
                  </a:cubicBezTo>
                  <a:lnTo>
                    <a:pt x="101796" y="247491"/>
                  </a:lnTo>
                  <a:cubicBezTo>
                    <a:pt x="100523" y="248127"/>
                    <a:pt x="100205" y="249082"/>
                    <a:pt x="99569" y="249718"/>
                  </a:cubicBezTo>
                  <a:cubicBezTo>
                    <a:pt x="99251" y="250036"/>
                    <a:pt x="98933" y="250036"/>
                    <a:pt x="98933" y="250354"/>
                  </a:cubicBezTo>
                  <a:cubicBezTo>
                    <a:pt x="98933" y="250672"/>
                    <a:pt x="99251" y="250990"/>
                    <a:pt x="99569" y="251308"/>
                  </a:cubicBezTo>
                  <a:lnTo>
                    <a:pt x="99887" y="250990"/>
                  </a:lnTo>
                  <a:cubicBezTo>
                    <a:pt x="99887" y="250990"/>
                    <a:pt x="100205" y="250672"/>
                    <a:pt x="100523" y="250672"/>
                  </a:cubicBezTo>
                  <a:cubicBezTo>
                    <a:pt x="100523" y="250672"/>
                    <a:pt x="100841" y="250672"/>
                    <a:pt x="100523" y="250990"/>
                  </a:cubicBezTo>
                  <a:lnTo>
                    <a:pt x="100841" y="250990"/>
                  </a:lnTo>
                  <a:lnTo>
                    <a:pt x="100523" y="251308"/>
                  </a:lnTo>
                  <a:cubicBezTo>
                    <a:pt x="100205" y="251308"/>
                    <a:pt x="100205" y="251626"/>
                    <a:pt x="100205" y="251945"/>
                  </a:cubicBezTo>
                  <a:cubicBezTo>
                    <a:pt x="100205" y="252263"/>
                    <a:pt x="100523" y="252263"/>
                    <a:pt x="100523" y="252263"/>
                  </a:cubicBezTo>
                  <a:lnTo>
                    <a:pt x="100205" y="252581"/>
                  </a:lnTo>
                  <a:cubicBezTo>
                    <a:pt x="99887" y="252899"/>
                    <a:pt x="99569" y="253535"/>
                    <a:pt x="99569" y="253535"/>
                  </a:cubicBezTo>
                  <a:lnTo>
                    <a:pt x="98933" y="253853"/>
                  </a:lnTo>
                  <a:cubicBezTo>
                    <a:pt x="98614" y="254489"/>
                    <a:pt x="98614" y="254808"/>
                    <a:pt x="97978" y="255444"/>
                  </a:cubicBezTo>
                  <a:lnTo>
                    <a:pt x="97978" y="256080"/>
                  </a:lnTo>
                  <a:cubicBezTo>
                    <a:pt x="97978" y="257034"/>
                    <a:pt x="97342" y="257352"/>
                    <a:pt x="96706" y="257989"/>
                  </a:cubicBezTo>
                  <a:lnTo>
                    <a:pt x="96706" y="259579"/>
                  </a:lnTo>
                  <a:cubicBezTo>
                    <a:pt x="96706" y="260215"/>
                    <a:pt x="96070" y="260534"/>
                    <a:pt x="95433" y="261170"/>
                  </a:cubicBezTo>
                  <a:cubicBezTo>
                    <a:pt x="94797" y="261488"/>
                    <a:pt x="94479" y="261806"/>
                    <a:pt x="94479" y="262760"/>
                  </a:cubicBezTo>
                  <a:cubicBezTo>
                    <a:pt x="94479" y="263078"/>
                    <a:pt x="94479" y="263397"/>
                    <a:pt x="93843" y="263397"/>
                  </a:cubicBezTo>
                  <a:cubicBezTo>
                    <a:pt x="93525" y="263715"/>
                    <a:pt x="93525" y="263715"/>
                    <a:pt x="93525" y="264033"/>
                  </a:cubicBezTo>
                  <a:lnTo>
                    <a:pt x="93525" y="264669"/>
                  </a:lnTo>
                  <a:cubicBezTo>
                    <a:pt x="92889" y="264669"/>
                    <a:pt x="92571" y="264987"/>
                    <a:pt x="91616" y="265941"/>
                  </a:cubicBezTo>
                  <a:cubicBezTo>
                    <a:pt x="91298" y="266260"/>
                    <a:pt x="91298" y="266260"/>
                    <a:pt x="91298" y="266578"/>
                  </a:cubicBezTo>
                  <a:cubicBezTo>
                    <a:pt x="91298" y="266896"/>
                    <a:pt x="91616" y="267214"/>
                    <a:pt x="91934" y="267214"/>
                  </a:cubicBezTo>
                  <a:cubicBezTo>
                    <a:pt x="91934" y="267532"/>
                    <a:pt x="92252" y="267850"/>
                    <a:pt x="92252" y="267850"/>
                  </a:cubicBezTo>
                  <a:cubicBezTo>
                    <a:pt x="92252" y="268168"/>
                    <a:pt x="91934" y="268168"/>
                    <a:pt x="91934" y="268168"/>
                  </a:cubicBezTo>
                  <a:lnTo>
                    <a:pt x="91298" y="269123"/>
                  </a:lnTo>
                  <a:cubicBezTo>
                    <a:pt x="91298" y="269441"/>
                    <a:pt x="91298" y="269759"/>
                    <a:pt x="91616" y="269759"/>
                  </a:cubicBezTo>
                  <a:cubicBezTo>
                    <a:pt x="91616" y="269759"/>
                    <a:pt x="91616" y="270077"/>
                    <a:pt x="91934" y="270395"/>
                  </a:cubicBezTo>
                  <a:lnTo>
                    <a:pt x="91934" y="270713"/>
                  </a:lnTo>
                  <a:lnTo>
                    <a:pt x="91616" y="271031"/>
                  </a:lnTo>
                  <a:lnTo>
                    <a:pt x="90662" y="271031"/>
                  </a:lnTo>
                  <a:cubicBezTo>
                    <a:pt x="90344" y="271031"/>
                    <a:pt x="90026" y="271031"/>
                    <a:pt x="90026" y="271667"/>
                  </a:cubicBezTo>
                  <a:cubicBezTo>
                    <a:pt x="89708" y="272940"/>
                    <a:pt x="89708" y="272940"/>
                    <a:pt x="88435" y="273894"/>
                  </a:cubicBezTo>
                  <a:cubicBezTo>
                    <a:pt x="88435" y="274212"/>
                    <a:pt x="88117" y="274530"/>
                    <a:pt x="87163" y="275167"/>
                  </a:cubicBezTo>
                  <a:lnTo>
                    <a:pt x="86844" y="275803"/>
                  </a:lnTo>
                  <a:lnTo>
                    <a:pt x="85572" y="275803"/>
                  </a:lnTo>
                  <a:cubicBezTo>
                    <a:pt x="85572" y="276121"/>
                    <a:pt x="85254" y="276439"/>
                    <a:pt x="84299" y="276439"/>
                  </a:cubicBezTo>
                  <a:cubicBezTo>
                    <a:pt x="83981" y="276439"/>
                    <a:pt x="83663" y="277394"/>
                    <a:pt x="83345" y="277075"/>
                  </a:cubicBezTo>
                  <a:lnTo>
                    <a:pt x="83027" y="277394"/>
                  </a:lnTo>
                  <a:cubicBezTo>
                    <a:pt x="83027" y="277712"/>
                    <a:pt x="83027" y="278030"/>
                    <a:pt x="82709" y="278030"/>
                  </a:cubicBezTo>
                  <a:cubicBezTo>
                    <a:pt x="82391" y="278030"/>
                    <a:pt x="81755" y="277712"/>
                    <a:pt x="81755" y="277712"/>
                  </a:cubicBezTo>
                  <a:lnTo>
                    <a:pt x="78892" y="281211"/>
                  </a:lnTo>
                  <a:cubicBezTo>
                    <a:pt x="78892" y="281847"/>
                    <a:pt x="78574" y="281847"/>
                    <a:pt x="78256" y="281847"/>
                  </a:cubicBezTo>
                  <a:lnTo>
                    <a:pt x="75393" y="281847"/>
                  </a:lnTo>
                  <a:cubicBezTo>
                    <a:pt x="75393" y="281211"/>
                    <a:pt x="75074" y="281211"/>
                    <a:pt x="74438" y="281211"/>
                  </a:cubicBezTo>
                  <a:cubicBezTo>
                    <a:pt x="73802" y="281211"/>
                    <a:pt x="72847" y="281529"/>
                    <a:pt x="72211" y="281529"/>
                  </a:cubicBezTo>
                  <a:cubicBezTo>
                    <a:pt x="71575" y="281529"/>
                    <a:pt x="71257" y="281211"/>
                    <a:pt x="70939" y="281211"/>
                  </a:cubicBezTo>
                  <a:cubicBezTo>
                    <a:pt x="70303" y="281529"/>
                    <a:pt x="69985" y="281529"/>
                    <a:pt x="69666" y="281529"/>
                  </a:cubicBezTo>
                  <a:cubicBezTo>
                    <a:pt x="69348" y="281529"/>
                    <a:pt x="69030" y="281529"/>
                    <a:pt x="68712" y="281847"/>
                  </a:cubicBezTo>
                  <a:lnTo>
                    <a:pt x="64259" y="279302"/>
                  </a:lnTo>
                  <a:cubicBezTo>
                    <a:pt x="63622" y="279302"/>
                    <a:pt x="63622" y="279620"/>
                    <a:pt x="63304" y="279620"/>
                  </a:cubicBezTo>
                  <a:cubicBezTo>
                    <a:pt x="62986" y="279938"/>
                    <a:pt x="62668" y="279938"/>
                    <a:pt x="62668" y="279938"/>
                  </a:cubicBezTo>
                  <a:cubicBezTo>
                    <a:pt x="62350" y="279938"/>
                    <a:pt x="62032" y="279938"/>
                    <a:pt x="61714" y="279620"/>
                  </a:cubicBezTo>
                  <a:cubicBezTo>
                    <a:pt x="61077" y="279302"/>
                    <a:pt x="60441" y="278348"/>
                    <a:pt x="59487" y="277712"/>
                  </a:cubicBezTo>
                  <a:cubicBezTo>
                    <a:pt x="58851" y="277712"/>
                    <a:pt x="58851" y="277075"/>
                    <a:pt x="57578" y="277075"/>
                  </a:cubicBezTo>
                  <a:cubicBezTo>
                    <a:pt x="57578" y="276757"/>
                    <a:pt x="57578" y="276439"/>
                    <a:pt x="56942" y="276121"/>
                  </a:cubicBezTo>
                  <a:cubicBezTo>
                    <a:pt x="56624" y="275803"/>
                    <a:pt x="55988" y="275803"/>
                    <a:pt x="55988" y="275167"/>
                  </a:cubicBezTo>
                  <a:cubicBezTo>
                    <a:pt x="55988" y="274212"/>
                    <a:pt x="55033" y="274212"/>
                    <a:pt x="54397" y="274212"/>
                  </a:cubicBezTo>
                  <a:cubicBezTo>
                    <a:pt x="54079" y="274212"/>
                    <a:pt x="54079" y="273894"/>
                    <a:pt x="54079" y="273576"/>
                  </a:cubicBezTo>
                  <a:cubicBezTo>
                    <a:pt x="54079" y="273576"/>
                    <a:pt x="54397" y="273258"/>
                    <a:pt x="54715" y="273258"/>
                  </a:cubicBezTo>
                  <a:lnTo>
                    <a:pt x="55033" y="273258"/>
                  </a:lnTo>
                  <a:lnTo>
                    <a:pt x="54715" y="272940"/>
                  </a:lnTo>
                  <a:lnTo>
                    <a:pt x="54715" y="271986"/>
                  </a:lnTo>
                  <a:cubicBezTo>
                    <a:pt x="54715" y="271667"/>
                    <a:pt x="54715" y="271667"/>
                    <a:pt x="54397" y="271667"/>
                  </a:cubicBezTo>
                  <a:cubicBezTo>
                    <a:pt x="53761" y="271667"/>
                    <a:pt x="53125" y="271349"/>
                    <a:pt x="53125" y="271031"/>
                  </a:cubicBezTo>
                  <a:lnTo>
                    <a:pt x="53443" y="270713"/>
                  </a:lnTo>
                  <a:cubicBezTo>
                    <a:pt x="53761" y="270713"/>
                    <a:pt x="53761" y="270713"/>
                    <a:pt x="53761" y="270395"/>
                  </a:cubicBezTo>
                  <a:lnTo>
                    <a:pt x="53761" y="270077"/>
                  </a:lnTo>
                  <a:cubicBezTo>
                    <a:pt x="53761" y="269759"/>
                    <a:pt x="53443" y="269759"/>
                    <a:pt x="53443" y="269441"/>
                  </a:cubicBezTo>
                  <a:lnTo>
                    <a:pt x="53125" y="269123"/>
                  </a:lnTo>
                  <a:cubicBezTo>
                    <a:pt x="53443" y="268805"/>
                    <a:pt x="53443" y="268486"/>
                    <a:pt x="53443" y="268168"/>
                  </a:cubicBezTo>
                  <a:cubicBezTo>
                    <a:pt x="53443" y="267850"/>
                    <a:pt x="53443" y="267532"/>
                    <a:pt x="52806" y="267532"/>
                  </a:cubicBezTo>
                  <a:lnTo>
                    <a:pt x="52806" y="267214"/>
                  </a:lnTo>
                  <a:cubicBezTo>
                    <a:pt x="52488" y="266896"/>
                    <a:pt x="52488" y="266578"/>
                    <a:pt x="52488" y="266260"/>
                  </a:cubicBezTo>
                  <a:cubicBezTo>
                    <a:pt x="52488" y="265623"/>
                    <a:pt x="52170" y="264987"/>
                    <a:pt x="52170" y="264669"/>
                  </a:cubicBezTo>
                  <a:cubicBezTo>
                    <a:pt x="51852" y="264033"/>
                    <a:pt x="51852" y="264033"/>
                    <a:pt x="51852" y="263397"/>
                  </a:cubicBezTo>
                  <a:cubicBezTo>
                    <a:pt x="51534" y="263397"/>
                    <a:pt x="50898" y="263078"/>
                    <a:pt x="50580" y="263078"/>
                  </a:cubicBezTo>
                  <a:lnTo>
                    <a:pt x="49944" y="263078"/>
                  </a:lnTo>
                  <a:cubicBezTo>
                    <a:pt x="49944" y="263078"/>
                    <a:pt x="49625" y="263078"/>
                    <a:pt x="49307" y="262760"/>
                  </a:cubicBezTo>
                  <a:lnTo>
                    <a:pt x="49307" y="261806"/>
                  </a:lnTo>
                  <a:lnTo>
                    <a:pt x="49625" y="261488"/>
                  </a:lnTo>
                  <a:cubicBezTo>
                    <a:pt x="49625" y="260852"/>
                    <a:pt x="50262" y="260852"/>
                    <a:pt x="50262" y="260534"/>
                  </a:cubicBezTo>
                  <a:lnTo>
                    <a:pt x="50262" y="259579"/>
                  </a:lnTo>
                  <a:cubicBezTo>
                    <a:pt x="50262" y="258307"/>
                    <a:pt x="49944" y="257671"/>
                    <a:pt x="49944" y="257034"/>
                  </a:cubicBezTo>
                  <a:cubicBezTo>
                    <a:pt x="49944" y="256716"/>
                    <a:pt x="49307" y="256398"/>
                    <a:pt x="49307" y="255762"/>
                  </a:cubicBezTo>
                  <a:lnTo>
                    <a:pt x="49307" y="255444"/>
                  </a:lnTo>
                  <a:cubicBezTo>
                    <a:pt x="49307" y="255126"/>
                    <a:pt x="48989" y="255126"/>
                    <a:pt x="48989" y="255126"/>
                  </a:cubicBezTo>
                  <a:lnTo>
                    <a:pt x="48989" y="255444"/>
                  </a:lnTo>
                  <a:lnTo>
                    <a:pt x="48353" y="255444"/>
                  </a:lnTo>
                  <a:lnTo>
                    <a:pt x="48353" y="254489"/>
                  </a:lnTo>
                  <a:cubicBezTo>
                    <a:pt x="48353" y="254171"/>
                    <a:pt x="48353" y="254171"/>
                    <a:pt x="48035" y="253853"/>
                  </a:cubicBezTo>
                  <a:cubicBezTo>
                    <a:pt x="47717" y="253853"/>
                    <a:pt x="47717" y="253853"/>
                    <a:pt x="47717" y="253535"/>
                  </a:cubicBezTo>
                  <a:lnTo>
                    <a:pt x="48671" y="252581"/>
                  </a:lnTo>
                  <a:cubicBezTo>
                    <a:pt x="48671" y="252581"/>
                    <a:pt x="48353" y="251945"/>
                    <a:pt x="48353" y="251626"/>
                  </a:cubicBezTo>
                  <a:cubicBezTo>
                    <a:pt x="47717" y="251626"/>
                    <a:pt x="47717" y="251308"/>
                    <a:pt x="47717" y="251308"/>
                  </a:cubicBezTo>
                  <a:lnTo>
                    <a:pt x="47717" y="249082"/>
                  </a:lnTo>
                  <a:cubicBezTo>
                    <a:pt x="47717" y="248445"/>
                    <a:pt x="47717" y="247809"/>
                    <a:pt x="48035" y="246855"/>
                  </a:cubicBezTo>
                  <a:lnTo>
                    <a:pt x="48671" y="246855"/>
                  </a:lnTo>
                  <a:cubicBezTo>
                    <a:pt x="48989" y="246855"/>
                    <a:pt x="49307" y="246855"/>
                    <a:pt x="49307" y="246219"/>
                  </a:cubicBezTo>
                  <a:cubicBezTo>
                    <a:pt x="48989" y="245582"/>
                    <a:pt x="48989" y="245264"/>
                    <a:pt x="48989" y="244310"/>
                  </a:cubicBezTo>
                  <a:cubicBezTo>
                    <a:pt x="48989" y="243992"/>
                    <a:pt x="48671" y="243992"/>
                    <a:pt x="48671" y="243674"/>
                  </a:cubicBezTo>
                  <a:cubicBezTo>
                    <a:pt x="48353" y="243674"/>
                    <a:pt x="48671" y="243356"/>
                    <a:pt x="48671" y="243037"/>
                  </a:cubicBezTo>
                  <a:cubicBezTo>
                    <a:pt x="48989" y="242719"/>
                    <a:pt x="48989" y="242083"/>
                    <a:pt x="48989" y="241765"/>
                  </a:cubicBezTo>
                  <a:cubicBezTo>
                    <a:pt x="48989" y="241447"/>
                    <a:pt x="48989" y="241129"/>
                    <a:pt x="48671" y="240174"/>
                  </a:cubicBezTo>
                  <a:lnTo>
                    <a:pt x="48989" y="239856"/>
                  </a:lnTo>
                  <a:cubicBezTo>
                    <a:pt x="48353" y="239538"/>
                    <a:pt x="47399" y="238902"/>
                    <a:pt x="47399" y="238266"/>
                  </a:cubicBezTo>
                  <a:cubicBezTo>
                    <a:pt x="47399" y="237948"/>
                    <a:pt x="47717" y="237948"/>
                    <a:pt x="47717" y="237630"/>
                  </a:cubicBezTo>
                  <a:cubicBezTo>
                    <a:pt x="47717" y="237630"/>
                    <a:pt x="46762" y="237311"/>
                    <a:pt x="46762" y="236993"/>
                  </a:cubicBezTo>
                  <a:cubicBezTo>
                    <a:pt x="46762" y="236993"/>
                    <a:pt x="46762" y="236675"/>
                    <a:pt x="47081" y="236675"/>
                  </a:cubicBezTo>
                  <a:cubicBezTo>
                    <a:pt x="48671" y="236039"/>
                    <a:pt x="48671" y="236039"/>
                    <a:pt x="48671" y="235403"/>
                  </a:cubicBezTo>
                  <a:cubicBezTo>
                    <a:pt x="48671" y="234448"/>
                    <a:pt x="48671" y="233812"/>
                    <a:pt x="47717" y="233494"/>
                  </a:cubicBezTo>
                  <a:lnTo>
                    <a:pt x="47399" y="233176"/>
                  </a:lnTo>
                  <a:cubicBezTo>
                    <a:pt x="47399" y="233176"/>
                    <a:pt x="47399" y="232858"/>
                    <a:pt x="47717" y="232540"/>
                  </a:cubicBezTo>
                  <a:lnTo>
                    <a:pt x="47081" y="232222"/>
                  </a:lnTo>
                  <a:lnTo>
                    <a:pt x="47081" y="231585"/>
                  </a:lnTo>
                  <a:cubicBezTo>
                    <a:pt x="46762" y="230631"/>
                    <a:pt x="46762" y="229677"/>
                    <a:pt x="46762" y="229041"/>
                  </a:cubicBezTo>
                  <a:lnTo>
                    <a:pt x="46762" y="226814"/>
                  </a:lnTo>
                  <a:cubicBezTo>
                    <a:pt x="46762" y="225859"/>
                    <a:pt x="46762" y="225859"/>
                    <a:pt x="47081" y="225541"/>
                  </a:cubicBezTo>
                  <a:cubicBezTo>
                    <a:pt x="47717" y="225541"/>
                    <a:pt x="48035" y="225541"/>
                    <a:pt x="48353" y="225223"/>
                  </a:cubicBezTo>
                  <a:cubicBezTo>
                    <a:pt x="48353" y="224905"/>
                    <a:pt x="48035" y="224587"/>
                    <a:pt x="47399" y="223951"/>
                  </a:cubicBezTo>
                  <a:cubicBezTo>
                    <a:pt x="47081" y="223951"/>
                    <a:pt x="47081" y="223314"/>
                    <a:pt x="47081" y="223314"/>
                  </a:cubicBezTo>
                  <a:cubicBezTo>
                    <a:pt x="47717" y="222996"/>
                    <a:pt x="48035" y="222678"/>
                    <a:pt x="48035" y="222042"/>
                  </a:cubicBezTo>
                  <a:cubicBezTo>
                    <a:pt x="48035" y="221724"/>
                    <a:pt x="47717" y="221088"/>
                    <a:pt x="47717" y="220770"/>
                  </a:cubicBezTo>
                  <a:lnTo>
                    <a:pt x="47717" y="218861"/>
                  </a:lnTo>
                  <a:cubicBezTo>
                    <a:pt x="48035" y="217907"/>
                    <a:pt x="48671" y="217270"/>
                    <a:pt x="48989" y="216952"/>
                  </a:cubicBezTo>
                  <a:lnTo>
                    <a:pt x="48671" y="216634"/>
                  </a:lnTo>
                  <a:lnTo>
                    <a:pt x="48671" y="215044"/>
                  </a:lnTo>
                  <a:cubicBezTo>
                    <a:pt x="48353" y="215044"/>
                    <a:pt x="48353" y="214725"/>
                    <a:pt x="48353" y="214725"/>
                  </a:cubicBezTo>
                  <a:cubicBezTo>
                    <a:pt x="48353" y="214725"/>
                    <a:pt x="48353" y="214407"/>
                    <a:pt x="48671" y="214089"/>
                  </a:cubicBezTo>
                  <a:cubicBezTo>
                    <a:pt x="49307" y="213771"/>
                    <a:pt x="49307" y="213135"/>
                    <a:pt x="49625" y="213135"/>
                  </a:cubicBezTo>
                  <a:cubicBezTo>
                    <a:pt x="49307" y="212499"/>
                    <a:pt x="49307" y="211862"/>
                    <a:pt x="49307" y="211226"/>
                  </a:cubicBezTo>
                  <a:cubicBezTo>
                    <a:pt x="49307" y="210908"/>
                    <a:pt x="49625" y="210590"/>
                    <a:pt x="49625" y="210272"/>
                  </a:cubicBezTo>
                  <a:cubicBezTo>
                    <a:pt x="49625" y="209954"/>
                    <a:pt x="49307" y="209636"/>
                    <a:pt x="49307" y="208999"/>
                  </a:cubicBezTo>
                  <a:lnTo>
                    <a:pt x="49307" y="208363"/>
                  </a:lnTo>
                  <a:cubicBezTo>
                    <a:pt x="49307" y="208363"/>
                    <a:pt x="49307" y="207727"/>
                    <a:pt x="50262" y="207091"/>
                  </a:cubicBezTo>
                  <a:lnTo>
                    <a:pt x="50262" y="203592"/>
                  </a:lnTo>
                  <a:lnTo>
                    <a:pt x="50580" y="203273"/>
                  </a:lnTo>
                  <a:cubicBezTo>
                    <a:pt x="49944" y="202955"/>
                    <a:pt x="49944" y="202319"/>
                    <a:pt x="49944" y="202001"/>
                  </a:cubicBezTo>
                  <a:lnTo>
                    <a:pt x="49944" y="201365"/>
                  </a:lnTo>
                  <a:cubicBezTo>
                    <a:pt x="49944" y="200729"/>
                    <a:pt x="49944" y="200410"/>
                    <a:pt x="50898" y="199774"/>
                  </a:cubicBezTo>
                  <a:cubicBezTo>
                    <a:pt x="50898" y="199774"/>
                    <a:pt x="50898" y="198820"/>
                    <a:pt x="50580" y="198820"/>
                  </a:cubicBezTo>
                  <a:cubicBezTo>
                    <a:pt x="50262" y="198502"/>
                    <a:pt x="50262" y="198502"/>
                    <a:pt x="50262" y="198184"/>
                  </a:cubicBezTo>
                  <a:cubicBezTo>
                    <a:pt x="50262" y="198184"/>
                    <a:pt x="50262" y="197866"/>
                    <a:pt x="50580" y="197866"/>
                  </a:cubicBezTo>
                  <a:cubicBezTo>
                    <a:pt x="50580" y="197866"/>
                    <a:pt x="50898" y="197866"/>
                    <a:pt x="50898" y="197547"/>
                  </a:cubicBezTo>
                  <a:cubicBezTo>
                    <a:pt x="50580" y="197229"/>
                    <a:pt x="50262" y="197229"/>
                    <a:pt x="50262" y="196911"/>
                  </a:cubicBezTo>
                  <a:cubicBezTo>
                    <a:pt x="49625" y="196593"/>
                    <a:pt x="49625" y="196275"/>
                    <a:pt x="49625" y="195957"/>
                  </a:cubicBezTo>
                  <a:lnTo>
                    <a:pt x="49625" y="194366"/>
                  </a:lnTo>
                  <a:cubicBezTo>
                    <a:pt x="49944" y="194048"/>
                    <a:pt x="49944" y="193412"/>
                    <a:pt x="49944" y="192776"/>
                  </a:cubicBezTo>
                  <a:cubicBezTo>
                    <a:pt x="50262" y="192458"/>
                    <a:pt x="50262" y="192458"/>
                    <a:pt x="50262" y="192140"/>
                  </a:cubicBezTo>
                  <a:cubicBezTo>
                    <a:pt x="50262" y="191821"/>
                    <a:pt x="49944" y="191503"/>
                    <a:pt x="49944" y="191185"/>
                  </a:cubicBezTo>
                  <a:cubicBezTo>
                    <a:pt x="49944" y="190867"/>
                    <a:pt x="50262" y="190549"/>
                    <a:pt x="50898" y="190231"/>
                  </a:cubicBezTo>
                  <a:cubicBezTo>
                    <a:pt x="51216" y="190231"/>
                    <a:pt x="51216" y="190231"/>
                    <a:pt x="51216" y="189913"/>
                  </a:cubicBezTo>
                  <a:lnTo>
                    <a:pt x="51216" y="188640"/>
                  </a:lnTo>
                  <a:cubicBezTo>
                    <a:pt x="51216" y="188640"/>
                    <a:pt x="50898" y="188640"/>
                    <a:pt x="50898" y="188322"/>
                  </a:cubicBezTo>
                  <a:lnTo>
                    <a:pt x="51216" y="188004"/>
                  </a:lnTo>
                  <a:cubicBezTo>
                    <a:pt x="51216" y="188004"/>
                    <a:pt x="52170" y="187050"/>
                    <a:pt x="52170" y="186414"/>
                  </a:cubicBezTo>
                  <a:cubicBezTo>
                    <a:pt x="51534" y="185777"/>
                    <a:pt x="51216" y="185141"/>
                    <a:pt x="51216" y="184823"/>
                  </a:cubicBezTo>
                  <a:cubicBezTo>
                    <a:pt x="51216" y="184505"/>
                    <a:pt x="51216" y="184187"/>
                    <a:pt x="51852" y="183551"/>
                  </a:cubicBezTo>
                  <a:lnTo>
                    <a:pt x="51852" y="182914"/>
                  </a:lnTo>
                  <a:cubicBezTo>
                    <a:pt x="51852" y="182596"/>
                    <a:pt x="51852" y="182278"/>
                    <a:pt x="52488" y="181960"/>
                  </a:cubicBezTo>
                  <a:cubicBezTo>
                    <a:pt x="52806" y="181642"/>
                    <a:pt x="52806" y="181006"/>
                    <a:pt x="52806" y="180369"/>
                  </a:cubicBezTo>
                  <a:lnTo>
                    <a:pt x="52806" y="179415"/>
                  </a:lnTo>
                  <a:cubicBezTo>
                    <a:pt x="53125" y="179415"/>
                    <a:pt x="52806" y="179097"/>
                    <a:pt x="52806" y="179097"/>
                  </a:cubicBezTo>
                  <a:lnTo>
                    <a:pt x="52488" y="179097"/>
                  </a:lnTo>
                  <a:lnTo>
                    <a:pt x="52488" y="178143"/>
                  </a:lnTo>
                  <a:lnTo>
                    <a:pt x="52806" y="177824"/>
                  </a:lnTo>
                  <a:cubicBezTo>
                    <a:pt x="53761" y="177188"/>
                    <a:pt x="54079" y="176870"/>
                    <a:pt x="54079" y="176234"/>
                  </a:cubicBezTo>
                  <a:cubicBezTo>
                    <a:pt x="53761" y="175916"/>
                    <a:pt x="53761" y="175598"/>
                    <a:pt x="53761" y="175280"/>
                  </a:cubicBezTo>
                  <a:cubicBezTo>
                    <a:pt x="53761" y="174962"/>
                    <a:pt x="54079" y="174325"/>
                    <a:pt x="54397" y="174007"/>
                  </a:cubicBezTo>
                  <a:lnTo>
                    <a:pt x="54397" y="173689"/>
                  </a:lnTo>
                  <a:cubicBezTo>
                    <a:pt x="54079" y="173371"/>
                    <a:pt x="53761" y="172735"/>
                    <a:pt x="53761" y="172417"/>
                  </a:cubicBezTo>
                  <a:lnTo>
                    <a:pt x="53761" y="171144"/>
                  </a:lnTo>
                  <a:cubicBezTo>
                    <a:pt x="53761" y="170826"/>
                    <a:pt x="53761" y="170826"/>
                    <a:pt x="54079" y="170508"/>
                  </a:cubicBezTo>
                  <a:cubicBezTo>
                    <a:pt x="54079" y="170190"/>
                    <a:pt x="54397" y="170190"/>
                    <a:pt x="54397" y="170190"/>
                  </a:cubicBezTo>
                  <a:lnTo>
                    <a:pt x="54715" y="170190"/>
                  </a:lnTo>
                  <a:cubicBezTo>
                    <a:pt x="54715" y="170190"/>
                    <a:pt x="55033" y="170190"/>
                    <a:pt x="55033" y="169872"/>
                  </a:cubicBezTo>
                  <a:cubicBezTo>
                    <a:pt x="55033" y="169872"/>
                    <a:pt x="54715" y="169554"/>
                    <a:pt x="54715" y="169235"/>
                  </a:cubicBezTo>
                  <a:cubicBezTo>
                    <a:pt x="54715" y="169235"/>
                    <a:pt x="54397" y="168917"/>
                    <a:pt x="54397" y="168599"/>
                  </a:cubicBezTo>
                  <a:lnTo>
                    <a:pt x="54397" y="168281"/>
                  </a:lnTo>
                  <a:cubicBezTo>
                    <a:pt x="55033" y="167963"/>
                    <a:pt x="55033" y="167327"/>
                    <a:pt x="55033" y="167009"/>
                  </a:cubicBezTo>
                  <a:lnTo>
                    <a:pt x="55033" y="166691"/>
                  </a:lnTo>
                  <a:cubicBezTo>
                    <a:pt x="55351" y="166372"/>
                    <a:pt x="55351" y="166054"/>
                    <a:pt x="55351" y="166054"/>
                  </a:cubicBezTo>
                  <a:cubicBezTo>
                    <a:pt x="55351" y="165736"/>
                    <a:pt x="55033" y="165736"/>
                    <a:pt x="55033" y="165100"/>
                  </a:cubicBezTo>
                  <a:cubicBezTo>
                    <a:pt x="54715" y="164782"/>
                    <a:pt x="54397" y="164464"/>
                    <a:pt x="54397" y="164146"/>
                  </a:cubicBezTo>
                  <a:cubicBezTo>
                    <a:pt x="54397" y="163828"/>
                    <a:pt x="54715" y="163828"/>
                    <a:pt x="55033" y="163509"/>
                  </a:cubicBezTo>
                  <a:cubicBezTo>
                    <a:pt x="56942" y="163191"/>
                    <a:pt x="56942" y="162555"/>
                    <a:pt x="57260" y="161601"/>
                  </a:cubicBezTo>
                  <a:lnTo>
                    <a:pt x="57260" y="160646"/>
                  </a:lnTo>
                  <a:cubicBezTo>
                    <a:pt x="56942" y="160328"/>
                    <a:pt x="56942" y="159692"/>
                    <a:pt x="56942" y="159374"/>
                  </a:cubicBezTo>
                  <a:lnTo>
                    <a:pt x="56942" y="158102"/>
                  </a:lnTo>
                  <a:cubicBezTo>
                    <a:pt x="57260" y="157465"/>
                    <a:pt x="57260" y="156193"/>
                    <a:pt x="57578" y="155239"/>
                  </a:cubicBezTo>
                  <a:cubicBezTo>
                    <a:pt x="57578" y="154920"/>
                    <a:pt x="57260" y="154602"/>
                    <a:pt x="57260" y="154284"/>
                  </a:cubicBezTo>
                  <a:cubicBezTo>
                    <a:pt x="57260" y="153966"/>
                    <a:pt x="57260" y="153648"/>
                    <a:pt x="57578" y="153330"/>
                  </a:cubicBezTo>
                  <a:cubicBezTo>
                    <a:pt x="57578" y="153012"/>
                    <a:pt x="57896" y="152376"/>
                    <a:pt x="57896" y="152057"/>
                  </a:cubicBezTo>
                  <a:lnTo>
                    <a:pt x="57896" y="149831"/>
                  </a:lnTo>
                  <a:cubicBezTo>
                    <a:pt x="58532" y="149831"/>
                    <a:pt x="58532" y="149513"/>
                    <a:pt x="58532" y="149513"/>
                  </a:cubicBezTo>
                  <a:lnTo>
                    <a:pt x="58532" y="147922"/>
                  </a:lnTo>
                  <a:cubicBezTo>
                    <a:pt x="58851" y="147286"/>
                    <a:pt x="58851" y="146968"/>
                    <a:pt x="58851" y="146331"/>
                  </a:cubicBezTo>
                  <a:lnTo>
                    <a:pt x="58214" y="146013"/>
                  </a:lnTo>
                  <a:cubicBezTo>
                    <a:pt x="58214" y="145695"/>
                    <a:pt x="58851" y="145059"/>
                    <a:pt x="59169" y="144423"/>
                  </a:cubicBezTo>
                  <a:cubicBezTo>
                    <a:pt x="59169" y="144423"/>
                    <a:pt x="59487" y="144105"/>
                    <a:pt x="59487" y="143787"/>
                  </a:cubicBezTo>
                  <a:cubicBezTo>
                    <a:pt x="59487" y="143468"/>
                    <a:pt x="59169" y="143150"/>
                    <a:pt x="59169" y="142514"/>
                  </a:cubicBezTo>
                  <a:cubicBezTo>
                    <a:pt x="59169" y="142514"/>
                    <a:pt x="59169" y="141878"/>
                    <a:pt x="60123" y="141242"/>
                  </a:cubicBezTo>
                  <a:cubicBezTo>
                    <a:pt x="60441" y="141242"/>
                    <a:pt x="60441" y="140924"/>
                    <a:pt x="60441" y="140605"/>
                  </a:cubicBezTo>
                  <a:cubicBezTo>
                    <a:pt x="60441" y="140287"/>
                    <a:pt x="60441" y="139969"/>
                    <a:pt x="60123" y="139333"/>
                  </a:cubicBezTo>
                  <a:cubicBezTo>
                    <a:pt x="61077" y="139015"/>
                    <a:pt x="60441" y="138379"/>
                    <a:pt x="61396" y="137742"/>
                  </a:cubicBezTo>
                  <a:cubicBezTo>
                    <a:pt x="61714" y="137742"/>
                    <a:pt x="61396" y="137424"/>
                    <a:pt x="61077" y="137106"/>
                  </a:cubicBezTo>
                  <a:cubicBezTo>
                    <a:pt x="61077" y="137106"/>
                    <a:pt x="61396" y="136152"/>
                    <a:pt x="61396" y="135516"/>
                  </a:cubicBezTo>
                  <a:cubicBezTo>
                    <a:pt x="61396" y="135516"/>
                    <a:pt x="61396" y="135198"/>
                    <a:pt x="61714" y="134561"/>
                  </a:cubicBezTo>
                  <a:cubicBezTo>
                    <a:pt x="62350" y="134243"/>
                    <a:pt x="62350" y="133925"/>
                    <a:pt x="62668" y="133607"/>
                  </a:cubicBezTo>
                  <a:lnTo>
                    <a:pt x="62668" y="131062"/>
                  </a:lnTo>
                  <a:cubicBezTo>
                    <a:pt x="62668" y="130744"/>
                    <a:pt x="61714" y="130426"/>
                    <a:pt x="61714" y="130108"/>
                  </a:cubicBezTo>
                  <a:cubicBezTo>
                    <a:pt x="61714" y="129790"/>
                    <a:pt x="62032" y="129472"/>
                    <a:pt x="62350" y="128835"/>
                  </a:cubicBezTo>
                  <a:cubicBezTo>
                    <a:pt x="62668" y="128517"/>
                    <a:pt x="62350" y="127563"/>
                    <a:pt x="63622" y="126927"/>
                  </a:cubicBezTo>
                  <a:lnTo>
                    <a:pt x="63622" y="125018"/>
                  </a:lnTo>
                  <a:cubicBezTo>
                    <a:pt x="64259" y="124700"/>
                    <a:pt x="64259" y="124700"/>
                    <a:pt x="64259" y="124382"/>
                  </a:cubicBezTo>
                  <a:lnTo>
                    <a:pt x="64259" y="123745"/>
                  </a:lnTo>
                  <a:lnTo>
                    <a:pt x="64577" y="123427"/>
                  </a:lnTo>
                  <a:lnTo>
                    <a:pt x="64577" y="123109"/>
                  </a:lnTo>
                  <a:cubicBezTo>
                    <a:pt x="64577" y="122473"/>
                    <a:pt x="65213" y="122155"/>
                    <a:pt x="65213" y="121519"/>
                  </a:cubicBezTo>
                  <a:lnTo>
                    <a:pt x="65213" y="118974"/>
                  </a:lnTo>
                  <a:cubicBezTo>
                    <a:pt x="65531" y="118974"/>
                    <a:pt x="65531" y="118656"/>
                    <a:pt x="65531" y="118338"/>
                  </a:cubicBezTo>
                  <a:lnTo>
                    <a:pt x="65531" y="116747"/>
                  </a:lnTo>
                  <a:cubicBezTo>
                    <a:pt x="65531" y="116429"/>
                    <a:pt x="66485" y="115475"/>
                    <a:pt x="66485" y="114838"/>
                  </a:cubicBezTo>
                  <a:cubicBezTo>
                    <a:pt x="66485" y="114520"/>
                    <a:pt x="66485" y="114520"/>
                    <a:pt x="66167" y="114202"/>
                  </a:cubicBezTo>
                  <a:cubicBezTo>
                    <a:pt x="66803" y="113566"/>
                    <a:pt x="67122" y="112930"/>
                    <a:pt x="67122" y="112612"/>
                  </a:cubicBezTo>
                  <a:cubicBezTo>
                    <a:pt x="67122" y="112293"/>
                    <a:pt x="66803" y="112293"/>
                    <a:pt x="66803" y="111975"/>
                  </a:cubicBezTo>
                  <a:lnTo>
                    <a:pt x="66803" y="111339"/>
                  </a:lnTo>
                  <a:cubicBezTo>
                    <a:pt x="66803" y="110703"/>
                    <a:pt x="67122" y="109749"/>
                    <a:pt x="67440" y="109112"/>
                  </a:cubicBezTo>
                  <a:cubicBezTo>
                    <a:pt x="67758" y="108794"/>
                    <a:pt x="67758" y="108794"/>
                    <a:pt x="67758" y="108476"/>
                  </a:cubicBezTo>
                  <a:cubicBezTo>
                    <a:pt x="67758" y="107840"/>
                    <a:pt x="73166" y="88435"/>
                    <a:pt x="72847" y="87799"/>
                  </a:cubicBezTo>
                  <a:cubicBezTo>
                    <a:pt x="73166" y="86845"/>
                    <a:pt x="74120" y="86845"/>
                    <a:pt x="74120" y="86526"/>
                  </a:cubicBezTo>
                  <a:lnTo>
                    <a:pt x="74120" y="86208"/>
                  </a:lnTo>
                  <a:cubicBezTo>
                    <a:pt x="74120" y="85572"/>
                    <a:pt x="73802" y="84936"/>
                    <a:pt x="73484" y="84618"/>
                  </a:cubicBezTo>
                  <a:cubicBezTo>
                    <a:pt x="72847" y="84618"/>
                    <a:pt x="72847" y="84300"/>
                    <a:pt x="72847" y="83982"/>
                  </a:cubicBezTo>
                  <a:cubicBezTo>
                    <a:pt x="72847" y="83663"/>
                    <a:pt x="73802" y="83663"/>
                    <a:pt x="74120" y="83663"/>
                  </a:cubicBezTo>
                  <a:cubicBezTo>
                    <a:pt x="75074" y="83663"/>
                    <a:pt x="75393" y="83027"/>
                    <a:pt x="75393" y="82391"/>
                  </a:cubicBezTo>
                  <a:cubicBezTo>
                    <a:pt x="75074" y="81755"/>
                    <a:pt x="75074" y="81437"/>
                    <a:pt x="75074" y="81119"/>
                  </a:cubicBezTo>
                  <a:cubicBezTo>
                    <a:pt x="75074" y="80800"/>
                    <a:pt x="75711" y="80482"/>
                    <a:pt x="75711" y="80164"/>
                  </a:cubicBezTo>
                  <a:cubicBezTo>
                    <a:pt x="79528" y="67122"/>
                    <a:pt x="78574" y="71257"/>
                    <a:pt x="79846" y="66167"/>
                  </a:cubicBezTo>
                  <a:lnTo>
                    <a:pt x="77937" y="66167"/>
                  </a:lnTo>
                  <a:cubicBezTo>
                    <a:pt x="77619" y="66167"/>
                    <a:pt x="76983" y="66803"/>
                    <a:pt x="76665" y="66803"/>
                  </a:cubicBezTo>
                  <a:cubicBezTo>
                    <a:pt x="74756" y="67122"/>
                    <a:pt x="73484" y="67122"/>
                    <a:pt x="71257" y="68394"/>
                  </a:cubicBezTo>
                  <a:lnTo>
                    <a:pt x="70621" y="68394"/>
                  </a:lnTo>
                  <a:cubicBezTo>
                    <a:pt x="69666" y="68394"/>
                    <a:pt x="69348" y="67758"/>
                    <a:pt x="69030" y="67440"/>
                  </a:cubicBezTo>
                  <a:lnTo>
                    <a:pt x="68076" y="67440"/>
                  </a:lnTo>
                  <a:cubicBezTo>
                    <a:pt x="67440" y="67440"/>
                    <a:pt x="66803" y="67440"/>
                    <a:pt x="66485" y="67758"/>
                  </a:cubicBezTo>
                  <a:cubicBezTo>
                    <a:pt x="66167" y="68394"/>
                    <a:pt x="65531" y="68712"/>
                    <a:pt x="65531" y="68712"/>
                  </a:cubicBezTo>
                  <a:lnTo>
                    <a:pt x="63940" y="68712"/>
                  </a:lnTo>
                  <a:cubicBezTo>
                    <a:pt x="63304" y="68712"/>
                    <a:pt x="63304" y="68712"/>
                    <a:pt x="62668" y="69030"/>
                  </a:cubicBezTo>
                  <a:cubicBezTo>
                    <a:pt x="62350" y="69666"/>
                    <a:pt x="61714" y="69666"/>
                    <a:pt x="61714" y="69666"/>
                  </a:cubicBezTo>
                  <a:lnTo>
                    <a:pt x="61077" y="69666"/>
                  </a:lnTo>
                  <a:cubicBezTo>
                    <a:pt x="60123" y="69666"/>
                    <a:pt x="58851" y="69985"/>
                    <a:pt x="57578" y="70621"/>
                  </a:cubicBezTo>
                  <a:lnTo>
                    <a:pt x="53443" y="71257"/>
                  </a:lnTo>
                  <a:lnTo>
                    <a:pt x="52488" y="71257"/>
                  </a:lnTo>
                  <a:cubicBezTo>
                    <a:pt x="51216" y="71575"/>
                    <a:pt x="50898" y="71893"/>
                    <a:pt x="50898" y="71893"/>
                  </a:cubicBezTo>
                  <a:cubicBezTo>
                    <a:pt x="50580" y="72211"/>
                    <a:pt x="50580" y="72211"/>
                    <a:pt x="50262" y="72211"/>
                  </a:cubicBezTo>
                  <a:cubicBezTo>
                    <a:pt x="49944" y="72211"/>
                    <a:pt x="49944" y="72211"/>
                    <a:pt x="49944" y="71893"/>
                  </a:cubicBezTo>
                  <a:lnTo>
                    <a:pt x="49944" y="71575"/>
                  </a:lnTo>
                  <a:lnTo>
                    <a:pt x="50262" y="71257"/>
                  </a:lnTo>
                  <a:lnTo>
                    <a:pt x="49944" y="71257"/>
                  </a:lnTo>
                  <a:lnTo>
                    <a:pt x="49944" y="70621"/>
                  </a:lnTo>
                  <a:cubicBezTo>
                    <a:pt x="49625" y="70621"/>
                    <a:pt x="48989" y="70939"/>
                    <a:pt x="48989" y="70939"/>
                  </a:cubicBezTo>
                  <a:lnTo>
                    <a:pt x="48989" y="71257"/>
                  </a:lnTo>
                  <a:cubicBezTo>
                    <a:pt x="48989" y="71257"/>
                    <a:pt x="49625" y="71257"/>
                    <a:pt x="49625" y="71575"/>
                  </a:cubicBezTo>
                  <a:cubicBezTo>
                    <a:pt x="49307" y="71893"/>
                    <a:pt x="48989" y="72529"/>
                    <a:pt x="48353" y="72529"/>
                  </a:cubicBezTo>
                  <a:lnTo>
                    <a:pt x="48035" y="72529"/>
                  </a:lnTo>
                  <a:lnTo>
                    <a:pt x="47717" y="72848"/>
                  </a:lnTo>
                  <a:lnTo>
                    <a:pt x="47399" y="72848"/>
                  </a:lnTo>
                  <a:cubicBezTo>
                    <a:pt x="47081" y="72848"/>
                    <a:pt x="46762" y="72529"/>
                    <a:pt x="46762" y="72529"/>
                  </a:cubicBezTo>
                  <a:lnTo>
                    <a:pt x="47081" y="72211"/>
                  </a:lnTo>
                  <a:lnTo>
                    <a:pt x="46762" y="72211"/>
                  </a:lnTo>
                  <a:cubicBezTo>
                    <a:pt x="46444" y="72211"/>
                    <a:pt x="46126" y="71893"/>
                    <a:pt x="46126" y="71893"/>
                  </a:cubicBezTo>
                  <a:lnTo>
                    <a:pt x="46126" y="72211"/>
                  </a:lnTo>
                  <a:cubicBezTo>
                    <a:pt x="45490" y="72529"/>
                    <a:pt x="45490" y="73166"/>
                    <a:pt x="44854" y="73802"/>
                  </a:cubicBezTo>
                  <a:cubicBezTo>
                    <a:pt x="44536" y="74120"/>
                    <a:pt x="44217" y="74120"/>
                    <a:pt x="43899" y="74120"/>
                  </a:cubicBezTo>
                  <a:cubicBezTo>
                    <a:pt x="43263" y="73802"/>
                    <a:pt x="43581" y="73166"/>
                    <a:pt x="43263" y="73166"/>
                  </a:cubicBezTo>
                  <a:cubicBezTo>
                    <a:pt x="42945" y="73166"/>
                    <a:pt x="41991" y="73802"/>
                    <a:pt x="41355" y="74120"/>
                  </a:cubicBezTo>
                  <a:lnTo>
                    <a:pt x="38491" y="74756"/>
                  </a:lnTo>
                  <a:lnTo>
                    <a:pt x="37219" y="74756"/>
                  </a:lnTo>
                  <a:cubicBezTo>
                    <a:pt x="37219" y="75393"/>
                    <a:pt x="36901" y="75393"/>
                    <a:pt x="36583" y="75393"/>
                  </a:cubicBezTo>
                  <a:cubicBezTo>
                    <a:pt x="36265" y="75393"/>
                    <a:pt x="35947" y="75393"/>
                    <a:pt x="35947" y="75074"/>
                  </a:cubicBezTo>
                  <a:cubicBezTo>
                    <a:pt x="35310" y="75074"/>
                    <a:pt x="34674" y="75393"/>
                    <a:pt x="34356" y="75711"/>
                  </a:cubicBezTo>
                  <a:cubicBezTo>
                    <a:pt x="32765" y="76029"/>
                    <a:pt x="31811" y="76665"/>
                    <a:pt x="30539" y="76665"/>
                  </a:cubicBezTo>
                  <a:lnTo>
                    <a:pt x="29902" y="76665"/>
                  </a:lnTo>
                  <a:cubicBezTo>
                    <a:pt x="28948" y="77301"/>
                    <a:pt x="28312" y="77937"/>
                    <a:pt x="28312" y="77937"/>
                  </a:cubicBezTo>
                  <a:lnTo>
                    <a:pt x="26403" y="77937"/>
                  </a:lnTo>
                  <a:cubicBezTo>
                    <a:pt x="26085" y="77937"/>
                    <a:pt x="25767" y="77937"/>
                    <a:pt x="25449" y="77619"/>
                  </a:cubicBezTo>
                  <a:cubicBezTo>
                    <a:pt x="24813" y="77619"/>
                    <a:pt x="24495" y="77937"/>
                    <a:pt x="24495" y="77937"/>
                  </a:cubicBezTo>
                  <a:cubicBezTo>
                    <a:pt x="23858" y="78574"/>
                    <a:pt x="22904" y="78256"/>
                    <a:pt x="22268" y="79528"/>
                  </a:cubicBezTo>
                  <a:cubicBezTo>
                    <a:pt x="21314" y="79846"/>
                    <a:pt x="20995" y="79846"/>
                    <a:pt x="20995" y="79846"/>
                  </a:cubicBezTo>
                  <a:cubicBezTo>
                    <a:pt x="20995" y="79528"/>
                    <a:pt x="20995" y="79528"/>
                    <a:pt x="20359" y="79528"/>
                  </a:cubicBezTo>
                  <a:lnTo>
                    <a:pt x="18450" y="79528"/>
                  </a:lnTo>
                  <a:cubicBezTo>
                    <a:pt x="17496" y="79528"/>
                    <a:pt x="16860" y="79846"/>
                    <a:pt x="14951" y="81437"/>
                  </a:cubicBezTo>
                  <a:lnTo>
                    <a:pt x="12406" y="81437"/>
                  </a:lnTo>
                  <a:cubicBezTo>
                    <a:pt x="10498" y="82709"/>
                    <a:pt x="5408" y="84300"/>
                    <a:pt x="3181" y="84300"/>
                  </a:cubicBezTo>
                  <a:cubicBezTo>
                    <a:pt x="2545" y="84300"/>
                    <a:pt x="2227" y="84936"/>
                    <a:pt x="1591" y="85254"/>
                  </a:cubicBezTo>
                  <a:cubicBezTo>
                    <a:pt x="1272" y="85890"/>
                    <a:pt x="636" y="85890"/>
                    <a:pt x="318" y="85890"/>
                  </a:cubicBezTo>
                  <a:cubicBezTo>
                    <a:pt x="0" y="85890"/>
                    <a:pt x="0" y="85254"/>
                    <a:pt x="0" y="84618"/>
                  </a:cubicBezTo>
                  <a:cubicBezTo>
                    <a:pt x="0" y="81437"/>
                    <a:pt x="4772" y="70939"/>
                    <a:pt x="8907" y="70939"/>
                  </a:cubicBezTo>
                  <a:lnTo>
                    <a:pt x="9861" y="70939"/>
                  </a:lnTo>
                  <a:lnTo>
                    <a:pt x="9861" y="71257"/>
                  </a:lnTo>
                  <a:lnTo>
                    <a:pt x="11134" y="71257"/>
                  </a:lnTo>
                  <a:cubicBezTo>
                    <a:pt x="11452" y="71257"/>
                    <a:pt x="10816" y="71893"/>
                    <a:pt x="10498" y="72211"/>
                  </a:cubicBezTo>
                  <a:lnTo>
                    <a:pt x="9861" y="73484"/>
                  </a:lnTo>
                  <a:lnTo>
                    <a:pt x="9861" y="75074"/>
                  </a:lnTo>
                  <a:cubicBezTo>
                    <a:pt x="9861" y="75393"/>
                    <a:pt x="10180" y="75074"/>
                    <a:pt x="10498" y="75074"/>
                  </a:cubicBezTo>
                  <a:lnTo>
                    <a:pt x="10498" y="74438"/>
                  </a:lnTo>
                  <a:cubicBezTo>
                    <a:pt x="10816" y="73484"/>
                    <a:pt x="11770" y="73484"/>
                    <a:pt x="12406" y="73484"/>
                  </a:cubicBezTo>
                  <a:lnTo>
                    <a:pt x="12724" y="73484"/>
                  </a:lnTo>
                  <a:lnTo>
                    <a:pt x="12724" y="73802"/>
                  </a:lnTo>
                  <a:cubicBezTo>
                    <a:pt x="12724" y="74120"/>
                    <a:pt x="12406" y="74438"/>
                    <a:pt x="12406" y="74438"/>
                  </a:cubicBezTo>
                  <a:cubicBezTo>
                    <a:pt x="13043" y="74438"/>
                    <a:pt x="13361" y="74756"/>
                    <a:pt x="13361" y="74756"/>
                  </a:cubicBezTo>
                  <a:cubicBezTo>
                    <a:pt x="13997" y="74756"/>
                    <a:pt x="13997" y="74756"/>
                    <a:pt x="14315" y="74438"/>
                  </a:cubicBezTo>
                  <a:lnTo>
                    <a:pt x="14951" y="74120"/>
                  </a:lnTo>
                  <a:lnTo>
                    <a:pt x="15587" y="74120"/>
                  </a:lnTo>
                  <a:cubicBezTo>
                    <a:pt x="15587" y="74438"/>
                    <a:pt x="15906" y="74438"/>
                    <a:pt x="15906" y="74438"/>
                  </a:cubicBezTo>
                  <a:cubicBezTo>
                    <a:pt x="16224" y="74438"/>
                    <a:pt x="16860" y="73802"/>
                    <a:pt x="17496" y="73802"/>
                  </a:cubicBezTo>
                  <a:cubicBezTo>
                    <a:pt x="17496" y="73802"/>
                    <a:pt x="17496" y="73484"/>
                    <a:pt x="18132" y="73166"/>
                  </a:cubicBezTo>
                  <a:lnTo>
                    <a:pt x="18132" y="72211"/>
                  </a:lnTo>
                  <a:cubicBezTo>
                    <a:pt x="17496" y="72211"/>
                    <a:pt x="17496" y="72211"/>
                    <a:pt x="17496" y="71893"/>
                  </a:cubicBezTo>
                  <a:cubicBezTo>
                    <a:pt x="17496" y="71575"/>
                    <a:pt x="17496" y="71257"/>
                    <a:pt x="17814" y="70621"/>
                  </a:cubicBezTo>
                  <a:cubicBezTo>
                    <a:pt x="17814" y="70303"/>
                    <a:pt x="17496" y="70303"/>
                    <a:pt x="16860" y="70303"/>
                  </a:cubicBezTo>
                  <a:cubicBezTo>
                    <a:pt x="17496" y="69666"/>
                    <a:pt x="18768" y="68394"/>
                    <a:pt x="19405" y="68394"/>
                  </a:cubicBezTo>
                  <a:cubicBezTo>
                    <a:pt x="20995" y="67758"/>
                    <a:pt x="22904" y="67758"/>
                    <a:pt x="23858" y="67122"/>
                  </a:cubicBezTo>
                  <a:cubicBezTo>
                    <a:pt x="24813" y="66803"/>
                    <a:pt x="25449" y="66803"/>
                    <a:pt x="26085" y="66803"/>
                  </a:cubicBezTo>
                  <a:cubicBezTo>
                    <a:pt x="27040" y="66485"/>
                    <a:pt x="27994" y="66485"/>
                    <a:pt x="28948" y="66485"/>
                  </a:cubicBezTo>
                  <a:lnTo>
                    <a:pt x="29902" y="66485"/>
                  </a:lnTo>
                  <a:cubicBezTo>
                    <a:pt x="31175" y="65213"/>
                    <a:pt x="33084" y="65213"/>
                    <a:pt x="34356" y="64577"/>
                  </a:cubicBezTo>
                  <a:lnTo>
                    <a:pt x="37219" y="64577"/>
                  </a:lnTo>
                  <a:cubicBezTo>
                    <a:pt x="37219" y="64577"/>
                    <a:pt x="38173" y="64895"/>
                    <a:pt x="38491" y="64895"/>
                  </a:cubicBezTo>
                  <a:lnTo>
                    <a:pt x="38491" y="65213"/>
                  </a:lnTo>
                  <a:cubicBezTo>
                    <a:pt x="38491" y="65849"/>
                    <a:pt x="38173" y="65849"/>
                    <a:pt x="37537" y="66167"/>
                  </a:cubicBezTo>
                  <a:cubicBezTo>
                    <a:pt x="36583" y="66167"/>
                    <a:pt x="35629" y="66485"/>
                    <a:pt x="35310" y="67758"/>
                  </a:cubicBezTo>
                  <a:cubicBezTo>
                    <a:pt x="35310" y="67758"/>
                    <a:pt x="34992" y="67758"/>
                    <a:pt x="34674" y="68394"/>
                  </a:cubicBezTo>
                  <a:lnTo>
                    <a:pt x="33720" y="69030"/>
                  </a:lnTo>
                  <a:lnTo>
                    <a:pt x="33720" y="69348"/>
                  </a:lnTo>
                  <a:lnTo>
                    <a:pt x="34992" y="69348"/>
                  </a:lnTo>
                  <a:lnTo>
                    <a:pt x="35947" y="68712"/>
                  </a:lnTo>
                  <a:cubicBezTo>
                    <a:pt x="35947" y="68712"/>
                    <a:pt x="36265" y="68394"/>
                    <a:pt x="36583" y="67758"/>
                  </a:cubicBezTo>
                  <a:cubicBezTo>
                    <a:pt x="36583" y="67758"/>
                    <a:pt x="36583" y="67440"/>
                    <a:pt x="37219" y="67440"/>
                  </a:cubicBezTo>
                  <a:lnTo>
                    <a:pt x="37537" y="67440"/>
                  </a:lnTo>
                  <a:cubicBezTo>
                    <a:pt x="37537" y="67758"/>
                    <a:pt x="38173" y="68076"/>
                    <a:pt x="38173" y="68712"/>
                  </a:cubicBezTo>
                  <a:cubicBezTo>
                    <a:pt x="38491" y="69030"/>
                    <a:pt x="38810" y="69030"/>
                    <a:pt x="39128" y="69030"/>
                  </a:cubicBezTo>
                  <a:lnTo>
                    <a:pt x="40718" y="69030"/>
                  </a:lnTo>
                  <a:cubicBezTo>
                    <a:pt x="41036" y="68394"/>
                    <a:pt x="41673" y="68394"/>
                    <a:pt x="42309" y="68394"/>
                  </a:cubicBezTo>
                  <a:lnTo>
                    <a:pt x="43263" y="68394"/>
                  </a:lnTo>
                  <a:lnTo>
                    <a:pt x="43263" y="68076"/>
                  </a:lnTo>
                  <a:lnTo>
                    <a:pt x="44217" y="66167"/>
                  </a:lnTo>
                  <a:cubicBezTo>
                    <a:pt x="44217" y="66167"/>
                    <a:pt x="45172" y="65531"/>
                    <a:pt x="45172" y="65849"/>
                  </a:cubicBezTo>
                  <a:cubicBezTo>
                    <a:pt x="45172" y="65849"/>
                    <a:pt x="45172" y="66167"/>
                    <a:pt x="44854" y="66485"/>
                  </a:cubicBezTo>
                  <a:cubicBezTo>
                    <a:pt x="44854" y="67122"/>
                    <a:pt x="44536" y="67440"/>
                    <a:pt x="44217" y="68076"/>
                  </a:cubicBezTo>
                  <a:lnTo>
                    <a:pt x="44217" y="68712"/>
                  </a:lnTo>
                  <a:lnTo>
                    <a:pt x="44854" y="68712"/>
                  </a:lnTo>
                  <a:cubicBezTo>
                    <a:pt x="45808" y="68712"/>
                    <a:pt x="46126" y="67440"/>
                    <a:pt x="46444" y="67122"/>
                  </a:cubicBezTo>
                  <a:cubicBezTo>
                    <a:pt x="46444" y="66803"/>
                    <a:pt x="46126" y="66485"/>
                    <a:pt x="46126" y="66167"/>
                  </a:cubicBezTo>
                  <a:lnTo>
                    <a:pt x="46126" y="65849"/>
                  </a:lnTo>
                  <a:cubicBezTo>
                    <a:pt x="46126" y="65849"/>
                    <a:pt x="46126" y="65531"/>
                    <a:pt x="46444" y="65531"/>
                  </a:cubicBezTo>
                  <a:lnTo>
                    <a:pt x="47717" y="63940"/>
                  </a:lnTo>
                  <a:lnTo>
                    <a:pt x="46126" y="63622"/>
                  </a:lnTo>
                  <a:lnTo>
                    <a:pt x="46126" y="63304"/>
                  </a:lnTo>
                  <a:lnTo>
                    <a:pt x="45808" y="63304"/>
                  </a:lnTo>
                  <a:lnTo>
                    <a:pt x="44854" y="63622"/>
                  </a:lnTo>
                  <a:cubicBezTo>
                    <a:pt x="43899" y="63940"/>
                    <a:pt x="43581" y="64259"/>
                    <a:pt x="43263" y="65531"/>
                  </a:cubicBezTo>
                  <a:cubicBezTo>
                    <a:pt x="43263" y="65213"/>
                    <a:pt x="43263" y="64577"/>
                    <a:pt x="42945" y="64577"/>
                  </a:cubicBezTo>
                  <a:lnTo>
                    <a:pt x="41355" y="64577"/>
                  </a:lnTo>
                  <a:close/>
                  <a:moveTo>
                    <a:pt x="20359" y="69985"/>
                  </a:moveTo>
                  <a:cubicBezTo>
                    <a:pt x="19723" y="70303"/>
                    <a:pt x="19087" y="71257"/>
                    <a:pt x="18132" y="72211"/>
                  </a:cubicBezTo>
                  <a:cubicBezTo>
                    <a:pt x="18768" y="72211"/>
                    <a:pt x="19723" y="71257"/>
                    <a:pt x="20359" y="70303"/>
                  </a:cubicBezTo>
                  <a:cubicBezTo>
                    <a:pt x="20677" y="70303"/>
                    <a:pt x="20359" y="69985"/>
                    <a:pt x="20359" y="69985"/>
                  </a:cubicBezTo>
                  <a:close/>
                  <a:moveTo>
                    <a:pt x="19405" y="75393"/>
                  </a:moveTo>
                  <a:lnTo>
                    <a:pt x="18450" y="75393"/>
                  </a:lnTo>
                  <a:lnTo>
                    <a:pt x="18450" y="76665"/>
                  </a:lnTo>
                  <a:cubicBezTo>
                    <a:pt x="18450" y="76347"/>
                    <a:pt x="18768" y="76347"/>
                    <a:pt x="19087" y="76029"/>
                  </a:cubicBezTo>
                  <a:lnTo>
                    <a:pt x="19405" y="75393"/>
                  </a:lnTo>
                  <a:close/>
                  <a:moveTo>
                    <a:pt x="22586" y="74120"/>
                  </a:moveTo>
                  <a:lnTo>
                    <a:pt x="22904" y="74120"/>
                  </a:lnTo>
                  <a:cubicBezTo>
                    <a:pt x="23222" y="73802"/>
                    <a:pt x="23222" y="73484"/>
                    <a:pt x="23222" y="73484"/>
                  </a:cubicBezTo>
                  <a:cubicBezTo>
                    <a:pt x="23222" y="73484"/>
                    <a:pt x="23858" y="73166"/>
                    <a:pt x="23858" y="72848"/>
                  </a:cubicBezTo>
                  <a:lnTo>
                    <a:pt x="23858" y="72529"/>
                  </a:lnTo>
                  <a:lnTo>
                    <a:pt x="23540" y="72529"/>
                  </a:lnTo>
                  <a:cubicBezTo>
                    <a:pt x="22904" y="72529"/>
                    <a:pt x="22268" y="72529"/>
                    <a:pt x="21632" y="73484"/>
                  </a:cubicBezTo>
                  <a:cubicBezTo>
                    <a:pt x="21632" y="73802"/>
                    <a:pt x="22268" y="74120"/>
                    <a:pt x="22586" y="74120"/>
                  </a:cubicBezTo>
                  <a:close/>
                  <a:moveTo>
                    <a:pt x="31811" y="67758"/>
                  </a:moveTo>
                  <a:lnTo>
                    <a:pt x="29902" y="69348"/>
                  </a:lnTo>
                  <a:lnTo>
                    <a:pt x="29902" y="69666"/>
                  </a:lnTo>
                  <a:lnTo>
                    <a:pt x="30539" y="69666"/>
                  </a:lnTo>
                  <a:cubicBezTo>
                    <a:pt x="31175" y="69666"/>
                    <a:pt x="31493" y="69666"/>
                    <a:pt x="31493" y="69030"/>
                  </a:cubicBezTo>
                  <a:cubicBezTo>
                    <a:pt x="31493" y="69030"/>
                    <a:pt x="31811" y="68712"/>
                    <a:pt x="31811" y="68076"/>
                  </a:cubicBezTo>
                  <a:lnTo>
                    <a:pt x="31811" y="67758"/>
                  </a:lnTo>
                  <a:close/>
                  <a:moveTo>
                    <a:pt x="43263" y="66167"/>
                  </a:moveTo>
                  <a:cubicBezTo>
                    <a:pt x="43263" y="66485"/>
                    <a:pt x="42945" y="66803"/>
                    <a:pt x="42945" y="66803"/>
                  </a:cubicBezTo>
                  <a:cubicBezTo>
                    <a:pt x="42945" y="67122"/>
                    <a:pt x="42945" y="67122"/>
                    <a:pt x="42627" y="67122"/>
                  </a:cubicBezTo>
                  <a:cubicBezTo>
                    <a:pt x="42627" y="67122"/>
                    <a:pt x="42309" y="66803"/>
                    <a:pt x="42309" y="66485"/>
                  </a:cubicBezTo>
                  <a:cubicBezTo>
                    <a:pt x="42945" y="65849"/>
                    <a:pt x="43263" y="65849"/>
                    <a:pt x="43263" y="65849"/>
                  </a:cubicBezTo>
                  <a:lnTo>
                    <a:pt x="43263" y="66167"/>
                  </a:lnTo>
                  <a:close/>
                  <a:moveTo>
                    <a:pt x="50898" y="266896"/>
                  </a:moveTo>
                  <a:cubicBezTo>
                    <a:pt x="50898" y="266896"/>
                    <a:pt x="50580" y="266896"/>
                    <a:pt x="50580" y="266578"/>
                  </a:cubicBezTo>
                  <a:cubicBezTo>
                    <a:pt x="50580" y="266578"/>
                    <a:pt x="50898" y="266578"/>
                    <a:pt x="50898" y="266260"/>
                  </a:cubicBezTo>
                  <a:lnTo>
                    <a:pt x="50898" y="266896"/>
                  </a:lnTo>
                  <a:close/>
                  <a:moveTo>
                    <a:pt x="66803" y="229359"/>
                  </a:moveTo>
                  <a:cubicBezTo>
                    <a:pt x="67122" y="229359"/>
                    <a:pt x="67440" y="229041"/>
                    <a:pt x="67758" y="228404"/>
                  </a:cubicBezTo>
                  <a:cubicBezTo>
                    <a:pt x="67758" y="228086"/>
                    <a:pt x="67440" y="227450"/>
                    <a:pt x="67440" y="227450"/>
                  </a:cubicBezTo>
                  <a:cubicBezTo>
                    <a:pt x="67440" y="227450"/>
                    <a:pt x="68076" y="227132"/>
                    <a:pt x="68076" y="226814"/>
                  </a:cubicBezTo>
                  <a:cubicBezTo>
                    <a:pt x="67440" y="226496"/>
                    <a:pt x="67440" y="225859"/>
                    <a:pt x="66803" y="225859"/>
                  </a:cubicBezTo>
                  <a:lnTo>
                    <a:pt x="67122" y="228404"/>
                  </a:lnTo>
                  <a:cubicBezTo>
                    <a:pt x="67122" y="228722"/>
                    <a:pt x="66485" y="229041"/>
                    <a:pt x="66485" y="229041"/>
                  </a:cubicBezTo>
                  <a:lnTo>
                    <a:pt x="66167" y="229041"/>
                  </a:lnTo>
                  <a:cubicBezTo>
                    <a:pt x="66167" y="229041"/>
                    <a:pt x="66167" y="229359"/>
                    <a:pt x="66485" y="229359"/>
                  </a:cubicBezTo>
                  <a:lnTo>
                    <a:pt x="66803" y="229359"/>
                  </a:lnTo>
                  <a:close/>
                  <a:moveTo>
                    <a:pt x="67122" y="237630"/>
                  </a:moveTo>
                  <a:lnTo>
                    <a:pt x="67122" y="239538"/>
                  </a:lnTo>
                  <a:cubicBezTo>
                    <a:pt x="67758" y="239856"/>
                    <a:pt x="68076" y="239856"/>
                    <a:pt x="68076" y="239856"/>
                  </a:cubicBezTo>
                  <a:lnTo>
                    <a:pt x="68712" y="239856"/>
                  </a:lnTo>
                  <a:lnTo>
                    <a:pt x="68394" y="239538"/>
                  </a:lnTo>
                  <a:lnTo>
                    <a:pt x="68394" y="237630"/>
                  </a:lnTo>
                  <a:lnTo>
                    <a:pt x="67122" y="237630"/>
                  </a:lnTo>
                  <a:close/>
                  <a:moveTo>
                    <a:pt x="67122" y="248127"/>
                  </a:moveTo>
                  <a:cubicBezTo>
                    <a:pt x="67122" y="248445"/>
                    <a:pt x="67122" y="248763"/>
                    <a:pt x="67440" y="249082"/>
                  </a:cubicBezTo>
                  <a:cubicBezTo>
                    <a:pt x="67440" y="249082"/>
                    <a:pt x="67440" y="249400"/>
                    <a:pt x="67758" y="249400"/>
                  </a:cubicBezTo>
                  <a:lnTo>
                    <a:pt x="67758" y="249082"/>
                  </a:lnTo>
                  <a:cubicBezTo>
                    <a:pt x="68394" y="248763"/>
                    <a:pt x="68394" y="248127"/>
                    <a:pt x="68394" y="247809"/>
                  </a:cubicBezTo>
                  <a:cubicBezTo>
                    <a:pt x="68394" y="247491"/>
                    <a:pt x="68076" y="247173"/>
                    <a:pt x="67440" y="247173"/>
                  </a:cubicBezTo>
                  <a:cubicBezTo>
                    <a:pt x="67122" y="247173"/>
                    <a:pt x="67122" y="247491"/>
                    <a:pt x="67122" y="247809"/>
                  </a:cubicBezTo>
                  <a:lnTo>
                    <a:pt x="67122" y="248127"/>
                  </a:lnTo>
                  <a:close/>
                  <a:moveTo>
                    <a:pt x="67440" y="210908"/>
                  </a:moveTo>
                  <a:lnTo>
                    <a:pt x="67758" y="210590"/>
                  </a:lnTo>
                  <a:cubicBezTo>
                    <a:pt x="68712" y="209954"/>
                    <a:pt x="69985" y="209636"/>
                    <a:pt x="70303" y="209636"/>
                  </a:cubicBezTo>
                  <a:cubicBezTo>
                    <a:pt x="70303" y="209636"/>
                    <a:pt x="70621" y="210272"/>
                    <a:pt x="70621" y="210590"/>
                  </a:cubicBezTo>
                  <a:cubicBezTo>
                    <a:pt x="69985" y="210908"/>
                    <a:pt x="69666" y="211226"/>
                    <a:pt x="68394" y="211226"/>
                  </a:cubicBezTo>
                  <a:cubicBezTo>
                    <a:pt x="68076" y="211226"/>
                    <a:pt x="67440" y="211226"/>
                    <a:pt x="67440" y="210908"/>
                  </a:cubicBezTo>
                  <a:close/>
                  <a:moveTo>
                    <a:pt x="67758" y="231267"/>
                  </a:moveTo>
                  <a:cubicBezTo>
                    <a:pt x="67758" y="231585"/>
                    <a:pt x="67440" y="231585"/>
                    <a:pt x="67440" y="231585"/>
                  </a:cubicBezTo>
                  <a:cubicBezTo>
                    <a:pt x="67440" y="231585"/>
                    <a:pt x="67440" y="231904"/>
                    <a:pt x="67758" y="231904"/>
                  </a:cubicBezTo>
                  <a:lnTo>
                    <a:pt x="67758" y="231267"/>
                  </a:lnTo>
                  <a:close/>
                  <a:moveTo>
                    <a:pt x="68394" y="212499"/>
                  </a:moveTo>
                  <a:cubicBezTo>
                    <a:pt x="68394" y="212181"/>
                    <a:pt x="68712" y="212181"/>
                    <a:pt x="68712" y="212181"/>
                  </a:cubicBezTo>
                  <a:cubicBezTo>
                    <a:pt x="68712" y="212181"/>
                    <a:pt x="68712" y="212499"/>
                    <a:pt x="69030" y="212499"/>
                  </a:cubicBezTo>
                  <a:lnTo>
                    <a:pt x="68394" y="212499"/>
                  </a:lnTo>
                  <a:close/>
                  <a:moveTo>
                    <a:pt x="69030" y="198820"/>
                  </a:moveTo>
                  <a:lnTo>
                    <a:pt x="68712" y="198502"/>
                  </a:lnTo>
                  <a:cubicBezTo>
                    <a:pt x="69030" y="198502"/>
                    <a:pt x="69348" y="198184"/>
                    <a:pt x="69348" y="198184"/>
                  </a:cubicBezTo>
                  <a:cubicBezTo>
                    <a:pt x="69985" y="198184"/>
                    <a:pt x="69985" y="198502"/>
                    <a:pt x="69985" y="198502"/>
                  </a:cubicBezTo>
                  <a:cubicBezTo>
                    <a:pt x="69985" y="198502"/>
                    <a:pt x="69985" y="198820"/>
                    <a:pt x="69348" y="198820"/>
                  </a:cubicBezTo>
                  <a:lnTo>
                    <a:pt x="69030" y="198820"/>
                  </a:lnTo>
                  <a:close/>
                  <a:moveTo>
                    <a:pt x="69030" y="208363"/>
                  </a:moveTo>
                  <a:lnTo>
                    <a:pt x="69030" y="207409"/>
                  </a:lnTo>
                  <a:cubicBezTo>
                    <a:pt x="69348" y="207091"/>
                    <a:pt x="69985" y="206773"/>
                    <a:pt x="69985" y="206773"/>
                  </a:cubicBezTo>
                  <a:cubicBezTo>
                    <a:pt x="70303" y="206773"/>
                    <a:pt x="70621" y="206773"/>
                    <a:pt x="70621" y="207091"/>
                  </a:cubicBezTo>
                  <a:cubicBezTo>
                    <a:pt x="70621" y="207091"/>
                    <a:pt x="70303" y="207409"/>
                    <a:pt x="70303" y="207727"/>
                  </a:cubicBezTo>
                  <a:cubicBezTo>
                    <a:pt x="70303" y="208363"/>
                    <a:pt x="69666" y="208363"/>
                    <a:pt x="69666" y="208363"/>
                  </a:cubicBezTo>
                  <a:lnTo>
                    <a:pt x="69030" y="208363"/>
                  </a:lnTo>
                  <a:close/>
                  <a:moveTo>
                    <a:pt x="69985" y="213135"/>
                  </a:moveTo>
                  <a:lnTo>
                    <a:pt x="69985" y="213453"/>
                  </a:lnTo>
                  <a:cubicBezTo>
                    <a:pt x="69985" y="213453"/>
                    <a:pt x="69348" y="213453"/>
                    <a:pt x="69348" y="213135"/>
                  </a:cubicBezTo>
                  <a:lnTo>
                    <a:pt x="69348" y="212817"/>
                  </a:lnTo>
                  <a:lnTo>
                    <a:pt x="69030" y="212499"/>
                  </a:lnTo>
                  <a:lnTo>
                    <a:pt x="69666" y="212499"/>
                  </a:lnTo>
                  <a:lnTo>
                    <a:pt x="69985" y="213135"/>
                  </a:lnTo>
                  <a:close/>
                  <a:moveTo>
                    <a:pt x="69348" y="204864"/>
                  </a:moveTo>
                  <a:lnTo>
                    <a:pt x="70303" y="204864"/>
                  </a:lnTo>
                  <a:cubicBezTo>
                    <a:pt x="70621" y="204864"/>
                    <a:pt x="70621" y="205182"/>
                    <a:pt x="70621" y="205500"/>
                  </a:cubicBezTo>
                  <a:cubicBezTo>
                    <a:pt x="70621" y="205818"/>
                    <a:pt x="70621" y="206136"/>
                    <a:pt x="70303" y="206455"/>
                  </a:cubicBezTo>
                  <a:cubicBezTo>
                    <a:pt x="69985" y="206455"/>
                    <a:pt x="69985" y="206455"/>
                    <a:pt x="69348" y="205818"/>
                  </a:cubicBezTo>
                  <a:lnTo>
                    <a:pt x="69348" y="204864"/>
                  </a:lnTo>
                  <a:close/>
                  <a:moveTo>
                    <a:pt x="70303" y="201365"/>
                  </a:moveTo>
                  <a:lnTo>
                    <a:pt x="69666" y="201365"/>
                  </a:lnTo>
                  <a:cubicBezTo>
                    <a:pt x="69666" y="201365"/>
                    <a:pt x="69985" y="201365"/>
                    <a:pt x="69985" y="201047"/>
                  </a:cubicBezTo>
                  <a:lnTo>
                    <a:pt x="70303" y="201365"/>
                  </a:lnTo>
                  <a:close/>
                  <a:moveTo>
                    <a:pt x="71257" y="189595"/>
                  </a:moveTo>
                  <a:cubicBezTo>
                    <a:pt x="71575" y="189595"/>
                    <a:pt x="71893" y="189913"/>
                    <a:pt x="71893" y="190231"/>
                  </a:cubicBezTo>
                  <a:cubicBezTo>
                    <a:pt x="71893" y="190549"/>
                    <a:pt x="71575" y="190867"/>
                    <a:pt x="71257" y="190867"/>
                  </a:cubicBezTo>
                  <a:cubicBezTo>
                    <a:pt x="70939" y="190867"/>
                    <a:pt x="70621" y="190549"/>
                    <a:pt x="70621" y="190549"/>
                  </a:cubicBezTo>
                  <a:cubicBezTo>
                    <a:pt x="70621" y="189913"/>
                    <a:pt x="70621" y="189595"/>
                    <a:pt x="71257" y="189595"/>
                  </a:cubicBezTo>
                  <a:close/>
                  <a:moveTo>
                    <a:pt x="73802" y="154284"/>
                  </a:moveTo>
                  <a:cubicBezTo>
                    <a:pt x="74756" y="154284"/>
                    <a:pt x="75074" y="154284"/>
                    <a:pt x="75074" y="153966"/>
                  </a:cubicBezTo>
                  <a:cubicBezTo>
                    <a:pt x="75074" y="153648"/>
                    <a:pt x="74756" y="153330"/>
                    <a:pt x="74120" y="153330"/>
                  </a:cubicBezTo>
                  <a:cubicBezTo>
                    <a:pt x="73802" y="153330"/>
                    <a:pt x="73802" y="153648"/>
                    <a:pt x="73802" y="153966"/>
                  </a:cubicBezTo>
                  <a:lnTo>
                    <a:pt x="73802" y="154284"/>
                  </a:lnTo>
                  <a:close/>
                  <a:moveTo>
                    <a:pt x="73802" y="172735"/>
                  </a:moveTo>
                  <a:lnTo>
                    <a:pt x="73802" y="170826"/>
                  </a:lnTo>
                  <a:cubicBezTo>
                    <a:pt x="74120" y="170508"/>
                    <a:pt x="74120" y="170508"/>
                    <a:pt x="74438" y="170508"/>
                  </a:cubicBezTo>
                  <a:cubicBezTo>
                    <a:pt x="75074" y="170508"/>
                    <a:pt x="75074" y="170508"/>
                    <a:pt x="75074" y="170826"/>
                  </a:cubicBezTo>
                  <a:cubicBezTo>
                    <a:pt x="75074" y="171144"/>
                    <a:pt x="75074" y="171780"/>
                    <a:pt x="74120" y="172417"/>
                  </a:cubicBezTo>
                  <a:lnTo>
                    <a:pt x="73802" y="172735"/>
                  </a:lnTo>
                  <a:close/>
                  <a:moveTo>
                    <a:pt x="78256" y="149513"/>
                  </a:moveTo>
                  <a:cubicBezTo>
                    <a:pt x="77619" y="149513"/>
                    <a:pt x="77301" y="148876"/>
                    <a:pt x="76665" y="148240"/>
                  </a:cubicBezTo>
                  <a:lnTo>
                    <a:pt x="76665" y="147922"/>
                  </a:lnTo>
                  <a:cubicBezTo>
                    <a:pt x="76983" y="147604"/>
                    <a:pt x="77937" y="147286"/>
                    <a:pt x="78256" y="147286"/>
                  </a:cubicBezTo>
                  <a:cubicBezTo>
                    <a:pt x="78892" y="147286"/>
                    <a:pt x="79210" y="147604"/>
                    <a:pt x="79528" y="147922"/>
                  </a:cubicBezTo>
                  <a:lnTo>
                    <a:pt x="79528" y="148558"/>
                  </a:lnTo>
                  <a:cubicBezTo>
                    <a:pt x="79528" y="148876"/>
                    <a:pt x="78892" y="149194"/>
                    <a:pt x="78574" y="149513"/>
                  </a:cubicBezTo>
                  <a:lnTo>
                    <a:pt x="78256" y="149513"/>
                  </a:lnTo>
                  <a:close/>
                  <a:moveTo>
                    <a:pt x="81755" y="55670"/>
                  </a:moveTo>
                  <a:cubicBezTo>
                    <a:pt x="81437" y="55988"/>
                    <a:pt x="81118" y="55988"/>
                    <a:pt x="81118" y="55988"/>
                  </a:cubicBezTo>
                  <a:lnTo>
                    <a:pt x="81755" y="55670"/>
                  </a:lnTo>
                  <a:close/>
                  <a:moveTo>
                    <a:pt x="94161" y="268168"/>
                  </a:moveTo>
                  <a:lnTo>
                    <a:pt x="93843" y="267850"/>
                  </a:lnTo>
                  <a:cubicBezTo>
                    <a:pt x="93843" y="267532"/>
                    <a:pt x="94161" y="267532"/>
                    <a:pt x="94161" y="267214"/>
                  </a:cubicBezTo>
                  <a:lnTo>
                    <a:pt x="94161" y="268168"/>
                  </a:lnTo>
                  <a:close/>
                  <a:moveTo>
                    <a:pt x="100523" y="246537"/>
                  </a:moveTo>
                  <a:lnTo>
                    <a:pt x="100205" y="246219"/>
                  </a:lnTo>
                  <a:cubicBezTo>
                    <a:pt x="100205" y="246219"/>
                    <a:pt x="99569" y="246855"/>
                    <a:pt x="99251" y="247491"/>
                  </a:cubicBezTo>
                  <a:cubicBezTo>
                    <a:pt x="99251" y="247491"/>
                    <a:pt x="99251" y="247809"/>
                    <a:pt x="99569" y="247809"/>
                  </a:cubicBezTo>
                  <a:cubicBezTo>
                    <a:pt x="99887" y="247809"/>
                    <a:pt x="100523" y="246855"/>
                    <a:pt x="100523" y="246537"/>
                  </a:cubicBezTo>
                  <a:close/>
                  <a:moveTo>
                    <a:pt x="106886" y="231267"/>
                  </a:moveTo>
                  <a:cubicBezTo>
                    <a:pt x="107522" y="231267"/>
                    <a:pt x="107840" y="231267"/>
                    <a:pt x="107840" y="230949"/>
                  </a:cubicBezTo>
                  <a:cubicBezTo>
                    <a:pt x="107840" y="230949"/>
                    <a:pt x="107522" y="230949"/>
                    <a:pt x="107522" y="230631"/>
                  </a:cubicBezTo>
                  <a:cubicBezTo>
                    <a:pt x="107522" y="230313"/>
                    <a:pt x="107522" y="229995"/>
                    <a:pt x="106886" y="229995"/>
                  </a:cubicBezTo>
                  <a:cubicBezTo>
                    <a:pt x="106567" y="229995"/>
                    <a:pt x="106249" y="230313"/>
                    <a:pt x="106249" y="230631"/>
                  </a:cubicBezTo>
                  <a:lnTo>
                    <a:pt x="106886" y="231267"/>
                  </a:lnTo>
                  <a:close/>
                  <a:moveTo>
                    <a:pt x="114520" y="228722"/>
                  </a:moveTo>
                  <a:lnTo>
                    <a:pt x="114202" y="229041"/>
                  </a:lnTo>
                  <a:lnTo>
                    <a:pt x="114202" y="229359"/>
                  </a:lnTo>
                  <a:lnTo>
                    <a:pt x="112929" y="229359"/>
                  </a:lnTo>
                  <a:lnTo>
                    <a:pt x="112929" y="229041"/>
                  </a:lnTo>
                  <a:cubicBezTo>
                    <a:pt x="112929" y="229041"/>
                    <a:pt x="113566" y="228722"/>
                    <a:pt x="113566" y="228404"/>
                  </a:cubicBezTo>
                  <a:cubicBezTo>
                    <a:pt x="113566" y="228086"/>
                    <a:pt x="113248" y="228086"/>
                    <a:pt x="112929" y="227450"/>
                  </a:cubicBezTo>
                  <a:lnTo>
                    <a:pt x="112929" y="227132"/>
                  </a:lnTo>
                  <a:cubicBezTo>
                    <a:pt x="112929" y="226814"/>
                    <a:pt x="112929" y="226814"/>
                    <a:pt x="113248" y="226496"/>
                  </a:cubicBezTo>
                  <a:lnTo>
                    <a:pt x="113884" y="225859"/>
                  </a:lnTo>
                  <a:cubicBezTo>
                    <a:pt x="114202" y="225859"/>
                    <a:pt x="114520" y="226496"/>
                    <a:pt x="114520" y="226496"/>
                  </a:cubicBezTo>
                  <a:lnTo>
                    <a:pt x="114520" y="228722"/>
                  </a:lnTo>
                  <a:close/>
                  <a:moveTo>
                    <a:pt x="117701" y="55351"/>
                  </a:moveTo>
                  <a:cubicBezTo>
                    <a:pt x="118656" y="55033"/>
                    <a:pt x="119292" y="55033"/>
                    <a:pt x="119292" y="54715"/>
                  </a:cubicBezTo>
                  <a:cubicBezTo>
                    <a:pt x="119292" y="54079"/>
                    <a:pt x="119292" y="54079"/>
                    <a:pt x="119610" y="53761"/>
                  </a:cubicBezTo>
                  <a:cubicBezTo>
                    <a:pt x="119610" y="53761"/>
                    <a:pt x="119610" y="53443"/>
                    <a:pt x="119292" y="53443"/>
                  </a:cubicBezTo>
                  <a:cubicBezTo>
                    <a:pt x="118656" y="53443"/>
                    <a:pt x="118020" y="54079"/>
                    <a:pt x="117383" y="54715"/>
                  </a:cubicBezTo>
                  <a:lnTo>
                    <a:pt x="117065" y="55351"/>
                  </a:lnTo>
                  <a:lnTo>
                    <a:pt x="117065" y="55670"/>
                  </a:lnTo>
                  <a:lnTo>
                    <a:pt x="117701" y="55351"/>
                  </a:lnTo>
                  <a:close/>
                  <a:moveTo>
                    <a:pt x="122791" y="198820"/>
                  </a:moveTo>
                  <a:lnTo>
                    <a:pt x="123109" y="199774"/>
                  </a:lnTo>
                  <a:lnTo>
                    <a:pt x="123427" y="200092"/>
                  </a:lnTo>
                  <a:cubicBezTo>
                    <a:pt x="123745" y="199774"/>
                    <a:pt x="124382" y="199456"/>
                    <a:pt x="124382" y="198820"/>
                  </a:cubicBezTo>
                  <a:lnTo>
                    <a:pt x="122791" y="198820"/>
                  </a:lnTo>
                  <a:close/>
                  <a:moveTo>
                    <a:pt x="123745" y="51534"/>
                  </a:moveTo>
                  <a:cubicBezTo>
                    <a:pt x="124063" y="51534"/>
                    <a:pt x="124063" y="51216"/>
                    <a:pt x="124063" y="50898"/>
                  </a:cubicBezTo>
                  <a:lnTo>
                    <a:pt x="124063" y="50580"/>
                  </a:lnTo>
                  <a:cubicBezTo>
                    <a:pt x="123745" y="50580"/>
                    <a:pt x="124063" y="50898"/>
                    <a:pt x="123745" y="50898"/>
                  </a:cubicBezTo>
                  <a:lnTo>
                    <a:pt x="123745" y="51534"/>
                  </a:lnTo>
                  <a:close/>
                  <a:moveTo>
                    <a:pt x="126290" y="175916"/>
                  </a:moveTo>
                  <a:cubicBezTo>
                    <a:pt x="126290" y="175916"/>
                    <a:pt x="125336" y="175280"/>
                    <a:pt x="124700" y="175280"/>
                  </a:cubicBezTo>
                  <a:lnTo>
                    <a:pt x="124700" y="175916"/>
                  </a:lnTo>
                  <a:cubicBezTo>
                    <a:pt x="125018" y="176552"/>
                    <a:pt x="125018" y="176552"/>
                    <a:pt x="125654" y="176552"/>
                  </a:cubicBezTo>
                  <a:cubicBezTo>
                    <a:pt x="125654" y="176552"/>
                    <a:pt x="126608" y="176234"/>
                    <a:pt x="126290" y="175916"/>
                  </a:cubicBezTo>
                  <a:close/>
                  <a:moveTo>
                    <a:pt x="127563" y="173371"/>
                  </a:moveTo>
                  <a:lnTo>
                    <a:pt x="127563" y="171780"/>
                  </a:lnTo>
                  <a:lnTo>
                    <a:pt x="126608" y="171780"/>
                  </a:lnTo>
                  <a:lnTo>
                    <a:pt x="126608" y="172098"/>
                  </a:lnTo>
                  <a:cubicBezTo>
                    <a:pt x="126608" y="172417"/>
                    <a:pt x="126290" y="172735"/>
                    <a:pt x="126290" y="173053"/>
                  </a:cubicBezTo>
                  <a:cubicBezTo>
                    <a:pt x="126608" y="173371"/>
                    <a:pt x="126608" y="173689"/>
                    <a:pt x="126608" y="173689"/>
                  </a:cubicBezTo>
                  <a:cubicBezTo>
                    <a:pt x="126926" y="173689"/>
                    <a:pt x="127563" y="173371"/>
                    <a:pt x="127563" y="173371"/>
                  </a:cubicBezTo>
                  <a:close/>
                  <a:moveTo>
                    <a:pt x="129472" y="55670"/>
                  </a:moveTo>
                  <a:cubicBezTo>
                    <a:pt x="130426" y="55670"/>
                    <a:pt x="130426" y="55351"/>
                    <a:pt x="130744" y="55033"/>
                  </a:cubicBezTo>
                  <a:lnTo>
                    <a:pt x="130108" y="55033"/>
                  </a:lnTo>
                  <a:cubicBezTo>
                    <a:pt x="129790" y="55033"/>
                    <a:pt x="129790" y="54715"/>
                    <a:pt x="129472" y="54715"/>
                  </a:cubicBezTo>
                  <a:cubicBezTo>
                    <a:pt x="129153" y="54715"/>
                    <a:pt x="128517" y="55033"/>
                    <a:pt x="128517" y="55033"/>
                  </a:cubicBezTo>
                  <a:lnTo>
                    <a:pt x="128199" y="55033"/>
                  </a:lnTo>
                  <a:lnTo>
                    <a:pt x="127881" y="55351"/>
                  </a:lnTo>
                  <a:cubicBezTo>
                    <a:pt x="128199" y="55670"/>
                    <a:pt x="128517" y="55670"/>
                    <a:pt x="128517" y="55670"/>
                  </a:cubicBezTo>
                  <a:lnTo>
                    <a:pt x="129472" y="55670"/>
                  </a:lnTo>
                  <a:close/>
                  <a:moveTo>
                    <a:pt x="130426" y="189277"/>
                  </a:moveTo>
                  <a:lnTo>
                    <a:pt x="130426" y="189595"/>
                  </a:lnTo>
                  <a:cubicBezTo>
                    <a:pt x="130426" y="189913"/>
                    <a:pt x="129472" y="189913"/>
                    <a:pt x="129472" y="190231"/>
                  </a:cubicBezTo>
                  <a:lnTo>
                    <a:pt x="129472" y="189913"/>
                  </a:lnTo>
                  <a:lnTo>
                    <a:pt x="128835" y="189277"/>
                  </a:lnTo>
                  <a:cubicBezTo>
                    <a:pt x="129153" y="189277"/>
                    <a:pt x="129790" y="188640"/>
                    <a:pt x="129790" y="188640"/>
                  </a:cubicBezTo>
                  <a:lnTo>
                    <a:pt x="130744" y="188640"/>
                  </a:lnTo>
                  <a:lnTo>
                    <a:pt x="130426" y="189277"/>
                  </a:lnTo>
                  <a:close/>
                  <a:moveTo>
                    <a:pt x="130426" y="191185"/>
                  </a:moveTo>
                  <a:lnTo>
                    <a:pt x="130744" y="191503"/>
                  </a:lnTo>
                  <a:cubicBezTo>
                    <a:pt x="130744" y="191821"/>
                    <a:pt x="130426" y="191821"/>
                    <a:pt x="129790" y="192140"/>
                  </a:cubicBezTo>
                  <a:lnTo>
                    <a:pt x="129790" y="191821"/>
                  </a:lnTo>
                  <a:cubicBezTo>
                    <a:pt x="129472" y="191821"/>
                    <a:pt x="129472" y="191503"/>
                    <a:pt x="129472" y="191503"/>
                  </a:cubicBezTo>
                  <a:cubicBezTo>
                    <a:pt x="129153" y="191503"/>
                    <a:pt x="128835" y="191185"/>
                    <a:pt x="128835" y="191185"/>
                  </a:cubicBezTo>
                  <a:lnTo>
                    <a:pt x="130426" y="191185"/>
                  </a:lnTo>
                  <a:close/>
                  <a:moveTo>
                    <a:pt x="131062" y="53443"/>
                  </a:moveTo>
                  <a:cubicBezTo>
                    <a:pt x="131062" y="53443"/>
                    <a:pt x="131380" y="53125"/>
                    <a:pt x="131698" y="52488"/>
                  </a:cubicBezTo>
                  <a:lnTo>
                    <a:pt x="131698" y="52170"/>
                  </a:lnTo>
                  <a:cubicBezTo>
                    <a:pt x="130744" y="52170"/>
                    <a:pt x="130744" y="52170"/>
                    <a:pt x="130108" y="52488"/>
                  </a:cubicBezTo>
                  <a:cubicBezTo>
                    <a:pt x="130108" y="53125"/>
                    <a:pt x="130108" y="53761"/>
                    <a:pt x="129790" y="54397"/>
                  </a:cubicBezTo>
                  <a:cubicBezTo>
                    <a:pt x="130426" y="53761"/>
                    <a:pt x="131062" y="53761"/>
                    <a:pt x="131062" y="53443"/>
                  </a:cubicBezTo>
                  <a:close/>
                  <a:moveTo>
                    <a:pt x="132335" y="183551"/>
                  </a:moveTo>
                  <a:cubicBezTo>
                    <a:pt x="132016" y="183551"/>
                    <a:pt x="132016" y="183232"/>
                    <a:pt x="132016" y="183232"/>
                  </a:cubicBezTo>
                  <a:lnTo>
                    <a:pt x="132335" y="182914"/>
                  </a:lnTo>
                  <a:lnTo>
                    <a:pt x="132653" y="182914"/>
                  </a:lnTo>
                  <a:lnTo>
                    <a:pt x="132971" y="183232"/>
                  </a:lnTo>
                  <a:lnTo>
                    <a:pt x="133607" y="183551"/>
                  </a:lnTo>
                  <a:cubicBezTo>
                    <a:pt x="132971" y="183551"/>
                    <a:pt x="132971" y="184187"/>
                    <a:pt x="132653" y="184187"/>
                  </a:cubicBezTo>
                  <a:cubicBezTo>
                    <a:pt x="132335" y="184187"/>
                    <a:pt x="132335" y="184187"/>
                    <a:pt x="132335" y="183551"/>
                  </a:cubicBezTo>
                  <a:close/>
                  <a:moveTo>
                    <a:pt x="135834" y="57896"/>
                  </a:moveTo>
                  <a:cubicBezTo>
                    <a:pt x="135516" y="57896"/>
                    <a:pt x="135516" y="57578"/>
                    <a:pt x="135516" y="57578"/>
                  </a:cubicBezTo>
                  <a:cubicBezTo>
                    <a:pt x="135516" y="57578"/>
                    <a:pt x="135197" y="57896"/>
                    <a:pt x="134879" y="57896"/>
                  </a:cubicBezTo>
                  <a:lnTo>
                    <a:pt x="135834" y="57896"/>
                  </a:lnTo>
                  <a:close/>
                  <a:moveTo>
                    <a:pt x="137106" y="51852"/>
                  </a:moveTo>
                  <a:cubicBezTo>
                    <a:pt x="137106" y="51852"/>
                    <a:pt x="137424" y="51534"/>
                    <a:pt x="137106" y="51534"/>
                  </a:cubicBezTo>
                  <a:lnTo>
                    <a:pt x="136788" y="51534"/>
                  </a:lnTo>
                  <a:cubicBezTo>
                    <a:pt x="136470" y="51852"/>
                    <a:pt x="136470" y="51852"/>
                    <a:pt x="136470" y="52170"/>
                  </a:cubicBezTo>
                  <a:cubicBezTo>
                    <a:pt x="136788" y="51852"/>
                    <a:pt x="137106" y="51852"/>
                    <a:pt x="137106" y="51852"/>
                  </a:cubicBezTo>
                  <a:close/>
                  <a:moveTo>
                    <a:pt x="137424" y="171780"/>
                  </a:moveTo>
                  <a:cubicBezTo>
                    <a:pt x="137106" y="171462"/>
                    <a:pt x="137106" y="171144"/>
                    <a:pt x="137106" y="170826"/>
                  </a:cubicBezTo>
                  <a:lnTo>
                    <a:pt x="137106" y="170190"/>
                  </a:lnTo>
                  <a:lnTo>
                    <a:pt x="136788" y="170190"/>
                  </a:lnTo>
                  <a:cubicBezTo>
                    <a:pt x="136788" y="169872"/>
                    <a:pt x="137106" y="169872"/>
                    <a:pt x="137106" y="169554"/>
                  </a:cubicBezTo>
                  <a:lnTo>
                    <a:pt x="137424" y="169235"/>
                  </a:lnTo>
                  <a:cubicBezTo>
                    <a:pt x="137742" y="169554"/>
                    <a:pt x="138060" y="169872"/>
                    <a:pt x="139015" y="169872"/>
                  </a:cubicBezTo>
                  <a:cubicBezTo>
                    <a:pt x="139333" y="169872"/>
                    <a:pt x="139333" y="170190"/>
                    <a:pt x="139333" y="170190"/>
                  </a:cubicBezTo>
                  <a:cubicBezTo>
                    <a:pt x="139333" y="170190"/>
                    <a:pt x="139333" y="170508"/>
                    <a:pt x="139015" y="170826"/>
                  </a:cubicBezTo>
                  <a:cubicBezTo>
                    <a:pt x="139015" y="171780"/>
                    <a:pt x="139015" y="171780"/>
                    <a:pt x="137742" y="171780"/>
                  </a:cubicBezTo>
                  <a:lnTo>
                    <a:pt x="137424" y="171780"/>
                  </a:lnTo>
                  <a:close/>
                  <a:moveTo>
                    <a:pt x="139333" y="167645"/>
                  </a:moveTo>
                  <a:lnTo>
                    <a:pt x="139969" y="167645"/>
                  </a:lnTo>
                  <a:cubicBezTo>
                    <a:pt x="139969" y="167963"/>
                    <a:pt x="139969" y="168599"/>
                    <a:pt x="140605" y="168917"/>
                  </a:cubicBezTo>
                  <a:lnTo>
                    <a:pt x="140287" y="169235"/>
                  </a:lnTo>
                  <a:cubicBezTo>
                    <a:pt x="139969" y="169235"/>
                    <a:pt x="139651" y="169235"/>
                    <a:pt x="139333" y="168917"/>
                  </a:cubicBezTo>
                  <a:lnTo>
                    <a:pt x="139333" y="167645"/>
                  </a:lnTo>
                  <a:close/>
                  <a:moveTo>
                    <a:pt x="145059" y="55033"/>
                  </a:moveTo>
                  <a:cubicBezTo>
                    <a:pt x="145377" y="55033"/>
                    <a:pt x="146013" y="55033"/>
                    <a:pt x="146331" y="54715"/>
                  </a:cubicBezTo>
                  <a:lnTo>
                    <a:pt x="146331" y="54397"/>
                  </a:lnTo>
                  <a:cubicBezTo>
                    <a:pt x="146650" y="54079"/>
                    <a:pt x="146331" y="54079"/>
                    <a:pt x="146331" y="54079"/>
                  </a:cubicBezTo>
                  <a:lnTo>
                    <a:pt x="145377" y="54079"/>
                  </a:lnTo>
                  <a:cubicBezTo>
                    <a:pt x="145377" y="54079"/>
                    <a:pt x="145059" y="54397"/>
                    <a:pt x="145059" y="54715"/>
                  </a:cubicBezTo>
                  <a:lnTo>
                    <a:pt x="145059" y="55033"/>
                  </a:lnTo>
                  <a:close/>
                  <a:moveTo>
                    <a:pt x="150785" y="52488"/>
                  </a:moveTo>
                  <a:lnTo>
                    <a:pt x="151421" y="51534"/>
                  </a:lnTo>
                  <a:lnTo>
                    <a:pt x="151421" y="50898"/>
                  </a:lnTo>
                  <a:cubicBezTo>
                    <a:pt x="151739" y="50580"/>
                    <a:pt x="151421" y="50580"/>
                    <a:pt x="151421" y="50580"/>
                  </a:cubicBezTo>
                  <a:lnTo>
                    <a:pt x="151103" y="50580"/>
                  </a:lnTo>
                  <a:cubicBezTo>
                    <a:pt x="150785" y="50580"/>
                    <a:pt x="150467" y="50898"/>
                    <a:pt x="150149" y="51216"/>
                  </a:cubicBezTo>
                  <a:cubicBezTo>
                    <a:pt x="150149" y="51534"/>
                    <a:pt x="150785" y="51534"/>
                    <a:pt x="150785" y="52170"/>
                  </a:cubicBezTo>
                  <a:lnTo>
                    <a:pt x="150785" y="52488"/>
                  </a:lnTo>
                  <a:close/>
                  <a:moveTo>
                    <a:pt x="160646" y="54397"/>
                  </a:moveTo>
                  <a:cubicBezTo>
                    <a:pt x="161919" y="54079"/>
                    <a:pt x="161919" y="53443"/>
                    <a:pt x="162237" y="53125"/>
                  </a:cubicBezTo>
                  <a:cubicBezTo>
                    <a:pt x="160965" y="53125"/>
                    <a:pt x="160646" y="53761"/>
                    <a:pt x="160010" y="54397"/>
                  </a:cubicBezTo>
                  <a:lnTo>
                    <a:pt x="160646" y="54397"/>
                  </a:lnTo>
                  <a:close/>
                  <a:moveTo>
                    <a:pt x="188640" y="61077"/>
                  </a:moveTo>
                  <a:cubicBezTo>
                    <a:pt x="188640" y="61077"/>
                    <a:pt x="188958" y="60759"/>
                    <a:pt x="188640" y="60759"/>
                  </a:cubicBezTo>
                  <a:cubicBezTo>
                    <a:pt x="188322" y="61077"/>
                    <a:pt x="188322" y="61077"/>
                    <a:pt x="188004" y="61077"/>
                  </a:cubicBezTo>
                  <a:lnTo>
                    <a:pt x="188640" y="61077"/>
                  </a:lnTo>
                  <a:close/>
                  <a:moveTo>
                    <a:pt x="193412" y="46762"/>
                  </a:moveTo>
                  <a:cubicBezTo>
                    <a:pt x="193412" y="46444"/>
                    <a:pt x="193412" y="46444"/>
                    <a:pt x="193730" y="45808"/>
                  </a:cubicBezTo>
                  <a:lnTo>
                    <a:pt x="193094" y="46444"/>
                  </a:lnTo>
                  <a:cubicBezTo>
                    <a:pt x="193094" y="46762"/>
                    <a:pt x="193412" y="46762"/>
                    <a:pt x="193412" y="47081"/>
                  </a:cubicBezTo>
                  <a:lnTo>
                    <a:pt x="193412" y="46762"/>
                  </a:lnTo>
                  <a:close/>
                </a:path>
              </a:pathLst>
            </a:custGeom>
            <a:solidFill>
              <a:srgbClr val="000000"/>
            </a:solidFill>
            <a:ln w="63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BEC7255-02BD-413D-AAF2-FD4A16D450F0}"/>
                </a:ext>
              </a:extLst>
            </p:cNvPr>
            <p:cNvSpPr/>
            <p:nvPr/>
          </p:nvSpPr>
          <p:spPr>
            <a:xfrm>
              <a:off x="3289281" y="3554557"/>
              <a:ext cx="127245" cy="146331"/>
            </a:xfrm>
            <a:custGeom>
              <a:avLst/>
              <a:gdLst>
                <a:gd name="connsiteX0" fmla="*/ 121837 w 127244"/>
                <a:gd name="connsiteY0" fmla="*/ 74756 h 146331"/>
                <a:gd name="connsiteX1" fmla="*/ 120882 w 127244"/>
                <a:gd name="connsiteY1" fmla="*/ 76983 h 146331"/>
                <a:gd name="connsiteX2" fmla="*/ 118338 w 127244"/>
                <a:gd name="connsiteY2" fmla="*/ 79210 h 146331"/>
                <a:gd name="connsiteX3" fmla="*/ 117701 w 127244"/>
                <a:gd name="connsiteY3" fmla="*/ 80482 h 146331"/>
                <a:gd name="connsiteX4" fmla="*/ 117383 w 127244"/>
                <a:gd name="connsiteY4" fmla="*/ 81119 h 146331"/>
                <a:gd name="connsiteX5" fmla="*/ 118019 w 127244"/>
                <a:gd name="connsiteY5" fmla="*/ 82391 h 146331"/>
                <a:gd name="connsiteX6" fmla="*/ 118656 w 127244"/>
                <a:gd name="connsiteY6" fmla="*/ 82709 h 146331"/>
                <a:gd name="connsiteX7" fmla="*/ 119928 w 127244"/>
                <a:gd name="connsiteY7" fmla="*/ 83027 h 146331"/>
                <a:gd name="connsiteX8" fmla="*/ 120246 w 127244"/>
                <a:gd name="connsiteY8" fmla="*/ 82709 h 146331"/>
                <a:gd name="connsiteX9" fmla="*/ 120882 w 127244"/>
                <a:gd name="connsiteY9" fmla="*/ 83027 h 146331"/>
                <a:gd name="connsiteX10" fmla="*/ 118338 w 127244"/>
                <a:gd name="connsiteY10" fmla="*/ 86845 h 146331"/>
                <a:gd name="connsiteX11" fmla="*/ 117383 w 127244"/>
                <a:gd name="connsiteY11" fmla="*/ 88753 h 146331"/>
                <a:gd name="connsiteX12" fmla="*/ 116429 w 127244"/>
                <a:gd name="connsiteY12" fmla="*/ 89071 h 146331"/>
                <a:gd name="connsiteX13" fmla="*/ 116747 w 127244"/>
                <a:gd name="connsiteY13" fmla="*/ 88117 h 146331"/>
                <a:gd name="connsiteX14" fmla="*/ 116429 w 127244"/>
                <a:gd name="connsiteY14" fmla="*/ 86845 h 146331"/>
                <a:gd name="connsiteX15" fmla="*/ 117383 w 127244"/>
                <a:gd name="connsiteY15" fmla="*/ 84300 h 146331"/>
                <a:gd name="connsiteX16" fmla="*/ 117701 w 127244"/>
                <a:gd name="connsiteY16" fmla="*/ 83663 h 146331"/>
                <a:gd name="connsiteX17" fmla="*/ 117383 w 127244"/>
                <a:gd name="connsiteY17" fmla="*/ 83663 h 146331"/>
                <a:gd name="connsiteX18" fmla="*/ 116747 w 127244"/>
                <a:gd name="connsiteY18" fmla="*/ 83663 h 146331"/>
                <a:gd name="connsiteX19" fmla="*/ 115475 w 127244"/>
                <a:gd name="connsiteY19" fmla="*/ 85254 h 146331"/>
                <a:gd name="connsiteX20" fmla="*/ 114520 w 127244"/>
                <a:gd name="connsiteY20" fmla="*/ 86208 h 146331"/>
                <a:gd name="connsiteX21" fmla="*/ 114202 w 127244"/>
                <a:gd name="connsiteY21" fmla="*/ 86208 h 146331"/>
                <a:gd name="connsiteX22" fmla="*/ 113566 w 127244"/>
                <a:gd name="connsiteY22" fmla="*/ 85890 h 146331"/>
                <a:gd name="connsiteX23" fmla="*/ 113566 w 127244"/>
                <a:gd name="connsiteY23" fmla="*/ 85254 h 146331"/>
                <a:gd name="connsiteX24" fmla="*/ 113248 w 127244"/>
                <a:gd name="connsiteY24" fmla="*/ 84618 h 146331"/>
                <a:gd name="connsiteX25" fmla="*/ 112930 w 127244"/>
                <a:gd name="connsiteY25" fmla="*/ 85254 h 146331"/>
                <a:gd name="connsiteX26" fmla="*/ 111976 w 127244"/>
                <a:gd name="connsiteY26" fmla="*/ 85890 h 146331"/>
                <a:gd name="connsiteX27" fmla="*/ 111976 w 127244"/>
                <a:gd name="connsiteY27" fmla="*/ 88117 h 146331"/>
                <a:gd name="connsiteX28" fmla="*/ 111657 w 127244"/>
                <a:gd name="connsiteY28" fmla="*/ 88435 h 146331"/>
                <a:gd name="connsiteX29" fmla="*/ 109431 w 127244"/>
                <a:gd name="connsiteY29" fmla="*/ 87481 h 146331"/>
                <a:gd name="connsiteX30" fmla="*/ 108794 w 127244"/>
                <a:gd name="connsiteY30" fmla="*/ 87799 h 146331"/>
                <a:gd name="connsiteX31" fmla="*/ 109112 w 127244"/>
                <a:gd name="connsiteY31" fmla="*/ 88753 h 146331"/>
                <a:gd name="connsiteX32" fmla="*/ 108476 w 127244"/>
                <a:gd name="connsiteY32" fmla="*/ 89708 h 146331"/>
                <a:gd name="connsiteX33" fmla="*/ 105931 w 127244"/>
                <a:gd name="connsiteY33" fmla="*/ 93525 h 146331"/>
                <a:gd name="connsiteX34" fmla="*/ 105613 w 127244"/>
                <a:gd name="connsiteY34" fmla="*/ 93843 h 146331"/>
                <a:gd name="connsiteX35" fmla="*/ 104977 w 127244"/>
                <a:gd name="connsiteY35" fmla="*/ 93843 h 146331"/>
                <a:gd name="connsiteX36" fmla="*/ 104659 w 127244"/>
                <a:gd name="connsiteY36" fmla="*/ 94161 h 146331"/>
                <a:gd name="connsiteX37" fmla="*/ 104659 w 127244"/>
                <a:gd name="connsiteY37" fmla="*/ 94797 h 146331"/>
                <a:gd name="connsiteX38" fmla="*/ 104023 w 127244"/>
                <a:gd name="connsiteY38" fmla="*/ 96388 h 146331"/>
                <a:gd name="connsiteX39" fmla="*/ 102114 w 127244"/>
                <a:gd name="connsiteY39" fmla="*/ 97978 h 146331"/>
                <a:gd name="connsiteX40" fmla="*/ 100523 w 127244"/>
                <a:gd name="connsiteY40" fmla="*/ 98615 h 146331"/>
                <a:gd name="connsiteX41" fmla="*/ 99887 w 127244"/>
                <a:gd name="connsiteY41" fmla="*/ 99251 h 146331"/>
                <a:gd name="connsiteX42" fmla="*/ 99251 w 127244"/>
                <a:gd name="connsiteY42" fmla="*/ 99569 h 146331"/>
                <a:gd name="connsiteX43" fmla="*/ 99887 w 127244"/>
                <a:gd name="connsiteY43" fmla="*/ 99887 h 146331"/>
                <a:gd name="connsiteX44" fmla="*/ 100205 w 127244"/>
                <a:gd name="connsiteY44" fmla="*/ 100205 h 146331"/>
                <a:gd name="connsiteX45" fmla="*/ 100842 w 127244"/>
                <a:gd name="connsiteY45" fmla="*/ 100841 h 146331"/>
                <a:gd name="connsiteX46" fmla="*/ 99569 w 127244"/>
                <a:gd name="connsiteY46" fmla="*/ 102432 h 146331"/>
                <a:gd name="connsiteX47" fmla="*/ 98297 w 127244"/>
                <a:gd name="connsiteY47" fmla="*/ 103068 h 146331"/>
                <a:gd name="connsiteX48" fmla="*/ 96070 w 127244"/>
                <a:gd name="connsiteY48" fmla="*/ 104341 h 146331"/>
                <a:gd name="connsiteX49" fmla="*/ 95115 w 127244"/>
                <a:gd name="connsiteY49" fmla="*/ 106886 h 146331"/>
                <a:gd name="connsiteX50" fmla="*/ 94479 w 127244"/>
                <a:gd name="connsiteY50" fmla="*/ 109112 h 146331"/>
                <a:gd name="connsiteX51" fmla="*/ 94797 w 127244"/>
                <a:gd name="connsiteY51" fmla="*/ 109749 h 146331"/>
                <a:gd name="connsiteX52" fmla="*/ 95115 w 127244"/>
                <a:gd name="connsiteY52" fmla="*/ 110067 h 146331"/>
                <a:gd name="connsiteX53" fmla="*/ 94797 w 127244"/>
                <a:gd name="connsiteY53" fmla="*/ 110385 h 146331"/>
                <a:gd name="connsiteX54" fmla="*/ 94479 w 127244"/>
                <a:gd name="connsiteY54" fmla="*/ 111021 h 146331"/>
                <a:gd name="connsiteX55" fmla="*/ 94797 w 127244"/>
                <a:gd name="connsiteY55" fmla="*/ 111657 h 146331"/>
                <a:gd name="connsiteX56" fmla="*/ 95115 w 127244"/>
                <a:gd name="connsiteY56" fmla="*/ 111975 h 146331"/>
                <a:gd name="connsiteX57" fmla="*/ 95434 w 127244"/>
                <a:gd name="connsiteY57" fmla="*/ 111657 h 146331"/>
                <a:gd name="connsiteX58" fmla="*/ 96706 w 127244"/>
                <a:gd name="connsiteY58" fmla="*/ 110067 h 146331"/>
                <a:gd name="connsiteX59" fmla="*/ 96706 w 127244"/>
                <a:gd name="connsiteY59" fmla="*/ 109749 h 146331"/>
                <a:gd name="connsiteX60" fmla="*/ 97661 w 127244"/>
                <a:gd name="connsiteY60" fmla="*/ 108794 h 146331"/>
                <a:gd name="connsiteX61" fmla="*/ 99569 w 127244"/>
                <a:gd name="connsiteY61" fmla="*/ 107522 h 146331"/>
                <a:gd name="connsiteX62" fmla="*/ 100205 w 127244"/>
                <a:gd name="connsiteY62" fmla="*/ 106249 h 146331"/>
                <a:gd name="connsiteX63" fmla="*/ 100842 w 127244"/>
                <a:gd name="connsiteY63" fmla="*/ 106567 h 146331"/>
                <a:gd name="connsiteX64" fmla="*/ 99569 w 127244"/>
                <a:gd name="connsiteY64" fmla="*/ 108476 h 146331"/>
                <a:gd name="connsiteX65" fmla="*/ 99251 w 127244"/>
                <a:gd name="connsiteY65" fmla="*/ 108794 h 146331"/>
                <a:gd name="connsiteX66" fmla="*/ 99251 w 127244"/>
                <a:gd name="connsiteY66" fmla="*/ 109112 h 146331"/>
                <a:gd name="connsiteX67" fmla="*/ 97342 w 127244"/>
                <a:gd name="connsiteY67" fmla="*/ 111657 h 146331"/>
                <a:gd name="connsiteX68" fmla="*/ 95434 w 127244"/>
                <a:gd name="connsiteY68" fmla="*/ 113884 h 146331"/>
                <a:gd name="connsiteX69" fmla="*/ 92570 w 127244"/>
                <a:gd name="connsiteY69" fmla="*/ 116429 h 146331"/>
                <a:gd name="connsiteX70" fmla="*/ 91616 w 127244"/>
                <a:gd name="connsiteY70" fmla="*/ 117065 h 146331"/>
                <a:gd name="connsiteX71" fmla="*/ 91298 w 127244"/>
                <a:gd name="connsiteY71" fmla="*/ 117065 h 146331"/>
                <a:gd name="connsiteX72" fmla="*/ 90026 w 127244"/>
                <a:gd name="connsiteY72" fmla="*/ 115793 h 146331"/>
                <a:gd name="connsiteX73" fmla="*/ 89708 w 127244"/>
                <a:gd name="connsiteY73" fmla="*/ 115475 h 146331"/>
                <a:gd name="connsiteX74" fmla="*/ 89708 w 127244"/>
                <a:gd name="connsiteY74" fmla="*/ 115156 h 146331"/>
                <a:gd name="connsiteX75" fmla="*/ 90026 w 127244"/>
                <a:gd name="connsiteY75" fmla="*/ 114838 h 146331"/>
                <a:gd name="connsiteX76" fmla="*/ 90662 w 127244"/>
                <a:gd name="connsiteY76" fmla="*/ 114202 h 146331"/>
                <a:gd name="connsiteX77" fmla="*/ 90980 w 127244"/>
                <a:gd name="connsiteY77" fmla="*/ 113884 h 146331"/>
                <a:gd name="connsiteX78" fmla="*/ 90662 w 127244"/>
                <a:gd name="connsiteY78" fmla="*/ 113566 h 146331"/>
                <a:gd name="connsiteX79" fmla="*/ 90026 w 127244"/>
                <a:gd name="connsiteY79" fmla="*/ 112930 h 146331"/>
                <a:gd name="connsiteX80" fmla="*/ 90662 w 127244"/>
                <a:gd name="connsiteY80" fmla="*/ 112612 h 146331"/>
                <a:gd name="connsiteX81" fmla="*/ 90662 w 127244"/>
                <a:gd name="connsiteY81" fmla="*/ 112293 h 146331"/>
                <a:gd name="connsiteX82" fmla="*/ 90980 w 127244"/>
                <a:gd name="connsiteY82" fmla="*/ 111975 h 146331"/>
                <a:gd name="connsiteX83" fmla="*/ 90980 w 127244"/>
                <a:gd name="connsiteY83" fmla="*/ 111657 h 146331"/>
                <a:gd name="connsiteX84" fmla="*/ 90344 w 127244"/>
                <a:gd name="connsiteY84" fmla="*/ 111339 h 146331"/>
                <a:gd name="connsiteX85" fmla="*/ 90026 w 127244"/>
                <a:gd name="connsiteY85" fmla="*/ 111339 h 146331"/>
                <a:gd name="connsiteX86" fmla="*/ 87481 w 127244"/>
                <a:gd name="connsiteY86" fmla="*/ 113884 h 146331"/>
                <a:gd name="connsiteX87" fmla="*/ 87163 w 127244"/>
                <a:gd name="connsiteY87" fmla="*/ 114202 h 146331"/>
                <a:gd name="connsiteX88" fmla="*/ 87481 w 127244"/>
                <a:gd name="connsiteY88" fmla="*/ 114520 h 146331"/>
                <a:gd name="connsiteX89" fmla="*/ 88117 w 127244"/>
                <a:gd name="connsiteY89" fmla="*/ 114520 h 146331"/>
                <a:gd name="connsiteX90" fmla="*/ 88435 w 127244"/>
                <a:gd name="connsiteY90" fmla="*/ 114838 h 146331"/>
                <a:gd name="connsiteX91" fmla="*/ 87799 w 127244"/>
                <a:gd name="connsiteY91" fmla="*/ 115156 h 146331"/>
                <a:gd name="connsiteX92" fmla="*/ 86527 w 127244"/>
                <a:gd name="connsiteY92" fmla="*/ 117065 h 146331"/>
                <a:gd name="connsiteX93" fmla="*/ 86527 w 127244"/>
                <a:gd name="connsiteY93" fmla="*/ 117701 h 146331"/>
                <a:gd name="connsiteX94" fmla="*/ 86845 w 127244"/>
                <a:gd name="connsiteY94" fmla="*/ 118974 h 146331"/>
                <a:gd name="connsiteX95" fmla="*/ 86845 w 127244"/>
                <a:gd name="connsiteY95" fmla="*/ 119292 h 146331"/>
                <a:gd name="connsiteX96" fmla="*/ 86208 w 127244"/>
                <a:gd name="connsiteY96" fmla="*/ 119928 h 146331"/>
                <a:gd name="connsiteX97" fmla="*/ 85890 w 127244"/>
                <a:gd name="connsiteY97" fmla="*/ 120246 h 146331"/>
                <a:gd name="connsiteX98" fmla="*/ 86208 w 127244"/>
                <a:gd name="connsiteY98" fmla="*/ 120246 h 146331"/>
                <a:gd name="connsiteX99" fmla="*/ 86527 w 127244"/>
                <a:gd name="connsiteY99" fmla="*/ 120882 h 146331"/>
                <a:gd name="connsiteX100" fmla="*/ 86845 w 127244"/>
                <a:gd name="connsiteY100" fmla="*/ 121519 h 146331"/>
                <a:gd name="connsiteX101" fmla="*/ 85890 w 127244"/>
                <a:gd name="connsiteY101" fmla="*/ 122473 h 146331"/>
                <a:gd name="connsiteX102" fmla="*/ 84300 w 127244"/>
                <a:gd name="connsiteY102" fmla="*/ 122791 h 146331"/>
                <a:gd name="connsiteX103" fmla="*/ 83664 w 127244"/>
                <a:gd name="connsiteY103" fmla="*/ 123427 h 146331"/>
                <a:gd name="connsiteX104" fmla="*/ 83982 w 127244"/>
                <a:gd name="connsiteY104" fmla="*/ 124064 h 146331"/>
                <a:gd name="connsiteX105" fmla="*/ 84300 w 127244"/>
                <a:gd name="connsiteY105" fmla="*/ 124700 h 146331"/>
                <a:gd name="connsiteX106" fmla="*/ 84300 w 127244"/>
                <a:gd name="connsiteY106" fmla="*/ 125018 h 146331"/>
                <a:gd name="connsiteX107" fmla="*/ 83664 w 127244"/>
                <a:gd name="connsiteY107" fmla="*/ 125018 h 146331"/>
                <a:gd name="connsiteX108" fmla="*/ 82073 w 127244"/>
                <a:gd name="connsiteY108" fmla="*/ 124382 h 146331"/>
                <a:gd name="connsiteX109" fmla="*/ 81437 w 127244"/>
                <a:gd name="connsiteY109" fmla="*/ 124382 h 146331"/>
                <a:gd name="connsiteX110" fmla="*/ 80800 w 127244"/>
                <a:gd name="connsiteY110" fmla="*/ 123745 h 146331"/>
                <a:gd name="connsiteX111" fmla="*/ 81755 w 127244"/>
                <a:gd name="connsiteY111" fmla="*/ 122791 h 146331"/>
                <a:gd name="connsiteX112" fmla="*/ 81437 w 127244"/>
                <a:gd name="connsiteY112" fmla="*/ 122473 h 146331"/>
                <a:gd name="connsiteX113" fmla="*/ 81755 w 127244"/>
                <a:gd name="connsiteY113" fmla="*/ 122155 h 146331"/>
                <a:gd name="connsiteX114" fmla="*/ 80482 w 127244"/>
                <a:gd name="connsiteY114" fmla="*/ 122473 h 146331"/>
                <a:gd name="connsiteX115" fmla="*/ 77301 w 127244"/>
                <a:gd name="connsiteY115" fmla="*/ 122473 h 146331"/>
                <a:gd name="connsiteX116" fmla="*/ 76983 w 127244"/>
                <a:gd name="connsiteY116" fmla="*/ 123427 h 146331"/>
                <a:gd name="connsiteX117" fmla="*/ 79210 w 127244"/>
                <a:gd name="connsiteY117" fmla="*/ 125336 h 146331"/>
                <a:gd name="connsiteX118" fmla="*/ 79528 w 127244"/>
                <a:gd name="connsiteY118" fmla="*/ 125654 h 146331"/>
                <a:gd name="connsiteX119" fmla="*/ 79528 w 127244"/>
                <a:gd name="connsiteY119" fmla="*/ 125972 h 146331"/>
                <a:gd name="connsiteX120" fmla="*/ 79846 w 127244"/>
                <a:gd name="connsiteY120" fmla="*/ 126609 h 146331"/>
                <a:gd name="connsiteX121" fmla="*/ 79846 w 127244"/>
                <a:gd name="connsiteY121" fmla="*/ 127563 h 146331"/>
                <a:gd name="connsiteX122" fmla="*/ 76983 w 127244"/>
                <a:gd name="connsiteY122" fmla="*/ 131062 h 146331"/>
                <a:gd name="connsiteX123" fmla="*/ 75711 w 127244"/>
                <a:gd name="connsiteY123" fmla="*/ 132016 h 146331"/>
                <a:gd name="connsiteX124" fmla="*/ 73802 w 127244"/>
                <a:gd name="connsiteY124" fmla="*/ 134243 h 146331"/>
                <a:gd name="connsiteX125" fmla="*/ 70939 w 127244"/>
                <a:gd name="connsiteY125" fmla="*/ 136470 h 146331"/>
                <a:gd name="connsiteX126" fmla="*/ 68712 w 127244"/>
                <a:gd name="connsiteY126" fmla="*/ 138061 h 146331"/>
                <a:gd name="connsiteX127" fmla="*/ 65531 w 127244"/>
                <a:gd name="connsiteY127" fmla="*/ 140287 h 146331"/>
                <a:gd name="connsiteX128" fmla="*/ 63622 w 127244"/>
                <a:gd name="connsiteY128" fmla="*/ 141560 h 146331"/>
                <a:gd name="connsiteX129" fmla="*/ 61078 w 127244"/>
                <a:gd name="connsiteY129" fmla="*/ 142832 h 146331"/>
                <a:gd name="connsiteX130" fmla="*/ 54397 w 127244"/>
                <a:gd name="connsiteY130" fmla="*/ 146013 h 146331"/>
                <a:gd name="connsiteX131" fmla="*/ 52806 w 127244"/>
                <a:gd name="connsiteY131" fmla="*/ 147604 h 146331"/>
                <a:gd name="connsiteX132" fmla="*/ 50580 w 127244"/>
                <a:gd name="connsiteY132" fmla="*/ 147604 h 146331"/>
                <a:gd name="connsiteX133" fmla="*/ 49625 w 127244"/>
                <a:gd name="connsiteY133" fmla="*/ 147922 h 146331"/>
                <a:gd name="connsiteX134" fmla="*/ 47399 w 127244"/>
                <a:gd name="connsiteY134" fmla="*/ 148876 h 146331"/>
                <a:gd name="connsiteX135" fmla="*/ 45172 w 127244"/>
                <a:gd name="connsiteY135" fmla="*/ 149194 h 146331"/>
                <a:gd name="connsiteX136" fmla="*/ 43582 w 127244"/>
                <a:gd name="connsiteY136" fmla="*/ 149831 h 146331"/>
                <a:gd name="connsiteX137" fmla="*/ 42945 w 127244"/>
                <a:gd name="connsiteY137" fmla="*/ 150149 h 146331"/>
                <a:gd name="connsiteX138" fmla="*/ 42627 w 127244"/>
                <a:gd name="connsiteY138" fmla="*/ 149831 h 146331"/>
                <a:gd name="connsiteX139" fmla="*/ 41036 w 127244"/>
                <a:gd name="connsiteY139" fmla="*/ 149513 h 146331"/>
                <a:gd name="connsiteX140" fmla="*/ 39446 w 127244"/>
                <a:gd name="connsiteY140" fmla="*/ 149831 h 146331"/>
                <a:gd name="connsiteX141" fmla="*/ 37855 w 127244"/>
                <a:gd name="connsiteY141" fmla="*/ 150149 h 146331"/>
                <a:gd name="connsiteX142" fmla="*/ 34038 w 127244"/>
                <a:gd name="connsiteY142" fmla="*/ 150149 h 146331"/>
                <a:gd name="connsiteX143" fmla="*/ 32448 w 127244"/>
                <a:gd name="connsiteY143" fmla="*/ 149831 h 146331"/>
                <a:gd name="connsiteX144" fmla="*/ 27358 w 127244"/>
                <a:gd name="connsiteY144" fmla="*/ 149831 h 146331"/>
                <a:gd name="connsiteX145" fmla="*/ 26085 w 127244"/>
                <a:gd name="connsiteY145" fmla="*/ 149513 h 146331"/>
                <a:gd name="connsiteX146" fmla="*/ 25131 w 127244"/>
                <a:gd name="connsiteY146" fmla="*/ 149194 h 146331"/>
                <a:gd name="connsiteX147" fmla="*/ 20359 w 127244"/>
                <a:gd name="connsiteY147" fmla="*/ 148240 h 146331"/>
                <a:gd name="connsiteX148" fmla="*/ 19723 w 127244"/>
                <a:gd name="connsiteY148" fmla="*/ 147922 h 146331"/>
                <a:gd name="connsiteX149" fmla="*/ 17814 w 127244"/>
                <a:gd name="connsiteY149" fmla="*/ 146968 h 146331"/>
                <a:gd name="connsiteX150" fmla="*/ 16542 w 127244"/>
                <a:gd name="connsiteY150" fmla="*/ 146013 h 146331"/>
                <a:gd name="connsiteX151" fmla="*/ 14633 w 127244"/>
                <a:gd name="connsiteY151" fmla="*/ 144741 h 146331"/>
                <a:gd name="connsiteX152" fmla="*/ 12406 w 127244"/>
                <a:gd name="connsiteY152" fmla="*/ 144741 h 146331"/>
                <a:gd name="connsiteX153" fmla="*/ 12088 w 127244"/>
                <a:gd name="connsiteY153" fmla="*/ 144105 h 146331"/>
                <a:gd name="connsiteX154" fmla="*/ 12724 w 127244"/>
                <a:gd name="connsiteY154" fmla="*/ 143468 h 146331"/>
                <a:gd name="connsiteX155" fmla="*/ 12724 w 127244"/>
                <a:gd name="connsiteY155" fmla="*/ 143150 h 146331"/>
                <a:gd name="connsiteX156" fmla="*/ 12406 w 127244"/>
                <a:gd name="connsiteY156" fmla="*/ 142832 h 146331"/>
                <a:gd name="connsiteX157" fmla="*/ 11770 w 127244"/>
                <a:gd name="connsiteY157" fmla="*/ 142514 h 146331"/>
                <a:gd name="connsiteX158" fmla="*/ 9861 w 127244"/>
                <a:gd name="connsiteY158" fmla="*/ 141878 h 146331"/>
                <a:gd name="connsiteX159" fmla="*/ 9543 w 127244"/>
                <a:gd name="connsiteY159" fmla="*/ 141878 h 146331"/>
                <a:gd name="connsiteX160" fmla="*/ 9225 w 127244"/>
                <a:gd name="connsiteY160" fmla="*/ 141560 h 146331"/>
                <a:gd name="connsiteX161" fmla="*/ 9543 w 127244"/>
                <a:gd name="connsiteY161" fmla="*/ 140924 h 146331"/>
                <a:gd name="connsiteX162" fmla="*/ 9543 w 127244"/>
                <a:gd name="connsiteY162" fmla="*/ 140287 h 146331"/>
                <a:gd name="connsiteX163" fmla="*/ 8271 w 127244"/>
                <a:gd name="connsiteY163" fmla="*/ 140287 h 146331"/>
                <a:gd name="connsiteX164" fmla="*/ 7953 w 127244"/>
                <a:gd name="connsiteY164" fmla="*/ 139333 h 146331"/>
                <a:gd name="connsiteX165" fmla="*/ 8271 w 127244"/>
                <a:gd name="connsiteY165" fmla="*/ 139333 h 146331"/>
                <a:gd name="connsiteX166" fmla="*/ 8907 w 127244"/>
                <a:gd name="connsiteY166" fmla="*/ 138061 h 146331"/>
                <a:gd name="connsiteX167" fmla="*/ 7953 w 127244"/>
                <a:gd name="connsiteY167" fmla="*/ 136470 h 146331"/>
                <a:gd name="connsiteX168" fmla="*/ 2545 w 127244"/>
                <a:gd name="connsiteY168" fmla="*/ 128835 h 146331"/>
                <a:gd name="connsiteX169" fmla="*/ 1909 w 127244"/>
                <a:gd name="connsiteY169" fmla="*/ 126927 h 146331"/>
                <a:gd name="connsiteX170" fmla="*/ 954 w 127244"/>
                <a:gd name="connsiteY170" fmla="*/ 123745 h 146331"/>
                <a:gd name="connsiteX171" fmla="*/ 954 w 127244"/>
                <a:gd name="connsiteY171" fmla="*/ 120246 h 146331"/>
                <a:gd name="connsiteX172" fmla="*/ 636 w 127244"/>
                <a:gd name="connsiteY172" fmla="*/ 118656 h 146331"/>
                <a:gd name="connsiteX173" fmla="*/ 954 w 127244"/>
                <a:gd name="connsiteY173" fmla="*/ 117701 h 146331"/>
                <a:gd name="connsiteX174" fmla="*/ 954 w 127244"/>
                <a:gd name="connsiteY174" fmla="*/ 115793 h 146331"/>
                <a:gd name="connsiteX175" fmla="*/ 1273 w 127244"/>
                <a:gd name="connsiteY175" fmla="*/ 114838 h 146331"/>
                <a:gd name="connsiteX176" fmla="*/ 954 w 127244"/>
                <a:gd name="connsiteY176" fmla="*/ 113884 h 146331"/>
                <a:gd name="connsiteX177" fmla="*/ 636 w 127244"/>
                <a:gd name="connsiteY177" fmla="*/ 111975 h 146331"/>
                <a:gd name="connsiteX178" fmla="*/ 636 w 127244"/>
                <a:gd name="connsiteY178" fmla="*/ 111339 h 146331"/>
                <a:gd name="connsiteX179" fmla="*/ 954 w 127244"/>
                <a:gd name="connsiteY179" fmla="*/ 110067 h 146331"/>
                <a:gd name="connsiteX180" fmla="*/ 318 w 127244"/>
                <a:gd name="connsiteY180" fmla="*/ 109112 h 146331"/>
                <a:gd name="connsiteX181" fmla="*/ 0 w 127244"/>
                <a:gd name="connsiteY181" fmla="*/ 108158 h 146331"/>
                <a:gd name="connsiteX182" fmla="*/ 636 w 127244"/>
                <a:gd name="connsiteY182" fmla="*/ 106567 h 146331"/>
                <a:gd name="connsiteX183" fmla="*/ 318 w 127244"/>
                <a:gd name="connsiteY183" fmla="*/ 104977 h 146331"/>
                <a:gd name="connsiteX184" fmla="*/ 636 w 127244"/>
                <a:gd name="connsiteY184" fmla="*/ 100841 h 146331"/>
                <a:gd name="connsiteX185" fmla="*/ 318 w 127244"/>
                <a:gd name="connsiteY185" fmla="*/ 99887 h 146331"/>
                <a:gd name="connsiteX186" fmla="*/ 954 w 127244"/>
                <a:gd name="connsiteY186" fmla="*/ 98297 h 146331"/>
                <a:gd name="connsiteX187" fmla="*/ 1273 w 127244"/>
                <a:gd name="connsiteY187" fmla="*/ 97660 h 146331"/>
                <a:gd name="connsiteX188" fmla="*/ 1909 w 127244"/>
                <a:gd name="connsiteY188" fmla="*/ 98615 h 146331"/>
                <a:gd name="connsiteX189" fmla="*/ 1909 w 127244"/>
                <a:gd name="connsiteY189" fmla="*/ 99251 h 146331"/>
                <a:gd name="connsiteX190" fmla="*/ 2227 w 127244"/>
                <a:gd name="connsiteY190" fmla="*/ 98933 h 146331"/>
                <a:gd name="connsiteX191" fmla="*/ 2227 w 127244"/>
                <a:gd name="connsiteY191" fmla="*/ 96070 h 146331"/>
                <a:gd name="connsiteX192" fmla="*/ 2545 w 127244"/>
                <a:gd name="connsiteY192" fmla="*/ 95434 h 146331"/>
                <a:gd name="connsiteX193" fmla="*/ 3181 w 127244"/>
                <a:gd name="connsiteY193" fmla="*/ 94797 h 146331"/>
                <a:gd name="connsiteX194" fmla="*/ 2863 w 127244"/>
                <a:gd name="connsiteY194" fmla="*/ 94797 h 146331"/>
                <a:gd name="connsiteX195" fmla="*/ 2227 w 127244"/>
                <a:gd name="connsiteY195" fmla="*/ 92252 h 146331"/>
                <a:gd name="connsiteX196" fmla="*/ 2227 w 127244"/>
                <a:gd name="connsiteY196" fmla="*/ 91616 h 146331"/>
                <a:gd name="connsiteX197" fmla="*/ 1909 w 127244"/>
                <a:gd name="connsiteY197" fmla="*/ 90980 h 146331"/>
                <a:gd name="connsiteX198" fmla="*/ 2227 w 127244"/>
                <a:gd name="connsiteY198" fmla="*/ 89071 h 146331"/>
                <a:gd name="connsiteX199" fmla="*/ 2227 w 127244"/>
                <a:gd name="connsiteY199" fmla="*/ 88117 h 146331"/>
                <a:gd name="connsiteX200" fmla="*/ 2545 w 127244"/>
                <a:gd name="connsiteY200" fmla="*/ 86845 h 146331"/>
                <a:gd name="connsiteX201" fmla="*/ 3181 w 127244"/>
                <a:gd name="connsiteY201" fmla="*/ 86526 h 146331"/>
                <a:gd name="connsiteX202" fmla="*/ 3818 w 127244"/>
                <a:gd name="connsiteY202" fmla="*/ 85890 h 146331"/>
                <a:gd name="connsiteX203" fmla="*/ 4136 w 127244"/>
                <a:gd name="connsiteY203" fmla="*/ 85572 h 146331"/>
                <a:gd name="connsiteX204" fmla="*/ 4136 w 127244"/>
                <a:gd name="connsiteY204" fmla="*/ 85254 h 146331"/>
                <a:gd name="connsiteX205" fmla="*/ 3818 w 127244"/>
                <a:gd name="connsiteY205" fmla="*/ 84936 h 146331"/>
                <a:gd name="connsiteX206" fmla="*/ 3181 w 127244"/>
                <a:gd name="connsiteY206" fmla="*/ 85254 h 146331"/>
                <a:gd name="connsiteX207" fmla="*/ 2863 w 127244"/>
                <a:gd name="connsiteY207" fmla="*/ 85254 h 146331"/>
                <a:gd name="connsiteX208" fmla="*/ 3181 w 127244"/>
                <a:gd name="connsiteY208" fmla="*/ 84300 h 146331"/>
                <a:gd name="connsiteX209" fmla="*/ 3499 w 127244"/>
                <a:gd name="connsiteY209" fmla="*/ 83345 h 146331"/>
                <a:gd name="connsiteX210" fmla="*/ 2863 w 127244"/>
                <a:gd name="connsiteY210" fmla="*/ 81755 h 146331"/>
                <a:gd name="connsiteX211" fmla="*/ 3181 w 127244"/>
                <a:gd name="connsiteY211" fmla="*/ 81119 h 146331"/>
                <a:gd name="connsiteX212" fmla="*/ 2863 w 127244"/>
                <a:gd name="connsiteY212" fmla="*/ 80164 h 146331"/>
                <a:gd name="connsiteX213" fmla="*/ 2863 w 127244"/>
                <a:gd name="connsiteY213" fmla="*/ 79846 h 146331"/>
                <a:gd name="connsiteX214" fmla="*/ 4136 w 127244"/>
                <a:gd name="connsiteY214" fmla="*/ 76665 h 146331"/>
                <a:gd name="connsiteX215" fmla="*/ 3818 w 127244"/>
                <a:gd name="connsiteY215" fmla="*/ 75393 h 146331"/>
                <a:gd name="connsiteX216" fmla="*/ 4454 w 127244"/>
                <a:gd name="connsiteY216" fmla="*/ 72848 h 146331"/>
                <a:gd name="connsiteX217" fmla="*/ 4454 w 127244"/>
                <a:gd name="connsiteY217" fmla="*/ 72211 h 146331"/>
                <a:gd name="connsiteX218" fmla="*/ 5408 w 127244"/>
                <a:gd name="connsiteY218" fmla="*/ 71257 h 146331"/>
                <a:gd name="connsiteX219" fmla="*/ 5726 w 127244"/>
                <a:gd name="connsiteY219" fmla="*/ 70621 h 146331"/>
                <a:gd name="connsiteX220" fmla="*/ 5408 w 127244"/>
                <a:gd name="connsiteY220" fmla="*/ 69666 h 146331"/>
                <a:gd name="connsiteX221" fmla="*/ 5726 w 127244"/>
                <a:gd name="connsiteY221" fmla="*/ 68076 h 146331"/>
                <a:gd name="connsiteX222" fmla="*/ 6044 w 127244"/>
                <a:gd name="connsiteY222" fmla="*/ 67440 h 146331"/>
                <a:gd name="connsiteX223" fmla="*/ 6680 w 127244"/>
                <a:gd name="connsiteY223" fmla="*/ 66167 h 146331"/>
                <a:gd name="connsiteX224" fmla="*/ 6680 w 127244"/>
                <a:gd name="connsiteY224" fmla="*/ 64259 h 146331"/>
                <a:gd name="connsiteX225" fmla="*/ 6999 w 127244"/>
                <a:gd name="connsiteY225" fmla="*/ 61077 h 146331"/>
                <a:gd name="connsiteX226" fmla="*/ 8907 w 127244"/>
                <a:gd name="connsiteY226" fmla="*/ 57896 h 146331"/>
                <a:gd name="connsiteX227" fmla="*/ 9543 w 127244"/>
                <a:gd name="connsiteY227" fmla="*/ 56306 h 146331"/>
                <a:gd name="connsiteX228" fmla="*/ 9225 w 127244"/>
                <a:gd name="connsiteY228" fmla="*/ 55033 h 146331"/>
                <a:gd name="connsiteX229" fmla="*/ 9861 w 127244"/>
                <a:gd name="connsiteY229" fmla="*/ 53443 h 146331"/>
                <a:gd name="connsiteX230" fmla="*/ 12406 w 127244"/>
                <a:gd name="connsiteY230" fmla="*/ 47717 h 146331"/>
                <a:gd name="connsiteX231" fmla="*/ 13043 w 127244"/>
                <a:gd name="connsiteY231" fmla="*/ 45172 h 146331"/>
                <a:gd name="connsiteX232" fmla="*/ 13997 w 127244"/>
                <a:gd name="connsiteY232" fmla="*/ 42627 h 146331"/>
                <a:gd name="connsiteX233" fmla="*/ 14951 w 127244"/>
                <a:gd name="connsiteY233" fmla="*/ 41991 h 146331"/>
                <a:gd name="connsiteX234" fmla="*/ 16224 w 127244"/>
                <a:gd name="connsiteY234" fmla="*/ 38492 h 146331"/>
                <a:gd name="connsiteX235" fmla="*/ 18451 w 127244"/>
                <a:gd name="connsiteY235" fmla="*/ 34038 h 146331"/>
                <a:gd name="connsiteX236" fmla="*/ 19087 w 127244"/>
                <a:gd name="connsiteY236" fmla="*/ 31493 h 146331"/>
                <a:gd name="connsiteX237" fmla="*/ 19723 w 127244"/>
                <a:gd name="connsiteY237" fmla="*/ 30539 h 146331"/>
                <a:gd name="connsiteX238" fmla="*/ 21950 w 127244"/>
                <a:gd name="connsiteY238" fmla="*/ 27676 h 146331"/>
                <a:gd name="connsiteX239" fmla="*/ 24495 w 127244"/>
                <a:gd name="connsiteY239" fmla="*/ 23222 h 146331"/>
                <a:gd name="connsiteX240" fmla="*/ 24495 w 127244"/>
                <a:gd name="connsiteY240" fmla="*/ 22904 h 146331"/>
                <a:gd name="connsiteX241" fmla="*/ 26085 w 127244"/>
                <a:gd name="connsiteY241" fmla="*/ 20359 h 146331"/>
                <a:gd name="connsiteX242" fmla="*/ 26085 w 127244"/>
                <a:gd name="connsiteY242" fmla="*/ 20041 h 146331"/>
                <a:gd name="connsiteX243" fmla="*/ 29585 w 127244"/>
                <a:gd name="connsiteY243" fmla="*/ 14315 h 146331"/>
                <a:gd name="connsiteX244" fmla="*/ 34038 w 127244"/>
                <a:gd name="connsiteY244" fmla="*/ 9543 h 146331"/>
                <a:gd name="connsiteX245" fmla="*/ 34992 w 127244"/>
                <a:gd name="connsiteY245" fmla="*/ 7953 h 146331"/>
                <a:gd name="connsiteX246" fmla="*/ 36901 w 127244"/>
                <a:gd name="connsiteY246" fmla="*/ 6680 h 146331"/>
                <a:gd name="connsiteX247" fmla="*/ 40082 w 127244"/>
                <a:gd name="connsiteY247" fmla="*/ 4454 h 146331"/>
                <a:gd name="connsiteX248" fmla="*/ 40718 w 127244"/>
                <a:gd name="connsiteY248" fmla="*/ 4135 h 146331"/>
                <a:gd name="connsiteX249" fmla="*/ 44854 w 127244"/>
                <a:gd name="connsiteY249" fmla="*/ 1591 h 146331"/>
                <a:gd name="connsiteX250" fmla="*/ 47399 w 127244"/>
                <a:gd name="connsiteY250" fmla="*/ 636 h 146331"/>
                <a:gd name="connsiteX251" fmla="*/ 50262 w 127244"/>
                <a:gd name="connsiteY251" fmla="*/ 0 h 146331"/>
                <a:gd name="connsiteX252" fmla="*/ 55988 w 127244"/>
                <a:gd name="connsiteY252" fmla="*/ 0 h 146331"/>
                <a:gd name="connsiteX253" fmla="*/ 58215 w 127244"/>
                <a:gd name="connsiteY253" fmla="*/ 1591 h 146331"/>
                <a:gd name="connsiteX254" fmla="*/ 58851 w 127244"/>
                <a:gd name="connsiteY254" fmla="*/ 2227 h 146331"/>
                <a:gd name="connsiteX255" fmla="*/ 61714 w 127244"/>
                <a:gd name="connsiteY255" fmla="*/ 4135 h 146331"/>
                <a:gd name="connsiteX256" fmla="*/ 62986 w 127244"/>
                <a:gd name="connsiteY256" fmla="*/ 5090 h 146331"/>
                <a:gd name="connsiteX257" fmla="*/ 63940 w 127244"/>
                <a:gd name="connsiteY257" fmla="*/ 5726 h 146331"/>
                <a:gd name="connsiteX258" fmla="*/ 64577 w 127244"/>
                <a:gd name="connsiteY258" fmla="*/ 6680 h 146331"/>
                <a:gd name="connsiteX259" fmla="*/ 66485 w 127244"/>
                <a:gd name="connsiteY259" fmla="*/ 7317 h 146331"/>
                <a:gd name="connsiteX260" fmla="*/ 67122 w 127244"/>
                <a:gd name="connsiteY260" fmla="*/ 7317 h 146331"/>
                <a:gd name="connsiteX261" fmla="*/ 69030 w 127244"/>
                <a:gd name="connsiteY261" fmla="*/ 8589 h 146331"/>
                <a:gd name="connsiteX262" fmla="*/ 69349 w 127244"/>
                <a:gd name="connsiteY262" fmla="*/ 9543 h 146331"/>
                <a:gd name="connsiteX263" fmla="*/ 69030 w 127244"/>
                <a:gd name="connsiteY263" fmla="*/ 10180 h 146331"/>
                <a:gd name="connsiteX264" fmla="*/ 66803 w 127244"/>
                <a:gd name="connsiteY264" fmla="*/ 10816 h 146331"/>
                <a:gd name="connsiteX265" fmla="*/ 66485 w 127244"/>
                <a:gd name="connsiteY265" fmla="*/ 11134 h 146331"/>
                <a:gd name="connsiteX266" fmla="*/ 66167 w 127244"/>
                <a:gd name="connsiteY266" fmla="*/ 10180 h 146331"/>
                <a:gd name="connsiteX267" fmla="*/ 66167 w 127244"/>
                <a:gd name="connsiteY267" fmla="*/ 9543 h 146331"/>
                <a:gd name="connsiteX268" fmla="*/ 65213 w 127244"/>
                <a:gd name="connsiteY268" fmla="*/ 9543 h 146331"/>
                <a:gd name="connsiteX269" fmla="*/ 63940 w 127244"/>
                <a:gd name="connsiteY269" fmla="*/ 11452 h 146331"/>
                <a:gd name="connsiteX270" fmla="*/ 64259 w 127244"/>
                <a:gd name="connsiteY270" fmla="*/ 12088 h 146331"/>
                <a:gd name="connsiteX271" fmla="*/ 64577 w 127244"/>
                <a:gd name="connsiteY271" fmla="*/ 12406 h 146331"/>
                <a:gd name="connsiteX272" fmla="*/ 65213 w 127244"/>
                <a:gd name="connsiteY272" fmla="*/ 13997 h 146331"/>
                <a:gd name="connsiteX273" fmla="*/ 65849 w 127244"/>
                <a:gd name="connsiteY273" fmla="*/ 14633 h 146331"/>
                <a:gd name="connsiteX274" fmla="*/ 66485 w 127244"/>
                <a:gd name="connsiteY274" fmla="*/ 14315 h 146331"/>
                <a:gd name="connsiteX275" fmla="*/ 67122 w 127244"/>
                <a:gd name="connsiteY275" fmla="*/ 15269 h 146331"/>
                <a:gd name="connsiteX276" fmla="*/ 67758 w 127244"/>
                <a:gd name="connsiteY276" fmla="*/ 16542 h 146331"/>
                <a:gd name="connsiteX277" fmla="*/ 67440 w 127244"/>
                <a:gd name="connsiteY277" fmla="*/ 17178 h 146331"/>
                <a:gd name="connsiteX278" fmla="*/ 68076 w 127244"/>
                <a:gd name="connsiteY278" fmla="*/ 18450 h 146331"/>
                <a:gd name="connsiteX279" fmla="*/ 68712 w 127244"/>
                <a:gd name="connsiteY279" fmla="*/ 18450 h 146331"/>
                <a:gd name="connsiteX280" fmla="*/ 68712 w 127244"/>
                <a:gd name="connsiteY280" fmla="*/ 16860 h 146331"/>
                <a:gd name="connsiteX281" fmla="*/ 68394 w 127244"/>
                <a:gd name="connsiteY281" fmla="*/ 13997 h 146331"/>
                <a:gd name="connsiteX282" fmla="*/ 69985 w 127244"/>
                <a:gd name="connsiteY282" fmla="*/ 12406 h 146331"/>
                <a:gd name="connsiteX283" fmla="*/ 71257 w 127244"/>
                <a:gd name="connsiteY283" fmla="*/ 12724 h 146331"/>
                <a:gd name="connsiteX284" fmla="*/ 70939 w 127244"/>
                <a:gd name="connsiteY284" fmla="*/ 13361 h 146331"/>
                <a:gd name="connsiteX285" fmla="*/ 72530 w 127244"/>
                <a:gd name="connsiteY285" fmla="*/ 14633 h 146331"/>
                <a:gd name="connsiteX286" fmla="*/ 72848 w 127244"/>
                <a:gd name="connsiteY286" fmla="*/ 15587 h 146331"/>
                <a:gd name="connsiteX287" fmla="*/ 72848 w 127244"/>
                <a:gd name="connsiteY287" fmla="*/ 15906 h 146331"/>
                <a:gd name="connsiteX288" fmla="*/ 71893 w 127244"/>
                <a:gd name="connsiteY288" fmla="*/ 16860 h 146331"/>
                <a:gd name="connsiteX289" fmla="*/ 72530 w 127244"/>
                <a:gd name="connsiteY289" fmla="*/ 17814 h 146331"/>
                <a:gd name="connsiteX290" fmla="*/ 73166 w 127244"/>
                <a:gd name="connsiteY290" fmla="*/ 18450 h 146331"/>
                <a:gd name="connsiteX291" fmla="*/ 72848 w 127244"/>
                <a:gd name="connsiteY291" fmla="*/ 19405 h 146331"/>
                <a:gd name="connsiteX292" fmla="*/ 72530 w 127244"/>
                <a:gd name="connsiteY292" fmla="*/ 20041 h 146331"/>
                <a:gd name="connsiteX293" fmla="*/ 71575 w 127244"/>
                <a:gd name="connsiteY293" fmla="*/ 21313 h 146331"/>
                <a:gd name="connsiteX294" fmla="*/ 71893 w 127244"/>
                <a:gd name="connsiteY294" fmla="*/ 22268 h 146331"/>
                <a:gd name="connsiteX295" fmla="*/ 72212 w 127244"/>
                <a:gd name="connsiteY295" fmla="*/ 22586 h 146331"/>
                <a:gd name="connsiteX296" fmla="*/ 73166 w 127244"/>
                <a:gd name="connsiteY296" fmla="*/ 22586 h 146331"/>
                <a:gd name="connsiteX297" fmla="*/ 73166 w 127244"/>
                <a:gd name="connsiteY297" fmla="*/ 22904 h 146331"/>
                <a:gd name="connsiteX298" fmla="*/ 72212 w 127244"/>
                <a:gd name="connsiteY298" fmla="*/ 25131 h 146331"/>
                <a:gd name="connsiteX299" fmla="*/ 71893 w 127244"/>
                <a:gd name="connsiteY299" fmla="*/ 25767 h 146331"/>
                <a:gd name="connsiteX300" fmla="*/ 72212 w 127244"/>
                <a:gd name="connsiteY300" fmla="*/ 26721 h 146331"/>
                <a:gd name="connsiteX301" fmla="*/ 72848 w 127244"/>
                <a:gd name="connsiteY301" fmla="*/ 28312 h 146331"/>
                <a:gd name="connsiteX302" fmla="*/ 72848 w 127244"/>
                <a:gd name="connsiteY302" fmla="*/ 29584 h 146331"/>
                <a:gd name="connsiteX303" fmla="*/ 72212 w 127244"/>
                <a:gd name="connsiteY303" fmla="*/ 30539 h 146331"/>
                <a:gd name="connsiteX304" fmla="*/ 70939 w 127244"/>
                <a:gd name="connsiteY304" fmla="*/ 33402 h 146331"/>
                <a:gd name="connsiteX305" fmla="*/ 71257 w 127244"/>
                <a:gd name="connsiteY305" fmla="*/ 34356 h 146331"/>
                <a:gd name="connsiteX306" fmla="*/ 68712 w 127244"/>
                <a:gd name="connsiteY306" fmla="*/ 39446 h 146331"/>
                <a:gd name="connsiteX307" fmla="*/ 69030 w 127244"/>
                <a:gd name="connsiteY307" fmla="*/ 40400 h 146331"/>
                <a:gd name="connsiteX308" fmla="*/ 68076 w 127244"/>
                <a:gd name="connsiteY308" fmla="*/ 42627 h 146331"/>
                <a:gd name="connsiteX309" fmla="*/ 66803 w 127244"/>
                <a:gd name="connsiteY309" fmla="*/ 45808 h 146331"/>
                <a:gd name="connsiteX310" fmla="*/ 66803 w 127244"/>
                <a:gd name="connsiteY310" fmla="*/ 46444 h 146331"/>
                <a:gd name="connsiteX311" fmla="*/ 64259 w 127244"/>
                <a:gd name="connsiteY311" fmla="*/ 50898 h 146331"/>
                <a:gd name="connsiteX312" fmla="*/ 62986 w 127244"/>
                <a:gd name="connsiteY312" fmla="*/ 52170 h 146331"/>
                <a:gd name="connsiteX313" fmla="*/ 61396 w 127244"/>
                <a:gd name="connsiteY313" fmla="*/ 54715 h 146331"/>
                <a:gd name="connsiteX314" fmla="*/ 61396 w 127244"/>
                <a:gd name="connsiteY314" fmla="*/ 55033 h 146331"/>
                <a:gd name="connsiteX315" fmla="*/ 60759 w 127244"/>
                <a:gd name="connsiteY315" fmla="*/ 55670 h 146331"/>
                <a:gd name="connsiteX316" fmla="*/ 59805 w 127244"/>
                <a:gd name="connsiteY316" fmla="*/ 57578 h 146331"/>
                <a:gd name="connsiteX317" fmla="*/ 59805 w 127244"/>
                <a:gd name="connsiteY317" fmla="*/ 57896 h 146331"/>
                <a:gd name="connsiteX318" fmla="*/ 59169 w 127244"/>
                <a:gd name="connsiteY318" fmla="*/ 58851 h 146331"/>
                <a:gd name="connsiteX319" fmla="*/ 57260 w 127244"/>
                <a:gd name="connsiteY319" fmla="*/ 60441 h 146331"/>
                <a:gd name="connsiteX320" fmla="*/ 54079 w 127244"/>
                <a:gd name="connsiteY320" fmla="*/ 64577 h 146331"/>
                <a:gd name="connsiteX321" fmla="*/ 49307 w 127244"/>
                <a:gd name="connsiteY321" fmla="*/ 70303 h 146331"/>
                <a:gd name="connsiteX322" fmla="*/ 47081 w 127244"/>
                <a:gd name="connsiteY322" fmla="*/ 71893 h 146331"/>
                <a:gd name="connsiteX323" fmla="*/ 45808 w 127244"/>
                <a:gd name="connsiteY323" fmla="*/ 72529 h 146331"/>
                <a:gd name="connsiteX324" fmla="*/ 43582 w 127244"/>
                <a:gd name="connsiteY324" fmla="*/ 74438 h 146331"/>
                <a:gd name="connsiteX325" fmla="*/ 39764 w 127244"/>
                <a:gd name="connsiteY325" fmla="*/ 75711 h 146331"/>
                <a:gd name="connsiteX326" fmla="*/ 38491 w 127244"/>
                <a:gd name="connsiteY326" fmla="*/ 76029 h 146331"/>
                <a:gd name="connsiteX327" fmla="*/ 33084 w 127244"/>
                <a:gd name="connsiteY327" fmla="*/ 76983 h 146331"/>
                <a:gd name="connsiteX328" fmla="*/ 29903 w 127244"/>
                <a:gd name="connsiteY328" fmla="*/ 77619 h 146331"/>
                <a:gd name="connsiteX329" fmla="*/ 28312 w 127244"/>
                <a:gd name="connsiteY329" fmla="*/ 77937 h 146331"/>
                <a:gd name="connsiteX330" fmla="*/ 26085 w 127244"/>
                <a:gd name="connsiteY330" fmla="*/ 77301 h 146331"/>
                <a:gd name="connsiteX331" fmla="*/ 24495 w 127244"/>
                <a:gd name="connsiteY331" fmla="*/ 76983 h 146331"/>
                <a:gd name="connsiteX332" fmla="*/ 23858 w 127244"/>
                <a:gd name="connsiteY332" fmla="*/ 77619 h 146331"/>
                <a:gd name="connsiteX333" fmla="*/ 22268 w 127244"/>
                <a:gd name="connsiteY333" fmla="*/ 81755 h 146331"/>
                <a:gd name="connsiteX334" fmla="*/ 22586 w 127244"/>
                <a:gd name="connsiteY334" fmla="*/ 83663 h 146331"/>
                <a:gd name="connsiteX335" fmla="*/ 22904 w 127244"/>
                <a:gd name="connsiteY335" fmla="*/ 85254 h 146331"/>
                <a:gd name="connsiteX336" fmla="*/ 22586 w 127244"/>
                <a:gd name="connsiteY336" fmla="*/ 85890 h 146331"/>
                <a:gd name="connsiteX337" fmla="*/ 21632 w 127244"/>
                <a:gd name="connsiteY337" fmla="*/ 87481 h 146331"/>
                <a:gd name="connsiteX338" fmla="*/ 21950 w 127244"/>
                <a:gd name="connsiteY338" fmla="*/ 88435 h 146331"/>
                <a:gd name="connsiteX339" fmla="*/ 20995 w 127244"/>
                <a:gd name="connsiteY339" fmla="*/ 90980 h 146331"/>
                <a:gd name="connsiteX340" fmla="*/ 20995 w 127244"/>
                <a:gd name="connsiteY340" fmla="*/ 94797 h 146331"/>
                <a:gd name="connsiteX341" fmla="*/ 21314 w 127244"/>
                <a:gd name="connsiteY341" fmla="*/ 96388 h 146331"/>
                <a:gd name="connsiteX342" fmla="*/ 20995 w 127244"/>
                <a:gd name="connsiteY342" fmla="*/ 97024 h 146331"/>
                <a:gd name="connsiteX343" fmla="*/ 20677 w 127244"/>
                <a:gd name="connsiteY343" fmla="*/ 98933 h 146331"/>
                <a:gd name="connsiteX344" fmla="*/ 20359 w 127244"/>
                <a:gd name="connsiteY344" fmla="*/ 99887 h 146331"/>
                <a:gd name="connsiteX345" fmla="*/ 20677 w 127244"/>
                <a:gd name="connsiteY345" fmla="*/ 100841 h 146331"/>
                <a:gd name="connsiteX346" fmla="*/ 20995 w 127244"/>
                <a:gd name="connsiteY346" fmla="*/ 101796 h 146331"/>
                <a:gd name="connsiteX347" fmla="*/ 20677 w 127244"/>
                <a:gd name="connsiteY347" fmla="*/ 102432 h 146331"/>
                <a:gd name="connsiteX348" fmla="*/ 20677 w 127244"/>
                <a:gd name="connsiteY348" fmla="*/ 102750 h 146331"/>
                <a:gd name="connsiteX349" fmla="*/ 20995 w 127244"/>
                <a:gd name="connsiteY349" fmla="*/ 103704 h 146331"/>
                <a:gd name="connsiteX350" fmla="*/ 20677 w 127244"/>
                <a:gd name="connsiteY350" fmla="*/ 105613 h 146331"/>
                <a:gd name="connsiteX351" fmla="*/ 20677 w 127244"/>
                <a:gd name="connsiteY351" fmla="*/ 107522 h 146331"/>
                <a:gd name="connsiteX352" fmla="*/ 21314 w 127244"/>
                <a:gd name="connsiteY352" fmla="*/ 109112 h 146331"/>
                <a:gd name="connsiteX353" fmla="*/ 21314 w 127244"/>
                <a:gd name="connsiteY353" fmla="*/ 113248 h 146331"/>
                <a:gd name="connsiteX354" fmla="*/ 20677 w 127244"/>
                <a:gd name="connsiteY354" fmla="*/ 115156 h 146331"/>
                <a:gd name="connsiteX355" fmla="*/ 21314 w 127244"/>
                <a:gd name="connsiteY355" fmla="*/ 116429 h 146331"/>
                <a:gd name="connsiteX356" fmla="*/ 21314 w 127244"/>
                <a:gd name="connsiteY356" fmla="*/ 117383 h 146331"/>
                <a:gd name="connsiteX357" fmla="*/ 21632 w 127244"/>
                <a:gd name="connsiteY357" fmla="*/ 118019 h 146331"/>
                <a:gd name="connsiteX358" fmla="*/ 23222 w 127244"/>
                <a:gd name="connsiteY358" fmla="*/ 120882 h 146331"/>
                <a:gd name="connsiteX359" fmla="*/ 23222 w 127244"/>
                <a:gd name="connsiteY359" fmla="*/ 122155 h 146331"/>
                <a:gd name="connsiteX360" fmla="*/ 22904 w 127244"/>
                <a:gd name="connsiteY360" fmla="*/ 123109 h 146331"/>
                <a:gd name="connsiteX361" fmla="*/ 24176 w 127244"/>
                <a:gd name="connsiteY361" fmla="*/ 124700 h 146331"/>
                <a:gd name="connsiteX362" fmla="*/ 25767 w 127244"/>
                <a:gd name="connsiteY362" fmla="*/ 127881 h 146331"/>
                <a:gd name="connsiteX363" fmla="*/ 26085 w 127244"/>
                <a:gd name="connsiteY363" fmla="*/ 128199 h 146331"/>
                <a:gd name="connsiteX364" fmla="*/ 27358 w 127244"/>
                <a:gd name="connsiteY364" fmla="*/ 130744 h 146331"/>
                <a:gd name="connsiteX365" fmla="*/ 27358 w 127244"/>
                <a:gd name="connsiteY365" fmla="*/ 131062 h 146331"/>
                <a:gd name="connsiteX366" fmla="*/ 28948 w 127244"/>
                <a:gd name="connsiteY366" fmla="*/ 132653 h 146331"/>
                <a:gd name="connsiteX367" fmla="*/ 30221 w 127244"/>
                <a:gd name="connsiteY367" fmla="*/ 134243 h 146331"/>
                <a:gd name="connsiteX368" fmla="*/ 34356 w 127244"/>
                <a:gd name="connsiteY368" fmla="*/ 136152 h 146331"/>
                <a:gd name="connsiteX369" fmla="*/ 35947 w 127244"/>
                <a:gd name="connsiteY369" fmla="*/ 135834 h 146331"/>
                <a:gd name="connsiteX370" fmla="*/ 37537 w 127244"/>
                <a:gd name="connsiteY370" fmla="*/ 135516 h 146331"/>
                <a:gd name="connsiteX371" fmla="*/ 45172 w 127244"/>
                <a:gd name="connsiteY371" fmla="*/ 133607 h 146331"/>
                <a:gd name="connsiteX372" fmla="*/ 50580 w 127244"/>
                <a:gd name="connsiteY372" fmla="*/ 130426 h 146331"/>
                <a:gd name="connsiteX373" fmla="*/ 54079 w 127244"/>
                <a:gd name="connsiteY373" fmla="*/ 128835 h 146331"/>
                <a:gd name="connsiteX374" fmla="*/ 59805 w 127244"/>
                <a:gd name="connsiteY374" fmla="*/ 124382 h 146331"/>
                <a:gd name="connsiteX375" fmla="*/ 64259 w 127244"/>
                <a:gd name="connsiteY375" fmla="*/ 120882 h 146331"/>
                <a:gd name="connsiteX376" fmla="*/ 67440 w 127244"/>
                <a:gd name="connsiteY376" fmla="*/ 117383 h 146331"/>
                <a:gd name="connsiteX377" fmla="*/ 71893 w 127244"/>
                <a:gd name="connsiteY377" fmla="*/ 113566 h 146331"/>
                <a:gd name="connsiteX378" fmla="*/ 74120 w 127244"/>
                <a:gd name="connsiteY378" fmla="*/ 111339 h 146331"/>
                <a:gd name="connsiteX379" fmla="*/ 75074 w 127244"/>
                <a:gd name="connsiteY379" fmla="*/ 110385 h 146331"/>
                <a:gd name="connsiteX380" fmla="*/ 75393 w 127244"/>
                <a:gd name="connsiteY380" fmla="*/ 109430 h 146331"/>
                <a:gd name="connsiteX381" fmla="*/ 78892 w 127244"/>
                <a:gd name="connsiteY381" fmla="*/ 106886 h 146331"/>
                <a:gd name="connsiteX382" fmla="*/ 81755 w 127244"/>
                <a:gd name="connsiteY382" fmla="*/ 103704 h 146331"/>
                <a:gd name="connsiteX383" fmla="*/ 85890 w 127244"/>
                <a:gd name="connsiteY383" fmla="*/ 98615 h 146331"/>
                <a:gd name="connsiteX384" fmla="*/ 91934 w 127244"/>
                <a:gd name="connsiteY384" fmla="*/ 91934 h 146331"/>
                <a:gd name="connsiteX385" fmla="*/ 92252 w 127244"/>
                <a:gd name="connsiteY385" fmla="*/ 91616 h 146331"/>
                <a:gd name="connsiteX386" fmla="*/ 95115 w 127244"/>
                <a:gd name="connsiteY386" fmla="*/ 88435 h 146331"/>
                <a:gd name="connsiteX387" fmla="*/ 98933 w 127244"/>
                <a:gd name="connsiteY387" fmla="*/ 83663 h 146331"/>
                <a:gd name="connsiteX388" fmla="*/ 100205 w 127244"/>
                <a:gd name="connsiteY388" fmla="*/ 81437 h 146331"/>
                <a:gd name="connsiteX389" fmla="*/ 104659 w 127244"/>
                <a:gd name="connsiteY389" fmla="*/ 76347 h 146331"/>
                <a:gd name="connsiteX390" fmla="*/ 104341 w 127244"/>
                <a:gd name="connsiteY390" fmla="*/ 76029 h 146331"/>
                <a:gd name="connsiteX391" fmla="*/ 108158 w 127244"/>
                <a:gd name="connsiteY391" fmla="*/ 70303 h 146331"/>
                <a:gd name="connsiteX392" fmla="*/ 108476 w 127244"/>
                <a:gd name="connsiteY392" fmla="*/ 69030 h 146331"/>
                <a:gd name="connsiteX393" fmla="*/ 110703 w 127244"/>
                <a:gd name="connsiteY393" fmla="*/ 66803 h 146331"/>
                <a:gd name="connsiteX394" fmla="*/ 111657 w 127244"/>
                <a:gd name="connsiteY394" fmla="*/ 63940 h 146331"/>
                <a:gd name="connsiteX395" fmla="*/ 111976 w 127244"/>
                <a:gd name="connsiteY395" fmla="*/ 64259 h 146331"/>
                <a:gd name="connsiteX396" fmla="*/ 111976 w 127244"/>
                <a:gd name="connsiteY396" fmla="*/ 64895 h 146331"/>
                <a:gd name="connsiteX397" fmla="*/ 112294 w 127244"/>
                <a:gd name="connsiteY397" fmla="*/ 64895 h 146331"/>
                <a:gd name="connsiteX398" fmla="*/ 112930 w 127244"/>
                <a:gd name="connsiteY398" fmla="*/ 63940 h 146331"/>
                <a:gd name="connsiteX399" fmla="*/ 112930 w 127244"/>
                <a:gd name="connsiteY399" fmla="*/ 63304 h 146331"/>
                <a:gd name="connsiteX400" fmla="*/ 113566 w 127244"/>
                <a:gd name="connsiteY400" fmla="*/ 61396 h 146331"/>
                <a:gd name="connsiteX401" fmla="*/ 113884 w 127244"/>
                <a:gd name="connsiteY401" fmla="*/ 60441 h 146331"/>
                <a:gd name="connsiteX402" fmla="*/ 114838 w 127244"/>
                <a:gd name="connsiteY402" fmla="*/ 59169 h 146331"/>
                <a:gd name="connsiteX403" fmla="*/ 115475 w 127244"/>
                <a:gd name="connsiteY403" fmla="*/ 56624 h 146331"/>
                <a:gd name="connsiteX404" fmla="*/ 116429 w 127244"/>
                <a:gd name="connsiteY404" fmla="*/ 55351 h 146331"/>
                <a:gd name="connsiteX405" fmla="*/ 117065 w 127244"/>
                <a:gd name="connsiteY405" fmla="*/ 54715 h 146331"/>
                <a:gd name="connsiteX406" fmla="*/ 117065 w 127244"/>
                <a:gd name="connsiteY406" fmla="*/ 53761 h 146331"/>
                <a:gd name="connsiteX407" fmla="*/ 118974 w 127244"/>
                <a:gd name="connsiteY407" fmla="*/ 51852 h 146331"/>
                <a:gd name="connsiteX408" fmla="*/ 118974 w 127244"/>
                <a:gd name="connsiteY408" fmla="*/ 51534 h 146331"/>
                <a:gd name="connsiteX409" fmla="*/ 119292 w 127244"/>
                <a:gd name="connsiteY409" fmla="*/ 50898 h 146331"/>
                <a:gd name="connsiteX410" fmla="*/ 119292 w 127244"/>
                <a:gd name="connsiteY410" fmla="*/ 50262 h 146331"/>
                <a:gd name="connsiteX411" fmla="*/ 120246 w 127244"/>
                <a:gd name="connsiteY411" fmla="*/ 48989 h 146331"/>
                <a:gd name="connsiteX412" fmla="*/ 121519 w 127244"/>
                <a:gd name="connsiteY412" fmla="*/ 47399 h 146331"/>
                <a:gd name="connsiteX413" fmla="*/ 121837 w 127244"/>
                <a:gd name="connsiteY413" fmla="*/ 47399 h 146331"/>
                <a:gd name="connsiteX414" fmla="*/ 122155 w 127244"/>
                <a:gd name="connsiteY414" fmla="*/ 47717 h 146331"/>
                <a:gd name="connsiteX415" fmla="*/ 122473 w 127244"/>
                <a:gd name="connsiteY415" fmla="*/ 48671 h 146331"/>
                <a:gd name="connsiteX416" fmla="*/ 123109 w 127244"/>
                <a:gd name="connsiteY416" fmla="*/ 48989 h 146331"/>
                <a:gd name="connsiteX417" fmla="*/ 124064 w 127244"/>
                <a:gd name="connsiteY417" fmla="*/ 49307 h 146331"/>
                <a:gd name="connsiteX418" fmla="*/ 123746 w 127244"/>
                <a:gd name="connsiteY418" fmla="*/ 49625 h 146331"/>
                <a:gd name="connsiteX419" fmla="*/ 123109 w 127244"/>
                <a:gd name="connsiteY419" fmla="*/ 52488 h 146331"/>
                <a:gd name="connsiteX420" fmla="*/ 121519 w 127244"/>
                <a:gd name="connsiteY420" fmla="*/ 53443 h 146331"/>
                <a:gd name="connsiteX421" fmla="*/ 120882 w 127244"/>
                <a:gd name="connsiteY421" fmla="*/ 53443 h 146331"/>
                <a:gd name="connsiteX422" fmla="*/ 119928 w 127244"/>
                <a:gd name="connsiteY422" fmla="*/ 54079 h 146331"/>
                <a:gd name="connsiteX423" fmla="*/ 120882 w 127244"/>
                <a:gd name="connsiteY423" fmla="*/ 56306 h 146331"/>
                <a:gd name="connsiteX424" fmla="*/ 121519 w 127244"/>
                <a:gd name="connsiteY424" fmla="*/ 57260 h 146331"/>
                <a:gd name="connsiteX425" fmla="*/ 121519 w 127244"/>
                <a:gd name="connsiteY425" fmla="*/ 57896 h 146331"/>
                <a:gd name="connsiteX426" fmla="*/ 121519 w 127244"/>
                <a:gd name="connsiteY426" fmla="*/ 58533 h 146331"/>
                <a:gd name="connsiteX427" fmla="*/ 121519 w 127244"/>
                <a:gd name="connsiteY427" fmla="*/ 59169 h 146331"/>
                <a:gd name="connsiteX428" fmla="*/ 120882 w 127244"/>
                <a:gd name="connsiteY428" fmla="*/ 61396 h 146331"/>
                <a:gd name="connsiteX429" fmla="*/ 120564 w 127244"/>
                <a:gd name="connsiteY429" fmla="*/ 62668 h 146331"/>
                <a:gd name="connsiteX430" fmla="*/ 120246 w 127244"/>
                <a:gd name="connsiteY430" fmla="*/ 62668 h 146331"/>
                <a:gd name="connsiteX431" fmla="*/ 120246 w 127244"/>
                <a:gd name="connsiteY431" fmla="*/ 60759 h 146331"/>
                <a:gd name="connsiteX432" fmla="*/ 119928 w 127244"/>
                <a:gd name="connsiteY432" fmla="*/ 60759 h 146331"/>
                <a:gd name="connsiteX433" fmla="*/ 119292 w 127244"/>
                <a:gd name="connsiteY433" fmla="*/ 58533 h 146331"/>
                <a:gd name="connsiteX434" fmla="*/ 119610 w 127244"/>
                <a:gd name="connsiteY434" fmla="*/ 57896 h 146331"/>
                <a:gd name="connsiteX435" fmla="*/ 118974 w 127244"/>
                <a:gd name="connsiteY435" fmla="*/ 57578 h 146331"/>
                <a:gd name="connsiteX436" fmla="*/ 118656 w 127244"/>
                <a:gd name="connsiteY436" fmla="*/ 57896 h 146331"/>
                <a:gd name="connsiteX437" fmla="*/ 117065 w 127244"/>
                <a:gd name="connsiteY437" fmla="*/ 60759 h 146331"/>
                <a:gd name="connsiteX438" fmla="*/ 116429 w 127244"/>
                <a:gd name="connsiteY438" fmla="*/ 62350 h 146331"/>
                <a:gd name="connsiteX439" fmla="*/ 115475 w 127244"/>
                <a:gd name="connsiteY439" fmla="*/ 62986 h 146331"/>
                <a:gd name="connsiteX440" fmla="*/ 114520 w 127244"/>
                <a:gd name="connsiteY440" fmla="*/ 63940 h 146331"/>
                <a:gd name="connsiteX441" fmla="*/ 114520 w 127244"/>
                <a:gd name="connsiteY441" fmla="*/ 64259 h 146331"/>
                <a:gd name="connsiteX442" fmla="*/ 114202 w 127244"/>
                <a:gd name="connsiteY442" fmla="*/ 65213 h 146331"/>
                <a:gd name="connsiteX443" fmla="*/ 113248 w 127244"/>
                <a:gd name="connsiteY443" fmla="*/ 69030 h 146331"/>
                <a:gd name="connsiteX444" fmla="*/ 113248 w 127244"/>
                <a:gd name="connsiteY444" fmla="*/ 69348 h 146331"/>
                <a:gd name="connsiteX445" fmla="*/ 113884 w 127244"/>
                <a:gd name="connsiteY445" fmla="*/ 69348 h 146331"/>
                <a:gd name="connsiteX446" fmla="*/ 114838 w 127244"/>
                <a:gd name="connsiteY446" fmla="*/ 68076 h 146331"/>
                <a:gd name="connsiteX447" fmla="*/ 116111 w 127244"/>
                <a:gd name="connsiteY447" fmla="*/ 66803 h 146331"/>
                <a:gd name="connsiteX448" fmla="*/ 117701 w 127244"/>
                <a:gd name="connsiteY448" fmla="*/ 66167 h 146331"/>
                <a:gd name="connsiteX449" fmla="*/ 118019 w 127244"/>
                <a:gd name="connsiteY449" fmla="*/ 66167 h 146331"/>
                <a:gd name="connsiteX450" fmla="*/ 117383 w 127244"/>
                <a:gd name="connsiteY450" fmla="*/ 68712 h 146331"/>
                <a:gd name="connsiteX451" fmla="*/ 116429 w 127244"/>
                <a:gd name="connsiteY451" fmla="*/ 69666 h 146331"/>
                <a:gd name="connsiteX452" fmla="*/ 117383 w 127244"/>
                <a:gd name="connsiteY452" fmla="*/ 70939 h 146331"/>
                <a:gd name="connsiteX453" fmla="*/ 118338 w 127244"/>
                <a:gd name="connsiteY453" fmla="*/ 71257 h 146331"/>
                <a:gd name="connsiteX454" fmla="*/ 118656 w 127244"/>
                <a:gd name="connsiteY454" fmla="*/ 72529 h 146331"/>
                <a:gd name="connsiteX455" fmla="*/ 118656 w 127244"/>
                <a:gd name="connsiteY455" fmla="*/ 73484 h 146331"/>
                <a:gd name="connsiteX456" fmla="*/ 118974 w 127244"/>
                <a:gd name="connsiteY456" fmla="*/ 74120 h 146331"/>
                <a:gd name="connsiteX457" fmla="*/ 120882 w 127244"/>
                <a:gd name="connsiteY457" fmla="*/ 74120 h 146331"/>
                <a:gd name="connsiteX458" fmla="*/ 121837 w 127244"/>
                <a:gd name="connsiteY458" fmla="*/ 74756 h 146331"/>
                <a:gd name="connsiteX459" fmla="*/ 1591 w 127244"/>
                <a:gd name="connsiteY459" fmla="*/ 118656 h 146331"/>
                <a:gd name="connsiteX460" fmla="*/ 1591 w 127244"/>
                <a:gd name="connsiteY460" fmla="*/ 118974 h 146331"/>
                <a:gd name="connsiteX461" fmla="*/ 1909 w 127244"/>
                <a:gd name="connsiteY461" fmla="*/ 119292 h 146331"/>
                <a:gd name="connsiteX462" fmla="*/ 2227 w 127244"/>
                <a:gd name="connsiteY462" fmla="*/ 119292 h 146331"/>
                <a:gd name="connsiteX463" fmla="*/ 1591 w 127244"/>
                <a:gd name="connsiteY463" fmla="*/ 118656 h 146331"/>
                <a:gd name="connsiteX464" fmla="*/ 20677 w 127244"/>
                <a:gd name="connsiteY464" fmla="*/ 46762 h 146331"/>
                <a:gd name="connsiteX465" fmla="*/ 21314 w 127244"/>
                <a:gd name="connsiteY465" fmla="*/ 44854 h 146331"/>
                <a:gd name="connsiteX466" fmla="*/ 21314 w 127244"/>
                <a:gd name="connsiteY466" fmla="*/ 43899 h 146331"/>
                <a:gd name="connsiteX467" fmla="*/ 22904 w 127244"/>
                <a:gd name="connsiteY467" fmla="*/ 41673 h 146331"/>
                <a:gd name="connsiteX468" fmla="*/ 23858 w 127244"/>
                <a:gd name="connsiteY468" fmla="*/ 39128 h 146331"/>
                <a:gd name="connsiteX469" fmla="*/ 24176 w 127244"/>
                <a:gd name="connsiteY469" fmla="*/ 38810 h 146331"/>
                <a:gd name="connsiteX470" fmla="*/ 25131 w 127244"/>
                <a:gd name="connsiteY470" fmla="*/ 37537 h 146331"/>
                <a:gd name="connsiteX471" fmla="*/ 27040 w 127244"/>
                <a:gd name="connsiteY471" fmla="*/ 31811 h 146331"/>
                <a:gd name="connsiteX472" fmla="*/ 26721 w 127244"/>
                <a:gd name="connsiteY472" fmla="*/ 31493 h 146331"/>
                <a:gd name="connsiteX473" fmla="*/ 26721 w 127244"/>
                <a:gd name="connsiteY473" fmla="*/ 31175 h 146331"/>
                <a:gd name="connsiteX474" fmla="*/ 25767 w 127244"/>
                <a:gd name="connsiteY474" fmla="*/ 32129 h 146331"/>
                <a:gd name="connsiteX475" fmla="*/ 25131 w 127244"/>
                <a:gd name="connsiteY475" fmla="*/ 34038 h 146331"/>
                <a:gd name="connsiteX476" fmla="*/ 23858 w 127244"/>
                <a:gd name="connsiteY476" fmla="*/ 36901 h 146331"/>
                <a:gd name="connsiteX477" fmla="*/ 21950 w 127244"/>
                <a:gd name="connsiteY477" fmla="*/ 39446 h 146331"/>
                <a:gd name="connsiteX478" fmla="*/ 20677 w 127244"/>
                <a:gd name="connsiteY478" fmla="*/ 42309 h 146331"/>
                <a:gd name="connsiteX479" fmla="*/ 20995 w 127244"/>
                <a:gd name="connsiteY479" fmla="*/ 42945 h 146331"/>
                <a:gd name="connsiteX480" fmla="*/ 19723 w 127244"/>
                <a:gd name="connsiteY480" fmla="*/ 44854 h 146331"/>
                <a:gd name="connsiteX481" fmla="*/ 18451 w 127244"/>
                <a:gd name="connsiteY481" fmla="*/ 48989 h 146331"/>
                <a:gd name="connsiteX482" fmla="*/ 17814 w 127244"/>
                <a:gd name="connsiteY482" fmla="*/ 52170 h 146331"/>
                <a:gd name="connsiteX483" fmla="*/ 17496 w 127244"/>
                <a:gd name="connsiteY483" fmla="*/ 52488 h 146331"/>
                <a:gd name="connsiteX484" fmla="*/ 17814 w 127244"/>
                <a:gd name="connsiteY484" fmla="*/ 52807 h 146331"/>
                <a:gd name="connsiteX485" fmla="*/ 18133 w 127244"/>
                <a:gd name="connsiteY485" fmla="*/ 52488 h 146331"/>
                <a:gd name="connsiteX486" fmla="*/ 18451 w 127244"/>
                <a:gd name="connsiteY486" fmla="*/ 51852 h 146331"/>
                <a:gd name="connsiteX487" fmla="*/ 18451 w 127244"/>
                <a:gd name="connsiteY487" fmla="*/ 51216 h 146331"/>
                <a:gd name="connsiteX488" fmla="*/ 19087 w 127244"/>
                <a:gd name="connsiteY488" fmla="*/ 49625 h 146331"/>
                <a:gd name="connsiteX489" fmla="*/ 20677 w 127244"/>
                <a:gd name="connsiteY489" fmla="*/ 46762 h 146331"/>
                <a:gd name="connsiteX490" fmla="*/ 30221 w 127244"/>
                <a:gd name="connsiteY490" fmla="*/ 54079 h 146331"/>
                <a:gd name="connsiteX491" fmla="*/ 29585 w 127244"/>
                <a:gd name="connsiteY491" fmla="*/ 55988 h 146331"/>
                <a:gd name="connsiteX492" fmla="*/ 29585 w 127244"/>
                <a:gd name="connsiteY492" fmla="*/ 57260 h 146331"/>
                <a:gd name="connsiteX493" fmla="*/ 32766 w 127244"/>
                <a:gd name="connsiteY493" fmla="*/ 60123 h 146331"/>
                <a:gd name="connsiteX494" fmla="*/ 33720 w 127244"/>
                <a:gd name="connsiteY494" fmla="*/ 60123 h 146331"/>
                <a:gd name="connsiteX495" fmla="*/ 34356 w 127244"/>
                <a:gd name="connsiteY495" fmla="*/ 59487 h 146331"/>
                <a:gd name="connsiteX496" fmla="*/ 36901 w 127244"/>
                <a:gd name="connsiteY496" fmla="*/ 56624 h 146331"/>
                <a:gd name="connsiteX497" fmla="*/ 40400 w 127244"/>
                <a:gd name="connsiteY497" fmla="*/ 52170 h 146331"/>
                <a:gd name="connsiteX498" fmla="*/ 41355 w 127244"/>
                <a:gd name="connsiteY498" fmla="*/ 50898 h 146331"/>
                <a:gd name="connsiteX499" fmla="*/ 42945 w 127244"/>
                <a:gd name="connsiteY499" fmla="*/ 48671 h 146331"/>
                <a:gd name="connsiteX500" fmla="*/ 44536 w 127244"/>
                <a:gd name="connsiteY500" fmla="*/ 46126 h 146331"/>
                <a:gd name="connsiteX501" fmla="*/ 45172 w 127244"/>
                <a:gd name="connsiteY501" fmla="*/ 44218 h 146331"/>
                <a:gd name="connsiteX502" fmla="*/ 47399 w 127244"/>
                <a:gd name="connsiteY502" fmla="*/ 41355 h 146331"/>
                <a:gd name="connsiteX503" fmla="*/ 48989 w 127244"/>
                <a:gd name="connsiteY503" fmla="*/ 38173 h 146331"/>
                <a:gd name="connsiteX504" fmla="*/ 49307 w 127244"/>
                <a:gd name="connsiteY504" fmla="*/ 35629 h 146331"/>
                <a:gd name="connsiteX505" fmla="*/ 50580 w 127244"/>
                <a:gd name="connsiteY505" fmla="*/ 32766 h 146331"/>
                <a:gd name="connsiteX506" fmla="*/ 51852 w 127244"/>
                <a:gd name="connsiteY506" fmla="*/ 29903 h 146331"/>
                <a:gd name="connsiteX507" fmla="*/ 52806 w 127244"/>
                <a:gd name="connsiteY507" fmla="*/ 27358 h 146331"/>
                <a:gd name="connsiteX508" fmla="*/ 52488 w 127244"/>
                <a:gd name="connsiteY508" fmla="*/ 26403 h 146331"/>
                <a:gd name="connsiteX509" fmla="*/ 52488 w 127244"/>
                <a:gd name="connsiteY509" fmla="*/ 25767 h 146331"/>
                <a:gd name="connsiteX510" fmla="*/ 53125 w 127244"/>
                <a:gd name="connsiteY510" fmla="*/ 25131 h 146331"/>
                <a:gd name="connsiteX511" fmla="*/ 53761 w 127244"/>
                <a:gd name="connsiteY511" fmla="*/ 25131 h 146331"/>
                <a:gd name="connsiteX512" fmla="*/ 54079 w 127244"/>
                <a:gd name="connsiteY512" fmla="*/ 24495 h 146331"/>
                <a:gd name="connsiteX513" fmla="*/ 53761 w 127244"/>
                <a:gd name="connsiteY513" fmla="*/ 24176 h 146331"/>
                <a:gd name="connsiteX514" fmla="*/ 53761 w 127244"/>
                <a:gd name="connsiteY514" fmla="*/ 23858 h 146331"/>
                <a:gd name="connsiteX515" fmla="*/ 53443 w 127244"/>
                <a:gd name="connsiteY515" fmla="*/ 23540 h 146331"/>
                <a:gd name="connsiteX516" fmla="*/ 53125 w 127244"/>
                <a:gd name="connsiteY516" fmla="*/ 22904 h 146331"/>
                <a:gd name="connsiteX517" fmla="*/ 53443 w 127244"/>
                <a:gd name="connsiteY517" fmla="*/ 22268 h 146331"/>
                <a:gd name="connsiteX518" fmla="*/ 53761 w 127244"/>
                <a:gd name="connsiteY518" fmla="*/ 21632 h 146331"/>
                <a:gd name="connsiteX519" fmla="*/ 53125 w 127244"/>
                <a:gd name="connsiteY519" fmla="*/ 21313 h 146331"/>
                <a:gd name="connsiteX520" fmla="*/ 53125 w 127244"/>
                <a:gd name="connsiteY520" fmla="*/ 20677 h 146331"/>
                <a:gd name="connsiteX521" fmla="*/ 53761 w 127244"/>
                <a:gd name="connsiteY521" fmla="*/ 19405 h 146331"/>
                <a:gd name="connsiteX522" fmla="*/ 53443 w 127244"/>
                <a:gd name="connsiteY522" fmla="*/ 18132 h 146331"/>
                <a:gd name="connsiteX523" fmla="*/ 52806 w 127244"/>
                <a:gd name="connsiteY523" fmla="*/ 15587 h 146331"/>
                <a:gd name="connsiteX524" fmla="*/ 52806 w 127244"/>
                <a:gd name="connsiteY524" fmla="*/ 15269 h 146331"/>
                <a:gd name="connsiteX525" fmla="*/ 53125 w 127244"/>
                <a:gd name="connsiteY525" fmla="*/ 14951 h 146331"/>
                <a:gd name="connsiteX526" fmla="*/ 53443 w 127244"/>
                <a:gd name="connsiteY526" fmla="*/ 14633 h 146331"/>
                <a:gd name="connsiteX527" fmla="*/ 53761 w 127244"/>
                <a:gd name="connsiteY527" fmla="*/ 13997 h 146331"/>
                <a:gd name="connsiteX528" fmla="*/ 51852 w 127244"/>
                <a:gd name="connsiteY528" fmla="*/ 13997 h 146331"/>
                <a:gd name="connsiteX529" fmla="*/ 48989 w 127244"/>
                <a:gd name="connsiteY529" fmla="*/ 17814 h 146331"/>
                <a:gd name="connsiteX530" fmla="*/ 48671 w 127244"/>
                <a:gd name="connsiteY530" fmla="*/ 18132 h 146331"/>
                <a:gd name="connsiteX531" fmla="*/ 48671 w 127244"/>
                <a:gd name="connsiteY531" fmla="*/ 18450 h 146331"/>
                <a:gd name="connsiteX532" fmla="*/ 44854 w 127244"/>
                <a:gd name="connsiteY532" fmla="*/ 23222 h 146331"/>
                <a:gd name="connsiteX533" fmla="*/ 44536 w 127244"/>
                <a:gd name="connsiteY533" fmla="*/ 23540 h 146331"/>
                <a:gd name="connsiteX534" fmla="*/ 41991 w 127244"/>
                <a:gd name="connsiteY534" fmla="*/ 26403 h 146331"/>
                <a:gd name="connsiteX535" fmla="*/ 41355 w 127244"/>
                <a:gd name="connsiteY535" fmla="*/ 27676 h 146331"/>
                <a:gd name="connsiteX536" fmla="*/ 41355 w 127244"/>
                <a:gd name="connsiteY536" fmla="*/ 27994 h 146331"/>
                <a:gd name="connsiteX537" fmla="*/ 40082 w 127244"/>
                <a:gd name="connsiteY537" fmla="*/ 29903 h 146331"/>
                <a:gd name="connsiteX538" fmla="*/ 38810 w 127244"/>
                <a:gd name="connsiteY538" fmla="*/ 31811 h 146331"/>
                <a:gd name="connsiteX539" fmla="*/ 38173 w 127244"/>
                <a:gd name="connsiteY539" fmla="*/ 32447 h 146331"/>
                <a:gd name="connsiteX540" fmla="*/ 38491 w 127244"/>
                <a:gd name="connsiteY540" fmla="*/ 34356 h 146331"/>
                <a:gd name="connsiteX541" fmla="*/ 37219 w 127244"/>
                <a:gd name="connsiteY541" fmla="*/ 36265 h 146331"/>
                <a:gd name="connsiteX542" fmla="*/ 37219 w 127244"/>
                <a:gd name="connsiteY542" fmla="*/ 37219 h 146331"/>
                <a:gd name="connsiteX543" fmla="*/ 36265 w 127244"/>
                <a:gd name="connsiteY543" fmla="*/ 38173 h 146331"/>
                <a:gd name="connsiteX544" fmla="*/ 34992 w 127244"/>
                <a:gd name="connsiteY544" fmla="*/ 40718 h 146331"/>
                <a:gd name="connsiteX545" fmla="*/ 34992 w 127244"/>
                <a:gd name="connsiteY545" fmla="*/ 41355 h 146331"/>
                <a:gd name="connsiteX546" fmla="*/ 34038 w 127244"/>
                <a:gd name="connsiteY546" fmla="*/ 42627 h 146331"/>
                <a:gd name="connsiteX547" fmla="*/ 32766 w 127244"/>
                <a:gd name="connsiteY547" fmla="*/ 43899 h 146331"/>
                <a:gd name="connsiteX548" fmla="*/ 32766 w 127244"/>
                <a:gd name="connsiteY548" fmla="*/ 44218 h 146331"/>
                <a:gd name="connsiteX549" fmla="*/ 30539 w 127244"/>
                <a:gd name="connsiteY549" fmla="*/ 51216 h 146331"/>
                <a:gd name="connsiteX550" fmla="*/ 30539 w 127244"/>
                <a:gd name="connsiteY550" fmla="*/ 53125 h 146331"/>
                <a:gd name="connsiteX551" fmla="*/ 30221 w 127244"/>
                <a:gd name="connsiteY551" fmla="*/ 54079 h 146331"/>
                <a:gd name="connsiteX552" fmla="*/ 62032 w 127244"/>
                <a:gd name="connsiteY552" fmla="*/ 30221 h 146331"/>
                <a:gd name="connsiteX553" fmla="*/ 62668 w 127244"/>
                <a:gd name="connsiteY553" fmla="*/ 29903 h 146331"/>
                <a:gd name="connsiteX554" fmla="*/ 62986 w 127244"/>
                <a:gd name="connsiteY554" fmla="*/ 28948 h 146331"/>
                <a:gd name="connsiteX555" fmla="*/ 62986 w 127244"/>
                <a:gd name="connsiteY555" fmla="*/ 28630 h 146331"/>
                <a:gd name="connsiteX556" fmla="*/ 62668 w 127244"/>
                <a:gd name="connsiteY556" fmla="*/ 28312 h 146331"/>
                <a:gd name="connsiteX557" fmla="*/ 62350 w 127244"/>
                <a:gd name="connsiteY557" fmla="*/ 28312 h 146331"/>
                <a:gd name="connsiteX558" fmla="*/ 61714 w 127244"/>
                <a:gd name="connsiteY558" fmla="*/ 29266 h 146331"/>
                <a:gd name="connsiteX559" fmla="*/ 62032 w 127244"/>
                <a:gd name="connsiteY559" fmla="*/ 30221 h 146331"/>
                <a:gd name="connsiteX560" fmla="*/ 62032 w 127244"/>
                <a:gd name="connsiteY560" fmla="*/ 13997 h 146331"/>
                <a:gd name="connsiteX561" fmla="*/ 62350 w 127244"/>
                <a:gd name="connsiteY561" fmla="*/ 14633 h 146331"/>
                <a:gd name="connsiteX562" fmla="*/ 62986 w 127244"/>
                <a:gd name="connsiteY562" fmla="*/ 15269 h 146331"/>
                <a:gd name="connsiteX563" fmla="*/ 63622 w 127244"/>
                <a:gd name="connsiteY563" fmla="*/ 14633 h 146331"/>
                <a:gd name="connsiteX564" fmla="*/ 62668 w 127244"/>
                <a:gd name="connsiteY564" fmla="*/ 13361 h 146331"/>
                <a:gd name="connsiteX565" fmla="*/ 62350 w 127244"/>
                <a:gd name="connsiteY565" fmla="*/ 13361 h 146331"/>
                <a:gd name="connsiteX566" fmla="*/ 62032 w 127244"/>
                <a:gd name="connsiteY566" fmla="*/ 13997 h 146331"/>
                <a:gd name="connsiteX567" fmla="*/ 63940 w 127244"/>
                <a:gd name="connsiteY567" fmla="*/ 16542 h 146331"/>
                <a:gd name="connsiteX568" fmla="*/ 62668 w 127244"/>
                <a:gd name="connsiteY568" fmla="*/ 16860 h 146331"/>
                <a:gd name="connsiteX569" fmla="*/ 62668 w 127244"/>
                <a:gd name="connsiteY569" fmla="*/ 18450 h 146331"/>
                <a:gd name="connsiteX570" fmla="*/ 62986 w 127244"/>
                <a:gd name="connsiteY570" fmla="*/ 20041 h 146331"/>
                <a:gd name="connsiteX571" fmla="*/ 62350 w 127244"/>
                <a:gd name="connsiteY571" fmla="*/ 21313 h 146331"/>
                <a:gd name="connsiteX572" fmla="*/ 62986 w 127244"/>
                <a:gd name="connsiteY572" fmla="*/ 23540 h 146331"/>
                <a:gd name="connsiteX573" fmla="*/ 62350 w 127244"/>
                <a:gd name="connsiteY573" fmla="*/ 24495 h 146331"/>
                <a:gd name="connsiteX574" fmla="*/ 62350 w 127244"/>
                <a:gd name="connsiteY574" fmla="*/ 25131 h 146331"/>
                <a:gd name="connsiteX575" fmla="*/ 62668 w 127244"/>
                <a:gd name="connsiteY575" fmla="*/ 25449 h 146331"/>
                <a:gd name="connsiteX576" fmla="*/ 63304 w 127244"/>
                <a:gd name="connsiteY576" fmla="*/ 25131 h 146331"/>
                <a:gd name="connsiteX577" fmla="*/ 64577 w 127244"/>
                <a:gd name="connsiteY577" fmla="*/ 24813 h 146331"/>
                <a:gd name="connsiteX578" fmla="*/ 66803 w 127244"/>
                <a:gd name="connsiteY578" fmla="*/ 21950 h 146331"/>
                <a:gd name="connsiteX579" fmla="*/ 66803 w 127244"/>
                <a:gd name="connsiteY579" fmla="*/ 20677 h 146331"/>
                <a:gd name="connsiteX580" fmla="*/ 66167 w 127244"/>
                <a:gd name="connsiteY580" fmla="*/ 19723 h 146331"/>
                <a:gd name="connsiteX581" fmla="*/ 64895 w 127244"/>
                <a:gd name="connsiteY581" fmla="*/ 18450 h 146331"/>
                <a:gd name="connsiteX582" fmla="*/ 64259 w 127244"/>
                <a:gd name="connsiteY582" fmla="*/ 16860 h 146331"/>
                <a:gd name="connsiteX583" fmla="*/ 63940 w 127244"/>
                <a:gd name="connsiteY583" fmla="*/ 16542 h 146331"/>
                <a:gd name="connsiteX584" fmla="*/ 65213 w 127244"/>
                <a:gd name="connsiteY584" fmla="*/ 17814 h 146331"/>
                <a:gd name="connsiteX585" fmla="*/ 65849 w 127244"/>
                <a:gd name="connsiteY585" fmla="*/ 18132 h 146331"/>
                <a:gd name="connsiteX586" fmla="*/ 66167 w 127244"/>
                <a:gd name="connsiteY586" fmla="*/ 18132 h 146331"/>
                <a:gd name="connsiteX587" fmla="*/ 66167 w 127244"/>
                <a:gd name="connsiteY587" fmla="*/ 17496 h 146331"/>
                <a:gd name="connsiteX588" fmla="*/ 65849 w 127244"/>
                <a:gd name="connsiteY588" fmla="*/ 16860 h 146331"/>
                <a:gd name="connsiteX589" fmla="*/ 65531 w 127244"/>
                <a:gd name="connsiteY589" fmla="*/ 17178 h 146331"/>
                <a:gd name="connsiteX590" fmla="*/ 65213 w 127244"/>
                <a:gd name="connsiteY590" fmla="*/ 17814 h 146331"/>
                <a:gd name="connsiteX591" fmla="*/ 66485 w 127244"/>
                <a:gd name="connsiteY591" fmla="*/ 26721 h 146331"/>
                <a:gd name="connsiteX592" fmla="*/ 66485 w 127244"/>
                <a:gd name="connsiteY592" fmla="*/ 27040 h 146331"/>
                <a:gd name="connsiteX593" fmla="*/ 67122 w 127244"/>
                <a:gd name="connsiteY593" fmla="*/ 29584 h 146331"/>
                <a:gd name="connsiteX594" fmla="*/ 67758 w 127244"/>
                <a:gd name="connsiteY594" fmla="*/ 29584 h 146331"/>
                <a:gd name="connsiteX595" fmla="*/ 69030 w 127244"/>
                <a:gd name="connsiteY595" fmla="*/ 27994 h 146331"/>
                <a:gd name="connsiteX596" fmla="*/ 68712 w 127244"/>
                <a:gd name="connsiteY596" fmla="*/ 27358 h 146331"/>
                <a:gd name="connsiteX597" fmla="*/ 68394 w 127244"/>
                <a:gd name="connsiteY597" fmla="*/ 26721 h 146331"/>
                <a:gd name="connsiteX598" fmla="*/ 68712 w 127244"/>
                <a:gd name="connsiteY598" fmla="*/ 26085 h 146331"/>
                <a:gd name="connsiteX599" fmla="*/ 68712 w 127244"/>
                <a:gd name="connsiteY599" fmla="*/ 25767 h 146331"/>
                <a:gd name="connsiteX600" fmla="*/ 67758 w 127244"/>
                <a:gd name="connsiteY600" fmla="*/ 25449 h 146331"/>
                <a:gd name="connsiteX601" fmla="*/ 66485 w 127244"/>
                <a:gd name="connsiteY601" fmla="*/ 26721 h 146331"/>
                <a:gd name="connsiteX602" fmla="*/ 67758 w 127244"/>
                <a:gd name="connsiteY602" fmla="*/ 22904 h 146331"/>
                <a:gd name="connsiteX603" fmla="*/ 67758 w 127244"/>
                <a:gd name="connsiteY603" fmla="*/ 24176 h 146331"/>
                <a:gd name="connsiteX604" fmla="*/ 68076 w 127244"/>
                <a:gd name="connsiteY604" fmla="*/ 24495 h 146331"/>
                <a:gd name="connsiteX605" fmla="*/ 69667 w 127244"/>
                <a:gd name="connsiteY605" fmla="*/ 22904 h 146331"/>
                <a:gd name="connsiteX606" fmla="*/ 69667 w 127244"/>
                <a:gd name="connsiteY606" fmla="*/ 22586 h 146331"/>
                <a:gd name="connsiteX607" fmla="*/ 68394 w 127244"/>
                <a:gd name="connsiteY607" fmla="*/ 21313 h 146331"/>
                <a:gd name="connsiteX608" fmla="*/ 68076 w 127244"/>
                <a:gd name="connsiteY608" fmla="*/ 21313 h 146331"/>
                <a:gd name="connsiteX609" fmla="*/ 67758 w 127244"/>
                <a:gd name="connsiteY609" fmla="*/ 22904 h 146331"/>
                <a:gd name="connsiteX610" fmla="*/ 82073 w 127244"/>
                <a:gd name="connsiteY610" fmla="*/ 120882 h 146331"/>
                <a:gd name="connsiteX611" fmla="*/ 81755 w 127244"/>
                <a:gd name="connsiteY611" fmla="*/ 120246 h 146331"/>
                <a:gd name="connsiteX612" fmla="*/ 81119 w 127244"/>
                <a:gd name="connsiteY612" fmla="*/ 120246 h 146331"/>
                <a:gd name="connsiteX613" fmla="*/ 80800 w 127244"/>
                <a:gd name="connsiteY613" fmla="*/ 120882 h 146331"/>
                <a:gd name="connsiteX614" fmla="*/ 81437 w 127244"/>
                <a:gd name="connsiteY614" fmla="*/ 121201 h 146331"/>
                <a:gd name="connsiteX615" fmla="*/ 81755 w 127244"/>
                <a:gd name="connsiteY615" fmla="*/ 121201 h 146331"/>
                <a:gd name="connsiteX616" fmla="*/ 82073 w 127244"/>
                <a:gd name="connsiteY616" fmla="*/ 120882 h 146331"/>
                <a:gd name="connsiteX617" fmla="*/ 89071 w 127244"/>
                <a:gd name="connsiteY617" fmla="*/ 119292 h 146331"/>
                <a:gd name="connsiteX618" fmla="*/ 88753 w 127244"/>
                <a:gd name="connsiteY618" fmla="*/ 119610 h 146331"/>
                <a:gd name="connsiteX619" fmla="*/ 88435 w 127244"/>
                <a:gd name="connsiteY619" fmla="*/ 119292 h 146331"/>
                <a:gd name="connsiteX620" fmla="*/ 88753 w 127244"/>
                <a:gd name="connsiteY620" fmla="*/ 118974 h 146331"/>
                <a:gd name="connsiteX621" fmla="*/ 89071 w 127244"/>
                <a:gd name="connsiteY621" fmla="*/ 119292 h 146331"/>
                <a:gd name="connsiteX622" fmla="*/ 106567 w 127244"/>
                <a:gd name="connsiteY622" fmla="*/ 100841 h 146331"/>
                <a:gd name="connsiteX623" fmla="*/ 104977 w 127244"/>
                <a:gd name="connsiteY623" fmla="*/ 102432 h 146331"/>
                <a:gd name="connsiteX624" fmla="*/ 104341 w 127244"/>
                <a:gd name="connsiteY624" fmla="*/ 103068 h 146331"/>
                <a:gd name="connsiteX625" fmla="*/ 104023 w 127244"/>
                <a:gd name="connsiteY625" fmla="*/ 102432 h 146331"/>
                <a:gd name="connsiteX626" fmla="*/ 103068 w 127244"/>
                <a:gd name="connsiteY626" fmla="*/ 101478 h 146331"/>
                <a:gd name="connsiteX627" fmla="*/ 102432 w 127244"/>
                <a:gd name="connsiteY627" fmla="*/ 100841 h 146331"/>
                <a:gd name="connsiteX628" fmla="*/ 102432 w 127244"/>
                <a:gd name="connsiteY628" fmla="*/ 100205 h 146331"/>
                <a:gd name="connsiteX629" fmla="*/ 104023 w 127244"/>
                <a:gd name="connsiteY629" fmla="*/ 99251 h 146331"/>
                <a:gd name="connsiteX630" fmla="*/ 104341 w 127244"/>
                <a:gd name="connsiteY630" fmla="*/ 99569 h 146331"/>
                <a:gd name="connsiteX631" fmla="*/ 105931 w 127244"/>
                <a:gd name="connsiteY631" fmla="*/ 100205 h 146331"/>
                <a:gd name="connsiteX632" fmla="*/ 106567 w 127244"/>
                <a:gd name="connsiteY632" fmla="*/ 100841 h 146331"/>
                <a:gd name="connsiteX633" fmla="*/ 108476 w 127244"/>
                <a:gd name="connsiteY633" fmla="*/ 94479 h 146331"/>
                <a:gd name="connsiteX634" fmla="*/ 108476 w 127244"/>
                <a:gd name="connsiteY634" fmla="*/ 94797 h 146331"/>
                <a:gd name="connsiteX635" fmla="*/ 106567 w 127244"/>
                <a:gd name="connsiteY635" fmla="*/ 96706 h 146331"/>
                <a:gd name="connsiteX636" fmla="*/ 106249 w 127244"/>
                <a:gd name="connsiteY636" fmla="*/ 96706 h 146331"/>
                <a:gd name="connsiteX637" fmla="*/ 105931 w 127244"/>
                <a:gd name="connsiteY637" fmla="*/ 96388 h 146331"/>
                <a:gd name="connsiteX638" fmla="*/ 106249 w 127244"/>
                <a:gd name="connsiteY638" fmla="*/ 95752 h 146331"/>
                <a:gd name="connsiteX639" fmla="*/ 107204 w 127244"/>
                <a:gd name="connsiteY639" fmla="*/ 94797 h 146331"/>
                <a:gd name="connsiteX640" fmla="*/ 107204 w 127244"/>
                <a:gd name="connsiteY640" fmla="*/ 94161 h 146331"/>
                <a:gd name="connsiteX641" fmla="*/ 107522 w 127244"/>
                <a:gd name="connsiteY641" fmla="*/ 94161 h 146331"/>
                <a:gd name="connsiteX642" fmla="*/ 108476 w 127244"/>
                <a:gd name="connsiteY642" fmla="*/ 94479 h 146331"/>
                <a:gd name="connsiteX643" fmla="*/ 115793 w 127244"/>
                <a:gd name="connsiteY643" fmla="*/ 89389 h 146331"/>
                <a:gd name="connsiteX644" fmla="*/ 116429 w 127244"/>
                <a:gd name="connsiteY644" fmla="*/ 89071 h 146331"/>
                <a:gd name="connsiteX645" fmla="*/ 115475 w 127244"/>
                <a:gd name="connsiteY645" fmla="*/ 91298 h 146331"/>
                <a:gd name="connsiteX646" fmla="*/ 114838 w 127244"/>
                <a:gd name="connsiteY646" fmla="*/ 91616 h 146331"/>
                <a:gd name="connsiteX647" fmla="*/ 114838 w 127244"/>
                <a:gd name="connsiteY647" fmla="*/ 90662 h 146331"/>
                <a:gd name="connsiteX648" fmla="*/ 115793 w 127244"/>
                <a:gd name="connsiteY648" fmla="*/ 89389 h 146331"/>
                <a:gd name="connsiteX649" fmla="*/ 116747 w 127244"/>
                <a:gd name="connsiteY649" fmla="*/ 73166 h 146331"/>
                <a:gd name="connsiteX650" fmla="*/ 116429 w 127244"/>
                <a:gd name="connsiteY650" fmla="*/ 71893 h 146331"/>
                <a:gd name="connsiteX651" fmla="*/ 116111 w 127244"/>
                <a:gd name="connsiteY651" fmla="*/ 71893 h 146331"/>
                <a:gd name="connsiteX652" fmla="*/ 116111 w 127244"/>
                <a:gd name="connsiteY652" fmla="*/ 72529 h 146331"/>
                <a:gd name="connsiteX653" fmla="*/ 116429 w 127244"/>
                <a:gd name="connsiteY653" fmla="*/ 73166 h 146331"/>
                <a:gd name="connsiteX654" fmla="*/ 116429 w 127244"/>
                <a:gd name="connsiteY654" fmla="*/ 73484 h 146331"/>
                <a:gd name="connsiteX655" fmla="*/ 116747 w 127244"/>
                <a:gd name="connsiteY655" fmla="*/ 73166 h 146331"/>
                <a:gd name="connsiteX656" fmla="*/ 118019 w 127244"/>
                <a:gd name="connsiteY656" fmla="*/ 64259 h 146331"/>
                <a:gd name="connsiteX657" fmla="*/ 118019 w 127244"/>
                <a:gd name="connsiteY657" fmla="*/ 64577 h 146331"/>
                <a:gd name="connsiteX658" fmla="*/ 116747 w 127244"/>
                <a:gd name="connsiteY658" fmla="*/ 65531 h 146331"/>
                <a:gd name="connsiteX659" fmla="*/ 116429 w 127244"/>
                <a:gd name="connsiteY659" fmla="*/ 65213 h 146331"/>
                <a:gd name="connsiteX660" fmla="*/ 116429 w 127244"/>
                <a:gd name="connsiteY660" fmla="*/ 64895 h 146331"/>
                <a:gd name="connsiteX661" fmla="*/ 117383 w 127244"/>
                <a:gd name="connsiteY661" fmla="*/ 63940 h 146331"/>
                <a:gd name="connsiteX662" fmla="*/ 118019 w 127244"/>
                <a:gd name="connsiteY662" fmla="*/ 64259 h 146331"/>
                <a:gd name="connsiteX663" fmla="*/ 124064 w 127244"/>
                <a:gd name="connsiteY663" fmla="*/ 68076 h 146331"/>
                <a:gd name="connsiteX664" fmla="*/ 124064 w 127244"/>
                <a:gd name="connsiteY664" fmla="*/ 68394 h 146331"/>
                <a:gd name="connsiteX665" fmla="*/ 123428 w 127244"/>
                <a:gd name="connsiteY665" fmla="*/ 70303 h 146331"/>
                <a:gd name="connsiteX666" fmla="*/ 123109 w 127244"/>
                <a:gd name="connsiteY666" fmla="*/ 71257 h 146331"/>
                <a:gd name="connsiteX667" fmla="*/ 122791 w 127244"/>
                <a:gd name="connsiteY667" fmla="*/ 72211 h 146331"/>
                <a:gd name="connsiteX668" fmla="*/ 121837 w 127244"/>
                <a:gd name="connsiteY668" fmla="*/ 73166 h 146331"/>
                <a:gd name="connsiteX669" fmla="*/ 120882 w 127244"/>
                <a:gd name="connsiteY669" fmla="*/ 72211 h 146331"/>
                <a:gd name="connsiteX670" fmla="*/ 121837 w 127244"/>
                <a:gd name="connsiteY670" fmla="*/ 69666 h 146331"/>
                <a:gd name="connsiteX671" fmla="*/ 121837 w 127244"/>
                <a:gd name="connsiteY671" fmla="*/ 68712 h 146331"/>
                <a:gd name="connsiteX672" fmla="*/ 122155 w 127244"/>
                <a:gd name="connsiteY672" fmla="*/ 67440 h 146331"/>
                <a:gd name="connsiteX673" fmla="*/ 123109 w 127244"/>
                <a:gd name="connsiteY673" fmla="*/ 64895 h 146331"/>
                <a:gd name="connsiteX674" fmla="*/ 123109 w 127244"/>
                <a:gd name="connsiteY674" fmla="*/ 64259 h 146331"/>
                <a:gd name="connsiteX675" fmla="*/ 123428 w 127244"/>
                <a:gd name="connsiteY675" fmla="*/ 63622 h 146331"/>
                <a:gd name="connsiteX676" fmla="*/ 123746 w 127244"/>
                <a:gd name="connsiteY676" fmla="*/ 63622 h 146331"/>
                <a:gd name="connsiteX677" fmla="*/ 124064 w 127244"/>
                <a:gd name="connsiteY677" fmla="*/ 63622 h 146331"/>
                <a:gd name="connsiteX678" fmla="*/ 124382 w 127244"/>
                <a:gd name="connsiteY678" fmla="*/ 64259 h 146331"/>
                <a:gd name="connsiteX679" fmla="*/ 124064 w 127244"/>
                <a:gd name="connsiteY679" fmla="*/ 64577 h 146331"/>
                <a:gd name="connsiteX680" fmla="*/ 123428 w 127244"/>
                <a:gd name="connsiteY680" fmla="*/ 65849 h 146331"/>
                <a:gd name="connsiteX681" fmla="*/ 123109 w 127244"/>
                <a:gd name="connsiteY681" fmla="*/ 66485 h 146331"/>
                <a:gd name="connsiteX682" fmla="*/ 123746 w 127244"/>
                <a:gd name="connsiteY682" fmla="*/ 67122 h 146331"/>
                <a:gd name="connsiteX683" fmla="*/ 124064 w 127244"/>
                <a:gd name="connsiteY683" fmla="*/ 68076 h 146331"/>
                <a:gd name="connsiteX684" fmla="*/ 120882 w 127244"/>
                <a:gd name="connsiteY684" fmla="*/ 45490 h 146331"/>
                <a:gd name="connsiteX685" fmla="*/ 121519 w 127244"/>
                <a:gd name="connsiteY685" fmla="*/ 44536 h 146331"/>
                <a:gd name="connsiteX686" fmla="*/ 123109 w 127244"/>
                <a:gd name="connsiteY686" fmla="*/ 44536 h 146331"/>
                <a:gd name="connsiteX687" fmla="*/ 122791 w 127244"/>
                <a:gd name="connsiteY687" fmla="*/ 45490 h 146331"/>
                <a:gd name="connsiteX688" fmla="*/ 123109 w 127244"/>
                <a:gd name="connsiteY688" fmla="*/ 45808 h 146331"/>
                <a:gd name="connsiteX689" fmla="*/ 122473 w 127244"/>
                <a:gd name="connsiteY689" fmla="*/ 46444 h 146331"/>
                <a:gd name="connsiteX690" fmla="*/ 120882 w 127244"/>
                <a:gd name="connsiteY690" fmla="*/ 45490 h 146331"/>
                <a:gd name="connsiteX691" fmla="*/ 124700 w 127244"/>
                <a:gd name="connsiteY691" fmla="*/ 77619 h 146331"/>
                <a:gd name="connsiteX692" fmla="*/ 123746 w 127244"/>
                <a:gd name="connsiteY692" fmla="*/ 78574 h 146331"/>
                <a:gd name="connsiteX693" fmla="*/ 124382 w 127244"/>
                <a:gd name="connsiteY693" fmla="*/ 76983 h 146331"/>
                <a:gd name="connsiteX694" fmla="*/ 124700 w 127244"/>
                <a:gd name="connsiteY694" fmla="*/ 77301 h 146331"/>
                <a:gd name="connsiteX695" fmla="*/ 124700 w 127244"/>
                <a:gd name="connsiteY695" fmla="*/ 77619 h 146331"/>
                <a:gd name="connsiteX696" fmla="*/ 126609 w 127244"/>
                <a:gd name="connsiteY696" fmla="*/ 73484 h 146331"/>
                <a:gd name="connsiteX697" fmla="*/ 126291 w 127244"/>
                <a:gd name="connsiteY697" fmla="*/ 72529 h 146331"/>
                <a:gd name="connsiteX698" fmla="*/ 126609 w 127244"/>
                <a:gd name="connsiteY698" fmla="*/ 71893 h 146331"/>
                <a:gd name="connsiteX699" fmla="*/ 126927 w 127244"/>
                <a:gd name="connsiteY699" fmla="*/ 71575 h 146331"/>
                <a:gd name="connsiteX700" fmla="*/ 127245 w 127244"/>
                <a:gd name="connsiteY700" fmla="*/ 71893 h 146331"/>
                <a:gd name="connsiteX701" fmla="*/ 126609 w 127244"/>
                <a:gd name="connsiteY701" fmla="*/ 73484 h 146331"/>
                <a:gd name="connsiteX702" fmla="*/ 126291 w 127244"/>
                <a:gd name="connsiteY702" fmla="*/ 73802 h 146331"/>
                <a:gd name="connsiteX703" fmla="*/ 126609 w 127244"/>
                <a:gd name="connsiteY703" fmla="*/ 73484 h 146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</a:cxnLst>
              <a:rect l="l" t="t" r="r" b="b"/>
              <a:pathLst>
                <a:path w="127244" h="146331">
                  <a:moveTo>
                    <a:pt x="121837" y="74756"/>
                  </a:moveTo>
                  <a:cubicBezTo>
                    <a:pt x="120882" y="75711"/>
                    <a:pt x="120882" y="76347"/>
                    <a:pt x="120882" y="76983"/>
                  </a:cubicBezTo>
                  <a:cubicBezTo>
                    <a:pt x="120246" y="77937"/>
                    <a:pt x="119610" y="78574"/>
                    <a:pt x="118338" y="79210"/>
                  </a:cubicBezTo>
                  <a:cubicBezTo>
                    <a:pt x="118019" y="79528"/>
                    <a:pt x="117701" y="80164"/>
                    <a:pt x="117701" y="80482"/>
                  </a:cubicBezTo>
                  <a:cubicBezTo>
                    <a:pt x="117701" y="80800"/>
                    <a:pt x="117383" y="80800"/>
                    <a:pt x="117383" y="81119"/>
                  </a:cubicBezTo>
                  <a:cubicBezTo>
                    <a:pt x="117383" y="81437"/>
                    <a:pt x="117701" y="82073"/>
                    <a:pt x="118019" y="82391"/>
                  </a:cubicBezTo>
                  <a:cubicBezTo>
                    <a:pt x="118338" y="82391"/>
                    <a:pt x="118656" y="82709"/>
                    <a:pt x="118656" y="82709"/>
                  </a:cubicBezTo>
                  <a:cubicBezTo>
                    <a:pt x="119292" y="83027"/>
                    <a:pt x="119292" y="83027"/>
                    <a:pt x="119928" y="83027"/>
                  </a:cubicBezTo>
                  <a:lnTo>
                    <a:pt x="120246" y="82709"/>
                  </a:lnTo>
                  <a:cubicBezTo>
                    <a:pt x="120564" y="82709"/>
                    <a:pt x="120882" y="82709"/>
                    <a:pt x="120882" y="83027"/>
                  </a:cubicBezTo>
                  <a:cubicBezTo>
                    <a:pt x="120246" y="84618"/>
                    <a:pt x="119292" y="85890"/>
                    <a:pt x="118338" y="86845"/>
                  </a:cubicBezTo>
                  <a:cubicBezTo>
                    <a:pt x="117701" y="87481"/>
                    <a:pt x="117383" y="88117"/>
                    <a:pt x="117383" y="88753"/>
                  </a:cubicBezTo>
                  <a:cubicBezTo>
                    <a:pt x="117383" y="89071"/>
                    <a:pt x="116747" y="89071"/>
                    <a:pt x="116429" y="89071"/>
                  </a:cubicBezTo>
                  <a:cubicBezTo>
                    <a:pt x="116429" y="88753"/>
                    <a:pt x="116747" y="88435"/>
                    <a:pt x="116747" y="88117"/>
                  </a:cubicBezTo>
                  <a:cubicBezTo>
                    <a:pt x="116747" y="87799"/>
                    <a:pt x="116429" y="87481"/>
                    <a:pt x="116429" y="86845"/>
                  </a:cubicBezTo>
                  <a:cubicBezTo>
                    <a:pt x="116429" y="85890"/>
                    <a:pt x="117065" y="85254"/>
                    <a:pt x="117383" y="84300"/>
                  </a:cubicBezTo>
                  <a:cubicBezTo>
                    <a:pt x="117701" y="83982"/>
                    <a:pt x="117701" y="83663"/>
                    <a:pt x="117701" y="83663"/>
                  </a:cubicBezTo>
                  <a:lnTo>
                    <a:pt x="117383" y="83663"/>
                  </a:lnTo>
                  <a:cubicBezTo>
                    <a:pt x="117383" y="83345"/>
                    <a:pt x="117065" y="83663"/>
                    <a:pt x="116747" y="83663"/>
                  </a:cubicBezTo>
                  <a:cubicBezTo>
                    <a:pt x="115793" y="83663"/>
                    <a:pt x="115475" y="84300"/>
                    <a:pt x="115475" y="85254"/>
                  </a:cubicBezTo>
                  <a:cubicBezTo>
                    <a:pt x="115157" y="85890"/>
                    <a:pt x="114838" y="85890"/>
                    <a:pt x="114520" y="86208"/>
                  </a:cubicBezTo>
                  <a:lnTo>
                    <a:pt x="114202" y="86208"/>
                  </a:lnTo>
                  <a:cubicBezTo>
                    <a:pt x="113884" y="86208"/>
                    <a:pt x="113884" y="86208"/>
                    <a:pt x="113566" y="85890"/>
                  </a:cubicBezTo>
                  <a:lnTo>
                    <a:pt x="113566" y="85254"/>
                  </a:lnTo>
                  <a:cubicBezTo>
                    <a:pt x="113566" y="84936"/>
                    <a:pt x="113566" y="84618"/>
                    <a:pt x="113248" y="84618"/>
                  </a:cubicBezTo>
                  <a:cubicBezTo>
                    <a:pt x="112930" y="84618"/>
                    <a:pt x="112930" y="84936"/>
                    <a:pt x="112930" y="85254"/>
                  </a:cubicBezTo>
                  <a:cubicBezTo>
                    <a:pt x="112294" y="85254"/>
                    <a:pt x="111976" y="85890"/>
                    <a:pt x="111976" y="85890"/>
                  </a:cubicBezTo>
                  <a:lnTo>
                    <a:pt x="111976" y="88117"/>
                  </a:lnTo>
                  <a:cubicBezTo>
                    <a:pt x="111657" y="88117"/>
                    <a:pt x="111976" y="88435"/>
                    <a:pt x="111657" y="88435"/>
                  </a:cubicBezTo>
                  <a:cubicBezTo>
                    <a:pt x="110703" y="88117"/>
                    <a:pt x="109749" y="88117"/>
                    <a:pt x="109431" y="87481"/>
                  </a:cubicBezTo>
                  <a:cubicBezTo>
                    <a:pt x="109431" y="87481"/>
                    <a:pt x="108794" y="87481"/>
                    <a:pt x="108794" y="87799"/>
                  </a:cubicBezTo>
                  <a:cubicBezTo>
                    <a:pt x="108794" y="88117"/>
                    <a:pt x="108794" y="88117"/>
                    <a:pt x="109112" y="88753"/>
                  </a:cubicBezTo>
                  <a:cubicBezTo>
                    <a:pt x="109112" y="89071"/>
                    <a:pt x="109112" y="89389"/>
                    <a:pt x="108476" y="89708"/>
                  </a:cubicBezTo>
                  <a:cubicBezTo>
                    <a:pt x="107204" y="90980"/>
                    <a:pt x="106885" y="91934"/>
                    <a:pt x="105931" y="93525"/>
                  </a:cubicBezTo>
                  <a:cubicBezTo>
                    <a:pt x="105931" y="93525"/>
                    <a:pt x="105931" y="93843"/>
                    <a:pt x="105613" y="93843"/>
                  </a:cubicBezTo>
                  <a:lnTo>
                    <a:pt x="104977" y="93843"/>
                  </a:lnTo>
                  <a:cubicBezTo>
                    <a:pt x="104659" y="93843"/>
                    <a:pt x="104659" y="93843"/>
                    <a:pt x="104659" y="94161"/>
                  </a:cubicBezTo>
                  <a:lnTo>
                    <a:pt x="104659" y="94797"/>
                  </a:lnTo>
                  <a:cubicBezTo>
                    <a:pt x="104659" y="95434"/>
                    <a:pt x="104023" y="95752"/>
                    <a:pt x="104023" y="96388"/>
                  </a:cubicBezTo>
                  <a:cubicBezTo>
                    <a:pt x="103386" y="97024"/>
                    <a:pt x="102432" y="97024"/>
                    <a:pt x="102114" y="97978"/>
                  </a:cubicBezTo>
                  <a:cubicBezTo>
                    <a:pt x="102114" y="98615"/>
                    <a:pt x="101478" y="98615"/>
                    <a:pt x="100523" y="98615"/>
                  </a:cubicBezTo>
                  <a:cubicBezTo>
                    <a:pt x="100523" y="98615"/>
                    <a:pt x="99887" y="98933"/>
                    <a:pt x="99887" y="99251"/>
                  </a:cubicBezTo>
                  <a:cubicBezTo>
                    <a:pt x="99569" y="99251"/>
                    <a:pt x="99251" y="99569"/>
                    <a:pt x="99251" y="99569"/>
                  </a:cubicBezTo>
                  <a:cubicBezTo>
                    <a:pt x="99251" y="99569"/>
                    <a:pt x="99569" y="99887"/>
                    <a:pt x="99887" y="99887"/>
                  </a:cubicBezTo>
                  <a:cubicBezTo>
                    <a:pt x="99887" y="100205"/>
                    <a:pt x="99887" y="100205"/>
                    <a:pt x="100205" y="100205"/>
                  </a:cubicBezTo>
                  <a:lnTo>
                    <a:pt x="100842" y="100841"/>
                  </a:lnTo>
                  <a:cubicBezTo>
                    <a:pt x="100523" y="101478"/>
                    <a:pt x="100205" y="102432"/>
                    <a:pt x="99569" y="102432"/>
                  </a:cubicBezTo>
                  <a:cubicBezTo>
                    <a:pt x="99251" y="102750"/>
                    <a:pt x="98615" y="103068"/>
                    <a:pt x="98297" y="103068"/>
                  </a:cubicBezTo>
                  <a:cubicBezTo>
                    <a:pt x="97342" y="103386"/>
                    <a:pt x="97024" y="103704"/>
                    <a:pt x="96070" y="104341"/>
                  </a:cubicBezTo>
                  <a:cubicBezTo>
                    <a:pt x="95115" y="104977"/>
                    <a:pt x="95115" y="105931"/>
                    <a:pt x="95115" y="106886"/>
                  </a:cubicBezTo>
                  <a:lnTo>
                    <a:pt x="94479" y="109112"/>
                  </a:lnTo>
                  <a:cubicBezTo>
                    <a:pt x="94161" y="109112"/>
                    <a:pt x="94479" y="109430"/>
                    <a:pt x="94797" y="109749"/>
                  </a:cubicBezTo>
                  <a:cubicBezTo>
                    <a:pt x="94797" y="110067"/>
                    <a:pt x="95115" y="110067"/>
                    <a:pt x="95115" y="110067"/>
                  </a:cubicBezTo>
                  <a:lnTo>
                    <a:pt x="94797" y="110385"/>
                  </a:lnTo>
                  <a:cubicBezTo>
                    <a:pt x="94479" y="110703"/>
                    <a:pt x="94479" y="110703"/>
                    <a:pt x="94479" y="111021"/>
                  </a:cubicBezTo>
                  <a:cubicBezTo>
                    <a:pt x="94479" y="111339"/>
                    <a:pt x="94479" y="111657"/>
                    <a:pt x="94797" y="111657"/>
                  </a:cubicBezTo>
                  <a:cubicBezTo>
                    <a:pt x="94797" y="111975"/>
                    <a:pt x="94797" y="111975"/>
                    <a:pt x="95115" y="111975"/>
                  </a:cubicBezTo>
                  <a:cubicBezTo>
                    <a:pt x="95115" y="111975"/>
                    <a:pt x="95434" y="111975"/>
                    <a:pt x="95434" y="111657"/>
                  </a:cubicBezTo>
                  <a:cubicBezTo>
                    <a:pt x="96070" y="111339"/>
                    <a:pt x="96706" y="110703"/>
                    <a:pt x="96706" y="110067"/>
                  </a:cubicBezTo>
                  <a:lnTo>
                    <a:pt x="96706" y="109749"/>
                  </a:lnTo>
                  <a:cubicBezTo>
                    <a:pt x="96706" y="109430"/>
                    <a:pt x="97024" y="108794"/>
                    <a:pt x="97661" y="108794"/>
                  </a:cubicBezTo>
                  <a:cubicBezTo>
                    <a:pt x="98297" y="108794"/>
                    <a:pt x="98615" y="108158"/>
                    <a:pt x="99569" y="107522"/>
                  </a:cubicBezTo>
                  <a:cubicBezTo>
                    <a:pt x="99569" y="107204"/>
                    <a:pt x="99887" y="106567"/>
                    <a:pt x="100205" y="106249"/>
                  </a:cubicBezTo>
                  <a:cubicBezTo>
                    <a:pt x="100523" y="106249"/>
                    <a:pt x="100523" y="106249"/>
                    <a:pt x="100842" y="106567"/>
                  </a:cubicBezTo>
                  <a:cubicBezTo>
                    <a:pt x="100523" y="107204"/>
                    <a:pt x="100205" y="107840"/>
                    <a:pt x="99569" y="108476"/>
                  </a:cubicBezTo>
                  <a:lnTo>
                    <a:pt x="99251" y="108794"/>
                  </a:lnTo>
                  <a:lnTo>
                    <a:pt x="99251" y="109112"/>
                  </a:lnTo>
                  <a:cubicBezTo>
                    <a:pt x="99251" y="110067"/>
                    <a:pt x="98297" y="110703"/>
                    <a:pt x="97342" y="111657"/>
                  </a:cubicBezTo>
                  <a:cubicBezTo>
                    <a:pt x="97024" y="112612"/>
                    <a:pt x="96070" y="112930"/>
                    <a:pt x="95434" y="113884"/>
                  </a:cubicBezTo>
                  <a:cubicBezTo>
                    <a:pt x="94797" y="114838"/>
                    <a:pt x="93525" y="115475"/>
                    <a:pt x="92570" y="116429"/>
                  </a:cubicBezTo>
                  <a:cubicBezTo>
                    <a:pt x="92570" y="116429"/>
                    <a:pt x="92252" y="116747"/>
                    <a:pt x="91616" y="117065"/>
                  </a:cubicBezTo>
                  <a:lnTo>
                    <a:pt x="91298" y="117065"/>
                  </a:lnTo>
                  <a:cubicBezTo>
                    <a:pt x="90980" y="116111"/>
                    <a:pt x="90980" y="115793"/>
                    <a:pt x="90026" y="115793"/>
                  </a:cubicBezTo>
                  <a:cubicBezTo>
                    <a:pt x="90026" y="115793"/>
                    <a:pt x="89708" y="115793"/>
                    <a:pt x="89708" y="115475"/>
                  </a:cubicBezTo>
                  <a:lnTo>
                    <a:pt x="89708" y="115156"/>
                  </a:lnTo>
                  <a:cubicBezTo>
                    <a:pt x="89708" y="114838"/>
                    <a:pt x="89708" y="114838"/>
                    <a:pt x="90026" y="114838"/>
                  </a:cubicBezTo>
                  <a:cubicBezTo>
                    <a:pt x="90344" y="114838"/>
                    <a:pt x="90662" y="114520"/>
                    <a:pt x="90662" y="114202"/>
                  </a:cubicBezTo>
                  <a:lnTo>
                    <a:pt x="90980" y="113884"/>
                  </a:lnTo>
                  <a:cubicBezTo>
                    <a:pt x="90980" y="113884"/>
                    <a:pt x="90662" y="113884"/>
                    <a:pt x="90662" y="113566"/>
                  </a:cubicBezTo>
                  <a:lnTo>
                    <a:pt x="90026" y="112930"/>
                  </a:lnTo>
                  <a:cubicBezTo>
                    <a:pt x="90026" y="112930"/>
                    <a:pt x="90344" y="112930"/>
                    <a:pt x="90662" y="112612"/>
                  </a:cubicBezTo>
                  <a:lnTo>
                    <a:pt x="90662" y="112293"/>
                  </a:lnTo>
                  <a:cubicBezTo>
                    <a:pt x="90662" y="111975"/>
                    <a:pt x="90662" y="111975"/>
                    <a:pt x="90980" y="111975"/>
                  </a:cubicBezTo>
                  <a:lnTo>
                    <a:pt x="90980" y="111657"/>
                  </a:lnTo>
                  <a:cubicBezTo>
                    <a:pt x="90662" y="111339"/>
                    <a:pt x="90662" y="111339"/>
                    <a:pt x="90344" y="111339"/>
                  </a:cubicBezTo>
                  <a:lnTo>
                    <a:pt x="90026" y="111339"/>
                  </a:lnTo>
                  <a:cubicBezTo>
                    <a:pt x="88753" y="111975"/>
                    <a:pt x="88117" y="112612"/>
                    <a:pt x="87481" y="113884"/>
                  </a:cubicBezTo>
                  <a:lnTo>
                    <a:pt x="87163" y="114202"/>
                  </a:lnTo>
                  <a:cubicBezTo>
                    <a:pt x="87163" y="114202"/>
                    <a:pt x="87163" y="114520"/>
                    <a:pt x="87481" y="114520"/>
                  </a:cubicBezTo>
                  <a:lnTo>
                    <a:pt x="88117" y="114520"/>
                  </a:lnTo>
                  <a:lnTo>
                    <a:pt x="88435" y="114838"/>
                  </a:lnTo>
                  <a:cubicBezTo>
                    <a:pt x="88435" y="114838"/>
                    <a:pt x="88117" y="114838"/>
                    <a:pt x="87799" y="115156"/>
                  </a:cubicBezTo>
                  <a:cubicBezTo>
                    <a:pt x="86845" y="115793"/>
                    <a:pt x="87163" y="116747"/>
                    <a:pt x="86527" y="117065"/>
                  </a:cubicBezTo>
                  <a:lnTo>
                    <a:pt x="86527" y="117701"/>
                  </a:lnTo>
                  <a:cubicBezTo>
                    <a:pt x="86845" y="118019"/>
                    <a:pt x="86845" y="118656"/>
                    <a:pt x="86845" y="118974"/>
                  </a:cubicBezTo>
                  <a:lnTo>
                    <a:pt x="86845" y="119292"/>
                  </a:lnTo>
                  <a:cubicBezTo>
                    <a:pt x="86527" y="119292"/>
                    <a:pt x="86208" y="119610"/>
                    <a:pt x="86208" y="119928"/>
                  </a:cubicBezTo>
                  <a:lnTo>
                    <a:pt x="85890" y="120246"/>
                  </a:lnTo>
                  <a:lnTo>
                    <a:pt x="86208" y="120246"/>
                  </a:lnTo>
                  <a:cubicBezTo>
                    <a:pt x="86208" y="120564"/>
                    <a:pt x="86208" y="120564"/>
                    <a:pt x="86527" y="120882"/>
                  </a:cubicBezTo>
                  <a:cubicBezTo>
                    <a:pt x="86845" y="120882"/>
                    <a:pt x="86845" y="121201"/>
                    <a:pt x="86845" y="121519"/>
                  </a:cubicBezTo>
                  <a:cubicBezTo>
                    <a:pt x="86845" y="122155"/>
                    <a:pt x="86208" y="122473"/>
                    <a:pt x="85890" y="122473"/>
                  </a:cubicBezTo>
                  <a:cubicBezTo>
                    <a:pt x="85254" y="122473"/>
                    <a:pt x="84936" y="122473"/>
                    <a:pt x="84300" y="122791"/>
                  </a:cubicBezTo>
                  <a:cubicBezTo>
                    <a:pt x="83982" y="123109"/>
                    <a:pt x="83664" y="123109"/>
                    <a:pt x="83664" y="123427"/>
                  </a:cubicBezTo>
                  <a:cubicBezTo>
                    <a:pt x="83664" y="123745"/>
                    <a:pt x="83982" y="123745"/>
                    <a:pt x="83982" y="124064"/>
                  </a:cubicBezTo>
                  <a:cubicBezTo>
                    <a:pt x="84300" y="124382"/>
                    <a:pt x="84300" y="124382"/>
                    <a:pt x="84300" y="124700"/>
                  </a:cubicBezTo>
                  <a:lnTo>
                    <a:pt x="84300" y="125018"/>
                  </a:lnTo>
                  <a:lnTo>
                    <a:pt x="83664" y="125018"/>
                  </a:lnTo>
                  <a:cubicBezTo>
                    <a:pt x="83346" y="124700"/>
                    <a:pt x="82709" y="124382"/>
                    <a:pt x="82073" y="124382"/>
                  </a:cubicBezTo>
                  <a:lnTo>
                    <a:pt x="81437" y="124382"/>
                  </a:lnTo>
                  <a:cubicBezTo>
                    <a:pt x="81119" y="124064"/>
                    <a:pt x="80800" y="124064"/>
                    <a:pt x="80800" y="123745"/>
                  </a:cubicBezTo>
                  <a:lnTo>
                    <a:pt x="81755" y="122791"/>
                  </a:lnTo>
                  <a:cubicBezTo>
                    <a:pt x="81755" y="122473"/>
                    <a:pt x="81755" y="122473"/>
                    <a:pt x="81437" y="122473"/>
                  </a:cubicBezTo>
                  <a:lnTo>
                    <a:pt x="81755" y="122155"/>
                  </a:lnTo>
                  <a:cubicBezTo>
                    <a:pt x="81437" y="122155"/>
                    <a:pt x="80800" y="122473"/>
                    <a:pt x="80482" y="122473"/>
                  </a:cubicBezTo>
                  <a:lnTo>
                    <a:pt x="77301" y="122473"/>
                  </a:lnTo>
                  <a:cubicBezTo>
                    <a:pt x="76983" y="122473"/>
                    <a:pt x="76983" y="123109"/>
                    <a:pt x="76983" y="123427"/>
                  </a:cubicBezTo>
                  <a:cubicBezTo>
                    <a:pt x="77301" y="124064"/>
                    <a:pt x="78255" y="125018"/>
                    <a:pt x="79210" y="125336"/>
                  </a:cubicBezTo>
                  <a:cubicBezTo>
                    <a:pt x="79528" y="125336"/>
                    <a:pt x="79528" y="125336"/>
                    <a:pt x="79528" y="125654"/>
                  </a:cubicBezTo>
                  <a:lnTo>
                    <a:pt x="79528" y="125972"/>
                  </a:lnTo>
                  <a:cubicBezTo>
                    <a:pt x="79528" y="125972"/>
                    <a:pt x="79846" y="126290"/>
                    <a:pt x="79846" y="126609"/>
                  </a:cubicBezTo>
                  <a:lnTo>
                    <a:pt x="79846" y="127563"/>
                  </a:lnTo>
                  <a:lnTo>
                    <a:pt x="76983" y="131062"/>
                  </a:lnTo>
                  <a:cubicBezTo>
                    <a:pt x="76347" y="131062"/>
                    <a:pt x="76029" y="131380"/>
                    <a:pt x="75711" y="132016"/>
                  </a:cubicBezTo>
                  <a:cubicBezTo>
                    <a:pt x="75393" y="132653"/>
                    <a:pt x="74756" y="133607"/>
                    <a:pt x="73802" y="134243"/>
                  </a:cubicBezTo>
                  <a:lnTo>
                    <a:pt x="70939" y="136470"/>
                  </a:lnTo>
                  <a:cubicBezTo>
                    <a:pt x="70621" y="136788"/>
                    <a:pt x="69349" y="137106"/>
                    <a:pt x="68712" y="138061"/>
                  </a:cubicBezTo>
                  <a:cubicBezTo>
                    <a:pt x="67122" y="138061"/>
                    <a:pt x="66485" y="139333"/>
                    <a:pt x="65531" y="140287"/>
                  </a:cubicBezTo>
                  <a:lnTo>
                    <a:pt x="63622" y="141560"/>
                  </a:lnTo>
                  <a:cubicBezTo>
                    <a:pt x="62668" y="141878"/>
                    <a:pt x="61714" y="142196"/>
                    <a:pt x="61078" y="142832"/>
                  </a:cubicBezTo>
                  <a:cubicBezTo>
                    <a:pt x="59169" y="143787"/>
                    <a:pt x="56624" y="145377"/>
                    <a:pt x="54397" y="146013"/>
                  </a:cubicBezTo>
                  <a:cubicBezTo>
                    <a:pt x="53761" y="146331"/>
                    <a:pt x="53443" y="146968"/>
                    <a:pt x="52806" y="147604"/>
                  </a:cubicBezTo>
                  <a:lnTo>
                    <a:pt x="50580" y="147604"/>
                  </a:lnTo>
                  <a:cubicBezTo>
                    <a:pt x="50580" y="147604"/>
                    <a:pt x="49944" y="147922"/>
                    <a:pt x="49625" y="147922"/>
                  </a:cubicBezTo>
                  <a:lnTo>
                    <a:pt x="47399" y="148876"/>
                  </a:lnTo>
                  <a:cubicBezTo>
                    <a:pt x="46763" y="148876"/>
                    <a:pt x="45808" y="148876"/>
                    <a:pt x="45172" y="149194"/>
                  </a:cubicBezTo>
                  <a:cubicBezTo>
                    <a:pt x="44536" y="149194"/>
                    <a:pt x="44218" y="149831"/>
                    <a:pt x="43582" y="149831"/>
                  </a:cubicBezTo>
                  <a:cubicBezTo>
                    <a:pt x="43263" y="150149"/>
                    <a:pt x="42945" y="150149"/>
                    <a:pt x="42945" y="150149"/>
                  </a:cubicBezTo>
                  <a:cubicBezTo>
                    <a:pt x="42627" y="150149"/>
                    <a:pt x="42627" y="150149"/>
                    <a:pt x="42627" y="149831"/>
                  </a:cubicBezTo>
                  <a:cubicBezTo>
                    <a:pt x="41991" y="149831"/>
                    <a:pt x="41673" y="149513"/>
                    <a:pt x="41036" y="149513"/>
                  </a:cubicBezTo>
                  <a:cubicBezTo>
                    <a:pt x="40400" y="149513"/>
                    <a:pt x="39764" y="149831"/>
                    <a:pt x="39446" y="149831"/>
                  </a:cubicBezTo>
                  <a:cubicBezTo>
                    <a:pt x="38810" y="150149"/>
                    <a:pt x="38491" y="150149"/>
                    <a:pt x="37855" y="150149"/>
                  </a:cubicBezTo>
                  <a:lnTo>
                    <a:pt x="34038" y="150149"/>
                  </a:lnTo>
                  <a:cubicBezTo>
                    <a:pt x="33402" y="149831"/>
                    <a:pt x="32766" y="149831"/>
                    <a:pt x="32448" y="149831"/>
                  </a:cubicBezTo>
                  <a:lnTo>
                    <a:pt x="27358" y="149831"/>
                  </a:lnTo>
                  <a:cubicBezTo>
                    <a:pt x="27040" y="149831"/>
                    <a:pt x="26721" y="149513"/>
                    <a:pt x="26085" y="149513"/>
                  </a:cubicBezTo>
                  <a:cubicBezTo>
                    <a:pt x="25767" y="149513"/>
                    <a:pt x="25131" y="149194"/>
                    <a:pt x="25131" y="149194"/>
                  </a:cubicBezTo>
                  <a:cubicBezTo>
                    <a:pt x="23540" y="149194"/>
                    <a:pt x="21950" y="148876"/>
                    <a:pt x="20359" y="148240"/>
                  </a:cubicBezTo>
                  <a:cubicBezTo>
                    <a:pt x="20359" y="148240"/>
                    <a:pt x="20041" y="148240"/>
                    <a:pt x="19723" y="147922"/>
                  </a:cubicBezTo>
                  <a:cubicBezTo>
                    <a:pt x="19087" y="146968"/>
                    <a:pt x="19087" y="146968"/>
                    <a:pt x="17814" y="146968"/>
                  </a:cubicBezTo>
                  <a:cubicBezTo>
                    <a:pt x="17178" y="146968"/>
                    <a:pt x="16860" y="146650"/>
                    <a:pt x="16542" y="146013"/>
                  </a:cubicBezTo>
                  <a:cubicBezTo>
                    <a:pt x="15906" y="144741"/>
                    <a:pt x="15906" y="144741"/>
                    <a:pt x="14633" y="144741"/>
                  </a:cubicBezTo>
                  <a:lnTo>
                    <a:pt x="12406" y="144741"/>
                  </a:lnTo>
                  <a:cubicBezTo>
                    <a:pt x="12406" y="144741"/>
                    <a:pt x="12088" y="144423"/>
                    <a:pt x="12088" y="144105"/>
                  </a:cubicBezTo>
                  <a:cubicBezTo>
                    <a:pt x="12088" y="143787"/>
                    <a:pt x="12406" y="143787"/>
                    <a:pt x="12724" y="143468"/>
                  </a:cubicBezTo>
                  <a:lnTo>
                    <a:pt x="12724" y="143150"/>
                  </a:lnTo>
                  <a:lnTo>
                    <a:pt x="12406" y="142832"/>
                  </a:lnTo>
                  <a:cubicBezTo>
                    <a:pt x="12406" y="142514"/>
                    <a:pt x="12088" y="142514"/>
                    <a:pt x="11770" y="142514"/>
                  </a:cubicBezTo>
                  <a:cubicBezTo>
                    <a:pt x="11134" y="142514"/>
                    <a:pt x="10498" y="142514"/>
                    <a:pt x="9861" y="141878"/>
                  </a:cubicBezTo>
                  <a:lnTo>
                    <a:pt x="9543" y="141878"/>
                  </a:lnTo>
                  <a:cubicBezTo>
                    <a:pt x="9543" y="141878"/>
                    <a:pt x="9225" y="141878"/>
                    <a:pt x="9225" y="141560"/>
                  </a:cubicBezTo>
                  <a:cubicBezTo>
                    <a:pt x="9225" y="141560"/>
                    <a:pt x="9543" y="141242"/>
                    <a:pt x="9543" y="140924"/>
                  </a:cubicBezTo>
                  <a:lnTo>
                    <a:pt x="9543" y="140287"/>
                  </a:lnTo>
                  <a:lnTo>
                    <a:pt x="8271" y="140287"/>
                  </a:lnTo>
                  <a:cubicBezTo>
                    <a:pt x="7953" y="140287"/>
                    <a:pt x="7953" y="139651"/>
                    <a:pt x="7953" y="139333"/>
                  </a:cubicBezTo>
                  <a:lnTo>
                    <a:pt x="8271" y="139333"/>
                  </a:lnTo>
                  <a:cubicBezTo>
                    <a:pt x="8271" y="138697"/>
                    <a:pt x="8907" y="138697"/>
                    <a:pt x="8907" y="138061"/>
                  </a:cubicBezTo>
                  <a:cubicBezTo>
                    <a:pt x="8907" y="137424"/>
                    <a:pt x="8907" y="136788"/>
                    <a:pt x="7953" y="136470"/>
                  </a:cubicBezTo>
                  <a:cubicBezTo>
                    <a:pt x="2545" y="133289"/>
                    <a:pt x="6044" y="132335"/>
                    <a:pt x="2545" y="128835"/>
                  </a:cubicBezTo>
                  <a:cubicBezTo>
                    <a:pt x="2227" y="128199"/>
                    <a:pt x="1909" y="127563"/>
                    <a:pt x="1909" y="126927"/>
                  </a:cubicBezTo>
                  <a:cubicBezTo>
                    <a:pt x="1591" y="125972"/>
                    <a:pt x="1591" y="124700"/>
                    <a:pt x="954" y="123745"/>
                  </a:cubicBezTo>
                  <a:lnTo>
                    <a:pt x="954" y="120246"/>
                  </a:lnTo>
                  <a:cubicBezTo>
                    <a:pt x="636" y="119610"/>
                    <a:pt x="636" y="119292"/>
                    <a:pt x="636" y="118656"/>
                  </a:cubicBezTo>
                  <a:cubicBezTo>
                    <a:pt x="636" y="118338"/>
                    <a:pt x="636" y="118019"/>
                    <a:pt x="954" y="117701"/>
                  </a:cubicBezTo>
                  <a:lnTo>
                    <a:pt x="954" y="115793"/>
                  </a:lnTo>
                  <a:cubicBezTo>
                    <a:pt x="954" y="115475"/>
                    <a:pt x="1273" y="115156"/>
                    <a:pt x="1273" y="114838"/>
                  </a:cubicBezTo>
                  <a:cubicBezTo>
                    <a:pt x="1273" y="114520"/>
                    <a:pt x="954" y="114202"/>
                    <a:pt x="954" y="113884"/>
                  </a:cubicBezTo>
                  <a:cubicBezTo>
                    <a:pt x="636" y="113248"/>
                    <a:pt x="636" y="112612"/>
                    <a:pt x="636" y="111975"/>
                  </a:cubicBezTo>
                  <a:lnTo>
                    <a:pt x="636" y="111339"/>
                  </a:lnTo>
                  <a:cubicBezTo>
                    <a:pt x="954" y="111021"/>
                    <a:pt x="954" y="110385"/>
                    <a:pt x="954" y="110067"/>
                  </a:cubicBezTo>
                  <a:cubicBezTo>
                    <a:pt x="954" y="109749"/>
                    <a:pt x="954" y="109430"/>
                    <a:pt x="318" y="109112"/>
                  </a:cubicBezTo>
                  <a:cubicBezTo>
                    <a:pt x="318" y="108794"/>
                    <a:pt x="0" y="108476"/>
                    <a:pt x="0" y="108158"/>
                  </a:cubicBezTo>
                  <a:cubicBezTo>
                    <a:pt x="0" y="107840"/>
                    <a:pt x="318" y="107204"/>
                    <a:pt x="636" y="106567"/>
                  </a:cubicBezTo>
                  <a:cubicBezTo>
                    <a:pt x="318" y="105931"/>
                    <a:pt x="318" y="105613"/>
                    <a:pt x="318" y="104977"/>
                  </a:cubicBezTo>
                  <a:cubicBezTo>
                    <a:pt x="636" y="103704"/>
                    <a:pt x="636" y="102432"/>
                    <a:pt x="636" y="100841"/>
                  </a:cubicBezTo>
                  <a:cubicBezTo>
                    <a:pt x="636" y="100523"/>
                    <a:pt x="318" y="100205"/>
                    <a:pt x="318" y="99887"/>
                  </a:cubicBezTo>
                  <a:cubicBezTo>
                    <a:pt x="318" y="99251"/>
                    <a:pt x="636" y="98933"/>
                    <a:pt x="954" y="98297"/>
                  </a:cubicBezTo>
                  <a:cubicBezTo>
                    <a:pt x="954" y="97978"/>
                    <a:pt x="954" y="97660"/>
                    <a:pt x="1273" y="97660"/>
                  </a:cubicBezTo>
                  <a:cubicBezTo>
                    <a:pt x="1909" y="97660"/>
                    <a:pt x="1909" y="97978"/>
                    <a:pt x="1909" y="98615"/>
                  </a:cubicBezTo>
                  <a:lnTo>
                    <a:pt x="1909" y="99251"/>
                  </a:lnTo>
                  <a:cubicBezTo>
                    <a:pt x="2227" y="99251"/>
                    <a:pt x="2227" y="99251"/>
                    <a:pt x="2227" y="98933"/>
                  </a:cubicBezTo>
                  <a:lnTo>
                    <a:pt x="2227" y="96070"/>
                  </a:lnTo>
                  <a:cubicBezTo>
                    <a:pt x="2227" y="95752"/>
                    <a:pt x="2227" y="95752"/>
                    <a:pt x="2545" y="95434"/>
                  </a:cubicBezTo>
                  <a:lnTo>
                    <a:pt x="3181" y="94797"/>
                  </a:lnTo>
                  <a:lnTo>
                    <a:pt x="2863" y="94797"/>
                  </a:lnTo>
                  <a:cubicBezTo>
                    <a:pt x="2227" y="94161"/>
                    <a:pt x="2227" y="93207"/>
                    <a:pt x="2227" y="92252"/>
                  </a:cubicBezTo>
                  <a:lnTo>
                    <a:pt x="2227" y="91616"/>
                  </a:lnTo>
                  <a:cubicBezTo>
                    <a:pt x="2227" y="91298"/>
                    <a:pt x="2227" y="91298"/>
                    <a:pt x="1909" y="90980"/>
                  </a:cubicBezTo>
                  <a:cubicBezTo>
                    <a:pt x="2227" y="90344"/>
                    <a:pt x="2227" y="89708"/>
                    <a:pt x="2227" y="89071"/>
                  </a:cubicBezTo>
                  <a:lnTo>
                    <a:pt x="2227" y="88117"/>
                  </a:lnTo>
                  <a:cubicBezTo>
                    <a:pt x="2227" y="87481"/>
                    <a:pt x="2227" y="87163"/>
                    <a:pt x="2545" y="86845"/>
                  </a:cubicBezTo>
                  <a:cubicBezTo>
                    <a:pt x="2545" y="86526"/>
                    <a:pt x="2863" y="86526"/>
                    <a:pt x="3181" y="86526"/>
                  </a:cubicBezTo>
                  <a:cubicBezTo>
                    <a:pt x="3499" y="86526"/>
                    <a:pt x="3818" y="86208"/>
                    <a:pt x="3818" y="85890"/>
                  </a:cubicBezTo>
                  <a:cubicBezTo>
                    <a:pt x="4136" y="85890"/>
                    <a:pt x="4136" y="85890"/>
                    <a:pt x="4136" y="85572"/>
                  </a:cubicBezTo>
                  <a:lnTo>
                    <a:pt x="4136" y="85254"/>
                  </a:lnTo>
                  <a:lnTo>
                    <a:pt x="3818" y="84936"/>
                  </a:lnTo>
                  <a:cubicBezTo>
                    <a:pt x="3499" y="84936"/>
                    <a:pt x="3499" y="85254"/>
                    <a:pt x="3181" y="85254"/>
                  </a:cubicBezTo>
                  <a:lnTo>
                    <a:pt x="2863" y="85254"/>
                  </a:lnTo>
                  <a:cubicBezTo>
                    <a:pt x="2863" y="84618"/>
                    <a:pt x="2863" y="84618"/>
                    <a:pt x="3181" y="84300"/>
                  </a:cubicBezTo>
                  <a:cubicBezTo>
                    <a:pt x="3499" y="83982"/>
                    <a:pt x="3499" y="83663"/>
                    <a:pt x="3499" y="83345"/>
                  </a:cubicBezTo>
                  <a:cubicBezTo>
                    <a:pt x="3499" y="83027"/>
                    <a:pt x="3181" y="82391"/>
                    <a:pt x="2863" y="81755"/>
                  </a:cubicBezTo>
                  <a:cubicBezTo>
                    <a:pt x="2863" y="81437"/>
                    <a:pt x="3181" y="81437"/>
                    <a:pt x="3181" y="81119"/>
                  </a:cubicBezTo>
                  <a:cubicBezTo>
                    <a:pt x="3181" y="80800"/>
                    <a:pt x="2863" y="80482"/>
                    <a:pt x="2863" y="80164"/>
                  </a:cubicBezTo>
                  <a:lnTo>
                    <a:pt x="2863" y="79846"/>
                  </a:lnTo>
                  <a:cubicBezTo>
                    <a:pt x="3818" y="78574"/>
                    <a:pt x="3181" y="77619"/>
                    <a:pt x="4136" y="76665"/>
                  </a:cubicBezTo>
                  <a:cubicBezTo>
                    <a:pt x="4136" y="76347"/>
                    <a:pt x="3818" y="75711"/>
                    <a:pt x="3818" y="75393"/>
                  </a:cubicBezTo>
                  <a:cubicBezTo>
                    <a:pt x="4136" y="74438"/>
                    <a:pt x="4454" y="73802"/>
                    <a:pt x="4454" y="72848"/>
                  </a:cubicBezTo>
                  <a:lnTo>
                    <a:pt x="4454" y="72211"/>
                  </a:lnTo>
                  <a:cubicBezTo>
                    <a:pt x="4454" y="71893"/>
                    <a:pt x="4772" y="71575"/>
                    <a:pt x="5408" y="71257"/>
                  </a:cubicBezTo>
                  <a:cubicBezTo>
                    <a:pt x="5408" y="71257"/>
                    <a:pt x="5726" y="70939"/>
                    <a:pt x="5726" y="70621"/>
                  </a:cubicBezTo>
                  <a:cubicBezTo>
                    <a:pt x="5408" y="70303"/>
                    <a:pt x="5408" y="69985"/>
                    <a:pt x="5408" y="69666"/>
                  </a:cubicBezTo>
                  <a:cubicBezTo>
                    <a:pt x="5408" y="69030"/>
                    <a:pt x="5726" y="68712"/>
                    <a:pt x="5726" y="68076"/>
                  </a:cubicBezTo>
                  <a:cubicBezTo>
                    <a:pt x="5726" y="67758"/>
                    <a:pt x="6044" y="67440"/>
                    <a:pt x="6044" y="67440"/>
                  </a:cubicBezTo>
                  <a:cubicBezTo>
                    <a:pt x="6680" y="67122"/>
                    <a:pt x="6680" y="66803"/>
                    <a:pt x="6680" y="66167"/>
                  </a:cubicBezTo>
                  <a:lnTo>
                    <a:pt x="6680" y="64259"/>
                  </a:lnTo>
                  <a:cubicBezTo>
                    <a:pt x="6680" y="63304"/>
                    <a:pt x="6999" y="62032"/>
                    <a:pt x="6999" y="61077"/>
                  </a:cubicBezTo>
                  <a:lnTo>
                    <a:pt x="8907" y="57896"/>
                  </a:lnTo>
                  <a:cubicBezTo>
                    <a:pt x="8907" y="57260"/>
                    <a:pt x="9225" y="56942"/>
                    <a:pt x="9543" y="56306"/>
                  </a:cubicBezTo>
                  <a:cubicBezTo>
                    <a:pt x="9543" y="55988"/>
                    <a:pt x="9225" y="55351"/>
                    <a:pt x="9225" y="55033"/>
                  </a:cubicBezTo>
                  <a:cubicBezTo>
                    <a:pt x="9225" y="54397"/>
                    <a:pt x="9543" y="53761"/>
                    <a:pt x="9861" y="53443"/>
                  </a:cubicBezTo>
                  <a:cubicBezTo>
                    <a:pt x="10498" y="51534"/>
                    <a:pt x="11452" y="49625"/>
                    <a:pt x="12406" y="47717"/>
                  </a:cubicBezTo>
                  <a:cubicBezTo>
                    <a:pt x="12724" y="46762"/>
                    <a:pt x="13043" y="45808"/>
                    <a:pt x="13043" y="45172"/>
                  </a:cubicBezTo>
                  <a:lnTo>
                    <a:pt x="13997" y="42627"/>
                  </a:lnTo>
                  <a:lnTo>
                    <a:pt x="14951" y="41991"/>
                  </a:lnTo>
                  <a:cubicBezTo>
                    <a:pt x="15588" y="40718"/>
                    <a:pt x="15906" y="39764"/>
                    <a:pt x="16224" y="38492"/>
                  </a:cubicBezTo>
                  <a:cubicBezTo>
                    <a:pt x="16860" y="36901"/>
                    <a:pt x="17496" y="35310"/>
                    <a:pt x="18451" y="34038"/>
                  </a:cubicBezTo>
                  <a:cubicBezTo>
                    <a:pt x="18451" y="33084"/>
                    <a:pt x="19087" y="32447"/>
                    <a:pt x="19087" y="31493"/>
                  </a:cubicBezTo>
                  <a:lnTo>
                    <a:pt x="19723" y="30539"/>
                  </a:lnTo>
                  <a:lnTo>
                    <a:pt x="21950" y="27676"/>
                  </a:lnTo>
                  <a:cubicBezTo>
                    <a:pt x="21950" y="26085"/>
                    <a:pt x="22904" y="24495"/>
                    <a:pt x="24495" y="23222"/>
                  </a:cubicBezTo>
                  <a:lnTo>
                    <a:pt x="24495" y="22904"/>
                  </a:lnTo>
                  <a:cubicBezTo>
                    <a:pt x="24495" y="21632"/>
                    <a:pt x="25131" y="21313"/>
                    <a:pt x="26085" y="20359"/>
                  </a:cubicBezTo>
                  <a:lnTo>
                    <a:pt x="26085" y="20041"/>
                  </a:lnTo>
                  <a:cubicBezTo>
                    <a:pt x="26721" y="17814"/>
                    <a:pt x="28630" y="16224"/>
                    <a:pt x="29585" y="14315"/>
                  </a:cubicBezTo>
                  <a:lnTo>
                    <a:pt x="34038" y="9543"/>
                  </a:lnTo>
                  <a:cubicBezTo>
                    <a:pt x="34356" y="9225"/>
                    <a:pt x="34674" y="8907"/>
                    <a:pt x="34992" y="7953"/>
                  </a:cubicBezTo>
                  <a:cubicBezTo>
                    <a:pt x="35310" y="7317"/>
                    <a:pt x="35947" y="6680"/>
                    <a:pt x="36901" y="6680"/>
                  </a:cubicBezTo>
                  <a:cubicBezTo>
                    <a:pt x="38173" y="5726"/>
                    <a:pt x="39446" y="5408"/>
                    <a:pt x="40082" y="4454"/>
                  </a:cubicBezTo>
                  <a:cubicBezTo>
                    <a:pt x="40082" y="4454"/>
                    <a:pt x="40400" y="4454"/>
                    <a:pt x="40718" y="4135"/>
                  </a:cubicBezTo>
                  <a:cubicBezTo>
                    <a:pt x="41673" y="3181"/>
                    <a:pt x="43263" y="2545"/>
                    <a:pt x="44854" y="1591"/>
                  </a:cubicBezTo>
                  <a:lnTo>
                    <a:pt x="47399" y="636"/>
                  </a:lnTo>
                  <a:cubicBezTo>
                    <a:pt x="48671" y="318"/>
                    <a:pt x="49307" y="0"/>
                    <a:pt x="50262" y="0"/>
                  </a:cubicBezTo>
                  <a:lnTo>
                    <a:pt x="55988" y="0"/>
                  </a:lnTo>
                  <a:lnTo>
                    <a:pt x="58215" y="1591"/>
                  </a:lnTo>
                  <a:cubicBezTo>
                    <a:pt x="58533" y="1909"/>
                    <a:pt x="58533" y="2227"/>
                    <a:pt x="58851" y="2227"/>
                  </a:cubicBezTo>
                  <a:lnTo>
                    <a:pt x="61714" y="4135"/>
                  </a:lnTo>
                  <a:cubicBezTo>
                    <a:pt x="62032" y="4454"/>
                    <a:pt x="62350" y="5090"/>
                    <a:pt x="62986" y="5090"/>
                  </a:cubicBezTo>
                  <a:cubicBezTo>
                    <a:pt x="63304" y="5090"/>
                    <a:pt x="63622" y="5408"/>
                    <a:pt x="63940" y="5726"/>
                  </a:cubicBezTo>
                  <a:cubicBezTo>
                    <a:pt x="64259" y="5726"/>
                    <a:pt x="64259" y="6362"/>
                    <a:pt x="64577" y="6680"/>
                  </a:cubicBezTo>
                  <a:cubicBezTo>
                    <a:pt x="64895" y="6998"/>
                    <a:pt x="65849" y="7317"/>
                    <a:pt x="66485" y="7317"/>
                  </a:cubicBezTo>
                  <a:lnTo>
                    <a:pt x="67122" y="7317"/>
                  </a:lnTo>
                  <a:cubicBezTo>
                    <a:pt x="68076" y="7317"/>
                    <a:pt x="68394" y="7953"/>
                    <a:pt x="69030" y="8589"/>
                  </a:cubicBezTo>
                  <a:cubicBezTo>
                    <a:pt x="69349" y="8907"/>
                    <a:pt x="69349" y="9225"/>
                    <a:pt x="69349" y="9543"/>
                  </a:cubicBezTo>
                  <a:cubicBezTo>
                    <a:pt x="69349" y="9861"/>
                    <a:pt x="69349" y="10180"/>
                    <a:pt x="69030" y="10180"/>
                  </a:cubicBezTo>
                  <a:lnTo>
                    <a:pt x="66803" y="10816"/>
                  </a:lnTo>
                  <a:cubicBezTo>
                    <a:pt x="66485" y="10816"/>
                    <a:pt x="66485" y="11134"/>
                    <a:pt x="66485" y="11134"/>
                  </a:cubicBezTo>
                  <a:cubicBezTo>
                    <a:pt x="66167" y="11134"/>
                    <a:pt x="66167" y="10816"/>
                    <a:pt x="66167" y="10180"/>
                  </a:cubicBezTo>
                  <a:lnTo>
                    <a:pt x="66167" y="9543"/>
                  </a:lnTo>
                  <a:lnTo>
                    <a:pt x="65213" y="9543"/>
                  </a:lnTo>
                  <a:cubicBezTo>
                    <a:pt x="64577" y="9861"/>
                    <a:pt x="64259" y="10816"/>
                    <a:pt x="63940" y="11452"/>
                  </a:cubicBezTo>
                  <a:cubicBezTo>
                    <a:pt x="63940" y="11770"/>
                    <a:pt x="63940" y="11770"/>
                    <a:pt x="64259" y="12088"/>
                  </a:cubicBezTo>
                  <a:cubicBezTo>
                    <a:pt x="64259" y="12406"/>
                    <a:pt x="64577" y="12406"/>
                    <a:pt x="64577" y="12406"/>
                  </a:cubicBezTo>
                  <a:cubicBezTo>
                    <a:pt x="65213" y="12724"/>
                    <a:pt x="65213" y="13361"/>
                    <a:pt x="65213" y="13997"/>
                  </a:cubicBezTo>
                  <a:cubicBezTo>
                    <a:pt x="65213" y="14633"/>
                    <a:pt x="65531" y="14633"/>
                    <a:pt x="65849" y="14633"/>
                  </a:cubicBezTo>
                  <a:cubicBezTo>
                    <a:pt x="66167" y="14633"/>
                    <a:pt x="66485" y="14315"/>
                    <a:pt x="66485" y="14315"/>
                  </a:cubicBezTo>
                  <a:cubicBezTo>
                    <a:pt x="66803" y="14315"/>
                    <a:pt x="66803" y="14633"/>
                    <a:pt x="67122" y="15269"/>
                  </a:cubicBezTo>
                  <a:cubicBezTo>
                    <a:pt x="67440" y="15587"/>
                    <a:pt x="67758" y="16224"/>
                    <a:pt x="67758" y="16542"/>
                  </a:cubicBezTo>
                  <a:cubicBezTo>
                    <a:pt x="67758" y="16860"/>
                    <a:pt x="67440" y="16860"/>
                    <a:pt x="67440" y="17178"/>
                  </a:cubicBezTo>
                  <a:cubicBezTo>
                    <a:pt x="67440" y="17814"/>
                    <a:pt x="67758" y="17814"/>
                    <a:pt x="68076" y="18450"/>
                  </a:cubicBezTo>
                  <a:lnTo>
                    <a:pt x="68712" y="18450"/>
                  </a:lnTo>
                  <a:lnTo>
                    <a:pt x="68712" y="16860"/>
                  </a:lnTo>
                  <a:cubicBezTo>
                    <a:pt x="68712" y="15906"/>
                    <a:pt x="68394" y="14951"/>
                    <a:pt x="68394" y="13997"/>
                  </a:cubicBezTo>
                  <a:cubicBezTo>
                    <a:pt x="68712" y="13361"/>
                    <a:pt x="69349" y="12724"/>
                    <a:pt x="69985" y="12406"/>
                  </a:cubicBezTo>
                  <a:cubicBezTo>
                    <a:pt x="70303" y="12406"/>
                    <a:pt x="70939" y="12406"/>
                    <a:pt x="71257" y="12724"/>
                  </a:cubicBezTo>
                  <a:cubicBezTo>
                    <a:pt x="71257" y="13043"/>
                    <a:pt x="70939" y="13361"/>
                    <a:pt x="70939" y="13361"/>
                  </a:cubicBezTo>
                  <a:cubicBezTo>
                    <a:pt x="70939" y="14315"/>
                    <a:pt x="71575" y="14633"/>
                    <a:pt x="72530" y="14633"/>
                  </a:cubicBezTo>
                  <a:cubicBezTo>
                    <a:pt x="72848" y="14633"/>
                    <a:pt x="72848" y="15269"/>
                    <a:pt x="72848" y="15587"/>
                  </a:cubicBezTo>
                  <a:lnTo>
                    <a:pt x="72848" y="15906"/>
                  </a:lnTo>
                  <a:cubicBezTo>
                    <a:pt x="72212" y="16542"/>
                    <a:pt x="71893" y="16542"/>
                    <a:pt x="71893" y="16860"/>
                  </a:cubicBezTo>
                  <a:cubicBezTo>
                    <a:pt x="71893" y="17178"/>
                    <a:pt x="72212" y="17496"/>
                    <a:pt x="72530" y="17814"/>
                  </a:cubicBezTo>
                  <a:cubicBezTo>
                    <a:pt x="72530" y="18132"/>
                    <a:pt x="72848" y="18450"/>
                    <a:pt x="73166" y="18450"/>
                  </a:cubicBezTo>
                  <a:cubicBezTo>
                    <a:pt x="73166" y="18769"/>
                    <a:pt x="73166" y="19087"/>
                    <a:pt x="72848" y="19405"/>
                  </a:cubicBezTo>
                  <a:cubicBezTo>
                    <a:pt x="72848" y="19723"/>
                    <a:pt x="72848" y="20041"/>
                    <a:pt x="72530" y="20041"/>
                  </a:cubicBezTo>
                  <a:cubicBezTo>
                    <a:pt x="71893" y="20359"/>
                    <a:pt x="71575" y="20677"/>
                    <a:pt x="71575" y="21313"/>
                  </a:cubicBezTo>
                  <a:cubicBezTo>
                    <a:pt x="71575" y="21632"/>
                    <a:pt x="71893" y="21950"/>
                    <a:pt x="71893" y="22268"/>
                  </a:cubicBezTo>
                  <a:cubicBezTo>
                    <a:pt x="71893" y="22586"/>
                    <a:pt x="71893" y="22586"/>
                    <a:pt x="72212" y="22586"/>
                  </a:cubicBezTo>
                  <a:lnTo>
                    <a:pt x="73166" y="22586"/>
                  </a:lnTo>
                  <a:lnTo>
                    <a:pt x="73166" y="22904"/>
                  </a:lnTo>
                  <a:cubicBezTo>
                    <a:pt x="73166" y="23540"/>
                    <a:pt x="72530" y="24495"/>
                    <a:pt x="72212" y="25131"/>
                  </a:cubicBezTo>
                  <a:cubicBezTo>
                    <a:pt x="71893" y="25449"/>
                    <a:pt x="71893" y="25449"/>
                    <a:pt x="71893" y="25767"/>
                  </a:cubicBezTo>
                  <a:cubicBezTo>
                    <a:pt x="71893" y="26085"/>
                    <a:pt x="71893" y="26403"/>
                    <a:pt x="72212" y="26721"/>
                  </a:cubicBezTo>
                  <a:cubicBezTo>
                    <a:pt x="72848" y="27358"/>
                    <a:pt x="72848" y="27676"/>
                    <a:pt x="72848" y="28312"/>
                  </a:cubicBezTo>
                  <a:lnTo>
                    <a:pt x="72848" y="29584"/>
                  </a:lnTo>
                  <a:cubicBezTo>
                    <a:pt x="72848" y="29903"/>
                    <a:pt x="72530" y="30221"/>
                    <a:pt x="72212" y="30539"/>
                  </a:cubicBezTo>
                  <a:cubicBezTo>
                    <a:pt x="71257" y="31493"/>
                    <a:pt x="70939" y="32447"/>
                    <a:pt x="70939" y="33402"/>
                  </a:cubicBezTo>
                  <a:cubicBezTo>
                    <a:pt x="71257" y="33720"/>
                    <a:pt x="71257" y="34038"/>
                    <a:pt x="71257" y="34356"/>
                  </a:cubicBezTo>
                  <a:cubicBezTo>
                    <a:pt x="69985" y="35947"/>
                    <a:pt x="69985" y="37855"/>
                    <a:pt x="68712" y="39446"/>
                  </a:cubicBezTo>
                  <a:cubicBezTo>
                    <a:pt x="69030" y="39764"/>
                    <a:pt x="69030" y="40082"/>
                    <a:pt x="69030" y="40400"/>
                  </a:cubicBezTo>
                  <a:cubicBezTo>
                    <a:pt x="69030" y="41036"/>
                    <a:pt x="68394" y="41991"/>
                    <a:pt x="68076" y="42627"/>
                  </a:cubicBezTo>
                  <a:cubicBezTo>
                    <a:pt x="67440" y="43263"/>
                    <a:pt x="66803" y="44536"/>
                    <a:pt x="66803" y="45808"/>
                  </a:cubicBezTo>
                  <a:lnTo>
                    <a:pt x="66803" y="46444"/>
                  </a:lnTo>
                  <a:cubicBezTo>
                    <a:pt x="66485" y="48035"/>
                    <a:pt x="65213" y="49625"/>
                    <a:pt x="64259" y="50898"/>
                  </a:cubicBezTo>
                  <a:cubicBezTo>
                    <a:pt x="63622" y="51216"/>
                    <a:pt x="63622" y="51852"/>
                    <a:pt x="62986" y="52170"/>
                  </a:cubicBezTo>
                  <a:cubicBezTo>
                    <a:pt x="62350" y="52807"/>
                    <a:pt x="61396" y="53761"/>
                    <a:pt x="61396" y="54715"/>
                  </a:cubicBezTo>
                  <a:lnTo>
                    <a:pt x="61396" y="55033"/>
                  </a:lnTo>
                  <a:cubicBezTo>
                    <a:pt x="61396" y="55351"/>
                    <a:pt x="61078" y="55351"/>
                    <a:pt x="60759" y="55670"/>
                  </a:cubicBezTo>
                  <a:cubicBezTo>
                    <a:pt x="60759" y="56624"/>
                    <a:pt x="59805" y="56942"/>
                    <a:pt x="59805" y="57578"/>
                  </a:cubicBezTo>
                  <a:lnTo>
                    <a:pt x="59805" y="57896"/>
                  </a:lnTo>
                  <a:cubicBezTo>
                    <a:pt x="59805" y="58533"/>
                    <a:pt x="59487" y="58533"/>
                    <a:pt x="59169" y="58851"/>
                  </a:cubicBezTo>
                  <a:cubicBezTo>
                    <a:pt x="58533" y="59487"/>
                    <a:pt x="57897" y="60123"/>
                    <a:pt x="57260" y="60441"/>
                  </a:cubicBezTo>
                  <a:cubicBezTo>
                    <a:pt x="55988" y="61714"/>
                    <a:pt x="54715" y="62986"/>
                    <a:pt x="54079" y="64577"/>
                  </a:cubicBezTo>
                  <a:cubicBezTo>
                    <a:pt x="52488" y="66803"/>
                    <a:pt x="50898" y="68712"/>
                    <a:pt x="49307" y="70303"/>
                  </a:cubicBezTo>
                  <a:cubicBezTo>
                    <a:pt x="48989" y="70939"/>
                    <a:pt x="48035" y="71575"/>
                    <a:pt x="47081" y="71893"/>
                  </a:cubicBezTo>
                  <a:cubicBezTo>
                    <a:pt x="46444" y="71893"/>
                    <a:pt x="46126" y="71893"/>
                    <a:pt x="45808" y="72529"/>
                  </a:cubicBezTo>
                  <a:lnTo>
                    <a:pt x="43582" y="74438"/>
                  </a:lnTo>
                  <a:cubicBezTo>
                    <a:pt x="41991" y="75393"/>
                    <a:pt x="41036" y="75711"/>
                    <a:pt x="39764" y="75711"/>
                  </a:cubicBezTo>
                  <a:cubicBezTo>
                    <a:pt x="39446" y="75711"/>
                    <a:pt x="39128" y="75711"/>
                    <a:pt x="38491" y="76029"/>
                  </a:cubicBezTo>
                  <a:cubicBezTo>
                    <a:pt x="37219" y="76983"/>
                    <a:pt x="34992" y="76983"/>
                    <a:pt x="33084" y="76983"/>
                  </a:cubicBezTo>
                  <a:cubicBezTo>
                    <a:pt x="31811" y="76983"/>
                    <a:pt x="31175" y="77301"/>
                    <a:pt x="29903" y="77619"/>
                  </a:cubicBezTo>
                  <a:cubicBezTo>
                    <a:pt x="29267" y="77619"/>
                    <a:pt x="28948" y="77937"/>
                    <a:pt x="28312" y="77937"/>
                  </a:cubicBezTo>
                  <a:cubicBezTo>
                    <a:pt x="27676" y="77937"/>
                    <a:pt x="26721" y="77619"/>
                    <a:pt x="26085" y="77301"/>
                  </a:cubicBezTo>
                  <a:cubicBezTo>
                    <a:pt x="25449" y="76983"/>
                    <a:pt x="25131" y="76983"/>
                    <a:pt x="24495" y="76983"/>
                  </a:cubicBezTo>
                  <a:cubicBezTo>
                    <a:pt x="24176" y="76983"/>
                    <a:pt x="23858" y="76983"/>
                    <a:pt x="23858" y="77619"/>
                  </a:cubicBezTo>
                  <a:cubicBezTo>
                    <a:pt x="22904" y="79210"/>
                    <a:pt x="22586" y="80482"/>
                    <a:pt x="22268" y="81755"/>
                  </a:cubicBezTo>
                  <a:cubicBezTo>
                    <a:pt x="22268" y="82391"/>
                    <a:pt x="22268" y="83027"/>
                    <a:pt x="22586" y="83663"/>
                  </a:cubicBezTo>
                  <a:cubicBezTo>
                    <a:pt x="22904" y="83982"/>
                    <a:pt x="22904" y="84618"/>
                    <a:pt x="22904" y="85254"/>
                  </a:cubicBezTo>
                  <a:cubicBezTo>
                    <a:pt x="22904" y="85254"/>
                    <a:pt x="22904" y="85572"/>
                    <a:pt x="22586" y="85890"/>
                  </a:cubicBezTo>
                  <a:cubicBezTo>
                    <a:pt x="21950" y="86208"/>
                    <a:pt x="21632" y="86845"/>
                    <a:pt x="21632" y="87481"/>
                  </a:cubicBezTo>
                  <a:cubicBezTo>
                    <a:pt x="21632" y="87799"/>
                    <a:pt x="21950" y="88117"/>
                    <a:pt x="21950" y="88435"/>
                  </a:cubicBezTo>
                  <a:cubicBezTo>
                    <a:pt x="21632" y="89389"/>
                    <a:pt x="20995" y="90026"/>
                    <a:pt x="20995" y="90980"/>
                  </a:cubicBezTo>
                  <a:lnTo>
                    <a:pt x="20995" y="94797"/>
                  </a:lnTo>
                  <a:cubicBezTo>
                    <a:pt x="20995" y="95434"/>
                    <a:pt x="21314" y="96070"/>
                    <a:pt x="21314" y="96388"/>
                  </a:cubicBezTo>
                  <a:cubicBezTo>
                    <a:pt x="21314" y="96706"/>
                    <a:pt x="21314" y="96706"/>
                    <a:pt x="20995" y="97024"/>
                  </a:cubicBezTo>
                  <a:cubicBezTo>
                    <a:pt x="20677" y="97342"/>
                    <a:pt x="20677" y="98297"/>
                    <a:pt x="20677" y="98933"/>
                  </a:cubicBezTo>
                  <a:cubicBezTo>
                    <a:pt x="20677" y="99251"/>
                    <a:pt x="20359" y="99569"/>
                    <a:pt x="20359" y="99887"/>
                  </a:cubicBezTo>
                  <a:cubicBezTo>
                    <a:pt x="20359" y="100205"/>
                    <a:pt x="20677" y="100841"/>
                    <a:pt x="20677" y="100841"/>
                  </a:cubicBezTo>
                  <a:cubicBezTo>
                    <a:pt x="20677" y="101160"/>
                    <a:pt x="20995" y="101478"/>
                    <a:pt x="20995" y="101796"/>
                  </a:cubicBezTo>
                  <a:cubicBezTo>
                    <a:pt x="20995" y="102114"/>
                    <a:pt x="20677" y="102114"/>
                    <a:pt x="20677" y="102432"/>
                  </a:cubicBezTo>
                  <a:lnTo>
                    <a:pt x="20677" y="102750"/>
                  </a:lnTo>
                  <a:cubicBezTo>
                    <a:pt x="20995" y="103068"/>
                    <a:pt x="20995" y="103386"/>
                    <a:pt x="20995" y="103704"/>
                  </a:cubicBezTo>
                  <a:cubicBezTo>
                    <a:pt x="20995" y="104341"/>
                    <a:pt x="20677" y="104977"/>
                    <a:pt x="20677" y="105613"/>
                  </a:cubicBezTo>
                  <a:lnTo>
                    <a:pt x="20677" y="107522"/>
                  </a:lnTo>
                  <a:cubicBezTo>
                    <a:pt x="20677" y="108158"/>
                    <a:pt x="20677" y="108794"/>
                    <a:pt x="21314" y="109112"/>
                  </a:cubicBezTo>
                  <a:lnTo>
                    <a:pt x="21314" y="113248"/>
                  </a:lnTo>
                  <a:cubicBezTo>
                    <a:pt x="20995" y="113884"/>
                    <a:pt x="20677" y="114520"/>
                    <a:pt x="20677" y="115156"/>
                  </a:cubicBezTo>
                  <a:cubicBezTo>
                    <a:pt x="20677" y="115475"/>
                    <a:pt x="20995" y="116111"/>
                    <a:pt x="21314" y="116429"/>
                  </a:cubicBezTo>
                  <a:lnTo>
                    <a:pt x="21314" y="117383"/>
                  </a:lnTo>
                  <a:cubicBezTo>
                    <a:pt x="21314" y="117701"/>
                    <a:pt x="21314" y="118019"/>
                    <a:pt x="21632" y="118019"/>
                  </a:cubicBezTo>
                  <a:cubicBezTo>
                    <a:pt x="23222" y="118656"/>
                    <a:pt x="22904" y="119928"/>
                    <a:pt x="23222" y="120882"/>
                  </a:cubicBezTo>
                  <a:lnTo>
                    <a:pt x="23222" y="122155"/>
                  </a:lnTo>
                  <a:cubicBezTo>
                    <a:pt x="23222" y="122473"/>
                    <a:pt x="22904" y="122791"/>
                    <a:pt x="22904" y="123109"/>
                  </a:cubicBezTo>
                  <a:cubicBezTo>
                    <a:pt x="22904" y="123745"/>
                    <a:pt x="23222" y="124064"/>
                    <a:pt x="24176" y="124700"/>
                  </a:cubicBezTo>
                  <a:cubicBezTo>
                    <a:pt x="24495" y="125654"/>
                    <a:pt x="24813" y="126927"/>
                    <a:pt x="25767" y="127881"/>
                  </a:cubicBezTo>
                  <a:cubicBezTo>
                    <a:pt x="26085" y="127881"/>
                    <a:pt x="26085" y="128199"/>
                    <a:pt x="26085" y="128199"/>
                  </a:cubicBezTo>
                  <a:cubicBezTo>
                    <a:pt x="26085" y="129472"/>
                    <a:pt x="26403" y="130108"/>
                    <a:pt x="27358" y="130744"/>
                  </a:cubicBezTo>
                  <a:lnTo>
                    <a:pt x="27358" y="131062"/>
                  </a:lnTo>
                  <a:cubicBezTo>
                    <a:pt x="27994" y="131698"/>
                    <a:pt x="28312" y="132335"/>
                    <a:pt x="28948" y="132653"/>
                  </a:cubicBezTo>
                  <a:lnTo>
                    <a:pt x="30221" y="134243"/>
                  </a:lnTo>
                  <a:cubicBezTo>
                    <a:pt x="31493" y="135516"/>
                    <a:pt x="32766" y="136152"/>
                    <a:pt x="34356" y="136152"/>
                  </a:cubicBezTo>
                  <a:cubicBezTo>
                    <a:pt x="34992" y="136152"/>
                    <a:pt x="35310" y="136152"/>
                    <a:pt x="35947" y="135834"/>
                  </a:cubicBezTo>
                  <a:cubicBezTo>
                    <a:pt x="36583" y="135516"/>
                    <a:pt x="36901" y="135516"/>
                    <a:pt x="37537" y="135516"/>
                  </a:cubicBezTo>
                  <a:cubicBezTo>
                    <a:pt x="40082" y="135516"/>
                    <a:pt x="42627" y="134561"/>
                    <a:pt x="45172" y="133607"/>
                  </a:cubicBezTo>
                  <a:cubicBezTo>
                    <a:pt x="47399" y="132653"/>
                    <a:pt x="49307" y="131698"/>
                    <a:pt x="50580" y="130426"/>
                  </a:cubicBezTo>
                  <a:cubicBezTo>
                    <a:pt x="51534" y="129790"/>
                    <a:pt x="53125" y="129472"/>
                    <a:pt x="54079" y="128835"/>
                  </a:cubicBezTo>
                  <a:cubicBezTo>
                    <a:pt x="55670" y="127245"/>
                    <a:pt x="57897" y="125972"/>
                    <a:pt x="59805" y="124382"/>
                  </a:cubicBezTo>
                  <a:cubicBezTo>
                    <a:pt x="61396" y="123427"/>
                    <a:pt x="62668" y="122155"/>
                    <a:pt x="64259" y="120882"/>
                  </a:cubicBezTo>
                  <a:cubicBezTo>
                    <a:pt x="65531" y="119928"/>
                    <a:pt x="66485" y="118656"/>
                    <a:pt x="67440" y="117383"/>
                  </a:cubicBezTo>
                  <a:cubicBezTo>
                    <a:pt x="69030" y="116429"/>
                    <a:pt x="70621" y="114838"/>
                    <a:pt x="71893" y="113566"/>
                  </a:cubicBezTo>
                  <a:cubicBezTo>
                    <a:pt x="72848" y="112930"/>
                    <a:pt x="73166" y="111975"/>
                    <a:pt x="74120" y="111339"/>
                  </a:cubicBezTo>
                  <a:cubicBezTo>
                    <a:pt x="74756" y="111021"/>
                    <a:pt x="75074" y="110385"/>
                    <a:pt x="75074" y="110385"/>
                  </a:cubicBezTo>
                  <a:cubicBezTo>
                    <a:pt x="75393" y="110067"/>
                    <a:pt x="75393" y="109749"/>
                    <a:pt x="75393" y="109430"/>
                  </a:cubicBezTo>
                  <a:cubicBezTo>
                    <a:pt x="76983" y="108794"/>
                    <a:pt x="77937" y="107522"/>
                    <a:pt x="78892" y="106886"/>
                  </a:cubicBezTo>
                  <a:cubicBezTo>
                    <a:pt x="79528" y="105931"/>
                    <a:pt x="80482" y="104659"/>
                    <a:pt x="81755" y="103704"/>
                  </a:cubicBezTo>
                  <a:cubicBezTo>
                    <a:pt x="83346" y="102114"/>
                    <a:pt x="84300" y="100205"/>
                    <a:pt x="85890" y="98615"/>
                  </a:cubicBezTo>
                  <a:lnTo>
                    <a:pt x="91934" y="91934"/>
                  </a:lnTo>
                  <a:cubicBezTo>
                    <a:pt x="91934" y="91934"/>
                    <a:pt x="92252" y="91934"/>
                    <a:pt x="92252" y="91616"/>
                  </a:cubicBezTo>
                  <a:cubicBezTo>
                    <a:pt x="93207" y="90980"/>
                    <a:pt x="93843" y="89708"/>
                    <a:pt x="95115" y="88435"/>
                  </a:cubicBezTo>
                  <a:cubicBezTo>
                    <a:pt x="96070" y="86845"/>
                    <a:pt x="97661" y="84936"/>
                    <a:pt x="98933" y="83663"/>
                  </a:cubicBezTo>
                  <a:cubicBezTo>
                    <a:pt x="99569" y="83027"/>
                    <a:pt x="100205" y="82391"/>
                    <a:pt x="100205" y="81437"/>
                  </a:cubicBezTo>
                  <a:cubicBezTo>
                    <a:pt x="101478" y="79528"/>
                    <a:pt x="103068" y="77937"/>
                    <a:pt x="104659" y="76347"/>
                  </a:cubicBezTo>
                  <a:lnTo>
                    <a:pt x="104341" y="76029"/>
                  </a:lnTo>
                  <a:cubicBezTo>
                    <a:pt x="105295" y="74120"/>
                    <a:pt x="106567" y="72529"/>
                    <a:pt x="108158" y="70303"/>
                  </a:cubicBezTo>
                  <a:cubicBezTo>
                    <a:pt x="108158" y="69985"/>
                    <a:pt x="108476" y="69666"/>
                    <a:pt x="108476" y="69030"/>
                  </a:cubicBezTo>
                  <a:cubicBezTo>
                    <a:pt x="108794" y="68076"/>
                    <a:pt x="110385" y="67758"/>
                    <a:pt x="110703" y="66803"/>
                  </a:cubicBezTo>
                  <a:cubicBezTo>
                    <a:pt x="110703" y="65531"/>
                    <a:pt x="111339" y="64895"/>
                    <a:pt x="111657" y="63940"/>
                  </a:cubicBezTo>
                  <a:cubicBezTo>
                    <a:pt x="111976" y="63940"/>
                    <a:pt x="111976" y="63940"/>
                    <a:pt x="111976" y="64259"/>
                  </a:cubicBezTo>
                  <a:lnTo>
                    <a:pt x="111976" y="64895"/>
                  </a:lnTo>
                  <a:lnTo>
                    <a:pt x="112294" y="64895"/>
                  </a:lnTo>
                  <a:cubicBezTo>
                    <a:pt x="112612" y="64577"/>
                    <a:pt x="112930" y="64259"/>
                    <a:pt x="112930" y="63940"/>
                  </a:cubicBezTo>
                  <a:lnTo>
                    <a:pt x="112930" y="63304"/>
                  </a:lnTo>
                  <a:cubicBezTo>
                    <a:pt x="112930" y="62668"/>
                    <a:pt x="113248" y="62032"/>
                    <a:pt x="113566" y="61396"/>
                  </a:cubicBezTo>
                  <a:cubicBezTo>
                    <a:pt x="113884" y="61396"/>
                    <a:pt x="113884" y="60759"/>
                    <a:pt x="113884" y="60441"/>
                  </a:cubicBezTo>
                  <a:cubicBezTo>
                    <a:pt x="114202" y="60123"/>
                    <a:pt x="114202" y="59169"/>
                    <a:pt x="114838" y="59169"/>
                  </a:cubicBezTo>
                  <a:cubicBezTo>
                    <a:pt x="115475" y="58533"/>
                    <a:pt x="115157" y="57578"/>
                    <a:pt x="115475" y="56624"/>
                  </a:cubicBezTo>
                  <a:cubicBezTo>
                    <a:pt x="115475" y="55988"/>
                    <a:pt x="115793" y="55351"/>
                    <a:pt x="116429" y="55351"/>
                  </a:cubicBezTo>
                  <a:cubicBezTo>
                    <a:pt x="117065" y="55351"/>
                    <a:pt x="117065" y="55033"/>
                    <a:pt x="117065" y="54715"/>
                  </a:cubicBezTo>
                  <a:lnTo>
                    <a:pt x="117065" y="53761"/>
                  </a:lnTo>
                  <a:cubicBezTo>
                    <a:pt x="117383" y="52170"/>
                    <a:pt x="117065" y="52488"/>
                    <a:pt x="118974" y="51852"/>
                  </a:cubicBezTo>
                  <a:lnTo>
                    <a:pt x="118974" y="51534"/>
                  </a:lnTo>
                  <a:cubicBezTo>
                    <a:pt x="119292" y="51216"/>
                    <a:pt x="119292" y="51216"/>
                    <a:pt x="119292" y="50898"/>
                  </a:cubicBezTo>
                  <a:lnTo>
                    <a:pt x="119292" y="50262"/>
                  </a:lnTo>
                  <a:cubicBezTo>
                    <a:pt x="119292" y="49625"/>
                    <a:pt x="119610" y="48989"/>
                    <a:pt x="120246" y="48989"/>
                  </a:cubicBezTo>
                  <a:lnTo>
                    <a:pt x="121519" y="47399"/>
                  </a:lnTo>
                  <a:lnTo>
                    <a:pt x="121837" y="47399"/>
                  </a:lnTo>
                  <a:cubicBezTo>
                    <a:pt x="121837" y="47399"/>
                    <a:pt x="122155" y="47399"/>
                    <a:pt x="122155" y="47717"/>
                  </a:cubicBezTo>
                  <a:cubicBezTo>
                    <a:pt x="122155" y="48035"/>
                    <a:pt x="122473" y="48353"/>
                    <a:pt x="122473" y="48671"/>
                  </a:cubicBezTo>
                  <a:cubicBezTo>
                    <a:pt x="122473" y="48671"/>
                    <a:pt x="122791" y="48989"/>
                    <a:pt x="123109" y="48989"/>
                  </a:cubicBezTo>
                  <a:cubicBezTo>
                    <a:pt x="123746" y="48989"/>
                    <a:pt x="124064" y="48989"/>
                    <a:pt x="124064" y="49307"/>
                  </a:cubicBezTo>
                  <a:cubicBezTo>
                    <a:pt x="124064" y="49307"/>
                    <a:pt x="123746" y="49307"/>
                    <a:pt x="123746" y="49625"/>
                  </a:cubicBezTo>
                  <a:cubicBezTo>
                    <a:pt x="123746" y="50898"/>
                    <a:pt x="123428" y="51852"/>
                    <a:pt x="123109" y="52488"/>
                  </a:cubicBezTo>
                  <a:cubicBezTo>
                    <a:pt x="122791" y="53125"/>
                    <a:pt x="122155" y="53443"/>
                    <a:pt x="121519" y="53443"/>
                  </a:cubicBezTo>
                  <a:lnTo>
                    <a:pt x="120882" y="53443"/>
                  </a:lnTo>
                  <a:cubicBezTo>
                    <a:pt x="120564" y="53443"/>
                    <a:pt x="120246" y="53761"/>
                    <a:pt x="119928" y="54079"/>
                  </a:cubicBezTo>
                  <a:cubicBezTo>
                    <a:pt x="119928" y="54715"/>
                    <a:pt x="120246" y="55670"/>
                    <a:pt x="120882" y="56306"/>
                  </a:cubicBezTo>
                  <a:cubicBezTo>
                    <a:pt x="121201" y="56306"/>
                    <a:pt x="121201" y="56942"/>
                    <a:pt x="121519" y="57260"/>
                  </a:cubicBezTo>
                  <a:cubicBezTo>
                    <a:pt x="121519" y="57578"/>
                    <a:pt x="121837" y="57896"/>
                    <a:pt x="121519" y="57896"/>
                  </a:cubicBezTo>
                  <a:cubicBezTo>
                    <a:pt x="121519" y="58214"/>
                    <a:pt x="121201" y="58533"/>
                    <a:pt x="121519" y="58533"/>
                  </a:cubicBezTo>
                  <a:lnTo>
                    <a:pt x="121519" y="59169"/>
                  </a:lnTo>
                  <a:cubicBezTo>
                    <a:pt x="121519" y="59805"/>
                    <a:pt x="121201" y="60759"/>
                    <a:pt x="120882" y="61396"/>
                  </a:cubicBezTo>
                  <a:cubicBezTo>
                    <a:pt x="120882" y="61714"/>
                    <a:pt x="120882" y="62350"/>
                    <a:pt x="120564" y="62668"/>
                  </a:cubicBezTo>
                  <a:lnTo>
                    <a:pt x="120246" y="62668"/>
                  </a:lnTo>
                  <a:lnTo>
                    <a:pt x="120246" y="60759"/>
                  </a:lnTo>
                  <a:lnTo>
                    <a:pt x="119928" y="60759"/>
                  </a:lnTo>
                  <a:cubicBezTo>
                    <a:pt x="119292" y="60123"/>
                    <a:pt x="119610" y="59169"/>
                    <a:pt x="119292" y="58533"/>
                  </a:cubicBezTo>
                  <a:cubicBezTo>
                    <a:pt x="119292" y="58214"/>
                    <a:pt x="119610" y="57896"/>
                    <a:pt x="119610" y="57896"/>
                  </a:cubicBezTo>
                  <a:cubicBezTo>
                    <a:pt x="119610" y="57896"/>
                    <a:pt x="119292" y="57896"/>
                    <a:pt x="118974" y="57578"/>
                  </a:cubicBezTo>
                  <a:cubicBezTo>
                    <a:pt x="118656" y="57578"/>
                    <a:pt x="118656" y="57896"/>
                    <a:pt x="118656" y="57896"/>
                  </a:cubicBezTo>
                  <a:cubicBezTo>
                    <a:pt x="118338" y="58851"/>
                    <a:pt x="117701" y="59805"/>
                    <a:pt x="117065" y="60759"/>
                  </a:cubicBezTo>
                  <a:lnTo>
                    <a:pt x="116429" y="62350"/>
                  </a:lnTo>
                  <a:cubicBezTo>
                    <a:pt x="116111" y="62350"/>
                    <a:pt x="115793" y="62668"/>
                    <a:pt x="115475" y="62986"/>
                  </a:cubicBezTo>
                  <a:cubicBezTo>
                    <a:pt x="114838" y="62986"/>
                    <a:pt x="114520" y="63304"/>
                    <a:pt x="114520" y="63940"/>
                  </a:cubicBezTo>
                  <a:lnTo>
                    <a:pt x="114520" y="64259"/>
                  </a:lnTo>
                  <a:cubicBezTo>
                    <a:pt x="114520" y="64577"/>
                    <a:pt x="114202" y="64895"/>
                    <a:pt x="114202" y="65213"/>
                  </a:cubicBezTo>
                  <a:cubicBezTo>
                    <a:pt x="114202" y="66803"/>
                    <a:pt x="113566" y="67758"/>
                    <a:pt x="113248" y="69030"/>
                  </a:cubicBezTo>
                  <a:cubicBezTo>
                    <a:pt x="112930" y="69030"/>
                    <a:pt x="113248" y="69348"/>
                    <a:pt x="113248" y="69348"/>
                  </a:cubicBezTo>
                  <a:lnTo>
                    <a:pt x="113884" y="69348"/>
                  </a:lnTo>
                  <a:cubicBezTo>
                    <a:pt x="114202" y="69030"/>
                    <a:pt x="114838" y="68712"/>
                    <a:pt x="114838" y="68076"/>
                  </a:cubicBezTo>
                  <a:cubicBezTo>
                    <a:pt x="115157" y="67440"/>
                    <a:pt x="115475" y="66803"/>
                    <a:pt x="116111" y="66803"/>
                  </a:cubicBezTo>
                  <a:cubicBezTo>
                    <a:pt x="116747" y="66803"/>
                    <a:pt x="117383" y="66803"/>
                    <a:pt x="117701" y="66167"/>
                  </a:cubicBezTo>
                  <a:cubicBezTo>
                    <a:pt x="118019" y="65849"/>
                    <a:pt x="118019" y="66167"/>
                    <a:pt x="118019" y="66167"/>
                  </a:cubicBezTo>
                  <a:cubicBezTo>
                    <a:pt x="118019" y="67122"/>
                    <a:pt x="118019" y="68076"/>
                    <a:pt x="117383" y="68712"/>
                  </a:cubicBezTo>
                  <a:cubicBezTo>
                    <a:pt x="117065" y="69030"/>
                    <a:pt x="116429" y="69348"/>
                    <a:pt x="116429" y="69666"/>
                  </a:cubicBezTo>
                  <a:lnTo>
                    <a:pt x="117383" y="70939"/>
                  </a:lnTo>
                  <a:cubicBezTo>
                    <a:pt x="118019" y="71257"/>
                    <a:pt x="118019" y="71257"/>
                    <a:pt x="118338" y="71257"/>
                  </a:cubicBezTo>
                  <a:cubicBezTo>
                    <a:pt x="118656" y="71575"/>
                    <a:pt x="118656" y="72211"/>
                    <a:pt x="118656" y="72529"/>
                  </a:cubicBezTo>
                  <a:lnTo>
                    <a:pt x="118656" y="73484"/>
                  </a:lnTo>
                  <a:cubicBezTo>
                    <a:pt x="118656" y="73484"/>
                    <a:pt x="118656" y="74120"/>
                    <a:pt x="118974" y="74120"/>
                  </a:cubicBezTo>
                  <a:lnTo>
                    <a:pt x="120882" y="74120"/>
                  </a:lnTo>
                  <a:cubicBezTo>
                    <a:pt x="121837" y="74120"/>
                    <a:pt x="121837" y="74438"/>
                    <a:pt x="121837" y="74756"/>
                  </a:cubicBezTo>
                  <a:close/>
                  <a:moveTo>
                    <a:pt x="1591" y="118656"/>
                  </a:moveTo>
                  <a:lnTo>
                    <a:pt x="1591" y="118974"/>
                  </a:lnTo>
                  <a:lnTo>
                    <a:pt x="1909" y="119292"/>
                  </a:lnTo>
                  <a:lnTo>
                    <a:pt x="2227" y="119292"/>
                  </a:lnTo>
                  <a:cubicBezTo>
                    <a:pt x="2227" y="118974"/>
                    <a:pt x="1909" y="118656"/>
                    <a:pt x="1591" y="118656"/>
                  </a:cubicBezTo>
                  <a:close/>
                  <a:moveTo>
                    <a:pt x="20677" y="46762"/>
                  </a:moveTo>
                  <a:cubicBezTo>
                    <a:pt x="21314" y="46126"/>
                    <a:pt x="21314" y="45490"/>
                    <a:pt x="21314" y="44854"/>
                  </a:cubicBezTo>
                  <a:lnTo>
                    <a:pt x="21314" y="43899"/>
                  </a:lnTo>
                  <a:cubicBezTo>
                    <a:pt x="21632" y="42945"/>
                    <a:pt x="22268" y="42627"/>
                    <a:pt x="22904" y="41673"/>
                  </a:cubicBezTo>
                  <a:cubicBezTo>
                    <a:pt x="23222" y="40718"/>
                    <a:pt x="23858" y="40082"/>
                    <a:pt x="23858" y="39128"/>
                  </a:cubicBezTo>
                  <a:lnTo>
                    <a:pt x="24176" y="38810"/>
                  </a:lnTo>
                  <a:lnTo>
                    <a:pt x="25131" y="37537"/>
                  </a:lnTo>
                  <a:cubicBezTo>
                    <a:pt x="25449" y="35629"/>
                    <a:pt x="26403" y="33720"/>
                    <a:pt x="27040" y="31811"/>
                  </a:cubicBezTo>
                  <a:cubicBezTo>
                    <a:pt x="27040" y="31493"/>
                    <a:pt x="26721" y="31493"/>
                    <a:pt x="26721" y="31493"/>
                  </a:cubicBezTo>
                  <a:lnTo>
                    <a:pt x="26721" y="31175"/>
                  </a:lnTo>
                  <a:cubicBezTo>
                    <a:pt x="26085" y="31493"/>
                    <a:pt x="25767" y="31811"/>
                    <a:pt x="25767" y="32129"/>
                  </a:cubicBezTo>
                  <a:cubicBezTo>
                    <a:pt x="25449" y="32766"/>
                    <a:pt x="25131" y="33402"/>
                    <a:pt x="25131" y="34038"/>
                  </a:cubicBezTo>
                  <a:cubicBezTo>
                    <a:pt x="24495" y="34674"/>
                    <a:pt x="23858" y="35947"/>
                    <a:pt x="23858" y="36901"/>
                  </a:cubicBezTo>
                  <a:cubicBezTo>
                    <a:pt x="23222" y="37855"/>
                    <a:pt x="22904" y="38492"/>
                    <a:pt x="21950" y="39446"/>
                  </a:cubicBezTo>
                  <a:cubicBezTo>
                    <a:pt x="21950" y="40400"/>
                    <a:pt x="21632" y="41355"/>
                    <a:pt x="20677" y="42309"/>
                  </a:cubicBezTo>
                  <a:cubicBezTo>
                    <a:pt x="20677" y="42627"/>
                    <a:pt x="20995" y="42627"/>
                    <a:pt x="20995" y="42945"/>
                  </a:cubicBezTo>
                  <a:cubicBezTo>
                    <a:pt x="20995" y="43581"/>
                    <a:pt x="20041" y="44218"/>
                    <a:pt x="19723" y="44854"/>
                  </a:cubicBezTo>
                  <a:cubicBezTo>
                    <a:pt x="19723" y="46126"/>
                    <a:pt x="19087" y="47399"/>
                    <a:pt x="18451" y="48989"/>
                  </a:cubicBezTo>
                  <a:cubicBezTo>
                    <a:pt x="18133" y="50262"/>
                    <a:pt x="17814" y="51216"/>
                    <a:pt x="17814" y="52170"/>
                  </a:cubicBezTo>
                  <a:lnTo>
                    <a:pt x="17496" y="52488"/>
                  </a:lnTo>
                  <a:cubicBezTo>
                    <a:pt x="17496" y="52488"/>
                    <a:pt x="17496" y="52807"/>
                    <a:pt x="17814" y="52807"/>
                  </a:cubicBezTo>
                  <a:lnTo>
                    <a:pt x="18133" y="52488"/>
                  </a:lnTo>
                  <a:cubicBezTo>
                    <a:pt x="18451" y="52170"/>
                    <a:pt x="18451" y="52170"/>
                    <a:pt x="18451" y="51852"/>
                  </a:cubicBezTo>
                  <a:lnTo>
                    <a:pt x="18451" y="51216"/>
                  </a:lnTo>
                  <a:cubicBezTo>
                    <a:pt x="18451" y="50580"/>
                    <a:pt x="18769" y="49944"/>
                    <a:pt x="19087" y="49625"/>
                  </a:cubicBezTo>
                  <a:cubicBezTo>
                    <a:pt x="19723" y="48671"/>
                    <a:pt x="20359" y="47717"/>
                    <a:pt x="20677" y="46762"/>
                  </a:cubicBezTo>
                  <a:close/>
                  <a:moveTo>
                    <a:pt x="30221" y="54079"/>
                  </a:moveTo>
                  <a:cubicBezTo>
                    <a:pt x="29903" y="54397"/>
                    <a:pt x="29585" y="55033"/>
                    <a:pt x="29585" y="55988"/>
                  </a:cubicBezTo>
                  <a:lnTo>
                    <a:pt x="29585" y="57260"/>
                  </a:lnTo>
                  <a:cubicBezTo>
                    <a:pt x="31175" y="57896"/>
                    <a:pt x="32129" y="58851"/>
                    <a:pt x="32766" y="60123"/>
                  </a:cubicBezTo>
                  <a:lnTo>
                    <a:pt x="33720" y="60123"/>
                  </a:lnTo>
                  <a:cubicBezTo>
                    <a:pt x="34038" y="60123"/>
                    <a:pt x="34038" y="59805"/>
                    <a:pt x="34356" y="59487"/>
                  </a:cubicBezTo>
                  <a:cubicBezTo>
                    <a:pt x="34992" y="58533"/>
                    <a:pt x="35629" y="57578"/>
                    <a:pt x="36901" y="56624"/>
                  </a:cubicBezTo>
                  <a:cubicBezTo>
                    <a:pt x="38173" y="55351"/>
                    <a:pt x="39128" y="54079"/>
                    <a:pt x="40400" y="52170"/>
                  </a:cubicBezTo>
                  <a:cubicBezTo>
                    <a:pt x="40718" y="51852"/>
                    <a:pt x="40718" y="51216"/>
                    <a:pt x="41355" y="50898"/>
                  </a:cubicBezTo>
                  <a:lnTo>
                    <a:pt x="42945" y="48671"/>
                  </a:lnTo>
                  <a:cubicBezTo>
                    <a:pt x="43582" y="47717"/>
                    <a:pt x="43900" y="46762"/>
                    <a:pt x="44536" y="46126"/>
                  </a:cubicBezTo>
                  <a:cubicBezTo>
                    <a:pt x="44536" y="45490"/>
                    <a:pt x="44854" y="44854"/>
                    <a:pt x="45172" y="44218"/>
                  </a:cubicBezTo>
                  <a:cubicBezTo>
                    <a:pt x="45808" y="43263"/>
                    <a:pt x="46444" y="42309"/>
                    <a:pt x="47399" y="41355"/>
                  </a:cubicBezTo>
                  <a:cubicBezTo>
                    <a:pt x="48353" y="40718"/>
                    <a:pt x="48353" y="39128"/>
                    <a:pt x="48989" y="38173"/>
                  </a:cubicBezTo>
                  <a:cubicBezTo>
                    <a:pt x="49307" y="37219"/>
                    <a:pt x="49307" y="36265"/>
                    <a:pt x="49307" y="35629"/>
                  </a:cubicBezTo>
                  <a:cubicBezTo>
                    <a:pt x="50580" y="34674"/>
                    <a:pt x="50580" y="33720"/>
                    <a:pt x="50580" y="32766"/>
                  </a:cubicBezTo>
                  <a:cubicBezTo>
                    <a:pt x="50898" y="31811"/>
                    <a:pt x="51216" y="30857"/>
                    <a:pt x="51852" y="29903"/>
                  </a:cubicBezTo>
                  <a:cubicBezTo>
                    <a:pt x="52170" y="29266"/>
                    <a:pt x="52806" y="28312"/>
                    <a:pt x="52806" y="27358"/>
                  </a:cubicBezTo>
                  <a:cubicBezTo>
                    <a:pt x="52806" y="27040"/>
                    <a:pt x="52806" y="26721"/>
                    <a:pt x="52488" y="26403"/>
                  </a:cubicBezTo>
                  <a:lnTo>
                    <a:pt x="52488" y="25767"/>
                  </a:lnTo>
                  <a:cubicBezTo>
                    <a:pt x="52488" y="25131"/>
                    <a:pt x="52488" y="25131"/>
                    <a:pt x="53125" y="25131"/>
                  </a:cubicBezTo>
                  <a:lnTo>
                    <a:pt x="53761" y="25131"/>
                  </a:lnTo>
                  <a:cubicBezTo>
                    <a:pt x="53761" y="24813"/>
                    <a:pt x="54079" y="24495"/>
                    <a:pt x="54079" y="24495"/>
                  </a:cubicBezTo>
                  <a:cubicBezTo>
                    <a:pt x="54079" y="24495"/>
                    <a:pt x="53761" y="24495"/>
                    <a:pt x="53761" y="24176"/>
                  </a:cubicBezTo>
                  <a:lnTo>
                    <a:pt x="53761" y="23858"/>
                  </a:lnTo>
                  <a:cubicBezTo>
                    <a:pt x="53761" y="23540"/>
                    <a:pt x="53761" y="23540"/>
                    <a:pt x="53443" y="23540"/>
                  </a:cubicBezTo>
                  <a:cubicBezTo>
                    <a:pt x="53125" y="23540"/>
                    <a:pt x="53125" y="23222"/>
                    <a:pt x="53125" y="22904"/>
                  </a:cubicBezTo>
                  <a:cubicBezTo>
                    <a:pt x="53125" y="22586"/>
                    <a:pt x="53125" y="22586"/>
                    <a:pt x="53443" y="22268"/>
                  </a:cubicBezTo>
                  <a:cubicBezTo>
                    <a:pt x="53761" y="21950"/>
                    <a:pt x="53761" y="21632"/>
                    <a:pt x="53761" y="21632"/>
                  </a:cubicBezTo>
                  <a:lnTo>
                    <a:pt x="53125" y="21313"/>
                  </a:lnTo>
                  <a:cubicBezTo>
                    <a:pt x="53125" y="20995"/>
                    <a:pt x="52806" y="20677"/>
                    <a:pt x="53125" y="20677"/>
                  </a:cubicBezTo>
                  <a:cubicBezTo>
                    <a:pt x="53761" y="20041"/>
                    <a:pt x="53761" y="19723"/>
                    <a:pt x="53761" y="19405"/>
                  </a:cubicBezTo>
                  <a:cubicBezTo>
                    <a:pt x="53761" y="19087"/>
                    <a:pt x="53761" y="18450"/>
                    <a:pt x="53443" y="18132"/>
                  </a:cubicBezTo>
                  <a:cubicBezTo>
                    <a:pt x="53125" y="17178"/>
                    <a:pt x="53443" y="16542"/>
                    <a:pt x="52806" y="15587"/>
                  </a:cubicBezTo>
                  <a:lnTo>
                    <a:pt x="52806" y="15269"/>
                  </a:lnTo>
                  <a:cubicBezTo>
                    <a:pt x="52806" y="14951"/>
                    <a:pt x="52806" y="14951"/>
                    <a:pt x="53125" y="14951"/>
                  </a:cubicBezTo>
                  <a:cubicBezTo>
                    <a:pt x="53125" y="14633"/>
                    <a:pt x="53125" y="14633"/>
                    <a:pt x="53443" y="14633"/>
                  </a:cubicBezTo>
                  <a:cubicBezTo>
                    <a:pt x="53443" y="14633"/>
                    <a:pt x="53443" y="14315"/>
                    <a:pt x="53761" y="13997"/>
                  </a:cubicBezTo>
                  <a:lnTo>
                    <a:pt x="51852" y="13997"/>
                  </a:lnTo>
                  <a:cubicBezTo>
                    <a:pt x="50898" y="15269"/>
                    <a:pt x="49944" y="16224"/>
                    <a:pt x="48989" y="17814"/>
                  </a:cubicBezTo>
                  <a:cubicBezTo>
                    <a:pt x="48671" y="17814"/>
                    <a:pt x="48671" y="18132"/>
                    <a:pt x="48671" y="18132"/>
                  </a:cubicBezTo>
                  <a:lnTo>
                    <a:pt x="48671" y="18450"/>
                  </a:lnTo>
                  <a:cubicBezTo>
                    <a:pt x="47081" y="20041"/>
                    <a:pt x="45490" y="21313"/>
                    <a:pt x="44854" y="23222"/>
                  </a:cubicBezTo>
                  <a:lnTo>
                    <a:pt x="44536" y="23540"/>
                  </a:lnTo>
                  <a:cubicBezTo>
                    <a:pt x="43582" y="24495"/>
                    <a:pt x="42627" y="25131"/>
                    <a:pt x="41991" y="26403"/>
                  </a:cubicBezTo>
                  <a:cubicBezTo>
                    <a:pt x="41673" y="26721"/>
                    <a:pt x="41355" y="27040"/>
                    <a:pt x="41355" y="27676"/>
                  </a:cubicBezTo>
                  <a:lnTo>
                    <a:pt x="41355" y="27994"/>
                  </a:lnTo>
                  <a:cubicBezTo>
                    <a:pt x="41036" y="28948"/>
                    <a:pt x="40400" y="29266"/>
                    <a:pt x="40082" y="29903"/>
                  </a:cubicBezTo>
                  <a:cubicBezTo>
                    <a:pt x="40082" y="30539"/>
                    <a:pt x="39446" y="31175"/>
                    <a:pt x="38810" y="31811"/>
                  </a:cubicBezTo>
                  <a:cubicBezTo>
                    <a:pt x="38491" y="31811"/>
                    <a:pt x="38173" y="32447"/>
                    <a:pt x="38173" y="32447"/>
                  </a:cubicBezTo>
                  <a:cubicBezTo>
                    <a:pt x="38173" y="33402"/>
                    <a:pt x="38491" y="34038"/>
                    <a:pt x="38491" y="34356"/>
                  </a:cubicBezTo>
                  <a:cubicBezTo>
                    <a:pt x="37855" y="34992"/>
                    <a:pt x="37219" y="35629"/>
                    <a:pt x="37219" y="36265"/>
                  </a:cubicBezTo>
                  <a:lnTo>
                    <a:pt x="37219" y="37219"/>
                  </a:lnTo>
                  <a:cubicBezTo>
                    <a:pt x="36583" y="37855"/>
                    <a:pt x="36265" y="37855"/>
                    <a:pt x="36265" y="38173"/>
                  </a:cubicBezTo>
                  <a:cubicBezTo>
                    <a:pt x="35629" y="38810"/>
                    <a:pt x="34992" y="39764"/>
                    <a:pt x="34992" y="40718"/>
                  </a:cubicBezTo>
                  <a:lnTo>
                    <a:pt x="34992" y="41355"/>
                  </a:lnTo>
                  <a:cubicBezTo>
                    <a:pt x="34992" y="41991"/>
                    <a:pt x="34356" y="42309"/>
                    <a:pt x="34038" y="42627"/>
                  </a:cubicBezTo>
                  <a:lnTo>
                    <a:pt x="32766" y="43899"/>
                  </a:lnTo>
                  <a:lnTo>
                    <a:pt x="32766" y="44218"/>
                  </a:lnTo>
                  <a:cubicBezTo>
                    <a:pt x="32766" y="46126"/>
                    <a:pt x="31493" y="48989"/>
                    <a:pt x="30539" y="51216"/>
                  </a:cubicBezTo>
                  <a:lnTo>
                    <a:pt x="30539" y="53125"/>
                  </a:lnTo>
                  <a:cubicBezTo>
                    <a:pt x="30539" y="53443"/>
                    <a:pt x="30539" y="53761"/>
                    <a:pt x="30221" y="54079"/>
                  </a:cubicBezTo>
                  <a:close/>
                  <a:moveTo>
                    <a:pt x="62032" y="30221"/>
                  </a:moveTo>
                  <a:cubicBezTo>
                    <a:pt x="62350" y="30221"/>
                    <a:pt x="62668" y="30221"/>
                    <a:pt x="62668" y="29903"/>
                  </a:cubicBezTo>
                  <a:cubicBezTo>
                    <a:pt x="62986" y="29584"/>
                    <a:pt x="62986" y="29266"/>
                    <a:pt x="62986" y="28948"/>
                  </a:cubicBezTo>
                  <a:lnTo>
                    <a:pt x="62986" y="28630"/>
                  </a:lnTo>
                  <a:lnTo>
                    <a:pt x="62668" y="28312"/>
                  </a:lnTo>
                  <a:lnTo>
                    <a:pt x="62350" y="28312"/>
                  </a:lnTo>
                  <a:cubicBezTo>
                    <a:pt x="62350" y="28630"/>
                    <a:pt x="61714" y="28948"/>
                    <a:pt x="61714" y="29266"/>
                  </a:cubicBezTo>
                  <a:cubicBezTo>
                    <a:pt x="61714" y="29584"/>
                    <a:pt x="61714" y="29903"/>
                    <a:pt x="62032" y="30221"/>
                  </a:cubicBezTo>
                  <a:close/>
                  <a:moveTo>
                    <a:pt x="62032" y="13997"/>
                  </a:moveTo>
                  <a:cubicBezTo>
                    <a:pt x="62032" y="14315"/>
                    <a:pt x="62032" y="14633"/>
                    <a:pt x="62350" y="14633"/>
                  </a:cubicBezTo>
                  <a:cubicBezTo>
                    <a:pt x="62350" y="14951"/>
                    <a:pt x="62668" y="15269"/>
                    <a:pt x="62986" y="15269"/>
                  </a:cubicBezTo>
                  <a:cubicBezTo>
                    <a:pt x="63304" y="15269"/>
                    <a:pt x="63622" y="14633"/>
                    <a:pt x="63622" y="14633"/>
                  </a:cubicBezTo>
                  <a:lnTo>
                    <a:pt x="62668" y="13361"/>
                  </a:lnTo>
                  <a:lnTo>
                    <a:pt x="62350" y="13361"/>
                  </a:lnTo>
                  <a:cubicBezTo>
                    <a:pt x="62032" y="13361"/>
                    <a:pt x="62032" y="13997"/>
                    <a:pt x="62032" y="13997"/>
                  </a:cubicBezTo>
                  <a:close/>
                  <a:moveTo>
                    <a:pt x="63940" y="16542"/>
                  </a:moveTo>
                  <a:cubicBezTo>
                    <a:pt x="63304" y="16542"/>
                    <a:pt x="62986" y="16542"/>
                    <a:pt x="62668" y="16860"/>
                  </a:cubicBezTo>
                  <a:lnTo>
                    <a:pt x="62668" y="18450"/>
                  </a:lnTo>
                  <a:cubicBezTo>
                    <a:pt x="62668" y="19087"/>
                    <a:pt x="62668" y="19723"/>
                    <a:pt x="62986" y="20041"/>
                  </a:cubicBezTo>
                  <a:cubicBezTo>
                    <a:pt x="62986" y="20359"/>
                    <a:pt x="62668" y="20995"/>
                    <a:pt x="62350" y="21313"/>
                  </a:cubicBezTo>
                  <a:cubicBezTo>
                    <a:pt x="62350" y="21950"/>
                    <a:pt x="62350" y="22586"/>
                    <a:pt x="62986" y="23540"/>
                  </a:cubicBezTo>
                  <a:cubicBezTo>
                    <a:pt x="62986" y="23540"/>
                    <a:pt x="62668" y="24176"/>
                    <a:pt x="62350" y="24495"/>
                  </a:cubicBezTo>
                  <a:lnTo>
                    <a:pt x="62350" y="25131"/>
                  </a:lnTo>
                  <a:cubicBezTo>
                    <a:pt x="62350" y="25449"/>
                    <a:pt x="62350" y="25449"/>
                    <a:pt x="62668" y="25449"/>
                  </a:cubicBezTo>
                  <a:cubicBezTo>
                    <a:pt x="62668" y="25449"/>
                    <a:pt x="62986" y="25449"/>
                    <a:pt x="63304" y="25131"/>
                  </a:cubicBezTo>
                  <a:cubicBezTo>
                    <a:pt x="63622" y="25131"/>
                    <a:pt x="64259" y="25131"/>
                    <a:pt x="64577" y="24813"/>
                  </a:cubicBezTo>
                  <a:cubicBezTo>
                    <a:pt x="66167" y="24495"/>
                    <a:pt x="66803" y="23540"/>
                    <a:pt x="66803" y="21950"/>
                  </a:cubicBezTo>
                  <a:lnTo>
                    <a:pt x="66803" y="20677"/>
                  </a:lnTo>
                  <a:cubicBezTo>
                    <a:pt x="66803" y="20359"/>
                    <a:pt x="66485" y="20041"/>
                    <a:pt x="66167" y="19723"/>
                  </a:cubicBezTo>
                  <a:cubicBezTo>
                    <a:pt x="65849" y="19087"/>
                    <a:pt x="65213" y="19087"/>
                    <a:pt x="64895" y="18450"/>
                  </a:cubicBezTo>
                  <a:cubicBezTo>
                    <a:pt x="64259" y="18132"/>
                    <a:pt x="64577" y="17496"/>
                    <a:pt x="64259" y="16860"/>
                  </a:cubicBezTo>
                  <a:cubicBezTo>
                    <a:pt x="64577" y="16542"/>
                    <a:pt x="63940" y="16542"/>
                    <a:pt x="63940" y="16542"/>
                  </a:cubicBezTo>
                  <a:close/>
                  <a:moveTo>
                    <a:pt x="65213" y="17814"/>
                  </a:moveTo>
                  <a:cubicBezTo>
                    <a:pt x="65531" y="17814"/>
                    <a:pt x="65531" y="18132"/>
                    <a:pt x="65849" y="18132"/>
                  </a:cubicBezTo>
                  <a:lnTo>
                    <a:pt x="66167" y="18132"/>
                  </a:lnTo>
                  <a:lnTo>
                    <a:pt x="66167" y="17496"/>
                  </a:lnTo>
                  <a:cubicBezTo>
                    <a:pt x="66167" y="17178"/>
                    <a:pt x="65849" y="16860"/>
                    <a:pt x="65849" y="16860"/>
                  </a:cubicBezTo>
                  <a:lnTo>
                    <a:pt x="65531" y="17178"/>
                  </a:lnTo>
                  <a:cubicBezTo>
                    <a:pt x="65213" y="17496"/>
                    <a:pt x="65213" y="17814"/>
                    <a:pt x="65213" y="17814"/>
                  </a:cubicBezTo>
                  <a:close/>
                  <a:moveTo>
                    <a:pt x="66485" y="26721"/>
                  </a:moveTo>
                  <a:lnTo>
                    <a:pt x="66485" y="27040"/>
                  </a:lnTo>
                  <a:lnTo>
                    <a:pt x="67122" y="29584"/>
                  </a:lnTo>
                  <a:lnTo>
                    <a:pt x="67758" y="29584"/>
                  </a:lnTo>
                  <a:cubicBezTo>
                    <a:pt x="68076" y="28948"/>
                    <a:pt x="68394" y="28312"/>
                    <a:pt x="69030" y="27994"/>
                  </a:cubicBezTo>
                  <a:lnTo>
                    <a:pt x="68712" y="27358"/>
                  </a:lnTo>
                  <a:cubicBezTo>
                    <a:pt x="68394" y="27358"/>
                    <a:pt x="68394" y="27040"/>
                    <a:pt x="68394" y="26721"/>
                  </a:cubicBezTo>
                  <a:cubicBezTo>
                    <a:pt x="68394" y="26403"/>
                    <a:pt x="68394" y="26403"/>
                    <a:pt x="68712" y="26085"/>
                  </a:cubicBezTo>
                  <a:lnTo>
                    <a:pt x="68712" y="25767"/>
                  </a:lnTo>
                  <a:cubicBezTo>
                    <a:pt x="68394" y="25449"/>
                    <a:pt x="68076" y="25449"/>
                    <a:pt x="67758" y="25449"/>
                  </a:cubicBezTo>
                  <a:cubicBezTo>
                    <a:pt x="67122" y="25767"/>
                    <a:pt x="67122" y="26403"/>
                    <a:pt x="66485" y="26721"/>
                  </a:cubicBezTo>
                  <a:close/>
                  <a:moveTo>
                    <a:pt x="67758" y="22904"/>
                  </a:moveTo>
                  <a:lnTo>
                    <a:pt x="67758" y="24176"/>
                  </a:lnTo>
                  <a:cubicBezTo>
                    <a:pt x="67758" y="24495"/>
                    <a:pt x="68076" y="24495"/>
                    <a:pt x="68076" y="24495"/>
                  </a:cubicBezTo>
                  <a:cubicBezTo>
                    <a:pt x="69030" y="23858"/>
                    <a:pt x="69030" y="23540"/>
                    <a:pt x="69667" y="22904"/>
                  </a:cubicBezTo>
                  <a:lnTo>
                    <a:pt x="69667" y="22586"/>
                  </a:lnTo>
                  <a:cubicBezTo>
                    <a:pt x="69349" y="22268"/>
                    <a:pt x="69030" y="21632"/>
                    <a:pt x="68394" y="21313"/>
                  </a:cubicBezTo>
                  <a:lnTo>
                    <a:pt x="68076" y="21313"/>
                  </a:lnTo>
                  <a:cubicBezTo>
                    <a:pt x="68076" y="21950"/>
                    <a:pt x="67758" y="22586"/>
                    <a:pt x="67758" y="22904"/>
                  </a:cubicBezTo>
                  <a:close/>
                  <a:moveTo>
                    <a:pt x="82073" y="120882"/>
                  </a:moveTo>
                  <a:cubicBezTo>
                    <a:pt x="81755" y="120564"/>
                    <a:pt x="81755" y="120564"/>
                    <a:pt x="81755" y="120246"/>
                  </a:cubicBezTo>
                  <a:lnTo>
                    <a:pt x="81119" y="120246"/>
                  </a:lnTo>
                  <a:cubicBezTo>
                    <a:pt x="81119" y="120246"/>
                    <a:pt x="80800" y="120564"/>
                    <a:pt x="80800" y="120882"/>
                  </a:cubicBezTo>
                  <a:cubicBezTo>
                    <a:pt x="80800" y="120882"/>
                    <a:pt x="80800" y="121201"/>
                    <a:pt x="81437" y="121201"/>
                  </a:cubicBezTo>
                  <a:lnTo>
                    <a:pt x="81755" y="121201"/>
                  </a:lnTo>
                  <a:cubicBezTo>
                    <a:pt x="81755" y="120882"/>
                    <a:pt x="82073" y="120882"/>
                    <a:pt x="82073" y="120882"/>
                  </a:cubicBezTo>
                  <a:close/>
                  <a:moveTo>
                    <a:pt x="89071" y="119292"/>
                  </a:moveTo>
                  <a:cubicBezTo>
                    <a:pt x="89071" y="119292"/>
                    <a:pt x="89071" y="119610"/>
                    <a:pt x="88753" y="119610"/>
                  </a:cubicBezTo>
                  <a:cubicBezTo>
                    <a:pt x="88753" y="119610"/>
                    <a:pt x="88435" y="119610"/>
                    <a:pt x="88435" y="119292"/>
                  </a:cubicBezTo>
                  <a:cubicBezTo>
                    <a:pt x="88435" y="119292"/>
                    <a:pt x="88753" y="119292"/>
                    <a:pt x="88753" y="118974"/>
                  </a:cubicBezTo>
                  <a:cubicBezTo>
                    <a:pt x="89071" y="118974"/>
                    <a:pt x="89071" y="119292"/>
                    <a:pt x="89071" y="119292"/>
                  </a:cubicBezTo>
                  <a:close/>
                  <a:moveTo>
                    <a:pt x="106567" y="100841"/>
                  </a:moveTo>
                  <a:lnTo>
                    <a:pt x="104977" y="102432"/>
                  </a:lnTo>
                  <a:cubicBezTo>
                    <a:pt x="104659" y="102750"/>
                    <a:pt x="104659" y="103068"/>
                    <a:pt x="104341" y="103068"/>
                  </a:cubicBezTo>
                  <a:cubicBezTo>
                    <a:pt x="104023" y="103068"/>
                    <a:pt x="104023" y="102750"/>
                    <a:pt x="104023" y="102432"/>
                  </a:cubicBezTo>
                  <a:cubicBezTo>
                    <a:pt x="104023" y="101796"/>
                    <a:pt x="103704" y="101478"/>
                    <a:pt x="103068" y="101478"/>
                  </a:cubicBezTo>
                  <a:cubicBezTo>
                    <a:pt x="102750" y="101478"/>
                    <a:pt x="102432" y="101478"/>
                    <a:pt x="102432" y="100841"/>
                  </a:cubicBezTo>
                  <a:lnTo>
                    <a:pt x="102432" y="100205"/>
                  </a:lnTo>
                  <a:cubicBezTo>
                    <a:pt x="102750" y="99887"/>
                    <a:pt x="103386" y="99887"/>
                    <a:pt x="104023" y="99251"/>
                  </a:cubicBezTo>
                  <a:cubicBezTo>
                    <a:pt x="104023" y="99251"/>
                    <a:pt x="104341" y="99251"/>
                    <a:pt x="104341" y="99569"/>
                  </a:cubicBezTo>
                  <a:cubicBezTo>
                    <a:pt x="104977" y="100205"/>
                    <a:pt x="105295" y="100205"/>
                    <a:pt x="105931" y="100205"/>
                  </a:cubicBezTo>
                  <a:cubicBezTo>
                    <a:pt x="106249" y="100523"/>
                    <a:pt x="106567" y="100523"/>
                    <a:pt x="106567" y="100841"/>
                  </a:cubicBezTo>
                  <a:close/>
                  <a:moveTo>
                    <a:pt x="108476" y="94479"/>
                  </a:moveTo>
                  <a:lnTo>
                    <a:pt x="108476" y="94797"/>
                  </a:lnTo>
                  <a:cubicBezTo>
                    <a:pt x="108476" y="95752"/>
                    <a:pt x="107522" y="96706"/>
                    <a:pt x="106567" y="96706"/>
                  </a:cubicBezTo>
                  <a:lnTo>
                    <a:pt x="106249" y="96706"/>
                  </a:lnTo>
                  <a:lnTo>
                    <a:pt x="105931" y="96388"/>
                  </a:lnTo>
                  <a:cubicBezTo>
                    <a:pt x="105931" y="96388"/>
                    <a:pt x="105931" y="95752"/>
                    <a:pt x="106249" y="95752"/>
                  </a:cubicBezTo>
                  <a:cubicBezTo>
                    <a:pt x="106885" y="95752"/>
                    <a:pt x="107204" y="95434"/>
                    <a:pt x="107204" y="94797"/>
                  </a:cubicBezTo>
                  <a:lnTo>
                    <a:pt x="107204" y="94161"/>
                  </a:lnTo>
                  <a:lnTo>
                    <a:pt x="107522" y="94161"/>
                  </a:lnTo>
                  <a:cubicBezTo>
                    <a:pt x="107840" y="94161"/>
                    <a:pt x="108158" y="94161"/>
                    <a:pt x="108476" y="94479"/>
                  </a:cubicBezTo>
                  <a:close/>
                  <a:moveTo>
                    <a:pt x="115793" y="89389"/>
                  </a:moveTo>
                  <a:cubicBezTo>
                    <a:pt x="115793" y="89071"/>
                    <a:pt x="116111" y="89071"/>
                    <a:pt x="116429" y="89071"/>
                  </a:cubicBezTo>
                  <a:cubicBezTo>
                    <a:pt x="116111" y="89708"/>
                    <a:pt x="115475" y="90344"/>
                    <a:pt x="115475" y="91298"/>
                  </a:cubicBezTo>
                  <a:cubicBezTo>
                    <a:pt x="115157" y="91616"/>
                    <a:pt x="114838" y="91934"/>
                    <a:pt x="114838" y="91616"/>
                  </a:cubicBezTo>
                  <a:lnTo>
                    <a:pt x="114838" y="90662"/>
                  </a:lnTo>
                  <a:cubicBezTo>
                    <a:pt x="114838" y="90344"/>
                    <a:pt x="114838" y="89708"/>
                    <a:pt x="115793" y="89389"/>
                  </a:cubicBezTo>
                  <a:close/>
                  <a:moveTo>
                    <a:pt x="116747" y="73166"/>
                  </a:moveTo>
                  <a:cubicBezTo>
                    <a:pt x="116429" y="72848"/>
                    <a:pt x="116429" y="72529"/>
                    <a:pt x="116429" y="71893"/>
                  </a:cubicBezTo>
                  <a:lnTo>
                    <a:pt x="116111" y="71893"/>
                  </a:lnTo>
                  <a:lnTo>
                    <a:pt x="116111" y="72529"/>
                  </a:lnTo>
                  <a:cubicBezTo>
                    <a:pt x="116111" y="72529"/>
                    <a:pt x="116111" y="72848"/>
                    <a:pt x="116429" y="73166"/>
                  </a:cubicBezTo>
                  <a:lnTo>
                    <a:pt x="116429" y="73484"/>
                  </a:lnTo>
                  <a:cubicBezTo>
                    <a:pt x="116747" y="73484"/>
                    <a:pt x="116747" y="73166"/>
                    <a:pt x="116747" y="73166"/>
                  </a:cubicBezTo>
                  <a:close/>
                  <a:moveTo>
                    <a:pt x="118019" y="64259"/>
                  </a:moveTo>
                  <a:lnTo>
                    <a:pt x="118019" y="64577"/>
                  </a:lnTo>
                  <a:cubicBezTo>
                    <a:pt x="117701" y="65213"/>
                    <a:pt x="117383" y="65213"/>
                    <a:pt x="116747" y="65531"/>
                  </a:cubicBezTo>
                  <a:cubicBezTo>
                    <a:pt x="116747" y="65213"/>
                    <a:pt x="116429" y="65213"/>
                    <a:pt x="116429" y="65213"/>
                  </a:cubicBezTo>
                  <a:lnTo>
                    <a:pt x="116429" y="64895"/>
                  </a:lnTo>
                  <a:lnTo>
                    <a:pt x="117383" y="63940"/>
                  </a:lnTo>
                  <a:cubicBezTo>
                    <a:pt x="117065" y="63622"/>
                    <a:pt x="117701" y="63940"/>
                    <a:pt x="118019" y="64259"/>
                  </a:cubicBezTo>
                  <a:close/>
                  <a:moveTo>
                    <a:pt x="124064" y="68076"/>
                  </a:moveTo>
                  <a:lnTo>
                    <a:pt x="124064" y="68394"/>
                  </a:lnTo>
                  <a:lnTo>
                    <a:pt x="123428" y="70303"/>
                  </a:lnTo>
                  <a:cubicBezTo>
                    <a:pt x="123109" y="70621"/>
                    <a:pt x="123109" y="71257"/>
                    <a:pt x="123109" y="71257"/>
                  </a:cubicBezTo>
                  <a:cubicBezTo>
                    <a:pt x="122791" y="71893"/>
                    <a:pt x="122791" y="71893"/>
                    <a:pt x="122791" y="72211"/>
                  </a:cubicBezTo>
                  <a:cubicBezTo>
                    <a:pt x="122791" y="72848"/>
                    <a:pt x="122791" y="73166"/>
                    <a:pt x="121837" y="73166"/>
                  </a:cubicBezTo>
                  <a:cubicBezTo>
                    <a:pt x="121519" y="73166"/>
                    <a:pt x="120564" y="72529"/>
                    <a:pt x="120882" y="72211"/>
                  </a:cubicBezTo>
                  <a:cubicBezTo>
                    <a:pt x="121837" y="71257"/>
                    <a:pt x="121837" y="70303"/>
                    <a:pt x="121837" y="69666"/>
                  </a:cubicBezTo>
                  <a:lnTo>
                    <a:pt x="121837" y="68712"/>
                  </a:lnTo>
                  <a:cubicBezTo>
                    <a:pt x="121837" y="68394"/>
                    <a:pt x="121837" y="67758"/>
                    <a:pt x="122155" y="67440"/>
                  </a:cubicBezTo>
                  <a:cubicBezTo>
                    <a:pt x="122155" y="66485"/>
                    <a:pt x="122473" y="65531"/>
                    <a:pt x="123109" y="64895"/>
                  </a:cubicBezTo>
                  <a:lnTo>
                    <a:pt x="123109" y="64259"/>
                  </a:lnTo>
                  <a:cubicBezTo>
                    <a:pt x="123109" y="63940"/>
                    <a:pt x="123109" y="63622"/>
                    <a:pt x="123428" y="63622"/>
                  </a:cubicBezTo>
                  <a:cubicBezTo>
                    <a:pt x="123428" y="63304"/>
                    <a:pt x="123746" y="63622"/>
                    <a:pt x="123746" y="63622"/>
                  </a:cubicBezTo>
                  <a:lnTo>
                    <a:pt x="124064" y="63622"/>
                  </a:lnTo>
                  <a:cubicBezTo>
                    <a:pt x="124064" y="63940"/>
                    <a:pt x="124382" y="64259"/>
                    <a:pt x="124382" y="64259"/>
                  </a:cubicBezTo>
                  <a:cubicBezTo>
                    <a:pt x="124382" y="64577"/>
                    <a:pt x="124064" y="64577"/>
                    <a:pt x="124064" y="64577"/>
                  </a:cubicBezTo>
                  <a:cubicBezTo>
                    <a:pt x="124064" y="64895"/>
                    <a:pt x="123746" y="65213"/>
                    <a:pt x="123428" y="65849"/>
                  </a:cubicBezTo>
                  <a:cubicBezTo>
                    <a:pt x="123428" y="66167"/>
                    <a:pt x="123109" y="66167"/>
                    <a:pt x="123109" y="66485"/>
                  </a:cubicBezTo>
                  <a:cubicBezTo>
                    <a:pt x="123109" y="66803"/>
                    <a:pt x="123428" y="66803"/>
                    <a:pt x="123746" y="67122"/>
                  </a:cubicBezTo>
                  <a:cubicBezTo>
                    <a:pt x="124064" y="67440"/>
                    <a:pt x="124064" y="67758"/>
                    <a:pt x="124064" y="68076"/>
                  </a:cubicBezTo>
                  <a:close/>
                  <a:moveTo>
                    <a:pt x="120882" y="45490"/>
                  </a:moveTo>
                  <a:cubicBezTo>
                    <a:pt x="120882" y="45172"/>
                    <a:pt x="121201" y="44536"/>
                    <a:pt x="121519" y="44536"/>
                  </a:cubicBezTo>
                  <a:lnTo>
                    <a:pt x="123109" y="44536"/>
                  </a:lnTo>
                  <a:cubicBezTo>
                    <a:pt x="122791" y="44854"/>
                    <a:pt x="122791" y="45172"/>
                    <a:pt x="122791" y="45490"/>
                  </a:cubicBezTo>
                  <a:cubicBezTo>
                    <a:pt x="123109" y="45490"/>
                    <a:pt x="123109" y="45490"/>
                    <a:pt x="123109" y="45808"/>
                  </a:cubicBezTo>
                  <a:cubicBezTo>
                    <a:pt x="123109" y="46126"/>
                    <a:pt x="122791" y="46444"/>
                    <a:pt x="122473" y="46444"/>
                  </a:cubicBezTo>
                  <a:cubicBezTo>
                    <a:pt x="121837" y="46444"/>
                    <a:pt x="121519" y="46126"/>
                    <a:pt x="120882" y="45490"/>
                  </a:cubicBezTo>
                  <a:close/>
                  <a:moveTo>
                    <a:pt x="124700" y="77619"/>
                  </a:moveTo>
                  <a:cubicBezTo>
                    <a:pt x="124700" y="77937"/>
                    <a:pt x="124064" y="78574"/>
                    <a:pt x="123746" y="78574"/>
                  </a:cubicBezTo>
                  <a:cubicBezTo>
                    <a:pt x="123746" y="77937"/>
                    <a:pt x="124064" y="77619"/>
                    <a:pt x="124382" y="76983"/>
                  </a:cubicBezTo>
                  <a:lnTo>
                    <a:pt x="124700" y="77301"/>
                  </a:lnTo>
                  <a:lnTo>
                    <a:pt x="124700" y="77619"/>
                  </a:lnTo>
                  <a:close/>
                  <a:moveTo>
                    <a:pt x="126609" y="73484"/>
                  </a:moveTo>
                  <a:cubicBezTo>
                    <a:pt x="126291" y="73166"/>
                    <a:pt x="126291" y="72848"/>
                    <a:pt x="126291" y="72529"/>
                  </a:cubicBezTo>
                  <a:cubicBezTo>
                    <a:pt x="126291" y="72211"/>
                    <a:pt x="126291" y="71893"/>
                    <a:pt x="126609" y="71893"/>
                  </a:cubicBezTo>
                  <a:cubicBezTo>
                    <a:pt x="126609" y="71575"/>
                    <a:pt x="126927" y="71575"/>
                    <a:pt x="126927" y="71575"/>
                  </a:cubicBezTo>
                  <a:cubicBezTo>
                    <a:pt x="127245" y="71575"/>
                    <a:pt x="127245" y="71893"/>
                    <a:pt x="127245" y="71893"/>
                  </a:cubicBezTo>
                  <a:cubicBezTo>
                    <a:pt x="127245" y="72529"/>
                    <a:pt x="127245" y="73166"/>
                    <a:pt x="126609" y="73484"/>
                  </a:cubicBezTo>
                  <a:cubicBezTo>
                    <a:pt x="126609" y="73802"/>
                    <a:pt x="126609" y="73802"/>
                    <a:pt x="126291" y="73802"/>
                  </a:cubicBezTo>
                  <a:cubicBezTo>
                    <a:pt x="126291" y="73484"/>
                    <a:pt x="126291" y="73484"/>
                    <a:pt x="126609" y="73484"/>
                  </a:cubicBezTo>
                  <a:close/>
                </a:path>
              </a:pathLst>
            </a:custGeom>
            <a:solidFill>
              <a:srgbClr val="000000"/>
            </a:solidFill>
            <a:ln w="63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2F54C28-2A91-4CB5-9890-4C3A7BC8C30E}"/>
                </a:ext>
              </a:extLst>
            </p:cNvPr>
            <p:cNvSpPr/>
            <p:nvPr/>
          </p:nvSpPr>
          <p:spPr>
            <a:xfrm>
              <a:off x="3354494" y="3564737"/>
              <a:ext cx="184505" cy="299025"/>
            </a:xfrm>
            <a:custGeom>
              <a:avLst/>
              <a:gdLst>
                <a:gd name="connsiteX0" fmla="*/ 123746 w 184504"/>
                <a:gd name="connsiteY0" fmla="*/ 53125 h 299025"/>
                <a:gd name="connsiteX1" fmla="*/ 122791 w 184504"/>
                <a:gd name="connsiteY1" fmla="*/ 53125 h 299025"/>
                <a:gd name="connsiteX2" fmla="*/ 122155 w 184504"/>
                <a:gd name="connsiteY2" fmla="*/ 53443 h 299025"/>
                <a:gd name="connsiteX3" fmla="*/ 115157 w 184504"/>
                <a:gd name="connsiteY3" fmla="*/ 61714 h 299025"/>
                <a:gd name="connsiteX4" fmla="*/ 108476 w 184504"/>
                <a:gd name="connsiteY4" fmla="*/ 69666 h 299025"/>
                <a:gd name="connsiteX5" fmla="*/ 105295 w 184504"/>
                <a:gd name="connsiteY5" fmla="*/ 72848 h 299025"/>
                <a:gd name="connsiteX6" fmla="*/ 102114 w 184504"/>
                <a:gd name="connsiteY6" fmla="*/ 76029 h 299025"/>
                <a:gd name="connsiteX7" fmla="*/ 97661 w 184504"/>
                <a:gd name="connsiteY7" fmla="*/ 81437 h 299025"/>
                <a:gd name="connsiteX8" fmla="*/ 97342 w 184504"/>
                <a:gd name="connsiteY8" fmla="*/ 81119 h 299025"/>
                <a:gd name="connsiteX9" fmla="*/ 90344 w 184504"/>
                <a:gd name="connsiteY9" fmla="*/ 88435 h 299025"/>
                <a:gd name="connsiteX10" fmla="*/ 89708 w 184504"/>
                <a:gd name="connsiteY10" fmla="*/ 88435 h 299025"/>
                <a:gd name="connsiteX11" fmla="*/ 89389 w 184504"/>
                <a:gd name="connsiteY11" fmla="*/ 89389 h 299025"/>
                <a:gd name="connsiteX12" fmla="*/ 89708 w 184504"/>
                <a:gd name="connsiteY12" fmla="*/ 90026 h 299025"/>
                <a:gd name="connsiteX13" fmla="*/ 87799 w 184504"/>
                <a:gd name="connsiteY13" fmla="*/ 90980 h 299025"/>
                <a:gd name="connsiteX14" fmla="*/ 86845 w 184504"/>
                <a:gd name="connsiteY14" fmla="*/ 90662 h 299025"/>
                <a:gd name="connsiteX15" fmla="*/ 80800 w 184504"/>
                <a:gd name="connsiteY15" fmla="*/ 98615 h 299025"/>
                <a:gd name="connsiteX16" fmla="*/ 79210 w 184504"/>
                <a:gd name="connsiteY16" fmla="*/ 98615 h 299025"/>
                <a:gd name="connsiteX17" fmla="*/ 67440 w 184504"/>
                <a:gd name="connsiteY17" fmla="*/ 107204 h 299025"/>
                <a:gd name="connsiteX18" fmla="*/ 67122 w 184504"/>
                <a:gd name="connsiteY18" fmla="*/ 107204 h 299025"/>
                <a:gd name="connsiteX19" fmla="*/ 49307 w 184504"/>
                <a:gd name="connsiteY19" fmla="*/ 113566 h 299025"/>
                <a:gd name="connsiteX20" fmla="*/ 39446 w 184504"/>
                <a:gd name="connsiteY20" fmla="*/ 107204 h 299025"/>
                <a:gd name="connsiteX21" fmla="*/ 36583 w 184504"/>
                <a:gd name="connsiteY21" fmla="*/ 104341 h 299025"/>
                <a:gd name="connsiteX22" fmla="*/ 33402 w 184504"/>
                <a:gd name="connsiteY22" fmla="*/ 98933 h 299025"/>
                <a:gd name="connsiteX23" fmla="*/ 32448 w 184504"/>
                <a:gd name="connsiteY23" fmla="*/ 95434 h 299025"/>
                <a:gd name="connsiteX24" fmla="*/ 32448 w 184504"/>
                <a:gd name="connsiteY24" fmla="*/ 92252 h 299025"/>
                <a:gd name="connsiteX25" fmla="*/ 32766 w 184504"/>
                <a:gd name="connsiteY25" fmla="*/ 90980 h 299025"/>
                <a:gd name="connsiteX26" fmla="*/ 32129 w 184504"/>
                <a:gd name="connsiteY26" fmla="*/ 88753 h 299025"/>
                <a:gd name="connsiteX27" fmla="*/ 31811 w 184504"/>
                <a:gd name="connsiteY27" fmla="*/ 88117 h 299025"/>
                <a:gd name="connsiteX28" fmla="*/ 31811 w 184504"/>
                <a:gd name="connsiteY28" fmla="*/ 87799 h 299025"/>
                <a:gd name="connsiteX29" fmla="*/ 33084 w 184504"/>
                <a:gd name="connsiteY29" fmla="*/ 86526 h 299025"/>
                <a:gd name="connsiteX30" fmla="*/ 32766 w 184504"/>
                <a:gd name="connsiteY30" fmla="*/ 86208 h 299025"/>
                <a:gd name="connsiteX31" fmla="*/ 33720 w 184504"/>
                <a:gd name="connsiteY31" fmla="*/ 80482 h 299025"/>
                <a:gd name="connsiteX32" fmla="*/ 33720 w 184504"/>
                <a:gd name="connsiteY32" fmla="*/ 80164 h 299025"/>
                <a:gd name="connsiteX33" fmla="*/ 34674 w 184504"/>
                <a:gd name="connsiteY33" fmla="*/ 76347 h 299025"/>
                <a:gd name="connsiteX34" fmla="*/ 34674 w 184504"/>
                <a:gd name="connsiteY34" fmla="*/ 74438 h 299025"/>
                <a:gd name="connsiteX35" fmla="*/ 35947 w 184504"/>
                <a:gd name="connsiteY35" fmla="*/ 71575 h 299025"/>
                <a:gd name="connsiteX36" fmla="*/ 35947 w 184504"/>
                <a:gd name="connsiteY36" fmla="*/ 70621 h 299025"/>
                <a:gd name="connsiteX37" fmla="*/ 40082 w 184504"/>
                <a:gd name="connsiteY37" fmla="*/ 64259 h 299025"/>
                <a:gd name="connsiteX38" fmla="*/ 39446 w 184504"/>
                <a:gd name="connsiteY38" fmla="*/ 63622 h 299025"/>
                <a:gd name="connsiteX39" fmla="*/ 44218 w 184504"/>
                <a:gd name="connsiteY39" fmla="*/ 52488 h 299025"/>
                <a:gd name="connsiteX40" fmla="*/ 46444 w 184504"/>
                <a:gd name="connsiteY40" fmla="*/ 49944 h 299025"/>
                <a:gd name="connsiteX41" fmla="*/ 48035 w 184504"/>
                <a:gd name="connsiteY41" fmla="*/ 50262 h 299025"/>
                <a:gd name="connsiteX42" fmla="*/ 48989 w 184504"/>
                <a:gd name="connsiteY42" fmla="*/ 50262 h 299025"/>
                <a:gd name="connsiteX43" fmla="*/ 49307 w 184504"/>
                <a:gd name="connsiteY43" fmla="*/ 49944 h 299025"/>
                <a:gd name="connsiteX44" fmla="*/ 48989 w 184504"/>
                <a:gd name="connsiteY44" fmla="*/ 48989 h 299025"/>
                <a:gd name="connsiteX45" fmla="*/ 47717 w 184504"/>
                <a:gd name="connsiteY45" fmla="*/ 49307 h 299025"/>
                <a:gd name="connsiteX46" fmla="*/ 47399 w 184504"/>
                <a:gd name="connsiteY46" fmla="*/ 48989 h 299025"/>
                <a:gd name="connsiteX47" fmla="*/ 47399 w 184504"/>
                <a:gd name="connsiteY47" fmla="*/ 48035 h 299025"/>
                <a:gd name="connsiteX48" fmla="*/ 49625 w 184504"/>
                <a:gd name="connsiteY48" fmla="*/ 45808 h 299025"/>
                <a:gd name="connsiteX49" fmla="*/ 49625 w 184504"/>
                <a:gd name="connsiteY49" fmla="*/ 46126 h 299025"/>
                <a:gd name="connsiteX50" fmla="*/ 49944 w 184504"/>
                <a:gd name="connsiteY50" fmla="*/ 47081 h 299025"/>
                <a:gd name="connsiteX51" fmla="*/ 51216 w 184504"/>
                <a:gd name="connsiteY51" fmla="*/ 45808 h 299025"/>
                <a:gd name="connsiteX52" fmla="*/ 50898 w 184504"/>
                <a:gd name="connsiteY52" fmla="*/ 44536 h 299025"/>
                <a:gd name="connsiteX53" fmla="*/ 50580 w 184504"/>
                <a:gd name="connsiteY53" fmla="*/ 43899 h 299025"/>
                <a:gd name="connsiteX54" fmla="*/ 58215 w 184504"/>
                <a:gd name="connsiteY54" fmla="*/ 33720 h 299025"/>
                <a:gd name="connsiteX55" fmla="*/ 59169 w 184504"/>
                <a:gd name="connsiteY55" fmla="*/ 34038 h 299025"/>
                <a:gd name="connsiteX56" fmla="*/ 64259 w 184504"/>
                <a:gd name="connsiteY56" fmla="*/ 29584 h 299025"/>
                <a:gd name="connsiteX57" fmla="*/ 64259 w 184504"/>
                <a:gd name="connsiteY57" fmla="*/ 28948 h 299025"/>
                <a:gd name="connsiteX58" fmla="*/ 63622 w 184504"/>
                <a:gd name="connsiteY58" fmla="*/ 28948 h 299025"/>
                <a:gd name="connsiteX59" fmla="*/ 63622 w 184504"/>
                <a:gd name="connsiteY59" fmla="*/ 29584 h 299025"/>
                <a:gd name="connsiteX60" fmla="*/ 62986 w 184504"/>
                <a:gd name="connsiteY60" fmla="*/ 29266 h 299025"/>
                <a:gd name="connsiteX61" fmla="*/ 64259 w 184504"/>
                <a:gd name="connsiteY61" fmla="*/ 27358 h 299025"/>
                <a:gd name="connsiteX62" fmla="*/ 65213 w 184504"/>
                <a:gd name="connsiteY62" fmla="*/ 27358 h 299025"/>
                <a:gd name="connsiteX63" fmla="*/ 65849 w 184504"/>
                <a:gd name="connsiteY63" fmla="*/ 27040 h 299025"/>
                <a:gd name="connsiteX64" fmla="*/ 65531 w 184504"/>
                <a:gd name="connsiteY64" fmla="*/ 26085 h 299025"/>
                <a:gd name="connsiteX65" fmla="*/ 65849 w 184504"/>
                <a:gd name="connsiteY65" fmla="*/ 25767 h 299025"/>
                <a:gd name="connsiteX66" fmla="*/ 65213 w 184504"/>
                <a:gd name="connsiteY66" fmla="*/ 25767 h 299025"/>
                <a:gd name="connsiteX67" fmla="*/ 65213 w 184504"/>
                <a:gd name="connsiteY67" fmla="*/ 25449 h 299025"/>
                <a:gd name="connsiteX68" fmla="*/ 67122 w 184504"/>
                <a:gd name="connsiteY68" fmla="*/ 23222 h 299025"/>
                <a:gd name="connsiteX69" fmla="*/ 67440 w 184504"/>
                <a:gd name="connsiteY69" fmla="*/ 23222 h 299025"/>
                <a:gd name="connsiteX70" fmla="*/ 68394 w 184504"/>
                <a:gd name="connsiteY70" fmla="*/ 24176 h 299025"/>
                <a:gd name="connsiteX71" fmla="*/ 75074 w 184504"/>
                <a:gd name="connsiteY71" fmla="*/ 15906 h 299025"/>
                <a:gd name="connsiteX72" fmla="*/ 76665 w 184504"/>
                <a:gd name="connsiteY72" fmla="*/ 13361 h 299025"/>
                <a:gd name="connsiteX73" fmla="*/ 80164 w 184504"/>
                <a:gd name="connsiteY73" fmla="*/ 10816 h 299025"/>
                <a:gd name="connsiteX74" fmla="*/ 81755 w 184504"/>
                <a:gd name="connsiteY74" fmla="*/ 7953 h 299025"/>
                <a:gd name="connsiteX75" fmla="*/ 83982 w 184504"/>
                <a:gd name="connsiteY75" fmla="*/ 6362 h 299025"/>
                <a:gd name="connsiteX76" fmla="*/ 92889 w 184504"/>
                <a:gd name="connsiteY76" fmla="*/ 636 h 299025"/>
                <a:gd name="connsiteX77" fmla="*/ 94479 w 184504"/>
                <a:gd name="connsiteY77" fmla="*/ 636 h 299025"/>
                <a:gd name="connsiteX78" fmla="*/ 95434 w 184504"/>
                <a:gd name="connsiteY78" fmla="*/ 0 h 299025"/>
                <a:gd name="connsiteX79" fmla="*/ 96070 w 184504"/>
                <a:gd name="connsiteY79" fmla="*/ 318 h 299025"/>
                <a:gd name="connsiteX80" fmla="*/ 98933 w 184504"/>
                <a:gd name="connsiteY80" fmla="*/ 1909 h 299025"/>
                <a:gd name="connsiteX81" fmla="*/ 98615 w 184504"/>
                <a:gd name="connsiteY81" fmla="*/ 1909 h 299025"/>
                <a:gd name="connsiteX82" fmla="*/ 103386 w 184504"/>
                <a:gd name="connsiteY82" fmla="*/ 5726 h 299025"/>
                <a:gd name="connsiteX83" fmla="*/ 103704 w 184504"/>
                <a:gd name="connsiteY83" fmla="*/ 5726 h 299025"/>
                <a:gd name="connsiteX84" fmla="*/ 105295 w 184504"/>
                <a:gd name="connsiteY84" fmla="*/ 4454 h 299025"/>
                <a:gd name="connsiteX85" fmla="*/ 111339 w 184504"/>
                <a:gd name="connsiteY85" fmla="*/ 9543 h 299025"/>
                <a:gd name="connsiteX86" fmla="*/ 111657 w 184504"/>
                <a:gd name="connsiteY86" fmla="*/ 9225 h 299025"/>
                <a:gd name="connsiteX87" fmla="*/ 113248 w 184504"/>
                <a:gd name="connsiteY87" fmla="*/ 11452 h 299025"/>
                <a:gd name="connsiteX88" fmla="*/ 113566 w 184504"/>
                <a:gd name="connsiteY88" fmla="*/ 10816 h 299025"/>
                <a:gd name="connsiteX89" fmla="*/ 114202 w 184504"/>
                <a:gd name="connsiteY89" fmla="*/ 10816 h 299025"/>
                <a:gd name="connsiteX90" fmla="*/ 116111 w 184504"/>
                <a:gd name="connsiteY90" fmla="*/ 13679 h 299025"/>
                <a:gd name="connsiteX91" fmla="*/ 115475 w 184504"/>
                <a:gd name="connsiteY91" fmla="*/ 14315 h 299025"/>
                <a:gd name="connsiteX92" fmla="*/ 115157 w 184504"/>
                <a:gd name="connsiteY92" fmla="*/ 14951 h 299025"/>
                <a:gd name="connsiteX93" fmla="*/ 116747 w 184504"/>
                <a:gd name="connsiteY93" fmla="*/ 17178 h 299025"/>
                <a:gd name="connsiteX94" fmla="*/ 117383 w 184504"/>
                <a:gd name="connsiteY94" fmla="*/ 17496 h 299025"/>
                <a:gd name="connsiteX95" fmla="*/ 118019 w 184504"/>
                <a:gd name="connsiteY95" fmla="*/ 17178 h 299025"/>
                <a:gd name="connsiteX96" fmla="*/ 121201 w 184504"/>
                <a:gd name="connsiteY96" fmla="*/ 21313 h 299025"/>
                <a:gd name="connsiteX97" fmla="*/ 121519 w 184504"/>
                <a:gd name="connsiteY97" fmla="*/ 23222 h 299025"/>
                <a:gd name="connsiteX98" fmla="*/ 122473 w 184504"/>
                <a:gd name="connsiteY98" fmla="*/ 26721 h 299025"/>
                <a:gd name="connsiteX99" fmla="*/ 122791 w 184504"/>
                <a:gd name="connsiteY99" fmla="*/ 27040 h 299025"/>
                <a:gd name="connsiteX100" fmla="*/ 124064 w 184504"/>
                <a:gd name="connsiteY100" fmla="*/ 25767 h 299025"/>
                <a:gd name="connsiteX101" fmla="*/ 123746 w 184504"/>
                <a:gd name="connsiteY101" fmla="*/ 25767 h 299025"/>
                <a:gd name="connsiteX102" fmla="*/ 129153 w 184504"/>
                <a:gd name="connsiteY102" fmla="*/ 19405 h 299025"/>
                <a:gd name="connsiteX103" fmla="*/ 131062 w 184504"/>
                <a:gd name="connsiteY103" fmla="*/ 18450 h 299025"/>
                <a:gd name="connsiteX104" fmla="*/ 131062 w 184504"/>
                <a:gd name="connsiteY104" fmla="*/ 16542 h 299025"/>
                <a:gd name="connsiteX105" fmla="*/ 132653 w 184504"/>
                <a:gd name="connsiteY105" fmla="*/ 15906 h 299025"/>
                <a:gd name="connsiteX106" fmla="*/ 132334 w 184504"/>
                <a:gd name="connsiteY106" fmla="*/ 15269 h 299025"/>
                <a:gd name="connsiteX107" fmla="*/ 134243 w 184504"/>
                <a:gd name="connsiteY107" fmla="*/ 13361 h 299025"/>
                <a:gd name="connsiteX108" fmla="*/ 140924 w 184504"/>
                <a:gd name="connsiteY108" fmla="*/ 5408 h 299025"/>
                <a:gd name="connsiteX109" fmla="*/ 143468 w 184504"/>
                <a:gd name="connsiteY109" fmla="*/ 7953 h 299025"/>
                <a:gd name="connsiteX110" fmla="*/ 144423 w 184504"/>
                <a:gd name="connsiteY110" fmla="*/ 6362 h 299025"/>
                <a:gd name="connsiteX111" fmla="*/ 148876 w 184504"/>
                <a:gd name="connsiteY111" fmla="*/ 10180 h 299025"/>
                <a:gd name="connsiteX112" fmla="*/ 149831 w 184504"/>
                <a:gd name="connsiteY112" fmla="*/ 9861 h 299025"/>
                <a:gd name="connsiteX113" fmla="*/ 150467 w 184504"/>
                <a:gd name="connsiteY113" fmla="*/ 9543 h 299025"/>
                <a:gd name="connsiteX114" fmla="*/ 151740 w 184504"/>
                <a:gd name="connsiteY114" fmla="*/ 10498 h 299025"/>
                <a:gd name="connsiteX115" fmla="*/ 152376 w 184504"/>
                <a:gd name="connsiteY115" fmla="*/ 11134 h 299025"/>
                <a:gd name="connsiteX116" fmla="*/ 152058 w 184504"/>
                <a:gd name="connsiteY116" fmla="*/ 11770 h 299025"/>
                <a:gd name="connsiteX117" fmla="*/ 153012 w 184504"/>
                <a:gd name="connsiteY117" fmla="*/ 13679 h 299025"/>
                <a:gd name="connsiteX118" fmla="*/ 153648 w 184504"/>
                <a:gd name="connsiteY118" fmla="*/ 12724 h 299025"/>
                <a:gd name="connsiteX119" fmla="*/ 153966 w 184504"/>
                <a:gd name="connsiteY119" fmla="*/ 12724 h 299025"/>
                <a:gd name="connsiteX120" fmla="*/ 157465 w 184504"/>
                <a:gd name="connsiteY120" fmla="*/ 17814 h 299025"/>
                <a:gd name="connsiteX121" fmla="*/ 156193 w 184504"/>
                <a:gd name="connsiteY121" fmla="*/ 19723 h 299025"/>
                <a:gd name="connsiteX122" fmla="*/ 156829 w 184504"/>
                <a:gd name="connsiteY122" fmla="*/ 20359 h 299025"/>
                <a:gd name="connsiteX123" fmla="*/ 156829 w 184504"/>
                <a:gd name="connsiteY123" fmla="*/ 20677 h 299025"/>
                <a:gd name="connsiteX124" fmla="*/ 156193 w 184504"/>
                <a:gd name="connsiteY124" fmla="*/ 21950 h 299025"/>
                <a:gd name="connsiteX125" fmla="*/ 156511 w 184504"/>
                <a:gd name="connsiteY125" fmla="*/ 23858 h 299025"/>
                <a:gd name="connsiteX126" fmla="*/ 155239 w 184504"/>
                <a:gd name="connsiteY126" fmla="*/ 30221 h 299025"/>
                <a:gd name="connsiteX127" fmla="*/ 155875 w 184504"/>
                <a:gd name="connsiteY127" fmla="*/ 32447 h 299025"/>
                <a:gd name="connsiteX128" fmla="*/ 154602 w 184504"/>
                <a:gd name="connsiteY128" fmla="*/ 37219 h 299025"/>
                <a:gd name="connsiteX129" fmla="*/ 154602 w 184504"/>
                <a:gd name="connsiteY129" fmla="*/ 39128 h 299025"/>
                <a:gd name="connsiteX130" fmla="*/ 154921 w 184504"/>
                <a:gd name="connsiteY130" fmla="*/ 40400 h 299025"/>
                <a:gd name="connsiteX131" fmla="*/ 153966 w 184504"/>
                <a:gd name="connsiteY131" fmla="*/ 43581 h 299025"/>
                <a:gd name="connsiteX132" fmla="*/ 155239 w 184504"/>
                <a:gd name="connsiteY132" fmla="*/ 44218 h 299025"/>
                <a:gd name="connsiteX133" fmla="*/ 155557 w 184504"/>
                <a:gd name="connsiteY133" fmla="*/ 44854 h 299025"/>
                <a:gd name="connsiteX134" fmla="*/ 155875 w 184504"/>
                <a:gd name="connsiteY134" fmla="*/ 45490 h 299025"/>
                <a:gd name="connsiteX135" fmla="*/ 155557 w 184504"/>
                <a:gd name="connsiteY135" fmla="*/ 45490 h 299025"/>
                <a:gd name="connsiteX136" fmla="*/ 154284 w 184504"/>
                <a:gd name="connsiteY136" fmla="*/ 45808 h 299025"/>
                <a:gd name="connsiteX137" fmla="*/ 154921 w 184504"/>
                <a:gd name="connsiteY137" fmla="*/ 47081 h 299025"/>
                <a:gd name="connsiteX138" fmla="*/ 154602 w 184504"/>
                <a:gd name="connsiteY138" fmla="*/ 48671 h 299025"/>
                <a:gd name="connsiteX139" fmla="*/ 154921 w 184504"/>
                <a:gd name="connsiteY139" fmla="*/ 51216 h 299025"/>
                <a:gd name="connsiteX140" fmla="*/ 154921 w 184504"/>
                <a:gd name="connsiteY140" fmla="*/ 51852 h 299025"/>
                <a:gd name="connsiteX141" fmla="*/ 155239 w 184504"/>
                <a:gd name="connsiteY141" fmla="*/ 55033 h 299025"/>
                <a:gd name="connsiteX142" fmla="*/ 153966 w 184504"/>
                <a:gd name="connsiteY142" fmla="*/ 58851 h 299025"/>
                <a:gd name="connsiteX143" fmla="*/ 154602 w 184504"/>
                <a:gd name="connsiteY143" fmla="*/ 57578 h 299025"/>
                <a:gd name="connsiteX144" fmla="*/ 155239 w 184504"/>
                <a:gd name="connsiteY144" fmla="*/ 57578 h 299025"/>
                <a:gd name="connsiteX145" fmla="*/ 154921 w 184504"/>
                <a:gd name="connsiteY145" fmla="*/ 58851 h 299025"/>
                <a:gd name="connsiteX146" fmla="*/ 155557 w 184504"/>
                <a:gd name="connsiteY146" fmla="*/ 61714 h 299025"/>
                <a:gd name="connsiteX147" fmla="*/ 155239 w 184504"/>
                <a:gd name="connsiteY147" fmla="*/ 62986 h 299025"/>
                <a:gd name="connsiteX148" fmla="*/ 156511 w 184504"/>
                <a:gd name="connsiteY148" fmla="*/ 65849 h 299025"/>
                <a:gd name="connsiteX149" fmla="*/ 156193 w 184504"/>
                <a:gd name="connsiteY149" fmla="*/ 67122 h 299025"/>
                <a:gd name="connsiteX150" fmla="*/ 156193 w 184504"/>
                <a:gd name="connsiteY150" fmla="*/ 67758 h 299025"/>
                <a:gd name="connsiteX151" fmla="*/ 155239 w 184504"/>
                <a:gd name="connsiteY151" fmla="*/ 69030 h 299025"/>
                <a:gd name="connsiteX152" fmla="*/ 156193 w 184504"/>
                <a:gd name="connsiteY152" fmla="*/ 71893 h 299025"/>
                <a:gd name="connsiteX153" fmla="*/ 154921 w 184504"/>
                <a:gd name="connsiteY153" fmla="*/ 73802 h 299025"/>
                <a:gd name="connsiteX154" fmla="*/ 155239 w 184504"/>
                <a:gd name="connsiteY154" fmla="*/ 75074 h 299025"/>
                <a:gd name="connsiteX155" fmla="*/ 154921 w 184504"/>
                <a:gd name="connsiteY155" fmla="*/ 77619 h 299025"/>
                <a:gd name="connsiteX156" fmla="*/ 155875 w 184504"/>
                <a:gd name="connsiteY156" fmla="*/ 79210 h 299025"/>
                <a:gd name="connsiteX157" fmla="*/ 154921 w 184504"/>
                <a:gd name="connsiteY157" fmla="*/ 79846 h 299025"/>
                <a:gd name="connsiteX158" fmla="*/ 155557 w 184504"/>
                <a:gd name="connsiteY158" fmla="*/ 81755 h 299025"/>
                <a:gd name="connsiteX159" fmla="*/ 153966 w 184504"/>
                <a:gd name="connsiteY159" fmla="*/ 86845 h 299025"/>
                <a:gd name="connsiteX160" fmla="*/ 153966 w 184504"/>
                <a:gd name="connsiteY160" fmla="*/ 88117 h 299025"/>
                <a:gd name="connsiteX161" fmla="*/ 154602 w 184504"/>
                <a:gd name="connsiteY161" fmla="*/ 89389 h 299025"/>
                <a:gd name="connsiteX162" fmla="*/ 153648 w 184504"/>
                <a:gd name="connsiteY162" fmla="*/ 91298 h 299025"/>
                <a:gd name="connsiteX163" fmla="*/ 154602 w 184504"/>
                <a:gd name="connsiteY163" fmla="*/ 92889 h 299025"/>
                <a:gd name="connsiteX164" fmla="*/ 153648 w 184504"/>
                <a:gd name="connsiteY164" fmla="*/ 95752 h 299025"/>
                <a:gd name="connsiteX165" fmla="*/ 154284 w 184504"/>
                <a:gd name="connsiteY165" fmla="*/ 96388 h 299025"/>
                <a:gd name="connsiteX166" fmla="*/ 155875 w 184504"/>
                <a:gd name="connsiteY166" fmla="*/ 95752 h 299025"/>
                <a:gd name="connsiteX167" fmla="*/ 156829 w 184504"/>
                <a:gd name="connsiteY167" fmla="*/ 95752 h 299025"/>
                <a:gd name="connsiteX168" fmla="*/ 157783 w 184504"/>
                <a:gd name="connsiteY168" fmla="*/ 95434 h 299025"/>
                <a:gd name="connsiteX169" fmla="*/ 158102 w 184504"/>
                <a:gd name="connsiteY169" fmla="*/ 95752 h 299025"/>
                <a:gd name="connsiteX170" fmla="*/ 154921 w 184504"/>
                <a:gd name="connsiteY170" fmla="*/ 97024 h 299025"/>
                <a:gd name="connsiteX171" fmla="*/ 154602 w 184504"/>
                <a:gd name="connsiteY171" fmla="*/ 97024 h 299025"/>
                <a:gd name="connsiteX172" fmla="*/ 153966 w 184504"/>
                <a:gd name="connsiteY172" fmla="*/ 97342 h 299025"/>
                <a:gd name="connsiteX173" fmla="*/ 154602 w 184504"/>
                <a:gd name="connsiteY173" fmla="*/ 98297 h 299025"/>
                <a:gd name="connsiteX174" fmla="*/ 154921 w 184504"/>
                <a:gd name="connsiteY174" fmla="*/ 97978 h 299025"/>
                <a:gd name="connsiteX175" fmla="*/ 156193 w 184504"/>
                <a:gd name="connsiteY175" fmla="*/ 97978 h 299025"/>
                <a:gd name="connsiteX176" fmla="*/ 157783 w 184504"/>
                <a:gd name="connsiteY176" fmla="*/ 97660 h 299025"/>
                <a:gd name="connsiteX177" fmla="*/ 158738 w 184504"/>
                <a:gd name="connsiteY177" fmla="*/ 97978 h 299025"/>
                <a:gd name="connsiteX178" fmla="*/ 163828 w 184504"/>
                <a:gd name="connsiteY178" fmla="*/ 95752 h 299025"/>
                <a:gd name="connsiteX179" fmla="*/ 164464 w 184504"/>
                <a:gd name="connsiteY179" fmla="*/ 96070 h 299025"/>
                <a:gd name="connsiteX180" fmla="*/ 164464 w 184504"/>
                <a:gd name="connsiteY180" fmla="*/ 96706 h 299025"/>
                <a:gd name="connsiteX181" fmla="*/ 163191 w 184504"/>
                <a:gd name="connsiteY181" fmla="*/ 97660 h 299025"/>
                <a:gd name="connsiteX182" fmla="*/ 165100 w 184504"/>
                <a:gd name="connsiteY182" fmla="*/ 97978 h 299025"/>
                <a:gd name="connsiteX183" fmla="*/ 165418 w 184504"/>
                <a:gd name="connsiteY183" fmla="*/ 96388 h 299025"/>
                <a:gd name="connsiteX184" fmla="*/ 165100 w 184504"/>
                <a:gd name="connsiteY184" fmla="*/ 96070 h 299025"/>
                <a:gd name="connsiteX185" fmla="*/ 165418 w 184504"/>
                <a:gd name="connsiteY185" fmla="*/ 95752 h 299025"/>
                <a:gd name="connsiteX186" fmla="*/ 169872 w 184504"/>
                <a:gd name="connsiteY186" fmla="*/ 94161 h 299025"/>
                <a:gd name="connsiteX187" fmla="*/ 169872 w 184504"/>
                <a:gd name="connsiteY187" fmla="*/ 94797 h 299025"/>
                <a:gd name="connsiteX188" fmla="*/ 170190 w 184504"/>
                <a:gd name="connsiteY188" fmla="*/ 96070 h 299025"/>
                <a:gd name="connsiteX189" fmla="*/ 168281 w 184504"/>
                <a:gd name="connsiteY189" fmla="*/ 97978 h 299025"/>
                <a:gd name="connsiteX190" fmla="*/ 168281 w 184504"/>
                <a:gd name="connsiteY190" fmla="*/ 98297 h 299025"/>
                <a:gd name="connsiteX191" fmla="*/ 168599 w 184504"/>
                <a:gd name="connsiteY191" fmla="*/ 98615 h 299025"/>
                <a:gd name="connsiteX192" fmla="*/ 169236 w 184504"/>
                <a:gd name="connsiteY192" fmla="*/ 98615 h 299025"/>
                <a:gd name="connsiteX193" fmla="*/ 169554 w 184504"/>
                <a:gd name="connsiteY193" fmla="*/ 98933 h 299025"/>
                <a:gd name="connsiteX194" fmla="*/ 169236 w 184504"/>
                <a:gd name="connsiteY194" fmla="*/ 99569 h 299025"/>
                <a:gd name="connsiteX195" fmla="*/ 169554 w 184504"/>
                <a:gd name="connsiteY195" fmla="*/ 100205 h 299025"/>
                <a:gd name="connsiteX196" fmla="*/ 170508 w 184504"/>
                <a:gd name="connsiteY196" fmla="*/ 100205 h 299025"/>
                <a:gd name="connsiteX197" fmla="*/ 171780 w 184504"/>
                <a:gd name="connsiteY197" fmla="*/ 99569 h 299025"/>
                <a:gd name="connsiteX198" fmla="*/ 172417 w 184504"/>
                <a:gd name="connsiteY198" fmla="*/ 99887 h 299025"/>
                <a:gd name="connsiteX199" fmla="*/ 174325 w 184504"/>
                <a:gd name="connsiteY199" fmla="*/ 97660 h 299025"/>
                <a:gd name="connsiteX200" fmla="*/ 174961 w 184504"/>
                <a:gd name="connsiteY200" fmla="*/ 97978 h 299025"/>
                <a:gd name="connsiteX201" fmla="*/ 175916 w 184504"/>
                <a:gd name="connsiteY201" fmla="*/ 97342 h 299025"/>
                <a:gd name="connsiteX202" fmla="*/ 179415 w 184504"/>
                <a:gd name="connsiteY202" fmla="*/ 97978 h 299025"/>
                <a:gd name="connsiteX203" fmla="*/ 181006 w 184504"/>
                <a:gd name="connsiteY203" fmla="*/ 98297 h 299025"/>
                <a:gd name="connsiteX204" fmla="*/ 180051 w 184504"/>
                <a:gd name="connsiteY204" fmla="*/ 99251 h 299025"/>
                <a:gd name="connsiteX205" fmla="*/ 179733 w 184504"/>
                <a:gd name="connsiteY205" fmla="*/ 99569 h 299025"/>
                <a:gd name="connsiteX206" fmla="*/ 178461 w 184504"/>
                <a:gd name="connsiteY206" fmla="*/ 99251 h 299025"/>
                <a:gd name="connsiteX207" fmla="*/ 176870 w 184504"/>
                <a:gd name="connsiteY207" fmla="*/ 100205 h 299025"/>
                <a:gd name="connsiteX208" fmla="*/ 175598 w 184504"/>
                <a:gd name="connsiteY208" fmla="*/ 100205 h 299025"/>
                <a:gd name="connsiteX209" fmla="*/ 174325 w 184504"/>
                <a:gd name="connsiteY209" fmla="*/ 100841 h 299025"/>
                <a:gd name="connsiteX210" fmla="*/ 174007 w 184504"/>
                <a:gd name="connsiteY210" fmla="*/ 101160 h 299025"/>
                <a:gd name="connsiteX211" fmla="*/ 174643 w 184504"/>
                <a:gd name="connsiteY211" fmla="*/ 102114 h 299025"/>
                <a:gd name="connsiteX212" fmla="*/ 174325 w 184504"/>
                <a:gd name="connsiteY212" fmla="*/ 102432 h 299025"/>
                <a:gd name="connsiteX213" fmla="*/ 174325 w 184504"/>
                <a:gd name="connsiteY213" fmla="*/ 102114 h 299025"/>
                <a:gd name="connsiteX214" fmla="*/ 170508 w 184504"/>
                <a:gd name="connsiteY214" fmla="*/ 103068 h 299025"/>
                <a:gd name="connsiteX215" fmla="*/ 169236 w 184504"/>
                <a:gd name="connsiteY215" fmla="*/ 102114 h 299025"/>
                <a:gd name="connsiteX216" fmla="*/ 164782 w 184504"/>
                <a:gd name="connsiteY216" fmla="*/ 105613 h 299025"/>
                <a:gd name="connsiteX217" fmla="*/ 163828 w 184504"/>
                <a:gd name="connsiteY217" fmla="*/ 104977 h 299025"/>
                <a:gd name="connsiteX218" fmla="*/ 159056 w 184504"/>
                <a:gd name="connsiteY218" fmla="*/ 106886 h 299025"/>
                <a:gd name="connsiteX219" fmla="*/ 157465 w 184504"/>
                <a:gd name="connsiteY219" fmla="*/ 105931 h 299025"/>
                <a:gd name="connsiteX220" fmla="*/ 156511 w 184504"/>
                <a:gd name="connsiteY220" fmla="*/ 106249 h 299025"/>
                <a:gd name="connsiteX221" fmla="*/ 156511 w 184504"/>
                <a:gd name="connsiteY221" fmla="*/ 107204 h 299025"/>
                <a:gd name="connsiteX222" fmla="*/ 156193 w 184504"/>
                <a:gd name="connsiteY222" fmla="*/ 108158 h 299025"/>
                <a:gd name="connsiteX223" fmla="*/ 155557 w 184504"/>
                <a:gd name="connsiteY223" fmla="*/ 107840 h 299025"/>
                <a:gd name="connsiteX224" fmla="*/ 152694 w 184504"/>
                <a:gd name="connsiteY224" fmla="*/ 114838 h 299025"/>
                <a:gd name="connsiteX225" fmla="*/ 152694 w 184504"/>
                <a:gd name="connsiteY225" fmla="*/ 115156 h 299025"/>
                <a:gd name="connsiteX226" fmla="*/ 153330 w 184504"/>
                <a:gd name="connsiteY226" fmla="*/ 117383 h 299025"/>
                <a:gd name="connsiteX227" fmla="*/ 152376 w 184504"/>
                <a:gd name="connsiteY227" fmla="*/ 118019 h 299025"/>
                <a:gd name="connsiteX228" fmla="*/ 153330 w 184504"/>
                <a:gd name="connsiteY228" fmla="*/ 120882 h 299025"/>
                <a:gd name="connsiteX229" fmla="*/ 152694 w 184504"/>
                <a:gd name="connsiteY229" fmla="*/ 121837 h 299025"/>
                <a:gd name="connsiteX230" fmla="*/ 152694 w 184504"/>
                <a:gd name="connsiteY230" fmla="*/ 123109 h 299025"/>
                <a:gd name="connsiteX231" fmla="*/ 152376 w 184504"/>
                <a:gd name="connsiteY231" fmla="*/ 123109 h 299025"/>
                <a:gd name="connsiteX232" fmla="*/ 152058 w 184504"/>
                <a:gd name="connsiteY232" fmla="*/ 122791 h 299025"/>
                <a:gd name="connsiteX233" fmla="*/ 151740 w 184504"/>
                <a:gd name="connsiteY233" fmla="*/ 123109 h 299025"/>
                <a:gd name="connsiteX234" fmla="*/ 152376 w 184504"/>
                <a:gd name="connsiteY234" fmla="*/ 125018 h 299025"/>
                <a:gd name="connsiteX235" fmla="*/ 152058 w 184504"/>
                <a:gd name="connsiteY235" fmla="*/ 125336 h 299025"/>
                <a:gd name="connsiteX236" fmla="*/ 152058 w 184504"/>
                <a:gd name="connsiteY236" fmla="*/ 125018 h 299025"/>
                <a:gd name="connsiteX237" fmla="*/ 151740 w 184504"/>
                <a:gd name="connsiteY237" fmla="*/ 124700 h 299025"/>
                <a:gd name="connsiteX238" fmla="*/ 150149 w 184504"/>
                <a:gd name="connsiteY238" fmla="*/ 127245 h 299025"/>
                <a:gd name="connsiteX239" fmla="*/ 150467 w 184504"/>
                <a:gd name="connsiteY239" fmla="*/ 128835 h 299025"/>
                <a:gd name="connsiteX240" fmla="*/ 150149 w 184504"/>
                <a:gd name="connsiteY240" fmla="*/ 129790 h 299025"/>
                <a:gd name="connsiteX241" fmla="*/ 150467 w 184504"/>
                <a:gd name="connsiteY241" fmla="*/ 130426 h 299025"/>
                <a:gd name="connsiteX242" fmla="*/ 151421 w 184504"/>
                <a:gd name="connsiteY242" fmla="*/ 130426 h 299025"/>
                <a:gd name="connsiteX243" fmla="*/ 151740 w 184504"/>
                <a:gd name="connsiteY243" fmla="*/ 131062 h 299025"/>
                <a:gd name="connsiteX244" fmla="*/ 150785 w 184504"/>
                <a:gd name="connsiteY244" fmla="*/ 131380 h 299025"/>
                <a:gd name="connsiteX245" fmla="*/ 149831 w 184504"/>
                <a:gd name="connsiteY245" fmla="*/ 130426 h 299025"/>
                <a:gd name="connsiteX246" fmla="*/ 149194 w 184504"/>
                <a:gd name="connsiteY246" fmla="*/ 130426 h 299025"/>
                <a:gd name="connsiteX247" fmla="*/ 149831 w 184504"/>
                <a:gd name="connsiteY247" fmla="*/ 134243 h 299025"/>
                <a:gd name="connsiteX248" fmla="*/ 149513 w 184504"/>
                <a:gd name="connsiteY248" fmla="*/ 135198 h 299025"/>
                <a:gd name="connsiteX249" fmla="*/ 150149 w 184504"/>
                <a:gd name="connsiteY249" fmla="*/ 135834 h 299025"/>
                <a:gd name="connsiteX250" fmla="*/ 149513 w 184504"/>
                <a:gd name="connsiteY250" fmla="*/ 136470 h 299025"/>
                <a:gd name="connsiteX251" fmla="*/ 149513 w 184504"/>
                <a:gd name="connsiteY251" fmla="*/ 135198 h 299025"/>
                <a:gd name="connsiteX252" fmla="*/ 148876 w 184504"/>
                <a:gd name="connsiteY252" fmla="*/ 136788 h 299025"/>
                <a:gd name="connsiteX253" fmla="*/ 149194 w 184504"/>
                <a:gd name="connsiteY253" fmla="*/ 137742 h 299025"/>
                <a:gd name="connsiteX254" fmla="*/ 148240 w 184504"/>
                <a:gd name="connsiteY254" fmla="*/ 139651 h 299025"/>
                <a:gd name="connsiteX255" fmla="*/ 148558 w 184504"/>
                <a:gd name="connsiteY255" fmla="*/ 140924 h 299025"/>
                <a:gd name="connsiteX256" fmla="*/ 148240 w 184504"/>
                <a:gd name="connsiteY256" fmla="*/ 141878 h 299025"/>
                <a:gd name="connsiteX257" fmla="*/ 147922 w 184504"/>
                <a:gd name="connsiteY257" fmla="*/ 141878 h 299025"/>
                <a:gd name="connsiteX258" fmla="*/ 147922 w 184504"/>
                <a:gd name="connsiteY258" fmla="*/ 142196 h 299025"/>
                <a:gd name="connsiteX259" fmla="*/ 148558 w 184504"/>
                <a:gd name="connsiteY259" fmla="*/ 143150 h 299025"/>
                <a:gd name="connsiteX260" fmla="*/ 148558 w 184504"/>
                <a:gd name="connsiteY260" fmla="*/ 143787 h 299025"/>
                <a:gd name="connsiteX261" fmla="*/ 147922 w 184504"/>
                <a:gd name="connsiteY261" fmla="*/ 143787 h 299025"/>
                <a:gd name="connsiteX262" fmla="*/ 147286 w 184504"/>
                <a:gd name="connsiteY262" fmla="*/ 144741 h 299025"/>
                <a:gd name="connsiteX263" fmla="*/ 147286 w 184504"/>
                <a:gd name="connsiteY263" fmla="*/ 145695 h 299025"/>
                <a:gd name="connsiteX264" fmla="*/ 147604 w 184504"/>
                <a:gd name="connsiteY264" fmla="*/ 146650 h 299025"/>
                <a:gd name="connsiteX265" fmla="*/ 147604 w 184504"/>
                <a:gd name="connsiteY265" fmla="*/ 147286 h 299025"/>
                <a:gd name="connsiteX266" fmla="*/ 146331 w 184504"/>
                <a:gd name="connsiteY266" fmla="*/ 151103 h 299025"/>
                <a:gd name="connsiteX267" fmla="*/ 146968 w 184504"/>
                <a:gd name="connsiteY267" fmla="*/ 153012 h 299025"/>
                <a:gd name="connsiteX268" fmla="*/ 146013 w 184504"/>
                <a:gd name="connsiteY268" fmla="*/ 153648 h 299025"/>
                <a:gd name="connsiteX269" fmla="*/ 145695 w 184504"/>
                <a:gd name="connsiteY269" fmla="*/ 154602 h 299025"/>
                <a:gd name="connsiteX270" fmla="*/ 146331 w 184504"/>
                <a:gd name="connsiteY270" fmla="*/ 156511 h 299025"/>
                <a:gd name="connsiteX271" fmla="*/ 146013 w 184504"/>
                <a:gd name="connsiteY271" fmla="*/ 157465 h 299025"/>
                <a:gd name="connsiteX272" fmla="*/ 145059 w 184504"/>
                <a:gd name="connsiteY272" fmla="*/ 157147 h 299025"/>
                <a:gd name="connsiteX273" fmla="*/ 144423 w 184504"/>
                <a:gd name="connsiteY273" fmla="*/ 162237 h 299025"/>
                <a:gd name="connsiteX274" fmla="*/ 144423 w 184504"/>
                <a:gd name="connsiteY274" fmla="*/ 163191 h 299025"/>
                <a:gd name="connsiteX275" fmla="*/ 144741 w 184504"/>
                <a:gd name="connsiteY275" fmla="*/ 164146 h 299025"/>
                <a:gd name="connsiteX276" fmla="*/ 141878 w 184504"/>
                <a:gd name="connsiteY276" fmla="*/ 169554 h 299025"/>
                <a:gd name="connsiteX277" fmla="*/ 141878 w 184504"/>
                <a:gd name="connsiteY277" fmla="*/ 170190 h 299025"/>
                <a:gd name="connsiteX278" fmla="*/ 142514 w 184504"/>
                <a:gd name="connsiteY278" fmla="*/ 170508 h 299025"/>
                <a:gd name="connsiteX279" fmla="*/ 141560 w 184504"/>
                <a:gd name="connsiteY279" fmla="*/ 172735 h 299025"/>
                <a:gd name="connsiteX280" fmla="*/ 141878 w 184504"/>
                <a:gd name="connsiteY280" fmla="*/ 173689 h 299025"/>
                <a:gd name="connsiteX281" fmla="*/ 141242 w 184504"/>
                <a:gd name="connsiteY281" fmla="*/ 174643 h 299025"/>
                <a:gd name="connsiteX282" fmla="*/ 141242 w 184504"/>
                <a:gd name="connsiteY282" fmla="*/ 175916 h 299025"/>
                <a:gd name="connsiteX283" fmla="*/ 138697 w 184504"/>
                <a:gd name="connsiteY283" fmla="*/ 182596 h 299025"/>
                <a:gd name="connsiteX284" fmla="*/ 139015 w 184504"/>
                <a:gd name="connsiteY284" fmla="*/ 183869 h 299025"/>
                <a:gd name="connsiteX285" fmla="*/ 135516 w 184504"/>
                <a:gd name="connsiteY285" fmla="*/ 194048 h 299025"/>
                <a:gd name="connsiteX286" fmla="*/ 135198 w 184504"/>
                <a:gd name="connsiteY286" fmla="*/ 194048 h 299025"/>
                <a:gd name="connsiteX287" fmla="*/ 134879 w 184504"/>
                <a:gd name="connsiteY287" fmla="*/ 194684 h 299025"/>
                <a:gd name="connsiteX288" fmla="*/ 134561 w 184504"/>
                <a:gd name="connsiteY288" fmla="*/ 196275 h 299025"/>
                <a:gd name="connsiteX289" fmla="*/ 132653 w 184504"/>
                <a:gd name="connsiteY289" fmla="*/ 199774 h 299025"/>
                <a:gd name="connsiteX290" fmla="*/ 132971 w 184504"/>
                <a:gd name="connsiteY290" fmla="*/ 200410 h 299025"/>
                <a:gd name="connsiteX291" fmla="*/ 131380 w 184504"/>
                <a:gd name="connsiteY291" fmla="*/ 203910 h 299025"/>
                <a:gd name="connsiteX292" fmla="*/ 131380 w 184504"/>
                <a:gd name="connsiteY292" fmla="*/ 204228 h 299025"/>
                <a:gd name="connsiteX293" fmla="*/ 131698 w 184504"/>
                <a:gd name="connsiteY293" fmla="*/ 204864 h 299025"/>
                <a:gd name="connsiteX294" fmla="*/ 131380 w 184504"/>
                <a:gd name="connsiteY294" fmla="*/ 205500 h 299025"/>
                <a:gd name="connsiteX295" fmla="*/ 130108 w 184504"/>
                <a:gd name="connsiteY295" fmla="*/ 204864 h 299025"/>
                <a:gd name="connsiteX296" fmla="*/ 128835 w 184504"/>
                <a:gd name="connsiteY296" fmla="*/ 210908 h 299025"/>
                <a:gd name="connsiteX297" fmla="*/ 126291 w 184504"/>
                <a:gd name="connsiteY297" fmla="*/ 216634 h 299025"/>
                <a:gd name="connsiteX298" fmla="*/ 126927 w 184504"/>
                <a:gd name="connsiteY298" fmla="*/ 216634 h 299025"/>
                <a:gd name="connsiteX299" fmla="*/ 127563 w 184504"/>
                <a:gd name="connsiteY299" fmla="*/ 216952 h 299025"/>
                <a:gd name="connsiteX300" fmla="*/ 127245 w 184504"/>
                <a:gd name="connsiteY300" fmla="*/ 217270 h 299025"/>
                <a:gd name="connsiteX301" fmla="*/ 126609 w 184504"/>
                <a:gd name="connsiteY301" fmla="*/ 217270 h 299025"/>
                <a:gd name="connsiteX302" fmla="*/ 121519 w 184504"/>
                <a:gd name="connsiteY302" fmla="*/ 225859 h 299025"/>
                <a:gd name="connsiteX303" fmla="*/ 121837 w 184504"/>
                <a:gd name="connsiteY303" fmla="*/ 226496 h 299025"/>
                <a:gd name="connsiteX304" fmla="*/ 121519 w 184504"/>
                <a:gd name="connsiteY304" fmla="*/ 226177 h 299025"/>
                <a:gd name="connsiteX305" fmla="*/ 118974 w 184504"/>
                <a:gd name="connsiteY305" fmla="*/ 228086 h 299025"/>
                <a:gd name="connsiteX306" fmla="*/ 119610 w 184504"/>
                <a:gd name="connsiteY306" fmla="*/ 229677 h 299025"/>
                <a:gd name="connsiteX307" fmla="*/ 118019 w 184504"/>
                <a:gd name="connsiteY307" fmla="*/ 232858 h 299025"/>
                <a:gd name="connsiteX308" fmla="*/ 116747 w 184504"/>
                <a:gd name="connsiteY308" fmla="*/ 233494 h 299025"/>
                <a:gd name="connsiteX309" fmla="*/ 117065 w 184504"/>
                <a:gd name="connsiteY309" fmla="*/ 233494 h 299025"/>
                <a:gd name="connsiteX310" fmla="*/ 117383 w 184504"/>
                <a:gd name="connsiteY310" fmla="*/ 234130 h 299025"/>
                <a:gd name="connsiteX311" fmla="*/ 116429 w 184504"/>
                <a:gd name="connsiteY311" fmla="*/ 236675 h 299025"/>
                <a:gd name="connsiteX312" fmla="*/ 115475 w 184504"/>
                <a:gd name="connsiteY312" fmla="*/ 237311 h 299025"/>
                <a:gd name="connsiteX313" fmla="*/ 115793 w 184504"/>
                <a:gd name="connsiteY313" fmla="*/ 239220 h 299025"/>
                <a:gd name="connsiteX314" fmla="*/ 115475 w 184504"/>
                <a:gd name="connsiteY314" fmla="*/ 239538 h 299025"/>
                <a:gd name="connsiteX315" fmla="*/ 114838 w 184504"/>
                <a:gd name="connsiteY315" fmla="*/ 239538 h 299025"/>
                <a:gd name="connsiteX316" fmla="*/ 114838 w 184504"/>
                <a:gd name="connsiteY316" fmla="*/ 239856 h 299025"/>
                <a:gd name="connsiteX317" fmla="*/ 109431 w 184504"/>
                <a:gd name="connsiteY317" fmla="*/ 251626 h 299025"/>
                <a:gd name="connsiteX318" fmla="*/ 106885 w 184504"/>
                <a:gd name="connsiteY318" fmla="*/ 254489 h 299025"/>
                <a:gd name="connsiteX319" fmla="*/ 102114 w 184504"/>
                <a:gd name="connsiteY319" fmla="*/ 260534 h 299025"/>
                <a:gd name="connsiteX320" fmla="*/ 102432 w 184504"/>
                <a:gd name="connsiteY320" fmla="*/ 261170 h 299025"/>
                <a:gd name="connsiteX321" fmla="*/ 101478 w 184504"/>
                <a:gd name="connsiteY321" fmla="*/ 262760 h 299025"/>
                <a:gd name="connsiteX322" fmla="*/ 101160 w 184504"/>
                <a:gd name="connsiteY322" fmla="*/ 264033 h 299025"/>
                <a:gd name="connsiteX323" fmla="*/ 100842 w 184504"/>
                <a:gd name="connsiteY323" fmla="*/ 263397 h 299025"/>
                <a:gd name="connsiteX324" fmla="*/ 96388 w 184504"/>
                <a:gd name="connsiteY324" fmla="*/ 269123 h 299025"/>
                <a:gd name="connsiteX325" fmla="*/ 93525 w 184504"/>
                <a:gd name="connsiteY325" fmla="*/ 272622 h 299025"/>
                <a:gd name="connsiteX326" fmla="*/ 88753 w 184504"/>
                <a:gd name="connsiteY326" fmla="*/ 277712 h 299025"/>
                <a:gd name="connsiteX327" fmla="*/ 81119 w 184504"/>
                <a:gd name="connsiteY327" fmla="*/ 283756 h 299025"/>
                <a:gd name="connsiteX328" fmla="*/ 80482 w 184504"/>
                <a:gd name="connsiteY328" fmla="*/ 285028 h 299025"/>
                <a:gd name="connsiteX329" fmla="*/ 79846 w 184504"/>
                <a:gd name="connsiteY329" fmla="*/ 285664 h 299025"/>
                <a:gd name="connsiteX330" fmla="*/ 79528 w 184504"/>
                <a:gd name="connsiteY330" fmla="*/ 285028 h 299025"/>
                <a:gd name="connsiteX331" fmla="*/ 76665 w 184504"/>
                <a:gd name="connsiteY331" fmla="*/ 285346 h 299025"/>
                <a:gd name="connsiteX332" fmla="*/ 76983 w 184504"/>
                <a:gd name="connsiteY332" fmla="*/ 286301 h 299025"/>
                <a:gd name="connsiteX333" fmla="*/ 76665 w 184504"/>
                <a:gd name="connsiteY333" fmla="*/ 287573 h 299025"/>
                <a:gd name="connsiteX334" fmla="*/ 75393 w 184504"/>
                <a:gd name="connsiteY334" fmla="*/ 286937 h 299025"/>
                <a:gd name="connsiteX335" fmla="*/ 73802 w 184504"/>
                <a:gd name="connsiteY335" fmla="*/ 286937 h 299025"/>
                <a:gd name="connsiteX336" fmla="*/ 73802 w 184504"/>
                <a:gd name="connsiteY336" fmla="*/ 287573 h 299025"/>
                <a:gd name="connsiteX337" fmla="*/ 68712 w 184504"/>
                <a:gd name="connsiteY337" fmla="*/ 292345 h 299025"/>
                <a:gd name="connsiteX338" fmla="*/ 67758 w 184504"/>
                <a:gd name="connsiteY338" fmla="*/ 292027 h 299025"/>
                <a:gd name="connsiteX339" fmla="*/ 65213 w 184504"/>
                <a:gd name="connsiteY339" fmla="*/ 293617 h 299025"/>
                <a:gd name="connsiteX340" fmla="*/ 62032 w 184504"/>
                <a:gd name="connsiteY340" fmla="*/ 292981 h 299025"/>
                <a:gd name="connsiteX341" fmla="*/ 59169 w 184504"/>
                <a:gd name="connsiteY341" fmla="*/ 294890 h 299025"/>
                <a:gd name="connsiteX342" fmla="*/ 57897 w 184504"/>
                <a:gd name="connsiteY342" fmla="*/ 294572 h 299025"/>
                <a:gd name="connsiteX343" fmla="*/ 55670 w 184504"/>
                <a:gd name="connsiteY343" fmla="*/ 296162 h 299025"/>
                <a:gd name="connsiteX344" fmla="*/ 54397 w 184504"/>
                <a:gd name="connsiteY344" fmla="*/ 294890 h 299025"/>
                <a:gd name="connsiteX345" fmla="*/ 54715 w 184504"/>
                <a:gd name="connsiteY345" fmla="*/ 295208 h 299025"/>
                <a:gd name="connsiteX346" fmla="*/ 52488 w 184504"/>
                <a:gd name="connsiteY346" fmla="*/ 296798 h 299025"/>
                <a:gd name="connsiteX347" fmla="*/ 51216 w 184504"/>
                <a:gd name="connsiteY347" fmla="*/ 297753 h 299025"/>
                <a:gd name="connsiteX348" fmla="*/ 49307 w 184504"/>
                <a:gd name="connsiteY348" fmla="*/ 298071 h 299025"/>
                <a:gd name="connsiteX349" fmla="*/ 47399 w 184504"/>
                <a:gd name="connsiteY349" fmla="*/ 297116 h 299025"/>
                <a:gd name="connsiteX350" fmla="*/ 45808 w 184504"/>
                <a:gd name="connsiteY350" fmla="*/ 299343 h 299025"/>
                <a:gd name="connsiteX351" fmla="*/ 44218 w 184504"/>
                <a:gd name="connsiteY351" fmla="*/ 297753 h 299025"/>
                <a:gd name="connsiteX352" fmla="*/ 44854 w 184504"/>
                <a:gd name="connsiteY352" fmla="*/ 298071 h 299025"/>
                <a:gd name="connsiteX353" fmla="*/ 44854 w 184504"/>
                <a:gd name="connsiteY353" fmla="*/ 297435 h 299025"/>
                <a:gd name="connsiteX354" fmla="*/ 41673 w 184504"/>
                <a:gd name="connsiteY354" fmla="*/ 297753 h 299025"/>
                <a:gd name="connsiteX355" fmla="*/ 40718 w 184504"/>
                <a:gd name="connsiteY355" fmla="*/ 297753 h 299025"/>
                <a:gd name="connsiteX356" fmla="*/ 39446 w 184504"/>
                <a:gd name="connsiteY356" fmla="*/ 297435 h 299025"/>
                <a:gd name="connsiteX357" fmla="*/ 39128 w 184504"/>
                <a:gd name="connsiteY357" fmla="*/ 297753 h 299025"/>
                <a:gd name="connsiteX358" fmla="*/ 38173 w 184504"/>
                <a:gd name="connsiteY358" fmla="*/ 297435 h 299025"/>
                <a:gd name="connsiteX359" fmla="*/ 37219 w 184504"/>
                <a:gd name="connsiteY359" fmla="*/ 296798 h 299025"/>
                <a:gd name="connsiteX360" fmla="*/ 36265 w 184504"/>
                <a:gd name="connsiteY360" fmla="*/ 296798 h 299025"/>
                <a:gd name="connsiteX361" fmla="*/ 34356 w 184504"/>
                <a:gd name="connsiteY361" fmla="*/ 297435 h 299025"/>
                <a:gd name="connsiteX362" fmla="*/ 34038 w 184504"/>
                <a:gd name="connsiteY362" fmla="*/ 297435 h 299025"/>
                <a:gd name="connsiteX363" fmla="*/ 32448 w 184504"/>
                <a:gd name="connsiteY363" fmla="*/ 297753 h 299025"/>
                <a:gd name="connsiteX364" fmla="*/ 31175 w 184504"/>
                <a:gd name="connsiteY364" fmla="*/ 296798 h 299025"/>
                <a:gd name="connsiteX365" fmla="*/ 30539 w 184504"/>
                <a:gd name="connsiteY365" fmla="*/ 297116 h 299025"/>
                <a:gd name="connsiteX366" fmla="*/ 28948 w 184504"/>
                <a:gd name="connsiteY366" fmla="*/ 296162 h 299025"/>
                <a:gd name="connsiteX367" fmla="*/ 28948 w 184504"/>
                <a:gd name="connsiteY367" fmla="*/ 297116 h 299025"/>
                <a:gd name="connsiteX368" fmla="*/ 29267 w 184504"/>
                <a:gd name="connsiteY368" fmla="*/ 297435 h 299025"/>
                <a:gd name="connsiteX369" fmla="*/ 28948 w 184504"/>
                <a:gd name="connsiteY369" fmla="*/ 297435 h 299025"/>
                <a:gd name="connsiteX370" fmla="*/ 16860 w 184504"/>
                <a:gd name="connsiteY370" fmla="*/ 292027 h 299025"/>
                <a:gd name="connsiteX371" fmla="*/ 15906 w 184504"/>
                <a:gd name="connsiteY371" fmla="*/ 290754 h 299025"/>
                <a:gd name="connsiteX372" fmla="*/ 8589 w 184504"/>
                <a:gd name="connsiteY372" fmla="*/ 282801 h 299025"/>
                <a:gd name="connsiteX373" fmla="*/ 7953 w 184504"/>
                <a:gd name="connsiteY373" fmla="*/ 282165 h 299025"/>
                <a:gd name="connsiteX374" fmla="*/ 6362 w 184504"/>
                <a:gd name="connsiteY374" fmla="*/ 281211 h 299025"/>
                <a:gd name="connsiteX375" fmla="*/ 6680 w 184504"/>
                <a:gd name="connsiteY375" fmla="*/ 280893 h 299025"/>
                <a:gd name="connsiteX376" fmla="*/ 3499 w 184504"/>
                <a:gd name="connsiteY376" fmla="*/ 274212 h 299025"/>
                <a:gd name="connsiteX377" fmla="*/ 3499 w 184504"/>
                <a:gd name="connsiteY377" fmla="*/ 273576 h 299025"/>
                <a:gd name="connsiteX378" fmla="*/ 3818 w 184504"/>
                <a:gd name="connsiteY378" fmla="*/ 272304 h 299025"/>
                <a:gd name="connsiteX379" fmla="*/ 3499 w 184504"/>
                <a:gd name="connsiteY379" fmla="*/ 271349 h 299025"/>
                <a:gd name="connsiteX380" fmla="*/ 4454 w 184504"/>
                <a:gd name="connsiteY380" fmla="*/ 270395 h 299025"/>
                <a:gd name="connsiteX381" fmla="*/ 4454 w 184504"/>
                <a:gd name="connsiteY381" fmla="*/ 269759 h 299025"/>
                <a:gd name="connsiteX382" fmla="*/ 3499 w 184504"/>
                <a:gd name="connsiteY382" fmla="*/ 267850 h 299025"/>
                <a:gd name="connsiteX383" fmla="*/ 3181 w 184504"/>
                <a:gd name="connsiteY383" fmla="*/ 267214 h 299025"/>
                <a:gd name="connsiteX384" fmla="*/ 3181 w 184504"/>
                <a:gd name="connsiteY384" fmla="*/ 268486 h 299025"/>
                <a:gd name="connsiteX385" fmla="*/ 1591 w 184504"/>
                <a:gd name="connsiteY385" fmla="*/ 267214 h 299025"/>
                <a:gd name="connsiteX386" fmla="*/ 1909 w 184504"/>
                <a:gd name="connsiteY386" fmla="*/ 265941 h 299025"/>
                <a:gd name="connsiteX387" fmla="*/ 954 w 184504"/>
                <a:gd name="connsiteY387" fmla="*/ 264033 h 299025"/>
                <a:gd name="connsiteX388" fmla="*/ 954 w 184504"/>
                <a:gd name="connsiteY388" fmla="*/ 263078 h 299025"/>
                <a:gd name="connsiteX389" fmla="*/ 0 w 184504"/>
                <a:gd name="connsiteY389" fmla="*/ 261170 h 299025"/>
                <a:gd name="connsiteX390" fmla="*/ 318 w 184504"/>
                <a:gd name="connsiteY390" fmla="*/ 261170 h 299025"/>
                <a:gd name="connsiteX391" fmla="*/ 0 w 184504"/>
                <a:gd name="connsiteY391" fmla="*/ 260534 h 299025"/>
                <a:gd name="connsiteX392" fmla="*/ 1273 w 184504"/>
                <a:gd name="connsiteY392" fmla="*/ 258307 h 299025"/>
                <a:gd name="connsiteX393" fmla="*/ 318 w 184504"/>
                <a:gd name="connsiteY393" fmla="*/ 254808 h 299025"/>
                <a:gd name="connsiteX394" fmla="*/ 318 w 184504"/>
                <a:gd name="connsiteY394" fmla="*/ 252581 h 299025"/>
                <a:gd name="connsiteX395" fmla="*/ 954 w 184504"/>
                <a:gd name="connsiteY395" fmla="*/ 251308 h 299025"/>
                <a:gd name="connsiteX396" fmla="*/ 636 w 184504"/>
                <a:gd name="connsiteY396" fmla="*/ 249718 h 299025"/>
                <a:gd name="connsiteX397" fmla="*/ 1273 w 184504"/>
                <a:gd name="connsiteY397" fmla="*/ 245582 h 299025"/>
                <a:gd name="connsiteX398" fmla="*/ 2227 w 184504"/>
                <a:gd name="connsiteY398" fmla="*/ 245264 h 299025"/>
                <a:gd name="connsiteX399" fmla="*/ 2227 w 184504"/>
                <a:gd name="connsiteY399" fmla="*/ 245900 h 299025"/>
                <a:gd name="connsiteX400" fmla="*/ 3818 w 184504"/>
                <a:gd name="connsiteY400" fmla="*/ 247809 h 299025"/>
                <a:gd name="connsiteX401" fmla="*/ 4772 w 184504"/>
                <a:gd name="connsiteY401" fmla="*/ 247809 h 299025"/>
                <a:gd name="connsiteX402" fmla="*/ 3818 w 184504"/>
                <a:gd name="connsiteY402" fmla="*/ 245582 h 299025"/>
                <a:gd name="connsiteX403" fmla="*/ 3181 w 184504"/>
                <a:gd name="connsiteY403" fmla="*/ 245582 h 299025"/>
                <a:gd name="connsiteX404" fmla="*/ 4772 w 184504"/>
                <a:gd name="connsiteY404" fmla="*/ 244946 h 299025"/>
                <a:gd name="connsiteX405" fmla="*/ 6044 w 184504"/>
                <a:gd name="connsiteY405" fmla="*/ 246537 h 299025"/>
                <a:gd name="connsiteX406" fmla="*/ 6362 w 184504"/>
                <a:gd name="connsiteY406" fmla="*/ 246537 h 299025"/>
                <a:gd name="connsiteX407" fmla="*/ 5726 w 184504"/>
                <a:gd name="connsiteY407" fmla="*/ 248763 h 299025"/>
                <a:gd name="connsiteX408" fmla="*/ 6680 w 184504"/>
                <a:gd name="connsiteY408" fmla="*/ 250672 h 299025"/>
                <a:gd name="connsiteX409" fmla="*/ 7317 w 184504"/>
                <a:gd name="connsiteY409" fmla="*/ 256398 h 299025"/>
                <a:gd name="connsiteX410" fmla="*/ 8907 w 184504"/>
                <a:gd name="connsiteY410" fmla="*/ 260215 h 299025"/>
                <a:gd name="connsiteX411" fmla="*/ 11134 w 184504"/>
                <a:gd name="connsiteY411" fmla="*/ 257034 h 299025"/>
                <a:gd name="connsiteX412" fmla="*/ 10498 w 184504"/>
                <a:gd name="connsiteY412" fmla="*/ 255762 h 299025"/>
                <a:gd name="connsiteX413" fmla="*/ 9225 w 184504"/>
                <a:gd name="connsiteY413" fmla="*/ 254489 h 299025"/>
                <a:gd name="connsiteX414" fmla="*/ 10498 w 184504"/>
                <a:gd name="connsiteY414" fmla="*/ 250672 h 299025"/>
                <a:gd name="connsiteX415" fmla="*/ 9861 w 184504"/>
                <a:gd name="connsiteY415" fmla="*/ 247809 h 299025"/>
                <a:gd name="connsiteX416" fmla="*/ 12088 w 184504"/>
                <a:gd name="connsiteY416" fmla="*/ 242401 h 299025"/>
                <a:gd name="connsiteX417" fmla="*/ 11452 w 184504"/>
                <a:gd name="connsiteY417" fmla="*/ 241129 h 299025"/>
                <a:gd name="connsiteX418" fmla="*/ 11770 w 184504"/>
                <a:gd name="connsiteY418" fmla="*/ 237630 h 299025"/>
                <a:gd name="connsiteX419" fmla="*/ 11452 w 184504"/>
                <a:gd name="connsiteY419" fmla="*/ 235403 h 299025"/>
                <a:gd name="connsiteX420" fmla="*/ 12406 w 184504"/>
                <a:gd name="connsiteY420" fmla="*/ 235721 h 299025"/>
                <a:gd name="connsiteX421" fmla="*/ 13043 w 184504"/>
                <a:gd name="connsiteY421" fmla="*/ 234448 h 299025"/>
                <a:gd name="connsiteX422" fmla="*/ 13043 w 184504"/>
                <a:gd name="connsiteY422" fmla="*/ 233812 h 299025"/>
                <a:gd name="connsiteX423" fmla="*/ 11770 w 184504"/>
                <a:gd name="connsiteY423" fmla="*/ 233494 h 299025"/>
                <a:gd name="connsiteX424" fmla="*/ 11452 w 184504"/>
                <a:gd name="connsiteY424" fmla="*/ 232858 h 299025"/>
                <a:gd name="connsiteX425" fmla="*/ 12406 w 184504"/>
                <a:gd name="connsiteY425" fmla="*/ 230313 h 299025"/>
                <a:gd name="connsiteX426" fmla="*/ 12406 w 184504"/>
                <a:gd name="connsiteY426" fmla="*/ 229677 h 299025"/>
                <a:gd name="connsiteX427" fmla="*/ 13043 w 184504"/>
                <a:gd name="connsiteY427" fmla="*/ 228086 h 299025"/>
                <a:gd name="connsiteX428" fmla="*/ 12724 w 184504"/>
                <a:gd name="connsiteY428" fmla="*/ 226177 h 299025"/>
                <a:gd name="connsiteX429" fmla="*/ 13361 w 184504"/>
                <a:gd name="connsiteY429" fmla="*/ 225859 h 299025"/>
                <a:gd name="connsiteX430" fmla="*/ 13679 w 184504"/>
                <a:gd name="connsiteY430" fmla="*/ 225859 h 299025"/>
                <a:gd name="connsiteX431" fmla="*/ 14315 w 184504"/>
                <a:gd name="connsiteY431" fmla="*/ 224905 h 299025"/>
                <a:gd name="connsiteX432" fmla="*/ 13997 w 184504"/>
                <a:gd name="connsiteY432" fmla="*/ 224587 h 299025"/>
                <a:gd name="connsiteX433" fmla="*/ 14633 w 184504"/>
                <a:gd name="connsiteY433" fmla="*/ 222996 h 299025"/>
                <a:gd name="connsiteX434" fmla="*/ 13679 w 184504"/>
                <a:gd name="connsiteY434" fmla="*/ 222042 h 299025"/>
                <a:gd name="connsiteX435" fmla="*/ 17814 w 184504"/>
                <a:gd name="connsiteY435" fmla="*/ 218225 h 299025"/>
                <a:gd name="connsiteX436" fmla="*/ 17496 w 184504"/>
                <a:gd name="connsiteY436" fmla="*/ 218225 h 299025"/>
                <a:gd name="connsiteX437" fmla="*/ 15906 w 184504"/>
                <a:gd name="connsiteY437" fmla="*/ 216316 h 299025"/>
                <a:gd name="connsiteX438" fmla="*/ 16224 w 184504"/>
                <a:gd name="connsiteY438" fmla="*/ 216316 h 299025"/>
                <a:gd name="connsiteX439" fmla="*/ 16860 w 184504"/>
                <a:gd name="connsiteY439" fmla="*/ 216634 h 299025"/>
                <a:gd name="connsiteX440" fmla="*/ 17814 w 184504"/>
                <a:gd name="connsiteY440" fmla="*/ 215680 h 299025"/>
                <a:gd name="connsiteX441" fmla="*/ 17496 w 184504"/>
                <a:gd name="connsiteY441" fmla="*/ 215044 h 299025"/>
                <a:gd name="connsiteX442" fmla="*/ 17496 w 184504"/>
                <a:gd name="connsiteY442" fmla="*/ 214725 h 299025"/>
                <a:gd name="connsiteX443" fmla="*/ 16542 w 184504"/>
                <a:gd name="connsiteY443" fmla="*/ 215044 h 299025"/>
                <a:gd name="connsiteX444" fmla="*/ 15588 w 184504"/>
                <a:gd name="connsiteY444" fmla="*/ 214089 h 299025"/>
                <a:gd name="connsiteX445" fmla="*/ 14951 w 184504"/>
                <a:gd name="connsiteY445" fmla="*/ 214725 h 299025"/>
                <a:gd name="connsiteX446" fmla="*/ 14633 w 184504"/>
                <a:gd name="connsiteY446" fmla="*/ 214089 h 299025"/>
                <a:gd name="connsiteX447" fmla="*/ 15270 w 184504"/>
                <a:gd name="connsiteY447" fmla="*/ 212499 h 299025"/>
                <a:gd name="connsiteX448" fmla="*/ 17178 w 184504"/>
                <a:gd name="connsiteY448" fmla="*/ 213771 h 299025"/>
                <a:gd name="connsiteX449" fmla="*/ 18451 w 184504"/>
                <a:gd name="connsiteY449" fmla="*/ 212817 h 299025"/>
                <a:gd name="connsiteX450" fmla="*/ 18133 w 184504"/>
                <a:gd name="connsiteY450" fmla="*/ 212499 h 299025"/>
                <a:gd name="connsiteX451" fmla="*/ 19087 w 184504"/>
                <a:gd name="connsiteY451" fmla="*/ 208045 h 299025"/>
                <a:gd name="connsiteX452" fmla="*/ 19087 w 184504"/>
                <a:gd name="connsiteY452" fmla="*/ 207727 h 299025"/>
                <a:gd name="connsiteX453" fmla="*/ 20359 w 184504"/>
                <a:gd name="connsiteY453" fmla="*/ 207091 h 299025"/>
                <a:gd name="connsiteX454" fmla="*/ 20359 w 184504"/>
                <a:gd name="connsiteY454" fmla="*/ 206773 h 299025"/>
                <a:gd name="connsiteX455" fmla="*/ 18769 w 184504"/>
                <a:gd name="connsiteY455" fmla="*/ 207091 h 299025"/>
                <a:gd name="connsiteX456" fmla="*/ 18451 w 184504"/>
                <a:gd name="connsiteY456" fmla="*/ 206773 h 299025"/>
                <a:gd name="connsiteX457" fmla="*/ 17496 w 184504"/>
                <a:gd name="connsiteY457" fmla="*/ 209954 h 299025"/>
                <a:gd name="connsiteX458" fmla="*/ 16224 w 184504"/>
                <a:gd name="connsiteY458" fmla="*/ 209954 h 299025"/>
                <a:gd name="connsiteX459" fmla="*/ 15906 w 184504"/>
                <a:gd name="connsiteY459" fmla="*/ 208681 h 299025"/>
                <a:gd name="connsiteX460" fmla="*/ 17496 w 184504"/>
                <a:gd name="connsiteY460" fmla="*/ 205818 h 299025"/>
                <a:gd name="connsiteX461" fmla="*/ 17496 w 184504"/>
                <a:gd name="connsiteY461" fmla="*/ 204864 h 299025"/>
                <a:gd name="connsiteX462" fmla="*/ 18133 w 184504"/>
                <a:gd name="connsiteY462" fmla="*/ 204546 h 299025"/>
                <a:gd name="connsiteX463" fmla="*/ 18769 w 184504"/>
                <a:gd name="connsiteY463" fmla="*/ 204864 h 299025"/>
                <a:gd name="connsiteX464" fmla="*/ 18769 w 184504"/>
                <a:gd name="connsiteY464" fmla="*/ 203910 h 299025"/>
                <a:gd name="connsiteX465" fmla="*/ 21632 w 184504"/>
                <a:gd name="connsiteY465" fmla="*/ 199456 h 299025"/>
                <a:gd name="connsiteX466" fmla="*/ 20995 w 184504"/>
                <a:gd name="connsiteY466" fmla="*/ 197229 h 299025"/>
                <a:gd name="connsiteX467" fmla="*/ 19087 w 184504"/>
                <a:gd name="connsiteY467" fmla="*/ 200092 h 299025"/>
                <a:gd name="connsiteX468" fmla="*/ 18769 w 184504"/>
                <a:gd name="connsiteY468" fmla="*/ 199774 h 299025"/>
                <a:gd name="connsiteX469" fmla="*/ 16860 w 184504"/>
                <a:gd name="connsiteY469" fmla="*/ 202319 h 299025"/>
                <a:gd name="connsiteX470" fmla="*/ 16224 w 184504"/>
                <a:gd name="connsiteY470" fmla="*/ 202955 h 299025"/>
                <a:gd name="connsiteX471" fmla="*/ 16860 w 184504"/>
                <a:gd name="connsiteY471" fmla="*/ 203910 h 299025"/>
                <a:gd name="connsiteX472" fmla="*/ 16542 w 184504"/>
                <a:gd name="connsiteY472" fmla="*/ 204228 h 299025"/>
                <a:gd name="connsiteX473" fmla="*/ 16224 w 184504"/>
                <a:gd name="connsiteY473" fmla="*/ 204546 h 299025"/>
                <a:gd name="connsiteX474" fmla="*/ 14951 w 184504"/>
                <a:gd name="connsiteY474" fmla="*/ 202955 h 299025"/>
                <a:gd name="connsiteX475" fmla="*/ 14315 w 184504"/>
                <a:gd name="connsiteY475" fmla="*/ 203910 h 299025"/>
                <a:gd name="connsiteX476" fmla="*/ 13361 w 184504"/>
                <a:gd name="connsiteY476" fmla="*/ 202319 h 299025"/>
                <a:gd name="connsiteX477" fmla="*/ 14633 w 184504"/>
                <a:gd name="connsiteY477" fmla="*/ 201047 h 299025"/>
                <a:gd name="connsiteX478" fmla="*/ 14951 w 184504"/>
                <a:gd name="connsiteY478" fmla="*/ 201365 h 299025"/>
                <a:gd name="connsiteX479" fmla="*/ 15906 w 184504"/>
                <a:gd name="connsiteY479" fmla="*/ 201047 h 299025"/>
                <a:gd name="connsiteX480" fmla="*/ 15588 w 184504"/>
                <a:gd name="connsiteY480" fmla="*/ 200410 h 299025"/>
                <a:gd name="connsiteX481" fmla="*/ 20041 w 184504"/>
                <a:gd name="connsiteY481" fmla="*/ 194366 h 299025"/>
                <a:gd name="connsiteX482" fmla="*/ 20995 w 184504"/>
                <a:gd name="connsiteY482" fmla="*/ 193094 h 299025"/>
                <a:gd name="connsiteX483" fmla="*/ 22268 w 184504"/>
                <a:gd name="connsiteY483" fmla="*/ 191821 h 299025"/>
                <a:gd name="connsiteX484" fmla="*/ 25449 w 184504"/>
                <a:gd name="connsiteY484" fmla="*/ 187686 h 299025"/>
                <a:gd name="connsiteX485" fmla="*/ 26085 w 184504"/>
                <a:gd name="connsiteY485" fmla="*/ 188004 h 299025"/>
                <a:gd name="connsiteX486" fmla="*/ 23540 w 184504"/>
                <a:gd name="connsiteY486" fmla="*/ 191503 h 299025"/>
                <a:gd name="connsiteX487" fmla="*/ 23858 w 184504"/>
                <a:gd name="connsiteY487" fmla="*/ 192140 h 299025"/>
                <a:gd name="connsiteX488" fmla="*/ 23858 w 184504"/>
                <a:gd name="connsiteY488" fmla="*/ 192776 h 299025"/>
                <a:gd name="connsiteX489" fmla="*/ 23222 w 184504"/>
                <a:gd name="connsiteY489" fmla="*/ 194684 h 299025"/>
                <a:gd name="connsiteX490" fmla="*/ 22586 w 184504"/>
                <a:gd name="connsiteY490" fmla="*/ 195639 h 299025"/>
                <a:gd name="connsiteX491" fmla="*/ 21950 w 184504"/>
                <a:gd name="connsiteY491" fmla="*/ 196275 h 299025"/>
                <a:gd name="connsiteX492" fmla="*/ 22586 w 184504"/>
                <a:gd name="connsiteY492" fmla="*/ 196911 h 299025"/>
                <a:gd name="connsiteX493" fmla="*/ 23222 w 184504"/>
                <a:gd name="connsiteY493" fmla="*/ 196911 h 299025"/>
                <a:gd name="connsiteX494" fmla="*/ 25131 w 184504"/>
                <a:gd name="connsiteY494" fmla="*/ 194366 h 299025"/>
                <a:gd name="connsiteX495" fmla="*/ 25449 w 184504"/>
                <a:gd name="connsiteY495" fmla="*/ 193094 h 299025"/>
                <a:gd name="connsiteX496" fmla="*/ 27358 w 184504"/>
                <a:gd name="connsiteY496" fmla="*/ 191503 h 299025"/>
                <a:gd name="connsiteX497" fmla="*/ 28630 w 184504"/>
                <a:gd name="connsiteY497" fmla="*/ 190231 h 299025"/>
                <a:gd name="connsiteX498" fmla="*/ 29903 w 184504"/>
                <a:gd name="connsiteY498" fmla="*/ 188640 h 299025"/>
                <a:gd name="connsiteX499" fmla="*/ 30539 w 184504"/>
                <a:gd name="connsiteY499" fmla="*/ 188640 h 299025"/>
                <a:gd name="connsiteX500" fmla="*/ 30221 w 184504"/>
                <a:gd name="connsiteY500" fmla="*/ 188958 h 299025"/>
                <a:gd name="connsiteX501" fmla="*/ 30539 w 184504"/>
                <a:gd name="connsiteY501" fmla="*/ 189277 h 299025"/>
                <a:gd name="connsiteX502" fmla="*/ 30857 w 184504"/>
                <a:gd name="connsiteY502" fmla="*/ 188958 h 299025"/>
                <a:gd name="connsiteX503" fmla="*/ 31175 w 184504"/>
                <a:gd name="connsiteY503" fmla="*/ 188958 h 299025"/>
                <a:gd name="connsiteX504" fmla="*/ 31493 w 184504"/>
                <a:gd name="connsiteY504" fmla="*/ 188640 h 299025"/>
                <a:gd name="connsiteX505" fmla="*/ 30857 w 184504"/>
                <a:gd name="connsiteY505" fmla="*/ 187050 h 299025"/>
                <a:gd name="connsiteX506" fmla="*/ 32448 w 184504"/>
                <a:gd name="connsiteY506" fmla="*/ 185777 h 299025"/>
                <a:gd name="connsiteX507" fmla="*/ 32766 w 184504"/>
                <a:gd name="connsiteY507" fmla="*/ 184505 h 299025"/>
                <a:gd name="connsiteX508" fmla="*/ 32766 w 184504"/>
                <a:gd name="connsiteY508" fmla="*/ 183869 h 299025"/>
                <a:gd name="connsiteX509" fmla="*/ 36901 w 184504"/>
                <a:gd name="connsiteY509" fmla="*/ 178779 h 299025"/>
                <a:gd name="connsiteX510" fmla="*/ 45808 w 184504"/>
                <a:gd name="connsiteY510" fmla="*/ 168281 h 299025"/>
                <a:gd name="connsiteX511" fmla="*/ 45808 w 184504"/>
                <a:gd name="connsiteY511" fmla="*/ 166372 h 299025"/>
                <a:gd name="connsiteX512" fmla="*/ 44536 w 184504"/>
                <a:gd name="connsiteY512" fmla="*/ 167327 h 299025"/>
                <a:gd name="connsiteX513" fmla="*/ 44536 w 184504"/>
                <a:gd name="connsiteY513" fmla="*/ 167009 h 299025"/>
                <a:gd name="connsiteX514" fmla="*/ 43263 w 184504"/>
                <a:gd name="connsiteY514" fmla="*/ 167327 h 299025"/>
                <a:gd name="connsiteX515" fmla="*/ 42945 w 184504"/>
                <a:gd name="connsiteY515" fmla="*/ 167645 h 299025"/>
                <a:gd name="connsiteX516" fmla="*/ 41673 w 184504"/>
                <a:gd name="connsiteY516" fmla="*/ 168917 h 299025"/>
                <a:gd name="connsiteX517" fmla="*/ 41355 w 184504"/>
                <a:gd name="connsiteY517" fmla="*/ 168599 h 299025"/>
                <a:gd name="connsiteX518" fmla="*/ 40718 w 184504"/>
                <a:gd name="connsiteY518" fmla="*/ 169235 h 299025"/>
                <a:gd name="connsiteX519" fmla="*/ 40400 w 184504"/>
                <a:gd name="connsiteY519" fmla="*/ 168917 h 299025"/>
                <a:gd name="connsiteX520" fmla="*/ 45490 w 184504"/>
                <a:gd name="connsiteY520" fmla="*/ 163828 h 299025"/>
                <a:gd name="connsiteX521" fmla="*/ 46126 w 184504"/>
                <a:gd name="connsiteY521" fmla="*/ 162873 h 299025"/>
                <a:gd name="connsiteX522" fmla="*/ 45490 w 184504"/>
                <a:gd name="connsiteY522" fmla="*/ 162873 h 299025"/>
                <a:gd name="connsiteX523" fmla="*/ 44854 w 184504"/>
                <a:gd name="connsiteY523" fmla="*/ 162555 h 299025"/>
                <a:gd name="connsiteX524" fmla="*/ 59169 w 184504"/>
                <a:gd name="connsiteY524" fmla="*/ 151103 h 299025"/>
                <a:gd name="connsiteX525" fmla="*/ 61396 w 184504"/>
                <a:gd name="connsiteY525" fmla="*/ 149194 h 299025"/>
                <a:gd name="connsiteX526" fmla="*/ 65213 w 184504"/>
                <a:gd name="connsiteY526" fmla="*/ 146013 h 299025"/>
                <a:gd name="connsiteX527" fmla="*/ 65531 w 184504"/>
                <a:gd name="connsiteY527" fmla="*/ 146650 h 299025"/>
                <a:gd name="connsiteX528" fmla="*/ 66803 w 184504"/>
                <a:gd name="connsiteY528" fmla="*/ 144423 h 299025"/>
                <a:gd name="connsiteX529" fmla="*/ 67122 w 184504"/>
                <a:gd name="connsiteY529" fmla="*/ 144741 h 299025"/>
                <a:gd name="connsiteX530" fmla="*/ 67440 w 184504"/>
                <a:gd name="connsiteY530" fmla="*/ 144105 h 299025"/>
                <a:gd name="connsiteX531" fmla="*/ 67440 w 184504"/>
                <a:gd name="connsiteY531" fmla="*/ 143787 h 299025"/>
                <a:gd name="connsiteX532" fmla="*/ 68076 w 184504"/>
                <a:gd name="connsiteY532" fmla="*/ 144105 h 299025"/>
                <a:gd name="connsiteX533" fmla="*/ 70621 w 184504"/>
                <a:gd name="connsiteY533" fmla="*/ 141242 h 299025"/>
                <a:gd name="connsiteX534" fmla="*/ 69349 w 184504"/>
                <a:gd name="connsiteY534" fmla="*/ 140924 h 299025"/>
                <a:gd name="connsiteX535" fmla="*/ 66485 w 184504"/>
                <a:gd name="connsiteY535" fmla="*/ 142196 h 299025"/>
                <a:gd name="connsiteX536" fmla="*/ 65531 w 184504"/>
                <a:gd name="connsiteY536" fmla="*/ 141878 h 299025"/>
                <a:gd name="connsiteX537" fmla="*/ 70303 w 184504"/>
                <a:gd name="connsiteY537" fmla="*/ 138697 h 299025"/>
                <a:gd name="connsiteX538" fmla="*/ 69985 w 184504"/>
                <a:gd name="connsiteY538" fmla="*/ 138061 h 299025"/>
                <a:gd name="connsiteX539" fmla="*/ 70621 w 184504"/>
                <a:gd name="connsiteY539" fmla="*/ 137742 h 299025"/>
                <a:gd name="connsiteX540" fmla="*/ 70939 w 184504"/>
                <a:gd name="connsiteY540" fmla="*/ 138379 h 299025"/>
                <a:gd name="connsiteX541" fmla="*/ 71575 w 184504"/>
                <a:gd name="connsiteY541" fmla="*/ 138697 h 299025"/>
                <a:gd name="connsiteX542" fmla="*/ 70303 w 184504"/>
                <a:gd name="connsiteY542" fmla="*/ 138697 h 299025"/>
                <a:gd name="connsiteX543" fmla="*/ 70621 w 184504"/>
                <a:gd name="connsiteY543" fmla="*/ 141242 h 299025"/>
                <a:gd name="connsiteX544" fmla="*/ 73166 w 184504"/>
                <a:gd name="connsiteY544" fmla="*/ 139651 h 299025"/>
                <a:gd name="connsiteX545" fmla="*/ 73484 w 184504"/>
                <a:gd name="connsiteY545" fmla="*/ 139969 h 299025"/>
                <a:gd name="connsiteX546" fmla="*/ 75711 w 184504"/>
                <a:gd name="connsiteY546" fmla="*/ 137424 h 299025"/>
                <a:gd name="connsiteX547" fmla="*/ 75711 w 184504"/>
                <a:gd name="connsiteY547" fmla="*/ 137106 h 299025"/>
                <a:gd name="connsiteX548" fmla="*/ 76029 w 184504"/>
                <a:gd name="connsiteY548" fmla="*/ 137106 h 299025"/>
                <a:gd name="connsiteX549" fmla="*/ 76983 w 184504"/>
                <a:gd name="connsiteY549" fmla="*/ 136788 h 299025"/>
                <a:gd name="connsiteX550" fmla="*/ 77301 w 184504"/>
                <a:gd name="connsiteY550" fmla="*/ 136788 h 299025"/>
                <a:gd name="connsiteX551" fmla="*/ 79210 w 184504"/>
                <a:gd name="connsiteY551" fmla="*/ 135516 h 299025"/>
                <a:gd name="connsiteX552" fmla="*/ 79846 w 184504"/>
                <a:gd name="connsiteY552" fmla="*/ 135198 h 299025"/>
                <a:gd name="connsiteX553" fmla="*/ 83664 w 184504"/>
                <a:gd name="connsiteY553" fmla="*/ 132971 h 299025"/>
                <a:gd name="connsiteX554" fmla="*/ 91934 w 184504"/>
                <a:gd name="connsiteY554" fmla="*/ 127881 h 299025"/>
                <a:gd name="connsiteX555" fmla="*/ 92252 w 184504"/>
                <a:gd name="connsiteY555" fmla="*/ 127881 h 299025"/>
                <a:gd name="connsiteX556" fmla="*/ 93525 w 184504"/>
                <a:gd name="connsiteY556" fmla="*/ 126290 h 299025"/>
                <a:gd name="connsiteX557" fmla="*/ 95434 w 184504"/>
                <a:gd name="connsiteY557" fmla="*/ 128835 h 299025"/>
                <a:gd name="connsiteX558" fmla="*/ 95752 w 184504"/>
                <a:gd name="connsiteY558" fmla="*/ 128517 h 299025"/>
                <a:gd name="connsiteX559" fmla="*/ 96706 w 184504"/>
                <a:gd name="connsiteY559" fmla="*/ 127563 h 299025"/>
                <a:gd name="connsiteX560" fmla="*/ 95434 w 184504"/>
                <a:gd name="connsiteY560" fmla="*/ 127563 h 299025"/>
                <a:gd name="connsiteX561" fmla="*/ 94797 w 184504"/>
                <a:gd name="connsiteY561" fmla="*/ 126927 h 299025"/>
                <a:gd name="connsiteX562" fmla="*/ 99251 w 184504"/>
                <a:gd name="connsiteY562" fmla="*/ 123427 h 299025"/>
                <a:gd name="connsiteX563" fmla="*/ 100842 w 184504"/>
                <a:gd name="connsiteY563" fmla="*/ 125336 h 299025"/>
                <a:gd name="connsiteX564" fmla="*/ 99251 w 184504"/>
                <a:gd name="connsiteY564" fmla="*/ 126290 h 299025"/>
                <a:gd name="connsiteX565" fmla="*/ 99251 w 184504"/>
                <a:gd name="connsiteY565" fmla="*/ 126608 h 299025"/>
                <a:gd name="connsiteX566" fmla="*/ 100842 w 184504"/>
                <a:gd name="connsiteY566" fmla="*/ 125336 h 299025"/>
                <a:gd name="connsiteX567" fmla="*/ 101160 w 184504"/>
                <a:gd name="connsiteY567" fmla="*/ 125336 h 299025"/>
                <a:gd name="connsiteX568" fmla="*/ 103068 w 184504"/>
                <a:gd name="connsiteY568" fmla="*/ 124382 h 299025"/>
                <a:gd name="connsiteX569" fmla="*/ 102750 w 184504"/>
                <a:gd name="connsiteY569" fmla="*/ 123746 h 299025"/>
                <a:gd name="connsiteX570" fmla="*/ 101478 w 184504"/>
                <a:gd name="connsiteY570" fmla="*/ 123746 h 299025"/>
                <a:gd name="connsiteX571" fmla="*/ 101160 w 184504"/>
                <a:gd name="connsiteY571" fmla="*/ 123109 h 299025"/>
                <a:gd name="connsiteX572" fmla="*/ 103068 w 184504"/>
                <a:gd name="connsiteY572" fmla="*/ 122155 h 299025"/>
                <a:gd name="connsiteX573" fmla="*/ 103704 w 184504"/>
                <a:gd name="connsiteY573" fmla="*/ 122473 h 299025"/>
                <a:gd name="connsiteX574" fmla="*/ 104023 w 184504"/>
                <a:gd name="connsiteY574" fmla="*/ 121837 h 299025"/>
                <a:gd name="connsiteX575" fmla="*/ 104023 w 184504"/>
                <a:gd name="connsiteY575" fmla="*/ 121201 h 299025"/>
                <a:gd name="connsiteX576" fmla="*/ 113566 w 184504"/>
                <a:gd name="connsiteY576" fmla="*/ 116111 h 299025"/>
                <a:gd name="connsiteX577" fmla="*/ 113566 w 184504"/>
                <a:gd name="connsiteY577" fmla="*/ 115475 h 299025"/>
                <a:gd name="connsiteX578" fmla="*/ 114838 w 184504"/>
                <a:gd name="connsiteY578" fmla="*/ 114520 h 299025"/>
                <a:gd name="connsiteX579" fmla="*/ 116111 w 184504"/>
                <a:gd name="connsiteY579" fmla="*/ 115156 h 299025"/>
                <a:gd name="connsiteX580" fmla="*/ 116111 w 184504"/>
                <a:gd name="connsiteY580" fmla="*/ 114838 h 299025"/>
                <a:gd name="connsiteX581" fmla="*/ 116111 w 184504"/>
                <a:gd name="connsiteY581" fmla="*/ 114202 h 299025"/>
                <a:gd name="connsiteX582" fmla="*/ 118019 w 184504"/>
                <a:gd name="connsiteY582" fmla="*/ 113248 h 299025"/>
                <a:gd name="connsiteX583" fmla="*/ 119610 w 184504"/>
                <a:gd name="connsiteY583" fmla="*/ 114202 h 299025"/>
                <a:gd name="connsiteX584" fmla="*/ 118974 w 184504"/>
                <a:gd name="connsiteY584" fmla="*/ 115156 h 299025"/>
                <a:gd name="connsiteX585" fmla="*/ 119292 w 184504"/>
                <a:gd name="connsiteY585" fmla="*/ 115475 h 299025"/>
                <a:gd name="connsiteX586" fmla="*/ 120246 w 184504"/>
                <a:gd name="connsiteY586" fmla="*/ 114520 h 299025"/>
                <a:gd name="connsiteX587" fmla="*/ 119928 w 184504"/>
                <a:gd name="connsiteY587" fmla="*/ 112930 h 299025"/>
                <a:gd name="connsiteX588" fmla="*/ 129472 w 184504"/>
                <a:gd name="connsiteY588" fmla="*/ 108794 h 299025"/>
                <a:gd name="connsiteX589" fmla="*/ 129472 w 184504"/>
                <a:gd name="connsiteY589" fmla="*/ 108476 h 299025"/>
                <a:gd name="connsiteX590" fmla="*/ 128517 w 184504"/>
                <a:gd name="connsiteY590" fmla="*/ 106567 h 299025"/>
                <a:gd name="connsiteX591" fmla="*/ 128517 w 184504"/>
                <a:gd name="connsiteY591" fmla="*/ 106249 h 299025"/>
                <a:gd name="connsiteX592" fmla="*/ 129153 w 184504"/>
                <a:gd name="connsiteY592" fmla="*/ 106567 h 299025"/>
                <a:gd name="connsiteX593" fmla="*/ 130426 w 184504"/>
                <a:gd name="connsiteY593" fmla="*/ 107204 h 299025"/>
                <a:gd name="connsiteX594" fmla="*/ 132334 w 184504"/>
                <a:gd name="connsiteY594" fmla="*/ 105931 h 299025"/>
                <a:gd name="connsiteX595" fmla="*/ 132334 w 184504"/>
                <a:gd name="connsiteY595" fmla="*/ 105613 h 299025"/>
                <a:gd name="connsiteX596" fmla="*/ 129790 w 184504"/>
                <a:gd name="connsiteY596" fmla="*/ 106567 h 299025"/>
                <a:gd name="connsiteX597" fmla="*/ 129153 w 184504"/>
                <a:gd name="connsiteY597" fmla="*/ 105613 h 299025"/>
                <a:gd name="connsiteX598" fmla="*/ 129153 w 184504"/>
                <a:gd name="connsiteY598" fmla="*/ 105295 h 299025"/>
                <a:gd name="connsiteX599" fmla="*/ 130426 w 184504"/>
                <a:gd name="connsiteY599" fmla="*/ 104659 h 299025"/>
                <a:gd name="connsiteX600" fmla="*/ 131380 w 184504"/>
                <a:gd name="connsiteY600" fmla="*/ 104977 h 299025"/>
                <a:gd name="connsiteX601" fmla="*/ 133607 w 184504"/>
                <a:gd name="connsiteY601" fmla="*/ 93525 h 299025"/>
                <a:gd name="connsiteX602" fmla="*/ 133607 w 184504"/>
                <a:gd name="connsiteY602" fmla="*/ 90980 h 299025"/>
                <a:gd name="connsiteX603" fmla="*/ 133925 w 184504"/>
                <a:gd name="connsiteY603" fmla="*/ 89708 h 299025"/>
                <a:gd name="connsiteX604" fmla="*/ 133925 w 184504"/>
                <a:gd name="connsiteY604" fmla="*/ 88435 h 299025"/>
                <a:gd name="connsiteX605" fmla="*/ 134243 w 184504"/>
                <a:gd name="connsiteY605" fmla="*/ 86845 h 299025"/>
                <a:gd name="connsiteX606" fmla="*/ 133925 w 184504"/>
                <a:gd name="connsiteY606" fmla="*/ 84618 h 299025"/>
                <a:gd name="connsiteX607" fmla="*/ 135198 w 184504"/>
                <a:gd name="connsiteY607" fmla="*/ 65849 h 299025"/>
                <a:gd name="connsiteX608" fmla="*/ 135198 w 184504"/>
                <a:gd name="connsiteY608" fmla="*/ 63622 h 299025"/>
                <a:gd name="connsiteX609" fmla="*/ 135516 w 184504"/>
                <a:gd name="connsiteY609" fmla="*/ 60759 h 299025"/>
                <a:gd name="connsiteX610" fmla="*/ 135198 w 184504"/>
                <a:gd name="connsiteY610" fmla="*/ 57896 h 299025"/>
                <a:gd name="connsiteX611" fmla="*/ 136152 w 184504"/>
                <a:gd name="connsiteY611" fmla="*/ 51534 h 299025"/>
                <a:gd name="connsiteX612" fmla="*/ 135834 w 184504"/>
                <a:gd name="connsiteY612" fmla="*/ 48989 h 299025"/>
                <a:gd name="connsiteX613" fmla="*/ 135834 w 184504"/>
                <a:gd name="connsiteY613" fmla="*/ 48035 h 299025"/>
                <a:gd name="connsiteX614" fmla="*/ 136470 w 184504"/>
                <a:gd name="connsiteY614" fmla="*/ 45808 h 299025"/>
                <a:gd name="connsiteX615" fmla="*/ 136152 w 184504"/>
                <a:gd name="connsiteY615" fmla="*/ 43581 h 299025"/>
                <a:gd name="connsiteX616" fmla="*/ 136788 w 184504"/>
                <a:gd name="connsiteY616" fmla="*/ 39764 h 299025"/>
                <a:gd name="connsiteX617" fmla="*/ 136788 w 184504"/>
                <a:gd name="connsiteY617" fmla="*/ 38173 h 299025"/>
                <a:gd name="connsiteX618" fmla="*/ 136470 w 184504"/>
                <a:gd name="connsiteY618" fmla="*/ 37537 h 299025"/>
                <a:gd name="connsiteX619" fmla="*/ 135516 w 184504"/>
                <a:gd name="connsiteY619" fmla="*/ 37537 h 299025"/>
                <a:gd name="connsiteX620" fmla="*/ 132016 w 184504"/>
                <a:gd name="connsiteY620" fmla="*/ 40718 h 299025"/>
                <a:gd name="connsiteX621" fmla="*/ 131698 w 184504"/>
                <a:gd name="connsiteY621" fmla="*/ 41036 h 299025"/>
                <a:gd name="connsiteX622" fmla="*/ 129472 w 184504"/>
                <a:gd name="connsiteY622" fmla="*/ 46126 h 299025"/>
                <a:gd name="connsiteX623" fmla="*/ 128199 w 184504"/>
                <a:gd name="connsiteY623" fmla="*/ 47717 h 299025"/>
                <a:gd name="connsiteX624" fmla="*/ 128199 w 184504"/>
                <a:gd name="connsiteY624" fmla="*/ 48035 h 299025"/>
                <a:gd name="connsiteX625" fmla="*/ 127881 w 184504"/>
                <a:gd name="connsiteY625" fmla="*/ 47717 h 299025"/>
                <a:gd name="connsiteX626" fmla="*/ 126609 w 184504"/>
                <a:gd name="connsiteY626" fmla="*/ 48353 h 299025"/>
                <a:gd name="connsiteX627" fmla="*/ 126609 w 184504"/>
                <a:gd name="connsiteY627" fmla="*/ 48671 h 299025"/>
                <a:gd name="connsiteX628" fmla="*/ 123746 w 184504"/>
                <a:gd name="connsiteY628" fmla="*/ 53125 h 299025"/>
                <a:gd name="connsiteX629" fmla="*/ 954 w 184504"/>
                <a:gd name="connsiteY629" fmla="*/ 243356 h 299025"/>
                <a:gd name="connsiteX630" fmla="*/ 1591 w 184504"/>
                <a:gd name="connsiteY630" fmla="*/ 241765 h 299025"/>
                <a:gd name="connsiteX631" fmla="*/ 954 w 184504"/>
                <a:gd name="connsiteY631" fmla="*/ 240493 h 299025"/>
                <a:gd name="connsiteX632" fmla="*/ 1273 w 184504"/>
                <a:gd name="connsiteY632" fmla="*/ 240174 h 299025"/>
                <a:gd name="connsiteX633" fmla="*/ 1273 w 184504"/>
                <a:gd name="connsiteY633" fmla="*/ 239538 h 299025"/>
                <a:gd name="connsiteX634" fmla="*/ 1591 w 184504"/>
                <a:gd name="connsiteY634" fmla="*/ 238266 h 299025"/>
                <a:gd name="connsiteX635" fmla="*/ 1591 w 184504"/>
                <a:gd name="connsiteY635" fmla="*/ 236039 h 299025"/>
                <a:gd name="connsiteX636" fmla="*/ 1909 w 184504"/>
                <a:gd name="connsiteY636" fmla="*/ 235721 h 299025"/>
                <a:gd name="connsiteX637" fmla="*/ 1591 w 184504"/>
                <a:gd name="connsiteY637" fmla="*/ 235085 h 299025"/>
                <a:gd name="connsiteX638" fmla="*/ 2545 w 184504"/>
                <a:gd name="connsiteY638" fmla="*/ 233176 h 299025"/>
                <a:gd name="connsiteX639" fmla="*/ 2545 w 184504"/>
                <a:gd name="connsiteY639" fmla="*/ 232540 h 299025"/>
                <a:gd name="connsiteX640" fmla="*/ 4136 w 184504"/>
                <a:gd name="connsiteY640" fmla="*/ 226177 h 299025"/>
                <a:gd name="connsiteX641" fmla="*/ 4136 w 184504"/>
                <a:gd name="connsiteY641" fmla="*/ 225859 h 299025"/>
                <a:gd name="connsiteX642" fmla="*/ 5726 w 184504"/>
                <a:gd name="connsiteY642" fmla="*/ 222042 h 299025"/>
                <a:gd name="connsiteX643" fmla="*/ 5726 w 184504"/>
                <a:gd name="connsiteY643" fmla="*/ 221724 h 299025"/>
                <a:gd name="connsiteX644" fmla="*/ 6999 w 184504"/>
                <a:gd name="connsiteY644" fmla="*/ 217270 h 299025"/>
                <a:gd name="connsiteX645" fmla="*/ 7635 w 184504"/>
                <a:gd name="connsiteY645" fmla="*/ 216952 h 299025"/>
                <a:gd name="connsiteX646" fmla="*/ 8271 w 184504"/>
                <a:gd name="connsiteY646" fmla="*/ 217270 h 299025"/>
                <a:gd name="connsiteX647" fmla="*/ 8271 w 184504"/>
                <a:gd name="connsiteY647" fmla="*/ 217588 h 299025"/>
                <a:gd name="connsiteX648" fmla="*/ 7953 w 184504"/>
                <a:gd name="connsiteY648" fmla="*/ 219179 h 299025"/>
                <a:gd name="connsiteX649" fmla="*/ 8271 w 184504"/>
                <a:gd name="connsiteY649" fmla="*/ 219179 h 299025"/>
                <a:gd name="connsiteX650" fmla="*/ 8589 w 184504"/>
                <a:gd name="connsiteY650" fmla="*/ 220451 h 299025"/>
                <a:gd name="connsiteX651" fmla="*/ 6999 w 184504"/>
                <a:gd name="connsiteY651" fmla="*/ 222042 h 299025"/>
                <a:gd name="connsiteX652" fmla="*/ 6680 w 184504"/>
                <a:gd name="connsiteY652" fmla="*/ 221724 h 299025"/>
                <a:gd name="connsiteX653" fmla="*/ 6362 w 184504"/>
                <a:gd name="connsiteY653" fmla="*/ 222678 h 299025"/>
                <a:gd name="connsiteX654" fmla="*/ 6362 w 184504"/>
                <a:gd name="connsiteY654" fmla="*/ 222996 h 299025"/>
                <a:gd name="connsiteX655" fmla="*/ 5408 w 184504"/>
                <a:gd name="connsiteY655" fmla="*/ 226177 h 299025"/>
                <a:gd name="connsiteX656" fmla="*/ 5408 w 184504"/>
                <a:gd name="connsiteY656" fmla="*/ 226814 h 299025"/>
                <a:gd name="connsiteX657" fmla="*/ 4454 w 184504"/>
                <a:gd name="connsiteY657" fmla="*/ 230313 h 299025"/>
                <a:gd name="connsiteX658" fmla="*/ 4772 w 184504"/>
                <a:gd name="connsiteY658" fmla="*/ 230949 h 299025"/>
                <a:gd name="connsiteX659" fmla="*/ 4454 w 184504"/>
                <a:gd name="connsiteY659" fmla="*/ 232540 h 299025"/>
                <a:gd name="connsiteX660" fmla="*/ 5726 w 184504"/>
                <a:gd name="connsiteY660" fmla="*/ 235085 h 299025"/>
                <a:gd name="connsiteX661" fmla="*/ 4772 w 184504"/>
                <a:gd name="connsiteY661" fmla="*/ 236039 h 299025"/>
                <a:gd name="connsiteX662" fmla="*/ 6044 w 184504"/>
                <a:gd name="connsiteY662" fmla="*/ 237630 h 299025"/>
                <a:gd name="connsiteX663" fmla="*/ 6044 w 184504"/>
                <a:gd name="connsiteY663" fmla="*/ 237948 h 299025"/>
                <a:gd name="connsiteX664" fmla="*/ 4454 w 184504"/>
                <a:gd name="connsiteY664" fmla="*/ 237630 h 299025"/>
                <a:gd name="connsiteX665" fmla="*/ 2545 w 184504"/>
                <a:gd name="connsiteY665" fmla="*/ 239538 h 299025"/>
                <a:gd name="connsiteX666" fmla="*/ 2863 w 184504"/>
                <a:gd name="connsiteY666" fmla="*/ 240493 h 299025"/>
                <a:gd name="connsiteX667" fmla="*/ 1909 w 184504"/>
                <a:gd name="connsiteY667" fmla="*/ 243037 h 299025"/>
                <a:gd name="connsiteX668" fmla="*/ 1909 w 184504"/>
                <a:gd name="connsiteY668" fmla="*/ 243356 h 299025"/>
                <a:gd name="connsiteX669" fmla="*/ 2545 w 184504"/>
                <a:gd name="connsiteY669" fmla="*/ 243674 h 299025"/>
                <a:gd name="connsiteX670" fmla="*/ 1909 w 184504"/>
                <a:gd name="connsiteY670" fmla="*/ 244310 h 299025"/>
                <a:gd name="connsiteX671" fmla="*/ 1591 w 184504"/>
                <a:gd name="connsiteY671" fmla="*/ 243674 h 299025"/>
                <a:gd name="connsiteX672" fmla="*/ 636 w 184504"/>
                <a:gd name="connsiteY672" fmla="*/ 243674 h 299025"/>
                <a:gd name="connsiteX673" fmla="*/ 954 w 184504"/>
                <a:gd name="connsiteY673" fmla="*/ 243356 h 299025"/>
                <a:gd name="connsiteX674" fmla="*/ 4136 w 184504"/>
                <a:gd name="connsiteY674" fmla="*/ 251626 h 299025"/>
                <a:gd name="connsiteX675" fmla="*/ 2545 w 184504"/>
                <a:gd name="connsiteY675" fmla="*/ 249718 h 299025"/>
                <a:gd name="connsiteX676" fmla="*/ 2227 w 184504"/>
                <a:gd name="connsiteY676" fmla="*/ 250036 h 299025"/>
                <a:gd name="connsiteX677" fmla="*/ 2545 w 184504"/>
                <a:gd name="connsiteY677" fmla="*/ 250354 h 299025"/>
                <a:gd name="connsiteX678" fmla="*/ 3499 w 184504"/>
                <a:gd name="connsiteY678" fmla="*/ 253535 h 299025"/>
                <a:gd name="connsiteX679" fmla="*/ 3818 w 184504"/>
                <a:gd name="connsiteY679" fmla="*/ 253217 h 299025"/>
                <a:gd name="connsiteX680" fmla="*/ 3499 w 184504"/>
                <a:gd name="connsiteY680" fmla="*/ 252899 h 299025"/>
                <a:gd name="connsiteX681" fmla="*/ 4136 w 184504"/>
                <a:gd name="connsiteY681" fmla="*/ 251626 h 299025"/>
                <a:gd name="connsiteX682" fmla="*/ 2863 w 184504"/>
                <a:gd name="connsiteY682" fmla="*/ 236357 h 299025"/>
                <a:gd name="connsiteX683" fmla="*/ 3181 w 184504"/>
                <a:gd name="connsiteY683" fmla="*/ 236675 h 299025"/>
                <a:gd name="connsiteX684" fmla="*/ 3818 w 184504"/>
                <a:gd name="connsiteY684" fmla="*/ 236039 h 299025"/>
                <a:gd name="connsiteX685" fmla="*/ 3181 w 184504"/>
                <a:gd name="connsiteY685" fmla="*/ 236357 h 299025"/>
                <a:gd name="connsiteX686" fmla="*/ 2863 w 184504"/>
                <a:gd name="connsiteY686" fmla="*/ 236357 h 299025"/>
                <a:gd name="connsiteX687" fmla="*/ 3499 w 184504"/>
                <a:gd name="connsiteY687" fmla="*/ 270713 h 299025"/>
                <a:gd name="connsiteX688" fmla="*/ 2863 w 184504"/>
                <a:gd name="connsiteY688" fmla="*/ 269759 h 299025"/>
                <a:gd name="connsiteX689" fmla="*/ 2863 w 184504"/>
                <a:gd name="connsiteY689" fmla="*/ 269441 h 299025"/>
                <a:gd name="connsiteX690" fmla="*/ 3499 w 184504"/>
                <a:gd name="connsiteY690" fmla="*/ 270077 h 299025"/>
                <a:gd name="connsiteX691" fmla="*/ 3499 w 184504"/>
                <a:gd name="connsiteY691" fmla="*/ 270713 h 299025"/>
                <a:gd name="connsiteX692" fmla="*/ 6044 w 184504"/>
                <a:gd name="connsiteY692" fmla="*/ 241129 h 299025"/>
                <a:gd name="connsiteX693" fmla="*/ 5090 w 184504"/>
                <a:gd name="connsiteY693" fmla="*/ 242719 h 299025"/>
                <a:gd name="connsiteX694" fmla="*/ 4136 w 184504"/>
                <a:gd name="connsiteY694" fmla="*/ 242083 h 299025"/>
                <a:gd name="connsiteX695" fmla="*/ 5726 w 184504"/>
                <a:gd name="connsiteY695" fmla="*/ 240174 h 299025"/>
                <a:gd name="connsiteX696" fmla="*/ 6044 w 184504"/>
                <a:gd name="connsiteY696" fmla="*/ 240811 h 299025"/>
                <a:gd name="connsiteX697" fmla="*/ 6044 w 184504"/>
                <a:gd name="connsiteY697" fmla="*/ 241129 h 299025"/>
                <a:gd name="connsiteX698" fmla="*/ 5408 w 184504"/>
                <a:gd name="connsiteY698" fmla="*/ 252899 h 299025"/>
                <a:gd name="connsiteX699" fmla="*/ 5090 w 184504"/>
                <a:gd name="connsiteY699" fmla="*/ 253535 h 299025"/>
                <a:gd name="connsiteX700" fmla="*/ 5408 w 184504"/>
                <a:gd name="connsiteY700" fmla="*/ 254171 h 299025"/>
                <a:gd name="connsiteX701" fmla="*/ 5408 w 184504"/>
                <a:gd name="connsiteY701" fmla="*/ 254489 h 299025"/>
                <a:gd name="connsiteX702" fmla="*/ 5726 w 184504"/>
                <a:gd name="connsiteY702" fmla="*/ 254808 h 299025"/>
                <a:gd name="connsiteX703" fmla="*/ 5408 w 184504"/>
                <a:gd name="connsiteY703" fmla="*/ 252899 h 299025"/>
                <a:gd name="connsiteX704" fmla="*/ 7317 w 184504"/>
                <a:gd name="connsiteY704" fmla="*/ 250354 h 299025"/>
                <a:gd name="connsiteX705" fmla="*/ 7635 w 184504"/>
                <a:gd name="connsiteY705" fmla="*/ 250354 h 299025"/>
                <a:gd name="connsiteX706" fmla="*/ 7635 w 184504"/>
                <a:gd name="connsiteY706" fmla="*/ 248127 h 299025"/>
                <a:gd name="connsiteX707" fmla="*/ 8907 w 184504"/>
                <a:gd name="connsiteY707" fmla="*/ 248445 h 299025"/>
                <a:gd name="connsiteX708" fmla="*/ 9225 w 184504"/>
                <a:gd name="connsiteY708" fmla="*/ 248763 h 299025"/>
                <a:gd name="connsiteX709" fmla="*/ 8589 w 184504"/>
                <a:gd name="connsiteY709" fmla="*/ 250672 h 299025"/>
                <a:gd name="connsiteX710" fmla="*/ 7635 w 184504"/>
                <a:gd name="connsiteY710" fmla="*/ 250672 h 299025"/>
                <a:gd name="connsiteX711" fmla="*/ 7317 w 184504"/>
                <a:gd name="connsiteY711" fmla="*/ 250354 h 299025"/>
                <a:gd name="connsiteX712" fmla="*/ 8589 w 184504"/>
                <a:gd name="connsiteY712" fmla="*/ 215362 h 299025"/>
                <a:gd name="connsiteX713" fmla="*/ 9225 w 184504"/>
                <a:gd name="connsiteY713" fmla="*/ 213453 h 299025"/>
                <a:gd name="connsiteX714" fmla="*/ 9861 w 184504"/>
                <a:gd name="connsiteY714" fmla="*/ 213453 h 299025"/>
                <a:gd name="connsiteX715" fmla="*/ 9861 w 184504"/>
                <a:gd name="connsiteY715" fmla="*/ 214089 h 299025"/>
                <a:gd name="connsiteX716" fmla="*/ 8589 w 184504"/>
                <a:gd name="connsiteY716" fmla="*/ 215362 h 299025"/>
                <a:gd name="connsiteX717" fmla="*/ 9543 w 184504"/>
                <a:gd name="connsiteY717" fmla="*/ 257034 h 299025"/>
                <a:gd name="connsiteX718" fmla="*/ 9225 w 184504"/>
                <a:gd name="connsiteY718" fmla="*/ 256716 h 299025"/>
                <a:gd name="connsiteX719" fmla="*/ 9543 w 184504"/>
                <a:gd name="connsiteY719" fmla="*/ 256398 h 299025"/>
                <a:gd name="connsiteX720" fmla="*/ 10180 w 184504"/>
                <a:gd name="connsiteY720" fmla="*/ 256716 h 299025"/>
                <a:gd name="connsiteX721" fmla="*/ 9543 w 184504"/>
                <a:gd name="connsiteY721" fmla="*/ 257034 h 299025"/>
                <a:gd name="connsiteX722" fmla="*/ 16860 w 184504"/>
                <a:gd name="connsiteY722" fmla="*/ 276121 h 299025"/>
                <a:gd name="connsiteX723" fmla="*/ 14951 w 184504"/>
                <a:gd name="connsiteY723" fmla="*/ 273576 h 299025"/>
                <a:gd name="connsiteX724" fmla="*/ 14951 w 184504"/>
                <a:gd name="connsiteY724" fmla="*/ 273258 h 299025"/>
                <a:gd name="connsiteX725" fmla="*/ 15906 w 184504"/>
                <a:gd name="connsiteY725" fmla="*/ 272304 h 299025"/>
                <a:gd name="connsiteX726" fmla="*/ 13361 w 184504"/>
                <a:gd name="connsiteY726" fmla="*/ 265941 h 299025"/>
                <a:gd name="connsiteX727" fmla="*/ 13043 w 184504"/>
                <a:gd name="connsiteY727" fmla="*/ 265623 h 299025"/>
                <a:gd name="connsiteX728" fmla="*/ 12724 w 184504"/>
                <a:gd name="connsiteY728" fmla="*/ 265941 h 299025"/>
                <a:gd name="connsiteX729" fmla="*/ 12724 w 184504"/>
                <a:gd name="connsiteY729" fmla="*/ 266578 h 299025"/>
                <a:gd name="connsiteX730" fmla="*/ 13043 w 184504"/>
                <a:gd name="connsiteY730" fmla="*/ 267214 h 299025"/>
                <a:gd name="connsiteX731" fmla="*/ 12088 w 184504"/>
                <a:gd name="connsiteY731" fmla="*/ 268168 h 299025"/>
                <a:gd name="connsiteX732" fmla="*/ 11452 w 184504"/>
                <a:gd name="connsiteY732" fmla="*/ 266896 h 299025"/>
                <a:gd name="connsiteX733" fmla="*/ 11770 w 184504"/>
                <a:gd name="connsiteY733" fmla="*/ 266260 h 299025"/>
                <a:gd name="connsiteX734" fmla="*/ 10816 w 184504"/>
                <a:gd name="connsiteY734" fmla="*/ 265941 h 299025"/>
                <a:gd name="connsiteX735" fmla="*/ 10498 w 184504"/>
                <a:gd name="connsiteY735" fmla="*/ 266578 h 299025"/>
                <a:gd name="connsiteX736" fmla="*/ 9861 w 184504"/>
                <a:gd name="connsiteY736" fmla="*/ 268168 h 299025"/>
                <a:gd name="connsiteX737" fmla="*/ 11770 w 184504"/>
                <a:gd name="connsiteY737" fmla="*/ 270395 h 299025"/>
                <a:gd name="connsiteX738" fmla="*/ 12088 w 184504"/>
                <a:gd name="connsiteY738" fmla="*/ 269759 h 299025"/>
                <a:gd name="connsiteX739" fmla="*/ 12406 w 184504"/>
                <a:gd name="connsiteY739" fmla="*/ 269123 h 299025"/>
                <a:gd name="connsiteX740" fmla="*/ 13043 w 184504"/>
                <a:gd name="connsiteY740" fmla="*/ 268486 h 299025"/>
                <a:gd name="connsiteX741" fmla="*/ 14633 w 184504"/>
                <a:gd name="connsiteY741" fmla="*/ 273258 h 299025"/>
                <a:gd name="connsiteX742" fmla="*/ 15906 w 184504"/>
                <a:gd name="connsiteY742" fmla="*/ 276121 h 299025"/>
                <a:gd name="connsiteX743" fmla="*/ 16542 w 184504"/>
                <a:gd name="connsiteY743" fmla="*/ 276439 h 299025"/>
                <a:gd name="connsiteX744" fmla="*/ 16860 w 184504"/>
                <a:gd name="connsiteY744" fmla="*/ 276121 h 299025"/>
                <a:gd name="connsiteX745" fmla="*/ 10498 w 184504"/>
                <a:gd name="connsiteY745" fmla="*/ 211226 h 299025"/>
                <a:gd name="connsiteX746" fmla="*/ 12406 w 184504"/>
                <a:gd name="connsiteY746" fmla="*/ 206455 h 299025"/>
                <a:gd name="connsiteX747" fmla="*/ 14315 w 184504"/>
                <a:gd name="connsiteY747" fmla="*/ 208045 h 299025"/>
                <a:gd name="connsiteX748" fmla="*/ 12724 w 184504"/>
                <a:gd name="connsiteY748" fmla="*/ 208363 h 299025"/>
                <a:gd name="connsiteX749" fmla="*/ 11134 w 184504"/>
                <a:gd name="connsiteY749" fmla="*/ 211862 h 299025"/>
                <a:gd name="connsiteX750" fmla="*/ 10498 w 184504"/>
                <a:gd name="connsiteY750" fmla="*/ 211226 h 299025"/>
                <a:gd name="connsiteX751" fmla="*/ 12724 w 184504"/>
                <a:gd name="connsiteY751" fmla="*/ 205500 h 299025"/>
                <a:gd name="connsiteX752" fmla="*/ 12724 w 184504"/>
                <a:gd name="connsiteY752" fmla="*/ 205182 h 299025"/>
                <a:gd name="connsiteX753" fmla="*/ 13043 w 184504"/>
                <a:gd name="connsiteY753" fmla="*/ 205500 h 299025"/>
                <a:gd name="connsiteX754" fmla="*/ 12724 w 184504"/>
                <a:gd name="connsiteY754" fmla="*/ 205500 h 299025"/>
                <a:gd name="connsiteX755" fmla="*/ 13361 w 184504"/>
                <a:gd name="connsiteY755" fmla="*/ 243992 h 299025"/>
                <a:gd name="connsiteX756" fmla="*/ 13043 w 184504"/>
                <a:gd name="connsiteY756" fmla="*/ 245264 h 299025"/>
                <a:gd name="connsiteX757" fmla="*/ 13997 w 184504"/>
                <a:gd name="connsiteY757" fmla="*/ 243674 h 299025"/>
                <a:gd name="connsiteX758" fmla="*/ 14633 w 184504"/>
                <a:gd name="connsiteY758" fmla="*/ 243674 h 299025"/>
                <a:gd name="connsiteX759" fmla="*/ 14315 w 184504"/>
                <a:gd name="connsiteY759" fmla="*/ 242083 h 299025"/>
                <a:gd name="connsiteX760" fmla="*/ 14951 w 184504"/>
                <a:gd name="connsiteY760" fmla="*/ 237311 h 299025"/>
                <a:gd name="connsiteX761" fmla="*/ 14633 w 184504"/>
                <a:gd name="connsiteY761" fmla="*/ 236357 h 299025"/>
                <a:gd name="connsiteX762" fmla="*/ 14315 w 184504"/>
                <a:gd name="connsiteY762" fmla="*/ 236039 h 299025"/>
                <a:gd name="connsiteX763" fmla="*/ 13043 w 184504"/>
                <a:gd name="connsiteY763" fmla="*/ 241765 h 299025"/>
                <a:gd name="connsiteX764" fmla="*/ 13361 w 184504"/>
                <a:gd name="connsiteY764" fmla="*/ 243356 h 299025"/>
                <a:gd name="connsiteX765" fmla="*/ 13361 w 184504"/>
                <a:gd name="connsiteY765" fmla="*/ 243992 h 299025"/>
                <a:gd name="connsiteX766" fmla="*/ 14633 w 184504"/>
                <a:gd name="connsiteY766" fmla="*/ 234448 h 299025"/>
                <a:gd name="connsiteX767" fmla="*/ 14951 w 184504"/>
                <a:gd name="connsiteY767" fmla="*/ 234448 h 299025"/>
                <a:gd name="connsiteX768" fmla="*/ 14633 w 184504"/>
                <a:gd name="connsiteY768" fmla="*/ 234130 h 299025"/>
                <a:gd name="connsiteX769" fmla="*/ 14633 w 184504"/>
                <a:gd name="connsiteY769" fmla="*/ 234448 h 299025"/>
                <a:gd name="connsiteX770" fmla="*/ 15588 w 184504"/>
                <a:gd name="connsiteY770" fmla="*/ 196593 h 299025"/>
                <a:gd name="connsiteX771" fmla="*/ 16542 w 184504"/>
                <a:gd name="connsiteY771" fmla="*/ 196911 h 299025"/>
                <a:gd name="connsiteX772" fmla="*/ 16224 w 184504"/>
                <a:gd name="connsiteY772" fmla="*/ 197866 h 299025"/>
                <a:gd name="connsiteX773" fmla="*/ 15906 w 184504"/>
                <a:gd name="connsiteY773" fmla="*/ 197547 h 299025"/>
                <a:gd name="connsiteX774" fmla="*/ 15588 w 184504"/>
                <a:gd name="connsiteY774" fmla="*/ 196593 h 299025"/>
                <a:gd name="connsiteX775" fmla="*/ 16542 w 184504"/>
                <a:gd name="connsiteY775" fmla="*/ 195957 h 299025"/>
                <a:gd name="connsiteX776" fmla="*/ 17496 w 184504"/>
                <a:gd name="connsiteY776" fmla="*/ 195003 h 299025"/>
                <a:gd name="connsiteX777" fmla="*/ 17496 w 184504"/>
                <a:gd name="connsiteY777" fmla="*/ 195957 h 299025"/>
                <a:gd name="connsiteX778" fmla="*/ 17178 w 184504"/>
                <a:gd name="connsiteY778" fmla="*/ 196275 h 299025"/>
                <a:gd name="connsiteX779" fmla="*/ 16542 w 184504"/>
                <a:gd name="connsiteY779" fmla="*/ 195957 h 299025"/>
                <a:gd name="connsiteX780" fmla="*/ 17814 w 184504"/>
                <a:gd name="connsiteY780" fmla="*/ 278348 h 299025"/>
                <a:gd name="connsiteX781" fmla="*/ 16860 w 184504"/>
                <a:gd name="connsiteY781" fmla="*/ 277075 h 299025"/>
                <a:gd name="connsiteX782" fmla="*/ 16860 w 184504"/>
                <a:gd name="connsiteY782" fmla="*/ 278030 h 299025"/>
                <a:gd name="connsiteX783" fmla="*/ 17496 w 184504"/>
                <a:gd name="connsiteY783" fmla="*/ 278348 h 299025"/>
                <a:gd name="connsiteX784" fmla="*/ 17814 w 184504"/>
                <a:gd name="connsiteY784" fmla="*/ 278348 h 299025"/>
                <a:gd name="connsiteX785" fmla="*/ 19087 w 184504"/>
                <a:gd name="connsiteY785" fmla="*/ 280575 h 299025"/>
                <a:gd name="connsiteX786" fmla="*/ 18133 w 184504"/>
                <a:gd name="connsiteY786" fmla="*/ 278984 h 299025"/>
                <a:gd name="connsiteX787" fmla="*/ 17814 w 184504"/>
                <a:gd name="connsiteY787" fmla="*/ 279302 h 299025"/>
                <a:gd name="connsiteX788" fmla="*/ 19087 w 184504"/>
                <a:gd name="connsiteY788" fmla="*/ 280575 h 299025"/>
                <a:gd name="connsiteX789" fmla="*/ 18133 w 184504"/>
                <a:gd name="connsiteY789" fmla="*/ 194366 h 299025"/>
                <a:gd name="connsiteX790" fmla="*/ 18451 w 184504"/>
                <a:gd name="connsiteY790" fmla="*/ 192458 h 299025"/>
                <a:gd name="connsiteX791" fmla="*/ 18769 w 184504"/>
                <a:gd name="connsiteY791" fmla="*/ 192458 h 299025"/>
                <a:gd name="connsiteX792" fmla="*/ 18769 w 184504"/>
                <a:gd name="connsiteY792" fmla="*/ 194048 h 299025"/>
                <a:gd name="connsiteX793" fmla="*/ 18451 w 184504"/>
                <a:gd name="connsiteY793" fmla="*/ 194684 h 299025"/>
                <a:gd name="connsiteX794" fmla="*/ 18133 w 184504"/>
                <a:gd name="connsiteY794" fmla="*/ 194366 h 299025"/>
                <a:gd name="connsiteX795" fmla="*/ 130426 w 184504"/>
                <a:gd name="connsiteY795" fmla="*/ 120246 h 299025"/>
                <a:gd name="connsiteX796" fmla="*/ 129790 w 184504"/>
                <a:gd name="connsiteY796" fmla="*/ 120564 h 299025"/>
                <a:gd name="connsiteX797" fmla="*/ 129153 w 184504"/>
                <a:gd name="connsiteY797" fmla="*/ 119292 h 299025"/>
                <a:gd name="connsiteX798" fmla="*/ 127881 w 184504"/>
                <a:gd name="connsiteY798" fmla="*/ 120246 h 299025"/>
                <a:gd name="connsiteX799" fmla="*/ 127245 w 184504"/>
                <a:gd name="connsiteY799" fmla="*/ 120246 h 299025"/>
                <a:gd name="connsiteX800" fmla="*/ 118974 w 184504"/>
                <a:gd name="connsiteY800" fmla="*/ 124700 h 299025"/>
                <a:gd name="connsiteX801" fmla="*/ 118338 w 184504"/>
                <a:gd name="connsiteY801" fmla="*/ 124700 h 299025"/>
                <a:gd name="connsiteX802" fmla="*/ 116111 w 184504"/>
                <a:gd name="connsiteY802" fmla="*/ 126608 h 299025"/>
                <a:gd name="connsiteX803" fmla="*/ 116429 w 184504"/>
                <a:gd name="connsiteY803" fmla="*/ 126927 h 299025"/>
                <a:gd name="connsiteX804" fmla="*/ 116111 w 184504"/>
                <a:gd name="connsiteY804" fmla="*/ 127245 h 299025"/>
                <a:gd name="connsiteX805" fmla="*/ 115793 w 184504"/>
                <a:gd name="connsiteY805" fmla="*/ 126927 h 299025"/>
                <a:gd name="connsiteX806" fmla="*/ 115475 w 184504"/>
                <a:gd name="connsiteY806" fmla="*/ 127245 h 299025"/>
                <a:gd name="connsiteX807" fmla="*/ 114202 w 184504"/>
                <a:gd name="connsiteY807" fmla="*/ 126290 h 299025"/>
                <a:gd name="connsiteX808" fmla="*/ 111339 w 184504"/>
                <a:gd name="connsiteY808" fmla="*/ 129790 h 299025"/>
                <a:gd name="connsiteX809" fmla="*/ 110385 w 184504"/>
                <a:gd name="connsiteY809" fmla="*/ 129790 h 299025"/>
                <a:gd name="connsiteX810" fmla="*/ 109112 w 184504"/>
                <a:gd name="connsiteY810" fmla="*/ 130426 h 299025"/>
                <a:gd name="connsiteX811" fmla="*/ 108158 w 184504"/>
                <a:gd name="connsiteY811" fmla="*/ 131062 h 299025"/>
                <a:gd name="connsiteX812" fmla="*/ 108158 w 184504"/>
                <a:gd name="connsiteY812" fmla="*/ 130744 h 299025"/>
                <a:gd name="connsiteX813" fmla="*/ 106885 w 184504"/>
                <a:gd name="connsiteY813" fmla="*/ 132016 h 299025"/>
                <a:gd name="connsiteX814" fmla="*/ 106249 w 184504"/>
                <a:gd name="connsiteY814" fmla="*/ 132016 h 299025"/>
                <a:gd name="connsiteX815" fmla="*/ 101478 w 184504"/>
                <a:gd name="connsiteY815" fmla="*/ 134879 h 299025"/>
                <a:gd name="connsiteX816" fmla="*/ 101160 w 184504"/>
                <a:gd name="connsiteY816" fmla="*/ 135198 h 299025"/>
                <a:gd name="connsiteX817" fmla="*/ 97661 w 184504"/>
                <a:gd name="connsiteY817" fmla="*/ 137742 h 299025"/>
                <a:gd name="connsiteX818" fmla="*/ 97024 w 184504"/>
                <a:gd name="connsiteY818" fmla="*/ 137424 h 299025"/>
                <a:gd name="connsiteX819" fmla="*/ 95115 w 184504"/>
                <a:gd name="connsiteY819" fmla="*/ 139015 h 299025"/>
                <a:gd name="connsiteX820" fmla="*/ 92889 w 184504"/>
                <a:gd name="connsiteY820" fmla="*/ 139651 h 299025"/>
                <a:gd name="connsiteX821" fmla="*/ 90026 w 184504"/>
                <a:gd name="connsiteY821" fmla="*/ 142514 h 299025"/>
                <a:gd name="connsiteX822" fmla="*/ 89708 w 184504"/>
                <a:gd name="connsiteY822" fmla="*/ 142514 h 299025"/>
                <a:gd name="connsiteX823" fmla="*/ 82709 w 184504"/>
                <a:gd name="connsiteY823" fmla="*/ 146968 h 299025"/>
                <a:gd name="connsiteX824" fmla="*/ 81119 w 184504"/>
                <a:gd name="connsiteY824" fmla="*/ 148876 h 299025"/>
                <a:gd name="connsiteX825" fmla="*/ 80482 w 184504"/>
                <a:gd name="connsiteY825" fmla="*/ 148558 h 299025"/>
                <a:gd name="connsiteX826" fmla="*/ 79528 w 184504"/>
                <a:gd name="connsiteY826" fmla="*/ 149194 h 299025"/>
                <a:gd name="connsiteX827" fmla="*/ 71893 w 184504"/>
                <a:gd name="connsiteY827" fmla="*/ 156511 h 299025"/>
                <a:gd name="connsiteX828" fmla="*/ 62668 w 184504"/>
                <a:gd name="connsiteY828" fmla="*/ 165418 h 299025"/>
                <a:gd name="connsiteX829" fmla="*/ 59805 w 184504"/>
                <a:gd name="connsiteY829" fmla="*/ 167009 h 299025"/>
                <a:gd name="connsiteX830" fmla="*/ 51216 w 184504"/>
                <a:gd name="connsiteY830" fmla="*/ 176552 h 299025"/>
                <a:gd name="connsiteX831" fmla="*/ 48035 w 184504"/>
                <a:gd name="connsiteY831" fmla="*/ 180687 h 299025"/>
                <a:gd name="connsiteX832" fmla="*/ 45808 w 184504"/>
                <a:gd name="connsiteY832" fmla="*/ 183869 h 299025"/>
                <a:gd name="connsiteX833" fmla="*/ 39764 w 184504"/>
                <a:gd name="connsiteY833" fmla="*/ 192776 h 299025"/>
                <a:gd name="connsiteX834" fmla="*/ 37855 w 184504"/>
                <a:gd name="connsiteY834" fmla="*/ 195321 h 299025"/>
                <a:gd name="connsiteX835" fmla="*/ 35629 w 184504"/>
                <a:gd name="connsiteY835" fmla="*/ 198820 h 299025"/>
                <a:gd name="connsiteX836" fmla="*/ 34992 w 184504"/>
                <a:gd name="connsiteY836" fmla="*/ 198502 h 299025"/>
                <a:gd name="connsiteX837" fmla="*/ 34038 w 184504"/>
                <a:gd name="connsiteY837" fmla="*/ 200092 h 299025"/>
                <a:gd name="connsiteX838" fmla="*/ 34356 w 184504"/>
                <a:gd name="connsiteY838" fmla="*/ 201047 h 299025"/>
                <a:gd name="connsiteX839" fmla="*/ 33402 w 184504"/>
                <a:gd name="connsiteY839" fmla="*/ 203273 h 299025"/>
                <a:gd name="connsiteX840" fmla="*/ 26085 w 184504"/>
                <a:gd name="connsiteY840" fmla="*/ 217907 h 299025"/>
                <a:gd name="connsiteX841" fmla="*/ 26085 w 184504"/>
                <a:gd name="connsiteY841" fmla="*/ 218225 h 299025"/>
                <a:gd name="connsiteX842" fmla="*/ 25449 w 184504"/>
                <a:gd name="connsiteY842" fmla="*/ 219815 h 299025"/>
                <a:gd name="connsiteX843" fmla="*/ 24813 w 184504"/>
                <a:gd name="connsiteY843" fmla="*/ 220770 h 299025"/>
                <a:gd name="connsiteX844" fmla="*/ 23858 w 184504"/>
                <a:gd name="connsiteY844" fmla="*/ 222678 h 299025"/>
                <a:gd name="connsiteX845" fmla="*/ 24176 w 184504"/>
                <a:gd name="connsiteY845" fmla="*/ 223633 h 299025"/>
                <a:gd name="connsiteX846" fmla="*/ 23222 w 184504"/>
                <a:gd name="connsiteY846" fmla="*/ 224269 h 299025"/>
                <a:gd name="connsiteX847" fmla="*/ 23222 w 184504"/>
                <a:gd name="connsiteY847" fmla="*/ 225223 h 299025"/>
                <a:gd name="connsiteX848" fmla="*/ 22586 w 184504"/>
                <a:gd name="connsiteY848" fmla="*/ 226496 h 299025"/>
                <a:gd name="connsiteX849" fmla="*/ 22586 w 184504"/>
                <a:gd name="connsiteY849" fmla="*/ 227450 h 299025"/>
                <a:gd name="connsiteX850" fmla="*/ 22268 w 184504"/>
                <a:gd name="connsiteY850" fmla="*/ 229359 h 299025"/>
                <a:gd name="connsiteX851" fmla="*/ 21632 w 184504"/>
                <a:gd name="connsiteY851" fmla="*/ 231585 h 299025"/>
                <a:gd name="connsiteX852" fmla="*/ 20995 w 184504"/>
                <a:gd name="connsiteY852" fmla="*/ 232540 h 299025"/>
                <a:gd name="connsiteX853" fmla="*/ 21314 w 184504"/>
                <a:gd name="connsiteY853" fmla="*/ 233812 h 299025"/>
                <a:gd name="connsiteX854" fmla="*/ 21632 w 184504"/>
                <a:gd name="connsiteY854" fmla="*/ 234130 h 299025"/>
                <a:gd name="connsiteX855" fmla="*/ 21950 w 184504"/>
                <a:gd name="connsiteY855" fmla="*/ 234767 h 299025"/>
                <a:gd name="connsiteX856" fmla="*/ 20677 w 184504"/>
                <a:gd name="connsiteY856" fmla="*/ 239856 h 299025"/>
                <a:gd name="connsiteX857" fmla="*/ 20995 w 184504"/>
                <a:gd name="connsiteY857" fmla="*/ 241765 h 299025"/>
                <a:gd name="connsiteX858" fmla="*/ 21632 w 184504"/>
                <a:gd name="connsiteY858" fmla="*/ 246219 h 299025"/>
                <a:gd name="connsiteX859" fmla="*/ 20677 w 184504"/>
                <a:gd name="connsiteY859" fmla="*/ 248445 h 299025"/>
                <a:gd name="connsiteX860" fmla="*/ 20677 w 184504"/>
                <a:gd name="connsiteY860" fmla="*/ 250354 h 299025"/>
                <a:gd name="connsiteX861" fmla="*/ 20995 w 184504"/>
                <a:gd name="connsiteY861" fmla="*/ 251945 h 299025"/>
                <a:gd name="connsiteX862" fmla="*/ 20677 w 184504"/>
                <a:gd name="connsiteY862" fmla="*/ 252899 h 299025"/>
                <a:gd name="connsiteX863" fmla="*/ 20359 w 184504"/>
                <a:gd name="connsiteY863" fmla="*/ 252899 h 299025"/>
                <a:gd name="connsiteX864" fmla="*/ 19723 w 184504"/>
                <a:gd name="connsiteY864" fmla="*/ 253535 h 299025"/>
                <a:gd name="connsiteX865" fmla="*/ 21314 w 184504"/>
                <a:gd name="connsiteY865" fmla="*/ 256080 h 299025"/>
                <a:gd name="connsiteX866" fmla="*/ 20995 w 184504"/>
                <a:gd name="connsiteY866" fmla="*/ 256716 h 299025"/>
                <a:gd name="connsiteX867" fmla="*/ 20995 w 184504"/>
                <a:gd name="connsiteY867" fmla="*/ 258307 h 299025"/>
                <a:gd name="connsiteX868" fmla="*/ 20677 w 184504"/>
                <a:gd name="connsiteY868" fmla="*/ 258943 h 299025"/>
                <a:gd name="connsiteX869" fmla="*/ 21632 w 184504"/>
                <a:gd name="connsiteY869" fmla="*/ 262442 h 299025"/>
                <a:gd name="connsiteX870" fmla="*/ 20995 w 184504"/>
                <a:gd name="connsiteY870" fmla="*/ 262760 h 299025"/>
                <a:gd name="connsiteX871" fmla="*/ 23222 w 184504"/>
                <a:gd name="connsiteY871" fmla="*/ 264351 h 299025"/>
                <a:gd name="connsiteX872" fmla="*/ 24176 w 184504"/>
                <a:gd name="connsiteY872" fmla="*/ 265623 h 299025"/>
                <a:gd name="connsiteX873" fmla="*/ 24176 w 184504"/>
                <a:gd name="connsiteY873" fmla="*/ 266896 h 299025"/>
                <a:gd name="connsiteX874" fmla="*/ 23540 w 184504"/>
                <a:gd name="connsiteY874" fmla="*/ 269759 h 299025"/>
                <a:gd name="connsiteX875" fmla="*/ 25131 w 184504"/>
                <a:gd name="connsiteY875" fmla="*/ 272940 h 299025"/>
                <a:gd name="connsiteX876" fmla="*/ 24813 w 184504"/>
                <a:gd name="connsiteY876" fmla="*/ 273576 h 299025"/>
                <a:gd name="connsiteX877" fmla="*/ 29585 w 184504"/>
                <a:gd name="connsiteY877" fmla="*/ 278348 h 299025"/>
                <a:gd name="connsiteX878" fmla="*/ 28312 w 184504"/>
                <a:gd name="connsiteY878" fmla="*/ 278030 h 299025"/>
                <a:gd name="connsiteX879" fmla="*/ 27676 w 184504"/>
                <a:gd name="connsiteY879" fmla="*/ 278348 h 299025"/>
                <a:gd name="connsiteX880" fmla="*/ 29903 w 184504"/>
                <a:gd name="connsiteY880" fmla="*/ 281529 h 299025"/>
                <a:gd name="connsiteX881" fmla="*/ 30857 w 184504"/>
                <a:gd name="connsiteY881" fmla="*/ 281529 h 299025"/>
                <a:gd name="connsiteX882" fmla="*/ 32448 w 184504"/>
                <a:gd name="connsiteY882" fmla="*/ 282801 h 299025"/>
                <a:gd name="connsiteX883" fmla="*/ 33720 w 184504"/>
                <a:gd name="connsiteY883" fmla="*/ 283438 h 299025"/>
                <a:gd name="connsiteX884" fmla="*/ 34356 w 184504"/>
                <a:gd name="connsiteY884" fmla="*/ 283756 h 299025"/>
                <a:gd name="connsiteX885" fmla="*/ 37219 w 184504"/>
                <a:gd name="connsiteY885" fmla="*/ 285028 h 299025"/>
                <a:gd name="connsiteX886" fmla="*/ 41673 w 184504"/>
                <a:gd name="connsiteY886" fmla="*/ 284710 h 299025"/>
                <a:gd name="connsiteX887" fmla="*/ 54397 w 184504"/>
                <a:gd name="connsiteY887" fmla="*/ 279620 h 299025"/>
                <a:gd name="connsiteX888" fmla="*/ 57578 w 184504"/>
                <a:gd name="connsiteY888" fmla="*/ 278030 h 299025"/>
                <a:gd name="connsiteX889" fmla="*/ 58215 w 184504"/>
                <a:gd name="connsiteY889" fmla="*/ 278348 h 299025"/>
                <a:gd name="connsiteX890" fmla="*/ 68394 w 184504"/>
                <a:gd name="connsiteY890" fmla="*/ 270713 h 299025"/>
                <a:gd name="connsiteX891" fmla="*/ 69030 w 184504"/>
                <a:gd name="connsiteY891" fmla="*/ 271031 h 299025"/>
                <a:gd name="connsiteX892" fmla="*/ 74438 w 184504"/>
                <a:gd name="connsiteY892" fmla="*/ 264033 h 299025"/>
                <a:gd name="connsiteX893" fmla="*/ 74756 w 184504"/>
                <a:gd name="connsiteY893" fmla="*/ 263078 h 299025"/>
                <a:gd name="connsiteX894" fmla="*/ 75393 w 184504"/>
                <a:gd name="connsiteY894" fmla="*/ 263078 h 299025"/>
                <a:gd name="connsiteX895" fmla="*/ 81437 w 184504"/>
                <a:gd name="connsiteY895" fmla="*/ 256716 h 299025"/>
                <a:gd name="connsiteX896" fmla="*/ 91616 w 184504"/>
                <a:gd name="connsiteY896" fmla="*/ 238584 h 299025"/>
                <a:gd name="connsiteX897" fmla="*/ 92252 w 184504"/>
                <a:gd name="connsiteY897" fmla="*/ 238266 h 299025"/>
                <a:gd name="connsiteX898" fmla="*/ 95752 w 184504"/>
                <a:gd name="connsiteY898" fmla="*/ 233494 h 299025"/>
                <a:gd name="connsiteX899" fmla="*/ 96070 w 184504"/>
                <a:gd name="connsiteY899" fmla="*/ 233176 h 299025"/>
                <a:gd name="connsiteX900" fmla="*/ 100842 w 184504"/>
                <a:gd name="connsiteY900" fmla="*/ 222042 h 299025"/>
                <a:gd name="connsiteX901" fmla="*/ 109112 w 184504"/>
                <a:gd name="connsiteY901" fmla="*/ 205500 h 299025"/>
                <a:gd name="connsiteX902" fmla="*/ 115475 w 184504"/>
                <a:gd name="connsiteY902" fmla="*/ 187686 h 299025"/>
                <a:gd name="connsiteX903" fmla="*/ 116747 w 184504"/>
                <a:gd name="connsiteY903" fmla="*/ 181960 h 299025"/>
                <a:gd name="connsiteX904" fmla="*/ 120882 w 184504"/>
                <a:gd name="connsiteY904" fmla="*/ 169872 h 299025"/>
                <a:gd name="connsiteX905" fmla="*/ 120882 w 184504"/>
                <a:gd name="connsiteY905" fmla="*/ 167645 h 299025"/>
                <a:gd name="connsiteX906" fmla="*/ 123428 w 184504"/>
                <a:gd name="connsiteY906" fmla="*/ 160328 h 299025"/>
                <a:gd name="connsiteX907" fmla="*/ 123109 w 184504"/>
                <a:gd name="connsiteY907" fmla="*/ 157147 h 299025"/>
                <a:gd name="connsiteX908" fmla="*/ 125018 w 184504"/>
                <a:gd name="connsiteY908" fmla="*/ 153012 h 299025"/>
                <a:gd name="connsiteX909" fmla="*/ 125654 w 184504"/>
                <a:gd name="connsiteY909" fmla="*/ 150467 h 299025"/>
                <a:gd name="connsiteX910" fmla="*/ 125654 w 184504"/>
                <a:gd name="connsiteY910" fmla="*/ 149513 h 299025"/>
                <a:gd name="connsiteX911" fmla="*/ 127881 w 184504"/>
                <a:gd name="connsiteY911" fmla="*/ 139015 h 299025"/>
                <a:gd name="connsiteX912" fmla="*/ 127881 w 184504"/>
                <a:gd name="connsiteY912" fmla="*/ 137106 h 299025"/>
                <a:gd name="connsiteX913" fmla="*/ 129472 w 184504"/>
                <a:gd name="connsiteY913" fmla="*/ 130426 h 299025"/>
                <a:gd name="connsiteX914" fmla="*/ 129472 w 184504"/>
                <a:gd name="connsiteY914" fmla="*/ 129790 h 299025"/>
                <a:gd name="connsiteX915" fmla="*/ 129153 w 184504"/>
                <a:gd name="connsiteY915" fmla="*/ 127881 h 299025"/>
                <a:gd name="connsiteX916" fmla="*/ 130744 w 184504"/>
                <a:gd name="connsiteY916" fmla="*/ 122473 h 299025"/>
                <a:gd name="connsiteX917" fmla="*/ 130744 w 184504"/>
                <a:gd name="connsiteY917" fmla="*/ 121201 h 299025"/>
                <a:gd name="connsiteX918" fmla="*/ 130426 w 184504"/>
                <a:gd name="connsiteY918" fmla="*/ 120246 h 299025"/>
                <a:gd name="connsiteX919" fmla="*/ 21950 w 184504"/>
                <a:gd name="connsiteY919" fmla="*/ 194684 h 299025"/>
                <a:gd name="connsiteX920" fmla="*/ 22268 w 184504"/>
                <a:gd name="connsiteY920" fmla="*/ 195321 h 299025"/>
                <a:gd name="connsiteX921" fmla="*/ 22268 w 184504"/>
                <a:gd name="connsiteY921" fmla="*/ 194366 h 299025"/>
                <a:gd name="connsiteX922" fmla="*/ 21950 w 184504"/>
                <a:gd name="connsiteY922" fmla="*/ 194684 h 299025"/>
                <a:gd name="connsiteX923" fmla="*/ 23540 w 184504"/>
                <a:gd name="connsiteY923" fmla="*/ 277712 h 299025"/>
                <a:gd name="connsiteX924" fmla="*/ 22586 w 184504"/>
                <a:gd name="connsiteY924" fmla="*/ 276439 h 299025"/>
                <a:gd name="connsiteX925" fmla="*/ 21950 w 184504"/>
                <a:gd name="connsiteY925" fmla="*/ 277075 h 299025"/>
                <a:gd name="connsiteX926" fmla="*/ 22904 w 184504"/>
                <a:gd name="connsiteY926" fmla="*/ 278984 h 299025"/>
                <a:gd name="connsiteX927" fmla="*/ 23540 w 184504"/>
                <a:gd name="connsiteY927" fmla="*/ 279302 h 299025"/>
                <a:gd name="connsiteX928" fmla="*/ 23540 w 184504"/>
                <a:gd name="connsiteY928" fmla="*/ 277712 h 299025"/>
                <a:gd name="connsiteX929" fmla="*/ 22268 w 184504"/>
                <a:gd name="connsiteY929" fmla="*/ 187686 h 299025"/>
                <a:gd name="connsiteX930" fmla="*/ 22586 w 184504"/>
                <a:gd name="connsiteY930" fmla="*/ 187050 h 299025"/>
                <a:gd name="connsiteX931" fmla="*/ 23222 w 184504"/>
                <a:gd name="connsiteY931" fmla="*/ 187368 h 299025"/>
                <a:gd name="connsiteX932" fmla="*/ 22268 w 184504"/>
                <a:gd name="connsiteY932" fmla="*/ 188004 h 299025"/>
                <a:gd name="connsiteX933" fmla="*/ 22268 w 184504"/>
                <a:gd name="connsiteY933" fmla="*/ 187686 h 299025"/>
                <a:gd name="connsiteX934" fmla="*/ 25449 w 184504"/>
                <a:gd name="connsiteY934" fmla="*/ 196911 h 299025"/>
                <a:gd name="connsiteX935" fmla="*/ 26085 w 184504"/>
                <a:gd name="connsiteY935" fmla="*/ 196593 h 299025"/>
                <a:gd name="connsiteX936" fmla="*/ 25449 w 184504"/>
                <a:gd name="connsiteY936" fmla="*/ 196275 h 299025"/>
                <a:gd name="connsiteX937" fmla="*/ 25131 w 184504"/>
                <a:gd name="connsiteY937" fmla="*/ 196275 h 299025"/>
                <a:gd name="connsiteX938" fmla="*/ 25449 w 184504"/>
                <a:gd name="connsiteY938" fmla="*/ 196911 h 299025"/>
                <a:gd name="connsiteX939" fmla="*/ 25449 w 184504"/>
                <a:gd name="connsiteY939" fmla="*/ 183232 h 299025"/>
                <a:gd name="connsiteX940" fmla="*/ 25449 w 184504"/>
                <a:gd name="connsiteY940" fmla="*/ 182914 h 299025"/>
                <a:gd name="connsiteX941" fmla="*/ 26085 w 184504"/>
                <a:gd name="connsiteY941" fmla="*/ 181960 h 299025"/>
                <a:gd name="connsiteX942" fmla="*/ 26403 w 184504"/>
                <a:gd name="connsiteY942" fmla="*/ 182278 h 299025"/>
                <a:gd name="connsiteX943" fmla="*/ 26403 w 184504"/>
                <a:gd name="connsiteY943" fmla="*/ 183232 h 299025"/>
                <a:gd name="connsiteX944" fmla="*/ 25449 w 184504"/>
                <a:gd name="connsiteY944" fmla="*/ 183232 h 299025"/>
                <a:gd name="connsiteX945" fmla="*/ 27040 w 184504"/>
                <a:gd name="connsiteY945" fmla="*/ 282165 h 299025"/>
                <a:gd name="connsiteX946" fmla="*/ 26721 w 184504"/>
                <a:gd name="connsiteY946" fmla="*/ 281847 h 299025"/>
                <a:gd name="connsiteX947" fmla="*/ 25767 w 184504"/>
                <a:gd name="connsiteY947" fmla="*/ 281847 h 299025"/>
                <a:gd name="connsiteX948" fmla="*/ 25449 w 184504"/>
                <a:gd name="connsiteY948" fmla="*/ 282165 h 299025"/>
                <a:gd name="connsiteX949" fmla="*/ 27040 w 184504"/>
                <a:gd name="connsiteY949" fmla="*/ 282801 h 299025"/>
                <a:gd name="connsiteX950" fmla="*/ 27040 w 184504"/>
                <a:gd name="connsiteY950" fmla="*/ 282165 h 299025"/>
                <a:gd name="connsiteX951" fmla="*/ 25767 w 184504"/>
                <a:gd name="connsiteY951" fmla="*/ 278666 h 299025"/>
                <a:gd name="connsiteX952" fmla="*/ 26085 w 184504"/>
                <a:gd name="connsiteY952" fmla="*/ 278666 h 299025"/>
                <a:gd name="connsiteX953" fmla="*/ 25767 w 184504"/>
                <a:gd name="connsiteY953" fmla="*/ 278348 h 299025"/>
                <a:gd name="connsiteX954" fmla="*/ 25767 w 184504"/>
                <a:gd name="connsiteY954" fmla="*/ 278666 h 299025"/>
                <a:gd name="connsiteX955" fmla="*/ 27040 w 184504"/>
                <a:gd name="connsiteY955" fmla="*/ 190231 h 299025"/>
                <a:gd name="connsiteX956" fmla="*/ 27676 w 184504"/>
                <a:gd name="connsiteY956" fmla="*/ 189277 h 299025"/>
                <a:gd name="connsiteX957" fmla="*/ 27358 w 184504"/>
                <a:gd name="connsiteY957" fmla="*/ 190549 h 299025"/>
                <a:gd name="connsiteX958" fmla="*/ 26403 w 184504"/>
                <a:gd name="connsiteY958" fmla="*/ 190231 h 299025"/>
                <a:gd name="connsiteX959" fmla="*/ 27040 w 184504"/>
                <a:gd name="connsiteY959" fmla="*/ 190231 h 299025"/>
                <a:gd name="connsiteX960" fmla="*/ 27358 w 184504"/>
                <a:gd name="connsiteY960" fmla="*/ 185141 h 299025"/>
                <a:gd name="connsiteX961" fmla="*/ 27676 w 184504"/>
                <a:gd name="connsiteY961" fmla="*/ 184823 h 299025"/>
                <a:gd name="connsiteX962" fmla="*/ 27994 w 184504"/>
                <a:gd name="connsiteY962" fmla="*/ 185141 h 299025"/>
                <a:gd name="connsiteX963" fmla="*/ 27676 w 184504"/>
                <a:gd name="connsiteY963" fmla="*/ 185777 h 299025"/>
                <a:gd name="connsiteX964" fmla="*/ 28312 w 184504"/>
                <a:gd name="connsiteY964" fmla="*/ 187050 h 299025"/>
                <a:gd name="connsiteX965" fmla="*/ 27358 w 184504"/>
                <a:gd name="connsiteY965" fmla="*/ 188322 h 299025"/>
                <a:gd name="connsiteX966" fmla="*/ 26721 w 184504"/>
                <a:gd name="connsiteY966" fmla="*/ 188004 h 299025"/>
                <a:gd name="connsiteX967" fmla="*/ 27358 w 184504"/>
                <a:gd name="connsiteY967" fmla="*/ 187368 h 299025"/>
                <a:gd name="connsiteX968" fmla="*/ 26721 w 184504"/>
                <a:gd name="connsiteY968" fmla="*/ 186732 h 299025"/>
                <a:gd name="connsiteX969" fmla="*/ 27358 w 184504"/>
                <a:gd name="connsiteY969" fmla="*/ 185141 h 299025"/>
                <a:gd name="connsiteX970" fmla="*/ 27994 w 184504"/>
                <a:gd name="connsiteY970" fmla="*/ 280575 h 299025"/>
                <a:gd name="connsiteX971" fmla="*/ 27040 w 184504"/>
                <a:gd name="connsiteY971" fmla="*/ 280893 h 299025"/>
                <a:gd name="connsiteX972" fmla="*/ 27994 w 184504"/>
                <a:gd name="connsiteY972" fmla="*/ 281847 h 299025"/>
                <a:gd name="connsiteX973" fmla="*/ 28312 w 184504"/>
                <a:gd name="connsiteY973" fmla="*/ 281847 h 299025"/>
                <a:gd name="connsiteX974" fmla="*/ 27994 w 184504"/>
                <a:gd name="connsiteY974" fmla="*/ 280575 h 299025"/>
                <a:gd name="connsiteX975" fmla="*/ 28312 w 184504"/>
                <a:gd name="connsiteY975" fmla="*/ 183551 h 299025"/>
                <a:gd name="connsiteX976" fmla="*/ 28948 w 184504"/>
                <a:gd name="connsiteY976" fmla="*/ 183551 h 299025"/>
                <a:gd name="connsiteX977" fmla="*/ 28948 w 184504"/>
                <a:gd name="connsiteY977" fmla="*/ 184187 h 299025"/>
                <a:gd name="connsiteX978" fmla="*/ 28312 w 184504"/>
                <a:gd name="connsiteY978" fmla="*/ 183551 h 299025"/>
                <a:gd name="connsiteX979" fmla="*/ 28948 w 184504"/>
                <a:gd name="connsiteY979" fmla="*/ 185141 h 299025"/>
                <a:gd name="connsiteX980" fmla="*/ 29585 w 184504"/>
                <a:gd name="connsiteY980" fmla="*/ 185459 h 299025"/>
                <a:gd name="connsiteX981" fmla="*/ 29267 w 184504"/>
                <a:gd name="connsiteY981" fmla="*/ 185459 h 299025"/>
                <a:gd name="connsiteX982" fmla="*/ 29267 w 184504"/>
                <a:gd name="connsiteY982" fmla="*/ 185777 h 299025"/>
                <a:gd name="connsiteX983" fmla="*/ 28948 w 184504"/>
                <a:gd name="connsiteY983" fmla="*/ 185141 h 299025"/>
                <a:gd name="connsiteX984" fmla="*/ 30857 w 184504"/>
                <a:gd name="connsiteY984" fmla="*/ 181642 h 299025"/>
                <a:gd name="connsiteX985" fmla="*/ 31175 w 184504"/>
                <a:gd name="connsiteY985" fmla="*/ 181642 h 299025"/>
                <a:gd name="connsiteX986" fmla="*/ 30539 w 184504"/>
                <a:gd name="connsiteY986" fmla="*/ 182596 h 299025"/>
                <a:gd name="connsiteX987" fmla="*/ 30221 w 184504"/>
                <a:gd name="connsiteY987" fmla="*/ 181960 h 299025"/>
                <a:gd name="connsiteX988" fmla="*/ 29585 w 184504"/>
                <a:gd name="connsiteY988" fmla="*/ 181960 h 299025"/>
                <a:gd name="connsiteX989" fmla="*/ 30857 w 184504"/>
                <a:gd name="connsiteY989" fmla="*/ 181642 h 299025"/>
                <a:gd name="connsiteX990" fmla="*/ 30857 w 184504"/>
                <a:gd name="connsiteY990" fmla="*/ 182914 h 299025"/>
                <a:gd name="connsiteX991" fmla="*/ 30857 w 184504"/>
                <a:gd name="connsiteY991" fmla="*/ 183551 h 299025"/>
                <a:gd name="connsiteX992" fmla="*/ 29903 w 184504"/>
                <a:gd name="connsiteY992" fmla="*/ 184505 h 299025"/>
                <a:gd name="connsiteX993" fmla="*/ 29585 w 184504"/>
                <a:gd name="connsiteY993" fmla="*/ 183869 h 299025"/>
                <a:gd name="connsiteX994" fmla="*/ 30857 w 184504"/>
                <a:gd name="connsiteY994" fmla="*/ 182914 h 299025"/>
                <a:gd name="connsiteX995" fmla="*/ 30539 w 184504"/>
                <a:gd name="connsiteY995" fmla="*/ 179097 h 299025"/>
                <a:gd name="connsiteX996" fmla="*/ 30857 w 184504"/>
                <a:gd name="connsiteY996" fmla="*/ 178779 h 299025"/>
                <a:gd name="connsiteX997" fmla="*/ 31811 w 184504"/>
                <a:gd name="connsiteY997" fmla="*/ 179415 h 299025"/>
                <a:gd name="connsiteX998" fmla="*/ 32448 w 184504"/>
                <a:gd name="connsiteY998" fmla="*/ 179097 h 299025"/>
                <a:gd name="connsiteX999" fmla="*/ 32448 w 184504"/>
                <a:gd name="connsiteY999" fmla="*/ 178461 h 299025"/>
                <a:gd name="connsiteX1000" fmla="*/ 33402 w 184504"/>
                <a:gd name="connsiteY1000" fmla="*/ 179097 h 299025"/>
                <a:gd name="connsiteX1001" fmla="*/ 32448 w 184504"/>
                <a:gd name="connsiteY1001" fmla="*/ 180051 h 299025"/>
                <a:gd name="connsiteX1002" fmla="*/ 32448 w 184504"/>
                <a:gd name="connsiteY1002" fmla="*/ 180369 h 299025"/>
                <a:gd name="connsiteX1003" fmla="*/ 33402 w 184504"/>
                <a:gd name="connsiteY1003" fmla="*/ 180369 h 299025"/>
                <a:gd name="connsiteX1004" fmla="*/ 32766 w 184504"/>
                <a:gd name="connsiteY1004" fmla="*/ 181006 h 299025"/>
                <a:gd name="connsiteX1005" fmla="*/ 31175 w 184504"/>
                <a:gd name="connsiteY1005" fmla="*/ 179733 h 299025"/>
                <a:gd name="connsiteX1006" fmla="*/ 30539 w 184504"/>
                <a:gd name="connsiteY1006" fmla="*/ 180051 h 299025"/>
                <a:gd name="connsiteX1007" fmla="*/ 30221 w 184504"/>
                <a:gd name="connsiteY1007" fmla="*/ 179733 h 299025"/>
                <a:gd name="connsiteX1008" fmla="*/ 30539 w 184504"/>
                <a:gd name="connsiteY1008" fmla="*/ 179097 h 299025"/>
                <a:gd name="connsiteX1009" fmla="*/ 30539 w 184504"/>
                <a:gd name="connsiteY1009" fmla="*/ 176870 h 299025"/>
                <a:gd name="connsiteX1010" fmla="*/ 30857 w 184504"/>
                <a:gd name="connsiteY1010" fmla="*/ 175916 h 299025"/>
                <a:gd name="connsiteX1011" fmla="*/ 31175 w 184504"/>
                <a:gd name="connsiteY1011" fmla="*/ 176552 h 299025"/>
                <a:gd name="connsiteX1012" fmla="*/ 30857 w 184504"/>
                <a:gd name="connsiteY1012" fmla="*/ 177188 h 299025"/>
                <a:gd name="connsiteX1013" fmla="*/ 30539 w 184504"/>
                <a:gd name="connsiteY1013" fmla="*/ 176870 h 299025"/>
                <a:gd name="connsiteX1014" fmla="*/ 34356 w 184504"/>
                <a:gd name="connsiteY1014" fmla="*/ 183551 h 299025"/>
                <a:gd name="connsiteX1015" fmla="*/ 34992 w 184504"/>
                <a:gd name="connsiteY1015" fmla="*/ 184187 h 299025"/>
                <a:gd name="connsiteX1016" fmla="*/ 35629 w 184504"/>
                <a:gd name="connsiteY1016" fmla="*/ 183551 h 299025"/>
                <a:gd name="connsiteX1017" fmla="*/ 35310 w 184504"/>
                <a:gd name="connsiteY1017" fmla="*/ 182914 h 299025"/>
                <a:gd name="connsiteX1018" fmla="*/ 34992 w 184504"/>
                <a:gd name="connsiteY1018" fmla="*/ 182914 h 299025"/>
                <a:gd name="connsiteX1019" fmla="*/ 34356 w 184504"/>
                <a:gd name="connsiteY1019" fmla="*/ 183551 h 299025"/>
                <a:gd name="connsiteX1020" fmla="*/ 35310 w 184504"/>
                <a:gd name="connsiteY1020" fmla="*/ 176552 h 299025"/>
                <a:gd name="connsiteX1021" fmla="*/ 35947 w 184504"/>
                <a:gd name="connsiteY1021" fmla="*/ 177188 h 299025"/>
                <a:gd name="connsiteX1022" fmla="*/ 35629 w 184504"/>
                <a:gd name="connsiteY1022" fmla="*/ 177825 h 299025"/>
                <a:gd name="connsiteX1023" fmla="*/ 34992 w 184504"/>
                <a:gd name="connsiteY1023" fmla="*/ 178461 h 299025"/>
                <a:gd name="connsiteX1024" fmla="*/ 34674 w 184504"/>
                <a:gd name="connsiteY1024" fmla="*/ 178143 h 299025"/>
                <a:gd name="connsiteX1025" fmla="*/ 35310 w 184504"/>
                <a:gd name="connsiteY1025" fmla="*/ 176552 h 299025"/>
                <a:gd name="connsiteX1026" fmla="*/ 35310 w 184504"/>
                <a:gd name="connsiteY1026" fmla="*/ 171462 h 299025"/>
                <a:gd name="connsiteX1027" fmla="*/ 34992 w 184504"/>
                <a:gd name="connsiteY1027" fmla="*/ 170826 h 299025"/>
                <a:gd name="connsiteX1028" fmla="*/ 35629 w 184504"/>
                <a:gd name="connsiteY1028" fmla="*/ 170826 h 299025"/>
                <a:gd name="connsiteX1029" fmla="*/ 35310 w 184504"/>
                <a:gd name="connsiteY1029" fmla="*/ 171462 h 299025"/>
                <a:gd name="connsiteX1030" fmla="*/ 38173 w 184504"/>
                <a:gd name="connsiteY1030" fmla="*/ 172417 h 299025"/>
                <a:gd name="connsiteX1031" fmla="*/ 38173 w 184504"/>
                <a:gd name="connsiteY1031" fmla="*/ 173053 h 299025"/>
                <a:gd name="connsiteX1032" fmla="*/ 38491 w 184504"/>
                <a:gd name="connsiteY1032" fmla="*/ 173689 h 299025"/>
                <a:gd name="connsiteX1033" fmla="*/ 37537 w 184504"/>
                <a:gd name="connsiteY1033" fmla="*/ 175280 h 299025"/>
                <a:gd name="connsiteX1034" fmla="*/ 36901 w 184504"/>
                <a:gd name="connsiteY1034" fmla="*/ 174962 h 299025"/>
                <a:gd name="connsiteX1035" fmla="*/ 36901 w 184504"/>
                <a:gd name="connsiteY1035" fmla="*/ 175916 h 299025"/>
                <a:gd name="connsiteX1036" fmla="*/ 36583 w 184504"/>
                <a:gd name="connsiteY1036" fmla="*/ 176234 h 299025"/>
                <a:gd name="connsiteX1037" fmla="*/ 35310 w 184504"/>
                <a:gd name="connsiteY1037" fmla="*/ 175598 h 299025"/>
                <a:gd name="connsiteX1038" fmla="*/ 38173 w 184504"/>
                <a:gd name="connsiteY1038" fmla="*/ 172417 h 299025"/>
                <a:gd name="connsiteX1039" fmla="*/ 37537 w 184504"/>
                <a:gd name="connsiteY1039" fmla="*/ 168599 h 299025"/>
                <a:gd name="connsiteX1040" fmla="*/ 37537 w 184504"/>
                <a:gd name="connsiteY1040" fmla="*/ 169872 h 299025"/>
                <a:gd name="connsiteX1041" fmla="*/ 36901 w 184504"/>
                <a:gd name="connsiteY1041" fmla="*/ 168917 h 299025"/>
                <a:gd name="connsiteX1042" fmla="*/ 37219 w 184504"/>
                <a:gd name="connsiteY1042" fmla="*/ 168599 h 299025"/>
                <a:gd name="connsiteX1043" fmla="*/ 37537 w 184504"/>
                <a:gd name="connsiteY1043" fmla="*/ 168599 h 299025"/>
                <a:gd name="connsiteX1044" fmla="*/ 37537 w 184504"/>
                <a:gd name="connsiteY1044" fmla="*/ 168599 h 299025"/>
                <a:gd name="connsiteX1045" fmla="*/ 37855 w 184504"/>
                <a:gd name="connsiteY1045" fmla="*/ 167327 h 299025"/>
                <a:gd name="connsiteX1046" fmla="*/ 38173 w 184504"/>
                <a:gd name="connsiteY1046" fmla="*/ 167645 h 299025"/>
                <a:gd name="connsiteX1047" fmla="*/ 37537 w 184504"/>
                <a:gd name="connsiteY1047" fmla="*/ 168599 h 299025"/>
                <a:gd name="connsiteX1048" fmla="*/ 40082 w 184504"/>
                <a:gd name="connsiteY1048" fmla="*/ 166054 h 299025"/>
                <a:gd name="connsiteX1049" fmla="*/ 39764 w 184504"/>
                <a:gd name="connsiteY1049" fmla="*/ 165736 h 299025"/>
                <a:gd name="connsiteX1050" fmla="*/ 40082 w 184504"/>
                <a:gd name="connsiteY1050" fmla="*/ 165736 h 299025"/>
                <a:gd name="connsiteX1051" fmla="*/ 40400 w 184504"/>
                <a:gd name="connsiteY1051" fmla="*/ 164464 h 299025"/>
                <a:gd name="connsiteX1052" fmla="*/ 40082 w 184504"/>
                <a:gd name="connsiteY1052" fmla="*/ 163828 h 299025"/>
                <a:gd name="connsiteX1053" fmla="*/ 40400 w 184504"/>
                <a:gd name="connsiteY1053" fmla="*/ 163509 h 299025"/>
                <a:gd name="connsiteX1054" fmla="*/ 41355 w 184504"/>
                <a:gd name="connsiteY1054" fmla="*/ 163828 h 299025"/>
                <a:gd name="connsiteX1055" fmla="*/ 41673 w 184504"/>
                <a:gd name="connsiteY1055" fmla="*/ 162873 h 299025"/>
                <a:gd name="connsiteX1056" fmla="*/ 43582 w 184504"/>
                <a:gd name="connsiteY1056" fmla="*/ 161283 h 299025"/>
                <a:gd name="connsiteX1057" fmla="*/ 44218 w 184504"/>
                <a:gd name="connsiteY1057" fmla="*/ 161601 h 299025"/>
                <a:gd name="connsiteX1058" fmla="*/ 44854 w 184504"/>
                <a:gd name="connsiteY1058" fmla="*/ 160646 h 299025"/>
                <a:gd name="connsiteX1059" fmla="*/ 44854 w 184504"/>
                <a:gd name="connsiteY1059" fmla="*/ 161919 h 299025"/>
                <a:gd name="connsiteX1060" fmla="*/ 44218 w 184504"/>
                <a:gd name="connsiteY1060" fmla="*/ 162873 h 299025"/>
                <a:gd name="connsiteX1061" fmla="*/ 42945 w 184504"/>
                <a:gd name="connsiteY1061" fmla="*/ 163509 h 299025"/>
                <a:gd name="connsiteX1062" fmla="*/ 41355 w 184504"/>
                <a:gd name="connsiteY1062" fmla="*/ 165736 h 299025"/>
                <a:gd name="connsiteX1063" fmla="*/ 40082 w 184504"/>
                <a:gd name="connsiteY1063" fmla="*/ 166054 h 299025"/>
                <a:gd name="connsiteX1064" fmla="*/ 40400 w 184504"/>
                <a:gd name="connsiteY1064" fmla="*/ 193412 h 299025"/>
                <a:gd name="connsiteX1065" fmla="*/ 40082 w 184504"/>
                <a:gd name="connsiteY1065" fmla="*/ 195321 h 299025"/>
                <a:gd name="connsiteX1066" fmla="*/ 39764 w 184504"/>
                <a:gd name="connsiteY1066" fmla="*/ 195003 h 299025"/>
                <a:gd name="connsiteX1067" fmla="*/ 40400 w 184504"/>
                <a:gd name="connsiteY1067" fmla="*/ 193412 h 299025"/>
                <a:gd name="connsiteX1068" fmla="*/ 41673 w 184504"/>
                <a:gd name="connsiteY1068" fmla="*/ 191503 h 299025"/>
                <a:gd name="connsiteX1069" fmla="*/ 41991 w 184504"/>
                <a:gd name="connsiteY1069" fmla="*/ 191821 h 299025"/>
                <a:gd name="connsiteX1070" fmla="*/ 41991 w 184504"/>
                <a:gd name="connsiteY1070" fmla="*/ 192140 h 299025"/>
                <a:gd name="connsiteX1071" fmla="*/ 40400 w 184504"/>
                <a:gd name="connsiteY1071" fmla="*/ 193412 h 299025"/>
                <a:gd name="connsiteX1072" fmla="*/ 40718 w 184504"/>
                <a:gd name="connsiteY1072" fmla="*/ 191821 h 299025"/>
                <a:gd name="connsiteX1073" fmla="*/ 41673 w 184504"/>
                <a:gd name="connsiteY1073" fmla="*/ 191503 h 299025"/>
                <a:gd name="connsiteX1074" fmla="*/ 46763 w 184504"/>
                <a:gd name="connsiteY1074" fmla="*/ 166054 h 299025"/>
                <a:gd name="connsiteX1075" fmla="*/ 45808 w 184504"/>
                <a:gd name="connsiteY1075" fmla="*/ 166372 h 299025"/>
                <a:gd name="connsiteX1076" fmla="*/ 47399 w 184504"/>
                <a:gd name="connsiteY1076" fmla="*/ 167009 h 299025"/>
                <a:gd name="connsiteX1077" fmla="*/ 47717 w 184504"/>
                <a:gd name="connsiteY1077" fmla="*/ 166691 h 299025"/>
                <a:gd name="connsiteX1078" fmla="*/ 47717 w 184504"/>
                <a:gd name="connsiteY1078" fmla="*/ 166372 h 299025"/>
                <a:gd name="connsiteX1079" fmla="*/ 46763 w 184504"/>
                <a:gd name="connsiteY1079" fmla="*/ 166054 h 299025"/>
                <a:gd name="connsiteX1080" fmla="*/ 47399 w 184504"/>
                <a:gd name="connsiteY1080" fmla="*/ 165418 h 299025"/>
                <a:gd name="connsiteX1081" fmla="*/ 47717 w 184504"/>
                <a:gd name="connsiteY1081" fmla="*/ 165418 h 299025"/>
                <a:gd name="connsiteX1082" fmla="*/ 49625 w 184504"/>
                <a:gd name="connsiteY1082" fmla="*/ 163509 h 299025"/>
                <a:gd name="connsiteX1083" fmla="*/ 50262 w 184504"/>
                <a:gd name="connsiteY1083" fmla="*/ 162555 h 299025"/>
                <a:gd name="connsiteX1084" fmla="*/ 50580 w 184504"/>
                <a:gd name="connsiteY1084" fmla="*/ 161919 h 299025"/>
                <a:gd name="connsiteX1085" fmla="*/ 50262 w 184504"/>
                <a:gd name="connsiteY1085" fmla="*/ 161919 h 299025"/>
                <a:gd name="connsiteX1086" fmla="*/ 47399 w 184504"/>
                <a:gd name="connsiteY1086" fmla="*/ 164464 h 299025"/>
                <a:gd name="connsiteX1087" fmla="*/ 47399 w 184504"/>
                <a:gd name="connsiteY1087" fmla="*/ 165418 h 299025"/>
                <a:gd name="connsiteX1088" fmla="*/ 47717 w 184504"/>
                <a:gd name="connsiteY1088" fmla="*/ 158420 h 299025"/>
                <a:gd name="connsiteX1089" fmla="*/ 48353 w 184504"/>
                <a:gd name="connsiteY1089" fmla="*/ 157147 h 299025"/>
                <a:gd name="connsiteX1090" fmla="*/ 48353 w 184504"/>
                <a:gd name="connsiteY1090" fmla="*/ 158102 h 299025"/>
                <a:gd name="connsiteX1091" fmla="*/ 47717 w 184504"/>
                <a:gd name="connsiteY1091" fmla="*/ 158738 h 299025"/>
                <a:gd name="connsiteX1092" fmla="*/ 47717 w 184504"/>
                <a:gd name="connsiteY1092" fmla="*/ 158420 h 299025"/>
                <a:gd name="connsiteX1093" fmla="*/ 51216 w 184504"/>
                <a:gd name="connsiteY1093" fmla="*/ 155557 h 299025"/>
                <a:gd name="connsiteX1094" fmla="*/ 50262 w 184504"/>
                <a:gd name="connsiteY1094" fmla="*/ 155239 h 299025"/>
                <a:gd name="connsiteX1095" fmla="*/ 53125 w 184504"/>
                <a:gd name="connsiteY1095" fmla="*/ 152057 h 299025"/>
                <a:gd name="connsiteX1096" fmla="*/ 53443 w 184504"/>
                <a:gd name="connsiteY1096" fmla="*/ 152057 h 299025"/>
                <a:gd name="connsiteX1097" fmla="*/ 52170 w 184504"/>
                <a:gd name="connsiteY1097" fmla="*/ 154284 h 299025"/>
                <a:gd name="connsiteX1098" fmla="*/ 51216 w 184504"/>
                <a:gd name="connsiteY1098" fmla="*/ 155557 h 299025"/>
                <a:gd name="connsiteX1099" fmla="*/ 52170 w 184504"/>
                <a:gd name="connsiteY1099" fmla="*/ 43581 h 299025"/>
                <a:gd name="connsiteX1100" fmla="*/ 53761 w 184504"/>
                <a:gd name="connsiteY1100" fmla="*/ 42309 h 299025"/>
                <a:gd name="connsiteX1101" fmla="*/ 53125 w 184504"/>
                <a:gd name="connsiteY1101" fmla="*/ 42309 h 299025"/>
                <a:gd name="connsiteX1102" fmla="*/ 52170 w 184504"/>
                <a:gd name="connsiteY1102" fmla="*/ 43581 h 299025"/>
                <a:gd name="connsiteX1103" fmla="*/ 53761 w 184504"/>
                <a:gd name="connsiteY1103" fmla="*/ 41991 h 299025"/>
                <a:gd name="connsiteX1104" fmla="*/ 54397 w 184504"/>
                <a:gd name="connsiteY1104" fmla="*/ 41673 h 299025"/>
                <a:gd name="connsiteX1105" fmla="*/ 53761 w 184504"/>
                <a:gd name="connsiteY1105" fmla="*/ 40718 h 299025"/>
                <a:gd name="connsiteX1106" fmla="*/ 53761 w 184504"/>
                <a:gd name="connsiteY1106" fmla="*/ 41991 h 299025"/>
                <a:gd name="connsiteX1107" fmla="*/ 53761 w 184504"/>
                <a:gd name="connsiteY1107" fmla="*/ 159056 h 299025"/>
                <a:gd name="connsiteX1108" fmla="*/ 53761 w 184504"/>
                <a:gd name="connsiteY1108" fmla="*/ 159692 h 299025"/>
                <a:gd name="connsiteX1109" fmla="*/ 54079 w 184504"/>
                <a:gd name="connsiteY1109" fmla="*/ 160010 h 299025"/>
                <a:gd name="connsiteX1110" fmla="*/ 54397 w 184504"/>
                <a:gd name="connsiteY1110" fmla="*/ 159692 h 299025"/>
                <a:gd name="connsiteX1111" fmla="*/ 54397 w 184504"/>
                <a:gd name="connsiteY1111" fmla="*/ 159374 h 299025"/>
                <a:gd name="connsiteX1112" fmla="*/ 57897 w 184504"/>
                <a:gd name="connsiteY1112" fmla="*/ 157147 h 299025"/>
                <a:gd name="connsiteX1113" fmla="*/ 57578 w 184504"/>
                <a:gd name="connsiteY1113" fmla="*/ 156511 h 299025"/>
                <a:gd name="connsiteX1114" fmla="*/ 56306 w 184504"/>
                <a:gd name="connsiteY1114" fmla="*/ 155875 h 299025"/>
                <a:gd name="connsiteX1115" fmla="*/ 54079 w 184504"/>
                <a:gd name="connsiteY1115" fmla="*/ 158102 h 299025"/>
                <a:gd name="connsiteX1116" fmla="*/ 53761 w 184504"/>
                <a:gd name="connsiteY1116" fmla="*/ 159056 h 299025"/>
                <a:gd name="connsiteX1117" fmla="*/ 55352 w 184504"/>
                <a:gd name="connsiteY1117" fmla="*/ 151421 h 299025"/>
                <a:gd name="connsiteX1118" fmla="*/ 55033 w 184504"/>
                <a:gd name="connsiteY1118" fmla="*/ 151103 h 299025"/>
                <a:gd name="connsiteX1119" fmla="*/ 55352 w 184504"/>
                <a:gd name="connsiteY1119" fmla="*/ 151103 h 299025"/>
                <a:gd name="connsiteX1120" fmla="*/ 55352 w 184504"/>
                <a:gd name="connsiteY1120" fmla="*/ 151421 h 299025"/>
                <a:gd name="connsiteX1121" fmla="*/ 56624 w 184504"/>
                <a:gd name="connsiteY1121" fmla="*/ 150149 h 299025"/>
                <a:gd name="connsiteX1122" fmla="*/ 56306 w 184504"/>
                <a:gd name="connsiteY1122" fmla="*/ 149831 h 299025"/>
                <a:gd name="connsiteX1123" fmla="*/ 58533 w 184504"/>
                <a:gd name="connsiteY1123" fmla="*/ 147922 h 299025"/>
                <a:gd name="connsiteX1124" fmla="*/ 57897 w 184504"/>
                <a:gd name="connsiteY1124" fmla="*/ 150467 h 299025"/>
                <a:gd name="connsiteX1125" fmla="*/ 56624 w 184504"/>
                <a:gd name="connsiteY1125" fmla="*/ 150149 h 299025"/>
                <a:gd name="connsiteX1126" fmla="*/ 112294 w 184504"/>
                <a:gd name="connsiteY1126" fmla="*/ 38492 h 299025"/>
                <a:gd name="connsiteX1127" fmla="*/ 110385 w 184504"/>
                <a:gd name="connsiteY1127" fmla="*/ 38492 h 299025"/>
                <a:gd name="connsiteX1128" fmla="*/ 109112 w 184504"/>
                <a:gd name="connsiteY1128" fmla="*/ 36583 h 299025"/>
                <a:gd name="connsiteX1129" fmla="*/ 104341 w 184504"/>
                <a:gd name="connsiteY1129" fmla="*/ 30539 h 299025"/>
                <a:gd name="connsiteX1130" fmla="*/ 104977 w 184504"/>
                <a:gd name="connsiteY1130" fmla="*/ 28630 h 299025"/>
                <a:gd name="connsiteX1131" fmla="*/ 104341 w 184504"/>
                <a:gd name="connsiteY1131" fmla="*/ 27040 h 299025"/>
                <a:gd name="connsiteX1132" fmla="*/ 104659 w 184504"/>
                <a:gd name="connsiteY1132" fmla="*/ 26085 h 299025"/>
                <a:gd name="connsiteX1133" fmla="*/ 104341 w 184504"/>
                <a:gd name="connsiteY1133" fmla="*/ 25449 h 299025"/>
                <a:gd name="connsiteX1134" fmla="*/ 104977 w 184504"/>
                <a:gd name="connsiteY1134" fmla="*/ 24813 h 299025"/>
                <a:gd name="connsiteX1135" fmla="*/ 103386 w 184504"/>
                <a:gd name="connsiteY1135" fmla="*/ 20995 h 299025"/>
                <a:gd name="connsiteX1136" fmla="*/ 103704 w 184504"/>
                <a:gd name="connsiteY1136" fmla="*/ 20041 h 299025"/>
                <a:gd name="connsiteX1137" fmla="*/ 102750 w 184504"/>
                <a:gd name="connsiteY1137" fmla="*/ 17178 h 299025"/>
                <a:gd name="connsiteX1138" fmla="*/ 102114 w 184504"/>
                <a:gd name="connsiteY1138" fmla="*/ 15269 h 299025"/>
                <a:gd name="connsiteX1139" fmla="*/ 101160 w 184504"/>
                <a:gd name="connsiteY1139" fmla="*/ 14951 h 299025"/>
                <a:gd name="connsiteX1140" fmla="*/ 96070 w 184504"/>
                <a:gd name="connsiteY1140" fmla="*/ 18450 h 299025"/>
                <a:gd name="connsiteX1141" fmla="*/ 96070 w 184504"/>
                <a:gd name="connsiteY1141" fmla="*/ 17814 h 299025"/>
                <a:gd name="connsiteX1142" fmla="*/ 96706 w 184504"/>
                <a:gd name="connsiteY1142" fmla="*/ 17496 h 299025"/>
                <a:gd name="connsiteX1143" fmla="*/ 91298 w 184504"/>
                <a:gd name="connsiteY1143" fmla="*/ 22904 h 299025"/>
                <a:gd name="connsiteX1144" fmla="*/ 91616 w 184504"/>
                <a:gd name="connsiteY1144" fmla="*/ 22904 h 299025"/>
                <a:gd name="connsiteX1145" fmla="*/ 92252 w 184504"/>
                <a:gd name="connsiteY1145" fmla="*/ 23858 h 299025"/>
                <a:gd name="connsiteX1146" fmla="*/ 90662 w 184504"/>
                <a:gd name="connsiteY1146" fmla="*/ 23540 h 299025"/>
                <a:gd name="connsiteX1147" fmla="*/ 89071 w 184504"/>
                <a:gd name="connsiteY1147" fmla="*/ 25131 h 299025"/>
                <a:gd name="connsiteX1148" fmla="*/ 88117 w 184504"/>
                <a:gd name="connsiteY1148" fmla="*/ 24813 h 299025"/>
                <a:gd name="connsiteX1149" fmla="*/ 85254 w 184504"/>
                <a:gd name="connsiteY1149" fmla="*/ 30221 h 299025"/>
                <a:gd name="connsiteX1150" fmla="*/ 85572 w 184504"/>
                <a:gd name="connsiteY1150" fmla="*/ 31811 h 299025"/>
                <a:gd name="connsiteX1151" fmla="*/ 84618 w 184504"/>
                <a:gd name="connsiteY1151" fmla="*/ 31175 h 299025"/>
                <a:gd name="connsiteX1152" fmla="*/ 84300 w 184504"/>
                <a:gd name="connsiteY1152" fmla="*/ 30221 h 299025"/>
                <a:gd name="connsiteX1153" fmla="*/ 83664 w 184504"/>
                <a:gd name="connsiteY1153" fmla="*/ 34356 h 299025"/>
                <a:gd name="connsiteX1154" fmla="*/ 83346 w 184504"/>
                <a:gd name="connsiteY1154" fmla="*/ 34038 h 299025"/>
                <a:gd name="connsiteX1155" fmla="*/ 83027 w 184504"/>
                <a:gd name="connsiteY1155" fmla="*/ 34038 h 299025"/>
                <a:gd name="connsiteX1156" fmla="*/ 83027 w 184504"/>
                <a:gd name="connsiteY1156" fmla="*/ 34356 h 299025"/>
                <a:gd name="connsiteX1157" fmla="*/ 81437 w 184504"/>
                <a:gd name="connsiteY1157" fmla="*/ 36583 h 299025"/>
                <a:gd name="connsiteX1158" fmla="*/ 81119 w 184504"/>
                <a:gd name="connsiteY1158" fmla="*/ 36265 h 299025"/>
                <a:gd name="connsiteX1159" fmla="*/ 80800 w 184504"/>
                <a:gd name="connsiteY1159" fmla="*/ 36265 h 299025"/>
                <a:gd name="connsiteX1160" fmla="*/ 80800 w 184504"/>
                <a:gd name="connsiteY1160" fmla="*/ 36901 h 299025"/>
                <a:gd name="connsiteX1161" fmla="*/ 79846 w 184504"/>
                <a:gd name="connsiteY1161" fmla="*/ 37537 h 299025"/>
                <a:gd name="connsiteX1162" fmla="*/ 80482 w 184504"/>
                <a:gd name="connsiteY1162" fmla="*/ 38810 h 299025"/>
                <a:gd name="connsiteX1163" fmla="*/ 79846 w 184504"/>
                <a:gd name="connsiteY1163" fmla="*/ 38810 h 299025"/>
                <a:gd name="connsiteX1164" fmla="*/ 79846 w 184504"/>
                <a:gd name="connsiteY1164" fmla="*/ 38173 h 299025"/>
                <a:gd name="connsiteX1165" fmla="*/ 79528 w 184504"/>
                <a:gd name="connsiteY1165" fmla="*/ 37855 h 299025"/>
                <a:gd name="connsiteX1166" fmla="*/ 74756 w 184504"/>
                <a:gd name="connsiteY1166" fmla="*/ 43581 h 299025"/>
                <a:gd name="connsiteX1167" fmla="*/ 76029 w 184504"/>
                <a:gd name="connsiteY1167" fmla="*/ 45172 h 299025"/>
                <a:gd name="connsiteX1168" fmla="*/ 75711 w 184504"/>
                <a:gd name="connsiteY1168" fmla="*/ 45172 h 299025"/>
                <a:gd name="connsiteX1169" fmla="*/ 75393 w 184504"/>
                <a:gd name="connsiteY1169" fmla="*/ 45808 h 299025"/>
                <a:gd name="connsiteX1170" fmla="*/ 73484 w 184504"/>
                <a:gd name="connsiteY1170" fmla="*/ 48353 h 299025"/>
                <a:gd name="connsiteX1171" fmla="*/ 71575 w 184504"/>
                <a:gd name="connsiteY1171" fmla="*/ 51216 h 299025"/>
                <a:gd name="connsiteX1172" fmla="*/ 71257 w 184504"/>
                <a:gd name="connsiteY1172" fmla="*/ 50898 h 299025"/>
                <a:gd name="connsiteX1173" fmla="*/ 70939 w 184504"/>
                <a:gd name="connsiteY1173" fmla="*/ 51216 h 299025"/>
                <a:gd name="connsiteX1174" fmla="*/ 70621 w 184504"/>
                <a:gd name="connsiteY1174" fmla="*/ 50898 h 299025"/>
                <a:gd name="connsiteX1175" fmla="*/ 70621 w 184504"/>
                <a:gd name="connsiteY1175" fmla="*/ 53125 h 299025"/>
                <a:gd name="connsiteX1176" fmla="*/ 69349 w 184504"/>
                <a:gd name="connsiteY1176" fmla="*/ 53443 h 299025"/>
                <a:gd name="connsiteX1177" fmla="*/ 67440 w 184504"/>
                <a:gd name="connsiteY1177" fmla="*/ 55351 h 299025"/>
                <a:gd name="connsiteX1178" fmla="*/ 67440 w 184504"/>
                <a:gd name="connsiteY1178" fmla="*/ 55988 h 299025"/>
                <a:gd name="connsiteX1179" fmla="*/ 67758 w 184504"/>
                <a:gd name="connsiteY1179" fmla="*/ 56624 h 299025"/>
                <a:gd name="connsiteX1180" fmla="*/ 68394 w 184504"/>
                <a:gd name="connsiteY1180" fmla="*/ 56942 h 299025"/>
                <a:gd name="connsiteX1181" fmla="*/ 67440 w 184504"/>
                <a:gd name="connsiteY1181" fmla="*/ 58851 h 299025"/>
                <a:gd name="connsiteX1182" fmla="*/ 66167 w 184504"/>
                <a:gd name="connsiteY1182" fmla="*/ 58851 h 299025"/>
                <a:gd name="connsiteX1183" fmla="*/ 66485 w 184504"/>
                <a:gd name="connsiteY1183" fmla="*/ 60441 h 299025"/>
                <a:gd name="connsiteX1184" fmla="*/ 62668 w 184504"/>
                <a:gd name="connsiteY1184" fmla="*/ 68712 h 299025"/>
                <a:gd name="connsiteX1185" fmla="*/ 62668 w 184504"/>
                <a:gd name="connsiteY1185" fmla="*/ 70939 h 299025"/>
                <a:gd name="connsiteX1186" fmla="*/ 57578 w 184504"/>
                <a:gd name="connsiteY1186" fmla="*/ 91616 h 299025"/>
                <a:gd name="connsiteX1187" fmla="*/ 57578 w 184504"/>
                <a:gd name="connsiteY1187" fmla="*/ 93525 h 299025"/>
                <a:gd name="connsiteX1188" fmla="*/ 58215 w 184504"/>
                <a:gd name="connsiteY1188" fmla="*/ 96070 h 299025"/>
                <a:gd name="connsiteX1189" fmla="*/ 59169 w 184504"/>
                <a:gd name="connsiteY1189" fmla="*/ 96388 h 299025"/>
                <a:gd name="connsiteX1190" fmla="*/ 62350 w 184504"/>
                <a:gd name="connsiteY1190" fmla="*/ 94797 h 299025"/>
                <a:gd name="connsiteX1191" fmla="*/ 62668 w 184504"/>
                <a:gd name="connsiteY1191" fmla="*/ 92889 h 299025"/>
                <a:gd name="connsiteX1192" fmla="*/ 65213 w 184504"/>
                <a:gd name="connsiteY1192" fmla="*/ 93525 h 299025"/>
                <a:gd name="connsiteX1193" fmla="*/ 64259 w 184504"/>
                <a:gd name="connsiteY1193" fmla="*/ 92889 h 299025"/>
                <a:gd name="connsiteX1194" fmla="*/ 67440 w 184504"/>
                <a:gd name="connsiteY1194" fmla="*/ 89389 h 299025"/>
                <a:gd name="connsiteX1195" fmla="*/ 68712 w 184504"/>
                <a:gd name="connsiteY1195" fmla="*/ 90344 h 299025"/>
                <a:gd name="connsiteX1196" fmla="*/ 69030 w 184504"/>
                <a:gd name="connsiteY1196" fmla="*/ 90344 h 299025"/>
                <a:gd name="connsiteX1197" fmla="*/ 69667 w 184504"/>
                <a:gd name="connsiteY1197" fmla="*/ 88117 h 299025"/>
                <a:gd name="connsiteX1198" fmla="*/ 69349 w 184504"/>
                <a:gd name="connsiteY1198" fmla="*/ 86845 h 299025"/>
                <a:gd name="connsiteX1199" fmla="*/ 69985 w 184504"/>
                <a:gd name="connsiteY1199" fmla="*/ 86845 h 299025"/>
                <a:gd name="connsiteX1200" fmla="*/ 80164 w 184504"/>
                <a:gd name="connsiteY1200" fmla="*/ 78256 h 299025"/>
                <a:gd name="connsiteX1201" fmla="*/ 80164 w 184504"/>
                <a:gd name="connsiteY1201" fmla="*/ 76983 h 299025"/>
                <a:gd name="connsiteX1202" fmla="*/ 81755 w 184504"/>
                <a:gd name="connsiteY1202" fmla="*/ 75074 h 299025"/>
                <a:gd name="connsiteX1203" fmla="*/ 82073 w 184504"/>
                <a:gd name="connsiteY1203" fmla="*/ 74756 h 299025"/>
                <a:gd name="connsiteX1204" fmla="*/ 85890 w 184504"/>
                <a:gd name="connsiteY1204" fmla="*/ 71575 h 299025"/>
                <a:gd name="connsiteX1205" fmla="*/ 86527 w 184504"/>
                <a:gd name="connsiteY1205" fmla="*/ 70939 h 299025"/>
                <a:gd name="connsiteX1206" fmla="*/ 87163 w 184504"/>
                <a:gd name="connsiteY1206" fmla="*/ 69985 h 299025"/>
                <a:gd name="connsiteX1207" fmla="*/ 86845 w 184504"/>
                <a:gd name="connsiteY1207" fmla="*/ 69030 h 299025"/>
                <a:gd name="connsiteX1208" fmla="*/ 90026 w 184504"/>
                <a:gd name="connsiteY1208" fmla="*/ 67440 h 299025"/>
                <a:gd name="connsiteX1209" fmla="*/ 90026 w 184504"/>
                <a:gd name="connsiteY1209" fmla="*/ 66167 h 299025"/>
                <a:gd name="connsiteX1210" fmla="*/ 90980 w 184504"/>
                <a:gd name="connsiteY1210" fmla="*/ 64895 h 299025"/>
                <a:gd name="connsiteX1211" fmla="*/ 91298 w 184504"/>
                <a:gd name="connsiteY1211" fmla="*/ 64577 h 299025"/>
                <a:gd name="connsiteX1212" fmla="*/ 94161 w 184504"/>
                <a:gd name="connsiteY1212" fmla="*/ 61396 h 299025"/>
                <a:gd name="connsiteX1213" fmla="*/ 94161 w 184504"/>
                <a:gd name="connsiteY1213" fmla="*/ 60441 h 299025"/>
                <a:gd name="connsiteX1214" fmla="*/ 96706 w 184504"/>
                <a:gd name="connsiteY1214" fmla="*/ 57260 h 299025"/>
                <a:gd name="connsiteX1215" fmla="*/ 106885 w 184504"/>
                <a:gd name="connsiteY1215" fmla="*/ 48035 h 299025"/>
                <a:gd name="connsiteX1216" fmla="*/ 106567 w 184504"/>
                <a:gd name="connsiteY1216" fmla="*/ 47717 h 299025"/>
                <a:gd name="connsiteX1217" fmla="*/ 109431 w 184504"/>
                <a:gd name="connsiteY1217" fmla="*/ 44536 h 299025"/>
                <a:gd name="connsiteX1218" fmla="*/ 109112 w 184504"/>
                <a:gd name="connsiteY1218" fmla="*/ 42627 h 299025"/>
                <a:gd name="connsiteX1219" fmla="*/ 110385 w 184504"/>
                <a:gd name="connsiteY1219" fmla="*/ 43899 h 299025"/>
                <a:gd name="connsiteX1220" fmla="*/ 110703 w 184504"/>
                <a:gd name="connsiteY1220" fmla="*/ 44218 h 299025"/>
                <a:gd name="connsiteX1221" fmla="*/ 110067 w 184504"/>
                <a:gd name="connsiteY1221" fmla="*/ 44854 h 299025"/>
                <a:gd name="connsiteX1222" fmla="*/ 110067 w 184504"/>
                <a:gd name="connsiteY1222" fmla="*/ 45490 h 299025"/>
                <a:gd name="connsiteX1223" fmla="*/ 111657 w 184504"/>
                <a:gd name="connsiteY1223" fmla="*/ 43899 h 299025"/>
                <a:gd name="connsiteX1224" fmla="*/ 110703 w 184504"/>
                <a:gd name="connsiteY1224" fmla="*/ 42627 h 299025"/>
                <a:gd name="connsiteX1225" fmla="*/ 110385 w 184504"/>
                <a:gd name="connsiteY1225" fmla="*/ 42627 h 299025"/>
                <a:gd name="connsiteX1226" fmla="*/ 110067 w 184504"/>
                <a:gd name="connsiteY1226" fmla="*/ 42309 h 299025"/>
                <a:gd name="connsiteX1227" fmla="*/ 109749 w 184504"/>
                <a:gd name="connsiteY1227" fmla="*/ 41991 h 299025"/>
                <a:gd name="connsiteX1228" fmla="*/ 112294 w 184504"/>
                <a:gd name="connsiteY1228" fmla="*/ 38810 h 299025"/>
                <a:gd name="connsiteX1229" fmla="*/ 112294 w 184504"/>
                <a:gd name="connsiteY1229" fmla="*/ 38492 h 299025"/>
                <a:gd name="connsiteX1230" fmla="*/ 60123 w 184504"/>
                <a:gd name="connsiteY1230" fmla="*/ 147922 h 299025"/>
                <a:gd name="connsiteX1231" fmla="*/ 59169 w 184504"/>
                <a:gd name="connsiteY1231" fmla="*/ 147922 h 299025"/>
                <a:gd name="connsiteX1232" fmla="*/ 59805 w 184504"/>
                <a:gd name="connsiteY1232" fmla="*/ 146650 h 299025"/>
                <a:gd name="connsiteX1233" fmla="*/ 60123 w 184504"/>
                <a:gd name="connsiteY1233" fmla="*/ 146650 h 299025"/>
                <a:gd name="connsiteX1234" fmla="*/ 65213 w 184504"/>
                <a:gd name="connsiteY1234" fmla="*/ 142832 h 299025"/>
                <a:gd name="connsiteX1235" fmla="*/ 65531 w 184504"/>
                <a:gd name="connsiteY1235" fmla="*/ 143150 h 299025"/>
                <a:gd name="connsiteX1236" fmla="*/ 60759 w 184504"/>
                <a:gd name="connsiteY1236" fmla="*/ 147286 h 299025"/>
                <a:gd name="connsiteX1237" fmla="*/ 60123 w 184504"/>
                <a:gd name="connsiteY1237" fmla="*/ 147922 h 299025"/>
                <a:gd name="connsiteX1238" fmla="*/ 59805 w 184504"/>
                <a:gd name="connsiteY1238" fmla="*/ 153966 h 299025"/>
                <a:gd name="connsiteX1239" fmla="*/ 60441 w 184504"/>
                <a:gd name="connsiteY1239" fmla="*/ 154284 h 299025"/>
                <a:gd name="connsiteX1240" fmla="*/ 63622 w 184504"/>
                <a:gd name="connsiteY1240" fmla="*/ 151421 h 299025"/>
                <a:gd name="connsiteX1241" fmla="*/ 63622 w 184504"/>
                <a:gd name="connsiteY1241" fmla="*/ 151103 h 299025"/>
                <a:gd name="connsiteX1242" fmla="*/ 61396 w 184504"/>
                <a:gd name="connsiteY1242" fmla="*/ 151421 h 299025"/>
                <a:gd name="connsiteX1243" fmla="*/ 59805 w 184504"/>
                <a:gd name="connsiteY1243" fmla="*/ 153966 h 299025"/>
                <a:gd name="connsiteX1244" fmla="*/ 66803 w 184504"/>
                <a:gd name="connsiteY1244" fmla="*/ 147922 h 299025"/>
                <a:gd name="connsiteX1245" fmla="*/ 66485 w 184504"/>
                <a:gd name="connsiteY1245" fmla="*/ 148240 h 299025"/>
                <a:gd name="connsiteX1246" fmla="*/ 66803 w 184504"/>
                <a:gd name="connsiteY1246" fmla="*/ 147922 h 299025"/>
                <a:gd name="connsiteX1247" fmla="*/ 66803 w 184504"/>
                <a:gd name="connsiteY1247" fmla="*/ 147604 h 299025"/>
                <a:gd name="connsiteX1248" fmla="*/ 67758 w 184504"/>
                <a:gd name="connsiteY1248" fmla="*/ 148240 h 299025"/>
                <a:gd name="connsiteX1249" fmla="*/ 71575 w 184504"/>
                <a:gd name="connsiteY1249" fmla="*/ 145377 h 299025"/>
                <a:gd name="connsiteX1250" fmla="*/ 71575 w 184504"/>
                <a:gd name="connsiteY1250" fmla="*/ 144741 h 299025"/>
                <a:gd name="connsiteX1251" fmla="*/ 68394 w 184504"/>
                <a:gd name="connsiteY1251" fmla="*/ 146331 h 299025"/>
                <a:gd name="connsiteX1252" fmla="*/ 66803 w 184504"/>
                <a:gd name="connsiteY1252" fmla="*/ 147604 h 299025"/>
                <a:gd name="connsiteX1253" fmla="*/ 76347 w 184504"/>
                <a:gd name="connsiteY1253" fmla="*/ 135834 h 299025"/>
                <a:gd name="connsiteX1254" fmla="*/ 76029 w 184504"/>
                <a:gd name="connsiteY1254" fmla="*/ 135516 h 299025"/>
                <a:gd name="connsiteX1255" fmla="*/ 72530 w 184504"/>
                <a:gd name="connsiteY1255" fmla="*/ 138379 h 299025"/>
                <a:gd name="connsiteX1256" fmla="*/ 71893 w 184504"/>
                <a:gd name="connsiteY1256" fmla="*/ 138379 h 299025"/>
                <a:gd name="connsiteX1257" fmla="*/ 71893 w 184504"/>
                <a:gd name="connsiteY1257" fmla="*/ 136788 h 299025"/>
                <a:gd name="connsiteX1258" fmla="*/ 73802 w 184504"/>
                <a:gd name="connsiteY1258" fmla="*/ 135516 h 299025"/>
                <a:gd name="connsiteX1259" fmla="*/ 73802 w 184504"/>
                <a:gd name="connsiteY1259" fmla="*/ 135198 h 299025"/>
                <a:gd name="connsiteX1260" fmla="*/ 76983 w 184504"/>
                <a:gd name="connsiteY1260" fmla="*/ 133289 h 299025"/>
                <a:gd name="connsiteX1261" fmla="*/ 77937 w 184504"/>
                <a:gd name="connsiteY1261" fmla="*/ 133289 h 299025"/>
                <a:gd name="connsiteX1262" fmla="*/ 76347 w 184504"/>
                <a:gd name="connsiteY1262" fmla="*/ 135834 h 299025"/>
                <a:gd name="connsiteX1263" fmla="*/ 73484 w 184504"/>
                <a:gd name="connsiteY1263" fmla="*/ 142514 h 299025"/>
                <a:gd name="connsiteX1264" fmla="*/ 73166 w 184504"/>
                <a:gd name="connsiteY1264" fmla="*/ 142832 h 299025"/>
                <a:gd name="connsiteX1265" fmla="*/ 74120 w 184504"/>
                <a:gd name="connsiteY1265" fmla="*/ 143468 h 299025"/>
                <a:gd name="connsiteX1266" fmla="*/ 74120 w 184504"/>
                <a:gd name="connsiteY1266" fmla="*/ 143150 h 299025"/>
                <a:gd name="connsiteX1267" fmla="*/ 73484 w 184504"/>
                <a:gd name="connsiteY1267" fmla="*/ 142514 h 299025"/>
                <a:gd name="connsiteX1268" fmla="*/ 78574 w 184504"/>
                <a:gd name="connsiteY1268" fmla="*/ 133607 h 299025"/>
                <a:gd name="connsiteX1269" fmla="*/ 78574 w 184504"/>
                <a:gd name="connsiteY1269" fmla="*/ 133289 h 299025"/>
                <a:gd name="connsiteX1270" fmla="*/ 78892 w 184504"/>
                <a:gd name="connsiteY1270" fmla="*/ 133607 h 299025"/>
                <a:gd name="connsiteX1271" fmla="*/ 78574 w 184504"/>
                <a:gd name="connsiteY1271" fmla="*/ 133607 h 299025"/>
                <a:gd name="connsiteX1272" fmla="*/ 79846 w 184504"/>
                <a:gd name="connsiteY1272" fmla="*/ 139015 h 299025"/>
                <a:gd name="connsiteX1273" fmla="*/ 80482 w 184504"/>
                <a:gd name="connsiteY1273" fmla="*/ 138379 h 299025"/>
                <a:gd name="connsiteX1274" fmla="*/ 80164 w 184504"/>
                <a:gd name="connsiteY1274" fmla="*/ 138061 h 299025"/>
                <a:gd name="connsiteX1275" fmla="*/ 79210 w 184504"/>
                <a:gd name="connsiteY1275" fmla="*/ 138379 h 299025"/>
                <a:gd name="connsiteX1276" fmla="*/ 79846 w 184504"/>
                <a:gd name="connsiteY1276" fmla="*/ 139015 h 299025"/>
                <a:gd name="connsiteX1277" fmla="*/ 80800 w 184504"/>
                <a:gd name="connsiteY1277" fmla="*/ 131380 h 299025"/>
                <a:gd name="connsiteX1278" fmla="*/ 81755 w 184504"/>
                <a:gd name="connsiteY1278" fmla="*/ 131698 h 299025"/>
                <a:gd name="connsiteX1279" fmla="*/ 81755 w 184504"/>
                <a:gd name="connsiteY1279" fmla="*/ 132016 h 299025"/>
                <a:gd name="connsiteX1280" fmla="*/ 80164 w 184504"/>
                <a:gd name="connsiteY1280" fmla="*/ 132653 h 299025"/>
                <a:gd name="connsiteX1281" fmla="*/ 79846 w 184504"/>
                <a:gd name="connsiteY1281" fmla="*/ 132653 h 299025"/>
                <a:gd name="connsiteX1282" fmla="*/ 80800 w 184504"/>
                <a:gd name="connsiteY1282" fmla="*/ 131380 h 299025"/>
                <a:gd name="connsiteX1283" fmla="*/ 81755 w 184504"/>
                <a:gd name="connsiteY1283" fmla="*/ 137106 h 299025"/>
                <a:gd name="connsiteX1284" fmla="*/ 81437 w 184504"/>
                <a:gd name="connsiteY1284" fmla="*/ 137742 h 299025"/>
                <a:gd name="connsiteX1285" fmla="*/ 81755 w 184504"/>
                <a:gd name="connsiteY1285" fmla="*/ 137742 h 299025"/>
                <a:gd name="connsiteX1286" fmla="*/ 81755 w 184504"/>
                <a:gd name="connsiteY1286" fmla="*/ 137106 h 299025"/>
                <a:gd name="connsiteX1287" fmla="*/ 85572 w 184504"/>
                <a:gd name="connsiteY1287" fmla="*/ 129790 h 299025"/>
                <a:gd name="connsiteX1288" fmla="*/ 84936 w 184504"/>
                <a:gd name="connsiteY1288" fmla="*/ 129471 h 299025"/>
                <a:gd name="connsiteX1289" fmla="*/ 86208 w 184504"/>
                <a:gd name="connsiteY1289" fmla="*/ 127245 h 299025"/>
                <a:gd name="connsiteX1290" fmla="*/ 86527 w 184504"/>
                <a:gd name="connsiteY1290" fmla="*/ 127563 h 299025"/>
                <a:gd name="connsiteX1291" fmla="*/ 87163 w 184504"/>
                <a:gd name="connsiteY1291" fmla="*/ 127881 h 299025"/>
                <a:gd name="connsiteX1292" fmla="*/ 87163 w 184504"/>
                <a:gd name="connsiteY1292" fmla="*/ 128517 h 299025"/>
                <a:gd name="connsiteX1293" fmla="*/ 86208 w 184504"/>
                <a:gd name="connsiteY1293" fmla="*/ 129471 h 299025"/>
                <a:gd name="connsiteX1294" fmla="*/ 85572 w 184504"/>
                <a:gd name="connsiteY1294" fmla="*/ 129790 h 299025"/>
                <a:gd name="connsiteX1295" fmla="*/ 85572 w 184504"/>
                <a:gd name="connsiteY1295" fmla="*/ 133925 h 299025"/>
                <a:gd name="connsiteX1296" fmla="*/ 85572 w 184504"/>
                <a:gd name="connsiteY1296" fmla="*/ 134243 h 299025"/>
                <a:gd name="connsiteX1297" fmla="*/ 86527 w 184504"/>
                <a:gd name="connsiteY1297" fmla="*/ 134561 h 299025"/>
                <a:gd name="connsiteX1298" fmla="*/ 89071 w 184504"/>
                <a:gd name="connsiteY1298" fmla="*/ 132971 h 299025"/>
                <a:gd name="connsiteX1299" fmla="*/ 89071 w 184504"/>
                <a:gd name="connsiteY1299" fmla="*/ 132653 h 299025"/>
                <a:gd name="connsiteX1300" fmla="*/ 86527 w 184504"/>
                <a:gd name="connsiteY1300" fmla="*/ 133607 h 299025"/>
                <a:gd name="connsiteX1301" fmla="*/ 85572 w 184504"/>
                <a:gd name="connsiteY1301" fmla="*/ 133925 h 299025"/>
                <a:gd name="connsiteX1302" fmla="*/ 89071 w 184504"/>
                <a:gd name="connsiteY1302" fmla="*/ 134561 h 299025"/>
                <a:gd name="connsiteX1303" fmla="*/ 89389 w 184504"/>
                <a:gd name="connsiteY1303" fmla="*/ 134561 h 299025"/>
                <a:gd name="connsiteX1304" fmla="*/ 89708 w 184504"/>
                <a:gd name="connsiteY1304" fmla="*/ 134879 h 299025"/>
                <a:gd name="connsiteX1305" fmla="*/ 89389 w 184504"/>
                <a:gd name="connsiteY1305" fmla="*/ 134243 h 299025"/>
                <a:gd name="connsiteX1306" fmla="*/ 89071 w 184504"/>
                <a:gd name="connsiteY1306" fmla="*/ 134561 h 299025"/>
                <a:gd name="connsiteX1307" fmla="*/ 90662 w 184504"/>
                <a:gd name="connsiteY1307" fmla="*/ 125654 h 299025"/>
                <a:gd name="connsiteX1308" fmla="*/ 90980 w 184504"/>
                <a:gd name="connsiteY1308" fmla="*/ 125018 h 299025"/>
                <a:gd name="connsiteX1309" fmla="*/ 91298 w 184504"/>
                <a:gd name="connsiteY1309" fmla="*/ 124700 h 299025"/>
                <a:gd name="connsiteX1310" fmla="*/ 91298 w 184504"/>
                <a:gd name="connsiteY1310" fmla="*/ 125018 h 299025"/>
                <a:gd name="connsiteX1311" fmla="*/ 90980 w 184504"/>
                <a:gd name="connsiteY1311" fmla="*/ 125654 h 299025"/>
                <a:gd name="connsiteX1312" fmla="*/ 90662 w 184504"/>
                <a:gd name="connsiteY1312" fmla="*/ 125654 h 299025"/>
                <a:gd name="connsiteX1313" fmla="*/ 96388 w 184504"/>
                <a:gd name="connsiteY1313" fmla="*/ 122473 h 299025"/>
                <a:gd name="connsiteX1314" fmla="*/ 94797 w 184504"/>
                <a:gd name="connsiteY1314" fmla="*/ 123427 h 299025"/>
                <a:gd name="connsiteX1315" fmla="*/ 94797 w 184504"/>
                <a:gd name="connsiteY1315" fmla="*/ 124382 h 299025"/>
                <a:gd name="connsiteX1316" fmla="*/ 93525 w 184504"/>
                <a:gd name="connsiteY1316" fmla="*/ 123109 h 299025"/>
                <a:gd name="connsiteX1317" fmla="*/ 93525 w 184504"/>
                <a:gd name="connsiteY1317" fmla="*/ 122473 h 299025"/>
                <a:gd name="connsiteX1318" fmla="*/ 96070 w 184504"/>
                <a:gd name="connsiteY1318" fmla="*/ 121837 h 299025"/>
                <a:gd name="connsiteX1319" fmla="*/ 97024 w 184504"/>
                <a:gd name="connsiteY1319" fmla="*/ 122155 h 299025"/>
                <a:gd name="connsiteX1320" fmla="*/ 96706 w 184504"/>
                <a:gd name="connsiteY1320" fmla="*/ 122473 h 299025"/>
                <a:gd name="connsiteX1321" fmla="*/ 96388 w 184504"/>
                <a:gd name="connsiteY1321" fmla="*/ 122473 h 299025"/>
                <a:gd name="connsiteX1322" fmla="*/ 95752 w 184504"/>
                <a:gd name="connsiteY1322" fmla="*/ 122791 h 299025"/>
                <a:gd name="connsiteX1323" fmla="*/ 95752 w 184504"/>
                <a:gd name="connsiteY1323" fmla="*/ 123746 h 299025"/>
                <a:gd name="connsiteX1324" fmla="*/ 95434 w 184504"/>
                <a:gd name="connsiteY1324" fmla="*/ 123427 h 299025"/>
                <a:gd name="connsiteX1325" fmla="*/ 95752 w 184504"/>
                <a:gd name="connsiteY1325" fmla="*/ 122791 h 299025"/>
                <a:gd name="connsiteX1326" fmla="*/ 96388 w 184504"/>
                <a:gd name="connsiteY1326" fmla="*/ 15906 h 299025"/>
                <a:gd name="connsiteX1327" fmla="*/ 96706 w 184504"/>
                <a:gd name="connsiteY1327" fmla="*/ 15269 h 299025"/>
                <a:gd name="connsiteX1328" fmla="*/ 96388 w 184504"/>
                <a:gd name="connsiteY1328" fmla="*/ 15906 h 299025"/>
                <a:gd name="connsiteX1329" fmla="*/ 97342 w 184504"/>
                <a:gd name="connsiteY1329" fmla="*/ 126290 h 299025"/>
                <a:gd name="connsiteX1330" fmla="*/ 97342 w 184504"/>
                <a:gd name="connsiteY1330" fmla="*/ 126927 h 299025"/>
                <a:gd name="connsiteX1331" fmla="*/ 97661 w 184504"/>
                <a:gd name="connsiteY1331" fmla="*/ 126608 h 299025"/>
                <a:gd name="connsiteX1332" fmla="*/ 97342 w 184504"/>
                <a:gd name="connsiteY1332" fmla="*/ 126290 h 299025"/>
                <a:gd name="connsiteX1333" fmla="*/ 102750 w 184504"/>
                <a:gd name="connsiteY1333" fmla="*/ 127245 h 299025"/>
                <a:gd name="connsiteX1334" fmla="*/ 103068 w 184504"/>
                <a:gd name="connsiteY1334" fmla="*/ 126290 h 299025"/>
                <a:gd name="connsiteX1335" fmla="*/ 102432 w 184504"/>
                <a:gd name="connsiteY1335" fmla="*/ 125972 h 299025"/>
                <a:gd name="connsiteX1336" fmla="*/ 102432 w 184504"/>
                <a:gd name="connsiteY1336" fmla="*/ 126927 h 299025"/>
                <a:gd name="connsiteX1337" fmla="*/ 102750 w 184504"/>
                <a:gd name="connsiteY1337" fmla="*/ 127245 h 299025"/>
                <a:gd name="connsiteX1338" fmla="*/ 110067 w 184504"/>
                <a:gd name="connsiteY1338" fmla="*/ 113884 h 299025"/>
                <a:gd name="connsiteX1339" fmla="*/ 110067 w 184504"/>
                <a:gd name="connsiteY1339" fmla="*/ 113566 h 299025"/>
                <a:gd name="connsiteX1340" fmla="*/ 112294 w 184504"/>
                <a:gd name="connsiteY1340" fmla="*/ 113248 h 299025"/>
                <a:gd name="connsiteX1341" fmla="*/ 112294 w 184504"/>
                <a:gd name="connsiteY1341" fmla="*/ 113566 h 299025"/>
                <a:gd name="connsiteX1342" fmla="*/ 111021 w 184504"/>
                <a:gd name="connsiteY1342" fmla="*/ 115475 h 299025"/>
                <a:gd name="connsiteX1343" fmla="*/ 110067 w 184504"/>
                <a:gd name="connsiteY1343" fmla="*/ 113884 h 299025"/>
                <a:gd name="connsiteX1344" fmla="*/ 111339 w 184504"/>
                <a:gd name="connsiteY1344" fmla="*/ 8907 h 299025"/>
                <a:gd name="connsiteX1345" fmla="*/ 111657 w 184504"/>
                <a:gd name="connsiteY1345" fmla="*/ 9225 h 299025"/>
                <a:gd name="connsiteX1346" fmla="*/ 111657 w 184504"/>
                <a:gd name="connsiteY1346" fmla="*/ 8589 h 299025"/>
                <a:gd name="connsiteX1347" fmla="*/ 111339 w 184504"/>
                <a:gd name="connsiteY1347" fmla="*/ 8907 h 299025"/>
                <a:gd name="connsiteX1348" fmla="*/ 118019 w 184504"/>
                <a:gd name="connsiteY1348" fmla="*/ 110067 h 299025"/>
                <a:gd name="connsiteX1349" fmla="*/ 118974 w 184504"/>
                <a:gd name="connsiteY1349" fmla="*/ 110385 h 299025"/>
                <a:gd name="connsiteX1350" fmla="*/ 118656 w 184504"/>
                <a:gd name="connsiteY1350" fmla="*/ 111021 h 299025"/>
                <a:gd name="connsiteX1351" fmla="*/ 118019 w 184504"/>
                <a:gd name="connsiteY1351" fmla="*/ 110703 h 299025"/>
                <a:gd name="connsiteX1352" fmla="*/ 117383 w 184504"/>
                <a:gd name="connsiteY1352" fmla="*/ 112293 h 299025"/>
                <a:gd name="connsiteX1353" fmla="*/ 117383 w 184504"/>
                <a:gd name="connsiteY1353" fmla="*/ 112930 h 299025"/>
                <a:gd name="connsiteX1354" fmla="*/ 116429 w 184504"/>
                <a:gd name="connsiteY1354" fmla="*/ 112930 h 299025"/>
                <a:gd name="connsiteX1355" fmla="*/ 117065 w 184504"/>
                <a:gd name="connsiteY1355" fmla="*/ 112293 h 299025"/>
                <a:gd name="connsiteX1356" fmla="*/ 116747 w 184504"/>
                <a:gd name="connsiteY1356" fmla="*/ 111021 h 299025"/>
                <a:gd name="connsiteX1357" fmla="*/ 117383 w 184504"/>
                <a:gd name="connsiteY1357" fmla="*/ 110385 h 299025"/>
                <a:gd name="connsiteX1358" fmla="*/ 118019 w 184504"/>
                <a:gd name="connsiteY1358" fmla="*/ 110067 h 299025"/>
                <a:gd name="connsiteX1359" fmla="*/ 122473 w 184504"/>
                <a:gd name="connsiteY1359" fmla="*/ 108794 h 299025"/>
                <a:gd name="connsiteX1360" fmla="*/ 121201 w 184504"/>
                <a:gd name="connsiteY1360" fmla="*/ 108794 h 299025"/>
                <a:gd name="connsiteX1361" fmla="*/ 122155 w 184504"/>
                <a:gd name="connsiteY1361" fmla="*/ 107840 h 299025"/>
                <a:gd name="connsiteX1362" fmla="*/ 122473 w 184504"/>
                <a:gd name="connsiteY1362" fmla="*/ 108158 h 299025"/>
                <a:gd name="connsiteX1363" fmla="*/ 122473 w 184504"/>
                <a:gd name="connsiteY1363" fmla="*/ 108794 h 299025"/>
                <a:gd name="connsiteX1364" fmla="*/ 123428 w 184504"/>
                <a:gd name="connsiteY1364" fmla="*/ 107840 h 299025"/>
                <a:gd name="connsiteX1365" fmla="*/ 123746 w 184504"/>
                <a:gd name="connsiteY1365" fmla="*/ 107204 h 299025"/>
                <a:gd name="connsiteX1366" fmla="*/ 123746 w 184504"/>
                <a:gd name="connsiteY1366" fmla="*/ 107840 h 299025"/>
                <a:gd name="connsiteX1367" fmla="*/ 123428 w 184504"/>
                <a:gd name="connsiteY1367" fmla="*/ 108158 h 299025"/>
                <a:gd name="connsiteX1368" fmla="*/ 123428 w 184504"/>
                <a:gd name="connsiteY1368" fmla="*/ 107840 h 299025"/>
                <a:gd name="connsiteX1369" fmla="*/ 125018 w 184504"/>
                <a:gd name="connsiteY1369" fmla="*/ 108158 h 299025"/>
                <a:gd name="connsiteX1370" fmla="*/ 125972 w 184504"/>
                <a:gd name="connsiteY1370" fmla="*/ 107840 h 299025"/>
                <a:gd name="connsiteX1371" fmla="*/ 125018 w 184504"/>
                <a:gd name="connsiteY1371" fmla="*/ 108476 h 299025"/>
                <a:gd name="connsiteX1372" fmla="*/ 125018 w 184504"/>
                <a:gd name="connsiteY1372" fmla="*/ 108158 h 299025"/>
                <a:gd name="connsiteX1373" fmla="*/ 157783 w 184504"/>
                <a:gd name="connsiteY1373" fmla="*/ 102114 h 299025"/>
                <a:gd name="connsiteX1374" fmla="*/ 158102 w 184504"/>
                <a:gd name="connsiteY1374" fmla="*/ 101796 h 299025"/>
                <a:gd name="connsiteX1375" fmla="*/ 157783 w 184504"/>
                <a:gd name="connsiteY1375" fmla="*/ 101478 h 299025"/>
                <a:gd name="connsiteX1376" fmla="*/ 157147 w 184504"/>
                <a:gd name="connsiteY1376" fmla="*/ 101796 h 299025"/>
                <a:gd name="connsiteX1377" fmla="*/ 158102 w 184504"/>
                <a:gd name="connsiteY1377" fmla="*/ 103068 h 299025"/>
                <a:gd name="connsiteX1378" fmla="*/ 158102 w 184504"/>
                <a:gd name="connsiteY1378" fmla="*/ 103704 h 299025"/>
                <a:gd name="connsiteX1379" fmla="*/ 158420 w 184504"/>
                <a:gd name="connsiteY1379" fmla="*/ 103068 h 299025"/>
                <a:gd name="connsiteX1380" fmla="*/ 157783 w 184504"/>
                <a:gd name="connsiteY1380" fmla="*/ 102114 h 299025"/>
                <a:gd name="connsiteX1381" fmla="*/ 159374 w 184504"/>
                <a:gd name="connsiteY1381" fmla="*/ 105931 h 299025"/>
                <a:gd name="connsiteX1382" fmla="*/ 158420 w 184504"/>
                <a:gd name="connsiteY1382" fmla="*/ 105613 h 299025"/>
                <a:gd name="connsiteX1383" fmla="*/ 159374 w 184504"/>
                <a:gd name="connsiteY1383" fmla="*/ 106249 h 299025"/>
                <a:gd name="connsiteX1384" fmla="*/ 159374 w 184504"/>
                <a:gd name="connsiteY1384" fmla="*/ 105931 h 299025"/>
                <a:gd name="connsiteX1385" fmla="*/ 160646 w 184504"/>
                <a:gd name="connsiteY1385" fmla="*/ 98933 h 299025"/>
                <a:gd name="connsiteX1386" fmla="*/ 159692 w 184504"/>
                <a:gd name="connsiteY1386" fmla="*/ 98615 h 299025"/>
                <a:gd name="connsiteX1387" fmla="*/ 160010 w 184504"/>
                <a:gd name="connsiteY1387" fmla="*/ 99887 h 299025"/>
                <a:gd name="connsiteX1388" fmla="*/ 160646 w 184504"/>
                <a:gd name="connsiteY1388" fmla="*/ 98933 h 299025"/>
                <a:gd name="connsiteX1389" fmla="*/ 160646 w 184504"/>
                <a:gd name="connsiteY1389" fmla="*/ 104659 h 299025"/>
                <a:gd name="connsiteX1390" fmla="*/ 159692 w 184504"/>
                <a:gd name="connsiteY1390" fmla="*/ 104977 h 299025"/>
                <a:gd name="connsiteX1391" fmla="*/ 160646 w 184504"/>
                <a:gd name="connsiteY1391" fmla="*/ 104977 h 299025"/>
                <a:gd name="connsiteX1392" fmla="*/ 160646 w 184504"/>
                <a:gd name="connsiteY1392" fmla="*/ 104659 h 299025"/>
                <a:gd name="connsiteX1393" fmla="*/ 160010 w 184504"/>
                <a:gd name="connsiteY1393" fmla="*/ 102114 h 299025"/>
                <a:gd name="connsiteX1394" fmla="*/ 160646 w 184504"/>
                <a:gd name="connsiteY1394" fmla="*/ 102432 h 299025"/>
                <a:gd name="connsiteX1395" fmla="*/ 160010 w 184504"/>
                <a:gd name="connsiteY1395" fmla="*/ 102114 h 299025"/>
                <a:gd name="connsiteX1396" fmla="*/ 162555 w 184504"/>
                <a:gd name="connsiteY1396" fmla="*/ 100523 h 299025"/>
                <a:gd name="connsiteX1397" fmla="*/ 161601 w 184504"/>
                <a:gd name="connsiteY1397" fmla="*/ 101160 h 299025"/>
                <a:gd name="connsiteX1398" fmla="*/ 162237 w 184504"/>
                <a:gd name="connsiteY1398" fmla="*/ 102114 h 299025"/>
                <a:gd name="connsiteX1399" fmla="*/ 162555 w 184504"/>
                <a:gd name="connsiteY1399" fmla="*/ 100523 h 299025"/>
                <a:gd name="connsiteX1400" fmla="*/ 165418 w 184504"/>
                <a:gd name="connsiteY1400" fmla="*/ 99251 h 299025"/>
                <a:gd name="connsiteX1401" fmla="*/ 164782 w 184504"/>
                <a:gd name="connsiteY1401" fmla="*/ 99569 h 299025"/>
                <a:gd name="connsiteX1402" fmla="*/ 166373 w 184504"/>
                <a:gd name="connsiteY1402" fmla="*/ 99569 h 299025"/>
                <a:gd name="connsiteX1403" fmla="*/ 165418 w 184504"/>
                <a:gd name="connsiteY1403" fmla="*/ 99251 h 299025"/>
                <a:gd name="connsiteX1404" fmla="*/ 166055 w 184504"/>
                <a:gd name="connsiteY1404" fmla="*/ 97342 h 299025"/>
                <a:gd name="connsiteX1405" fmla="*/ 167009 w 184504"/>
                <a:gd name="connsiteY1405" fmla="*/ 97342 h 299025"/>
                <a:gd name="connsiteX1406" fmla="*/ 167009 w 184504"/>
                <a:gd name="connsiteY1406" fmla="*/ 96706 h 299025"/>
                <a:gd name="connsiteX1407" fmla="*/ 166055 w 184504"/>
                <a:gd name="connsiteY1407" fmla="*/ 97342 h 299025"/>
                <a:gd name="connsiteX1408" fmla="*/ 167009 w 184504"/>
                <a:gd name="connsiteY1408" fmla="*/ 102432 h 299025"/>
                <a:gd name="connsiteX1409" fmla="*/ 166691 w 184504"/>
                <a:gd name="connsiteY1409" fmla="*/ 102114 h 299025"/>
                <a:gd name="connsiteX1410" fmla="*/ 166373 w 184504"/>
                <a:gd name="connsiteY1410" fmla="*/ 102432 h 299025"/>
                <a:gd name="connsiteX1411" fmla="*/ 166373 w 184504"/>
                <a:gd name="connsiteY1411" fmla="*/ 103068 h 299025"/>
                <a:gd name="connsiteX1412" fmla="*/ 167009 w 184504"/>
                <a:gd name="connsiteY1412" fmla="*/ 103068 h 299025"/>
                <a:gd name="connsiteX1413" fmla="*/ 167009 w 184504"/>
                <a:gd name="connsiteY1413" fmla="*/ 102432 h 299025"/>
                <a:gd name="connsiteX1414" fmla="*/ 175916 w 184504"/>
                <a:gd name="connsiteY1414" fmla="*/ 93525 h 299025"/>
                <a:gd name="connsiteX1415" fmla="*/ 176870 w 184504"/>
                <a:gd name="connsiteY1415" fmla="*/ 93843 h 299025"/>
                <a:gd name="connsiteX1416" fmla="*/ 176870 w 184504"/>
                <a:gd name="connsiteY1416" fmla="*/ 94161 h 299025"/>
                <a:gd name="connsiteX1417" fmla="*/ 176552 w 184504"/>
                <a:gd name="connsiteY1417" fmla="*/ 94161 h 299025"/>
                <a:gd name="connsiteX1418" fmla="*/ 176234 w 184504"/>
                <a:gd name="connsiteY1418" fmla="*/ 94797 h 299025"/>
                <a:gd name="connsiteX1419" fmla="*/ 176870 w 184504"/>
                <a:gd name="connsiteY1419" fmla="*/ 95752 h 299025"/>
                <a:gd name="connsiteX1420" fmla="*/ 170508 w 184504"/>
                <a:gd name="connsiteY1420" fmla="*/ 97978 h 299025"/>
                <a:gd name="connsiteX1421" fmla="*/ 170190 w 184504"/>
                <a:gd name="connsiteY1421" fmla="*/ 97024 h 299025"/>
                <a:gd name="connsiteX1422" fmla="*/ 172735 w 184504"/>
                <a:gd name="connsiteY1422" fmla="*/ 96706 h 299025"/>
                <a:gd name="connsiteX1423" fmla="*/ 173053 w 184504"/>
                <a:gd name="connsiteY1423" fmla="*/ 96388 h 299025"/>
                <a:gd name="connsiteX1424" fmla="*/ 172735 w 184504"/>
                <a:gd name="connsiteY1424" fmla="*/ 95752 h 299025"/>
                <a:gd name="connsiteX1425" fmla="*/ 173053 w 184504"/>
                <a:gd name="connsiteY1425" fmla="*/ 94797 h 299025"/>
                <a:gd name="connsiteX1426" fmla="*/ 172417 w 184504"/>
                <a:gd name="connsiteY1426" fmla="*/ 94161 h 299025"/>
                <a:gd name="connsiteX1427" fmla="*/ 172417 w 184504"/>
                <a:gd name="connsiteY1427" fmla="*/ 93525 h 299025"/>
                <a:gd name="connsiteX1428" fmla="*/ 174007 w 184504"/>
                <a:gd name="connsiteY1428" fmla="*/ 92889 h 299025"/>
                <a:gd name="connsiteX1429" fmla="*/ 174325 w 184504"/>
                <a:gd name="connsiteY1429" fmla="*/ 93525 h 299025"/>
                <a:gd name="connsiteX1430" fmla="*/ 174643 w 184504"/>
                <a:gd name="connsiteY1430" fmla="*/ 94479 h 299025"/>
                <a:gd name="connsiteX1431" fmla="*/ 175916 w 184504"/>
                <a:gd name="connsiteY1431" fmla="*/ 93525 h 299025"/>
                <a:gd name="connsiteX1432" fmla="*/ 171144 w 184504"/>
                <a:gd name="connsiteY1432" fmla="*/ 94161 h 299025"/>
                <a:gd name="connsiteX1433" fmla="*/ 170826 w 184504"/>
                <a:gd name="connsiteY1433" fmla="*/ 94479 h 299025"/>
                <a:gd name="connsiteX1434" fmla="*/ 170508 w 184504"/>
                <a:gd name="connsiteY1434" fmla="*/ 94161 h 299025"/>
                <a:gd name="connsiteX1435" fmla="*/ 171144 w 184504"/>
                <a:gd name="connsiteY1435" fmla="*/ 94161 h 299025"/>
                <a:gd name="connsiteX1436" fmla="*/ 171144 w 184504"/>
                <a:gd name="connsiteY1436" fmla="*/ 95115 h 299025"/>
                <a:gd name="connsiteX1437" fmla="*/ 172098 w 184504"/>
                <a:gd name="connsiteY1437" fmla="*/ 95752 h 299025"/>
                <a:gd name="connsiteX1438" fmla="*/ 172417 w 184504"/>
                <a:gd name="connsiteY1438" fmla="*/ 96388 h 299025"/>
                <a:gd name="connsiteX1439" fmla="*/ 171780 w 184504"/>
                <a:gd name="connsiteY1439" fmla="*/ 96070 h 299025"/>
                <a:gd name="connsiteX1440" fmla="*/ 170826 w 184504"/>
                <a:gd name="connsiteY1440" fmla="*/ 95434 h 299025"/>
                <a:gd name="connsiteX1441" fmla="*/ 171144 w 184504"/>
                <a:gd name="connsiteY1441" fmla="*/ 95115 h 299025"/>
                <a:gd name="connsiteX1442" fmla="*/ 171462 w 184504"/>
                <a:gd name="connsiteY1442" fmla="*/ 100841 h 299025"/>
                <a:gd name="connsiteX1443" fmla="*/ 170826 w 184504"/>
                <a:gd name="connsiteY1443" fmla="*/ 102114 h 299025"/>
                <a:gd name="connsiteX1444" fmla="*/ 171144 w 184504"/>
                <a:gd name="connsiteY1444" fmla="*/ 102114 h 299025"/>
                <a:gd name="connsiteX1445" fmla="*/ 172735 w 184504"/>
                <a:gd name="connsiteY1445" fmla="*/ 101478 h 299025"/>
                <a:gd name="connsiteX1446" fmla="*/ 171462 w 184504"/>
                <a:gd name="connsiteY1446" fmla="*/ 100841 h 299025"/>
                <a:gd name="connsiteX1447" fmla="*/ 175598 w 184504"/>
                <a:gd name="connsiteY1447" fmla="*/ 92889 h 299025"/>
                <a:gd name="connsiteX1448" fmla="*/ 176552 w 184504"/>
                <a:gd name="connsiteY1448" fmla="*/ 92571 h 299025"/>
                <a:gd name="connsiteX1449" fmla="*/ 176870 w 184504"/>
                <a:gd name="connsiteY1449" fmla="*/ 92889 h 299025"/>
                <a:gd name="connsiteX1450" fmla="*/ 176870 w 184504"/>
                <a:gd name="connsiteY1450" fmla="*/ 93207 h 299025"/>
                <a:gd name="connsiteX1451" fmla="*/ 176552 w 184504"/>
                <a:gd name="connsiteY1451" fmla="*/ 92889 h 299025"/>
                <a:gd name="connsiteX1452" fmla="*/ 175916 w 184504"/>
                <a:gd name="connsiteY1452" fmla="*/ 93207 h 299025"/>
                <a:gd name="connsiteX1453" fmla="*/ 175598 w 184504"/>
                <a:gd name="connsiteY1453" fmla="*/ 92889 h 299025"/>
                <a:gd name="connsiteX1454" fmla="*/ 185777 w 184504"/>
                <a:gd name="connsiteY1454" fmla="*/ 91616 h 299025"/>
                <a:gd name="connsiteX1455" fmla="*/ 185141 w 184504"/>
                <a:gd name="connsiteY1455" fmla="*/ 91298 h 299025"/>
                <a:gd name="connsiteX1456" fmla="*/ 182278 w 184504"/>
                <a:gd name="connsiteY1456" fmla="*/ 91934 h 299025"/>
                <a:gd name="connsiteX1457" fmla="*/ 181006 w 184504"/>
                <a:gd name="connsiteY1457" fmla="*/ 93525 h 299025"/>
                <a:gd name="connsiteX1458" fmla="*/ 180688 w 184504"/>
                <a:gd name="connsiteY1458" fmla="*/ 93843 h 299025"/>
                <a:gd name="connsiteX1459" fmla="*/ 181006 w 184504"/>
                <a:gd name="connsiteY1459" fmla="*/ 93843 h 299025"/>
                <a:gd name="connsiteX1460" fmla="*/ 180370 w 184504"/>
                <a:gd name="connsiteY1460" fmla="*/ 95115 h 299025"/>
                <a:gd name="connsiteX1461" fmla="*/ 180370 w 184504"/>
                <a:gd name="connsiteY1461" fmla="*/ 94797 h 299025"/>
                <a:gd name="connsiteX1462" fmla="*/ 179733 w 184504"/>
                <a:gd name="connsiteY1462" fmla="*/ 94161 h 299025"/>
                <a:gd name="connsiteX1463" fmla="*/ 176870 w 184504"/>
                <a:gd name="connsiteY1463" fmla="*/ 93525 h 299025"/>
                <a:gd name="connsiteX1464" fmla="*/ 178779 w 184504"/>
                <a:gd name="connsiteY1464" fmla="*/ 93525 h 299025"/>
                <a:gd name="connsiteX1465" fmla="*/ 179415 w 184504"/>
                <a:gd name="connsiteY1465" fmla="*/ 93207 h 299025"/>
                <a:gd name="connsiteX1466" fmla="*/ 179097 w 184504"/>
                <a:gd name="connsiteY1466" fmla="*/ 92571 h 299025"/>
                <a:gd name="connsiteX1467" fmla="*/ 185777 w 184504"/>
                <a:gd name="connsiteY1467" fmla="*/ 90980 h 299025"/>
                <a:gd name="connsiteX1468" fmla="*/ 185777 w 184504"/>
                <a:gd name="connsiteY1468" fmla="*/ 91616 h 299025"/>
                <a:gd name="connsiteX1469" fmla="*/ 180051 w 184504"/>
                <a:gd name="connsiteY1469" fmla="*/ 90026 h 299025"/>
                <a:gd name="connsiteX1470" fmla="*/ 179733 w 184504"/>
                <a:gd name="connsiteY1470" fmla="*/ 90026 h 299025"/>
                <a:gd name="connsiteX1471" fmla="*/ 180051 w 184504"/>
                <a:gd name="connsiteY1471" fmla="*/ 89708 h 299025"/>
                <a:gd name="connsiteX1472" fmla="*/ 180051 w 184504"/>
                <a:gd name="connsiteY1472" fmla="*/ 90026 h 299025"/>
                <a:gd name="connsiteX1473" fmla="*/ 185777 w 184504"/>
                <a:gd name="connsiteY1473" fmla="*/ 93843 h 299025"/>
                <a:gd name="connsiteX1474" fmla="*/ 183551 w 184504"/>
                <a:gd name="connsiteY1474" fmla="*/ 94479 h 299025"/>
                <a:gd name="connsiteX1475" fmla="*/ 185141 w 184504"/>
                <a:gd name="connsiteY1475" fmla="*/ 93207 h 299025"/>
                <a:gd name="connsiteX1476" fmla="*/ 185777 w 184504"/>
                <a:gd name="connsiteY1476" fmla="*/ 93843 h 299025"/>
                <a:gd name="connsiteX1477" fmla="*/ 187686 w 184504"/>
                <a:gd name="connsiteY1477" fmla="*/ 90662 h 299025"/>
                <a:gd name="connsiteX1478" fmla="*/ 186413 w 184504"/>
                <a:gd name="connsiteY1478" fmla="*/ 90662 h 299025"/>
                <a:gd name="connsiteX1479" fmla="*/ 187368 w 184504"/>
                <a:gd name="connsiteY1479" fmla="*/ 90026 h 299025"/>
                <a:gd name="connsiteX1480" fmla="*/ 187686 w 184504"/>
                <a:gd name="connsiteY1480" fmla="*/ 90026 h 299025"/>
                <a:gd name="connsiteX1481" fmla="*/ 188004 w 184504"/>
                <a:gd name="connsiteY1481" fmla="*/ 90344 h 299025"/>
                <a:gd name="connsiteX1482" fmla="*/ 187686 w 184504"/>
                <a:gd name="connsiteY1482" fmla="*/ 90662 h 299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</a:cxnLst>
              <a:rect l="l" t="t" r="r" b="b"/>
              <a:pathLst>
                <a:path w="184504" h="299025">
                  <a:moveTo>
                    <a:pt x="123746" y="53125"/>
                  </a:moveTo>
                  <a:lnTo>
                    <a:pt x="122791" y="53125"/>
                  </a:lnTo>
                  <a:cubicBezTo>
                    <a:pt x="122473" y="53125"/>
                    <a:pt x="122155" y="53125"/>
                    <a:pt x="122155" y="53443"/>
                  </a:cubicBezTo>
                  <a:cubicBezTo>
                    <a:pt x="122791" y="52807"/>
                    <a:pt x="116111" y="59169"/>
                    <a:pt x="115157" y="61714"/>
                  </a:cubicBezTo>
                  <a:cubicBezTo>
                    <a:pt x="115475" y="61077"/>
                    <a:pt x="112612" y="67440"/>
                    <a:pt x="108476" y="69666"/>
                  </a:cubicBezTo>
                  <a:cubicBezTo>
                    <a:pt x="104977" y="71257"/>
                    <a:pt x="105931" y="72848"/>
                    <a:pt x="105295" y="72848"/>
                  </a:cubicBezTo>
                  <a:lnTo>
                    <a:pt x="102114" y="76029"/>
                  </a:lnTo>
                  <a:cubicBezTo>
                    <a:pt x="101160" y="78574"/>
                    <a:pt x="101160" y="78892"/>
                    <a:pt x="97661" y="81437"/>
                  </a:cubicBezTo>
                  <a:lnTo>
                    <a:pt x="97342" y="81119"/>
                  </a:lnTo>
                  <a:cubicBezTo>
                    <a:pt x="96070" y="82391"/>
                    <a:pt x="92889" y="84618"/>
                    <a:pt x="90344" y="88435"/>
                  </a:cubicBezTo>
                  <a:lnTo>
                    <a:pt x="89708" y="88435"/>
                  </a:lnTo>
                  <a:cubicBezTo>
                    <a:pt x="89389" y="88753"/>
                    <a:pt x="89389" y="89071"/>
                    <a:pt x="89389" y="89389"/>
                  </a:cubicBezTo>
                  <a:cubicBezTo>
                    <a:pt x="89389" y="89708"/>
                    <a:pt x="89389" y="89708"/>
                    <a:pt x="89708" y="90026"/>
                  </a:cubicBezTo>
                  <a:lnTo>
                    <a:pt x="87799" y="90980"/>
                  </a:lnTo>
                  <a:cubicBezTo>
                    <a:pt x="87481" y="90980"/>
                    <a:pt x="87481" y="90980"/>
                    <a:pt x="86845" y="90662"/>
                  </a:cubicBezTo>
                  <a:cubicBezTo>
                    <a:pt x="85890" y="92889"/>
                    <a:pt x="80800" y="95752"/>
                    <a:pt x="80800" y="98615"/>
                  </a:cubicBezTo>
                  <a:lnTo>
                    <a:pt x="79210" y="98615"/>
                  </a:lnTo>
                  <a:cubicBezTo>
                    <a:pt x="79210" y="98615"/>
                    <a:pt x="75393" y="99251"/>
                    <a:pt x="67440" y="107204"/>
                  </a:cubicBezTo>
                  <a:lnTo>
                    <a:pt x="67122" y="107204"/>
                  </a:lnTo>
                  <a:cubicBezTo>
                    <a:pt x="66167" y="107204"/>
                    <a:pt x="62032" y="113566"/>
                    <a:pt x="49307" y="113566"/>
                  </a:cubicBezTo>
                  <a:cubicBezTo>
                    <a:pt x="49307" y="113248"/>
                    <a:pt x="39764" y="110385"/>
                    <a:pt x="39446" y="107204"/>
                  </a:cubicBezTo>
                  <a:lnTo>
                    <a:pt x="36583" y="104341"/>
                  </a:lnTo>
                  <a:cubicBezTo>
                    <a:pt x="36583" y="104341"/>
                    <a:pt x="34356" y="102432"/>
                    <a:pt x="33402" y="98933"/>
                  </a:cubicBezTo>
                  <a:lnTo>
                    <a:pt x="32448" y="95434"/>
                  </a:lnTo>
                  <a:lnTo>
                    <a:pt x="32448" y="92252"/>
                  </a:lnTo>
                  <a:cubicBezTo>
                    <a:pt x="32448" y="91934"/>
                    <a:pt x="32766" y="91934"/>
                    <a:pt x="32766" y="90980"/>
                  </a:cubicBezTo>
                  <a:lnTo>
                    <a:pt x="32129" y="88753"/>
                  </a:lnTo>
                  <a:cubicBezTo>
                    <a:pt x="31811" y="88435"/>
                    <a:pt x="31811" y="88435"/>
                    <a:pt x="31811" y="88117"/>
                  </a:cubicBezTo>
                  <a:lnTo>
                    <a:pt x="31811" y="87799"/>
                  </a:lnTo>
                  <a:cubicBezTo>
                    <a:pt x="31811" y="86845"/>
                    <a:pt x="33084" y="87163"/>
                    <a:pt x="33084" y="86526"/>
                  </a:cubicBezTo>
                  <a:lnTo>
                    <a:pt x="32766" y="86208"/>
                  </a:lnTo>
                  <a:cubicBezTo>
                    <a:pt x="32766" y="85572"/>
                    <a:pt x="32766" y="80482"/>
                    <a:pt x="33720" y="80482"/>
                  </a:cubicBezTo>
                  <a:lnTo>
                    <a:pt x="33720" y="80164"/>
                  </a:lnTo>
                  <a:cubicBezTo>
                    <a:pt x="34356" y="76983"/>
                    <a:pt x="34674" y="77301"/>
                    <a:pt x="34674" y="76347"/>
                  </a:cubicBezTo>
                  <a:lnTo>
                    <a:pt x="34674" y="74438"/>
                  </a:lnTo>
                  <a:cubicBezTo>
                    <a:pt x="34992" y="73802"/>
                    <a:pt x="35629" y="72848"/>
                    <a:pt x="35947" y="71575"/>
                  </a:cubicBezTo>
                  <a:lnTo>
                    <a:pt x="35947" y="70621"/>
                  </a:lnTo>
                  <a:cubicBezTo>
                    <a:pt x="36265" y="69030"/>
                    <a:pt x="37537" y="65849"/>
                    <a:pt x="40082" y="64259"/>
                  </a:cubicBezTo>
                  <a:cubicBezTo>
                    <a:pt x="40082" y="63940"/>
                    <a:pt x="39764" y="63940"/>
                    <a:pt x="39446" y="63622"/>
                  </a:cubicBezTo>
                  <a:cubicBezTo>
                    <a:pt x="41673" y="61714"/>
                    <a:pt x="38810" y="60123"/>
                    <a:pt x="44218" y="52488"/>
                  </a:cubicBezTo>
                  <a:cubicBezTo>
                    <a:pt x="44218" y="50898"/>
                    <a:pt x="46444" y="50580"/>
                    <a:pt x="46444" y="49944"/>
                  </a:cubicBezTo>
                  <a:cubicBezTo>
                    <a:pt x="46763" y="49944"/>
                    <a:pt x="47717" y="49944"/>
                    <a:pt x="48035" y="50262"/>
                  </a:cubicBezTo>
                  <a:lnTo>
                    <a:pt x="48989" y="50262"/>
                  </a:lnTo>
                  <a:cubicBezTo>
                    <a:pt x="48989" y="49944"/>
                    <a:pt x="49307" y="49944"/>
                    <a:pt x="49307" y="49944"/>
                  </a:cubicBezTo>
                  <a:lnTo>
                    <a:pt x="48989" y="48989"/>
                  </a:lnTo>
                  <a:lnTo>
                    <a:pt x="47717" y="49307"/>
                  </a:lnTo>
                  <a:cubicBezTo>
                    <a:pt x="47399" y="49307"/>
                    <a:pt x="47399" y="49307"/>
                    <a:pt x="47399" y="48989"/>
                  </a:cubicBezTo>
                  <a:lnTo>
                    <a:pt x="47399" y="48035"/>
                  </a:lnTo>
                  <a:lnTo>
                    <a:pt x="49625" y="45808"/>
                  </a:lnTo>
                  <a:lnTo>
                    <a:pt x="49625" y="46126"/>
                  </a:lnTo>
                  <a:cubicBezTo>
                    <a:pt x="49625" y="46762"/>
                    <a:pt x="49625" y="47081"/>
                    <a:pt x="49944" y="47081"/>
                  </a:cubicBezTo>
                  <a:cubicBezTo>
                    <a:pt x="50580" y="45808"/>
                    <a:pt x="51216" y="46444"/>
                    <a:pt x="51216" y="45808"/>
                  </a:cubicBezTo>
                  <a:cubicBezTo>
                    <a:pt x="51216" y="45490"/>
                    <a:pt x="51216" y="45172"/>
                    <a:pt x="50898" y="44536"/>
                  </a:cubicBezTo>
                  <a:cubicBezTo>
                    <a:pt x="50580" y="44218"/>
                    <a:pt x="50580" y="44218"/>
                    <a:pt x="50580" y="43899"/>
                  </a:cubicBezTo>
                  <a:cubicBezTo>
                    <a:pt x="50580" y="41036"/>
                    <a:pt x="56942" y="35629"/>
                    <a:pt x="58215" y="33720"/>
                  </a:cubicBezTo>
                  <a:cubicBezTo>
                    <a:pt x="58533" y="33720"/>
                    <a:pt x="58851" y="34038"/>
                    <a:pt x="59169" y="34038"/>
                  </a:cubicBezTo>
                  <a:cubicBezTo>
                    <a:pt x="60123" y="32129"/>
                    <a:pt x="62668" y="31175"/>
                    <a:pt x="64259" y="29584"/>
                  </a:cubicBezTo>
                  <a:lnTo>
                    <a:pt x="64259" y="28948"/>
                  </a:lnTo>
                  <a:lnTo>
                    <a:pt x="63622" y="28948"/>
                  </a:lnTo>
                  <a:lnTo>
                    <a:pt x="63622" y="29584"/>
                  </a:lnTo>
                  <a:cubicBezTo>
                    <a:pt x="63304" y="29584"/>
                    <a:pt x="62986" y="29584"/>
                    <a:pt x="62986" y="29266"/>
                  </a:cubicBezTo>
                  <a:cubicBezTo>
                    <a:pt x="62986" y="28312"/>
                    <a:pt x="62986" y="27358"/>
                    <a:pt x="64259" y="27358"/>
                  </a:cubicBezTo>
                  <a:lnTo>
                    <a:pt x="65213" y="27358"/>
                  </a:lnTo>
                  <a:cubicBezTo>
                    <a:pt x="65531" y="27358"/>
                    <a:pt x="65849" y="27358"/>
                    <a:pt x="65849" y="27040"/>
                  </a:cubicBezTo>
                  <a:cubicBezTo>
                    <a:pt x="65849" y="26721"/>
                    <a:pt x="65531" y="26403"/>
                    <a:pt x="65531" y="26085"/>
                  </a:cubicBezTo>
                  <a:lnTo>
                    <a:pt x="65849" y="25767"/>
                  </a:lnTo>
                  <a:lnTo>
                    <a:pt x="65213" y="25767"/>
                  </a:lnTo>
                  <a:lnTo>
                    <a:pt x="65213" y="25449"/>
                  </a:lnTo>
                  <a:cubicBezTo>
                    <a:pt x="65213" y="24813"/>
                    <a:pt x="66167" y="23858"/>
                    <a:pt x="67122" y="23222"/>
                  </a:cubicBezTo>
                  <a:lnTo>
                    <a:pt x="67440" y="23222"/>
                  </a:lnTo>
                  <a:cubicBezTo>
                    <a:pt x="67440" y="23540"/>
                    <a:pt x="67440" y="23540"/>
                    <a:pt x="68394" y="24176"/>
                  </a:cubicBezTo>
                  <a:cubicBezTo>
                    <a:pt x="69667" y="22268"/>
                    <a:pt x="71575" y="17814"/>
                    <a:pt x="75074" y="15906"/>
                  </a:cubicBezTo>
                  <a:lnTo>
                    <a:pt x="76665" y="13361"/>
                  </a:lnTo>
                  <a:cubicBezTo>
                    <a:pt x="79210" y="13361"/>
                    <a:pt x="78892" y="10816"/>
                    <a:pt x="80164" y="10816"/>
                  </a:cubicBezTo>
                  <a:cubicBezTo>
                    <a:pt x="81755" y="10816"/>
                    <a:pt x="80800" y="7635"/>
                    <a:pt x="81755" y="7953"/>
                  </a:cubicBezTo>
                  <a:lnTo>
                    <a:pt x="83982" y="6362"/>
                  </a:lnTo>
                  <a:cubicBezTo>
                    <a:pt x="83664" y="7317"/>
                    <a:pt x="88753" y="636"/>
                    <a:pt x="92889" y="636"/>
                  </a:cubicBezTo>
                  <a:lnTo>
                    <a:pt x="94479" y="636"/>
                  </a:lnTo>
                  <a:cubicBezTo>
                    <a:pt x="94797" y="318"/>
                    <a:pt x="95115" y="0"/>
                    <a:pt x="95434" y="0"/>
                  </a:cubicBezTo>
                  <a:cubicBezTo>
                    <a:pt x="95752" y="0"/>
                    <a:pt x="95752" y="318"/>
                    <a:pt x="96070" y="318"/>
                  </a:cubicBezTo>
                  <a:lnTo>
                    <a:pt x="98933" y="1909"/>
                  </a:lnTo>
                  <a:lnTo>
                    <a:pt x="98615" y="1909"/>
                  </a:lnTo>
                  <a:cubicBezTo>
                    <a:pt x="98615" y="2227"/>
                    <a:pt x="101796" y="3499"/>
                    <a:pt x="103386" y="5726"/>
                  </a:cubicBezTo>
                  <a:lnTo>
                    <a:pt x="103704" y="5726"/>
                  </a:lnTo>
                  <a:cubicBezTo>
                    <a:pt x="104977" y="5726"/>
                    <a:pt x="104659" y="4454"/>
                    <a:pt x="105295" y="4454"/>
                  </a:cubicBezTo>
                  <a:cubicBezTo>
                    <a:pt x="106567" y="5408"/>
                    <a:pt x="108794" y="9543"/>
                    <a:pt x="111339" y="9543"/>
                  </a:cubicBezTo>
                  <a:cubicBezTo>
                    <a:pt x="111339" y="9543"/>
                    <a:pt x="111657" y="9543"/>
                    <a:pt x="111657" y="9225"/>
                  </a:cubicBezTo>
                  <a:cubicBezTo>
                    <a:pt x="112294" y="10180"/>
                    <a:pt x="113248" y="11452"/>
                    <a:pt x="113248" y="11452"/>
                  </a:cubicBezTo>
                  <a:cubicBezTo>
                    <a:pt x="113248" y="11452"/>
                    <a:pt x="113566" y="11134"/>
                    <a:pt x="113566" y="10816"/>
                  </a:cubicBezTo>
                  <a:lnTo>
                    <a:pt x="114202" y="10816"/>
                  </a:lnTo>
                  <a:cubicBezTo>
                    <a:pt x="114202" y="12088"/>
                    <a:pt x="115157" y="13043"/>
                    <a:pt x="116111" y="13679"/>
                  </a:cubicBezTo>
                  <a:cubicBezTo>
                    <a:pt x="116111" y="14315"/>
                    <a:pt x="115793" y="14315"/>
                    <a:pt x="115475" y="14315"/>
                  </a:cubicBezTo>
                  <a:cubicBezTo>
                    <a:pt x="115157" y="14315"/>
                    <a:pt x="115157" y="14315"/>
                    <a:pt x="115157" y="14951"/>
                  </a:cubicBezTo>
                  <a:lnTo>
                    <a:pt x="116747" y="17178"/>
                  </a:lnTo>
                  <a:cubicBezTo>
                    <a:pt x="116747" y="17496"/>
                    <a:pt x="117065" y="17496"/>
                    <a:pt x="117383" y="17496"/>
                  </a:cubicBezTo>
                  <a:cubicBezTo>
                    <a:pt x="117701" y="17496"/>
                    <a:pt x="117701" y="17496"/>
                    <a:pt x="118019" y="17178"/>
                  </a:cubicBezTo>
                  <a:cubicBezTo>
                    <a:pt x="119928" y="18450"/>
                    <a:pt x="118656" y="21313"/>
                    <a:pt x="121201" y="21313"/>
                  </a:cubicBezTo>
                  <a:lnTo>
                    <a:pt x="121519" y="23222"/>
                  </a:lnTo>
                  <a:cubicBezTo>
                    <a:pt x="121837" y="23858"/>
                    <a:pt x="122473" y="25449"/>
                    <a:pt x="122473" y="26721"/>
                  </a:cubicBezTo>
                  <a:lnTo>
                    <a:pt x="122791" y="27040"/>
                  </a:lnTo>
                  <a:cubicBezTo>
                    <a:pt x="123428" y="26721"/>
                    <a:pt x="123746" y="26403"/>
                    <a:pt x="124064" y="25767"/>
                  </a:cubicBezTo>
                  <a:lnTo>
                    <a:pt x="123746" y="25767"/>
                  </a:lnTo>
                  <a:cubicBezTo>
                    <a:pt x="123746" y="25449"/>
                    <a:pt x="128517" y="22904"/>
                    <a:pt x="129153" y="19405"/>
                  </a:cubicBezTo>
                  <a:lnTo>
                    <a:pt x="131062" y="18450"/>
                  </a:lnTo>
                  <a:lnTo>
                    <a:pt x="131062" y="16542"/>
                  </a:lnTo>
                  <a:cubicBezTo>
                    <a:pt x="131380" y="16224"/>
                    <a:pt x="131698" y="15906"/>
                    <a:pt x="132653" y="15906"/>
                  </a:cubicBezTo>
                  <a:cubicBezTo>
                    <a:pt x="132653" y="15587"/>
                    <a:pt x="132334" y="15269"/>
                    <a:pt x="132334" y="15269"/>
                  </a:cubicBezTo>
                  <a:cubicBezTo>
                    <a:pt x="132334" y="13997"/>
                    <a:pt x="133289" y="13679"/>
                    <a:pt x="134243" y="13361"/>
                  </a:cubicBezTo>
                  <a:cubicBezTo>
                    <a:pt x="133607" y="14315"/>
                    <a:pt x="139651" y="5408"/>
                    <a:pt x="140924" y="5408"/>
                  </a:cubicBezTo>
                  <a:cubicBezTo>
                    <a:pt x="141242" y="5408"/>
                    <a:pt x="143150" y="7635"/>
                    <a:pt x="143468" y="7953"/>
                  </a:cubicBezTo>
                  <a:cubicBezTo>
                    <a:pt x="143468" y="7635"/>
                    <a:pt x="143787" y="6362"/>
                    <a:pt x="144423" y="6362"/>
                  </a:cubicBezTo>
                  <a:cubicBezTo>
                    <a:pt x="145377" y="6362"/>
                    <a:pt x="148558" y="10180"/>
                    <a:pt x="148876" y="10180"/>
                  </a:cubicBezTo>
                  <a:cubicBezTo>
                    <a:pt x="149194" y="10180"/>
                    <a:pt x="149831" y="10180"/>
                    <a:pt x="149831" y="9861"/>
                  </a:cubicBezTo>
                  <a:cubicBezTo>
                    <a:pt x="149831" y="9861"/>
                    <a:pt x="150149" y="9543"/>
                    <a:pt x="150467" y="9543"/>
                  </a:cubicBezTo>
                  <a:cubicBezTo>
                    <a:pt x="150785" y="9543"/>
                    <a:pt x="151421" y="9861"/>
                    <a:pt x="151740" y="10498"/>
                  </a:cubicBezTo>
                  <a:lnTo>
                    <a:pt x="152376" y="11134"/>
                  </a:lnTo>
                  <a:cubicBezTo>
                    <a:pt x="152058" y="11452"/>
                    <a:pt x="152058" y="11452"/>
                    <a:pt x="152058" y="11770"/>
                  </a:cubicBezTo>
                  <a:cubicBezTo>
                    <a:pt x="152058" y="12088"/>
                    <a:pt x="152376" y="13043"/>
                    <a:pt x="153012" y="13679"/>
                  </a:cubicBezTo>
                  <a:cubicBezTo>
                    <a:pt x="153012" y="13679"/>
                    <a:pt x="153330" y="13361"/>
                    <a:pt x="153648" y="12724"/>
                  </a:cubicBezTo>
                  <a:lnTo>
                    <a:pt x="153966" y="12724"/>
                  </a:lnTo>
                  <a:cubicBezTo>
                    <a:pt x="155557" y="14633"/>
                    <a:pt x="157465" y="15269"/>
                    <a:pt x="157465" y="17814"/>
                  </a:cubicBezTo>
                  <a:cubicBezTo>
                    <a:pt x="157783" y="17814"/>
                    <a:pt x="156193" y="18450"/>
                    <a:pt x="156193" y="19723"/>
                  </a:cubicBezTo>
                  <a:cubicBezTo>
                    <a:pt x="156193" y="20041"/>
                    <a:pt x="156511" y="20041"/>
                    <a:pt x="156829" y="20359"/>
                  </a:cubicBezTo>
                  <a:lnTo>
                    <a:pt x="156829" y="20677"/>
                  </a:lnTo>
                  <a:cubicBezTo>
                    <a:pt x="156193" y="21313"/>
                    <a:pt x="156193" y="21632"/>
                    <a:pt x="156193" y="21950"/>
                  </a:cubicBezTo>
                  <a:cubicBezTo>
                    <a:pt x="156193" y="22904"/>
                    <a:pt x="156511" y="23540"/>
                    <a:pt x="156511" y="23858"/>
                  </a:cubicBezTo>
                  <a:cubicBezTo>
                    <a:pt x="156511" y="25767"/>
                    <a:pt x="155239" y="28312"/>
                    <a:pt x="155239" y="30221"/>
                  </a:cubicBezTo>
                  <a:cubicBezTo>
                    <a:pt x="155557" y="30857"/>
                    <a:pt x="155875" y="31811"/>
                    <a:pt x="155875" y="32447"/>
                  </a:cubicBezTo>
                  <a:cubicBezTo>
                    <a:pt x="155875" y="34356"/>
                    <a:pt x="155239" y="35629"/>
                    <a:pt x="154602" y="37219"/>
                  </a:cubicBezTo>
                  <a:lnTo>
                    <a:pt x="154602" y="39128"/>
                  </a:lnTo>
                  <a:cubicBezTo>
                    <a:pt x="154921" y="39764"/>
                    <a:pt x="154921" y="40082"/>
                    <a:pt x="154921" y="40400"/>
                  </a:cubicBezTo>
                  <a:cubicBezTo>
                    <a:pt x="154921" y="41036"/>
                    <a:pt x="154602" y="43263"/>
                    <a:pt x="153966" y="43581"/>
                  </a:cubicBezTo>
                  <a:cubicBezTo>
                    <a:pt x="154284" y="43581"/>
                    <a:pt x="155239" y="43581"/>
                    <a:pt x="155239" y="44218"/>
                  </a:cubicBezTo>
                  <a:lnTo>
                    <a:pt x="155557" y="44854"/>
                  </a:lnTo>
                  <a:cubicBezTo>
                    <a:pt x="155875" y="45172"/>
                    <a:pt x="155875" y="45490"/>
                    <a:pt x="155875" y="45490"/>
                  </a:cubicBezTo>
                  <a:lnTo>
                    <a:pt x="155557" y="45490"/>
                  </a:lnTo>
                  <a:lnTo>
                    <a:pt x="154284" y="45808"/>
                  </a:lnTo>
                  <a:cubicBezTo>
                    <a:pt x="154284" y="47081"/>
                    <a:pt x="154921" y="46126"/>
                    <a:pt x="154921" y="47081"/>
                  </a:cubicBezTo>
                  <a:cubicBezTo>
                    <a:pt x="154602" y="47717"/>
                    <a:pt x="154602" y="48035"/>
                    <a:pt x="154602" y="48671"/>
                  </a:cubicBezTo>
                  <a:cubicBezTo>
                    <a:pt x="154602" y="49307"/>
                    <a:pt x="154602" y="50262"/>
                    <a:pt x="154921" y="51216"/>
                  </a:cubicBezTo>
                  <a:lnTo>
                    <a:pt x="154921" y="51852"/>
                  </a:lnTo>
                  <a:cubicBezTo>
                    <a:pt x="154921" y="54079"/>
                    <a:pt x="155239" y="54397"/>
                    <a:pt x="155239" y="55033"/>
                  </a:cubicBezTo>
                  <a:cubicBezTo>
                    <a:pt x="155239" y="55670"/>
                    <a:pt x="153966" y="57578"/>
                    <a:pt x="153966" y="58851"/>
                  </a:cubicBezTo>
                  <a:cubicBezTo>
                    <a:pt x="153966" y="58214"/>
                    <a:pt x="154602" y="57578"/>
                    <a:pt x="154602" y="57578"/>
                  </a:cubicBezTo>
                  <a:lnTo>
                    <a:pt x="155239" y="57578"/>
                  </a:lnTo>
                  <a:cubicBezTo>
                    <a:pt x="154921" y="57896"/>
                    <a:pt x="154921" y="58533"/>
                    <a:pt x="154921" y="58851"/>
                  </a:cubicBezTo>
                  <a:cubicBezTo>
                    <a:pt x="154921" y="60123"/>
                    <a:pt x="155557" y="61077"/>
                    <a:pt x="155557" y="61714"/>
                  </a:cubicBezTo>
                  <a:cubicBezTo>
                    <a:pt x="155239" y="62350"/>
                    <a:pt x="155239" y="62668"/>
                    <a:pt x="155239" y="62986"/>
                  </a:cubicBezTo>
                  <a:cubicBezTo>
                    <a:pt x="155239" y="63622"/>
                    <a:pt x="156193" y="64895"/>
                    <a:pt x="156511" y="65849"/>
                  </a:cubicBezTo>
                  <a:cubicBezTo>
                    <a:pt x="156511" y="66167"/>
                    <a:pt x="156193" y="66167"/>
                    <a:pt x="156193" y="67122"/>
                  </a:cubicBezTo>
                  <a:lnTo>
                    <a:pt x="156193" y="67758"/>
                  </a:lnTo>
                  <a:cubicBezTo>
                    <a:pt x="156193" y="68712"/>
                    <a:pt x="155875" y="69030"/>
                    <a:pt x="155239" y="69030"/>
                  </a:cubicBezTo>
                  <a:cubicBezTo>
                    <a:pt x="155239" y="69348"/>
                    <a:pt x="156193" y="71257"/>
                    <a:pt x="156193" y="71893"/>
                  </a:cubicBezTo>
                  <a:cubicBezTo>
                    <a:pt x="156193" y="72529"/>
                    <a:pt x="154921" y="73166"/>
                    <a:pt x="154921" y="73802"/>
                  </a:cubicBezTo>
                  <a:cubicBezTo>
                    <a:pt x="154921" y="74120"/>
                    <a:pt x="155239" y="74756"/>
                    <a:pt x="155239" y="75074"/>
                  </a:cubicBezTo>
                  <a:cubicBezTo>
                    <a:pt x="154921" y="76029"/>
                    <a:pt x="154921" y="76983"/>
                    <a:pt x="154921" y="77619"/>
                  </a:cubicBezTo>
                  <a:cubicBezTo>
                    <a:pt x="154921" y="77937"/>
                    <a:pt x="154921" y="78574"/>
                    <a:pt x="155875" y="79210"/>
                  </a:cubicBezTo>
                  <a:cubicBezTo>
                    <a:pt x="154921" y="79210"/>
                    <a:pt x="154921" y="79528"/>
                    <a:pt x="154921" y="79846"/>
                  </a:cubicBezTo>
                  <a:cubicBezTo>
                    <a:pt x="154921" y="80800"/>
                    <a:pt x="154921" y="81119"/>
                    <a:pt x="155557" y="81755"/>
                  </a:cubicBezTo>
                  <a:cubicBezTo>
                    <a:pt x="155557" y="82073"/>
                    <a:pt x="153966" y="83982"/>
                    <a:pt x="153966" y="86845"/>
                  </a:cubicBezTo>
                  <a:lnTo>
                    <a:pt x="153966" y="88117"/>
                  </a:lnTo>
                  <a:cubicBezTo>
                    <a:pt x="154284" y="88435"/>
                    <a:pt x="154602" y="89071"/>
                    <a:pt x="154602" y="89389"/>
                  </a:cubicBezTo>
                  <a:cubicBezTo>
                    <a:pt x="154602" y="90026"/>
                    <a:pt x="153648" y="90662"/>
                    <a:pt x="153648" y="91298"/>
                  </a:cubicBezTo>
                  <a:cubicBezTo>
                    <a:pt x="153648" y="91934"/>
                    <a:pt x="154602" y="92571"/>
                    <a:pt x="154602" y="92889"/>
                  </a:cubicBezTo>
                  <a:cubicBezTo>
                    <a:pt x="154602" y="93207"/>
                    <a:pt x="153648" y="95115"/>
                    <a:pt x="153648" y="95752"/>
                  </a:cubicBezTo>
                  <a:cubicBezTo>
                    <a:pt x="153648" y="96070"/>
                    <a:pt x="154284" y="96388"/>
                    <a:pt x="154284" y="96388"/>
                  </a:cubicBezTo>
                  <a:cubicBezTo>
                    <a:pt x="154921" y="95752"/>
                    <a:pt x="155239" y="95752"/>
                    <a:pt x="155875" y="95752"/>
                  </a:cubicBezTo>
                  <a:lnTo>
                    <a:pt x="156829" y="95752"/>
                  </a:lnTo>
                  <a:cubicBezTo>
                    <a:pt x="157147" y="95752"/>
                    <a:pt x="157465" y="95752"/>
                    <a:pt x="157783" y="95434"/>
                  </a:cubicBezTo>
                  <a:lnTo>
                    <a:pt x="158102" y="95752"/>
                  </a:lnTo>
                  <a:cubicBezTo>
                    <a:pt x="157465" y="96070"/>
                    <a:pt x="156193" y="97024"/>
                    <a:pt x="154921" y="97024"/>
                  </a:cubicBezTo>
                  <a:lnTo>
                    <a:pt x="154602" y="97024"/>
                  </a:lnTo>
                  <a:lnTo>
                    <a:pt x="153966" y="97342"/>
                  </a:lnTo>
                  <a:cubicBezTo>
                    <a:pt x="153966" y="97978"/>
                    <a:pt x="153966" y="97342"/>
                    <a:pt x="154602" y="98297"/>
                  </a:cubicBezTo>
                  <a:cubicBezTo>
                    <a:pt x="154602" y="98297"/>
                    <a:pt x="154921" y="98297"/>
                    <a:pt x="154921" y="97978"/>
                  </a:cubicBezTo>
                  <a:lnTo>
                    <a:pt x="156193" y="97978"/>
                  </a:lnTo>
                  <a:cubicBezTo>
                    <a:pt x="156829" y="97660"/>
                    <a:pt x="157465" y="97660"/>
                    <a:pt x="157783" y="97660"/>
                  </a:cubicBezTo>
                  <a:cubicBezTo>
                    <a:pt x="158102" y="97660"/>
                    <a:pt x="158420" y="97660"/>
                    <a:pt x="158738" y="97978"/>
                  </a:cubicBezTo>
                  <a:cubicBezTo>
                    <a:pt x="158102" y="97978"/>
                    <a:pt x="161919" y="96706"/>
                    <a:pt x="163828" y="95752"/>
                  </a:cubicBezTo>
                  <a:cubicBezTo>
                    <a:pt x="163828" y="95752"/>
                    <a:pt x="164146" y="96070"/>
                    <a:pt x="164464" y="96070"/>
                  </a:cubicBezTo>
                  <a:lnTo>
                    <a:pt x="164464" y="96706"/>
                  </a:lnTo>
                  <a:cubicBezTo>
                    <a:pt x="164146" y="97024"/>
                    <a:pt x="163510" y="97024"/>
                    <a:pt x="163191" y="97660"/>
                  </a:cubicBezTo>
                  <a:cubicBezTo>
                    <a:pt x="163510" y="97660"/>
                    <a:pt x="163191" y="97978"/>
                    <a:pt x="165100" y="97978"/>
                  </a:cubicBezTo>
                  <a:lnTo>
                    <a:pt x="165418" y="96388"/>
                  </a:lnTo>
                  <a:cubicBezTo>
                    <a:pt x="165100" y="96388"/>
                    <a:pt x="165100" y="96070"/>
                    <a:pt x="165100" y="96070"/>
                  </a:cubicBezTo>
                  <a:cubicBezTo>
                    <a:pt x="165100" y="96070"/>
                    <a:pt x="165100" y="95752"/>
                    <a:pt x="165418" y="95752"/>
                  </a:cubicBezTo>
                  <a:cubicBezTo>
                    <a:pt x="166691" y="95434"/>
                    <a:pt x="167645" y="94161"/>
                    <a:pt x="169872" y="94161"/>
                  </a:cubicBezTo>
                  <a:lnTo>
                    <a:pt x="169872" y="94797"/>
                  </a:lnTo>
                  <a:cubicBezTo>
                    <a:pt x="169872" y="95434"/>
                    <a:pt x="170190" y="95752"/>
                    <a:pt x="170190" y="96070"/>
                  </a:cubicBezTo>
                  <a:cubicBezTo>
                    <a:pt x="169872" y="97024"/>
                    <a:pt x="169236" y="97660"/>
                    <a:pt x="168281" y="97978"/>
                  </a:cubicBezTo>
                  <a:lnTo>
                    <a:pt x="168281" y="98297"/>
                  </a:lnTo>
                  <a:cubicBezTo>
                    <a:pt x="168599" y="98297"/>
                    <a:pt x="168599" y="98615"/>
                    <a:pt x="168599" y="98615"/>
                  </a:cubicBezTo>
                  <a:lnTo>
                    <a:pt x="169236" y="98615"/>
                  </a:lnTo>
                  <a:cubicBezTo>
                    <a:pt x="169236" y="98615"/>
                    <a:pt x="169554" y="98615"/>
                    <a:pt x="169554" y="98933"/>
                  </a:cubicBezTo>
                  <a:cubicBezTo>
                    <a:pt x="169554" y="98933"/>
                    <a:pt x="169554" y="99569"/>
                    <a:pt x="169236" y="99569"/>
                  </a:cubicBezTo>
                  <a:cubicBezTo>
                    <a:pt x="169236" y="99887"/>
                    <a:pt x="169236" y="99887"/>
                    <a:pt x="169554" y="100205"/>
                  </a:cubicBezTo>
                  <a:lnTo>
                    <a:pt x="170508" y="100205"/>
                  </a:lnTo>
                  <a:cubicBezTo>
                    <a:pt x="171144" y="100205"/>
                    <a:pt x="171144" y="99569"/>
                    <a:pt x="171780" y="99569"/>
                  </a:cubicBezTo>
                  <a:cubicBezTo>
                    <a:pt x="172098" y="99569"/>
                    <a:pt x="172098" y="99569"/>
                    <a:pt x="172417" y="99887"/>
                  </a:cubicBezTo>
                  <a:cubicBezTo>
                    <a:pt x="172417" y="99569"/>
                    <a:pt x="173371" y="97660"/>
                    <a:pt x="174325" y="97660"/>
                  </a:cubicBezTo>
                  <a:cubicBezTo>
                    <a:pt x="174325" y="97660"/>
                    <a:pt x="174325" y="97978"/>
                    <a:pt x="174961" y="97978"/>
                  </a:cubicBezTo>
                  <a:cubicBezTo>
                    <a:pt x="174961" y="97978"/>
                    <a:pt x="175916" y="97660"/>
                    <a:pt x="175916" y="97342"/>
                  </a:cubicBezTo>
                  <a:cubicBezTo>
                    <a:pt x="177188" y="97978"/>
                    <a:pt x="178461" y="97978"/>
                    <a:pt x="179415" y="97978"/>
                  </a:cubicBezTo>
                  <a:cubicBezTo>
                    <a:pt x="180370" y="97978"/>
                    <a:pt x="181006" y="97978"/>
                    <a:pt x="181006" y="98297"/>
                  </a:cubicBezTo>
                  <a:cubicBezTo>
                    <a:pt x="180051" y="98615"/>
                    <a:pt x="180051" y="98933"/>
                    <a:pt x="180051" y="99251"/>
                  </a:cubicBezTo>
                  <a:cubicBezTo>
                    <a:pt x="180051" y="99251"/>
                    <a:pt x="180051" y="99569"/>
                    <a:pt x="179733" y="99569"/>
                  </a:cubicBezTo>
                  <a:cubicBezTo>
                    <a:pt x="179097" y="99569"/>
                    <a:pt x="178779" y="99569"/>
                    <a:pt x="178461" y="99251"/>
                  </a:cubicBezTo>
                  <a:cubicBezTo>
                    <a:pt x="178461" y="99251"/>
                    <a:pt x="178461" y="100205"/>
                    <a:pt x="176870" y="100205"/>
                  </a:cubicBezTo>
                  <a:lnTo>
                    <a:pt x="175598" y="100205"/>
                  </a:lnTo>
                  <a:cubicBezTo>
                    <a:pt x="175280" y="100841"/>
                    <a:pt x="174643" y="100841"/>
                    <a:pt x="174325" y="100841"/>
                  </a:cubicBezTo>
                  <a:lnTo>
                    <a:pt x="174007" y="101160"/>
                  </a:lnTo>
                  <a:lnTo>
                    <a:pt x="174643" y="102114"/>
                  </a:lnTo>
                  <a:cubicBezTo>
                    <a:pt x="174643" y="102432"/>
                    <a:pt x="174643" y="102432"/>
                    <a:pt x="174325" y="102432"/>
                  </a:cubicBezTo>
                  <a:lnTo>
                    <a:pt x="174325" y="102114"/>
                  </a:lnTo>
                  <a:cubicBezTo>
                    <a:pt x="173053" y="102750"/>
                    <a:pt x="172098" y="103068"/>
                    <a:pt x="170508" y="103068"/>
                  </a:cubicBezTo>
                  <a:cubicBezTo>
                    <a:pt x="169554" y="102114"/>
                    <a:pt x="169872" y="102114"/>
                    <a:pt x="169236" y="102114"/>
                  </a:cubicBezTo>
                  <a:cubicBezTo>
                    <a:pt x="169554" y="102114"/>
                    <a:pt x="166691" y="104659"/>
                    <a:pt x="164782" y="105613"/>
                  </a:cubicBezTo>
                  <a:cubicBezTo>
                    <a:pt x="164464" y="105295"/>
                    <a:pt x="164464" y="105613"/>
                    <a:pt x="163828" y="104977"/>
                  </a:cubicBezTo>
                  <a:cubicBezTo>
                    <a:pt x="162873" y="104977"/>
                    <a:pt x="162555" y="105295"/>
                    <a:pt x="159056" y="106886"/>
                  </a:cubicBezTo>
                  <a:lnTo>
                    <a:pt x="157465" y="105931"/>
                  </a:lnTo>
                  <a:cubicBezTo>
                    <a:pt x="157465" y="105931"/>
                    <a:pt x="156829" y="106249"/>
                    <a:pt x="156511" y="106249"/>
                  </a:cubicBezTo>
                  <a:lnTo>
                    <a:pt x="156511" y="107204"/>
                  </a:lnTo>
                  <a:cubicBezTo>
                    <a:pt x="156511" y="107840"/>
                    <a:pt x="156511" y="107840"/>
                    <a:pt x="156193" y="108158"/>
                  </a:cubicBezTo>
                  <a:cubicBezTo>
                    <a:pt x="155875" y="108158"/>
                    <a:pt x="155875" y="107840"/>
                    <a:pt x="155557" y="107840"/>
                  </a:cubicBezTo>
                  <a:cubicBezTo>
                    <a:pt x="153648" y="107840"/>
                    <a:pt x="152694" y="112930"/>
                    <a:pt x="152694" y="114838"/>
                  </a:cubicBezTo>
                  <a:lnTo>
                    <a:pt x="152694" y="115156"/>
                  </a:lnTo>
                  <a:cubicBezTo>
                    <a:pt x="152694" y="116111"/>
                    <a:pt x="153012" y="117065"/>
                    <a:pt x="153330" y="117383"/>
                  </a:cubicBezTo>
                  <a:cubicBezTo>
                    <a:pt x="152694" y="117383"/>
                    <a:pt x="152376" y="117701"/>
                    <a:pt x="152376" y="118019"/>
                  </a:cubicBezTo>
                  <a:cubicBezTo>
                    <a:pt x="152376" y="118974"/>
                    <a:pt x="153330" y="119610"/>
                    <a:pt x="153330" y="120882"/>
                  </a:cubicBezTo>
                  <a:cubicBezTo>
                    <a:pt x="153330" y="121201"/>
                    <a:pt x="153012" y="121837"/>
                    <a:pt x="152694" y="121837"/>
                  </a:cubicBezTo>
                  <a:lnTo>
                    <a:pt x="152694" y="123109"/>
                  </a:lnTo>
                  <a:lnTo>
                    <a:pt x="152376" y="123109"/>
                  </a:lnTo>
                  <a:cubicBezTo>
                    <a:pt x="152058" y="123109"/>
                    <a:pt x="152058" y="122791"/>
                    <a:pt x="152058" y="122791"/>
                  </a:cubicBezTo>
                  <a:lnTo>
                    <a:pt x="151740" y="123109"/>
                  </a:lnTo>
                  <a:cubicBezTo>
                    <a:pt x="151740" y="123109"/>
                    <a:pt x="152376" y="124700"/>
                    <a:pt x="152376" y="125018"/>
                  </a:cubicBezTo>
                  <a:lnTo>
                    <a:pt x="152058" y="125336"/>
                  </a:lnTo>
                  <a:lnTo>
                    <a:pt x="152058" y="125018"/>
                  </a:lnTo>
                  <a:lnTo>
                    <a:pt x="151740" y="124700"/>
                  </a:lnTo>
                  <a:cubicBezTo>
                    <a:pt x="150467" y="125336"/>
                    <a:pt x="150149" y="125972"/>
                    <a:pt x="150149" y="127245"/>
                  </a:cubicBezTo>
                  <a:cubicBezTo>
                    <a:pt x="150149" y="127881"/>
                    <a:pt x="150467" y="128517"/>
                    <a:pt x="150467" y="128835"/>
                  </a:cubicBezTo>
                  <a:cubicBezTo>
                    <a:pt x="150467" y="129153"/>
                    <a:pt x="150149" y="129471"/>
                    <a:pt x="150149" y="129790"/>
                  </a:cubicBezTo>
                  <a:cubicBezTo>
                    <a:pt x="150149" y="130108"/>
                    <a:pt x="150149" y="130108"/>
                    <a:pt x="150467" y="130426"/>
                  </a:cubicBezTo>
                  <a:lnTo>
                    <a:pt x="151421" y="130426"/>
                  </a:lnTo>
                  <a:cubicBezTo>
                    <a:pt x="151421" y="130426"/>
                    <a:pt x="151740" y="130744"/>
                    <a:pt x="151740" y="131062"/>
                  </a:cubicBezTo>
                  <a:cubicBezTo>
                    <a:pt x="151421" y="131062"/>
                    <a:pt x="151103" y="131380"/>
                    <a:pt x="150785" y="131380"/>
                  </a:cubicBezTo>
                  <a:lnTo>
                    <a:pt x="149831" y="130426"/>
                  </a:lnTo>
                  <a:lnTo>
                    <a:pt x="149194" y="130426"/>
                  </a:lnTo>
                  <a:cubicBezTo>
                    <a:pt x="149194" y="132653"/>
                    <a:pt x="149831" y="133925"/>
                    <a:pt x="149831" y="134243"/>
                  </a:cubicBezTo>
                  <a:cubicBezTo>
                    <a:pt x="149831" y="134561"/>
                    <a:pt x="149513" y="134879"/>
                    <a:pt x="149513" y="135198"/>
                  </a:cubicBezTo>
                  <a:cubicBezTo>
                    <a:pt x="150149" y="135198"/>
                    <a:pt x="150149" y="135516"/>
                    <a:pt x="150149" y="135834"/>
                  </a:cubicBezTo>
                  <a:lnTo>
                    <a:pt x="149513" y="136470"/>
                  </a:lnTo>
                  <a:lnTo>
                    <a:pt x="149513" y="135198"/>
                  </a:lnTo>
                  <a:cubicBezTo>
                    <a:pt x="148876" y="135516"/>
                    <a:pt x="148876" y="135834"/>
                    <a:pt x="148876" y="136788"/>
                  </a:cubicBezTo>
                  <a:cubicBezTo>
                    <a:pt x="148876" y="137424"/>
                    <a:pt x="148876" y="137424"/>
                    <a:pt x="149194" y="137742"/>
                  </a:cubicBezTo>
                  <a:cubicBezTo>
                    <a:pt x="148876" y="137742"/>
                    <a:pt x="148240" y="139651"/>
                    <a:pt x="148240" y="139651"/>
                  </a:cubicBezTo>
                  <a:cubicBezTo>
                    <a:pt x="148240" y="139969"/>
                    <a:pt x="148240" y="139969"/>
                    <a:pt x="148558" y="140924"/>
                  </a:cubicBezTo>
                  <a:cubicBezTo>
                    <a:pt x="148558" y="141242"/>
                    <a:pt x="148558" y="141560"/>
                    <a:pt x="148240" y="141878"/>
                  </a:cubicBezTo>
                  <a:lnTo>
                    <a:pt x="147922" y="141878"/>
                  </a:lnTo>
                  <a:lnTo>
                    <a:pt x="147922" y="142196"/>
                  </a:lnTo>
                  <a:cubicBezTo>
                    <a:pt x="147922" y="142832"/>
                    <a:pt x="148240" y="143150"/>
                    <a:pt x="148558" y="143150"/>
                  </a:cubicBezTo>
                  <a:lnTo>
                    <a:pt x="148558" y="143787"/>
                  </a:lnTo>
                  <a:cubicBezTo>
                    <a:pt x="148876" y="144105"/>
                    <a:pt x="148240" y="143787"/>
                    <a:pt x="147922" y="143787"/>
                  </a:cubicBezTo>
                  <a:cubicBezTo>
                    <a:pt x="147604" y="143787"/>
                    <a:pt x="147286" y="143787"/>
                    <a:pt x="147286" y="144741"/>
                  </a:cubicBezTo>
                  <a:lnTo>
                    <a:pt x="147286" y="145695"/>
                  </a:lnTo>
                  <a:cubicBezTo>
                    <a:pt x="147286" y="146013"/>
                    <a:pt x="147286" y="146331"/>
                    <a:pt x="147604" y="146650"/>
                  </a:cubicBezTo>
                  <a:lnTo>
                    <a:pt x="147604" y="147286"/>
                  </a:lnTo>
                  <a:cubicBezTo>
                    <a:pt x="146649" y="148876"/>
                    <a:pt x="146649" y="149831"/>
                    <a:pt x="146331" y="151103"/>
                  </a:cubicBezTo>
                  <a:cubicBezTo>
                    <a:pt x="146331" y="151739"/>
                    <a:pt x="146649" y="152376"/>
                    <a:pt x="146968" y="153012"/>
                  </a:cubicBezTo>
                  <a:lnTo>
                    <a:pt x="146013" y="153648"/>
                  </a:lnTo>
                  <a:cubicBezTo>
                    <a:pt x="145695" y="154284"/>
                    <a:pt x="145695" y="154284"/>
                    <a:pt x="145695" y="154602"/>
                  </a:cubicBezTo>
                  <a:cubicBezTo>
                    <a:pt x="145695" y="155239"/>
                    <a:pt x="146331" y="155875"/>
                    <a:pt x="146331" y="156511"/>
                  </a:cubicBezTo>
                  <a:cubicBezTo>
                    <a:pt x="146331" y="156829"/>
                    <a:pt x="146013" y="157465"/>
                    <a:pt x="146013" y="157465"/>
                  </a:cubicBezTo>
                  <a:cubicBezTo>
                    <a:pt x="146013" y="157465"/>
                    <a:pt x="145695" y="157465"/>
                    <a:pt x="145059" y="157147"/>
                  </a:cubicBezTo>
                  <a:cubicBezTo>
                    <a:pt x="145059" y="158102"/>
                    <a:pt x="144423" y="160965"/>
                    <a:pt x="144423" y="162237"/>
                  </a:cubicBezTo>
                  <a:lnTo>
                    <a:pt x="144423" y="163191"/>
                  </a:lnTo>
                  <a:cubicBezTo>
                    <a:pt x="144741" y="163509"/>
                    <a:pt x="144741" y="163828"/>
                    <a:pt x="144741" y="164146"/>
                  </a:cubicBezTo>
                  <a:cubicBezTo>
                    <a:pt x="144741" y="165418"/>
                    <a:pt x="144423" y="163191"/>
                    <a:pt x="141878" y="169554"/>
                  </a:cubicBezTo>
                  <a:lnTo>
                    <a:pt x="141878" y="170190"/>
                  </a:lnTo>
                  <a:cubicBezTo>
                    <a:pt x="141878" y="170190"/>
                    <a:pt x="141878" y="170508"/>
                    <a:pt x="142514" y="170508"/>
                  </a:cubicBezTo>
                  <a:cubicBezTo>
                    <a:pt x="142514" y="172098"/>
                    <a:pt x="142514" y="172098"/>
                    <a:pt x="141560" y="172735"/>
                  </a:cubicBezTo>
                  <a:cubicBezTo>
                    <a:pt x="141560" y="173053"/>
                    <a:pt x="141560" y="173371"/>
                    <a:pt x="141878" y="173689"/>
                  </a:cubicBezTo>
                  <a:cubicBezTo>
                    <a:pt x="141878" y="174007"/>
                    <a:pt x="141560" y="174325"/>
                    <a:pt x="141242" y="174643"/>
                  </a:cubicBezTo>
                  <a:lnTo>
                    <a:pt x="141242" y="175916"/>
                  </a:lnTo>
                  <a:cubicBezTo>
                    <a:pt x="141242" y="175916"/>
                    <a:pt x="140606" y="181324"/>
                    <a:pt x="138697" y="182596"/>
                  </a:cubicBezTo>
                  <a:cubicBezTo>
                    <a:pt x="139015" y="183232"/>
                    <a:pt x="139015" y="183551"/>
                    <a:pt x="139015" y="183869"/>
                  </a:cubicBezTo>
                  <a:cubicBezTo>
                    <a:pt x="139015" y="187368"/>
                    <a:pt x="136152" y="191185"/>
                    <a:pt x="135516" y="194048"/>
                  </a:cubicBezTo>
                  <a:lnTo>
                    <a:pt x="135198" y="194048"/>
                  </a:lnTo>
                  <a:cubicBezTo>
                    <a:pt x="135198" y="194048"/>
                    <a:pt x="134879" y="194366"/>
                    <a:pt x="134879" y="194684"/>
                  </a:cubicBezTo>
                  <a:lnTo>
                    <a:pt x="134561" y="196275"/>
                  </a:lnTo>
                  <a:cubicBezTo>
                    <a:pt x="133289" y="197229"/>
                    <a:pt x="132653" y="199456"/>
                    <a:pt x="132653" y="199774"/>
                  </a:cubicBezTo>
                  <a:cubicBezTo>
                    <a:pt x="132653" y="200092"/>
                    <a:pt x="132653" y="200410"/>
                    <a:pt x="132971" y="200410"/>
                  </a:cubicBezTo>
                  <a:cubicBezTo>
                    <a:pt x="132971" y="201365"/>
                    <a:pt x="132016" y="202001"/>
                    <a:pt x="131380" y="203910"/>
                  </a:cubicBezTo>
                  <a:lnTo>
                    <a:pt x="131380" y="204228"/>
                  </a:lnTo>
                  <a:lnTo>
                    <a:pt x="131698" y="204864"/>
                  </a:lnTo>
                  <a:cubicBezTo>
                    <a:pt x="131698" y="205500"/>
                    <a:pt x="131380" y="205500"/>
                    <a:pt x="131380" y="205500"/>
                  </a:cubicBezTo>
                  <a:cubicBezTo>
                    <a:pt x="131062" y="205500"/>
                    <a:pt x="131380" y="204864"/>
                    <a:pt x="130108" y="204864"/>
                  </a:cubicBezTo>
                  <a:cubicBezTo>
                    <a:pt x="130108" y="209636"/>
                    <a:pt x="129472" y="208045"/>
                    <a:pt x="128835" y="210908"/>
                  </a:cubicBezTo>
                  <a:cubicBezTo>
                    <a:pt x="128517" y="210908"/>
                    <a:pt x="127563" y="215362"/>
                    <a:pt x="126291" y="216634"/>
                  </a:cubicBezTo>
                  <a:lnTo>
                    <a:pt x="126927" y="216634"/>
                  </a:lnTo>
                  <a:cubicBezTo>
                    <a:pt x="127245" y="216952"/>
                    <a:pt x="127563" y="216952"/>
                    <a:pt x="127563" y="216952"/>
                  </a:cubicBezTo>
                  <a:lnTo>
                    <a:pt x="127245" y="217270"/>
                  </a:lnTo>
                  <a:lnTo>
                    <a:pt x="126609" y="217270"/>
                  </a:lnTo>
                  <a:cubicBezTo>
                    <a:pt x="127245" y="217270"/>
                    <a:pt x="121519" y="222678"/>
                    <a:pt x="121519" y="225859"/>
                  </a:cubicBezTo>
                  <a:cubicBezTo>
                    <a:pt x="121837" y="226177"/>
                    <a:pt x="121837" y="226496"/>
                    <a:pt x="121837" y="226496"/>
                  </a:cubicBezTo>
                  <a:lnTo>
                    <a:pt x="121519" y="226177"/>
                  </a:lnTo>
                  <a:cubicBezTo>
                    <a:pt x="120564" y="227132"/>
                    <a:pt x="120246" y="228086"/>
                    <a:pt x="118974" y="228086"/>
                  </a:cubicBezTo>
                  <a:cubicBezTo>
                    <a:pt x="118656" y="228086"/>
                    <a:pt x="119610" y="229359"/>
                    <a:pt x="119610" y="229677"/>
                  </a:cubicBezTo>
                  <a:cubicBezTo>
                    <a:pt x="119610" y="230313"/>
                    <a:pt x="118019" y="231585"/>
                    <a:pt x="118019" y="232858"/>
                  </a:cubicBezTo>
                  <a:cubicBezTo>
                    <a:pt x="118019" y="233176"/>
                    <a:pt x="116747" y="233176"/>
                    <a:pt x="116747" y="233494"/>
                  </a:cubicBezTo>
                  <a:lnTo>
                    <a:pt x="117065" y="233494"/>
                  </a:lnTo>
                  <a:cubicBezTo>
                    <a:pt x="117383" y="233812"/>
                    <a:pt x="117383" y="233812"/>
                    <a:pt x="117383" y="234130"/>
                  </a:cubicBezTo>
                  <a:lnTo>
                    <a:pt x="116429" y="236675"/>
                  </a:lnTo>
                  <a:cubicBezTo>
                    <a:pt x="115793" y="236993"/>
                    <a:pt x="115793" y="237311"/>
                    <a:pt x="115475" y="237311"/>
                  </a:cubicBezTo>
                  <a:cubicBezTo>
                    <a:pt x="115475" y="237948"/>
                    <a:pt x="115475" y="239220"/>
                    <a:pt x="115793" y="239220"/>
                  </a:cubicBezTo>
                  <a:cubicBezTo>
                    <a:pt x="115793" y="239538"/>
                    <a:pt x="115793" y="239538"/>
                    <a:pt x="115475" y="239538"/>
                  </a:cubicBezTo>
                  <a:lnTo>
                    <a:pt x="114838" y="239538"/>
                  </a:lnTo>
                  <a:lnTo>
                    <a:pt x="114838" y="239856"/>
                  </a:lnTo>
                  <a:cubicBezTo>
                    <a:pt x="114838" y="241765"/>
                    <a:pt x="109431" y="241447"/>
                    <a:pt x="109431" y="251626"/>
                  </a:cubicBezTo>
                  <a:cubicBezTo>
                    <a:pt x="106885" y="252263"/>
                    <a:pt x="107840" y="254489"/>
                    <a:pt x="106885" y="254489"/>
                  </a:cubicBezTo>
                  <a:cubicBezTo>
                    <a:pt x="106567" y="256398"/>
                    <a:pt x="105295" y="260534"/>
                    <a:pt x="102114" y="260534"/>
                  </a:cubicBezTo>
                  <a:cubicBezTo>
                    <a:pt x="102432" y="260852"/>
                    <a:pt x="102432" y="260852"/>
                    <a:pt x="102432" y="261170"/>
                  </a:cubicBezTo>
                  <a:cubicBezTo>
                    <a:pt x="102432" y="261806"/>
                    <a:pt x="101478" y="262124"/>
                    <a:pt x="101478" y="262760"/>
                  </a:cubicBezTo>
                  <a:cubicBezTo>
                    <a:pt x="101160" y="263715"/>
                    <a:pt x="101160" y="264033"/>
                    <a:pt x="101160" y="264033"/>
                  </a:cubicBezTo>
                  <a:cubicBezTo>
                    <a:pt x="101160" y="264033"/>
                    <a:pt x="100842" y="263715"/>
                    <a:pt x="100842" y="263397"/>
                  </a:cubicBezTo>
                  <a:cubicBezTo>
                    <a:pt x="98933" y="264351"/>
                    <a:pt x="97342" y="267532"/>
                    <a:pt x="96388" y="269123"/>
                  </a:cubicBezTo>
                  <a:lnTo>
                    <a:pt x="93525" y="272622"/>
                  </a:lnTo>
                  <a:cubicBezTo>
                    <a:pt x="91934" y="274212"/>
                    <a:pt x="88753" y="275485"/>
                    <a:pt x="88753" y="277712"/>
                  </a:cubicBezTo>
                  <a:cubicBezTo>
                    <a:pt x="88753" y="277712"/>
                    <a:pt x="81119" y="283119"/>
                    <a:pt x="81119" y="283756"/>
                  </a:cubicBezTo>
                  <a:lnTo>
                    <a:pt x="80482" y="285028"/>
                  </a:lnTo>
                  <a:cubicBezTo>
                    <a:pt x="80164" y="285664"/>
                    <a:pt x="79846" y="285664"/>
                    <a:pt x="79846" y="285664"/>
                  </a:cubicBezTo>
                  <a:cubicBezTo>
                    <a:pt x="79846" y="285664"/>
                    <a:pt x="79528" y="285664"/>
                    <a:pt x="79528" y="285028"/>
                  </a:cubicBezTo>
                  <a:cubicBezTo>
                    <a:pt x="78574" y="285028"/>
                    <a:pt x="77619" y="285028"/>
                    <a:pt x="76665" y="285346"/>
                  </a:cubicBezTo>
                  <a:cubicBezTo>
                    <a:pt x="76983" y="285664"/>
                    <a:pt x="76983" y="285983"/>
                    <a:pt x="76983" y="286301"/>
                  </a:cubicBezTo>
                  <a:cubicBezTo>
                    <a:pt x="76983" y="287255"/>
                    <a:pt x="76983" y="287255"/>
                    <a:pt x="76665" y="287573"/>
                  </a:cubicBezTo>
                  <a:cubicBezTo>
                    <a:pt x="76347" y="287573"/>
                    <a:pt x="75711" y="287255"/>
                    <a:pt x="75393" y="286937"/>
                  </a:cubicBezTo>
                  <a:lnTo>
                    <a:pt x="73802" y="286937"/>
                  </a:lnTo>
                  <a:lnTo>
                    <a:pt x="73802" y="287573"/>
                  </a:lnTo>
                  <a:cubicBezTo>
                    <a:pt x="73802" y="287255"/>
                    <a:pt x="70939" y="292345"/>
                    <a:pt x="68712" y="292345"/>
                  </a:cubicBezTo>
                  <a:cubicBezTo>
                    <a:pt x="68394" y="292345"/>
                    <a:pt x="68076" y="292345"/>
                    <a:pt x="67758" y="292027"/>
                  </a:cubicBezTo>
                  <a:cubicBezTo>
                    <a:pt x="66803" y="292027"/>
                    <a:pt x="66485" y="293617"/>
                    <a:pt x="65213" y="293617"/>
                  </a:cubicBezTo>
                  <a:cubicBezTo>
                    <a:pt x="64577" y="293617"/>
                    <a:pt x="63622" y="293299"/>
                    <a:pt x="62032" y="292981"/>
                  </a:cubicBezTo>
                  <a:cubicBezTo>
                    <a:pt x="61714" y="294572"/>
                    <a:pt x="60441" y="294572"/>
                    <a:pt x="59169" y="294890"/>
                  </a:cubicBezTo>
                  <a:cubicBezTo>
                    <a:pt x="58533" y="294890"/>
                    <a:pt x="58215" y="294890"/>
                    <a:pt x="57897" y="294572"/>
                  </a:cubicBezTo>
                  <a:cubicBezTo>
                    <a:pt x="57578" y="294572"/>
                    <a:pt x="56942" y="294572"/>
                    <a:pt x="55670" y="296162"/>
                  </a:cubicBezTo>
                  <a:cubicBezTo>
                    <a:pt x="55352" y="296162"/>
                    <a:pt x="54715" y="294890"/>
                    <a:pt x="54397" y="294890"/>
                  </a:cubicBezTo>
                  <a:lnTo>
                    <a:pt x="54715" y="295208"/>
                  </a:lnTo>
                  <a:cubicBezTo>
                    <a:pt x="54715" y="295526"/>
                    <a:pt x="52488" y="294890"/>
                    <a:pt x="52488" y="296798"/>
                  </a:cubicBezTo>
                  <a:lnTo>
                    <a:pt x="51216" y="297753"/>
                  </a:lnTo>
                  <a:cubicBezTo>
                    <a:pt x="50580" y="297753"/>
                    <a:pt x="49625" y="297753"/>
                    <a:pt x="49307" y="298071"/>
                  </a:cubicBezTo>
                  <a:cubicBezTo>
                    <a:pt x="48989" y="298071"/>
                    <a:pt x="49307" y="297116"/>
                    <a:pt x="47399" y="297116"/>
                  </a:cubicBezTo>
                  <a:cubicBezTo>
                    <a:pt x="46763" y="298389"/>
                    <a:pt x="47081" y="299343"/>
                    <a:pt x="45808" y="299343"/>
                  </a:cubicBezTo>
                  <a:cubicBezTo>
                    <a:pt x="44854" y="299343"/>
                    <a:pt x="44218" y="297753"/>
                    <a:pt x="44218" y="297753"/>
                  </a:cubicBezTo>
                  <a:lnTo>
                    <a:pt x="44854" y="298071"/>
                  </a:lnTo>
                  <a:lnTo>
                    <a:pt x="44854" y="297435"/>
                  </a:lnTo>
                  <a:cubicBezTo>
                    <a:pt x="43900" y="297435"/>
                    <a:pt x="42945" y="297753"/>
                    <a:pt x="41673" y="297753"/>
                  </a:cubicBezTo>
                  <a:lnTo>
                    <a:pt x="40718" y="297753"/>
                  </a:lnTo>
                  <a:cubicBezTo>
                    <a:pt x="40400" y="297753"/>
                    <a:pt x="39764" y="297753"/>
                    <a:pt x="39446" y="297435"/>
                  </a:cubicBezTo>
                  <a:cubicBezTo>
                    <a:pt x="39446" y="297435"/>
                    <a:pt x="39446" y="297753"/>
                    <a:pt x="39128" y="297753"/>
                  </a:cubicBezTo>
                  <a:cubicBezTo>
                    <a:pt x="39446" y="297435"/>
                    <a:pt x="38810" y="297435"/>
                    <a:pt x="38173" y="297435"/>
                  </a:cubicBezTo>
                  <a:cubicBezTo>
                    <a:pt x="37537" y="297435"/>
                    <a:pt x="37219" y="297435"/>
                    <a:pt x="37219" y="296798"/>
                  </a:cubicBezTo>
                  <a:lnTo>
                    <a:pt x="36265" y="296798"/>
                  </a:lnTo>
                  <a:cubicBezTo>
                    <a:pt x="35310" y="296798"/>
                    <a:pt x="34992" y="297435"/>
                    <a:pt x="34356" y="297435"/>
                  </a:cubicBezTo>
                  <a:lnTo>
                    <a:pt x="34038" y="297435"/>
                  </a:lnTo>
                  <a:lnTo>
                    <a:pt x="32448" y="297753"/>
                  </a:lnTo>
                  <a:cubicBezTo>
                    <a:pt x="32448" y="297753"/>
                    <a:pt x="31811" y="296798"/>
                    <a:pt x="31175" y="296798"/>
                  </a:cubicBezTo>
                  <a:cubicBezTo>
                    <a:pt x="30857" y="297116"/>
                    <a:pt x="30857" y="297116"/>
                    <a:pt x="30539" y="297116"/>
                  </a:cubicBezTo>
                  <a:cubicBezTo>
                    <a:pt x="29585" y="297116"/>
                    <a:pt x="29585" y="296162"/>
                    <a:pt x="28948" y="296162"/>
                  </a:cubicBezTo>
                  <a:lnTo>
                    <a:pt x="28948" y="297116"/>
                  </a:lnTo>
                  <a:lnTo>
                    <a:pt x="29267" y="297435"/>
                  </a:lnTo>
                  <a:lnTo>
                    <a:pt x="28948" y="297435"/>
                  </a:lnTo>
                  <a:cubicBezTo>
                    <a:pt x="28948" y="297435"/>
                    <a:pt x="28948" y="297116"/>
                    <a:pt x="16860" y="292027"/>
                  </a:cubicBezTo>
                  <a:lnTo>
                    <a:pt x="15906" y="290754"/>
                  </a:lnTo>
                  <a:cubicBezTo>
                    <a:pt x="14633" y="290754"/>
                    <a:pt x="10498" y="286937"/>
                    <a:pt x="8589" y="282801"/>
                  </a:cubicBezTo>
                  <a:lnTo>
                    <a:pt x="7953" y="282165"/>
                  </a:lnTo>
                  <a:cubicBezTo>
                    <a:pt x="7317" y="281211"/>
                    <a:pt x="6680" y="281529"/>
                    <a:pt x="6362" y="281211"/>
                  </a:cubicBezTo>
                  <a:lnTo>
                    <a:pt x="6680" y="280893"/>
                  </a:lnTo>
                  <a:cubicBezTo>
                    <a:pt x="6680" y="281211"/>
                    <a:pt x="4136" y="274530"/>
                    <a:pt x="3499" y="274212"/>
                  </a:cubicBezTo>
                  <a:lnTo>
                    <a:pt x="3499" y="273576"/>
                  </a:lnTo>
                  <a:cubicBezTo>
                    <a:pt x="3499" y="273258"/>
                    <a:pt x="3818" y="272622"/>
                    <a:pt x="3818" y="272304"/>
                  </a:cubicBezTo>
                  <a:cubicBezTo>
                    <a:pt x="3818" y="271986"/>
                    <a:pt x="3499" y="271668"/>
                    <a:pt x="3499" y="271349"/>
                  </a:cubicBezTo>
                  <a:cubicBezTo>
                    <a:pt x="4136" y="271349"/>
                    <a:pt x="4454" y="270713"/>
                    <a:pt x="4454" y="270395"/>
                  </a:cubicBezTo>
                  <a:lnTo>
                    <a:pt x="4454" y="269759"/>
                  </a:lnTo>
                  <a:cubicBezTo>
                    <a:pt x="4136" y="268804"/>
                    <a:pt x="3499" y="268168"/>
                    <a:pt x="3499" y="267850"/>
                  </a:cubicBezTo>
                  <a:cubicBezTo>
                    <a:pt x="3499" y="267214"/>
                    <a:pt x="3181" y="267214"/>
                    <a:pt x="3181" y="267214"/>
                  </a:cubicBezTo>
                  <a:lnTo>
                    <a:pt x="3181" y="268486"/>
                  </a:lnTo>
                  <a:cubicBezTo>
                    <a:pt x="2545" y="268168"/>
                    <a:pt x="1591" y="268168"/>
                    <a:pt x="1591" y="267214"/>
                  </a:cubicBezTo>
                  <a:cubicBezTo>
                    <a:pt x="1591" y="266896"/>
                    <a:pt x="1909" y="266260"/>
                    <a:pt x="1909" y="265941"/>
                  </a:cubicBezTo>
                  <a:cubicBezTo>
                    <a:pt x="1273" y="265623"/>
                    <a:pt x="954" y="264669"/>
                    <a:pt x="954" y="264033"/>
                  </a:cubicBezTo>
                  <a:lnTo>
                    <a:pt x="954" y="263078"/>
                  </a:lnTo>
                  <a:cubicBezTo>
                    <a:pt x="0" y="262124"/>
                    <a:pt x="0" y="261488"/>
                    <a:pt x="0" y="261170"/>
                  </a:cubicBezTo>
                  <a:lnTo>
                    <a:pt x="318" y="261170"/>
                  </a:lnTo>
                  <a:cubicBezTo>
                    <a:pt x="318" y="261170"/>
                    <a:pt x="0" y="260852"/>
                    <a:pt x="0" y="260534"/>
                  </a:cubicBezTo>
                  <a:cubicBezTo>
                    <a:pt x="954" y="260215"/>
                    <a:pt x="954" y="258943"/>
                    <a:pt x="1273" y="258307"/>
                  </a:cubicBezTo>
                  <a:cubicBezTo>
                    <a:pt x="636" y="257352"/>
                    <a:pt x="318" y="255762"/>
                    <a:pt x="318" y="254808"/>
                  </a:cubicBezTo>
                  <a:lnTo>
                    <a:pt x="318" y="252581"/>
                  </a:lnTo>
                  <a:cubicBezTo>
                    <a:pt x="636" y="252263"/>
                    <a:pt x="954" y="251945"/>
                    <a:pt x="954" y="251308"/>
                  </a:cubicBezTo>
                  <a:cubicBezTo>
                    <a:pt x="954" y="250672"/>
                    <a:pt x="636" y="250036"/>
                    <a:pt x="636" y="249718"/>
                  </a:cubicBezTo>
                  <a:lnTo>
                    <a:pt x="1273" y="245582"/>
                  </a:lnTo>
                  <a:lnTo>
                    <a:pt x="2227" y="245264"/>
                  </a:lnTo>
                  <a:lnTo>
                    <a:pt x="2227" y="245900"/>
                  </a:lnTo>
                  <a:cubicBezTo>
                    <a:pt x="2227" y="247491"/>
                    <a:pt x="2545" y="247491"/>
                    <a:pt x="3818" y="247809"/>
                  </a:cubicBezTo>
                  <a:lnTo>
                    <a:pt x="4772" y="247809"/>
                  </a:lnTo>
                  <a:lnTo>
                    <a:pt x="3818" y="245582"/>
                  </a:lnTo>
                  <a:lnTo>
                    <a:pt x="3181" y="245582"/>
                  </a:lnTo>
                  <a:cubicBezTo>
                    <a:pt x="3499" y="245264"/>
                    <a:pt x="4454" y="244946"/>
                    <a:pt x="4772" y="244946"/>
                  </a:cubicBezTo>
                  <a:cubicBezTo>
                    <a:pt x="6044" y="244946"/>
                    <a:pt x="5090" y="246537"/>
                    <a:pt x="6044" y="246537"/>
                  </a:cubicBezTo>
                  <a:lnTo>
                    <a:pt x="6362" y="246537"/>
                  </a:lnTo>
                  <a:cubicBezTo>
                    <a:pt x="5726" y="247491"/>
                    <a:pt x="5726" y="248445"/>
                    <a:pt x="5726" y="248763"/>
                  </a:cubicBezTo>
                  <a:cubicBezTo>
                    <a:pt x="5726" y="249718"/>
                    <a:pt x="6044" y="250354"/>
                    <a:pt x="6680" y="250672"/>
                  </a:cubicBezTo>
                  <a:lnTo>
                    <a:pt x="7317" y="256398"/>
                  </a:lnTo>
                  <a:cubicBezTo>
                    <a:pt x="7317" y="257352"/>
                    <a:pt x="7317" y="257671"/>
                    <a:pt x="8907" y="260215"/>
                  </a:cubicBezTo>
                  <a:cubicBezTo>
                    <a:pt x="10816" y="256716"/>
                    <a:pt x="11134" y="258307"/>
                    <a:pt x="11134" y="257034"/>
                  </a:cubicBezTo>
                  <a:cubicBezTo>
                    <a:pt x="10498" y="256398"/>
                    <a:pt x="10498" y="256398"/>
                    <a:pt x="10498" y="255762"/>
                  </a:cubicBezTo>
                  <a:cubicBezTo>
                    <a:pt x="10498" y="254171"/>
                    <a:pt x="9225" y="255126"/>
                    <a:pt x="9225" y="254489"/>
                  </a:cubicBezTo>
                  <a:cubicBezTo>
                    <a:pt x="9861" y="252581"/>
                    <a:pt x="10498" y="252263"/>
                    <a:pt x="10498" y="250672"/>
                  </a:cubicBezTo>
                  <a:cubicBezTo>
                    <a:pt x="10498" y="248763"/>
                    <a:pt x="9861" y="248445"/>
                    <a:pt x="9861" y="247809"/>
                  </a:cubicBezTo>
                  <a:cubicBezTo>
                    <a:pt x="9861" y="247491"/>
                    <a:pt x="12088" y="245582"/>
                    <a:pt x="12088" y="242401"/>
                  </a:cubicBezTo>
                  <a:cubicBezTo>
                    <a:pt x="12088" y="241765"/>
                    <a:pt x="12088" y="241447"/>
                    <a:pt x="11452" y="241129"/>
                  </a:cubicBezTo>
                  <a:cubicBezTo>
                    <a:pt x="11452" y="239856"/>
                    <a:pt x="11452" y="238584"/>
                    <a:pt x="11770" y="237630"/>
                  </a:cubicBezTo>
                  <a:cubicBezTo>
                    <a:pt x="11452" y="236993"/>
                    <a:pt x="11452" y="236675"/>
                    <a:pt x="11452" y="235403"/>
                  </a:cubicBezTo>
                  <a:cubicBezTo>
                    <a:pt x="11452" y="235403"/>
                    <a:pt x="11770" y="235721"/>
                    <a:pt x="12406" y="235721"/>
                  </a:cubicBezTo>
                  <a:cubicBezTo>
                    <a:pt x="13043" y="235721"/>
                    <a:pt x="13043" y="235085"/>
                    <a:pt x="13043" y="234448"/>
                  </a:cubicBezTo>
                  <a:lnTo>
                    <a:pt x="13043" y="233812"/>
                  </a:lnTo>
                  <a:lnTo>
                    <a:pt x="11770" y="233494"/>
                  </a:lnTo>
                  <a:cubicBezTo>
                    <a:pt x="11452" y="233176"/>
                    <a:pt x="11452" y="232858"/>
                    <a:pt x="11452" y="232858"/>
                  </a:cubicBezTo>
                  <a:cubicBezTo>
                    <a:pt x="12406" y="232222"/>
                    <a:pt x="11770" y="231585"/>
                    <a:pt x="12406" y="230313"/>
                  </a:cubicBezTo>
                  <a:lnTo>
                    <a:pt x="12406" y="229677"/>
                  </a:lnTo>
                  <a:cubicBezTo>
                    <a:pt x="13043" y="229359"/>
                    <a:pt x="13043" y="228722"/>
                    <a:pt x="13043" y="228086"/>
                  </a:cubicBezTo>
                  <a:cubicBezTo>
                    <a:pt x="13043" y="227450"/>
                    <a:pt x="13043" y="226814"/>
                    <a:pt x="12724" y="226177"/>
                  </a:cubicBezTo>
                  <a:cubicBezTo>
                    <a:pt x="12724" y="226177"/>
                    <a:pt x="13043" y="225859"/>
                    <a:pt x="13361" y="225859"/>
                  </a:cubicBezTo>
                  <a:lnTo>
                    <a:pt x="13679" y="225859"/>
                  </a:lnTo>
                  <a:cubicBezTo>
                    <a:pt x="14315" y="225859"/>
                    <a:pt x="14315" y="225541"/>
                    <a:pt x="14315" y="224905"/>
                  </a:cubicBezTo>
                  <a:cubicBezTo>
                    <a:pt x="13997" y="224905"/>
                    <a:pt x="13997" y="224587"/>
                    <a:pt x="13997" y="224587"/>
                  </a:cubicBezTo>
                  <a:cubicBezTo>
                    <a:pt x="13997" y="224269"/>
                    <a:pt x="14633" y="223633"/>
                    <a:pt x="14633" y="222996"/>
                  </a:cubicBezTo>
                  <a:cubicBezTo>
                    <a:pt x="14633" y="222042"/>
                    <a:pt x="14633" y="222042"/>
                    <a:pt x="13679" y="222042"/>
                  </a:cubicBezTo>
                  <a:cubicBezTo>
                    <a:pt x="13997" y="221724"/>
                    <a:pt x="17178" y="219497"/>
                    <a:pt x="17814" y="218225"/>
                  </a:cubicBezTo>
                  <a:lnTo>
                    <a:pt x="17496" y="218225"/>
                  </a:lnTo>
                  <a:cubicBezTo>
                    <a:pt x="16860" y="218225"/>
                    <a:pt x="15906" y="216634"/>
                    <a:pt x="15906" y="216316"/>
                  </a:cubicBezTo>
                  <a:lnTo>
                    <a:pt x="16224" y="216316"/>
                  </a:lnTo>
                  <a:cubicBezTo>
                    <a:pt x="16542" y="216634"/>
                    <a:pt x="16542" y="216634"/>
                    <a:pt x="16860" y="216634"/>
                  </a:cubicBezTo>
                  <a:cubicBezTo>
                    <a:pt x="17496" y="216634"/>
                    <a:pt x="17814" y="215998"/>
                    <a:pt x="17814" y="215680"/>
                  </a:cubicBezTo>
                  <a:cubicBezTo>
                    <a:pt x="17814" y="215362"/>
                    <a:pt x="17496" y="215362"/>
                    <a:pt x="17496" y="215044"/>
                  </a:cubicBezTo>
                  <a:lnTo>
                    <a:pt x="17496" y="214725"/>
                  </a:lnTo>
                  <a:cubicBezTo>
                    <a:pt x="17178" y="214725"/>
                    <a:pt x="16860" y="215044"/>
                    <a:pt x="16542" y="215044"/>
                  </a:cubicBezTo>
                  <a:cubicBezTo>
                    <a:pt x="16542" y="215044"/>
                    <a:pt x="15906" y="214089"/>
                    <a:pt x="15588" y="214089"/>
                  </a:cubicBezTo>
                  <a:cubicBezTo>
                    <a:pt x="15270" y="214089"/>
                    <a:pt x="15270" y="214407"/>
                    <a:pt x="14951" y="214725"/>
                  </a:cubicBezTo>
                  <a:lnTo>
                    <a:pt x="14633" y="214089"/>
                  </a:lnTo>
                  <a:cubicBezTo>
                    <a:pt x="14633" y="213771"/>
                    <a:pt x="14633" y="212499"/>
                    <a:pt x="15270" y="212499"/>
                  </a:cubicBezTo>
                  <a:cubicBezTo>
                    <a:pt x="16860" y="212499"/>
                    <a:pt x="16860" y="213771"/>
                    <a:pt x="17178" y="213771"/>
                  </a:cubicBezTo>
                  <a:cubicBezTo>
                    <a:pt x="17178" y="213453"/>
                    <a:pt x="18133" y="212817"/>
                    <a:pt x="18451" y="212817"/>
                  </a:cubicBezTo>
                  <a:lnTo>
                    <a:pt x="18133" y="212499"/>
                  </a:lnTo>
                  <a:cubicBezTo>
                    <a:pt x="18133" y="209954"/>
                    <a:pt x="19087" y="208999"/>
                    <a:pt x="19087" y="208045"/>
                  </a:cubicBezTo>
                  <a:lnTo>
                    <a:pt x="19087" y="207727"/>
                  </a:lnTo>
                  <a:cubicBezTo>
                    <a:pt x="20041" y="207409"/>
                    <a:pt x="20041" y="207091"/>
                    <a:pt x="20359" y="207091"/>
                  </a:cubicBezTo>
                  <a:lnTo>
                    <a:pt x="20359" y="206773"/>
                  </a:lnTo>
                  <a:cubicBezTo>
                    <a:pt x="20041" y="206773"/>
                    <a:pt x="19087" y="207091"/>
                    <a:pt x="18769" y="207091"/>
                  </a:cubicBezTo>
                  <a:lnTo>
                    <a:pt x="18451" y="206773"/>
                  </a:lnTo>
                  <a:cubicBezTo>
                    <a:pt x="18451" y="206773"/>
                    <a:pt x="17496" y="208999"/>
                    <a:pt x="17496" y="209954"/>
                  </a:cubicBezTo>
                  <a:lnTo>
                    <a:pt x="16224" y="209954"/>
                  </a:lnTo>
                  <a:lnTo>
                    <a:pt x="15906" y="208681"/>
                  </a:lnTo>
                  <a:cubicBezTo>
                    <a:pt x="16224" y="208681"/>
                    <a:pt x="17496" y="206455"/>
                    <a:pt x="17496" y="205818"/>
                  </a:cubicBezTo>
                  <a:lnTo>
                    <a:pt x="17496" y="204864"/>
                  </a:lnTo>
                  <a:cubicBezTo>
                    <a:pt x="17814" y="204546"/>
                    <a:pt x="17814" y="204546"/>
                    <a:pt x="18133" y="204546"/>
                  </a:cubicBezTo>
                  <a:lnTo>
                    <a:pt x="18769" y="204864"/>
                  </a:lnTo>
                  <a:lnTo>
                    <a:pt x="18769" y="203910"/>
                  </a:lnTo>
                  <a:cubicBezTo>
                    <a:pt x="18769" y="202955"/>
                    <a:pt x="21632" y="202955"/>
                    <a:pt x="21632" y="199456"/>
                  </a:cubicBezTo>
                  <a:lnTo>
                    <a:pt x="20995" y="197229"/>
                  </a:lnTo>
                  <a:cubicBezTo>
                    <a:pt x="19723" y="197229"/>
                    <a:pt x="20995" y="200092"/>
                    <a:pt x="19087" y="200092"/>
                  </a:cubicBezTo>
                  <a:lnTo>
                    <a:pt x="18769" y="199774"/>
                  </a:lnTo>
                  <a:cubicBezTo>
                    <a:pt x="17496" y="199774"/>
                    <a:pt x="18133" y="202319"/>
                    <a:pt x="16860" y="202319"/>
                  </a:cubicBezTo>
                  <a:lnTo>
                    <a:pt x="16224" y="202955"/>
                  </a:lnTo>
                  <a:cubicBezTo>
                    <a:pt x="16224" y="203592"/>
                    <a:pt x="16860" y="203910"/>
                    <a:pt x="16860" y="203910"/>
                  </a:cubicBezTo>
                  <a:cubicBezTo>
                    <a:pt x="16860" y="204228"/>
                    <a:pt x="16542" y="204228"/>
                    <a:pt x="16542" y="204228"/>
                  </a:cubicBezTo>
                  <a:cubicBezTo>
                    <a:pt x="16224" y="204228"/>
                    <a:pt x="16224" y="204228"/>
                    <a:pt x="16224" y="204546"/>
                  </a:cubicBezTo>
                  <a:cubicBezTo>
                    <a:pt x="15270" y="203592"/>
                    <a:pt x="14951" y="202955"/>
                    <a:pt x="14951" y="202955"/>
                  </a:cubicBezTo>
                  <a:cubicBezTo>
                    <a:pt x="14315" y="203592"/>
                    <a:pt x="14315" y="203910"/>
                    <a:pt x="14315" y="203910"/>
                  </a:cubicBezTo>
                  <a:cubicBezTo>
                    <a:pt x="14315" y="203910"/>
                    <a:pt x="13361" y="202955"/>
                    <a:pt x="13361" y="202319"/>
                  </a:cubicBezTo>
                  <a:cubicBezTo>
                    <a:pt x="13361" y="201047"/>
                    <a:pt x="14315" y="201047"/>
                    <a:pt x="14633" y="201047"/>
                  </a:cubicBezTo>
                  <a:cubicBezTo>
                    <a:pt x="14633" y="201365"/>
                    <a:pt x="14951" y="201365"/>
                    <a:pt x="14951" y="201365"/>
                  </a:cubicBezTo>
                  <a:cubicBezTo>
                    <a:pt x="15270" y="201365"/>
                    <a:pt x="15588" y="201047"/>
                    <a:pt x="15906" y="201047"/>
                  </a:cubicBezTo>
                  <a:cubicBezTo>
                    <a:pt x="15588" y="200729"/>
                    <a:pt x="15588" y="200729"/>
                    <a:pt x="15588" y="200410"/>
                  </a:cubicBezTo>
                  <a:cubicBezTo>
                    <a:pt x="15588" y="199774"/>
                    <a:pt x="16224" y="196911"/>
                    <a:pt x="20041" y="194366"/>
                  </a:cubicBezTo>
                  <a:lnTo>
                    <a:pt x="20995" y="193094"/>
                  </a:lnTo>
                  <a:cubicBezTo>
                    <a:pt x="20995" y="192140"/>
                    <a:pt x="21632" y="192140"/>
                    <a:pt x="22268" y="191821"/>
                  </a:cubicBezTo>
                  <a:cubicBezTo>
                    <a:pt x="22268" y="190549"/>
                    <a:pt x="22904" y="187686"/>
                    <a:pt x="25449" y="187686"/>
                  </a:cubicBezTo>
                  <a:lnTo>
                    <a:pt x="26085" y="188004"/>
                  </a:lnTo>
                  <a:cubicBezTo>
                    <a:pt x="26085" y="188322"/>
                    <a:pt x="24813" y="190231"/>
                    <a:pt x="23540" y="191503"/>
                  </a:cubicBezTo>
                  <a:cubicBezTo>
                    <a:pt x="23540" y="191503"/>
                    <a:pt x="23540" y="191821"/>
                    <a:pt x="23858" y="192140"/>
                  </a:cubicBezTo>
                  <a:lnTo>
                    <a:pt x="23858" y="192776"/>
                  </a:lnTo>
                  <a:cubicBezTo>
                    <a:pt x="23540" y="193412"/>
                    <a:pt x="23540" y="194366"/>
                    <a:pt x="23222" y="194684"/>
                  </a:cubicBezTo>
                  <a:lnTo>
                    <a:pt x="22586" y="195639"/>
                  </a:lnTo>
                  <a:cubicBezTo>
                    <a:pt x="22268" y="195957"/>
                    <a:pt x="21950" y="195957"/>
                    <a:pt x="21950" y="196275"/>
                  </a:cubicBezTo>
                  <a:cubicBezTo>
                    <a:pt x="21950" y="196593"/>
                    <a:pt x="22268" y="196593"/>
                    <a:pt x="22586" y="196911"/>
                  </a:cubicBezTo>
                  <a:lnTo>
                    <a:pt x="23222" y="196911"/>
                  </a:lnTo>
                  <a:lnTo>
                    <a:pt x="25131" y="194366"/>
                  </a:lnTo>
                  <a:cubicBezTo>
                    <a:pt x="25449" y="194366"/>
                    <a:pt x="25449" y="193730"/>
                    <a:pt x="25449" y="193094"/>
                  </a:cubicBezTo>
                  <a:cubicBezTo>
                    <a:pt x="25449" y="192458"/>
                    <a:pt x="25767" y="191503"/>
                    <a:pt x="27358" y="191503"/>
                  </a:cubicBezTo>
                  <a:lnTo>
                    <a:pt x="28630" y="190231"/>
                  </a:lnTo>
                  <a:cubicBezTo>
                    <a:pt x="28630" y="188958"/>
                    <a:pt x="29267" y="188958"/>
                    <a:pt x="29903" y="188640"/>
                  </a:cubicBezTo>
                  <a:lnTo>
                    <a:pt x="30539" y="188640"/>
                  </a:lnTo>
                  <a:lnTo>
                    <a:pt x="30221" y="188958"/>
                  </a:lnTo>
                  <a:cubicBezTo>
                    <a:pt x="30221" y="188958"/>
                    <a:pt x="30221" y="189277"/>
                    <a:pt x="30539" y="189277"/>
                  </a:cubicBezTo>
                  <a:lnTo>
                    <a:pt x="30857" y="188958"/>
                  </a:lnTo>
                  <a:lnTo>
                    <a:pt x="31175" y="188958"/>
                  </a:lnTo>
                  <a:lnTo>
                    <a:pt x="31493" y="188640"/>
                  </a:lnTo>
                  <a:cubicBezTo>
                    <a:pt x="31175" y="188322"/>
                    <a:pt x="30857" y="187686"/>
                    <a:pt x="30857" y="187050"/>
                  </a:cubicBezTo>
                  <a:lnTo>
                    <a:pt x="32448" y="185777"/>
                  </a:lnTo>
                  <a:cubicBezTo>
                    <a:pt x="32766" y="185777"/>
                    <a:pt x="32766" y="185141"/>
                    <a:pt x="32766" y="184505"/>
                  </a:cubicBezTo>
                  <a:lnTo>
                    <a:pt x="32766" y="183869"/>
                  </a:lnTo>
                  <a:cubicBezTo>
                    <a:pt x="34992" y="183232"/>
                    <a:pt x="31811" y="183869"/>
                    <a:pt x="36901" y="178779"/>
                  </a:cubicBezTo>
                  <a:cubicBezTo>
                    <a:pt x="37219" y="178143"/>
                    <a:pt x="41355" y="170508"/>
                    <a:pt x="45808" y="168281"/>
                  </a:cubicBezTo>
                  <a:lnTo>
                    <a:pt x="45808" y="166372"/>
                  </a:lnTo>
                  <a:cubicBezTo>
                    <a:pt x="44854" y="166372"/>
                    <a:pt x="44854" y="167009"/>
                    <a:pt x="44536" y="167327"/>
                  </a:cubicBezTo>
                  <a:lnTo>
                    <a:pt x="44536" y="167009"/>
                  </a:lnTo>
                  <a:cubicBezTo>
                    <a:pt x="44218" y="167009"/>
                    <a:pt x="43263" y="167009"/>
                    <a:pt x="43263" y="167327"/>
                  </a:cubicBezTo>
                  <a:lnTo>
                    <a:pt x="42945" y="167645"/>
                  </a:lnTo>
                  <a:cubicBezTo>
                    <a:pt x="42945" y="168599"/>
                    <a:pt x="42627" y="167645"/>
                    <a:pt x="41673" y="168917"/>
                  </a:cubicBezTo>
                  <a:lnTo>
                    <a:pt x="41355" y="168599"/>
                  </a:lnTo>
                  <a:cubicBezTo>
                    <a:pt x="40718" y="168599"/>
                    <a:pt x="41036" y="169235"/>
                    <a:pt x="40718" y="169235"/>
                  </a:cubicBezTo>
                  <a:cubicBezTo>
                    <a:pt x="40718" y="169235"/>
                    <a:pt x="40400" y="169235"/>
                    <a:pt x="40400" y="168917"/>
                  </a:cubicBezTo>
                  <a:cubicBezTo>
                    <a:pt x="40400" y="169235"/>
                    <a:pt x="41036" y="166054"/>
                    <a:pt x="45490" y="163828"/>
                  </a:cubicBezTo>
                  <a:cubicBezTo>
                    <a:pt x="45808" y="163509"/>
                    <a:pt x="46126" y="162873"/>
                    <a:pt x="46126" y="162873"/>
                  </a:cubicBezTo>
                  <a:lnTo>
                    <a:pt x="45490" y="162873"/>
                  </a:lnTo>
                  <a:cubicBezTo>
                    <a:pt x="45172" y="162873"/>
                    <a:pt x="44854" y="162873"/>
                    <a:pt x="44854" y="162555"/>
                  </a:cubicBezTo>
                  <a:cubicBezTo>
                    <a:pt x="44854" y="161919"/>
                    <a:pt x="47399" y="159692"/>
                    <a:pt x="59169" y="151103"/>
                  </a:cubicBezTo>
                  <a:lnTo>
                    <a:pt x="61396" y="149194"/>
                  </a:lnTo>
                  <a:cubicBezTo>
                    <a:pt x="61396" y="150149"/>
                    <a:pt x="62668" y="146013"/>
                    <a:pt x="65213" y="146013"/>
                  </a:cubicBezTo>
                  <a:cubicBezTo>
                    <a:pt x="65213" y="146331"/>
                    <a:pt x="65531" y="146650"/>
                    <a:pt x="65531" y="146650"/>
                  </a:cubicBezTo>
                  <a:cubicBezTo>
                    <a:pt x="65849" y="146650"/>
                    <a:pt x="66167" y="144423"/>
                    <a:pt x="66803" y="144423"/>
                  </a:cubicBezTo>
                  <a:lnTo>
                    <a:pt x="67122" y="144741"/>
                  </a:lnTo>
                  <a:lnTo>
                    <a:pt x="67440" y="144105"/>
                  </a:lnTo>
                  <a:lnTo>
                    <a:pt x="67440" y="143787"/>
                  </a:lnTo>
                  <a:cubicBezTo>
                    <a:pt x="67440" y="143787"/>
                    <a:pt x="67758" y="143787"/>
                    <a:pt x="68076" y="144105"/>
                  </a:cubicBezTo>
                  <a:cubicBezTo>
                    <a:pt x="68712" y="143787"/>
                    <a:pt x="69667" y="142196"/>
                    <a:pt x="70621" y="141242"/>
                  </a:cubicBezTo>
                  <a:cubicBezTo>
                    <a:pt x="69985" y="140924"/>
                    <a:pt x="69667" y="140924"/>
                    <a:pt x="69349" y="140924"/>
                  </a:cubicBezTo>
                  <a:cubicBezTo>
                    <a:pt x="68712" y="140924"/>
                    <a:pt x="68076" y="142196"/>
                    <a:pt x="66485" y="142196"/>
                  </a:cubicBezTo>
                  <a:lnTo>
                    <a:pt x="65531" y="141878"/>
                  </a:lnTo>
                  <a:cubicBezTo>
                    <a:pt x="67440" y="141560"/>
                    <a:pt x="69030" y="138697"/>
                    <a:pt x="70303" y="138697"/>
                  </a:cubicBezTo>
                  <a:cubicBezTo>
                    <a:pt x="70303" y="138379"/>
                    <a:pt x="69985" y="138379"/>
                    <a:pt x="69985" y="138061"/>
                  </a:cubicBezTo>
                  <a:lnTo>
                    <a:pt x="70621" y="137742"/>
                  </a:lnTo>
                  <a:cubicBezTo>
                    <a:pt x="70939" y="137742"/>
                    <a:pt x="70939" y="138061"/>
                    <a:pt x="70939" y="138379"/>
                  </a:cubicBezTo>
                  <a:lnTo>
                    <a:pt x="71575" y="138697"/>
                  </a:lnTo>
                  <a:lnTo>
                    <a:pt x="70303" y="138697"/>
                  </a:lnTo>
                  <a:cubicBezTo>
                    <a:pt x="70303" y="139333"/>
                    <a:pt x="70621" y="140605"/>
                    <a:pt x="70621" y="141242"/>
                  </a:cubicBezTo>
                  <a:cubicBezTo>
                    <a:pt x="71575" y="141242"/>
                    <a:pt x="72212" y="140605"/>
                    <a:pt x="73166" y="139651"/>
                  </a:cubicBezTo>
                  <a:lnTo>
                    <a:pt x="73484" y="139969"/>
                  </a:lnTo>
                  <a:cubicBezTo>
                    <a:pt x="73802" y="139333"/>
                    <a:pt x="75393" y="137742"/>
                    <a:pt x="75711" y="137424"/>
                  </a:cubicBezTo>
                  <a:lnTo>
                    <a:pt x="75711" y="137106"/>
                  </a:lnTo>
                  <a:lnTo>
                    <a:pt x="76029" y="137106"/>
                  </a:lnTo>
                  <a:cubicBezTo>
                    <a:pt x="76347" y="137106"/>
                    <a:pt x="76665" y="137106"/>
                    <a:pt x="76983" y="136788"/>
                  </a:cubicBezTo>
                  <a:lnTo>
                    <a:pt x="77301" y="136788"/>
                  </a:lnTo>
                  <a:cubicBezTo>
                    <a:pt x="77619" y="135516"/>
                    <a:pt x="78574" y="135834"/>
                    <a:pt x="79210" y="135516"/>
                  </a:cubicBezTo>
                  <a:lnTo>
                    <a:pt x="79846" y="135198"/>
                  </a:lnTo>
                  <a:cubicBezTo>
                    <a:pt x="80800" y="133925"/>
                    <a:pt x="82073" y="133607"/>
                    <a:pt x="83664" y="132971"/>
                  </a:cubicBezTo>
                  <a:cubicBezTo>
                    <a:pt x="83664" y="132971"/>
                    <a:pt x="89071" y="127881"/>
                    <a:pt x="91934" y="127881"/>
                  </a:cubicBezTo>
                  <a:lnTo>
                    <a:pt x="92252" y="127881"/>
                  </a:lnTo>
                  <a:cubicBezTo>
                    <a:pt x="92252" y="127245"/>
                    <a:pt x="93207" y="126927"/>
                    <a:pt x="93525" y="126290"/>
                  </a:cubicBezTo>
                  <a:cubicBezTo>
                    <a:pt x="93843" y="126927"/>
                    <a:pt x="94797" y="128835"/>
                    <a:pt x="95434" y="128835"/>
                  </a:cubicBezTo>
                  <a:cubicBezTo>
                    <a:pt x="95434" y="128517"/>
                    <a:pt x="95752" y="128517"/>
                    <a:pt x="95752" y="128517"/>
                  </a:cubicBezTo>
                  <a:cubicBezTo>
                    <a:pt x="96706" y="127881"/>
                    <a:pt x="96706" y="127563"/>
                    <a:pt x="96706" y="127563"/>
                  </a:cubicBezTo>
                  <a:lnTo>
                    <a:pt x="95434" y="127563"/>
                  </a:lnTo>
                  <a:lnTo>
                    <a:pt x="94797" y="126927"/>
                  </a:lnTo>
                  <a:cubicBezTo>
                    <a:pt x="94797" y="126927"/>
                    <a:pt x="97661" y="123427"/>
                    <a:pt x="99251" y="123427"/>
                  </a:cubicBezTo>
                  <a:cubicBezTo>
                    <a:pt x="99569" y="123427"/>
                    <a:pt x="100205" y="124064"/>
                    <a:pt x="100842" y="125336"/>
                  </a:cubicBezTo>
                  <a:cubicBezTo>
                    <a:pt x="99887" y="125336"/>
                    <a:pt x="99569" y="125654"/>
                    <a:pt x="99251" y="126290"/>
                  </a:cubicBezTo>
                  <a:lnTo>
                    <a:pt x="99251" y="126608"/>
                  </a:lnTo>
                  <a:lnTo>
                    <a:pt x="100842" y="125336"/>
                  </a:lnTo>
                  <a:lnTo>
                    <a:pt x="101160" y="125336"/>
                  </a:lnTo>
                  <a:cubicBezTo>
                    <a:pt x="101796" y="125336"/>
                    <a:pt x="103068" y="125336"/>
                    <a:pt x="103068" y="124382"/>
                  </a:cubicBezTo>
                  <a:lnTo>
                    <a:pt x="102750" y="123746"/>
                  </a:lnTo>
                  <a:lnTo>
                    <a:pt x="101478" y="123746"/>
                  </a:lnTo>
                  <a:cubicBezTo>
                    <a:pt x="101160" y="123427"/>
                    <a:pt x="101160" y="123427"/>
                    <a:pt x="101160" y="123109"/>
                  </a:cubicBezTo>
                  <a:cubicBezTo>
                    <a:pt x="101478" y="122791"/>
                    <a:pt x="102750" y="122791"/>
                    <a:pt x="103068" y="122155"/>
                  </a:cubicBezTo>
                  <a:cubicBezTo>
                    <a:pt x="103386" y="122155"/>
                    <a:pt x="103704" y="122473"/>
                    <a:pt x="103704" y="122473"/>
                  </a:cubicBezTo>
                  <a:cubicBezTo>
                    <a:pt x="104023" y="122473"/>
                    <a:pt x="104023" y="122155"/>
                    <a:pt x="104023" y="121837"/>
                  </a:cubicBezTo>
                  <a:lnTo>
                    <a:pt x="104023" y="121201"/>
                  </a:lnTo>
                  <a:cubicBezTo>
                    <a:pt x="103704" y="121201"/>
                    <a:pt x="106885" y="116111"/>
                    <a:pt x="113566" y="116111"/>
                  </a:cubicBezTo>
                  <a:lnTo>
                    <a:pt x="113566" y="115475"/>
                  </a:lnTo>
                  <a:cubicBezTo>
                    <a:pt x="114202" y="115475"/>
                    <a:pt x="114520" y="115156"/>
                    <a:pt x="114838" y="114520"/>
                  </a:cubicBezTo>
                  <a:cubicBezTo>
                    <a:pt x="115157" y="114520"/>
                    <a:pt x="115793" y="115156"/>
                    <a:pt x="116111" y="115156"/>
                  </a:cubicBezTo>
                  <a:cubicBezTo>
                    <a:pt x="115793" y="115156"/>
                    <a:pt x="116111" y="114838"/>
                    <a:pt x="116111" y="114838"/>
                  </a:cubicBezTo>
                  <a:lnTo>
                    <a:pt x="116111" y="114202"/>
                  </a:lnTo>
                  <a:cubicBezTo>
                    <a:pt x="117065" y="114202"/>
                    <a:pt x="117701" y="113248"/>
                    <a:pt x="118019" y="113248"/>
                  </a:cubicBezTo>
                  <a:cubicBezTo>
                    <a:pt x="119292" y="113248"/>
                    <a:pt x="119292" y="114202"/>
                    <a:pt x="119610" y="114202"/>
                  </a:cubicBezTo>
                  <a:cubicBezTo>
                    <a:pt x="119292" y="114202"/>
                    <a:pt x="119292" y="115156"/>
                    <a:pt x="118974" y="115156"/>
                  </a:cubicBezTo>
                  <a:cubicBezTo>
                    <a:pt x="118974" y="115156"/>
                    <a:pt x="119292" y="115156"/>
                    <a:pt x="119292" y="115475"/>
                  </a:cubicBezTo>
                  <a:lnTo>
                    <a:pt x="120246" y="114520"/>
                  </a:lnTo>
                  <a:cubicBezTo>
                    <a:pt x="119928" y="114202"/>
                    <a:pt x="119928" y="113248"/>
                    <a:pt x="119928" y="112930"/>
                  </a:cubicBezTo>
                  <a:cubicBezTo>
                    <a:pt x="119928" y="111657"/>
                    <a:pt x="125972" y="108794"/>
                    <a:pt x="129472" y="108794"/>
                  </a:cubicBezTo>
                  <a:lnTo>
                    <a:pt x="129472" y="108476"/>
                  </a:lnTo>
                  <a:cubicBezTo>
                    <a:pt x="129153" y="108476"/>
                    <a:pt x="129153" y="107204"/>
                    <a:pt x="128517" y="106567"/>
                  </a:cubicBezTo>
                  <a:lnTo>
                    <a:pt x="128517" y="106249"/>
                  </a:lnTo>
                  <a:lnTo>
                    <a:pt x="129153" y="106567"/>
                  </a:lnTo>
                  <a:cubicBezTo>
                    <a:pt x="129153" y="106886"/>
                    <a:pt x="129472" y="106886"/>
                    <a:pt x="130426" y="107204"/>
                  </a:cubicBezTo>
                  <a:cubicBezTo>
                    <a:pt x="131062" y="107204"/>
                    <a:pt x="132334" y="106886"/>
                    <a:pt x="132334" y="105931"/>
                  </a:cubicBezTo>
                  <a:lnTo>
                    <a:pt x="132334" y="105613"/>
                  </a:lnTo>
                  <a:cubicBezTo>
                    <a:pt x="130744" y="106567"/>
                    <a:pt x="130108" y="106567"/>
                    <a:pt x="129790" y="106567"/>
                  </a:cubicBezTo>
                  <a:cubicBezTo>
                    <a:pt x="129472" y="106567"/>
                    <a:pt x="129472" y="106249"/>
                    <a:pt x="129153" y="105613"/>
                  </a:cubicBezTo>
                  <a:lnTo>
                    <a:pt x="129153" y="105295"/>
                  </a:lnTo>
                  <a:cubicBezTo>
                    <a:pt x="129472" y="104977"/>
                    <a:pt x="129790" y="104659"/>
                    <a:pt x="130426" y="104659"/>
                  </a:cubicBezTo>
                  <a:cubicBezTo>
                    <a:pt x="130744" y="104659"/>
                    <a:pt x="131062" y="104659"/>
                    <a:pt x="131380" y="104977"/>
                  </a:cubicBezTo>
                  <a:cubicBezTo>
                    <a:pt x="133925" y="104341"/>
                    <a:pt x="132016" y="99251"/>
                    <a:pt x="133607" y="93525"/>
                  </a:cubicBezTo>
                  <a:lnTo>
                    <a:pt x="133607" y="90980"/>
                  </a:lnTo>
                  <a:cubicBezTo>
                    <a:pt x="133925" y="90662"/>
                    <a:pt x="133925" y="90026"/>
                    <a:pt x="133925" y="89708"/>
                  </a:cubicBezTo>
                  <a:lnTo>
                    <a:pt x="133925" y="88435"/>
                  </a:lnTo>
                  <a:cubicBezTo>
                    <a:pt x="133925" y="88117"/>
                    <a:pt x="133925" y="87481"/>
                    <a:pt x="134243" y="86845"/>
                  </a:cubicBezTo>
                  <a:cubicBezTo>
                    <a:pt x="133925" y="86526"/>
                    <a:pt x="133925" y="85254"/>
                    <a:pt x="133925" y="84618"/>
                  </a:cubicBezTo>
                  <a:cubicBezTo>
                    <a:pt x="133925" y="73484"/>
                    <a:pt x="135198" y="74438"/>
                    <a:pt x="135198" y="65849"/>
                  </a:cubicBezTo>
                  <a:lnTo>
                    <a:pt x="135198" y="63622"/>
                  </a:lnTo>
                  <a:cubicBezTo>
                    <a:pt x="135198" y="62668"/>
                    <a:pt x="135516" y="61714"/>
                    <a:pt x="135516" y="60759"/>
                  </a:cubicBezTo>
                  <a:cubicBezTo>
                    <a:pt x="135516" y="59805"/>
                    <a:pt x="135198" y="58851"/>
                    <a:pt x="135198" y="57896"/>
                  </a:cubicBezTo>
                  <a:cubicBezTo>
                    <a:pt x="135198" y="57260"/>
                    <a:pt x="136152" y="56942"/>
                    <a:pt x="136152" y="51534"/>
                  </a:cubicBezTo>
                  <a:cubicBezTo>
                    <a:pt x="136152" y="50580"/>
                    <a:pt x="135834" y="49944"/>
                    <a:pt x="135834" y="48989"/>
                  </a:cubicBezTo>
                  <a:lnTo>
                    <a:pt x="135834" y="48035"/>
                  </a:lnTo>
                  <a:cubicBezTo>
                    <a:pt x="136152" y="47399"/>
                    <a:pt x="136470" y="46762"/>
                    <a:pt x="136470" y="45808"/>
                  </a:cubicBezTo>
                  <a:cubicBezTo>
                    <a:pt x="136470" y="45172"/>
                    <a:pt x="136152" y="44218"/>
                    <a:pt x="136152" y="43581"/>
                  </a:cubicBezTo>
                  <a:cubicBezTo>
                    <a:pt x="136470" y="42309"/>
                    <a:pt x="136152" y="40718"/>
                    <a:pt x="136788" y="39764"/>
                  </a:cubicBezTo>
                  <a:lnTo>
                    <a:pt x="136788" y="38173"/>
                  </a:lnTo>
                  <a:cubicBezTo>
                    <a:pt x="136788" y="38173"/>
                    <a:pt x="136470" y="37855"/>
                    <a:pt x="136470" y="37537"/>
                  </a:cubicBezTo>
                  <a:lnTo>
                    <a:pt x="135516" y="37537"/>
                  </a:lnTo>
                  <a:cubicBezTo>
                    <a:pt x="135516" y="39446"/>
                    <a:pt x="134879" y="40718"/>
                    <a:pt x="132016" y="40718"/>
                  </a:cubicBezTo>
                  <a:lnTo>
                    <a:pt x="131698" y="41036"/>
                  </a:lnTo>
                  <a:cubicBezTo>
                    <a:pt x="131698" y="43581"/>
                    <a:pt x="129472" y="43899"/>
                    <a:pt x="129472" y="46126"/>
                  </a:cubicBezTo>
                  <a:lnTo>
                    <a:pt x="128199" y="47717"/>
                  </a:lnTo>
                  <a:lnTo>
                    <a:pt x="128199" y="48035"/>
                  </a:lnTo>
                  <a:cubicBezTo>
                    <a:pt x="127881" y="48035"/>
                    <a:pt x="127881" y="47717"/>
                    <a:pt x="127881" y="47717"/>
                  </a:cubicBezTo>
                  <a:cubicBezTo>
                    <a:pt x="127245" y="47717"/>
                    <a:pt x="126609" y="48035"/>
                    <a:pt x="126609" y="48353"/>
                  </a:cubicBezTo>
                  <a:lnTo>
                    <a:pt x="126609" y="48671"/>
                  </a:lnTo>
                  <a:cubicBezTo>
                    <a:pt x="125336" y="50262"/>
                    <a:pt x="125336" y="49944"/>
                    <a:pt x="123746" y="53125"/>
                  </a:cubicBezTo>
                  <a:close/>
                  <a:moveTo>
                    <a:pt x="954" y="243356"/>
                  </a:moveTo>
                  <a:cubicBezTo>
                    <a:pt x="1273" y="242719"/>
                    <a:pt x="1591" y="242401"/>
                    <a:pt x="1591" y="241765"/>
                  </a:cubicBezTo>
                  <a:cubicBezTo>
                    <a:pt x="1591" y="241129"/>
                    <a:pt x="954" y="240174"/>
                    <a:pt x="954" y="240493"/>
                  </a:cubicBezTo>
                  <a:cubicBezTo>
                    <a:pt x="954" y="240493"/>
                    <a:pt x="954" y="240174"/>
                    <a:pt x="1273" y="240174"/>
                  </a:cubicBezTo>
                  <a:lnTo>
                    <a:pt x="1273" y="239538"/>
                  </a:lnTo>
                  <a:cubicBezTo>
                    <a:pt x="1591" y="239220"/>
                    <a:pt x="1591" y="239220"/>
                    <a:pt x="1591" y="238266"/>
                  </a:cubicBezTo>
                  <a:lnTo>
                    <a:pt x="1591" y="236039"/>
                  </a:lnTo>
                  <a:cubicBezTo>
                    <a:pt x="1909" y="236039"/>
                    <a:pt x="1909" y="236039"/>
                    <a:pt x="1909" y="235721"/>
                  </a:cubicBezTo>
                  <a:cubicBezTo>
                    <a:pt x="1909" y="235403"/>
                    <a:pt x="1909" y="235403"/>
                    <a:pt x="1591" y="235085"/>
                  </a:cubicBezTo>
                  <a:cubicBezTo>
                    <a:pt x="1591" y="234130"/>
                    <a:pt x="2227" y="233812"/>
                    <a:pt x="2545" y="233176"/>
                  </a:cubicBezTo>
                  <a:lnTo>
                    <a:pt x="2545" y="232540"/>
                  </a:lnTo>
                  <a:cubicBezTo>
                    <a:pt x="2545" y="232222"/>
                    <a:pt x="3181" y="228086"/>
                    <a:pt x="4136" y="226177"/>
                  </a:cubicBezTo>
                  <a:lnTo>
                    <a:pt x="4136" y="225859"/>
                  </a:lnTo>
                  <a:cubicBezTo>
                    <a:pt x="4772" y="224269"/>
                    <a:pt x="5090" y="222996"/>
                    <a:pt x="5726" y="222042"/>
                  </a:cubicBezTo>
                  <a:lnTo>
                    <a:pt x="5726" y="221724"/>
                  </a:lnTo>
                  <a:cubicBezTo>
                    <a:pt x="6044" y="220133"/>
                    <a:pt x="6999" y="218861"/>
                    <a:pt x="6999" y="217270"/>
                  </a:cubicBezTo>
                  <a:lnTo>
                    <a:pt x="7635" y="216952"/>
                  </a:lnTo>
                  <a:cubicBezTo>
                    <a:pt x="7635" y="216952"/>
                    <a:pt x="7953" y="217270"/>
                    <a:pt x="8271" y="217270"/>
                  </a:cubicBezTo>
                  <a:lnTo>
                    <a:pt x="8271" y="217588"/>
                  </a:lnTo>
                  <a:cubicBezTo>
                    <a:pt x="8271" y="217907"/>
                    <a:pt x="8271" y="218861"/>
                    <a:pt x="7953" y="219179"/>
                  </a:cubicBezTo>
                  <a:lnTo>
                    <a:pt x="8271" y="219179"/>
                  </a:lnTo>
                  <a:cubicBezTo>
                    <a:pt x="8271" y="219179"/>
                    <a:pt x="8271" y="219815"/>
                    <a:pt x="8589" y="220451"/>
                  </a:cubicBezTo>
                  <a:lnTo>
                    <a:pt x="6999" y="222042"/>
                  </a:lnTo>
                  <a:lnTo>
                    <a:pt x="6680" y="221724"/>
                  </a:lnTo>
                  <a:cubicBezTo>
                    <a:pt x="6362" y="221724"/>
                    <a:pt x="6362" y="222360"/>
                    <a:pt x="6362" y="222678"/>
                  </a:cubicBezTo>
                  <a:lnTo>
                    <a:pt x="6362" y="222996"/>
                  </a:lnTo>
                  <a:cubicBezTo>
                    <a:pt x="6362" y="223633"/>
                    <a:pt x="6362" y="226177"/>
                    <a:pt x="5408" y="226177"/>
                  </a:cubicBezTo>
                  <a:lnTo>
                    <a:pt x="5408" y="226814"/>
                  </a:lnTo>
                  <a:cubicBezTo>
                    <a:pt x="5408" y="227768"/>
                    <a:pt x="5408" y="229041"/>
                    <a:pt x="4454" y="230313"/>
                  </a:cubicBezTo>
                  <a:cubicBezTo>
                    <a:pt x="4454" y="230631"/>
                    <a:pt x="4454" y="230631"/>
                    <a:pt x="4772" y="230949"/>
                  </a:cubicBezTo>
                  <a:cubicBezTo>
                    <a:pt x="4772" y="231904"/>
                    <a:pt x="4454" y="232222"/>
                    <a:pt x="4454" y="232540"/>
                  </a:cubicBezTo>
                  <a:cubicBezTo>
                    <a:pt x="4454" y="233176"/>
                    <a:pt x="5726" y="234448"/>
                    <a:pt x="5726" y="235085"/>
                  </a:cubicBezTo>
                  <a:cubicBezTo>
                    <a:pt x="5726" y="235403"/>
                    <a:pt x="4772" y="236039"/>
                    <a:pt x="4772" y="236039"/>
                  </a:cubicBezTo>
                  <a:cubicBezTo>
                    <a:pt x="4772" y="236675"/>
                    <a:pt x="6044" y="236039"/>
                    <a:pt x="6044" y="237630"/>
                  </a:cubicBezTo>
                  <a:lnTo>
                    <a:pt x="6044" y="237948"/>
                  </a:lnTo>
                  <a:cubicBezTo>
                    <a:pt x="5090" y="237630"/>
                    <a:pt x="4772" y="237630"/>
                    <a:pt x="4454" y="237630"/>
                  </a:cubicBezTo>
                  <a:cubicBezTo>
                    <a:pt x="4136" y="237630"/>
                    <a:pt x="2545" y="237630"/>
                    <a:pt x="2545" y="239538"/>
                  </a:cubicBezTo>
                  <a:cubicBezTo>
                    <a:pt x="2545" y="239856"/>
                    <a:pt x="2863" y="240174"/>
                    <a:pt x="2863" y="240493"/>
                  </a:cubicBezTo>
                  <a:cubicBezTo>
                    <a:pt x="2863" y="242083"/>
                    <a:pt x="1909" y="242401"/>
                    <a:pt x="1909" y="243037"/>
                  </a:cubicBezTo>
                  <a:lnTo>
                    <a:pt x="1909" y="243356"/>
                  </a:lnTo>
                  <a:lnTo>
                    <a:pt x="2545" y="243674"/>
                  </a:lnTo>
                  <a:cubicBezTo>
                    <a:pt x="2545" y="243992"/>
                    <a:pt x="2545" y="244310"/>
                    <a:pt x="1909" y="244310"/>
                  </a:cubicBezTo>
                  <a:cubicBezTo>
                    <a:pt x="1909" y="244310"/>
                    <a:pt x="1591" y="243992"/>
                    <a:pt x="1591" y="243674"/>
                  </a:cubicBezTo>
                  <a:lnTo>
                    <a:pt x="636" y="243674"/>
                  </a:lnTo>
                  <a:lnTo>
                    <a:pt x="954" y="243356"/>
                  </a:lnTo>
                  <a:close/>
                  <a:moveTo>
                    <a:pt x="4136" y="251626"/>
                  </a:moveTo>
                  <a:cubicBezTo>
                    <a:pt x="4136" y="251308"/>
                    <a:pt x="3181" y="250354"/>
                    <a:pt x="2545" y="249718"/>
                  </a:cubicBezTo>
                  <a:lnTo>
                    <a:pt x="2227" y="250036"/>
                  </a:lnTo>
                  <a:lnTo>
                    <a:pt x="2545" y="250354"/>
                  </a:lnTo>
                  <a:cubicBezTo>
                    <a:pt x="3499" y="253535"/>
                    <a:pt x="2863" y="253535"/>
                    <a:pt x="3499" y="253535"/>
                  </a:cubicBezTo>
                  <a:cubicBezTo>
                    <a:pt x="3499" y="253535"/>
                    <a:pt x="3818" y="253535"/>
                    <a:pt x="3818" y="253217"/>
                  </a:cubicBezTo>
                  <a:cubicBezTo>
                    <a:pt x="3818" y="253217"/>
                    <a:pt x="3818" y="252899"/>
                    <a:pt x="3499" y="252899"/>
                  </a:cubicBezTo>
                  <a:cubicBezTo>
                    <a:pt x="3499" y="252581"/>
                    <a:pt x="3818" y="251945"/>
                    <a:pt x="4136" y="251626"/>
                  </a:cubicBezTo>
                  <a:close/>
                  <a:moveTo>
                    <a:pt x="2863" y="236357"/>
                  </a:moveTo>
                  <a:cubicBezTo>
                    <a:pt x="2863" y="236675"/>
                    <a:pt x="3181" y="236675"/>
                    <a:pt x="3181" y="236675"/>
                  </a:cubicBezTo>
                  <a:lnTo>
                    <a:pt x="3818" y="236039"/>
                  </a:lnTo>
                  <a:cubicBezTo>
                    <a:pt x="3181" y="236039"/>
                    <a:pt x="3181" y="236039"/>
                    <a:pt x="3181" y="236357"/>
                  </a:cubicBezTo>
                  <a:lnTo>
                    <a:pt x="2863" y="236357"/>
                  </a:lnTo>
                  <a:close/>
                  <a:moveTo>
                    <a:pt x="3499" y="270713"/>
                  </a:moveTo>
                  <a:cubicBezTo>
                    <a:pt x="3181" y="270713"/>
                    <a:pt x="2863" y="270077"/>
                    <a:pt x="2863" y="269759"/>
                  </a:cubicBezTo>
                  <a:lnTo>
                    <a:pt x="2863" y="269441"/>
                  </a:lnTo>
                  <a:cubicBezTo>
                    <a:pt x="3181" y="269759"/>
                    <a:pt x="3499" y="269759"/>
                    <a:pt x="3499" y="270077"/>
                  </a:cubicBezTo>
                  <a:lnTo>
                    <a:pt x="3499" y="270713"/>
                  </a:lnTo>
                  <a:close/>
                  <a:moveTo>
                    <a:pt x="6044" y="241129"/>
                  </a:moveTo>
                  <a:cubicBezTo>
                    <a:pt x="6044" y="242083"/>
                    <a:pt x="5726" y="242401"/>
                    <a:pt x="5090" y="242719"/>
                  </a:cubicBezTo>
                  <a:cubicBezTo>
                    <a:pt x="4454" y="242719"/>
                    <a:pt x="4136" y="242401"/>
                    <a:pt x="4136" y="242083"/>
                  </a:cubicBezTo>
                  <a:cubicBezTo>
                    <a:pt x="4454" y="241765"/>
                    <a:pt x="5726" y="240174"/>
                    <a:pt x="5726" y="240174"/>
                  </a:cubicBezTo>
                  <a:lnTo>
                    <a:pt x="6044" y="240811"/>
                  </a:lnTo>
                  <a:lnTo>
                    <a:pt x="6044" y="241129"/>
                  </a:lnTo>
                  <a:close/>
                  <a:moveTo>
                    <a:pt x="5408" y="252899"/>
                  </a:moveTo>
                  <a:cubicBezTo>
                    <a:pt x="5408" y="252899"/>
                    <a:pt x="5090" y="252899"/>
                    <a:pt x="5090" y="253535"/>
                  </a:cubicBezTo>
                  <a:cubicBezTo>
                    <a:pt x="5090" y="253535"/>
                    <a:pt x="5090" y="253853"/>
                    <a:pt x="5408" y="254171"/>
                  </a:cubicBezTo>
                  <a:lnTo>
                    <a:pt x="5408" y="254489"/>
                  </a:lnTo>
                  <a:cubicBezTo>
                    <a:pt x="5726" y="254489"/>
                    <a:pt x="5726" y="254808"/>
                    <a:pt x="5726" y="254808"/>
                  </a:cubicBezTo>
                  <a:cubicBezTo>
                    <a:pt x="5726" y="254489"/>
                    <a:pt x="5726" y="254171"/>
                    <a:pt x="5408" y="252899"/>
                  </a:cubicBezTo>
                  <a:close/>
                  <a:moveTo>
                    <a:pt x="7317" y="250354"/>
                  </a:moveTo>
                  <a:lnTo>
                    <a:pt x="7635" y="250354"/>
                  </a:lnTo>
                  <a:lnTo>
                    <a:pt x="7635" y="248127"/>
                  </a:lnTo>
                  <a:cubicBezTo>
                    <a:pt x="7953" y="248445"/>
                    <a:pt x="8589" y="248445"/>
                    <a:pt x="8907" y="248445"/>
                  </a:cubicBezTo>
                  <a:cubicBezTo>
                    <a:pt x="9225" y="248445"/>
                    <a:pt x="9225" y="248445"/>
                    <a:pt x="9225" y="248763"/>
                  </a:cubicBezTo>
                  <a:cubicBezTo>
                    <a:pt x="8907" y="249082"/>
                    <a:pt x="9225" y="249718"/>
                    <a:pt x="8589" y="250672"/>
                  </a:cubicBezTo>
                  <a:lnTo>
                    <a:pt x="7635" y="250672"/>
                  </a:lnTo>
                  <a:cubicBezTo>
                    <a:pt x="7635" y="250672"/>
                    <a:pt x="7317" y="250672"/>
                    <a:pt x="7317" y="250354"/>
                  </a:cubicBezTo>
                  <a:close/>
                  <a:moveTo>
                    <a:pt x="8589" y="215362"/>
                  </a:moveTo>
                  <a:cubicBezTo>
                    <a:pt x="8589" y="215044"/>
                    <a:pt x="9225" y="213771"/>
                    <a:pt x="9225" y="213453"/>
                  </a:cubicBezTo>
                  <a:lnTo>
                    <a:pt x="9861" y="213453"/>
                  </a:lnTo>
                  <a:lnTo>
                    <a:pt x="9861" y="214089"/>
                  </a:lnTo>
                  <a:cubicBezTo>
                    <a:pt x="9861" y="215044"/>
                    <a:pt x="8907" y="215362"/>
                    <a:pt x="8589" y="215362"/>
                  </a:cubicBezTo>
                  <a:close/>
                  <a:moveTo>
                    <a:pt x="9543" y="257034"/>
                  </a:moveTo>
                  <a:cubicBezTo>
                    <a:pt x="9225" y="257034"/>
                    <a:pt x="9225" y="256716"/>
                    <a:pt x="9225" y="256716"/>
                  </a:cubicBezTo>
                  <a:cubicBezTo>
                    <a:pt x="9225" y="256716"/>
                    <a:pt x="9225" y="256398"/>
                    <a:pt x="9543" y="256398"/>
                  </a:cubicBezTo>
                  <a:cubicBezTo>
                    <a:pt x="9543" y="256398"/>
                    <a:pt x="9543" y="256716"/>
                    <a:pt x="10180" y="256716"/>
                  </a:cubicBezTo>
                  <a:lnTo>
                    <a:pt x="9543" y="257034"/>
                  </a:lnTo>
                  <a:close/>
                  <a:moveTo>
                    <a:pt x="16860" y="276121"/>
                  </a:moveTo>
                  <a:cubicBezTo>
                    <a:pt x="16542" y="274849"/>
                    <a:pt x="16224" y="273894"/>
                    <a:pt x="14951" y="273576"/>
                  </a:cubicBezTo>
                  <a:lnTo>
                    <a:pt x="14951" y="273258"/>
                  </a:lnTo>
                  <a:cubicBezTo>
                    <a:pt x="15270" y="273258"/>
                    <a:pt x="15906" y="273258"/>
                    <a:pt x="15906" y="272304"/>
                  </a:cubicBezTo>
                  <a:cubicBezTo>
                    <a:pt x="15906" y="271349"/>
                    <a:pt x="15270" y="269441"/>
                    <a:pt x="13361" y="265941"/>
                  </a:cubicBezTo>
                  <a:lnTo>
                    <a:pt x="13043" y="265623"/>
                  </a:lnTo>
                  <a:cubicBezTo>
                    <a:pt x="13043" y="265623"/>
                    <a:pt x="12724" y="265623"/>
                    <a:pt x="12724" y="265941"/>
                  </a:cubicBezTo>
                  <a:lnTo>
                    <a:pt x="12724" y="266578"/>
                  </a:lnTo>
                  <a:cubicBezTo>
                    <a:pt x="12724" y="266896"/>
                    <a:pt x="13043" y="266578"/>
                    <a:pt x="13043" y="267214"/>
                  </a:cubicBezTo>
                  <a:lnTo>
                    <a:pt x="12088" y="268168"/>
                  </a:lnTo>
                  <a:cubicBezTo>
                    <a:pt x="11452" y="268168"/>
                    <a:pt x="11452" y="267214"/>
                    <a:pt x="11452" y="266896"/>
                  </a:cubicBezTo>
                  <a:cubicBezTo>
                    <a:pt x="11452" y="266578"/>
                    <a:pt x="11452" y="266578"/>
                    <a:pt x="11770" y="266260"/>
                  </a:cubicBezTo>
                  <a:lnTo>
                    <a:pt x="10816" y="265941"/>
                  </a:lnTo>
                  <a:lnTo>
                    <a:pt x="10498" y="266578"/>
                  </a:lnTo>
                  <a:cubicBezTo>
                    <a:pt x="10498" y="266896"/>
                    <a:pt x="9861" y="267532"/>
                    <a:pt x="9861" y="268168"/>
                  </a:cubicBezTo>
                  <a:cubicBezTo>
                    <a:pt x="9861" y="268804"/>
                    <a:pt x="9861" y="268486"/>
                    <a:pt x="11770" y="270395"/>
                  </a:cubicBezTo>
                  <a:cubicBezTo>
                    <a:pt x="12088" y="270395"/>
                    <a:pt x="12088" y="270077"/>
                    <a:pt x="12088" y="269759"/>
                  </a:cubicBezTo>
                  <a:cubicBezTo>
                    <a:pt x="12088" y="269441"/>
                    <a:pt x="12088" y="269123"/>
                    <a:pt x="12406" y="269123"/>
                  </a:cubicBezTo>
                  <a:lnTo>
                    <a:pt x="13043" y="268486"/>
                  </a:lnTo>
                  <a:cubicBezTo>
                    <a:pt x="13361" y="268168"/>
                    <a:pt x="13361" y="270395"/>
                    <a:pt x="14633" y="273258"/>
                  </a:cubicBezTo>
                  <a:lnTo>
                    <a:pt x="15906" y="276121"/>
                  </a:lnTo>
                  <a:lnTo>
                    <a:pt x="16542" y="276439"/>
                  </a:lnTo>
                  <a:cubicBezTo>
                    <a:pt x="16542" y="276439"/>
                    <a:pt x="16860" y="276439"/>
                    <a:pt x="16860" y="276121"/>
                  </a:cubicBezTo>
                  <a:close/>
                  <a:moveTo>
                    <a:pt x="10498" y="211226"/>
                  </a:moveTo>
                  <a:cubicBezTo>
                    <a:pt x="11134" y="209318"/>
                    <a:pt x="11134" y="206455"/>
                    <a:pt x="12406" y="206455"/>
                  </a:cubicBezTo>
                  <a:cubicBezTo>
                    <a:pt x="13043" y="206455"/>
                    <a:pt x="13361" y="207091"/>
                    <a:pt x="14315" y="208045"/>
                  </a:cubicBezTo>
                  <a:lnTo>
                    <a:pt x="12724" y="208363"/>
                  </a:lnTo>
                  <a:cubicBezTo>
                    <a:pt x="12724" y="210590"/>
                    <a:pt x="11452" y="211862"/>
                    <a:pt x="11134" y="211862"/>
                  </a:cubicBezTo>
                  <a:cubicBezTo>
                    <a:pt x="10816" y="211544"/>
                    <a:pt x="10498" y="211544"/>
                    <a:pt x="10498" y="211226"/>
                  </a:cubicBezTo>
                  <a:close/>
                  <a:moveTo>
                    <a:pt x="12724" y="205500"/>
                  </a:moveTo>
                  <a:lnTo>
                    <a:pt x="12724" y="205182"/>
                  </a:lnTo>
                  <a:lnTo>
                    <a:pt x="13043" y="205500"/>
                  </a:lnTo>
                  <a:lnTo>
                    <a:pt x="12724" y="205500"/>
                  </a:lnTo>
                  <a:close/>
                  <a:moveTo>
                    <a:pt x="13361" y="243992"/>
                  </a:moveTo>
                  <a:cubicBezTo>
                    <a:pt x="13361" y="244310"/>
                    <a:pt x="13361" y="244628"/>
                    <a:pt x="13043" y="245264"/>
                  </a:cubicBezTo>
                  <a:cubicBezTo>
                    <a:pt x="13679" y="245264"/>
                    <a:pt x="13361" y="243674"/>
                    <a:pt x="13997" y="243674"/>
                  </a:cubicBezTo>
                  <a:lnTo>
                    <a:pt x="14633" y="243674"/>
                  </a:lnTo>
                  <a:cubicBezTo>
                    <a:pt x="14315" y="243037"/>
                    <a:pt x="14315" y="242401"/>
                    <a:pt x="14315" y="242083"/>
                  </a:cubicBezTo>
                  <a:cubicBezTo>
                    <a:pt x="14315" y="241129"/>
                    <a:pt x="14951" y="238902"/>
                    <a:pt x="14951" y="237311"/>
                  </a:cubicBezTo>
                  <a:cubicBezTo>
                    <a:pt x="14633" y="236675"/>
                    <a:pt x="14633" y="236357"/>
                    <a:pt x="14633" y="236357"/>
                  </a:cubicBezTo>
                  <a:lnTo>
                    <a:pt x="14315" y="236039"/>
                  </a:lnTo>
                  <a:cubicBezTo>
                    <a:pt x="13679" y="237630"/>
                    <a:pt x="13043" y="240174"/>
                    <a:pt x="13043" y="241765"/>
                  </a:cubicBezTo>
                  <a:cubicBezTo>
                    <a:pt x="13043" y="242401"/>
                    <a:pt x="13043" y="242719"/>
                    <a:pt x="13361" y="243356"/>
                  </a:cubicBezTo>
                  <a:lnTo>
                    <a:pt x="13361" y="243992"/>
                  </a:lnTo>
                  <a:close/>
                  <a:moveTo>
                    <a:pt x="14633" y="234448"/>
                  </a:moveTo>
                  <a:lnTo>
                    <a:pt x="14951" y="234448"/>
                  </a:lnTo>
                  <a:cubicBezTo>
                    <a:pt x="14951" y="234130"/>
                    <a:pt x="14951" y="234130"/>
                    <a:pt x="14633" y="234130"/>
                  </a:cubicBezTo>
                  <a:lnTo>
                    <a:pt x="14633" y="234448"/>
                  </a:lnTo>
                  <a:close/>
                  <a:moveTo>
                    <a:pt x="15588" y="196593"/>
                  </a:moveTo>
                  <a:lnTo>
                    <a:pt x="16542" y="196911"/>
                  </a:lnTo>
                  <a:cubicBezTo>
                    <a:pt x="16224" y="197229"/>
                    <a:pt x="16224" y="197866"/>
                    <a:pt x="16224" y="197866"/>
                  </a:cubicBezTo>
                  <a:lnTo>
                    <a:pt x="15906" y="197547"/>
                  </a:lnTo>
                  <a:cubicBezTo>
                    <a:pt x="15906" y="197547"/>
                    <a:pt x="15588" y="196911"/>
                    <a:pt x="15588" y="196593"/>
                  </a:cubicBezTo>
                  <a:close/>
                  <a:moveTo>
                    <a:pt x="16542" y="195957"/>
                  </a:moveTo>
                  <a:cubicBezTo>
                    <a:pt x="16542" y="195957"/>
                    <a:pt x="16860" y="195321"/>
                    <a:pt x="17496" y="195003"/>
                  </a:cubicBezTo>
                  <a:lnTo>
                    <a:pt x="17496" y="195957"/>
                  </a:lnTo>
                  <a:lnTo>
                    <a:pt x="17178" y="196275"/>
                  </a:lnTo>
                  <a:lnTo>
                    <a:pt x="16542" y="195957"/>
                  </a:lnTo>
                  <a:close/>
                  <a:moveTo>
                    <a:pt x="17814" y="278348"/>
                  </a:moveTo>
                  <a:cubicBezTo>
                    <a:pt x="17814" y="277394"/>
                    <a:pt x="17496" y="277394"/>
                    <a:pt x="16860" y="277075"/>
                  </a:cubicBezTo>
                  <a:lnTo>
                    <a:pt x="16860" y="278030"/>
                  </a:lnTo>
                  <a:lnTo>
                    <a:pt x="17496" y="278348"/>
                  </a:lnTo>
                  <a:lnTo>
                    <a:pt x="17814" y="278348"/>
                  </a:lnTo>
                  <a:close/>
                  <a:moveTo>
                    <a:pt x="19087" y="280575"/>
                  </a:moveTo>
                  <a:lnTo>
                    <a:pt x="18133" y="278984"/>
                  </a:lnTo>
                  <a:lnTo>
                    <a:pt x="17814" y="279302"/>
                  </a:lnTo>
                  <a:cubicBezTo>
                    <a:pt x="17814" y="280257"/>
                    <a:pt x="18451" y="280575"/>
                    <a:pt x="19087" y="280575"/>
                  </a:cubicBezTo>
                  <a:close/>
                  <a:moveTo>
                    <a:pt x="18133" y="194366"/>
                  </a:moveTo>
                  <a:cubicBezTo>
                    <a:pt x="18133" y="193094"/>
                    <a:pt x="18133" y="192776"/>
                    <a:pt x="18451" y="192458"/>
                  </a:cubicBezTo>
                  <a:lnTo>
                    <a:pt x="18769" y="192458"/>
                  </a:lnTo>
                  <a:lnTo>
                    <a:pt x="18769" y="194048"/>
                  </a:lnTo>
                  <a:cubicBezTo>
                    <a:pt x="18769" y="194684"/>
                    <a:pt x="18769" y="194684"/>
                    <a:pt x="18451" y="194684"/>
                  </a:cubicBezTo>
                  <a:cubicBezTo>
                    <a:pt x="18451" y="194366"/>
                    <a:pt x="18133" y="194366"/>
                    <a:pt x="18133" y="194366"/>
                  </a:cubicBezTo>
                  <a:close/>
                  <a:moveTo>
                    <a:pt x="130426" y="120246"/>
                  </a:moveTo>
                  <a:cubicBezTo>
                    <a:pt x="130108" y="120246"/>
                    <a:pt x="130108" y="120564"/>
                    <a:pt x="129790" y="120564"/>
                  </a:cubicBezTo>
                  <a:cubicBezTo>
                    <a:pt x="129472" y="121201"/>
                    <a:pt x="129472" y="119292"/>
                    <a:pt x="129153" y="119292"/>
                  </a:cubicBezTo>
                  <a:cubicBezTo>
                    <a:pt x="128835" y="119292"/>
                    <a:pt x="128199" y="119610"/>
                    <a:pt x="127881" y="120246"/>
                  </a:cubicBezTo>
                  <a:lnTo>
                    <a:pt x="127245" y="120246"/>
                  </a:lnTo>
                  <a:cubicBezTo>
                    <a:pt x="126291" y="120564"/>
                    <a:pt x="121519" y="124700"/>
                    <a:pt x="118974" y="124700"/>
                  </a:cubicBezTo>
                  <a:lnTo>
                    <a:pt x="118338" y="124700"/>
                  </a:lnTo>
                  <a:cubicBezTo>
                    <a:pt x="118338" y="125018"/>
                    <a:pt x="116429" y="126608"/>
                    <a:pt x="116111" y="126608"/>
                  </a:cubicBezTo>
                  <a:cubicBezTo>
                    <a:pt x="116111" y="126927"/>
                    <a:pt x="116429" y="126927"/>
                    <a:pt x="116429" y="126927"/>
                  </a:cubicBezTo>
                  <a:lnTo>
                    <a:pt x="116111" y="127245"/>
                  </a:lnTo>
                  <a:cubicBezTo>
                    <a:pt x="116111" y="127245"/>
                    <a:pt x="115793" y="127245"/>
                    <a:pt x="115793" y="126927"/>
                  </a:cubicBezTo>
                  <a:cubicBezTo>
                    <a:pt x="115793" y="127245"/>
                    <a:pt x="115475" y="127245"/>
                    <a:pt x="115475" y="127245"/>
                  </a:cubicBezTo>
                  <a:cubicBezTo>
                    <a:pt x="115157" y="127245"/>
                    <a:pt x="114838" y="126290"/>
                    <a:pt x="114202" y="126290"/>
                  </a:cubicBezTo>
                  <a:cubicBezTo>
                    <a:pt x="113566" y="126290"/>
                    <a:pt x="111657" y="128835"/>
                    <a:pt x="111339" y="129790"/>
                  </a:cubicBezTo>
                  <a:lnTo>
                    <a:pt x="110385" y="129790"/>
                  </a:lnTo>
                  <a:cubicBezTo>
                    <a:pt x="110067" y="129790"/>
                    <a:pt x="109749" y="130108"/>
                    <a:pt x="109112" y="130426"/>
                  </a:cubicBezTo>
                  <a:lnTo>
                    <a:pt x="108158" y="131062"/>
                  </a:lnTo>
                  <a:lnTo>
                    <a:pt x="108158" y="130744"/>
                  </a:lnTo>
                  <a:cubicBezTo>
                    <a:pt x="107840" y="130744"/>
                    <a:pt x="106885" y="131380"/>
                    <a:pt x="106885" y="132016"/>
                  </a:cubicBezTo>
                  <a:lnTo>
                    <a:pt x="106249" y="132016"/>
                  </a:lnTo>
                  <a:cubicBezTo>
                    <a:pt x="105613" y="132016"/>
                    <a:pt x="104023" y="132335"/>
                    <a:pt x="101478" y="134879"/>
                  </a:cubicBezTo>
                  <a:lnTo>
                    <a:pt x="101160" y="135198"/>
                  </a:lnTo>
                  <a:cubicBezTo>
                    <a:pt x="99251" y="135198"/>
                    <a:pt x="100205" y="136152"/>
                    <a:pt x="97661" y="137742"/>
                  </a:cubicBezTo>
                  <a:cubicBezTo>
                    <a:pt x="97342" y="137424"/>
                    <a:pt x="97342" y="137424"/>
                    <a:pt x="97024" y="137424"/>
                  </a:cubicBezTo>
                  <a:cubicBezTo>
                    <a:pt x="96070" y="137424"/>
                    <a:pt x="95434" y="139015"/>
                    <a:pt x="95115" y="139015"/>
                  </a:cubicBezTo>
                  <a:lnTo>
                    <a:pt x="92889" y="139651"/>
                  </a:lnTo>
                  <a:cubicBezTo>
                    <a:pt x="92889" y="140287"/>
                    <a:pt x="90980" y="142196"/>
                    <a:pt x="90026" y="142514"/>
                  </a:cubicBezTo>
                  <a:lnTo>
                    <a:pt x="89708" y="142514"/>
                  </a:lnTo>
                  <a:cubicBezTo>
                    <a:pt x="88435" y="142514"/>
                    <a:pt x="86845" y="146968"/>
                    <a:pt x="82709" y="146968"/>
                  </a:cubicBezTo>
                  <a:lnTo>
                    <a:pt x="81119" y="148876"/>
                  </a:lnTo>
                  <a:cubicBezTo>
                    <a:pt x="80800" y="148558"/>
                    <a:pt x="80482" y="148558"/>
                    <a:pt x="80482" y="148558"/>
                  </a:cubicBezTo>
                  <a:cubicBezTo>
                    <a:pt x="80164" y="148558"/>
                    <a:pt x="79846" y="148876"/>
                    <a:pt x="79528" y="149194"/>
                  </a:cubicBezTo>
                  <a:cubicBezTo>
                    <a:pt x="80482" y="149513"/>
                    <a:pt x="73166" y="152376"/>
                    <a:pt x="71893" y="156511"/>
                  </a:cubicBezTo>
                  <a:cubicBezTo>
                    <a:pt x="69030" y="156511"/>
                    <a:pt x="74120" y="158102"/>
                    <a:pt x="62668" y="165418"/>
                  </a:cubicBezTo>
                  <a:lnTo>
                    <a:pt x="59805" y="167009"/>
                  </a:lnTo>
                  <a:cubicBezTo>
                    <a:pt x="59805" y="172098"/>
                    <a:pt x="58851" y="165100"/>
                    <a:pt x="51216" y="176552"/>
                  </a:cubicBezTo>
                  <a:lnTo>
                    <a:pt x="48035" y="180687"/>
                  </a:lnTo>
                  <a:cubicBezTo>
                    <a:pt x="47399" y="181324"/>
                    <a:pt x="45808" y="182596"/>
                    <a:pt x="45808" y="183869"/>
                  </a:cubicBezTo>
                  <a:cubicBezTo>
                    <a:pt x="45808" y="185141"/>
                    <a:pt x="39764" y="188640"/>
                    <a:pt x="39764" y="192776"/>
                  </a:cubicBezTo>
                  <a:lnTo>
                    <a:pt x="37855" y="195321"/>
                  </a:lnTo>
                  <a:cubicBezTo>
                    <a:pt x="37855" y="194684"/>
                    <a:pt x="37219" y="198820"/>
                    <a:pt x="35629" y="198820"/>
                  </a:cubicBezTo>
                  <a:cubicBezTo>
                    <a:pt x="35310" y="198820"/>
                    <a:pt x="34992" y="198502"/>
                    <a:pt x="34992" y="198502"/>
                  </a:cubicBezTo>
                  <a:cubicBezTo>
                    <a:pt x="34674" y="198502"/>
                    <a:pt x="34038" y="199774"/>
                    <a:pt x="34038" y="200092"/>
                  </a:cubicBezTo>
                  <a:cubicBezTo>
                    <a:pt x="34038" y="200410"/>
                    <a:pt x="34038" y="200729"/>
                    <a:pt x="34356" y="201047"/>
                  </a:cubicBezTo>
                  <a:lnTo>
                    <a:pt x="33402" y="203273"/>
                  </a:lnTo>
                  <a:cubicBezTo>
                    <a:pt x="33402" y="205500"/>
                    <a:pt x="26403" y="213771"/>
                    <a:pt x="26085" y="217907"/>
                  </a:cubicBezTo>
                  <a:lnTo>
                    <a:pt x="26085" y="218225"/>
                  </a:lnTo>
                  <a:cubicBezTo>
                    <a:pt x="26085" y="218861"/>
                    <a:pt x="26085" y="218861"/>
                    <a:pt x="25449" y="219815"/>
                  </a:cubicBezTo>
                  <a:lnTo>
                    <a:pt x="24813" y="220770"/>
                  </a:lnTo>
                  <a:cubicBezTo>
                    <a:pt x="24495" y="221724"/>
                    <a:pt x="23858" y="222042"/>
                    <a:pt x="23858" y="222678"/>
                  </a:cubicBezTo>
                  <a:cubicBezTo>
                    <a:pt x="24176" y="222996"/>
                    <a:pt x="24176" y="223314"/>
                    <a:pt x="24176" y="223633"/>
                  </a:cubicBezTo>
                  <a:cubicBezTo>
                    <a:pt x="24176" y="224269"/>
                    <a:pt x="23540" y="224269"/>
                    <a:pt x="23222" y="224269"/>
                  </a:cubicBezTo>
                  <a:lnTo>
                    <a:pt x="23222" y="225223"/>
                  </a:lnTo>
                  <a:cubicBezTo>
                    <a:pt x="22586" y="225541"/>
                    <a:pt x="22586" y="225859"/>
                    <a:pt x="22586" y="226496"/>
                  </a:cubicBezTo>
                  <a:lnTo>
                    <a:pt x="22586" y="227450"/>
                  </a:lnTo>
                  <a:cubicBezTo>
                    <a:pt x="22586" y="228086"/>
                    <a:pt x="22586" y="228722"/>
                    <a:pt x="22268" y="229359"/>
                  </a:cubicBezTo>
                  <a:lnTo>
                    <a:pt x="21632" y="231585"/>
                  </a:lnTo>
                  <a:cubicBezTo>
                    <a:pt x="21632" y="231904"/>
                    <a:pt x="21632" y="232222"/>
                    <a:pt x="20995" y="232540"/>
                  </a:cubicBezTo>
                  <a:cubicBezTo>
                    <a:pt x="21314" y="233176"/>
                    <a:pt x="21314" y="233494"/>
                    <a:pt x="21314" y="233812"/>
                  </a:cubicBezTo>
                  <a:lnTo>
                    <a:pt x="21632" y="234130"/>
                  </a:lnTo>
                  <a:cubicBezTo>
                    <a:pt x="21950" y="234130"/>
                    <a:pt x="21950" y="234448"/>
                    <a:pt x="21950" y="234767"/>
                  </a:cubicBezTo>
                  <a:cubicBezTo>
                    <a:pt x="21950" y="235721"/>
                    <a:pt x="20677" y="238584"/>
                    <a:pt x="20677" y="239856"/>
                  </a:cubicBezTo>
                  <a:cubicBezTo>
                    <a:pt x="20677" y="241447"/>
                    <a:pt x="20995" y="241447"/>
                    <a:pt x="20995" y="241765"/>
                  </a:cubicBezTo>
                  <a:lnTo>
                    <a:pt x="21632" y="246219"/>
                  </a:lnTo>
                  <a:cubicBezTo>
                    <a:pt x="21632" y="248127"/>
                    <a:pt x="20677" y="246855"/>
                    <a:pt x="20677" y="248445"/>
                  </a:cubicBezTo>
                  <a:lnTo>
                    <a:pt x="20677" y="250354"/>
                  </a:lnTo>
                  <a:cubicBezTo>
                    <a:pt x="20677" y="250990"/>
                    <a:pt x="20677" y="251626"/>
                    <a:pt x="20995" y="251945"/>
                  </a:cubicBezTo>
                  <a:cubicBezTo>
                    <a:pt x="20677" y="252581"/>
                    <a:pt x="20677" y="252899"/>
                    <a:pt x="20677" y="252899"/>
                  </a:cubicBezTo>
                  <a:lnTo>
                    <a:pt x="20359" y="252899"/>
                  </a:lnTo>
                  <a:cubicBezTo>
                    <a:pt x="20041" y="253217"/>
                    <a:pt x="19723" y="253217"/>
                    <a:pt x="19723" y="253535"/>
                  </a:cubicBezTo>
                  <a:cubicBezTo>
                    <a:pt x="19723" y="253535"/>
                    <a:pt x="20677" y="255762"/>
                    <a:pt x="21314" y="256080"/>
                  </a:cubicBezTo>
                  <a:cubicBezTo>
                    <a:pt x="21314" y="256080"/>
                    <a:pt x="21314" y="256716"/>
                    <a:pt x="20995" y="256716"/>
                  </a:cubicBezTo>
                  <a:lnTo>
                    <a:pt x="20995" y="258307"/>
                  </a:lnTo>
                  <a:cubicBezTo>
                    <a:pt x="20677" y="258307"/>
                    <a:pt x="20677" y="258625"/>
                    <a:pt x="20677" y="258943"/>
                  </a:cubicBezTo>
                  <a:cubicBezTo>
                    <a:pt x="20677" y="261488"/>
                    <a:pt x="21632" y="261806"/>
                    <a:pt x="21632" y="262442"/>
                  </a:cubicBezTo>
                  <a:cubicBezTo>
                    <a:pt x="21632" y="262760"/>
                    <a:pt x="21314" y="262760"/>
                    <a:pt x="20995" y="262760"/>
                  </a:cubicBezTo>
                  <a:cubicBezTo>
                    <a:pt x="20995" y="264033"/>
                    <a:pt x="24176" y="267532"/>
                    <a:pt x="23222" y="264351"/>
                  </a:cubicBezTo>
                  <a:cubicBezTo>
                    <a:pt x="23858" y="265305"/>
                    <a:pt x="24176" y="265305"/>
                    <a:pt x="24176" y="265623"/>
                  </a:cubicBezTo>
                  <a:lnTo>
                    <a:pt x="24176" y="266896"/>
                  </a:lnTo>
                  <a:cubicBezTo>
                    <a:pt x="24176" y="267532"/>
                    <a:pt x="24176" y="267850"/>
                    <a:pt x="23540" y="269759"/>
                  </a:cubicBezTo>
                  <a:cubicBezTo>
                    <a:pt x="24176" y="270395"/>
                    <a:pt x="24495" y="272304"/>
                    <a:pt x="25131" y="272940"/>
                  </a:cubicBezTo>
                  <a:cubicBezTo>
                    <a:pt x="24813" y="273258"/>
                    <a:pt x="24813" y="273258"/>
                    <a:pt x="24813" y="273576"/>
                  </a:cubicBezTo>
                  <a:cubicBezTo>
                    <a:pt x="24813" y="273576"/>
                    <a:pt x="29585" y="276757"/>
                    <a:pt x="29585" y="278348"/>
                  </a:cubicBezTo>
                  <a:cubicBezTo>
                    <a:pt x="28312" y="278348"/>
                    <a:pt x="28948" y="278030"/>
                    <a:pt x="28312" y="278030"/>
                  </a:cubicBezTo>
                  <a:cubicBezTo>
                    <a:pt x="27994" y="278030"/>
                    <a:pt x="27676" y="278030"/>
                    <a:pt x="27676" y="278348"/>
                  </a:cubicBezTo>
                  <a:cubicBezTo>
                    <a:pt x="27994" y="278984"/>
                    <a:pt x="29267" y="281211"/>
                    <a:pt x="29903" y="281529"/>
                  </a:cubicBezTo>
                  <a:lnTo>
                    <a:pt x="30857" y="281529"/>
                  </a:lnTo>
                  <a:lnTo>
                    <a:pt x="32448" y="282801"/>
                  </a:lnTo>
                  <a:cubicBezTo>
                    <a:pt x="32766" y="283438"/>
                    <a:pt x="33084" y="283438"/>
                    <a:pt x="33720" y="283438"/>
                  </a:cubicBezTo>
                  <a:lnTo>
                    <a:pt x="34356" y="283756"/>
                  </a:lnTo>
                  <a:cubicBezTo>
                    <a:pt x="35310" y="285028"/>
                    <a:pt x="36265" y="285028"/>
                    <a:pt x="37219" y="285028"/>
                  </a:cubicBezTo>
                  <a:cubicBezTo>
                    <a:pt x="38810" y="284710"/>
                    <a:pt x="40082" y="284710"/>
                    <a:pt x="41673" y="284710"/>
                  </a:cubicBezTo>
                  <a:cubicBezTo>
                    <a:pt x="42309" y="284392"/>
                    <a:pt x="51852" y="282801"/>
                    <a:pt x="54397" y="279620"/>
                  </a:cubicBezTo>
                  <a:lnTo>
                    <a:pt x="57578" y="278030"/>
                  </a:lnTo>
                  <a:cubicBezTo>
                    <a:pt x="57897" y="278348"/>
                    <a:pt x="57897" y="278348"/>
                    <a:pt x="58215" y="278348"/>
                  </a:cubicBezTo>
                  <a:cubicBezTo>
                    <a:pt x="58215" y="278348"/>
                    <a:pt x="66485" y="273258"/>
                    <a:pt x="68394" y="270713"/>
                  </a:cubicBezTo>
                  <a:lnTo>
                    <a:pt x="69030" y="271031"/>
                  </a:lnTo>
                  <a:cubicBezTo>
                    <a:pt x="69985" y="269441"/>
                    <a:pt x="71575" y="268804"/>
                    <a:pt x="74438" y="264033"/>
                  </a:cubicBezTo>
                  <a:cubicBezTo>
                    <a:pt x="74438" y="263078"/>
                    <a:pt x="74438" y="263078"/>
                    <a:pt x="74756" y="263078"/>
                  </a:cubicBezTo>
                  <a:lnTo>
                    <a:pt x="75393" y="263078"/>
                  </a:lnTo>
                  <a:cubicBezTo>
                    <a:pt x="76347" y="263078"/>
                    <a:pt x="78255" y="262124"/>
                    <a:pt x="81437" y="256716"/>
                  </a:cubicBezTo>
                  <a:cubicBezTo>
                    <a:pt x="81437" y="254489"/>
                    <a:pt x="91616" y="256080"/>
                    <a:pt x="91616" y="238584"/>
                  </a:cubicBezTo>
                  <a:lnTo>
                    <a:pt x="92252" y="238266"/>
                  </a:lnTo>
                  <a:cubicBezTo>
                    <a:pt x="93207" y="238266"/>
                    <a:pt x="94479" y="234448"/>
                    <a:pt x="95752" y="233494"/>
                  </a:cubicBezTo>
                  <a:lnTo>
                    <a:pt x="96070" y="233176"/>
                  </a:lnTo>
                  <a:cubicBezTo>
                    <a:pt x="96706" y="229677"/>
                    <a:pt x="99569" y="226814"/>
                    <a:pt x="100842" y="222042"/>
                  </a:cubicBezTo>
                  <a:cubicBezTo>
                    <a:pt x="101478" y="221406"/>
                    <a:pt x="104659" y="210908"/>
                    <a:pt x="109112" y="205500"/>
                  </a:cubicBezTo>
                  <a:cubicBezTo>
                    <a:pt x="110067" y="197547"/>
                    <a:pt x="109112" y="207091"/>
                    <a:pt x="115475" y="187686"/>
                  </a:cubicBezTo>
                  <a:lnTo>
                    <a:pt x="116747" y="181960"/>
                  </a:lnTo>
                  <a:cubicBezTo>
                    <a:pt x="116111" y="182596"/>
                    <a:pt x="120882" y="172417"/>
                    <a:pt x="120882" y="169872"/>
                  </a:cubicBezTo>
                  <a:lnTo>
                    <a:pt x="120882" y="167645"/>
                  </a:lnTo>
                  <a:cubicBezTo>
                    <a:pt x="121837" y="166054"/>
                    <a:pt x="121837" y="162555"/>
                    <a:pt x="123428" y="160328"/>
                  </a:cubicBezTo>
                  <a:cubicBezTo>
                    <a:pt x="123428" y="159056"/>
                    <a:pt x="123109" y="158420"/>
                    <a:pt x="123109" y="157147"/>
                  </a:cubicBezTo>
                  <a:cubicBezTo>
                    <a:pt x="123428" y="156193"/>
                    <a:pt x="125018" y="152694"/>
                    <a:pt x="125018" y="153012"/>
                  </a:cubicBezTo>
                  <a:cubicBezTo>
                    <a:pt x="125018" y="151739"/>
                    <a:pt x="125336" y="151103"/>
                    <a:pt x="125654" y="150467"/>
                  </a:cubicBezTo>
                  <a:lnTo>
                    <a:pt x="125654" y="149513"/>
                  </a:lnTo>
                  <a:cubicBezTo>
                    <a:pt x="125654" y="147604"/>
                    <a:pt x="125972" y="142832"/>
                    <a:pt x="127881" y="139015"/>
                  </a:cubicBezTo>
                  <a:lnTo>
                    <a:pt x="127881" y="137106"/>
                  </a:lnTo>
                  <a:cubicBezTo>
                    <a:pt x="128199" y="134561"/>
                    <a:pt x="129153" y="132653"/>
                    <a:pt x="129472" y="130426"/>
                  </a:cubicBezTo>
                  <a:lnTo>
                    <a:pt x="129472" y="129790"/>
                  </a:lnTo>
                  <a:cubicBezTo>
                    <a:pt x="129153" y="129471"/>
                    <a:pt x="129153" y="128835"/>
                    <a:pt x="129153" y="127881"/>
                  </a:cubicBezTo>
                  <a:cubicBezTo>
                    <a:pt x="129153" y="125972"/>
                    <a:pt x="130744" y="123746"/>
                    <a:pt x="130744" y="122473"/>
                  </a:cubicBezTo>
                  <a:lnTo>
                    <a:pt x="130744" y="121201"/>
                  </a:lnTo>
                  <a:cubicBezTo>
                    <a:pt x="130744" y="121201"/>
                    <a:pt x="130744" y="119928"/>
                    <a:pt x="130426" y="120246"/>
                  </a:cubicBezTo>
                  <a:close/>
                  <a:moveTo>
                    <a:pt x="21950" y="194684"/>
                  </a:moveTo>
                  <a:lnTo>
                    <a:pt x="22268" y="195321"/>
                  </a:lnTo>
                  <a:lnTo>
                    <a:pt x="22268" y="194366"/>
                  </a:lnTo>
                  <a:cubicBezTo>
                    <a:pt x="21950" y="194366"/>
                    <a:pt x="21950" y="194684"/>
                    <a:pt x="21950" y="194684"/>
                  </a:cubicBezTo>
                  <a:close/>
                  <a:moveTo>
                    <a:pt x="23540" y="277712"/>
                  </a:moveTo>
                  <a:cubicBezTo>
                    <a:pt x="23540" y="277394"/>
                    <a:pt x="22904" y="276439"/>
                    <a:pt x="22586" y="276439"/>
                  </a:cubicBezTo>
                  <a:lnTo>
                    <a:pt x="21950" y="277075"/>
                  </a:lnTo>
                  <a:cubicBezTo>
                    <a:pt x="21950" y="277712"/>
                    <a:pt x="22268" y="278348"/>
                    <a:pt x="22904" y="278984"/>
                  </a:cubicBezTo>
                  <a:lnTo>
                    <a:pt x="23540" y="279302"/>
                  </a:lnTo>
                  <a:lnTo>
                    <a:pt x="23540" y="277712"/>
                  </a:lnTo>
                  <a:close/>
                  <a:moveTo>
                    <a:pt x="22268" y="187686"/>
                  </a:moveTo>
                  <a:cubicBezTo>
                    <a:pt x="22268" y="187686"/>
                    <a:pt x="22268" y="187368"/>
                    <a:pt x="22586" y="187050"/>
                  </a:cubicBezTo>
                  <a:lnTo>
                    <a:pt x="23222" y="187368"/>
                  </a:lnTo>
                  <a:cubicBezTo>
                    <a:pt x="22586" y="187368"/>
                    <a:pt x="22586" y="187686"/>
                    <a:pt x="22268" y="188004"/>
                  </a:cubicBezTo>
                  <a:lnTo>
                    <a:pt x="22268" y="187686"/>
                  </a:lnTo>
                  <a:close/>
                  <a:moveTo>
                    <a:pt x="25449" y="196911"/>
                  </a:moveTo>
                  <a:lnTo>
                    <a:pt x="26085" y="196593"/>
                  </a:lnTo>
                  <a:cubicBezTo>
                    <a:pt x="26085" y="196275"/>
                    <a:pt x="25767" y="196275"/>
                    <a:pt x="25449" y="196275"/>
                  </a:cubicBezTo>
                  <a:lnTo>
                    <a:pt x="25131" y="196275"/>
                  </a:lnTo>
                  <a:cubicBezTo>
                    <a:pt x="25131" y="196593"/>
                    <a:pt x="25449" y="196911"/>
                    <a:pt x="25449" y="196911"/>
                  </a:cubicBezTo>
                  <a:close/>
                  <a:moveTo>
                    <a:pt x="25449" y="183232"/>
                  </a:moveTo>
                  <a:lnTo>
                    <a:pt x="25449" y="182914"/>
                  </a:lnTo>
                  <a:cubicBezTo>
                    <a:pt x="26085" y="182278"/>
                    <a:pt x="25767" y="181960"/>
                    <a:pt x="26085" y="181960"/>
                  </a:cubicBezTo>
                  <a:lnTo>
                    <a:pt x="26403" y="182278"/>
                  </a:lnTo>
                  <a:lnTo>
                    <a:pt x="26403" y="183232"/>
                  </a:lnTo>
                  <a:lnTo>
                    <a:pt x="25449" y="183232"/>
                  </a:lnTo>
                  <a:close/>
                  <a:moveTo>
                    <a:pt x="27040" y="282165"/>
                  </a:moveTo>
                  <a:cubicBezTo>
                    <a:pt x="27040" y="281847"/>
                    <a:pt x="26721" y="281847"/>
                    <a:pt x="26721" y="281847"/>
                  </a:cubicBezTo>
                  <a:lnTo>
                    <a:pt x="25767" y="281847"/>
                  </a:lnTo>
                  <a:cubicBezTo>
                    <a:pt x="25449" y="281847"/>
                    <a:pt x="25449" y="281847"/>
                    <a:pt x="25449" y="282165"/>
                  </a:cubicBezTo>
                  <a:cubicBezTo>
                    <a:pt x="25449" y="282801"/>
                    <a:pt x="26721" y="282801"/>
                    <a:pt x="27040" y="282801"/>
                  </a:cubicBezTo>
                  <a:lnTo>
                    <a:pt x="27040" y="282165"/>
                  </a:lnTo>
                  <a:close/>
                  <a:moveTo>
                    <a:pt x="25767" y="278666"/>
                  </a:moveTo>
                  <a:lnTo>
                    <a:pt x="26085" y="278666"/>
                  </a:lnTo>
                  <a:lnTo>
                    <a:pt x="25767" y="278348"/>
                  </a:lnTo>
                  <a:lnTo>
                    <a:pt x="25767" y="278666"/>
                  </a:lnTo>
                  <a:close/>
                  <a:moveTo>
                    <a:pt x="27040" y="190231"/>
                  </a:moveTo>
                  <a:cubicBezTo>
                    <a:pt x="27358" y="189277"/>
                    <a:pt x="27676" y="189277"/>
                    <a:pt x="27676" y="189277"/>
                  </a:cubicBezTo>
                  <a:cubicBezTo>
                    <a:pt x="27676" y="190231"/>
                    <a:pt x="27676" y="190231"/>
                    <a:pt x="27358" y="190549"/>
                  </a:cubicBezTo>
                  <a:cubicBezTo>
                    <a:pt x="27358" y="190549"/>
                    <a:pt x="27040" y="190549"/>
                    <a:pt x="26403" y="190231"/>
                  </a:cubicBezTo>
                  <a:lnTo>
                    <a:pt x="27040" y="190231"/>
                  </a:lnTo>
                  <a:close/>
                  <a:moveTo>
                    <a:pt x="27358" y="185141"/>
                  </a:moveTo>
                  <a:cubicBezTo>
                    <a:pt x="27358" y="185141"/>
                    <a:pt x="27676" y="185141"/>
                    <a:pt x="27676" y="184823"/>
                  </a:cubicBezTo>
                  <a:lnTo>
                    <a:pt x="27994" y="185141"/>
                  </a:lnTo>
                  <a:cubicBezTo>
                    <a:pt x="27994" y="185141"/>
                    <a:pt x="27994" y="185777"/>
                    <a:pt x="27676" y="185777"/>
                  </a:cubicBezTo>
                  <a:cubicBezTo>
                    <a:pt x="27676" y="187050"/>
                    <a:pt x="28312" y="186095"/>
                    <a:pt x="28312" y="187050"/>
                  </a:cubicBezTo>
                  <a:lnTo>
                    <a:pt x="27358" y="188322"/>
                  </a:lnTo>
                  <a:lnTo>
                    <a:pt x="26721" y="188004"/>
                  </a:lnTo>
                  <a:cubicBezTo>
                    <a:pt x="27040" y="187686"/>
                    <a:pt x="27358" y="187686"/>
                    <a:pt x="27358" y="187368"/>
                  </a:cubicBezTo>
                  <a:lnTo>
                    <a:pt x="26721" y="186732"/>
                  </a:lnTo>
                  <a:cubicBezTo>
                    <a:pt x="26721" y="185141"/>
                    <a:pt x="27040" y="185141"/>
                    <a:pt x="27358" y="185141"/>
                  </a:cubicBezTo>
                  <a:close/>
                  <a:moveTo>
                    <a:pt x="27994" y="280575"/>
                  </a:moveTo>
                  <a:lnTo>
                    <a:pt x="27040" y="280893"/>
                  </a:lnTo>
                  <a:cubicBezTo>
                    <a:pt x="27040" y="280893"/>
                    <a:pt x="27040" y="281211"/>
                    <a:pt x="27994" y="281847"/>
                  </a:cubicBezTo>
                  <a:lnTo>
                    <a:pt x="28312" y="281847"/>
                  </a:lnTo>
                  <a:cubicBezTo>
                    <a:pt x="27994" y="281529"/>
                    <a:pt x="27994" y="281211"/>
                    <a:pt x="27994" y="280575"/>
                  </a:cubicBezTo>
                  <a:close/>
                  <a:moveTo>
                    <a:pt x="28312" y="183551"/>
                  </a:moveTo>
                  <a:lnTo>
                    <a:pt x="28948" y="183551"/>
                  </a:lnTo>
                  <a:lnTo>
                    <a:pt x="28948" y="184187"/>
                  </a:lnTo>
                  <a:cubicBezTo>
                    <a:pt x="28312" y="184187"/>
                    <a:pt x="28312" y="183551"/>
                    <a:pt x="28312" y="183551"/>
                  </a:cubicBezTo>
                  <a:close/>
                  <a:moveTo>
                    <a:pt x="28948" y="185141"/>
                  </a:moveTo>
                  <a:lnTo>
                    <a:pt x="29585" y="185459"/>
                  </a:lnTo>
                  <a:cubicBezTo>
                    <a:pt x="29267" y="185777"/>
                    <a:pt x="29267" y="185459"/>
                    <a:pt x="29267" y="185459"/>
                  </a:cubicBezTo>
                  <a:lnTo>
                    <a:pt x="29267" y="185777"/>
                  </a:lnTo>
                  <a:lnTo>
                    <a:pt x="28948" y="185141"/>
                  </a:lnTo>
                  <a:close/>
                  <a:moveTo>
                    <a:pt x="30857" y="181642"/>
                  </a:moveTo>
                  <a:lnTo>
                    <a:pt x="31175" y="181642"/>
                  </a:lnTo>
                  <a:cubicBezTo>
                    <a:pt x="31175" y="181960"/>
                    <a:pt x="30857" y="182596"/>
                    <a:pt x="30539" y="182596"/>
                  </a:cubicBezTo>
                  <a:cubicBezTo>
                    <a:pt x="30539" y="182596"/>
                    <a:pt x="30221" y="182596"/>
                    <a:pt x="30221" y="181960"/>
                  </a:cubicBezTo>
                  <a:lnTo>
                    <a:pt x="29585" y="181960"/>
                  </a:lnTo>
                  <a:cubicBezTo>
                    <a:pt x="30221" y="181642"/>
                    <a:pt x="30539" y="181642"/>
                    <a:pt x="30857" y="181642"/>
                  </a:cubicBezTo>
                  <a:close/>
                  <a:moveTo>
                    <a:pt x="30857" y="182914"/>
                  </a:moveTo>
                  <a:lnTo>
                    <a:pt x="30857" y="183551"/>
                  </a:lnTo>
                  <a:cubicBezTo>
                    <a:pt x="30857" y="183869"/>
                    <a:pt x="30539" y="184505"/>
                    <a:pt x="29903" y="184505"/>
                  </a:cubicBezTo>
                  <a:cubicBezTo>
                    <a:pt x="29903" y="184505"/>
                    <a:pt x="29585" y="184505"/>
                    <a:pt x="29585" y="183869"/>
                  </a:cubicBezTo>
                  <a:cubicBezTo>
                    <a:pt x="29585" y="183869"/>
                    <a:pt x="29903" y="183232"/>
                    <a:pt x="30857" y="182914"/>
                  </a:cubicBezTo>
                  <a:close/>
                  <a:moveTo>
                    <a:pt x="30539" y="179097"/>
                  </a:moveTo>
                  <a:lnTo>
                    <a:pt x="30857" y="178779"/>
                  </a:lnTo>
                  <a:cubicBezTo>
                    <a:pt x="31175" y="179415"/>
                    <a:pt x="31493" y="179415"/>
                    <a:pt x="31811" y="179415"/>
                  </a:cubicBezTo>
                  <a:cubicBezTo>
                    <a:pt x="32129" y="179415"/>
                    <a:pt x="32129" y="179415"/>
                    <a:pt x="32448" y="179097"/>
                  </a:cubicBezTo>
                  <a:lnTo>
                    <a:pt x="32448" y="178461"/>
                  </a:lnTo>
                  <a:cubicBezTo>
                    <a:pt x="32766" y="179097"/>
                    <a:pt x="32766" y="179097"/>
                    <a:pt x="33402" y="179097"/>
                  </a:cubicBezTo>
                  <a:cubicBezTo>
                    <a:pt x="33402" y="179733"/>
                    <a:pt x="33084" y="179097"/>
                    <a:pt x="32448" y="180051"/>
                  </a:cubicBezTo>
                  <a:lnTo>
                    <a:pt x="32448" y="180369"/>
                  </a:lnTo>
                  <a:lnTo>
                    <a:pt x="33402" y="180369"/>
                  </a:lnTo>
                  <a:cubicBezTo>
                    <a:pt x="33402" y="180369"/>
                    <a:pt x="33402" y="181006"/>
                    <a:pt x="32766" y="181006"/>
                  </a:cubicBezTo>
                  <a:cubicBezTo>
                    <a:pt x="32129" y="181006"/>
                    <a:pt x="31493" y="179733"/>
                    <a:pt x="31175" y="179733"/>
                  </a:cubicBezTo>
                  <a:cubicBezTo>
                    <a:pt x="30857" y="179733"/>
                    <a:pt x="30221" y="180051"/>
                    <a:pt x="30539" y="180051"/>
                  </a:cubicBezTo>
                  <a:cubicBezTo>
                    <a:pt x="30539" y="180051"/>
                    <a:pt x="30221" y="180051"/>
                    <a:pt x="30221" y="179733"/>
                  </a:cubicBezTo>
                  <a:cubicBezTo>
                    <a:pt x="30221" y="179415"/>
                    <a:pt x="30221" y="179415"/>
                    <a:pt x="30539" y="179097"/>
                  </a:cubicBezTo>
                  <a:close/>
                  <a:moveTo>
                    <a:pt x="30539" y="176870"/>
                  </a:moveTo>
                  <a:cubicBezTo>
                    <a:pt x="30539" y="176552"/>
                    <a:pt x="30539" y="175916"/>
                    <a:pt x="30857" y="175916"/>
                  </a:cubicBezTo>
                  <a:cubicBezTo>
                    <a:pt x="31175" y="175916"/>
                    <a:pt x="31175" y="176552"/>
                    <a:pt x="31175" y="176552"/>
                  </a:cubicBezTo>
                  <a:cubicBezTo>
                    <a:pt x="31175" y="176870"/>
                    <a:pt x="31175" y="177188"/>
                    <a:pt x="30857" y="177188"/>
                  </a:cubicBezTo>
                  <a:cubicBezTo>
                    <a:pt x="30539" y="177188"/>
                    <a:pt x="30539" y="177188"/>
                    <a:pt x="30539" y="176870"/>
                  </a:cubicBezTo>
                  <a:close/>
                  <a:moveTo>
                    <a:pt x="34356" y="183551"/>
                  </a:moveTo>
                  <a:lnTo>
                    <a:pt x="34992" y="184187"/>
                  </a:lnTo>
                  <a:cubicBezTo>
                    <a:pt x="35310" y="184187"/>
                    <a:pt x="35629" y="183869"/>
                    <a:pt x="35629" y="183551"/>
                  </a:cubicBezTo>
                  <a:cubicBezTo>
                    <a:pt x="35629" y="183551"/>
                    <a:pt x="35310" y="183551"/>
                    <a:pt x="35310" y="182914"/>
                  </a:cubicBezTo>
                  <a:lnTo>
                    <a:pt x="34992" y="182914"/>
                  </a:lnTo>
                  <a:cubicBezTo>
                    <a:pt x="34674" y="182914"/>
                    <a:pt x="34992" y="183551"/>
                    <a:pt x="34356" y="183551"/>
                  </a:cubicBezTo>
                  <a:close/>
                  <a:moveTo>
                    <a:pt x="35310" y="176552"/>
                  </a:moveTo>
                  <a:cubicBezTo>
                    <a:pt x="35310" y="176870"/>
                    <a:pt x="35947" y="176870"/>
                    <a:pt x="35947" y="177188"/>
                  </a:cubicBezTo>
                  <a:cubicBezTo>
                    <a:pt x="35947" y="177188"/>
                    <a:pt x="35947" y="177506"/>
                    <a:pt x="35629" y="177825"/>
                  </a:cubicBezTo>
                  <a:lnTo>
                    <a:pt x="34992" y="178461"/>
                  </a:lnTo>
                  <a:lnTo>
                    <a:pt x="34674" y="178143"/>
                  </a:lnTo>
                  <a:cubicBezTo>
                    <a:pt x="34674" y="177188"/>
                    <a:pt x="34992" y="176870"/>
                    <a:pt x="35310" y="176552"/>
                  </a:cubicBezTo>
                  <a:close/>
                  <a:moveTo>
                    <a:pt x="35310" y="171462"/>
                  </a:moveTo>
                  <a:cubicBezTo>
                    <a:pt x="35310" y="171462"/>
                    <a:pt x="34992" y="171144"/>
                    <a:pt x="34992" y="170826"/>
                  </a:cubicBezTo>
                  <a:lnTo>
                    <a:pt x="35629" y="170826"/>
                  </a:lnTo>
                  <a:cubicBezTo>
                    <a:pt x="35629" y="171144"/>
                    <a:pt x="35629" y="171462"/>
                    <a:pt x="35310" y="171462"/>
                  </a:cubicBezTo>
                  <a:close/>
                  <a:moveTo>
                    <a:pt x="38173" y="172417"/>
                  </a:moveTo>
                  <a:lnTo>
                    <a:pt x="38173" y="173053"/>
                  </a:lnTo>
                  <a:lnTo>
                    <a:pt x="38491" y="173689"/>
                  </a:lnTo>
                  <a:cubicBezTo>
                    <a:pt x="38491" y="173689"/>
                    <a:pt x="38173" y="175280"/>
                    <a:pt x="37537" y="175280"/>
                  </a:cubicBezTo>
                  <a:cubicBezTo>
                    <a:pt x="37537" y="175280"/>
                    <a:pt x="37219" y="175280"/>
                    <a:pt x="36901" y="174962"/>
                  </a:cubicBezTo>
                  <a:lnTo>
                    <a:pt x="36901" y="175916"/>
                  </a:lnTo>
                  <a:cubicBezTo>
                    <a:pt x="36901" y="176234"/>
                    <a:pt x="36901" y="176234"/>
                    <a:pt x="36583" y="176234"/>
                  </a:cubicBezTo>
                  <a:cubicBezTo>
                    <a:pt x="35629" y="176234"/>
                    <a:pt x="35310" y="175598"/>
                    <a:pt x="35310" y="175598"/>
                  </a:cubicBezTo>
                  <a:cubicBezTo>
                    <a:pt x="35629" y="174325"/>
                    <a:pt x="37537" y="173689"/>
                    <a:pt x="38173" y="172417"/>
                  </a:cubicBezTo>
                  <a:close/>
                  <a:moveTo>
                    <a:pt x="37537" y="168599"/>
                  </a:moveTo>
                  <a:lnTo>
                    <a:pt x="37537" y="169872"/>
                  </a:lnTo>
                  <a:cubicBezTo>
                    <a:pt x="37219" y="169872"/>
                    <a:pt x="37219" y="168917"/>
                    <a:pt x="36901" y="168917"/>
                  </a:cubicBezTo>
                  <a:cubicBezTo>
                    <a:pt x="36901" y="168917"/>
                    <a:pt x="37219" y="168917"/>
                    <a:pt x="37219" y="168599"/>
                  </a:cubicBezTo>
                  <a:lnTo>
                    <a:pt x="37537" y="168599"/>
                  </a:lnTo>
                  <a:close/>
                  <a:moveTo>
                    <a:pt x="37537" y="168599"/>
                  </a:moveTo>
                  <a:cubicBezTo>
                    <a:pt x="37537" y="168281"/>
                    <a:pt x="37537" y="167963"/>
                    <a:pt x="37855" y="167327"/>
                  </a:cubicBezTo>
                  <a:cubicBezTo>
                    <a:pt x="37855" y="167645"/>
                    <a:pt x="38173" y="167645"/>
                    <a:pt x="38173" y="167645"/>
                  </a:cubicBezTo>
                  <a:cubicBezTo>
                    <a:pt x="38491" y="167963"/>
                    <a:pt x="37537" y="168599"/>
                    <a:pt x="37537" y="168599"/>
                  </a:cubicBezTo>
                  <a:close/>
                  <a:moveTo>
                    <a:pt x="40082" y="166054"/>
                  </a:moveTo>
                  <a:lnTo>
                    <a:pt x="39764" y="165736"/>
                  </a:lnTo>
                  <a:lnTo>
                    <a:pt x="40082" y="165736"/>
                  </a:lnTo>
                  <a:cubicBezTo>
                    <a:pt x="40400" y="165418"/>
                    <a:pt x="40400" y="164782"/>
                    <a:pt x="40400" y="164464"/>
                  </a:cubicBezTo>
                  <a:cubicBezTo>
                    <a:pt x="40082" y="164146"/>
                    <a:pt x="40082" y="164146"/>
                    <a:pt x="40082" y="163828"/>
                  </a:cubicBezTo>
                  <a:cubicBezTo>
                    <a:pt x="40082" y="163828"/>
                    <a:pt x="40082" y="163509"/>
                    <a:pt x="40400" y="163509"/>
                  </a:cubicBezTo>
                  <a:cubicBezTo>
                    <a:pt x="40718" y="163509"/>
                    <a:pt x="41036" y="163828"/>
                    <a:pt x="41355" y="163828"/>
                  </a:cubicBezTo>
                  <a:cubicBezTo>
                    <a:pt x="41355" y="163828"/>
                    <a:pt x="41673" y="162555"/>
                    <a:pt x="41673" y="162873"/>
                  </a:cubicBezTo>
                  <a:cubicBezTo>
                    <a:pt x="43582" y="161919"/>
                    <a:pt x="42945" y="161283"/>
                    <a:pt x="43582" y="161283"/>
                  </a:cubicBezTo>
                  <a:cubicBezTo>
                    <a:pt x="43582" y="161283"/>
                    <a:pt x="43900" y="161601"/>
                    <a:pt x="44218" y="161601"/>
                  </a:cubicBezTo>
                  <a:cubicBezTo>
                    <a:pt x="44536" y="160646"/>
                    <a:pt x="44536" y="160646"/>
                    <a:pt x="44854" y="160646"/>
                  </a:cubicBezTo>
                  <a:lnTo>
                    <a:pt x="44854" y="161919"/>
                  </a:lnTo>
                  <a:cubicBezTo>
                    <a:pt x="44854" y="162237"/>
                    <a:pt x="44536" y="162555"/>
                    <a:pt x="44218" y="162873"/>
                  </a:cubicBezTo>
                  <a:lnTo>
                    <a:pt x="42945" y="163509"/>
                  </a:lnTo>
                  <a:cubicBezTo>
                    <a:pt x="42945" y="162873"/>
                    <a:pt x="41355" y="165736"/>
                    <a:pt x="41355" y="165736"/>
                  </a:cubicBezTo>
                  <a:cubicBezTo>
                    <a:pt x="40718" y="165736"/>
                    <a:pt x="40400" y="166054"/>
                    <a:pt x="40082" y="166054"/>
                  </a:cubicBezTo>
                  <a:close/>
                  <a:moveTo>
                    <a:pt x="40400" y="193412"/>
                  </a:moveTo>
                  <a:cubicBezTo>
                    <a:pt x="40400" y="194684"/>
                    <a:pt x="40082" y="195003"/>
                    <a:pt x="40082" y="195321"/>
                  </a:cubicBezTo>
                  <a:lnTo>
                    <a:pt x="39764" y="195003"/>
                  </a:lnTo>
                  <a:cubicBezTo>
                    <a:pt x="39764" y="194684"/>
                    <a:pt x="40082" y="194048"/>
                    <a:pt x="40400" y="193412"/>
                  </a:cubicBezTo>
                  <a:close/>
                  <a:moveTo>
                    <a:pt x="41673" y="191503"/>
                  </a:moveTo>
                  <a:cubicBezTo>
                    <a:pt x="41991" y="191503"/>
                    <a:pt x="41991" y="191821"/>
                    <a:pt x="41991" y="191821"/>
                  </a:cubicBezTo>
                  <a:lnTo>
                    <a:pt x="41991" y="192140"/>
                  </a:lnTo>
                  <a:cubicBezTo>
                    <a:pt x="41673" y="192776"/>
                    <a:pt x="40718" y="193094"/>
                    <a:pt x="40400" y="193412"/>
                  </a:cubicBezTo>
                  <a:cubicBezTo>
                    <a:pt x="40400" y="192776"/>
                    <a:pt x="40718" y="192458"/>
                    <a:pt x="40718" y="191821"/>
                  </a:cubicBezTo>
                  <a:cubicBezTo>
                    <a:pt x="41036" y="191821"/>
                    <a:pt x="41355" y="191503"/>
                    <a:pt x="41673" y="191503"/>
                  </a:cubicBezTo>
                  <a:close/>
                  <a:moveTo>
                    <a:pt x="46763" y="166054"/>
                  </a:moveTo>
                  <a:cubicBezTo>
                    <a:pt x="46444" y="166054"/>
                    <a:pt x="46126" y="166054"/>
                    <a:pt x="45808" y="166372"/>
                  </a:cubicBezTo>
                  <a:cubicBezTo>
                    <a:pt x="46126" y="166691"/>
                    <a:pt x="47081" y="167009"/>
                    <a:pt x="47399" y="167009"/>
                  </a:cubicBezTo>
                  <a:cubicBezTo>
                    <a:pt x="47399" y="167009"/>
                    <a:pt x="47717" y="167009"/>
                    <a:pt x="47717" y="166691"/>
                  </a:cubicBezTo>
                  <a:lnTo>
                    <a:pt x="47717" y="166372"/>
                  </a:lnTo>
                  <a:cubicBezTo>
                    <a:pt x="47081" y="166054"/>
                    <a:pt x="47081" y="166054"/>
                    <a:pt x="46763" y="166054"/>
                  </a:cubicBezTo>
                  <a:close/>
                  <a:moveTo>
                    <a:pt x="47399" y="165418"/>
                  </a:moveTo>
                  <a:lnTo>
                    <a:pt x="47717" y="165418"/>
                  </a:lnTo>
                  <a:cubicBezTo>
                    <a:pt x="49307" y="165418"/>
                    <a:pt x="48671" y="163509"/>
                    <a:pt x="49625" y="163509"/>
                  </a:cubicBezTo>
                  <a:lnTo>
                    <a:pt x="50262" y="162555"/>
                  </a:lnTo>
                  <a:cubicBezTo>
                    <a:pt x="50580" y="162555"/>
                    <a:pt x="50580" y="161919"/>
                    <a:pt x="50580" y="161919"/>
                  </a:cubicBezTo>
                  <a:lnTo>
                    <a:pt x="50262" y="161919"/>
                  </a:lnTo>
                  <a:cubicBezTo>
                    <a:pt x="50262" y="161919"/>
                    <a:pt x="48035" y="162873"/>
                    <a:pt x="47399" y="164464"/>
                  </a:cubicBezTo>
                  <a:lnTo>
                    <a:pt x="47399" y="165418"/>
                  </a:lnTo>
                  <a:close/>
                  <a:moveTo>
                    <a:pt x="47717" y="158420"/>
                  </a:moveTo>
                  <a:cubicBezTo>
                    <a:pt x="47717" y="158102"/>
                    <a:pt x="48035" y="157465"/>
                    <a:pt x="48353" y="157147"/>
                  </a:cubicBezTo>
                  <a:lnTo>
                    <a:pt x="48353" y="158102"/>
                  </a:lnTo>
                  <a:cubicBezTo>
                    <a:pt x="48353" y="158420"/>
                    <a:pt x="48035" y="158738"/>
                    <a:pt x="47717" y="158738"/>
                  </a:cubicBezTo>
                  <a:lnTo>
                    <a:pt x="47717" y="158420"/>
                  </a:lnTo>
                  <a:close/>
                  <a:moveTo>
                    <a:pt x="51216" y="155557"/>
                  </a:moveTo>
                  <a:lnTo>
                    <a:pt x="50262" y="155239"/>
                  </a:lnTo>
                  <a:cubicBezTo>
                    <a:pt x="50262" y="153648"/>
                    <a:pt x="51852" y="153012"/>
                    <a:pt x="53125" y="152057"/>
                  </a:cubicBezTo>
                  <a:lnTo>
                    <a:pt x="53443" y="152057"/>
                  </a:lnTo>
                  <a:cubicBezTo>
                    <a:pt x="53125" y="153330"/>
                    <a:pt x="53125" y="153966"/>
                    <a:pt x="52170" y="154284"/>
                  </a:cubicBezTo>
                  <a:lnTo>
                    <a:pt x="51216" y="155557"/>
                  </a:lnTo>
                  <a:close/>
                  <a:moveTo>
                    <a:pt x="52170" y="43581"/>
                  </a:moveTo>
                  <a:cubicBezTo>
                    <a:pt x="53125" y="42627"/>
                    <a:pt x="53761" y="42627"/>
                    <a:pt x="53761" y="42309"/>
                  </a:cubicBezTo>
                  <a:lnTo>
                    <a:pt x="53125" y="42309"/>
                  </a:lnTo>
                  <a:cubicBezTo>
                    <a:pt x="52170" y="42309"/>
                    <a:pt x="52170" y="42627"/>
                    <a:pt x="52170" y="43581"/>
                  </a:cubicBezTo>
                  <a:close/>
                  <a:moveTo>
                    <a:pt x="53761" y="41991"/>
                  </a:moveTo>
                  <a:cubicBezTo>
                    <a:pt x="54079" y="41991"/>
                    <a:pt x="54397" y="41991"/>
                    <a:pt x="54397" y="41673"/>
                  </a:cubicBezTo>
                  <a:cubicBezTo>
                    <a:pt x="54397" y="41355"/>
                    <a:pt x="54079" y="41355"/>
                    <a:pt x="53761" y="40718"/>
                  </a:cubicBezTo>
                  <a:lnTo>
                    <a:pt x="53761" y="41991"/>
                  </a:lnTo>
                  <a:close/>
                  <a:moveTo>
                    <a:pt x="53761" y="159056"/>
                  </a:moveTo>
                  <a:lnTo>
                    <a:pt x="53761" y="159692"/>
                  </a:lnTo>
                  <a:lnTo>
                    <a:pt x="54079" y="160010"/>
                  </a:lnTo>
                  <a:cubicBezTo>
                    <a:pt x="54397" y="160010"/>
                    <a:pt x="54397" y="159692"/>
                    <a:pt x="54397" y="159692"/>
                  </a:cubicBezTo>
                  <a:lnTo>
                    <a:pt x="54397" y="159374"/>
                  </a:lnTo>
                  <a:cubicBezTo>
                    <a:pt x="54397" y="159692"/>
                    <a:pt x="55352" y="157147"/>
                    <a:pt x="57897" y="157147"/>
                  </a:cubicBezTo>
                  <a:lnTo>
                    <a:pt x="57578" y="156511"/>
                  </a:lnTo>
                  <a:cubicBezTo>
                    <a:pt x="56942" y="155875"/>
                    <a:pt x="56306" y="155875"/>
                    <a:pt x="56306" y="155875"/>
                  </a:cubicBezTo>
                  <a:cubicBezTo>
                    <a:pt x="55352" y="156511"/>
                    <a:pt x="55352" y="158102"/>
                    <a:pt x="54079" y="158102"/>
                  </a:cubicBezTo>
                  <a:cubicBezTo>
                    <a:pt x="53761" y="158420"/>
                    <a:pt x="53761" y="158738"/>
                    <a:pt x="53761" y="159056"/>
                  </a:cubicBezTo>
                  <a:close/>
                  <a:moveTo>
                    <a:pt x="55352" y="151421"/>
                  </a:moveTo>
                  <a:cubicBezTo>
                    <a:pt x="55352" y="151421"/>
                    <a:pt x="55033" y="151421"/>
                    <a:pt x="55033" y="151103"/>
                  </a:cubicBezTo>
                  <a:lnTo>
                    <a:pt x="55352" y="151103"/>
                  </a:lnTo>
                  <a:lnTo>
                    <a:pt x="55352" y="151421"/>
                  </a:lnTo>
                  <a:close/>
                  <a:moveTo>
                    <a:pt x="56624" y="150149"/>
                  </a:moveTo>
                  <a:lnTo>
                    <a:pt x="56306" y="149831"/>
                  </a:lnTo>
                  <a:cubicBezTo>
                    <a:pt x="56624" y="149194"/>
                    <a:pt x="58215" y="147922"/>
                    <a:pt x="58533" y="147922"/>
                  </a:cubicBezTo>
                  <a:cubicBezTo>
                    <a:pt x="58533" y="148876"/>
                    <a:pt x="58215" y="149513"/>
                    <a:pt x="57897" y="150467"/>
                  </a:cubicBezTo>
                  <a:cubicBezTo>
                    <a:pt x="57578" y="150467"/>
                    <a:pt x="57578" y="150467"/>
                    <a:pt x="56624" y="150149"/>
                  </a:cubicBezTo>
                  <a:close/>
                  <a:moveTo>
                    <a:pt x="112294" y="38492"/>
                  </a:moveTo>
                  <a:lnTo>
                    <a:pt x="110385" y="38492"/>
                  </a:lnTo>
                  <a:cubicBezTo>
                    <a:pt x="109431" y="38492"/>
                    <a:pt x="109431" y="38173"/>
                    <a:pt x="109112" y="36583"/>
                  </a:cubicBezTo>
                  <a:cubicBezTo>
                    <a:pt x="109112" y="37219"/>
                    <a:pt x="104341" y="32447"/>
                    <a:pt x="104341" y="30539"/>
                  </a:cubicBezTo>
                  <a:cubicBezTo>
                    <a:pt x="104341" y="29584"/>
                    <a:pt x="104341" y="29266"/>
                    <a:pt x="104977" y="28630"/>
                  </a:cubicBezTo>
                  <a:cubicBezTo>
                    <a:pt x="104977" y="27994"/>
                    <a:pt x="104341" y="27676"/>
                    <a:pt x="104341" y="27040"/>
                  </a:cubicBezTo>
                  <a:cubicBezTo>
                    <a:pt x="104341" y="26721"/>
                    <a:pt x="104341" y="26403"/>
                    <a:pt x="104659" y="26085"/>
                  </a:cubicBezTo>
                  <a:cubicBezTo>
                    <a:pt x="104659" y="26085"/>
                    <a:pt x="104341" y="25767"/>
                    <a:pt x="104341" y="25449"/>
                  </a:cubicBezTo>
                  <a:cubicBezTo>
                    <a:pt x="104341" y="25131"/>
                    <a:pt x="104659" y="25131"/>
                    <a:pt x="104977" y="24813"/>
                  </a:cubicBezTo>
                  <a:cubicBezTo>
                    <a:pt x="104659" y="23540"/>
                    <a:pt x="103704" y="21950"/>
                    <a:pt x="103386" y="20995"/>
                  </a:cubicBezTo>
                  <a:cubicBezTo>
                    <a:pt x="103386" y="20677"/>
                    <a:pt x="103704" y="20041"/>
                    <a:pt x="103704" y="20041"/>
                  </a:cubicBezTo>
                  <a:cubicBezTo>
                    <a:pt x="103386" y="19087"/>
                    <a:pt x="103386" y="17814"/>
                    <a:pt x="102750" y="17178"/>
                  </a:cubicBezTo>
                  <a:lnTo>
                    <a:pt x="102114" y="15269"/>
                  </a:lnTo>
                  <a:cubicBezTo>
                    <a:pt x="101796" y="14951"/>
                    <a:pt x="101478" y="14951"/>
                    <a:pt x="101160" y="14951"/>
                  </a:cubicBezTo>
                  <a:cubicBezTo>
                    <a:pt x="98297" y="14951"/>
                    <a:pt x="99251" y="16860"/>
                    <a:pt x="96070" y="18450"/>
                  </a:cubicBezTo>
                  <a:lnTo>
                    <a:pt x="96070" y="17814"/>
                  </a:lnTo>
                  <a:cubicBezTo>
                    <a:pt x="96388" y="17814"/>
                    <a:pt x="96706" y="17814"/>
                    <a:pt x="96706" y="17496"/>
                  </a:cubicBezTo>
                  <a:cubicBezTo>
                    <a:pt x="95115" y="17496"/>
                    <a:pt x="91298" y="21313"/>
                    <a:pt x="91298" y="22904"/>
                  </a:cubicBezTo>
                  <a:lnTo>
                    <a:pt x="91616" y="22904"/>
                  </a:lnTo>
                  <a:cubicBezTo>
                    <a:pt x="92252" y="23540"/>
                    <a:pt x="92252" y="23858"/>
                    <a:pt x="92252" y="23858"/>
                  </a:cubicBezTo>
                  <a:lnTo>
                    <a:pt x="90662" y="23540"/>
                  </a:lnTo>
                  <a:lnTo>
                    <a:pt x="89071" y="25131"/>
                  </a:lnTo>
                  <a:cubicBezTo>
                    <a:pt x="88435" y="25131"/>
                    <a:pt x="88117" y="24813"/>
                    <a:pt x="88117" y="24813"/>
                  </a:cubicBezTo>
                  <a:cubicBezTo>
                    <a:pt x="88117" y="25767"/>
                    <a:pt x="85254" y="27676"/>
                    <a:pt x="85254" y="30221"/>
                  </a:cubicBezTo>
                  <a:lnTo>
                    <a:pt x="85572" y="31811"/>
                  </a:lnTo>
                  <a:cubicBezTo>
                    <a:pt x="85572" y="31811"/>
                    <a:pt x="85254" y="31811"/>
                    <a:pt x="84618" y="31175"/>
                  </a:cubicBezTo>
                  <a:lnTo>
                    <a:pt x="84300" y="30221"/>
                  </a:lnTo>
                  <a:cubicBezTo>
                    <a:pt x="84300" y="34038"/>
                    <a:pt x="83664" y="32766"/>
                    <a:pt x="83664" y="34356"/>
                  </a:cubicBezTo>
                  <a:cubicBezTo>
                    <a:pt x="83346" y="34674"/>
                    <a:pt x="83346" y="34038"/>
                    <a:pt x="83346" y="34038"/>
                  </a:cubicBezTo>
                  <a:lnTo>
                    <a:pt x="83027" y="34038"/>
                  </a:lnTo>
                  <a:lnTo>
                    <a:pt x="83027" y="34356"/>
                  </a:lnTo>
                  <a:cubicBezTo>
                    <a:pt x="83027" y="36265"/>
                    <a:pt x="81119" y="36265"/>
                    <a:pt x="81437" y="36583"/>
                  </a:cubicBezTo>
                  <a:lnTo>
                    <a:pt x="81119" y="36265"/>
                  </a:lnTo>
                  <a:lnTo>
                    <a:pt x="80800" y="36265"/>
                  </a:lnTo>
                  <a:lnTo>
                    <a:pt x="80800" y="36901"/>
                  </a:lnTo>
                  <a:cubicBezTo>
                    <a:pt x="80164" y="37219"/>
                    <a:pt x="79846" y="37219"/>
                    <a:pt x="79846" y="37537"/>
                  </a:cubicBezTo>
                  <a:cubicBezTo>
                    <a:pt x="80164" y="38492"/>
                    <a:pt x="80482" y="38810"/>
                    <a:pt x="80482" y="38810"/>
                  </a:cubicBezTo>
                  <a:lnTo>
                    <a:pt x="79846" y="38810"/>
                  </a:lnTo>
                  <a:lnTo>
                    <a:pt x="79846" y="38173"/>
                  </a:lnTo>
                  <a:lnTo>
                    <a:pt x="79528" y="37855"/>
                  </a:lnTo>
                  <a:cubicBezTo>
                    <a:pt x="76347" y="39128"/>
                    <a:pt x="79210" y="41673"/>
                    <a:pt x="74756" y="43581"/>
                  </a:cubicBezTo>
                  <a:lnTo>
                    <a:pt x="76029" y="45172"/>
                  </a:lnTo>
                  <a:lnTo>
                    <a:pt x="75711" y="45172"/>
                  </a:lnTo>
                  <a:cubicBezTo>
                    <a:pt x="75393" y="45172"/>
                    <a:pt x="75393" y="45808"/>
                    <a:pt x="75393" y="45808"/>
                  </a:cubicBezTo>
                  <a:lnTo>
                    <a:pt x="73484" y="48353"/>
                  </a:lnTo>
                  <a:cubicBezTo>
                    <a:pt x="73166" y="48353"/>
                    <a:pt x="71575" y="50580"/>
                    <a:pt x="71575" y="51216"/>
                  </a:cubicBezTo>
                  <a:lnTo>
                    <a:pt x="71257" y="50898"/>
                  </a:lnTo>
                  <a:lnTo>
                    <a:pt x="70939" y="51216"/>
                  </a:lnTo>
                  <a:cubicBezTo>
                    <a:pt x="70939" y="51216"/>
                    <a:pt x="70621" y="51216"/>
                    <a:pt x="70621" y="50898"/>
                  </a:cubicBezTo>
                  <a:lnTo>
                    <a:pt x="70621" y="53125"/>
                  </a:lnTo>
                  <a:lnTo>
                    <a:pt x="69349" y="53443"/>
                  </a:lnTo>
                  <a:cubicBezTo>
                    <a:pt x="69349" y="54079"/>
                    <a:pt x="67758" y="54715"/>
                    <a:pt x="67440" y="55351"/>
                  </a:cubicBezTo>
                  <a:lnTo>
                    <a:pt x="67440" y="55988"/>
                  </a:lnTo>
                  <a:cubicBezTo>
                    <a:pt x="67440" y="56306"/>
                    <a:pt x="67440" y="56306"/>
                    <a:pt x="67758" y="56624"/>
                  </a:cubicBezTo>
                  <a:lnTo>
                    <a:pt x="68394" y="56942"/>
                  </a:lnTo>
                  <a:cubicBezTo>
                    <a:pt x="67758" y="57578"/>
                    <a:pt x="67758" y="58533"/>
                    <a:pt x="67440" y="58851"/>
                  </a:cubicBezTo>
                  <a:lnTo>
                    <a:pt x="66167" y="58851"/>
                  </a:lnTo>
                  <a:cubicBezTo>
                    <a:pt x="66485" y="59805"/>
                    <a:pt x="66485" y="59805"/>
                    <a:pt x="66485" y="60441"/>
                  </a:cubicBezTo>
                  <a:cubicBezTo>
                    <a:pt x="64577" y="60441"/>
                    <a:pt x="65213" y="60441"/>
                    <a:pt x="62668" y="68712"/>
                  </a:cubicBezTo>
                  <a:lnTo>
                    <a:pt x="62668" y="70939"/>
                  </a:lnTo>
                  <a:cubicBezTo>
                    <a:pt x="61396" y="71575"/>
                    <a:pt x="57578" y="82709"/>
                    <a:pt x="57578" y="91616"/>
                  </a:cubicBezTo>
                  <a:lnTo>
                    <a:pt x="57578" y="93525"/>
                  </a:lnTo>
                  <a:cubicBezTo>
                    <a:pt x="57578" y="94479"/>
                    <a:pt x="57578" y="95115"/>
                    <a:pt x="58215" y="96070"/>
                  </a:cubicBezTo>
                  <a:lnTo>
                    <a:pt x="59169" y="96388"/>
                  </a:lnTo>
                  <a:cubicBezTo>
                    <a:pt x="59805" y="96388"/>
                    <a:pt x="59487" y="94797"/>
                    <a:pt x="62350" y="94797"/>
                  </a:cubicBezTo>
                  <a:cubicBezTo>
                    <a:pt x="62350" y="94479"/>
                    <a:pt x="62350" y="92889"/>
                    <a:pt x="62668" y="92889"/>
                  </a:cubicBezTo>
                  <a:cubicBezTo>
                    <a:pt x="62986" y="93207"/>
                    <a:pt x="63622" y="93525"/>
                    <a:pt x="65213" y="93525"/>
                  </a:cubicBezTo>
                  <a:lnTo>
                    <a:pt x="64259" y="92889"/>
                  </a:lnTo>
                  <a:cubicBezTo>
                    <a:pt x="64259" y="93207"/>
                    <a:pt x="64577" y="91298"/>
                    <a:pt x="67440" y="89389"/>
                  </a:cubicBezTo>
                  <a:cubicBezTo>
                    <a:pt x="67758" y="89389"/>
                    <a:pt x="68076" y="89708"/>
                    <a:pt x="68712" y="90344"/>
                  </a:cubicBezTo>
                  <a:lnTo>
                    <a:pt x="69030" y="90344"/>
                  </a:lnTo>
                  <a:cubicBezTo>
                    <a:pt x="69667" y="89708"/>
                    <a:pt x="69349" y="88117"/>
                    <a:pt x="69667" y="88117"/>
                  </a:cubicBezTo>
                  <a:lnTo>
                    <a:pt x="69349" y="86845"/>
                  </a:lnTo>
                  <a:lnTo>
                    <a:pt x="69985" y="86845"/>
                  </a:lnTo>
                  <a:cubicBezTo>
                    <a:pt x="71575" y="86845"/>
                    <a:pt x="73166" y="81119"/>
                    <a:pt x="80164" y="78256"/>
                  </a:cubicBezTo>
                  <a:lnTo>
                    <a:pt x="80164" y="76983"/>
                  </a:lnTo>
                  <a:lnTo>
                    <a:pt x="81755" y="75074"/>
                  </a:lnTo>
                  <a:lnTo>
                    <a:pt x="82073" y="74756"/>
                  </a:lnTo>
                  <a:cubicBezTo>
                    <a:pt x="83346" y="73802"/>
                    <a:pt x="83982" y="73484"/>
                    <a:pt x="85890" y="71575"/>
                  </a:cubicBezTo>
                  <a:lnTo>
                    <a:pt x="86527" y="70939"/>
                  </a:lnTo>
                  <a:cubicBezTo>
                    <a:pt x="86845" y="70939"/>
                    <a:pt x="87163" y="70303"/>
                    <a:pt x="87163" y="69985"/>
                  </a:cubicBezTo>
                  <a:cubicBezTo>
                    <a:pt x="86845" y="69666"/>
                    <a:pt x="86845" y="69348"/>
                    <a:pt x="86845" y="69030"/>
                  </a:cubicBezTo>
                  <a:cubicBezTo>
                    <a:pt x="86845" y="68394"/>
                    <a:pt x="88753" y="67440"/>
                    <a:pt x="90026" y="67440"/>
                  </a:cubicBezTo>
                  <a:lnTo>
                    <a:pt x="90026" y="66167"/>
                  </a:lnTo>
                  <a:cubicBezTo>
                    <a:pt x="90026" y="65849"/>
                    <a:pt x="90344" y="65531"/>
                    <a:pt x="90980" y="64895"/>
                  </a:cubicBezTo>
                  <a:lnTo>
                    <a:pt x="91298" y="64577"/>
                  </a:lnTo>
                  <a:cubicBezTo>
                    <a:pt x="92252" y="62350"/>
                    <a:pt x="94161" y="62668"/>
                    <a:pt x="94161" y="61396"/>
                  </a:cubicBezTo>
                  <a:lnTo>
                    <a:pt x="94161" y="60441"/>
                  </a:lnTo>
                  <a:cubicBezTo>
                    <a:pt x="94479" y="59169"/>
                    <a:pt x="96706" y="58851"/>
                    <a:pt x="96706" y="57260"/>
                  </a:cubicBezTo>
                  <a:cubicBezTo>
                    <a:pt x="100205" y="57260"/>
                    <a:pt x="97024" y="48989"/>
                    <a:pt x="106885" y="48035"/>
                  </a:cubicBezTo>
                  <a:lnTo>
                    <a:pt x="106567" y="47717"/>
                  </a:lnTo>
                  <a:cubicBezTo>
                    <a:pt x="106567" y="47081"/>
                    <a:pt x="107204" y="44536"/>
                    <a:pt x="109431" y="44536"/>
                  </a:cubicBezTo>
                  <a:lnTo>
                    <a:pt x="109112" y="42627"/>
                  </a:lnTo>
                  <a:cubicBezTo>
                    <a:pt x="109112" y="42945"/>
                    <a:pt x="109112" y="41991"/>
                    <a:pt x="110385" y="43899"/>
                  </a:cubicBezTo>
                  <a:lnTo>
                    <a:pt x="110703" y="44218"/>
                  </a:lnTo>
                  <a:cubicBezTo>
                    <a:pt x="110385" y="44536"/>
                    <a:pt x="110067" y="44536"/>
                    <a:pt x="110067" y="44854"/>
                  </a:cubicBezTo>
                  <a:lnTo>
                    <a:pt x="110067" y="45490"/>
                  </a:lnTo>
                  <a:cubicBezTo>
                    <a:pt x="111021" y="45172"/>
                    <a:pt x="111021" y="44536"/>
                    <a:pt x="111657" y="43899"/>
                  </a:cubicBezTo>
                  <a:cubicBezTo>
                    <a:pt x="111339" y="42627"/>
                    <a:pt x="111021" y="42627"/>
                    <a:pt x="110703" y="42627"/>
                  </a:cubicBezTo>
                  <a:lnTo>
                    <a:pt x="110385" y="42627"/>
                  </a:lnTo>
                  <a:cubicBezTo>
                    <a:pt x="110385" y="42627"/>
                    <a:pt x="110067" y="42627"/>
                    <a:pt x="110067" y="42309"/>
                  </a:cubicBezTo>
                  <a:cubicBezTo>
                    <a:pt x="109749" y="42309"/>
                    <a:pt x="109749" y="41991"/>
                    <a:pt x="109749" y="41991"/>
                  </a:cubicBezTo>
                  <a:cubicBezTo>
                    <a:pt x="111339" y="41036"/>
                    <a:pt x="112294" y="40400"/>
                    <a:pt x="112294" y="38810"/>
                  </a:cubicBezTo>
                  <a:lnTo>
                    <a:pt x="112294" y="38492"/>
                  </a:lnTo>
                  <a:close/>
                  <a:moveTo>
                    <a:pt x="60123" y="147922"/>
                  </a:moveTo>
                  <a:lnTo>
                    <a:pt x="59169" y="147922"/>
                  </a:lnTo>
                  <a:cubicBezTo>
                    <a:pt x="59169" y="146968"/>
                    <a:pt x="59487" y="146650"/>
                    <a:pt x="59805" y="146650"/>
                  </a:cubicBezTo>
                  <a:lnTo>
                    <a:pt x="60123" y="146650"/>
                  </a:lnTo>
                  <a:cubicBezTo>
                    <a:pt x="60123" y="146650"/>
                    <a:pt x="62350" y="143787"/>
                    <a:pt x="65213" y="142832"/>
                  </a:cubicBezTo>
                  <a:lnTo>
                    <a:pt x="65531" y="143150"/>
                  </a:lnTo>
                  <a:cubicBezTo>
                    <a:pt x="63940" y="146013"/>
                    <a:pt x="62350" y="143787"/>
                    <a:pt x="60759" y="147286"/>
                  </a:cubicBezTo>
                  <a:cubicBezTo>
                    <a:pt x="60759" y="147922"/>
                    <a:pt x="60441" y="147922"/>
                    <a:pt x="60123" y="147922"/>
                  </a:cubicBezTo>
                  <a:close/>
                  <a:moveTo>
                    <a:pt x="59805" y="153966"/>
                  </a:moveTo>
                  <a:lnTo>
                    <a:pt x="60441" y="154284"/>
                  </a:lnTo>
                  <a:cubicBezTo>
                    <a:pt x="60759" y="153012"/>
                    <a:pt x="63622" y="153648"/>
                    <a:pt x="63622" y="151421"/>
                  </a:cubicBezTo>
                  <a:lnTo>
                    <a:pt x="63622" y="151103"/>
                  </a:lnTo>
                  <a:cubicBezTo>
                    <a:pt x="62668" y="151103"/>
                    <a:pt x="62350" y="151103"/>
                    <a:pt x="61396" y="151421"/>
                  </a:cubicBezTo>
                  <a:cubicBezTo>
                    <a:pt x="61078" y="152057"/>
                    <a:pt x="60759" y="153012"/>
                    <a:pt x="59805" y="153966"/>
                  </a:cubicBezTo>
                  <a:close/>
                  <a:moveTo>
                    <a:pt x="66803" y="147922"/>
                  </a:moveTo>
                  <a:cubicBezTo>
                    <a:pt x="66803" y="147922"/>
                    <a:pt x="66485" y="147922"/>
                    <a:pt x="66485" y="148240"/>
                  </a:cubicBezTo>
                  <a:cubicBezTo>
                    <a:pt x="66485" y="148240"/>
                    <a:pt x="66803" y="148240"/>
                    <a:pt x="66803" y="147922"/>
                  </a:cubicBezTo>
                  <a:close/>
                  <a:moveTo>
                    <a:pt x="66803" y="147604"/>
                  </a:moveTo>
                  <a:cubicBezTo>
                    <a:pt x="67122" y="147604"/>
                    <a:pt x="67758" y="148240"/>
                    <a:pt x="67758" y="148240"/>
                  </a:cubicBezTo>
                  <a:cubicBezTo>
                    <a:pt x="68394" y="146968"/>
                    <a:pt x="69667" y="146331"/>
                    <a:pt x="71575" y="145377"/>
                  </a:cubicBezTo>
                  <a:lnTo>
                    <a:pt x="71575" y="144741"/>
                  </a:lnTo>
                  <a:cubicBezTo>
                    <a:pt x="70303" y="145059"/>
                    <a:pt x="69667" y="146013"/>
                    <a:pt x="68394" y="146331"/>
                  </a:cubicBezTo>
                  <a:cubicBezTo>
                    <a:pt x="67758" y="146650"/>
                    <a:pt x="66803" y="146650"/>
                    <a:pt x="66803" y="147604"/>
                  </a:cubicBezTo>
                  <a:close/>
                  <a:moveTo>
                    <a:pt x="76347" y="135834"/>
                  </a:moveTo>
                  <a:cubicBezTo>
                    <a:pt x="76029" y="135834"/>
                    <a:pt x="76029" y="135834"/>
                    <a:pt x="76029" y="135516"/>
                  </a:cubicBezTo>
                  <a:cubicBezTo>
                    <a:pt x="75393" y="136152"/>
                    <a:pt x="72530" y="136788"/>
                    <a:pt x="72530" y="138379"/>
                  </a:cubicBezTo>
                  <a:lnTo>
                    <a:pt x="71893" y="138379"/>
                  </a:lnTo>
                  <a:lnTo>
                    <a:pt x="71893" y="136788"/>
                  </a:lnTo>
                  <a:cubicBezTo>
                    <a:pt x="72530" y="136788"/>
                    <a:pt x="72848" y="135516"/>
                    <a:pt x="73802" y="135516"/>
                  </a:cubicBezTo>
                  <a:lnTo>
                    <a:pt x="73802" y="135198"/>
                  </a:lnTo>
                  <a:cubicBezTo>
                    <a:pt x="75393" y="135198"/>
                    <a:pt x="76029" y="133925"/>
                    <a:pt x="76983" y="133289"/>
                  </a:cubicBezTo>
                  <a:lnTo>
                    <a:pt x="77937" y="133289"/>
                  </a:lnTo>
                  <a:cubicBezTo>
                    <a:pt x="77301" y="135198"/>
                    <a:pt x="76983" y="135198"/>
                    <a:pt x="76347" y="135834"/>
                  </a:cubicBezTo>
                  <a:close/>
                  <a:moveTo>
                    <a:pt x="73484" y="142514"/>
                  </a:moveTo>
                  <a:lnTo>
                    <a:pt x="73166" y="142832"/>
                  </a:lnTo>
                  <a:lnTo>
                    <a:pt x="74120" y="143468"/>
                  </a:lnTo>
                  <a:lnTo>
                    <a:pt x="74120" y="143150"/>
                  </a:lnTo>
                  <a:lnTo>
                    <a:pt x="73484" y="142514"/>
                  </a:lnTo>
                  <a:close/>
                  <a:moveTo>
                    <a:pt x="78574" y="133607"/>
                  </a:moveTo>
                  <a:lnTo>
                    <a:pt x="78574" y="133289"/>
                  </a:lnTo>
                  <a:lnTo>
                    <a:pt x="78892" y="133607"/>
                  </a:lnTo>
                  <a:lnTo>
                    <a:pt x="78574" y="133607"/>
                  </a:lnTo>
                  <a:close/>
                  <a:moveTo>
                    <a:pt x="79846" y="139015"/>
                  </a:moveTo>
                  <a:cubicBezTo>
                    <a:pt x="80164" y="139015"/>
                    <a:pt x="80482" y="138697"/>
                    <a:pt x="80482" y="138379"/>
                  </a:cubicBezTo>
                  <a:cubicBezTo>
                    <a:pt x="80482" y="138379"/>
                    <a:pt x="80482" y="138061"/>
                    <a:pt x="80164" y="138061"/>
                  </a:cubicBezTo>
                  <a:cubicBezTo>
                    <a:pt x="80164" y="138061"/>
                    <a:pt x="79210" y="138061"/>
                    <a:pt x="79210" y="138379"/>
                  </a:cubicBezTo>
                  <a:cubicBezTo>
                    <a:pt x="79210" y="138379"/>
                    <a:pt x="79210" y="138697"/>
                    <a:pt x="79846" y="139015"/>
                  </a:cubicBezTo>
                  <a:close/>
                  <a:moveTo>
                    <a:pt x="80800" y="131380"/>
                  </a:moveTo>
                  <a:cubicBezTo>
                    <a:pt x="80800" y="131380"/>
                    <a:pt x="81119" y="131380"/>
                    <a:pt x="81755" y="131698"/>
                  </a:cubicBezTo>
                  <a:lnTo>
                    <a:pt x="81755" y="132016"/>
                  </a:lnTo>
                  <a:cubicBezTo>
                    <a:pt x="80800" y="132016"/>
                    <a:pt x="80800" y="132653"/>
                    <a:pt x="80164" y="132653"/>
                  </a:cubicBezTo>
                  <a:lnTo>
                    <a:pt x="79846" y="132653"/>
                  </a:lnTo>
                  <a:lnTo>
                    <a:pt x="80800" y="131380"/>
                  </a:lnTo>
                  <a:close/>
                  <a:moveTo>
                    <a:pt x="81755" y="137106"/>
                  </a:moveTo>
                  <a:cubicBezTo>
                    <a:pt x="81755" y="137424"/>
                    <a:pt x="81437" y="137424"/>
                    <a:pt x="81437" y="137742"/>
                  </a:cubicBezTo>
                  <a:lnTo>
                    <a:pt x="81755" y="137742"/>
                  </a:lnTo>
                  <a:lnTo>
                    <a:pt x="81755" y="137106"/>
                  </a:lnTo>
                  <a:close/>
                  <a:moveTo>
                    <a:pt x="85572" y="129790"/>
                  </a:moveTo>
                  <a:cubicBezTo>
                    <a:pt x="85254" y="129790"/>
                    <a:pt x="84936" y="129471"/>
                    <a:pt x="84936" y="129471"/>
                  </a:cubicBezTo>
                  <a:cubicBezTo>
                    <a:pt x="85572" y="128835"/>
                    <a:pt x="85254" y="127563"/>
                    <a:pt x="86208" y="127245"/>
                  </a:cubicBezTo>
                  <a:lnTo>
                    <a:pt x="86527" y="127563"/>
                  </a:lnTo>
                  <a:cubicBezTo>
                    <a:pt x="86845" y="127563"/>
                    <a:pt x="87163" y="127881"/>
                    <a:pt x="87163" y="127881"/>
                  </a:cubicBezTo>
                  <a:lnTo>
                    <a:pt x="87163" y="128517"/>
                  </a:lnTo>
                  <a:cubicBezTo>
                    <a:pt x="86208" y="128517"/>
                    <a:pt x="86527" y="129471"/>
                    <a:pt x="86208" y="129471"/>
                  </a:cubicBezTo>
                  <a:cubicBezTo>
                    <a:pt x="86208" y="129790"/>
                    <a:pt x="85572" y="129790"/>
                    <a:pt x="85572" y="129790"/>
                  </a:cubicBezTo>
                  <a:close/>
                  <a:moveTo>
                    <a:pt x="85572" y="133925"/>
                  </a:moveTo>
                  <a:lnTo>
                    <a:pt x="85572" y="134243"/>
                  </a:lnTo>
                  <a:cubicBezTo>
                    <a:pt x="85890" y="134243"/>
                    <a:pt x="86208" y="134561"/>
                    <a:pt x="86527" y="134561"/>
                  </a:cubicBezTo>
                  <a:cubicBezTo>
                    <a:pt x="87481" y="134561"/>
                    <a:pt x="87799" y="132971"/>
                    <a:pt x="89071" y="132971"/>
                  </a:cubicBezTo>
                  <a:lnTo>
                    <a:pt x="89071" y="132653"/>
                  </a:lnTo>
                  <a:lnTo>
                    <a:pt x="86527" y="133607"/>
                  </a:lnTo>
                  <a:cubicBezTo>
                    <a:pt x="85572" y="133607"/>
                    <a:pt x="85572" y="133925"/>
                    <a:pt x="85572" y="133925"/>
                  </a:cubicBezTo>
                  <a:close/>
                  <a:moveTo>
                    <a:pt x="89071" y="134561"/>
                  </a:moveTo>
                  <a:lnTo>
                    <a:pt x="89389" y="134561"/>
                  </a:lnTo>
                  <a:cubicBezTo>
                    <a:pt x="89389" y="134879"/>
                    <a:pt x="89708" y="134879"/>
                    <a:pt x="89708" y="134879"/>
                  </a:cubicBezTo>
                  <a:cubicBezTo>
                    <a:pt x="89708" y="135198"/>
                    <a:pt x="89708" y="134243"/>
                    <a:pt x="89389" y="134243"/>
                  </a:cubicBezTo>
                  <a:cubicBezTo>
                    <a:pt x="89071" y="134243"/>
                    <a:pt x="89071" y="134561"/>
                    <a:pt x="89071" y="134561"/>
                  </a:cubicBezTo>
                  <a:close/>
                  <a:moveTo>
                    <a:pt x="90662" y="125654"/>
                  </a:moveTo>
                  <a:lnTo>
                    <a:pt x="90980" y="125018"/>
                  </a:lnTo>
                  <a:cubicBezTo>
                    <a:pt x="90980" y="124700"/>
                    <a:pt x="90980" y="124700"/>
                    <a:pt x="91298" y="124700"/>
                  </a:cubicBezTo>
                  <a:lnTo>
                    <a:pt x="91298" y="125018"/>
                  </a:lnTo>
                  <a:cubicBezTo>
                    <a:pt x="90980" y="125336"/>
                    <a:pt x="90980" y="125654"/>
                    <a:pt x="90980" y="125654"/>
                  </a:cubicBezTo>
                  <a:lnTo>
                    <a:pt x="90662" y="125654"/>
                  </a:lnTo>
                  <a:close/>
                  <a:moveTo>
                    <a:pt x="96388" y="122473"/>
                  </a:moveTo>
                  <a:cubicBezTo>
                    <a:pt x="95434" y="122473"/>
                    <a:pt x="94797" y="122791"/>
                    <a:pt x="94797" y="123427"/>
                  </a:cubicBezTo>
                  <a:lnTo>
                    <a:pt x="94797" y="124382"/>
                  </a:lnTo>
                  <a:cubicBezTo>
                    <a:pt x="93525" y="123427"/>
                    <a:pt x="93525" y="124064"/>
                    <a:pt x="93525" y="123109"/>
                  </a:cubicBezTo>
                  <a:lnTo>
                    <a:pt x="93525" y="122473"/>
                  </a:lnTo>
                  <a:cubicBezTo>
                    <a:pt x="94479" y="122473"/>
                    <a:pt x="95115" y="122155"/>
                    <a:pt x="96070" y="121837"/>
                  </a:cubicBezTo>
                  <a:lnTo>
                    <a:pt x="97024" y="122155"/>
                  </a:lnTo>
                  <a:cubicBezTo>
                    <a:pt x="97024" y="122473"/>
                    <a:pt x="96706" y="122473"/>
                    <a:pt x="96706" y="122473"/>
                  </a:cubicBezTo>
                  <a:lnTo>
                    <a:pt x="96388" y="122473"/>
                  </a:lnTo>
                  <a:close/>
                  <a:moveTo>
                    <a:pt x="95752" y="122791"/>
                  </a:moveTo>
                  <a:lnTo>
                    <a:pt x="95752" y="123746"/>
                  </a:lnTo>
                  <a:cubicBezTo>
                    <a:pt x="95434" y="123746"/>
                    <a:pt x="95434" y="123746"/>
                    <a:pt x="95434" y="123427"/>
                  </a:cubicBezTo>
                  <a:cubicBezTo>
                    <a:pt x="95434" y="122791"/>
                    <a:pt x="95752" y="122791"/>
                    <a:pt x="95752" y="122791"/>
                  </a:cubicBezTo>
                  <a:close/>
                  <a:moveTo>
                    <a:pt x="96388" y="15906"/>
                  </a:moveTo>
                  <a:cubicBezTo>
                    <a:pt x="96388" y="15906"/>
                    <a:pt x="96706" y="15906"/>
                    <a:pt x="96706" y="15269"/>
                  </a:cubicBezTo>
                  <a:cubicBezTo>
                    <a:pt x="96706" y="15269"/>
                    <a:pt x="96388" y="15269"/>
                    <a:pt x="96388" y="15906"/>
                  </a:cubicBezTo>
                  <a:close/>
                  <a:moveTo>
                    <a:pt x="97342" y="126290"/>
                  </a:moveTo>
                  <a:lnTo>
                    <a:pt x="97342" y="126927"/>
                  </a:lnTo>
                  <a:lnTo>
                    <a:pt x="97661" y="126608"/>
                  </a:lnTo>
                  <a:lnTo>
                    <a:pt x="97342" y="126290"/>
                  </a:lnTo>
                  <a:close/>
                  <a:moveTo>
                    <a:pt x="102750" y="127245"/>
                  </a:moveTo>
                  <a:cubicBezTo>
                    <a:pt x="102750" y="127245"/>
                    <a:pt x="103068" y="126927"/>
                    <a:pt x="103068" y="126290"/>
                  </a:cubicBezTo>
                  <a:cubicBezTo>
                    <a:pt x="102750" y="126290"/>
                    <a:pt x="102750" y="126290"/>
                    <a:pt x="102432" y="125972"/>
                  </a:cubicBezTo>
                  <a:lnTo>
                    <a:pt x="102432" y="126927"/>
                  </a:lnTo>
                  <a:lnTo>
                    <a:pt x="102750" y="127245"/>
                  </a:lnTo>
                  <a:close/>
                  <a:moveTo>
                    <a:pt x="110067" y="113884"/>
                  </a:moveTo>
                  <a:lnTo>
                    <a:pt x="110067" y="113566"/>
                  </a:lnTo>
                  <a:cubicBezTo>
                    <a:pt x="111021" y="113566"/>
                    <a:pt x="111339" y="113248"/>
                    <a:pt x="112294" y="113248"/>
                  </a:cubicBezTo>
                  <a:lnTo>
                    <a:pt x="112294" y="113566"/>
                  </a:lnTo>
                  <a:cubicBezTo>
                    <a:pt x="111339" y="114202"/>
                    <a:pt x="111339" y="116111"/>
                    <a:pt x="111021" y="115475"/>
                  </a:cubicBezTo>
                  <a:cubicBezTo>
                    <a:pt x="111021" y="114520"/>
                    <a:pt x="110067" y="115475"/>
                    <a:pt x="110067" y="113884"/>
                  </a:cubicBezTo>
                  <a:close/>
                  <a:moveTo>
                    <a:pt x="111339" y="8907"/>
                  </a:moveTo>
                  <a:cubicBezTo>
                    <a:pt x="111339" y="8907"/>
                    <a:pt x="111339" y="9225"/>
                    <a:pt x="111657" y="9225"/>
                  </a:cubicBezTo>
                  <a:lnTo>
                    <a:pt x="111657" y="8589"/>
                  </a:lnTo>
                  <a:cubicBezTo>
                    <a:pt x="111339" y="8589"/>
                    <a:pt x="111339" y="8907"/>
                    <a:pt x="111339" y="8907"/>
                  </a:cubicBezTo>
                  <a:close/>
                  <a:moveTo>
                    <a:pt x="118019" y="110067"/>
                  </a:moveTo>
                  <a:cubicBezTo>
                    <a:pt x="118338" y="110067"/>
                    <a:pt x="118338" y="110385"/>
                    <a:pt x="118974" y="110385"/>
                  </a:cubicBezTo>
                  <a:lnTo>
                    <a:pt x="118656" y="111021"/>
                  </a:lnTo>
                  <a:cubicBezTo>
                    <a:pt x="118338" y="111021"/>
                    <a:pt x="118019" y="110703"/>
                    <a:pt x="118019" y="110703"/>
                  </a:cubicBezTo>
                  <a:cubicBezTo>
                    <a:pt x="117701" y="110703"/>
                    <a:pt x="117701" y="111339"/>
                    <a:pt x="117383" y="112293"/>
                  </a:cubicBezTo>
                  <a:lnTo>
                    <a:pt x="117383" y="112930"/>
                  </a:lnTo>
                  <a:lnTo>
                    <a:pt x="116429" y="112930"/>
                  </a:lnTo>
                  <a:lnTo>
                    <a:pt x="117065" y="112293"/>
                  </a:lnTo>
                  <a:cubicBezTo>
                    <a:pt x="116747" y="111657"/>
                    <a:pt x="116747" y="111339"/>
                    <a:pt x="116747" y="111021"/>
                  </a:cubicBezTo>
                  <a:cubicBezTo>
                    <a:pt x="116747" y="110703"/>
                    <a:pt x="116747" y="110385"/>
                    <a:pt x="117383" y="110385"/>
                  </a:cubicBezTo>
                  <a:cubicBezTo>
                    <a:pt x="117383" y="110385"/>
                    <a:pt x="117701" y="110067"/>
                    <a:pt x="118019" y="110067"/>
                  </a:cubicBezTo>
                  <a:close/>
                  <a:moveTo>
                    <a:pt x="122473" y="108794"/>
                  </a:moveTo>
                  <a:lnTo>
                    <a:pt x="121201" y="108794"/>
                  </a:lnTo>
                  <a:cubicBezTo>
                    <a:pt x="121519" y="108794"/>
                    <a:pt x="121837" y="108158"/>
                    <a:pt x="122155" y="107840"/>
                  </a:cubicBezTo>
                  <a:lnTo>
                    <a:pt x="122473" y="108158"/>
                  </a:lnTo>
                  <a:lnTo>
                    <a:pt x="122473" y="108794"/>
                  </a:lnTo>
                  <a:close/>
                  <a:moveTo>
                    <a:pt x="123428" y="107840"/>
                  </a:moveTo>
                  <a:cubicBezTo>
                    <a:pt x="123428" y="107204"/>
                    <a:pt x="123428" y="107204"/>
                    <a:pt x="123746" y="107204"/>
                  </a:cubicBezTo>
                  <a:lnTo>
                    <a:pt x="123746" y="107840"/>
                  </a:lnTo>
                  <a:cubicBezTo>
                    <a:pt x="123746" y="107840"/>
                    <a:pt x="123746" y="108158"/>
                    <a:pt x="123428" y="108158"/>
                  </a:cubicBezTo>
                  <a:lnTo>
                    <a:pt x="123428" y="107840"/>
                  </a:lnTo>
                  <a:close/>
                  <a:moveTo>
                    <a:pt x="125018" y="108158"/>
                  </a:moveTo>
                  <a:cubicBezTo>
                    <a:pt x="125018" y="107840"/>
                    <a:pt x="125336" y="107840"/>
                    <a:pt x="125972" y="107840"/>
                  </a:cubicBezTo>
                  <a:cubicBezTo>
                    <a:pt x="125972" y="108158"/>
                    <a:pt x="125336" y="108476"/>
                    <a:pt x="125018" y="108476"/>
                  </a:cubicBezTo>
                  <a:lnTo>
                    <a:pt x="125018" y="108158"/>
                  </a:lnTo>
                  <a:close/>
                  <a:moveTo>
                    <a:pt x="157783" y="102114"/>
                  </a:moveTo>
                  <a:lnTo>
                    <a:pt x="158102" y="101796"/>
                  </a:lnTo>
                  <a:lnTo>
                    <a:pt x="157783" y="101478"/>
                  </a:lnTo>
                  <a:cubicBezTo>
                    <a:pt x="157465" y="101478"/>
                    <a:pt x="157147" y="101796"/>
                    <a:pt x="157147" y="101796"/>
                  </a:cubicBezTo>
                  <a:lnTo>
                    <a:pt x="158102" y="103068"/>
                  </a:lnTo>
                  <a:lnTo>
                    <a:pt x="158102" y="103704"/>
                  </a:lnTo>
                  <a:cubicBezTo>
                    <a:pt x="158102" y="103704"/>
                    <a:pt x="158420" y="103704"/>
                    <a:pt x="158420" y="103068"/>
                  </a:cubicBezTo>
                  <a:cubicBezTo>
                    <a:pt x="158102" y="102750"/>
                    <a:pt x="157783" y="102432"/>
                    <a:pt x="157783" y="102114"/>
                  </a:cubicBezTo>
                  <a:close/>
                  <a:moveTo>
                    <a:pt x="159374" y="105931"/>
                  </a:moveTo>
                  <a:lnTo>
                    <a:pt x="158420" y="105613"/>
                  </a:lnTo>
                  <a:cubicBezTo>
                    <a:pt x="158420" y="105613"/>
                    <a:pt x="159056" y="106249"/>
                    <a:pt x="159374" y="106249"/>
                  </a:cubicBezTo>
                  <a:lnTo>
                    <a:pt x="159374" y="105931"/>
                  </a:lnTo>
                  <a:close/>
                  <a:moveTo>
                    <a:pt x="160646" y="98933"/>
                  </a:moveTo>
                  <a:lnTo>
                    <a:pt x="159692" y="98615"/>
                  </a:lnTo>
                  <a:cubicBezTo>
                    <a:pt x="159692" y="98933"/>
                    <a:pt x="159692" y="99887"/>
                    <a:pt x="160010" y="99887"/>
                  </a:cubicBezTo>
                  <a:cubicBezTo>
                    <a:pt x="160010" y="99887"/>
                    <a:pt x="160646" y="99887"/>
                    <a:pt x="160646" y="98933"/>
                  </a:cubicBezTo>
                  <a:close/>
                  <a:moveTo>
                    <a:pt x="160646" y="104659"/>
                  </a:moveTo>
                  <a:lnTo>
                    <a:pt x="159692" y="104977"/>
                  </a:lnTo>
                  <a:lnTo>
                    <a:pt x="160646" y="104977"/>
                  </a:lnTo>
                  <a:lnTo>
                    <a:pt x="160646" y="104659"/>
                  </a:lnTo>
                  <a:close/>
                  <a:moveTo>
                    <a:pt x="160010" y="102114"/>
                  </a:moveTo>
                  <a:lnTo>
                    <a:pt x="160646" y="102432"/>
                  </a:lnTo>
                  <a:cubicBezTo>
                    <a:pt x="160328" y="102114"/>
                    <a:pt x="160328" y="102114"/>
                    <a:pt x="160010" y="102114"/>
                  </a:cubicBezTo>
                  <a:close/>
                  <a:moveTo>
                    <a:pt x="162555" y="100523"/>
                  </a:moveTo>
                  <a:cubicBezTo>
                    <a:pt x="161919" y="100523"/>
                    <a:pt x="161601" y="100523"/>
                    <a:pt x="161601" y="101160"/>
                  </a:cubicBezTo>
                  <a:cubicBezTo>
                    <a:pt x="161601" y="101478"/>
                    <a:pt x="162237" y="102432"/>
                    <a:pt x="162237" y="102114"/>
                  </a:cubicBezTo>
                  <a:cubicBezTo>
                    <a:pt x="162555" y="101160"/>
                    <a:pt x="162555" y="100841"/>
                    <a:pt x="162555" y="100523"/>
                  </a:cubicBezTo>
                  <a:close/>
                  <a:moveTo>
                    <a:pt x="165418" y="99251"/>
                  </a:moveTo>
                  <a:cubicBezTo>
                    <a:pt x="165100" y="99251"/>
                    <a:pt x="164782" y="99569"/>
                    <a:pt x="164782" y="99569"/>
                  </a:cubicBezTo>
                  <a:lnTo>
                    <a:pt x="166373" y="99569"/>
                  </a:lnTo>
                  <a:cubicBezTo>
                    <a:pt x="166055" y="99251"/>
                    <a:pt x="165736" y="99251"/>
                    <a:pt x="165418" y="99251"/>
                  </a:cubicBezTo>
                  <a:close/>
                  <a:moveTo>
                    <a:pt x="166055" y="97342"/>
                  </a:moveTo>
                  <a:lnTo>
                    <a:pt x="167009" y="97342"/>
                  </a:lnTo>
                  <a:lnTo>
                    <a:pt x="167009" y="96706"/>
                  </a:lnTo>
                  <a:cubicBezTo>
                    <a:pt x="166691" y="96706"/>
                    <a:pt x="166055" y="97024"/>
                    <a:pt x="166055" y="97342"/>
                  </a:cubicBezTo>
                  <a:close/>
                  <a:moveTo>
                    <a:pt x="167009" y="102432"/>
                  </a:moveTo>
                  <a:cubicBezTo>
                    <a:pt x="167009" y="102114"/>
                    <a:pt x="167009" y="102114"/>
                    <a:pt x="166691" y="102114"/>
                  </a:cubicBezTo>
                  <a:cubicBezTo>
                    <a:pt x="166691" y="102114"/>
                    <a:pt x="166373" y="102114"/>
                    <a:pt x="166373" y="102432"/>
                  </a:cubicBezTo>
                  <a:lnTo>
                    <a:pt x="166373" y="103068"/>
                  </a:lnTo>
                  <a:lnTo>
                    <a:pt x="167009" y="103068"/>
                  </a:lnTo>
                  <a:lnTo>
                    <a:pt x="167009" y="102432"/>
                  </a:lnTo>
                  <a:close/>
                  <a:moveTo>
                    <a:pt x="175916" y="93525"/>
                  </a:moveTo>
                  <a:cubicBezTo>
                    <a:pt x="175916" y="93525"/>
                    <a:pt x="176552" y="93525"/>
                    <a:pt x="176870" y="93843"/>
                  </a:cubicBezTo>
                  <a:lnTo>
                    <a:pt x="176870" y="94161"/>
                  </a:lnTo>
                  <a:lnTo>
                    <a:pt x="176552" y="94161"/>
                  </a:lnTo>
                  <a:cubicBezTo>
                    <a:pt x="176234" y="94479"/>
                    <a:pt x="176234" y="94479"/>
                    <a:pt x="176234" y="94797"/>
                  </a:cubicBezTo>
                  <a:cubicBezTo>
                    <a:pt x="176234" y="95115"/>
                    <a:pt x="176234" y="95434"/>
                    <a:pt x="176870" y="95752"/>
                  </a:cubicBezTo>
                  <a:cubicBezTo>
                    <a:pt x="176870" y="97342"/>
                    <a:pt x="171144" y="97024"/>
                    <a:pt x="170508" y="97978"/>
                  </a:cubicBezTo>
                  <a:lnTo>
                    <a:pt x="170190" y="97024"/>
                  </a:lnTo>
                  <a:cubicBezTo>
                    <a:pt x="170826" y="97024"/>
                    <a:pt x="171144" y="96706"/>
                    <a:pt x="172735" y="96706"/>
                  </a:cubicBezTo>
                  <a:lnTo>
                    <a:pt x="173053" y="96388"/>
                  </a:lnTo>
                  <a:cubicBezTo>
                    <a:pt x="172735" y="96070"/>
                    <a:pt x="172735" y="96070"/>
                    <a:pt x="172735" y="95752"/>
                  </a:cubicBezTo>
                  <a:cubicBezTo>
                    <a:pt x="172735" y="95434"/>
                    <a:pt x="172735" y="95115"/>
                    <a:pt x="173053" y="94797"/>
                  </a:cubicBezTo>
                  <a:cubicBezTo>
                    <a:pt x="173053" y="94479"/>
                    <a:pt x="172098" y="94479"/>
                    <a:pt x="172417" y="94161"/>
                  </a:cubicBezTo>
                  <a:lnTo>
                    <a:pt x="172417" y="93525"/>
                  </a:lnTo>
                  <a:cubicBezTo>
                    <a:pt x="172735" y="93525"/>
                    <a:pt x="173053" y="93207"/>
                    <a:pt x="174007" y="92889"/>
                  </a:cubicBezTo>
                  <a:cubicBezTo>
                    <a:pt x="174325" y="92889"/>
                    <a:pt x="174325" y="92889"/>
                    <a:pt x="174325" y="93525"/>
                  </a:cubicBezTo>
                  <a:lnTo>
                    <a:pt x="174643" y="94479"/>
                  </a:lnTo>
                  <a:lnTo>
                    <a:pt x="175916" y="93525"/>
                  </a:lnTo>
                  <a:close/>
                  <a:moveTo>
                    <a:pt x="171144" y="94161"/>
                  </a:moveTo>
                  <a:cubicBezTo>
                    <a:pt x="171144" y="94479"/>
                    <a:pt x="170826" y="94479"/>
                    <a:pt x="170826" y="94479"/>
                  </a:cubicBezTo>
                  <a:cubicBezTo>
                    <a:pt x="170826" y="94479"/>
                    <a:pt x="170508" y="94479"/>
                    <a:pt x="170508" y="94161"/>
                  </a:cubicBezTo>
                  <a:lnTo>
                    <a:pt x="171144" y="94161"/>
                  </a:lnTo>
                  <a:close/>
                  <a:moveTo>
                    <a:pt x="171144" y="95115"/>
                  </a:moveTo>
                  <a:cubicBezTo>
                    <a:pt x="171462" y="95115"/>
                    <a:pt x="171462" y="95115"/>
                    <a:pt x="172098" y="95752"/>
                  </a:cubicBezTo>
                  <a:lnTo>
                    <a:pt x="172417" y="96388"/>
                  </a:lnTo>
                  <a:lnTo>
                    <a:pt x="171780" y="96070"/>
                  </a:lnTo>
                  <a:lnTo>
                    <a:pt x="170826" y="95434"/>
                  </a:lnTo>
                  <a:cubicBezTo>
                    <a:pt x="170826" y="95115"/>
                    <a:pt x="171144" y="95115"/>
                    <a:pt x="171144" y="95115"/>
                  </a:cubicBezTo>
                  <a:close/>
                  <a:moveTo>
                    <a:pt x="171462" y="100841"/>
                  </a:moveTo>
                  <a:lnTo>
                    <a:pt x="170826" y="102114"/>
                  </a:lnTo>
                  <a:lnTo>
                    <a:pt x="171144" y="102114"/>
                  </a:lnTo>
                  <a:cubicBezTo>
                    <a:pt x="172098" y="102114"/>
                    <a:pt x="172098" y="102114"/>
                    <a:pt x="172735" y="101478"/>
                  </a:cubicBezTo>
                  <a:cubicBezTo>
                    <a:pt x="172417" y="101796"/>
                    <a:pt x="172735" y="100841"/>
                    <a:pt x="171462" y="100841"/>
                  </a:cubicBezTo>
                  <a:close/>
                  <a:moveTo>
                    <a:pt x="175598" y="92889"/>
                  </a:moveTo>
                  <a:cubicBezTo>
                    <a:pt x="175916" y="92571"/>
                    <a:pt x="176552" y="92571"/>
                    <a:pt x="176552" y="92571"/>
                  </a:cubicBezTo>
                  <a:lnTo>
                    <a:pt x="176870" y="92889"/>
                  </a:lnTo>
                  <a:lnTo>
                    <a:pt x="176870" y="93207"/>
                  </a:lnTo>
                  <a:cubicBezTo>
                    <a:pt x="176552" y="93207"/>
                    <a:pt x="176552" y="92889"/>
                    <a:pt x="176552" y="92889"/>
                  </a:cubicBezTo>
                  <a:cubicBezTo>
                    <a:pt x="176552" y="92889"/>
                    <a:pt x="175916" y="92889"/>
                    <a:pt x="175916" y="93207"/>
                  </a:cubicBezTo>
                  <a:lnTo>
                    <a:pt x="175598" y="92889"/>
                  </a:lnTo>
                  <a:close/>
                  <a:moveTo>
                    <a:pt x="185777" y="91616"/>
                  </a:moveTo>
                  <a:cubicBezTo>
                    <a:pt x="185459" y="91616"/>
                    <a:pt x="185459" y="91298"/>
                    <a:pt x="185141" y="91298"/>
                  </a:cubicBezTo>
                  <a:cubicBezTo>
                    <a:pt x="184187" y="91298"/>
                    <a:pt x="183232" y="91934"/>
                    <a:pt x="182278" y="91934"/>
                  </a:cubicBezTo>
                  <a:lnTo>
                    <a:pt x="181006" y="93525"/>
                  </a:lnTo>
                  <a:lnTo>
                    <a:pt x="180688" y="93843"/>
                  </a:lnTo>
                  <a:lnTo>
                    <a:pt x="181006" y="93843"/>
                  </a:lnTo>
                  <a:cubicBezTo>
                    <a:pt x="181006" y="94479"/>
                    <a:pt x="181006" y="94479"/>
                    <a:pt x="180370" y="95115"/>
                  </a:cubicBezTo>
                  <a:lnTo>
                    <a:pt x="180370" y="94797"/>
                  </a:lnTo>
                  <a:lnTo>
                    <a:pt x="179733" y="94161"/>
                  </a:lnTo>
                  <a:lnTo>
                    <a:pt x="176870" y="93525"/>
                  </a:lnTo>
                  <a:lnTo>
                    <a:pt x="178779" y="93525"/>
                  </a:lnTo>
                  <a:lnTo>
                    <a:pt x="179415" y="93207"/>
                  </a:lnTo>
                  <a:cubicBezTo>
                    <a:pt x="179415" y="93207"/>
                    <a:pt x="179415" y="92889"/>
                    <a:pt x="179097" y="92571"/>
                  </a:cubicBezTo>
                  <a:cubicBezTo>
                    <a:pt x="179097" y="90980"/>
                    <a:pt x="183232" y="90980"/>
                    <a:pt x="185777" y="90980"/>
                  </a:cubicBezTo>
                  <a:lnTo>
                    <a:pt x="185777" y="91616"/>
                  </a:lnTo>
                  <a:close/>
                  <a:moveTo>
                    <a:pt x="180051" y="90026"/>
                  </a:moveTo>
                  <a:lnTo>
                    <a:pt x="179733" y="90026"/>
                  </a:lnTo>
                  <a:lnTo>
                    <a:pt x="180051" y="89708"/>
                  </a:lnTo>
                  <a:lnTo>
                    <a:pt x="180051" y="90026"/>
                  </a:lnTo>
                  <a:close/>
                  <a:moveTo>
                    <a:pt x="185777" y="93843"/>
                  </a:moveTo>
                  <a:cubicBezTo>
                    <a:pt x="184823" y="94479"/>
                    <a:pt x="184505" y="94479"/>
                    <a:pt x="183551" y="94479"/>
                  </a:cubicBezTo>
                  <a:lnTo>
                    <a:pt x="185141" y="93207"/>
                  </a:lnTo>
                  <a:lnTo>
                    <a:pt x="185777" y="93843"/>
                  </a:lnTo>
                  <a:close/>
                  <a:moveTo>
                    <a:pt x="187686" y="90662"/>
                  </a:moveTo>
                  <a:lnTo>
                    <a:pt x="186413" y="90662"/>
                  </a:lnTo>
                  <a:lnTo>
                    <a:pt x="187368" y="90026"/>
                  </a:lnTo>
                  <a:lnTo>
                    <a:pt x="187686" y="90026"/>
                  </a:lnTo>
                  <a:lnTo>
                    <a:pt x="188004" y="90344"/>
                  </a:lnTo>
                  <a:cubicBezTo>
                    <a:pt x="188004" y="90662"/>
                    <a:pt x="187686" y="90662"/>
                    <a:pt x="187686" y="90662"/>
                  </a:cubicBezTo>
                  <a:close/>
                </a:path>
              </a:pathLst>
            </a:custGeom>
            <a:solidFill>
              <a:srgbClr val="000000"/>
            </a:solidFill>
            <a:ln w="63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ED9325D-5530-4D0F-8907-BD94B70C5139}"/>
                </a:ext>
              </a:extLst>
            </p:cNvPr>
            <p:cNvSpPr/>
            <p:nvPr/>
          </p:nvSpPr>
          <p:spPr>
            <a:xfrm>
              <a:off x="3510687" y="3561874"/>
              <a:ext cx="139969" cy="286301"/>
            </a:xfrm>
            <a:custGeom>
              <a:avLst/>
              <a:gdLst>
                <a:gd name="connsiteX0" fmla="*/ 133925 w 139969"/>
                <a:gd name="connsiteY0" fmla="*/ 104659 h 286300"/>
                <a:gd name="connsiteX1" fmla="*/ 133607 w 139969"/>
                <a:gd name="connsiteY1" fmla="*/ 104659 h 286300"/>
                <a:gd name="connsiteX2" fmla="*/ 133289 w 139969"/>
                <a:gd name="connsiteY2" fmla="*/ 104977 h 286300"/>
                <a:gd name="connsiteX3" fmla="*/ 133289 w 139969"/>
                <a:gd name="connsiteY3" fmla="*/ 104659 h 286300"/>
                <a:gd name="connsiteX4" fmla="*/ 132335 w 139969"/>
                <a:gd name="connsiteY4" fmla="*/ 105295 h 286300"/>
                <a:gd name="connsiteX5" fmla="*/ 132653 w 139969"/>
                <a:gd name="connsiteY5" fmla="*/ 108476 h 286300"/>
                <a:gd name="connsiteX6" fmla="*/ 133925 w 139969"/>
                <a:gd name="connsiteY6" fmla="*/ 109749 h 286300"/>
                <a:gd name="connsiteX7" fmla="*/ 134561 w 139969"/>
                <a:gd name="connsiteY7" fmla="*/ 109749 h 286300"/>
                <a:gd name="connsiteX8" fmla="*/ 134879 w 139969"/>
                <a:gd name="connsiteY8" fmla="*/ 109112 h 286300"/>
                <a:gd name="connsiteX9" fmla="*/ 134879 w 139969"/>
                <a:gd name="connsiteY9" fmla="*/ 109749 h 286300"/>
                <a:gd name="connsiteX10" fmla="*/ 134561 w 139969"/>
                <a:gd name="connsiteY10" fmla="*/ 110385 h 286300"/>
                <a:gd name="connsiteX11" fmla="*/ 134561 w 139969"/>
                <a:gd name="connsiteY11" fmla="*/ 111021 h 286300"/>
                <a:gd name="connsiteX12" fmla="*/ 135516 w 139969"/>
                <a:gd name="connsiteY12" fmla="*/ 111975 h 286300"/>
                <a:gd name="connsiteX13" fmla="*/ 135834 w 139969"/>
                <a:gd name="connsiteY13" fmla="*/ 111975 h 286300"/>
                <a:gd name="connsiteX14" fmla="*/ 135516 w 139969"/>
                <a:gd name="connsiteY14" fmla="*/ 111339 h 286300"/>
                <a:gd name="connsiteX15" fmla="*/ 135834 w 139969"/>
                <a:gd name="connsiteY15" fmla="*/ 110703 h 286300"/>
                <a:gd name="connsiteX16" fmla="*/ 136152 w 139969"/>
                <a:gd name="connsiteY16" fmla="*/ 109430 h 286300"/>
                <a:gd name="connsiteX17" fmla="*/ 136788 w 139969"/>
                <a:gd name="connsiteY17" fmla="*/ 108794 h 286300"/>
                <a:gd name="connsiteX18" fmla="*/ 137106 w 139969"/>
                <a:gd name="connsiteY18" fmla="*/ 109430 h 286300"/>
                <a:gd name="connsiteX19" fmla="*/ 137425 w 139969"/>
                <a:gd name="connsiteY19" fmla="*/ 109749 h 286300"/>
                <a:gd name="connsiteX20" fmla="*/ 137425 w 139969"/>
                <a:gd name="connsiteY20" fmla="*/ 118974 h 286300"/>
                <a:gd name="connsiteX21" fmla="*/ 138061 w 139969"/>
                <a:gd name="connsiteY21" fmla="*/ 119610 h 286300"/>
                <a:gd name="connsiteX22" fmla="*/ 138061 w 139969"/>
                <a:gd name="connsiteY22" fmla="*/ 121837 h 286300"/>
                <a:gd name="connsiteX23" fmla="*/ 137743 w 139969"/>
                <a:gd name="connsiteY23" fmla="*/ 121837 h 286300"/>
                <a:gd name="connsiteX24" fmla="*/ 137106 w 139969"/>
                <a:gd name="connsiteY24" fmla="*/ 121837 h 286300"/>
                <a:gd name="connsiteX25" fmla="*/ 136788 w 139969"/>
                <a:gd name="connsiteY25" fmla="*/ 125336 h 286300"/>
                <a:gd name="connsiteX26" fmla="*/ 136788 w 139969"/>
                <a:gd name="connsiteY26" fmla="*/ 126290 h 286300"/>
                <a:gd name="connsiteX27" fmla="*/ 137106 w 139969"/>
                <a:gd name="connsiteY27" fmla="*/ 129471 h 286300"/>
                <a:gd name="connsiteX28" fmla="*/ 136788 w 139969"/>
                <a:gd name="connsiteY28" fmla="*/ 130108 h 286300"/>
                <a:gd name="connsiteX29" fmla="*/ 135834 w 139969"/>
                <a:gd name="connsiteY29" fmla="*/ 131698 h 286300"/>
                <a:gd name="connsiteX30" fmla="*/ 135198 w 139969"/>
                <a:gd name="connsiteY30" fmla="*/ 130108 h 286300"/>
                <a:gd name="connsiteX31" fmla="*/ 134243 w 139969"/>
                <a:gd name="connsiteY31" fmla="*/ 129471 h 286300"/>
                <a:gd name="connsiteX32" fmla="*/ 133289 w 139969"/>
                <a:gd name="connsiteY32" fmla="*/ 130108 h 286300"/>
                <a:gd name="connsiteX33" fmla="*/ 133925 w 139969"/>
                <a:gd name="connsiteY33" fmla="*/ 130426 h 286300"/>
                <a:gd name="connsiteX34" fmla="*/ 134561 w 139969"/>
                <a:gd name="connsiteY34" fmla="*/ 131380 h 286300"/>
                <a:gd name="connsiteX35" fmla="*/ 134243 w 139969"/>
                <a:gd name="connsiteY35" fmla="*/ 132335 h 286300"/>
                <a:gd name="connsiteX36" fmla="*/ 134879 w 139969"/>
                <a:gd name="connsiteY36" fmla="*/ 134561 h 286300"/>
                <a:gd name="connsiteX37" fmla="*/ 135834 w 139969"/>
                <a:gd name="connsiteY37" fmla="*/ 136788 h 286300"/>
                <a:gd name="connsiteX38" fmla="*/ 135516 w 139969"/>
                <a:gd name="connsiteY38" fmla="*/ 138379 h 286300"/>
                <a:gd name="connsiteX39" fmla="*/ 135516 w 139969"/>
                <a:gd name="connsiteY39" fmla="*/ 145695 h 286300"/>
                <a:gd name="connsiteX40" fmla="*/ 134561 w 139969"/>
                <a:gd name="connsiteY40" fmla="*/ 148240 h 286300"/>
                <a:gd name="connsiteX41" fmla="*/ 134243 w 139969"/>
                <a:gd name="connsiteY41" fmla="*/ 150467 h 286300"/>
                <a:gd name="connsiteX42" fmla="*/ 133925 w 139969"/>
                <a:gd name="connsiteY42" fmla="*/ 152694 h 286300"/>
                <a:gd name="connsiteX43" fmla="*/ 133925 w 139969"/>
                <a:gd name="connsiteY43" fmla="*/ 154920 h 286300"/>
                <a:gd name="connsiteX44" fmla="*/ 134243 w 139969"/>
                <a:gd name="connsiteY44" fmla="*/ 155239 h 286300"/>
                <a:gd name="connsiteX45" fmla="*/ 134561 w 139969"/>
                <a:gd name="connsiteY45" fmla="*/ 155557 h 286300"/>
                <a:gd name="connsiteX46" fmla="*/ 134243 w 139969"/>
                <a:gd name="connsiteY46" fmla="*/ 157783 h 286300"/>
                <a:gd name="connsiteX47" fmla="*/ 133925 w 139969"/>
                <a:gd name="connsiteY47" fmla="*/ 158738 h 286300"/>
                <a:gd name="connsiteX48" fmla="*/ 133607 w 139969"/>
                <a:gd name="connsiteY48" fmla="*/ 159692 h 286300"/>
                <a:gd name="connsiteX49" fmla="*/ 132653 w 139969"/>
                <a:gd name="connsiteY49" fmla="*/ 163191 h 286300"/>
                <a:gd name="connsiteX50" fmla="*/ 130744 w 139969"/>
                <a:gd name="connsiteY50" fmla="*/ 168599 h 286300"/>
                <a:gd name="connsiteX51" fmla="*/ 130426 w 139969"/>
                <a:gd name="connsiteY51" fmla="*/ 170508 h 286300"/>
                <a:gd name="connsiteX52" fmla="*/ 129154 w 139969"/>
                <a:gd name="connsiteY52" fmla="*/ 173689 h 286300"/>
                <a:gd name="connsiteX53" fmla="*/ 128517 w 139969"/>
                <a:gd name="connsiteY53" fmla="*/ 174962 h 286300"/>
                <a:gd name="connsiteX54" fmla="*/ 128517 w 139969"/>
                <a:gd name="connsiteY54" fmla="*/ 177825 h 286300"/>
                <a:gd name="connsiteX55" fmla="*/ 128199 w 139969"/>
                <a:gd name="connsiteY55" fmla="*/ 181006 h 286300"/>
                <a:gd name="connsiteX56" fmla="*/ 128517 w 139969"/>
                <a:gd name="connsiteY56" fmla="*/ 181960 h 286300"/>
                <a:gd name="connsiteX57" fmla="*/ 127881 w 139969"/>
                <a:gd name="connsiteY57" fmla="*/ 182914 h 286300"/>
                <a:gd name="connsiteX58" fmla="*/ 127881 w 139969"/>
                <a:gd name="connsiteY58" fmla="*/ 184505 h 286300"/>
                <a:gd name="connsiteX59" fmla="*/ 127245 w 139969"/>
                <a:gd name="connsiteY59" fmla="*/ 186414 h 286300"/>
                <a:gd name="connsiteX60" fmla="*/ 127245 w 139969"/>
                <a:gd name="connsiteY60" fmla="*/ 186732 h 286300"/>
                <a:gd name="connsiteX61" fmla="*/ 125973 w 139969"/>
                <a:gd name="connsiteY61" fmla="*/ 189277 h 286300"/>
                <a:gd name="connsiteX62" fmla="*/ 125654 w 139969"/>
                <a:gd name="connsiteY62" fmla="*/ 190549 h 286300"/>
                <a:gd name="connsiteX63" fmla="*/ 123746 w 139969"/>
                <a:gd name="connsiteY63" fmla="*/ 193730 h 286300"/>
                <a:gd name="connsiteX64" fmla="*/ 124064 w 139969"/>
                <a:gd name="connsiteY64" fmla="*/ 194366 h 286300"/>
                <a:gd name="connsiteX65" fmla="*/ 123746 w 139969"/>
                <a:gd name="connsiteY65" fmla="*/ 195321 h 286300"/>
                <a:gd name="connsiteX66" fmla="*/ 123109 w 139969"/>
                <a:gd name="connsiteY66" fmla="*/ 196275 h 286300"/>
                <a:gd name="connsiteX67" fmla="*/ 123428 w 139969"/>
                <a:gd name="connsiteY67" fmla="*/ 197229 h 286300"/>
                <a:gd name="connsiteX68" fmla="*/ 123428 w 139969"/>
                <a:gd name="connsiteY68" fmla="*/ 197547 h 286300"/>
                <a:gd name="connsiteX69" fmla="*/ 122473 w 139969"/>
                <a:gd name="connsiteY69" fmla="*/ 198502 h 286300"/>
                <a:gd name="connsiteX70" fmla="*/ 121519 w 139969"/>
                <a:gd name="connsiteY70" fmla="*/ 200410 h 286300"/>
                <a:gd name="connsiteX71" fmla="*/ 121201 w 139969"/>
                <a:gd name="connsiteY71" fmla="*/ 201365 h 286300"/>
                <a:gd name="connsiteX72" fmla="*/ 121201 w 139969"/>
                <a:gd name="connsiteY72" fmla="*/ 202001 h 286300"/>
                <a:gd name="connsiteX73" fmla="*/ 120564 w 139969"/>
                <a:gd name="connsiteY73" fmla="*/ 205182 h 286300"/>
                <a:gd name="connsiteX74" fmla="*/ 118020 w 139969"/>
                <a:gd name="connsiteY74" fmla="*/ 210272 h 286300"/>
                <a:gd name="connsiteX75" fmla="*/ 116111 w 139969"/>
                <a:gd name="connsiteY75" fmla="*/ 215044 h 286300"/>
                <a:gd name="connsiteX76" fmla="*/ 115793 w 139969"/>
                <a:gd name="connsiteY76" fmla="*/ 215362 h 286300"/>
                <a:gd name="connsiteX77" fmla="*/ 114202 w 139969"/>
                <a:gd name="connsiteY77" fmla="*/ 218225 h 286300"/>
                <a:gd name="connsiteX78" fmla="*/ 112930 w 139969"/>
                <a:gd name="connsiteY78" fmla="*/ 220451 h 286300"/>
                <a:gd name="connsiteX79" fmla="*/ 111339 w 139969"/>
                <a:gd name="connsiteY79" fmla="*/ 223633 h 286300"/>
                <a:gd name="connsiteX80" fmla="*/ 110067 w 139969"/>
                <a:gd name="connsiteY80" fmla="*/ 226496 h 286300"/>
                <a:gd name="connsiteX81" fmla="*/ 109749 w 139969"/>
                <a:gd name="connsiteY81" fmla="*/ 227132 h 286300"/>
                <a:gd name="connsiteX82" fmla="*/ 103705 w 139969"/>
                <a:gd name="connsiteY82" fmla="*/ 237948 h 286300"/>
                <a:gd name="connsiteX83" fmla="*/ 101796 w 139969"/>
                <a:gd name="connsiteY83" fmla="*/ 239856 h 286300"/>
                <a:gd name="connsiteX84" fmla="*/ 99887 w 139969"/>
                <a:gd name="connsiteY84" fmla="*/ 241765 h 286300"/>
                <a:gd name="connsiteX85" fmla="*/ 97979 w 139969"/>
                <a:gd name="connsiteY85" fmla="*/ 243992 h 286300"/>
                <a:gd name="connsiteX86" fmla="*/ 97661 w 139969"/>
                <a:gd name="connsiteY86" fmla="*/ 245264 h 286300"/>
                <a:gd name="connsiteX87" fmla="*/ 97024 w 139969"/>
                <a:gd name="connsiteY87" fmla="*/ 245582 h 286300"/>
                <a:gd name="connsiteX88" fmla="*/ 96706 w 139969"/>
                <a:gd name="connsiteY88" fmla="*/ 245264 h 286300"/>
                <a:gd name="connsiteX89" fmla="*/ 96388 w 139969"/>
                <a:gd name="connsiteY89" fmla="*/ 244946 h 286300"/>
                <a:gd name="connsiteX90" fmla="*/ 96706 w 139969"/>
                <a:gd name="connsiteY90" fmla="*/ 244628 h 286300"/>
                <a:gd name="connsiteX91" fmla="*/ 96706 w 139969"/>
                <a:gd name="connsiteY91" fmla="*/ 243356 h 286300"/>
                <a:gd name="connsiteX92" fmla="*/ 96070 w 139969"/>
                <a:gd name="connsiteY92" fmla="*/ 243037 h 286300"/>
                <a:gd name="connsiteX93" fmla="*/ 95434 w 139969"/>
                <a:gd name="connsiteY93" fmla="*/ 243356 h 286300"/>
                <a:gd name="connsiteX94" fmla="*/ 94797 w 139969"/>
                <a:gd name="connsiteY94" fmla="*/ 244310 h 286300"/>
                <a:gd name="connsiteX95" fmla="*/ 95434 w 139969"/>
                <a:gd name="connsiteY95" fmla="*/ 245264 h 286300"/>
                <a:gd name="connsiteX96" fmla="*/ 94479 w 139969"/>
                <a:gd name="connsiteY96" fmla="*/ 247173 h 286300"/>
                <a:gd name="connsiteX97" fmla="*/ 92571 w 139969"/>
                <a:gd name="connsiteY97" fmla="*/ 247173 h 286300"/>
                <a:gd name="connsiteX98" fmla="*/ 91934 w 139969"/>
                <a:gd name="connsiteY98" fmla="*/ 248445 h 286300"/>
                <a:gd name="connsiteX99" fmla="*/ 91298 w 139969"/>
                <a:gd name="connsiteY99" fmla="*/ 249082 h 286300"/>
                <a:gd name="connsiteX100" fmla="*/ 90026 w 139969"/>
                <a:gd name="connsiteY100" fmla="*/ 251626 h 286300"/>
                <a:gd name="connsiteX101" fmla="*/ 90344 w 139969"/>
                <a:gd name="connsiteY101" fmla="*/ 253217 h 286300"/>
                <a:gd name="connsiteX102" fmla="*/ 90344 w 139969"/>
                <a:gd name="connsiteY102" fmla="*/ 253853 h 286300"/>
                <a:gd name="connsiteX103" fmla="*/ 89071 w 139969"/>
                <a:gd name="connsiteY103" fmla="*/ 252263 h 286300"/>
                <a:gd name="connsiteX104" fmla="*/ 89071 w 139969"/>
                <a:gd name="connsiteY104" fmla="*/ 251945 h 286300"/>
                <a:gd name="connsiteX105" fmla="*/ 88435 w 139969"/>
                <a:gd name="connsiteY105" fmla="*/ 252581 h 286300"/>
                <a:gd name="connsiteX106" fmla="*/ 88435 w 139969"/>
                <a:gd name="connsiteY106" fmla="*/ 253853 h 286300"/>
                <a:gd name="connsiteX107" fmla="*/ 88753 w 139969"/>
                <a:gd name="connsiteY107" fmla="*/ 255126 h 286300"/>
                <a:gd name="connsiteX108" fmla="*/ 88435 w 139969"/>
                <a:gd name="connsiteY108" fmla="*/ 255762 h 286300"/>
                <a:gd name="connsiteX109" fmla="*/ 88753 w 139969"/>
                <a:gd name="connsiteY109" fmla="*/ 256080 h 286300"/>
                <a:gd name="connsiteX110" fmla="*/ 89708 w 139969"/>
                <a:gd name="connsiteY110" fmla="*/ 256398 h 286300"/>
                <a:gd name="connsiteX111" fmla="*/ 88753 w 139969"/>
                <a:gd name="connsiteY111" fmla="*/ 257034 h 286300"/>
                <a:gd name="connsiteX112" fmla="*/ 87163 w 139969"/>
                <a:gd name="connsiteY112" fmla="*/ 259261 h 286300"/>
                <a:gd name="connsiteX113" fmla="*/ 84300 w 139969"/>
                <a:gd name="connsiteY113" fmla="*/ 261170 h 286300"/>
                <a:gd name="connsiteX114" fmla="*/ 82709 w 139969"/>
                <a:gd name="connsiteY114" fmla="*/ 262442 h 286300"/>
                <a:gd name="connsiteX115" fmla="*/ 80482 w 139969"/>
                <a:gd name="connsiteY115" fmla="*/ 264987 h 286300"/>
                <a:gd name="connsiteX116" fmla="*/ 80482 w 139969"/>
                <a:gd name="connsiteY116" fmla="*/ 265305 h 286300"/>
                <a:gd name="connsiteX117" fmla="*/ 79846 w 139969"/>
                <a:gd name="connsiteY117" fmla="*/ 265623 h 286300"/>
                <a:gd name="connsiteX118" fmla="*/ 79528 w 139969"/>
                <a:gd name="connsiteY118" fmla="*/ 265623 h 286300"/>
                <a:gd name="connsiteX119" fmla="*/ 78892 w 139969"/>
                <a:gd name="connsiteY119" fmla="*/ 266578 h 286300"/>
                <a:gd name="connsiteX120" fmla="*/ 77937 w 139969"/>
                <a:gd name="connsiteY120" fmla="*/ 268168 h 286300"/>
                <a:gd name="connsiteX121" fmla="*/ 75075 w 139969"/>
                <a:gd name="connsiteY121" fmla="*/ 269759 h 286300"/>
                <a:gd name="connsiteX122" fmla="*/ 73802 w 139969"/>
                <a:gd name="connsiteY122" fmla="*/ 270077 h 286300"/>
                <a:gd name="connsiteX123" fmla="*/ 70939 w 139969"/>
                <a:gd name="connsiteY123" fmla="*/ 272304 h 286300"/>
                <a:gd name="connsiteX124" fmla="*/ 70621 w 139969"/>
                <a:gd name="connsiteY124" fmla="*/ 272304 h 286300"/>
                <a:gd name="connsiteX125" fmla="*/ 71257 w 139969"/>
                <a:gd name="connsiteY125" fmla="*/ 272622 h 286300"/>
                <a:gd name="connsiteX126" fmla="*/ 71575 w 139969"/>
                <a:gd name="connsiteY126" fmla="*/ 272622 h 286300"/>
                <a:gd name="connsiteX127" fmla="*/ 71575 w 139969"/>
                <a:gd name="connsiteY127" fmla="*/ 273258 h 286300"/>
                <a:gd name="connsiteX128" fmla="*/ 70303 w 139969"/>
                <a:gd name="connsiteY128" fmla="*/ 274212 h 286300"/>
                <a:gd name="connsiteX129" fmla="*/ 69349 w 139969"/>
                <a:gd name="connsiteY129" fmla="*/ 275485 h 286300"/>
                <a:gd name="connsiteX130" fmla="*/ 68076 w 139969"/>
                <a:gd name="connsiteY130" fmla="*/ 276439 h 286300"/>
                <a:gd name="connsiteX131" fmla="*/ 60760 w 139969"/>
                <a:gd name="connsiteY131" fmla="*/ 279620 h 286300"/>
                <a:gd name="connsiteX132" fmla="*/ 60441 w 139969"/>
                <a:gd name="connsiteY132" fmla="*/ 279620 h 286300"/>
                <a:gd name="connsiteX133" fmla="*/ 59169 w 139969"/>
                <a:gd name="connsiteY133" fmla="*/ 278666 h 286300"/>
                <a:gd name="connsiteX134" fmla="*/ 58215 w 139969"/>
                <a:gd name="connsiteY134" fmla="*/ 278666 h 286300"/>
                <a:gd name="connsiteX135" fmla="*/ 57897 w 139969"/>
                <a:gd name="connsiteY135" fmla="*/ 279302 h 286300"/>
                <a:gd name="connsiteX136" fmla="*/ 57897 w 139969"/>
                <a:gd name="connsiteY136" fmla="*/ 279938 h 286300"/>
                <a:gd name="connsiteX137" fmla="*/ 58215 w 139969"/>
                <a:gd name="connsiteY137" fmla="*/ 280893 h 286300"/>
                <a:gd name="connsiteX138" fmla="*/ 57260 w 139969"/>
                <a:gd name="connsiteY138" fmla="*/ 281529 h 286300"/>
                <a:gd name="connsiteX139" fmla="*/ 55352 w 139969"/>
                <a:gd name="connsiteY139" fmla="*/ 282801 h 286300"/>
                <a:gd name="connsiteX140" fmla="*/ 54079 w 139969"/>
                <a:gd name="connsiteY140" fmla="*/ 282801 h 286300"/>
                <a:gd name="connsiteX141" fmla="*/ 53125 w 139969"/>
                <a:gd name="connsiteY141" fmla="*/ 283438 h 286300"/>
                <a:gd name="connsiteX142" fmla="*/ 51216 w 139969"/>
                <a:gd name="connsiteY142" fmla="*/ 284392 h 286300"/>
                <a:gd name="connsiteX143" fmla="*/ 50262 w 139969"/>
                <a:gd name="connsiteY143" fmla="*/ 284392 h 286300"/>
                <a:gd name="connsiteX144" fmla="*/ 48353 w 139969"/>
                <a:gd name="connsiteY144" fmla="*/ 284710 h 286300"/>
                <a:gd name="connsiteX145" fmla="*/ 47717 w 139969"/>
                <a:gd name="connsiteY145" fmla="*/ 284710 h 286300"/>
                <a:gd name="connsiteX146" fmla="*/ 47399 w 139969"/>
                <a:gd name="connsiteY146" fmla="*/ 285028 h 286300"/>
                <a:gd name="connsiteX147" fmla="*/ 46126 w 139969"/>
                <a:gd name="connsiteY147" fmla="*/ 285983 h 286300"/>
                <a:gd name="connsiteX148" fmla="*/ 41036 w 139969"/>
                <a:gd name="connsiteY148" fmla="*/ 288209 h 286300"/>
                <a:gd name="connsiteX149" fmla="*/ 39128 w 139969"/>
                <a:gd name="connsiteY149" fmla="*/ 289482 h 286300"/>
                <a:gd name="connsiteX150" fmla="*/ 38173 w 139969"/>
                <a:gd name="connsiteY150" fmla="*/ 290436 h 286300"/>
                <a:gd name="connsiteX151" fmla="*/ 37537 w 139969"/>
                <a:gd name="connsiteY151" fmla="*/ 289800 h 286300"/>
                <a:gd name="connsiteX152" fmla="*/ 37219 w 139969"/>
                <a:gd name="connsiteY152" fmla="*/ 289482 h 286300"/>
                <a:gd name="connsiteX153" fmla="*/ 34992 w 139969"/>
                <a:gd name="connsiteY153" fmla="*/ 290754 h 286300"/>
                <a:gd name="connsiteX154" fmla="*/ 34038 w 139969"/>
                <a:gd name="connsiteY154" fmla="*/ 290436 h 286300"/>
                <a:gd name="connsiteX155" fmla="*/ 33084 w 139969"/>
                <a:gd name="connsiteY155" fmla="*/ 289800 h 286300"/>
                <a:gd name="connsiteX156" fmla="*/ 32448 w 139969"/>
                <a:gd name="connsiteY156" fmla="*/ 290118 h 286300"/>
                <a:gd name="connsiteX157" fmla="*/ 28630 w 139969"/>
                <a:gd name="connsiteY157" fmla="*/ 291072 h 286300"/>
                <a:gd name="connsiteX158" fmla="*/ 27040 w 139969"/>
                <a:gd name="connsiteY158" fmla="*/ 291390 h 286300"/>
                <a:gd name="connsiteX159" fmla="*/ 25449 w 139969"/>
                <a:gd name="connsiteY159" fmla="*/ 291709 h 286300"/>
                <a:gd name="connsiteX160" fmla="*/ 24177 w 139969"/>
                <a:gd name="connsiteY160" fmla="*/ 292027 h 286300"/>
                <a:gd name="connsiteX161" fmla="*/ 23222 w 139969"/>
                <a:gd name="connsiteY161" fmla="*/ 291709 h 286300"/>
                <a:gd name="connsiteX162" fmla="*/ 22586 w 139969"/>
                <a:gd name="connsiteY162" fmla="*/ 291072 h 286300"/>
                <a:gd name="connsiteX163" fmla="*/ 20677 w 139969"/>
                <a:gd name="connsiteY163" fmla="*/ 290436 h 286300"/>
                <a:gd name="connsiteX164" fmla="*/ 19723 w 139969"/>
                <a:gd name="connsiteY164" fmla="*/ 291072 h 286300"/>
                <a:gd name="connsiteX165" fmla="*/ 19087 w 139969"/>
                <a:gd name="connsiteY165" fmla="*/ 290754 h 286300"/>
                <a:gd name="connsiteX166" fmla="*/ 18451 w 139969"/>
                <a:gd name="connsiteY166" fmla="*/ 291072 h 286300"/>
                <a:gd name="connsiteX167" fmla="*/ 16860 w 139969"/>
                <a:gd name="connsiteY167" fmla="*/ 292027 h 286300"/>
                <a:gd name="connsiteX168" fmla="*/ 14315 w 139969"/>
                <a:gd name="connsiteY168" fmla="*/ 291072 h 286300"/>
                <a:gd name="connsiteX169" fmla="*/ 11452 w 139969"/>
                <a:gd name="connsiteY169" fmla="*/ 290754 h 286300"/>
                <a:gd name="connsiteX170" fmla="*/ 6044 w 139969"/>
                <a:gd name="connsiteY170" fmla="*/ 286937 h 286300"/>
                <a:gd name="connsiteX171" fmla="*/ 5408 w 139969"/>
                <a:gd name="connsiteY171" fmla="*/ 285664 h 286300"/>
                <a:gd name="connsiteX172" fmla="*/ 4136 w 139969"/>
                <a:gd name="connsiteY172" fmla="*/ 283756 h 286300"/>
                <a:gd name="connsiteX173" fmla="*/ 3818 w 139969"/>
                <a:gd name="connsiteY173" fmla="*/ 283438 h 286300"/>
                <a:gd name="connsiteX174" fmla="*/ 2545 w 139969"/>
                <a:gd name="connsiteY174" fmla="*/ 279938 h 286300"/>
                <a:gd name="connsiteX175" fmla="*/ 2545 w 139969"/>
                <a:gd name="connsiteY175" fmla="*/ 279302 h 286300"/>
                <a:gd name="connsiteX176" fmla="*/ 1909 w 139969"/>
                <a:gd name="connsiteY176" fmla="*/ 278666 h 286300"/>
                <a:gd name="connsiteX177" fmla="*/ 636 w 139969"/>
                <a:gd name="connsiteY177" fmla="*/ 275485 h 286300"/>
                <a:gd name="connsiteX178" fmla="*/ 318 w 139969"/>
                <a:gd name="connsiteY178" fmla="*/ 273894 h 286300"/>
                <a:gd name="connsiteX179" fmla="*/ 318 w 139969"/>
                <a:gd name="connsiteY179" fmla="*/ 271986 h 286300"/>
                <a:gd name="connsiteX180" fmla="*/ 636 w 139969"/>
                <a:gd name="connsiteY180" fmla="*/ 271031 h 286300"/>
                <a:gd name="connsiteX181" fmla="*/ 954 w 139969"/>
                <a:gd name="connsiteY181" fmla="*/ 271031 h 286300"/>
                <a:gd name="connsiteX182" fmla="*/ 1273 w 139969"/>
                <a:gd name="connsiteY182" fmla="*/ 270713 h 286300"/>
                <a:gd name="connsiteX183" fmla="*/ 954 w 139969"/>
                <a:gd name="connsiteY183" fmla="*/ 270077 h 286300"/>
                <a:gd name="connsiteX184" fmla="*/ 1273 w 139969"/>
                <a:gd name="connsiteY184" fmla="*/ 269441 h 286300"/>
                <a:gd name="connsiteX185" fmla="*/ 954 w 139969"/>
                <a:gd name="connsiteY185" fmla="*/ 269441 h 286300"/>
                <a:gd name="connsiteX186" fmla="*/ 636 w 139969"/>
                <a:gd name="connsiteY186" fmla="*/ 268168 h 286300"/>
                <a:gd name="connsiteX187" fmla="*/ 954 w 139969"/>
                <a:gd name="connsiteY187" fmla="*/ 266578 h 286300"/>
                <a:gd name="connsiteX188" fmla="*/ 318 w 139969"/>
                <a:gd name="connsiteY188" fmla="*/ 265623 h 286300"/>
                <a:gd name="connsiteX189" fmla="*/ 0 w 139969"/>
                <a:gd name="connsiteY189" fmla="*/ 265305 h 286300"/>
                <a:gd name="connsiteX190" fmla="*/ 0 w 139969"/>
                <a:gd name="connsiteY190" fmla="*/ 261488 h 286300"/>
                <a:gd name="connsiteX191" fmla="*/ 636 w 139969"/>
                <a:gd name="connsiteY191" fmla="*/ 257989 h 286300"/>
                <a:gd name="connsiteX192" fmla="*/ 954 w 139969"/>
                <a:gd name="connsiteY192" fmla="*/ 255762 h 286300"/>
                <a:gd name="connsiteX193" fmla="*/ 1273 w 139969"/>
                <a:gd name="connsiteY193" fmla="*/ 255444 h 286300"/>
                <a:gd name="connsiteX194" fmla="*/ 1591 w 139969"/>
                <a:gd name="connsiteY194" fmla="*/ 251945 h 286300"/>
                <a:gd name="connsiteX195" fmla="*/ 1909 w 139969"/>
                <a:gd name="connsiteY195" fmla="*/ 250354 h 286300"/>
                <a:gd name="connsiteX196" fmla="*/ 1909 w 139969"/>
                <a:gd name="connsiteY196" fmla="*/ 249718 h 286300"/>
                <a:gd name="connsiteX197" fmla="*/ 1591 w 139969"/>
                <a:gd name="connsiteY197" fmla="*/ 248127 h 286300"/>
                <a:gd name="connsiteX198" fmla="*/ 1591 w 139969"/>
                <a:gd name="connsiteY198" fmla="*/ 245582 h 286300"/>
                <a:gd name="connsiteX199" fmla="*/ 1273 w 139969"/>
                <a:gd name="connsiteY199" fmla="*/ 245264 h 286300"/>
                <a:gd name="connsiteX200" fmla="*/ 2227 w 139969"/>
                <a:gd name="connsiteY200" fmla="*/ 242083 h 286300"/>
                <a:gd name="connsiteX201" fmla="*/ 2545 w 139969"/>
                <a:gd name="connsiteY201" fmla="*/ 241765 h 286300"/>
                <a:gd name="connsiteX202" fmla="*/ 2863 w 139969"/>
                <a:gd name="connsiteY202" fmla="*/ 242083 h 286300"/>
                <a:gd name="connsiteX203" fmla="*/ 3181 w 139969"/>
                <a:gd name="connsiteY203" fmla="*/ 242083 h 286300"/>
                <a:gd name="connsiteX204" fmla="*/ 3181 w 139969"/>
                <a:gd name="connsiteY204" fmla="*/ 238902 h 286300"/>
                <a:gd name="connsiteX205" fmla="*/ 5090 w 139969"/>
                <a:gd name="connsiteY205" fmla="*/ 233494 h 286300"/>
                <a:gd name="connsiteX206" fmla="*/ 5090 w 139969"/>
                <a:gd name="connsiteY206" fmla="*/ 231904 h 286300"/>
                <a:gd name="connsiteX207" fmla="*/ 4772 w 139969"/>
                <a:gd name="connsiteY207" fmla="*/ 230949 h 286300"/>
                <a:gd name="connsiteX208" fmla="*/ 5090 w 139969"/>
                <a:gd name="connsiteY208" fmla="*/ 229677 h 286300"/>
                <a:gd name="connsiteX209" fmla="*/ 5408 w 139969"/>
                <a:gd name="connsiteY209" fmla="*/ 228722 h 286300"/>
                <a:gd name="connsiteX210" fmla="*/ 5408 w 139969"/>
                <a:gd name="connsiteY210" fmla="*/ 228086 h 286300"/>
                <a:gd name="connsiteX211" fmla="*/ 6362 w 139969"/>
                <a:gd name="connsiteY211" fmla="*/ 228086 h 286300"/>
                <a:gd name="connsiteX212" fmla="*/ 6681 w 139969"/>
                <a:gd name="connsiteY212" fmla="*/ 228404 h 286300"/>
                <a:gd name="connsiteX213" fmla="*/ 7317 w 139969"/>
                <a:gd name="connsiteY213" fmla="*/ 227132 h 286300"/>
                <a:gd name="connsiteX214" fmla="*/ 6999 w 139969"/>
                <a:gd name="connsiteY214" fmla="*/ 226177 h 286300"/>
                <a:gd name="connsiteX215" fmla="*/ 7635 w 139969"/>
                <a:gd name="connsiteY215" fmla="*/ 224587 h 286300"/>
                <a:gd name="connsiteX216" fmla="*/ 8589 w 139969"/>
                <a:gd name="connsiteY216" fmla="*/ 222360 h 286300"/>
                <a:gd name="connsiteX217" fmla="*/ 8271 w 139969"/>
                <a:gd name="connsiteY217" fmla="*/ 221406 h 286300"/>
                <a:gd name="connsiteX218" fmla="*/ 8271 w 139969"/>
                <a:gd name="connsiteY218" fmla="*/ 221088 h 286300"/>
                <a:gd name="connsiteX219" fmla="*/ 8589 w 139969"/>
                <a:gd name="connsiteY219" fmla="*/ 220451 h 286300"/>
                <a:gd name="connsiteX220" fmla="*/ 9225 w 139969"/>
                <a:gd name="connsiteY220" fmla="*/ 220451 h 286300"/>
                <a:gd name="connsiteX221" fmla="*/ 9543 w 139969"/>
                <a:gd name="connsiteY221" fmla="*/ 220770 h 286300"/>
                <a:gd name="connsiteX222" fmla="*/ 9543 w 139969"/>
                <a:gd name="connsiteY222" fmla="*/ 220451 h 286300"/>
                <a:gd name="connsiteX223" fmla="*/ 9862 w 139969"/>
                <a:gd name="connsiteY223" fmla="*/ 219497 h 286300"/>
                <a:gd name="connsiteX224" fmla="*/ 10498 w 139969"/>
                <a:gd name="connsiteY224" fmla="*/ 218225 h 286300"/>
                <a:gd name="connsiteX225" fmla="*/ 11770 w 139969"/>
                <a:gd name="connsiteY225" fmla="*/ 215998 h 286300"/>
                <a:gd name="connsiteX226" fmla="*/ 12406 w 139969"/>
                <a:gd name="connsiteY226" fmla="*/ 214725 h 286300"/>
                <a:gd name="connsiteX227" fmla="*/ 11770 w 139969"/>
                <a:gd name="connsiteY227" fmla="*/ 212817 h 286300"/>
                <a:gd name="connsiteX228" fmla="*/ 12406 w 139969"/>
                <a:gd name="connsiteY228" fmla="*/ 212181 h 286300"/>
                <a:gd name="connsiteX229" fmla="*/ 13043 w 139969"/>
                <a:gd name="connsiteY229" fmla="*/ 211544 h 286300"/>
                <a:gd name="connsiteX230" fmla="*/ 13043 w 139969"/>
                <a:gd name="connsiteY230" fmla="*/ 210908 h 286300"/>
                <a:gd name="connsiteX231" fmla="*/ 13997 w 139969"/>
                <a:gd name="connsiteY231" fmla="*/ 209318 h 286300"/>
                <a:gd name="connsiteX232" fmla="*/ 14315 w 139969"/>
                <a:gd name="connsiteY232" fmla="*/ 208363 h 286300"/>
                <a:gd name="connsiteX233" fmla="*/ 14315 w 139969"/>
                <a:gd name="connsiteY233" fmla="*/ 208045 h 286300"/>
                <a:gd name="connsiteX234" fmla="*/ 16224 w 139969"/>
                <a:gd name="connsiteY234" fmla="*/ 208045 h 286300"/>
                <a:gd name="connsiteX235" fmla="*/ 16542 w 139969"/>
                <a:gd name="connsiteY235" fmla="*/ 207727 h 286300"/>
                <a:gd name="connsiteX236" fmla="*/ 16224 w 139969"/>
                <a:gd name="connsiteY236" fmla="*/ 207409 h 286300"/>
                <a:gd name="connsiteX237" fmla="*/ 15588 w 139969"/>
                <a:gd name="connsiteY237" fmla="*/ 206773 h 286300"/>
                <a:gd name="connsiteX238" fmla="*/ 15906 w 139969"/>
                <a:gd name="connsiteY238" fmla="*/ 206136 h 286300"/>
                <a:gd name="connsiteX239" fmla="*/ 16860 w 139969"/>
                <a:gd name="connsiteY239" fmla="*/ 203910 h 286300"/>
                <a:gd name="connsiteX240" fmla="*/ 17178 w 139969"/>
                <a:gd name="connsiteY240" fmla="*/ 203910 h 286300"/>
                <a:gd name="connsiteX241" fmla="*/ 16860 w 139969"/>
                <a:gd name="connsiteY241" fmla="*/ 203592 h 286300"/>
                <a:gd name="connsiteX242" fmla="*/ 17815 w 139969"/>
                <a:gd name="connsiteY242" fmla="*/ 203273 h 286300"/>
                <a:gd name="connsiteX243" fmla="*/ 18769 w 139969"/>
                <a:gd name="connsiteY243" fmla="*/ 204228 h 286300"/>
                <a:gd name="connsiteX244" fmla="*/ 18769 w 139969"/>
                <a:gd name="connsiteY244" fmla="*/ 204864 h 286300"/>
                <a:gd name="connsiteX245" fmla="*/ 17815 w 139969"/>
                <a:gd name="connsiteY245" fmla="*/ 206455 h 286300"/>
                <a:gd name="connsiteX246" fmla="*/ 17815 w 139969"/>
                <a:gd name="connsiteY246" fmla="*/ 208363 h 286300"/>
                <a:gd name="connsiteX247" fmla="*/ 16860 w 139969"/>
                <a:gd name="connsiteY247" fmla="*/ 208681 h 286300"/>
                <a:gd name="connsiteX248" fmla="*/ 15906 w 139969"/>
                <a:gd name="connsiteY248" fmla="*/ 208999 h 286300"/>
                <a:gd name="connsiteX249" fmla="*/ 14951 w 139969"/>
                <a:gd name="connsiteY249" fmla="*/ 210272 h 286300"/>
                <a:gd name="connsiteX250" fmla="*/ 14951 w 139969"/>
                <a:gd name="connsiteY250" fmla="*/ 210908 h 286300"/>
                <a:gd name="connsiteX251" fmla="*/ 15588 w 139969"/>
                <a:gd name="connsiteY251" fmla="*/ 210908 h 286300"/>
                <a:gd name="connsiteX252" fmla="*/ 16860 w 139969"/>
                <a:gd name="connsiteY252" fmla="*/ 209636 h 286300"/>
                <a:gd name="connsiteX253" fmla="*/ 16860 w 139969"/>
                <a:gd name="connsiteY253" fmla="*/ 209954 h 286300"/>
                <a:gd name="connsiteX254" fmla="*/ 16224 w 139969"/>
                <a:gd name="connsiteY254" fmla="*/ 211226 h 286300"/>
                <a:gd name="connsiteX255" fmla="*/ 15270 w 139969"/>
                <a:gd name="connsiteY255" fmla="*/ 212181 h 286300"/>
                <a:gd name="connsiteX256" fmla="*/ 14633 w 139969"/>
                <a:gd name="connsiteY256" fmla="*/ 212499 h 286300"/>
                <a:gd name="connsiteX257" fmla="*/ 14633 w 139969"/>
                <a:gd name="connsiteY257" fmla="*/ 212817 h 286300"/>
                <a:gd name="connsiteX258" fmla="*/ 15270 w 139969"/>
                <a:gd name="connsiteY258" fmla="*/ 213453 h 286300"/>
                <a:gd name="connsiteX259" fmla="*/ 14633 w 139969"/>
                <a:gd name="connsiteY259" fmla="*/ 214407 h 286300"/>
                <a:gd name="connsiteX260" fmla="*/ 13361 w 139969"/>
                <a:gd name="connsiteY260" fmla="*/ 215044 h 286300"/>
                <a:gd name="connsiteX261" fmla="*/ 13043 w 139969"/>
                <a:gd name="connsiteY261" fmla="*/ 215998 h 286300"/>
                <a:gd name="connsiteX262" fmla="*/ 13043 w 139969"/>
                <a:gd name="connsiteY262" fmla="*/ 217588 h 286300"/>
                <a:gd name="connsiteX263" fmla="*/ 13361 w 139969"/>
                <a:gd name="connsiteY263" fmla="*/ 218225 h 286300"/>
                <a:gd name="connsiteX264" fmla="*/ 13043 w 139969"/>
                <a:gd name="connsiteY264" fmla="*/ 219179 h 286300"/>
                <a:gd name="connsiteX265" fmla="*/ 12406 w 139969"/>
                <a:gd name="connsiteY265" fmla="*/ 220451 h 286300"/>
                <a:gd name="connsiteX266" fmla="*/ 12406 w 139969"/>
                <a:gd name="connsiteY266" fmla="*/ 221088 h 286300"/>
                <a:gd name="connsiteX267" fmla="*/ 11134 w 139969"/>
                <a:gd name="connsiteY267" fmla="*/ 222360 h 286300"/>
                <a:gd name="connsiteX268" fmla="*/ 10816 w 139969"/>
                <a:gd name="connsiteY268" fmla="*/ 222996 h 286300"/>
                <a:gd name="connsiteX269" fmla="*/ 10816 w 139969"/>
                <a:gd name="connsiteY269" fmla="*/ 224587 h 286300"/>
                <a:gd name="connsiteX270" fmla="*/ 10180 w 139969"/>
                <a:gd name="connsiteY270" fmla="*/ 225541 h 286300"/>
                <a:gd name="connsiteX271" fmla="*/ 10180 w 139969"/>
                <a:gd name="connsiteY271" fmla="*/ 226177 h 286300"/>
                <a:gd name="connsiteX272" fmla="*/ 9862 w 139969"/>
                <a:gd name="connsiteY272" fmla="*/ 227132 h 286300"/>
                <a:gd name="connsiteX273" fmla="*/ 9543 w 139969"/>
                <a:gd name="connsiteY273" fmla="*/ 229041 h 286300"/>
                <a:gd name="connsiteX274" fmla="*/ 10498 w 139969"/>
                <a:gd name="connsiteY274" fmla="*/ 229995 h 286300"/>
                <a:gd name="connsiteX275" fmla="*/ 13361 w 139969"/>
                <a:gd name="connsiteY275" fmla="*/ 229995 h 286300"/>
                <a:gd name="connsiteX276" fmla="*/ 13361 w 139969"/>
                <a:gd name="connsiteY276" fmla="*/ 230631 h 286300"/>
                <a:gd name="connsiteX277" fmla="*/ 11452 w 139969"/>
                <a:gd name="connsiteY277" fmla="*/ 235403 h 286300"/>
                <a:gd name="connsiteX278" fmla="*/ 11134 w 139969"/>
                <a:gd name="connsiteY278" fmla="*/ 235721 h 286300"/>
                <a:gd name="connsiteX279" fmla="*/ 10498 w 139969"/>
                <a:gd name="connsiteY279" fmla="*/ 236039 h 286300"/>
                <a:gd name="connsiteX280" fmla="*/ 10498 w 139969"/>
                <a:gd name="connsiteY280" fmla="*/ 235721 h 286300"/>
                <a:gd name="connsiteX281" fmla="*/ 11134 w 139969"/>
                <a:gd name="connsiteY281" fmla="*/ 234448 h 286300"/>
                <a:gd name="connsiteX282" fmla="*/ 11452 w 139969"/>
                <a:gd name="connsiteY282" fmla="*/ 234130 h 286300"/>
                <a:gd name="connsiteX283" fmla="*/ 10816 w 139969"/>
                <a:gd name="connsiteY283" fmla="*/ 233494 h 286300"/>
                <a:gd name="connsiteX284" fmla="*/ 10498 w 139969"/>
                <a:gd name="connsiteY284" fmla="*/ 233494 h 286300"/>
                <a:gd name="connsiteX285" fmla="*/ 9862 w 139969"/>
                <a:gd name="connsiteY285" fmla="*/ 232222 h 286300"/>
                <a:gd name="connsiteX286" fmla="*/ 10180 w 139969"/>
                <a:gd name="connsiteY286" fmla="*/ 231904 h 286300"/>
                <a:gd name="connsiteX287" fmla="*/ 9543 w 139969"/>
                <a:gd name="connsiteY287" fmla="*/ 231267 h 286300"/>
                <a:gd name="connsiteX288" fmla="*/ 8589 w 139969"/>
                <a:gd name="connsiteY288" fmla="*/ 233494 h 286300"/>
                <a:gd name="connsiteX289" fmla="*/ 7317 w 139969"/>
                <a:gd name="connsiteY289" fmla="*/ 235721 h 286300"/>
                <a:gd name="connsiteX290" fmla="*/ 7953 w 139969"/>
                <a:gd name="connsiteY290" fmla="*/ 237630 h 286300"/>
                <a:gd name="connsiteX291" fmla="*/ 7953 w 139969"/>
                <a:gd name="connsiteY291" fmla="*/ 237948 h 286300"/>
                <a:gd name="connsiteX292" fmla="*/ 7317 w 139969"/>
                <a:gd name="connsiteY292" fmla="*/ 238266 h 286300"/>
                <a:gd name="connsiteX293" fmla="*/ 6999 w 139969"/>
                <a:gd name="connsiteY293" fmla="*/ 238266 h 286300"/>
                <a:gd name="connsiteX294" fmla="*/ 6681 w 139969"/>
                <a:gd name="connsiteY294" fmla="*/ 238584 h 286300"/>
                <a:gd name="connsiteX295" fmla="*/ 6044 w 139969"/>
                <a:gd name="connsiteY295" fmla="*/ 241765 h 286300"/>
                <a:gd name="connsiteX296" fmla="*/ 5408 w 139969"/>
                <a:gd name="connsiteY296" fmla="*/ 245900 h 286300"/>
                <a:gd name="connsiteX297" fmla="*/ 6044 w 139969"/>
                <a:gd name="connsiteY297" fmla="*/ 249400 h 286300"/>
                <a:gd name="connsiteX298" fmla="*/ 6362 w 139969"/>
                <a:gd name="connsiteY298" fmla="*/ 250036 h 286300"/>
                <a:gd name="connsiteX299" fmla="*/ 6044 w 139969"/>
                <a:gd name="connsiteY299" fmla="*/ 250672 h 286300"/>
                <a:gd name="connsiteX300" fmla="*/ 5408 w 139969"/>
                <a:gd name="connsiteY300" fmla="*/ 252899 h 286300"/>
                <a:gd name="connsiteX301" fmla="*/ 6362 w 139969"/>
                <a:gd name="connsiteY301" fmla="*/ 254489 h 286300"/>
                <a:gd name="connsiteX302" fmla="*/ 6999 w 139969"/>
                <a:gd name="connsiteY302" fmla="*/ 255762 h 286300"/>
                <a:gd name="connsiteX303" fmla="*/ 7635 w 139969"/>
                <a:gd name="connsiteY303" fmla="*/ 255444 h 286300"/>
                <a:gd name="connsiteX304" fmla="*/ 7953 w 139969"/>
                <a:gd name="connsiteY304" fmla="*/ 255762 h 286300"/>
                <a:gd name="connsiteX305" fmla="*/ 7953 w 139969"/>
                <a:gd name="connsiteY305" fmla="*/ 256716 h 286300"/>
                <a:gd name="connsiteX306" fmla="*/ 8589 w 139969"/>
                <a:gd name="connsiteY306" fmla="*/ 258943 h 286300"/>
                <a:gd name="connsiteX307" fmla="*/ 8271 w 139969"/>
                <a:gd name="connsiteY307" fmla="*/ 260534 h 286300"/>
                <a:gd name="connsiteX308" fmla="*/ 8271 w 139969"/>
                <a:gd name="connsiteY308" fmla="*/ 261170 h 286300"/>
                <a:gd name="connsiteX309" fmla="*/ 8907 w 139969"/>
                <a:gd name="connsiteY309" fmla="*/ 267532 h 286300"/>
                <a:gd name="connsiteX310" fmla="*/ 9225 w 139969"/>
                <a:gd name="connsiteY310" fmla="*/ 270077 h 286300"/>
                <a:gd name="connsiteX311" fmla="*/ 10498 w 139969"/>
                <a:gd name="connsiteY311" fmla="*/ 271667 h 286300"/>
                <a:gd name="connsiteX312" fmla="*/ 10816 w 139969"/>
                <a:gd name="connsiteY312" fmla="*/ 271986 h 286300"/>
                <a:gd name="connsiteX313" fmla="*/ 12406 w 139969"/>
                <a:gd name="connsiteY313" fmla="*/ 275167 h 286300"/>
                <a:gd name="connsiteX314" fmla="*/ 15588 w 139969"/>
                <a:gd name="connsiteY314" fmla="*/ 278030 h 286300"/>
                <a:gd name="connsiteX315" fmla="*/ 15906 w 139969"/>
                <a:gd name="connsiteY315" fmla="*/ 278030 h 286300"/>
                <a:gd name="connsiteX316" fmla="*/ 16542 w 139969"/>
                <a:gd name="connsiteY316" fmla="*/ 277712 h 286300"/>
                <a:gd name="connsiteX317" fmla="*/ 17178 w 139969"/>
                <a:gd name="connsiteY317" fmla="*/ 277394 h 286300"/>
                <a:gd name="connsiteX318" fmla="*/ 17496 w 139969"/>
                <a:gd name="connsiteY318" fmla="*/ 277712 h 286300"/>
                <a:gd name="connsiteX319" fmla="*/ 17815 w 139969"/>
                <a:gd name="connsiteY319" fmla="*/ 278666 h 286300"/>
                <a:gd name="connsiteX320" fmla="*/ 20041 w 139969"/>
                <a:gd name="connsiteY320" fmla="*/ 280575 h 286300"/>
                <a:gd name="connsiteX321" fmla="*/ 20359 w 139969"/>
                <a:gd name="connsiteY321" fmla="*/ 280575 h 286300"/>
                <a:gd name="connsiteX322" fmla="*/ 24813 w 139969"/>
                <a:gd name="connsiteY322" fmla="*/ 280893 h 286300"/>
                <a:gd name="connsiteX323" fmla="*/ 26085 w 139969"/>
                <a:gd name="connsiteY323" fmla="*/ 280893 h 286300"/>
                <a:gd name="connsiteX324" fmla="*/ 30539 w 139969"/>
                <a:gd name="connsiteY324" fmla="*/ 279302 h 286300"/>
                <a:gd name="connsiteX325" fmla="*/ 31811 w 139969"/>
                <a:gd name="connsiteY325" fmla="*/ 279620 h 286300"/>
                <a:gd name="connsiteX326" fmla="*/ 34356 w 139969"/>
                <a:gd name="connsiteY326" fmla="*/ 278666 h 286300"/>
                <a:gd name="connsiteX327" fmla="*/ 36265 w 139969"/>
                <a:gd name="connsiteY327" fmla="*/ 277394 h 286300"/>
                <a:gd name="connsiteX328" fmla="*/ 36901 w 139969"/>
                <a:gd name="connsiteY328" fmla="*/ 277394 h 286300"/>
                <a:gd name="connsiteX329" fmla="*/ 37219 w 139969"/>
                <a:gd name="connsiteY329" fmla="*/ 277075 h 286300"/>
                <a:gd name="connsiteX330" fmla="*/ 39446 w 139969"/>
                <a:gd name="connsiteY330" fmla="*/ 276121 h 286300"/>
                <a:gd name="connsiteX331" fmla="*/ 41036 w 139969"/>
                <a:gd name="connsiteY331" fmla="*/ 275485 h 286300"/>
                <a:gd name="connsiteX332" fmla="*/ 44218 w 139969"/>
                <a:gd name="connsiteY332" fmla="*/ 274849 h 286300"/>
                <a:gd name="connsiteX333" fmla="*/ 48671 w 139969"/>
                <a:gd name="connsiteY333" fmla="*/ 271986 h 286300"/>
                <a:gd name="connsiteX334" fmla="*/ 54079 w 139969"/>
                <a:gd name="connsiteY334" fmla="*/ 268486 h 286300"/>
                <a:gd name="connsiteX335" fmla="*/ 54715 w 139969"/>
                <a:gd name="connsiteY335" fmla="*/ 267850 h 286300"/>
                <a:gd name="connsiteX336" fmla="*/ 56624 w 139969"/>
                <a:gd name="connsiteY336" fmla="*/ 265942 h 286300"/>
                <a:gd name="connsiteX337" fmla="*/ 59169 w 139969"/>
                <a:gd name="connsiteY337" fmla="*/ 263397 h 286300"/>
                <a:gd name="connsiteX338" fmla="*/ 59487 w 139969"/>
                <a:gd name="connsiteY338" fmla="*/ 263078 h 286300"/>
                <a:gd name="connsiteX339" fmla="*/ 59805 w 139969"/>
                <a:gd name="connsiteY339" fmla="*/ 263078 h 286300"/>
                <a:gd name="connsiteX340" fmla="*/ 61078 w 139969"/>
                <a:gd name="connsiteY340" fmla="*/ 261806 h 286300"/>
                <a:gd name="connsiteX341" fmla="*/ 62668 w 139969"/>
                <a:gd name="connsiteY341" fmla="*/ 259897 h 286300"/>
                <a:gd name="connsiteX342" fmla="*/ 64577 w 139969"/>
                <a:gd name="connsiteY342" fmla="*/ 257671 h 286300"/>
                <a:gd name="connsiteX343" fmla="*/ 67440 w 139969"/>
                <a:gd name="connsiteY343" fmla="*/ 254171 h 286300"/>
                <a:gd name="connsiteX344" fmla="*/ 68712 w 139969"/>
                <a:gd name="connsiteY344" fmla="*/ 252581 h 286300"/>
                <a:gd name="connsiteX345" fmla="*/ 71894 w 139969"/>
                <a:gd name="connsiteY345" fmla="*/ 248445 h 286300"/>
                <a:gd name="connsiteX346" fmla="*/ 74438 w 139969"/>
                <a:gd name="connsiteY346" fmla="*/ 245900 h 286300"/>
                <a:gd name="connsiteX347" fmla="*/ 75393 w 139969"/>
                <a:gd name="connsiteY347" fmla="*/ 243992 h 286300"/>
                <a:gd name="connsiteX348" fmla="*/ 77301 w 139969"/>
                <a:gd name="connsiteY348" fmla="*/ 241447 h 286300"/>
                <a:gd name="connsiteX349" fmla="*/ 80482 w 139969"/>
                <a:gd name="connsiteY349" fmla="*/ 237630 h 286300"/>
                <a:gd name="connsiteX350" fmla="*/ 83664 w 139969"/>
                <a:gd name="connsiteY350" fmla="*/ 230949 h 286300"/>
                <a:gd name="connsiteX351" fmla="*/ 85890 w 139969"/>
                <a:gd name="connsiteY351" fmla="*/ 228086 h 286300"/>
                <a:gd name="connsiteX352" fmla="*/ 86527 w 139969"/>
                <a:gd name="connsiteY352" fmla="*/ 226814 h 286300"/>
                <a:gd name="connsiteX353" fmla="*/ 86845 w 139969"/>
                <a:gd name="connsiteY353" fmla="*/ 225859 h 286300"/>
                <a:gd name="connsiteX354" fmla="*/ 89071 w 139969"/>
                <a:gd name="connsiteY354" fmla="*/ 222360 h 286300"/>
                <a:gd name="connsiteX355" fmla="*/ 90662 w 139969"/>
                <a:gd name="connsiteY355" fmla="*/ 219179 h 286300"/>
                <a:gd name="connsiteX356" fmla="*/ 90662 w 139969"/>
                <a:gd name="connsiteY356" fmla="*/ 218861 h 286300"/>
                <a:gd name="connsiteX357" fmla="*/ 93843 w 139969"/>
                <a:gd name="connsiteY357" fmla="*/ 213453 h 286300"/>
                <a:gd name="connsiteX358" fmla="*/ 96388 w 139969"/>
                <a:gd name="connsiteY358" fmla="*/ 207727 h 286300"/>
                <a:gd name="connsiteX359" fmla="*/ 97024 w 139969"/>
                <a:gd name="connsiteY359" fmla="*/ 205500 h 286300"/>
                <a:gd name="connsiteX360" fmla="*/ 97979 w 139969"/>
                <a:gd name="connsiteY360" fmla="*/ 201683 h 286300"/>
                <a:gd name="connsiteX361" fmla="*/ 100205 w 139969"/>
                <a:gd name="connsiteY361" fmla="*/ 196911 h 286300"/>
                <a:gd name="connsiteX362" fmla="*/ 101160 w 139969"/>
                <a:gd name="connsiteY362" fmla="*/ 194366 h 286300"/>
                <a:gd name="connsiteX363" fmla="*/ 102432 w 139969"/>
                <a:gd name="connsiteY363" fmla="*/ 190231 h 286300"/>
                <a:gd name="connsiteX364" fmla="*/ 104659 w 139969"/>
                <a:gd name="connsiteY364" fmla="*/ 184187 h 286300"/>
                <a:gd name="connsiteX365" fmla="*/ 105613 w 139969"/>
                <a:gd name="connsiteY365" fmla="*/ 182596 h 286300"/>
                <a:gd name="connsiteX366" fmla="*/ 106886 w 139969"/>
                <a:gd name="connsiteY366" fmla="*/ 177188 h 286300"/>
                <a:gd name="connsiteX367" fmla="*/ 108476 w 139969"/>
                <a:gd name="connsiteY367" fmla="*/ 169235 h 286300"/>
                <a:gd name="connsiteX368" fmla="*/ 108794 w 139969"/>
                <a:gd name="connsiteY368" fmla="*/ 168281 h 286300"/>
                <a:gd name="connsiteX369" fmla="*/ 109112 w 139969"/>
                <a:gd name="connsiteY369" fmla="*/ 166691 h 286300"/>
                <a:gd name="connsiteX370" fmla="*/ 112612 w 139969"/>
                <a:gd name="connsiteY370" fmla="*/ 147286 h 286300"/>
                <a:gd name="connsiteX371" fmla="*/ 113566 w 139969"/>
                <a:gd name="connsiteY371" fmla="*/ 142514 h 286300"/>
                <a:gd name="connsiteX372" fmla="*/ 114202 w 139969"/>
                <a:gd name="connsiteY372" fmla="*/ 134243 h 286300"/>
                <a:gd name="connsiteX373" fmla="*/ 114839 w 139969"/>
                <a:gd name="connsiteY373" fmla="*/ 126290 h 286300"/>
                <a:gd name="connsiteX374" fmla="*/ 115157 w 139969"/>
                <a:gd name="connsiteY374" fmla="*/ 120882 h 286300"/>
                <a:gd name="connsiteX375" fmla="*/ 114839 w 139969"/>
                <a:gd name="connsiteY375" fmla="*/ 116429 h 286300"/>
                <a:gd name="connsiteX376" fmla="*/ 113884 w 139969"/>
                <a:gd name="connsiteY376" fmla="*/ 115793 h 286300"/>
                <a:gd name="connsiteX377" fmla="*/ 113566 w 139969"/>
                <a:gd name="connsiteY377" fmla="*/ 115793 h 286300"/>
                <a:gd name="connsiteX378" fmla="*/ 110385 w 139969"/>
                <a:gd name="connsiteY378" fmla="*/ 118338 h 286300"/>
                <a:gd name="connsiteX379" fmla="*/ 110067 w 139969"/>
                <a:gd name="connsiteY379" fmla="*/ 118974 h 286300"/>
                <a:gd name="connsiteX380" fmla="*/ 109431 w 139969"/>
                <a:gd name="connsiteY380" fmla="*/ 119928 h 286300"/>
                <a:gd name="connsiteX381" fmla="*/ 108794 w 139969"/>
                <a:gd name="connsiteY381" fmla="*/ 119610 h 286300"/>
                <a:gd name="connsiteX382" fmla="*/ 108158 w 139969"/>
                <a:gd name="connsiteY382" fmla="*/ 119292 h 286300"/>
                <a:gd name="connsiteX383" fmla="*/ 107204 w 139969"/>
                <a:gd name="connsiteY383" fmla="*/ 119610 h 286300"/>
                <a:gd name="connsiteX384" fmla="*/ 106567 w 139969"/>
                <a:gd name="connsiteY384" fmla="*/ 119292 h 286300"/>
                <a:gd name="connsiteX385" fmla="*/ 105931 w 139969"/>
                <a:gd name="connsiteY385" fmla="*/ 118974 h 286300"/>
                <a:gd name="connsiteX386" fmla="*/ 105613 w 139969"/>
                <a:gd name="connsiteY386" fmla="*/ 119610 h 286300"/>
                <a:gd name="connsiteX387" fmla="*/ 106249 w 139969"/>
                <a:gd name="connsiteY387" fmla="*/ 120882 h 286300"/>
                <a:gd name="connsiteX388" fmla="*/ 106249 w 139969"/>
                <a:gd name="connsiteY388" fmla="*/ 121837 h 286300"/>
                <a:gd name="connsiteX389" fmla="*/ 104341 w 139969"/>
                <a:gd name="connsiteY389" fmla="*/ 123109 h 286300"/>
                <a:gd name="connsiteX390" fmla="*/ 103386 w 139969"/>
                <a:gd name="connsiteY390" fmla="*/ 123746 h 286300"/>
                <a:gd name="connsiteX391" fmla="*/ 103386 w 139969"/>
                <a:gd name="connsiteY391" fmla="*/ 124064 h 286300"/>
                <a:gd name="connsiteX392" fmla="*/ 102432 w 139969"/>
                <a:gd name="connsiteY392" fmla="*/ 125018 h 286300"/>
                <a:gd name="connsiteX393" fmla="*/ 101478 w 139969"/>
                <a:gd name="connsiteY393" fmla="*/ 125972 h 286300"/>
                <a:gd name="connsiteX394" fmla="*/ 100842 w 139969"/>
                <a:gd name="connsiteY394" fmla="*/ 126927 h 286300"/>
                <a:gd name="connsiteX395" fmla="*/ 100524 w 139969"/>
                <a:gd name="connsiteY395" fmla="*/ 126609 h 286300"/>
                <a:gd name="connsiteX396" fmla="*/ 99569 w 139969"/>
                <a:gd name="connsiteY396" fmla="*/ 126609 h 286300"/>
                <a:gd name="connsiteX397" fmla="*/ 98933 w 139969"/>
                <a:gd name="connsiteY397" fmla="*/ 127245 h 286300"/>
                <a:gd name="connsiteX398" fmla="*/ 97024 w 139969"/>
                <a:gd name="connsiteY398" fmla="*/ 129471 h 286300"/>
                <a:gd name="connsiteX399" fmla="*/ 95434 w 139969"/>
                <a:gd name="connsiteY399" fmla="*/ 130108 h 286300"/>
                <a:gd name="connsiteX400" fmla="*/ 92252 w 139969"/>
                <a:gd name="connsiteY400" fmla="*/ 132016 h 286300"/>
                <a:gd name="connsiteX401" fmla="*/ 90026 w 139969"/>
                <a:gd name="connsiteY401" fmla="*/ 133925 h 286300"/>
                <a:gd name="connsiteX402" fmla="*/ 89071 w 139969"/>
                <a:gd name="connsiteY402" fmla="*/ 135198 h 286300"/>
                <a:gd name="connsiteX403" fmla="*/ 88753 w 139969"/>
                <a:gd name="connsiteY403" fmla="*/ 135834 h 286300"/>
                <a:gd name="connsiteX404" fmla="*/ 87481 w 139969"/>
                <a:gd name="connsiteY404" fmla="*/ 137424 h 286300"/>
                <a:gd name="connsiteX405" fmla="*/ 86527 w 139969"/>
                <a:gd name="connsiteY405" fmla="*/ 137742 h 286300"/>
                <a:gd name="connsiteX406" fmla="*/ 85890 w 139969"/>
                <a:gd name="connsiteY406" fmla="*/ 137742 h 286300"/>
                <a:gd name="connsiteX407" fmla="*/ 84936 w 139969"/>
                <a:gd name="connsiteY407" fmla="*/ 137106 h 286300"/>
                <a:gd name="connsiteX408" fmla="*/ 84618 w 139969"/>
                <a:gd name="connsiteY408" fmla="*/ 137742 h 286300"/>
                <a:gd name="connsiteX409" fmla="*/ 84618 w 139969"/>
                <a:gd name="connsiteY409" fmla="*/ 139969 h 286300"/>
                <a:gd name="connsiteX410" fmla="*/ 83664 w 139969"/>
                <a:gd name="connsiteY410" fmla="*/ 139969 h 286300"/>
                <a:gd name="connsiteX411" fmla="*/ 83027 w 139969"/>
                <a:gd name="connsiteY411" fmla="*/ 139333 h 286300"/>
                <a:gd name="connsiteX412" fmla="*/ 83027 w 139969"/>
                <a:gd name="connsiteY412" fmla="*/ 141242 h 286300"/>
                <a:gd name="connsiteX413" fmla="*/ 82709 w 139969"/>
                <a:gd name="connsiteY413" fmla="*/ 141560 h 286300"/>
                <a:gd name="connsiteX414" fmla="*/ 82391 w 139969"/>
                <a:gd name="connsiteY414" fmla="*/ 141560 h 286300"/>
                <a:gd name="connsiteX415" fmla="*/ 81755 w 139969"/>
                <a:gd name="connsiteY415" fmla="*/ 141242 h 286300"/>
                <a:gd name="connsiteX416" fmla="*/ 81437 w 139969"/>
                <a:gd name="connsiteY416" fmla="*/ 141242 h 286300"/>
                <a:gd name="connsiteX417" fmla="*/ 81437 w 139969"/>
                <a:gd name="connsiteY417" fmla="*/ 143468 h 286300"/>
                <a:gd name="connsiteX418" fmla="*/ 81119 w 139969"/>
                <a:gd name="connsiteY418" fmla="*/ 144423 h 286300"/>
                <a:gd name="connsiteX419" fmla="*/ 79846 w 139969"/>
                <a:gd name="connsiteY419" fmla="*/ 145695 h 286300"/>
                <a:gd name="connsiteX420" fmla="*/ 77301 w 139969"/>
                <a:gd name="connsiteY420" fmla="*/ 147604 h 286300"/>
                <a:gd name="connsiteX421" fmla="*/ 76347 w 139969"/>
                <a:gd name="connsiteY421" fmla="*/ 147922 h 286300"/>
                <a:gd name="connsiteX422" fmla="*/ 75393 w 139969"/>
                <a:gd name="connsiteY422" fmla="*/ 146650 h 286300"/>
                <a:gd name="connsiteX423" fmla="*/ 74438 w 139969"/>
                <a:gd name="connsiteY423" fmla="*/ 145695 h 286300"/>
                <a:gd name="connsiteX424" fmla="*/ 74120 w 139969"/>
                <a:gd name="connsiteY424" fmla="*/ 145695 h 286300"/>
                <a:gd name="connsiteX425" fmla="*/ 73802 w 139969"/>
                <a:gd name="connsiteY425" fmla="*/ 145059 h 286300"/>
                <a:gd name="connsiteX426" fmla="*/ 72848 w 139969"/>
                <a:gd name="connsiteY426" fmla="*/ 142196 h 286300"/>
                <a:gd name="connsiteX427" fmla="*/ 74120 w 139969"/>
                <a:gd name="connsiteY427" fmla="*/ 140605 h 286300"/>
                <a:gd name="connsiteX428" fmla="*/ 74438 w 139969"/>
                <a:gd name="connsiteY428" fmla="*/ 139015 h 286300"/>
                <a:gd name="connsiteX429" fmla="*/ 74120 w 139969"/>
                <a:gd name="connsiteY429" fmla="*/ 139015 h 286300"/>
                <a:gd name="connsiteX430" fmla="*/ 73484 w 139969"/>
                <a:gd name="connsiteY430" fmla="*/ 139651 h 286300"/>
                <a:gd name="connsiteX431" fmla="*/ 71894 w 139969"/>
                <a:gd name="connsiteY431" fmla="*/ 140605 h 286300"/>
                <a:gd name="connsiteX432" fmla="*/ 71894 w 139969"/>
                <a:gd name="connsiteY432" fmla="*/ 140924 h 286300"/>
                <a:gd name="connsiteX433" fmla="*/ 71257 w 139969"/>
                <a:gd name="connsiteY433" fmla="*/ 140924 h 286300"/>
                <a:gd name="connsiteX434" fmla="*/ 70621 w 139969"/>
                <a:gd name="connsiteY434" fmla="*/ 140605 h 286300"/>
                <a:gd name="connsiteX435" fmla="*/ 69985 w 139969"/>
                <a:gd name="connsiteY435" fmla="*/ 141560 h 286300"/>
                <a:gd name="connsiteX436" fmla="*/ 70303 w 139969"/>
                <a:gd name="connsiteY436" fmla="*/ 142514 h 286300"/>
                <a:gd name="connsiteX437" fmla="*/ 71575 w 139969"/>
                <a:gd name="connsiteY437" fmla="*/ 142832 h 286300"/>
                <a:gd name="connsiteX438" fmla="*/ 72212 w 139969"/>
                <a:gd name="connsiteY438" fmla="*/ 143468 h 286300"/>
                <a:gd name="connsiteX439" fmla="*/ 71894 w 139969"/>
                <a:gd name="connsiteY439" fmla="*/ 144105 h 286300"/>
                <a:gd name="connsiteX440" fmla="*/ 71894 w 139969"/>
                <a:gd name="connsiteY440" fmla="*/ 144741 h 286300"/>
                <a:gd name="connsiteX441" fmla="*/ 72530 w 139969"/>
                <a:gd name="connsiteY441" fmla="*/ 145059 h 286300"/>
                <a:gd name="connsiteX442" fmla="*/ 72530 w 139969"/>
                <a:gd name="connsiteY442" fmla="*/ 145377 h 286300"/>
                <a:gd name="connsiteX443" fmla="*/ 72848 w 139969"/>
                <a:gd name="connsiteY443" fmla="*/ 146013 h 286300"/>
                <a:gd name="connsiteX444" fmla="*/ 73166 w 139969"/>
                <a:gd name="connsiteY444" fmla="*/ 146968 h 286300"/>
                <a:gd name="connsiteX445" fmla="*/ 73166 w 139969"/>
                <a:gd name="connsiteY445" fmla="*/ 147604 h 286300"/>
                <a:gd name="connsiteX446" fmla="*/ 72848 w 139969"/>
                <a:gd name="connsiteY446" fmla="*/ 148240 h 286300"/>
                <a:gd name="connsiteX447" fmla="*/ 73166 w 139969"/>
                <a:gd name="connsiteY447" fmla="*/ 150149 h 286300"/>
                <a:gd name="connsiteX448" fmla="*/ 72530 w 139969"/>
                <a:gd name="connsiteY448" fmla="*/ 151421 h 286300"/>
                <a:gd name="connsiteX449" fmla="*/ 71575 w 139969"/>
                <a:gd name="connsiteY449" fmla="*/ 153330 h 286300"/>
                <a:gd name="connsiteX450" fmla="*/ 69349 w 139969"/>
                <a:gd name="connsiteY450" fmla="*/ 155557 h 286300"/>
                <a:gd name="connsiteX451" fmla="*/ 68394 w 139969"/>
                <a:gd name="connsiteY451" fmla="*/ 156829 h 286300"/>
                <a:gd name="connsiteX452" fmla="*/ 66485 w 139969"/>
                <a:gd name="connsiteY452" fmla="*/ 160010 h 286300"/>
                <a:gd name="connsiteX453" fmla="*/ 62032 w 139969"/>
                <a:gd name="connsiteY453" fmla="*/ 164782 h 286300"/>
                <a:gd name="connsiteX454" fmla="*/ 57579 w 139969"/>
                <a:gd name="connsiteY454" fmla="*/ 169554 h 286300"/>
                <a:gd name="connsiteX455" fmla="*/ 57260 w 139969"/>
                <a:gd name="connsiteY455" fmla="*/ 170190 h 286300"/>
                <a:gd name="connsiteX456" fmla="*/ 57260 w 139969"/>
                <a:gd name="connsiteY456" fmla="*/ 170508 h 286300"/>
                <a:gd name="connsiteX457" fmla="*/ 55670 w 139969"/>
                <a:gd name="connsiteY457" fmla="*/ 172417 h 286300"/>
                <a:gd name="connsiteX458" fmla="*/ 54079 w 139969"/>
                <a:gd name="connsiteY458" fmla="*/ 175280 h 286300"/>
                <a:gd name="connsiteX459" fmla="*/ 52488 w 139969"/>
                <a:gd name="connsiteY459" fmla="*/ 176870 h 286300"/>
                <a:gd name="connsiteX460" fmla="*/ 51216 w 139969"/>
                <a:gd name="connsiteY460" fmla="*/ 178143 h 286300"/>
                <a:gd name="connsiteX461" fmla="*/ 49944 w 139969"/>
                <a:gd name="connsiteY461" fmla="*/ 179415 h 286300"/>
                <a:gd name="connsiteX462" fmla="*/ 48989 w 139969"/>
                <a:gd name="connsiteY462" fmla="*/ 181006 h 286300"/>
                <a:gd name="connsiteX463" fmla="*/ 48353 w 139969"/>
                <a:gd name="connsiteY463" fmla="*/ 181324 h 286300"/>
                <a:gd name="connsiteX464" fmla="*/ 48035 w 139969"/>
                <a:gd name="connsiteY464" fmla="*/ 181642 h 286300"/>
                <a:gd name="connsiteX465" fmla="*/ 47399 w 139969"/>
                <a:gd name="connsiteY465" fmla="*/ 181006 h 286300"/>
                <a:gd name="connsiteX466" fmla="*/ 47399 w 139969"/>
                <a:gd name="connsiteY466" fmla="*/ 180051 h 286300"/>
                <a:gd name="connsiteX467" fmla="*/ 46445 w 139969"/>
                <a:gd name="connsiteY467" fmla="*/ 179097 h 286300"/>
                <a:gd name="connsiteX468" fmla="*/ 45172 w 139969"/>
                <a:gd name="connsiteY468" fmla="*/ 180051 h 286300"/>
                <a:gd name="connsiteX469" fmla="*/ 44218 w 139969"/>
                <a:gd name="connsiteY469" fmla="*/ 181960 h 286300"/>
                <a:gd name="connsiteX470" fmla="*/ 44218 w 139969"/>
                <a:gd name="connsiteY470" fmla="*/ 184187 h 286300"/>
                <a:gd name="connsiteX471" fmla="*/ 44536 w 139969"/>
                <a:gd name="connsiteY471" fmla="*/ 186095 h 286300"/>
                <a:gd name="connsiteX472" fmla="*/ 44854 w 139969"/>
                <a:gd name="connsiteY472" fmla="*/ 187050 h 286300"/>
                <a:gd name="connsiteX473" fmla="*/ 44218 w 139969"/>
                <a:gd name="connsiteY473" fmla="*/ 188004 h 286300"/>
                <a:gd name="connsiteX474" fmla="*/ 42627 w 139969"/>
                <a:gd name="connsiteY474" fmla="*/ 190231 h 286300"/>
                <a:gd name="connsiteX475" fmla="*/ 41355 w 139969"/>
                <a:gd name="connsiteY475" fmla="*/ 192458 h 286300"/>
                <a:gd name="connsiteX476" fmla="*/ 41036 w 139969"/>
                <a:gd name="connsiteY476" fmla="*/ 192776 h 286300"/>
                <a:gd name="connsiteX477" fmla="*/ 40718 w 139969"/>
                <a:gd name="connsiteY477" fmla="*/ 192140 h 286300"/>
                <a:gd name="connsiteX478" fmla="*/ 40400 w 139969"/>
                <a:gd name="connsiteY478" fmla="*/ 191821 h 286300"/>
                <a:gd name="connsiteX479" fmla="*/ 39446 w 139969"/>
                <a:gd name="connsiteY479" fmla="*/ 192140 h 286300"/>
                <a:gd name="connsiteX480" fmla="*/ 39128 w 139969"/>
                <a:gd name="connsiteY480" fmla="*/ 192458 h 286300"/>
                <a:gd name="connsiteX481" fmla="*/ 38810 w 139969"/>
                <a:gd name="connsiteY481" fmla="*/ 191821 h 286300"/>
                <a:gd name="connsiteX482" fmla="*/ 41036 w 139969"/>
                <a:gd name="connsiteY482" fmla="*/ 189595 h 286300"/>
                <a:gd name="connsiteX483" fmla="*/ 41355 w 139969"/>
                <a:gd name="connsiteY483" fmla="*/ 188958 h 286300"/>
                <a:gd name="connsiteX484" fmla="*/ 41036 w 139969"/>
                <a:gd name="connsiteY484" fmla="*/ 188322 h 286300"/>
                <a:gd name="connsiteX485" fmla="*/ 41036 w 139969"/>
                <a:gd name="connsiteY485" fmla="*/ 187686 h 286300"/>
                <a:gd name="connsiteX486" fmla="*/ 40082 w 139969"/>
                <a:gd name="connsiteY486" fmla="*/ 187368 h 286300"/>
                <a:gd name="connsiteX487" fmla="*/ 39128 w 139969"/>
                <a:gd name="connsiteY487" fmla="*/ 187686 h 286300"/>
                <a:gd name="connsiteX488" fmla="*/ 39128 w 139969"/>
                <a:gd name="connsiteY488" fmla="*/ 188640 h 286300"/>
                <a:gd name="connsiteX489" fmla="*/ 38810 w 139969"/>
                <a:gd name="connsiteY489" fmla="*/ 188958 h 286300"/>
                <a:gd name="connsiteX490" fmla="*/ 38173 w 139969"/>
                <a:gd name="connsiteY490" fmla="*/ 189913 h 286300"/>
                <a:gd name="connsiteX491" fmla="*/ 36901 w 139969"/>
                <a:gd name="connsiteY491" fmla="*/ 190549 h 286300"/>
                <a:gd name="connsiteX492" fmla="*/ 35311 w 139969"/>
                <a:gd name="connsiteY492" fmla="*/ 192458 h 286300"/>
                <a:gd name="connsiteX493" fmla="*/ 35311 w 139969"/>
                <a:gd name="connsiteY493" fmla="*/ 192776 h 286300"/>
                <a:gd name="connsiteX494" fmla="*/ 35629 w 139969"/>
                <a:gd name="connsiteY494" fmla="*/ 193094 h 286300"/>
                <a:gd name="connsiteX495" fmla="*/ 36901 w 139969"/>
                <a:gd name="connsiteY495" fmla="*/ 193730 h 286300"/>
                <a:gd name="connsiteX496" fmla="*/ 37219 w 139969"/>
                <a:gd name="connsiteY496" fmla="*/ 194684 h 286300"/>
                <a:gd name="connsiteX497" fmla="*/ 36901 w 139969"/>
                <a:gd name="connsiteY497" fmla="*/ 194684 h 286300"/>
                <a:gd name="connsiteX498" fmla="*/ 34992 w 139969"/>
                <a:gd name="connsiteY498" fmla="*/ 195639 h 286300"/>
                <a:gd name="connsiteX499" fmla="*/ 34356 w 139969"/>
                <a:gd name="connsiteY499" fmla="*/ 197229 h 286300"/>
                <a:gd name="connsiteX500" fmla="*/ 33720 w 139969"/>
                <a:gd name="connsiteY500" fmla="*/ 197866 h 286300"/>
                <a:gd name="connsiteX501" fmla="*/ 34356 w 139969"/>
                <a:gd name="connsiteY501" fmla="*/ 198820 h 286300"/>
                <a:gd name="connsiteX502" fmla="*/ 35311 w 139969"/>
                <a:gd name="connsiteY502" fmla="*/ 199138 h 286300"/>
                <a:gd name="connsiteX503" fmla="*/ 35947 w 139969"/>
                <a:gd name="connsiteY503" fmla="*/ 198184 h 286300"/>
                <a:gd name="connsiteX504" fmla="*/ 35947 w 139969"/>
                <a:gd name="connsiteY504" fmla="*/ 197547 h 286300"/>
                <a:gd name="connsiteX505" fmla="*/ 37537 w 139969"/>
                <a:gd name="connsiteY505" fmla="*/ 195321 h 286300"/>
                <a:gd name="connsiteX506" fmla="*/ 38492 w 139969"/>
                <a:gd name="connsiteY506" fmla="*/ 195639 h 286300"/>
                <a:gd name="connsiteX507" fmla="*/ 38492 w 139969"/>
                <a:gd name="connsiteY507" fmla="*/ 197229 h 286300"/>
                <a:gd name="connsiteX508" fmla="*/ 37855 w 139969"/>
                <a:gd name="connsiteY508" fmla="*/ 198820 h 286300"/>
                <a:gd name="connsiteX509" fmla="*/ 36583 w 139969"/>
                <a:gd name="connsiteY509" fmla="*/ 199774 h 286300"/>
                <a:gd name="connsiteX510" fmla="*/ 34992 w 139969"/>
                <a:gd name="connsiteY510" fmla="*/ 202319 h 286300"/>
                <a:gd name="connsiteX511" fmla="*/ 34356 w 139969"/>
                <a:gd name="connsiteY511" fmla="*/ 203910 h 286300"/>
                <a:gd name="connsiteX512" fmla="*/ 34356 w 139969"/>
                <a:gd name="connsiteY512" fmla="*/ 204546 h 286300"/>
                <a:gd name="connsiteX513" fmla="*/ 33720 w 139969"/>
                <a:gd name="connsiteY513" fmla="*/ 206773 h 286300"/>
                <a:gd name="connsiteX514" fmla="*/ 33402 w 139969"/>
                <a:gd name="connsiteY514" fmla="*/ 207091 h 286300"/>
                <a:gd name="connsiteX515" fmla="*/ 32766 w 139969"/>
                <a:gd name="connsiteY515" fmla="*/ 206773 h 286300"/>
                <a:gd name="connsiteX516" fmla="*/ 31493 w 139969"/>
                <a:gd name="connsiteY516" fmla="*/ 206136 h 286300"/>
                <a:gd name="connsiteX517" fmla="*/ 30539 w 139969"/>
                <a:gd name="connsiteY517" fmla="*/ 206136 h 286300"/>
                <a:gd name="connsiteX518" fmla="*/ 30857 w 139969"/>
                <a:gd name="connsiteY518" fmla="*/ 205818 h 286300"/>
                <a:gd name="connsiteX519" fmla="*/ 31493 w 139969"/>
                <a:gd name="connsiteY519" fmla="*/ 203910 h 286300"/>
                <a:gd name="connsiteX520" fmla="*/ 31175 w 139969"/>
                <a:gd name="connsiteY520" fmla="*/ 203273 h 286300"/>
                <a:gd name="connsiteX521" fmla="*/ 31811 w 139969"/>
                <a:gd name="connsiteY521" fmla="*/ 202001 h 286300"/>
                <a:gd name="connsiteX522" fmla="*/ 33402 w 139969"/>
                <a:gd name="connsiteY522" fmla="*/ 200410 h 286300"/>
                <a:gd name="connsiteX523" fmla="*/ 33720 w 139969"/>
                <a:gd name="connsiteY523" fmla="*/ 199456 h 286300"/>
                <a:gd name="connsiteX524" fmla="*/ 33720 w 139969"/>
                <a:gd name="connsiteY524" fmla="*/ 199138 h 286300"/>
                <a:gd name="connsiteX525" fmla="*/ 32130 w 139969"/>
                <a:gd name="connsiteY525" fmla="*/ 199138 h 286300"/>
                <a:gd name="connsiteX526" fmla="*/ 31175 w 139969"/>
                <a:gd name="connsiteY526" fmla="*/ 201365 h 286300"/>
                <a:gd name="connsiteX527" fmla="*/ 31175 w 139969"/>
                <a:gd name="connsiteY527" fmla="*/ 202001 h 286300"/>
                <a:gd name="connsiteX528" fmla="*/ 29585 w 139969"/>
                <a:gd name="connsiteY528" fmla="*/ 204546 h 286300"/>
                <a:gd name="connsiteX529" fmla="*/ 29267 w 139969"/>
                <a:gd name="connsiteY529" fmla="*/ 205500 h 286300"/>
                <a:gd name="connsiteX530" fmla="*/ 27994 w 139969"/>
                <a:gd name="connsiteY530" fmla="*/ 208363 h 286300"/>
                <a:gd name="connsiteX531" fmla="*/ 27358 w 139969"/>
                <a:gd name="connsiteY531" fmla="*/ 209318 h 286300"/>
                <a:gd name="connsiteX532" fmla="*/ 26403 w 139969"/>
                <a:gd name="connsiteY532" fmla="*/ 210908 h 286300"/>
                <a:gd name="connsiteX533" fmla="*/ 25449 w 139969"/>
                <a:gd name="connsiteY533" fmla="*/ 212499 h 286300"/>
                <a:gd name="connsiteX534" fmla="*/ 24495 w 139969"/>
                <a:gd name="connsiteY534" fmla="*/ 212181 h 286300"/>
                <a:gd name="connsiteX535" fmla="*/ 23858 w 139969"/>
                <a:gd name="connsiteY535" fmla="*/ 211862 h 286300"/>
                <a:gd name="connsiteX536" fmla="*/ 22586 w 139969"/>
                <a:gd name="connsiteY536" fmla="*/ 211862 h 286300"/>
                <a:gd name="connsiteX537" fmla="*/ 22586 w 139969"/>
                <a:gd name="connsiteY537" fmla="*/ 212181 h 286300"/>
                <a:gd name="connsiteX538" fmla="*/ 21314 w 139969"/>
                <a:gd name="connsiteY538" fmla="*/ 211862 h 286300"/>
                <a:gd name="connsiteX539" fmla="*/ 21314 w 139969"/>
                <a:gd name="connsiteY539" fmla="*/ 211544 h 286300"/>
                <a:gd name="connsiteX540" fmla="*/ 20359 w 139969"/>
                <a:gd name="connsiteY540" fmla="*/ 211544 h 286300"/>
                <a:gd name="connsiteX541" fmla="*/ 20359 w 139969"/>
                <a:gd name="connsiteY541" fmla="*/ 212817 h 286300"/>
                <a:gd name="connsiteX542" fmla="*/ 21314 w 139969"/>
                <a:gd name="connsiteY542" fmla="*/ 213453 h 286300"/>
                <a:gd name="connsiteX543" fmla="*/ 22586 w 139969"/>
                <a:gd name="connsiteY543" fmla="*/ 213771 h 286300"/>
                <a:gd name="connsiteX544" fmla="*/ 23222 w 139969"/>
                <a:gd name="connsiteY544" fmla="*/ 213771 h 286300"/>
                <a:gd name="connsiteX545" fmla="*/ 23858 w 139969"/>
                <a:gd name="connsiteY545" fmla="*/ 214407 h 286300"/>
                <a:gd name="connsiteX546" fmla="*/ 23858 w 139969"/>
                <a:gd name="connsiteY546" fmla="*/ 214725 h 286300"/>
                <a:gd name="connsiteX547" fmla="*/ 22904 w 139969"/>
                <a:gd name="connsiteY547" fmla="*/ 216952 h 286300"/>
                <a:gd name="connsiteX548" fmla="*/ 22268 w 139969"/>
                <a:gd name="connsiteY548" fmla="*/ 217270 h 286300"/>
                <a:gd name="connsiteX549" fmla="*/ 21950 w 139969"/>
                <a:gd name="connsiteY549" fmla="*/ 216952 h 286300"/>
                <a:gd name="connsiteX550" fmla="*/ 21314 w 139969"/>
                <a:gd name="connsiteY550" fmla="*/ 215680 h 286300"/>
                <a:gd name="connsiteX551" fmla="*/ 19723 w 139969"/>
                <a:gd name="connsiteY551" fmla="*/ 214407 h 286300"/>
                <a:gd name="connsiteX552" fmla="*/ 19723 w 139969"/>
                <a:gd name="connsiteY552" fmla="*/ 215044 h 286300"/>
                <a:gd name="connsiteX553" fmla="*/ 18133 w 139969"/>
                <a:gd name="connsiteY553" fmla="*/ 217588 h 286300"/>
                <a:gd name="connsiteX554" fmla="*/ 17815 w 139969"/>
                <a:gd name="connsiteY554" fmla="*/ 217907 h 286300"/>
                <a:gd name="connsiteX555" fmla="*/ 16542 w 139969"/>
                <a:gd name="connsiteY555" fmla="*/ 218543 h 286300"/>
                <a:gd name="connsiteX556" fmla="*/ 16860 w 139969"/>
                <a:gd name="connsiteY556" fmla="*/ 219497 h 286300"/>
                <a:gd name="connsiteX557" fmla="*/ 17178 w 139969"/>
                <a:gd name="connsiteY557" fmla="*/ 220133 h 286300"/>
                <a:gd name="connsiteX558" fmla="*/ 17496 w 139969"/>
                <a:gd name="connsiteY558" fmla="*/ 220770 h 286300"/>
                <a:gd name="connsiteX559" fmla="*/ 17178 w 139969"/>
                <a:gd name="connsiteY559" fmla="*/ 221088 h 286300"/>
                <a:gd name="connsiteX560" fmla="*/ 15588 w 139969"/>
                <a:gd name="connsiteY560" fmla="*/ 222360 h 286300"/>
                <a:gd name="connsiteX561" fmla="*/ 14633 w 139969"/>
                <a:gd name="connsiteY561" fmla="*/ 222996 h 286300"/>
                <a:gd name="connsiteX562" fmla="*/ 14951 w 139969"/>
                <a:gd name="connsiteY562" fmla="*/ 224587 h 286300"/>
                <a:gd name="connsiteX563" fmla="*/ 15270 w 139969"/>
                <a:gd name="connsiteY563" fmla="*/ 225859 h 286300"/>
                <a:gd name="connsiteX564" fmla="*/ 14951 w 139969"/>
                <a:gd name="connsiteY564" fmla="*/ 226496 h 286300"/>
                <a:gd name="connsiteX565" fmla="*/ 13997 w 139969"/>
                <a:gd name="connsiteY565" fmla="*/ 228086 h 286300"/>
                <a:gd name="connsiteX566" fmla="*/ 13997 w 139969"/>
                <a:gd name="connsiteY566" fmla="*/ 228722 h 286300"/>
                <a:gd name="connsiteX567" fmla="*/ 13361 w 139969"/>
                <a:gd name="connsiteY567" fmla="*/ 229995 h 286300"/>
                <a:gd name="connsiteX568" fmla="*/ 13043 w 139969"/>
                <a:gd name="connsiteY568" fmla="*/ 228722 h 286300"/>
                <a:gd name="connsiteX569" fmla="*/ 12724 w 139969"/>
                <a:gd name="connsiteY569" fmla="*/ 228086 h 286300"/>
                <a:gd name="connsiteX570" fmla="*/ 12088 w 139969"/>
                <a:gd name="connsiteY570" fmla="*/ 228404 h 286300"/>
                <a:gd name="connsiteX571" fmla="*/ 11770 w 139969"/>
                <a:gd name="connsiteY571" fmla="*/ 228086 h 286300"/>
                <a:gd name="connsiteX572" fmla="*/ 11770 w 139969"/>
                <a:gd name="connsiteY572" fmla="*/ 227768 h 286300"/>
                <a:gd name="connsiteX573" fmla="*/ 12406 w 139969"/>
                <a:gd name="connsiteY573" fmla="*/ 227132 h 286300"/>
                <a:gd name="connsiteX574" fmla="*/ 13043 w 139969"/>
                <a:gd name="connsiteY574" fmla="*/ 226496 h 286300"/>
                <a:gd name="connsiteX575" fmla="*/ 12724 w 139969"/>
                <a:gd name="connsiteY575" fmla="*/ 226177 h 286300"/>
                <a:gd name="connsiteX576" fmla="*/ 12406 w 139969"/>
                <a:gd name="connsiteY576" fmla="*/ 225541 h 286300"/>
                <a:gd name="connsiteX577" fmla="*/ 12724 w 139969"/>
                <a:gd name="connsiteY577" fmla="*/ 224269 h 286300"/>
                <a:gd name="connsiteX578" fmla="*/ 13679 w 139969"/>
                <a:gd name="connsiteY578" fmla="*/ 222360 h 286300"/>
                <a:gd name="connsiteX579" fmla="*/ 13679 w 139969"/>
                <a:gd name="connsiteY579" fmla="*/ 220770 h 286300"/>
                <a:gd name="connsiteX580" fmla="*/ 14315 w 139969"/>
                <a:gd name="connsiteY580" fmla="*/ 220133 h 286300"/>
                <a:gd name="connsiteX581" fmla="*/ 15270 w 139969"/>
                <a:gd name="connsiteY581" fmla="*/ 218861 h 286300"/>
                <a:gd name="connsiteX582" fmla="*/ 15270 w 139969"/>
                <a:gd name="connsiteY582" fmla="*/ 217270 h 286300"/>
                <a:gd name="connsiteX583" fmla="*/ 16224 w 139969"/>
                <a:gd name="connsiteY583" fmla="*/ 215044 h 286300"/>
                <a:gd name="connsiteX584" fmla="*/ 16860 w 139969"/>
                <a:gd name="connsiteY584" fmla="*/ 214725 h 286300"/>
                <a:gd name="connsiteX585" fmla="*/ 17496 w 139969"/>
                <a:gd name="connsiteY585" fmla="*/ 214725 h 286300"/>
                <a:gd name="connsiteX586" fmla="*/ 18133 w 139969"/>
                <a:gd name="connsiteY586" fmla="*/ 212817 h 286300"/>
                <a:gd name="connsiteX587" fmla="*/ 17496 w 139969"/>
                <a:gd name="connsiteY587" fmla="*/ 211544 h 286300"/>
                <a:gd name="connsiteX588" fmla="*/ 19087 w 139969"/>
                <a:gd name="connsiteY588" fmla="*/ 208999 h 286300"/>
                <a:gd name="connsiteX589" fmla="*/ 19723 w 139969"/>
                <a:gd name="connsiteY589" fmla="*/ 207091 h 286300"/>
                <a:gd name="connsiteX590" fmla="*/ 20996 w 139969"/>
                <a:gd name="connsiteY590" fmla="*/ 206136 h 286300"/>
                <a:gd name="connsiteX591" fmla="*/ 21314 w 139969"/>
                <a:gd name="connsiteY591" fmla="*/ 205500 h 286300"/>
                <a:gd name="connsiteX592" fmla="*/ 20996 w 139969"/>
                <a:gd name="connsiteY592" fmla="*/ 204864 h 286300"/>
                <a:gd name="connsiteX593" fmla="*/ 20996 w 139969"/>
                <a:gd name="connsiteY593" fmla="*/ 204228 h 286300"/>
                <a:gd name="connsiteX594" fmla="*/ 22268 w 139969"/>
                <a:gd name="connsiteY594" fmla="*/ 200729 h 286300"/>
                <a:gd name="connsiteX595" fmla="*/ 23858 w 139969"/>
                <a:gd name="connsiteY595" fmla="*/ 198820 h 286300"/>
                <a:gd name="connsiteX596" fmla="*/ 24495 w 139969"/>
                <a:gd name="connsiteY596" fmla="*/ 198820 h 286300"/>
                <a:gd name="connsiteX597" fmla="*/ 24495 w 139969"/>
                <a:gd name="connsiteY597" fmla="*/ 199456 h 286300"/>
                <a:gd name="connsiteX598" fmla="*/ 23858 w 139969"/>
                <a:gd name="connsiteY598" fmla="*/ 201047 h 286300"/>
                <a:gd name="connsiteX599" fmla="*/ 24177 w 139969"/>
                <a:gd name="connsiteY599" fmla="*/ 201683 h 286300"/>
                <a:gd name="connsiteX600" fmla="*/ 24177 w 139969"/>
                <a:gd name="connsiteY600" fmla="*/ 202001 h 286300"/>
                <a:gd name="connsiteX601" fmla="*/ 23858 w 139969"/>
                <a:gd name="connsiteY601" fmla="*/ 202637 h 286300"/>
                <a:gd name="connsiteX602" fmla="*/ 22586 w 139969"/>
                <a:gd name="connsiteY602" fmla="*/ 205500 h 286300"/>
                <a:gd name="connsiteX603" fmla="*/ 22268 w 139969"/>
                <a:gd name="connsiteY603" fmla="*/ 206136 h 286300"/>
                <a:gd name="connsiteX604" fmla="*/ 22586 w 139969"/>
                <a:gd name="connsiteY604" fmla="*/ 206455 h 286300"/>
                <a:gd name="connsiteX605" fmla="*/ 22904 w 139969"/>
                <a:gd name="connsiteY605" fmla="*/ 206455 h 286300"/>
                <a:gd name="connsiteX606" fmla="*/ 23540 w 139969"/>
                <a:gd name="connsiteY606" fmla="*/ 206773 h 286300"/>
                <a:gd name="connsiteX607" fmla="*/ 23222 w 139969"/>
                <a:gd name="connsiteY607" fmla="*/ 207409 h 286300"/>
                <a:gd name="connsiteX608" fmla="*/ 23222 w 139969"/>
                <a:gd name="connsiteY608" fmla="*/ 208045 h 286300"/>
                <a:gd name="connsiteX609" fmla="*/ 25131 w 139969"/>
                <a:gd name="connsiteY609" fmla="*/ 207091 h 286300"/>
                <a:gd name="connsiteX610" fmla="*/ 28312 w 139969"/>
                <a:gd name="connsiteY610" fmla="*/ 203592 h 286300"/>
                <a:gd name="connsiteX611" fmla="*/ 27994 w 139969"/>
                <a:gd name="connsiteY611" fmla="*/ 202637 h 286300"/>
                <a:gd name="connsiteX612" fmla="*/ 27358 w 139969"/>
                <a:gd name="connsiteY612" fmla="*/ 201683 h 286300"/>
                <a:gd name="connsiteX613" fmla="*/ 27358 w 139969"/>
                <a:gd name="connsiteY613" fmla="*/ 200729 h 286300"/>
                <a:gd name="connsiteX614" fmla="*/ 26403 w 139969"/>
                <a:gd name="connsiteY614" fmla="*/ 200410 h 286300"/>
                <a:gd name="connsiteX615" fmla="*/ 24495 w 139969"/>
                <a:gd name="connsiteY615" fmla="*/ 198820 h 286300"/>
                <a:gd name="connsiteX616" fmla="*/ 26085 w 139969"/>
                <a:gd name="connsiteY616" fmla="*/ 196911 h 286300"/>
                <a:gd name="connsiteX617" fmla="*/ 26085 w 139969"/>
                <a:gd name="connsiteY617" fmla="*/ 195957 h 286300"/>
                <a:gd name="connsiteX618" fmla="*/ 25767 w 139969"/>
                <a:gd name="connsiteY618" fmla="*/ 195639 h 286300"/>
                <a:gd name="connsiteX619" fmla="*/ 25449 w 139969"/>
                <a:gd name="connsiteY619" fmla="*/ 195003 h 286300"/>
                <a:gd name="connsiteX620" fmla="*/ 25449 w 139969"/>
                <a:gd name="connsiteY620" fmla="*/ 194684 h 286300"/>
                <a:gd name="connsiteX621" fmla="*/ 26403 w 139969"/>
                <a:gd name="connsiteY621" fmla="*/ 195003 h 286300"/>
                <a:gd name="connsiteX622" fmla="*/ 27040 w 139969"/>
                <a:gd name="connsiteY622" fmla="*/ 195639 h 286300"/>
                <a:gd name="connsiteX623" fmla="*/ 27358 w 139969"/>
                <a:gd name="connsiteY623" fmla="*/ 195321 h 286300"/>
                <a:gd name="connsiteX624" fmla="*/ 27994 w 139969"/>
                <a:gd name="connsiteY624" fmla="*/ 193730 h 286300"/>
                <a:gd name="connsiteX625" fmla="*/ 29585 w 139969"/>
                <a:gd name="connsiteY625" fmla="*/ 189913 h 286300"/>
                <a:gd name="connsiteX626" fmla="*/ 30221 w 139969"/>
                <a:gd name="connsiteY626" fmla="*/ 189277 h 286300"/>
                <a:gd name="connsiteX627" fmla="*/ 30857 w 139969"/>
                <a:gd name="connsiteY627" fmla="*/ 188322 h 286300"/>
                <a:gd name="connsiteX628" fmla="*/ 31175 w 139969"/>
                <a:gd name="connsiteY628" fmla="*/ 187686 h 286300"/>
                <a:gd name="connsiteX629" fmla="*/ 30539 w 139969"/>
                <a:gd name="connsiteY629" fmla="*/ 187050 h 286300"/>
                <a:gd name="connsiteX630" fmla="*/ 28948 w 139969"/>
                <a:gd name="connsiteY630" fmla="*/ 186095 h 286300"/>
                <a:gd name="connsiteX631" fmla="*/ 28630 w 139969"/>
                <a:gd name="connsiteY631" fmla="*/ 186095 h 286300"/>
                <a:gd name="connsiteX632" fmla="*/ 28630 w 139969"/>
                <a:gd name="connsiteY632" fmla="*/ 186414 h 286300"/>
                <a:gd name="connsiteX633" fmla="*/ 29267 w 139969"/>
                <a:gd name="connsiteY633" fmla="*/ 188322 h 286300"/>
                <a:gd name="connsiteX634" fmla="*/ 28948 w 139969"/>
                <a:gd name="connsiteY634" fmla="*/ 189913 h 286300"/>
                <a:gd name="connsiteX635" fmla="*/ 28312 w 139969"/>
                <a:gd name="connsiteY635" fmla="*/ 190549 h 286300"/>
                <a:gd name="connsiteX636" fmla="*/ 27358 w 139969"/>
                <a:gd name="connsiteY636" fmla="*/ 191821 h 286300"/>
                <a:gd name="connsiteX637" fmla="*/ 26085 w 139969"/>
                <a:gd name="connsiteY637" fmla="*/ 191503 h 286300"/>
                <a:gd name="connsiteX638" fmla="*/ 25449 w 139969"/>
                <a:gd name="connsiteY638" fmla="*/ 191185 h 286300"/>
                <a:gd name="connsiteX639" fmla="*/ 24495 w 139969"/>
                <a:gd name="connsiteY639" fmla="*/ 192140 h 286300"/>
                <a:gd name="connsiteX640" fmla="*/ 24495 w 139969"/>
                <a:gd name="connsiteY640" fmla="*/ 192776 h 286300"/>
                <a:gd name="connsiteX641" fmla="*/ 24495 w 139969"/>
                <a:gd name="connsiteY641" fmla="*/ 193412 h 286300"/>
                <a:gd name="connsiteX642" fmla="*/ 23858 w 139969"/>
                <a:gd name="connsiteY642" fmla="*/ 194684 h 286300"/>
                <a:gd name="connsiteX643" fmla="*/ 23858 w 139969"/>
                <a:gd name="connsiteY643" fmla="*/ 195639 h 286300"/>
                <a:gd name="connsiteX644" fmla="*/ 23222 w 139969"/>
                <a:gd name="connsiteY644" fmla="*/ 196911 h 286300"/>
                <a:gd name="connsiteX645" fmla="*/ 22904 w 139969"/>
                <a:gd name="connsiteY645" fmla="*/ 197547 h 286300"/>
                <a:gd name="connsiteX646" fmla="*/ 23222 w 139969"/>
                <a:gd name="connsiteY646" fmla="*/ 197866 h 286300"/>
                <a:gd name="connsiteX647" fmla="*/ 23540 w 139969"/>
                <a:gd name="connsiteY647" fmla="*/ 198184 h 286300"/>
                <a:gd name="connsiteX648" fmla="*/ 23222 w 139969"/>
                <a:gd name="connsiteY648" fmla="*/ 198820 h 286300"/>
                <a:gd name="connsiteX649" fmla="*/ 21950 w 139969"/>
                <a:gd name="connsiteY649" fmla="*/ 198820 h 286300"/>
                <a:gd name="connsiteX650" fmla="*/ 19723 w 139969"/>
                <a:gd name="connsiteY650" fmla="*/ 198184 h 286300"/>
                <a:gd name="connsiteX651" fmla="*/ 19723 w 139969"/>
                <a:gd name="connsiteY651" fmla="*/ 197866 h 286300"/>
                <a:gd name="connsiteX652" fmla="*/ 20041 w 139969"/>
                <a:gd name="connsiteY652" fmla="*/ 196911 h 286300"/>
                <a:gd name="connsiteX653" fmla="*/ 19723 w 139969"/>
                <a:gd name="connsiteY653" fmla="*/ 195639 h 286300"/>
                <a:gd name="connsiteX654" fmla="*/ 20041 w 139969"/>
                <a:gd name="connsiteY654" fmla="*/ 195003 h 286300"/>
                <a:gd name="connsiteX655" fmla="*/ 20677 w 139969"/>
                <a:gd name="connsiteY655" fmla="*/ 195321 h 286300"/>
                <a:gd name="connsiteX656" fmla="*/ 20996 w 139969"/>
                <a:gd name="connsiteY656" fmla="*/ 195321 h 286300"/>
                <a:gd name="connsiteX657" fmla="*/ 21950 w 139969"/>
                <a:gd name="connsiteY657" fmla="*/ 195639 h 286300"/>
                <a:gd name="connsiteX658" fmla="*/ 22904 w 139969"/>
                <a:gd name="connsiteY658" fmla="*/ 195957 h 286300"/>
                <a:gd name="connsiteX659" fmla="*/ 22904 w 139969"/>
                <a:gd name="connsiteY659" fmla="*/ 195639 h 286300"/>
                <a:gd name="connsiteX660" fmla="*/ 22586 w 139969"/>
                <a:gd name="connsiteY660" fmla="*/ 195003 h 286300"/>
                <a:gd name="connsiteX661" fmla="*/ 22268 w 139969"/>
                <a:gd name="connsiteY661" fmla="*/ 195003 h 286300"/>
                <a:gd name="connsiteX662" fmla="*/ 21950 w 139969"/>
                <a:gd name="connsiteY662" fmla="*/ 193730 h 286300"/>
                <a:gd name="connsiteX663" fmla="*/ 21632 w 139969"/>
                <a:gd name="connsiteY663" fmla="*/ 193730 h 286300"/>
                <a:gd name="connsiteX664" fmla="*/ 20359 w 139969"/>
                <a:gd name="connsiteY664" fmla="*/ 194366 h 286300"/>
                <a:gd name="connsiteX665" fmla="*/ 20677 w 139969"/>
                <a:gd name="connsiteY665" fmla="*/ 192776 h 286300"/>
                <a:gd name="connsiteX666" fmla="*/ 22904 w 139969"/>
                <a:gd name="connsiteY666" fmla="*/ 189595 h 286300"/>
                <a:gd name="connsiteX667" fmla="*/ 23222 w 139969"/>
                <a:gd name="connsiteY667" fmla="*/ 189277 h 286300"/>
                <a:gd name="connsiteX668" fmla="*/ 21950 w 139969"/>
                <a:gd name="connsiteY668" fmla="*/ 192458 h 286300"/>
                <a:gd name="connsiteX669" fmla="*/ 22268 w 139969"/>
                <a:gd name="connsiteY669" fmla="*/ 192776 h 286300"/>
                <a:gd name="connsiteX670" fmla="*/ 23222 w 139969"/>
                <a:gd name="connsiteY670" fmla="*/ 191821 h 286300"/>
                <a:gd name="connsiteX671" fmla="*/ 25131 w 139969"/>
                <a:gd name="connsiteY671" fmla="*/ 189277 h 286300"/>
                <a:gd name="connsiteX672" fmla="*/ 25131 w 139969"/>
                <a:gd name="connsiteY672" fmla="*/ 188322 h 286300"/>
                <a:gd name="connsiteX673" fmla="*/ 24495 w 139969"/>
                <a:gd name="connsiteY673" fmla="*/ 187368 h 286300"/>
                <a:gd name="connsiteX674" fmla="*/ 24495 w 139969"/>
                <a:gd name="connsiteY674" fmla="*/ 187050 h 286300"/>
                <a:gd name="connsiteX675" fmla="*/ 26403 w 139969"/>
                <a:gd name="connsiteY675" fmla="*/ 184505 h 286300"/>
                <a:gd name="connsiteX676" fmla="*/ 27358 w 139969"/>
                <a:gd name="connsiteY676" fmla="*/ 182596 h 286300"/>
                <a:gd name="connsiteX677" fmla="*/ 27358 w 139969"/>
                <a:gd name="connsiteY677" fmla="*/ 182278 h 286300"/>
                <a:gd name="connsiteX678" fmla="*/ 29267 w 139969"/>
                <a:gd name="connsiteY678" fmla="*/ 179733 h 286300"/>
                <a:gd name="connsiteX679" fmla="*/ 29903 w 139969"/>
                <a:gd name="connsiteY679" fmla="*/ 179097 h 286300"/>
                <a:gd name="connsiteX680" fmla="*/ 30221 w 139969"/>
                <a:gd name="connsiteY680" fmla="*/ 178143 h 286300"/>
                <a:gd name="connsiteX681" fmla="*/ 31811 w 139969"/>
                <a:gd name="connsiteY681" fmla="*/ 175598 h 286300"/>
                <a:gd name="connsiteX682" fmla="*/ 32130 w 139969"/>
                <a:gd name="connsiteY682" fmla="*/ 174643 h 286300"/>
                <a:gd name="connsiteX683" fmla="*/ 32130 w 139969"/>
                <a:gd name="connsiteY683" fmla="*/ 174325 h 286300"/>
                <a:gd name="connsiteX684" fmla="*/ 34674 w 139969"/>
                <a:gd name="connsiteY684" fmla="*/ 171462 h 286300"/>
                <a:gd name="connsiteX685" fmla="*/ 36583 w 139969"/>
                <a:gd name="connsiteY685" fmla="*/ 169872 h 286300"/>
                <a:gd name="connsiteX686" fmla="*/ 37219 w 139969"/>
                <a:gd name="connsiteY686" fmla="*/ 169872 h 286300"/>
                <a:gd name="connsiteX687" fmla="*/ 37219 w 139969"/>
                <a:gd name="connsiteY687" fmla="*/ 170190 h 286300"/>
                <a:gd name="connsiteX688" fmla="*/ 36583 w 139969"/>
                <a:gd name="connsiteY688" fmla="*/ 171462 h 286300"/>
                <a:gd name="connsiteX689" fmla="*/ 38810 w 139969"/>
                <a:gd name="connsiteY689" fmla="*/ 170826 h 286300"/>
                <a:gd name="connsiteX690" fmla="*/ 39128 w 139969"/>
                <a:gd name="connsiteY690" fmla="*/ 169872 h 286300"/>
                <a:gd name="connsiteX691" fmla="*/ 38492 w 139969"/>
                <a:gd name="connsiteY691" fmla="*/ 167645 h 286300"/>
                <a:gd name="connsiteX692" fmla="*/ 38492 w 139969"/>
                <a:gd name="connsiteY692" fmla="*/ 167009 h 286300"/>
                <a:gd name="connsiteX693" fmla="*/ 40082 w 139969"/>
                <a:gd name="connsiteY693" fmla="*/ 164782 h 286300"/>
                <a:gd name="connsiteX694" fmla="*/ 42627 w 139969"/>
                <a:gd name="connsiteY694" fmla="*/ 162555 h 286300"/>
                <a:gd name="connsiteX695" fmla="*/ 42945 w 139969"/>
                <a:gd name="connsiteY695" fmla="*/ 162237 h 286300"/>
                <a:gd name="connsiteX696" fmla="*/ 43264 w 139969"/>
                <a:gd name="connsiteY696" fmla="*/ 162555 h 286300"/>
                <a:gd name="connsiteX697" fmla="*/ 43582 w 139969"/>
                <a:gd name="connsiteY697" fmla="*/ 162873 h 286300"/>
                <a:gd name="connsiteX698" fmla="*/ 44218 w 139969"/>
                <a:gd name="connsiteY698" fmla="*/ 162873 h 286300"/>
                <a:gd name="connsiteX699" fmla="*/ 44854 w 139969"/>
                <a:gd name="connsiteY699" fmla="*/ 161919 h 286300"/>
                <a:gd name="connsiteX700" fmla="*/ 44854 w 139969"/>
                <a:gd name="connsiteY700" fmla="*/ 161283 h 286300"/>
                <a:gd name="connsiteX701" fmla="*/ 44536 w 139969"/>
                <a:gd name="connsiteY701" fmla="*/ 160965 h 286300"/>
                <a:gd name="connsiteX702" fmla="*/ 44854 w 139969"/>
                <a:gd name="connsiteY702" fmla="*/ 160328 h 286300"/>
                <a:gd name="connsiteX703" fmla="*/ 45490 w 139969"/>
                <a:gd name="connsiteY703" fmla="*/ 160328 h 286300"/>
                <a:gd name="connsiteX704" fmla="*/ 44854 w 139969"/>
                <a:gd name="connsiteY704" fmla="*/ 161283 h 286300"/>
                <a:gd name="connsiteX705" fmla="*/ 46445 w 139969"/>
                <a:gd name="connsiteY705" fmla="*/ 160965 h 286300"/>
                <a:gd name="connsiteX706" fmla="*/ 46445 w 139969"/>
                <a:gd name="connsiteY706" fmla="*/ 160328 h 286300"/>
                <a:gd name="connsiteX707" fmla="*/ 45808 w 139969"/>
                <a:gd name="connsiteY707" fmla="*/ 159056 h 286300"/>
                <a:gd name="connsiteX708" fmla="*/ 46126 w 139969"/>
                <a:gd name="connsiteY708" fmla="*/ 157783 h 286300"/>
                <a:gd name="connsiteX709" fmla="*/ 47717 w 139969"/>
                <a:gd name="connsiteY709" fmla="*/ 155239 h 286300"/>
                <a:gd name="connsiteX710" fmla="*/ 48671 w 139969"/>
                <a:gd name="connsiteY710" fmla="*/ 153648 h 286300"/>
                <a:gd name="connsiteX711" fmla="*/ 49944 w 139969"/>
                <a:gd name="connsiteY711" fmla="*/ 153330 h 286300"/>
                <a:gd name="connsiteX712" fmla="*/ 50262 w 139969"/>
                <a:gd name="connsiteY712" fmla="*/ 154284 h 286300"/>
                <a:gd name="connsiteX713" fmla="*/ 49944 w 139969"/>
                <a:gd name="connsiteY713" fmla="*/ 154602 h 286300"/>
                <a:gd name="connsiteX714" fmla="*/ 49944 w 139969"/>
                <a:gd name="connsiteY714" fmla="*/ 155239 h 286300"/>
                <a:gd name="connsiteX715" fmla="*/ 50262 w 139969"/>
                <a:gd name="connsiteY715" fmla="*/ 155239 h 286300"/>
                <a:gd name="connsiteX716" fmla="*/ 50898 w 139969"/>
                <a:gd name="connsiteY716" fmla="*/ 154920 h 286300"/>
                <a:gd name="connsiteX717" fmla="*/ 51852 w 139969"/>
                <a:gd name="connsiteY717" fmla="*/ 153648 h 286300"/>
                <a:gd name="connsiteX718" fmla="*/ 52488 w 139969"/>
                <a:gd name="connsiteY718" fmla="*/ 153330 h 286300"/>
                <a:gd name="connsiteX719" fmla="*/ 52170 w 139969"/>
                <a:gd name="connsiteY719" fmla="*/ 152376 h 286300"/>
                <a:gd name="connsiteX720" fmla="*/ 51852 w 139969"/>
                <a:gd name="connsiteY720" fmla="*/ 152057 h 286300"/>
                <a:gd name="connsiteX721" fmla="*/ 52170 w 139969"/>
                <a:gd name="connsiteY721" fmla="*/ 151421 h 286300"/>
                <a:gd name="connsiteX722" fmla="*/ 53761 w 139969"/>
                <a:gd name="connsiteY722" fmla="*/ 150467 h 286300"/>
                <a:gd name="connsiteX723" fmla="*/ 53761 w 139969"/>
                <a:gd name="connsiteY723" fmla="*/ 149194 h 286300"/>
                <a:gd name="connsiteX724" fmla="*/ 54079 w 139969"/>
                <a:gd name="connsiteY724" fmla="*/ 148558 h 286300"/>
                <a:gd name="connsiteX725" fmla="*/ 54715 w 139969"/>
                <a:gd name="connsiteY725" fmla="*/ 149194 h 286300"/>
                <a:gd name="connsiteX726" fmla="*/ 55352 w 139969"/>
                <a:gd name="connsiteY726" fmla="*/ 148876 h 286300"/>
                <a:gd name="connsiteX727" fmla="*/ 56624 w 139969"/>
                <a:gd name="connsiteY727" fmla="*/ 145695 h 286300"/>
                <a:gd name="connsiteX728" fmla="*/ 57260 w 139969"/>
                <a:gd name="connsiteY728" fmla="*/ 144423 h 286300"/>
                <a:gd name="connsiteX729" fmla="*/ 59169 w 139969"/>
                <a:gd name="connsiteY729" fmla="*/ 143468 h 286300"/>
                <a:gd name="connsiteX730" fmla="*/ 60441 w 139969"/>
                <a:gd name="connsiteY730" fmla="*/ 142514 h 286300"/>
                <a:gd name="connsiteX731" fmla="*/ 60760 w 139969"/>
                <a:gd name="connsiteY731" fmla="*/ 141560 h 286300"/>
                <a:gd name="connsiteX732" fmla="*/ 62350 w 139969"/>
                <a:gd name="connsiteY732" fmla="*/ 140287 h 286300"/>
                <a:gd name="connsiteX733" fmla="*/ 63941 w 139969"/>
                <a:gd name="connsiteY733" fmla="*/ 138697 h 286300"/>
                <a:gd name="connsiteX734" fmla="*/ 65213 w 139969"/>
                <a:gd name="connsiteY734" fmla="*/ 137424 h 286300"/>
                <a:gd name="connsiteX735" fmla="*/ 66803 w 139969"/>
                <a:gd name="connsiteY735" fmla="*/ 135834 h 286300"/>
                <a:gd name="connsiteX736" fmla="*/ 67758 w 139969"/>
                <a:gd name="connsiteY736" fmla="*/ 135198 h 286300"/>
                <a:gd name="connsiteX737" fmla="*/ 69667 w 139969"/>
                <a:gd name="connsiteY737" fmla="*/ 134879 h 286300"/>
                <a:gd name="connsiteX738" fmla="*/ 70621 w 139969"/>
                <a:gd name="connsiteY738" fmla="*/ 132335 h 286300"/>
                <a:gd name="connsiteX739" fmla="*/ 72212 w 139969"/>
                <a:gd name="connsiteY739" fmla="*/ 131062 h 286300"/>
                <a:gd name="connsiteX740" fmla="*/ 73802 w 139969"/>
                <a:gd name="connsiteY740" fmla="*/ 130744 h 286300"/>
                <a:gd name="connsiteX741" fmla="*/ 74756 w 139969"/>
                <a:gd name="connsiteY741" fmla="*/ 130108 h 286300"/>
                <a:gd name="connsiteX742" fmla="*/ 75711 w 139969"/>
                <a:gd name="connsiteY742" fmla="*/ 129471 h 286300"/>
                <a:gd name="connsiteX743" fmla="*/ 75393 w 139969"/>
                <a:gd name="connsiteY743" fmla="*/ 128517 h 286300"/>
                <a:gd name="connsiteX744" fmla="*/ 76347 w 139969"/>
                <a:gd name="connsiteY744" fmla="*/ 126927 h 286300"/>
                <a:gd name="connsiteX745" fmla="*/ 79210 w 139969"/>
                <a:gd name="connsiteY745" fmla="*/ 125336 h 286300"/>
                <a:gd name="connsiteX746" fmla="*/ 81755 w 139969"/>
                <a:gd name="connsiteY746" fmla="*/ 123746 h 286300"/>
                <a:gd name="connsiteX747" fmla="*/ 83346 w 139969"/>
                <a:gd name="connsiteY747" fmla="*/ 122473 h 286300"/>
                <a:gd name="connsiteX748" fmla="*/ 83664 w 139969"/>
                <a:gd name="connsiteY748" fmla="*/ 121837 h 286300"/>
                <a:gd name="connsiteX749" fmla="*/ 84618 w 139969"/>
                <a:gd name="connsiteY749" fmla="*/ 120564 h 286300"/>
                <a:gd name="connsiteX750" fmla="*/ 85572 w 139969"/>
                <a:gd name="connsiteY750" fmla="*/ 120564 h 286300"/>
                <a:gd name="connsiteX751" fmla="*/ 86527 w 139969"/>
                <a:gd name="connsiteY751" fmla="*/ 119928 h 286300"/>
                <a:gd name="connsiteX752" fmla="*/ 87481 w 139969"/>
                <a:gd name="connsiteY752" fmla="*/ 120246 h 286300"/>
                <a:gd name="connsiteX753" fmla="*/ 88435 w 139969"/>
                <a:gd name="connsiteY753" fmla="*/ 119292 h 286300"/>
                <a:gd name="connsiteX754" fmla="*/ 90026 w 139969"/>
                <a:gd name="connsiteY754" fmla="*/ 117383 h 286300"/>
                <a:gd name="connsiteX755" fmla="*/ 90980 w 139969"/>
                <a:gd name="connsiteY755" fmla="*/ 115156 h 286300"/>
                <a:gd name="connsiteX756" fmla="*/ 94161 w 139969"/>
                <a:gd name="connsiteY756" fmla="*/ 113884 h 286300"/>
                <a:gd name="connsiteX757" fmla="*/ 96070 w 139969"/>
                <a:gd name="connsiteY757" fmla="*/ 113248 h 286300"/>
                <a:gd name="connsiteX758" fmla="*/ 95752 w 139969"/>
                <a:gd name="connsiteY758" fmla="*/ 114520 h 286300"/>
                <a:gd name="connsiteX759" fmla="*/ 96070 w 139969"/>
                <a:gd name="connsiteY759" fmla="*/ 114520 h 286300"/>
                <a:gd name="connsiteX760" fmla="*/ 97661 w 139969"/>
                <a:gd name="connsiteY760" fmla="*/ 112293 h 286300"/>
                <a:gd name="connsiteX761" fmla="*/ 97661 w 139969"/>
                <a:gd name="connsiteY761" fmla="*/ 111975 h 286300"/>
                <a:gd name="connsiteX762" fmla="*/ 98615 w 139969"/>
                <a:gd name="connsiteY762" fmla="*/ 110067 h 286300"/>
                <a:gd name="connsiteX763" fmla="*/ 100524 w 139969"/>
                <a:gd name="connsiteY763" fmla="*/ 109430 h 286300"/>
                <a:gd name="connsiteX764" fmla="*/ 101796 w 139969"/>
                <a:gd name="connsiteY764" fmla="*/ 108158 h 286300"/>
                <a:gd name="connsiteX765" fmla="*/ 103386 w 139969"/>
                <a:gd name="connsiteY765" fmla="*/ 106567 h 286300"/>
                <a:gd name="connsiteX766" fmla="*/ 104023 w 139969"/>
                <a:gd name="connsiteY766" fmla="*/ 106567 h 286300"/>
                <a:gd name="connsiteX767" fmla="*/ 104659 w 139969"/>
                <a:gd name="connsiteY767" fmla="*/ 106886 h 286300"/>
                <a:gd name="connsiteX768" fmla="*/ 105295 w 139969"/>
                <a:gd name="connsiteY768" fmla="*/ 105931 h 286300"/>
                <a:gd name="connsiteX769" fmla="*/ 105931 w 139969"/>
                <a:gd name="connsiteY769" fmla="*/ 104659 h 286300"/>
                <a:gd name="connsiteX770" fmla="*/ 107840 w 139969"/>
                <a:gd name="connsiteY770" fmla="*/ 104023 h 286300"/>
                <a:gd name="connsiteX771" fmla="*/ 108476 w 139969"/>
                <a:gd name="connsiteY771" fmla="*/ 104023 h 286300"/>
                <a:gd name="connsiteX772" fmla="*/ 109112 w 139969"/>
                <a:gd name="connsiteY772" fmla="*/ 103704 h 286300"/>
                <a:gd name="connsiteX773" fmla="*/ 109112 w 139969"/>
                <a:gd name="connsiteY773" fmla="*/ 102750 h 286300"/>
                <a:gd name="connsiteX774" fmla="*/ 113884 w 139969"/>
                <a:gd name="connsiteY774" fmla="*/ 100523 h 286300"/>
                <a:gd name="connsiteX775" fmla="*/ 116111 w 139969"/>
                <a:gd name="connsiteY775" fmla="*/ 99569 h 286300"/>
                <a:gd name="connsiteX776" fmla="*/ 117065 w 139969"/>
                <a:gd name="connsiteY776" fmla="*/ 97024 h 286300"/>
                <a:gd name="connsiteX777" fmla="*/ 117065 w 139969"/>
                <a:gd name="connsiteY777" fmla="*/ 94479 h 286300"/>
                <a:gd name="connsiteX778" fmla="*/ 117383 w 139969"/>
                <a:gd name="connsiteY778" fmla="*/ 91934 h 286300"/>
                <a:gd name="connsiteX779" fmla="*/ 116747 w 139969"/>
                <a:gd name="connsiteY779" fmla="*/ 84618 h 286300"/>
                <a:gd name="connsiteX780" fmla="*/ 116747 w 139969"/>
                <a:gd name="connsiteY780" fmla="*/ 81755 h 286300"/>
                <a:gd name="connsiteX781" fmla="*/ 117065 w 139969"/>
                <a:gd name="connsiteY781" fmla="*/ 80482 h 286300"/>
                <a:gd name="connsiteX782" fmla="*/ 117065 w 139969"/>
                <a:gd name="connsiteY782" fmla="*/ 75392 h 286300"/>
                <a:gd name="connsiteX783" fmla="*/ 116747 w 139969"/>
                <a:gd name="connsiteY783" fmla="*/ 69348 h 286300"/>
                <a:gd name="connsiteX784" fmla="*/ 116747 w 139969"/>
                <a:gd name="connsiteY784" fmla="*/ 67122 h 286300"/>
                <a:gd name="connsiteX785" fmla="*/ 116429 w 139969"/>
                <a:gd name="connsiteY785" fmla="*/ 64895 h 286300"/>
                <a:gd name="connsiteX786" fmla="*/ 116429 w 139969"/>
                <a:gd name="connsiteY786" fmla="*/ 63304 h 286300"/>
                <a:gd name="connsiteX787" fmla="*/ 117065 w 139969"/>
                <a:gd name="connsiteY787" fmla="*/ 60441 h 286300"/>
                <a:gd name="connsiteX788" fmla="*/ 116429 w 139969"/>
                <a:gd name="connsiteY788" fmla="*/ 53443 h 286300"/>
                <a:gd name="connsiteX789" fmla="*/ 116429 w 139969"/>
                <a:gd name="connsiteY789" fmla="*/ 46762 h 286300"/>
                <a:gd name="connsiteX790" fmla="*/ 116111 w 139969"/>
                <a:gd name="connsiteY790" fmla="*/ 45490 h 286300"/>
                <a:gd name="connsiteX791" fmla="*/ 115157 w 139969"/>
                <a:gd name="connsiteY791" fmla="*/ 44854 h 286300"/>
                <a:gd name="connsiteX792" fmla="*/ 111658 w 139969"/>
                <a:gd name="connsiteY792" fmla="*/ 44854 h 286300"/>
                <a:gd name="connsiteX793" fmla="*/ 110703 w 139969"/>
                <a:gd name="connsiteY793" fmla="*/ 46444 h 286300"/>
                <a:gd name="connsiteX794" fmla="*/ 109112 w 139969"/>
                <a:gd name="connsiteY794" fmla="*/ 48353 h 286300"/>
                <a:gd name="connsiteX795" fmla="*/ 109112 w 139969"/>
                <a:gd name="connsiteY795" fmla="*/ 49307 h 286300"/>
                <a:gd name="connsiteX796" fmla="*/ 107522 w 139969"/>
                <a:gd name="connsiteY796" fmla="*/ 52807 h 286300"/>
                <a:gd name="connsiteX797" fmla="*/ 106567 w 139969"/>
                <a:gd name="connsiteY797" fmla="*/ 53761 h 286300"/>
                <a:gd name="connsiteX798" fmla="*/ 106567 w 139969"/>
                <a:gd name="connsiteY798" fmla="*/ 54397 h 286300"/>
                <a:gd name="connsiteX799" fmla="*/ 104659 w 139969"/>
                <a:gd name="connsiteY799" fmla="*/ 56306 h 286300"/>
                <a:gd name="connsiteX800" fmla="*/ 104023 w 139969"/>
                <a:gd name="connsiteY800" fmla="*/ 56306 h 286300"/>
                <a:gd name="connsiteX801" fmla="*/ 103705 w 139969"/>
                <a:gd name="connsiteY801" fmla="*/ 56624 h 286300"/>
                <a:gd name="connsiteX802" fmla="*/ 101796 w 139969"/>
                <a:gd name="connsiteY802" fmla="*/ 60123 h 286300"/>
                <a:gd name="connsiteX803" fmla="*/ 100205 w 139969"/>
                <a:gd name="connsiteY803" fmla="*/ 62350 h 286300"/>
                <a:gd name="connsiteX804" fmla="*/ 98615 w 139969"/>
                <a:gd name="connsiteY804" fmla="*/ 63940 h 286300"/>
                <a:gd name="connsiteX805" fmla="*/ 97661 w 139969"/>
                <a:gd name="connsiteY805" fmla="*/ 67440 h 286300"/>
                <a:gd name="connsiteX806" fmla="*/ 96070 w 139969"/>
                <a:gd name="connsiteY806" fmla="*/ 69030 h 286300"/>
                <a:gd name="connsiteX807" fmla="*/ 95115 w 139969"/>
                <a:gd name="connsiteY807" fmla="*/ 69666 h 286300"/>
                <a:gd name="connsiteX808" fmla="*/ 93843 w 139969"/>
                <a:gd name="connsiteY808" fmla="*/ 71257 h 286300"/>
                <a:gd name="connsiteX809" fmla="*/ 93207 w 139969"/>
                <a:gd name="connsiteY809" fmla="*/ 72848 h 286300"/>
                <a:gd name="connsiteX810" fmla="*/ 92571 w 139969"/>
                <a:gd name="connsiteY810" fmla="*/ 75074 h 286300"/>
                <a:gd name="connsiteX811" fmla="*/ 91934 w 139969"/>
                <a:gd name="connsiteY811" fmla="*/ 75074 h 286300"/>
                <a:gd name="connsiteX812" fmla="*/ 89390 w 139969"/>
                <a:gd name="connsiteY812" fmla="*/ 78256 h 286300"/>
                <a:gd name="connsiteX813" fmla="*/ 88117 w 139969"/>
                <a:gd name="connsiteY813" fmla="*/ 79528 h 286300"/>
                <a:gd name="connsiteX814" fmla="*/ 86209 w 139969"/>
                <a:gd name="connsiteY814" fmla="*/ 81437 h 286300"/>
                <a:gd name="connsiteX815" fmla="*/ 85572 w 139969"/>
                <a:gd name="connsiteY815" fmla="*/ 82073 h 286300"/>
                <a:gd name="connsiteX816" fmla="*/ 84936 w 139969"/>
                <a:gd name="connsiteY816" fmla="*/ 82709 h 286300"/>
                <a:gd name="connsiteX817" fmla="*/ 83346 w 139969"/>
                <a:gd name="connsiteY817" fmla="*/ 86845 h 286300"/>
                <a:gd name="connsiteX818" fmla="*/ 82073 w 139969"/>
                <a:gd name="connsiteY818" fmla="*/ 89708 h 286300"/>
                <a:gd name="connsiteX819" fmla="*/ 80164 w 139969"/>
                <a:gd name="connsiteY819" fmla="*/ 90980 h 286300"/>
                <a:gd name="connsiteX820" fmla="*/ 78256 w 139969"/>
                <a:gd name="connsiteY820" fmla="*/ 93525 h 286300"/>
                <a:gd name="connsiteX821" fmla="*/ 76029 w 139969"/>
                <a:gd name="connsiteY821" fmla="*/ 95752 h 286300"/>
                <a:gd name="connsiteX822" fmla="*/ 75393 w 139969"/>
                <a:gd name="connsiteY822" fmla="*/ 96706 h 286300"/>
                <a:gd name="connsiteX823" fmla="*/ 74438 w 139969"/>
                <a:gd name="connsiteY823" fmla="*/ 98615 h 286300"/>
                <a:gd name="connsiteX824" fmla="*/ 73802 w 139969"/>
                <a:gd name="connsiteY824" fmla="*/ 98933 h 286300"/>
                <a:gd name="connsiteX825" fmla="*/ 69667 w 139969"/>
                <a:gd name="connsiteY825" fmla="*/ 103386 h 286300"/>
                <a:gd name="connsiteX826" fmla="*/ 69349 w 139969"/>
                <a:gd name="connsiteY826" fmla="*/ 104341 h 286300"/>
                <a:gd name="connsiteX827" fmla="*/ 69030 w 139969"/>
                <a:gd name="connsiteY827" fmla="*/ 104977 h 286300"/>
                <a:gd name="connsiteX828" fmla="*/ 67122 w 139969"/>
                <a:gd name="connsiteY828" fmla="*/ 105931 h 286300"/>
                <a:gd name="connsiteX829" fmla="*/ 64259 w 139969"/>
                <a:gd name="connsiteY829" fmla="*/ 109430 h 286300"/>
                <a:gd name="connsiteX830" fmla="*/ 62032 w 139969"/>
                <a:gd name="connsiteY830" fmla="*/ 111339 h 286300"/>
                <a:gd name="connsiteX831" fmla="*/ 61396 w 139969"/>
                <a:gd name="connsiteY831" fmla="*/ 111975 h 286300"/>
                <a:gd name="connsiteX832" fmla="*/ 60123 w 139969"/>
                <a:gd name="connsiteY832" fmla="*/ 112612 h 286300"/>
                <a:gd name="connsiteX833" fmla="*/ 59805 w 139969"/>
                <a:gd name="connsiteY833" fmla="*/ 113248 h 286300"/>
                <a:gd name="connsiteX834" fmla="*/ 58851 w 139969"/>
                <a:gd name="connsiteY834" fmla="*/ 114202 h 286300"/>
                <a:gd name="connsiteX835" fmla="*/ 56624 w 139969"/>
                <a:gd name="connsiteY835" fmla="*/ 116111 h 286300"/>
                <a:gd name="connsiteX836" fmla="*/ 55033 w 139969"/>
                <a:gd name="connsiteY836" fmla="*/ 117065 h 286300"/>
                <a:gd name="connsiteX837" fmla="*/ 54079 w 139969"/>
                <a:gd name="connsiteY837" fmla="*/ 118656 h 286300"/>
                <a:gd name="connsiteX838" fmla="*/ 52488 w 139969"/>
                <a:gd name="connsiteY838" fmla="*/ 119610 h 286300"/>
                <a:gd name="connsiteX839" fmla="*/ 50580 w 139969"/>
                <a:gd name="connsiteY839" fmla="*/ 120246 h 286300"/>
                <a:gd name="connsiteX840" fmla="*/ 47717 w 139969"/>
                <a:gd name="connsiteY840" fmla="*/ 121519 h 286300"/>
                <a:gd name="connsiteX841" fmla="*/ 45490 w 139969"/>
                <a:gd name="connsiteY841" fmla="*/ 122473 h 286300"/>
                <a:gd name="connsiteX842" fmla="*/ 42945 w 139969"/>
                <a:gd name="connsiteY842" fmla="*/ 123109 h 286300"/>
                <a:gd name="connsiteX843" fmla="*/ 42627 w 139969"/>
                <a:gd name="connsiteY843" fmla="*/ 123109 h 286300"/>
                <a:gd name="connsiteX844" fmla="*/ 41036 w 139969"/>
                <a:gd name="connsiteY844" fmla="*/ 123746 h 286300"/>
                <a:gd name="connsiteX845" fmla="*/ 38810 w 139969"/>
                <a:gd name="connsiteY845" fmla="*/ 123109 h 286300"/>
                <a:gd name="connsiteX846" fmla="*/ 38173 w 139969"/>
                <a:gd name="connsiteY846" fmla="*/ 123109 h 286300"/>
                <a:gd name="connsiteX847" fmla="*/ 34992 w 139969"/>
                <a:gd name="connsiteY847" fmla="*/ 121519 h 286300"/>
                <a:gd name="connsiteX848" fmla="*/ 33720 w 139969"/>
                <a:gd name="connsiteY848" fmla="*/ 121201 h 286300"/>
                <a:gd name="connsiteX849" fmla="*/ 31175 w 139969"/>
                <a:gd name="connsiteY849" fmla="*/ 119292 h 286300"/>
                <a:gd name="connsiteX850" fmla="*/ 26721 w 139969"/>
                <a:gd name="connsiteY850" fmla="*/ 115156 h 286300"/>
                <a:gd name="connsiteX851" fmla="*/ 24813 w 139969"/>
                <a:gd name="connsiteY851" fmla="*/ 112612 h 286300"/>
                <a:gd name="connsiteX852" fmla="*/ 23858 w 139969"/>
                <a:gd name="connsiteY852" fmla="*/ 109749 h 286300"/>
                <a:gd name="connsiteX853" fmla="*/ 23858 w 139969"/>
                <a:gd name="connsiteY853" fmla="*/ 108794 h 286300"/>
                <a:gd name="connsiteX854" fmla="*/ 23540 w 139969"/>
                <a:gd name="connsiteY854" fmla="*/ 104977 h 286300"/>
                <a:gd name="connsiteX855" fmla="*/ 23222 w 139969"/>
                <a:gd name="connsiteY855" fmla="*/ 102114 h 286300"/>
                <a:gd name="connsiteX856" fmla="*/ 23540 w 139969"/>
                <a:gd name="connsiteY856" fmla="*/ 100523 h 286300"/>
                <a:gd name="connsiteX857" fmla="*/ 23540 w 139969"/>
                <a:gd name="connsiteY857" fmla="*/ 97342 h 286300"/>
                <a:gd name="connsiteX858" fmla="*/ 23858 w 139969"/>
                <a:gd name="connsiteY858" fmla="*/ 93525 h 286300"/>
                <a:gd name="connsiteX859" fmla="*/ 24495 w 139969"/>
                <a:gd name="connsiteY859" fmla="*/ 89708 h 286300"/>
                <a:gd name="connsiteX860" fmla="*/ 25767 w 139969"/>
                <a:gd name="connsiteY860" fmla="*/ 85254 h 286300"/>
                <a:gd name="connsiteX861" fmla="*/ 28948 w 139969"/>
                <a:gd name="connsiteY861" fmla="*/ 75711 h 286300"/>
                <a:gd name="connsiteX862" fmla="*/ 29903 w 139969"/>
                <a:gd name="connsiteY862" fmla="*/ 71257 h 286300"/>
                <a:gd name="connsiteX863" fmla="*/ 32130 w 139969"/>
                <a:gd name="connsiteY863" fmla="*/ 63304 h 286300"/>
                <a:gd name="connsiteX864" fmla="*/ 32448 w 139969"/>
                <a:gd name="connsiteY864" fmla="*/ 62032 h 286300"/>
                <a:gd name="connsiteX865" fmla="*/ 33402 w 139969"/>
                <a:gd name="connsiteY865" fmla="*/ 59169 h 286300"/>
                <a:gd name="connsiteX866" fmla="*/ 34992 w 139969"/>
                <a:gd name="connsiteY866" fmla="*/ 55351 h 286300"/>
                <a:gd name="connsiteX867" fmla="*/ 34992 w 139969"/>
                <a:gd name="connsiteY867" fmla="*/ 54397 h 286300"/>
                <a:gd name="connsiteX868" fmla="*/ 35311 w 139969"/>
                <a:gd name="connsiteY868" fmla="*/ 53125 h 286300"/>
                <a:gd name="connsiteX869" fmla="*/ 39446 w 139969"/>
                <a:gd name="connsiteY869" fmla="*/ 43581 h 286300"/>
                <a:gd name="connsiteX870" fmla="*/ 40718 w 139969"/>
                <a:gd name="connsiteY870" fmla="*/ 40400 h 286300"/>
                <a:gd name="connsiteX871" fmla="*/ 43264 w 139969"/>
                <a:gd name="connsiteY871" fmla="*/ 34356 h 286300"/>
                <a:gd name="connsiteX872" fmla="*/ 44854 w 139969"/>
                <a:gd name="connsiteY872" fmla="*/ 31175 h 286300"/>
                <a:gd name="connsiteX873" fmla="*/ 45490 w 139969"/>
                <a:gd name="connsiteY873" fmla="*/ 28948 h 286300"/>
                <a:gd name="connsiteX874" fmla="*/ 46763 w 139969"/>
                <a:gd name="connsiteY874" fmla="*/ 25767 h 286300"/>
                <a:gd name="connsiteX875" fmla="*/ 48353 w 139969"/>
                <a:gd name="connsiteY875" fmla="*/ 22904 h 286300"/>
                <a:gd name="connsiteX876" fmla="*/ 50262 w 139969"/>
                <a:gd name="connsiteY876" fmla="*/ 16860 h 286300"/>
                <a:gd name="connsiteX877" fmla="*/ 52488 w 139969"/>
                <a:gd name="connsiteY877" fmla="*/ 13361 h 286300"/>
                <a:gd name="connsiteX878" fmla="*/ 52807 w 139969"/>
                <a:gd name="connsiteY878" fmla="*/ 12406 h 286300"/>
                <a:gd name="connsiteX879" fmla="*/ 52807 w 139969"/>
                <a:gd name="connsiteY879" fmla="*/ 12088 h 286300"/>
                <a:gd name="connsiteX880" fmla="*/ 56942 w 139969"/>
                <a:gd name="connsiteY880" fmla="*/ 6044 h 286300"/>
                <a:gd name="connsiteX881" fmla="*/ 58851 w 139969"/>
                <a:gd name="connsiteY881" fmla="*/ 2863 h 286300"/>
                <a:gd name="connsiteX882" fmla="*/ 59487 w 139969"/>
                <a:gd name="connsiteY882" fmla="*/ 954 h 286300"/>
                <a:gd name="connsiteX883" fmla="*/ 60441 w 139969"/>
                <a:gd name="connsiteY883" fmla="*/ 636 h 286300"/>
                <a:gd name="connsiteX884" fmla="*/ 61078 w 139969"/>
                <a:gd name="connsiteY884" fmla="*/ 636 h 286300"/>
                <a:gd name="connsiteX885" fmla="*/ 61714 w 139969"/>
                <a:gd name="connsiteY885" fmla="*/ 0 h 286300"/>
                <a:gd name="connsiteX886" fmla="*/ 62350 w 139969"/>
                <a:gd name="connsiteY886" fmla="*/ 318 h 286300"/>
                <a:gd name="connsiteX887" fmla="*/ 62350 w 139969"/>
                <a:gd name="connsiteY887" fmla="*/ 636 h 286300"/>
                <a:gd name="connsiteX888" fmla="*/ 62032 w 139969"/>
                <a:gd name="connsiteY888" fmla="*/ 954 h 286300"/>
                <a:gd name="connsiteX889" fmla="*/ 62668 w 139969"/>
                <a:gd name="connsiteY889" fmla="*/ 1909 h 286300"/>
                <a:gd name="connsiteX890" fmla="*/ 62986 w 139969"/>
                <a:gd name="connsiteY890" fmla="*/ 2545 h 286300"/>
                <a:gd name="connsiteX891" fmla="*/ 64259 w 139969"/>
                <a:gd name="connsiteY891" fmla="*/ 3499 h 286300"/>
                <a:gd name="connsiteX892" fmla="*/ 65213 w 139969"/>
                <a:gd name="connsiteY892" fmla="*/ 3181 h 286300"/>
                <a:gd name="connsiteX893" fmla="*/ 66485 w 139969"/>
                <a:gd name="connsiteY893" fmla="*/ 3817 h 286300"/>
                <a:gd name="connsiteX894" fmla="*/ 67122 w 139969"/>
                <a:gd name="connsiteY894" fmla="*/ 3817 h 286300"/>
                <a:gd name="connsiteX895" fmla="*/ 68076 w 139969"/>
                <a:gd name="connsiteY895" fmla="*/ 3499 h 286300"/>
                <a:gd name="connsiteX896" fmla="*/ 70939 w 139969"/>
                <a:gd name="connsiteY896" fmla="*/ 4772 h 286300"/>
                <a:gd name="connsiteX897" fmla="*/ 71894 w 139969"/>
                <a:gd name="connsiteY897" fmla="*/ 4772 h 286300"/>
                <a:gd name="connsiteX898" fmla="*/ 72530 w 139969"/>
                <a:gd name="connsiteY898" fmla="*/ 3817 h 286300"/>
                <a:gd name="connsiteX899" fmla="*/ 74120 w 139969"/>
                <a:gd name="connsiteY899" fmla="*/ 5090 h 286300"/>
                <a:gd name="connsiteX900" fmla="*/ 74438 w 139969"/>
                <a:gd name="connsiteY900" fmla="*/ 5408 h 286300"/>
                <a:gd name="connsiteX901" fmla="*/ 75075 w 139969"/>
                <a:gd name="connsiteY901" fmla="*/ 5726 h 286300"/>
                <a:gd name="connsiteX902" fmla="*/ 76665 w 139969"/>
                <a:gd name="connsiteY902" fmla="*/ 4454 h 286300"/>
                <a:gd name="connsiteX903" fmla="*/ 76665 w 139969"/>
                <a:gd name="connsiteY903" fmla="*/ 4135 h 286300"/>
                <a:gd name="connsiteX904" fmla="*/ 76983 w 139969"/>
                <a:gd name="connsiteY904" fmla="*/ 4772 h 286300"/>
                <a:gd name="connsiteX905" fmla="*/ 75711 w 139969"/>
                <a:gd name="connsiteY905" fmla="*/ 7953 h 286300"/>
                <a:gd name="connsiteX906" fmla="*/ 72848 w 139969"/>
                <a:gd name="connsiteY906" fmla="*/ 13361 h 286300"/>
                <a:gd name="connsiteX907" fmla="*/ 71575 w 139969"/>
                <a:gd name="connsiteY907" fmla="*/ 16224 h 286300"/>
                <a:gd name="connsiteX908" fmla="*/ 69349 w 139969"/>
                <a:gd name="connsiteY908" fmla="*/ 20677 h 286300"/>
                <a:gd name="connsiteX909" fmla="*/ 69349 w 139969"/>
                <a:gd name="connsiteY909" fmla="*/ 20995 h 286300"/>
                <a:gd name="connsiteX910" fmla="*/ 68712 w 139969"/>
                <a:gd name="connsiteY910" fmla="*/ 22586 h 286300"/>
                <a:gd name="connsiteX911" fmla="*/ 67440 w 139969"/>
                <a:gd name="connsiteY911" fmla="*/ 24813 h 286300"/>
                <a:gd name="connsiteX912" fmla="*/ 67758 w 139969"/>
                <a:gd name="connsiteY912" fmla="*/ 25449 h 286300"/>
                <a:gd name="connsiteX913" fmla="*/ 66803 w 139969"/>
                <a:gd name="connsiteY913" fmla="*/ 26721 h 286300"/>
                <a:gd name="connsiteX914" fmla="*/ 66485 w 139969"/>
                <a:gd name="connsiteY914" fmla="*/ 27676 h 286300"/>
                <a:gd name="connsiteX915" fmla="*/ 66167 w 139969"/>
                <a:gd name="connsiteY915" fmla="*/ 29584 h 286300"/>
                <a:gd name="connsiteX916" fmla="*/ 65531 w 139969"/>
                <a:gd name="connsiteY916" fmla="*/ 30539 h 286300"/>
                <a:gd name="connsiteX917" fmla="*/ 63941 w 139969"/>
                <a:gd name="connsiteY917" fmla="*/ 34674 h 286300"/>
                <a:gd name="connsiteX918" fmla="*/ 63304 w 139969"/>
                <a:gd name="connsiteY918" fmla="*/ 36583 h 286300"/>
                <a:gd name="connsiteX919" fmla="*/ 60441 w 139969"/>
                <a:gd name="connsiteY919" fmla="*/ 43263 h 286300"/>
                <a:gd name="connsiteX920" fmla="*/ 59805 w 139969"/>
                <a:gd name="connsiteY920" fmla="*/ 45172 h 286300"/>
                <a:gd name="connsiteX921" fmla="*/ 58851 w 139969"/>
                <a:gd name="connsiteY921" fmla="*/ 47081 h 286300"/>
                <a:gd name="connsiteX922" fmla="*/ 58215 w 139969"/>
                <a:gd name="connsiteY922" fmla="*/ 48035 h 286300"/>
                <a:gd name="connsiteX923" fmla="*/ 57579 w 139969"/>
                <a:gd name="connsiteY923" fmla="*/ 49944 h 286300"/>
                <a:gd name="connsiteX924" fmla="*/ 57579 w 139969"/>
                <a:gd name="connsiteY924" fmla="*/ 51534 h 286300"/>
                <a:gd name="connsiteX925" fmla="*/ 56306 w 139969"/>
                <a:gd name="connsiteY925" fmla="*/ 54079 h 286300"/>
                <a:gd name="connsiteX926" fmla="*/ 55670 w 139969"/>
                <a:gd name="connsiteY926" fmla="*/ 54397 h 286300"/>
                <a:gd name="connsiteX927" fmla="*/ 55033 w 139969"/>
                <a:gd name="connsiteY927" fmla="*/ 54397 h 286300"/>
                <a:gd name="connsiteX928" fmla="*/ 55352 w 139969"/>
                <a:gd name="connsiteY928" fmla="*/ 55033 h 286300"/>
                <a:gd name="connsiteX929" fmla="*/ 55670 w 139969"/>
                <a:gd name="connsiteY929" fmla="*/ 56624 h 286300"/>
                <a:gd name="connsiteX930" fmla="*/ 55352 w 139969"/>
                <a:gd name="connsiteY930" fmla="*/ 57260 h 286300"/>
                <a:gd name="connsiteX931" fmla="*/ 55352 w 139969"/>
                <a:gd name="connsiteY931" fmla="*/ 58533 h 286300"/>
                <a:gd name="connsiteX932" fmla="*/ 54715 w 139969"/>
                <a:gd name="connsiteY932" fmla="*/ 59487 h 286300"/>
                <a:gd name="connsiteX933" fmla="*/ 52488 w 139969"/>
                <a:gd name="connsiteY933" fmla="*/ 62032 h 286300"/>
                <a:gd name="connsiteX934" fmla="*/ 52170 w 139969"/>
                <a:gd name="connsiteY934" fmla="*/ 62350 h 286300"/>
                <a:gd name="connsiteX935" fmla="*/ 52488 w 139969"/>
                <a:gd name="connsiteY935" fmla="*/ 62986 h 286300"/>
                <a:gd name="connsiteX936" fmla="*/ 52807 w 139969"/>
                <a:gd name="connsiteY936" fmla="*/ 63940 h 286300"/>
                <a:gd name="connsiteX937" fmla="*/ 52488 w 139969"/>
                <a:gd name="connsiteY937" fmla="*/ 64259 h 286300"/>
                <a:gd name="connsiteX938" fmla="*/ 50262 w 139969"/>
                <a:gd name="connsiteY938" fmla="*/ 70939 h 286300"/>
                <a:gd name="connsiteX939" fmla="*/ 48035 w 139969"/>
                <a:gd name="connsiteY939" fmla="*/ 79210 h 286300"/>
                <a:gd name="connsiteX940" fmla="*/ 46763 w 139969"/>
                <a:gd name="connsiteY940" fmla="*/ 83345 h 286300"/>
                <a:gd name="connsiteX941" fmla="*/ 46763 w 139969"/>
                <a:gd name="connsiteY941" fmla="*/ 84936 h 286300"/>
                <a:gd name="connsiteX942" fmla="*/ 46445 w 139969"/>
                <a:gd name="connsiteY942" fmla="*/ 86208 h 286300"/>
                <a:gd name="connsiteX943" fmla="*/ 46126 w 139969"/>
                <a:gd name="connsiteY943" fmla="*/ 89071 h 286300"/>
                <a:gd name="connsiteX944" fmla="*/ 45808 w 139969"/>
                <a:gd name="connsiteY944" fmla="*/ 92889 h 286300"/>
                <a:gd name="connsiteX945" fmla="*/ 45172 w 139969"/>
                <a:gd name="connsiteY945" fmla="*/ 94479 h 286300"/>
                <a:gd name="connsiteX946" fmla="*/ 45172 w 139969"/>
                <a:gd name="connsiteY946" fmla="*/ 98297 h 286300"/>
                <a:gd name="connsiteX947" fmla="*/ 45808 w 139969"/>
                <a:gd name="connsiteY947" fmla="*/ 100205 h 286300"/>
                <a:gd name="connsiteX948" fmla="*/ 46445 w 139969"/>
                <a:gd name="connsiteY948" fmla="*/ 101478 h 286300"/>
                <a:gd name="connsiteX949" fmla="*/ 47399 w 139969"/>
                <a:gd name="connsiteY949" fmla="*/ 101478 h 286300"/>
                <a:gd name="connsiteX950" fmla="*/ 48989 w 139969"/>
                <a:gd name="connsiteY950" fmla="*/ 99251 h 286300"/>
                <a:gd name="connsiteX951" fmla="*/ 54397 w 139969"/>
                <a:gd name="connsiteY951" fmla="*/ 94797 h 286300"/>
                <a:gd name="connsiteX952" fmla="*/ 54715 w 139969"/>
                <a:gd name="connsiteY952" fmla="*/ 94797 h 286300"/>
                <a:gd name="connsiteX953" fmla="*/ 57260 w 139969"/>
                <a:gd name="connsiteY953" fmla="*/ 91616 h 286300"/>
                <a:gd name="connsiteX954" fmla="*/ 57897 w 139969"/>
                <a:gd name="connsiteY954" fmla="*/ 90344 h 286300"/>
                <a:gd name="connsiteX955" fmla="*/ 59805 w 139969"/>
                <a:gd name="connsiteY955" fmla="*/ 88435 h 286300"/>
                <a:gd name="connsiteX956" fmla="*/ 60441 w 139969"/>
                <a:gd name="connsiteY956" fmla="*/ 87799 h 286300"/>
                <a:gd name="connsiteX957" fmla="*/ 63941 w 139969"/>
                <a:gd name="connsiteY957" fmla="*/ 82709 h 286300"/>
                <a:gd name="connsiteX958" fmla="*/ 66167 w 139969"/>
                <a:gd name="connsiteY958" fmla="*/ 79846 h 286300"/>
                <a:gd name="connsiteX959" fmla="*/ 67440 w 139969"/>
                <a:gd name="connsiteY959" fmla="*/ 79210 h 286300"/>
                <a:gd name="connsiteX960" fmla="*/ 68076 w 139969"/>
                <a:gd name="connsiteY960" fmla="*/ 78256 h 286300"/>
                <a:gd name="connsiteX961" fmla="*/ 68394 w 139969"/>
                <a:gd name="connsiteY961" fmla="*/ 78256 h 286300"/>
                <a:gd name="connsiteX962" fmla="*/ 69667 w 139969"/>
                <a:gd name="connsiteY962" fmla="*/ 76665 h 286300"/>
                <a:gd name="connsiteX963" fmla="*/ 70303 w 139969"/>
                <a:gd name="connsiteY963" fmla="*/ 75074 h 286300"/>
                <a:gd name="connsiteX964" fmla="*/ 73484 w 139969"/>
                <a:gd name="connsiteY964" fmla="*/ 70939 h 286300"/>
                <a:gd name="connsiteX965" fmla="*/ 75393 w 139969"/>
                <a:gd name="connsiteY965" fmla="*/ 67758 h 286300"/>
                <a:gd name="connsiteX966" fmla="*/ 77937 w 139969"/>
                <a:gd name="connsiteY966" fmla="*/ 64259 h 286300"/>
                <a:gd name="connsiteX967" fmla="*/ 80164 w 139969"/>
                <a:gd name="connsiteY967" fmla="*/ 60759 h 286300"/>
                <a:gd name="connsiteX968" fmla="*/ 84618 w 139969"/>
                <a:gd name="connsiteY968" fmla="*/ 55033 h 286300"/>
                <a:gd name="connsiteX969" fmla="*/ 88435 w 139969"/>
                <a:gd name="connsiteY969" fmla="*/ 49944 h 286300"/>
                <a:gd name="connsiteX970" fmla="*/ 88753 w 139969"/>
                <a:gd name="connsiteY970" fmla="*/ 49307 h 286300"/>
                <a:gd name="connsiteX971" fmla="*/ 90980 w 139969"/>
                <a:gd name="connsiteY971" fmla="*/ 46762 h 286300"/>
                <a:gd name="connsiteX972" fmla="*/ 91616 w 139969"/>
                <a:gd name="connsiteY972" fmla="*/ 44536 h 286300"/>
                <a:gd name="connsiteX973" fmla="*/ 93843 w 139969"/>
                <a:gd name="connsiteY973" fmla="*/ 42309 h 286300"/>
                <a:gd name="connsiteX974" fmla="*/ 95115 w 139969"/>
                <a:gd name="connsiteY974" fmla="*/ 41673 h 286300"/>
                <a:gd name="connsiteX975" fmla="*/ 99251 w 139969"/>
                <a:gd name="connsiteY975" fmla="*/ 35629 h 286300"/>
                <a:gd name="connsiteX976" fmla="*/ 101796 w 139969"/>
                <a:gd name="connsiteY976" fmla="*/ 32447 h 286300"/>
                <a:gd name="connsiteX977" fmla="*/ 104659 w 139969"/>
                <a:gd name="connsiteY977" fmla="*/ 28948 h 286300"/>
                <a:gd name="connsiteX978" fmla="*/ 105931 w 139969"/>
                <a:gd name="connsiteY978" fmla="*/ 27040 h 286300"/>
                <a:gd name="connsiteX979" fmla="*/ 111976 w 139969"/>
                <a:gd name="connsiteY979" fmla="*/ 20677 h 286300"/>
                <a:gd name="connsiteX980" fmla="*/ 113566 w 139969"/>
                <a:gd name="connsiteY980" fmla="*/ 17814 h 286300"/>
                <a:gd name="connsiteX981" fmla="*/ 114520 w 139969"/>
                <a:gd name="connsiteY981" fmla="*/ 15587 h 286300"/>
                <a:gd name="connsiteX982" fmla="*/ 117701 w 139969"/>
                <a:gd name="connsiteY982" fmla="*/ 13043 h 286300"/>
                <a:gd name="connsiteX983" fmla="*/ 118338 w 139969"/>
                <a:gd name="connsiteY983" fmla="*/ 12724 h 286300"/>
                <a:gd name="connsiteX984" fmla="*/ 118656 w 139969"/>
                <a:gd name="connsiteY984" fmla="*/ 11770 h 286300"/>
                <a:gd name="connsiteX985" fmla="*/ 119610 w 139969"/>
                <a:gd name="connsiteY985" fmla="*/ 12724 h 286300"/>
                <a:gd name="connsiteX986" fmla="*/ 119610 w 139969"/>
                <a:gd name="connsiteY986" fmla="*/ 13043 h 286300"/>
                <a:gd name="connsiteX987" fmla="*/ 119928 w 139969"/>
                <a:gd name="connsiteY987" fmla="*/ 13361 h 286300"/>
                <a:gd name="connsiteX988" fmla="*/ 120246 w 139969"/>
                <a:gd name="connsiteY988" fmla="*/ 12724 h 286300"/>
                <a:gd name="connsiteX989" fmla="*/ 120564 w 139969"/>
                <a:gd name="connsiteY989" fmla="*/ 12088 h 286300"/>
                <a:gd name="connsiteX990" fmla="*/ 120564 w 139969"/>
                <a:gd name="connsiteY990" fmla="*/ 11770 h 286300"/>
                <a:gd name="connsiteX991" fmla="*/ 122473 w 139969"/>
                <a:gd name="connsiteY991" fmla="*/ 13043 h 286300"/>
                <a:gd name="connsiteX992" fmla="*/ 122791 w 139969"/>
                <a:gd name="connsiteY992" fmla="*/ 14951 h 286300"/>
                <a:gd name="connsiteX993" fmla="*/ 123428 w 139969"/>
                <a:gd name="connsiteY993" fmla="*/ 15269 h 286300"/>
                <a:gd name="connsiteX994" fmla="*/ 123746 w 139969"/>
                <a:gd name="connsiteY994" fmla="*/ 15269 h 286300"/>
                <a:gd name="connsiteX995" fmla="*/ 124064 w 139969"/>
                <a:gd name="connsiteY995" fmla="*/ 15587 h 286300"/>
                <a:gd name="connsiteX996" fmla="*/ 124382 w 139969"/>
                <a:gd name="connsiteY996" fmla="*/ 15906 h 286300"/>
                <a:gd name="connsiteX997" fmla="*/ 125654 w 139969"/>
                <a:gd name="connsiteY997" fmla="*/ 15906 h 286300"/>
                <a:gd name="connsiteX998" fmla="*/ 127245 w 139969"/>
                <a:gd name="connsiteY998" fmla="*/ 16542 h 286300"/>
                <a:gd name="connsiteX999" fmla="*/ 127563 w 139969"/>
                <a:gd name="connsiteY999" fmla="*/ 16542 h 286300"/>
                <a:gd name="connsiteX1000" fmla="*/ 127563 w 139969"/>
                <a:gd name="connsiteY1000" fmla="*/ 15906 h 286300"/>
                <a:gd name="connsiteX1001" fmla="*/ 128199 w 139969"/>
                <a:gd name="connsiteY1001" fmla="*/ 15587 h 286300"/>
                <a:gd name="connsiteX1002" fmla="*/ 129472 w 139969"/>
                <a:gd name="connsiteY1002" fmla="*/ 15269 h 286300"/>
                <a:gd name="connsiteX1003" fmla="*/ 130426 w 139969"/>
                <a:gd name="connsiteY1003" fmla="*/ 16542 h 286300"/>
                <a:gd name="connsiteX1004" fmla="*/ 130426 w 139969"/>
                <a:gd name="connsiteY1004" fmla="*/ 17178 h 286300"/>
                <a:gd name="connsiteX1005" fmla="*/ 130744 w 139969"/>
                <a:gd name="connsiteY1005" fmla="*/ 17496 h 286300"/>
                <a:gd name="connsiteX1006" fmla="*/ 131380 w 139969"/>
                <a:gd name="connsiteY1006" fmla="*/ 17178 h 286300"/>
                <a:gd name="connsiteX1007" fmla="*/ 132335 w 139969"/>
                <a:gd name="connsiteY1007" fmla="*/ 17178 h 286300"/>
                <a:gd name="connsiteX1008" fmla="*/ 132653 w 139969"/>
                <a:gd name="connsiteY1008" fmla="*/ 17496 h 286300"/>
                <a:gd name="connsiteX1009" fmla="*/ 133289 w 139969"/>
                <a:gd name="connsiteY1009" fmla="*/ 16860 h 286300"/>
                <a:gd name="connsiteX1010" fmla="*/ 133289 w 139969"/>
                <a:gd name="connsiteY1010" fmla="*/ 16224 h 286300"/>
                <a:gd name="connsiteX1011" fmla="*/ 133607 w 139969"/>
                <a:gd name="connsiteY1011" fmla="*/ 15906 h 286300"/>
                <a:gd name="connsiteX1012" fmla="*/ 133925 w 139969"/>
                <a:gd name="connsiteY1012" fmla="*/ 16224 h 286300"/>
                <a:gd name="connsiteX1013" fmla="*/ 136152 w 139969"/>
                <a:gd name="connsiteY1013" fmla="*/ 18769 h 286300"/>
                <a:gd name="connsiteX1014" fmla="*/ 136470 w 139969"/>
                <a:gd name="connsiteY1014" fmla="*/ 19087 h 286300"/>
                <a:gd name="connsiteX1015" fmla="*/ 136788 w 139969"/>
                <a:gd name="connsiteY1015" fmla="*/ 21950 h 286300"/>
                <a:gd name="connsiteX1016" fmla="*/ 136470 w 139969"/>
                <a:gd name="connsiteY1016" fmla="*/ 23858 h 286300"/>
                <a:gd name="connsiteX1017" fmla="*/ 136152 w 139969"/>
                <a:gd name="connsiteY1017" fmla="*/ 26721 h 286300"/>
                <a:gd name="connsiteX1018" fmla="*/ 136152 w 139969"/>
                <a:gd name="connsiteY1018" fmla="*/ 30221 h 286300"/>
                <a:gd name="connsiteX1019" fmla="*/ 135516 w 139969"/>
                <a:gd name="connsiteY1019" fmla="*/ 31175 h 286300"/>
                <a:gd name="connsiteX1020" fmla="*/ 134879 w 139969"/>
                <a:gd name="connsiteY1020" fmla="*/ 31175 h 286300"/>
                <a:gd name="connsiteX1021" fmla="*/ 134561 w 139969"/>
                <a:gd name="connsiteY1021" fmla="*/ 31493 h 286300"/>
                <a:gd name="connsiteX1022" fmla="*/ 134879 w 139969"/>
                <a:gd name="connsiteY1022" fmla="*/ 34992 h 286300"/>
                <a:gd name="connsiteX1023" fmla="*/ 134879 w 139969"/>
                <a:gd name="connsiteY1023" fmla="*/ 36265 h 286300"/>
                <a:gd name="connsiteX1024" fmla="*/ 135198 w 139969"/>
                <a:gd name="connsiteY1024" fmla="*/ 37219 h 286300"/>
                <a:gd name="connsiteX1025" fmla="*/ 135834 w 139969"/>
                <a:gd name="connsiteY1025" fmla="*/ 36583 h 286300"/>
                <a:gd name="connsiteX1026" fmla="*/ 136152 w 139969"/>
                <a:gd name="connsiteY1026" fmla="*/ 36265 h 286300"/>
                <a:gd name="connsiteX1027" fmla="*/ 136788 w 139969"/>
                <a:gd name="connsiteY1027" fmla="*/ 37537 h 286300"/>
                <a:gd name="connsiteX1028" fmla="*/ 136152 w 139969"/>
                <a:gd name="connsiteY1028" fmla="*/ 39764 h 286300"/>
                <a:gd name="connsiteX1029" fmla="*/ 136152 w 139969"/>
                <a:gd name="connsiteY1029" fmla="*/ 42309 h 286300"/>
                <a:gd name="connsiteX1030" fmla="*/ 135834 w 139969"/>
                <a:gd name="connsiteY1030" fmla="*/ 44536 h 286300"/>
                <a:gd name="connsiteX1031" fmla="*/ 135834 w 139969"/>
                <a:gd name="connsiteY1031" fmla="*/ 45172 h 286300"/>
                <a:gd name="connsiteX1032" fmla="*/ 136470 w 139969"/>
                <a:gd name="connsiteY1032" fmla="*/ 47717 h 286300"/>
                <a:gd name="connsiteX1033" fmla="*/ 136152 w 139969"/>
                <a:gd name="connsiteY1033" fmla="*/ 48671 h 286300"/>
                <a:gd name="connsiteX1034" fmla="*/ 136470 w 139969"/>
                <a:gd name="connsiteY1034" fmla="*/ 50580 h 286300"/>
                <a:gd name="connsiteX1035" fmla="*/ 136470 w 139969"/>
                <a:gd name="connsiteY1035" fmla="*/ 52488 h 286300"/>
                <a:gd name="connsiteX1036" fmla="*/ 137106 w 139969"/>
                <a:gd name="connsiteY1036" fmla="*/ 55033 h 286300"/>
                <a:gd name="connsiteX1037" fmla="*/ 137106 w 139969"/>
                <a:gd name="connsiteY1037" fmla="*/ 60441 h 286300"/>
                <a:gd name="connsiteX1038" fmla="*/ 136788 w 139969"/>
                <a:gd name="connsiteY1038" fmla="*/ 62032 h 286300"/>
                <a:gd name="connsiteX1039" fmla="*/ 137106 w 139969"/>
                <a:gd name="connsiteY1039" fmla="*/ 63622 h 286300"/>
                <a:gd name="connsiteX1040" fmla="*/ 137425 w 139969"/>
                <a:gd name="connsiteY1040" fmla="*/ 63940 h 286300"/>
                <a:gd name="connsiteX1041" fmla="*/ 137106 w 139969"/>
                <a:gd name="connsiteY1041" fmla="*/ 64259 h 286300"/>
                <a:gd name="connsiteX1042" fmla="*/ 137425 w 139969"/>
                <a:gd name="connsiteY1042" fmla="*/ 66803 h 286300"/>
                <a:gd name="connsiteX1043" fmla="*/ 137743 w 139969"/>
                <a:gd name="connsiteY1043" fmla="*/ 68076 h 286300"/>
                <a:gd name="connsiteX1044" fmla="*/ 137425 w 139969"/>
                <a:gd name="connsiteY1044" fmla="*/ 69985 h 286300"/>
                <a:gd name="connsiteX1045" fmla="*/ 137743 w 139969"/>
                <a:gd name="connsiteY1045" fmla="*/ 71575 h 286300"/>
                <a:gd name="connsiteX1046" fmla="*/ 137425 w 139969"/>
                <a:gd name="connsiteY1046" fmla="*/ 72848 h 286300"/>
                <a:gd name="connsiteX1047" fmla="*/ 137425 w 139969"/>
                <a:gd name="connsiteY1047" fmla="*/ 74438 h 286300"/>
                <a:gd name="connsiteX1048" fmla="*/ 138061 w 139969"/>
                <a:gd name="connsiteY1048" fmla="*/ 77619 h 286300"/>
                <a:gd name="connsiteX1049" fmla="*/ 138697 w 139969"/>
                <a:gd name="connsiteY1049" fmla="*/ 78892 h 286300"/>
                <a:gd name="connsiteX1050" fmla="*/ 138379 w 139969"/>
                <a:gd name="connsiteY1050" fmla="*/ 80482 h 286300"/>
                <a:gd name="connsiteX1051" fmla="*/ 138061 w 139969"/>
                <a:gd name="connsiteY1051" fmla="*/ 82391 h 286300"/>
                <a:gd name="connsiteX1052" fmla="*/ 137743 w 139969"/>
                <a:gd name="connsiteY1052" fmla="*/ 84300 h 286300"/>
                <a:gd name="connsiteX1053" fmla="*/ 139333 w 139969"/>
                <a:gd name="connsiteY1053" fmla="*/ 86845 h 286300"/>
                <a:gd name="connsiteX1054" fmla="*/ 140924 w 139969"/>
                <a:gd name="connsiteY1054" fmla="*/ 86845 h 286300"/>
                <a:gd name="connsiteX1055" fmla="*/ 141242 w 139969"/>
                <a:gd name="connsiteY1055" fmla="*/ 87799 h 286300"/>
                <a:gd name="connsiteX1056" fmla="*/ 140924 w 139969"/>
                <a:gd name="connsiteY1056" fmla="*/ 88435 h 286300"/>
                <a:gd name="connsiteX1057" fmla="*/ 140288 w 139969"/>
                <a:gd name="connsiteY1057" fmla="*/ 88117 h 286300"/>
                <a:gd name="connsiteX1058" fmla="*/ 139969 w 139969"/>
                <a:gd name="connsiteY1058" fmla="*/ 87799 h 286300"/>
                <a:gd name="connsiteX1059" fmla="*/ 139969 w 139969"/>
                <a:gd name="connsiteY1059" fmla="*/ 88117 h 286300"/>
                <a:gd name="connsiteX1060" fmla="*/ 139333 w 139969"/>
                <a:gd name="connsiteY1060" fmla="*/ 90026 h 286300"/>
                <a:gd name="connsiteX1061" fmla="*/ 139651 w 139969"/>
                <a:gd name="connsiteY1061" fmla="*/ 91298 h 286300"/>
                <a:gd name="connsiteX1062" fmla="*/ 140288 w 139969"/>
                <a:gd name="connsiteY1062" fmla="*/ 91934 h 286300"/>
                <a:gd name="connsiteX1063" fmla="*/ 141242 w 139969"/>
                <a:gd name="connsiteY1063" fmla="*/ 91616 h 286300"/>
                <a:gd name="connsiteX1064" fmla="*/ 142196 w 139969"/>
                <a:gd name="connsiteY1064" fmla="*/ 91298 h 286300"/>
                <a:gd name="connsiteX1065" fmla="*/ 142514 w 139969"/>
                <a:gd name="connsiteY1065" fmla="*/ 91616 h 286300"/>
                <a:gd name="connsiteX1066" fmla="*/ 141560 w 139969"/>
                <a:gd name="connsiteY1066" fmla="*/ 92571 h 286300"/>
                <a:gd name="connsiteX1067" fmla="*/ 139651 w 139969"/>
                <a:gd name="connsiteY1067" fmla="*/ 94479 h 286300"/>
                <a:gd name="connsiteX1068" fmla="*/ 139333 w 139969"/>
                <a:gd name="connsiteY1068" fmla="*/ 95115 h 286300"/>
                <a:gd name="connsiteX1069" fmla="*/ 138697 w 139969"/>
                <a:gd name="connsiteY1069" fmla="*/ 97024 h 286300"/>
                <a:gd name="connsiteX1070" fmla="*/ 138697 w 139969"/>
                <a:gd name="connsiteY1070" fmla="*/ 97342 h 286300"/>
                <a:gd name="connsiteX1071" fmla="*/ 139015 w 139969"/>
                <a:gd name="connsiteY1071" fmla="*/ 99887 h 286300"/>
                <a:gd name="connsiteX1072" fmla="*/ 138379 w 139969"/>
                <a:gd name="connsiteY1072" fmla="*/ 100841 h 286300"/>
                <a:gd name="connsiteX1073" fmla="*/ 137106 w 139969"/>
                <a:gd name="connsiteY1073" fmla="*/ 104659 h 286300"/>
                <a:gd name="connsiteX1074" fmla="*/ 136470 w 139969"/>
                <a:gd name="connsiteY1074" fmla="*/ 104659 h 286300"/>
                <a:gd name="connsiteX1075" fmla="*/ 136470 w 139969"/>
                <a:gd name="connsiteY1075" fmla="*/ 104341 h 286300"/>
                <a:gd name="connsiteX1076" fmla="*/ 134243 w 139969"/>
                <a:gd name="connsiteY1076" fmla="*/ 106567 h 286300"/>
                <a:gd name="connsiteX1077" fmla="*/ 134879 w 139969"/>
                <a:gd name="connsiteY1077" fmla="*/ 106249 h 286300"/>
                <a:gd name="connsiteX1078" fmla="*/ 134879 w 139969"/>
                <a:gd name="connsiteY1078" fmla="*/ 107840 h 286300"/>
                <a:gd name="connsiteX1079" fmla="*/ 134561 w 139969"/>
                <a:gd name="connsiteY1079" fmla="*/ 107522 h 286300"/>
                <a:gd name="connsiteX1080" fmla="*/ 134243 w 139969"/>
                <a:gd name="connsiteY1080" fmla="*/ 106567 h 286300"/>
                <a:gd name="connsiteX1081" fmla="*/ 133289 w 139969"/>
                <a:gd name="connsiteY1081" fmla="*/ 104977 h 286300"/>
                <a:gd name="connsiteX1082" fmla="*/ 133925 w 139969"/>
                <a:gd name="connsiteY1082" fmla="*/ 104977 h 286300"/>
                <a:gd name="connsiteX1083" fmla="*/ 133925 w 139969"/>
                <a:gd name="connsiteY1083" fmla="*/ 104659 h 286300"/>
                <a:gd name="connsiteX1084" fmla="*/ 3818 w 139969"/>
                <a:gd name="connsiteY1084" fmla="*/ 249400 h 286300"/>
                <a:gd name="connsiteX1085" fmla="*/ 3818 w 139969"/>
                <a:gd name="connsiteY1085" fmla="*/ 249082 h 286300"/>
                <a:gd name="connsiteX1086" fmla="*/ 3500 w 139969"/>
                <a:gd name="connsiteY1086" fmla="*/ 249400 h 286300"/>
                <a:gd name="connsiteX1087" fmla="*/ 3500 w 139969"/>
                <a:gd name="connsiteY1087" fmla="*/ 250036 h 286300"/>
                <a:gd name="connsiteX1088" fmla="*/ 3181 w 139969"/>
                <a:gd name="connsiteY1088" fmla="*/ 251626 h 286300"/>
                <a:gd name="connsiteX1089" fmla="*/ 3500 w 139969"/>
                <a:gd name="connsiteY1089" fmla="*/ 251945 h 286300"/>
                <a:gd name="connsiteX1090" fmla="*/ 4136 w 139969"/>
                <a:gd name="connsiteY1090" fmla="*/ 251626 h 286300"/>
                <a:gd name="connsiteX1091" fmla="*/ 4136 w 139969"/>
                <a:gd name="connsiteY1091" fmla="*/ 250672 h 286300"/>
                <a:gd name="connsiteX1092" fmla="*/ 3818 w 139969"/>
                <a:gd name="connsiteY1092" fmla="*/ 249400 h 286300"/>
                <a:gd name="connsiteX1093" fmla="*/ 3818 w 139969"/>
                <a:gd name="connsiteY1093" fmla="*/ 255444 h 286300"/>
                <a:gd name="connsiteX1094" fmla="*/ 3500 w 139969"/>
                <a:gd name="connsiteY1094" fmla="*/ 255126 h 286300"/>
                <a:gd name="connsiteX1095" fmla="*/ 3181 w 139969"/>
                <a:gd name="connsiteY1095" fmla="*/ 255444 h 286300"/>
                <a:gd name="connsiteX1096" fmla="*/ 3181 w 139969"/>
                <a:gd name="connsiteY1096" fmla="*/ 256080 h 286300"/>
                <a:gd name="connsiteX1097" fmla="*/ 3500 w 139969"/>
                <a:gd name="connsiteY1097" fmla="*/ 256398 h 286300"/>
                <a:gd name="connsiteX1098" fmla="*/ 3818 w 139969"/>
                <a:gd name="connsiteY1098" fmla="*/ 256080 h 286300"/>
                <a:gd name="connsiteX1099" fmla="*/ 3818 w 139969"/>
                <a:gd name="connsiteY1099" fmla="*/ 255444 h 286300"/>
                <a:gd name="connsiteX1100" fmla="*/ 4772 w 139969"/>
                <a:gd name="connsiteY1100" fmla="*/ 242401 h 286300"/>
                <a:gd name="connsiteX1101" fmla="*/ 5090 w 139969"/>
                <a:gd name="connsiteY1101" fmla="*/ 241765 h 286300"/>
                <a:gd name="connsiteX1102" fmla="*/ 5408 w 139969"/>
                <a:gd name="connsiteY1102" fmla="*/ 239856 h 286300"/>
                <a:gd name="connsiteX1103" fmla="*/ 5726 w 139969"/>
                <a:gd name="connsiteY1103" fmla="*/ 237630 h 286300"/>
                <a:gd name="connsiteX1104" fmla="*/ 5090 w 139969"/>
                <a:gd name="connsiteY1104" fmla="*/ 237630 h 286300"/>
                <a:gd name="connsiteX1105" fmla="*/ 4454 w 139969"/>
                <a:gd name="connsiteY1105" fmla="*/ 239538 h 286300"/>
                <a:gd name="connsiteX1106" fmla="*/ 4136 w 139969"/>
                <a:gd name="connsiteY1106" fmla="*/ 241129 h 286300"/>
                <a:gd name="connsiteX1107" fmla="*/ 4454 w 139969"/>
                <a:gd name="connsiteY1107" fmla="*/ 242083 h 286300"/>
                <a:gd name="connsiteX1108" fmla="*/ 4772 w 139969"/>
                <a:gd name="connsiteY1108" fmla="*/ 242401 h 286300"/>
                <a:gd name="connsiteX1109" fmla="*/ 5726 w 139969"/>
                <a:gd name="connsiteY1109" fmla="*/ 236039 h 286300"/>
                <a:gd name="connsiteX1110" fmla="*/ 5408 w 139969"/>
                <a:gd name="connsiteY1110" fmla="*/ 236357 h 286300"/>
                <a:gd name="connsiteX1111" fmla="*/ 5726 w 139969"/>
                <a:gd name="connsiteY1111" fmla="*/ 236039 h 286300"/>
                <a:gd name="connsiteX1112" fmla="*/ 7317 w 139969"/>
                <a:gd name="connsiteY1112" fmla="*/ 262760 h 286300"/>
                <a:gd name="connsiteX1113" fmla="*/ 6044 w 139969"/>
                <a:gd name="connsiteY1113" fmla="*/ 261806 h 286300"/>
                <a:gd name="connsiteX1114" fmla="*/ 6362 w 139969"/>
                <a:gd name="connsiteY1114" fmla="*/ 263078 h 286300"/>
                <a:gd name="connsiteX1115" fmla="*/ 6999 w 139969"/>
                <a:gd name="connsiteY1115" fmla="*/ 263078 h 286300"/>
                <a:gd name="connsiteX1116" fmla="*/ 7317 w 139969"/>
                <a:gd name="connsiteY1116" fmla="*/ 262760 h 286300"/>
                <a:gd name="connsiteX1117" fmla="*/ 7317 w 139969"/>
                <a:gd name="connsiteY1117" fmla="*/ 243037 h 286300"/>
                <a:gd name="connsiteX1118" fmla="*/ 7317 w 139969"/>
                <a:gd name="connsiteY1118" fmla="*/ 243992 h 286300"/>
                <a:gd name="connsiteX1119" fmla="*/ 6999 w 139969"/>
                <a:gd name="connsiteY1119" fmla="*/ 244310 h 286300"/>
                <a:gd name="connsiteX1120" fmla="*/ 6362 w 139969"/>
                <a:gd name="connsiteY1120" fmla="*/ 243992 h 286300"/>
                <a:gd name="connsiteX1121" fmla="*/ 6999 w 139969"/>
                <a:gd name="connsiteY1121" fmla="*/ 243037 h 286300"/>
                <a:gd name="connsiteX1122" fmla="*/ 7317 w 139969"/>
                <a:gd name="connsiteY1122" fmla="*/ 243037 h 286300"/>
                <a:gd name="connsiteX1123" fmla="*/ 9862 w 139969"/>
                <a:gd name="connsiteY1123" fmla="*/ 216952 h 286300"/>
                <a:gd name="connsiteX1124" fmla="*/ 9862 w 139969"/>
                <a:gd name="connsiteY1124" fmla="*/ 217270 h 286300"/>
                <a:gd name="connsiteX1125" fmla="*/ 10180 w 139969"/>
                <a:gd name="connsiteY1125" fmla="*/ 217270 h 286300"/>
                <a:gd name="connsiteX1126" fmla="*/ 9543 w 139969"/>
                <a:gd name="connsiteY1126" fmla="*/ 218225 h 286300"/>
                <a:gd name="connsiteX1127" fmla="*/ 9225 w 139969"/>
                <a:gd name="connsiteY1127" fmla="*/ 218225 h 286300"/>
                <a:gd name="connsiteX1128" fmla="*/ 9862 w 139969"/>
                <a:gd name="connsiteY1128" fmla="*/ 216952 h 286300"/>
                <a:gd name="connsiteX1129" fmla="*/ 9862 w 139969"/>
                <a:gd name="connsiteY1129" fmla="*/ 259897 h 286300"/>
                <a:gd name="connsiteX1130" fmla="*/ 10498 w 139969"/>
                <a:gd name="connsiteY1130" fmla="*/ 261488 h 286300"/>
                <a:gd name="connsiteX1131" fmla="*/ 10816 w 139969"/>
                <a:gd name="connsiteY1131" fmla="*/ 261806 h 286300"/>
                <a:gd name="connsiteX1132" fmla="*/ 10180 w 139969"/>
                <a:gd name="connsiteY1132" fmla="*/ 263078 h 286300"/>
                <a:gd name="connsiteX1133" fmla="*/ 9862 w 139969"/>
                <a:gd name="connsiteY1133" fmla="*/ 263078 h 286300"/>
                <a:gd name="connsiteX1134" fmla="*/ 9543 w 139969"/>
                <a:gd name="connsiteY1134" fmla="*/ 262760 h 286300"/>
                <a:gd name="connsiteX1135" fmla="*/ 9543 w 139969"/>
                <a:gd name="connsiteY1135" fmla="*/ 257352 h 286300"/>
                <a:gd name="connsiteX1136" fmla="*/ 9862 w 139969"/>
                <a:gd name="connsiteY1136" fmla="*/ 257671 h 286300"/>
                <a:gd name="connsiteX1137" fmla="*/ 10180 w 139969"/>
                <a:gd name="connsiteY1137" fmla="*/ 258307 h 286300"/>
                <a:gd name="connsiteX1138" fmla="*/ 10180 w 139969"/>
                <a:gd name="connsiteY1138" fmla="*/ 258625 h 286300"/>
                <a:gd name="connsiteX1139" fmla="*/ 9862 w 139969"/>
                <a:gd name="connsiteY1139" fmla="*/ 259897 h 286300"/>
                <a:gd name="connsiteX1140" fmla="*/ 10498 w 139969"/>
                <a:gd name="connsiteY1140" fmla="*/ 237948 h 286300"/>
                <a:gd name="connsiteX1141" fmla="*/ 10498 w 139969"/>
                <a:gd name="connsiteY1141" fmla="*/ 239220 h 286300"/>
                <a:gd name="connsiteX1142" fmla="*/ 9862 w 139969"/>
                <a:gd name="connsiteY1142" fmla="*/ 239220 h 286300"/>
                <a:gd name="connsiteX1143" fmla="*/ 9862 w 139969"/>
                <a:gd name="connsiteY1143" fmla="*/ 238584 h 286300"/>
                <a:gd name="connsiteX1144" fmla="*/ 10498 w 139969"/>
                <a:gd name="connsiteY1144" fmla="*/ 237948 h 286300"/>
                <a:gd name="connsiteX1145" fmla="*/ 13361 w 139969"/>
                <a:gd name="connsiteY1145" fmla="*/ 237311 h 286300"/>
                <a:gd name="connsiteX1146" fmla="*/ 13361 w 139969"/>
                <a:gd name="connsiteY1146" fmla="*/ 237948 h 286300"/>
                <a:gd name="connsiteX1147" fmla="*/ 13043 w 139969"/>
                <a:gd name="connsiteY1147" fmla="*/ 239856 h 286300"/>
                <a:gd name="connsiteX1148" fmla="*/ 12724 w 139969"/>
                <a:gd name="connsiteY1148" fmla="*/ 240811 h 286300"/>
                <a:gd name="connsiteX1149" fmla="*/ 13043 w 139969"/>
                <a:gd name="connsiteY1149" fmla="*/ 241765 h 286300"/>
                <a:gd name="connsiteX1150" fmla="*/ 12088 w 139969"/>
                <a:gd name="connsiteY1150" fmla="*/ 243674 h 286300"/>
                <a:gd name="connsiteX1151" fmla="*/ 11770 w 139969"/>
                <a:gd name="connsiteY1151" fmla="*/ 243992 h 286300"/>
                <a:gd name="connsiteX1152" fmla="*/ 11452 w 139969"/>
                <a:gd name="connsiteY1152" fmla="*/ 243037 h 286300"/>
                <a:gd name="connsiteX1153" fmla="*/ 11452 w 139969"/>
                <a:gd name="connsiteY1153" fmla="*/ 242719 h 286300"/>
                <a:gd name="connsiteX1154" fmla="*/ 11770 w 139969"/>
                <a:gd name="connsiteY1154" fmla="*/ 242083 h 286300"/>
                <a:gd name="connsiteX1155" fmla="*/ 11134 w 139969"/>
                <a:gd name="connsiteY1155" fmla="*/ 240493 h 286300"/>
                <a:gd name="connsiteX1156" fmla="*/ 11770 w 139969"/>
                <a:gd name="connsiteY1156" fmla="*/ 239220 h 286300"/>
                <a:gd name="connsiteX1157" fmla="*/ 13361 w 139969"/>
                <a:gd name="connsiteY1157" fmla="*/ 237311 h 286300"/>
                <a:gd name="connsiteX1158" fmla="*/ 12088 w 139969"/>
                <a:gd name="connsiteY1158" fmla="*/ 257671 h 286300"/>
                <a:gd name="connsiteX1159" fmla="*/ 13043 w 139969"/>
                <a:gd name="connsiteY1159" fmla="*/ 256080 h 286300"/>
                <a:gd name="connsiteX1160" fmla="*/ 12724 w 139969"/>
                <a:gd name="connsiteY1160" fmla="*/ 257352 h 286300"/>
                <a:gd name="connsiteX1161" fmla="*/ 13043 w 139969"/>
                <a:gd name="connsiteY1161" fmla="*/ 258307 h 286300"/>
                <a:gd name="connsiteX1162" fmla="*/ 13043 w 139969"/>
                <a:gd name="connsiteY1162" fmla="*/ 258625 h 286300"/>
                <a:gd name="connsiteX1163" fmla="*/ 12088 w 139969"/>
                <a:gd name="connsiteY1163" fmla="*/ 257671 h 286300"/>
                <a:gd name="connsiteX1164" fmla="*/ 13361 w 139969"/>
                <a:gd name="connsiteY1164" fmla="*/ 236675 h 286300"/>
                <a:gd name="connsiteX1165" fmla="*/ 13361 w 139969"/>
                <a:gd name="connsiteY1165" fmla="*/ 235403 h 286300"/>
                <a:gd name="connsiteX1166" fmla="*/ 13679 w 139969"/>
                <a:gd name="connsiteY1166" fmla="*/ 235403 h 286300"/>
                <a:gd name="connsiteX1167" fmla="*/ 13997 w 139969"/>
                <a:gd name="connsiteY1167" fmla="*/ 235721 h 286300"/>
                <a:gd name="connsiteX1168" fmla="*/ 13361 w 139969"/>
                <a:gd name="connsiteY1168" fmla="*/ 236675 h 286300"/>
                <a:gd name="connsiteX1169" fmla="*/ 16224 w 139969"/>
                <a:gd name="connsiteY1169" fmla="*/ 237311 h 286300"/>
                <a:gd name="connsiteX1170" fmla="*/ 16224 w 139969"/>
                <a:gd name="connsiteY1170" fmla="*/ 237948 h 286300"/>
                <a:gd name="connsiteX1171" fmla="*/ 15906 w 139969"/>
                <a:gd name="connsiteY1171" fmla="*/ 242083 h 286300"/>
                <a:gd name="connsiteX1172" fmla="*/ 14951 w 139969"/>
                <a:gd name="connsiteY1172" fmla="*/ 243674 h 286300"/>
                <a:gd name="connsiteX1173" fmla="*/ 14633 w 139969"/>
                <a:gd name="connsiteY1173" fmla="*/ 243674 h 286300"/>
                <a:gd name="connsiteX1174" fmla="*/ 13679 w 139969"/>
                <a:gd name="connsiteY1174" fmla="*/ 242719 h 286300"/>
                <a:gd name="connsiteX1175" fmla="*/ 13997 w 139969"/>
                <a:gd name="connsiteY1175" fmla="*/ 242083 h 286300"/>
                <a:gd name="connsiteX1176" fmla="*/ 14633 w 139969"/>
                <a:gd name="connsiteY1176" fmla="*/ 240493 h 286300"/>
                <a:gd name="connsiteX1177" fmla="*/ 16224 w 139969"/>
                <a:gd name="connsiteY1177" fmla="*/ 237311 h 286300"/>
                <a:gd name="connsiteX1178" fmla="*/ 13997 w 139969"/>
                <a:gd name="connsiteY1178" fmla="*/ 233176 h 286300"/>
                <a:gd name="connsiteX1179" fmla="*/ 14951 w 139969"/>
                <a:gd name="connsiteY1179" fmla="*/ 232222 h 286300"/>
                <a:gd name="connsiteX1180" fmla="*/ 15270 w 139969"/>
                <a:gd name="connsiteY1180" fmla="*/ 232222 h 286300"/>
                <a:gd name="connsiteX1181" fmla="*/ 15270 w 139969"/>
                <a:gd name="connsiteY1181" fmla="*/ 232540 h 286300"/>
                <a:gd name="connsiteX1182" fmla="*/ 14315 w 139969"/>
                <a:gd name="connsiteY1182" fmla="*/ 233494 h 286300"/>
                <a:gd name="connsiteX1183" fmla="*/ 13997 w 139969"/>
                <a:gd name="connsiteY1183" fmla="*/ 233176 h 286300"/>
                <a:gd name="connsiteX1184" fmla="*/ 18451 w 139969"/>
                <a:gd name="connsiteY1184" fmla="*/ 230313 h 286300"/>
                <a:gd name="connsiteX1185" fmla="*/ 18769 w 139969"/>
                <a:gd name="connsiteY1185" fmla="*/ 230949 h 286300"/>
                <a:gd name="connsiteX1186" fmla="*/ 18133 w 139969"/>
                <a:gd name="connsiteY1186" fmla="*/ 234130 h 286300"/>
                <a:gd name="connsiteX1187" fmla="*/ 17178 w 139969"/>
                <a:gd name="connsiteY1187" fmla="*/ 234448 h 286300"/>
                <a:gd name="connsiteX1188" fmla="*/ 16860 w 139969"/>
                <a:gd name="connsiteY1188" fmla="*/ 233812 h 286300"/>
                <a:gd name="connsiteX1189" fmla="*/ 17178 w 139969"/>
                <a:gd name="connsiteY1189" fmla="*/ 233176 h 286300"/>
                <a:gd name="connsiteX1190" fmla="*/ 17178 w 139969"/>
                <a:gd name="connsiteY1190" fmla="*/ 232858 h 286300"/>
                <a:gd name="connsiteX1191" fmla="*/ 17496 w 139969"/>
                <a:gd name="connsiteY1191" fmla="*/ 231585 h 286300"/>
                <a:gd name="connsiteX1192" fmla="*/ 16860 w 139969"/>
                <a:gd name="connsiteY1192" fmla="*/ 230631 h 286300"/>
                <a:gd name="connsiteX1193" fmla="*/ 16860 w 139969"/>
                <a:gd name="connsiteY1193" fmla="*/ 229995 h 286300"/>
                <a:gd name="connsiteX1194" fmla="*/ 17496 w 139969"/>
                <a:gd name="connsiteY1194" fmla="*/ 229359 h 286300"/>
                <a:gd name="connsiteX1195" fmla="*/ 17815 w 139969"/>
                <a:gd name="connsiteY1195" fmla="*/ 228722 h 286300"/>
                <a:gd name="connsiteX1196" fmla="*/ 17178 w 139969"/>
                <a:gd name="connsiteY1196" fmla="*/ 227768 h 286300"/>
                <a:gd name="connsiteX1197" fmla="*/ 16542 w 139969"/>
                <a:gd name="connsiteY1197" fmla="*/ 227132 h 286300"/>
                <a:gd name="connsiteX1198" fmla="*/ 17178 w 139969"/>
                <a:gd name="connsiteY1198" fmla="*/ 226496 h 286300"/>
                <a:gd name="connsiteX1199" fmla="*/ 17815 w 139969"/>
                <a:gd name="connsiteY1199" fmla="*/ 226496 h 286300"/>
                <a:gd name="connsiteX1200" fmla="*/ 19405 w 139969"/>
                <a:gd name="connsiteY1200" fmla="*/ 222042 h 286300"/>
                <a:gd name="connsiteX1201" fmla="*/ 20996 w 139969"/>
                <a:gd name="connsiteY1201" fmla="*/ 219815 h 286300"/>
                <a:gd name="connsiteX1202" fmla="*/ 21314 w 139969"/>
                <a:gd name="connsiteY1202" fmla="*/ 219815 h 286300"/>
                <a:gd name="connsiteX1203" fmla="*/ 21632 w 139969"/>
                <a:gd name="connsiteY1203" fmla="*/ 220451 h 286300"/>
                <a:gd name="connsiteX1204" fmla="*/ 20677 w 139969"/>
                <a:gd name="connsiteY1204" fmla="*/ 222996 h 286300"/>
                <a:gd name="connsiteX1205" fmla="*/ 19723 w 139969"/>
                <a:gd name="connsiteY1205" fmla="*/ 225541 h 286300"/>
                <a:gd name="connsiteX1206" fmla="*/ 20041 w 139969"/>
                <a:gd name="connsiteY1206" fmla="*/ 225859 h 286300"/>
                <a:gd name="connsiteX1207" fmla="*/ 19405 w 139969"/>
                <a:gd name="connsiteY1207" fmla="*/ 227450 h 286300"/>
                <a:gd name="connsiteX1208" fmla="*/ 19405 w 139969"/>
                <a:gd name="connsiteY1208" fmla="*/ 228722 h 286300"/>
                <a:gd name="connsiteX1209" fmla="*/ 18451 w 139969"/>
                <a:gd name="connsiteY1209" fmla="*/ 230313 h 286300"/>
                <a:gd name="connsiteX1210" fmla="*/ 19723 w 139969"/>
                <a:gd name="connsiteY1210" fmla="*/ 198184 h 286300"/>
                <a:gd name="connsiteX1211" fmla="*/ 20677 w 139969"/>
                <a:gd name="connsiteY1211" fmla="*/ 199138 h 286300"/>
                <a:gd name="connsiteX1212" fmla="*/ 20996 w 139969"/>
                <a:gd name="connsiteY1212" fmla="*/ 199774 h 286300"/>
                <a:gd name="connsiteX1213" fmla="*/ 20677 w 139969"/>
                <a:gd name="connsiteY1213" fmla="*/ 200092 h 286300"/>
                <a:gd name="connsiteX1214" fmla="*/ 19723 w 139969"/>
                <a:gd name="connsiteY1214" fmla="*/ 202001 h 286300"/>
                <a:gd name="connsiteX1215" fmla="*/ 19405 w 139969"/>
                <a:gd name="connsiteY1215" fmla="*/ 202955 h 286300"/>
                <a:gd name="connsiteX1216" fmla="*/ 19087 w 139969"/>
                <a:gd name="connsiteY1216" fmla="*/ 202637 h 286300"/>
                <a:gd name="connsiteX1217" fmla="*/ 18133 w 139969"/>
                <a:gd name="connsiteY1217" fmla="*/ 201365 h 286300"/>
                <a:gd name="connsiteX1218" fmla="*/ 18451 w 139969"/>
                <a:gd name="connsiteY1218" fmla="*/ 200092 h 286300"/>
                <a:gd name="connsiteX1219" fmla="*/ 19723 w 139969"/>
                <a:gd name="connsiteY1219" fmla="*/ 198184 h 286300"/>
                <a:gd name="connsiteX1220" fmla="*/ 23858 w 139969"/>
                <a:gd name="connsiteY1220" fmla="*/ 228086 h 286300"/>
                <a:gd name="connsiteX1221" fmla="*/ 24813 w 139969"/>
                <a:gd name="connsiteY1221" fmla="*/ 228086 h 286300"/>
                <a:gd name="connsiteX1222" fmla="*/ 23540 w 139969"/>
                <a:gd name="connsiteY1222" fmla="*/ 229041 h 286300"/>
                <a:gd name="connsiteX1223" fmla="*/ 22586 w 139969"/>
                <a:gd name="connsiteY1223" fmla="*/ 228722 h 286300"/>
                <a:gd name="connsiteX1224" fmla="*/ 22268 w 139969"/>
                <a:gd name="connsiteY1224" fmla="*/ 228722 h 286300"/>
                <a:gd name="connsiteX1225" fmla="*/ 21314 w 139969"/>
                <a:gd name="connsiteY1225" fmla="*/ 229359 h 286300"/>
                <a:gd name="connsiteX1226" fmla="*/ 20677 w 139969"/>
                <a:gd name="connsiteY1226" fmla="*/ 232222 h 286300"/>
                <a:gd name="connsiteX1227" fmla="*/ 19405 w 139969"/>
                <a:gd name="connsiteY1227" fmla="*/ 236357 h 286300"/>
                <a:gd name="connsiteX1228" fmla="*/ 19087 w 139969"/>
                <a:gd name="connsiteY1228" fmla="*/ 236675 h 286300"/>
                <a:gd name="connsiteX1229" fmla="*/ 19087 w 139969"/>
                <a:gd name="connsiteY1229" fmla="*/ 236039 h 286300"/>
                <a:gd name="connsiteX1230" fmla="*/ 19723 w 139969"/>
                <a:gd name="connsiteY1230" fmla="*/ 232540 h 286300"/>
                <a:gd name="connsiteX1231" fmla="*/ 22268 w 139969"/>
                <a:gd name="connsiteY1231" fmla="*/ 225223 h 286300"/>
                <a:gd name="connsiteX1232" fmla="*/ 22904 w 139969"/>
                <a:gd name="connsiteY1232" fmla="*/ 224905 h 286300"/>
                <a:gd name="connsiteX1233" fmla="*/ 23222 w 139969"/>
                <a:gd name="connsiteY1233" fmla="*/ 225223 h 286300"/>
                <a:gd name="connsiteX1234" fmla="*/ 24177 w 139969"/>
                <a:gd name="connsiteY1234" fmla="*/ 226496 h 286300"/>
                <a:gd name="connsiteX1235" fmla="*/ 23858 w 139969"/>
                <a:gd name="connsiteY1235" fmla="*/ 227450 h 286300"/>
                <a:gd name="connsiteX1236" fmla="*/ 23858 w 139969"/>
                <a:gd name="connsiteY1236" fmla="*/ 228086 h 286300"/>
                <a:gd name="connsiteX1237" fmla="*/ 23222 w 139969"/>
                <a:gd name="connsiteY1237" fmla="*/ 208045 h 286300"/>
                <a:gd name="connsiteX1238" fmla="*/ 21950 w 139969"/>
                <a:gd name="connsiteY1238" fmla="*/ 208999 h 286300"/>
                <a:gd name="connsiteX1239" fmla="*/ 21632 w 139969"/>
                <a:gd name="connsiteY1239" fmla="*/ 209636 h 286300"/>
                <a:gd name="connsiteX1240" fmla="*/ 21950 w 139969"/>
                <a:gd name="connsiteY1240" fmla="*/ 209954 h 286300"/>
                <a:gd name="connsiteX1241" fmla="*/ 23222 w 139969"/>
                <a:gd name="connsiteY1241" fmla="*/ 208045 h 286300"/>
                <a:gd name="connsiteX1242" fmla="*/ 25449 w 139969"/>
                <a:gd name="connsiteY1242" fmla="*/ 208681 h 286300"/>
                <a:gd name="connsiteX1243" fmla="*/ 24495 w 139969"/>
                <a:gd name="connsiteY1243" fmla="*/ 208045 h 286300"/>
                <a:gd name="connsiteX1244" fmla="*/ 24177 w 139969"/>
                <a:gd name="connsiteY1244" fmla="*/ 208363 h 286300"/>
                <a:gd name="connsiteX1245" fmla="*/ 23540 w 139969"/>
                <a:gd name="connsiteY1245" fmla="*/ 210272 h 286300"/>
                <a:gd name="connsiteX1246" fmla="*/ 23858 w 139969"/>
                <a:gd name="connsiteY1246" fmla="*/ 210272 h 286300"/>
                <a:gd name="connsiteX1247" fmla="*/ 25449 w 139969"/>
                <a:gd name="connsiteY1247" fmla="*/ 209318 h 286300"/>
                <a:gd name="connsiteX1248" fmla="*/ 25449 w 139969"/>
                <a:gd name="connsiteY1248" fmla="*/ 208681 h 286300"/>
                <a:gd name="connsiteX1249" fmla="*/ 25767 w 139969"/>
                <a:gd name="connsiteY1249" fmla="*/ 217588 h 286300"/>
                <a:gd name="connsiteX1250" fmla="*/ 25767 w 139969"/>
                <a:gd name="connsiteY1250" fmla="*/ 218543 h 286300"/>
                <a:gd name="connsiteX1251" fmla="*/ 25131 w 139969"/>
                <a:gd name="connsiteY1251" fmla="*/ 218225 h 286300"/>
                <a:gd name="connsiteX1252" fmla="*/ 25131 w 139969"/>
                <a:gd name="connsiteY1252" fmla="*/ 217588 h 286300"/>
                <a:gd name="connsiteX1253" fmla="*/ 25767 w 139969"/>
                <a:gd name="connsiteY1253" fmla="*/ 217588 h 286300"/>
                <a:gd name="connsiteX1254" fmla="*/ 26721 w 139969"/>
                <a:gd name="connsiteY1254" fmla="*/ 219497 h 286300"/>
                <a:gd name="connsiteX1255" fmla="*/ 27676 w 139969"/>
                <a:gd name="connsiteY1255" fmla="*/ 219815 h 286300"/>
                <a:gd name="connsiteX1256" fmla="*/ 27040 w 139969"/>
                <a:gd name="connsiteY1256" fmla="*/ 220451 h 286300"/>
                <a:gd name="connsiteX1257" fmla="*/ 26085 w 139969"/>
                <a:gd name="connsiteY1257" fmla="*/ 220133 h 286300"/>
                <a:gd name="connsiteX1258" fmla="*/ 26403 w 139969"/>
                <a:gd name="connsiteY1258" fmla="*/ 219497 h 286300"/>
                <a:gd name="connsiteX1259" fmla="*/ 26721 w 139969"/>
                <a:gd name="connsiteY1259" fmla="*/ 219497 h 286300"/>
                <a:gd name="connsiteX1260" fmla="*/ 27358 w 139969"/>
                <a:gd name="connsiteY1260" fmla="*/ 200729 h 286300"/>
                <a:gd name="connsiteX1261" fmla="*/ 27994 w 139969"/>
                <a:gd name="connsiteY1261" fmla="*/ 201047 h 286300"/>
                <a:gd name="connsiteX1262" fmla="*/ 28630 w 139969"/>
                <a:gd name="connsiteY1262" fmla="*/ 201047 h 286300"/>
                <a:gd name="connsiteX1263" fmla="*/ 29267 w 139969"/>
                <a:gd name="connsiteY1263" fmla="*/ 200410 h 286300"/>
                <a:gd name="connsiteX1264" fmla="*/ 28948 w 139969"/>
                <a:gd name="connsiteY1264" fmla="*/ 200092 h 286300"/>
                <a:gd name="connsiteX1265" fmla="*/ 28948 w 139969"/>
                <a:gd name="connsiteY1265" fmla="*/ 199138 h 286300"/>
                <a:gd name="connsiteX1266" fmla="*/ 29585 w 139969"/>
                <a:gd name="connsiteY1266" fmla="*/ 199138 h 286300"/>
                <a:gd name="connsiteX1267" fmla="*/ 30221 w 139969"/>
                <a:gd name="connsiteY1267" fmla="*/ 198820 h 286300"/>
                <a:gd name="connsiteX1268" fmla="*/ 31175 w 139969"/>
                <a:gd name="connsiteY1268" fmla="*/ 197866 h 286300"/>
                <a:gd name="connsiteX1269" fmla="*/ 31811 w 139969"/>
                <a:gd name="connsiteY1269" fmla="*/ 196593 h 286300"/>
                <a:gd name="connsiteX1270" fmla="*/ 31175 w 139969"/>
                <a:gd name="connsiteY1270" fmla="*/ 196275 h 286300"/>
                <a:gd name="connsiteX1271" fmla="*/ 30539 w 139969"/>
                <a:gd name="connsiteY1271" fmla="*/ 195639 h 286300"/>
                <a:gd name="connsiteX1272" fmla="*/ 29903 w 139969"/>
                <a:gd name="connsiteY1272" fmla="*/ 195957 h 286300"/>
                <a:gd name="connsiteX1273" fmla="*/ 29903 w 139969"/>
                <a:gd name="connsiteY1273" fmla="*/ 196593 h 286300"/>
                <a:gd name="connsiteX1274" fmla="*/ 27358 w 139969"/>
                <a:gd name="connsiteY1274" fmla="*/ 200729 h 286300"/>
                <a:gd name="connsiteX1275" fmla="*/ 31811 w 139969"/>
                <a:gd name="connsiteY1275" fmla="*/ 209636 h 286300"/>
                <a:gd name="connsiteX1276" fmla="*/ 31493 w 139969"/>
                <a:gd name="connsiteY1276" fmla="*/ 210590 h 286300"/>
                <a:gd name="connsiteX1277" fmla="*/ 31811 w 139969"/>
                <a:gd name="connsiteY1277" fmla="*/ 211226 h 286300"/>
                <a:gd name="connsiteX1278" fmla="*/ 30221 w 139969"/>
                <a:gd name="connsiteY1278" fmla="*/ 214407 h 286300"/>
                <a:gd name="connsiteX1279" fmla="*/ 29267 w 139969"/>
                <a:gd name="connsiteY1279" fmla="*/ 215362 h 286300"/>
                <a:gd name="connsiteX1280" fmla="*/ 28630 w 139969"/>
                <a:gd name="connsiteY1280" fmla="*/ 215044 h 286300"/>
                <a:gd name="connsiteX1281" fmla="*/ 28312 w 139969"/>
                <a:gd name="connsiteY1281" fmla="*/ 214089 h 286300"/>
                <a:gd name="connsiteX1282" fmla="*/ 27358 w 139969"/>
                <a:gd name="connsiteY1282" fmla="*/ 213453 h 286300"/>
                <a:gd name="connsiteX1283" fmla="*/ 27676 w 139969"/>
                <a:gd name="connsiteY1283" fmla="*/ 213135 h 286300"/>
                <a:gd name="connsiteX1284" fmla="*/ 29267 w 139969"/>
                <a:gd name="connsiteY1284" fmla="*/ 209954 h 286300"/>
                <a:gd name="connsiteX1285" fmla="*/ 29903 w 139969"/>
                <a:gd name="connsiteY1285" fmla="*/ 208363 h 286300"/>
                <a:gd name="connsiteX1286" fmla="*/ 31493 w 139969"/>
                <a:gd name="connsiteY1286" fmla="*/ 209318 h 286300"/>
                <a:gd name="connsiteX1287" fmla="*/ 31811 w 139969"/>
                <a:gd name="connsiteY1287" fmla="*/ 209636 h 286300"/>
                <a:gd name="connsiteX1288" fmla="*/ 29585 w 139969"/>
                <a:gd name="connsiteY1288" fmla="*/ 184187 h 286300"/>
                <a:gd name="connsiteX1289" fmla="*/ 28948 w 139969"/>
                <a:gd name="connsiteY1289" fmla="*/ 184823 h 286300"/>
                <a:gd name="connsiteX1290" fmla="*/ 29585 w 139969"/>
                <a:gd name="connsiteY1290" fmla="*/ 185141 h 286300"/>
                <a:gd name="connsiteX1291" fmla="*/ 29903 w 139969"/>
                <a:gd name="connsiteY1291" fmla="*/ 184505 h 286300"/>
                <a:gd name="connsiteX1292" fmla="*/ 29585 w 139969"/>
                <a:gd name="connsiteY1292" fmla="*/ 184187 h 286300"/>
                <a:gd name="connsiteX1293" fmla="*/ 30857 w 139969"/>
                <a:gd name="connsiteY1293" fmla="*/ 180051 h 286300"/>
                <a:gd name="connsiteX1294" fmla="*/ 30539 w 139969"/>
                <a:gd name="connsiteY1294" fmla="*/ 179733 h 286300"/>
                <a:gd name="connsiteX1295" fmla="*/ 29585 w 139969"/>
                <a:gd name="connsiteY1295" fmla="*/ 181324 h 286300"/>
                <a:gd name="connsiteX1296" fmla="*/ 29585 w 139969"/>
                <a:gd name="connsiteY1296" fmla="*/ 181642 h 286300"/>
                <a:gd name="connsiteX1297" fmla="*/ 30857 w 139969"/>
                <a:gd name="connsiteY1297" fmla="*/ 180051 h 286300"/>
                <a:gd name="connsiteX1298" fmla="*/ 30857 w 139969"/>
                <a:gd name="connsiteY1298" fmla="*/ 184505 h 286300"/>
                <a:gd name="connsiteX1299" fmla="*/ 31493 w 139969"/>
                <a:gd name="connsiteY1299" fmla="*/ 184505 h 286300"/>
                <a:gd name="connsiteX1300" fmla="*/ 32130 w 139969"/>
                <a:gd name="connsiteY1300" fmla="*/ 185459 h 286300"/>
                <a:gd name="connsiteX1301" fmla="*/ 32130 w 139969"/>
                <a:gd name="connsiteY1301" fmla="*/ 185777 h 286300"/>
                <a:gd name="connsiteX1302" fmla="*/ 32448 w 139969"/>
                <a:gd name="connsiteY1302" fmla="*/ 185777 h 286300"/>
                <a:gd name="connsiteX1303" fmla="*/ 33402 w 139969"/>
                <a:gd name="connsiteY1303" fmla="*/ 183869 h 286300"/>
                <a:gd name="connsiteX1304" fmla="*/ 31811 w 139969"/>
                <a:gd name="connsiteY1304" fmla="*/ 183869 h 286300"/>
                <a:gd name="connsiteX1305" fmla="*/ 31175 w 139969"/>
                <a:gd name="connsiteY1305" fmla="*/ 183551 h 286300"/>
                <a:gd name="connsiteX1306" fmla="*/ 30539 w 139969"/>
                <a:gd name="connsiteY1306" fmla="*/ 184187 h 286300"/>
                <a:gd name="connsiteX1307" fmla="*/ 30857 w 139969"/>
                <a:gd name="connsiteY1307" fmla="*/ 184505 h 286300"/>
                <a:gd name="connsiteX1308" fmla="*/ 31175 w 139969"/>
                <a:gd name="connsiteY1308" fmla="*/ 178461 h 286300"/>
                <a:gd name="connsiteX1309" fmla="*/ 31811 w 139969"/>
                <a:gd name="connsiteY1309" fmla="*/ 178461 h 286300"/>
                <a:gd name="connsiteX1310" fmla="*/ 31811 w 139969"/>
                <a:gd name="connsiteY1310" fmla="*/ 177506 h 286300"/>
                <a:gd name="connsiteX1311" fmla="*/ 31493 w 139969"/>
                <a:gd name="connsiteY1311" fmla="*/ 178143 h 286300"/>
                <a:gd name="connsiteX1312" fmla="*/ 31175 w 139969"/>
                <a:gd name="connsiteY1312" fmla="*/ 178461 h 286300"/>
                <a:gd name="connsiteX1313" fmla="*/ 32766 w 139969"/>
                <a:gd name="connsiteY1313" fmla="*/ 180688 h 286300"/>
                <a:gd name="connsiteX1314" fmla="*/ 33084 w 139969"/>
                <a:gd name="connsiteY1314" fmla="*/ 181960 h 286300"/>
                <a:gd name="connsiteX1315" fmla="*/ 33402 w 139969"/>
                <a:gd name="connsiteY1315" fmla="*/ 183869 h 286300"/>
                <a:gd name="connsiteX1316" fmla="*/ 34674 w 139969"/>
                <a:gd name="connsiteY1316" fmla="*/ 182914 h 286300"/>
                <a:gd name="connsiteX1317" fmla="*/ 36265 w 139969"/>
                <a:gd name="connsiteY1317" fmla="*/ 180688 h 286300"/>
                <a:gd name="connsiteX1318" fmla="*/ 37537 w 139969"/>
                <a:gd name="connsiteY1318" fmla="*/ 179097 h 286300"/>
                <a:gd name="connsiteX1319" fmla="*/ 37537 w 139969"/>
                <a:gd name="connsiteY1319" fmla="*/ 178779 h 286300"/>
                <a:gd name="connsiteX1320" fmla="*/ 37219 w 139969"/>
                <a:gd name="connsiteY1320" fmla="*/ 178779 h 286300"/>
                <a:gd name="connsiteX1321" fmla="*/ 34674 w 139969"/>
                <a:gd name="connsiteY1321" fmla="*/ 179733 h 286300"/>
                <a:gd name="connsiteX1322" fmla="*/ 33402 w 139969"/>
                <a:gd name="connsiteY1322" fmla="*/ 179733 h 286300"/>
                <a:gd name="connsiteX1323" fmla="*/ 32766 w 139969"/>
                <a:gd name="connsiteY1323" fmla="*/ 180688 h 286300"/>
                <a:gd name="connsiteX1324" fmla="*/ 37855 w 139969"/>
                <a:gd name="connsiteY1324" fmla="*/ 183551 h 286300"/>
                <a:gd name="connsiteX1325" fmla="*/ 36901 w 139969"/>
                <a:gd name="connsiteY1325" fmla="*/ 184823 h 286300"/>
                <a:gd name="connsiteX1326" fmla="*/ 37219 w 139969"/>
                <a:gd name="connsiteY1326" fmla="*/ 185777 h 286300"/>
                <a:gd name="connsiteX1327" fmla="*/ 38173 w 139969"/>
                <a:gd name="connsiteY1327" fmla="*/ 183869 h 286300"/>
                <a:gd name="connsiteX1328" fmla="*/ 37855 w 139969"/>
                <a:gd name="connsiteY1328" fmla="*/ 183551 h 286300"/>
                <a:gd name="connsiteX1329" fmla="*/ 37537 w 139969"/>
                <a:gd name="connsiteY1329" fmla="*/ 191821 h 286300"/>
                <a:gd name="connsiteX1330" fmla="*/ 37537 w 139969"/>
                <a:gd name="connsiteY1330" fmla="*/ 192458 h 286300"/>
                <a:gd name="connsiteX1331" fmla="*/ 36901 w 139969"/>
                <a:gd name="connsiteY1331" fmla="*/ 191821 h 286300"/>
                <a:gd name="connsiteX1332" fmla="*/ 36901 w 139969"/>
                <a:gd name="connsiteY1332" fmla="*/ 191185 h 286300"/>
                <a:gd name="connsiteX1333" fmla="*/ 37537 w 139969"/>
                <a:gd name="connsiteY1333" fmla="*/ 191821 h 286300"/>
                <a:gd name="connsiteX1334" fmla="*/ 37855 w 139969"/>
                <a:gd name="connsiteY1334" fmla="*/ 181324 h 286300"/>
                <a:gd name="connsiteX1335" fmla="*/ 38810 w 139969"/>
                <a:gd name="connsiteY1335" fmla="*/ 180688 h 286300"/>
                <a:gd name="connsiteX1336" fmla="*/ 37855 w 139969"/>
                <a:gd name="connsiteY1336" fmla="*/ 180688 h 286300"/>
                <a:gd name="connsiteX1337" fmla="*/ 37855 w 139969"/>
                <a:gd name="connsiteY1337" fmla="*/ 181324 h 286300"/>
                <a:gd name="connsiteX1338" fmla="*/ 39128 w 139969"/>
                <a:gd name="connsiteY1338" fmla="*/ 176870 h 286300"/>
                <a:gd name="connsiteX1339" fmla="*/ 39446 w 139969"/>
                <a:gd name="connsiteY1339" fmla="*/ 176870 h 286300"/>
                <a:gd name="connsiteX1340" fmla="*/ 39128 w 139969"/>
                <a:gd name="connsiteY1340" fmla="*/ 176552 h 286300"/>
                <a:gd name="connsiteX1341" fmla="*/ 39128 w 139969"/>
                <a:gd name="connsiteY1341" fmla="*/ 176870 h 286300"/>
                <a:gd name="connsiteX1342" fmla="*/ 39128 w 139969"/>
                <a:gd name="connsiteY1342" fmla="*/ 181324 h 286300"/>
                <a:gd name="connsiteX1343" fmla="*/ 39764 w 139969"/>
                <a:gd name="connsiteY1343" fmla="*/ 183232 h 286300"/>
                <a:gd name="connsiteX1344" fmla="*/ 40082 w 139969"/>
                <a:gd name="connsiteY1344" fmla="*/ 183551 h 286300"/>
                <a:gd name="connsiteX1345" fmla="*/ 40718 w 139969"/>
                <a:gd name="connsiteY1345" fmla="*/ 183551 h 286300"/>
                <a:gd name="connsiteX1346" fmla="*/ 41673 w 139969"/>
                <a:gd name="connsiteY1346" fmla="*/ 181960 h 286300"/>
                <a:gd name="connsiteX1347" fmla="*/ 42945 w 139969"/>
                <a:gd name="connsiteY1347" fmla="*/ 181006 h 286300"/>
                <a:gd name="connsiteX1348" fmla="*/ 43264 w 139969"/>
                <a:gd name="connsiteY1348" fmla="*/ 179415 h 286300"/>
                <a:gd name="connsiteX1349" fmla="*/ 43900 w 139969"/>
                <a:gd name="connsiteY1349" fmla="*/ 178779 h 286300"/>
                <a:gd name="connsiteX1350" fmla="*/ 43582 w 139969"/>
                <a:gd name="connsiteY1350" fmla="*/ 178143 h 286300"/>
                <a:gd name="connsiteX1351" fmla="*/ 42627 w 139969"/>
                <a:gd name="connsiteY1351" fmla="*/ 177506 h 286300"/>
                <a:gd name="connsiteX1352" fmla="*/ 41673 w 139969"/>
                <a:gd name="connsiteY1352" fmla="*/ 177825 h 286300"/>
                <a:gd name="connsiteX1353" fmla="*/ 41355 w 139969"/>
                <a:gd name="connsiteY1353" fmla="*/ 179097 h 286300"/>
                <a:gd name="connsiteX1354" fmla="*/ 41355 w 139969"/>
                <a:gd name="connsiteY1354" fmla="*/ 179733 h 286300"/>
                <a:gd name="connsiteX1355" fmla="*/ 40718 w 139969"/>
                <a:gd name="connsiteY1355" fmla="*/ 180369 h 286300"/>
                <a:gd name="connsiteX1356" fmla="*/ 40082 w 139969"/>
                <a:gd name="connsiteY1356" fmla="*/ 180369 h 286300"/>
                <a:gd name="connsiteX1357" fmla="*/ 39128 w 139969"/>
                <a:gd name="connsiteY1357" fmla="*/ 181324 h 286300"/>
                <a:gd name="connsiteX1358" fmla="*/ 39764 w 139969"/>
                <a:gd name="connsiteY1358" fmla="*/ 195003 h 286300"/>
                <a:gd name="connsiteX1359" fmla="*/ 39446 w 139969"/>
                <a:gd name="connsiteY1359" fmla="*/ 195957 h 286300"/>
                <a:gd name="connsiteX1360" fmla="*/ 39128 w 139969"/>
                <a:gd name="connsiteY1360" fmla="*/ 195957 h 286300"/>
                <a:gd name="connsiteX1361" fmla="*/ 39128 w 139969"/>
                <a:gd name="connsiteY1361" fmla="*/ 195003 h 286300"/>
                <a:gd name="connsiteX1362" fmla="*/ 39764 w 139969"/>
                <a:gd name="connsiteY1362" fmla="*/ 195003 h 286300"/>
                <a:gd name="connsiteX1363" fmla="*/ 40400 w 139969"/>
                <a:gd name="connsiteY1363" fmla="*/ 185777 h 286300"/>
                <a:gd name="connsiteX1364" fmla="*/ 40718 w 139969"/>
                <a:gd name="connsiteY1364" fmla="*/ 186095 h 286300"/>
                <a:gd name="connsiteX1365" fmla="*/ 40718 w 139969"/>
                <a:gd name="connsiteY1365" fmla="*/ 185459 h 286300"/>
                <a:gd name="connsiteX1366" fmla="*/ 40400 w 139969"/>
                <a:gd name="connsiteY1366" fmla="*/ 185777 h 286300"/>
                <a:gd name="connsiteX1367" fmla="*/ 41036 w 139969"/>
                <a:gd name="connsiteY1367" fmla="*/ 165418 h 286300"/>
                <a:gd name="connsiteX1368" fmla="*/ 41036 w 139969"/>
                <a:gd name="connsiteY1368" fmla="*/ 165736 h 286300"/>
                <a:gd name="connsiteX1369" fmla="*/ 41673 w 139969"/>
                <a:gd name="connsiteY1369" fmla="*/ 166054 h 286300"/>
                <a:gd name="connsiteX1370" fmla="*/ 41991 w 139969"/>
                <a:gd name="connsiteY1370" fmla="*/ 165418 h 286300"/>
                <a:gd name="connsiteX1371" fmla="*/ 41673 w 139969"/>
                <a:gd name="connsiteY1371" fmla="*/ 165100 h 286300"/>
                <a:gd name="connsiteX1372" fmla="*/ 41036 w 139969"/>
                <a:gd name="connsiteY1372" fmla="*/ 165418 h 286300"/>
                <a:gd name="connsiteX1373" fmla="*/ 41991 w 139969"/>
                <a:gd name="connsiteY1373" fmla="*/ 169872 h 286300"/>
                <a:gd name="connsiteX1374" fmla="*/ 41991 w 139969"/>
                <a:gd name="connsiteY1374" fmla="*/ 170190 h 286300"/>
                <a:gd name="connsiteX1375" fmla="*/ 42627 w 139969"/>
                <a:gd name="connsiteY1375" fmla="*/ 170190 h 286300"/>
                <a:gd name="connsiteX1376" fmla="*/ 41991 w 139969"/>
                <a:gd name="connsiteY1376" fmla="*/ 169872 h 286300"/>
                <a:gd name="connsiteX1377" fmla="*/ 42627 w 139969"/>
                <a:gd name="connsiteY1377" fmla="*/ 185777 h 286300"/>
                <a:gd name="connsiteX1378" fmla="*/ 42309 w 139969"/>
                <a:gd name="connsiteY1378" fmla="*/ 186414 h 286300"/>
                <a:gd name="connsiteX1379" fmla="*/ 42627 w 139969"/>
                <a:gd name="connsiteY1379" fmla="*/ 186732 h 286300"/>
                <a:gd name="connsiteX1380" fmla="*/ 42627 w 139969"/>
                <a:gd name="connsiteY1380" fmla="*/ 185777 h 286300"/>
                <a:gd name="connsiteX1381" fmla="*/ 42945 w 139969"/>
                <a:gd name="connsiteY1381" fmla="*/ 175916 h 286300"/>
                <a:gd name="connsiteX1382" fmla="*/ 43264 w 139969"/>
                <a:gd name="connsiteY1382" fmla="*/ 176234 h 286300"/>
                <a:gd name="connsiteX1383" fmla="*/ 43900 w 139969"/>
                <a:gd name="connsiteY1383" fmla="*/ 176552 h 286300"/>
                <a:gd name="connsiteX1384" fmla="*/ 44218 w 139969"/>
                <a:gd name="connsiteY1384" fmla="*/ 176552 h 286300"/>
                <a:gd name="connsiteX1385" fmla="*/ 45172 w 139969"/>
                <a:gd name="connsiteY1385" fmla="*/ 175916 h 286300"/>
                <a:gd name="connsiteX1386" fmla="*/ 45808 w 139969"/>
                <a:gd name="connsiteY1386" fmla="*/ 174643 h 286300"/>
                <a:gd name="connsiteX1387" fmla="*/ 45490 w 139969"/>
                <a:gd name="connsiteY1387" fmla="*/ 173689 h 286300"/>
                <a:gd name="connsiteX1388" fmla="*/ 43264 w 139969"/>
                <a:gd name="connsiteY1388" fmla="*/ 174643 h 286300"/>
                <a:gd name="connsiteX1389" fmla="*/ 42945 w 139969"/>
                <a:gd name="connsiteY1389" fmla="*/ 175916 h 286300"/>
                <a:gd name="connsiteX1390" fmla="*/ 43264 w 139969"/>
                <a:gd name="connsiteY1390" fmla="*/ 171462 h 286300"/>
                <a:gd name="connsiteX1391" fmla="*/ 43900 w 139969"/>
                <a:gd name="connsiteY1391" fmla="*/ 171780 h 286300"/>
                <a:gd name="connsiteX1392" fmla="*/ 43900 w 139969"/>
                <a:gd name="connsiteY1392" fmla="*/ 171462 h 286300"/>
                <a:gd name="connsiteX1393" fmla="*/ 43582 w 139969"/>
                <a:gd name="connsiteY1393" fmla="*/ 171144 h 286300"/>
                <a:gd name="connsiteX1394" fmla="*/ 43264 w 139969"/>
                <a:gd name="connsiteY1394" fmla="*/ 171462 h 286300"/>
                <a:gd name="connsiteX1395" fmla="*/ 44218 w 139969"/>
                <a:gd name="connsiteY1395" fmla="*/ 165100 h 286300"/>
                <a:gd name="connsiteX1396" fmla="*/ 44536 w 139969"/>
                <a:gd name="connsiteY1396" fmla="*/ 165736 h 286300"/>
                <a:gd name="connsiteX1397" fmla="*/ 45490 w 139969"/>
                <a:gd name="connsiteY1397" fmla="*/ 166372 h 286300"/>
                <a:gd name="connsiteX1398" fmla="*/ 46763 w 139969"/>
                <a:gd name="connsiteY1398" fmla="*/ 166372 h 286300"/>
                <a:gd name="connsiteX1399" fmla="*/ 46763 w 139969"/>
                <a:gd name="connsiteY1399" fmla="*/ 167327 h 286300"/>
                <a:gd name="connsiteX1400" fmla="*/ 46126 w 139969"/>
                <a:gd name="connsiteY1400" fmla="*/ 168281 h 286300"/>
                <a:gd name="connsiteX1401" fmla="*/ 48035 w 139969"/>
                <a:gd name="connsiteY1401" fmla="*/ 166054 h 286300"/>
                <a:gd name="connsiteX1402" fmla="*/ 48035 w 139969"/>
                <a:gd name="connsiteY1402" fmla="*/ 165100 h 286300"/>
                <a:gd name="connsiteX1403" fmla="*/ 47717 w 139969"/>
                <a:gd name="connsiteY1403" fmla="*/ 163828 h 286300"/>
                <a:gd name="connsiteX1404" fmla="*/ 47399 w 139969"/>
                <a:gd name="connsiteY1404" fmla="*/ 163509 h 286300"/>
                <a:gd name="connsiteX1405" fmla="*/ 46763 w 139969"/>
                <a:gd name="connsiteY1405" fmla="*/ 164146 h 286300"/>
                <a:gd name="connsiteX1406" fmla="*/ 45490 w 139969"/>
                <a:gd name="connsiteY1406" fmla="*/ 164782 h 286300"/>
                <a:gd name="connsiteX1407" fmla="*/ 45172 w 139969"/>
                <a:gd name="connsiteY1407" fmla="*/ 164782 h 286300"/>
                <a:gd name="connsiteX1408" fmla="*/ 44854 w 139969"/>
                <a:gd name="connsiteY1408" fmla="*/ 164464 h 286300"/>
                <a:gd name="connsiteX1409" fmla="*/ 44218 w 139969"/>
                <a:gd name="connsiteY1409" fmla="*/ 164782 h 286300"/>
                <a:gd name="connsiteX1410" fmla="*/ 44218 w 139969"/>
                <a:gd name="connsiteY1410" fmla="*/ 165100 h 286300"/>
                <a:gd name="connsiteX1411" fmla="*/ 45490 w 139969"/>
                <a:gd name="connsiteY1411" fmla="*/ 169235 h 286300"/>
                <a:gd name="connsiteX1412" fmla="*/ 46126 w 139969"/>
                <a:gd name="connsiteY1412" fmla="*/ 168281 h 286300"/>
                <a:gd name="connsiteX1413" fmla="*/ 45172 w 139969"/>
                <a:gd name="connsiteY1413" fmla="*/ 168599 h 286300"/>
                <a:gd name="connsiteX1414" fmla="*/ 44854 w 139969"/>
                <a:gd name="connsiteY1414" fmla="*/ 168917 h 286300"/>
                <a:gd name="connsiteX1415" fmla="*/ 45490 w 139969"/>
                <a:gd name="connsiteY1415" fmla="*/ 169235 h 286300"/>
                <a:gd name="connsiteX1416" fmla="*/ 46763 w 139969"/>
                <a:gd name="connsiteY1416" fmla="*/ 172417 h 286300"/>
                <a:gd name="connsiteX1417" fmla="*/ 47399 w 139969"/>
                <a:gd name="connsiteY1417" fmla="*/ 171780 h 286300"/>
                <a:gd name="connsiteX1418" fmla="*/ 48035 w 139969"/>
                <a:gd name="connsiteY1418" fmla="*/ 171780 h 286300"/>
                <a:gd name="connsiteX1419" fmla="*/ 48035 w 139969"/>
                <a:gd name="connsiteY1419" fmla="*/ 171462 h 286300"/>
                <a:gd name="connsiteX1420" fmla="*/ 47399 w 139969"/>
                <a:gd name="connsiteY1420" fmla="*/ 171144 h 286300"/>
                <a:gd name="connsiteX1421" fmla="*/ 46763 w 139969"/>
                <a:gd name="connsiteY1421" fmla="*/ 171462 h 286300"/>
                <a:gd name="connsiteX1422" fmla="*/ 46126 w 139969"/>
                <a:gd name="connsiteY1422" fmla="*/ 172417 h 286300"/>
                <a:gd name="connsiteX1423" fmla="*/ 45490 w 139969"/>
                <a:gd name="connsiteY1423" fmla="*/ 173689 h 286300"/>
                <a:gd name="connsiteX1424" fmla="*/ 47399 w 139969"/>
                <a:gd name="connsiteY1424" fmla="*/ 173689 h 286300"/>
                <a:gd name="connsiteX1425" fmla="*/ 47717 w 139969"/>
                <a:gd name="connsiteY1425" fmla="*/ 173371 h 286300"/>
                <a:gd name="connsiteX1426" fmla="*/ 47399 w 139969"/>
                <a:gd name="connsiteY1426" fmla="*/ 173371 h 286300"/>
                <a:gd name="connsiteX1427" fmla="*/ 47399 w 139969"/>
                <a:gd name="connsiteY1427" fmla="*/ 173053 h 286300"/>
                <a:gd name="connsiteX1428" fmla="*/ 46763 w 139969"/>
                <a:gd name="connsiteY1428" fmla="*/ 172417 h 286300"/>
                <a:gd name="connsiteX1429" fmla="*/ 45808 w 139969"/>
                <a:gd name="connsiteY1429" fmla="*/ 163509 h 286300"/>
                <a:gd name="connsiteX1430" fmla="*/ 46126 w 139969"/>
                <a:gd name="connsiteY1430" fmla="*/ 163191 h 286300"/>
                <a:gd name="connsiteX1431" fmla="*/ 45808 w 139969"/>
                <a:gd name="connsiteY1431" fmla="*/ 162873 h 286300"/>
                <a:gd name="connsiteX1432" fmla="*/ 45808 w 139969"/>
                <a:gd name="connsiteY1432" fmla="*/ 163509 h 286300"/>
                <a:gd name="connsiteX1433" fmla="*/ 47399 w 139969"/>
                <a:gd name="connsiteY1433" fmla="*/ 158738 h 286300"/>
                <a:gd name="connsiteX1434" fmla="*/ 48989 w 139969"/>
                <a:gd name="connsiteY1434" fmla="*/ 157783 h 286300"/>
                <a:gd name="connsiteX1435" fmla="*/ 48035 w 139969"/>
                <a:gd name="connsiteY1435" fmla="*/ 157465 h 286300"/>
                <a:gd name="connsiteX1436" fmla="*/ 47399 w 139969"/>
                <a:gd name="connsiteY1436" fmla="*/ 158738 h 286300"/>
                <a:gd name="connsiteX1437" fmla="*/ 49307 w 139969"/>
                <a:gd name="connsiteY1437" fmla="*/ 159374 h 286300"/>
                <a:gd name="connsiteX1438" fmla="*/ 48989 w 139969"/>
                <a:gd name="connsiteY1438" fmla="*/ 159692 h 286300"/>
                <a:gd name="connsiteX1439" fmla="*/ 48035 w 139969"/>
                <a:gd name="connsiteY1439" fmla="*/ 160646 h 286300"/>
                <a:gd name="connsiteX1440" fmla="*/ 49944 w 139969"/>
                <a:gd name="connsiteY1440" fmla="*/ 160328 h 286300"/>
                <a:gd name="connsiteX1441" fmla="*/ 49944 w 139969"/>
                <a:gd name="connsiteY1441" fmla="*/ 160010 h 286300"/>
                <a:gd name="connsiteX1442" fmla="*/ 49307 w 139969"/>
                <a:gd name="connsiteY1442" fmla="*/ 159374 h 286300"/>
                <a:gd name="connsiteX1443" fmla="*/ 49307 w 139969"/>
                <a:gd name="connsiteY1443" fmla="*/ 163191 h 286300"/>
                <a:gd name="connsiteX1444" fmla="*/ 49307 w 139969"/>
                <a:gd name="connsiteY1444" fmla="*/ 163509 h 286300"/>
                <a:gd name="connsiteX1445" fmla="*/ 49626 w 139969"/>
                <a:gd name="connsiteY1445" fmla="*/ 163191 h 286300"/>
                <a:gd name="connsiteX1446" fmla="*/ 49307 w 139969"/>
                <a:gd name="connsiteY1446" fmla="*/ 163191 h 286300"/>
                <a:gd name="connsiteX1447" fmla="*/ 50580 w 139969"/>
                <a:gd name="connsiteY1447" fmla="*/ 170826 h 286300"/>
                <a:gd name="connsiteX1448" fmla="*/ 50580 w 139969"/>
                <a:gd name="connsiteY1448" fmla="*/ 171462 h 286300"/>
                <a:gd name="connsiteX1449" fmla="*/ 50898 w 139969"/>
                <a:gd name="connsiteY1449" fmla="*/ 171144 h 286300"/>
                <a:gd name="connsiteX1450" fmla="*/ 50898 w 139969"/>
                <a:gd name="connsiteY1450" fmla="*/ 170508 h 286300"/>
                <a:gd name="connsiteX1451" fmla="*/ 50580 w 139969"/>
                <a:gd name="connsiteY1451" fmla="*/ 170826 h 286300"/>
                <a:gd name="connsiteX1452" fmla="*/ 51852 w 139969"/>
                <a:gd name="connsiteY1452" fmla="*/ 169872 h 286300"/>
                <a:gd name="connsiteX1453" fmla="*/ 51852 w 139969"/>
                <a:gd name="connsiteY1453" fmla="*/ 169235 h 286300"/>
                <a:gd name="connsiteX1454" fmla="*/ 51534 w 139969"/>
                <a:gd name="connsiteY1454" fmla="*/ 168917 h 286300"/>
                <a:gd name="connsiteX1455" fmla="*/ 50898 w 139969"/>
                <a:gd name="connsiteY1455" fmla="*/ 170190 h 286300"/>
                <a:gd name="connsiteX1456" fmla="*/ 50898 w 139969"/>
                <a:gd name="connsiteY1456" fmla="*/ 170508 h 286300"/>
                <a:gd name="connsiteX1457" fmla="*/ 51852 w 139969"/>
                <a:gd name="connsiteY1457" fmla="*/ 169872 h 286300"/>
                <a:gd name="connsiteX1458" fmla="*/ 51852 w 139969"/>
                <a:gd name="connsiteY1458" fmla="*/ 282483 h 286300"/>
                <a:gd name="connsiteX1459" fmla="*/ 51216 w 139969"/>
                <a:gd name="connsiteY1459" fmla="*/ 282483 h 286300"/>
                <a:gd name="connsiteX1460" fmla="*/ 50898 w 139969"/>
                <a:gd name="connsiteY1460" fmla="*/ 282801 h 286300"/>
                <a:gd name="connsiteX1461" fmla="*/ 51216 w 139969"/>
                <a:gd name="connsiteY1461" fmla="*/ 283120 h 286300"/>
                <a:gd name="connsiteX1462" fmla="*/ 51852 w 139969"/>
                <a:gd name="connsiteY1462" fmla="*/ 282483 h 286300"/>
                <a:gd name="connsiteX1463" fmla="*/ 51216 w 139969"/>
                <a:gd name="connsiteY1463" fmla="*/ 158738 h 286300"/>
                <a:gd name="connsiteX1464" fmla="*/ 51852 w 139969"/>
                <a:gd name="connsiteY1464" fmla="*/ 159056 h 286300"/>
                <a:gd name="connsiteX1465" fmla="*/ 52170 w 139969"/>
                <a:gd name="connsiteY1465" fmla="*/ 158420 h 286300"/>
                <a:gd name="connsiteX1466" fmla="*/ 51216 w 139969"/>
                <a:gd name="connsiteY1466" fmla="*/ 158420 h 286300"/>
                <a:gd name="connsiteX1467" fmla="*/ 51216 w 139969"/>
                <a:gd name="connsiteY1467" fmla="*/ 158738 h 286300"/>
                <a:gd name="connsiteX1468" fmla="*/ 52170 w 139969"/>
                <a:gd name="connsiteY1468" fmla="*/ 156193 h 286300"/>
                <a:gd name="connsiteX1469" fmla="*/ 52488 w 139969"/>
                <a:gd name="connsiteY1469" fmla="*/ 157147 h 286300"/>
                <a:gd name="connsiteX1470" fmla="*/ 53761 w 139969"/>
                <a:gd name="connsiteY1470" fmla="*/ 158102 h 286300"/>
                <a:gd name="connsiteX1471" fmla="*/ 54079 w 139969"/>
                <a:gd name="connsiteY1471" fmla="*/ 157783 h 286300"/>
                <a:gd name="connsiteX1472" fmla="*/ 54079 w 139969"/>
                <a:gd name="connsiteY1472" fmla="*/ 157147 h 286300"/>
                <a:gd name="connsiteX1473" fmla="*/ 52807 w 139969"/>
                <a:gd name="connsiteY1473" fmla="*/ 155557 h 286300"/>
                <a:gd name="connsiteX1474" fmla="*/ 52488 w 139969"/>
                <a:gd name="connsiteY1474" fmla="*/ 155239 h 286300"/>
                <a:gd name="connsiteX1475" fmla="*/ 52170 w 139969"/>
                <a:gd name="connsiteY1475" fmla="*/ 156193 h 286300"/>
                <a:gd name="connsiteX1476" fmla="*/ 54397 w 139969"/>
                <a:gd name="connsiteY1476" fmla="*/ 160010 h 286300"/>
                <a:gd name="connsiteX1477" fmla="*/ 53761 w 139969"/>
                <a:gd name="connsiteY1477" fmla="*/ 160010 h 286300"/>
                <a:gd name="connsiteX1478" fmla="*/ 53761 w 139969"/>
                <a:gd name="connsiteY1478" fmla="*/ 160646 h 286300"/>
                <a:gd name="connsiteX1479" fmla="*/ 55352 w 139969"/>
                <a:gd name="connsiteY1479" fmla="*/ 161601 h 286300"/>
                <a:gd name="connsiteX1480" fmla="*/ 55352 w 139969"/>
                <a:gd name="connsiteY1480" fmla="*/ 161919 h 286300"/>
                <a:gd name="connsiteX1481" fmla="*/ 55670 w 139969"/>
                <a:gd name="connsiteY1481" fmla="*/ 161601 h 286300"/>
                <a:gd name="connsiteX1482" fmla="*/ 55352 w 139969"/>
                <a:gd name="connsiteY1482" fmla="*/ 161601 h 286300"/>
                <a:gd name="connsiteX1483" fmla="*/ 55352 w 139969"/>
                <a:gd name="connsiteY1483" fmla="*/ 160646 h 286300"/>
                <a:gd name="connsiteX1484" fmla="*/ 54397 w 139969"/>
                <a:gd name="connsiteY1484" fmla="*/ 160010 h 286300"/>
                <a:gd name="connsiteX1485" fmla="*/ 55352 w 139969"/>
                <a:gd name="connsiteY1485" fmla="*/ 154920 h 286300"/>
                <a:gd name="connsiteX1486" fmla="*/ 55988 w 139969"/>
                <a:gd name="connsiteY1486" fmla="*/ 156193 h 286300"/>
                <a:gd name="connsiteX1487" fmla="*/ 55988 w 139969"/>
                <a:gd name="connsiteY1487" fmla="*/ 157147 h 286300"/>
                <a:gd name="connsiteX1488" fmla="*/ 56306 w 139969"/>
                <a:gd name="connsiteY1488" fmla="*/ 157465 h 286300"/>
                <a:gd name="connsiteX1489" fmla="*/ 58215 w 139969"/>
                <a:gd name="connsiteY1489" fmla="*/ 155239 h 286300"/>
                <a:gd name="connsiteX1490" fmla="*/ 59169 w 139969"/>
                <a:gd name="connsiteY1490" fmla="*/ 153648 h 286300"/>
                <a:gd name="connsiteX1491" fmla="*/ 59805 w 139969"/>
                <a:gd name="connsiteY1491" fmla="*/ 153648 h 286300"/>
                <a:gd name="connsiteX1492" fmla="*/ 59805 w 139969"/>
                <a:gd name="connsiteY1492" fmla="*/ 153012 h 286300"/>
                <a:gd name="connsiteX1493" fmla="*/ 59487 w 139969"/>
                <a:gd name="connsiteY1493" fmla="*/ 153012 h 286300"/>
                <a:gd name="connsiteX1494" fmla="*/ 57897 w 139969"/>
                <a:gd name="connsiteY1494" fmla="*/ 153648 h 286300"/>
                <a:gd name="connsiteX1495" fmla="*/ 56942 w 139969"/>
                <a:gd name="connsiteY1495" fmla="*/ 153648 h 286300"/>
                <a:gd name="connsiteX1496" fmla="*/ 56306 w 139969"/>
                <a:gd name="connsiteY1496" fmla="*/ 153330 h 286300"/>
                <a:gd name="connsiteX1497" fmla="*/ 55988 w 139969"/>
                <a:gd name="connsiteY1497" fmla="*/ 153648 h 286300"/>
                <a:gd name="connsiteX1498" fmla="*/ 55352 w 139969"/>
                <a:gd name="connsiteY1498" fmla="*/ 154920 h 286300"/>
                <a:gd name="connsiteX1499" fmla="*/ 56624 w 139969"/>
                <a:gd name="connsiteY1499" fmla="*/ 265942 h 286300"/>
                <a:gd name="connsiteX1500" fmla="*/ 55988 w 139969"/>
                <a:gd name="connsiteY1500" fmla="*/ 265942 h 286300"/>
                <a:gd name="connsiteX1501" fmla="*/ 55670 w 139969"/>
                <a:gd name="connsiteY1501" fmla="*/ 265623 h 286300"/>
                <a:gd name="connsiteX1502" fmla="*/ 56306 w 139969"/>
                <a:gd name="connsiteY1502" fmla="*/ 265623 h 286300"/>
                <a:gd name="connsiteX1503" fmla="*/ 56624 w 139969"/>
                <a:gd name="connsiteY1503" fmla="*/ 265942 h 286300"/>
                <a:gd name="connsiteX1504" fmla="*/ 57260 w 139969"/>
                <a:gd name="connsiteY1504" fmla="*/ 280257 h 286300"/>
                <a:gd name="connsiteX1505" fmla="*/ 56942 w 139969"/>
                <a:gd name="connsiteY1505" fmla="*/ 279938 h 286300"/>
                <a:gd name="connsiteX1506" fmla="*/ 56306 w 139969"/>
                <a:gd name="connsiteY1506" fmla="*/ 280257 h 286300"/>
                <a:gd name="connsiteX1507" fmla="*/ 56624 w 139969"/>
                <a:gd name="connsiteY1507" fmla="*/ 280893 h 286300"/>
                <a:gd name="connsiteX1508" fmla="*/ 57260 w 139969"/>
                <a:gd name="connsiteY1508" fmla="*/ 280257 h 286300"/>
                <a:gd name="connsiteX1509" fmla="*/ 61078 w 139969"/>
                <a:gd name="connsiteY1509" fmla="*/ 278030 h 286300"/>
                <a:gd name="connsiteX1510" fmla="*/ 60123 w 139969"/>
                <a:gd name="connsiteY1510" fmla="*/ 276757 h 286300"/>
                <a:gd name="connsiteX1511" fmla="*/ 59169 w 139969"/>
                <a:gd name="connsiteY1511" fmla="*/ 278666 h 286300"/>
                <a:gd name="connsiteX1512" fmla="*/ 60760 w 139969"/>
                <a:gd name="connsiteY1512" fmla="*/ 278666 h 286300"/>
                <a:gd name="connsiteX1513" fmla="*/ 61078 w 139969"/>
                <a:gd name="connsiteY1513" fmla="*/ 278030 h 286300"/>
                <a:gd name="connsiteX1514" fmla="*/ 59805 w 139969"/>
                <a:gd name="connsiteY1514" fmla="*/ 148558 h 286300"/>
                <a:gd name="connsiteX1515" fmla="*/ 60123 w 139969"/>
                <a:gd name="connsiteY1515" fmla="*/ 148240 h 286300"/>
                <a:gd name="connsiteX1516" fmla="*/ 59805 w 139969"/>
                <a:gd name="connsiteY1516" fmla="*/ 147604 h 286300"/>
                <a:gd name="connsiteX1517" fmla="*/ 59805 w 139969"/>
                <a:gd name="connsiteY1517" fmla="*/ 148558 h 286300"/>
                <a:gd name="connsiteX1518" fmla="*/ 60441 w 139969"/>
                <a:gd name="connsiteY1518" fmla="*/ 151103 h 286300"/>
                <a:gd name="connsiteX1519" fmla="*/ 59805 w 139969"/>
                <a:gd name="connsiteY1519" fmla="*/ 151739 h 286300"/>
                <a:gd name="connsiteX1520" fmla="*/ 60123 w 139969"/>
                <a:gd name="connsiteY1520" fmla="*/ 152057 h 286300"/>
                <a:gd name="connsiteX1521" fmla="*/ 60760 w 139969"/>
                <a:gd name="connsiteY1521" fmla="*/ 151739 h 286300"/>
                <a:gd name="connsiteX1522" fmla="*/ 60441 w 139969"/>
                <a:gd name="connsiteY1522" fmla="*/ 151103 h 286300"/>
                <a:gd name="connsiteX1523" fmla="*/ 61396 w 139969"/>
                <a:gd name="connsiteY1523" fmla="*/ 142832 h 286300"/>
                <a:gd name="connsiteX1524" fmla="*/ 61714 w 139969"/>
                <a:gd name="connsiteY1524" fmla="*/ 143468 h 286300"/>
                <a:gd name="connsiteX1525" fmla="*/ 61714 w 139969"/>
                <a:gd name="connsiteY1525" fmla="*/ 143150 h 286300"/>
                <a:gd name="connsiteX1526" fmla="*/ 61396 w 139969"/>
                <a:gd name="connsiteY1526" fmla="*/ 142514 h 286300"/>
                <a:gd name="connsiteX1527" fmla="*/ 61396 w 139969"/>
                <a:gd name="connsiteY1527" fmla="*/ 142832 h 286300"/>
                <a:gd name="connsiteX1528" fmla="*/ 61396 w 139969"/>
                <a:gd name="connsiteY1528" fmla="*/ 154602 h 286300"/>
                <a:gd name="connsiteX1529" fmla="*/ 62032 w 139969"/>
                <a:gd name="connsiteY1529" fmla="*/ 154602 h 286300"/>
                <a:gd name="connsiteX1530" fmla="*/ 62668 w 139969"/>
                <a:gd name="connsiteY1530" fmla="*/ 153966 h 286300"/>
                <a:gd name="connsiteX1531" fmla="*/ 62350 w 139969"/>
                <a:gd name="connsiteY1531" fmla="*/ 153648 h 286300"/>
                <a:gd name="connsiteX1532" fmla="*/ 61396 w 139969"/>
                <a:gd name="connsiteY1532" fmla="*/ 154602 h 286300"/>
                <a:gd name="connsiteX1533" fmla="*/ 62032 w 139969"/>
                <a:gd name="connsiteY1533" fmla="*/ 149831 h 286300"/>
                <a:gd name="connsiteX1534" fmla="*/ 61714 w 139969"/>
                <a:gd name="connsiteY1534" fmla="*/ 150467 h 286300"/>
                <a:gd name="connsiteX1535" fmla="*/ 62032 w 139969"/>
                <a:gd name="connsiteY1535" fmla="*/ 150785 h 286300"/>
                <a:gd name="connsiteX1536" fmla="*/ 62350 w 139969"/>
                <a:gd name="connsiteY1536" fmla="*/ 150149 h 286300"/>
                <a:gd name="connsiteX1537" fmla="*/ 62032 w 139969"/>
                <a:gd name="connsiteY1537" fmla="*/ 149831 h 286300"/>
                <a:gd name="connsiteX1538" fmla="*/ 62986 w 139969"/>
                <a:gd name="connsiteY1538" fmla="*/ 153330 h 286300"/>
                <a:gd name="connsiteX1539" fmla="*/ 63622 w 139969"/>
                <a:gd name="connsiteY1539" fmla="*/ 153648 h 286300"/>
                <a:gd name="connsiteX1540" fmla="*/ 63941 w 139969"/>
                <a:gd name="connsiteY1540" fmla="*/ 153330 h 286300"/>
                <a:gd name="connsiteX1541" fmla="*/ 63941 w 139969"/>
                <a:gd name="connsiteY1541" fmla="*/ 153012 h 286300"/>
                <a:gd name="connsiteX1542" fmla="*/ 63622 w 139969"/>
                <a:gd name="connsiteY1542" fmla="*/ 152694 h 286300"/>
                <a:gd name="connsiteX1543" fmla="*/ 62986 w 139969"/>
                <a:gd name="connsiteY1543" fmla="*/ 153012 h 286300"/>
                <a:gd name="connsiteX1544" fmla="*/ 62986 w 139969"/>
                <a:gd name="connsiteY1544" fmla="*/ 153330 h 286300"/>
                <a:gd name="connsiteX1545" fmla="*/ 64577 w 139969"/>
                <a:gd name="connsiteY1545" fmla="*/ 140287 h 286300"/>
                <a:gd name="connsiteX1546" fmla="*/ 64895 w 139969"/>
                <a:gd name="connsiteY1546" fmla="*/ 139969 h 286300"/>
                <a:gd name="connsiteX1547" fmla="*/ 64577 w 139969"/>
                <a:gd name="connsiteY1547" fmla="*/ 139969 h 286300"/>
                <a:gd name="connsiteX1548" fmla="*/ 64577 w 139969"/>
                <a:gd name="connsiteY1548" fmla="*/ 140287 h 286300"/>
                <a:gd name="connsiteX1549" fmla="*/ 64577 w 139969"/>
                <a:gd name="connsiteY1549" fmla="*/ 154284 h 286300"/>
                <a:gd name="connsiteX1550" fmla="*/ 64895 w 139969"/>
                <a:gd name="connsiteY1550" fmla="*/ 154284 h 286300"/>
                <a:gd name="connsiteX1551" fmla="*/ 65531 w 139969"/>
                <a:gd name="connsiteY1551" fmla="*/ 154602 h 286300"/>
                <a:gd name="connsiteX1552" fmla="*/ 65849 w 139969"/>
                <a:gd name="connsiteY1552" fmla="*/ 155557 h 286300"/>
                <a:gd name="connsiteX1553" fmla="*/ 65849 w 139969"/>
                <a:gd name="connsiteY1553" fmla="*/ 156193 h 286300"/>
                <a:gd name="connsiteX1554" fmla="*/ 66485 w 139969"/>
                <a:gd name="connsiteY1554" fmla="*/ 156193 h 286300"/>
                <a:gd name="connsiteX1555" fmla="*/ 67122 w 139969"/>
                <a:gd name="connsiteY1555" fmla="*/ 154920 h 286300"/>
                <a:gd name="connsiteX1556" fmla="*/ 66803 w 139969"/>
                <a:gd name="connsiteY1556" fmla="*/ 153966 h 286300"/>
                <a:gd name="connsiteX1557" fmla="*/ 65849 w 139969"/>
                <a:gd name="connsiteY1557" fmla="*/ 153648 h 286300"/>
                <a:gd name="connsiteX1558" fmla="*/ 64895 w 139969"/>
                <a:gd name="connsiteY1558" fmla="*/ 154284 h 286300"/>
                <a:gd name="connsiteX1559" fmla="*/ 64895 w 139969"/>
                <a:gd name="connsiteY1559" fmla="*/ 153648 h 286300"/>
                <a:gd name="connsiteX1560" fmla="*/ 64577 w 139969"/>
                <a:gd name="connsiteY1560" fmla="*/ 153648 h 286300"/>
                <a:gd name="connsiteX1561" fmla="*/ 64577 w 139969"/>
                <a:gd name="connsiteY1561" fmla="*/ 154284 h 286300"/>
                <a:gd name="connsiteX1562" fmla="*/ 64895 w 139969"/>
                <a:gd name="connsiteY1562" fmla="*/ 139969 h 286300"/>
                <a:gd name="connsiteX1563" fmla="*/ 65213 w 139969"/>
                <a:gd name="connsiteY1563" fmla="*/ 139651 h 286300"/>
                <a:gd name="connsiteX1564" fmla="*/ 64895 w 139969"/>
                <a:gd name="connsiteY1564" fmla="*/ 139969 h 286300"/>
                <a:gd name="connsiteX1565" fmla="*/ 64895 w 139969"/>
                <a:gd name="connsiteY1565" fmla="*/ 151421 h 286300"/>
                <a:gd name="connsiteX1566" fmla="*/ 64895 w 139969"/>
                <a:gd name="connsiteY1566" fmla="*/ 151739 h 286300"/>
                <a:gd name="connsiteX1567" fmla="*/ 65213 w 139969"/>
                <a:gd name="connsiteY1567" fmla="*/ 151739 h 286300"/>
                <a:gd name="connsiteX1568" fmla="*/ 65531 w 139969"/>
                <a:gd name="connsiteY1568" fmla="*/ 150785 h 286300"/>
                <a:gd name="connsiteX1569" fmla="*/ 65531 w 139969"/>
                <a:gd name="connsiteY1569" fmla="*/ 150467 h 286300"/>
                <a:gd name="connsiteX1570" fmla="*/ 65213 w 139969"/>
                <a:gd name="connsiteY1570" fmla="*/ 150149 h 286300"/>
                <a:gd name="connsiteX1571" fmla="*/ 65213 w 139969"/>
                <a:gd name="connsiteY1571" fmla="*/ 150467 h 286300"/>
                <a:gd name="connsiteX1572" fmla="*/ 64895 w 139969"/>
                <a:gd name="connsiteY1572" fmla="*/ 151421 h 286300"/>
                <a:gd name="connsiteX1573" fmla="*/ 66803 w 139969"/>
                <a:gd name="connsiteY1573" fmla="*/ 141878 h 286300"/>
                <a:gd name="connsiteX1574" fmla="*/ 66485 w 139969"/>
                <a:gd name="connsiteY1574" fmla="*/ 141878 h 286300"/>
                <a:gd name="connsiteX1575" fmla="*/ 66485 w 139969"/>
                <a:gd name="connsiteY1575" fmla="*/ 141560 h 286300"/>
                <a:gd name="connsiteX1576" fmla="*/ 65531 w 139969"/>
                <a:gd name="connsiteY1576" fmla="*/ 142196 h 286300"/>
                <a:gd name="connsiteX1577" fmla="*/ 65213 w 139969"/>
                <a:gd name="connsiteY1577" fmla="*/ 143150 h 286300"/>
                <a:gd name="connsiteX1578" fmla="*/ 66167 w 139969"/>
                <a:gd name="connsiteY1578" fmla="*/ 143150 h 286300"/>
                <a:gd name="connsiteX1579" fmla="*/ 66803 w 139969"/>
                <a:gd name="connsiteY1579" fmla="*/ 141878 h 286300"/>
                <a:gd name="connsiteX1580" fmla="*/ 65849 w 139969"/>
                <a:gd name="connsiteY1580" fmla="*/ 138697 h 286300"/>
                <a:gd name="connsiteX1581" fmla="*/ 67440 w 139969"/>
                <a:gd name="connsiteY1581" fmla="*/ 137742 h 286300"/>
                <a:gd name="connsiteX1582" fmla="*/ 65849 w 139969"/>
                <a:gd name="connsiteY1582" fmla="*/ 138697 h 286300"/>
                <a:gd name="connsiteX1583" fmla="*/ 67440 w 139969"/>
                <a:gd name="connsiteY1583" fmla="*/ 137742 h 286300"/>
                <a:gd name="connsiteX1584" fmla="*/ 69667 w 139969"/>
                <a:gd name="connsiteY1584" fmla="*/ 136788 h 286300"/>
                <a:gd name="connsiteX1585" fmla="*/ 69349 w 139969"/>
                <a:gd name="connsiteY1585" fmla="*/ 136470 h 286300"/>
                <a:gd name="connsiteX1586" fmla="*/ 68712 w 139969"/>
                <a:gd name="connsiteY1586" fmla="*/ 136152 h 286300"/>
                <a:gd name="connsiteX1587" fmla="*/ 68076 w 139969"/>
                <a:gd name="connsiteY1587" fmla="*/ 136470 h 286300"/>
                <a:gd name="connsiteX1588" fmla="*/ 67440 w 139969"/>
                <a:gd name="connsiteY1588" fmla="*/ 137742 h 286300"/>
                <a:gd name="connsiteX1589" fmla="*/ 69985 w 139969"/>
                <a:gd name="connsiteY1589" fmla="*/ 271349 h 286300"/>
                <a:gd name="connsiteX1590" fmla="*/ 69667 w 139969"/>
                <a:gd name="connsiteY1590" fmla="*/ 271667 h 286300"/>
                <a:gd name="connsiteX1591" fmla="*/ 69985 w 139969"/>
                <a:gd name="connsiteY1591" fmla="*/ 271667 h 286300"/>
                <a:gd name="connsiteX1592" fmla="*/ 70621 w 139969"/>
                <a:gd name="connsiteY1592" fmla="*/ 271349 h 286300"/>
                <a:gd name="connsiteX1593" fmla="*/ 69985 w 139969"/>
                <a:gd name="connsiteY1593" fmla="*/ 271349 h 286300"/>
                <a:gd name="connsiteX1594" fmla="*/ 71575 w 139969"/>
                <a:gd name="connsiteY1594" fmla="*/ 136152 h 286300"/>
                <a:gd name="connsiteX1595" fmla="*/ 71894 w 139969"/>
                <a:gd name="connsiteY1595" fmla="*/ 136788 h 286300"/>
                <a:gd name="connsiteX1596" fmla="*/ 72530 w 139969"/>
                <a:gd name="connsiteY1596" fmla="*/ 136788 h 286300"/>
                <a:gd name="connsiteX1597" fmla="*/ 74438 w 139969"/>
                <a:gd name="connsiteY1597" fmla="*/ 138061 h 286300"/>
                <a:gd name="connsiteX1598" fmla="*/ 76029 w 139969"/>
                <a:gd name="connsiteY1598" fmla="*/ 137424 h 286300"/>
                <a:gd name="connsiteX1599" fmla="*/ 76665 w 139969"/>
                <a:gd name="connsiteY1599" fmla="*/ 136788 h 286300"/>
                <a:gd name="connsiteX1600" fmla="*/ 76347 w 139969"/>
                <a:gd name="connsiteY1600" fmla="*/ 136470 h 286300"/>
                <a:gd name="connsiteX1601" fmla="*/ 75075 w 139969"/>
                <a:gd name="connsiteY1601" fmla="*/ 135516 h 286300"/>
                <a:gd name="connsiteX1602" fmla="*/ 74438 w 139969"/>
                <a:gd name="connsiteY1602" fmla="*/ 135198 h 286300"/>
                <a:gd name="connsiteX1603" fmla="*/ 72530 w 139969"/>
                <a:gd name="connsiteY1603" fmla="*/ 135516 h 286300"/>
                <a:gd name="connsiteX1604" fmla="*/ 71894 w 139969"/>
                <a:gd name="connsiteY1604" fmla="*/ 135516 h 286300"/>
                <a:gd name="connsiteX1605" fmla="*/ 71575 w 139969"/>
                <a:gd name="connsiteY1605" fmla="*/ 135834 h 286300"/>
                <a:gd name="connsiteX1606" fmla="*/ 71575 w 139969"/>
                <a:gd name="connsiteY1606" fmla="*/ 136152 h 286300"/>
                <a:gd name="connsiteX1607" fmla="*/ 71894 w 139969"/>
                <a:gd name="connsiteY1607" fmla="*/ 133289 h 286300"/>
                <a:gd name="connsiteX1608" fmla="*/ 72530 w 139969"/>
                <a:gd name="connsiteY1608" fmla="*/ 133607 h 286300"/>
                <a:gd name="connsiteX1609" fmla="*/ 73166 w 139969"/>
                <a:gd name="connsiteY1609" fmla="*/ 132971 h 286300"/>
                <a:gd name="connsiteX1610" fmla="*/ 72848 w 139969"/>
                <a:gd name="connsiteY1610" fmla="*/ 132653 h 286300"/>
                <a:gd name="connsiteX1611" fmla="*/ 72530 w 139969"/>
                <a:gd name="connsiteY1611" fmla="*/ 132653 h 286300"/>
                <a:gd name="connsiteX1612" fmla="*/ 71894 w 139969"/>
                <a:gd name="connsiteY1612" fmla="*/ 132971 h 286300"/>
                <a:gd name="connsiteX1613" fmla="*/ 71894 w 139969"/>
                <a:gd name="connsiteY1613" fmla="*/ 133289 h 286300"/>
                <a:gd name="connsiteX1614" fmla="*/ 77301 w 139969"/>
                <a:gd name="connsiteY1614" fmla="*/ 132016 h 286300"/>
                <a:gd name="connsiteX1615" fmla="*/ 77937 w 139969"/>
                <a:gd name="connsiteY1615" fmla="*/ 132653 h 286300"/>
                <a:gd name="connsiteX1616" fmla="*/ 78256 w 139969"/>
                <a:gd name="connsiteY1616" fmla="*/ 132971 h 286300"/>
                <a:gd name="connsiteX1617" fmla="*/ 78892 w 139969"/>
                <a:gd name="connsiteY1617" fmla="*/ 131380 h 286300"/>
                <a:gd name="connsiteX1618" fmla="*/ 78892 w 139969"/>
                <a:gd name="connsiteY1618" fmla="*/ 131062 h 286300"/>
                <a:gd name="connsiteX1619" fmla="*/ 78256 w 139969"/>
                <a:gd name="connsiteY1619" fmla="*/ 131062 h 286300"/>
                <a:gd name="connsiteX1620" fmla="*/ 77301 w 139969"/>
                <a:gd name="connsiteY1620" fmla="*/ 132016 h 286300"/>
                <a:gd name="connsiteX1621" fmla="*/ 79210 w 139969"/>
                <a:gd name="connsiteY1621" fmla="*/ 137106 h 286300"/>
                <a:gd name="connsiteX1622" fmla="*/ 78574 w 139969"/>
                <a:gd name="connsiteY1622" fmla="*/ 137742 h 286300"/>
                <a:gd name="connsiteX1623" fmla="*/ 78574 w 139969"/>
                <a:gd name="connsiteY1623" fmla="*/ 138061 h 286300"/>
                <a:gd name="connsiteX1624" fmla="*/ 79210 w 139969"/>
                <a:gd name="connsiteY1624" fmla="*/ 137742 h 286300"/>
                <a:gd name="connsiteX1625" fmla="*/ 79528 w 139969"/>
                <a:gd name="connsiteY1625" fmla="*/ 137742 h 286300"/>
                <a:gd name="connsiteX1626" fmla="*/ 79846 w 139969"/>
                <a:gd name="connsiteY1626" fmla="*/ 138061 h 286300"/>
                <a:gd name="connsiteX1627" fmla="*/ 79528 w 139969"/>
                <a:gd name="connsiteY1627" fmla="*/ 137106 h 286300"/>
                <a:gd name="connsiteX1628" fmla="*/ 79210 w 139969"/>
                <a:gd name="connsiteY1628" fmla="*/ 137106 h 286300"/>
                <a:gd name="connsiteX1629" fmla="*/ 82391 w 139969"/>
                <a:gd name="connsiteY1629" fmla="*/ 132653 h 286300"/>
                <a:gd name="connsiteX1630" fmla="*/ 82709 w 139969"/>
                <a:gd name="connsiteY1630" fmla="*/ 132335 h 286300"/>
                <a:gd name="connsiteX1631" fmla="*/ 83346 w 139969"/>
                <a:gd name="connsiteY1631" fmla="*/ 130744 h 286300"/>
                <a:gd name="connsiteX1632" fmla="*/ 85254 w 139969"/>
                <a:gd name="connsiteY1632" fmla="*/ 129471 h 286300"/>
                <a:gd name="connsiteX1633" fmla="*/ 88117 w 139969"/>
                <a:gd name="connsiteY1633" fmla="*/ 127245 h 286300"/>
                <a:gd name="connsiteX1634" fmla="*/ 85254 w 139969"/>
                <a:gd name="connsiteY1634" fmla="*/ 128835 h 286300"/>
                <a:gd name="connsiteX1635" fmla="*/ 84618 w 139969"/>
                <a:gd name="connsiteY1635" fmla="*/ 129153 h 286300"/>
                <a:gd name="connsiteX1636" fmla="*/ 82709 w 139969"/>
                <a:gd name="connsiteY1636" fmla="*/ 130426 h 286300"/>
                <a:gd name="connsiteX1637" fmla="*/ 82073 w 139969"/>
                <a:gd name="connsiteY1637" fmla="*/ 132016 h 286300"/>
                <a:gd name="connsiteX1638" fmla="*/ 82391 w 139969"/>
                <a:gd name="connsiteY1638" fmla="*/ 132653 h 286300"/>
                <a:gd name="connsiteX1639" fmla="*/ 84300 w 139969"/>
                <a:gd name="connsiteY1639" fmla="*/ 132971 h 286300"/>
                <a:gd name="connsiteX1640" fmla="*/ 83346 w 139969"/>
                <a:gd name="connsiteY1640" fmla="*/ 133607 h 286300"/>
                <a:gd name="connsiteX1641" fmla="*/ 83664 w 139969"/>
                <a:gd name="connsiteY1641" fmla="*/ 134243 h 286300"/>
                <a:gd name="connsiteX1642" fmla="*/ 84618 w 139969"/>
                <a:gd name="connsiteY1642" fmla="*/ 133289 h 286300"/>
                <a:gd name="connsiteX1643" fmla="*/ 84300 w 139969"/>
                <a:gd name="connsiteY1643" fmla="*/ 132971 h 286300"/>
                <a:gd name="connsiteX1644" fmla="*/ 87799 w 139969"/>
                <a:gd name="connsiteY1644" fmla="*/ 253853 h 286300"/>
                <a:gd name="connsiteX1645" fmla="*/ 87481 w 139969"/>
                <a:gd name="connsiteY1645" fmla="*/ 253217 h 286300"/>
                <a:gd name="connsiteX1646" fmla="*/ 86527 w 139969"/>
                <a:gd name="connsiteY1646" fmla="*/ 253217 h 286300"/>
                <a:gd name="connsiteX1647" fmla="*/ 86209 w 139969"/>
                <a:gd name="connsiteY1647" fmla="*/ 254808 h 286300"/>
                <a:gd name="connsiteX1648" fmla="*/ 86209 w 139969"/>
                <a:gd name="connsiteY1648" fmla="*/ 255762 h 286300"/>
                <a:gd name="connsiteX1649" fmla="*/ 86845 w 139969"/>
                <a:gd name="connsiteY1649" fmla="*/ 255762 h 286300"/>
                <a:gd name="connsiteX1650" fmla="*/ 87799 w 139969"/>
                <a:gd name="connsiteY1650" fmla="*/ 253853 h 286300"/>
                <a:gd name="connsiteX1651" fmla="*/ 89071 w 139969"/>
                <a:gd name="connsiteY1651" fmla="*/ 250036 h 286300"/>
                <a:gd name="connsiteX1652" fmla="*/ 88435 w 139969"/>
                <a:gd name="connsiteY1652" fmla="*/ 250354 h 286300"/>
                <a:gd name="connsiteX1653" fmla="*/ 88117 w 139969"/>
                <a:gd name="connsiteY1653" fmla="*/ 250672 h 286300"/>
                <a:gd name="connsiteX1654" fmla="*/ 88435 w 139969"/>
                <a:gd name="connsiteY1654" fmla="*/ 250672 h 286300"/>
                <a:gd name="connsiteX1655" fmla="*/ 88753 w 139969"/>
                <a:gd name="connsiteY1655" fmla="*/ 250354 h 286300"/>
                <a:gd name="connsiteX1656" fmla="*/ 89071 w 139969"/>
                <a:gd name="connsiteY1656" fmla="*/ 250036 h 286300"/>
                <a:gd name="connsiteX1657" fmla="*/ 90344 w 139969"/>
                <a:gd name="connsiteY1657" fmla="*/ 125654 h 286300"/>
                <a:gd name="connsiteX1658" fmla="*/ 92252 w 139969"/>
                <a:gd name="connsiteY1658" fmla="*/ 124700 h 286300"/>
                <a:gd name="connsiteX1659" fmla="*/ 93843 w 139969"/>
                <a:gd name="connsiteY1659" fmla="*/ 126609 h 286300"/>
                <a:gd name="connsiteX1660" fmla="*/ 93843 w 139969"/>
                <a:gd name="connsiteY1660" fmla="*/ 126927 h 286300"/>
                <a:gd name="connsiteX1661" fmla="*/ 92571 w 139969"/>
                <a:gd name="connsiteY1661" fmla="*/ 126609 h 286300"/>
                <a:gd name="connsiteX1662" fmla="*/ 91934 w 139969"/>
                <a:gd name="connsiteY1662" fmla="*/ 127563 h 286300"/>
                <a:gd name="connsiteX1663" fmla="*/ 91934 w 139969"/>
                <a:gd name="connsiteY1663" fmla="*/ 128199 h 286300"/>
                <a:gd name="connsiteX1664" fmla="*/ 92571 w 139969"/>
                <a:gd name="connsiteY1664" fmla="*/ 129153 h 286300"/>
                <a:gd name="connsiteX1665" fmla="*/ 92889 w 139969"/>
                <a:gd name="connsiteY1665" fmla="*/ 129471 h 286300"/>
                <a:gd name="connsiteX1666" fmla="*/ 93207 w 139969"/>
                <a:gd name="connsiteY1666" fmla="*/ 129153 h 286300"/>
                <a:gd name="connsiteX1667" fmla="*/ 94479 w 139969"/>
                <a:gd name="connsiteY1667" fmla="*/ 128199 h 286300"/>
                <a:gd name="connsiteX1668" fmla="*/ 95115 w 139969"/>
                <a:gd name="connsiteY1668" fmla="*/ 127245 h 286300"/>
                <a:gd name="connsiteX1669" fmla="*/ 94797 w 139969"/>
                <a:gd name="connsiteY1669" fmla="*/ 126290 h 286300"/>
                <a:gd name="connsiteX1670" fmla="*/ 95115 w 139969"/>
                <a:gd name="connsiteY1670" fmla="*/ 125336 h 286300"/>
                <a:gd name="connsiteX1671" fmla="*/ 95752 w 139969"/>
                <a:gd name="connsiteY1671" fmla="*/ 124700 h 286300"/>
                <a:gd name="connsiteX1672" fmla="*/ 95434 w 139969"/>
                <a:gd name="connsiteY1672" fmla="*/ 124064 h 286300"/>
                <a:gd name="connsiteX1673" fmla="*/ 95115 w 139969"/>
                <a:gd name="connsiteY1673" fmla="*/ 123746 h 286300"/>
                <a:gd name="connsiteX1674" fmla="*/ 95752 w 139969"/>
                <a:gd name="connsiteY1674" fmla="*/ 123427 h 286300"/>
                <a:gd name="connsiteX1675" fmla="*/ 97343 w 139969"/>
                <a:gd name="connsiteY1675" fmla="*/ 121519 h 286300"/>
                <a:gd name="connsiteX1676" fmla="*/ 98297 w 139969"/>
                <a:gd name="connsiteY1676" fmla="*/ 120882 h 286300"/>
                <a:gd name="connsiteX1677" fmla="*/ 98297 w 139969"/>
                <a:gd name="connsiteY1677" fmla="*/ 122155 h 286300"/>
                <a:gd name="connsiteX1678" fmla="*/ 99887 w 139969"/>
                <a:gd name="connsiteY1678" fmla="*/ 120882 h 286300"/>
                <a:gd name="connsiteX1679" fmla="*/ 98933 w 139969"/>
                <a:gd name="connsiteY1679" fmla="*/ 119928 h 286300"/>
                <a:gd name="connsiteX1680" fmla="*/ 98297 w 139969"/>
                <a:gd name="connsiteY1680" fmla="*/ 118656 h 286300"/>
                <a:gd name="connsiteX1681" fmla="*/ 97661 w 139969"/>
                <a:gd name="connsiteY1681" fmla="*/ 118656 h 286300"/>
                <a:gd name="connsiteX1682" fmla="*/ 94797 w 139969"/>
                <a:gd name="connsiteY1682" fmla="*/ 119928 h 286300"/>
                <a:gd name="connsiteX1683" fmla="*/ 94479 w 139969"/>
                <a:gd name="connsiteY1683" fmla="*/ 119928 h 286300"/>
                <a:gd name="connsiteX1684" fmla="*/ 93207 w 139969"/>
                <a:gd name="connsiteY1684" fmla="*/ 121201 h 286300"/>
                <a:gd name="connsiteX1685" fmla="*/ 92571 w 139969"/>
                <a:gd name="connsiteY1685" fmla="*/ 122155 h 286300"/>
                <a:gd name="connsiteX1686" fmla="*/ 90026 w 139969"/>
                <a:gd name="connsiteY1686" fmla="*/ 124700 h 286300"/>
                <a:gd name="connsiteX1687" fmla="*/ 90026 w 139969"/>
                <a:gd name="connsiteY1687" fmla="*/ 125654 h 286300"/>
                <a:gd name="connsiteX1688" fmla="*/ 90344 w 139969"/>
                <a:gd name="connsiteY1688" fmla="*/ 125654 h 286300"/>
                <a:gd name="connsiteX1689" fmla="*/ 90980 w 139969"/>
                <a:gd name="connsiteY1689" fmla="*/ 245582 h 286300"/>
                <a:gd name="connsiteX1690" fmla="*/ 90662 w 139969"/>
                <a:gd name="connsiteY1690" fmla="*/ 244946 h 286300"/>
                <a:gd name="connsiteX1691" fmla="*/ 90344 w 139969"/>
                <a:gd name="connsiteY1691" fmla="*/ 245264 h 286300"/>
                <a:gd name="connsiteX1692" fmla="*/ 90662 w 139969"/>
                <a:gd name="connsiteY1692" fmla="*/ 245582 h 286300"/>
                <a:gd name="connsiteX1693" fmla="*/ 90980 w 139969"/>
                <a:gd name="connsiteY1693" fmla="*/ 245582 h 286300"/>
                <a:gd name="connsiteX1694" fmla="*/ 90662 w 139969"/>
                <a:gd name="connsiteY1694" fmla="*/ 247809 h 286300"/>
                <a:gd name="connsiteX1695" fmla="*/ 90344 w 139969"/>
                <a:gd name="connsiteY1695" fmla="*/ 247809 h 286300"/>
                <a:gd name="connsiteX1696" fmla="*/ 90662 w 139969"/>
                <a:gd name="connsiteY1696" fmla="*/ 247809 h 286300"/>
                <a:gd name="connsiteX1697" fmla="*/ 97979 w 139969"/>
                <a:gd name="connsiteY1697" fmla="*/ 241765 h 286300"/>
                <a:gd name="connsiteX1698" fmla="*/ 97661 w 139969"/>
                <a:gd name="connsiteY1698" fmla="*/ 241129 h 286300"/>
                <a:gd name="connsiteX1699" fmla="*/ 96388 w 139969"/>
                <a:gd name="connsiteY1699" fmla="*/ 240174 h 286300"/>
                <a:gd name="connsiteX1700" fmla="*/ 95752 w 139969"/>
                <a:gd name="connsiteY1700" fmla="*/ 239856 h 286300"/>
                <a:gd name="connsiteX1701" fmla="*/ 95434 w 139969"/>
                <a:gd name="connsiteY1701" fmla="*/ 240174 h 286300"/>
                <a:gd name="connsiteX1702" fmla="*/ 92889 w 139969"/>
                <a:gd name="connsiteY1702" fmla="*/ 242401 h 286300"/>
                <a:gd name="connsiteX1703" fmla="*/ 92252 w 139969"/>
                <a:gd name="connsiteY1703" fmla="*/ 243356 h 286300"/>
                <a:gd name="connsiteX1704" fmla="*/ 91934 w 139969"/>
                <a:gd name="connsiteY1704" fmla="*/ 243992 h 286300"/>
                <a:gd name="connsiteX1705" fmla="*/ 92252 w 139969"/>
                <a:gd name="connsiteY1705" fmla="*/ 244310 h 286300"/>
                <a:gd name="connsiteX1706" fmla="*/ 92889 w 139969"/>
                <a:gd name="connsiteY1706" fmla="*/ 244310 h 286300"/>
                <a:gd name="connsiteX1707" fmla="*/ 93843 w 139969"/>
                <a:gd name="connsiteY1707" fmla="*/ 243356 h 286300"/>
                <a:gd name="connsiteX1708" fmla="*/ 93843 w 139969"/>
                <a:gd name="connsiteY1708" fmla="*/ 242719 h 286300"/>
                <a:gd name="connsiteX1709" fmla="*/ 94797 w 139969"/>
                <a:gd name="connsiteY1709" fmla="*/ 241765 h 286300"/>
                <a:gd name="connsiteX1710" fmla="*/ 96706 w 139969"/>
                <a:gd name="connsiteY1710" fmla="*/ 242401 h 286300"/>
                <a:gd name="connsiteX1711" fmla="*/ 97979 w 139969"/>
                <a:gd name="connsiteY1711" fmla="*/ 241765 h 286300"/>
                <a:gd name="connsiteX1712" fmla="*/ 96070 w 139969"/>
                <a:gd name="connsiteY1712" fmla="*/ 112930 h 286300"/>
                <a:gd name="connsiteX1713" fmla="*/ 96388 w 139969"/>
                <a:gd name="connsiteY1713" fmla="*/ 112930 h 286300"/>
                <a:gd name="connsiteX1714" fmla="*/ 96070 w 139969"/>
                <a:gd name="connsiteY1714" fmla="*/ 113248 h 286300"/>
                <a:gd name="connsiteX1715" fmla="*/ 96070 w 139969"/>
                <a:gd name="connsiteY1715" fmla="*/ 112930 h 286300"/>
                <a:gd name="connsiteX1716" fmla="*/ 97979 w 139969"/>
                <a:gd name="connsiteY1716" fmla="*/ 238584 h 286300"/>
                <a:gd name="connsiteX1717" fmla="*/ 97661 w 139969"/>
                <a:gd name="connsiteY1717" fmla="*/ 238266 h 286300"/>
                <a:gd name="connsiteX1718" fmla="*/ 97343 w 139969"/>
                <a:gd name="connsiteY1718" fmla="*/ 238266 h 286300"/>
                <a:gd name="connsiteX1719" fmla="*/ 97024 w 139969"/>
                <a:gd name="connsiteY1719" fmla="*/ 238902 h 286300"/>
                <a:gd name="connsiteX1720" fmla="*/ 97661 w 139969"/>
                <a:gd name="connsiteY1720" fmla="*/ 239538 h 286300"/>
                <a:gd name="connsiteX1721" fmla="*/ 97661 w 139969"/>
                <a:gd name="connsiteY1721" fmla="*/ 239220 h 286300"/>
                <a:gd name="connsiteX1722" fmla="*/ 97979 w 139969"/>
                <a:gd name="connsiteY1722" fmla="*/ 239220 h 286300"/>
                <a:gd name="connsiteX1723" fmla="*/ 97979 w 139969"/>
                <a:gd name="connsiteY1723" fmla="*/ 238584 h 286300"/>
                <a:gd name="connsiteX1724" fmla="*/ 99251 w 139969"/>
                <a:gd name="connsiteY1724" fmla="*/ 115793 h 286300"/>
                <a:gd name="connsiteX1725" fmla="*/ 99569 w 139969"/>
                <a:gd name="connsiteY1725" fmla="*/ 115475 h 286300"/>
                <a:gd name="connsiteX1726" fmla="*/ 99251 w 139969"/>
                <a:gd name="connsiteY1726" fmla="*/ 115156 h 286300"/>
                <a:gd name="connsiteX1727" fmla="*/ 98615 w 139969"/>
                <a:gd name="connsiteY1727" fmla="*/ 115475 h 286300"/>
                <a:gd name="connsiteX1728" fmla="*/ 99251 w 139969"/>
                <a:gd name="connsiteY1728" fmla="*/ 115793 h 286300"/>
                <a:gd name="connsiteX1729" fmla="*/ 99887 w 139969"/>
                <a:gd name="connsiteY1729" fmla="*/ 118019 h 286300"/>
                <a:gd name="connsiteX1730" fmla="*/ 103068 w 139969"/>
                <a:gd name="connsiteY1730" fmla="*/ 115156 h 286300"/>
                <a:gd name="connsiteX1731" fmla="*/ 102432 w 139969"/>
                <a:gd name="connsiteY1731" fmla="*/ 115156 h 286300"/>
                <a:gd name="connsiteX1732" fmla="*/ 98933 w 139969"/>
                <a:gd name="connsiteY1732" fmla="*/ 118019 h 286300"/>
                <a:gd name="connsiteX1733" fmla="*/ 99887 w 139969"/>
                <a:gd name="connsiteY1733" fmla="*/ 118019 h 286300"/>
                <a:gd name="connsiteX1734" fmla="*/ 99887 w 139969"/>
                <a:gd name="connsiteY1734" fmla="*/ 233812 h 286300"/>
                <a:gd name="connsiteX1735" fmla="*/ 100524 w 139969"/>
                <a:gd name="connsiteY1735" fmla="*/ 233494 h 286300"/>
                <a:gd name="connsiteX1736" fmla="*/ 100205 w 139969"/>
                <a:gd name="connsiteY1736" fmla="*/ 233494 h 286300"/>
                <a:gd name="connsiteX1737" fmla="*/ 100205 w 139969"/>
                <a:gd name="connsiteY1737" fmla="*/ 233176 h 286300"/>
                <a:gd name="connsiteX1738" fmla="*/ 99569 w 139969"/>
                <a:gd name="connsiteY1738" fmla="*/ 233812 h 286300"/>
                <a:gd name="connsiteX1739" fmla="*/ 99887 w 139969"/>
                <a:gd name="connsiteY1739" fmla="*/ 233812 h 286300"/>
                <a:gd name="connsiteX1740" fmla="*/ 101796 w 139969"/>
                <a:gd name="connsiteY1740" fmla="*/ 236039 h 286300"/>
                <a:gd name="connsiteX1741" fmla="*/ 99569 w 139969"/>
                <a:gd name="connsiteY1741" fmla="*/ 235085 h 286300"/>
                <a:gd name="connsiteX1742" fmla="*/ 99569 w 139969"/>
                <a:gd name="connsiteY1742" fmla="*/ 235403 h 286300"/>
                <a:gd name="connsiteX1743" fmla="*/ 100524 w 139969"/>
                <a:gd name="connsiteY1743" fmla="*/ 236993 h 286300"/>
                <a:gd name="connsiteX1744" fmla="*/ 101478 w 139969"/>
                <a:gd name="connsiteY1744" fmla="*/ 236675 h 286300"/>
                <a:gd name="connsiteX1745" fmla="*/ 101796 w 139969"/>
                <a:gd name="connsiteY1745" fmla="*/ 236039 h 286300"/>
                <a:gd name="connsiteX1746" fmla="*/ 100842 w 139969"/>
                <a:gd name="connsiteY1746" fmla="*/ 112293 h 286300"/>
                <a:gd name="connsiteX1747" fmla="*/ 101478 w 139969"/>
                <a:gd name="connsiteY1747" fmla="*/ 113248 h 286300"/>
                <a:gd name="connsiteX1748" fmla="*/ 101478 w 139969"/>
                <a:gd name="connsiteY1748" fmla="*/ 113566 h 286300"/>
                <a:gd name="connsiteX1749" fmla="*/ 102114 w 139969"/>
                <a:gd name="connsiteY1749" fmla="*/ 113884 h 286300"/>
                <a:gd name="connsiteX1750" fmla="*/ 102432 w 139969"/>
                <a:gd name="connsiteY1750" fmla="*/ 113566 h 286300"/>
                <a:gd name="connsiteX1751" fmla="*/ 103705 w 139969"/>
                <a:gd name="connsiteY1751" fmla="*/ 112293 h 286300"/>
                <a:gd name="connsiteX1752" fmla="*/ 103068 w 139969"/>
                <a:gd name="connsiteY1752" fmla="*/ 112293 h 286300"/>
                <a:gd name="connsiteX1753" fmla="*/ 101796 w 139969"/>
                <a:gd name="connsiteY1753" fmla="*/ 111657 h 286300"/>
                <a:gd name="connsiteX1754" fmla="*/ 101796 w 139969"/>
                <a:gd name="connsiteY1754" fmla="*/ 111021 h 286300"/>
                <a:gd name="connsiteX1755" fmla="*/ 101160 w 139969"/>
                <a:gd name="connsiteY1755" fmla="*/ 111339 h 286300"/>
                <a:gd name="connsiteX1756" fmla="*/ 100205 w 139969"/>
                <a:gd name="connsiteY1756" fmla="*/ 111657 h 286300"/>
                <a:gd name="connsiteX1757" fmla="*/ 100842 w 139969"/>
                <a:gd name="connsiteY1757" fmla="*/ 112293 h 286300"/>
                <a:gd name="connsiteX1758" fmla="*/ 102750 w 139969"/>
                <a:gd name="connsiteY1758" fmla="*/ 109112 h 286300"/>
                <a:gd name="connsiteX1759" fmla="*/ 103068 w 139969"/>
                <a:gd name="connsiteY1759" fmla="*/ 109430 h 286300"/>
                <a:gd name="connsiteX1760" fmla="*/ 104341 w 139969"/>
                <a:gd name="connsiteY1760" fmla="*/ 109112 h 286300"/>
                <a:gd name="connsiteX1761" fmla="*/ 104023 w 139969"/>
                <a:gd name="connsiteY1761" fmla="*/ 108794 h 286300"/>
                <a:gd name="connsiteX1762" fmla="*/ 103068 w 139969"/>
                <a:gd name="connsiteY1762" fmla="*/ 108794 h 286300"/>
                <a:gd name="connsiteX1763" fmla="*/ 102750 w 139969"/>
                <a:gd name="connsiteY1763" fmla="*/ 109112 h 286300"/>
                <a:gd name="connsiteX1764" fmla="*/ 104023 w 139969"/>
                <a:gd name="connsiteY1764" fmla="*/ 114202 h 286300"/>
                <a:gd name="connsiteX1765" fmla="*/ 103705 w 139969"/>
                <a:gd name="connsiteY1765" fmla="*/ 114202 h 286300"/>
                <a:gd name="connsiteX1766" fmla="*/ 103068 w 139969"/>
                <a:gd name="connsiteY1766" fmla="*/ 115156 h 286300"/>
                <a:gd name="connsiteX1767" fmla="*/ 104341 w 139969"/>
                <a:gd name="connsiteY1767" fmla="*/ 114520 h 286300"/>
                <a:gd name="connsiteX1768" fmla="*/ 104023 w 139969"/>
                <a:gd name="connsiteY1768" fmla="*/ 114202 h 286300"/>
                <a:gd name="connsiteX1769" fmla="*/ 105295 w 139969"/>
                <a:gd name="connsiteY1769" fmla="*/ 111339 h 286300"/>
                <a:gd name="connsiteX1770" fmla="*/ 105613 w 139969"/>
                <a:gd name="connsiteY1770" fmla="*/ 111339 h 286300"/>
                <a:gd name="connsiteX1771" fmla="*/ 106567 w 139969"/>
                <a:gd name="connsiteY1771" fmla="*/ 111021 h 286300"/>
                <a:gd name="connsiteX1772" fmla="*/ 105931 w 139969"/>
                <a:gd name="connsiteY1772" fmla="*/ 110703 h 286300"/>
                <a:gd name="connsiteX1773" fmla="*/ 105295 w 139969"/>
                <a:gd name="connsiteY1773" fmla="*/ 111339 h 286300"/>
                <a:gd name="connsiteX1774" fmla="*/ 105931 w 139969"/>
                <a:gd name="connsiteY1774" fmla="*/ 113566 h 286300"/>
                <a:gd name="connsiteX1775" fmla="*/ 106249 w 139969"/>
                <a:gd name="connsiteY1775" fmla="*/ 113248 h 286300"/>
                <a:gd name="connsiteX1776" fmla="*/ 106886 w 139969"/>
                <a:gd name="connsiteY1776" fmla="*/ 113566 h 286300"/>
                <a:gd name="connsiteX1777" fmla="*/ 106567 w 139969"/>
                <a:gd name="connsiteY1777" fmla="*/ 112930 h 286300"/>
                <a:gd name="connsiteX1778" fmla="*/ 105931 w 139969"/>
                <a:gd name="connsiteY1778" fmla="*/ 113248 h 286300"/>
                <a:gd name="connsiteX1779" fmla="*/ 105931 w 139969"/>
                <a:gd name="connsiteY1779" fmla="*/ 113566 h 286300"/>
                <a:gd name="connsiteX1780" fmla="*/ 106567 w 139969"/>
                <a:gd name="connsiteY1780" fmla="*/ 117065 h 286300"/>
                <a:gd name="connsiteX1781" fmla="*/ 108158 w 139969"/>
                <a:gd name="connsiteY1781" fmla="*/ 116429 h 286300"/>
                <a:gd name="connsiteX1782" fmla="*/ 107840 w 139969"/>
                <a:gd name="connsiteY1782" fmla="*/ 115793 h 286300"/>
                <a:gd name="connsiteX1783" fmla="*/ 106567 w 139969"/>
                <a:gd name="connsiteY1783" fmla="*/ 117065 h 286300"/>
                <a:gd name="connsiteX1784" fmla="*/ 108794 w 139969"/>
                <a:gd name="connsiteY1784" fmla="*/ 108476 h 286300"/>
                <a:gd name="connsiteX1785" fmla="*/ 108158 w 139969"/>
                <a:gd name="connsiteY1785" fmla="*/ 109112 h 286300"/>
                <a:gd name="connsiteX1786" fmla="*/ 107840 w 139969"/>
                <a:gd name="connsiteY1786" fmla="*/ 109430 h 286300"/>
                <a:gd name="connsiteX1787" fmla="*/ 108158 w 139969"/>
                <a:gd name="connsiteY1787" fmla="*/ 109749 h 286300"/>
                <a:gd name="connsiteX1788" fmla="*/ 108476 w 139969"/>
                <a:gd name="connsiteY1788" fmla="*/ 109112 h 286300"/>
                <a:gd name="connsiteX1789" fmla="*/ 110067 w 139969"/>
                <a:gd name="connsiteY1789" fmla="*/ 108476 h 286300"/>
                <a:gd name="connsiteX1790" fmla="*/ 111658 w 139969"/>
                <a:gd name="connsiteY1790" fmla="*/ 106886 h 286300"/>
                <a:gd name="connsiteX1791" fmla="*/ 111976 w 139969"/>
                <a:gd name="connsiteY1791" fmla="*/ 106567 h 286300"/>
                <a:gd name="connsiteX1792" fmla="*/ 111658 w 139969"/>
                <a:gd name="connsiteY1792" fmla="*/ 106249 h 286300"/>
                <a:gd name="connsiteX1793" fmla="*/ 110067 w 139969"/>
                <a:gd name="connsiteY1793" fmla="*/ 106567 h 286300"/>
                <a:gd name="connsiteX1794" fmla="*/ 109431 w 139969"/>
                <a:gd name="connsiteY1794" fmla="*/ 105931 h 286300"/>
                <a:gd name="connsiteX1795" fmla="*/ 109112 w 139969"/>
                <a:gd name="connsiteY1795" fmla="*/ 105613 h 286300"/>
                <a:gd name="connsiteX1796" fmla="*/ 107840 w 139969"/>
                <a:gd name="connsiteY1796" fmla="*/ 106249 h 286300"/>
                <a:gd name="connsiteX1797" fmla="*/ 107522 w 139969"/>
                <a:gd name="connsiteY1797" fmla="*/ 106249 h 286300"/>
                <a:gd name="connsiteX1798" fmla="*/ 107840 w 139969"/>
                <a:gd name="connsiteY1798" fmla="*/ 106886 h 286300"/>
                <a:gd name="connsiteX1799" fmla="*/ 108158 w 139969"/>
                <a:gd name="connsiteY1799" fmla="*/ 107204 h 286300"/>
                <a:gd name="connsiteX1800" fmla="*/ 108794 w 139969"/>
                <a:gd name="connsiteY1800" fmla="*/ 108476 h 286300"/>
                <a:gd name="connsiteX1801" fmla="*/ 108794 w 139969"/>
                <a:gd name="connsiteY1801" fmla="*/ 117383 h 286300"/>
                <a:gd name="connsiteX1802" fmla="*/ 108794 w 139969"/>
                <a:gd name="connsiteY1802" fmla="*/ 117701 h 286300"/>
                <a:gd name="connsiteX1803" fmla="*/ 109112 w 139969"/>
                <a:gd name="connsiteY1803" fmla="*/ 117065 h 286300"/>
                <a:gd name="connsiteX1804" fmla="*/ 108794 w 139969"/>
                <a:gd name="connsiteY1804" fmla="*/ 117383 h 286300"/>
                <a:gd name="connsiteX1805" fmla="*/ 109112 w 139969"/>
                <a:gd name="connsiteY1805" fmla="*/ 111339 h 286300"/>
                <a:gd name="connsiteX1806" fmla="*/ 109431 w 139969"/>
                <a:gd name="connsiteY1806" fmla="*/ 111339 h 286300"/>
                <a:gd name="connsiteX1807" fmla="*/ 110703 w 139969"/>
                <a:gd name="connsiteY1807" fmla="*/ 109430 h 286300"/>
                <a:gd name="connsiteX1808" fmla="*/ 110703 w 139969"/>
                <a:gd name="connsiteY1808" fmla="*/ 109112 h 286300"/>
                <a:gd name="connsiteX1809" fmla="*/ 110385 w 139969"/>
                <a:gd name="connsiteY1809" fmla="*/ 109112 h 286300"/>
                <a:gd name="connsiteX1810" fmla="*/ 109112 w 139969"/>
                <a:gd name="connsiteY1810" fmla="*/ 111021 h 286300"/>
                <a:gd name="connsiteX1811" fmla="*/ 109112 w 139969"/>
                <a:gd name="connsiteY1811" fmla="*/ 111339 h 286300"/>
                <a:gd name="connsiteX1812" fmla="*/ 111976 w 139969"/>
                <a:gd name="connsiteY1812" fmla="*/ 109749 h 286300"/>
                <a:gd name="connsiteX1813" fmla="*/ 111658 w 139969"/>
                <a:gd name="connsiteY1813" fmla="*/ 110067 h 286300"/>
                <a:gd name="connsiteX1814" fmla="*/ 111339 w 139969"/>
                <a:gd name="connsiteY1814" fmla="*/ 110703 h 286300"/>
                <a:gd name="connsiteX1815" fmla="*/ 112612 w 139969"/>
                <a:gd name="connsiteY1815" fmla="*/ 111975 h 286300"/>
                <a:gd name="connsiteX1816" fmla="*/ 112612 w 139969"/>
                <a:gd name="connsiteY1816" fmla="*/ 111657 h 286300"/>
                <a:gd name="connsiteX1817" fmla="*/ 112612 w 139969"/>
                <a:gd name="connsiteY1817" fmla="*/ 110067 h 286300"/>
                <a:gd name="connsiteX1818" fmla="*/ 111976 w 139969"/>
                <a:gd name="connsiteY1818" fmla="*/ 109749 h 286300"/>
                <a:gd name="connsiteX1819" fmla="*/ 112612 w 139969"/>
                <a:gd name="connsiteY1819" fmla="*/ 105295 h 286300"/>
                <a:gd name="connsiteX1820" fmla="*/ 113566 w 139969"/>
                <a:gd name="connsiteY1820" fmla="*/ 105613 h 286300"/>
                <a:gd name="connsiteX1821" fmla="*/ 114839 w 139969"/>
                <a:gd name="connsiteY1821" fmla="*/ 104977 h 286300"/>
                <a:gd name="connsiteX1822" fmla="*/ 114839 w 139969"/>
                <a:gd name="connsiteY1822" fmla="*/ 104341 h 286300"/>
                <a:gd name="connsiteX1823" fmla="*/ 114520 w 139969"/>
                <a:gd name="connsiteY1823" fmla="*/ 104023 h 286300"/>
                <a:gd name="connsiteX1824" fmla="*/ 113884 w 139969"/>
                <a:gd name="connsiteY1824" fmla="*/ 104341 h 286300"/>
                <a:gd name="connsiteX1825" fmla="*/ 112612 w 139969"/>
                <a:gd name="connsiteY1825" fmla="*/ 104659 h 286300"/>
                <a:gd name="connsiteX1826" fmla="*/ 112612 w 139969"/>
                <a:gd name="connsiteY1826" fmla="*/ 105295 h 286300"/>
                <a:gd name="connsiteX1827" fmla="*/ 114839 w 139969"/>
                <a:gd name="connsiteY1827" fmla="*/ 106249 h 286300"/>
                <a:gd name="connsiteX1828" fmla="*/ 113884 w 139969"/>
                <a:gd name="connsiteY1828" fmla="*/ 107204 h 286300"/>
                <a:gd name="connsiteX1829" fmla="*/ 113884 w 139969"/>
                <a:gd name="connsiteY1829" fmla="*/ 107522 h 286300"/>
                <a:gd name="connsiteX1830" fmla="*/ 114202 w 139969"/>
                <a:gd name="connsiteY1830" fmla="*/ 107840 h 286300"/>
                <a:gd name="connsiteX1831" fmla="*/ 114520 w 139969"/>
                <a:gd name="connsiteY1831" fmla="*/ 107840 h 286300"/>
                <a:gd name="connsiteX1832" fmla="*/ 115157 w 139969"/>
                <a:gd name="connsiteY1832" fmla="*/ 107522 h 286300"/>
                <a:gd name="connsiteX1833" fmla="*/ 115157 w 139969"/>
                <a:gd name="connsiteY1833" fmla="*/ 106567 h 286300"/>
                <a:gd name="connsiteX1834" fmla="*/ 114839 w 139969"/>
                <a:gd name="connsiteY1834" fmla="*/ 106249 h 286300"/>
                <a:gd name="connsiteX1835" fmla="*/ 119928 w 139969"/>
                <a:gd name="connsiteY1835" fmla="*/ 193412 h 286300"/>
                <a:gd name="connsiteX1836" fmla="*/ 119292 w 139969"/>
                <a:gd name="connsiteY1836" fmla="*/ 193412 h 286300"/>
                <a:gd name="connsiteX1837" fmla="*/ 118020 w 139969"/>
                <a:gd name="connsiteY1837" fmla="*/ 193094 h 286300"/>
                <a:gd name="connsiteX1838" fmla="*/ 118020 w 139969"/>
                <a:gd name="connsiteY1838" fmla="*/ 193730 h 286300"/>
                <a:gd name="connsiteX1839" fmla="*/ 119610 w 139969"/>
                <a:gd name="connsiteY1839" fmla="*/ 194684 h 286300"/>
                <a:gd name="connsiteX1840" fmla="*/ 119928 w 139969"/>
                <a:gd name="connsiteY1840" fmla="*/ 193730 h 286300"/>
                <a:gd name="connsiteX1841" fmla="*/ 119928 w 139969"/>
                <a:gd name="connsiteY1841" fmla="*/ 193412 h 286300"/>
                <a:gd name="connsiteX1842" fmla="*/ 118974 w 139969"/>
                <a:gd name="connsiteY1842" fmla="*/ 195639 h 286300"/>
                <a:gd name="connsiteX1843" fmla="*/ 118020 w 139969"/>
                <a:gd name="connsiteY1843" fmla="*/ 197229 h 286300"/>
                <a:gd name="connsiteX1844" fmla="*/ 118020 w 139969"/>
                <a:gd name="connsiteY1844" fmla="*/ 197547 h 286300"/>
                <a:gd name="connsiteX1845" fmla="*/ 118338 w 139969"/>
                <a:gd name="connsiteY1845" fmla="*/ 197547 h 286300"/>
                <a:gd name="connsiteX1846" fmla="*/ 119610 w 139969"/>
                <a:gd name="connsiteY1846" fmla="*/ 195639 h 286300"/>
                <a:gd name="connsiteX1847" fmla="*/ 118974 w 139969"/>
                <a:gd name="connsiteY1847" fmla="*/ 195639 h 286300"/>
                <a:gd name="connsiteX1848" fmla="*/ 122473 w 139969"/>
                <a:gd name="connsiteY1848" fmla="*/ 184187 h 286300"/>
                <a:gd name="connsiteX1849" fmla="*/ 122155 w 139969"/>
                <a:gd name="connsiteY1849" fmla="*/ 182914 h 286300"/>
                <a:gd name="connsiteX1850" fmla="*/ 122155 w 139969"/>
                <a:gd name="connsiteY1850" fmla="*/ 182596 h 286300"/>
                <a:gd name="connsiteX1851" fmla="*/ 121519 w 139969"/>
                <a:gd name="connsiteY1851" fmla="*/ 182914 h 286300"/>
                <a:gd name="connsiteX1852" fmla="*/ 120564 w 139969"/>
                <a:gd name="connsiteY1852" fmla="*/ 184505 h 286300"/>
                <a:gd name="connsiteX1853" fmla="*/ 120882 w 139969"/>
                <a:gd name="connsiteY1853" fmla="*/ 185777 h 286300"/>
                <a:gd name="connsiteX1854" fmla="*/ 121837 w 139969"/>
                <a:gd name="connsiteY1854" fmla="*/ 186095 h 286300"/>
                <a:gd name="connsiteX1855" fmla="*/ 122473 w 139969"/>
                <a:gd name="connsiteY1855" fmla="*/ 184505 h 286300"/>
                <a:gd name="connsiteX1856" fmla="*/ 122473 w 139969"/>
                <a:gd name="connsiteY1856" fmla="*/ 184187 h 286300"/>
                <a:gd name="connsiteX1857" fmla="*/ 121837 w 139969"/>
                <a:gd name="connsiteY1857" fmla="*/ 187368 h 286300"/>
                <a:gd name="connsiteX1858" fmla="*/ 121201 w 139969"/>
                <a:gd name="connsiteY1858" fmla="*/ 186732 h 286300"/>
                <a:gd name="connsiteX1859" fmla="*/ 120882 w 139969"/>
                <a:gd name="connsiteY1859" fmla="*/ 187686 h 286300"/>
                <a:gd name="connsiteX1860" fmla="*/ 121519 w 139969"/>
                <a:gd name="connsiteY1860" fmla="*/ 188004 h 286300"/>
                <a:gd name="connsiteX1861" fmla="*/ 121837 w 139969"/>
                <a:gd name="connsiteY1861" fmla="*/ 187368 h 286300"/>
                <a:gd name="connsiteX1862" fmla="*/ 122155 w 139969"/>
                <a:gd name="connsiteY1862" fmla="*/ 177506 h 286300"/>
                <a:gd name="connsiteX1863" fmla="*/ 122155 w 139969"/>
                <a:gd name="connsiteY1863" fmla="*/ 178143 h 286300"/>
                <a:gd name="connsiteX1864" fmla="*/ 122791 w 139969"/>
                <a:gd name="connsiteY1864" fmla="*/ 178143 h 286300"/>
                <a:gd name="connsiteX1865" fmla="*/ 122155 w 139969"/>
                <a:gd name="connsiteY1865" fmla="*/ 177506 h 286300"/>
                <a:gd name="connsiteX1866" fmla="*/ 122791 w 139969"/>
                <a:gd name="connsiteY1866" fmla="*/ 174643 h 286300"/>
                <a:gd name="connsiteX1867" fmla="*/ 123109 w 139969"/>
                <a:gd name="connsiteY1867" fmla="*/ 174962 h 286300"/>
                <a:gd name="connsiteX1868" fmla="*/ 123428 w 139969"/>
                <a:gd name="connsiteY1868" fmla="*/ 174643 h 286300"/>
                <a:gd name="connsiteX1869" fmla="*/ 123109 w 139969"/>
                <a:gd name="connsiteY1869" fmla="*/ 174007 h 286300"/>
                <a:gd name="connsiteX1870" fmla="*/ 123109 w 139969"/>
                <a:gd name="connsiteY1870" fmla="*/ 174325 h 286300"/>
                <a:gd name="connsiteX1871" fmla="*/ 122791 w 139969"/>
                <a:gd name="connsiteY1871" fmla="*/ 174643 h 286300"/>
                <a:gd name="connsiteX1872" fmla="*/ 123428 w 139969"/>
                <a:gd name="connsiteY1872" fmla="*/ 179097 h 286300"/>
                <a:gd name="connsiteX1873" fmla="*/ 123746 w 139969"/>
                <a:gd name="connsiteY1873" fmla="*/ 179733 h 286300"/>
                <a:gd name="connsiteX1874" fmla="*/ 124064 w 139969"/>
                <a:gd name="connsiteY1874" fmla="*/ 179733 h 286300"/>
                <a:gd name="connsiteX1875" fmla="*/ 124064 w 139969"/>
                <a:gd name="connsiteY1875" fmla="*/ 178143 h 286300"/>
                <a:gd name="connsiteX1876" fmla="*/ 123428 w 139969"/>
                <a:gd name="connsiteY1876" fmla="*/ 179097 h 286300"/>
                <a:gd name="connsiteX1877" fmla="*/ 124382 w 139969"/>
                <a:gd name="connsiteY1877" fmla="*/ 181960 h 286300"/>
                <a:gd name="connsiteX1878" fmla="*/ 123746 w 139969"/>
                <a:gd name="connsiteY1878" fmla="*/ 181324 h 286300"/>
                <a:gd name="connsiteX1879" fmla="*/ 123428 w 139969"/>
                <a:gd name="connsiteY1879" fmla="*/ 181642 h 286300"/>
                <a:gd name="connsiteX1880" fmla="*/ 123428 w 139969"/>
                <a:gd name="connsiteY1880" fmla="*/ 181960 h 286300"/>
                <a:gd name="connsiteX1881" fmla="*/ 124064 w 139969"/>
                <a:gd name="connsiteY1881" fmla="*/ 182278 h 286300"/>
                <a:gd name="connsiteX1882" fmla="*/ 124382 w 139969"/>
                <a:gd name="connsiteY1882" fmla="*/ 181960 h 286300"/>
                <a:gd name="connsiteX1883" fmla="*/ 129154 w 139969"/>
                <a:gd name="connsiteY1883" fmla="*/ 160965 h 286300"/>
                <a:gd name="connsiteX1884" fmla="*/ 128199 w 139969"/>
                <a:gd name="connsiteY1884" fmla="*/ 160646 h 286300"/>
                <a:gd name="connsiteX1885" fmla="*/ 127881 w 139969"/>
                <a:gd name="connsiteY1885" fmla="*/ 161601 h 286300"/>
                <a:gd name="connsiteX1886" fmla="*/ 127563 w 139969"/>
                <a:gd name="connsiteY1886" fmla="*/ 163509 h 286300"/>
                <a:gd name="connsiteX1887" fmla="*/ 126609 w 139969"/>
                <a:gd name="connsiteY1887" fmla="*/ 164464 h 286300"/>
                <a:gd name="connsiteX1888" fmla="*/ 126609 w 139969"/>
                <a:gd name="connsiteY1888" fmla="*/ 164782 h 286300"/>
                <a:gd name="connsiteX1889" fmla="*/ 126927 w 139969"/>
                <a:gd name="connsiteY1889" fmla="*/ 165100 h 286300"/>
                <a:gd name="connsiteX1890" fmla="*/ 125654 w 139969"/>
                <a:gd name="connsiteY1890" fmla="*/ 166372 h 286300"/>
                <a:gd name="connsiteX1891" fmla="*/ 125018 w 139969"/>
                <a:gd name="connsiteY1891" fmla="*/ 166691 h 286300"/>
                <a:gd name="connsiteX1892" fmla="*/ 124382 w 139969"/>
                <a:gd name="connsiteY1892" fmla="*/ 168917 h 286300"/>
                <a:gd name="connsiteX1893" fmla="*/ 124700 w 139969"/>
                <a:gd name="connsiteY1893" fmla="*/ 169872 h 286300"/>
                <a:gd name="connsiteX1894" fmla="*/ 125336 w 139969"/>
                <a:gd name="connsiteY1894" fmla="*/ 172735 h 286300"/>
                <a:gd name="connsiteX1895" fmla="*/ 125654 w 139969"/>
                <a:gd name="connsiteY1895" fmla="*/ 173053 h 286300"/>
                <a:gd name="connsiteX1896" fmla="*/ 125973 w 139969"/>
                <a:gd name="connsiteY1896" fmla="*/ 173053 h 286300"/>
                <a:gd name="connsiteX1897" fmla="*/ 126291 w 139969"/>
                <a:gd name="connsiteY1897" fmla="*/ 172735 h 286300"/>
                <a:gd name="connsiteX1898" fmla="*/ 127563 w 139969"/>
                <a:gd name="connsiteY1898" fmla="*/ 167327 h 286300"/>
                <a:gd name="connsiteX1899" fmla="*/ 129154 w 139969"/>
                <a:gd name="connsiteY1899" fmla="*/ 162237 h 286300"/>
                <a:gd name="connsiteX1900" fmla="*/ 129154 w 139969"/>
                <a:gd name="connsiteY1900" fmla="*/ 160965 h 286300"/>
                <a:gd name="connsiteX1901" fmla="*/ 125973 w 139969"/>
                <a:gd name="connsiteY1901" fmla="*/ 175916 h 286300"/>
                <a:gd name="connsiteX1902" fmla="*/ 125336 w 139969"/>
                <a:gd name="connsiteY1902" fmla="*/ 175916 h 286300"/>
                <a:gd name="connsiteX1903" fmla="*/ 125654 w 139969"/>
                <a:gd name="connsiteY1903" fmla="*/ 176234 h 286300"/>
                <a:gd name="connsiteX1904" fmla="*/ 125973 w 139969"/>
                <a:gd name="connsiteY1904" fmla="*/ 175916 h 286300"/>
                <a:gd name="connsiteX1905" fmla="*/ 128517 w 139969"/>
                <a:gd name="connsiteY1905" fmla="*/ 153012 h 286300"/>
                <a:gd name="connsiteX1906" fmla="*/ 128517 w 139969"/>
                <a:gd name="connsiteY1906" fmla="*/ 152694 h 286300"/>
                <a:gd name="connsiteX1907" fmla="*/ 128199 w 139969"/>
                <a:gd name="connsiteY1907" fmla="*/ 151739 h 286300"/>
                <a:gd name="connsiteX1908" fmla="*/ 127881 w 139969"/>
                <a:gd name="connsiteY1908" fmla="*/ 152694 h 286300"/>
                <a:gd name="connsiteX1909" fmla="*/ 128517 w 139969"/>
                <a:gd name="connsiteY1909" fmla="*/ 153012 h 286300"/>
                <a:gd name="connsiteX1910" fmla="*/ 131698 w 139969"/>
                <a:gd name="connsiteY1910" fmla="*/ 147922 h 286300"/>
                <a:gd name="connsiteX1911" fmla="*/ 131380 w 139969"/>
                <a:gd name="connsiteY1911" fmla="*/ 145377 h 286300"/>
                <a:gd name="connsiteX1912" fmla="*/ 131062 w 139969"/>
                <a:gd name="connsiteY1912" fmla="*/ 145377 h 286300"/>
                <a:gd name="connsiteX1913" fmla="*/ 130744 w 139969"/>
                <a:gd name="connsiteY1913" fmla="*/ 146650 h 286300"/>
                <a:gd name="connsiteX1914" fmla="*/ 130426 w 139969"/>
                <a:gd name="connsiteY1914" fmla="*/ 147286 h 286300"/>
                <a:gd name="connsiteX1915" fmla="*/ 130744 w 139969"/>
                <a:gd name="connsiteY1915" fmla="*/ 148240 h 286300"/>
                <a:gd name="connsiteX1916" fmla="*/ 129790 w 139969"/>
                <a:gd name="connsiteY1916" fmla="*/ 148558 h 286300"/>
                <a:gd name="connsiteX1917" fmla="*/ 128835 w 139969"/>
                <a:gd name="connsiteY1917" fmla="*/ 149194 h 286300"/>
                <a:gd name="connsiteX1918" fmla="*/ 128199 w 139969"/>
                <a:gd name="connsiteY1918" fmla="*/ 151739 h 286300"/>
                <a:gd name="connsiteX1919" fmla="*/ 129790 w 139969"/>
                <a:gd name="connsiteY1919" fmla="*/ 152694 h 286300"/>
                <a:gd name="connsiteX1920" fmla="*/ 130108 w 139969"/>
                <a:gd name="connsiteY1920" fmla="*/ 153012 h 286300"/>
                <a:gd name="connsiteX1921" fmla="*/ 130426 w 139969"/>
                <a:gd name="connsiteY1921" fmla="*/ 153012 h 286300"/>
                <a:gd name="connsiteX1922" fmla="*/ 130744 w 139969"/>
                <a:gd name="connsiteY1922" fmla="*/ 152694 h 286300"/>
                <a:gd name="connsiteX1923" fmla="*/ 130426 w 139969"/>
                <a:gd name="connsiteY1923" fmla="*/ 152057 h 286300"/>
                <a:gd name="connsiteX1924" fmla="*/ 130744 w 139969"/>
                <a:gd name="connsiteY1924" fmla="*/ 150149 h 286300"/>
                <a:gd name="connsiteX1925" fmla="*/ 131380 w 139969"/>
                <a:gd name="connsiteY1925" fmla="*/ 148876 h 286300"/>
                <a:gd name="connsiteX1926" fmla="*/ 131698 w 139969"/>
                <a:gd name="connsiteY1926" fmla="*/ 147922 h 286300"/>
                <a:gd name="connsiteX1927" fmla="*/ 129472 w 139969"/>
                <a:gd name="connsiteY1927" fmla="*/ 129790 h 286300"/>
                <a:gd name="connsiteX1928" fmla="*/ 129472 w 139969"/>
                <a:gd name="connsiteY1928" fmla="*/ 130108 h 286300"/>
                <a:gd name="connsiteX1929" fmla="*/ 129790 w 139969"/>
                <a:gd name="connsiteY1929" fmla="*/ 130108 h 286300"/>
                <a:gd name="connsiteX1930" fmla="*/ 129790 w 139969"/>
                <a:gd name="connsiteY1930" fmla="*/ 129790 h 286300"/>
                <a:gd name="connsiteX1931" fmla="*/ 129472 w 139969"/>
                <a:gd name="connsiteY1931" fmla="*/ 129790 h 286300"/>
                <a:gd name="connsiteX1932" fmla="*/ 130426 w 139969"/>
                <a:gd name="connsiteY1932" fmla="*/ 154920 h 286300"/>
                <a:gd name="connsiteX1933" fmla="*/ 129472 w 139969"/>
                <a:gd name="connsiteY1933" fmla="*/ 154920 h 286300"/>
                <a:gd name="connsiteX1934" fmla="*/ 129472 w 139969"/>
                <a:gd name="connsiteY1934" fmla="*/ 155239 h 286300"/>
                <a:gd name="connsiteX1935" fmla="*/ 130426 w 139969"/>
                <a:gd name="connsiteY1935" fmla="*/ 154920 h 286300"/>
                <a:gd name="connsiteX1936" fmla="*/ 130108 w 139969"/>
                <a:gd name="connsiteY1936" fmla="*/ 145059 h 286300"/>
                <a:gd name="connsiteX1937" fmla="*/ 130108 w 139969"/>
                <a:gd name="connsiteY1937" fmla="*/ 145377 h 286300"/>
                <a:gd name="connsiteX1938" fmla="*/ 130744 w 139969"/>
                <a:gd name="connsiteY1938" fmla="*/ 144741 h 286300"/>
                <a:gd name="connsiteX1939" fmla="*/ 130426 w 139969"/>
                <a:gd name="connsiteY1939" fmla="*/ 144423 h 286300"/>
                <a:gd name="connsiteX1940" fmla="*/ 130108 w 139969"/>
                <a:gd name="connsiteY1940" fmla="*/ 145059 h 286300"/>
                <a:gd name="connsiteX1941" fmla="*/ 133289 w 139969"/>
                <a:gd name="connsiteY1941" fmla="*/ 53761 h 286300"/>
                <a:gd name="connsiteX1942" fmla="*/ 133607 w 139969"/>
                <a:gd name="connsiteY1942" fmla="*/ 52488 h 286300"/>
                <a:gd name="connsiteX1943" fmla="*/ 134243 w 139969"/>
                <a:gd name="connsiteY1943" fmla="*/ 51852 h 286300"/>
                <a:gd name="connsiteX1944" fmla="*/ 133925 w 139969"/>
                <a:gd name="connsiteY1944" fmla="*/ 51216 h 286300"/>
                <a:gd name="connsiteX1945" fmla="*/ 132653 w 139969"/>
                <a:gd name="connsiteY1945" fmla="*/ 48989 h 286300"/>
                <a:gd name="connsiteX1946" fmla="*/ 132653 w 139969"/>
                <a:gd name="connsiteY1946" fmla="*/ 46762 h 286300"/>
                <a:gd name="connsiteX1947" fmla="*/ 132335 w 139969"/>
                <a:gd name="connsiteY1947" fmla="*/ 44854 h 286300"/>
                <a:gd name="connsiteX1948" fmla="*/ 132971 w 139969"/>
                <a:gd name="connsiteY1948" fmla="*/ 42945 h 286300"/>
                <a:gd name="connsiteX1949" fmla="*/ 132016 w 139969"/>
                <a:gd name="connsiteY1949" fmla="*/ 41991 h 286300"/>
                <a:gd name="connsiteX1950" fmla="*/ 131062 w 139969"/>
                <a:gd name="connsiteY1950" fmla="*/ 42945 h 286300"/>
                <a:gd name="connsiteX1951" fmla="*/ 130426 w 139969"/>
                <a:gd name="connsiteY1951" fmla="*/ 43899 h 286300"/>
                <a:gd name="connsiteX1952" fmla="*/ 131062 w 139969"/>
                <a:gd name="connsiteY1952" fmla="*/ 45808 h 286300"/>
                <a:gd name="connsiteX1953" fmla="*/ 131698 w 139969"/>
                <a:gd name="connsiteY1953" fmla="*/ 46762 h 286300"/>
                <a:gd name="connsiteX1954" fmla="*/ 131698 w 139969"/>
                <a:gd name="connsiteY1954" fmla="*/ 51534 h 286300"/>
                <a:gd name="connsiteX1955" fmla="*/ 132016 w 139969"/>
                <a:gd name="connsiteY1955" fmla="*/ 52488 h 286300"/>
                <a:gd name="connsiteX1956" fmla="*/ 131698 w 139969"/>
                <a:gd name="connsiteY1956" fmla="*/ 53125 h 286300"/>
                <a:gd name="connsiteX1957" fmla="*/ 131062 w 139969"/>
                <a:gd name="connsiteY1957" fmla="*/ 53443 h 286300"/>
                <a:gd name="connsiteX1958" fmla="*/ 131380 w 139969"/>
                <a:gd name="connsiteY1958" fmla="*/ 53761 h 286300"/>
                <a:gd name="connsiteX1959" fmla="*/ 132335 w 139969"/>
                <a:gd name="connsiteY1959" fmla="*/ 57578 h 286300"/>
                <a:gd name="connsiteX1960" fmla="*/ 132653 w 139969"/>
                <a:gd name="connsiteY1960" fmla="*/ 59169 h 286300"/>
                <a:gd name="connsiteX1961" fmla="*/ 133289 w 139969"/>
                <a:gd name="connsiteY1961" fmla="*/ 55670 h 286300"/>
                <a:gd name="connsiteX1962" fmla="*/ 133289 w 139969"/>
                <a:gd name="connsiteY1962" fmla="*/ 53761 h 286300"/>
                <a:gd name="connsiteX1963" fmla="*/ 132653 w 139969"/>
                <a:gd name="connsiteY1963" fmla="*/ 134879 h 286300"/>
                <a:gd name="connsiteX1964" fmla="*/ 132335 w 139969"/>
                <a:gd name="connsiteY1964" fmla="*/ 134243 h 286300"/>
                <a:gd name="connsiteX1965" fmla="*/ 132016 w 139969"/>
                <a:gd name="connsiteY1965" fmla="*/ 132971 h 286300"/>
                <a:gd name="connsiteX1966" fmla="*/ 131698 w 139969"/>
                <a:gd name="connsiteY1966" fmla="*/ 132653 h 286300"/>
                <a:gd name="connsiteX1967" fmla="*/ 131380 w 139969"/>
                <a:gd name="connsiteY1967" fmla="*/ 132971 h 286300"/>
                <a:gd name="connsiteX1968" fmla="*/ 130744 w 139969"/>
                <a:gd name="connsiteY1968" fmla="*/ 135516 h 286300"/>
                <a:gd name="connsiteX1969" fmla="*/ 131380 w 139969"/>
                <a:gd name="connsiteY1969" fmla="*/ 136470 h 286300"/>
                <a:gd name="connsiteX1970" fmla="*/ 132016 w 139969"/>
                <a:gd name="connsiteY1970" fmla="*/ 136788 h 286300"/>
                <a:gd name="connsiteX1971" fmla="*/ 132335 w 139969"/>
                <a:gd name="connsiteY1971" fmla="*/ 136788 h 286300"/>
                <a:gd name="connsiteX1972" fmla="*/ 132653 w 139969"/>
                <a:gd name="connsiteY1972" fmla="*/ 136470 h 286300"/>
                <a:gd name="connsiteX1973" fmla="*/ 132335 w 139969"/>
                <a:gd name="connsiteY1973" fmla="*/ 135516 h 286300"/>
                <a:gd name="connsiteX1974" fmla="*/ 132653 w 139969"/>
                <a:gd name="connsiteY1974" fmla="*/ 134879 h 286300"/>
                <a:gd name="connsiteX1975" fmla="*/ 131062 w 139969"/>
                <a:gd name="connsiteY1975" fmla="*/ 172735 h 286300"/>
                <a:gd name="connsiteX1976" fmla="*/ 131062 w 139969"/>
                <a:gd name="connsiteY1976" fmla="*/ 172417 h 286300"/>
                <a:gd name="connsiteX1977" fmla="*/ 131380 w 139969"/>
                <a:gd name="connsiteY1977" fmla="*/ 172417 h 286300"/>
                <a:gd name="connsiteX1978" fmla="*/ 131062 w 139969"/>
                <a:gd name="connsiteY1978" fmla="*/ 172735 h 286300"/>
                <a:gd name="connsiteX1979" fmla="*/ 132016 w 139969"/>
                <a:gd name="connsiteY1979" fmla="*/ 126290 h 286300"/>
                <a:gd name="connsiteX1980" fmla="*/ 133607 w 139969"/>
                <a:gd name="connsiteY1980" fmla="*/ 123109 h 286300"/>
                <a:gd name="connsiteX1981" fmla="*/ 133607 w 139969"/>
                <a:gd name="connsiteY1981" fmla="*/ 122473 h 286300"/>
                <a:gd name="connsiteX1982" fmla="*/ 132335 w 139969"/>
                <a:gd name="connsiteY1982" fmla="*/ 120882 h 286300"/>
                <a:gd name="connsiteX1983" fmla="*/ 131698 w 139969"/>
                <a:gd name="connsiteY1983" fmla="*/ 121519 h 286300"/>
                <a:gd name="connsiteX1984" fmla="*/ 131380 w 139969"/>
                <a:gd name="connsiteY1984" fmla="*/ 124064 h 286300"/>
                <a:gd name="connsiteX1985" fmla="*/ 131380 w 139969"/>
                <a:gd name="connsiteY1985" fmla="*/ 131698 h 286300"/>
                <a:gd name="connsiteX1986" fmla="*/ 132016 w 139969"/>
                <a:gd name="connsiteY1986" fmla="*/ 130108 h 286300"/>
                <a:gd name="connsiteX1987" fmla="*/ 133289 w 139969"/>
                <a:gd name="connsiteY1987" fmla="*/ 129471 h 286300"/>
                <a:gd name="connsiteX1988" fmla="*/ 133607 w 139969"/>
                <a:gd name="connsiteY1988" fmla="*/ 128835 h 286300"/>
                <a:gd name="connsiteX1989" fmla="*/ 133925 w 139969"/>
                <a:gd name="connsiteY1989" fmla="*/ 126609 h 286300"/>
                <a:gd name="connsiteX1990" fmla="*/ 133289 w 139969"/>
                <a:gd name="connsiteY1990" fmla="*/ 126609 h 286300"/>
                <a:gd name="connsiteX1991" fmla="*/ 132971 w 139969"/>
                <a:gd name="connsiteY1991" fmla="*/ 126290 h 286300"/>
                <a:gd name="connsiteX1992" fmla="*/ 132335 w 139969"/>
                <a:gd name="connsiteY1992" fmla="*/ 126609 h 286300"/>
                <a:gd name="connsiteX1993" fmla="*/ 132335 w 139969"/>
                <a:gd name="connsiteY1993" fmla="*/ 126290 h 286300"/>
                <a:gd name="connsiteX1994" fmla="*/ 132016 w 139969"/>
                <a:gd name="connsiteY1994" fmla="*/ 126290 h 286300"/>
                <a:gd name="connsiteX1995" fmla="*/ 134561 w 139969"/>
                <a:gd name="connsiteY1995" fmla="*/ 75074 h 286300"/>
                <a:gd name="connsiteX1996" fmla="*/ 134561 w 139969"/>
                <a:gd name="connsiteY1996" fmla="*/ 74756 h 286300"/>
                <a:gd name="connsiteX1997" fmla="*/ 134243 w 139969"/>
                <a:gd name="connsiteY1997" fmla="*/ 74438 h 286300"/>
                <a:gd name="connsiteX1998" fmla="*/ 133925 w 139969"/>
                <a:gd name="connsiteY1998" fmla="*/ 75074 h 286300"/>
                <a:gd name="connsiteX1999" fmla="*/ 133925 w 139969"/>
                <a:gd name="connsiteY1999" fmla="*/ 76665 h 286300"/>
                <a:gd name="connsiteX2000" fmla="*/ 133289 w 139969"/>
                <a:gd name="connsiteY2000" fmla="*/ 76983 h 286300"/>
                <a:gd name="connsiteX2001" fmla="*/ 133289 w 139969"/>
                <a:gd name="connsiteY2001" fmla="*/ 76665 h 286300"/>
                <a:gd name="connsiteX2002" fmla="*/ 132971 w 139969"/>
                <a:gd name="connsiteY2002" fmla="*/ 73166 h 286300"/>
                <a:gd name="connsiteX2003" fmla="*/ 133289 w 139969"/>
                <a:gd name="connsiteY2003" fmla="*/ 72848 h 286300"/>
                <a:gd name="connsiteX2004" fmla="*/ 132971 w 139969"/>
                <a:gd name="connsiteY2004" fmla="*/ 72530 h 286300"/>
                <a:gd name="connsiteX2005" fmla="*/ 131698 w 139969"/>
                <a:gd name="connsiteY2005" fmla="*/ 76665 h 286300"/>
                <a:gd name="connsiteX2006" fmla="*/ 131698 w 139969"/>
                <a:gd name="connsiteY2006" fmla="*/ 77301 h 286300"/>
                <a:gd name="connsiteX2007" fmla="*/ 133607 w 139969"/>
                <a:gd name="connsiteY2007" fmla="*/ 80482 h 286300"/>
                <a:gd name="connsiteX2008" fmla="*/ 133925 w 139969"/>
                <a:gd name="connsiteY2008" fmla="*/ 80482 h 286300"/>
                <a:gd name="connsiteX2009" fmla="*/ 133925 w 139969"/>
                <a:gd name="connsiteY2009" fmla="*/ 78892 h 286300"/>
                <a:gd name="connsiteX2010" fmla="*/ 134243 w 139969"/>
                <a:gd name="connsiteY2010" fmla="*/ 77301 h 286300"/>
                <a:gd name="connsiteX2011" fmla="*/ 134561 w 139969"/>
                <a:gd name="connsiteY2011" fmla="*/ 75074 h 286300"/>
                <a:gd name="connsiteX2012" fmla="*/ 132653 w 139969"/>
                <a:gd name="connsiteY2012" fmla="*/ 109749 h 286300"/>
                <a:gd name="connsiteX2013" fmla="*/ 131698 w 139969"/>
                <a:gd name="connsiteY2013" fmla="*/ 109749 h 286300"/>
                <a:gd name="connsiteX2014" fmla="*/ 131698 w 139969"/>
                <a:gd name="connsiteY2014" fmla="*/ 110703 h 286300"/>
                <a:gd name="connsiteX2015" fmla="*/ 132335 w 139969"/>
                <a:gd name="connsiteY2015" fmla="*/ 112930 h 286300"/>
                <a:gd name="connsiteX2016" fmla="*/ 131698 w 139969"/>
                <a:gd name="connsiteY2016" fmla="*/ 114520 h 286300"/>
                <a:gd name="connsiteX2017" fmla="*/ 132335 w 139969"/>
                <a:gd name="connsiteY2017" fmla="*/ 116111 h 286300"/>
                <a:gd name="connsiteX2018" fmla="*/ 132653 w 139969"/>
                <a:gd name="connsiteY2018" fmla="*/ 116429 h 286300"/>
                <a:gd name="connsiteX2019" fmla="*/ 133289 w 139969"/>
                <a:gd name="connsiteY2019" fmla="*/ 116429 h 286300"/>
                <a:gd name="connsiteX2020" fmla="*/ 133289 w 139969"/>
                <a:gd name="connsiteY2020" fmla="*/ 115793 h 286300"/>
                <a:gd name="connsiteX2021" fmla="*/ 132971 w 139969"/>
                <a:gd name="connsiteY2021" fmla="*/ 113248 h 286300"/>
                <a:gd name="connsiteX2022" fmla="*/ 133289 w 139969"/>
                <a:gd name="connsiteY2022" fmla="*/ 112293 h 286300"/>
                <a:gd name="connsiteX2023" fmla="*/ 133289 w 139969"/>
                <a:gd name="connsiteY2023" fmla="*/ 111657 h 286300"/>
                <a:gd name="connsiteX2024" fmla="*/ 132971 w 139969"/>
                <a:gd name="connsiteY2024" fmla="*/ 110703 h 286300"/>
                <a:gd name="connsiteX2025" fmla="*/ 132653 w 139969"/>
                <a:gd name="connsiteY2025" fmla="*/ 109749 h 286300"/>
                <a:gd name="connsiteX2026" fmla="*/ 132016 w 139969"/>
                <a:gd name="connsiteY2026" fmla="*/ 119610 h 286300"/>
                <a:gd name="connsiteX2027" fmla="*/ 132335 w 139969"/>
                <a:gd name="connsiteY2027" fmla="*/ 119292 h 286300"/>
                <a:gd name="connsiteX2028" fmla="*/ 132335 w 139969"/>
                <a:gd name="connsiteY2028" fmla="*/ 118974 h 286300"/>
                <a:gd name="connsiteX2029" fmla="*/ 131698 w 139969"/>
                <a:gd name="connsiteY2029" fmla="*/ 118974 h 286300"/>
                <a:gd name="connsiteX2030" fmla="*/ 132016 w 139969"/>
                <a:gd name="connsiteY2030" fmla="*/ 119610 h 286300"/>
                <a:gd name="connsiteX2031" fmla="*/ 133289 w 139969"/>
                <a:gd name="connsiteY2031" fmla="*/ 103068 h 286300"/>
                <a:gd name="connsiteX2032" fmla="*/ 132653 w 139969"/>
                <a:gd name="connsiteY2032" fmla="*/ 102750 h 286300"/>
                <a:gd name="connsiteX2033" fmla="*/ 132971 w 139969"/>
                <a:gd name="connsiteY2033" fmla="*/ 103068 h 286300"/>
                <a:gd name="connsiteX2034" fmla="*/ 132653 w 139969"/>
                <a:gd name="connsiteY2034" fmla="*/ 103386 h 286300"/>
                <a:gd name="connsiteX2035" fmla="*/ 132971 w 139969"/>
                <a:gd name="connsiteY2035" fmla="*/ 103386 h 286300"/>
                <a:gd name="connsiteX2036" fmla="*/ 133289 w 139969"/>
                <a:gd name="connsiteY2036" fmla="*/ 103068 h 286300"/>
                <a:gd name="connsiteX2037" fmla="*/ 134561 w 139969"/>
                <a:gd name="connsiteY2037" fmla="*/ 125336 h 286300"/>
                <a:gd name="connsiteX2038" fmla="*/ 134561 w 139969"/>
                <a:gd name="connsiteY2038" fmla="*/ 124700 h 286300"/>
                <a:gd name="connsiteX2039" fmla="*/ 134243 w 139969"/>
                <a:gd name="connsiteY2039" fmla="*/ 124700 h 286300"/>
                <a:gd name="connsiteX2040" fmla="*/ 134561 w 139969"/>
                <a:gd name="connsiteY2040" fmla="*/ 125336 h 286300"/>
                <a:gd name="connsiteX2041" fmla="*/ 136152 w 139969"/>
                <a:gd name="connsiteY2041" fmla="*/ 78892 h 286300"/>
                <a:gd name="connsiteX2042" fmla="*/ 135516 w 139969"/>
                <a:gd name="connsiteY2042" fmla="*/ 78256 h 286300"/>
                <a:gd name="connsiteX2043" fmla="*/ 135198 w 139969"/>
                <a:gd name="connsiteY2043" fmla="*/ 79528 h 286300"/>
                <a:gd name="connsiteX2044" fmla="*/ 134561 w 139969"/>
                <a:gd name="connsiteY2044" fmla="*/ 81119 h 286300"/>
                <a:gd name="connsiteX2045" fmla="*/ 134879 w 139969"/>
                <a:gd name="connsiteY2045" fmla="*/ 81437 h 286300"/>
                <a:gd name="connsiteX2046" fmla="*/ 135198 w 139969"/>
                <a:gd name="connsiteY2046" fmla="*/ 81437 h 286300"/>
                <a:gd name="connsiteX2047" fmla="*/ 135198 w 139969"/>
                <a:gd name="connsiteY2047" fmla="*/ 81119 h 286300"/>
                <a:gd name="connsiteX2048" fmla="*/ 135516 w 139969"/>
                <a:gd name="connsiteY2048" fmla="*/ 79846 h 286300"/>
                <a:gd name="connsiteX2049" fmla="*/ 136152 w 139969"/>
                <a:gd name="connsiteY2049" fmla="*/ 78892 h 286300"/>
                <a:gd name="connsiteX2050" fmla="*/ 135516 w 139969"/>
                <a:gd name="connsiteY2050" fmla="*/ 45490 h 286300"/>
                <a:gd name="connsiteX2051" fmla="*/ 135198 w 139969"/>
                <a:gd name="connsiteY2051" fmla="*/ 45172 h 286300"/>
                <a:gd name="connsiteX2052" fmla="*/ 134879 w 139969"/>
                <a:gd name="connsiteY2052" fmla="*/ 45172 h 286300"/>
                <a:gd name="connsiteX2053" fmla="*/ 135198 w 139969"/>
                <a:gd name="connsiteY2053" fmla="*/ 45808 h 286300"/>
                <a:gd name="connsiteX2054" fmla="*/ 135516 w 139969"/>
                <a:gd name="connsiteY2054" fmla="*/ 45490 h 286300"/>
                <a:gd name="connsiteX2055" fmla="*/ 135834 w 139969"/>
                <a:gd name="connsiteY2055" fmla="*/ 49625 h 286300"/>
                <a:gd name="connsiteX2056" fmla="*/ 135198 w 139969"/>
                <a:gd name="connsiteY2056" fmla="*/ 49625 h 286300"/>
                <a:gd name="connsiteX2057" fmla="*/ 135198 w 139969"/>
                <a:gd name="connsiteY2057" fmla="*/ 50262 h 286300"/>
                <a:gd name="connsiteX2058" fmla="*/ 135834 w 139969"/>
                <a:gd name="connsiteY2058" fmla="*/ 49625 h 286300"/>
                <a:gd name="connsiteX2059" fmla="*/ 138379 w 139969"/>
                <a:gd name="connsiteY2059" fmla="*/ 89389 h 286300"/>
                <a:gd name="connsiteX2060" fmla="*/ 138061 w 139969"/>
                <a:gd name="connsiteY2060" fmla="*/ 89389 h 286300"/>
                <a:gd name="connsiteX2061" fmla="*/ 137743 w 139969"/>
                <a:gd name="connsiteY2061" fmla="*/ 90026 h 286300"/>
                <a:gd name="connsiteX2062" fmla="*/ 137743 w 139969"/>
                <a:gd name="connsiteY2062" fmla="*/ 90344 h 286300"/>
                <a:gd name="connsiteX2063" fmla="*/ 138061 w 139969"/>
                <a:gd name="connsiteY2063" fmla="*/ 90344 h 286300"/>
                <a:gd name="connsiteX2064" fmla="*/ 138379 w 139969"/>
                <a:gd name="connsiteY2064" fmla="*/ 89389 h 28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</a:cxnLst>
              <a:rect l="l" t="t" r="r" b="b"/>
              <a:pathLst>
                <a:path w="139969" h="286300">
                  <a:moveTo>
                    <a:pt x="133925" y="104659"/>
                  </a:moveTo>
                  <a:lnTo>
                    <a:pt x="133607" y="104659"/>
                  </a:lnTo>
                  <a:lnTo>
                    <a:pt x="133289" y="104977"/>
                  </a:lnTo>
                  <a:lnTo>
                    <a:pt x="133289" y="104659"/>
                  </a:lnTo>
                  <a:cubicBezTo>
                    <a:pt x="132653" y="104659"/>
                    <a:pt x="132653" y="104659"/>
                    <a:pt x="132335" y="105295"/>
                  </a:cubicBezTo>
                  <a:cubicBezTo>
                    <a:pt x="132335" y="106567"/>
                    <a:pt x="132653" y="107522"/>
                    <a:pt x="132653" y="108476"/>
                  </a:cubicBezTo>
                  <a:cubicBezTo>
                    <a:pt x="132653" y="109112"/>
                    <a:pt x="133289" y="109749"/>
                    <a:pt x="133925" y="109749"/>
                  </a:cubicBezTo>
                  <a:lnTo>
                    <a:pt x="134561" y="109749"/>
                  </a:lnTo>
                  <a:cubicBezTo>
                    <a:pt x="134561" y="109430"/>
                    <a:pt x="134879" y="109430"/>
                    <a:pt x="134879" y="109112"/>
                  </a:cubicBezTo>
                  <a:lnTo>
                    <a:pt x="134879" y="109749"/>
                  </a:lnTo>
                  <a:cubicBezTo>
                    <a:pt x="134561" y="110067"/>
                    <a:pt x="134561" y="110067"/>
                    <a:pt x="134561" y="110385"/>
                  </a:cubicBezTo>
                  <a:lnTo>
                    <a:pt x="134561" y="111021"/>
                  </a:lnTo>
                  <a:cubicBezTo>
                    <a:pt x="134879" y="111021"/>
                    <a:pt x="134879" y="111657"/>
                    <a:pt x="135516" y="111975"/>
                  </a:cubicBezTo>
                  <a:lnTo>
                    <a:pt x="135834" y="111975"/>
                  </a:lnTo>
                  <a:cubicBezTo>
                    <a:pt x="135516" y="111657"/>
                    <a:pt x="135516" y="111657"/>
                    <a:pt x="135516" y="111339"/>
                  </a:cubicBezTo>
                  <a:cubicBezTo>
                    <a:pt x="135516" y="111021"/>
                    <a:pt x="135516" y="111021"/>
                    <a:pt x="135834" y="110703"/>
                  </a:cubicBezTo>
                  <a:cubicBezTo>
                    <a:pt x="135834" y="110067"/>
                    <a:pt x="135834" y="109749"/>
                    <a:pt x="136152" y="109430"/>
                  </a:cubicBezTo>
                  <a:cubicBezTo>
                    <a:pt x="136152" y="109112"/>
                    <a:pt x="136470" y="108794"/>
                    <a:pt x="136788" y="108794"/>
                  </a:cubicBezTo>
                  <a:cubicBezTo>
                    <a:pt x="136788" y="108794"/>
                    <a:pt x="137106" y="109112"/>
                    <a:pt x="137106" y="109430"/>
                  </a:cubicBezTo>
                  <a:lnTo>
                    <a:pt x="137425" y="109749"/>
                  </a:lnTo>
                  <a:lnTo>
                    <a:pt x="137425" y="118974"/>
                  </a:lnTo>
                  <a:cubicBezTo>
                    <a:pt x="137743" y="118974"/>
                    <a:pt x="138061" y="119292"/>
                    <a:pt x="138061" y="119610"/>
                  </a:cubicBezTo>
                  <a:lnTo>
                    <a:pt x="138061" y="121837"/>
                  </a:lnTo>
                  <a:cubicBezTo>
                    <a:pt x="138061" y="122155"/>
                    <a:pt x="137743" y="121837"/>
                    <a:pt x="137743" y="121837"/>
                  </a:cubicBezTo>
                  <a:lnTo>
                    <a:pt x="137106" y="121837"/>
                  </a:lnTo>
                  <a:cubicBezTo>
                    <a:pt x="137106" y="123109"/>
                    <a:pt x="136788" y="124064"/>
                    <a:pt x="136788" y="125336"/>
                  </a:cubicBezTo>
                  <a:lnTo>
                    <a:pt x="136788" y="126290"/>
                  </a:lnTo>
                  <a:cubicBezTo>
                    <a:pt x="137106" y="127563"/>
                    <a:pt x="137106" y="128517"/>
                    <a:pt x="137106" y="129471"/>
                  </a:cubicBezTo>
                  <a:cubicBezTo>
                    <a:pt x="137106" y="129790"/>
                    <a:pt x="136788" y="130108"/>
                    <a:pt x="136788" y="130108"/>
                  </a:cubicBezTo>
                  <a:cubicBezTo>
                    <a:pt x="136788" y="130744"/>
                    <a:pt x="136470" y="131062"/>
                    <a:pt x="135834" y="131698"/>
                  </a:cubicBezTo>
                  <a:cubicBezTo>
                    <a:pt x="135834" y="131062"/>
                    <a:pt x="135516" y="130744"/>
                    <a:pt x="135198" y="130108"/>
                  </a:cubicBezTo>
                  <a:cubicBezTo>
                    <a:pt x="134879" y="129471"/>
                    <a:pt x="134561" y="129471"/>
                    <a:pt x="134243" y="129471"/>
                  </a:cubicBezTo>
                  <a:lnTo>
                    <a:pt x="133289" y="130108"/>
                  </a:lnTo>
                  <a:cubicBezTo>
                    <a:pt x="133289" y="130426"/>
                    <a:pt x="133607" y="130426"/>
                    <a:pt x="133925" y="130426"/>
                  </a:cubicBezTo>
                  <a:cubicBezTo>
                    <a:pt x="134561" y="130426"/>
                    <a:pt x="134561" y="131062"/>
                    <a:pt x="134561" y="131380"/>
                  </a:cubicBezTo>
                  <a:cubicBezTo>
                    <a:pt x="134243" y="131698"/>
                    <a:pt x="134243" y="132016"/>
                    <a:pt x="134243" y="132335"/>
                  </a:cubicBezTo>
                  <a:cubicBezTo>
                    <a:pt x="134243" y="133607"/>
                    <a:pt x="134243" y="134561"/>
                    <a:pt x="134879" y="134561"/>
                  </a:cubicBezTo>
                  <a:cubicBezTo>
                    <a:pt x="135834" y="135198"/>
                    <a:pt x="135834" y="135834"/>
                    <a:pt x="135834" y="136788"/>
                  </a:cubicBezTo>
                  <a:cubicBezTo>
                    <a:pt x="135834" y="137106"/>
                    <a:pt x="135834" y="137742"/>
                    <a:pt x="135516" y="138379"/>
                  </a:cubicBezTo>
                  <a:lnTo>
                    <a:pt x="135516" y="145695"/>
                  </a:lnTo>
                  <a:lnTo>
                    <a:pt x="134561" y="148240"/>
                  </a:lnTo>
                  <a:cubicBezTo>
                    <a:pt x="134561" y="148876"/>
                    <a:pt x="134561" y="149513"/>
                    <a:pt x="134243" y="150467"/>
                  </a:cubicBezTo>
                  <a:cubicBezTo>
                    <a:pt x="133925" y="151421"/>
                    <a:pt x="133925" y="152057"/>
                    <a:pt x="133925" y="152694"/>
                  </a:cubicBezTo>
                  <a:lnTo>
                    <a:pt x="133925" y="154920"/>
                  </a:lnTo>
                  <a:cubicBezTo>
                    <a:pt x="133925" y="154920"/>
                    <a:pt x="133925" y="155239"/>
                    <a:pt x="134243" y="155239"/>
                  </a:cubicBezTo>
                  <a:lnTo>
                    <a:pt x="134561" y="155557"/>
                  </a:lnTo>
                  <a:cubicBezTo>
                    <a:pt x="134243" y="156193"/>
                    <a:pt x="134243" y="157147"/>
                    <a:pt x="134243" y="157783"/>
                  </a:cubicBezTo>
                  <a:cubicBezTo>
                    <a:pt x="134243" y="158102"/>
                    <a:pt x="134243" y="158420"/>
                    <a:pt x="133925" y="158738"/>
                  </a:cubicBezTo>
                  <a:cubicBezTo>
                    <a:pt x="133925" y="158738"/>
                    <a:pt x="133607" y="159374"/>
                    <a:pt x="133607" y="159692"/>
                  </a:cubicBezTo>
                  <a:cubicBezTo>
                    <a:pt x="133289" y="160965"/>
                    <a:pt x="133289" y="162237"/>
                    <a:pt x="132653" y="163191"/>
                  </a:cubicBezTo>
                  <a:cubicBezTo>
                    <a:pt x="132335" y="164782"/>
                    <a:pt x="131698" y="166372"/>
                    <a:pt x="130744" y="168599"/>
                  </a:cubicBezTo>
                  <a:cubicBezTo>
                    <a:pt x="130744" y="169235"/>
                    <a:pt x="130426" y="169872"/>
                    <a:pt x="130426" y="170508"/>
                  </a:cubicBezTo>
                  <a:cubicBezTo>
                    <a:pt x="130426" y="171780"/>
                    <a:pt x="130108" y="172417"/>
                    <a:pt x="129154" y="173689"/>
                  </a:cubicBezTo>
                  <a:cubicBezTo>
                    <a:pt x="128835" y="173689"/>
                    <a:pt x="128517" y="174007"/>
                    <a:pt x="128517" y="174962"/>
                  </a:cubicBezTo>
                  <a:lnTo>
                    <a:pt x="128517" y="177825"/>
                  </a:lnTo>
                  <a:cubicBezTo>
                    <a:pt x="128199" y="179097"/>
                    <a:pt x="128199" y="180051"/>
                    <a:pt x="128199" y="181006"/>
                  </a:cubicBezTo>
                  <a:cubicBezTo>
                    <a:pt x="128199" y="181324"/>
                    <a:pt x="128517" y="181642"/>
                    <a:pt x="128517" y="181960"/>
                  </a:cubicBezTo>
                  <a:cubicBezTo>
                    <a:pt x="128517" y="182278"/>
                    <a:pt x="128199" y="182596"/>
                    <a:pt x="127881" y="182914"/>
                  </a:cubicBezTo>
                  <a:lnTo>
                    <a:pt x="127881" y="184505"/>
                  </a:lnTo>
                  <a:cubicBezTo>
                    <a:pt x="127881" y="185141"/>
                    <a:pt x="127563" y="185777"/>
                    <a:pt x="127245" y="186414"/>
                  </a:cubicBezTo>
                  <a:lnTo>
                    <a:pt x="127245" y="186732"/>
                  </a:lnTo>
                  <a:cubicBezTo>
                    <a:pt x="126609" y="187686"/>
                    <a:pt x="125973" y="188322"/>
                    <a:pt x="125973" y="189277"/>
                  </a:cubicBezTo>
                  <a:cubicBezTo>
                    <a:pt x="125973" y="189595"/>
                    <a:pt x="125973" y="190231"/>
                    <a:pt x="125654" y="190549"/>
                  </a:cubicBezTo>
                  <a:cubicBezTo>
                    <a:pt x="124382" y="191503"/>
                    <a:pt x="123746" y="192140"/>
                    <a:pt x="123746" y="193730"/>
                  </a:cubicBezTo>
                  <a:cubicBezTo>
                    <a:pt x="123746" y="194048"/>
                    <a:pt x="124064" y="194048"/>
                    <a:pt x="124064" y="194366"/>
                  </a:cubicBezTo>
                  <a:cubicBezTo>
                    <a:pt x="124064" y="194684"/>
                    <a:pt x="123746" y="195003"/>
                    <a:pt x="123746" y="195321"/>
                  </a:cubicBezTo>
                  <a:cubicBezTo>
                    <a:pt x="123746" y="195321"/>
                    <a:pt x="123428" y="195957"/>
                    <a:pt x="123109" y="196275"/>
                  </a:cubicBezTo>
                  <a:cubicBezTo>
                    <a:pt x="123109" y="196593"/>
                    <a:pt x="123428" y="196911"/>
                    <a:pt x="123428" y="197229"/>
                  </a:cubicBezTo>
                  <a:lnTo>
                    <a:pt x="123428" y="197547"/>
                  </a:lnTo>
                  <a:lnTo>
                    <a:pt x="122473" y="198502"/>
                  </a:lnTo>
                  <a:lnTo>
                    <a:pt x="121519" y="200410"/>
                  </a:lnTo>
                  <a:cubicBezTo>
                    <a:pt x="121201" y="200729"/>
                    <a:pt x="120882" y="201365"/>
                    <a:pt x="121201" y="201365"/>
                  </a:cubicBezTo>
                  <a:lnTo>
                    <a:pt x="121201" y="202001"/>
                  </a:lnTo>
                  <a:cubicBezTo>
                    <a:pt x="121201" y="202955"/>
                    <a:pt x="120882" y="204228"/>
                    <a:pt x="120564" y="205182"/>
                  </a:cubicBezTo>
                  <a:cubicBezTo>
                    <a:pt x="119928" y="206773"/>
                    <a:pt x="118974" y="208999"/>
                    <a:pt x="118020" y="210272"/>
                  </a:cubicBezTo>
                  <a:cubicBezTo>
                    <a:pt x="117701" y="211862"/>
                    <a:pt x="116429" y="213453"/>
                    <a:pt x="116111" y="215044"/>
                  </a:cubicBezTo>
                  <a:cubicBezTo>
                    <a:pt x="116111" y="215044"/>
                    <a:pt x="116111" y="215362"/>
                    <a:pt x="115793" y="215362"/>
                  </a:cubicBezTo>
                  <a:cubicBezTo>
                    <a:pt x="115157" y="216316"/>
                    <a:pt x="114520" y="217270"/>
                    <a:pt x="114202" y="218225"/>
                  </a:cubicBezTo>
                  <a:cubicBezTo>
                    <a:pt x="113566" y="218861"/>
                    <a:pt x="113248" y="219497"/>
                    <a:pt x="112930" y="220451"/>
                  </a:cubicBezTo>
                  <a:cubicBezTo>
                    <a:pt x="112930" y="221406"/>
                    <a:pt x="111976" y="222678"/>
                    <a:pt x="111339" y="223633"/>
                  </a:cubicBezTo>
                  <a:cubicBezTo>
                    <a:pt x="110703" y="224269"/>
                    <a:pt x="110067" y="225223"/>
                    <a:pt x="110067" y="226496"/>
                  </a:cubicBezTo>
                  <a:cubicBezTo>
                    <a:pt x="110067" y="226814"/>
                    <a:pt x="110067" y="227132"/>
                    <a:pt x="109749" y="227132"/>
                  </a:cubicBezTo>
                  <a:cubicBezTo>
                    <a:pt x="107522" y="230313"/>
                    <a:pt x="107522" y="235721"/>
                    <a:pt x="103705" y="237948"/>
                  </a:cubicBezTo>
                  <a:cubicBezTo>
                    <a:pt x="103068" y="238902"/>
                    <a:pt x="102432" y="239538"/>
                    <a:pt x="101796" y="239856"/>
                  </a:cubicBezTo>
                  <a:cubicBezTo>
                    <a:pt x="101478" y="240811"/>
                    <a:pt x="100842" y="241129"/>
                    <a:pt x="99887" y="241765"/>
                  </a:cubicBezTo>
                  <a:cubicBezTo>
                    <a:pt x="98933" y="242083"/>
                    <a:pt x="98297" y="243037"/>
                    <a:pt x="97979" y="243992"/>
                  </a:cubicBezTo>
                  <a:cubicBezTo>
                    <a:pt x="97979" y="244310"/>
                    <a:pt x="97661" y="244628"/>
                    <a:pt x="97661" y="245264"/>
                  </a:cubicBezTo>
                  <a:cubicBezTo>
                    <a:pt x="97343" y="245582"/>
                    <a:pt x="97024" y="245582"/>
                    <a:pt x="97024" y="245582"/>
                  </a:cubicBezTo>
                  <a:cubicBezTo>
                    <a:pt x="96706" y="245582"/>
                    <a:pt x="96706" y="245582"/>
                    <a:pt x="96706" y="245264"/>
                  </a:cubicBezTo>
                  <a:cubicBezTo>
                    <a:pt x="96388" y="245264"/>
                    <a:pt x="96388" y="244946"/>
                    <a:pt x="96388" y="244946"/>
                  </a:cubicBezTo>
                  <a:lnTo>
                    <a:pt x="96706" y="244628"/>
                  </a:lnTo>
                  <a:lnTo>
                    <a:pt x="96706" y="243356"/>
                  </a:lnTo>
                  <a:cubicBezTo>
                    <a:pt x="96388" y="243356"/>
                    <a:pt x="96388" y="243037"/>
                    <a:pt x="96070" y="243037"/>
                  </a:cubicBezTo>
                  <a:cubicBezTo>
                    <a:pt x="95752" y="243037"/>
                    <a:pt x="95434" y="243356"/>
                    <a:pt x="95434" y="243356"/>
                  </a:cubicBezTo>
                  <a:cubicBezTo>
                    <a:pt x="95115" y="243674"/>
                    <a:pt x="94797" y="243992"/>
                    <a:pt x="94797" y="244310"/>
                  </a:cubicBezTo>
                  <a:cubicBezTo>
                    <a:pt x="94797" y="244628"/>
                    <a:pt x="95115" y="244946"/>
                    <a:pt x="95434" y="245264"/>
                  </a:cubicBezTo>
                  <a:cubicBezTo>
                    <a:pt x="95434" y="246219"/>
                    <a:pt x="94797" y="246855"/>
                    <a:pt x="94479" y="247173"/>
                  </a:cubicBezTo>
                  <a:lnTo>
                    <a:pt x="92571" y="247173"/>
                  </a:lnTo>
                  <a:cubicBezTo>
                    <a:pt x="92252" y="248127"/>
                    <a:pt x="91616" y="248127"/>
                    <a:pt x="91934" y="248445"/>
                  </a:cubicBezTo>
                  <a:cubicBezTo>
                    <a:pt x="91616" y="248763"/>
                    <a:pt x="91616" y="249082"/>
                    <a:pt x="91298" y="249082"/>
                  </a:cubicBezTo>
                  <a:cubicBezTo>
                    <a:pt x="90344" y="249718"/>
                    <a:pt x="90026" y="250672"/>
                    <a:pt x="90026" y="251626"/>
                  </a:cubicBezTo>
                  <a:cubicBezTo>
                    <a:pt x="90026" y="252263"/>
                    <a:pt x="90344" y="252581"/>
                    <a:pt x="90344" y="253217"/>
                  </a:cubicBezTo>
                  <a:lnTo>
                    <a:pt x="90344" y="253853"/>
                  </a:lnTo>
                  <a:cubicBezTo>
                    <a:pt x="89390" y="253535"/>
                    <a:pt x="89071" y="253217"/>
                    <a:pt x="89071" y="252263"/>
                  </a:cubicBezTo>
                  <a:lnTo>
                    <a:pt x="89071" y="251945"/>
                  </a:lnTo>
                  <a:lnTo>
                    <a:pt x="88435" y="252581"/>
                  </a:lnTo>
                  <a:lnTo>
                    <a:pt x="88435" y="253853"/>
                  </a:lnTo>
                  <a:cubicBezTo>
                    <a:pt x="88435" y="254171"/>
                    <a:pt x="88753" y="254489"/>
                    <a:pt x="88753" y="255126"/>
                  </a:cubicBezTo>
                  <a:cubicBezTo>
                    <a:pt x="88753" y="255444"/>
                    <a:pt x="88753" y="255444"/>
                    <a:pt x="88435" y="255762"/>
                  </a:cubicBezTo>
                  <a:lnTo>
                    <a:pt x="88753" y="256080"/>
                  </a:lnTo>
                  <a:cubicBezTo>
                    <a:pt x="89071" y="256080"/>
                    <a:pt x="89708" y="256398"/>
                    <a:pt x="89708" y="256398"/>
                  </a:cubicBezTo>
                  <a:lnTo>
                    <a:pt x="88753" y="257034"/>
                  </a:lnTo>
                  <a:cubicBezTo>
                    <a:pt x="88117" y="257989"/>
                    <a:pt x="87481" y="258307"/>
                    <a:pt x="87163" y="259261"/>
                  </a:cubicBezTo>
                  <a:cubicBezTo>
                    <a:pt x="86527" y="260215"/>
                    <a:pt x="85572" y="260852"/>
                    <a:pt x="84300" y="261170"/>
                  </a:cubicBezTo>
                  <a:cubicBezTo>
                    <a:pt x="83346" y="261170"/>
                    <a:pt x="83027" y="261170"/>
                    <a:pt x="82709" y="262442"/>
                  </a:cubicBezTo>
                  <a:cubicBezTo>
                    <a:pt x="82073" y="263397"/>
                    <a:pt x="80800" y="263715"/>
                    <a:pt x="80482" y="264987"/>
                  </a:cubicBezTo>
                  <a:lnTo>
                    <a:pt x="80482" y="265305"/>
                  </a:lnTo>
                  <a:cubicBezTo>
                    <a:pt x="80164" y="265305"/>
                    <a:pt x="80164" y="265623"/>
                    <a:pt x="79846" y="265623"/>
                  </a:cubicBezTo>
                  <a:lnTo>
                    <a:pt x="79528" y="265623"/>
                  </a:lnTo>
                  <a:cubicBezTo>
                    <a:pt x="79210" y="265623"/>
                    <a:pt x="78892" y="265942"/>
                    <a:pt x="78892" y="266578"/>
                  </a:cubicBezTo>
                  <a:cubicBezTo>
                    <a:pt x="78574" y="266896"/>
                    <a:pt x="78574" y="267850"/>
                    <a:pt x="77937" y="268168"/>
                  </a:cubicBezTo>
                  <a:cubicBezTo>
                    <a:pt x="76665" y="268804"/>
                    <a:pt x="76029" y="269759"/>
                    <a:pt x="75075" y="269759"/>
                  </a:cubicBezTo>
                  <a:cubicBezTo>
                    <a:pt x="74756" y="269759"/>
                    <a:pt x="74438" y="270077"/>
                    <a:pt x="73802" y="270077"/>
                  </a:cubicBezTo>
                  <a:lnTo>
                    <a:pt x="70939" y="272304"/>
                  </a:lnTo>
                  <a:lnTo>
                    <a:pt x="70621" y="272304"/>
                  </a:lnTo>
                  <a:cubicBezTo>
                    <a:pt x="70939" y="272622"/>
                    <a:pt x="70939" y="272622"/>
                    <a:pt x="71257" y="272622"/>
                  </a:cubicBezTo>
                  <a:lnTo>
                    <a:pt x="71575" y="272622"/>
                  </a:lnTo>
                  <a:lnTo>
                    <a:pt x="71575" y="273258"/>
                  </a:lnTo>
                  <a:cubicBezTo>
                    <a:pt x="70621" y="273258"/>
                    <a:pt x="70303" y="273576"/>
                    <a:pt x="70303" y="274212"/>
                  </a:cubicBezTo>
                  <a:cubicBezTo>
                    <a:pt x="70303" y="275167"/>
                    <a:pt x="69985" y="275485"/>
                    <a:pt x="69349" y="275485"/>
                  </a:cubicBezTo>
                  <a:cubicBezTo>
                    <a:pt x="68712" y="276121"/>
                    <a:pt x="68394" y="276439"/>
                    <a:pt x="68076" y="276439"/>
                  </a:cubicBezTo>
                  <a:cubicBezTo>
                    <a:pt x="64895" y="276439"/>
                    <a:pt x="63941" y="277394"/>
                    <a:pt x="60760" y="279620"/>
                  </a:cubicBezTo>
                  <a:lnTo>
                    <a:pt x="60441" y="279620"/>
                  </a:lnTo>
                  <a:cubicBezTo>
                    <a:pt x="59805" y="279620"/>
                    <a:pt x="59487" y="279302"/>
                    <a:pt x="59169" y="278666"/>
                  </a:cubicBezTo>
                  <a:lnTo>
                    <a:pt x="58215" y="278666"/>
                  </a:lnTo>
                  <a:cubicBezTo>
                    <a:pt x="57897" y="278984"/>
                    <a:pt x="57897" y="278984"/>
                    <a:pt x="57897" y="279302"/>
                  </a:cubicBezTo>
                  <a:lnTo>
                    <a:pt x="57897" y="279938"/>
                  </a:lnTo>
                  <a:cubicBezTo>
                    <a:pt x="57897" y="280257"/>
                    <a:pt x="58215" y="280575"/>
                    <a:pt x="58215" y="280893"/>
                  </a:cubicBezTo>
                  <a:cubicBezTo>
                    <a:pt x="58215" y="281211"/>
                    <a:pt x="57897" y="281529"/>
                    <a:pt x="57260" y="281529"/>
                  </a:cubicBezTo>
                  <a:cubicBezTo>
                    <a:pt x="56942" y="282165"/>
                    <a:pt x="55988" y="282165"/>
                    <a:pt x="55352" y="282801"/>
                  </a:cubicBezTo>
                  <a:lnTo>
                    <a:pt x="54079" y="282801"/>
                  </a:lnTo>
                  <a:cubicBezTo>
                    <a:pt x="53761" y="282801"/>
                    <a:pt x="53443" y="283120"/>
                    <a:pt x="53125" y="283438"/>
                  </a:cubicBezTo>
                  <a:cubicBezTo>
                    <a:pt x="52488" y="283756"/>
                    <a:pt x="51852" y="284392"/>
                    <a:pt x="51216" y="284392"/>
                  </a:cubicBezTo>
                  <a:lnTo>
                    <a:pt x="50262" y="284392"/>
                  </a:lnTo>
                  <a:cubicBezTo>
                    <a:pt x="49626" y="284392"/>
                    <a:pt x="48989" y="284710"/>
                    <a:pt x="48353" y="284710"/>
                  </a:cubicBezTo>
                  <a:lnTo>
                    <a:pt x="47717" y="284710"/>
                  </a:lnTo>
                  <a:cubicBezTo>
                    <a:pt x="47717" y="284710"/>
                    <a:pt x="47399" y="284710"/>
                    <a:pt x="47399" y="285028"/>
                  </a:cubicBezTo>
                  <a:cubicBezTo>
                    <a:pt x="47399" y="285664"/>
                    <a:pt x="46763" y="285983"/>
                    <a:pt x="46126" y="285983"/>
                  </a:cubicBezTo>
                  <a:cubicBezTo>
                    <a:pt x="44536" y="286301"/>
                    <a:pt x="43264" y="287255"/>
                    <a:pt x="41036" y="288209"/>
                  </a:cubicBezTo>
                  <a:lnTo>
                    <a:pt x="39128" y="289482"/>
                  </a:lnTo>
                  <a:cubicBezTo>
                    <a:pt x="38810" y="289482"/>
                    <a:pt x="38492" y="290118"/>
                    <a:pt x="38173" y="290436"/>
                  </a:cubicBezTo>
                  <a:cubicBezTo>
                    <a:pt x="37537" y="290436"/>
                    <a:pt x="37537" y="290118"/>
                    <a:pt x="37537" y="289800"/>
                  </a:cubicBezTo>
                  <a:cubicBezTo>
                    <a:pt x="37537" y="289482"/>
                    <a:pt x="37219" y="289482"/>
                    <a:pt x="37219" y="289482"/>
                  </a:cubicBezTo>
                  <a:cubicBezTo>
                    <a:pt x="36583" y="290436"/>
                    <a:pt x="35629" y="290436"/>
                    <a:pt x="34992" y="290754"/>
                  </a:cubicBezTo>
                  <a:cubicBezTo>
                    <a:pt x="34674" y="290754"/>
                    <a:pt x="34038" y="290754"/>
                    <a:pt x="34038" y="290436"/>
                  </a:cubicBezTo>
                  <a:cubicBezTo>
                    <a:pt x="33720" y="290118"/>
                    <a:pt x="33402" y="289800"/>
                    <a:pt x="33084" y="289800"/>
                  </a:cubicBezTo>
                  <a:cubicBezTo>
                    <a:pt x="32766" y="289800"/>
                    <a:pt x="32448" y="290118"/>
                    <a:pt x="32448" y="290118"/>
                  </a:cubicBezTo>
                  <a:cubicBezTo>
                    <a:pt x="31493" y="290754"/>
                    <a:pt x="30221" y="290754"/>
                    <a:pt x="28630" y="291072"/>
                  </a:cubicBezTo>
                  <a:cubicBezTo>
                    <a:pt x="27994" y="291072"/>
                    <a:pt x="27358" y="291072"/>
                    <a:pt x="27040" y="291390"/>
                  </a:cubicBezTo>
                  <a:cubicBezTo>
                    <a:pt x="26721" y="291709"/>
                    <a:pt x="25767" y="291709"/>
                    <a:pt x="25449" y="291709"/>
                  </a:cubicBezTo>
                  <a:cubicBezTo>
                    <a:pt x="25131" y="292027"/>
                    <a:pt x="24495" y="292027"/>
                    <a:pt x="24177" y="292027"/>
                  </a:cubicBezTo>
                  <a:cubicBezTo>
                    <a:pt x="23858" y="292027"/>
                    <a:pt x="23540" y="292027"/>
                    <a:pt x="23222" y="291709"/>
                  </a:cubicBezTo>
                  <a:cubicBezTo>
                    <a:pt x="22904" y="291709"/>
                    <a:pt x="22586" y="291390"/>
                    <a:pt x="22586" y="291072"/>
                  </a:cubicBezTo>
                  <a:cubicBezTo>
                    <a:pt x="21950" y="290436"/>
                    <a:pt x="21314" y="290436"/>
                    <a:pt x="20677" y="290436"/>
                  </a:cubicBezTo>
                  <a:cubicBezTo>
                    <a:pt x="20677" y="291072"/>
                    <a:pt x="20041" y="291072"/>
                    <a:pt x="19723" y="291072"/>
                  </a:cubicBezTo>
                  <a:cubicBezTo>
                    <a:pt x="19405" y="290754"/>
                    <a:pt x="19405" y="290754"/>
                    <a:pt x="19087" y="290754"/>
                  </a:cubicBezTo>
                  <a:cubicBezTo>
                    <a:pt x="18769" y="290754"/>
                    <a:pt x="18769" y="290754"/>
                    <a:pt x="18451" y="291072"/>
                  </a:cubicBezTo>
                  <a:cubicBezTo>
                    <a:pt x="18133" y="292027"/>
                    <a:pt x="17496" y="292027"/>
                    <a:pt x="16860" y="292027"/>
                  </a:cubicBezTo>
                  <a:lnTo>
                    <a:pt x="14315" y="291072"/>
                  </a:lnTo>
                  <a:cubicBezTo>
                    <a:pt x="13361" y="291072"/>
                    <a:pt x="12406" y="291072"/>
                    <a:pt x="11452" y="290754"/>
                  </a:cubicBezTo>
                  <a:cubicBezTo>
                    <a:pt x="9225" y="289164"/>
                    <a:pt x="7635" y="288527"/>
                    <a:pt x="6044" y="286937"/>
                  </a:cubicBezTo>
                  <a:cubicBezTo>
                    <a:pt x="6044" y="286937"/>
                    <a:pt x="5408" y="286301"/>
                    <a:pt x="5408" y="285664"/>
                  </a:cubicBezTo>
                  <a:cubicBezTo>
                    <a:pt x="5408" y="284710"/>
                    <a:pt x="5090" y="284392"/>
                    <a:pt x="4136" y="283756"/>
                  </a:cubicBezTo>
                  <a:cubicBezTo>
                    <a:pt x="4136" y="283756"/>
                    <a:pt x="3818" y="283756"/>
                    <a:pt x="3818" y="283438"/>
                  </a:cubicBezTo>
                  <a:cubicBezTo>
                    <a:pt x="3500" y="281847"/>
                    <a:pt x="2545" y="281211"/>
                    <a:pt x="2545" y="279938"/>
                  </a:cubicBezTo>
                  <a:lnTo>
                    <a:pt x="2545" y="279302"/>
                  </a:lnTo>
                  <a:cubicBezTo>
                    <a:pt x="2545" y="278984"/>
                    <a:pt x="2227" y="278666"/>
                    <a:pt x="1909" y="278666"/>
                  </a:cubicBezTo>
                  <a:cubicBezTo>
                    <a:pt x="636" y="278030"/>
                    <a:pt x="636" y="276757"/>
                    <a:pt x="636" y="275485"/>
                  </a:cubicBezTo>
                  <a:cubicBezTo>
                    <a:pt x="318" y="274849"/>
                    <a:pt x="318" y="274531"/>
                    <a:pt x="318" y="273894"/>
                  </a:cubicBezTo>
                  <a:lnTo>
                    <a:pt x="318" y="271986"/>
                  </a:lnTo>
                  <a:cubicBezTo>
                    <a:pt x="318" y="271667"/>
                    <a:pt x="318" y="271349"/>
                    <a:pt x="636" y="271031"/>
                  </a:cubicBezTo>
                  <a:lnTo>
                    <a:pt x="954" y="271031"/>
                  </a:lnTo>
                  <a:cubicBezTo>
                    <a:pt x="954" y="271031"/>
                    <a:pt x="1273" y="271031"/>
                    <a:pt x="1273" y="270713"/>
                  </a:cubicBezTo>
                  <a:cubicBezTo>
                    <a:pt x="1273" y="270713"/>
                    <a:pt x="954" y="270395"/>
                    <a:pt x="954" y="270077"/>
                  </a:cubicBezTo>
                  <a:cubicBezTo>
                    <a:pt x="954" y="269759"/>
                    <a:pt x="1273" y="269441"/>
                    <a:pt x="1273" y="269441"/>
                  </a:cubicBezTo>
                  <a:lnTo>
                    <a:pt x="954" y="269441"/>
                  </a:lnTo>
                  <a:cubicBezTo>
                    <a:pt x="636" y="269123"/>
                    <a:pt x="636" y="268486"/>
                    <a:pt x="636" y="268168"/>
                  </a:cubicBezTo>
                  <a:cubicBezTo>
                    <a:pt x="636" y="267532"/>
                    <a:pt x="636" y="267214"/>
                    <a:pt x="954" y="266578"/>
                  </a:cubicBezTo>
                  <a:cubicBezTo>
                    <a:pt x="954" y="265942"/>
                    <a:pt x="954" y="265942"/>
                    <a:pt x="318" y="265623"/>
                  </a:cubicBezTo>
                  <a:cubicBezTo>
                    <a:pt x="0" y="265623"/>
                    <a:pt x="0" y="265623"/>
                    <a:pt x="0" y="265305"/>
                  </a:cubicBezTo>
                  <a:lnTo>
                    <a:pt x="0" y="261488"/>
                  </a:lnTo>
                  <a:cubicBezTo>
                    <a:pt x="318" y="260215"/>
                    <a:pt x="636" y="259261"/>
                    <a:pt x="636" y="257989"/>
                  </a:cubicBezTo>
                  <a:cubicBezTo>
                    <a:pt x="636" y="257352"/>
                    <a:pt x="636" y="256716"/>
                    <a:pt x="954" y="255762"/>
                  </a:cubicBezTo>
                  <a:lnTo>
                    <a:pt x="1273" y="255444"/>
                  </a:lnTo>
                  <a:cubicBezTo>
                    <a:pt x="1273" y="254489"/>
                    <a:pt x="1591" y="253535"/>
                    <a:pt x="1591" y="251945"/>
                  </a:cubicBezTo>
                  <a:cubicBezTo>
                    <a:pt x="1591" y="251626"/>
                    <a:pt x="1591" y="250990"/>
                    <a:pt x="1909" y="250354"/>
                  </a:cubicBezTo>
                  <a:lnTo>
                    <a:pt x="1909" y="249718"/>
                  </a:lnTo>
                  <a:cubicBezTo>
                    <a:pt x="1909" y="249400"/>
                    <a:pt x="1909" y="248763"/>
                    <a:pt x="1591" y="248127"/>
                  </a:cubicBezTo>
                  <a:lnTo>
                    <a:pt x="1591" y="245582"/>
                  </a:lnTo>
                  <a:lnTo>
                    <a:pt x="1273" y="245264"/>
                  </a:lnTo>
                  <a:cubicBezTo>
                    <a:pt x="2227" y="244628"/>
                    <a:pt x="1591" y="243356"/>
                    <a:pt x="2227" y="242083"/>
                  </a:cubicBezTo>
                  <a:lnTo>
                    <a:pt x="2545" y="241765"/>
                  </a:lnTo>
                  <a:cubicBezTo>
                    <a:pt x="2545" y="241765"/>
                    <a:pt x="2545" y="242083"/>
                    <a:pt x="2863" y="242083"/>
                  </a:cubicBezTo>
                  <a:lnTo>
                    <a:pt x="3181" y="242083"/>
                  </a:lnTo>
                  <a:lnTo>
                    <a:pt x="3181" y="238902"/>
                  </a:lnTo>
                  <a:cubicBezTo>
                    <a:pt x="4136" y="236993"/>
                    <a:pt x="4454" y="235403"/>
                    <a:pt x="5090" y="233494"/>
                  </a:cubicBezTo>
                  <a:lnTo>
                    <a:pt x="5090" y="231904"/>
                  </a:lnTo>
                  <a:cubicBezTo>
                    <a:pt x="4772" y="231585"/>
                    <a:pt x="4772" y="231267"/>
                    <a:pt x="4772" y="230949"/>
                  </a:cubicBezTo>
                  <a:cubicBezTo>
                    <a:pt x="4772" y="230631"/>
                    <a:pt x="4772" y="229995"/>
                    <a:pt x="5090" y="229677"/>
                  </a:cubicBezTo>
                  <a:cubicBezTo>
                    <a:pt x="5408" y="229359"/>
                    <a:pt x="5408" y="229041"/>
                    <a:pt x="5408" y="228722"/>
                  </a:cubicBezTo>
                  <a:lnTo>
                    <a:pt x="5408" y="228086"/>
                  </a:lnTo>
                  <a:lnTo>
                    <a:pt x="6362" y="228086"/>
                  </a:lnTo>
                  <a:cubicBezTo>
                    <a:pt x="6362" y="228404"/>
                    <a:pt x="6362" y="228404"/>
                    <a:pt x="6681" y="228404"/>
                  </a:cubicBezTo>
                  <a:cubicBezTo>
                    <a:pt x="6681" y="228086"/>
                    <a:pt x="7317" y="227450"/>
                    <a:pt x="7317" y="227132"/>
                  </a:cubicBezTo>
                  <a:cubicBezTo>
                    <a:pt x="6999" y="226814"/>
                    <a:pt x="6999" y="226496"/>
                    <a:pt x="6999" y="226177"/>
                  </a:cubicBezTo>
                  <a:cubicBezTo>
                    <a:pt x="6999" y="225541"/>
                    <a:pt x="7317" y="225223"/>
                    <a:pt x="7635" y="224587"/>
                  </a:cubicBezTo>
                  <a:cubicBezTo>
                    <a:pt x="8271" y="223633"/>
                    <a:pt x="8271" y="223314"/>
                    <a:pt x="8589" y="222360"/>
                  </a:cubicBezTo>
                  <a:cubicBezTo>
                    <a:pt x="8589" y="222042"/>
                    <a:pt x="8589" y="221724"/>
                    <a:pt x="8271" y="221406"/>
                  </a:cubicBezTo>
                  <a:lnTo>
                    <a:pt x="8271" y="221088"/>
                  </a:lnTo>
                  <a:cubicBezTo>
                    <a:pt x="8271" y="220770"/>
                    <a:pt x="8271" y="220451"/>
                    <a:pt x="8589" y="220451"/>
                  </a:cubicBezTo>
                  <a:lnTo>
                    <a:pt x="9225" y="220451"/>
                  </a:lnTo>
                  <a:lnTo>
                    <a:pt x="9543" y="220770"/>
                  </a:lnTo>
                  <a:lnTo>
                    <a:pt x="9543" y="220451"/>
                  </a:lnTo>
                  <a:cubicBezTo>
                    <a:pt x="9543" y="220133"/>
                    <a:pt x="9543" y="219815"/>
                    <a:pt x="9862" y="219497"/>
                  </a:cubicBezTo>
                  <a:cubicBezTo>
                    <a:pt x="10180" y="219179"/>
                    <a:pt x="10498" y="218861"/>
                    <a:pt x="10498" y="218225"/>
                  </a:cubicBezTo>
                  <a:cubicBezTo>
                    <a:pt x="10498" y="217270"/>
                    <a:pt x="11134" y="216316"/>
                    <a:pt x="11770" y="215998"/>
                  </a:cubicBezTo>
                  <a:cubicBezTo>
                    <a:pt x="12406" y="215680"/>
                    <a:pt x="12406" y="215044"/>
                    <a:pt x="12406" y="214725"/>
                  </a:cubicBezTo>
                  <a:cubicBezTo>
                    <a:pt x="12088" y="213771"/>
                    <a:pt x="12088" y="213135"/>
                    <a:pt x="11770" y="212817"/>
                  </a:cubicBezTo>
                  <a:cubicBezTo>
                    <a:pt x="11770" y="212817"/>
                    <a:pt x="11770" y="212499"/>
                    <a:pt x="12406" y="212181"/>
                  </a:cubicBezTo>
                  <a:cubicBezTo>
                    <a:pt x="12724" y="212181"/>
                    <a:pt x="13043" y="211862"/>
                    <a:pt x="13043" y="211544"/>
                  </a:cubicBezTo>
                  <a:lnTo>
                    <a:pt x="13043" y="210908"/>
                  </a:lnTo>
                  <a:cubicBezTo>
                    <a:pt x="13043" y="209636"/>
                    <a:pt x="13043" y="209636"/>
                    <a:pt x="13997" y="209318"/>
                  </a:cubicBezTo>
                  <a:cubicBezTo>
                    <a:pt x="14315" y="209318"/>
                    <a:pt x="14315" y="208999"/>
                    <a:pt x="14315" y="208363"/>
                  </a:cubicBezTo>
                  <a:cubicBezTo>
                    <a:pt x="14315" y="208363"/>
                    <a:pt x="14633" y="208045"/>
                    <a:pt x="14315" y="208045"/>
                  </a:cubicBezTo>
                  <a:lnTo>
                    <a:pt x="16224" y="208045"/>
                  </a:lnTo>
                  <a:cubicBezTo>
                    <a:pt x="16542" y="208045"/>
                    <a:pt x="16542" y="208045"/>
                    <a:pt x="16542" y="207727"/>
                  </a:cubicBezTo>
                  <a:lnTo>
                    <a:pt x="16224" y="207409"/>
                  </a:lnTo>
                  <a:cubicBezTo>
                    <a:pt x="15906" y="207091"/>
                    <a:pt x="15588" y="207091"/>
                    <a:pt x="15588" y="206773"/>
                  </a:cubicBezTo>
                  <a:cubicBezTo>
                    <a:pt x="15588" y="206455"/>
                    <a:pt x="15906" y="206455"/>
                    <a:pt x="15906" y="206136"/>
                  </a:cubicBezTo>
                  <a:cubicBezTo>
                    <a:pt x="16542" y="205500"/>
                    <a:pt x="16860" y="204546"/>
                    <a:pt x="16860" y="203910"/>
                  </a:cubicBezTo>
                  <a:lnTo>
                    <a:pt x="17178" y="203910"/>
                  </a:lnTo>
                  <a:cubicBezTo>
                    <a:pt x="17178" y="203910"/>
                    <a:pt x="17178" y="203592"/>
                    <a:pt x="16860" y="203592"/>
                  </a:cubicBezTo>
                  <a:cubicBezTo>
                    <a:pt x="17178" y="203273"/>
                    <a:pt x="17496" y="203273"/>
                    <a:pt x="17815" y="203273"/>
                  </a:cubicBezTo>
                  <a:lnTo>
                    <a:pt x="18769" y="204228"/>
                  </a:lnTo>
                  <a:lnTo>
                    <a:pt x="18769" y="204864"/>
                  </a:lnTo>
                  <a:cubicBezTo>
                    <a:pt x="18133" y="205182"/>
                    <a:pt x="17815" y="205500"/>
                    <a:pt x="17815" y="206455"/>
                  </a:cubicBezTo>
                  <a:lnTo>
                    <a:pt x="17815" y="208363"/>
                  </a:lnTo>
                  <a:cubicBezTo>
                    <a:pt x="17496" y="208681"/>
                    <a:pt x="17496" y="208681"/>
                    <a:pt x="16860" y="208681"/>
                  </a:cubicBezTo>
                  <a:cubicBezTo>
                    <a:pt x="16860" y="208681"/>
                    <a:pt x="16224" y="208681"/>
                    <a:pt x="15906" y="208999"/>
                  </a:cubicBezTo>
                  <a:lnTo>
                    <a:pt x="14951" y="210272"/>
                  </a:lnTo>
                  <a:lnTo>
                    <a:pt x="14951" y="210908"/>
                  </a:lnTo>
                  <a:lnTo>
                    <a:pt x="15588" y="210908"/>
                  </a:lnTo>
                  <a:cubicBezTo>
                    <a:pt x="15906" y="210908"/>
                    <a:pt x="16224" y="210272"/>
                    <a:pt x="16860" y="209636"/>
                  </a:cubicBezTo>
                  <a:lnTo>
                    <a:pt x="16860" y="209954"/>
                  </a:lnTo>
                  <a:cubicBezTo>
                    <a:pt x="16860" y="210590"/>
                    <a:pt x="16860" y="210908"/>
                    <a:pt x="16224" y="211226"/>
                  </a:cubicBezTo>
                  <a:cubicBezTo>
                    <a:pt x="15906" y="211862"/>
                    <a:pt x="15588" y="211862"/>
                    <a:pt x="15270" y="212181"/>
                  </a:cubicBezTo>
                  <a:cubicBezTo>
                    <a:pt x="14951" y="212181"/>
                    <a:pt x="14951" y="212181"/>
                    <a:pt x="14633" y="212499"/>
                  </a:cubicBezTo>
                  <a:lnTo>
                    <a:pt x="14633" y="212817"/>
                  </a:lnTo>
                  <a:cubicBezTo>
                    <a:pt x="14633" y="213135"/>
                    <a:pt x="14951" y="213135"/>
                    <a:pt x="15270" y="213453"/>
                  </a:cubicBezTo>
                  <a:cubicBezTo>
                    <a:pt x="15270" y="214089"/>
                    <a:pt x="15270" y="214407"/>
                    <a:pt x="14633" y="214407"/>
                  </a:cubicBezTo>
                  <a:cubicBezTo>
                    <a:pt x="14315" y="214407"/>
                    <a:pt x="13679" y="214725"/>
                    <a:pt x="13361" y="215044"/>
                  </a:cubicBezTo>
                  <a:cubicBezTo>
                    <a:pt x="13361" y="215362"/>
                    <a:pt x="13043" y="215680"/>
                    <a:pt x="13043" y="215998"/>
                  </a:cubicBezTo>
                  <a:lnTo>
                    <a:pt x="13043" y="217588"/>
                  </a:lnTo>
                  <a:cubicBezTo>
                    <a:pt x="13043" y="217907"/>
                    <a:pt x="13043" y="217907"/>
                    <a:pt x="13361" y="218225"/>
                  </a:cubicBezTo>
                  <a:cubicBezTo>
                    <a:pt x="13361" y="218225"/>
                    <a:pt x="13043" y="218543"/>
                    <a:pt x="13043" y="219179"/>
                  </a:cubicBezTo>
                  <a:lnTo>
                    <a:pt x="12406" y="220451"/>
                  </a:lnTo>
                  <a:lnTo>
                    <a:pt x="12406" y="221088"/>
                  </a:lnTo>
                  <a:cubicBezTo>
                    <a:pt x="12406" y="221724"/>
                    <a:pt x="12088" y="222360"/>
                    <a:pt x="11134" y="222360"/>
                  </a:cubicBezTo>
                  <a:cubicBezTo>
                    <a:pt x="10816" y="222360"/>
                    <a:pt x="10816" y="222678"/>
                    <a:pt x="10816" y="222996"/>
                  </a:cubicBezTo>
                  <a:lnTo>
                    <a:pt x="10816" y="224587"/>
                  </a:lnTo>
                  <a:cubicBezTo>
                    <a:pt x="10816" y="224905"/>
                    <a:pt x="10498" y="225223"/>
                    <a:pt x="10180" y="225541"/>
                  </a:cubicBezTo>
                  <a:lnTo>
                    <a:pt x="10180" y="226177"/>
                  </a:lnTo>
                  <a:cubicBezTo>
                    <a:pt x="10180" y="226496"/>
                    <a:pt x="10180" y="226814"/>
                    <a:pt x="9862" y="227132"/>
                  </a:cubicBezTo>
                  <a:cubicBezTo>
                    <a:pt x="9543" y="227768"/>
                    <a:pt x="9543" y="228722"/>
                    <a:pt x="9543" y="229041"/>
                  </a:cubicBezTo>
                  <a:cubicBezTo>
                    <a:pt x="9862" y="229677"/>
                    <a:pt x="10180" y="229995"/>
                    <a:pt x="10498" y="229995"/>
                  </a:cubicBezTo>
                  <a:lnTo>
                    <a:pt x="13361" y="229995"/>
                  </a:lnTo>
                  <a:lnTo>
                    <a:pt x="13361" y="230631"/>
                  </a:lnTo>
                  <a:cubicBezTo>
                    <a:pt x="12724" y="232222"/>
                    <a:pt x="12406" y="234130"/>
                    <a:pt x="11452" y="235403"/>
                  </a:cubicBezTo>
                  <a:cubicBezTo>
                    <a:pt x="11452" y="235721"/>
                    <a:pt x="11452" y="235721"/>
                    <a:pt x="11134" y="235721"/>
                  </a:cubicBezTo>
                  <a:cubicBezTo>
                    <a:pt x="11134" y="235721"/>
                    <a:pt x="10816" y="236039"/>
                    <a:pt x="10498" y="236039"/>
                  </a:cubicBezTo>
                  <a:cubicBezTo>
                    <a:pt x="10498" y="235721"/>
                    <a:pt x="10180" y="235721"/>
                    <a:pt x="10498" y="235721"/>
                  </a:cubicBezTo>
                  <a:cubicBezTo>
                    <a:pt x="10498" y="235403"/>
                    <a:pt x="10816" y="234767"/>
                    <a:pt x="11134" y="234448"/>
                  </a:cubicBezTo>
                  <a:cubicBezTo>
                    <a:pt x="11452" y="234448"/>
                    <a:pt x="11452" y="234130"/>
                    <a:pt x="11452" y="234130"/>
                  </a:cubicBezTo>
                  <a:cubicBezTo>
                    <a:pt x="11452" y="233812"/>
                    <a:pt x="11134" y="233812"/>
                    <a:pt x="10816" y="233494"/>
                  </a:cubicBezTo>
                  <a:lnTo>
                    <a:pt x="10498" y="233494"/>
                  </a:lnTo>
                  <a:cubicBezTo>
                    <a:pt x="9862" y="233176"/>
                    <a:pt x="9862" y="233176"/>
                    <a:pt x="9862" y="232222"/>
                  </a:cubicBezTo>
                  <a:cubicBezTo>
                    <a:pt x="9862" y="231904"/>
                    <a:pt x="10180" y="231904"/>
                    <a:pt x="10180" y="231904"/>
                  </a:cubicBezTo>
                  <a:cubicBezTo>
                    <a:pt x="9862" y="231585"/>
                    <a:pt x="9862" y="231267"/>
                    <a:pt x="9543" y="231267"/>
                  </a:cubicBezTo>
                  <a:lnTo>
                    <a:pt x="8589" y="233494"/>
                  </a:lnTo>
                  <a:cubicBezTo>
                    <a:pt x="7953" y="234130"/>
                    <a:pt x="7317" y="234767"/>
                    <a:pt x="7317" y="235721"/>
                  </a:cubicBezTo>
                  <a:cubicBezTo>
                    <a:pt x="7317" y="236357"/>
                    <a:pt x="7317" y="236993"/>
                    <a:pt x="7953" y="237630"/>
                  </a:cubicBezTo>
                  <a:lnTo>
                    <a:pt x="7953" y="237948"/>
                  </a:lnTo>
                  <a:cubicBezTo>
                    <a:pt x="7953" y="238266"/>
                    <a:pt x="7635" y="238266"/>
                    <a:pt x="7317" y="238266"/>
                  </a:cubicBezTo>
                  <a:lnTo>
                    <a:pt x="6999" y="238266"/>
                  </a:lnTo>
                  <a:cubicBezTo>
                    <a:pt x="6999" y="238266"/>
                    <a:pt x="6681" y="238266"/>
                    <a:pt x="6681" y="238584"/>
                  </a:cubicBezTo>
                  <a:cubicBezTo>
                    <a:pt x="6044" y="239538"/>
                    <a:pt x="6044" y="240811"/>
                    <a:pt x="6044" y="241765"/>
                  </a:cubicBezTo>
                  <a:cubicBezTo>
                    <a:pt x="5726" y="243037"/>
                    <a:pt x="5408" y="244628"/>
                    <a:pt x="5408" y="245900"/>
                  </a:cubicBezTo>
                  <a:cubicBezTo>
                    <a:pt x="5408" y="247173"/>
                    <a:pt x="5726" y="248127"/>
                    <a:pt x="6044" y="249400"/>
                  </a:cubicBezTo>
                  <a:cubicBezTo>
                    <a:pt x="6044" y="249718"/>
                    <a:pt x="6362" y="249718"/>
                    <a:pt x="6362" y="250036"/>
                  </a:cubicBezTo>
                  <a:cubicBezTo>
                    <a:pt x="6362" y="250354"/>
                    <a:pt x="6044" y="250672"/>
                    <a:pt x="6044" y="250672"/>
                  </a:cubicBezTo>
                  <a:cubicBezTo>
                    <a:pt x="5408" y="251308"/>
                    <a:pt x="5408" y="251945"/>
                    <a:pt x="5408" y="252899"/>
                  </a:cubicBezTo>
                  <a:lnTo>
                    <a:pt x="6362" y="254489"/>
                  </a:lnTo>
                  <a:cubicBezTo>
                    <a:pt x="6362" y="255126"/>
                    <a:pt x="6362" y="255762"/>
                    <a:pt x="6999" y="255762"/>
                  </a:cubicBezTo>
                  <a:cubicBezTo>
                    <a:pt x="7317" y="255762"/>
                    <a:pt x="7317" y="255444"/>
                    <a:pt x="7635" y="255444"/>
                  </a:cubicBezTo>
                  <a:lnTo>
                    <a:pt x="7953" y="255762"/>
                  </a:lnTo>
                  <a:lnTo>
                    <a:pt x="7953" y="256716"/>
                  </a:lnTo>
                  <a:cubicBezTo>
                    <a:pt x="8271" y="257352"/>
                    <a:pt x="8589" y="258307"/>
                    <a:pt x="8589" y="258943"/>
                  </a:cubicBezTo>
                  <a:cubicBezTo>
                    <a:pt x="8589" y="259579"/>
                    <a:pt x="8271" y="259897"/>
                    <a:pt x="8271" y="260534"/>
                  </a:cubicBezTo>
                  <a:lnTo>
                    <a:pt x="8271" y="261170"/>
                  </a:lnTo>
                  <a:lnTo>
                    <a:pt x="8907" y="267532"/>
                  </a:lnTo>
                  <a:cubicBezTo>
                    <a:pt x="8907" y="268486"/>
                    <a:pt x="8907" y="269123"/>
                    <a:pt x="9225" y="270077"/>
                  </a:cubicBezTo>
                  <a:cubicBezTo>
                    <a:pt x="9862" y="270077"/>
                    <a:pt x="9862" y="271031"/>
                    <a:pt x="10498" y="271667"/>
                  </a:cubicBezTo>
                  <a:cubicBezTo>
                    <a:pt x="10816" y="271667"/>
                    <a:pt x="11134" y="272304"/>
                    <a:pt x="10816" y="271986"/>
                  </a:cubicBezTo>
                  <a:cubicBezTo>
                    <a:pt x="10816" y="273258"/>
                    <a:pt x="11452" y="274212"/>
                    <a:pt x="12406" y="275167"/>
                  </a:cubicBezTo>
                  <a:cubicBezTo>
                    <a:pt x="13043" y="276439"/>
                    <a:pt x="14633" y="277075"/>
                    <a:pt x="15588" y="278030"/>
                  </a:cubicBezTo>
                  <a:lnTo>
                    <a:pt x="15906" y="278030"/>
                  </a:lnTo>
                  <a:cubicBezTo>
                    <a:pt x="16224" y="278030"/>
                    <a:pt x="16224" y="278030"/>
                    <a:pt x="16542" y="277712"/>
                  </a:cubicBezTo>
                  <a:cubicBezTo>
                    <a:pt x="16860" y="277394"/>
                    <a:pt x="16860" y="277394"/>
                    <a:pt x="17178" y="277394"/>
                  </a:cubicBezTo>
                  <a:cubicBezTo>
                    <a:pt x="17178" y="277394"/>
                    <a:pt x="17496" y="277394"/>
                    <a:pt x="17496" y="277712"/>
                  </a:cubicBezTo>
                  <a:cubicBezTo>
                    <a:pt x="17496" y="277712"/>
                    <a:pt x="17496" y="278348"/>
                    <a:pt x="17815" y="278666"/>
                  </a:cubicBezTo>
                  <a:lnTo>
                    <a:pt x="20041" y="280575"/>
                  </a:lnTo>
                  <a:lnTo>
                    <a:pt x="20359" y="280575"/>
                  </a:lnTo>
                  <a:cubicBezTo>
                    <a:pt x="21632" y="280575"/>
                    <a:pt x="23222" y="280893"/>
                    <a:pt x="24813" y="280893"/>
                  </a:cubicBezTo>
                  <a:lnTo>
                    <a:pt x="26085" y="280893"/>
                  </a:lnTo>
                  <a:cubicBezTo>
                    <a:pt x="27358" y="280893"/>
                    <a:pt x="28630" y="280575"/>
                    <a:pt x="30539" y="279302"/>
                  </a:cubicBezTo>
                  <a:cubicBezTo>
                    <a:pt x="30857" y="279620"/>
                    <a:pt x="31493" y="279620"/>
                    <a:pt x="31811" y="279620"/>
                  </a:cubicBezTo>
                  <a:cubicBezTo>
                    <a:pt x="32766" y="279620"/>
                    <a:pt x="33402" y="278984"/>
                    <a:pt x="34356" y="278666"/>
                  </a:cubicBezTo>
                  <a:cubicBezTo>
                    <a:pt x="35311" y="278348"/>
                    <a:pt x="36265" y="278348"/>
                    <a:pt x="36265" y="277394"/>
                  </a:cubicBezTo>
                  <a:lnTo>
                    <a:pt x="36901" y="277394"/>
                  </a:lnTo>
                  <a:cubicBezTo>
                    <a:pt x="37219" y="277394"/>
                    <a:pt x="37219" y="277394"/>
                    <a:pt x="37219" y="277075"/>
                  </a:cubicBezTo>
                  <a:cubicBezTo>
                    <a:pt x="37855" y="276439"/>
                    <a:pt x="38810" y="276439"/>
                    <a:pt x="39446" y="276121"/>
                  </a:cubicBezTo>
                  <a:cubicBezTo>
                    <a:pt x="40082" y="276121"/>
                    <a:pt x="40718" y="275803"/>
                    <a:pt x="41036" y="275485"/>
                  </a:cubicBezTo>
                  <a:cubicBezTo>
                    <a:pt x="41991" y="275485"/>
                    <a:pt x="43264" y="275167"/>
                    <a:pt x="44218" y="274849"/>
                  </a:cubicBezTo>
                  <a:lnTo>
                    <a:pt x="48671" y="271986"/>
                  </a:lnTo>
                  <a:cubicBezTo>
                    <a:pt x="50580" y="271349"/>
                    <a:pt x="52807" y="270395"/>
                    <a:pt x="54079" y="268486"/>
                  </a:cubicBezTo>
                  <a:cubicBezTo>
                    <a:pt x="54397" y="268168"/>
                    <a:pt x="54397" y="267850"/>
                    <a:pt x="54715" y="267850"/>
                  </a:cubicBezTo>
                  <a:cubicBezTo>
                    <a:pt x="55670" y="267214"/>
                    <a:pt x="56306" y="266578"/>
                    <a:pt x="56624" y="265942"/>
                  </a:cubicBezTo>
                  <a:cubicBezTo>
                    <a:pt x="57260" y="264669"/>
                    <a:pt x="58533" y="264351"/>
                    <a:pt x="59169" y="263397"/>
                  </a:cubicBezTo>
                  <a:cubicBezTo>
                    <a:pt x="59169" y="263397"/>
                    <a:pt x="59169" y="263078"/>
                    <a:pt x="59487" y="263078"/>
                  </a:cubicBezTo>
                  <a:lnTo>
                    <a:pt x="59805" y="263078"/>
                  </a:lnTo>
                  <a:cubicBezTo>
                    <a:pt x="60441" y="263078"/>
                    <a:pt x="60760" y="262442"/>
                    <a:pt x="61078" y="261806"/>
                  </a:cubicBezTo>
                  <a:cubicBezTo>
                    <a:pt x="61396" y="260852"/>
                    <a:pt x="62350" y="260852"/>
                    <a:pt x="62668" y="259897"/>
                  </a:cubicBezTo>
                  <a:cubicBezTo>
                    <a:pt x="63304" y="258943"/>
                    <a:pt x="63622" y="258307"/>
                    <a:pt x="64577" y="257671"/>
                  </a:cubicBezTo>
                  <a:cubicBezTo>
                    <a:pt x="65213" y="256398"/>
                    <a:pt x="66803" y="255762"/>
                    <a:pt x="67440" y="254171"/>
                  </a:cubicBezTo>
                  <a:lnTo>
                    <a:pt x="68712" y="252581"/>
                  </a:lnTo>
                  <a:cubicBezTo>
                    <a:pt x="69985" y="251308"/>
                    <a:pt x="71257" y="250036"/>
                    <a:pt x="71894" y="248445"/>
                  </a:cubicBezTo>
                  <a:cubicBezTo>
                    <a:pt x="72212" y="247491"/>
                    <a:pt x="73166" y="246537"/>
                    <a:pt x="74438" y="245900"/>
                  </a:cubicBezTo>
                  <a:cubicBezTo>
                    <a:pt x="74756" y="245582"/>
                    <a:pt x="75393" y="244628"/>
                    <a:pt x="75393" y="243992"/>
                  </a:cubicBezTo>
                  <a:cubicBezTo>
                    <a:pt x="76347" y="243356"/>
                    <a:pt x="76665" y="242083"/>
                    <a:pt x="77301" y="241447"/>
                  </a:cubicBezTo>
                  <a:cubicBezTo>
                    <a:pt x="77937" y="240174"/>
                    <a:pt x="79528" y="239220"/>
                    <a:pt x="80482" y="237630"/>
                  </a:cubicBezTo>
                  <a:cubicBezTo>
                    <a:pt x="81437" y="235403"/>
                    <a:pt x="83027" y="233494"/>
                    <a:pt x="83664" y="230949"/>
                  </a:cubicBezTo>
                  <a:cubicBezTo>
                    <a:pt x="84300" y="229995"/>
                    <a:pt x="84936" y="229041"/>
                    <a:pt x="85890" y="228086"/>
                  </a:cubicBezTo>
                  <a:cubicBezTo>
                    <a:pt x="85890" y="227768"/>
                    <a:pt x="86527" y="227450"/>
                    <a:pt x="86527" y="226814"/>
                  </a:cubicBezTo>
                  <a:cubicBezTo>
                    <a:pt x="86527" y="226496"/>
                    <a:pt x="86527" y="226177"/>
                    <a:pt x="86845" y="225859"/>
                  </a:cubicBezTo>
                  <a:cubicBezTo>
                    <a:pt x="87799" y="224905"/>
                    <a:pt x="88435" y="223314"/>
                    <a:pt x="89071" y="222360"/>
                  </a:cubicBezTo>
                  <a:cubicBezTo>
                    <a:pt x="89390" y="221406"/>
                    <a:pt x="90662" y="220451"/>
                    <a:pt x="90662" y="219179"/>
                  </a:cubicBezTo>
                  <a:cubicBezTo>
                    <a:pt x="90344" y="218861"/>
                    <a:pt x="90662" y="218861"/>
                    <a:pt x="90662" y="218861"/>
                  </a:cubicBezTo>
                  <a:cubicBezTo>
                    <a:pt x="91934" y="217588"/>
                    <a:pt x="93207" y="215362"/>
                    <a:pt x="93843" y="213453"/>
                  </a:cubicBezTo>
                  <a:cubicBezTo>
                    <a:pt x="94479" y="211544"/>
                    <a:pt x="95434" y="209954"/>
                    <a:pt x="96388" y="207727"/>
                  </a:cubicBezTo>
                  <a:cubicBezTo>
                    <a:pt x="96706" y="206773"/>
                    <a:pt x="96706" y="205818"/>
                    <a:pt x="97024" y="205500"/>
                  </a:cubicBezTo>
                  <a:cubicBezTo>
                    <a:pt x="97661" y="204228"/>
                    <a:pt x="97979" y="202955"/>
                    <a:pt x="97979" y="201683"/>
                  </a:cubicBezTo>
                  <a:cubicBezTo>
                    <a:pt x="99887" y="200410"/>
                    <a:pt x="99569" y="198502"/>
                    <a:pt x="100205" y="196911"/>
                  </a:cubicBezTo>
                  <a:cubicBezTo>
                    <a:pt x="100842" y="196275"/>
                    <a:pt x="101160" y="195003"/>
                    <a:pt x="101160" y="194366"/>
                  </a:cubicBezTo>
                  <a:cubicBezTo>
                    <a:pt x="101796" y="192776"/>
                    <a:pt x="102432" y="191821"/>
                    <a:pt x="102432" y="190231"/>
                  </a:cubicBezTo>
                  <a:cubicBezTo>
                    <a:pt x="103705" y="188640"/>
                    <a:pt x="104341" y="186414"/>
                    <a:pt x="104659" y="184187"/>
                  </a:cubicBezTo>
                  <a:lnTo>
                    <a:pt x="105613" y="182596"/>
                  </a:lnTo>
                  <a:cubicBezTo>
                    <a:pt x="105931" y="181324"/>
                    <a:pt x="106567" y="179415"/>
                    <a:pt x="106886" y="177188"/>
                  </a:cubicBezTo>
                  <a:cubicBezTo>
                    <a:pt x="107840" y="174325"/>
                    <a:pt x="107840" y="171780"/>
                    <a:pt x="108476" y="169235"/>
                  </a:cubicBezTo>
                  <a:cubicBezTo>
                    <a:pt x="108794" y="168917"/>
                    <a:pt x="108794" y="168599"/>
                    <a:pt x="108794" y="168281"/>
                  </a:cubicBezTo>
                  <a:cubicBezTo>
                    <a:pt x="108794" y="167645"/>
                    <a:pt x="109112" y="167327"/>
                    <a:pt x="109112" y="166691"/>
                  </a:cubicBezTo>
                  <a:lnTo>
                    <a:pt x="112612" y="147286"/>
                  </a:lnTo>
                  <a:cubicBezTo>
                    <a:pt x="113248" y="146013"/>
                    <a:pt x="113248" y="144105"/>
                    <a:pt x="113566" y="142514"/>
                  </a:cubicBezTo>
                  <a:cubicBezTo>
                    <a:pt x="113566" y="139651"/>
                    <a:pt x="114202" y="136788"/>
                    <a:pt x="114202" y="134243"/>
                  </a:cubicBezTo>
                  <a:cubicBezTo>
                    <a:pt x="114520" y="131062"/>
                    <a:pt x="114839" y="128835"/>
                    <a:pt x="114839" y="126290"/>
                  </a:cubicBezTo>
                  <a:cubicBezTo>
                    <a:pt x="114839" y="124064"/>
                    <a:pt x="114839" y="122473"/>
                    <a:pt x="115157" y="120882"/>
                  </a:cubicBezTo>
                  <a:cubicBezTo>
                    <a:pt x="115157" y="119292"/>
                    <a:pt x="114839" y="118019"/>
                    <a:pt x="114839" y="116429"/>
                  </a:cubicBezTo>
                  <a:cubicBezTo>
                    <a:pt x="115157" y="116111"/>
                    <a:pt x="114202" y="115793"/>
                    <a:pt x="113884" y="115793"/>
                  </a:cubicBezTo>
                  <a:lnTo>
                    <a:pt x="113566" y="115793"/>
                  </a:lnTo>
                  <a:cubicBezTo>
                    <a:pt x="112294" y="116429"/>
                    <a:pt x="111021" y="117383"/>
                    <a:pt x="110385" y="118338"/>
                  </a:cubicBezTo>
                  <a:cubicBezTo>
                    <a:pt x="110067" y="118338"/>
                    <a:pt x="110067" y="118656"/>
                    <a:pt x="110067" y="118974"/>
                  </a:cubicBezTo>
                  <a:cubicBezTo>
                    <a:pt x="109749" y="119610"/>
                    <a:pt x="109749" y="119928"/>
                    <a:pt x="109431" y="119928"/>
                  </a:cubicBezTo>
                  <a:cubicBezTo>
                    <a:pt x="109431" y="119928"/>
                    <a:pt x="109112" y="119610"/>
                    <a:pt x="108794" y="119610"/>
                  </a:cubicBezTo>
                  <a:cubicBezTo>
                    <a:pt x="108794" y="119292"/>
                    <a:pt x="108476" y="119292"/>
                    <a:pt x="108158" y="119292"/>
                  </a:cubicBezTo>
                  <a:cubicBezTo>
                    <a:pt x="107840" y="119610"/>
                    <a:pt x="107522" y="119610"/>
                    <a:pt x="107204" y="119610"/>
                  </a:cubicBezTo>
                  <a:cubicBezTo>
                    <a:pt x="106886" y="119610"/>
                    <a:pt x="106567" y="119610"/>
                    <a:pt x="106567" y="119292"/>
                  </a:cubicBezTo>
                  <a:cubicBezTo>
                    <a:pt x="106567" y="118974"/>
                    <a:pt x="105931" y="118974"/>
                    <a:pt x="105931" y="118974"/>
                  </a:cubicBezTo>
                  <a:cubicBezTo>
                    <a:pt x="105931" y="119292"/>
                    <a:pt x="105613" y="119610"/>
                    <a:pt x="105613" y="119610"/>
                  </a:cubicBezTo>
                  <a:lnTo>
                    <a:pt x="106249" y="120882"/>
                  </a:lnTo>
                  <a:lnTo>
                    <a:pt x="106249" y="121837"/>
                  </a:lnTo>
                  <a:cubicBezTo>
                    <a:pt x="105613" y="122473"/>
                    <a:pt x="104977" y="122791"/>
                    <a:pt x="104341" y="123109"/>
                  </a:cubicBezTo>
                  <a:cubicBezTo>
                    <a:pt x="104023" y="123109"/>
                    <a:pt x="103386" y="123427"/>
                    <a:pt x="103386" y="123746"/>
                  </a:cubicBezTo>
                  <a:lnTo>
                    <a:pt x="103386" y="124064"/>
                  </a:lnTo>
                  <a:cubicBezTo>
                    <a:pt x="103386" y="124382"/>
                    <a:pt x="103068" y="124700"/>
                    <a:pt x="102432" y="125018"/>
                  </a:cubicBezTo>
                  <a:cubicBezTo>
                    <a:pt x="102114" y="125336"/>
                    <a:pt x="101478" y="125654"/>
                    <a:pt x="101478" y="125972"/>
                  </a:cubicBezTo>
                  <a:cubicBezTo>
                    <a:pt x="101478" y="126609"/>
                    <a:pt x="101160" y="126927"/>
                    <a:pt x="100842" y="126927"/>
                  </a:cubicBezTo>
                  <a:lnTo>
                    <a:pt x="100524" y="126609"/>
                  </a:lnTo>
                  <a:lnTo>
                    <a:pt x="99569" y="126609"/>
                  </a:lnTo>
                  <a:cubicBezTo>
                    <a:pt x="99569" y="126927"/>
                    <a:pt x="99251" y="127245"/>
                    <a:pt x="98933" y="127245"/>
                  </a:cubicBezTo>
                  <a:lnTo>
                    <a:pt x="97024" y="129471"/>
                  </a:lnTo>
                  <a:cubicBezTo>
                    <a:pt x="96706" y="130108"/>
                    <a:pt x="96070" y="130108"/>
                    <a:pt x="95434" y="130108"/>
                  </a:cubicBezTo>
                  <a:cubicBezTo>
                    <a:pt x="94797" y="130426"/>
                    <a:pt x="92252" y="131380"/>
                    <a:pt x="92252" y="132016"/>
                  </a:cubicBezTo>
                  <a:lnTo>
                    <a:pt x="90026" y="133925"/>
                  </a:lnTo>
                  <a:cubicBezTo>
                    <a:pt x="89708" y="133925"/>
                    <a:pt x="89390" y="134561"/>
                    <a:pt x="89071" y="135198"/>
                  </a:cubicBezTo>
                  <a:cubicBezTo>
                    <a:pt x="88753" y="135516"/>
                    <a:pt x="88753" y="135834"/>
                    <a:pt x="88753" y="135834"/>
                  </a:cubicBezTo>
                  <a:cubicBezTo>
                    <a:pt x="88753" y="136788"/>
                    <a:pt x="88117" y="137106"/>
                    <a:pt x="87481" y="137424"/>
                  </a:cubicBezTo>
                  <a:cubicBezTo>
                    <a:pt x="87163" y="137742"/>
                    <a:pt x="86845" y="137742"/>
                    <a:pt x="86527" y="137742"/>
                  </a:cubicBezTo>
                  <a:lnTo>
                    <a:pt x="85890" y="137742"/>
                  </a:lnTo>
                  <a:cubicBezTo>
                    <a:pt x="85890" y="137424"/>
                    <a:pt x="85254" y="137424"/>
                    <a:pt x="84936" y="137106"/>
                  </a:cubicBezTo>
                  <a:cubicBezTo>
                    <a:pt x="84618" y="137106"/>
                    <a:pt x="84618" y="137424"/>
                    <a:pt x="84618" y="137742"/>
                  </a:cubicBezTo>
                  <a:lnTo>
                    <a:pt x="84618" y="139969"/>
                  </a:lnTo>
                  <a:lnTo>
                    <a:pt x="83664" y="139969"/>
                  </a:lnTo>
                  <a:lnTo>
                    <a:pt x="83027" y="139333"/>
                  </a:lnTo>
                  <a:lnTo>
                    <a:pt x="83027" y="141242"/>
                  </a:lnTo>
                  <a:cubicBezTo>
                    <a:pt x="83027" y="141560"/>
                    <a:pt x="83027" y="141560"/>
                    <a:pt x="82709" y="141560"/>
                  </a:cubicBezTo>
                  <a:lnTo>
                    <a:pt x="82391" y="141560"/>
                  </a:lnTo>
                  <a:cubicBezTo>
                    <a:pt x="82073" y="141242"/>
                    <a:pt x="82073" y="141242"/>
                    <a:pt x="81755" y="141242"/>
                  </a:cubicBezTo>
                  <a:lnTo>
                    <a:pt x="81437" y="141242"/>
                  </a:lnTo>
                  <a:lnTo>
                    <a:pt x="81437" y="143468"/>
                  </a:lnTo>
                  <a:cubicBezTo>
                    <a:pt x="81437" y="143787"/>
                    <a:pt x="81437" y="144105"/>
                    <a:pt x="81119" y="144423"/>
                  </a:cubicBezTo>
                  <a:cubicBezTo>
                    <a:pt x="80800" y="145059"/>
                    <a:pt x="79846" y="145059"/>
                    <a:pt x="79846" y="145695"/>
                  </a:cubicBezTo>
                  <a:cubicBezTo>
                    <a:pt x="79210" y="146331"/>
                    <a:pt x="78256" y="146650"/>
                    <a:pt x="77301" y="147604"/>
                  </a:cubicBezTo>
                  <a:cubicBezTo>
                    <a:pt x="76983" y="147922"/>
                    <a:pt x="76665" y="147922"/>
                    <a:pt x="76347" y="147922"/>
                  </a:cubicBezTo>
                  <a:cubicBezTo>
                    <a:pt x="75711" y="147922"/>
                    <a:pt x="75711" y="147286"/>
                    <a:pt x="75393" y="146650"/>
                  </a:cubicBezTo>
                  <a:cubicBezTo>
                    <a:pt x="75393" y="146013"/>
                    <a:pt x="75075" y="145695"/>
                    <a:pt x="74438" y="145695"/>
                  </a:cubicBezTo>
                  <a:lnTo>
                    <a:pt x="74120" y="145695"/>
                  </a:lnTo>
                  <a:cubicBezTo>
                    <a:pt x="74120" y="145695"/>
                    <a:pt x="73802" y="145377"/>
                    <a:pt x="73802" y="145059"/>
                  </a:cubicBezTo>
                  <a:cubicBezTo>
                    <a:pt x="72848" y="144423"/>
                    <a:pt x="72848" y="143150"/>
                    <a:pt x="72848" y="142196"/>
                  </a:cubicBezTo>
                  <a:lnTo>
                    <a:pt x="74120" y="140605"/>
                  </a:lnTo>
                  <a:cubicBezTo>
                    <a:pt x="74438" y="139969"/>
                    <a:pt x="74438" y="139333"/>
                    <a:pt x="74438" y="139015"/>
                  </a:cubicBezTo>
                  <a:lnTo>
                    <a:pt x="74120" y="139015"/>
                  </a:lnTo>
                  <a:cubicBezTo>
                    <a:pt x="73802" y="139333"/>
                    <a:pt x="73802" y="139651"/>
                    <a:pt x="73484" y="139651"/>
                  </a:cubicBezTo>
                  <a:cubicBezTo>
                    <a:pt x="72848" y="139651"/>
                    <a:pt x="71894" y="139651"/>
                    <a:pt x="71894" y="140605"/>
                  </a:cubicBezTo>
                  <a:lnTo>
                    <a:pt x="71894" y="140924"/>
                  </a:lnTo>
                  <a:lnTo>
                    <a:pt x="71257" y="140924"/>
                  </a:lnTo>
                  <a:lnTo>
                    <a:pt x="70621" y="140605"/>
                  </a:lnTo>
                  <a:cubicBezTo>
                    <a:pt x="69985" y="140924"/>
                    <a:pt x="69985" y="141242"/>
                    <a:pt x="69985" y="141560"/>
                  </a:cubicBezTo>
                  <a:cubicBezTo>
                    <a:pt x="69985" y="141878"/>
                    <a:pt x="69985" y="142196"/>
                    <a:pt x="70303" y="142514"/>
                  </a:cubicBezTo>
                  <a:cubicBezTo>
                    <a:pt x="70939" y="142514"/>
                    <a:pt x="71257" y="142832"/>
                    <a:pt x="71575" y="142832"/>
                  </a:cubicBezTo>
                  <a:cubicBezTo>
                    <a:pt x="71894" y="143150"/>
                    <a:pt x="72212" y="143150"/>
                    <a:pt x="72212" y="143468"/>
                  </a:cubicBezTo>
                  <a:cubicBezTo>
                    <a:pt x="72212" y="143468"/>
                    <a:pt x="71894" y="143787"/>
                    <a:pt x="71894" y="144105"/>
                  </a:cubicBezTo>
                  <a:cubicBezTo>
                    <a:pt x="71575" y="144105"/>
                    <a:pt x="71894" y="144423"/>
                    <a:pt x="71894" y="144741"/>
                  </a:cubicBezTo>
                  <a:lnTo>
                    <a:pt x="72530" y="145059"/>
                  </a:lnTo>
                  <a:lnTo>
                    <a:pt x="72530" y="145377"/>
                  </a:lnTo>
                  <a:cubicBezTo>
                    <a:pt x="72530" y="145695"/>
                    <a:pt x="72530" y="145695"/>
                    <a:pt x="72848" y="146013"/>
                  </a:cubicBezTo>
                  <a:cubicBezTo>
                    <a:pt x="73166" y="146331"/>
                    <a:pt x="73166" y="146650"/>
                    <a:pt x="73166" y="146968"/>
                  </a:cubicBezTo>
                  <a:lnTo>
                    <a:pt x="73166" y="147604"/>
                  </a:lnTo>
                  <a:cubicBezTo>
                    <a:pt x="72848" y="147922"/>
                    <a:pt x="72848" y="147922"/>
                    <a:pt x="72848" y="148240"/>
                  </a:cubicBezTo>
                  <a:cubicBezTo>
                    <a:pt x="72848" y="148876"/>
                    <a:pt x="73166" y="149513"/>
                    <a:pt x="73166" y="150149"/>
                  </a:cubicBezTo>
                  <a:cubicBezTo>
                    <a:pt x="73166" y="150785"/>
                    <a:pt x="73166" y="151103"/>
                    <a:pt x="72530" y="151421"/>
                  </a:cubicBezTo>
                  <a:lnTo>
                    <a:pt x="71575" y="153330"/>
                  </a:lnTo>
                  <a:cubicBezTo>
                    <a:pt x="71575" y="153966"/>
                    <a:pt x="70621" y="155239"/>
                    <a:pt x="69349" y="155557"/>
                  </a:cubicBezTo>
                  <a:cubicBezTo>
                    <a:pt x="69030" y="155557"/>
                    <a:pt x="69030" y="156193"/>
                    <a:pt x="68394" y="156829"/>
                  </a:cubicBezTo>
                  <a:cubicBezTo>
                    <a:pt x="68076" y="157783"/>
                    <a:pt x="67122" y="159056"/>
                    <a:pt x="66485" y="160010"/>
                  </a:cubicBezTo>
                  <a:cubicBezTo>
                    <a:pt x="64895" y="161283"/>
                    <a:pt x="63622" y="162873"/>
                    <a:pt x="62032" y="164782"/>
                  </a:cubicBezTo>
                  <a:cubicBezTo>
                    <a:pt x="60760" y="166372"/>
                    <a:pt x="59487" y="167963"/>
                    <a:pt x="57579" y="169554"/>
                  </a:cubicBezTo>
                  <a:cubicBezTo>
                    <a:pt x="57260" y="169872"/>
                    <a:pt x="57260" y="169872"/>
                    <a:pt x="57260" y="170190"/>
                  </a:cubicBezTo>
                  <a:lnTo>
                    <a:pt x="57260" y="170508"/>
                  </a:lnTo>
                  <a:cubicBezTo>
                    <a:pt x="56306" y="171144"/>
                    <a:pt x="55988" y="172098"/>
                    <a:pt x="55670" y="172417"/>
                  </a:cubicBezTo>
                  <a:cubicBezTo>
                    <a:pt x="55352" y="173371"/>
                    <a:pt x="54715" y="174325"/>
                    <a:pt x="54079" y="175280"/>
                  </a:cubicBezTo>
                  <a:cubicBezTo>
                    <a:pt x="53761" y="175598"/>
                    <a:pt x="53125" y="176552"/>
                    <a:pt x="52488" y="176870"/>
                  </a:cubicBezTo>
                  <a:lnTo>
                    <a:pt x="51216" y="178143"/>
                  </a:lnTo>
                  <a:cubicBezTo>
                    <a:pt x="51216" y="178779"/>
                    <a:pt x="50898" y="179415"/>
                    <a:pt x="49944" y="179415"/>
                  </a:cubicBezTo>
                  <a:cubicBezTo>
                    <a:pt x="49307" y="179733"/>
                    <a:pt x="49626" y="181006"/>
                    <a:pt x="48989" y="181006"/>
                  </a:cubicBezTo>
                  <a:cubicBezTo>
                    <a:pt x="48671" y="181006"/>
                    <a:pt x="48353" y="181324"/>
                    <a:pt x="48353" y="181324"/>
                  </a:cubicBezTo>
                  <a:lnTo>
                    <a:pt x="48035" y="181642"/>
                  </a:lnTo>
                  <a:cubicBezTo>
                    <a:pt x="47717" y="181642"/>
                    <a:pt x="47717" y="181324"/>
                    <a:pt x="47399" y="181006"/>
                  </a:cubicBezTo>
                  <a:lnTo>
                    <a:pt x="47399" y="180051"/>
                  </a:lnTo>
                  <a:cubicBezTo>
                    <a:pt x="47081" y="179415"/>
                    <a:pt x="46763" y="179097"/>
                    <a:pt x="46445" y="179097"/>
                  </a:cubicBezTo>
                  <a:cubicBezTo>
                    <a:pt x="46126" y="179097"/>
                    <a:pt x="45808" y="179415"/>
                    <a:pt x="45172" y="180051"/>
                  </a:cubicBezTo>
                  <a:cubicBezTo>
                    <a:pt x="44536" y="180369"/>
                    <a:pt x="44218" y="181006"/>
                    <a:pt x="44218" y="181960"/>
                  </a:cubicBezTo>
                  <a:lnTo>
                    <a:pt x="44218" y="184187"/>
                  </a:lnTo>
                  <a:cubicBezTo>
                    <a:pt x="44218" y="184823"/>
                    <a:pt x="44218" y="185459"/>
                    <a:pt x="44536" y="186095"/>
                  </a:cubicBezTo>
                  <a:cubicBezTo>
                    <a:pt x="44536" y="186414"/>
                    <a:pt x="44854" y="186732"/>
                    <a:pt x="44854" y="187050"/>
                  </a:cubicBezTo>
                  <a:cubicBezTo>
                    <a:pt x="44854" y="187368"/>
                    <a:pt x="44536" y="187686"/>
                    <a:pt x="44218" y="188004"/>
                  </a:cubicBezTo>
                  <a:lnTo>
                    <a:pt x="42627" y="190231"/>
                  </a:lnTo>
                  <a:cubicBezTo>
                    <a:pt x="41991" y="190867"/>
                    <a:pt x="41991" y="191821"/>
                    <a:pt x="41355" y="192458"/>
                  </a:cubicBezTo>
                  <a:lnTo>
                    <a:pt x="41036" y="192776"/>
                  </a:lnTo>
                  <a:cubicBezTo>
                    <a:pt x="41036" y="192776"/>
                    <a:pt x="41036" y="192458"/>
                    <a:pt x="40718" y="192140"/>
                  </a:cubicBezTo>
                  <a:cubicBezTo>
                    <a:pt x="40718" y="191821"/>
                    <a:pt x="40400" y="191821"/>
                    <a:pt x="40400" y="191821"/>
                  </a:cubicBezTo>
                  <a:cubicBezTo>
                    <a:pt x="40082" y="191821"/>
                    <a:pt x="39764" y="191821"/>
                    <a:pt x="39446" y="192140"/>
                  </a:cubicBezTo>
                  <a:lnTo>
                    <a:pt x="39128" y="192458"/>
                  </a:lnTo>
                  <a:cubicBezTo>
                    <a:pt x="39128" y="192458"/>
                    <a:pt x="38810" y="192140"/>
                    <a:pt x="38810" y="191821"/>
                  </a:cubicBezTo>
                  <a:cubicBezTo>
                    <a:pt x="39128" y="190549"/>
                    <a:pt x="39764" y="189913"/>
                    <a:pt x="41036" y="189595"/>
                  </a:cubicBezTo>
                  <a:cubicBezTo>
                    <a:pt x="41036" y="189595"/>
                    <a:pt x="41355" y="189277"/>
                    <a:pt x="41355" y="188958"/>
                  </a:cubicBezTo>
                  <a:cubicBezTo>
                    <a:pt x="41355" y="188640"/>
                    <a:pt x="41036" y="188640"/>
                    <a:pt x="41036" y="188322"/>
                  </a:cubicBezTo>
                  <a:lnTo>
                    <a:pt x="41036" y="187686"/>
                  </a:lnTo>
                  <a:cubicBezTo>
                    <a:pt x="40718" y="187686"/>
                    <a:pt x="40400" y="187368"/>
                    <a:pt x="40082" y="187368"/>
                  </a:cubicBezTo>
                  <a:cubicBezTo>
                    <a:pt x="39764" y="187368"/>
                    <a:pt x="39446" y="187686"/>
                    <a:pt x="39128" y="187686"/>
                  </a:cubicBezTo>
                  <a:lnTo>
                    <a:pt x="39128" y="188640"/>
                  </a:lnTo>
                  <a:cubicBezTo>
                    <a:pt x="39128" y="188640"/>
                    <a:pt x="39128" y="188958"/>
                    <a:pt x="38810" y="188958"/>
                  </a:cubicBezTo>
                  <a:cubicBezTo>
                    <a:pt x="38810" y="189277"/>
                    <a:pt x="38492" y="189595"/>
                    <a:pt x="38173" y="189913"/>
                  </a:cubicBezTo>
                  <a:cubicBezTo>
                    <a:pt x="37855" y="189913"/>
                    <a:pt x="37537" y="190549"/>
                    <a:pt x="36901" y="190549"/>
                  </a:cubicBezTo>
                  <a:cubicBezTo>
                    <a:pt x="35629" y="190549"/>
                    <a:pt x="35629" y="191185"/>
                    <a:pt x="35311" y="192458"/>
                  </a:cubicBezTo>
                  <a:lnTo>
                    <a:pt x="35311" y="192776"/>
                  </a:lnTo>
                  <a:cubicBezTo>
                    <a:pt x="35311" y="193094"/>
                    <a:pt x="35311" y="193094"/>
                    <a:pt x="35629" y="193094"/>
                  </a:cubicBezTo>
                  <a:cubicBezTo>
                    <a:pt x="35947" y="193094"/>
                    <a:pt x="36583" y="193412"/>
                    <a:pt x="36901" y="193730"/>
                  </a:cubicBezTo>
                  <a:cubicBezTo>
                    <a:pt x="37219" y="194048"/>
                    <a:pt x="37219" y="194366"/>
                    <a:pt x="37219" y="194684"/>
                  </a:cubicBezTo>
                  <a:cubicBezTo>
                    <a:pt x="36901" y="194684"/>
                    <a:pt x="36901" y="195003"/>
                    <a:pt x="36901" y="194684"/>
                  </a:cubicBezTo>
                  <a:cubicBezTo>
                    <a:pt x="35311" y="194684"/>
                    <a:pt x="35629" y="194684"/>
                    <a:pt x="34992" y="195639"/>
                  </a:cubicBezTo>
                  <a:cubicBezTo>
                    <a:pt x="34674" y="195957"/>
                    <a:pt x="34992" y="196593"/>
                    <a:pt x="34356" y="197229"/>
                  </a:cubicBezTo>
                  <a:cubicBezTo>
                    <a:pt x="34038" y="197547"/>
                    <a:pt x="33720" y="197547"/>
                    <a:pt x="33720" y="197866"/>
                  </a:cubicBezTo>
                  <a:cubicBezTo>
                    <a:pt x="33720" y="198184"/>
                    <a:pt x="34038" y="198502"/>
                    <a:pt x="34356" y="198820"/>
                  </a:cubicBezTo>
                  <a:cubicBezTo>
                    <a:pt x="34356" y="199138"/>
                    <a:pt x="35311" y="199138"/>
                    <a:pt x="35311" y="199138"/>
                  </a:cubicBezTo>
                  <a:cubicBezTo>
                    <a:pt x="35629" y="198502"/>
                    <a:pt x="35947" y="198184"/>
                    <a:pt x="35947" y="198184"/>
                  </a:cubicBezTo>
                  <a:lnTo>
                    <a:pt x="35947" y="197547"/>
                  </a:lnTo>
                  <a:cubicBezTo>
                    <a:pt x="35947" y="195639"/>
                    <a:pt x="35947" y="195321"/>
                    <a:pt x="37537" y="195321"/>
                  </a:cubicBezTo>
                  <a:cubicBezTo>
                    <a:pt x="38173" y="195321"/>
                    <a:pt x="38173" y="195321"/>
                    <a:pt x="38492" y="195639"/>
                  </a:cubicBezTo>
                  <a:lnTo>
                    <a:pt x="38492" y="197229"/>
                  </a:lnTo>
                  <a:cubicBezTo>
                    <a:pt x="38492" y="198184"/>
                    <a:pt x="38173" y="198184"/>
                    <a:pt x="37855" y="198820"/>
                  </a:cubicBezTo>
                  <a:cubicBezTo>
                    <a:pt x="37537" y="199138"/>
                    <a:pt x="37537" y="199456"/>
                    <a:pt x="36583" y="199774"/>
                  </a:cubicBezTo>
                  <a:cubicBezTo>
                    <a:pt x="35947" y="200729"/>
                    <a:pt x="35629" y="201683"/>
                    <a:pt x="34992" y="202319"/>
                  </a:cubicBezTo>
                  <a:cubicBezTo>
                    <a:pt x="34356" y="202955"/>
                    <a:pt x="34356" y="203592"/>
                    <a:pt x="34356" y="203910"/>
                  </a:cubicBezTo>
                  <a:lnTo>
                    <a:pt x="34356" y="204546"/>
                  </a:lnTo>
                  <a:cubicBezTo>
                    <a:pt x="34356" y="205182"/>
                    <a:pt x="34038" y="205818"/>
                    <a:pt x="33720" y="206773"/>
                  </a:cubicBezTo>
                  <a:cubicBezTo>
                    <a:pt x="33720" y="207091"/>
                    <a:pt x="33402" y="207091"/>
                    <a:pt x="33402" y="207091"/>
                  </a:cubicBezTo>
                  <a:cubicBezTo>
                    <a:pt x="33402" y="207091"/>
                    <a:pt x="33084" y="207091"/>
                    <a:pt x="32766" y="206773"/>
                  </a:cubicBezTo>
                  <a:cubicBezTo>
                    <a:pt x="32448" y="206773"/>
                    <a:pt x="32448" y="206136"/>
                    <a:pt x="31493" y="206136"/>
                  </a:cubicBezTo>
                  <a:lnTo>
                    <a:pt x="30539" y="206136"/>
                  </a:lnTo>
                  <a:lnTo>
                    <a:pt x="30857" y="205818"/>
                  </a:lnTo>
                  <a:cubicBezTo>
                    <a:pt x="31175" y="204864"/>
                    <a:pt x="31493" y="204228"/>
                    <a:pt x="31493" y="203910"/>
                  </a:cubicBezTo>
                  <a:cubicBezTo>
                    <a:pt x="31493" y="203592"/>
                    <a:pt x="31175" y="203592"/>
                    <a:pt x="31175" y="203273"/>
                  </a:cubicBezTo>
                  <a:cubicBezTo>
                    <a:pt x="31175" y="202955"/>
                    <a:pt x="31493" y="202319"/>
                    <a:pt x="31811" y="202001"/>
                  </a:cubicBezTo>
                  <a:cubicBezTo>
                    <a:pt x="32130" y="201365"/>
                    <a:pt x="32766" y="201047"/>
                    <a:pt x="33402" y="200410"/>
                  </a:cubicBezTo>
                  <a:cubicBezTo>
                    <a:pt x="33720" y="200092"/>
                    <a:pt x="33720" y="199774"/>
                    <a:pt x="33720" y="199456"/>
                  </a:cubicBezTo>
                  <a:lnTo>
                    <a:pt x="33720" y="199138"/>
                  </a:lnTo>
                  <a:lnTo>
                    <a:pt x="32130" y="199138"/>
                  </a:lnTo>
                  <a:cubicBezTo>
                    <a:pt x="31493" y="199456"/>
                    <a:pt x="31175" y="200092"/>
                    <a:pt x="31175" y="201365"/>
                  </a:cubicBezTo>
                  <a:lnTo>
                    <a:pt x="31175" y="202001"/>
                  </a:lnTo>
                  <a:cubicBezTo>
                    <a:pt x="29903" y="202637"/>
                    <a:pt x="29903" y="203910"/>
                    <a:pt x="29585" y="204546"/>
                  </a:cubicBezTo>
                  <a:cubicBezTo>
                    <a:pt x="29585" y="204864"/>
                    <a:pt x="29585" y="205182"/>
                    <a:pt x="29267" y="205500"/>
                  </a:cubicBezTo>
                  <a:cubicBezTo>
                    <a:pt x="28312" y="205818"/>
                    <a:pt x="27994" y="207091"/>
                    <a:pt x="27994" y="208363"/>
                  </a:cubicBezTo>
                  <a:cubicBezTo>
                    <a:pt x="27994" y="208363"/>
                    <a:pt x="27676" y="208681"/>
                    <a:pt x="27358" y="209318"/>
                  </a:cubicBezTo>
                  <a:cubicBezTo>
                    <a:pt x="26721" y="209636"/>
                    <a:pt x="26403" y="210272"/>
                    <a:pt x="26403" y="210908"/>
                  </a:cubicBezTo>
                  <a:cubicBezTo>
                    <a:pt x="26085" y="211862"/>
                    <a:pt x="26085" y="212499"/>
                    <a:pt x="25449" y="212499"/>
                  </a:cubicBezTo>
                  <a:cubicBezTo>
                    <a:pt x="24813" y="212499"/>
                    <a:pt x="24495" y="212499"/>
                    <a:pt x="24495" y="212181"/>
                  </a:cubicBezTo>
                  <a:cubicBezTo>
                    <a:pt x="24177" y="212181"/>
                    <a:pt x="24177" y="212181"/>
                    <a:pt x="23858" y="211862"/>
                  </a:cubicBezTo>
                  <a:lnTo>
                    <a:pt x="22586" y="211862"/>
                  </a:lnTo>
                  <a:lnTo>
                    <a:pt x="22586" y="212181"/>
                  </a:lnTo>
                  <a:cubicBezTo>
                    <a:pt x="21632" y="212181"/>
                    <a:pt x="21632" y="212181"/>
                    <a:pt x="21314" y="211862"/>
                  </a:cubicBezTo>
                  <a:lnTo>
                    <a:pt x="21314" y="211544"/>
                  </a:lnTo>
                  <a:lnTo>
                    <a:pt x="20359" y="211544"/>
                  </a:lnTo>
                  <a:lnTo>
                    <a:pt x="20359" y="212817"/>
                  </a:lnTo>
                  <a:cubicBezTo>
                    <a:pt x="20677" y="213453"/>
                    <a:pt x="20996" y="213453"/>
                    <a:pt x="21314" y="213453"/>
                  </a:cubicBezTo>
                  <a:cubicBezTo>
                    <a:pt x="21632" y="213771"/>
                    <a:pt x="21950" y="213771"/>
                    <a:pt x="22586" y="213771"/>
                  </a:cubicBezTo>
                  <a:lnTo>
                    <a:pt x="23222" y="213771"/>
                  </a:lnTo>
                  <a:cubicBezTo>
                    <a:pt x="23540" y="213771"/>
                    <a:pt x="23858" y="214089"/>
                    <a:pt x="23858" y="214407"/>
                  </a:cubicBezTo>
                  <a:lnTo>
                    <a:pt x="23858" y="214725"/>
                  </a:lnTo>
                  <a:lnTo>
                    <a:pt x="22904" y="216952"/>
                  </a:lnTo>
                  <a:cubicBezTo>
                    <a:pt x="22586" y="217270"/>
                    <a:pt x="22586" y="217270"/>
                    <a:pt x="22268" y="217270"/>
                  </a:cubicBezTo>
                  <a:cubicBezTo>
                    <a:pt x="21950" y="217270"/>
                    <a:pt x="21950" y="217270"/>
                    <a:pt x="21950" y="216952"/>
                  </a:cubicBezTo>
                  <a:cubicBezTo>
                    <a:pt x="21632" y="216952"/>
                    <a:pt x="21632" y="216316"/>
                    <a:pt x="21314" y="215680"/>
                  </a:cubicBezTo>
                  <a:cubicBezTo>
                    <a:pt x="20677" y="215044"/>
                    <a:pt x="20677" y="214407"/>
                    <a:pt x="19723" y="214407"/>
                  </a:cubicBezTo>
                  <a:lnTo>
                    <a:pt x="19723" y="215044"/>
                  </a:lnTo>
                  <a:cubicBezTo>
                    <a:pt x="19723" y="215998"/>
                    <a:pt x="19087" y="216952"/>
                    <a:pt x="18133" y="217588"/>
                  </a:cubicBezTo>
                  <a:cubicBezTo>
                    <a:pt x="18133" y="217907"/>
                    <a:pt x="18133" y="217907"/>
                    <a:pt x="17815" y="217907"/>
                  </a:cubicBezTo>
                  <a:cubicBezTo>
                    <a:pt x="16860" y="218225"/>
                    <a:pt x="16542" y="218225"/>
                    <a:pt x="16542" y="218543"/>
                  </a:cubicBezTo>
                  <a:cubicBezTo>
                    <a:pt x="16542" y="218861"/>
                    <a:pt x="16860" y="219179"/>
                    <a:pt x="16860" y="219497"/>
                  </a:cubicBezTo>
                  <a:cubicBezTo>
                    <a:pt x="17178" y="219497"/>
                    <a:pt x="17178" y="219815"/>
                    <a:pt x="17178" y="220133"/>
                  </a:cubicBezTo>
                  <a:cubicBezTo>
                    <a:pt x="17178" y="220451"/>
                    <a:pt x="17496" y="220770"/>
                    <a:pt x="17496" y="220770"/>
                  </a:cubicBezTo>
                  <a:cubicBezTo>
                    <a:pt x="17496" y="221088"/>
                    <a:pt x="17178" y="221088"/>
                    <a:pt x="17178" y="221088"/>
                  </a:cubicBezTo>
                  <a:cubicBezTo>
                    <a:pt x="16542" y="221406"/>
                    <a:pt x="16542" y="222042"/>
                    <a:pt x="15588" y="222360"/>
                  </a:cubicBezTo>
                  <a:cubicBezTo>
                    <a:pt x="14951" y="222360"/>
                    <a:pt x="14633" y="222360"/>
                    <a:pt x="14633" y="222996"/>
                  </a:cubicBezTo>
                  <a:cubicBezTo>
                    <a:pt x="14633" y="223633"/>
                    <a:pt x="14633" y="224269"/>
                    <a:pt x="14951" y="224587"/>
                  </a:cubicBezTo>
                  <a:cubicBezTo>
                    <a:pt x="15270" y="225223"/>
                    <a:pt x="15270" y="225541"/>
                    <a:pt x="15270" y="225859"/>
                  </a:cubicBezTo>
                  <a:cubicBezTo>
                    <a:pt x="15270" y="226177"/>
                    <a:pt x="15270" y="226496"/>
                    <a:pt x="14951" y="226496"/>
                  </a:cubicBezTo>
                  <a:cubicBezTo>
                    <a:pt x="14315" y="226814"/>
                    <a:pt x="13997" y="227450"/>
                    <a:pt x="13997" y="228086"/>
                  </a:cubicBezTo>
                  <a:lnTo>
                    <a:pt x="13997" y="228722"/>
                  </a:lnTo>
                  <a:cubicBezTo>
                    <a:pt x="13997" y="229359"/>
                    <a:pt x="13679" y="229677"/>
                    <a:pt x="13361" y="229995"/>
                  </a:cubicBezTo>
                  <a:cubicBezTo>
                    <a:pt x="13361" y="229677"/>
                    <a:pt x="13361" y="229359"/>
                    <a:pt x="13043" y="228722"/>
                  </a:cubicBezTo>
                  <a:cubicBezTo>
                    <a:pt x="13043" y="228404"/>
                    <a:pt x="13043" y="228086"/>
                    <a:pt x="12724" y="228086"/>
                  </a:cubicBezTo>
                  <a:cubicBezTo>
                    <a:pt x="12406" y="228086"/>
                    <a:pt x="12088" y="228404"/>
                    <a:pt x="12088" y="228404"/>
                  </a:cubicBezTo>
                  <a:lnTo>
                    <a:pt x="11770" y="228086"/>
                  </a:lnTo>
                  <a:lnTo>
                    <a:pt x="11770" y="227768"/>
                  </a:lnTo>
                  <a:cubicBezTo>
                    <a:pt x="12088" y="227768"/>
                    <a:pt x="12088" y="227768"/>
                    <a:pt x="12406" y="227132"/>
                  </a:cubicBezTo>
                  <a:cubicBezTo>
                    <a:pt x="12724" y="226814"/>
                    <a:pt x="13043" y="226814"/>
                    <a:pt x="13043" y="226496"/>
                  </a:cubicBezTo>
                  <a:lnTo>
                    <a:pt x="12724" y="226177"/>
                  </a:lnTo>
                  <a:cubicBezTo>
                    <a:pt x="12724" y="225859"/>
                    <a:pt x="12406" y="225859"/>
                    <a:pt x="12406" y="225541"/>
                  </a:cubicBezTo>
                  <a:cubicBezTo>
                    <a:pt x="12406" y="224905"/>
                    <a:pt x="12406" y="224587"/>
                    <a:pt x="12724" y="224269"/>
                  </a:cubicBezTo>
                  <a:cubicBezTo>
                    <a:pt x="13361" y="223951"/>
                    <a:pt x="13679" y="223314"/>
                    <a:pt x="13679" y="222360"/>
                  </a:cubicBezTo>
                  <a:lnTo>
                    <a:pt x="13679" y="220770"/>
                  </a:lnTo>
                  <a:cubicBezTo>
                    <a:pt x="13679" y="220451"/>
                    <a:pt x="13679" y="220133"/>
                    <a:pt x="14315" y="220133"/>
                  </a:cubicBezTo>
                  <a:cubicBezTo>
                    <a:pt x="15270" y="219815"/>
                    <a:pt x="15270" y="219497"/>
                    <a:pt x="15270" y="218861"/>
                  </a:cubicBezTo>
                  <a:lnTo>
                    <a:pt x="15270" y="217270"/>
                  </a:lnTo>
                  <a:cubicBezTo>
                    <a:pt x="15588" y="216952"/>
                    <a:pt x="15588" y="216316"/>
                    <a:pt x="16224" y="215044"/>
                  </a:cubicBezTo>
                  <a:cubicBezTo>
                    <a:pt x="16224" y="214725"/>
                    <a:pt x="16542" y="214725"/>
                    <a:pt x="16860" y="214725"/>
                  </a:cubicBezTo>
                  <a:lnTo>
                    <a:pt x="17496" y="214725"/>
                  </a:lnTo>
                  <a:cubicBezTo>
                    <a:pt x="17815" y="213771"/>
                    <a:pt x="18133" y="213453"/>
                    <a:pt x="18133" y="212817"/>
                  </a:cubicBezTo>
                  <a:cubicBezTo>
                    <a:pt x="18133" y="212499"/>
                    <a:pt x="17496" y="211862"/>
                    <a:pt x="17496" y="211544"/>
                  </a:cubicBezTo>
                  <a:cubicBezTo>
                    <a:pt x="17815" y="210590"/>
                    <a:pt x="18451" y="209636"/>
                    <a:pt x="19087" y="208999"/>
                  </a:cubicBezTo>
                  <a:cubicBezTo>
                    <a:pt x="19405" y="208363"/>
                    <a:pt x="19723" y="208045"/>
                    <a:pt x="19723" y="207091"/>
                  </a:cubicBezTo>
                  <a:cubicBezTo>
                    <a:pt x="20041" y="206455"/>
                    <a:pt x="20359" y="206136"/>
                    <a:pt x="20996" y="206136"/>
                  </a:cubicBezTo>
                  <a:cubicBezTo>
                    <a:pt x="21314" y="206136"/>
                    <a:pt x="21314" y="205818"/>
                    <a:pt x="21314" y="205500"/>
                  </a:cubicBezTo>
                  <a:cubicBezTo>
                    <a:pt x="21314" y="205182"/>
                    <a:pt x="21314" y="205182"/>
                    <a:pt x="20996" y="204864"/>
                  </a:cubicBezTo>
                  <a:lnTo>
                    <a:pt x="20996" y="204228"/>
                  </a:lnTo>
                  <a:lnTo>
                    <a:pt x="22268" y="200729"/>
                  </a:lnTo>
                  <a:cubicBezTo>
                    <a:pt x="22586" y="200092"/>
                    <a:pt x="23540" y="199456"/>
                    <a:pt x="23858" y="198820"/>
                  </a:cubicBezTo>
                  <a:lnTo>
                    <a:pt x="24495" y="198820"/>
                  </a:lnTo>
                  <a:lnTo>
                    <a:pt x="24495" y="199456"/>
                  </a:lnTo>
                  <a:cubicBezTo>
                    <a:pt x="24177" y="200092"/>
                    <a:pt x="23858" y="200729"/>
                    <a:pt x="23858" y="201047"/>
                  </a:cubicBezTo>
                  <a:cubicBezTo>
                    <a:pt x="23858" y="201365"/>
                    <a:pt x="23858" y="201365"/>
                    <a:pt x="24177" y="201683"/>
                  </a:cubicBezTo>
                  <a:lnTo>
                    <a:pt x="24177" y="202001"/>
                  </a:lnTo>
                  <a:cubicBezTo>
                    <a:pt x="24177" y="202319"/>
                    <a:pt x="24177" y="202637"/>
                    <a:pt x="23858" y="202637"/>
                  </a:cubicBezTo>
                  <a:cubicBezTo>
                    <a:pt x="22586" y="203592"/>
                    <a:pt x="22904" y="204546"/>
                    <a:pt x="22586" y="205500"/>
                  </a:cubicBezTo>
                  <a:cubicBezTo>
                    <a:pt x="22586" y="205818"/>
                    <a:pt x="22268" y="206136"/>
                    <a:pt x="22268" y="206136"/>
                  </a:cubicBezTo>
                  <a:cubicBezTo>
                    <a:pt x="22268" y="206455"/>
                    <a:pt x="22586" y="206455"/>
                    <a:pt x="22586" y="206455"/>
                  </a:cubicBezTo>
                  <a:lnTo>
                    <a:pt x="22904" y="206455"/>
                  </a:lnTo>
                  <a:cubicBezTo>
                    <a:pt x="23222" y="206455"/>
                    <a:pt x="23540" y="206455"/>
                    <a:pt x="23540" y="206773"/>
                  </a:cubicBezTo>
                  <a:cubicBezTo>
                    <a:pt x="23540" y="206773"/>
                    <a:pt x="23222" y="207091"/>
                    <a:pt x="23222" y="207409"/>
                  </a:cubicBezTo>
                  <a:lnTo>
                    <a:pt x="23222" y="208045"/>
                  </a:lnTo>
                  <a:lnTo>
                    <a:pt x="25131" y="207091"/>
                  </a:lnTo>
                  <a:cubicBezTo>
                    <a:pt x="26085" y="206455"/>
                    <a:pt x="27676" y="204546"/>
                    <a:pt x="28312" y="203592"/>
                  </a:cubicBezTo>
                  <a:cubicBezTo>
                    <a:pt x="27994" y="203273"/>
                    <a:pt x="27994" y="202637"/>
                    <a:pt x="27994" y="202637"/>
                  </a:cubicBezTo>
                  <a:cubicBezTo>
                    <a:pt x="27358" y="202637"/>
                    <a:pt x="27358" y="202319"/>
                    <a:pt x="27358" y="201683"/>
                  </a:cubicBezTo>
                  <a:lnTo>
                    <a:pt x="27358" y="200729"/>
                  </a:lnTo>
                  <a:cubicBezTo>
                    <a:pt x="26721" y="200729"/>
                    <a:pt x="26721" y="200729"/>
                    <a:pt x="26403" y="200410"/>
                  </a:cubicBezTo>
                  <a:cubicBezTo>
                    <a:pt x="26403" y="199138"/>
                    <a:pt x="25449" y="198820"/>
                    <a:pt x="24495" y="198820"/>
                  </a:cubicBezTo>
                  <a:cubicBezTo>
                    <a:pt x="25449" y="198184"/>
                    <a:pt x="25767" y="197547"/>
                    <a:pt x="26085" y="196911"/>
                  </a:cubicBezTo>
                  <a:lnTo>
                    <a:pt x="26085" y="195957"/>
                  </a:lnTo>
                  <a:cubicBezTo>
                    <a:pt x="25767" y="195957"/>
                    <a:pt x="25767" y="195957"/>
                    <a:pt x="25767" y="195639"/>
                  </a:cubicBezTo>
                  <a:cubicBezTo>
                    <a:pt x="25449" y="195321"/>
                    <a:pt x="25449" y="195321"/>
                    <a:pt x="25449" y="195003"/>
                  </a:cubicBezTo>
                  <a:lnTo>
                    <a:pt x="25449" y="194684"/>
                  </a:lnTo>
                  <a:cubicBezTo>
                    <a:pt x="26085" y="194684"/>
                    <a:pt x="26085" y="195003"/>
                    <a:pt x="26403" y="195003"/>
                  </a:cubicBezTo>
                  <a:cubicBezTo>
                    <a:pt x="26721" y="195321"/>
                    <a:pt x="26721" y="195639"/>
                    <a:pt x="27040" y="195639"/>
                  </a:cubicBezTo>
                  <a:lnTo>
                    <a:pt x="27358" y="195321"/>
                  </a:lnTo>
                  <a:cubicBezTo>
                    <a:pt x="27358" y="195003"/>
                    <a:pt x="27676" y="194684"/>
                    <a:pt x="27994" y="193730"/>
                  </a:cubicBezTo>
                  <a:lnTo>
                    <a:pt x="29585" y="189913"/>
                  </a:lnTo>
                  <a:cubicBezTo>
                    <a:pt x="29903" y="189595"/>
                    <a:pt x="29903" y="189277"/>
                    <a:pt x="30221" y="189277"/>
                  </a:cubicBezTo>
                  <a:lnTo>
                    <a:pt x="30857" y="188322"/>
                  </a:lnTo>
                  <a:cubicBezTo>
                    <a:pt x="30857" y="188004"/>
                    <a:pt x="31175" y="188004"/>
                    <a:pt x="31175" y="187686"/>
                  </a:cubicBezTo>
                  <a:cubicBezTo>
                    <a:pt x="31175" y="187368"/>
                    <a:pt x="30857" y="187368"/>
                    <a:pt x="30539" y="187050"/>
                  </a:cubicBezTo>
                  <a:cubicBezTo>
                    <a:pt x="29903" y="187050"/>
                    <a:pt x="29585" y="186414"/>
                    <a:pt x="28948" y="186095"/>
                  </a:cubicBezTo>
                  <a:lnTo>
                    <a:pt x="28630" y="186095"/>
                  </a:lnTo>
                  <a:lnTo>
                    <a:pt x="28630" y="186414"/>
                  </a:lnTo>
                  <a:cubicBezTo>
                    <a:pt x="28948" y="187050"/>
                    <a:pt x="29267" y="187368"/>
                    <a:pt x="29267" y="188322"/>
                  </a:cubicBezTo>
                  <a:cubicBezTo>
                    <a:pt x="29267" y="188640"/>
                    <a:pt x="29267" y="189277"/>
                    <a:pt x="28948" y="189913"/>
                  </a:cubicBezTo>
                  <a:cubicBezTo>
                    <a:pt x="28630" y="189913"/>
                    <a:pt x="28312" y="190231"/>
                    <a:pt x="28312" y="190549"/>
                  </a:cubicBezTo>
                  <a:cubicBezTo>
                    <a:pt x="27676" y="191503"/>
                    <a:pt x="27676" y="191821"/>
                    <a:pt x="27358" y="191821"/>
                  </a:cubicBezTo>
                  <a:cubicBezTo>
                    <a:pt x="27040" y="191821"/>
                    <a:pt x="26721" y="191821"/>
                    <a:pt x="26085" y="191503"/>
                  </a:cubicBezTo>
                  <a:cubicBezTo>
                    <a:pt x="25767" y="191503"/>
                    <a:pt x="25449" y="191185"/>
                    <a:pt x="25449" y="191185"/>
                  </a:cubicBezTo>
                  <a:cubicBezTo>
                    <a:pt x="24813" y="191503"/>
                    <a:pt x="24495" y="191821"/>
                    <a:pt x="24495" y="192140"/>
                  </a:cubicBezTo>
                  <a:cubicBezTo>
                    <a:pt x="24495" y="192458"/>
                    <a:pt x="24177" y="192776"/>
                    <a:pt x="24495" y="192776"/>
                  </a:cubicBezTo>
                  <a:lnTo>
                    <a:pt x="24495" y="193412"/>
                  </a:lnTo>
                  <a:cubicBezTo>
                    <a:pt x="24495" y="194048"/>
                    <a:pt x="24177" y="194366"/>
                    <a:pt x="23858" y="194684"/>
                  </a:cubicBezTo>
                  <a:lnTo>
                    <a:pt x="23858" y="195639"/>
                  </a:lnTo>
                  <a:lnTo>
                    <a:pt x="23222" y="196911"/>
                  </a:lnTo>
                  <a:cubicBezTo>
                    <a:pt x="22904" y="197229"/>
                    <a:pt x="22904" y="197547"/>
                    <a:pt x="22904" y="197547"/>
                  </a:cubicBezTo>
                  <a:cubicBezTo>
                    <a:pt x="22904" y="197866"/>
                    <a:pt x="22904" y="197866"/>
                    <a:pt x="23222" y="197866"/>
                  </a:cubicBezTo>
                  <a:lnTo>
                    <a:pt x="23540" y="198184"/>
                  </a:lnTo>
                  <a:cubicBezTo>
                    <a:pt x="23540" y="198502"/>
                    <a:pt x="23222" y="198502"/>
                    <a:pt x="23222" y="198820"/>
                  </a:cubicBezTo>
                  <a:lnTo>
                    <a:pt x="21950" y="198820"/>
                  </a:lnTo>
                  <a:cubicBezTo>
                    <a:pt x="21632" y="198184"/>
                    <a:pt x="20677" y="198184"/>
                    <a:pt x="19723" y="198184"/>
                  </a:cubicBezTo>
                  <a:lnTo>
                    <a:pt x="19723" y="197866"/>
                  </a:lnTo>
                  <a:cubicBezTo>
                    <a:pt x="20041" y="197547"/>
                    <a:pt x="20041" y="197229"/>
                    <a:pt x="20041" y="196911"/>
                  </a:cubicBezTo>
                  <a:cubicBezTo>
                    <a:pt x="20041" y="196593"/>
                    <a:pt x="20041" y="196275"/>
                    <a:pt x="19723" y="195639"/>
                  </a:cubicBezTo>
                  <a:cubicBezTo>
                    <a:pt x="19723" y="195321"/>
                    <a:pt x="19723" y="195003"/>
                    <a:pt x="20041" y="195003"/>
                  </a:cubicBezTo>
                  <a:cubicBezTo>
                    <a:pt x="20359" y="195321"/>
                    <a:pt x="20359" y="195321"/>
                    <a:pt x="20677" y="195321"/>
                  </a:cubicBezTo>
                  <a:lnTo>
                    <a:pt x="20996" y="195321"/>
                  </a:lnTo>
                  <a:cubicBezTo>
                    <a:pt x="21632" y="195321"/>
                    <a:pt x="21632" y="195321"/>
                    <a:pt x="21950" y="195639"/>
                  </a:cubicBezTo>
                  <a:cubicBezTo>
                    <a:pt x="22268" y="195957"/>
                    <a:pt x="22586" y="195957"/>
                    <a:pt x="22904" y="195957"/>
                  </a:cubicBezTo>
                  <a:lnTo>
                    <a:pt x="22904" y="195639"/>
                  </a:lnTo>
                  <a:cubicBezTo>
                    <a:pt x="22904" y="195321"/>
                    <a:pt x="22904" y="195321"/>
                    <a:pt x="22586" y="195003"/>
                  </a:cubicBezTo>
                  <a:lnTo>
                    <a:pt x="22268" y="195003"/>
                  </a:lnTo>
                  <a:cubicBezTo>
                    <a:pt x="22268" y="194366"/>
                    <a:pt x="21950" y="194048"/>
                    <a:pt x="21950" y="193730"/>
                  </a:cubicBezTo>
                  <a:lnTo>
                    <a:pt x="21632" y="193730"/>
                  </a:lnTo>
                  <a:cubicBezTo>
                    <a:pt x="21314" y="193730"/>
                    <a:pt x="20996" y="194048"/>
                    <a:pt x="20359" y="194366"/>
                  </a:cubicBezTo>
                  <a:cubicBezTo>
                    <a:pt x="20359" y="194048"/>
                    <a:pt x="20359" y="193412"/>
                    <a:pt x="20677" y="192776"/>
                  </a:cubicBezTo>
                  <a:cubicBezTo>
                    <a:pt x="21632" y="191503"/>
                    <a:pt x="21950" y="190549"/>
                    <a:pt x="22904" y="189595"/>
                  </a:cubicBezTo>
                  <a:lnTo>
                    <a:pt x="23222" y="189277"/>
                  </a:lnTo>
                  <a:cubicBezTo>
                    <a:pt x="22904" y="190549"/>
                    <a:pt x="22904" y="191503"/>
                    <a:pt x="21950" y="192458"/>
                  </a:cubicBezTo>
                  <a:lnTo>
                    <a:pt x="22268" y="192776"/>
                  </a:lnTo>
                  <a:cubicBezTo>
                    <a:pt x="22904" y="192458"/>
                    <a:pt x="23222" y="192140"/>
                    <a:pt x="23222" y="191821"/>
                  </a:cubicBezTo>
                  <a:cubicBezTo>
                    <a:pt x="23540" y="190549"/>
                    <a:pt x="24177" y="189595"/>
                    <a:pt x="25131" y="189277"/>
                  </a:cubicBezTo>
                  <a:lnTo>
                    <a:pt x="25131" y="188322"/>
                  </a:lnTo>
                  <a:cubicBezTo>
                    <a:pt x="24813" y="188004"/>
                    <a:pt x="24495" y="187686"/>
                    <a:pt x="24495" y="187368"/>
                  </a:cubicBezTo>
                  <a:lnTo>
                    <a:pt x="24495" y="187050"/>
                  </a:lnTo>
                  <a:cubicBezTo>
                    <a:pt x="24813" y="186095"/>
                    <a:pt x="25449" y="185141"/>
                    <a:pt x="26403" y="184505"/>
                  </a:cubicBezTo>
                  <a:cubicBezTo>
                    <a:pt x="26721" y="184187"/>
                    <a:pt x="27358" y="183232"/>
                    <a:pt x="27358" y="182596"/>
                  </a:cubicBezTo>
                  <a:lnTo>
                    <a:pt x="27358" y="182278"/>
                  </a:lnTo>
                  <a:cubicBezTo>
                    <a:pt x="27994" y="181006"/>
                    <a:pt x="28630" y="180688"/>
                    <a:pt x="29267" y="179733"/>
                  </a:cubicBezTo>
                  <a:cubicBezTo>
                    <a:pt x="29585" y="179733"/>
                    <a:pt x="29585" y="179415"/>
                    <a:pt x="29903" y="179097"/>
                  </a:cubicBezTo>
                  <a:cubicBezTo>
                    <a:pt x="30221" y="178779"/>
                    <a:pt x="30221" y="178461"/>
                    <a:pt x="30221" y="178143"/>
                  </a:cubicBezTo>
                  <a:cubicBezTo>
                    <a:pt x="30539" y="177188"/>
                    <a:pt x="30857" y="176552"/>
                    <a:pt x="31811" y="175598"/>
                  </a:cubicBezTo>
                  <a:cubicBezTo>
                    <a:pt x="31811" y="175280"/>
                    <a:pt x="32130" y="174962"/>
                    <a:pt x="32130" y="174643"/>
                  </a:cubicBezTo>
                  <a:lnTo>
                    <a:pt x="32130" y="174325"/>
                  </a:lnTo>
                  <a:cubicBezTo>
                    <a:pt x="32766" y="173053"/>
                    <a:pt x="33720" y="172098"/>
                    <a:pt x="34674" y="171462"/>
                  </a:cubicBezTo>
                  <a:cubicBezTo>
                    <a:pt x="35311" y="170826"/>
                    <a:pt x="35947" y="170190"/>
                    <a:pt x="36583" y="169872"/>
                  </a:cubicBezTo>
                  <a:lnTo>
                    <a:pt x="37219" y="169872"/>
                  </a:lnTo>
                  <a:lnTo>
                    <a:pt x="37219" y="170190"/>
                  </a:lnTo>
                  <a:cubicBezTo>
                    <a:pt x="37219" y="170826"/>
                    <a:pt x="36583" y="170826"/>
                    <a:pt x="36583" y="171462"/>
                  </a:cubicBezTo>
                  <a:cubicBezTo>
                    <a:pt x="37537" y="171144"/>
                    <a:pt x="37855" y="170826"/>
                    <a:pt x="38810" y="170826"/>
                  </a:cubicBezTo>
                  <a:cubicBezTo>
                    <a:pt x="39128" y="170508"/>
                    <a:pt x="39128" y="169872"/>
                    <a:pt x="39128" y="169872"/>
                  </a:cubicBezTo>
                  <a:cubicBezTo>
                    <a:pt x="38810" y="169235"/>
                    <a:pt x="38492" y="168599"/>
                    <a:pt x="38492" y="167645"/>
                  </a:cubicBezTo>
                  <a:lnTo>
                    <a:pt x="38492" y="167009"/>
                  </a:lnTo>
                  <a:cubicBezTo>
                    <a:pt x="38492" y="165736"/>
                    <a:pt x="39128" y="164782"/>
                    <a:pt x="40082" y="164782"/>
                  </a:cubicBezTo>
                  <a:cubicBezTo>
                    <a:pt x="41991" y="164464"/>
                    <a:pt x="42627" y="163828"/>
                    <a:pt x="42627" y="162555"/>
                  </a:cubicBezTo>
                  <a:lnTo>
                    <a:pt x="42945" y="162237"/>
                  </a:lnTo>
                  <a:lnTo>
                    <a:pt x="43264" y="162555"/>
                  </a:lnTo>
                  <a:cubicBezTo>
                    <a:pt x="43264" y="162555"/>
                    <a:pt x="43582" y="162555"/>
                    <a:pt x="43582" y="162873"/>
                  </a:cubicBezTo>
                  <a:lnTo>
                    <a:pt x="44218" y="162873"/>
                  </a:lnTo>
                  <a:cubicBezTo>
                    <a:pt x="44536" y="162555"/>
                    <a:pt x="44854" y="162555"/>
                    <a:pt x="44854" y="161919"/>
                  </a:cubicBezTo>
                  <a:lnTo>
                    <a:pt x="44854" y="161283"/>
                  </a:lnTo>
                  <a:cubicBezTo>
                    <a:pt x="44536" y="161283"/>
                    <a:pt x="44536" y="161283"/>
                    <a:pt x="44536" y="160965"/>
                  </a:cubicBezTo>
                  <a:cubicBezTo>
                    <a:pt x="44536" y="160646"/>
                    <a:pt x="44854" y="160328"/>
                    <a:pt x="44854" y="160328"/>
                  </a:cubicBezTo>
                  <a:lnTo>
                    <a:pt x="45490" y="160328"/>
                  </a:lnTo>
                  <a:cubicBezTo>
                    <a:pt x="45172" y="160646"/>
                    <a:pt x="45172" y="161283"/>
                    <a:pt x="44854" y="161283"/>
                  </a:cubicBezTo>
                  <a:cubicBezTo>
                    <a:pt x="45490" y="161283"/>
                    <a:pt x="45808" y="161283"/>
                    <a:pt x="46445" y="160965"/>
                  </a:cubicBezTo>
                  <a:lnTo>
                    <a:pt x="46445" y="160328"/>
                  </a:lnTo>
                  <a:cubicBezTo>
                    <a:pt x="45808" y="160010"/>
                    <a:pt x="45808" y="159374"/>
                    <a:pt x="45808" y="159056"/>
                  </a:cubicBezTo>
                  <a:cubicBezTo>
                    <a:pt x="45808" y="158738"/>
                    <a:pt x="45808" y="158420"/>
                    <a:pt x="46126" y="157783"/>
                  </a:cubicBezTo>
                  <a:cubicBezTo>
                    <a:pt x="46445" y="156829"/>
                    <a:pt x="47081" y="155875"/>
                    <a:pt x="47717" y="155239"/>
                  </a:cubicBezTo>
                  <a:cubicBezTo>
                    <a:pt x="48035" y="155239"/>
                    <a:pt x="48671" y="154284"/>
                    <a:pt x="48671" y="153648"/>
                  </a:cubicBezTo>
                  <a:cubicBezTo>
                    <a:pt x="48989" y="153330"/>
                    <a:pt x="48989" y="153330"/>
                    <a:pt x="49944" y="153330"/>
                  </a:cubicBezTo>
                  <a:cubicBezTo>
                    <a:pt x="49944" y="153648"/>
                    <a:pt x="49944" y="153966"/>
                    <a:pt x="50262" y="154284"/>
                  </a:cubicBezTo>
                  <a:cubicBezTo>
                    <a:pt x="50262" y="154284"/>
                    <a:pt x="49944" y="154284"/>
                    <a:pt x="49944" y="154602"/>
                  </a:cubicBezTo>
                  <a:lnTo>
                    <a:pt x="49944" y="155239"/>
                  </a:lnTo>
                  <a:lnTo>
                    <a:pt x="50262" y="155239"/>
                  </a:lnTo>
                  <a:cubicBezTo>
                    <a:pt x="50580" y="155239"/>
                    <a:pt x="50580" y="155239"/>
                    <a:pt x="50898" y="154920"/>
                  </a:cubicBezTo>
                  <a:lnTo>
                    <a:pt x="51852" y="153648"/>
                  </a:lnTo>
                  <a:cubicBezTo>
                    <a:pt x="52170" y="153648"/>
                    <a:pt x="52488" y="153648"/>
                    <a:pt x="52488" y="153330"/>
                  </a:cubicBezTo>
                  <a:cubicBezTo>
                    <a:pt x="52488" y="153012"/>
                    <a:pt x="52170" y="153012"/>
                    <a:pt x="52170" y="152376"/>
                  </a:cubicBezTo>
                  <a:cubicBezTo>
                    <a:pt x="51852" y="152376"/>
                    <a:pt x="51852" y="152376"/>
                    <a:pt x="51852" y="152057"/>
                  </a:cubicBezTo>
                  <a:cubicBezTo>
                    <a:pt x="51852" y="151739"/>
                    <a:pt x="51852" y="151739"/>
                    <a:pt x="52170" y="151421"/>
                  </a:cubicBezTo>
                  <a:lnTo>
                    <a:pt x="53761" y="150467"/>
                  </a:lnTo>
                  <a:lnTo>
                    <a:pt x="53761" y="149194"/>
                  </a:lnTo>
                  <a:cubicBezTo>
                    <a:pt x="53761" y="148876"/>
                    <a:pt x="53761" y="148558"/>
                    <a:pt x="54079" y="148558"/>
                  </a:cubicBezTo>
                  <a:lnTo>
                    <a:pt x="54715" y="149194"/>
                  </a:lnTo>
                  <a:cubicBezTo>
                    <a:pt x="55033" y="148876"/>
                    <a:pt x="55352" y="148876"/>
                    <a:pt x="55352" y="148876"/>
                  </a:cubicBezTo>
                  <a:cubicBezTo>
                    <a:pt x="55352" y="147604"/>
                    <a:pt x="56306" y="146013"/>
                    <a:pt x="56624" y="145695"/>
                  </a:cubicBezTo>
                  <a:cubicBezTo>
                    <a:pt x="56624" y="145059"/>
                    <a:pt x="56942" y="144741"/>
                    <a:pt x="57260" y="144423"/>
                  </a:cubicBezTo>
                  <a:cubicBezTo>
                    <a:pt x="57579" y="143787"/>
                    <a:pt x="58533" y="143787"/>
                    <a:pt x="59169" y="143468"/>
                  </a:cubicBezTo>
                  <a:cubicBezTo>
                    <a:pt x="59805" y="143468"/>
                    <a:pt x="60123" y="143468"/>
                    <a:pt x="60441" y="142514"/>
                  </a:cubicBezTo>
                  <a:cubicBezTo>
                    <a:pt x="60441" y="142514"/>
                    <a:pt x="60760" y="142196"/>
                    <a:pt x="60760" y="141560"/>
                  </a:cubicBezTo>
                  <a:cubicBezTo>
                    <a:pt x="61396" y="140924"/>
                    <a:pt x="61396" y="140605"/>
                    <a:pt x="62350" y="140287"/>
                  </a:cubicBezTo>
                  <a:cubicBezTo>
                    <a:pt x="62986" y="139969"/>
                    <a:pt x="63304" y="139651"/>
                    <a:pt x="63941" y="138697"/>
                  </a:cubicBezTo>
                  <a:cubicBezTo>
                    <a:pt x="64259" y="138061"/>
                    <a:pt x="64895" y="137742"/>
                    <a:pt x="65213" y="137424"/>
                  </a:cubicBezTo>
                  <a:cubicBezTo>
                    <a:pt x="65849" y="136788"/>
                    <a:pt x="66803" y="136788"/>
                    <a:pt x="66803" y="135834"/>
                  </a:cubicBezTo>
                  <a:cubicBezTo>
                    <a:pt x="66803" y="135516"/>
                    <a:pt x="67440" y="135198"/>
                    <a:pt x="67758" y="135198"/>
                  </a:cubicBezTo>
                  <a:cubicBezTo>
                    <a:pt x="68712" y="135198"/>
                    <a:pt x="69030" y="135198"/>
                    <a:pt x="69667" y="134879"/>
                  </a:cubicBezTo>
                  <a:cubicBezTo>
                    <a:pt x="69667" y="133925"/>
                    <a:pt x="70621" y="133607"/>
                    <a:pt x="70621" y="132335"/>
                  </a:cubicBezTo>
                  <a:lnTo>
                    <a:pt x="72212" y="131062"/>
                  </a:lnTo>
                  <a:cubicBezTo>
                    <a:pt x="72848" y="131062"/>
                    <a:pt x="73166" y="131062"/>
                    <a:pt x="73802" y="130744"/>
                  </a:cubicBezTo>
                  <a:cubicBezTo>
                    <a:pt x="74120" y="130426"/>
                    <a:pt x="74120" y="130108"/>
                    <a:pt x="74756" y="130108"/>
                  </a:cubicBezTo>
                  <a:cubicBezTo>
                    <a:pt x="75075" y="130108"/>
                    <a:pt x="75711" y="129790"/>
                    <a:pt x="75711" y="129471"/>
                  </a:cubicBezTo>
                  <a:cubicBezTo>
                    <a:pt x="75393" y="129153"/>
                    <a:pt x="75393" y="128835"/>
                    <a:pt x="75393" y="128517"/>
                  </a:cubicBezTo>
                  <a:cubicBezTo>
                    <a:pt x="75393" y="127881"/>
                    <a:pt x="75711" y="127563"/>
                    <a:pt x="76347" y="126927"/>
                  </a:cubicBezTo>
                  <a:cubicBezTo>
                    <a:pt x="77301" y="126609"/>
                    <a:pt x="78256" y="126290"/>
                    <a:pt x="79210" y="125336"/>
                  </a:cubicBezTo>
                  <a:cubicBezTo>
                    <a:pt x="80482" y="125018"/>
                    <a:pt x="81437" y="124700"/>
                    <a:pt x="81755" y="123746"/>
                  </a:cubicBezTo>
                  <a:cubicBezTo>
                    <a:pt x="82391" y="123427"/>
                    <a:pt x="82709" y="122473"/>
                    <a:pt x="83346" y="122473"/>
                  </a:cubicBezTo>
                  <a:cubicBezTo>
                    <a:pt x="83664" y="122473"/>
                    <a:pt x="83664" y="122155"/>
                    <a:pt x="83664" y="121837"/>
                  </a:cubicBezTo>
                  <a:cubicBezTo>
                    <a:pt x="83664" y="121519"/>
                    <a:pt x="83982" y="120882"/>
                    <a:pt x="84618" y="120564"/>
                  </a:cubicBezTo>
                  <a:lnTo>
                    <a:pt x="85572" y="120564"/>
                  </a:lnTo>
                  <a:cubicBezTo>
                    <a:pt x="85572" y="120246"/>
                    <a:pt x="85890" y="119928"/>
                    <a:pt x="86527" y="119928"/>
                  </a:cubicBezTo>
                  <a:cubicBezTo>
                    <a:pt x="86845" y="120246"/>
                    <a:pt x="87163" y="120246"/>
                    <a:pt x="87481" y="120246"/>
                  </a:cubicBezTo>
                  <a:cubicBezTo>
                    <a:pt x="88117" y="120246"/>
                    <a:pt x="88117" y="119610"/>
                    <a:pt x="88435" y="119292"/>
                  </a:cubicBezTo>
                  <a:cubicBezTo>
                    <a:pt x="89071" y="118656"/>
                    <a:pt x="89390" y="117701"/>
                    <a:pt x="90026" y="117383"/>
                  </a:cubicBezTo>
                  <a:cubicBezTo>
                    <a:pt x="90026" y="116429"/>
                    <a:pt x="90026" y="115475"/>
                    <a:pt x="90980" y="115156"/>
                  </a:cubicBezTo>
                  <a:cubicBezTo>
                    <a:pt x="92252" y="114520"/>
                    <a:pt x="92889" y="114202"/>
                    <a:pt x="94161" y="113884"/>
                  </a:cubicBezTo>
                  <a:cubicBezTo>
                    <a:pt x="94797" y="113248"/>
                    <a:pt x="95434" y="113248"/>
                    <a:pt x="96070" y="113248"/>
                  </a:cubicBezTo>
                  <a:cubicBezTo>
                    <a:pt x="95752" y="113884"/>
                    <a:pt x="95752" y="113884"/>
                    <a:pt x="95752" y="114520"/>
                  </a:cubicBezTo>
                  <a:cubicBezTo>
                    <a:pt x="95752" y="114520"/>
                    <a:pt x="95752" y="114838"/>
                    <a:pt x="96070" y="114520"/>
                  </a:cubicBezTo>
                  <a:cubicBezTo>
                    <a:pt x="96706" y="113884"/>
                    <a:pt x="97661" y="113248"/>
                    <a:pt x="97661" y="112293"/>
                  </a:cubicBezTo>
                  <a:lnTo>
                    <a:pt x="97661" y="111975"/>
                  </a:lnTo>
                  <a:cubicBezTo>
                    <a:pt x="97661" y="111339"/>
                    <a:pt x="97979" y="110703"/>
                    <a:pt x="98615" y="110067"/>
                  </a:cubicBezTo>
                  <a:cubicBezTo>
                    <a:pt x="99251" y="109749"/>
                    <a:pt x="99887" y="110067"/>
                    <a:pt x="100524" y="109430"/>
                  </a:cubicBezTo>
                  <a:cubicBezTo>
                    <a:pt x="100842" y="108794"/>
                    <a:pt x="101796" y="108476"/>
                    <a:pt x="101796" y="108158"/>
                  </a:cubicBezTo>
                  <a:cubicBezTo>
                    <a:pt x="102114" y="107204"/>
                    <a:pt x="102750" y="106886"/>
                    <a:pt x="103386" y="106567"/>
                  </a:cubicBezTo>
                  <a:lnTo>
                    <a:pt x="104023" y="106567"/>
                  </a:lnTo>
                  <a:cubicBezTo>
                    <a:pt x="104341" y="106567"/>
                    <a:pt x="104341" y="106886"/>
                    <a:pt x="104659" y="106886"/>
                  </a:cubicBezTo>
                  <a:cubicBezTo>
                    <a:pt x="104977" y="106886"/>
                    <a:pt x="104977" y="106567"/>
                    <a:pt x="105295" y="105931"/>
                  </a:cubicBezTo>
                  <a:cubicBezTo>
                    <a:pt x="105295" y="105613"/>
                    <a:pt x="105613" y="105295"/>
                    <a:pt x="105931" y="104659"/>
                  </a:cubicBezTo>
                  <a:cubicBezTo>
                    <a:pt x="106567" y="104023"/>
                    <a:pt x="106886" y="104023"/>
                    <a:pt x="107840" y="104023"/>
                  </a:cubicBezTo>
                  <a:lnTo>
                    <a:pt x="108476" y="104023"/>
                  </a:lnTo>
                  <a:cubicBezTo>
                    <a:pt x="108794" y="104023"/>
                    <a:pt x="109112" y="104023"/>
                    <a:pt x="109112" y="103704"/>
                  </a:cubicBezTo>
                  <a:lnTo>
                    <a:pt x="109112" y="102750"/>
                  </a:lnTo>
                  <a:cubicBezTo>
                    <a:pt x="110067" y="102114"/>
                    <a:pt x="112930" y="101796"/>
                    <a:pt x="113884" y="100523"/>
                  </a:cubicBezTo>
                  <a:cubicBezTo>
                    <a:pt x="114520" y="100523"/>
                    <a:pt x="115157" y="100205"/>
                    <a:pt x="116111" y="99569"/>
                  </a:cubicBezTo>
                  <a:cubicBezTo>
                    <a:pt x="116747" y="99251"/>
                    <a:pt x="117065" y="98297"/>
                    <a:pt x="117065" y="97024"/>
                  </a:cubicBezTo>
                  <a:lnTo>
                    <a:pt x="117065" y="94479"/>
                  </a:lnTo>
                  <a:cubicBezTo>
                    <a:pt x="117065" y="93525"/>
                    <a:pt x="117065" y="92889"/>
                    <a:pt x="117383" y="91934"/>
                  </a:cubicBezTo>
                  <a:lnTo>
                    <a:pt x="116747" y="84618"/>
                  </a:lnTo>
                  <a:lnTo>
                    <a:pt x="116747" y="81755"/>
                  </a:lnTo>
                  <a:cubicBezTo>
                    <a:pt x="116747" y="81437"/>
                    <a:pt x="117065" y="80800"/>
                    <a:pt x="117065" y="80482"/>
                  </a:cubicBezTo>
                  <a:lnTo>
                    <a:pt x="117065" y="75392"/>
                  </a:lnTo>
                  <a:cubicBezTo>
                    <a:pt x="117065" y="73166"/>
                    <a:pt x="117065" y="71257"/>
                    <a:pt x="116747" y="69348"/>
                  </a:cubicBezTo>
                  <a:lnTo>
                    <a:pt x="116747" y="67122"/>
                  </a:lnTo>
                  <a:cubicBezTo>
                    <a:pt x="116747" y="66485"/>
                    <a:pt x="116747" y="65531"/>
                    <a:pt x="116429" y="64895"/>
                  </a:cubicBezTo>
                  <a:lnTo>
                    <a:pt x="116429" y="63304"/>
                  </a:lnTo>
                  <a:cubicBezTo>
                    <a:pt x="117065" y="62668"/>
                    <a:pt x="116747" y="61714"/>
                    <a:pt x="117065" y="60441"/>
                  </a:cubicBezTo>
                  <a:cubicBezTo>
                    <a:pt x="117065" y="58214"/>
                    <a:pt x="116747" y="55670"/>
                    <a:pt x="116429" y="53443"/>
                  </a:cubicBezTo>
                  <a:lnTo>
                    <a:pt x="116429" y="46762"/>
                  </a:lnTo>
                  <a:cubicBezTo>
                    <a:pt x="116429" y="46444"/>
                    <a:pt x="116429" y="45808"/>
                    <a:pt x="116111" y="45490"/>
                  </a:cubicBezTo>
                  <a:cubicBezTo>
                    <a:pt x="115793" y="44854"/>
                    <a:pt x="115793" y="44854"/>
                    <a:pt x="115157" y="44854"/>
                  </a:cubicBezTo>
                  <a:lnTo>
                    <a:pt x="111658" y="44854"/>
                  </a:lnTo>
                  <a:cubicBezTo>
                    <a:pt x="111339" y="45172"/>
                    <a:pt x="110703" y="46126"/>
                    <a:pt x="110703" y="46444"/>
                  </a:cubicBezTo>
                  <a:cubicBezTo>
                    <a:pt x="109749" y="46444"/>
                    <a:pt x="109431" y="47717"/>
                    <a:pt x="109112" y="48353"/>
                  </a:cubicBezTo>
                  <a:lnTo>
                    <a:pt x="109112" y="49307"/>
                  </a:lnTo>
                  <a:cubicBezTo>
                    <a:pt x="109112" y="50580"/>
                    <a:pt x="108158" y="52488"/>
                    <a:pt x="107522" y="52807"/>
                  </a:cubicBezTo>
                  <a:cubicBezTo>
                    <a:pt x="106886" y="53125"/>
                    <a:pt x="106567" y="53125"/>
                    <a:pt x="106567" y="53761"/>
                  </a:cubicBezTo>
                  <a:lnTo>
                    <a:pt x="106567" y="54397"/>
                  </a:lnTo>
                  <a:cubicBezTo>
                    <a:pt x="105931" y="55033"/>
                    <a:pt x="105295" y="55988"/>
                    <a:pt x="104659" y="56306"/>
                  </a:cubicBezTo>
                  <a:lnTo>
                    <a:pt x="104023" y="56306"/>
                  </a:lnTo>
                  <a:cubicBezTo>
                    <a:pt x="103705" y="56306"/>
                    <a:pt x="103705" y="56306"/>
                    <a:pt x="103705" y="56624"/>
                  </a:cubicBezTo>
                  <a:cubicBezTo>
                    <a:pt x="103386" y="58214"/>
                    <a:pt x="102750" y="59487"/>
                    <a:pt x="101796" y="60123"/>
                  </a:cubicBezTo>
                  <a:cubicBezTo>
                    <a:pt x="100842" y="61077"/>
                    <a:pt x="101160" y="62032"/>
                    <a:pt x="100205" y="62350"/>
                  </a:cubicBezTo>
                  <a:cubicBezTo>
                    <a:pt x="99569" y="62668"/>
                    <a:pt x="98933" y="63304"/>
                    <a:pt x="98615" y="63940"/>
                  </a:cubicBezTo>
                  <a:cubicBezTo>
                    <a:pt x="97979" y="65213"/>
                    <a:pt x="97661" y="66167"/>
                    <a:pt x="97661" y="67440"/>
                  </a:cubicBezTo>
                  <a:cubicBezTo>
                    <a:pt x="97343" y="68712"/>
                    <a:pt x="96706" y="69030"/>
                    <a:pt x="96070" y="69030"/>
                  </a:cubicBezTo>
                  <a:cubicBezTo>
                    <a:pt x="95752" y="69030"/>
                    <a:pt x="95434" y="69348"/>
                    <a:pt x="95115" y="69666"/>
                  </a:cubicBezTo>
                  <a:cubicBezTo>
                    <a:pt x="95115" y="70621"/>
                    <a:pt x="94797" y="71257"/>
                    <a:pt x="93843" y="71257"/>
                  </a:cubicBezTo>
                  <a:cubicBezTo>
                    <a:pt x="93525" y="71575"/>
                    <a:pt x="93207" y="72211"/>
                    <a:pt x="93207" y="72848"/>
                  </a:cubicBezTo>
                  <a:cubicBezTo>
                    <a:pt x="93207" y="73802"/>
                    <a:pt x="93207" y="74438"/>
                    <a:pt x="92571" y="75074"/>
                  </a:cubicBezTo>
                  <a:lnTo>
                    <a:pt x="91934" y="75074"/>
                  </a:lnTo>
                  <a:cubicBezTo>
                    <a:pt x="90980" y="76029"/>
                    <a:pt x="90026" y="76665"/>
                    <a:pt x="89390" y="78256"/>
                  </a:cubicBezTo>
                  <a:cubicBezTo>
                    <a:pt x="89390" y="78892"/>
                    <a:pt x="89071" y="79528"/>
                    <a:pt x="88117" y="79528"/>
                  </a:cubicBezTo>
                  <a:cubicBezTo>
                    <a:pt x="87481" y="80482"/>
                    <a:pt x="86209" y="80482"/>
                    <a:pt x="86209" y="81437"/>
                  </a:cubicBezTo>
                  <a:cubicBezTo>
                    <a:pt x="85890" y="81437"/>
                    <a:pt x="85572" y="81755"/>
                    <a:pt x="85572" y="82073"/>
                  </a:cubicBezTo>
                  <a:cubicBezTo>
                    <a:pt x="85572" y="82391"/>
                    <a:pt x="85254" y="82709"/>
                    <a:pt x="84936" y="82709"/>
                  </a:cubicBezTo>
                  <a:cubicBezTo>
                    <a:pt x="84936" y="84618"/>
                    <a:pt x="83982" y="85572"/>
                    <a:pt x="83346" y="86845"/>
                  </a:cubicBezTo>
                  <a:cubicBezTo>
                    <a:pt x="83346" y="87481"/>
                    <a:pt x="82709" y="88435"/>
                    <a:pt x="82073" y="89708"/>
                  </a:cubicBezTo>
                  <a:lnTo>
                    <a:pt x="80164" y="90980"/>
                  </a:lnTo>
                  <a:cubicBezTo>
                    <a:pt x="79846" y="91616"/>
                    <a:pt x="79210" y="92889"/>
                    <a:pt x="78256" y="93525"/>
                  </a:cubicBezTo>
                  <a:cubicBezTo>
                    <a:pt x="77301" y="94161"/>
                    <a:pt x="76665" y="95115"/>
                    <a:pt x="76029" y="95752"/>
                  </a:cubicBezTo>
                  <a:cubicBezTo>
                    <a:pt x="76029" y="95752"/>
                    <a:pt x="75711" y="96388"/>
                    <a:pt x="75393" y="96706"/>
                  </a:cubicBezTo>
                  <a:lnTo>
                    <a:pt x="74438" y="98615"/>
                  </a:lnTo>
                  <a:cubicBezTo>
                    <a:pt x="74438" y="98933"/>
                    <a:pt x="74120" y="98933"/>
                    <a:pt x="73802" y="98933"/>
                  </a:cubicBezTo>
                  <a:cubicBezTo>
                    <a:pt x="72212" y="99887"/>
                    <a:pt x="70621" y="101478"/>
                    <a:pt x="69667" y="103386"/>
                  </a:cubicBezTo>
                  <a:cubicBezTo>
                    <a:pt x="69349" y="103704"/>
                    <a:pt x="69349" y="104023"/>
                    <a:pt x="69349" y="104341"/>
                  </a:cubicBezTo>
                  <a:cubicBezTo>
                    <a:pt x="69349" y="104659"/>
                    <a:pt x="69349" y="104977"/>
                    <a:pt x="69030" y="104977"/>
                  </a:cubicBezTo>
                  <a:cubicBezTo>
                    <a:pt x="68076" y="104977"/>
                    <a:pt x="67758" y="105931"/>
                    <a:pt x="67122" y="105931"/>
                  </a:cubicBezTo>
                  <a:cubicBezTo>
                    <a:pt x="65849" y="106886"/>
                    <a:pt x="65213" y="108158"/>
                    <a:pt x="64259" y="109430"/>
                  </a:cubicBezTo>
                  <a:cubicBezTo>
                    <a:pt x="63622" y="110067"/>
                    <a:pt x="62986" y="111339"/>
                    <a:pt x="62032" y="111339"/>
                  </a:cubicBezTo>
                  <a:cubicBezTo>
                    <a:pt x="61714" y="111339"/>
                    <a:pt x="61396" y="111657"/>
                    <a:pt x="61396" y="111975"/>
                  </a:cubicBezTo>
                  <a:cubicBezTo>
                    <a:pt x="61078" y="112293"/>
                    <a:pt x="60760" y="112612"/>
                    <a:pt x="60123" y="112612"/>
                  </a:cubicBezTo>
                  <a:cubicBezTo>
                    <a:pt x="60123" y="112612"/>
                    <a:pt x="59805" y="112612"/>
                    <a:pt x="59805" y="113248"/>
                  </a:cubicBezTo>
                  <a:cubicBezTo>
                    <a:pt x="59805" y="113566"/>
                    <a:pt x="59487" y="114202"/>
                    <a:pt x="58851" y="114202"/>
                  </a:cubicBezTo>
                  <a:cubicBezTo>
                    <a:pt x="57897" y="114520"/>
                    <a:pt x="56942" y="115156"/>
                    <a:pt x="56624" y="116111"/>
                  </a:cubicBezTo>
                  <a:cubicBezTo>
                    <a:pt x="55988" y="116747"/>
                    <a:pt x="55352" y="116429"/>
                    <a:pt x="55033" y="117065"/>
                  </a:cubicBezTo>
                  <a:cubicBezTo>
                    <a:pt x="55033" y="117383"/>
                    <a:pt x="54397" y="118338"/>
                    <a:pt x="54079" y="118656"/>
                  </a:cubicBezTo>
                  <a:cubicBezTo>
                    <a:pt x="53761" y="119292"/>
                    <a:pt x="53125" y="119610"/>
                    <a:pt x="52488" y="119610"/>
                  </a:cubicBezTo>
                  <a:cubicBezTo>
                    <a:pt x="51852" y="119610"/>
                    <a:pt x="50898" y="119928"/>
                    <a:pt x="50580" y="120246"/>
                  </a:cubicBezTo>
                  <a:cubicBezTo>
                    <a:pt x="49626" y="121201"/>
                    <a:pt x="48671" y="121519"/>
                    <a:pt x="47717" y="121519"/>
                  </a:cubicBezTo>
                  <a:cubicBezTo>
                    <a:pt x="47399" y="121837"/>
                    <a:pt x="46445" y="122155"/>
                    <a:pt x="45490" y="122473"/>
                  </a:cubicBezTo>
                  <a:cubicBezTo>
                    <a:pt x="44536" y="122791"/>
                    <a:pt x="43900" y="123109"/>
                    <a:pt x="42945" y="123109"/>
                  </a:cubicBezTo>
                  <a:lnTo>
                    <a:pt x="42627" y="123109"/>
                  </a:lnTo>
                  <a:cubicBezTo>
                    <a:pt x="41991" y="123427"/>
                    <a:pt x="41673" y="123746"/>
                    <a:pt x="41036" y="123746"/>
                  </a:cubicBezTo>
                  <a:cubicBezTo>
                    <a:pt x="40082" y="123746"/>
                    <a:pt x="39446" y="123427"/>
                    <a:pt x="38810" y="123109"/>
                  </a:cubicBezTo>
                  <a:lnTo>
                    <a:pt x="38173" y="123109"/>
                  </a:lnTo>
                  <a:cubicBezTo>
                    <a:pt x="36583" y="123109"/>
                    <a:pt x="35629" y="122473"/>
                    <a:pt x="34992" y="121519"/>
                  </a:cubicBezTo>
                  <a:cubicBezTo>
                    <a:pt x="34356" y="121201"/>
                    <a:pt x="34038" y="121201"/>
                    <a:pt x="33720" y="121201"/>
                  </a:cubicBezTo>
                  <a:lnTo>
                    <a:pt x="31175" y="119292"/>
                  </a:lnTo>
                  <a:cubicBezTo>
                    <a:pt x="29903" y="118656"/>
                    <a:pt x="27994" y="116747"/>
                    <a:pt x="26721" y="115156"/>
                  </a:cubicBezTo>
                  <a:cubicBezTo>
                    <a:pt x="26085" y="114202"/>
                    <a:pt x="25767" y="113566"/>
                    <a:pt x="24813" y="112612"/>
                  </a:cubicBezTo>
                  <a:cubicBezTo>
                    <a:pt x="24495" y="111657"/>
                    <a:pt x="24495" y="110703"/>
                    <a:pt x="23858" y="109749"/>
                  </a:cubicBezTo>
                  <a:lnTo>
                    <a:pt x="23858" y="108794"/>
                  </a:lnTo>
                  <a:cubicBezTo>
                    <a:pt x="23540" y="107522"/>
                    <a:pt x="23540" y="106249"/>
                    <a:pt x="23540" y="104977"/>
                  </a:cubicBezTo>
                  <a:cubicBezTo>
                    <a:pt x="23540" y="104023"/>
                    <a:pt x="23222" y="103068"/>
                    <a:pt x="23222" y="102114"/>
                  </a:cubicBezTo>
                  <a:cubicBezTo>
                    <a:pt x="23222" y="101478"/>
                    <a:pt x="23222" y="100841"/>
                    <a:pt x="23540" y="100523"/>
                  </a:cubicBezTo>
                  <a:lnTo>
                    <a:pt x="23540" y="97342"/>
                  </a:lnTo>
                  <a:cubicBezTo>
                    <a:pt x="23540" y="96070"/>
                    <a:pt x="23540" y="94797"/>
                    <a:pt x="23858" y="93525"/>
                  </a:cubicBezTo>
                  <a:cubicBezTo>
                    <a:pt x="23858" y="92252"/>
                    <a:pt x="24177" y="90980"/>
                    <a:pt x="24495" y="89708"/>
                  </a:cubicBezTo>
                  <a:cubicBezTo>
                    <a:pt x="24813" y="88435"/>
                    <a:pt x="25131" y="86845"/>
                    <a:pt x="25767" y="85254"/>
                  </a:cubicBezTo>
                  <a:lnTo>
                    <a:pt x="28948" y="75711"/>
                  </a:lnTo>
                  <a:cubicBezTo>
                    <a:pt x="28948" y="74120"/>
                    <a:pt x="29585" y="73166"/>
                    <a:pt x="29903" y="71257"/>
                  </a:cubicBezTo>
                  <a:cubicBezTo>
                    <a:pt x="30857" y="68712"/>
                    <a:pt x="31175" y="66167"/>
                    <a:pt x="32130" y="63304"/>
                  </a:cubicBezTo>
                  <a:cubicBezTo>
                    <a:pt x="32130" y="62668"/>
                    <a:pt x="32448" y="62350"/>
                    <a:pt x="32448" y="62032"/>
                  </a:cubicBezTo>
                  <a:cubicBezTo>
                    <a:pt x="32766" y="61077"/>
                    <a:pt x="33402" y="60123"/>
                    <a:pt x="33402" y="59169"/>
                  </a:cubicBezTo>
                  <a:cubicBezTo>
                    <a:pt x="33720" y="57896"/>
                    <a:pt x="34356" y="56624"/>
                    <a:pt x="34992" y="55351"/>
                  </a:cubicBezTo>
                  <a:lnTo>
                    <a:pt x="34992" y="54397"/>
                  </a:lnTo>
                  <a:cubicBezTo>
                    <a:pt x="34992" y="54079"/>
                    <a:pt x="34992" y="53443"/>
                    <a:pt x="35311" y="53125"/>
                  </a:cubicBezTo>
                  <a:cubicBezTo>
                    <a:pt x="36265" y="49944"/>
                    <a:pt x="37537" y="46444"/>
                    <a:pt x="39446" y="43581"/>
                  </a:cubicBezTo>
                  <a:cubicBezTo>
                    <a:pt x="40082" y="42627"/>
                    <a:pt x="40082" y="41673"/>
                    <a:pt x="40718" y="40400"/>
                  </a:cubicBezTo>
                  <a:cubicBezTo>
                    <a:pt x="41355" y="37855"/>
                    <a:pt x="41991" y="36265"/>
                    <a:pt x="43264" y="34356"/>
                  </a:cubicBezTo>
                  <a:cubicBezTo>
                    <a:pt x="43582" y="33720"/>
                    <a:pt x="44536" y="32766"/>
                    <a:pt x="44854" y="31175"/>
                  </a:cubicBezTo>
                  <a:cubicBezTo>
                    <a:pt x="45172" y="30221"/>
                    <a:pt x="45490" y="29584"/>
                    <a:pt x="45490" y="28948"/>
                  </a:cubicBezTo>
                  <a:cubicBezTo>
                    <a:pt x="45808" y="27994"/>
                    <a:pt x="46126" y="26721"/>
                    <a:pt x="46763" y="25767"/>
                  </a:cubicBezTo>
                  <a:cubicBezTo>
                    <a:pt x="47081" y="24813"/>
                    <a:pt x="47717" y="24176"/>
                    <a:pt x="48353" y="22904"/>
                  </a:cubicBezTo>
                  <a:cubicBezTo>
                    <a:pt x="49307" y="20677"/>
                    <a:pt x="49944" y="18450"/>
                    <a:pt x="50262" y="16860"/>
                  </a:cubicBezTo>
                  <a:lnTo>
                    <a:pt x="52488" y="13361"/>
                  </a:lnTo>
                  <a:cubicBezTo>
                    <a:pt x="52807" y="13043"/>
                    <a:pt x="52807" y="12724"/>
                    <a:pt x="52807" y="12406"/>
                  </a:cubicBezTo>
                  <a:lnTo>
                    <a:pt x="52807" y="12088"/>
                  </a:lnTo>
                  <a:cubicBezTo>
                    <a:pt x="53761" y="9861"/>
                    <a:pt x="55033" y="7953"/>
                    <a:pt x="56942" y="6044"/>
                  </a:cubicBezTo>
                  <a:cubicBezTo>
                    <a:pt x="57260" y="4772"/>
                    <a:pt x="57897" y="4135"/>
                    <a:pt x="58851" y="2863"/>
                  </a:cubicBezTo>
                  <a:cubicBezTo>
                    <a:pt x="58851" y="2227"/>
                    <a:pt x="59169" y="1272"/>
                    <a:pt x="59487" y="954"/>
                  </a:cubicBezTo>
                  <a:cubicBezTo>
                    <a:pt x="59805" y="636"/>
                    <a:pt x="60123" y="636"/>
                    <a:pt x="60441" y="636"/>
                  </a:cubicBezTo>
                  <a:lnTo>
                    <a:pt x="61078" y="636"/>
                  </a:lnTo>
                  <a:cubicBezTo>
                    <a:pt x="61078" y="636"/>
                    <a:pt x="61714" y="318"/>
                    <a:pt x="61714" y="0"/>
                  </a:cubicBezTo>
                  <a:cubicBezTo>
                    <a:pt x="61714" y="0"/>
                    <a:pt x="62032" y="318"/>
                    <a:pt x="62350" y="318"/>
                  </a:cubicBezTo>
                  <a:lnTo>
                    <a:pt x="62350" y="636"/>
                  </a:lnTo>
                  <a:cubicBezTo>
                    <a:pt x="62350" y="636"/>
                    <a:pt x="62032" y="636"/>
                    <a:pt x="62032" y="954"/>
                  </a:cubicBezTo>
                  <a:cubicBezTo>
                    <a:pt x="62032" y="1272"/>
                    <a:pt x="62350" y="1591"/>
                    <a:pt x="62668" y="1909"/>
                  </a:cubicBezTo>
                  <a:cubicBezTo>
                    <a:pt x="62668" y="1909"/>
                    <a:pt x="62668" y="2227"/>
                    <a:pt x="62986" y="2545"/>
                  </a:cubicBezTo>
                  <a:cubicBezTo>
                    <a:pt x="62986" y="3499"/>
                    <a:pt x="63622" y="3499"/>
                    <a:pt x="64259" y="3499"/>
                  </a:cubicBezTo>
                  <a:cubicBezTo>
                    <a:pt x="64577" y="3499"/>
                    <a:pt x="64895" y="3181"/>
                    <a:pt x="65213" y="3181"/>
                  </a:cubicBezTo>
                  <a:cubicBezTo>
                    <a:pt x="65531" y="3181"/>
                    <a:pt x="66167" y="3499"/>
                    <a:pt x="66485" y="3817"/>
                  </a:cubicBezTo>
                  <a:lnTo>
                    <a:pt x="67122" y="3817"/>
                  </a:lnTo>
                  <a:cubicBezTo>
                    <a:pt x="67440" y="3499"/>
                    <a:pt x="67758" y="3499"/>
                    <a:pt x="68076" y="3499"/>
                  </a:cubicBezTo>
                  <a:cubicBezTo>
                    <a:pt x="68712" y="3499"/>
                    <a:pt x="69985" y="3817"/>
                    <a:pt x="70939" y="4772"/>
                  </a:cubicBezTo>
                  <a:lnTo>
                    <a:pt x="71894" y="4772"/>
                  </a:lnTo>
                  <a:cubicBezTo>
                    <a:pt x="71894" y="4454"/>
                    <a:pt x="72212" y="4135"/>
                    <a:pt x="72530" y="3817"/>
                  </a:cubicBezTo>
                  <a:cubicBezTo>
                    <a:pt x="73484" y="3817"/>
                    <a:pt x="73802" y="4135"/>
                    <a:pt x="74120" y="5090"/>
                  </a:cubicBezTo>
                  <a:cubicBezTo>
                    <a:pt x="74438" y="5090"/>
                    <a:pt x="74438" y="5408"/>
                    <a:pt x="74438" y="5408"/>
                  </a:cubicBezTo>
                  <a:cubicBezTo>
                    <a:pt x="74756" y="5726"/>
                    <a:pt x="74756" y="5726"/>
                    <a:pt x="75075" y="5726"/>
                  </a:cubicBezTo>
                  <a:lnTo>
                    <a:pt x="76665" y="4454"/>
                  </a:lnTo>
                  <a:lnTo>
                    <a:pt x="76665" y="4135"/>
                  </a:lnTo>
                  <a:cubicBezTo>
                    <a:pt x="76665" y="4135"/>
                    <a:pt x="76983" y="4454"/>
                    <a:pt x="76983" y="4772"/>
                  </a:cubicBezTo>
                  <a:cubicBezTo>
                    <a:pt x="76983" y="6044"/>
                    <a:pt x="76347" y="6680"/>
                    <a:pt x="75711" y="7953"/>
                  </a:cubicBezTo>
                  <a:lnTo>
                    <a:pt x="72848" y="13361"/>
                  </a:lnTo>
                  <a:cubicBezTo>
                    <a:pt x="72530" y="14633"/>
                    <a:pt x="71894" y="15587"/>
                    <a:pt x="71575" y="16224"/>
                  </a:cubicBezTo>
                  <a:cubicBezTo>
                    <a:pt x="70939" y="17496"/>
                    <a:pt x="69667" y="18450"/>
                    <a:pt x="69349" y="20677"/>
                  </a:cubicBezTo>
                  <a:lnTo>
                    <a:pt x="69349" y="20995"/>
                  </a:lnTo>
                  <a:cubicBezTo>
                    <a:pt x="69349" y="21313"/>
                    <a:pt x="69030" y="21950"/>
                    <a:pt x="68712" y="22586"/>
                  </a:cubicBezTo>
                  <a:cubicBezTo>
                    <a:pt x="68076" y="22904"/>
                    <a:pt x="67758" y="23858"/>
                    <a:pt x="67440" y="24813"/>
                  </a:cubicBezTo>
                  <a:cubicBezTo>
                    <a:pt x="67440" y="25131"/>
                    <a:pt x="67758" y="25131"/>
                    <a:pt x="67758" y="25449"/>
                  </a:cubicBezTo>
                  <a:cubicBezTo>
                    <a:pt x="67758" y="25767"/>
                    <a:pt x="67440" y="26403"/>
                    <a:pt x="66803" y="26721"/>
                  </a:cubicBezTo>
                  <a:cubicBezTo>
                    <a:pt x="66803" y="26721"/>
                    <a:pt x="66485" y="27358"/>
                    <a:pt x="66485" y="27676"/>
                  </a:cubicBezTo>
                  <a:cubicBezTo>
                    <a:pt x="66485" y="28312"/>
                    <a:pt x="66167" y="28948"/>
                    <a:pt x="66167" y="29584"/>
                  </a:cubicBezTo>
                  <a:cubicBezTo>
                    <a:pt x="65849" y="29903"/>
                    <a:pt x="65531" y="30221"/>
                    <a:pt x="65531" y="30539"/>
                  </a:cubicBezTo>
                  <a:cubicBezTo>
                    <a:pt x="65213" y="32129"/>
                    <a:pt x="63941" y="33720"/>
                    <a:pt x="63941" y="34674"/>
                  </a:cubicBezTo>
                  <a:cubicBezTo>
                    <a:pt x="63941" y="35310"/>
                    <a:pt x="63622" y="35947"/>
                    <a:pt x="63304" y="36583"/>
                  </a:cubicBezTo>
                  <a:cubicBezTo>
                    <a:pt x="62350" y="38810"/>
                    <a:pt x="62032" y="41036"/>
                    <a:pt x="60441" y="43263"/>
                  </a:cubicBezTo>
                  <a:lnTo>
                    <a:pt x="59805" y="45172"/>
                  </a:lnTo>
                  <a:cubicBezTo>
                    <a:pt x="59805" y="46126"/>
                    <a:pt x="59169" y="46444"/>
                    <a:pt x="58851" y="47081"/>
                  </a:cubicBezTo>
                  <a:cubicBezTo>
                    <a:pt x="58533" y="47717"/>
                    <a:pt x="58215" y="48035"/>
                    <a:pt x="58215" y="48035"/>
                  </a:cubicBezTo>
                  <a:cubicBezTo>
                    <a:pt x="57897" y="48353"/>
                    <a:pt x="57579" y="48989"/>
                    <a:pt x="57579" y="49944"/>
                  </a:cubicBezTo>
                  <a:lnTo>
                    <a:pt x="57579" y="51534"/>
                  </a:lnTo>
                  <a:cubicBezTo>
                    <a:pt x="57579" y="52488"/>
                    <a:pt x="57260" y="53443"/>
                    <a:pt x="56306" y="54079"/>
                  </a:cubicBezTo>
                  <a:cubicBezTo>
                    <a:pt x="55988" y="54397"/>
                    <a:pt x="55670" y="54397"/>
                    <a:pt x="55670" y="54397"/>
                  </a:cubicBezTo>
                  <a:lnTo>
                    <a:pt x="55033" y="54397"/>
                  </a:lnTo>
                  <a:cubicBezTo>
                    <a:pt x="55033" y="54715"/>
                    <a:pt x="55033" y="54715"/>
                    <a:pt x="55352" y="55033"/>
                  </a:cubicBezTo>
                  <a:cubicBezTo>
                    <a:pt x="55670" y="55351"/>
                    <a:pt x="55670" y="55988"/>
                    <a:pt x="55670" y="56624"/>
                  </a:cubicBezTo>
                  <a:cubicBezTo>
                    <a:pt x="55670" y="56942"/>
                    <a:pt x="55352" y="56942"/>
                    <a:pt x="55352" y="57260"/>
                  </a:cubicBezTo>
                  <a:lnTo>
                    <a:pt x="55352" y="58533"/>
                  </a:lnTo>
                  <a:cubicBezTo>
                    <a:pt x="55352" y="58851"/>
                    <a:pt x="55352" y="59487"/>
                    <a:pt x="54715" y="59487"/>
                  </a:cubicBezTo>
                  <a:cubicBezTo>
                    <a:pt x="54079" y="59805"/>
                    <a:pt x="53761" y="61077"/>
                    <a:pt x="52488" y="62032"/>
                  </a:cubicBezTo>
                  <a:cubicBezTo>
                    <a:pt x="52170" y="62032"/>
                    <a:pt x="52170" y="62350"/>
                    <a:pt x="52170" y="62350"/>
                  </a:cubicBezTo>
                  <a:cubicBezTo>
                    <a:pt x="52170" y="62668"/>
                    <a:pt x="52488" y="62668"/>
                    <a:pt x="52488" y="62986"/>
                  </a:cubicBezTo>
                  <a:cubicBezTo>
                    <a:pt x="52488" y="63304"/>
                    <a:pt x="52807" y="63622"/>
                    <a:pt x="52807" y="63940"/>
                  </a:cubicBezTo>
                  <a:cubicBezTo>
                    <a:pt x="52807" y="64259"/>
                    <a:pt x="52488" y="64259"/>
                    <a:pt x="52488" y="64259"/>
                  </a:cubicBezTo>
                  <a:cubicBezTo>
                    <a:pt x="51216" y="66485"/>
                    <a:pt x="50898" y="68712"/>
                    <a:pt x="50262" y="70939"/>
                  </a:cubicBezTo>
                  <a:cubicBezTo>
                    <a:pt x="49307" y="73802"/>
                    <a:pt x="48671" y="76665"/>
                    <a:pt x="48035" y="79210"/>
                  </a:cubicBezTo>
                  <a:cubicBezTo>
                    <a:pt x="47399" y="80164"/>
                    <a:pt x="47081" y="81755"/>
                    <a:pt x="46763" y="83345"/>
                  </a:cubicBezTo>
                  <a:lnTo>
                    <a:pt x="46763" y="84936"/>
                  </a:lnTo>
                  <a:cubicBezTo>
                    <a:pt x="46763" y="85572"/>
                    <a:pt x="46763" y="85890"/>
                    <a:pt x="46445" y="86208"/>
                  </a:cubicBezTo>
                  <a:cubicBezTo>
                    <a:pt x="46445" y="87163"/>
                    <a:pt x="46445" y="88117"/>
                    <a:pt x="46126" y="89071"/>
                  </a:cubicBezTo>
                  <a:cubicBezTo>
                    <a:pt x="46126" y="90026"/>
                    <a:pt x="45808" y="91298"/>
                    <a:pt x="45808" y="92889"/>
                  </a:cubicBezTo>
                  <a:cubicBezTo>
                    <a:pt x="45808" y="93525"/>
                    <a:pt x="45490" y="94161"/>
                    <a:pt x="45172" y="94479"/>
                  </a:cubicBezTo>
                  <a:lnTo>
                    <a:pt x="45172" y="98297"/>
                  </a:lnTo>
                  <a:lnTo>
                    <a:pt x="45808" y="100205"/>
                  </a:lnTo>
                  <a:cubicBezTo>
                    <a:pt x="45808" y="100841"/>
                    <a:pt x="46126" y="100841"/>
                    <a:pt x="46445" y="101478"/>
                  </a:cubicBezTo>
                  <a:lnTo>
                    <a:pt x="47399" y="101478"/>
                  </a:lnTo>
                  <a:cubicBezTo>
                    <a:pt x="48035" y="100841"/>
                    <a:pt x="48671" y="100205"/>
                    <a:pt x="48989" y="99251"/>
                  </a:cubicBezTo>
                  <a:cubicBezTo>
                    <a:pt x="50898" y="97978"/>
                    <a:pt x="52488" y="96070"/>
                    <a:pt x="54397" y="94797"/>
                  </a:cubicBezTo>
                  <a:lnTo>
                    <a:pt x="54715" y="94797"/>
                  </a:lnTo>
                  <a:cubicBezTo>
                    <a:pt x="55670" y="93525"/>
                    <a:pt x="57260" y="92889"/>
                    <a:pt x="57260" y="91616"/>
                  </a:cubicBezTo>
                  <a:lnTo>
                    <a:pt x="57897" y="90344"/>
                  </a:lnTo>
                  <a:cubicBezTo>
                    <a:pt x="58851" y="89708"/>
                    <a:pt x="59487" y="89389"/>
                    <a:pt x="59805" y="88435"/>
                  </a:cubicBezTo>
                  <a:lnTo>
                    <a:pt x="60441" y="87799"/>
                  </a:lnTo>
                  <a:cubicBezTo>
                    <a:pt x="61714" y="85890"/>
                    <a:pt x="62986" y="84618"/>
                    <a:pt x="63941" y="82709"/>
                  </a:cubicBezTo>
                  <a:cubicBezTo>
                    <a:pt x="64895" y="81755"/>
                    <a:pt x="65531" y="80482"/>
                    <a:pt x="66167" y="79846"/>
                  </a:cubicBezTo>
                  <a:cubicBezTo>
                    <a:pt x="66485" y="79846"/>
                    <a:pt x="67122" y="79210"/>
                    <a:pt x="67440" y="79210"/>
                  </a:cubicBezTo>
                  <a:cubicBezTo>
                    <a:pt x="67440" y="78574"/>
                    <a:pt x="67758" y="78256"/>
                    <a:pt x="68076" y="78256"/>
                  </a:cubicBezTo>
                  <a:lnTo>
                    <a:pt x="68394" y="78256"/>
                  </a:lnTo>
                  <a:cubicBezTo>
                    <a:pt x="69349" y="78256"/>
                    <a:pt x="69349" y="77619"/>
                    <a:pt x="69667" y="76665"/>
                  </a:cubicBezTo>
                  <a:cubicBezTo>
                    <a:pt x="69667" y="76347"/>
                    <a:pt x="69985" y="75392"/>
                    <a:pt x="70303" y="75074"/>
                  </a:cubicBezTo>
                  <a:cubicBezTo>
                    <a:pt x="70939" y="73802"/>
                    <a:pt x="71894" y="71893"/>
                    <a:pt x="73484" y="70939"/>
                  </a:cubicBezTo>
                  <a:cubicBezTo>
                    <a:pt x="74120" y="69348"/>
                    <a:pt x="74756" y="68712"/>
                    <a:pt x="75393" y="67758"/>
                  </a:cubicBezTo>
                  <a:cubicBezTo>
                    <a:pt x="76347" y="66803"/>
                    <a:pt x="77619" y="65849"/>
                    <a:pt x="77937" y="64259"/>
                  </a:cubicBezTo>
                  <a:cubicBezTo>
                    <a:pt x="78256" y="62668"/>
                    <a:pt x="79846" y="62032"/>
                    <a:pt x="80164" y="60759"/>
                  </a:cubicBezTo>
                  <a:cubicBezTo>
                    <a:pt x="82709" y="59169"/>
                    <a:pt x="83346" y="56942"/>
                    <a:pt x="84618" y="55033"/>
                  </a:cubicBezTo>
                  <a:cubicBezTo>
                    <a:pt x="85890" y="53125"/>
                    <a:pt x="86527" y="51534"/>
                    <a:pt x="88435" y="49944"/>
                  </a:cubicBezTo>
                  <a:cubicBezTo>
                    <a:pt x="88753" y="49944"/>
                    <a:pt x="88753" y="49625"/>
                    <a:pt x="88753" y="49307"/>
                  </a:cubicBezTo>
                  <a:cubicBezTo>
                    <a:pt x="88753" y="48353"/>
                    <a:pt x="89708" y="47399"/>
                    <a:pt x="90980" y="46762"/>
                  </a:cubicBezTo>
                  <a:cubicBezTo>
                    <a:pt x="91298" y="46444"/>
                    <a:pt x="91616" y="45490"/>
                    <a:pt x="91616" y="44536"/>
                  </a:cubicBezTo>
                  <a:lnTo>
                    <a:pt x="93843" y="42309"/>
                  </a:lnTo>
                  <a:cubicBezTo>
                    <a:pt x="94479" y="41991"/>
                    <a:pt x="94797" y="41673"/>
                    <a:pt x="95115" y="41673"/>
                  </a:cubicBezTo>
                  <a:cubicBezTo>
                    <a:pt x="96388" y="39446"/>
                    <a:pt x="97979" y="37855"/>
                    <a:pt x="99251" y="35629"/>
                  </a:cubicBezTo>
                  <a:cubicBezTo>
                    <a:pt x="100205" y="34992"/>
                    <a:pt x="100842" y="34038"/>
                    <a:pt x="101796" y="32447"/>
                  </a:cubicBezTo>
                  <a:cubicBezTo>
                    <a:pt x="102750" y="31493"/>
                    <a:pt x="103386" y="29903"/>
                    <a:pt x="104659" y="28948"/>
                  </a:cubicBezTo>
                  <a:cubicBezTo>
                    <a:pt x="104977" y="27994"/>
                    <a:pt x="105295" y="27358"/>
                    <a:pt x="105931" y="27040"/>
                  </a:cubicBezTo>
                  <a:cubicBezTo>
                    <a:pt x="108158" y="25449"/>
                    <a:pt x="109749" y="22586"/>
                    <a:pt x="111976" y="20677"/>
                  </a:cubicBezTo>
                  <a:cubicBezTo>
                    <a:pt x="112294" y="19723"/>
                    <a:pt x="112612" y="18450"/>
                    <a:pt x="113566" y="17814"/>
                  </a:cubicBezTo>
                  <a:cubicBezTo>
                    <a:pt x="114202" y="17178"/>
                    <a:pt x="114520" y="16542"/>
                    <a:pt x="114520" y="15587"/>
                  </a:cubicBezTo>
                  <a:cubicBezTo>
                    <a:pt x="115475" y="14633"/>
                    <a:pt x="116429" y="13361"/>
                    <a:pt x="117701" y="13043"/>
                  </a:cubicBezTo>
                  <a:cubicBezTo>
                    <a:pt x="117701" y="13043"/>
                    <a:pt x="118020" y="12724"/>
                    <a:pt x="118338" y="12724"/>
                  </a:cubicBezTo>
                  <a:cubicBezTo>
                    <a:pt x="118338" y="12088"/>
                    <a:pt x="118338" y="11770"/>
                    <a:pt x="118656" y="11770"/>
                  </a:cubicBezTo>
                  <a:lnTo>
                    <a:pt x="119610" y="12724"/>
                  </a:lnTo>
                  <a:lnTo>
                    <a:pt x="119610" y="13043"/>
                  </a:lnTo>
                  <a:cubicBezTo>
                    <a:pt x="119610" y="13043"/>
                    <a:pt x="119928" y="13043"/>
                    <a:pt x="119928" y="13361"/>
                  </a:cubicBezTo>
                  <a:cubicBezTo>
                    <a:pt x="119928" y="13043"/>
                    <a:pt x="120246" y="13043"/>
                    <a:pt x="120246" y="12724"/>
                  </a:cubicBezTo>
                  <a:cubicBezTo>
                    <a:pt x="120246" y="12724"/>
                    <a:pt x="120564" y="12406"/>
                    <a:pt x="120564" y="12088"/>
                  </a:cubicBezTo>
                  <a:lnTo>
                    <a:pt x="120564" y="11770"/>
                  </a:lnTo>
                  <a:lnTo>
                    <a:pt x="122473" y="13043"/>
                  </a:lnTo>
                  <a:cubicBezTo>
                    <a:pt x="122791" y="13679"/>
                    <a:pt x="122791" y="14315"/>
                    <a:pt x="122791" y="14951"/>
                  </a:cubicBezTo>
                  <a:cubicBezTo>
                    <a:pt x="123109" y="15269"/>
                    <a:pt x="123109" y="15269"/>
                    <a:pt x="123428" y="15269"/>
                  </a:cubicBezTo>
                  <a:lnTo>
                    <a:pt x="123746" y="15269"/>
                  </a:lnTo>
                  <a:lnTo>
                    <a:pt x="124064" y="15587"/>
                  </a:lnTo>
                  <a:cubicBezTo>
                    <a:pt x="124064" y="15906"/>
                    <a:pt x="124064" y="15906"/>
                    <a:pt x="124382" y="15906"/>
                  </a:cubicBezTo>
                  <a:lnTo>
                    <a:pt x="125654" y="15906"/>
                  </a:lnTo>
                  <a:cubicBezTo>
                    <a:pt x="125973" y="15906"/>
                    <a:pt x="126927" y="16224"/>
                    <a:pt x="127245" y="16542"/>
                  </a:cubicBezTo>
                  <a:lnTo>
                    <a:pt x="127563" y="16542"/>
                  </a:lnTo>
                  <a:lnTo>
                    <a:pt x="127563" y="15906"/>
                  </a:lnTo>
                  <a:cubicBezTo>
                    <a:pt x="127563" y="15587"/>
                    <a:pt x="127881" y="15587"/>
                    <a:pt x="128199" y="15587"/>
                  </a:cubicBezTo>
                  <a:cubicBezTo>
                    <a:pt x="128835" y="15587"/>
                    <a:pt x="129154" y="15269"/>
                    <a:pt x="129472" y="15269"/>
                  </a:cubicBezTo>
                  <a:cubicBezTo>
                    <a:pt x="130108" y="15269"/>
                    <a:pt x="130108" y="15587"/>
                    <a:pt x="130426" y="16542"/>
                  </a:cubicBezTo>
                  <a:lnTo>
                    <a:pt x="130426" y="17178"/>
                  </a:lnTo>
                  <a:cubicBezTo>
                    <a:pt x="130426" y="17496"/>
                    <a:pt x="130426" y="17496"/>
                    <a:pt x="130744" y="17496"/>
                  </a:cubicBezTo>
                  <a:cubicBezTo>
                    <a:pt x="131062" y="17496"/>
                    <a:pt x="131062" y="17496"/>
                    <a:pt x="131380" y="17178"/>
                  </a:cubicBezTo>
                  <a:lnTo>
                    <a:pt x="132335" y="17178"/>
                  </a:lnTo>
                  <a:lnTo>
                    <a:pt x="132653" y="17496"/>
                  </a:lnTo>
                  <a:cubicBezTo>
                    <a:pt x="132971" y="17496"/>
                    <a:pt x="132971" y="17178"/>
                    <a:pt x="133289" y="16860"/>
                  </a:cubicBezTo>
                  <a:lnTo>
                    <a:pt x="133289" y="16224"/>
                  </a:lnTo>
                  <a:cubicBezTo>
                    <a:pt x="133289" y="16224"/>
                    <a:pt x="133289" y="15906"/>
                    <a:pt x="133607" y="15906"/>
                  </a:cubicBezTo>
                  <a:cubicBezTo>
                    <a:pt x="133925" y="15906"/>
                    <a:pt x="133925" y="15906"/>
                    <a:pt x="133925" y="16224"/>
                  </a:cubicBezTo>
                  <a:cubicBezTo>
                    <a:pt x="134561" y="17178"/>
                    <a:pt x="135198" y="18132"/>
                    <a:pt x="136152" y="18769"/>
                  </a:cubicBezTo>
                  <a:lnTo>
                    <a:pt x="136470" y="19087"/>
                  </a:lnTo>
                  <a:cubicBezTo>
                    <a:pt x="136470" y="20041"/>
                    <a:pt x="136788" y="20677"/>
                    <a:pt x="136788" y="21950"/>
                  </a:cubicBezTo>
                  <a:cubicBezTo>
                    <a:pt x="136788" y="22586"/>
                    <a:pt x="136788" y="23222"/>
                    <a:pt x="136470" y="23858"/>
                  </a:cubicBezTo>
                  <a:cubicBezTo>
                    <a:pt x="136470" y="24813"/>
                    <a:pt x="136470" y="25767"/>
                    <a:pt x="136152" y="26721"/>
                  </a:cubicBezTo>
                  <a:lnTo>
                    <a:pt x="136152" y="30221"/>
                  </a:lnTo>
                  <a:cubicBezTo>
                    <a:pt x="136152" y="31175"/>
                    <a:pt x="136152" y="31175"/>
                    <a:pt x="135516" y="31175"/>
                  </a:cubicBezTo>
                  <a:lnTo>
                    <a:pt x="134879" y="31175"/>
                  </a:lnTo>
                  <a:cubicBezTo>
                    <a:pt x="134561" y="31175"/>
                    <a:pt x="134561" y="31175"/>
                    <a:pt x="134561" y="31493"/>
                  </a:cubicBezTo>
                  <a:cubicBezTo>
                    <a:pt x="134879" y="32766"/>
                    <a:pt x="134879" y="34038"/>
                    <a:pt x="134879" y="34992"/>
                  </a:cubicBezTo>
                  <a:lnTo>
                    <a:pt x="134879" y="36265"/>
                  </a:lnTo>
                  <a:cubicBezTo>
                    <a:pt x="134879" y="36583"/>
                    <a:pt x="134879" y="36901"/>
                    <a:pt x="135198" y="37219"/>
                  </a:cubicBezTo>
                  <a:cubicBezTo>
                    <a:pt x="135198" y="36901"/>
                    <a:pt x="135834" y="36583"/>
                    <a:pt x="135834" y="36583"/>
                  </a:cubicBezTo>
                  <a:lnTo>
                    <a:pt x="136152" y="36265"/>
                  </a:lnTo>
                  <a:cubicBezTo>
                    <a:pt x="136152" y="36583"/>
                    <a:pt x="136788" y="36901"/>
                    <a:pt x="136788" y="37537"/>
                  </a:cubicBezTo>
                  <a:cubicBezTo>
                    <a:pt x="136152" y="38492"/>
                    <a:pt x="136152" y="39128"/>
                    <a:pt x="136152" y="39764"/>
                  </a:cubicBezTo>
                  <a:lnTo>
                    <a:pt x="136152" y="42309"/>
                  </a:lnTo>
                  <a:cubicBezTo>
                    <a:pt x="136152" y="43263"/>
                    <a:pt x="135834" y="43899"/>
                    <a:pt x="135834" y="44536"/>
                  </a:cubicBezTo>
                  <a:lnTo>
                    <a:pt x="135834" y="45172"/>
                  </a:lnTo>
                  <a:lnTo>
                    <a:pt x="136470" y="47717"/>
                  </a:lnTo>
                  <a:cubicBezTo>
                    <a:pt x="136470" y="47717"/>
                    <a:pt x="136470" y="48353"/>
                    <a:pt x="136152" y="48671"/>
                  </a:cubicBezTo>
                  <a:cubicBezTo>
                    <a:pt x="136470" y="49307"/>
                    <a:pt x="136470" y="49944"/>
                    <a:pt x="136470" y="50580"/>
                  </a:cubicBezTo>
                  <a:lnTo>
                    <a:pt x="136470" y="52488"/>
                  </a:lnTo>
                  <a:cubicBezTo>
                    <a:pt x="137106" y="53443"/>
                    <a:pt x="137106" y="54079"/>
                    <a:pt x="137106" y="55033"/>
                  </a:cubicBezTo>
                  <a:lnTo>
                    <a:pt x="137106" y="60441"/>
                  </a:lnTo>
                  <a:cubicBezTo>
                    <a:pt x="136788" y="61077"/>
                    <a:pt x="136788" y="61714"/>
                    <a:pt x="136788" y="62032"/>
                  </a:cubicBezTo>
                  <a:cubicBezTo>
                    <a:pt x="136788" y="62668"/>
                    <a:pt x="136788" y="62986"/>
                    <a:pt x="137106" y="63622"/>
                  </a:cubicBezTo>
                  <a:lnTo>
                    <a:pt x="137425" y="63940"/>
                  </a:lnTo>
                  <a:cubicBezTo>
                    <a:pt x="137425" y="64259"/>
                    <a:pt x="137106" y="64259"/>
                    <a:pt x="137106" y="64259"/>
                  </a:cubicBezTo>
                  <a:cubicBezTo>
                    <a:pt x="137106" y="65213"/>
                    <a:pt x="137425" y="65849"/>
                    <a:pt x="137425" y="66803"/>
                  </a:cubicBezTo>
                  <a:cubicBezTo>
                    <a:pt x="137743" y="67122"/>
                    <a:pt x="137743" y="67440"/>
                    <a:pt x="137743" y="68076"/>
                  </a:cubicBezTo>
                  <a:cubicBezTo>
                    <a:pt x="137743" y="68712"/>
                    <a:pt x="137743" y="69348"/>
                    <a:pt x="137425" y="69985"/>
                  </a:cubicBezTo>
                  <a:cubicBezTo>
                    <a:pt x="137743" y="70621"/>
                    <a:pt x="137743" y="70621"/>
                    <a:pt x="137743" y="71575"/>
                  </a:cubicBezTo>
                  <a:cubicBezTo>
                    <a:pt x="137743" y="71893"/>
                    <a:pt x="137743" y="72530"/>
                    <a:pt x="137425" y="72848"/>
                  </a:cubicBezTo>
                  <a:lnTo>
                    <a:pt x="137425" y="74438"/>
                  </a:lnTo>
                  <a:cubicBezTo>
                    <a:pt x="137425" y="75711"/>
                    <a:pt x="137743" y="76665"/>
                    <a:pt x="138061" y="77619"/>
                  </a:cubicBezTo>
                  <a:cubicBezTo>
                    <a:pt x="138379" y="78256"/>
                    <a:pt x="138697" y="78574"/>
                    <a:pt x="138697" y="78892"/>
                  </a:cubicBezTo>
                  <a:cubicBezTo>
                    <a:pt x="138697" y="79210"/>
                    <a:pt x="138379" y="79846"/>
                    <a:pt x="138379" y="80482"/>
                  </a:cubicBezTo>
                  <a:cubicBezTo>
                    <a:pt x="138061" y="81119"/>
                    <a:pt x="138061" y="81755"/>
                    <a:pt x="138061" y="82391"/>
                  </a:cubicBezTo>
                  <a:cubicBezTo>
                    <a:pt x="138061" y="83027"/>
                    <a:pt x="138061" y="83663"/>
                    <a:pt x="137743" y="84300"/>
                  </a:cubicBezTo>
                  <a:cubicBezTo>
                    <a:pt x="137743" y="85254"/>
                    <a:pt x="138379" y="86526"/>
                    <a:pt x="139333" y="86845"/>
                  </a:cubicBezTo>
                  <a:lnTo>
                    <a:pt x="140924" y="86845"/>
                  </a:lnTo>
                  <a:cubicBezTo>
                    <a:pt x="141242" y="86845"/>
                    <a:pt x="141242" y="87163"/>
                    <a:pt x="141242" y="87799"/>
                  </a:cubicBezTo>
                  <a:cubicBezTo>
                    <a:pt x="141242" y="88117"/>
                    <a:pt x="141242" y="88435"/>
                    <a:pt x="140924" y="88435"/>
                  </a:cubicBezTo>
                  <a:cubicBezTo>
                    <a:pt x="140924" y="88435"/>
                    <a:pt x="140606" y="88117"/>
                    <a:pt x="140288" y="88117"/>
                  </a:cubicBezTo>
                  <a:lnTo>
                    <a:pt x="139969" y="87799"/>
                  </a:lnTo>
                  <a:lnTo>
                    <a:pt x="139969" y="88117"/>
                  </a:lnTo>
                  <a:cubicBezTo>
                    <a:pt x="139651" y="88753"/>
                    <a:pt x="139333" y="89389"/>
                    <a:pt x="139333" y="90026"/>
                  </a:cubicBezTo>
                  <a:cubicBezTo>
                    <a:pt x="139333" y="90344"/>
                    <a:pt x="139651" y="90980"/>
                    <a:pt x="139651" y="91298"/>
                  </a:cubicBezTo>
                  <a:lnTo>
                    <a:pt x="140288" y="91934"/>
                  </a:lnTo>
                  <a:cubicBezTo>
                    <a:pt x="140606" y="91934"/>
                    <a:pt x="140924" y="91616"/>
                    <a:pt x="141242" y="91616"/>
                  </a:cubicBezTo>
                  <a:cubicBezTo>
                    <a:pt x="141560" y="91616"/>
                    <a:pt x="141878" y="91298"/>
                    <a:pt x="142196" y="91298"/>
                  </a:cubicBezTo>
                  <a:cubicBezTo>
                    <a:pt x="142514" y="91298"/>
                    <a:pt x="142514" y="91616"/>
                    <a:pt x="142514" y="91616"/>
                  </a:cubicBezTo>
                  <a:cubicBezTo>
                    <a:pt x="142514" y="92252"/>
                    <a:pt x="142196" y="92252"/>
                    <a:pt x="141560" y="92571"/>
                  </a:cubicBezTo>
                  <a:cubicBezTo>
                    <a:pt x="140924" y="93207"/>
                    <a:pt x="140288" y="94479"/>
                    <a:pt x="139651" y="94479"/>
                  </a:cubicBezTo>
                  <a:cubicBezTo>
                    <a:pt x="139651" y="94797"/>
                    <a:pt x="139333" y="94797"/>
                    <a:pt x="139333" y="95115"/>
                  </a:cubicBezTo>
                  <a:cubicBezTo>
                    <a:pt x="139015" y="95752"/>
                    <a:pt x="138697" y="96388"/>
                    <a:pt x="138697" y="97024"/>
                  </a:cubicBezTo>
                  <a:lnTo>
                    <a:pt x="138697" y="97342"/>
                  </a:lnTo>
                  <a:cubicBezTo>
                    <a:pt x="139015" y="98297"/>
                    <a:pt x="139015" y="98933"/>
                    <a:pt x="139015" y="99887"/>
                  </a:cubicBezTo>
                  <a:cubicBezTo>
                    <a:pt x="138697" y="100205"/>
                    <a:pt x="138379" y="100523"/>
                    <a:pt x="138379" y="100841"/>
                  </a:cubicBezTo>
                  <a:lnTo>
                    <a:pt x="137106" y="104659"/>
                  </a:lnTo>
                  <a:lnTo>
                    <a:pt x="136470" y="104659"/>
                  </a:lnTo>
                  <a:lnTo>
                    <a:pt x="136470" y="104341"/>
                  </a:lnTo>
                  <a:cubicBezTo>
                    <a:pt x="135516" y="104977"/>
                    <a:pt x="134879" y="104977"/>
                    <a:pt x="134243" y="106567"/>
                  </a:cubicBezTo>
                  <a:cubicBezTo>
                    <a:pt x="134561" y="106567"/>
                    <a:pt x="134879" y="106249"/>
                    <a:pt x="134879" y="106249"/>
                  </a:cubicBezTo>
                  <a:lnTo>
                    <a:pt x="134879" y="107840"/>
                  </a:lnTo>
                  <a:cubicBezTo>
                    <a:pt x="134879" y="107840"/>
                    <a:pt x="134561" y="107840"/>
                    <a:pt x="134561" y="107522"/>
                  </a:cubicBezTo>
                  <a:cubicBezTo>
                    <a:pt x="134243" y="107204"/>
                    <a:pt x="134243" y="106886"/>
                    <a:pt x="134243" y="106567"/>
                  </a:cubicBezTo>
                  <a:cubicBezTo>
                    <a:pt x="133289" y="106249"/>
                    <a:pt x="133289" y="105931"/>
                    <a:pt x="133289" y="104977"/>
                  </a:cubicBezTo>
                  <a:lnTo>
                    <a:pt x="133925" y="104977"/>
                  </a:lnTo>
                  <a:lnTo>
                    <a:pt x="133925" y="104659"/>
                  </a:lnTo>
                  <a:close/>
                  <a:moveTo>
                    <a:pt x="3818" y="249400"/>
                  </a:moveTo>
                  <a:lnTo>
                    <a:pt x="3818" y="249082"/>
                  </a:lnTo>
                  <a:cubicBezTo>
                    <a:pt x="3818" y="249400"/>
                    <a:pt x="3500" y="249400"/>
                    <a:pt x="3500" y="249400"/>
                  </a:cubicBezTo>
                  <a:lnTo>
                    <a:pt x="3500" y="250036"/>
                  </a:lnTo>
                  <a:cubicBezTo>
                    <a:pt x="3500" y="250672"/>
                    <a:pt x="3500" y="251308"/>
                    <a:pt x="3181" y="251626"/>
                  </a:cubicBezTo>
                  <a:lnTo>
                    <a:pt x="3500" y="251945"/>
                  </a:lnTo>
                  <a:cubicBezTo>
                    <a:pt x="3818" y="251945"/>
                    <a:pt x="4136" y="251626"/>
                    <a:pt x="4136" y="251626"/>
                  </a:cubicBezTo>
                  <a:lnTo>
                    <a:pt x="4136" y="250672"/>
                  </a:lnTo>
                  <a:cubicBezTo>
                    <a:pt x="4136" y="250036"/>
                    <a:pt x="4136" y="249718"/>
                    <a:pt x="3818" y="249400"/>
                  </a:cubicBezTo>
                  <a:close/>
                  <a:moveTo>
                    <a:pt x="3818" y="255444"/>
                  </a:moveTo>
                  <a:cubicBezTo>
                    <a:pt x="3818" y="255126"/>
                    <a:pt x="3500" y="255126"/>
                    <a:pt x="3500" y="255126"/>
                  </a:cubicBezTo>
                  <a:lnTo>
                    <a:pt x="3181" y="255444"/>
                  </a:lnTo>
                  <a:lnTo>
                    <a:pt x="3181" y="256080"/>
                  </a:lnTo>
                  <a:lnTo>
                    <a:pt x="3500" y="256398"/>
                  </a:lnTo>
                  <a:cubicBezTo>
                    <a:pt x="3500" y="256080"/>
                    <a:pt x="3818" y="256080"/>
                    <a:pt x="3818" y="256080"/>
                  </a:cubicBezTo>
                  <a:lnTo>
                    <a:pt x="3818" y="255444"/>
                  </a:lnTo>
                  <a:close/>
                  <a:moveTo>
                    <a:pt x="4772" y="242401"/>
                  </a:moveTo>
                  <a:cubicBezTo>
                    <a:pt x="4772" y="242083"/>
                    <a:pt x="5090" y="241765"/>
                    <a:pt x="5090" y="241765"/>
                  </a:cubicBezTo>
                  <a:cubicBezTo>
                    <a:pt x="5090" y="241129"/>
                    <a:pt x="5090" y="240493"/>
                    <a:pt x="5408" y="239856"/>
                  </a:cubicBezTo>
                  <a:cubicBezTo>
                    <a:pt x="5408" y="239220"/>
                    <a:pt x="5408" y="238266"/>
                    <a:pt x="5726" y="237630"/>
                  </a:cubicBezTo>
                  <a:lnTo>
                    <a:pt x="5090" y="237630"/>
                  </a:lnTo>
                  <a:cubicBezTo>
                    <a:pt x="4772" y="238266"/>
                    <a:pt x="4772" y="239220"/>
                    <a:pt x="4454" y="239538"/>
                  </a:cubicBezTo>
                  <a:cubicBezTo>
                    <a:pt x="4136" y="240174"/>
                    <a:pt x="4136" y="240811"/>
                    <a:pt x="4136" y="241129"/>
                  </a:cubicBezTo>
                  <a:cubicBezTo>
                    <a:pt x="4136" y="241447"/>
                    <a:pt x="4136" y="241765"/>
                    <a:pt x="4454" y="242083"/>
                  </a:cubicBezTo>
                  <a:cubicBezTo>
                    <a:pt x="4454" y="242083"/>
                    <a:pt x="4772" y="242083"/>
                    <a:pt x="4772" y="242401"/>
                  </a:cubicBezTo>
                  <a:close/>
                  <a:moveTo>
                    <a:pt x="5726" y="236039"/>
                  </a:moveTo>
                  <a:cubicBezTo>
                    <a:pt x="5408" y="236039"/>
                    <a:pt x="5408" y="236039"/>
                    <a:pt x="5408" y="236357"/>
                  </a:cubicBezTo>
                  <a:lnTo>
                    <a:pt x="5726" y="236039"/>
                  </a:lnTo>
                  <a:close/>
                  <a:moveTo>
                    <a:pt x="7317" y="262760"/>
                  </a:moveTo>
                  <a:cubicBezTo>
                    <a:pt x="6999" y="262442"/>
                    <a:pt x="6681" y="261806"/>
                    <a:pt x="6044" y="261806"/>
                  </a:cubicBezTo>
                  <a:cubicBezTo>
                    <a:pt x="6044" y="262124"/>
                    <a:pt x="6362" y="262442"/>
                    <a:pt x="6362" y="263078"/>
                  </a:cubicBezTo>
                  <a:lnTo>
                    <a:pt x="6999" y="263078"/>
                  </a:lnTo>
                  <a:cubicBezTo>
                    <a:pt x="7317" y="263078"/>
                    <a:pt x="7317" y="263078"/>
                    <a:pt x="7317" y="262760"/>
                  </a:cubicBezTo>
                  <a:close/>
                  <a:moveTo>
                    <a:pt x="7317" y="243037"/>
                  </a:moveTo>
                  <a:lnTo>
                    <a:pt x="7317" y="243992"/>
                  </a:lnTo>
                  <a:cubicBezTo>
                    <a:pt x="7317" y="244310"/>
                    <a:pt x="6999" y="244310"/>
                    <a:pt x="6999" y="244310"/>
                  </a:cubicBezTo>
                  <a:cubicBezTo>
                    <a:pt x="6681" y="244310"/>
                    <a:pt x="6362" y="243992"/>
                    <a:pt x="6362" y="243992"/>
                  </a:cubicBezTo>
                  <a:lnTo>
                    <a:pt x="6999" y="243037"/>
                  </a:lnTo>
                  <a:lnTo>
                    <a:pt x="7317" y="243037"/>
                  </a:lnTo>
                  <a:close/>
                  <a:moveTo>
                    <a:pt x="9862" y="216952"/>
                  </a:moveTo>
                  <a:lnTo>
                    <a:pt x="9862" y="217270"/>
                  </a:lnTo>
                  <a:lnTo>
                    <a:pt x="10180" y="217270"/>
                  </a:lnTo>
                  <a:cubicBezTo>
                    <a:pt x="9543" y="217588"/>
                    <a:pt x="9543" y="217907"/>
                    <a:pt x="9543" y="218225"/>
                  </a:cubicBezTo>
                  <a:lnTo>
                    <a:pt x="9225" y="218225"/>
                  </a:lnTo>
                  <a:cubicBezTo>
                    <a:pt x="9225" y="217588"/>
                    <a:pt x="9543" y="217270"/>
                    <a:pt x="9862" y="216952"/>
                  </a:cubicBezTo>
                  <a:close/>
                  <a:moveTo>
                    <a:pt x="9862" y="259897"/>
                  </a:moveTo>
                  <a:cubicBezTo>
                    <a:pt x="9862" y="260534"/>
                    <a:pt x="10180" y="260852"/>
                    <a:pt x="10498" y="261488"/>
                  </a:cubicBezTo>
                  <a:cubicBezTo>
                    <a:pt x="10498" y="261806"/>
                    <a:pt x="10816" y="261806"/>
                    <a:pt x="10816" y="261806"/>
                  </a:cubicBezTo>
                  <a:cubicBezTo>
                    <a:pt x="10816" y="262124"/>
                    <a:pt x="10180" y="262760"/>
                    <a:pt x="10180" y="263078"/>
                  </a:cubicBezTo>
                  <a:lnTo>
                    <a:pt x="9862" y="263078"/>
                  </a:lnTo>
                  <a:cubicBezTo>
                    <a:pt x="9543" y="263078"/>
                    <a:pt x="9543" y="262760"/>
                    <a:pt x="9543" y="262760"/>
                  </a:cubicBezTo>
                  <a:lnTo>
                    <a:pt x="9543" y="257352"/>
                  </a:lnTo>
                  <a:lnTo>
                    <a:pt x="9862" y="257671"/>
                  </a:lnTo>
                  <a:cubicBezTo>
                    <a:pt x="9862" y="257989"/>
                    <a:pt x="9862" y="257989"/>
                    <a:pt x="10180" y="258307"/>
                  </a:cubicBezTo>
                  <a:lnTo>
                    <a:pt x="10180" y="258625"/>
                  </a:lnTo>
                  <a:cubicBezTo>
                    <a:pt x="10180" y="258943"/>
                    <a:pt x="9862" y="259579"/>
                    <a:pt x="9862" y="259897"/>
                  </a:cubicBezTo>
                  <a:close/>
                  <a:moveTo>
                    <a:pt x="10498" y="237948"/>
                  </a:moveTo>
                  <a:lnTo>
                    <a:pt x="10498" y="239220"/>
                  </a:lnTo>
                  <a:lnTo>
                    <a:pt x="9862" y="239220"/>
                  </a:lnTo>
                  <a:lnTo>
                    <a:pt x="9862" y="238584"/>
                  </a:lnTo>
                  <a:cubicBezTo>
                    <a:pt x="9862" y="238266"/>
                    <a:pt x="10180" y="238266"/>
                    <a:pt x="10498" y="237948"/>
                  </a:cubicBezTo>
                  <a:close/>
                  <a:moveTo>
                    <a:pt x="13361" y="237311"/>
                  </a:moveTo>
                  <a:lnTo>
                    <a:pt x="13361" y="237948"/>
                  </a:lnTo>
                  <a:cubicBezTo>
                    <a:pt x="13361" y="238902"/>
                    <a:pt x="13361" y="239220"/>
                    <a:pt x="13043" y="239856"/>
                  </a:cubicBezTo>
                  <a:cubicBezTo>
                    <a:pt x="12724" y="240174"/>
                    <a:pt x="12724" y="240493"/>
                    <a:pt x="12724" y="240811"/>
                  </a:cubicBezTo>
                  <a:cubicBezTo>
                    <a:pt x="12724" y="241129"/>
                    <a:pt x="12724" y="241447"/>
                    <a:pt x="13043" y="241765"/>
                  </a:cubicBezTo>
                  <a:cubicBezTo>
                    <a:pt x="13043" y="242719"/>
                    <a:pt x="12724" y="243037"/>
                    <a:pt x="12088" y="243674"/>
                  </a:cubicBezTo>
                  <a:cubicBezTo>
                    <a:pt x="12088" y="243992"/>
                    <a:pt x="12088" y="243992"/>
                    <a:pt x="11770" y="243992"/>
                  </a:cubicBezTo>
                  <a:cubicBezTo>
                    <a:pt x="11770" y="243992"/>
                    <a:pt x="11452" y="243356"/>
                    <a:pt x="11452" y="243037"/>
                  </a:cubicBezTo>
                  <a:lnTo>
                    <a:pt x="11452" y="242719"/>
                  </a:lnTo>
                  <a:cubicBezTo>
                    <a:pt x="11770" y="242719"/>
                    <a:pt x="11770" y="242401"/>
                    <a:pt x="11770" y="242083"/>
                  </a:cubicBezTo>
                  <a:cubicBezTo>
                    <a:pt x="11770" y="241765"/>
                    <a:pt x="11452" y="241129"/>
                    <a:pt x="11134" y="240493"/>
                  </a:cubicBezTo>
                  <a:cubicBezTo>
                    <a:pt x="11134" y="239856"/>
                    <a:pt x="11134" y="239220"/>
                    <a:pt x="11770" y="239220"/>
                  </a:cubicBezTo>
                  <a:cubicBezTo>
                    <a:pt x="12724" y="238266"/>
                    <a:pt x="13043" y="237948"/>
                    <a:pt x="13361" y="237311"/>
                  </a:cubicBezTo>
                  <a:close/>
                  <a:moveTo>
                    <a:pt x="12088" y="257671"/>
                  </a:moveTo>
                  <a:cubicBezTo>
                    <a:pt x="12088" y="257352"/>
                    <a:pt x="12406" y="256716"/>
                    <a:pt x="13043" y="256080"/>
                  </a:cubicBezTo>
                  <a:cubicBezTo>
                    <a:pt x="12724" y="256716"/>
                    <a:pt x="12724" y="257034"/>
                    <a:pt x="12724" y="257352"/>
                  </a:cubicBezTo>
                  <a:cubicBezTo>
                    <a:pt x="12724" y="257671"/>
                    <a:pt x="12724" y="257989"/>
                    <a:pt x="13043" y="258307"/>
                  </a:cubicBezTo>
                  <a:lnTo>
                    <a:pt x="13043" y="258625"/>
                  </a:lnTo>
                  <a:cubicBezTo>
                    <a:pt x="12406" y="258307"/>
                    <a:pt x="12088" y="257989"/>
                    <a:pt x="12088" y="257671"/>
                  </a:cubicBezTo>
                  <a:close/>
                  <a:moveTo>
                    <a:pt x="13361" y="236675"/>
                  </a:moveTo>
                  <a:lnTo>
                    <a:pt x="13361" y="235403"/>
                  </a:lnTo>
                  <a:lnTo>
                    <a:pt x="13679" y="235403"/>
                  </a:lnTo>
                  <a:lnTo>
                    <a:pt x="13997" y="235721"/>
                  </a:lnTo>
                  <a:lnTo>
                    <a:pt x="13361" y="236675"/>
                  </a:lnTo>
                  <a:close/>
                  <a:moveTo>
                    <a:pt x="16224" y="237311"/>
                  </a:moveTo>
                  <a:lnTo>
                    <a:pt x="16224" y="237948"/>
                  </a:lnTo>
                  <a:cubicBezTo>
                    <a:pt x="16224" y="239538"/>
                    <a:pt x="15906" y="240811"/>
                    <a:pt x="15906" y="242083"/>
                  </a:cubicBezTo>
                  <a:cubicBezTo>
                    <a:pt x="15906" y="242719"/>
                    <a:pt x="15588" y="243356"/>
                    <a:pt x="14951" y="243674"/>
                  </a:cubicBezTo>
                  <a:lnTo>
                    <a:pt x="14633" y="243674"/>
                  </a:lnTo>
                  <a:cubicBezTo>
                    <a:pt x="13997" y="243356"/>
                    <a:pt x="13679" y="243037"/>
                    <a:pt x="13679" y="242719"/>
                  </a:cubicBezTo>
                  <a:cubicBezTo>
                    <a:pt x="13679" y="242401"/>
                    <a:pt x="13997" y="242401"/>
                    <a:pt x="13997" y="242083"/>
                  </a:cubicBezTo>
                  <a:cubicBezTo>
                    <a:pt x="14633" y="241447"/>
                    <a:pt x="14633" y="241129"/>
                    <a:pt x="14633" y="240493"/>
                  </a:cubicBezTo>
                  <a:cubicBezTo>
                    <a:pt x="15270" y="239220"/>
                    <a:pt x="15588" y="237948"/>
                    <a:pt x="16224" y="237311"/>
                  </a:cubicBezTo>
                  <a:close/>
                  <a:moveTo>
                    <a:pt x="13997" y="233176"/>
                  </a:moveTo>
                  <a:cubicBezTo>
                    <a:pt x="13997" y="232858"/>
                    <a:pt x="13997" y="232222"/>
                    <a:pt x="14951" y="232222"/>
                  </a:cubicBezTo>
                  <a:lnTo>
                    <a:pt x="15270" y="232222"/>
                  </a:lnTo>
                  <a:lnTo>
                    <a:pt x="15270" y="232540"/>
                  </a:lnTo>
                  <a:cubicBezTo>
                    <a:pt x="15270" y="233176"/>
                    <a:pt x="14633" y="233176"/>
                    <a:pt x="14315" y="233494"/>
                  </a:cubicBezTo>
                  <a:lnTo>
                    <a:pt x="13997" y="233176"/>
                  </a:lnTo>
                  <a:close/>
                  <a:moveTo>
                    <a:pt x="18451" y="230313"/>
                  </a:moveTo>
                  <a:cubicBezTo>
                    <a:pt x="18451" y="230631"/>
                    <a:pt x="18769" y="230631"/>
                    <a:pt x="18769" y="230949"/>
                  </a:cubicBezTo>
                  <a:lnTo>
                    <a:pt x="18133" y="234130"/>
                  </a:lnTo>
                  <a:cubicBezTo>
                    <a:pt x="17815" y="234448"/>
                    <a:pt x="17178" y="234767"/>
                    <a:pt x="17178" y="234448"/>
                  </a:cubicBezTo>
                  <a:cubicBezTo>
                    <a:pt x="16860" y="234448"/>
                    <a:pt x="16860" y="234130"/>
                    <a:pt x="16860" y="233812"/>
                  </a:cubicBezTo>
                  <a:cubicBezTo>
                    <a:pt x="16860" y="233812"/>
                    <a:pt x="17178" y="233494"/>
                    <a:pt x="17178" y="233176"/>
                  </a:cubicBezTo>
                  <a:lnTo>
                    <a:pt x="17178" y="232858"/>
                  </a:lnTo>
                  <a:cubicBezTo>
                    <a:pt x="17178" y="232540"/>
                    <a:pt x="17496" y="231904"/>
                    <a:pt x="17496" y="231585"/>
                  </a:cubicBezTo>
                  <a:cubicBezTo>
                    <a:pt x="17496" y="231267"/>
                    <a:pt x="17178" y="230949"/>
                    <a:pt x="16860" y="230631"/>
                  </a:cubicBezTo>
                  <a:lnTo>
                    <a:pt x="16860" y="229995"/>
                  </a:lnTo>
                  <a:cubicBezTo>
                    <a:pt x="16860" y="229677"/>
                    <a:pt x="17178" y="229359"/>
                    <a:pt x="17496" y="229359"/>
                  </a:cubicBezTo>
                  <a:cubicBezTo>
                    <a:pt x="17815" y="229041"/>
                    <a:pt x="17815" y="229041"/>
                    <a:pt x="17815" y="228722"/>
                  </a:cubicBezTo>
                  <a:cubicBezTo>
                    <a:pt x="17815" y="228404"/>
                    <a:pt x="17496" y="228086"/>
                    <a:pt x="17178" y="227768"/>
                  </a:cubicBezTo>
                  <a:cubicBezTo>
                    <a:pt x="16860" y="227450"/>
                    <a:pt x="16542" y="227450"/>
                    <a:pt x="16542" y="227132"/>
                  </a:cubicBezTo>
                  <a:lnTo>
                    <a:pt x="17178" y="226496"/>
                  </a:lnTo>
                  <a:lnTo>
                    <a:pt x="17815" y="226496"/>
                  </a:lnTo>
                  <a:cubicBezTo>
                    <a:pt x="18451" y="224905"/>
                    <a:pt x="19405" y="223951"/>
                    <a:pt x="19405" y="222042"/>
                  </a:cubicBezTo>
                  <a:cubicBezTo>
                    <a:pt x="19723" y="220770"/>
                    <a:pt x="20041" y="220133"/>
                    <a:pt x="20996" y="219815"/>
                  </a:cubicBezTo>
                  <a:lnTo>
                    <a:pt x="21314" y="219815"/>
                  </a:lnTo>
                  <a:cubicBezTo>
                    <a:pt x="21314" y="220133"/>
                    <a:pt x="21314" y="220133"/>
                    <a:pt x="21632" y="220451"/>
                  </a:cubicBezTo>
                  <a:lnTo>
                    <a:pt x="20677" y="222996"/>
                  </a:lnTo>
                  <a:cubicBezTo>
                    <a:pt x="20041" y="223633"/>
                    <a:pt x="20041" y="224587"/>
                    <a:pt x="19723" y="225541"/>
                  </a:cubicBezTo>
                  <a:cubicBezTo>
                    <a:pt x="19723" y="225859"/>
                    <a:pt x="20041" y="225859"/>
                    <a:pt x="20041" y="225859"/>
                  </a:cubicBezTo>
                  <a:cubicBezTo>
                    <a:pt x="20041" y="226177"/>
                    <a:pt x="19405" y="226814"/>
                    <a:pt x="19405" y="227450"/>
                  </a:cubicBezTo>
                  <a:lnTo>
                    <a:pt x="19405" y="228722"/>
                  </a:lnTo>
                  <a:cubicBezTo>
                    <a:pt x="19087" y="229359"/>
                    <a:pt x="18451" y="229677"/>
                    <a:pt x="18451" y="230313"/>
                  </a:cubicBezTo>
                  <a:close/>
                  <a:moveTo>
                    <a:pt x="19723" y="198184"/>
                  </a:moveTo>
                  <a:cubicBezTo>
                    <a:pt x="20041" y="198820"/>
                    <a:pt x="20677" y="198820"/>
                    <a:pt x="20677" y="199138"/>
                  </a:cubicBezTo>
                  <a:cubicBezTo>
                    <a:pt x="20677" y="199456"/>
                    <a:pt x="20996" y="199774"/>
                    <a:pt x="20996" y="199774"/>
                  </a:cubicBezTo>
                  <a:lnTo>
                    <a:pt x="20677" y="200092"/>
                  </a:lnTo>
                  <a:cubicBezTo>
                    <a:pt x="20359" y="200729"/>
                    <a:pt x="19723" y="201365"/>
                    <a:pt x="19723" y="202001"/>
                  </a:cubicBezTo>
                  <a:cubicBezTo>
                    <a:pt x="19723" y="202637"/>
                    <a:pt x="19723" y="202955"/>
                    <a:pt x="19405" y="202955"/>
                  </a:cubicBezTo>
                  <a:cubicBezTo>
                    <a:pt x="19405" y="202955"/>
                    <a:pt x="19087" y="202955"/>
                    <a:pt x="19087" y="202637"/>
                  </a:cubicBezTo>
                  <a:cubicBezTo>
                    <a:pt x="18451" y="202319"/>
                    <a:pt x="18133" y="202001"/>
                    <a:pt x="18133" y="201365"/>
                  </a:cubicBezTo>
                  <a:cubicBezTo>
                    <a:pt x="18133" y="201047"/>
                    <a:pt x="18133" y="200410"/>
                    <a:pt x="18451" y="200092"/>
                  </a:cubicBezTo>
                  <a:cubicBezTo>
                    <a:pt x="19405" y="199138"/>
                    <a:pt x="19405" y="198502"/>
                    <a:pt x="19723" y="198184"/>
                  </a:cubicBezTo>
                  <a:close/>
                  <a:moveTo>
                    <a:pt x="23858" y="228086"/>
                  </a:moveTo>
                  <a:lnTo>
                    <a:pt x="24813" y="228086"/>
                  </a:lnTo>
                  <a:cubicBezTo>
                    <a:pt x="24495" y="228722"/>
                    <a:pt x="24177" y="229041"/>
                    <a:pt x="23540" y="229041"/>
                  </a:cubicBezTo>
                  <a:cubicBezTo>
                    <a:pt x="23222" y="229041"/>
                    <a:pt x="22904" y="229041"/>
                    <a:pt x="22586" y="228722"/>
                  </a:cubicBezTo>
                  <a:lnTo>
                    <a:pt x="22268" y="228722"/>
                  </a:lnTo>
                  <a:cubicBezTo>
                    <a:pt x="21950" y="228722"/>
                    <a:pt x="21632" y="229041"/>
                    <a:pt x="21314" y="229359"/>
                  </a:cubicBezTo>
                  <a:cubicBezTo>
                    <a:pt x="21314" y="230313"/>
                    <a:pt x="20996" y="231267"/>
                    <a:pt x="20677" y="232222"/>
                  </a:cubicBezTo>
                  <a:cubicBezTo>
                    <a:pt x="20677" y="233494"/>
                    <a:pt x="19723" y="235403"/>
                    <a:pt x="19405" y="236357"/>
                  </a:cubicBezTo>
                  <a:lnTo>
                    <a:pt x="19087" y="236675"/>
                  </a:lnTo>
                  <a:lnTo>
                    <a:pt x="19087" y="236039"/>
                  </a:lnTo>
                  <a:cubicBezTo>
                    <a:pt x="19087" y="235085"/>
                    <a:pt x="19723" y="233812"/>
                    <a:pt x="19723" y="232540"/>
                  </a:cubicBezTo>
                  <a:cubicBezTo>
                    <a:pt x="20677" y="229359"/>
                    <a:pt x="21314" y="227450"/>
                    <a:pt x="22268" y="225223"/>
                  </a:cubicBezTo>
                  <a:cubicBezTo>
                    <a:pt x="22268" y="225223"/>
                    <a:pt x="22586" y="225223"/>
                    <a:pt x="22904" y="224905"/>
                  </a:cubicBezTo>
                  <a:cubicBezTo>
                    <a:pt x="22904" y="225223"/>
                    <a:pt x="23222" y="225223"/>
                    <a:pt x="23222" y="225223"/>
                  </a:cubicBezTo>
                  <a:cubicBezTo>
                    <a:pt x="23222" y="226177"/>
                    <a:pt x="23222" y="226496"/>
                    <a:pt x="24177" y="226496"/>
                  </a:cubicBezTo>
                  <a:cubicBezTo>
                    <a:pt x="24495" y="226496"/>
                    <a:pt x="24177" y="226814"/>
                    <a:pt x="23858" y="227450"/>
                  </a:cubicBezTo>
                  <a:lnTo>
                    <a:pt x="23858" y="228086"/>
                  </a:lnTo>
                  <a:close/>
                  <a:moveTo>
                    <a:pt x="23222" y="208045"/>
                  </a:moveTo>
                  <a:lnTo>
                    <a:pt x="21950" y="208999"/>
                  </a:lnTo>
                  <a:cubicBezTo>
                    <a:pt x="21950" y="209318"/>
                    <a:pt x="21632" y="209318"/>
                    <a:pt x="21632" y="209636"/>
                  </a:cubicBezTo>
                  <a:lnTo>
                    <a:pt x="21950" y="209954"/>
                  </a:lnTo>
                  <a:cubicBezTo>
                    <a:pt x="22586" y="209318"/>
                    <a:pt x="23222" y="209318"/>
                    <a:pt x="23222" y="208045"/>
                  </a:cubicBezTo>
                  <a:close/>
                  <a:moveTo>
                    <a:pt x="25449" y="208681"/>
                  </a:moveTo>
                  <a:cubicBezTo>
                    <a:pt x="25131" y="208363"/>
                    <a:pt x="24813" y="208045"/>
                    <a:pt x="24495" y="208045"/>
                  </a:cubicBezTo>
                  <a:cubicBezTo>
                    <a:pt x="24177" y="208045"/>
                    <a:pt x="24177" y="208363"/>
                    <a:pt x="24177" y="208363"/>
                  </a:cubicBezTo>
                  <a:cubicBezTo>
                    <a:pt x="24177" y="208999"/>
                    <a:pt x="23858" y="209318"/>
                    <a:pt x="23540" y="210272"/>
                  </a:cubicBezTo>
                  <a:cubicBezTo>
                    <a:pt x="23540" y="210272"/>
                    <a:pt x="23858" y="209954"/>
                    <a:pt x="23858" y="210272"/>
                  </a:cubicBezTo>
                  <a:cubicBezTo>
                    <a:pt x="24177" y="209954"/>
                    <a:pt x="25131" y="209318"/>
                    <a:pt x="25449" y="209318"/>
                  </a:cubicBezTo>
                  <a:lnTo>
                    <a:pt x="25449" y="208681"/>
                  </a:lnTo>
                  <a:close/>
                  <a:moveTo>
                    <a:pt x="25767" y="217588"/>
                  </a:moveTo>
                  <a:lnTo>
                    <a:pt x="25767" y="218543"/>
                  </a:lnTo>
                  <a:cubicBezTo>
                    <a:pt x="25449" y="218543"/>
                    <a:pt x="25131" y="218225"/>
                    <a:pt x="25131" y="218225"/>
                  </a:cubicBezTo>
                  <a:lnTo>
                    <a:pt x="25131" y="217588"/>
                  </a:lnTo>
                  <a:lnTo>
                    <a:pt x="25767" y="217588"/>
                  </a:lnTo>
                  <a:close/>
                  <a:moveTo>
                    <a:pt x="26721" y="219497"/>
                  </a:moveTo>
                  <a:cubicBezTo>
                    <a:pt x="27040" y="219497"/>
                    <a:pt x="27358" y="219497"/>
                    <a:pt x="27676" y="219815"/>
                  </a:cubicBezTo>
                  <a:lnTo>
                    <a:pt x="27040" y="220451"/>
                  </a:lnTo>
                  <a:cubicBezTo>
                    <a:pt x="26721" y="220451"/>
                    <a:pt x="26085" y="220133"/>
                    <a:pt x="26085" y="220133"/>
                  </a:cubicBezTo>
                  <a:cubicBezTo>
                    <a:pt x="26085" y="219815"/>
                    <a:pt x="26085" y="219497"/>
                    <a:pt x="26403" y="219497"/>
                  </a:cubicBezTo>
                  <a:lnTo>
                    <a:pt x="26721" y="219497"/>
                  </a:lnTo>
                  <a:close/>
                  <a:moveTo>
                    <a:pt x="27358" y="200729"/>
                  </a:moveTo>
                  <a:cubicBezTo>
                    <a:pt x="27358" y="201047"/>
                    <a:pt x="27676" y="201047"/>
                    <a:pt x="27994" y="201047"/>
                  </a:cubicBezTo>
                  <a:lnTo>
                    <a:pt x="28630" y="201047"/>
                  </a:lnTo>
                  <a:lnTo>
                    <a:pt x="29267" y="200410"/>
                  </a:lnTo>
                  <a:lnTo>
                    <a:pt x="28948" y="200092"/>
                  </a:lnTo>
                  <a:lnTo>
                    <a:pt x="28948" y="199138"/>
                  </a:lnTo>
                  <a:lnTo>
                    <a:pt x="29585" y="199138"/>
                  </a:lnTo>
                  <a:cubicBezTo>
                    <a:pt x="29903" y="199138"/>
                    <a:pt x="30221" y="199138"/>
                    <a:pt x="30221" y="198820"/>
                  </a:cubicBezTo>
                  <a:cubicBezTo>
                    <a:pt x="30539" y="198502"/>
                    <a:pt x="31175" y="198184"/>
                    <a:pt x="31175" y="197866"/>
                  </a:cubicBezTo>
                  <a:cubicBezTo>
                    <a:pt x="31493" y="197547"/>
                    <a:pt x="31811" y="196911"/>
                    <a:pt x="31811" y="196593"/>
                  </a:cubicBezTo>
                  <a:cubicBezTo>
                    <a:pt x="31811" y="196275"/>
                    <a:pt x="31493" y="196275"/>
                    <a:pt x="31175" y="196275"/>
                  </a:cubicBezTo>
                  <a:cubicBezTo>
                    <a:pt x="30857" y="195957"/>
                    <a:pt x="30857" y="195639"/>
                    <a:pt x="30539" y="195639"/>
                  </a:cubicBezTo>
                  <a:cubicBezTo>
                    <a:pt x="30221" y="195639"/>
                    <a:pt x="29903" y="195957"/>
                    <a:pt x="29903" y="195957"/>
                  </a:cubicBezTo>
                  <a:lnTo>
                    <a:pt x="29903" y="196593"/>
                  </a:lnTo>
                  <a:cubicBezTo>
                    <a:pt x="28948" y="197866"/>
                    <a:pt x="27994" y="199138"/>
                    <a:pt x="27358" y="200729"/>
                  </a:cubicBezTo>
                  <a:close/>
                  <a:moveTo>
                    <a:pt x="31811" y="209636"/>
                  </a:moveTo>
                  <a:cubicBezTo>
                    <a:pt x="31811" y="209954"/>
                    <a:pt x="31493" y="210272"/>
                    <a:pt x="31493" y="210590"/>
                  </a:cubicBezTo>
                  <a:cubicBezTo>
                    <a:pt x="31493" y="210908"/>
                    <a:pt x="31811" y="210908"/>
                    <a:pt x="31811" y="211226"/>
                  </a:cubicBezTo>
                  <a:cubicBezTo>
                    <a:pt x="31811" y="212181"/>
                    <a:pt x="30857" y="213453"/>
                    <a:pt x="30221" y="214407"/>
                  </a:cubicBezTo>
                  <a:cubicBezTo>
                    <a:pt x="29903" y="215362"/>
                    <a:pt x="29585" y="215362"/>
                    <a:pt x="29267" y="215362"/>
                  </a:cubicBezTo>
                  <a:cubicBezTo>
                    <a:pt x="28948" y="215362"/>
                    <a:pt x="28630" y="215362"/>
                    <a:pt x="28630" y="215044"/>
                  </a:cubicBezTo>
                  <a:cubicBezTo>
                    <a:pt x="28630" y="214725"/>
                    <a:pt x="28630" y="214089"/>
                    <a:pt x="28312" y="214089"/>
                  </a:cubicBezTo>
                  <a:cubicBezTo>
                    <a:pt x="27994" y="214089"/>
                    <a:pt x="27358" y="213771"/>
                    <a:pt x="27358" y="213453"/>
                  </a:cubicBezTo>
                  <a:cubicBezTo>
                    <a:pt x="27358" y="213453"/>
                    <a:pt x="27358" y="213135"/>
                    <a:pt x="27676" y="213135"/>
                  </a:cubicBezTo>
                  <a:cubicBezTo>
                    <a:pt x="28312" y="212181"/>
                    <a:pt x="28312" y="210590"/>
                    <a:pt x="29267" y="209954"/>
                  </a:cubicBezTo>
                  <a:cubicBezTo>
                    <a:pt x="29585" y="209318"/>
                    <a:pt x="29585" y="208363"/>
                    <a:pt x="29903" y="208363"/>
                  </a:cubicBezTo>
                  <a:cubicBezTo>
                    <a:pt x="30539" y="208363"/>
                    <a:pt x="30539" y="208999"/>
                    <a:pt x="31493" y="209318"/>
                  </a:cubicBezTo>
                  <a:cubicBezTo>
                    <a:pt x="31493" y="209318"/>
                    <a:pt x="31811" y="209318"/>
                    <a:pt x="31811" y="209636"/>
                  </a:cubicBezTo>
                  <a:close/>
                  <a:moveTo>
                    <a:pt x="29585" y="184187"/>
                  </a:moveTo>
                  <a:cubicBezTo>
                    <a:pt x="28948" y="184187"/>
                    <a:pt x="28948" y="184505"/>
                    <a:pt x="28948" y="184823"/>
                  </a:cubicBezTo>
                  <a:cubicBezTo>
                    <a:pt x="29267" y="185141"/>
                    <a:pt x="29585" y="185141"/>
                    <a:pt x="29585" y="185141"/>
                  </a:cubicBezTo>
                  <a:cubicBezTo>
                    <a:pt x="29903" y="185141"/>
                    <a:pt x="29903" y="184823"/>
                    <a:pt x="29903" y="184505"/>
                  </a:cubicBezTo>
                  <a:lnTo>
                    <a:pt x="29585" y="184187"/>
                  </a:lnTo>
                  <a:close/>
                  <a:moveTo>
                    <a:pt x="30857" y="180051"/>
                  </a:moveTo>
                  <a:cubicBezTo>
                    <a:pt x="30539" y="180051"/>
                    <a:pt x="30539" y="180051"/>
                    <a:pt x="30539" y="179733"/>
                  </a:cubicBezTo>
                  <a:lnTo>
                    <a:pt x="29585" y="181324"/>
                  </a:lnTo>
                  <a:lnTo>
                    <a:pt x="29585" y="181642"/>
                  </a:lnTo>
                  <a:cubicBezTo>
                    <a:pt x="30221" y="181324"/>
                    <a:pt x="30539" y="180688"/>
                    <a:pt x="30857" y="180051"/>
                  </a:cubicBezTo>
                  <a:close/>
                  <a:moveTo>
                    <a:pt x="30857" y="184505"/>
                  </a:moveTo>
                  <a:lnTo>
                    <a:pt x="31493" y="184505"/>
                  </a:lnTo>
                  <a:cubicBezTo>
                    <a:pt x="32130" y="184823"/>
                    <a:pt x="32130" y="184823"/>
                    <a:pt x="32130" y="185459"/>
                  </a:cubicBezTo>
                  <a:lnTo>
                    <a:pt x="32130" y="185777"/>
                  </a:lnTo>
                  <a:lnTo>
                    <a:pt x="32448" y="185777"/>
                  </a:lnTo>
                  <a:cubicBezTo>
                    <a:pt x="33084" y="185141"/>
                    <a:pt x="33402" y="184823"/>
                    <a:pt x="33402" y="183869"/>
                  </a:cubicBezTo>
                  <a:lnTo>
                    <a:pt x="31811" y="183869"/>
                  </a:lnTo>
                  <a:cubicBezTo>
                    <a:pt x="31493" y="183869"/>
                    <a:pt x="31175" y="183551"/>
                    <a:pt x="31175" y="183551"/>
                  </a:cubicBezTo>
                  <a:cubicBezTo>
                    <a:pt x="30857" y="184187"/>
                    <a:pt x="30539" y="184187"/>
                    <a:pt x="30539" y="184187"/>
                  </a:cubicBezTo>
                  <a:cubicBezTo>
                    <a:pt x="30539" y="184187"/>
                    <a:pt x="30539" y="184505"/>
                    <a:pt x="30857" y="184505"/>
                  </a:cubicBezTo>
                  <a:close/>
                  <a:moveTo>
                    <a:pt x="31175" y="178461"/>
                  </a:moveTo>
                  <a:lnTo>
                    <a:pt x="31811" y="178461"/>
                  </a:lnTo>
                  <a:lnTo>
                    <a:pt x="31811" y="177506"/>
                  </a:lnTo>
                  <a:cubicBezTo>
                    <a:pt x="31811" y="177825"/>
                    <a:pt x="31493" y="177825"/>
                    <a:pt x="31493" y="178143"/>
                  </a:cubicBezTo>
                  <a:cubicBezTo>
                    <a:pt x="31175" y="178143"/>
                    <a:pt x="31175" y="178461"/>
                    <a:pt x="31175" y="178461"/>
                  </a:cubicBezTo>
                  <a:close/>
                  <a:moveTo>
                    <a:pt x="32766" y="180688"/>
                  </a:moveTo>
                  <a:cubicBezTo>
                    <a:pt x="32766" y="181006"/>
                    <a:pt x="32766" y="181642"/>
                    <a:pt x="33084" y="181960"/>
                  </a:cubicBezTo>
                  <a:cubicBezTo>
                    <a:pt x="33084" y="182596"/>
                    <a:pt x="33402" y="183232"/>
                    <a:pt x="33402" y="183869"/>
                  </a:cubicBezTo>
                  <a:cubicBezTo>
                    <a:pt x="33720" y="183869"/>
                    <a:pt x="34356" y="183232"/>
                    <a:pt x="34674" y="182914"/>
                  </a:cubicBezTo>
                  <a:cubicBezTo>
                    <a:pt x="34992" y="182278"/>
                    <a:pt x="36265" y="181324"/>
                    <a:pt x="36265" y="180688"/>
                  </a:cubicBezTo>
                  <a:lnTo>
                    <a:pt x="37537" y="179097"/>
                  </a:lnTo>
                  <a:lnTo>
                    <a:pt x="37537" y="178779"/>
                  </a:lnTo>
                  <a:cubicBezTo>
                    <a:pt x="37219" y="178779"/>
                    <a:pt x="37219" y="178461"/>
                    <a:pt x="37219" y="178779"/>
                  </a:cubicBezTo>
                  <a:cubicBezTo>
                    <a:pt x="36265" y="179415"/>
                    <a:pt x="35311" y="179415"/>
                    <a:pt x="34674" y="179733"/>
                  </a:cubicBezTo>
                  <a:lnTo>
                    <a:pt x="33402" y="179733"/>
                  </a:lnTo>
                  <a:cubicBezTo>
                    <a:pt x="33084" y="179733"/>
                    <a:pt x="32766" y="180369"/>
                    <a:pt x="32766" y="180688"/>
                  </a:cubicBezTo>
                  <a:close/>
                  <a:moveTo>
                    <a:pt x="37855" y="183551"/>
                  </a:moveTo>
                  <a:cubicBezTo>
                    <a:pt x="37537" y="183551"/>
                    <a:pt x="37219" y="184187"/>
                    <a:pt x="36901" y="184823"/>
                  </a:cubicBezTo>
                  <a:cubicBezTo>
                    <a:pt x="36901" y="185141"/>
                    <a:pt x="37219" y="185459"/>
                    <a:pt x="37219" y="185777"/>
                  </a:cubicBezTo>
                  <a:cubicBezTo>
                    <a:pt x="37855" y="185141"/>
                    <a:pt x="38173" y="184505"/>
                    <a:pt x="38173" y="183869"/>
                  </a:cubicBezTo>
                  <a:cubicBezTo>
                    <a:pt x="38173" y="183551"/>
                    <a:pt x="37855" y="183551"/>
                    <a:pt x="37855" y="183551"/>
                  </a:cubicBezTo>
                  <a:close/>
                  <a:moveTo>
                    <a:pt x="37537" y="191821"/>
                  </a:moveTo>
                  <a:lnTo>
                    <a:pt x="37537" y="192458"/>
                  </a:lnTo>
                  <a:cubicBezTo>
                    <a:pt x="37219" y="192458"/>
                    <a:pt x="36901" y="192140"/>
                    <a:pt x="36901" y="191821"/>
                  </a:cubicBezTo>
                  <a:lnTo>
                    <a:pt x="36901" y="191185"/>
                  </a:lnTo>
                  <a:cubicBezTo>
                    <a:pt x="37537" y="191185"/>
                    <a:pt x="37537" y="191503"/>
                    <a:pt x="37537" y="191821"/>
                  </a:cubicBezTo>
                  <a:close/>
                  <a:moveTo>
                    <a:pt x="37855" y="181324"/>
                  </a:moveTo>
                  <a:lnTo>
                    <a:pt x="38810" y="180688"/>
                  </a:lnTo>
                  <a:lnTo>
                    <a:pt x="37855" y="180688"/>
                  </a:lnTo>
                  <a:lnTo>
                    <a:pt x="37855" y="181324"/>
                  </a:lnTo>
                  <a:close/>
                  <a:moveTo>
                    <a:pt x="39128" y="176870"/>
                  </a:moveTo>
                  <a:cubicBezTo>
                    <a:pt x="39128" y="176870"/>
                    <a:pt x="39128" y="176552"/>
                    <a:pt x="39446" y="176870"/>
                  </a:cubicBezTo>
                  <a:cubicBezTo>
                    <a:pt x="39128" y="176234"/>
                    <a:pt x="39128" y="176552"/>
                    <a:pt x="39128" y="176552"/>
                  </a:cubicBezTo>
                  <a:lnTo>
                    <a:pt x="39128" y="176870"/>
                  </a:lnTo>
                  <a:close/>
                  <a:moveTo>
                    <a:pt x="39128" y="181324"/>
                  </a:moveTo>
                  <a:lnTo>
                    <a:pt x="39764" y="183232"/>
                  </a:lnTo>
                  <a:cubicBezTo>
                    <a:pt x="39764" y="183551"/>
                    <a:pt x="39764" y="183551"/>
                    <a:pt x="40082" y="183551"/>
                  </a:cubicBezTo>
                  <a:lnTo>
                    <a:pt x="40718" y="183551"/>
                  </a:lnTo>
                  <a:cubicBezTo>
                    <a:pt x="40718" y="182914"/>
                    <a:pt x="41036" y="182278"/>
                    <a:pt x="41673" y="181960"/>
                  </a:cubicBezTo>
                  <a:lnTo>
                    <a:pt x="42945" y="181006"/>
                  </a:lnTo>
                  <a:cubicBezTo>
                    <a:pt x="42945" y="180369"/>
                    <a:pt x="42945" y="180051"/>
                    <a:pt x="43264" y="179415"/>
                  </a:cubicBezTo>
                  <a:cubicBezTo>
                    <a:pt x="43582" y="179097"/>
                    <a:pt x="43582" y="178779"/>
                    <a:pt x="43900" y="178779"/>
                  </a:cubicBezTo>
                  <a:cubicBezTo>
                    <a:pt x="44218" y="178779"/>
                    <a:pt x="43900" y="178461"/>
                    <a:pt x="43582" y="178143"/>
                  </a:cubicBezTo>
                  <a:cubicBezTo>
                    <a:pt x="43264" y="178143"/>
                    <a:pt x="42945" y="177825"/>
                    <a:pt x="42627" y="177506"/>
                  </a:cubicBezTo>
                  <a:cubicBezTo>
                    <a:pt x="42309" y="177506"/>
                    <a:pt x="41991" y="177506"/>
                    <a:pt x="41673" y="177825"/>
                  </a:cubicBezTo>
                  <a:cubicBezTo>
                    <a:pt x="41355" y="178143"/>
                    <a:pt x="41355" y="178779"/>
                    <a:pt x="41355" y="179097"/>
                  </a:cubicBezTo>
                  <a:lnTo>
                    <a:pt x="41355" y="179733"/>
                  </a:lnTo>
                  <a:cubicBezTo>
                    <a:pt x="41355" y="180051"/>
                    <a:pt x="41036" y="180369"/>
                    <a:pt x="40718" y="180369"/>
                  </a:cubicBezTo>
                  <a:lnTo>
                    <a:pt x="40082" y="180369"/>
                  </a:lnTo>
                  <a:cubicBezTo>
                    <a:pt x="39446" y="180688"/>
                    <a:pt x="39128" y="181006"/>
                    <a:pt x="39128" y="181324"/>
                  </a:cubicBezTo>
                  <a:close/>
                  <a:moveTo>
                    <a:pt x="39764" y="195003"/>
                  </a:moveTo>
                  <a:cubicBezTo>
                    <a:pt x="39764" y="195321"/>
                    <a:pt x="39764" y="195957"/>
                    <a:pt x="39446" y="195957"/>
                  </a:cubicBezTo>
                  <a:lnTo>
                    <a:pt x="39128" y="195957"/>
                  </a:lnTo>
                  <a:lnTo>
                    <a:pt x="39128" y="195003"/>
                  </a:lnTo>
                  <a:lnTo>
                    <a:pt x="39764" y="195003"/>
                  </a:lnTo>
                  <a:close/>
                  <a:moveTo>
                    <a:pt x="40400" y="185777"/>
                  </a:moveTo>
                  <a:lnTo>
                    <a:pt x="40718" y="186095"/>
                  </a:lnTo>
                  <a:lnTo>
                    <a:pt x="40718" y="185459"/>
                  </a:lnTo>
                  <a:cubicBezTo>
                    <a:pt x="40400" y="185459"/>
                    <a:pt x="40400" y="185777"/>
                    <a:pt x="40400" y="185777"/>
                  </a:cubicBezTo>
                  <a:close/>
                  <a:moveTo>
                    <a:pt x="41036" y="165418"/>
                  </a:moveTo>
                  <a:lnTo>
                    <a:pt x="41036" y="165736"/>
                  </a:lnTo>
                  <a:cubicBezTo>
                    <a:pt x="41036" y="165736"/>
                    <a:pt x="41355" y="166054"/>
                    <a:pt x="41673" y="166054"/>
                  </a:cubicBezTo>
                  <a:cubicBezTo>
                    <a:pt x="41673" y="166054"/>
                    <a:pt x="41991" y="165736"/>
                    <a:pt x="41991" y="165418"/>
                  </a:cubicBezTo>
                  <a:cubicBezTo>
                    <a:pt x="42309" y="165418"/>
                    <a:pt x="41673" y="165100"/>
                    <a:pt x="41673" y="165100"/>
                  </a:cubicBezTo>
                  <a:cubicBezTo>
                    <a:pt x="41355" y="165100"/>
                    <a:pt x="41036" y="165100"/>
                    <a:pt x="41036" y="165418"/>
                  </a:cubicBezTo>
                  <a:close/>
                  <a:moveTo>
                    <a:pt x="41991" y="169872"/>
                  </a:moveTo>
                  <a:lnTo>
                    <a:pt x="41991" y="170190"/>
                  </a:lnTo>
                  <a:lnTo>
                    <a:pt x="42627" y="170190"/>
                  </a:lnTo>
                  <a:cubicBezTo>
                    <a:pt x="42309" y="169872"/>
                    <a:pt x="41991" y="169872"/>
                    <a:pt x="41991" y="169872"/>
                  </a:cubicBezTo>
                  <a:close/>
                  <a:moveTo>
                    <a:pt x="42627" y="185777"/>
                  </a:moveTo>
                  <a:cubicBezTo>
                    <a:pt x="42627" y="186095"/>
                    <a:pt x="42309" y="186095"/>
                    <a:pt x="42309" y="186414"/>
                  </a:cubicBezTo>
                  <a:cubicBezTo>
                    <a:pt x="42309" y="186732"/>
                    <a:pt x="42627" y="186732"/>
                    <a:pt x="42627" y="186732"/>
                  </a:cubicBezTo>
                  <a:lnTo>
                    <a:pt x="42627" y="185777"/>
                  </a:lnTo>
                  <a:close/>
                  <a:moveTo>
                    <a:pt x="42945" y="175916"/>
                  </a:moveTo>
                  <a:cubicBezTo>
                    <a:pt x="42945" y="176234"/>
                    <a:pt x="42945" y="176234"/>
                    <a:pt x="43264" y="176234"/>
                  </a:cubicBezTo>
                  <a:cubicBezTo>
                    <a:pt x="43264" y="176552"/>
                    <a:pt x="43582" y="176552"/>
                    <a:pt x="43900" y="176552"/>
                  </a:cubicBezTo>
                  <a:lnTo>
                    <a:pt x="44218" y="176552"/>
                  </a:lnTo>
                  <a:lnTo>
                    <a:pt x="45172" y="175916"/>
                  </a:lnTo>
                  <a:cubicBezTo>
                    <a:pt x="45490" y="175598"/>
                    <a:pt x="45808" y="175280"/>
                    <a:pt x="45808" y="174643"/>
                  </a:cubicBezTo>
                  <a:cubicBezTo>
                    <a:pt x="45808" y="174325"/>
                    <a:pt x="45808" y="174007"/>
                    <a:pt x="45490" y="173689"/>
                  </a:cubicBezTo>
                  <a:cubicBezTo>
                    <a:pt x="44536" y="173689"/>
                    <a:pt x="43900" y="174007"/>
                    <a:pt x="43264" y="174643"/>
                  </a:cubicBezTo>
                  <a:cubicBezTo>
                    <a:pt x="42945" y="175280"/>
                    <a:pt x="42945" y="175598"/>
                    <a:pt x="42945" y="175916"/>
                  </a:cubicBezTo>
                  <a:close/>
                  <a:moveTo>
                    <a:pt x="43264" y="171462"/>
                  </a:moveTo>
                  <a:cubicBezTo>
                    <a:pt x="43264" y="171780"/>
                    <a:pt x="43582" y="171780"/>
                    <a:pt x="43900" y="171780"/>
                  </a:cubicBezTo>
                  <a:lnTo>
                    <a:pt x="43900" y="171462"/>
                  </a:lnTo>
                  <a:cubicBezTo>
                    <a:pt x="43900" y="171144"/>
                    <a:pt x="43582" y="171144"/>
                    <a:pt x="43582" y="171144"/>
                  </a:cubicBezTo>
                  <a:cubicBezTo>
                    <a:pt x="43264" y="171144"/>
                    <a:pt x="43264" y="171462"/>
                    <a:pt x="43264" y="171462"/>
                  </a:cubicBezTo>
                  <a:close/>
                  <a:moveTo>
                    <a:pt x="44218" y="165100"/>
                  </a:moveTo>
                  <a:cubicBezTo>
                    <a:pt x="44218" y="165418"/>
                    <a:pt x="44536" y="165418"/>
                    <a:pt x="44536" y="165736"/>
                  </a:cubicBezTo>
                  <a:cubicBezTo>
                    <a:pt x="44854" y="166054"/>
                    <a:pt x="45172" y="166372"/>
                    <a:pt x="45490" y="166372"/>
                  </a:cubicBezTo>
                  <a:lnTo>
                    <a:pt x="46763" y="166372"/>
                  </a:lnTo>
                  <a:lnTo>
                    <a:pt x="46763" y="167327"/>
                  </a:lnTo>
                  <a:cubicBezTo>
                    <a:pt x="46445" y="167327"/>
                    <a:pt x="46445" y="167963"/>
                    <a:pt x="46126" y="168281"/>
                  </a:cubicBezTo>
                  <a:cubicBezTo>
                    <a:pt x="47081" y="167645"/>
                    <a:pt x="47399" y="167009"/>
                    <a:pt x="48035" y="166054"/>
                  </a:cubicBezTo>
                  <a:lnTo>
                    <a:pt x="48035" y="165100"/>
                  </a:lnTo>
                  <a:cubicBezTo>
                    <a:pt x="48035" y="164782"/>
                    <a:pt x="48035" y="163828"/>
                    <a:pt x="47717" y="163828"/>
                  </a:cubicBezTo>
                  <a:lnTo>
                    <a:pt x="47399" y="163509"/>
                  </a:lnTo>
                  <a:cubicBezTo>
                    <a:pt x="47081" y="163509"/>
                    <a:pt x="47081" y="163828"/>
                    <a:pt x="46763" y="164146"/>
                  </a:cubicBezTo>
                  <a:cubicBezTo>
                    <a:pt x="46445" y="164464"/>
                    <a:pt x="46126" y="164782"/>
                    <a:pt x="45490" y="164782"/>
                  </a:cubicBezTo>
                  <a:lnTo>
                    <a:pt x="45172" y="164782"/>
                  </a:lnTo>
                  <a:lnTo>
                    <a:pt x="44854" y="164464"/>
                  </a:lnTo>
                  <a:cubicBezTo>
                    <a:pt x="44536" y="164464"/>
                    <a:pt x="44536" y="164782"/>
                    <a:pt x="44218" y="164782"/>
                  </a:cubicBezTo>
                  <a:lnTo>
                    <a:pt x="44218" y="165100"/>
                  </a:lnTo>
                  <a:close/>
                  <a:moveTo>
                    <a:pt x="45490" y="169235"/>
                  </a:moveTo>
                  <a:cubicBezTo>
                    <a:pt x="45808" y="169235"/>
                    <a:pt x="46126" y="168599"/>
                    <a:pt x="46126" y="168281"/>
                  </a:cubicBezTo>
                  <a:cubicBezTo>
                    <a:pt x="45808" y="168599"/>
                    <a:pt x="45490" y="168599"/>
                    <a:pt x="45172" y="168599"/>
                  </a:cubicBezTo>
                  <a:cubicBezTo>
                    <a:pt x="44854" y="168599"/>
                    <a:pt x="44854" y="168917"/>
                    <a:pt x="44854" y="168917"/>
                  </a:cubicBezTo>
                  <a:cubicBezTo>
                    <a:pt x="45172" y="169235"/>
                    <a:pt x="45172" y="169235"/>
                    <a:pt x="45490" y="169235"/>
                  </a:cubicBezTo>
                  <a:close/>
                  <a:moveTo>
                    <a:pt x="46763" y="172417"/>
                  </a:moveTo>
                  <a:lnTo>
                    <a:pt x="47399" y="171780"/>
                  </a:lnTo>
                  <a:lnTo>
                    <a:pt x="48035" y="171780"/>
                  </a:lnTo>
                  <a:lnTo>
                    <a:pt x="48035" y="171462"/>
                  </a:lnTo>
                  <a:cubicBezTo>
                    <a:pt x="47717" y="171144"/>
                    <a:pt x="47717" y="171144"/>
                    <a:pt x="47399" y="171144"/>
                  </a:cubicBezTo>
                  <a:cubicBezTo>
                    <a:pt x="47081" y="171144"/>
                    <a:pt x="47081" y="171144"/>
                    <a:pt x="46763" y="171462"/>
                  </a:cubicBezTo>
                  <a:cubicBezTo>
                    <a:pt x="46763" y="171780"/>
                    <a:pt x="46126" y="172098"/>
                    <a:pt x="46126" y="172417"/>
                  </a:cubicBezTo>
                  <a:lnTo>
                    <a:pt x="45490" y="173689"/>
                  </a:lnTo>
                  <a:lnTo>
                    <a:pt x="47399" y="173689"/>
                  </a:lnTo>
                  <a:lnTo>
                    <a:pt x="47717" y="173371"/>
                  </a:lnTo>
                  <a:lnTo>
                    <a:pt x="47399" y="173371"/>
                  </a:lnTo>
                  <a:lnTo>
                    <a:pt x="47399" y="173053"/>
                  </a:lnTo>
                  <a:cubicBezTo>
                    <a:pt x="47081" y="172735"/>
                    <a:pt x="46763" y="172735"/>
                    <a:pt x="46763" y="172417"/>
                  </a:cubicBezTo>
                  <a:close/>
                  <a:moveTo>
                    <a:pt x="45808" y="163509"/>
                  </a:moveTo>
                  <a:lnTo>
                    <a:pt x="46126" y="163191"/>
                  </a:lnTo>
                  <a:lnTo>
                    <a:pt x="45808" y="162873"/>
                  </a:lnTo>
                  <a:lnTo>
                    <a:pt x="45808" y="163509"/>
                  </a:lnTo>
                  <a:close/>
                  <a:moveTo>
                    <a:pt x="47399" y="158738"/>
                  </a:moveTo>
                  <a:cubicBezTo>
                    <a:pt x="48035" y="158738"/>
                    <a:pt x="48353" y="158420"/>
                    <a:pt x="48989" y="157783"/>
                  </a:cubicBezTo>
                  <a:cubicBezTo>
                    <a:pt x="48671" y="157465"/>
                    <a:pt x="48353" y="157465"/>
                    <a:pt x="48035" y="157465"/>
                  </a:cubicBezTo>
                  <a:cubicBezTo>
                    <a:pt x="48035" y="157783"/>
                    <a:pt x="47717" y="158102"/>
                    <a:pt x="47399" y="158738"/>
                  </a:cubicBezTo>
                  <a:close/>
                  <a:moveTo>
                    <a:pt x="49307" y="159374"/>
                  </a:moveTo>
                  <a:cubicBezTo>
                    <a:pt x="48989" y="159374"/>
                    <a:pt x="48989" y="159374"/>
                    <a:pt x="48989" y="159692"/>
                  </a:cubicBezTo>
                  <a:lnTo>
                    <a:pt x="48035" y="160646"/>
                  </a:lnTo>
                  <a:cubicBezTo>
                    <a:pt x="48671" y="160646"/>
                    <a:pt x="49307" y="160646"/>
                    <a:pt x="49944" y="160328"/>
                  </a:cubicBezTo>
                  <a:lnTo>
                    <a:pt x="49944" y="160010"/>
                  </a:lnTo>
                  <a:cubicBezTo>
                    <a:pt x="49944" y="159692"/>
                    <a:pt x="49626" y="159374"/>
                    <a:pt x="49307" y="159374"/>
                  </a:cubicBezTo>
                  <a:close/>
                  <a:moveTo>
                    <a:pt x="49307" y="163191"/>
                  </a:moveTo>
                  <a:lnTo>
                    <a:pt x="49307" y="163509"/>
                  </a:lnTo>
                  <a:cubicBezTo>
                    <a:pt x="49626" y="163509"/>
                    <a:pt x="49626" y="163191"/>
                    <a:pt x="49626" y="163191"/>
                  </a:cubicBezTo>
                  <a:lnTo>
                    <a:pt x="49307" y="163191"/>
                  </a:lnTo>
                  <a:close/>
                  <a:moveTo>
                    <a:pt x="50580" y="170826"/>
                  </a:moveTo>
                  <a:lnTo>
                    <a:pt x="50580" y="171462"/>
                  </a:lnTo>
                  <a:lnTo>
                    <a:pt x="50898" y="171144"/>
                  </a:lnTo>
                  <a:lnTo>
                    <a:pt x="50898" y="170508"/>
                  </a:lnTo>
                  <a:lnTo>
                    <a:pt x="50580" y="170826"/>
                  </a:lnTo>
                  <a:close/>
                  <a:moveTo>
                    <a:pt x="51852" y="169872"/>
                  </a:moveTo>
                  <a:lnTo>
                    <a:pt x="51852" y="169235"/>
                  </a:lnTo>
                  <a:lnTo>
                    <a:pt x="51534" y="168917"/>
                  </a:lnTo>
                  <a:cubicBezTo>
                    <a:pt x="51216" y="169235"/>
                    <a:pt x="50898" y="169872"/>
                    <a:pt x="50898" y="170190"/>
                  </a:cubicBezTo>
                  <a:lnTo>
                    <a:pt x="50898" y="170508"/>
                  </a:lnTo>
                  <a:cubicBezTo>
                    <a:pt x="51534" y="170190"/>
                    <a:pt x="51852" y="170190"/>
                    <a:pt x="51852" y="169872"/>
                  </a:cubicBezTo>
                  <a:close/>
                  <a:moveTo>
                    <a:pt x="51852" y="282483"/>
                  </a:moveTo>
                  <a:lnTo>
                    <a:pt x="51216" y="282483"/>
                  </a:lnTo>
                  <a:lnTo>
                    <a:pt x="50898" y="282801"/>
                  </a:lnTo>
                  <a:cubicBezTo>
                    <a:pt x="51216" y="282801"/>
                    <a:pt x="51216" y="282801"/>
                    <a:pt x="51216" y="283120"/>
                  </a:cubicBezTo>
                  <a:cubicBezTo>
                    <a:pt x="51534" y="282801"/>
                    <a:pt x="51852" y="282801"/>
                    <a:pt x="51852" y="282483"/>
                  </a:cubicBezTo>
                  <a:close/>
                  <a:moveTo>
                    <a:pt x="51216" y="158738"/>
                  </a:moveTo>
                  <a:cubicBezTo>
                    <a:pt x="51216" y="159056"/>
                    <a:pt x="51534" y="159056"/>
                    <a:pt x="51852" y="159056"/>
                  </a:cubicBezTo>
                  <a:cubicBezTo>
                    <a:pt x="51852" y="159056"/>
                    <a:pt x="51852" y="158738"/>
                    <a:pt x="52170" y="158420"/>
                  </a:cubicBezTo>
                  <a:lnTo>
                    <a:pt x="51216" y="158420"/>
                  </a:lnTo>
                  <a:lnTo>
                    <a:pt x="51216" y="158738"/>
                  </a:lnTo>
                  <a:close/>
                  <a:moveTo>
                    <a:pt x="52170" y="156193"/>
                  </a:moveTo>
                  <a:cubicBezTo>
                    <a:pt x="52170" y="156511"/>
                    <a:pt x="52170" y="156829"/>
                    <a:pt x="52488" y="157147"/>
                  </a:cubicBezTo>
                  <a:cubicBezTo>
                    <a:pt x="52807" y="157783"/>
                    <a:pt x="53125" y="157783"/>
                    <a:pt x="53761" y="158102"/>
                  </a:cubicBezTo>
                  <a:cubicBezTo>
                    <a:pt x="54079" y="158102"/>
                    <a:pt x="54079" y="157783"/>
                    <a:pt x="54079" y="157783"/>
                  </a:cubicBezTo>
                  <a:lnTo>
                    <a:pt x="54079" y="157147"/>
                  </a:lnTo>
                  <a:lnTo>
                    <a:pt x="52807" y="155557"/>
                  </a:lnTo>
                  <a:lnTo>
                    <a:pt x="52488" y="155239"/>
                  </a:lnTo>
                  <a:cubicBezTo>
                    <a:pt x="52170" y="155557"/>
                    <a:pt x="52170" y="155875"/>
                    <a:pt x="52170" y="156193"/>
                  </a:cubicBezTo>
                  <a:close/>
                  <a:moveTo>
                    <a:pt x="54397" y="160010"/>
                  </a:moveTo>
                  <a:lnTo>
                    <a:pt x="53761" y="160010"/>
                  </a:lnTo>
                  <a:lnTo>
                    <a:pt x="53761" y="160646"/>
                  </a:lnTo>
                  <a:cubicBezTo>
                    <a:pt x="54397" y="160965"/>
                    <a:pt x="54715" y="161601"/>
                    <a:pt x="55352" y="161601"/>
                  </a:cubicBezTo>
                  <a:lnTo>
                    <a:pt x="55352" y="161919"/>
                  </a:lnTo>
                  <a:cubicBezTo>
                    <a:pt x="55352" y="161919"/>
                    <a:pt x="55670" y="161919"/>
                    <a:pt x="55670" y="161601"/>
                  </a:cubicBezTo>
                  <a:lnTo>
                    <a:pt x="55352" y="161601"/>
                  </a:lnTo>
                  <a:lnTo>
                    <a:pt x="55352" y="160646"/>
                  </a:lnTo>
                  <a:cubicBezTo>
                    <a:pt x="55033" y="160328"/>
                    <a:pt x="54397" y="160328"/>
                    <a:pt x="54397" y="160010"/>
                  </a:cubicBezTo>
                  <a:close/>
                  <a:moveTo>
                    <a:pt x="55352" y="154920"/>
                  </a:moveTo>
                  <a:cubicBezTo>
                    <a:pt x="55352" y="155239"/>
                    <a:pt x="55670" y="155875"/>
                    <a:pt x="55988" y="156193"/>
                  </a:cubicBezTo>
                  <a:lnTo>
                    <a:pt x="55988" y="157147"/>
                  </a:lnTo>
                  <a:lnTo>
                    <a:pt x="56306" y="157465"/>
                  </a:lnTo>
                  <a:cubicBezTo>
                    <a:pt x="57260" y="157465"/>
                    <a:pt x="58215" y="156193"/>
                    <a:pt x="58215" y="155239"/>
                  </a:cubicBezTo>
                  <a:cubicBezTo>
                    <a:pt x="58215" y="154602"/>
                    <a:pt x="58215" y="153966"/>
                    <a:pt x="59169" y="153648"/>
                  </a:cubicBezTo>
                  <a:lnTo>
                    <a:pt x="59805" y="153648"/>
                  </a:lnTo>
                  <a:cubicBezTo>
                    <a:pt x="60123" y="153648"/>
                    <a:pt x="59805" y="153330"/>
                    <a:pt x="59805" y="153012"/>
                  </a:cubicBezTo>
                  <a:cubicBezTo>
                    <a:pt x="59805" y="153012"/>
                    <a:pt x="59487" y="152694"/>
                    <a:pt x="59487" y="153012"/>
                  </a:cubicBezTo>
                  <a:cubicBezTo>
                    <a:pt x="58851" y="153012"/>
                    <a:pt x="58215" y="153330"/>
                    <a:pt x="57897" y="153648"/>
                  </a:cubicBezTo>
                  <a:lnTo>
                    <a:pt x="56942" y="153648"/>
                  </a:lnTo>
                  <a:lnTo>
                    <a:pt x="56306" y="153330"/>
                  </a:lnTo>
                  <a:cubicBezTo>
                    <a:pt x="55988" y="153330"/>
                    <a:pt x="55988" y="153648"/>
                    <a:pt x="55988" y="153648"/>
                  </a:cubicBezTo>
                  <a:cubicBezTo>
                    <a:pt x="55670" y="153966"/>
                    <a:pt x="55352" y="154284"/>
                    <a:pt x="55352" y="154920"/>
                  </a:cubicBezTo>
                  <a:close/>
                  <a:moveTo>
                    <a:pt x="56624" y="265942"/>
                  </a:moveTo>
                  <a:lnTo>
                    <a:pt x="55988" y="265942"/>
                  </a:lnTo>
                  <a:cubicBezTo>
                    <a:pt x="55988" y="265942"/>
                    <a:pt x="55988" y="265623"/>
                    <a:pt x="55670" y="265623"/>
                  </a:cubicBezTo>
                  <a:lnTo>
                    <a:pt x="56306" y="265623"/>
                  </a:lnTo>
                  <a:lnTo>
                    <a:pt x="56624" y="265942"/>
                  </a:lnTo>
                  <a:close/>
                  <a:moveTo>
                    <a:pt x="57260" y="280257"/>
                  </a:moveTo>
                  <a:lnTo>
                    <a:pt x="56942" y="279938"/>
                  </a:lnTo>
                  <a:cubicBezTo>
                    <a:pt x="56624" y="280257"/>
                    <a:pt x="56624" y="280257"/>
                    <a:pt x="56306" y="280257"/>
                  </a:cubicBezTo>
                  <a:cubicBezTo>
                    <a:pt x="56306" y="280257"/>
                    <a:pt x="56306" y="280575"/>
                    <a:pt x="56624" y="280893"/>
                  </a:cubicBezTo>
                  <a:cubicBezTo>
                    <a:pt x="56624" y="280575"/>
                    <a:pt x="56942" y="280257"/>
                    <a:pt x="57260" y="280257"/>
                  </a:cubicBezTo>
                  <a:close/>
                  <a:moveTo>
                    <a:pt x="61078" y="278030"/>
                  </a:moveTo>
                  <a:cubicBezTo>
                    <a:pt x="61078" y="277712"/>
                    <a:pt x="60760" y="277075"/>
                    <a:pt x="60123" y="276757"/>
                  </a:cubicBezTo>
                  <a:cubicBezTo>
                    <a:pt x="59487" y="277075"/>
                    <a:pt x="59169" y="277712"/>
                    <a:pt x="59169" y="278666"/>
                  </a:cubicBezTo>
                  <a:lnTo>
                    <a:pt x="60760" y="278666"/>
                  </a:lnTo>
                  <a:cubicBezTo>
                    <a:pt x="61078" y="278666"/>
                    <a:pt x="61078" y="278348"/>
                    <a:pt x="61078" y="278030"/>
                  </a:cubicBezTo>
                  <a:close/>
                  <a:moveTo>
                    <a:pt x="59805" y="148558"/>
                  </a:moveTo>
                  <a:cubicBezTo>
                    <a:pt x="59805" y="148558"/>
                    <a:pt x="60123" y="148558"/>
                    <a:pt x="60123" y="148240"/>
                  </a:cubicBezTo>
                  <a:cubicBezTo>
                    <a:pt x="60123" y="147922"/>
                    <a:pt x="60123" y="147604"/>
                    <a:pt x="59805" y="147604"/>
                  </a:cubicBezTo>
                  <a:lnTo>
                    <a:pt x="59805" y="148558"/>
                  </a:lnTo>
                  <a:close/>
                  <a:moveTo>
                    <a:pt x="60441" y="151103"/>
                  </a:moveTo>
                  <a:cubicBezTo>
                    <a:pt x="60123" y="151421"/>
                    <a:pt x="60123" y="151739"/>
                    <a:pt x="59805" y="151739"/>
                  </a:cubicBezTo>
                  <a:cubicBezTo>
                    <a:pt x="59805" y="152057"/>
                    <a:pt x="60123" y="152057"/>
                    <a:pt x="60123" y="152057"/>
                  </a:cubicBezTo>
                  <a:cubicBezTo>
                    <a:pt x="60441" y="152057"/>
                    <a:pt x="60441" y="151739"/>
                    <a:pt x="60760" y="151739"/>
                  </a:cubicBezTo>
                  <a:cubicBezTo>
                    <a:pt x="60760" y="151421"/>
                    <a:pt x="60441" y="151421"/>
                    <a:pt x="60441" y="151103"/>
                  </a:cubicBezTo>
                  <a:close/>
                  <a:moveTo>
                    <a:pt x="61396" y="142832"/>
                  </a:moveTo>
                  <a:cubicBezTo>
                    <a:pt x="61396" y="143150"/>
                    <a:pt x="61396" y="143150"/>
                    <a:pt x="61714" y="143468"/>
                  </a:cubicBezTo>
                  <a:lnTo>
                    <a:pt x="61714" y="143150"/>
                  </a:lnTo>
                  <a:cubicBezTo>
                    <a:pt x="61714" y="142832"/>
                    <a:pt x="61714" y="142832"/>
                    <a:pt x="61396" y="142514"/>
                  </a:cubicBezTo>
                  <a:cubicBezTo>
                    <a:pt x="61396" y="142514"/>
                    <a:pt x="61078" y="142832"/>
                    <a:pt x="61396" y="142832"/>
                  </a:cubicBezTo>
                  <a:close/>
                  <a:moveTo>
                    <a:pt x="61396" y="154602"/>
                  </a:moveTo>
                  <a:lnTo>
                    <a:pt x="62032" y="154602"/>
                  </a:lnTo>
                  <a:cubicBezTo>
                    <a:pt x="62350" y="154602"/>
                    <a:pt x="62668" y="154284"/>
                    <a:pt x="62668" y="153966"/>
                  </a:cubicBezTo>
                  <a:lnTo>
                    <a:pt x="62350" y="153648"/>
                  </a:lnTo>
                  <a:cubicBezTo>
                    <a:pt x="61714" y="153648"/>
                    <a:pt x="61396" y="153966"/>
                    <a:pt x="61396" y="154602"/>
                  </a:cubicBezTo>
                  <a:close/>
                  <a:moveTo>
                    <a:pt x="62032" y="149831"/>
                  </a:moveTo>
                  <a:cubicBezTo>
                    <a:pt x="62032" y="150149"/>
                    <a:pt x="62032" y="150149"/>
                    <a:pt x="61714" y="150467"/>
                  </a:cubicBezTo>
                  <a:cubicBezTo>
                    <a:pt x="61714" y="150467"/>
                    <a:pt x="62032" y="150467"/>
                    <a:pt x="62032" y="150785"/>
                  </a:cubicBezTo>
                  <a:cubicBezTo>
                    <a:pt x="62032" y="150467"/>
                    <a:pt x="62032" y="150467"/>
                    <a:pt x="62350" y="150149"/>
                  </a:cubicBezTo>
                  <a:lnTo>
                    <a:pt x="62032" y="149831"/>
                  </a:lnTo>
                  <a:close/>
                  <a:moveTo>
                    <a:pt x="62986" y="153330"/>
                  </a:moveTo>
                  <a:cubicBezTo>
                    <a:pt x="63304" y="153648"/>
                    <a:pt x="63304" y="153648"/>
                    <a:pt x="63622" y="153648"/>
                  </a:cubicBezTo>
                  <a:cubicBezTo>
                    <a:pt x="63622" y="153648"/>
                    <a:pt x="63941" y="153648"/>
                    <a:pt x="63941" y="153330"/>
                  </a:cubicBezTo>
                  <a:lnTo>
                    <a:pt x="63941" y="153012"/>
                  </a:lnTo>
                  <a:lnTo>
                    <a:pt x="63622" y="152694"/>
                  </a:lnTo>
                  <a:cubicBezTo>
                    <a:pt x="63622" y="152694"/>
                    <a:pt x="63304" y="152694"/>
                    <a:pt x="62986" y="153012"/>
                  </a:cubicBezTo>
                  <a:lnTo>
                    <a:pt x="62986" y="153330"/>
                  </a:lnTo>
                  <a:close/>
                  <a:moveTo>
                    <a:pt x="64577" y="140287"/>
                  </a:moveTo>
                  <a:cubicBezTo>
                    <a:pt x="64577" y="140287"/>
                    <a:pt x="64895" y="140287"/>
                    <a:pt x="64895" y="139969"/>
                  </a:cubicBezTo>
                  <a:lnTo>
                    <a:pt x="64577" y="139969"/>
                  </a:lnTo>
                  <a:lnTo>
                    <a:pt x="64577" y="140287"/>
                  </a:lnTo>
                  <a:close/>
                  <a:moveTo>
                    <a:pt x="64577" y="154284"/>
                  </a:moveTo>
                  <a:lnTo>
                    <a:pt x="64895" y="154284"/>
                  </a:lnTo>
                  <a:cubicBezTo>
                    <a:pt x="65213" y="154284"/>
                    <a:pt x="65213" y="154602"/>
                    <a:pt x="65531" y="154602"/>
                  </a:cubicBezTo>
                  <a:cubicBezTo>
                    <a:pt x="65849" y="154920"/>
                    <a:pt x="65849" y="155239"/>
                    <a:pt x="65849" y="155557"/>
                  </a:cubicBezTo>
                  <a:lnTo>
                    <a:pt x="65849" y="156193"/>
                  </a:lnTo>
                  <a:lnTo>
                    <a:pt x="66485" y="156193"/>
                  </a:lnTo>
                  <a:cubicBezTo>
                    <a:pt x="67122" y="155557"/>
                    <a:pt x="67122" y="155239"/>
                    <a:pt x="67122" y="154920"/>
                  </a:cubicBezTo>
                  <a:cubicBezTo>
                    <a:pt x="67122" y="154602"/>
                    <a:pt x="67122" y="154284"/>
                    <a:pt x="66803" y="153966"/>
                  </a:cubicBezTo>
                  <a:cubicBezTo>
                    <a:pt x="66803" y="153966"/>
                    <a:pt x="66485" y="153966"/>
                    <a:pt x="65849" y="153648"/>
                  </a:cubicBezTo>
                  <a:cubicBezTo>
                    <a:pt x="65849" y="153648"/>
                    <a:pt x="65213" y="153966"/>
                    <a:pt x="64895" y="154284"/>
                  </a:cubicBezTo>
                  <a:lnTo>
                    <a:pt x="64895" y="153648"/>
                  </a:lnTo>
                  <a:lnTo>
                    <a:pt x="64577" y="153648"/>
                  </a:lnTo>
                  <a:lnTo>
                    <a:pt x="64577" y="154284"/>
                  </a:lnTo>
                  <a:close/>
                  <a:moveTo>
                    <a:pt x="64895" y="139969"/>
                  </a:moveTo>
                  <a:cubicBezTo>
                    <a:pt x="65213" y="139969"/>
                    <a:pt x="65213" y="139969"/>
                    <a:pt x="65213" y="139651"/>
                  </a:cubicBezTo>
                  <a:lnTo>
                    <a:pt x="64895" y="139969"/>
                  </a:lnTo>
                  <a:close/>
                  <a:moveTo>
                    <a:pt x="64895" y="151421"/>
                  </a:moveTo>
                  <a:lnTo>
                    <a:pt x="64895" y="151739"/>
                  </a:lnTo>
                  <a:lnTo>
                    <a:pt x="65213" y="151739"/>
                  </a:lnTo>
                  <a:cubicBezTo>
                    <a:pt x="65531" y="151421"/>
                    <a:pt x="65531" y="151103"/>
                    <a:pt x="65531" y="150785"/>
                  </a:cubicBezTo>
                  <a:lnTo>
                    <a:pt x="65531" y="150467"/>
                  </a:lnTo>
                  <a:lnTo>
                    <a:pt x="65213" y="150149"/>
                  </a:lnTo>
                  <a:lnTo>
                    <a:pt x="65213" y="150467"/>
                  </a:lnTo>
                  <a:cubicBezTo>
                    <a:pt x="64895" y="150467"/>
                    <a:pt x="64895" y="150785"/>
                    <a:pt x="64895" y="151421"/>
                  </a:cubicBezTo>
                  <a:close/>
                  <a:moveTo>
                    <a:pt x="66803" y="141878"/>
                  </a:moveTo>
                  <a:lnTo>
                    <a:pt x="66485" y="141878"/>
                  </a:lnTo>
                  <a:lnTo>
                    <a:pt x="66485" y="141560"/>
                  </a:lnTo>
                  <a:cubicBezTo>
                    <a:pt x="66167" y="141560"/>
                    <a:pt x="65849" y="141878"/>
                    <a:pt x="65531" y="142196"/>
                  </a:cubicBezTo>
                  <a:cubicBezTo>
                    <a:pt x="65531" y="142196"/>
                    <a:pt x="65213" y="142832"/>
                    <a:pt x="65213" y="143150"/>
                  </a:cubicBezTo>
                  <a:lnTo>
                    <a:pt x="66167" y="143150"/>
                  </a:lnTo>
                  <a:cubicBezTo>
                    <a:pt x="66803" y="142832"/>
                    <a:pt x="66803" y="142196"/>
                    <a:pt x="66803" y="141878"/>
                  </a:cubicBezTo>
                  <a:close/>
                  <a:moveTo>
                    <a:pt x="65849" y="138697"/>
                  </a:moveTo>
                  <a:cubicBezTo>
                    <a:pt x="66803" y="138697"/>
                    <a:pt x="67122" y="138379"/>
                    <a:pt x="67440" y="137742"/>
                  </a:cubicBezTo>
                  <a:cubicBezTo>
                    <a:pt x="66803" y="137742"/>
                    <a:pt x="66167" y="137742"/>
                    <a:pt x="65849" y="138697"/>
                  </a:cubicBezTo>
                  <a:close/>
                  <a:moveTo>
                    <a:pt x="67440" y="137742"/>
                  </a:moveTo>
                  <a:cubicBezTo>
                    <a:pt x="68076" y="137106"/>
                    <a:pt x="69030" y="136788"/>
                    <a:pt x="69667" y="136788"/>
                  </a:cubicBezTo>
                  <a:lnTo>
                    <a:pt x="69349" y="136470"/>
                  </a:lnTo>
                  <a:cubicBezTo>
                    <a:pt x="69349" y="136152"/>
                    <a:pt x="69030" y="136152"/>
                    <a:pt x="68712" y="136152"/>
                  </a:cubicBezTo>
                  <a:cubicBezTo>
                    <a:pt x="68712" y="136152"/>
                    <a:pt x="68394" y="136470"/>
                    <a:pt x="68076" y="136470"/>
                  </a:cubicBezTo>
                  <a:cubicBezTo>
                    <a:pt x="67440" y="136788"/>
                    <a:pt x="67440" y="136788"/>
                    <a:pt x="67440" y="137742"/>
                  </a:cubicBezTo>
                  <a:close/>
                  <a:moveTo>
                    <a:pt x="69985" y="271349"/>
                  </a:moveTo>
                  <a:lnTo>
                    <a:pt x="69667" y="271667"/>
                  </a:lnTo>
                  <a:lnTo>
                    <a:pt x="69985" y="271667"/>
                  </a:lnTo>
                  <a:lnTo>
                    <a:pt x="70621" y="271349"/>
                  </a:lnTo>
                  <a:lnTo>
                    <a:pt x="69985" y="271349"/>
                  </a:lnTo>
                  <a:close/>
                  <a:moveTo>
                    <a:pt x="71575" y="136152"/>
                  </a:moveTo>
                  <a:cubicBezTo>
                    <a:pt x="71575" y="136470"/>
                    <a:pt x="71575" y="136470"/>
                    <a:pt x="71894" y="136788"/>
                  </a:cubicBezTo>
                  <a:lnTo>
                    <a:pt x="72530" y="136788"/>
                  </a:lnTo>
                  <a:cubicBezTo>
                    <a:pt x="73166" y="137424"/>
                    <a:pt x="74120" y="137424"/>
                    <a:pt x="74438" y="138061"/>
                  </a:cubicBezTo>
                  <a:cubicBezTo>
                    <a:pt x="75393" y="138061"/>
                    <a:pt x="75393" y="138061"/>
                    <a:pt x="76029" y="137424"/>
                  </a:cubicBezTo>
                  <a:cubicBezTo>
                    <a:pt x="76347" y="137106"/>
                    <a:pt x="76665" y="137106"/>
                    <a:pt x="76665" y="136788"/>
                  </a:cubicBezTo>
                  <a:lnTo>
                    <a:pt x="76347" y="136470"/>
                  </a:lnTo>
                  <a:cubicBezTo>
                    <a:pt x="75711" y="136152"/>
                    <a:pt x="75393" y="135516"/>
                    <a:pt x="75075" y="135516"/>
                  </a:cubicBezTo>
                  <a:lnTo>
                    <a:pt x="74438" y="135198"/>
                  </a:lnTo>
                  <a:cubicBezTo>
                    <a:pt x="73802" y="135198"/>
                    <a:pt x="73166" y="135516"/>
                    <a:pt x="72530" y="135516"/>
                  </a:cubicBezTo>
                  <a:lnTo>
                    <a:pt x="71894" y="135516"/>
                  </a:lnTo>
                  <a:cubicBezTo>
                    <a:pt x="71575" y="135516"/>
                    <a:pt x="71575" y="135516"/>
                    <a:pt x="71575" y="135834"/>
                  </a:cubicBezTo>
                  <a:lnTo>
                    <a:pt x="71575" y="136152"/>
                  </a:lnTo>
                  <a:close/>
                  <a:moveTo>
                    <a:pt x="71894" y="133289"/>
                  </a:moveTo>
                  <a:cubicBezTo>
                    <a:pt x="72212" y="133289"/>
                    <a:pt x="72212" y="133607"/>
                    <a:pt x="72530" y="133607"/>
                  </a:cubicBezTo>
                  <a:lnTo>
                    <a:pt x="73166" y="132971"/>
                  </a:lnTo>
                  <a:cubicBezTo>
                    <a:pt x="73166" y="132971"/>
                    <a:pt x="73166" y="132653"/>
                    <a:pt x="72848" y="132653"/>
                  </a:cubicBezTo>
                  <a:lnTo>
                    <a:pt x="72530" y="132653"/>
                  </a:lnTo>
                  <a:cubicBezTo>
                    <a:pt x="72212" y="132653"/>
                    <a:pt x="72212" y="132653"/>
                    <a:pt x="71894" y="132971"/>
                  </a:cubicBezTo>
                  <a:lnTo>
                    <a:pt x="71894" y="133289"/>
                  </a:lnTo>
                  <a:close/>
                  <a:moveTo>
                    <a:pt x="77301" y="132016"/>
                  </a:moveTo>
                  <a:cubicBezTo>
                    <a:pt x="77301" y="132335"/>
                    <a:pt x="77619" y="132335"/>
                    <a:pt x="77937" y="132653"/>
                  </a:cubicBezTo>
                  <a:lnTo>
                    <a:pt x="78256" y="132971"/>
                  </a:lnTo>
                  <a:cubicBezTo>
                    <a:pt x="78256" y="132335"/>
                    <a:pt x="78574" y="131698"/>
                    <a:pt x="78892" y="131380"/>
                  </a:cubicBezTo>
                  <a:lnTo>
                    <a:pt x="78892" y="131062"/>
                  </a:lnTo>
                  <a:lnTo>
                    <a:pt x="78256" y="131062"/>
                  </a:lnTo>
                  <a:cubicBezTo>
                    <a:pt x="77619" y="131380"/>
                    <a:pt x="77301" y="131698"/>
                    <a:pt x="77301" y="132016"/>
                  </a:cubicBezTo>
                  <a:close/>
                  <a:moveTo>
                    <a:pt x="79210" y="137106"/>
                  </a:moveTo>
                  <a:cubicBezTo>
                    <a:pt x="78892" y="137106"/>
                    <a:pt x="78574" y="137424"/>
                    <a:pt x="78574" y="137742"/>
                  </a:cubicBezTo>
                  <a:cubicBezTo>
                    <a:pt x="78256" y="138061"/>
                    <a:pt x="78574" y="138061"/>
                    <a:pt x="78574" y="138061"/>
                  </a:cubicBezTo>
                  <a:cubicBezTo>
                    <a:pt x="78574" y="138061"/>
                    <a:pt x="78892" y="138061"/>
                    <a:pt x="79210" y="137742"/>
                  </a:cubicBezTo>
                  <a:lnTo>
                    <a:pt x="79528" y="137742"/>
                  </a:lnTo>
                  <a:lnTo>
                    <a:pt x="79846" y="138061"/>
                  </a:lnTo>
                  <a:cubicBezTo>
                    <a:pt x="79846" y="137742"/>
                    <a:pt x="79846" y="137424"/>
                    <a:pt x="79528" y="137106"/>
                  </a:cubicBezTo>
                  <a:lnTo>
                    <a:pt x="79210" y="137106"/>
                  </a:lnTo>
                  <a:close/>
                  <a:moveTo>
                    <a:pt x="82391" y="132653"/>
                  </a:moveTo>
                  <a:lnTo>
                    <a:pt x="82709" y="132335"/>
                  </a:lnTo>
                  <a:cubicBezTo>
                    <a:pt x="82709" y="131698"/>
                    <a:pt x="83346" y="131380"/>
                    <a:pt x="83346" y="130744"/>
                  </a:cubicBezTo>
                  <a:cubicBezTo>
                    <a:pt x="83982" y="130108"/>
                    <a:pt x="84618" y="129790"/>
                    <a:pt x="85254" y="129471"/>
                  </a:cubicBezTo>
                  <a:cubicBezTo>
                    <a:pt x="86527" y="129471"/>
                    <a:pt x="87481" y="128517"/>
                    <a:pt x="88117" y="127245"/>
                  </a:cubicBezTo>
                  <a:cubicBezTo>
                    <a:pt x="86845" y="127563"/>
                    <a:pt x="85572" y="127881"/>
                    <a:pt x="85254" y="128835"/>
                  </a:cubicBezTo>
                  <a:cubicBezTo>
                    <a:pt x="84936" y="129153"/>
                    <a:pt x="84618" y="129153"/>
                    <a:pt x="84618" y="129153"/>
                  </a:cubicBezTo>
                  <a:cubicBezTo>
                    <a:pt x="83664" y="129153"/>
                    <a:pt x="83346" y="129471"/>
                    <a:pt x="82709" y="130426"/>
                  </a:cubicBezTo>
                  <a:cubicBezTo>
                    <a:pt x="82709" y="130744"/>
                    <a:pt x="82391" y="131380"/>
                    <a:pt x="82073" y="132016"/>
                  </a:cubicBezTo>
                  <a:lnTo>
                    <a:pt x="82391" y="132653"/>
                  </a:lnTo>
                  <a:close/>
                  <a:moveTo>
                    <a:pt x="84300" y="132971"/>
                  </a:moveTo>
                  <a:cubicBezTo>
                    <a:pt x="83664" y="132971"/>
                    <a:pt x="83664" y="132971"/>
                    <a:pt x="83346" y="133607"/>
                  </a:cubicBezTo>
                  <a:cubicBezTo>
                    <a:pt x="83346" y="133925"/>
                    <a:pt x="83346" y="133925"/>
                    <a:pt x="83664" y="134243"/>
                  </a:cubicBezTo>
                  <a:cubicBezTo>
                    <a:pt x="83982" y="134243"/>
                    <a:pt x="84618" y="133925"/>
                    <a:pt x="84618" y="133289"/>
                  </a:cubicBezTo>
                  <a:cubicBezTo>
                    <a:pt x="84618" y="133289"/>
                    <a:pt x="84618" y="132971"/>
                    <a:pt x="84300" y="132971"/>
                  </a:cubicBezTo>
                  <a:close/>
                  <a:moveTo>
                    <a:pt x="87799" y="253853"/>
                  </a:moveTo>
                  <a:cubicBezTo>
                    <a:pt x="87799" y="253535"/>
                    <a:pt x="87481" y="253535"/>
                    <a:pt x="87481" y="253217"/>
                  </a:cubicBezTo>
                  <a:lnTo>
                    <a:pt x="86527" y="253217"/>
                  </a:lnTo>
                  <a:cubicBezTo>
                    <a:pt x="86209" y="253853"/>
                    <a:pt x="86209" y="254489"/>
                    <a:pt x="86209" y="254808"/>
                  </a:cubicBezTo>
                  <a:cubicBezTo>
                    <a:pt x="86209" y="255126"/>
                    <a:pt x="86209" y="255444"/>
                    <a:pt x="86209" y="255762"/>
                  </a:cubicBezTo>
                  <a:lnTo>
                    <a:pt x="86845" y="255762"/>
                  </a:lnTo>
                  <a:cubicBezTo>
                    <a:pt x="87799" y="255762"/>
                    <a:pt x="87799" y="254808"/>
                    <a:pt x="87799" y="253853"/>
                  </a:cubicBezTo>
                  <a:close/>
                  <a:moveTo>
                    <a:pt x="89071" y="250036"/>
                  </a:moveTo>
                  <a:cubicBezTo>
                    <a:pt x="88753" y="250036"/>
                    <a:pt x="88435" y="250354"/>
                    <a:pt x="88435" y="250354"/>
                  </a:cubicBezTo>
                  <a:cubicBezTo>
                    <a:pt x="88117" y="250354"/>
                    <a:pt x="88117" y="250672"/>
                    <a:pt x="88117" y="250672"/>
                  </a:cubicBezTo>
                  <a:lnTo>
                    <a:pt x="88435" y="250672"/>
                  </a:lnTo>
                  <a:cubicBezTo>
                    <a:pt x="88435" y="250672"/>
                    <a:pt x="88753" y="250672"/>
                    <a:pt x="88753" y="250354"/>
                  </a:cubicBezTo>
                  <a:cubicBezTo>
                    <a:pt x="89071" y="250354"/>
                    <a:pt x="89071" y="250354"/>
                    <a:pt x="89071" y="250036"/>
                  </a:cubicBezTo>
                  <a:close/>
                  <a:moveTo>
                    <a:pt x="90344" y="125654"/>
                  </a:moveTo>
                  <a:cubicBezTo>
                    <a:pt x="91298" y="125018"/>
                    <a:pt x="91934" y="124700"/>
                    <a:pt x="92252" y="124700"/>
                  </a:cubicBezTo>
                  <a:cubicBezTo>
                    <a:pt x="92889" y="124700"/>
                    <a:pt x="93207" y="125336"/>
                    <a:pt x="93843" y="126609"/>
                  </a:cubicBezTo>
                  <a:lnTo>
                    <a:pt x="93843" y="126927"/>
                  </a:lnTo>
                  <a:cubicBezTo>
                    <a:pt x="93207" y="126609"/>
                    <a:pt x="92889" y="126609"/>
                    <a:pt x="92571" y="126609"/>
                  </a:cubicBezTo>
                  <a:cubicBezTo>
                    <a:pt x="92252" y="126927"/>
                    <a:pt x="91934" y="126927"/>
                    <a:pt x="91934" y="127563"/>
                  </a:cubicBezTo>
                  <a:lnTo>
                    <a:pt x="91934" y="128199"/>
                  </a:lnTo>
                  <a:cubicBezTo>
                    <a:pt x="92252" y="128199"/>
                    <a:pt x="92571" y="128835"/>
                    <a:pt x="92571" y="129153"/>
                  </a:cubicBezTo>
                  <a:cubicBezTo>
                    <a:pt x="92571" y="129471"/>
                    <a:pt x="92889" y="129471"/>
                    <a:pt x="92889" y="129471"/>
                  </a:cubicBezTo>
                  <a:lnTo>
                    <a:pt x="93207" y="129153"/>
                  </a:lnTo>
                  <a:cubicBezTo>
                    <a:pt x="93525" y="129153"/>
                    <a:pt x="93843" y="128517"/>
                    <a:pt x="94479" y="128199"/>
                  </a:cubicBezTo>
                  <a:cubicBezTo>
                    <a:pt x="95115" y="127881"/>
                    <a:pt x="95434" y="127245"/>
                    <a:pt x="95115" y="127245"/>
                  </a:cubicBezTo>
                  <a:cubicBezTo>
                    <a:pt x="94797" y="126927"/>
                    <a:pt x="94797" y="126609"/>
                    <a:pt x="94797" y="126290"/>
                  </a:cubicBezTo>
                  <a:cubicBezTo>
                    <a:pt x="94797" y="125972"/>
                    <a:pt x="94797" y="125654"/>
                    <a:pt x="95115" y="125336"/>
                  </a:cubicBezTo>
                  <a:cubicBezTo>
                    <a:pt x="95434" y="125018"/>
                    <a:pt x="95752" y="125018"/>
                    <a:pt x="95752" y="124700"/>
                  </a:cubicBezTo>
                  <a:cubicBezTo>
                    <a:pt x="95752" y="124382"/>
                    <a:pt x="95434" y="124064"/>
                    <a:pt x="95434" y="124064"/>
                  </a:cubicBezTo>
                  <a:cubicBezTo>
                    <a:pt x="95115" y="124064"/>
                    <a:pt x="95115" y="123746"/>
                    <a:pt x="95115" y="123746"/>
                  </a:cubicBezTo>
                  <a:cubicBezTo>
                    <a:pt x="95115" y="123427"/>
                    <a:pt x="95434" y="123427"/>
                    <a:pt x="95752" y="123427"/>
                  </a:cubicBezTo>
                  <a:cubicBezTo>
                    <a:pt x="95752" y="122473"/>
                    <a:pt x="96388" y="122155"/>
                    <a:pt x="97343" y="121519"/>
                  </a:cubicBezTo>
                  <a:lnTo>
                    <a:pt x="98297" y="120882"/>
                  </a:lnTo>
                  <a:lnTo>
                    <a:pt x="98297" y="122155"/>
                  </a:lnTo>
                  <a:cubicBezTo>
                    <a:pt x="99251" y="121837"/>
                    <a:pt x="99251" y="121201"/>
                    <a:pt x="99887" y="120882"/>
                  </a:cubicBezTo>
                  <a:cubicBezTo>
                    <a:pt x="100205" y="120564"/>
                    <a:pt x="99251" y="120246"/>
                    <a:pt x="98933" y="119928"/>
                  </a:cubicBezTo>
                  <a:cubicBezTo>
                    <a:pt x="98933" y="119610"/>
                    <a:pt x="98615" y="118974"/>
                    <a:pt x="98297" y="118656"/>
                  </a:cubicBezTo>
                  <a:lnTo>
                    <a:pt x="97661" y="118656"/>
                  </a:lnTo>
                  <a:cubicBezTo>
                    <a:pt x="96706" y="118974"/>
                    <a:pt x="95752" y="119928"/>
                    <a:pt x="94797" y="119928"/>
                  </a:cubicBezTo>
                  <a:lnTo>
                    <a:pt x="94479" y="119928"/>
                  </a:lnTo>
                  <a:cubicBezTo>
                    <a:pt x="94161" y="120564"/>
                    <a:pt x="93525" y="120882"/>
                    <a:pt x="93207" y="121201"/>
                  </a:cubicBezTo>
                  <a:cubicBezTo>
                    <a:pt x="93207" y="121519"/>
                    <a:pt x="92889" y="122155"/>
                    <a:pt x="92571" y="122155"/>
                  </a:cubicBezTo>
                  <a:cubicBezTo>
                    <a:pt x="91616" y="123109"/>
                    <a:pt x="90980" y="124064"/>
                    <a:pt x="90026" y="124700"/>
                  </a:cubicBezTo>
                  <a:lnTo>
                    <a:pt x="90026" y="125654"/>
                  </a:lnTo>
                  <a:lnTo>
                    <a:pt x="90344" y="125654"/>
                  </a:lnTo>
                  <a:close/>
                  <a:moveTo>
                    <a:pt x="90980" y="245582"/>
                  </a:moveTo>
                  <a:lnTo>
                    <a:pt x="90662" y="244946"/>
                  </a:lnTo>
                  <a:cubicBezTo>
                    <a:pt x="90662" y="245264"/>
                    <a:pt x="90662" y="245264"/>
                    <a:pt x="90344" y="245264"/>
                  </a:cubicBezTo>
                  <a:lnTo>
                    <a:pt x="90662" y="245582"/>
                  </a:lnTo>
                  <a:lnTo>
                    <a:pt x="90980" y="245582"/>
                  </a:lnTo>
                  <a:close/>
                  <a:moveTo>
                    <a:pt x="90662" y="247809"/>
                  </a:moveTo>
                  <a:cubicBezTo>
                    <a:pt x="90662" y="247809"/>
                    <a:pt x="90344" y="247491"/>
                    <a:pt x="90344" y="247809"/>
                  </a:cubicBezTo>
                  <a:lnTo>
                    <a:pt x="90662" y="247809"/>
                  </a:lnTo>
                  <a:close/>
                  <a:moveTo>
                    <a:pt x="97979" y="241765"/>
                  </a:moveTo>
                  <a:cubicBezTo>
                    <a:pt x="97979" y="241447"/>
                    <a:pt x="97979" y="241129"/>
                    <a:pt x="97661" y="241129"/>
                  </a:cubicBezTo>
                  <a:cubicBezTo>
                    <a:pt x="97024" y="240493"/>
                    <a:pt x="96706" y="240174"/>
                    <a:pt x="96388" y="240174"/>
                  </a:cubicBezTo>
                  <a:cubicBezTo>
                    <a:pt x="96070" y="240174"/>
                    <a:pt x="95752" y="239856"/>
                    <a:pt x="95752" y="239856"/>
                  </a:cubicBezTo>
                  <a:lnTo>
                    <a:pt x="95434" y="240174"/>
                  </a:lnTo>
                  <a:cubicBezTo>
                    <a:pt x="94161" y="240493"/>
                    <a:pt x="93207" y="240811"/>
                    <a:pt x="92889" y="242401"/>
                  </a:cubicBezTo>
                  <a:cubicBezTo>
                    <a:pt x="92889" y="242719"/>
                    <a:pt x="92252" y="243037"/>
                    <a:pt x="92252" y="243356"/>
                  </a:cubicBezTo>
                  <a:cubicBezTo>
                    <a:pt x="91934" y="243674"/>
                    <a:pt x="91934" y="243674"/>
                    <a:pt x="91934" y="243992"/>
                  </a:cubicBezTo>
                  <a:lnTo>
                    <a:pt x="92252" y="244310"/>
                  </a:lnTo>
                  <a:lnTo>
                    <a:pt x="92889" y="244310"/>
                  </a:lnTo>
                  <a:cubicBezTo>
                    <a:pt x="93525" y="244310"/>
                    <a:pt x="93843" y="243992"/>
                    <a:pt x="93843" y="243356"/>
                  </a:cubicBezTo>
                  <a:lnTo>
                    <a:pt x="93843" y="242719"/>
                  </a:lnTo>
                  <a:cubicBezTo>
                    <a:pt x="94161" y="242083"/>
                    <a:pt x="94161" y="241765"/>
                    <a:pt x="94797" y="241765"/>
                  </a:cubicBezTo>
                  <a:cubicBezTo>
                    <a:pt x="95434" y="242083"/>
                    <a:pt x="96070" y="242401"/>
                    <a:pt x="96706" y="242401"/>
                  </a:cubicBezTo>
                  <a:cubicBezTo>
                    <a:pt x="97024" y="242401"/>
                    <a:pt x="97979" y="242083"/>
                    <a:pt x="97979" y="241765"/>
                  </a:cubicBezTo>
                  <a:close/>
                  <a:moveTo>
                    <a:pt x="96070" y="112930"/>
                  </a:moveTo>
                  <a:cubicBezTo>
                    <a:pt x="96070" y="112612"/>
                    <a:pt x="96070" y="112930"/>
                    <a:pt x="96388" y="112930"/>
                  </a:cubicBezTo>
                  <a:lnTo>
                    <a:pt x="96070" y="113248"/>
                  </a:lnTo>
                  <a:lnTo>
                    <a:pt x="96070" y="112930"/>
                  </a:lnTo>
                  <a:close/>
                  <a:moveTo>
                    <a:pt x="97979" y="238584"/>
                  </a:moveTo>
                  <a:lnTo>
                    <a:pt x="97661" y="238266"/>
                  </a:lnTo>
                  <a:lnTo>
                    <a:pt x="97343" y="238266"/>
                  </a:lnTo>
                  <a:cubicBezTo>
                    <a:pt x="97024" y="238266"/>
                    <a:pt x="97024" y="238584"/>
                    <a:pt x="97024" y="238902"/>
                  </a:cubicBezTo>
                  <a:lnTo>
                    <a:pt x="97661" y="239538"/>
                  </a:lnTo>
                  <a:lnTo>
                    <a:pt x="97661" y="239220"/>
                  </a:lnTo>
                  <a:lnTo>
                    <a:pt x="97979" y="239220"/>
                  </a:lnTo>
                  <a:lnTo>
                    <a:pt x="97979" y="238584"/>
                  </a:lnTo>
                  <a:close/>
                  <a:moveTo>
                    <a:pt x="99251" y="115793"/>
                  </a:moveTo>
                  <a:cubicBezTo>
                    <a:pt x="99251" y="115793"/>
                    <a:pt x="99251" y="115475"/>
                    <a:pt x="99569" y="115475"/>
                  </a:cubicBezTo>
                  <a:cubicBezTo>
                    <a:pt x="99251" y="115475"/>
                    <a:pt x="99251" y="115156"/>
                    <a:pt x="99251" y="115156"/>
                  </a:cubicBezTo>
                  <a:cubicBezTo>
                    <a:pt x="98933" y="115156"/>
                    <a:pt x="98933" y="115475"/>
                    <a:pt x="98615" y="115475"/>
                  </a:cubicBezTo>
                  <a:lnTo>
                    <a:pt x="99251" y="115793"/>
                  </a:lnTo>
                  <a:close/>
                  <a:moveTo>
                    <a:pt x="99887" y="118019"/>
                  </a:moveTo>
                  <a:cubicBezTo>
                    <a:pt x="101160" y="117701"/>
                    <a:pt x="102432" y="116429"/>
                    <a:pt x="103068" y="115156"/>
                  </a:cubicBezTo>
                  <a:lnTo>
                    <a:pt x="102432" y="115156"/>
                  </a:lnTo>
                  <a:cubicBezTo>
                    <a:pt x="101478" y="116111"/>
                    <a:pt x="100205" y="116747"/>
                    <a:pt x="98933" y="118019"/>
                  </a:cubicBezTo>
                  <a:lnTo>
                    <a:pt x="99887" y="118019"/>
                  </a:lnTo>
                  <a:close/>
                  <a:moveTo>
                    <a:pt x="99887" y="233812"/>
                  </a:moveTo>
                  <a:cubicBezTo>
                    <a:pt x="100205" y="233812"/>
                    <a:pt x="100205" y="233812"/>
                    <a:pt x="100524" y="233494"/>
                  </a:cubicBezTo>
                  <a:lnTo>
                    <a:pt x="100205" y="233494"/>
                  </a:lnTo>
                  <a:lnTo>
                    <a:pt x="100205" y="233176"/>
                  </a:lnTo>
                  <a:cubicBezTo>
                    <a:pt x="99887" y="233494"/>
                    <a:pt x="99887" y="233812"/>
                    <a:pt x="99569" y="233812"/>
                  </a:cubicBezTo>
                  <a:lnTo>
                    <a:pt x="99887" y="233812"/>
                  </a:lnTo>
                  <a:close/>
                  <a:moveTo>
                    <a:pt x="101796" y="236039"/>
                  </a:moveTo>
                  <a:lnTo>
                    <a:pt x="99569" y="235085"/>
                  </a:lnTo>
                  <a:lnTo>
                    <a:pt x="99569" y="235403"/>
                  </a:lnTo>
                  <a:cubicBezTo>
                    <a:pt x="99887" y="236039"/>
                    <a:pt x="100524" y="236357"/>
                    <a:pt x="100524" y="236993"/>
                  </a:cubicBezTo>
                  <a:cubicBezTo>
                    <a:pt x="100524" y="236993"/>
                    <a:pt x="101160" y="236993"/>
                    <a:pt x="101478" y="236675"/>
                  </a:cubicBezTo>
                  <a:cubicBezTo>
                    <a:pt x="101796" y="236675"/>
                    <a:pt x="101796" y="236039"/>
                    <a:pt x="101796" y="236039"/>
                  </a:cubicBezTo>
                  <a:close/>
                  <a:moveTo>
                    <a:pt x="100842" y="112293"/>
                  </a:moveTo>
                  <a:cubicBezTo>
                    <a:pt x="101160" y="112612"/>
                    <a:pt x="101478" y="112930"/>
                    <a:pt x="101478" y="113248"/>
                  </a:cubicBezTo>
                  <a:lnTo>
                    <a:pt x="101478" y="113566"/>
                  </a:lnTo>
                  <a:cubicBezTo>
                    <a:pt x="101478" y="113566"/>
                    <a:pt x="101796" y="113566"/>
                    <a:pt x="102114" y="113884"/>
                  </a:cubicBezTo>
                  <a:lnTo>
                    <a:pt x="102432" y="113566"/>
                  </a:lnTo>
                  <a:cubicBezTo>
                    <a:pt x="103068" y="113248"/>
                    <a:pt x="103068" y="112930"/>
                    <a:pt x="103705" y="112293"/>
                  </a:cubicBezTo>
                  <a:lnTo>
                    <a:pt x="103068" y="112293"/>
                  </a:lnTo>
                  <a:cubicBezTo>
                    <a:pt x="102750" y="112293"/>
                    <a:pt x="102432" y="111975"/>
                    <a:pt x="101796" y="111657"/>
                  </a:cubicBezTo>
                  <a:lnTo>
                    <a:pt x="101796" y="111021"/>
                  </a:lnTo>
                  <a:cubicBezTo>
                    <a:pt x="101796" y="111021"/>
                    <a:pt x="101478" y="111021"/>
                    <a:pt x="101160" y="111339"/>
                  </a:cubicBezTo>
                  <a:cubicBezTo>
                    <a:pt x="100842" y="111339"/>
                    <a:pt x="100842" y="111657"/>
                    <a:pt x="100205" y="111657"/>
                  </a:cubicBezTo>
                  <a:cubicBezTo>
                    <a:pt x="100205" y="111975"/>
                    <a:pt x="100205" y="112293"/>
                    <a:pt x="100842" y="112293"/>
                  </a:cubicBezTo>
                  <a:close/>
                  <a:moveTo>
                    <a:pt x="102750" y="109112"/>
                  </a:moveTo>
                  <a:cubicBezTo>
                    <a:pt x="102750" y="109112"/>
                    <a:pt x="102750" y="109430"/>
                    <a:pt x="103068" y="109430"/>
                  </a:cubicBezTo>
                  <a:cubicBezTo>
                    <a:pt x="103705" y="109430"/>
                    <a:pt x="103705" y="109430"/>
                    <a:pt x="104341" y="109112"/>
                  </a:cubicBezTo>
                  <a:cubicBezTo>
                    <a:pt x="104341" y="109112"/>
                    <a:pt x="104341" y="108794"/>
                    <a:pt x="104023" y="108794"/>
                  </a:cubicBezTo>
                  <a:lnTo>
                    <a:pt x="103068" y="108794"/>
                  </a:lnTo>
                  <a:cubicBezTo>
                    <a:pt x="102750" y="108794"/>
                    <a:pt x="102750" y="109112"/>
                    <a:pt x="102750" y="109112"/>
                  </a:cubicBezTo>
                  <a:close/>
                  <a:moveTo>
                    <a:pt x="104023" y="114202"/>
                  </a:moveTo>
                  <a:cubicBezTo>
                    <a:pt x="104023" y="113884"/>
                    <a:pt x="103705" y="114202"/>
                    <a:pt x="103705" y="114202"/>
                  </a:cubicBezTo>
                  <a:cubicBezTo>
                    <a:pt x="103386" y="114202"/>
                    <a:pt x="103386" y="114838"/>
                    <a:pt x="103068" y="115156"/>
                  </a:cubicBezTo>
                  <a:cubicBezTo>
                    <a:pt x="103705" y="115156"/>
                    <a:pt x="104023" y="115156"/>
                    <a:pt x="104341" y="114520"/>
                  </a:cubicBezTo>
                  <a:cubicBezTo>
                    <a:pt x="104341" y="114202"/>
                    <a:pt x="104341" y="114202"/>
                    <a:pt x="104023" y="114202"/>
                  </a:cubicBezTo>
                  <a:close/>
                  <a:moveTo>
                    <a:pt x="105295" y="111339"/>
                  </a:moveTo>
                  <a:lnTo>
                    <a:pt x="105613" y="111339"/>
                  </a:lnTo>
                  <a:cubicBezTo>
                    <a:pt x="105931" y="111339"/>
                    <a:pt x="106249" y="111339"/>
                    <a:pt x="106567" y="111021"/>
                  </a:cubicBezTo>
                  <a:cubicBezTo>
                    <a:pt x="106249" y="110703"/>
                    <a:pt x="105931" y="110385"/>
                    <a:pt x="105931" y="110703"/>
                  </a:cubicBezTo>
                  <a:cubicBezTo>
                    <a:pt x="105613" y="110703"/>
                    <a:pt x="105613" y="111021"/>
                    <a:pt x="105295" y="111339"/>
                  </a:cubicBezTo>
                  <a:close/>
                  <a:moveTo>
                    <a:pt x="105931" y="113566"/>
                  </a:moveTo>
                  <a:cubicBezTo>
                    <a:pt x="105931" y="113566"/>
                    <a:pt x="105931" y="113248"/>
                    <a:pt x="106249" y="113248"/>
                  </a:cubicBezTo>
                  <a:cubicBezTo>
                    <a:pt x="106249" y="113248"/>
                    <a:pt x="106567" y="113566"/>
                    <a:pt x="106886" y="113566"/>
                  </a:cubicBezTo>
                  <a:cubicBezTo>
                    <a:pt x="106567" y="113248"/>
                    <a:pt x="106567" y="112930"/>
                    <a:pt x="106567" y="112930"/>
                  </a:cubicBezTo>
                  <a:cubicBezTo>
                    <a:pt x="106249" y="112930"/>
                    <a:pt x="106249" y="113248"/>
                    <a:pt x="105931" y="113248"/>
                  </a:cubicBezTo>
                  <a:lnTo>
                    <a:pt x="105931" y="113566"/>
                  </a:lnTo>
                  <a:close/>
                  <a:moveTo>
                    <a:pt x="106567" y="117065"/>
                  </a:moveTo>
                  <a:cubicBezTo>
                    <a:pt x="107204" y="117065"/>
                    <a:pt x="107840" y="116747"/>
                    <a:pt x="108158" y="116429"/>
                  </a:cubicBezTo>
                  <a:cubicBezTo>
                    <a:pt x="108158" y="116429"/>
                    <a:pt x="108158" y="116111"/>
                    <a:pt x="107840" y="115793"/>
                  </a:cubicBezTo>
                  <a:cubicBezTo>
                    <a:pt x="107204" y="115793"/>
                    <a:pt x="106886" y="116111"/>
                    <a:pt x="106567" y="117065"/>
                  </a:cubicBezTo>
                  <a:close/>
                  <a:moveTo>
                    <a:pt x="108794" y="108476"/>
                  </a:moveTo>
                  <a:lnTo>
                    <a:pt x="108158" y="109112"/>
                  </a:lnTo>
                  <a:cubicBezTo>
                    <a:pt x="108158" y="109112"/>
                    <a:pt x="107522" y="109430"/>
                    <a:pt x="107840" y="109430"/>
                  </a:cubicBezTo>
                  <a:cubicBezTo>
                    <a:pt x="107840" y="109749"/>
                    <a:pt x="108158" y="109749"/>
                    <a:pt x="108158" y="109749"/>
                  </a:cubicBezTo>
                  <a:cubicBezTo>
                    <a:pt x="108476" y="109749"/>
                    <a:pt x="108476" y="109112"/>
                    <a:pt x="108476" y="109112"/>
                  </a:cubicBezTo>
                  <a:cubicBezTo>
                    <a:pt x="109112" y="109112"/>
                    <a:pt x="109431" y="109112"/>
                    <a:pt x="110067" y="108476"/>
                  </a:cubicBezTo>
                  <a:cubicBezTo>
                    <a:pt x="110385" y="107522"/>
                    <a:pt x="110703" y="107204"/>
                    <a:pt x="111658" y="106886"/>
                  </a:cubicBezTo>
                  <a:lnTo>
                    <a:pt x="111976" y="106567"/>
                  </a:lnTo>
                  <a:cubicBezTo>
                    <a:pt x="111976" y="106567"/>
                    <a:pt x="111976" y="106249"/>
                    <a:pt x="111658" y="106249"/>
                  </a:cubicBezTo>
                  <a:cubicBezTo>
                    <a:pt x="111021" y="106567"/>
                    <a:pt x="110385" y="106567"/>
                    <a:pt x="110067" y="106567"/>
                  </a:cubicBezTo>
                  <a:cubicBezTo>
                    <a:pt x="109749" y="106567"/>
                    <a:pt x="109431" y="106567"/>
                    <a:pt x="109431" y="105931"/>
                  </a:cubicBezTo>
                  <a:cubicBezTo>
                    <a:pt x="109431" y="105613"/>
                    <a:pt x="109112" y="105295"/>
                    <a:pt x="109112" y="105613"/>
                  </a:cubicBezTo>
                  <a:lnTo>
                    <a:pt x="107840" y="106249"/>
                  </a:lnTo>
                  <a:lnTo>
                    <a:pt x="107522" y="106249"/>
                  </a:lnTo>
                  <a:cubicBezTo>
                    <a:pt x="107522" y="106567"/>
                    <a:pt x="107522" y="106886"/>
                    <a:pt x="107840" y="106886"/>
                  </a:cubicBezTo>
                  <a:cubicBezTo>
                    <a:pt x="107840" y="106886"/>
                    <a:pt x="108158" y="106886"/>
                    <a:pt x="108158" y="107204"/>
                  </a:cubicBezTo>
                  <a:cubicBezTo>
                    <a:pt x="108476" y="107522"/>
                    <a:pt x="108794" y="108158"/>
                    <a:pt x="108794" y="108476"/>
                  </a:cubicBezTo>
                  <a:close/>
                  <a:moveTo>
                    <a:pt x="108794" y="117383"/>
                  </a:moveTo>
                  <a:lnTo>
                    <a:pt x="108794" y="117701"/>
                  </a:lnTo>
                  <a:cubicBezTo>
                    <a:pt x="108794" y="117383"/>
                    <a:pt x="108794" y="117383"/>
                    <a:pt x="109112" y="117065"/>
                  </a:cubicBezTo>
                  <a:cubicBezTo>
                    <a:pt x="108794" y="117065"/>
                    <a:pt x="108794" y="117065"/>
                    <a:pt x="108794" y="117383"/>
                  </a:cubicBezTo>
                  <a:close/>
                  <a:moveTo>
                    <a:pt x="109112" y="111339"/>
                  </a:moveTo>
                  <a:lnTo>
                    <a:pt x="109431" y="111339"/>
                  </a:lnTo>
                  <a:lnTo>
                    <a:pt x="110703" y="109430"/>
                  </a:lnTo>
                  <a:lnTo>
                    <a:pt x="110703" y="109112"/>
                  </a:lnTo>
                  <a:lnTo>
                    <a:pt x="110385" y="109112"/>
                  </a:lnTo>
                  <a:cubicBezTo>
                    <a:pt x="109749" y="109430"/>
                    <a:pt x="109431" y="110067"/>
                    <a:pt x="109112" y="111021"/>
                  </a:cubicBezTo>
                  <a:lnTo>
                    <a:pt x="109112" y="111339"/>
                  </a:lnTo>
                  <a:close/>
                  <a:moveTo>
                    <a:pt x="111976" y="109749"/>
                  </a:moveTo>
                  <a:cubicBezTo>
                    <a:pt x="111976" y="109749"/>
                    <a:pt x="111658" y="109749"/>
                    <a:pt x="111658" y="110067"/>
                  </a:cubicBezTo>
                  <a:cubicBezTo>
                    <a:pt x="111339" y="110067"/>
                    <a:pt x="111339" y="110385"/>
                    <a:pt x="111339" y="110703"/>
                  </a:cubicBezTo>
                  <a:lnTo>
                    <a:pt x="112612" y="111975"/>
                  </a:lnTo>
                  <a:cubicBezTo>
                    <a:pt x="112930" y="111975"/>
                    <a:pt x="112612" y="111657"/>
                    <a:pt x="112612" y="111657"/>
                  </a:cubicBezTo>
                  <a:lnTo>
                    <a:pt x="112612" y="110067"/>
                  </a:lnTo>
                  <a:cubicBezTo>
                    <a:pt x="112294" y="109749"/>
                    <a:pt x="111976" y="109749"/>
                    <a:pt x="111976" y="109749"/>
                  </a:cubicBezTo>
                  <a:close/>
                  <a:moveTo>
                    <a:pt x="112612" y="105295"/>
                  </a:moveTo>
                  <a:cubicBezTo>
                    <a:pt x="112930" y="105295"/>
                    <a:pt x="113248" y="105613"/>
                    <a:pt x="113566" y="105613"/>
                  </a:cubicBezTo>
                  <a:cubicBezTo>
                    <a:pt x="113884" y="105613"/>
                    <a:pt x="114202" y="105295"/>
                    <a:pt x="114839" y="104977"/>
                  </a:cubicBezTo>
                  <a:cubicBezTo>
                    <a:pt x="114839" y="104659"/>
                    <a:pt x="115157" y="104341"/>
                    <a:pt x="114839" y="104341"/>
                  </a:cubicBezTo>
                  <a:cubicBezTo>
                    <a:pt x="114839" y="104023"/>
                    <a:pt x="114839" y="104023"/>
                    <a:pt x="114520" y="104023"/>
                  </a:cubicBezTo>
                  <a:cubicBezTo>
                    <a:pt x="114202" y="104341"/>
                    <a:pt x="114202" y="104341"/>
                    <a:pt x="113884" y="104341"/>
                  </a:cubicBezTo>
                  <a:cubicBezTo>
                    <a:pt x="113566" y="104341"/>
                    <a:pt x="113248" y="104341"/>
                    <a:pt x="112612" y="104659"/>
                  </a:cubicBezTo>
                  <a:lnTo>
                    <a:pt x="112612" y="105295"/>
                  </a:lnTo>
                  <a:close/>
                  <a:moveTo>
                    <a:pt x="114839" y="106249"/>
                  </a:moveTo>
                  <a:cubicBezTo>
                    <a:pt x="114520" y="106249"/>
                    <a:pt x="114202" y="106567"/>
                    <a:pt x="113884" y="107204"/>
                  </a:cubicBezTo>
                  <a:lnTo>
                    <a:pt x="113884" y="107522"/>
                  </a:lnTo>
                  <a:cubicBezTo>
                    <a:pt x="113884" y="107840"/>
                    <a:pt x="113884" y="107840"/>
                    <a:pt x="114202" y="107840"/>
                  </a:cubicBezTo>
                  <a:lnTo>
                    <a:pt x="114520" y="107840"/>
                  </a:lnTo>
                  <a:cubicBezTo>
                    <a:pt x="114520" y="107840"/>
                    <a:pt x="114839" y="107840"/>
                    <a:pt x="115157" y="107522"/>
                  </a:cubicBezTo>
                  <a:lnTo>
                    <a:pt x="115157" y="106567"/>
                  </a:lnTo>
                  <a:lnTo>
                    <a:pt x="114839" y="106249"/>
                  </a:lnTo>
                  <a:close/>
                  <a:moveTo>
                    <a:pt x="119928" y="193412"/>
                  </a:moveTo>
                  <a:lnTo>
                    <a:pt x="119292" y="193412"/>
                  </a:lnTo>
                  <a:cubicBezTo>
                    <a:pt x="118656" y="193412"/>
                    <a:pt x="118338" y="193094"/>
                    <a:pt x="118020" y="193094"/>
                  </a:cubicBezTo>
                  <a:lnTo>
                    <a:pt x="118020" y="193730"/>
                  </a:lnTo>
                  <a:cubicBezTo>
                    <a:pt x="118020" y="194048"/>
                    <a:pt x="118656" y="194366"/>
                    <a:pt x="119610" y="194684"/>
                  </a:cubicBezTo>
                  <a:cubicBezTo>
                    <a:pt x="119610" y="194684"/>
                    <a:pt x="119928" y="194048"/>
                    <a:pt x="119928" y="193730"/>
                  </a:cubicBezTo>
                  <a:lnTo>
                    <a:pt x="119928" y="193412"/>
                  </a:lnTo>
                  <a:close/>
                  <a:moveTo>
                    <a:pt x="118974" y="195639"/>
                  </a:moveTo>
                  <a:cubicBezTo>
                    <a:pt x="118338" y="195639"/>
                    <a:pt x="118020" y="196275"/>
                    <a:pt x="118020" y="197229"/>
                  </a:cubicBezTo>
                  <a:lnTo>
                    <a:pt x="118020" y="197547"/>
                  </a:lnTo>
                  <a:lnTo>
                    <a:pt x="118338" y="197547"/>
                  </a:lnTo>
                  <a:lnTo>
                    <a:pt x="119610" y="195639"/>
                  </a:lnTo>
                  <a:lnTo>
                    <a:pt x="118974" y="195639"/>
                  </a:lnTo>
                  <a:close/>
                  <a:moveTo>
                    <a:pt x="122473" y="184187"/>
                  </a:moveTo>
                  <a:cubicBezTo>
                    <a:pt x="122155" y="183869"/>
                    <a:pt x="122155" y="183551"/>
                    <a:pt x="122155" y="182914"/>
                  </a:cubicBezTo>
                  <a:lnTo>
                    <a:pt x="122155" y="182596"/>
                  </a:lnTo>
                  <a:cubicBezTo>
                    <a:pt x="121837" y="182914"/>
                    <a:pt x="121837" y="182914"/>
                    <a:pt x="121519" y="182914"/>
                  </a:cubicBezTo>
                  <a:cubicBezTo>
                    <a:pt x="120882" y="183232"/>
                    <a:pt x="120564" y="183869"/>
                    <a:pt x="120564" y="184505"/>
                  </a:cubicBezTo>
                  <a:cubicBezTo>
                    <a:pt x="120564" y="184823"/>
                    <a:pt x="120882" y="185459"/>
                    <a:pt x="120882" y="185777"/>
                  </a:cubicBezTo>
                  <a:lnTo>
                    <a:pt x="121837" y="186095"/>
                  </a:lnTo>
                  <a:cubicBezTo>
                    <a:pt x="121837" y="185777"/>
                    <a:pt x="122155" y="185141"/>
                    <a:pt x="122473" y="184505"/>
                  </a:cubicBezTo>
                  <a:lnTo>
                    <a:pt x="122473" y="184187"/>
                  </a:lnTo>
                  <a:close/>
                  <a:moveTo>
                    <a:pt x="121837" y="187368"/>
                  </a:moveTo>
                  <a:cubicBezTo>
                    <a:pt x="121519" y="187368"/>
                    <a:pt x="121519" y="187050"/>
                    <a:pt x="121201" y="186732"/>
                  </a:cubicBezTo>
                  <a:cubicBezTo>
                    <a:pt x="121201" y="187050"/>
                    <a:pt x="120882" y="187368"/>
                    <a:pt x="120882" y="187686"/>
                  </a:cubicBezTo>
                  <a:cubicBezTo>
                    <a:pt x="121201" y="187686"/>
                    <a:pt x="121519" y="188004"/>
                    <a:pt x="121519" y="188004"/>
                  </a:cubicBezTo>
                  <a:cubicBezTo>
                    <a:pt x="121519" y="188004"/>
                    <a:pt x="121519" y="187686"/>
                    <a:pt x="121837" y="187368"/>
                  </a:cubicBezTo>
                  <a:close/>
                  <a:moveTo>
                    <a:pt x="122155" y="177506"/>
                  </a:moveTo>
                  <a:lnTo>
                    <a:pt x="122155" y="178143"/>
                  </a:lnTo>
                  <a:lnTo>
                    <a:pt x="122791" y="178143"/>
                  </a:lnTo>
                  <a:lnTo>
                    <a:pt x="122155" y="177506"/>
                  </a:lnTo>
                  <a:close/>
                  <a:moveTo>
                    <a:pt x="122791" y="174643"/>
                  </a:moveTo>
                  <a:cubicBezTo>
                    <a:pt x="122791" y="174643"/>
                    <a:pt x="122791" y="174962"/>
                    <a:pt x="123109" y="174962"/>
                  </a:cubicBezTo>
                  <a:lnTo>
                    <a:pt x="123428" y="174643"/>
                  </a:lnTo>
                  <a:cubicBezTo>
                    <a:pt x="123428" y="174325"/>
                    <a:pt x="123109" y="174325"/>
                    <a:pt x="123109" y="174007"/>
                  </a:cubicBezTo>
                  <a:lnTo>
                    <a:pt x="123109" y="174325"/>
                  </a:lnTo>
                  <a:lnTo>
                    <a:pt x="122791" y="174643"/>
                  </a:lnTo>
                  <a:close/>
                  <a:moveTo>
                    <a:pt x="123428" y="179097"/>
                  </a:moveTo>
                  <a:cubicBezTo>
                    <a:pt x="123428" y="179415"/>
                    <a:pt x="123428" y="179733"/>
                    <a:pt x="123746" y="179733"/>
                  </a:cubicBezTo>
                  <a:lnTo>
                    <a:pt x="124064" y="179733"/>
                  </a:lnTo>
                  <a:lnTo>
                    <a:pt x="124064" y="178143"/>
                  </a:lnTo>
                  <a:cubicBezTo>
                    <a:pt x="123746" y="178461"/>
                    <a:pt x="123428" y="179097"/>
                    <a:pt x="123428" y="179097"/>
                  </a:cubicBezTo>
                  <a:close/>
                  <a:moveTo>
                    <a:pt x="124382" y="181960"/>
                  </a:moveTo>
                  <a:cubicBezTo>
                    <a:pt x="124064" y="181960"/>
                    <a:pt x="124064" y="181642"/>
                    <a:pt x="123746" y="181324"/>
                  </a:cubicBezTo>
                  <a:cubicBezTo>
                    <a:pt x="123428" y="181324"/>
                    <a:pt x="123428" y="181642"/>
                    <a:pt x="123428" y="181642"/>
                  </a:cubicBezTo>
                  <a:lnTo>
                    <a:pt x="123428" y="181960"/>
                  </a:lnTo>
                  <a:cubicBezTo>
                    <a:pt x="123746" y="181960"/>
                    <a:pt x="124064" y="181960"/>
                    <a:pt x="124064" y="182278"/>
                  </a:cubicBezTo>
                  <a:lnTo>
                    <a:pt x="124382" y="181960"/>
                  </a:lnTo>
                  <a:close/>
                  <a:moveTo>
                    <a:pt x="129154" y="160965"/>
                  </a:moveTo>
                  <a:cubicBezTo>
                    <a:pt x="128835" y="160965"/>
                    <a:pt x="128517" y="160646"/>
                    <a:pt x="128199" y="160646"/>
                  </a:cubicBezTo>
                  <a:cubicBezTo>
                    <a:pt x="127881" y="160646"/>
                    <a:pt x="127881" y="160965"/>
                    <a:pt x="127881" y="161601"/>
                  </a:cubicBezTo>
                  <a:cubicBezTo>
                    <a:pt x="127881" y="162237"/>
                    <a:pt x="127563" y="162873"/>
                    <a:pt x="127563" y="163509"/>
                  </a:cubicBezTo>
                  <a:cubicBezTo>
                    <a:pt x="126609" y="163509"/>
                    <a:pt x="126609" y="164146"/>
                    <a:pt x="126609" y="164464"/>
                  </a:cubicBezTo>
                  <a:lnTo>
                    <a:pt x="126609" y="164782"/>
                  </a:lnTo>
                  <a:lnTo>
                    <a:pt x="126927" y="165100"/>
                  </a:lnTo>
                  <a:cubicBezTo>
                    <a:pt x="126927" y="166054"/>
                    <a:pt x="126927" y="166054"/>
                    <a:pt x="125654" y="166372"/>
                  </a:cubicBezTo>
                  <a:cubicBezTo>
                    <a:pt x="125654" y="166372"/>
                    <a:pt x="125336" y="166691"/>
                    <a:pt x="125018" y="166691"/>
                  </a:cubicBezTo>
                  <a:cubicBezTo>
                    <a:pt x="124700" y="167327"/>
                    <a:pt x="124382" y="168281"/>
                    <a:pt x="124382" y="168917"/>
                  </a:cubicBezTo>
                  <a:cubicBezTo>
                    <a:pt x="124382" y="169235"/>
                    <a:pt x="124382" y="169554"/>
                    <a:pt x="124700" y="169872"/>
                  </a:cubicBezTo>
                  <a:cubicBezTo>
                    <a:pt x="125018" y="170826"/>
                    <a:pt x="125018" y="172098"/>
                    <a:pt x="125336" y="172735"/>
                  </a:cubicBezTo>
                  <a:cubicBezTo>
                    <a:pt x="125336" y="173053"/>
                    <a:pt x="125336" y="173053"/>
                    <a:pt x="125654" y="173053"/>
                  </a:cubicBezTo>
                  <a:cubicBezTo>
                    <a:pt x="125654" y="173371"/>
                    <a:pt x="125654" y="173053"/>
                    <a:pt x="125973" y="173053"/>
                  </a:cubicBezTo>
                  <a:lnTo>
                    <a:pt x="126291" y="172735"/>
                  </a:lnTo>
                  <a:cubicBezTo>
                    <a:pt x="126927" y="171462"/>
                    <a:pt x="127563" y="169554"/>
                    <a:pt x="127563" y="167327"/>
                  </a:cubicBezTo>
                  <a:cubicBezTo>
                    <a:pt x="128517" y="165418"/>
                    <a:pt x="128199" y="163828"/>
                    <a:pt x="129154" y="162237"/>
                  </a:cubicBezTo>
                  <a:lnTo>
                    <a:pt x="129154" y="160965"/>
                  </a:lnTo>
                  <a:close/>
                  <a:moveTo>
                    <a:pt x="125973" y="175916"/>
                  </a:moveTo>
                  <a:lnTo>
                    <a:pt x="125336" y="175916"/>
                  </a:lnTo>
                  <a:lnTo>
                    <a:pt x="125654" y="176234"/>
                  </a:lnTo>
                  <a:lnTo>
                    <a:pt x="125973" y="175916"/>
                  </a:lnTo>
                  <a:close/>
                  <a:moveTo>
                    <a:pt x="128517" y="153012"/>
                  </a:moveTo>
                  <a:lnTo>
                    <a:pt x="128517" y="152694"/>
                  </a:lnTo>
                  <a:cubicBezTo>
                    <a:pt x="128517" y="152694"/>
                    <a:pt x="128199" y="152376"/>
                    <a:pt x="128199" y="151739"/>
                  </a:cubicBezTo>
                  <a:cubicBezTo>
                    <a:pt x="128199" y="152057"/>
                    <a:pt x="127881" y="152376"/>
                    <a:pt x="127881" y="152694"/>
                  </a:cubicBezTo>
                  <a:cubicBezTo>
                    <a:pt x="128199" y="153012"/>
                    <a:pt x="128199" y="153012"/>
                    <a:pt x="128517" y="153012"/>
                  </a:cubicBezTo>
                  <a:close/>
                  <a:moveTo>
                    <a:pt x="131698" y="147922"/>
                  </a:moveTo>
                  <a:cubicBezTo>
                    <a:pt x="131698" y="147286"/>
                    <a:pt x="131380" y="146331"/>
                    <a:pt x="131380" y="145377"/>
                  </a:cubicBezTo>
                  <a:cubicBezTo>
                    <a:pt x="131380" y="145059"/>
                    <a:pt x="131062" y="145377"/>
                    <a:pt x="131062" y="145377"/>
                  </a:cubicBezTo>
                  <a:cubicBezTo>
                    <a:pt x="131062" y="146013"/>
                    <a:pt x="131062" y="146331"/>
                    <a:pt x="130744" y="146650"/>
                  </a:cubicBezTo>
                  <a:cubicBezTo>
                    <a:pt x="130426" y="146968"/>
                    <a:pt x="130426" y="146968"/>
                    <a:pt x="130426" y="147286"/>
                  </a:cubicBezTo>
                  <a:cubicBezTo>
                    <a:pt x="130426" y="147604"/>
                    <a:pt x="130426" y="147922"/>
                    <a:pt x="130744" y="148240"/>
                  </a:cubicBezTo>
                  <a:cubicBezTo>
                    <a:pt x="130744" y="148558"/>
                    <a:pt x="130426" y="148558"/>
                    <a:pt x="129790" y="148558"/>
                  </a:cubicBezTo>
                  <a:cubicBezTo>
                    <a:pt x="129790" y="148240"/>
                    <a:pt x="129472" y="148558"/>
                    <a:pt x="128835" y="149194"/>
                  </a:cubicBezTo>
                  <a:cubicBezTo>
                    <a:pt x="128835" y="149831"/>
                    <a:pt x="128517" y="150785"/>
                    <a:pt x="128199" y="151739"/>
                  </a:cubicBezTo>
                  <a:cubicBezTo>
                    <a:pt x="129154" y="151739"/>
                    <a:pt x="129472" y="152376"/>
                    <a:pt x="129790" y="152694"/>
                  </a:cubicBezTo>
                  <a:cubicBezTo>
                    <a:pt x="129790" y="153012"/>
                    <a:pt x="129790" y="153012"/>
                    <a:pt x="130108" y="153012"/>
                  </a:cubicBezTo>
                  <a:lnTo>
                    <a:pt x="130426" y="153012"/>
                  </a:lnTo>
                  <a:cubicBezTo>
                    <a:pt x="130744" y="153012"/>
                    <a:pt x="130744" y="152694"/>
                    <a:pt x="130744" y="152694"/>
                  </a:cubicBezTo>
                  <a:cubicBezTo>
                    <a:pt x="130744" y="152694"/>
                    <a:pt x="130426" y="152376"/>
                    <a:pt x="130426" y="152057"/>
                  </a:cubicBezTo>
                  <a:cubicBezTo>
                    <a:pt x="130426" y="151421"/>
                    <a:pt x="130426" y="150467"/>
                    <a:pt x="130744" y="150149"/>
                  </a:cubicBezTo>
                  <a:lnTo>
                    <a:pt x="131380" y="148876"/>
                  </a:lnTo>
                  <a:cubicBezTo>
                    <a:pt x="131698" y="148558"/>
                    <a:pt x="131698" y="148240"/>
                    <a:pt x="131698" y="147922"/>
                  </a:cubicBezTo>
                  <a:close/>
                  <a:moveTo>
                    <a:pt x="129472" y="129790"/>
                  </a:moveTo>
                  <a:lnTo>
                    <a:pt x="129472" y="130108"/>
                  </a:lnTo>
                  <a:lnTo>
                    <a:pt x="129790" y="130108"/>
                  </a:lnTo>
                  <a:lnTo>
                    <a:pt x="129790" y="129790"/>
                  </a:lnTo>
                  <a:lnTo>
                    <a:pt x="129472" y="129790"/>
                  </a:lnTo>
                  <a:close/>
                  <a:moveTo>
                    <a:pt x="130426" y="154920"/>
                  </a:moveTo>
                  <a:lnTo>
                    <a:pt x="129472" y="154920"/>
                  </a:lnTo>
                  <a:lnTo>
                    <a:pt x="129472" y="155239"/>
                  </a:lnTo>
                  <a:cubicBezTo>
                    <a:pt x="129790" y="155239"/>
                    <a:pt x="130426" y="155239"/>
                    <a:pt x="130426" y="154920"/>
                  </a:cubicBezTo>
                  <a:close/>
                  <a:moveTo>
                    <a:pt x="130108" y="145059"/>
                  </a:moveTo>
                  <a:lnTo>
                    <a:pt x="130108" y="145377"/>
                  </a:lnTo>
                  <a:cubicBezTo>
                    <a:pt x="130426" y="145377"/>
                    <a:pt x="130426" y="145059"/>
                    <a:pt x="130744" y="144741"/>
                  </a:cubicBezTo>
                  <a:lnTo>
                    <a:pt x="130426" y="144423"/>
                  </a:lnTo>
                  <a:cubicBezTo>
                    <a:pt x="130108" y="144423"/>
                    <a:pt x="130108" y="144741"/>
                    <a:pt x="130108" y="145059"/>
                  </a:cubicBezTo>
                  <a:close/>
                  <a:moveTo>
                    <a:pt x="133289" y="53761"/>
                  </a:moveTo>
                  <a:cubicBezTo>
                    <a:pt x="133289" y="53443"/>
                    <a:pt x="133289" y="53125"/>
                    <a:pt x="133607" y="52488"/>
                  </a:cubicBezTo>
                  <a:cubicBezTo>
                    <a:pt x="133925" y="52170"/>
                    <a:pt x="134243" y="52170"/>
                    <a:pt x="134243" y="51852"/>
                  </a:cubicBezTo>
                  <a:cubicBezTo>
                    <a:pt x="134243" y="51852"/>
                    <a:pt x="133925" y="51534"/>
                    <a:pt x="133925" y="51216"/>
                  </a:cubicBezTo>
                  <a:cubicBezTo>
                    <a:pt x="132971" y="50898"/>
                    <a:pt x="132653" y="49944"/>
                    <a:pt x="132653" y="48989"/>
                  </a:cubicBezTo>
                  <a:lnTo>
                    <a:pt x="132653" y="46762"/>
                  </a:lnTo>
                  <a:cubicBezTo>
                    <a:pt x="132653" y="45808"/>
                    <a:pt x="132653" y="44854"/>
                    <a:pt x="132335" y="44854"/>
                  </a:cubicBezTo>
                  <a:lnTo>
                    <a:pt x="132971" y="42945"/>
                  </a:lnTo>
                  <a:cubicBezTo>
                    <a:pt x="132971" y="42309"/>
                    <a:pt x="132653" y="42309"/>
                    <a:pt x="132016" y="41991"/>
                  </a:cubicBezTo>
                  <a:cubicBezTo>
                    <a:pt x="131698" y="41991"/>
                    <a:pt x="131380" y="42309"/>
                    <a:pt x="131062" y="42945"/>
                  </a:cubicBezTo>
                  <a:cubicBezTo>
                    <a:pt x="131062" y="42945"/>
                    <a:pt x="130744" y="43581"/>
                    <a:pt x="130426" y="43899"/>
                  </a:cubicBezTo>
                  <a:cubicBezTo>
                    <a:pt x="130426" y="44854"/>
                    <a:pt x="130744" y="45172"/>
                    <a:pt x="131062" y="45808"/>
                  </a:cubicBezTo>
                  <a:cubicBezTo>
                    <a:pt x="131380" y="46126"/>
                    <a:pt x="131698" y="46762"/>
                    <a:pt x="131698" y="46762"/>
                  </a:cubicBezTo>
                  <a:lnTo>
                    <a:pt x="131698" y="51534"/>
                  </a:lnTo>
                  <a:cubicBezTo>
                    <a:pt x="131698" y="51852"/>
                    <a:pt x="132016" y="52170"/>
                    <a:pt x="132016" y="52488"/>
                  </a:cubicBezTo>
                  <a:cubicBezTo>
                    <a:pt x="132016" y="52807"/>
                    <a:pt x="131698" y="52807"/>
                    <a:pt x="131698" y="53125"/>
                  </a:cubicBezTo>
                  <a:cubicBezTo>
                    <a:pt x="131380" y="53125"/>
                    <a:pt x="131062" y="53443"/>
                    <a:pt x="131062" y="53443"/>
                  </a:cubicBezTo>
                  <a:lnTo>
                    <a:pt x="131380" y="53761"/>
                  </a:lnTo>
                  <a:cubicBezTo>
                    <a:pt x="131698" y="55033"/>
                    <a:pt x="131380" y="56306"/>
                    <a:pt x="132335" y="57578"/>
                  </a:cubicBezTo>
                  <a:cubicBezTo>
                    <a:pt x="132653" y="58214"/>
                    <a:pt x="132653" y="58533"/>
                    <a:pt x="132653" y="59169"/>
                  </a:cubicBezTo>
                  <a:cubicBezTo>
                    <a:pt x="133289" y="58214"/>
                    <a:pt x="133289" y="56942"/>
                    <a:pt x="133289" y="55670"/>
                  </a:cubicBezTo>
                  <a:lnTo>
                    <a:pt x="133289" y="53761"/>
                  </a:lnTo>
                  <a:close/>
                  <a:moveTo>
                    <a:pt x="132653" y="134879"/>
                  </a:moveTo>
                  <a:cubicBezTo>
                    <a:pt x="132653" y="134561"/>
                    <a:pt x="132335" y="134561"/>
                    <a:pt x="132335" y="134243"/>
                  </a:cubicBezTo>
                  <a:cubicBezTo>
                    <a:pt x="132335" y="133607"/>
                    <a:pt x="132335" y="133289"/>
                    <a:pt x="132016" y="132971"/>
                  </a:cubicBezTo>
                  <a:cubicBezTo>
                    <a:pt x="131698" y="132971"/>
                    <a:pt x="131698" y="132653"/>
                    <a:pt x="131698" y="132653"/>
                  </a:cubicBezTo>
                  <a:lnTo>
                    <a:pt x="131380" y="132971"/>
                  </a:lnTo>
                  <a:cubicBezTo>
                    <a:pt x="131062" y="133289"/>
                    <a:pt x="130744" y="134561"/>
                    <a:pt x="130744" y="135516"/>
                  </a:cubicBezTo>
                  <a:cubicBezTo>
                    <a:pt x="130744" y="135834"/>
                    <a:pt x="131062" y="135834"/>
                    <a:pt x="131380" y="136470"/>
                  </a:cubicBezTo>
                  <a:cubicBezTo>
                    <a:pt x="131698" y="136788"/>
                    <a:pt x="131698" y="136788"/>
                    <a:pt x="132016" y="136788"/>
                  </a:cubicBezTo>
                  <a:lnTo>
                    <a:pt x="132335" y="136788"/>
                  </a:lnTo>
                  <a:cubicBezTo>
                    <a:pt x="132653" y="136788"/>
                    <a:pt x="132653" y="136788"/>
                    <a:pt x="132653" y="136470"/>
                  </a:cubicBezTo>
                  <a:cubicBezTo>
                    <a:pt x="132653" y="136152"/>
                    <a:pt x="132335" y="135516"/>
                    <a:pt x="132335" y="135516"/>
                  </a:cubicBezTo>
                  <a:cubicBezTo>
                    <a:pt x="132335" y="135516"/>
                    <a:pt x="132653" y="135198"/>
                    <a:pt x="132653" y="134879"/>
                  </a:cubicBezTo>
                  <a:close/>
                  <a:moveTo>
                    <a:pt x="131062" y="172735"/>
                  </a:moveTo>
                  <a:lnTo>
                    <a:pt x="131062" y="172417"/>
                  </a:lnTo>
                  <a:lnTo>
                    <a:pt x="131380" y="172417"/>
                  </a:lnTo>
                  <a:cubicBezTo>
                    <a:pt x="131380" y="172417"/>
                    <a:pt x="131380" y="172735"/>
                    <a:pt x="131062" y="172735"/>
                  </a:cubicBezTo>
                  <a:close/>
                  <a:moveTo>
                    <a:pt x="132016" y="126290"/>
                  </a:moveTo>
                  <a:cubicBezTo>
                    <a:pt x="132971" y="125018"/>
                    <a:pt x="132971" y="123746"/>
                    <a:pt x="133607" y="123109"/>
                  </a:cubicBezTo>
                  <a:lnTo>
                    <a:pt x="133607" y="122473"/>
                  </a:lnTo>
                  <a:cubicBezTo>
                    <a:pt x="133607" y="121837"/>
                    <a:pt x="132653" y="120882"/>
                    <a:pt x="132335" y="120882"/>
                  </a:cubicBezTo>
                  <a:cubicBezTo>
                    <a:pt x="131698" y="120882"/>
                    <a:pt x="131698" y="121519"/>
                    <a:pt x="131698" y="121519"/>
                  </a:cubicBezTo>
                  <a:cubicBezTo>
                    <a:pt x="131698" y="122473"/>
                    <a:pt x="131380" y="123427"/>
                    <a:pt x="131380" y="124064"/>
                  </a:cubicBezTo>
                  <a:lnTo>
                    <a:pt x="131380" y="131698"/>
                  </a:lnTo>
                  <a:cubicBezTo>
                    <a:pt x="132016" y="131062"/>
                    <a:pt x="132016" y="130744"/>
                    <a:pt x="132016" y="130108"/>
                  </a:cubicBezTo>
                  <a:cubicBezTo>
                    <a:pt x="132016" y="129790"/>
                    <a:pt x="132335" y="129471"/>
                    <a:pt x="133289" y="129471"/>
                  </a:cubicBezTo>
                  <a:cubicBezTo>
                    <a:pt x="133289" y="129471"/>
                    <a:pt x="133607" y="129153"/>
                    <a:pt x="133607" y="128835"/>
                  </a:cubicBezTo>
                  <a:cubicBezTo>
                    <a:pt x="133925" y="128199"/>
                    <a:pt x="133925" y="127563"/>
                    <a:pt x="133925" y="126609"/>
                  </a:cubicBezTo>
                  <a:lnTo>
                    <a:pt x="133289" y="126609"/>
                  </a:lnTo>
                  <a:lnTo>
                    <a:pt x="132971" y="126290"/>
                  </a:lnTo>
                  <a:cubicBezTo>
                    <a:pt x="132653" y="126609"/>
                    <a:pt x="132335" y="126609"/>
                    <a:pt x="132335" y="126609"/>
                  </a:cubicBezTo>
                  <a:lnTo>
                    <a:pt x="132335" y="126290"/>
                  </a:lnTo>
                  <a:lnTo>
                    <a:pt x="132016" y="126290"/>
                  </a:lnTo>
                  <a:close/>
                  <a:moveTo>
                    <a:pt x="134561" y="75074"/>
                  </a:moveTo>
                  <a:lnTo>
                    <a:pt x="134561" y="74756"/>
                  </a:lnTo>
                  <a:lnTo>
                    <a:pt x="134243" y="74438"/>
                  </a:lnTo>
                  <a:cubicBezTo>
                    <a:pt x="134243" y="74756"/>
                    <a:pt x="133925" y="74756"/>
                    <a:pt x="133925" y="75074"/>
                  </a:cubicBezTo>
                  <a:lnTo>
                    <a:pt x="133925" y="76665"/>
                  </a:lnTo>
                  <a:cubicBezTo>
                    <a:pt x="133925" y="76665"/>
                    <a:pt x="133607" y="76983"/>
                    <a:pt x="133289" y="76983"/>
                  </a:cubicBezTo>
                  <a:lnTo>
                    <a:pt x="133289" y="76665"/>
                  </a:lnTo>
                  <a:cubicBezTo>
                    <a:pt x="133289" y="75392"/>
                    <a:pt x="133289" y="74120"/>
                    <a:pt x="132971" y="73166"/>
                  </a:cubicBezTo>
                  <a:cubicBezTo>
                    <a:pt x="132971" y="73166"/>
                    <a:pt x="133289" y="73166"/>
                    <a:pt x="133289" y="72848"/>
                  </a:cubicBezTo>
                  <a:lnTo>
                    <a:pt x="132971" y="72530"/>
                  </a:lnTo>
                  <a:cubicBezTo>
                    <a:pt x="132335" y="72530"/>
                    <a:pt x="132653" y="75074"/>
                    <a:pt x="131698" y="76665"/>
                  </a:cubicBezTo>
                  <a:lnTo>
                    <a:pt x="131698" y="77301"/>
                  </a:lnTo>
                  <a:cubicBezTo>
                    <a:pt x="132335" y="78256"/>
                    <a:pt x="132653" y="80482"/>
                    <a:pt x="133607" y="80482"/>
                  </a:cubicBezTo>
                  <a:lnTo>
                    <a:pt x="133925" y="80482"/>
                  </a:lnTo>
                  <a:lnTo>
                    <a:pt x="133925" y="78892"/>
                  </a:lnTo>
                  <a:cubicBezTo>
                    <a:pt x="133925" y="78574"/>
                    <a:pt x="133925" y="77937"/>
                    <a:pt x="134243" y="77301"/>
                  </a:cubicBezTo>
                  <a:cubicBezTo>
                    <a:pt x="134561" y="76983"/>
                    <a:pt x="134561" y="76029"/>
                    <a:pt x="134561" y="75074"/>
                  </a:cubicBezTo>
                  <a:close/>
                  <a:moveTo>
                    <a:pt x="132653" y="109749"/>
                  </a:moveTo>
                  <a:lnTo>
                    <a:pt x="131698" y="109749"/>
                  </a:lnTo>
                  <a:lnTo>
                    <a:pt x="131698" y="110703"/>
                  </a:lnTo>
                  <a:cubicBezTo>
                    <a:pt x="132335" y="111657"/>
                    <a:pt x="132335" y="112612"/>
                    <a:pt x="132335" y="112930"/>
                  </a:cubicBezTo>
                  <a:lnTo>
                    <a:pt x="131698" y="114520"/>
                  </a:lnTo>
                  <a:cubicBezTo>
                    <a:pt x="131698" y="114838"/>
                    <a:pt x="132016" y="115793"/>
                    <a:pt x="132335" y="116111"/>
                  </a:cubicBezTo>
                  <a:lnTo>
                    <a:pt x="132653" y="116429"/>
                  </a:lnTo>
                  <a:lnTo>
                    <a:pt x="133289" y="116429"/>
                  </a:lnTo>
                  <a:lnTo>
                    <a:pt x="133289" y="115793"/>
                  </a:lnTo>
                  <a:cubicBezTo>
                    <a:pt x="132971" y="114838"/>
                    <a:pt x="132971" y="113884"/>
                    <a:pt x="132971" y="113248"/>
                  </a:cubicBezTo>
                  <a:cubicBezTo>
                    <a:pt x="132971" y="112930"/>
                    <a:pt x="133289" y="112930"/>
                    <a:pt x="133289" y="112293"/>
                  </a:cubicBezTo>
                  <a:lnTo>
                    <a:pt x="133289" y="111657"/>
                  </a:lnTo>
                  <a:cubicBezTo>
                    <a:pt x="132971" y="111339"/>
                    <a:pt x="132971" y="110703"/>
                    <a:pt x="132971" y="110703"/>
                  </a:cubicBezTo>
                  <a:cubicBezTo>
                    <a:pt x="132971" y="110067"/>
                    <a:pt x="132971" y="109749"/>
                    <a:pt x="132653" y="109749"/>
                  </a:cubicBezTo>
                  <a:close/>
                  <a:moveTo>
                    <a:pt x="132016" y="119610"/>
                  </a:moveTo>
                  <a:cubicBezTo>
                    <a:pt x="132016" y="119292"/>
                    <a:pt x="132335" y="119292"/>
                    <a:pt x="132335" y="119292"/>
                  </a:cubicBezTo>
                  <a:lnTo>
                    <a:pt x="132335" y="118974"/>
                  </a:lnTo>
                  <a:lnTo>
                    <a:pt x="131698" y="118974"/>
                  </a:lnTo>
                  <a:cubicBezTo>
                    <a:pt x="131698" y="119292"/>
                    <a:pt x="131698" y="119292"/>
                    <a:pt x="132016" y="119610"/>
                  </a:cubicBezTo>
                  <a:close/>
                  <a:moveTo>
                    <a:pt x="133289" y="103068"/>
                  </a:moveTo>
                  <a:lnTo>
                    <a:pt x="132653" y="102750"/>
                  </a:lnTo>
                  <a:cubicBezTo>
                    <a:pt x="132653" y="103068"/>
                    <a:pt x="132971" y="103068"/>
                    <a:pt x="132971" y="103068"/>
                  </a:cubicBezTo>
                  <a:lnTo>
                    <a:pt x="132653" y="103386"/>
                  </a:lnTo>
                  <a:lnTo>
                    <a:pt x="132971" y="103386"/>
                  </a:lnTo>
                  <a:cubicBezTo>
                    <a:pt x="132971" y="103386"/>
                    <a:pt x="132971" y="103068"/>
                    <a:pt x="133289" y="103068"/>
                  </a:cubicBezTo>
                  <a:close/>
                  <a:moveTo>
                    <a:pt x="134561" y="125336"/>
                  </a:moveTo>
                  <a:lnTo>
                    <a:pt x="134561" y="124700"/>
                  </a:lnTo>
                  <a:lnTo>
                    <a:pt x="134243" y="124700"/>
                  </a:lnTo>
                  <a:cubicBezTo>
                    <a:pt x="134243" y="125018"/>
                    <a:pt x="134561" y="125018"/>
                    <a:pt x="134561" y="125336"/>
                  </a:cubicBezTo>
                  <a:close/>
                  <a:moveTo>
                    <a:pt x="136152" y="78892"/>
                  </a:moveTo>
                  <a:cubicBezTo>
                    <a:pt x="136152" y="78574"/>
                    <a:pt x="135834" y="78256"/>
                    <a:pt x="135516" y="78256"/>
                  </a:cubicBezTo>
                  <a:cubicBezTo>
                    <a:pt x="135516" y="78892"/>
                    <a:pt x="135198" y="79210"/>
                    <a:pt x="135198" y="79528"/>
                  </a:cubicBezTo>
                  <a:cubicBezTo>
                    <a:pt x="135198" y="80164"/>
                    <a:pt x="134561" y="80800"/>
                    <a:pt x="134561" y="81119"/>
                  </a:cubicBezTo>
                  <a:cubicBezTo>
                    <a:pt x="134561" y="81437"/>
                    <a:pt x="134561" y="81437"/>
                    <a:pt x="134879" y="81437"/>
                  </a:cubicBezTo>
                  <a:lnTo>
                    <a:pt x="135198" y="81437"/>
                  </a:lnTo>
                  <a:lnTo>
                    <a:pt x="135198" y="81119"/>
                  </a:lnTo>
                  <a:cubicBezTo>
                    <a:pt x="135198" y="80800"/>
                    <a:pt x="135198" y="80482"/>
                    <a:pt x="135516" y="79846"/>
                  </a:cubicBezTo>
                  <a:cubicBezTo>
                    <a:pt x="135516" y="79210"/>
                    <a:pt x="135834" y="79210"/>
                    <a:pt x="136152" y="78892"/>
                  </a:cubicBezTo>
                  <a:close/>
                  <a:moveTo>
                    <a:pt x="135516" y="45490"/>
                  </a:moveTo>
                  <a:lnTo>
                    <a:pt x="135198" y="45172"/>
                  </a:lnTo>
                  <a:lnTo>
                    <a:pt x="134879" y="45172"/>
                  </a:lnTo>
                  <a:cubicBezTo>
                    <a:pt x="134879" y="45490"/>
                    <a:pt x="135198" y="45490"/>
                    <a:pt x="135198" y="45808"/>
                  </a:cubicBezTo>
                  <a:cubicBezTo>
                    <a:pt x="135516" y="45808"/>
                    <a:pt x="135516" y="45490"/>
                    <a:pt x="135516" y="45490"/>
                  </a:cubicBezTo>
                  <a:close/>
                  <a:moveTo>
                    <a:pt x="135834" y="49625"/>
                  </a:moveTo>
                  <a:lnTo>
                    <a:pt x="135198" y="49625"/>
                  </a:lnTo>
                  <a:lnTo>
                    <a:pt x="135198" y="50262"/>
                  </a:lnTo>
                  <a:lnTo>
                    <a:pt x="135834" y="49625"/>
                  </a:lnTo>
                  <a:close/>
                  <a:moveTo>
                    <a:pt x="138379" y="89389"/>
                  </a:moveTo>
                  <a:lnTo>
                    <a:pt x="138061" y="89389"/>
                  </a:lnTo>
                  <a:cubicBezTo>
                    <a:pt x="137743" y="89708"/>
                    <a:pt x="137743" y="89708"/>
                    <a:pt x="137743" y="90026"/>
                  </a:cubicBezTo>
                  <a:lnTo>
                    <a:pt x="137743" y="90344"/>
                  </a:lnTo>
                  <a:lnTo>
                    <a:pt x="138061" y="90344"/>
                  </a:lnTo>
                  <a:cubicBezTo>
                    <a:pt x="138379" y="90026"/>
                    <a:pt x="138379" y="89708"/>
                    <a:pt x="138379" y="89389"/>
                  </a:cubicBezTo>
                  <a:close/>
                </a:path>
              </a:pathLst>
            </a:custGeom>
            <a:solidFill>
              <a:srgbClr val="000000"/>
            </a:solidFill>
            <a:ln w="63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  <p:pic>
        <p:nvPicPr>
          <p:cNvPr id="122" name="Picture 121">
            <a:extLst>
              <a:ext uri="{FF2B5EF4-FFF2-40B4-BE49-F238E27FC236}">
                <a16:creationId xmlns:a16="http://schemas.microsoft.com/office/drawing/2014/main" id="{DF874244-9693-4380-92B0-7F79C9359E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061" y="1180925"/>
            <a:ext cx="7866450" cy="567707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FFDAFCE-2C69-487A-8641-F706F09CAC25}"/>
              </a:ext>
            </a:extLst>
          </p:cNvPr>
          <p:cNvSpPr/>
          <p:nvPr/>
        </p:nvSpPr>
        <p:spPr>
          <a:xfrm>
            <a:off x="2483140" y="4896899"/>
            <a:ext cx="897622" cy="1201897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23" name="Title 2">
            <a:extLst>
              <a:ext uri="{FF2B5EF4-FFF2-40B4-BE49-F238E27FC236}">
                <a16:creationId xmlns:a16="http://schemas.microsoft.com/office/drawing/2014/main" id="{5BD20BB0-3041-4C30-A0C4-0D7770BD51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743" y="68482"/>
            <a:ext cx="7483352" cy="2224886"/>
          </a:xfrm>
        </p:spPr>
        <p:txBody>
          <a:bodyPr/>
          <a:lstStyle/>
          <a:p>
            <a:r>
              <a:rPr lang="da-DK" sz="4800" dirty="0" err="1">
                <a:solidFill>
                  <a:srgbClr val="8AA299"/>
                </a:solidFill>
              </a:rPr>
              <a:t>Powering</a:t>
            </a:r>
            <a:r>
              <a:rPr lang="da-DK" sz="4800" dirty="0">
                <a:solidFill>
                  <a:srgbClr val="8AA299"/>
                </a:solidFill>
              </a:rPr>
              <a:t> up the player with a </a:t>
            </a:r>
            <a:r>
              <a:rPr lang="da-DK" sz="4800" dirty="0" err="1">
                <a:solidFill>
                  <a:srgbClr val="8AA299"/>
                </a:solidFill>
              </a:rPr>
              <a:t>strategy</a:t>
            </a:r>
            <a:r>
              <a:rPr lang="da-DK" sz="4800" dirty="0">
                <a:solidFill>
                  <a:srgbClr val="8AA299"/>
                </a:solidFill>
              </a:rPr>
              <a:t> pattern</a:t>
            </a:r>
            <a:endParaRPr lang="da-DK" sz="4800" dirty="0"/>
          </a:p>
        </p:txBody>
      </p:sp>
    </p:spTree>
    <p:extLst>
      <p:ext uri="{BB962C8B-B14F-4D97-AF65-F5344CB8AC3E}">
        <p14:creationId xmlns:p14="http://schemas.microsoft.com/office/powerpoint/2010/main" val="629161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C2FFBC-A3BD-4E49-ADCC-51DEF046F7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26890-A6E3-4403-8B5F-B63FA3CC0E22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C4F5B2-E045-4DF6-905B-83834701E6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67C62E9-A657-41B3-B9B5-7EE60EF8495E}"/>
              </a:ext>
            </a:extLst>
          </p:cNvPr>
          <p:cNvSpPr/>
          <p:nvPr/>
        </p:nvSpPr>
        <p:spPr>
          <a:xfrm>
            <a:off x="8775319" y="181859"/>
            <a:ext cx="1560352" cy="1417739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F7EE779-2772-4CF9-A22F-764C9CDB252B}"/>
              </a:ext>
            </a:extLst>
          </p:cNvPr>
          <p:cNvSpPr/>
          <p:nvPr/>
        </p:nvSpPr>
        <p:spPr>
          <a:xfrm>
            <a:off x="8899144" y="5858759"/>
            <a:ext cx="1560352" cy="1417739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AAD1EF2-841F-4796-A460-EF16A1B517FE}"/>
              </a:ext>
            </a:extLst>
          </p:cNvPr>
          <p:cNvSpPr/>
          <p:nvPr/>
        </p:nvSpPr>
        <p:spPr>
          <a:xfrm>
            <a:off x="-242209" y="1270206"/>
            <a:ext cx="8667750" cy="586740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FFDAFCE-2C69-487A-8641-F706F09CAC25}"/>
              </a:ext>
            </a:extLst>
          </p:cNvPr>
          <p:cNvSpPr/>
          <p:nvPr/>
        </p:nvSpPr>
        <p:spPr>
          <a:xfrm>
            <a:off x="2483140" y="4896899"/>
            <a:ext cx="897622" cy="1201897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23" name="Title 2">
            <a:extLst>
              <a:ext uri="{FF2B5EF4-FFF2-40B4-BE49-F238E27FC236}">
                <a16:creationId xmlns:a16="http://schemas.microsoft.com/office/drawing/2014/main" id="{5BD20BB0-3041-4C30-A0C4-0D7770BD51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743" y="68482"/>
            <a:ext cx="7483352" cy="2224886"/>
          </a:xfrm>
        </p:spPr>
        <p:txBody>
          <a:bodyPr/>
          <a:lstStyle/>
          <a:p>
            <a:r>
              <a:rPr lang="da-DK" sz="4800" dirty="0" err="1">
                <a:solidFill>
                  <a:srgbClr val="8AA299"/>
                </a:solidFill>
              </a:rPr>
              <a:t>Powering</a:t>
            </a:r>
            <a:r>
              <a:rPr lang="da-DK" sz="4800" dirty="0">
                <a:solidFill>
                  <a:srgbClr val="8AA299"/>
                </a:solidFill>
              </a:rPr>
              <a:t> up the player with a </a:t>
            </a:r>
            <a:r>
              <a:rPr lang="da-DK" sz="4800" dirty="0" err="1">
                <a:solidFill>
                  <a:srgbClr val="8AA299"/>
                </a:solidFill>
              </a:rPr>
              <a:t>strategy</a:t>
            </a:r>
            <a:r>
              <a:rPr lang="da-DK" sz="4800" dirty="0">
                <a:solidFill>
                  <a:srgbClr val="8AA299"/>
                </a:solidFill>
              </a:rPr>
              <a:t> pattern</a:t>
            </a:r>
            <a:endParaRPr lang="da-DK" sz="48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3C8C1-2807-4A6D-9065-A7DF05B70C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50" y="1427858"/>
            <a:ext cx="2392874" cy="1245338"/>
          </a:xfrm>
          <a:prstGeom prst="rect">
            <a:avLst/>
          </a:prstGeom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B5D67F31-3025-48E8-9C62-F554EC3447D8}"/>
              </a:ext>
            </a:extLst>
          </p:cNvPr>
          <p:cNvSpPr/>
          <p:nvPr/>
        </p:nvSpPr>
        <p:spPr>
          <a:xfrm>
            <a:off x="2894695" y="1992074"/>
            <a:ext cx="1285504" cy="295275"/>
          </a:xfrm>
          <a:prstGeom prst="rightArrow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91F8EE1F-0F12-44D3-BE5F-ADBCDCB89F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2425" y="1691973"/>
            <a:ext cx="3162741" cy="895475"/>
          </a:xfrm>
          <a:prstGeom prst="rect">
            <a:avLst/>
          </a:prstGeom>
        </p:spPr>
      </p:pic>
      <p:sp>
        <p:nvSpPr>
          <p:cNvPr id="48" name="Arrow: Right 47">
            <a:extLst>
              <a:ext uri="{FF2B5EF4-FFF2-40B4-BE49-F238E27FC236}">
                <a16:creationId xmlns:a16="http://schemas.microsoft.com/office/drawing/2014/main" id="{539BFE92-9999-4C77-B31E-C0AE8FA6895F}"/>
              </a:ext>
            </a:extLst>
          </p:cNvPr>
          <p:cNvSpPr/>
          <p:nvPr/>
        </p:nvSpPr>
        <p:spPr>
          <a:xfrm rot="2883416">
            <a:off x="5584906" y="4523985"/>
            <a:ext cx="1285504" cy="295275"/>
          </a:xfrm>
          <a:prstGeom prst="rightArrow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15022F5B-B2ED-4446-A84D-6652D8D4DE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157" y="2887554"/>
            <a:ext cx="5587076" cy="1941069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9BEB8205-DB27-4B64-934B-D70955826E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22918" y="5305426"/>
            <a:ext cx="5594106" cy="1481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7065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C2FFBC-A3BD-4E49-ADCC-51DEF046F7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26890-A6E3-4403-8B5F-B63FA3CC0E22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C4F5B2-E045-4DF6-905B-83834701E6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67C62E9-A657-41B3-B9B5-7EE60EF8495E}"/>
              </a:ext>
            </a:extLst>
          </p:cNvPr>
          <p:cNvSpPr/>
          <p:nvPr/>
        </p:nvSpPr>
        <p:spPr>
          <a:xfrm>
            <a:off x="8775319" y="181859"/>
            <a:ext cx="1560352" cy="1417739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F7EE779-2772-4CF9-A22F-764C9CDB252B}"/>
              </a:ext>
            </a:extLst>
          </p:cNvPr>
          <p:cNvSpPr/>
          <p:nvPr/>
        </p:nvSpPr>
        <p:spPr>
          <a:xfrm>
            <a:off x="8899144" y="5858759"/>
            <a:ext cx="1560352" cy="1417739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AAD1EF2-841F-4796-A460-EF16A1B517FE}"/>
              </a:ext>
            </a:extLst>
          </p:cNvPr>
          <p:cNvSpPr/>
          <p:nvPr/>
        </p:nvSpPr>
        <p:spPr>
          <a:xfrm>
            <a:off x="-242209" y="1270206"/>
            <a:ext cx="8667750" cy="586740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FFDAFCE-2C69-487A-8641-F706F09CAC25}"/>
              </a:ext>
            </a:extLst>
          </p:cNvPr>
          <p:cNvSpPr/>
          <p:nvPr/>
        </p:nvSpPr>
        <p:spPr>
          <a:xfrm>
            <a:off x="2483140" y="4896899"/>
            <a:ext cx="897622" cy="1201897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23" name="Title 2">
            <a:extLst>
              <a:ext uri="{FF2B5EF4-FFF2-40B4-BE49-F238E27FC236}">
                <a16:creationId xmlns:a16="http://schemas.microsoft.com/office/drawing/2014/main" id="{5BD20BB0-3041-4C30-A0C4-0D7770BD51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743" y="68482"/>
            <a:ext cx="7483352" cy="2224886"/>
          </a:xfrm>
        </p:spPr>
        <p:txBody>
          <a:bodyPr/>
          <a:lstStyle/>
          <a:p>
            <a:r>
              <a:rPr lang="da-DK" sz="4800" dirty="0" err="1">
                <a:solidFill>
                  <a:srgbClr val="8AA299"/>
                </a:solidFill>
              </a:rPr>
              <a:t>Powering</a:t>
            </a:r>
            <a:r>
              <a:rPr lang="da-DK" sz="4800" dirty="0">
                <a:solidFill>
                  <a:srgbClr val="8AA299"/>
                </a:solidFill>
              </a:rPr>
              <a:t> up the player with a </a:t>
            </a:r>
            <a:r>
              <a:rPr lang="da-DK" sz="4800" dirty="0" err="1">
                <a:solidFill>
                  <a:srgbClr val="8AA299"/>
                </a:solidFill>
              </a:rPr>
              <a:t>strategy</a:t>
            </a:r>
            <a:r>
              <a:rPr lang="da-DK" sz="4800" dirty="0">
                <a:solidFill>
                  <a:srgbClr val="8AA299"/>
                </a:solidFill>
              </a:rPr>
              <a:t> pattern</a:t>
            </a:r>
            <a:endParaRPr lang="da-DK" sz="4800" dirty="0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B5D67F31-3025-48E8-9C62-F554EC3447D8}"/>
              </a:ext>
            </a:extLst>
          </p:cNvPr>
          <p:cNvSpPr/>
          <p:nvPr/>
        </p:nvSpPr>
        <p:spPr>
          <a:xfrm>
            <a:off x="3332779" y="2023575"/>
            <a:ext cx="1285504" cy="295275"/>
          </a:xfrm>
          <a:prstGeom prst="rightArrow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48" name="Arrow: Right 47">
            <a:extLst>
              <a:ext uri="{FF2B5EF4-FFF2-40B4-BE49-F238E27FC236}">
                <a16:creationId xmlns:a16="http://schemas.microsoft.com/office/drawing/2014/main" id="{539BFE92-9999-4C77-B31E-C0AE8FA6895F}"/>
              </a:ext>
            </a:extLst>
          </p:cNvPr>
          <p:cNvSpPr/>
          <p:nvPr/>
        </p:nvSpPr>
        <p:spPr>
          <a:xfrm rot="2490287">
            <a:off x="4545199" y="4582664"/>
            <a:ext cx="1285504" cy="295275"/>
          </a:xfrm>
          <a:prstGeom prst="rightArrow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B3FD92D-1F57-4D55-AC04-2D52721CA9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43" y="1433353"/>
            <a:ext cx="2928066" cy="13766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7ED8C90-2C0B-433D-B5FF-C630FF11DE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5253" y="1701922"/>
            <a:ext cx="3271108" cy="98133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2E13664-CD9D-48A5-A28C-FD7EF3B355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2907" y="5348268"/>
            <a:ext cx="7216078" cy="126413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301D8345-BF71-4CB6-8CAD-F608860FDA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179" y="3178417"/>
            <a:ext cx="4534992" cy="1201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8557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C2FFBC-A3BD-4E49-ADCC-51DEF046F7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26890-A6E3-4403-8B5F-B63FA3CC0E22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C4F5B2-E045-4DF6-905B-83834701E6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67C62E9-A657-41B3-B9B5-7EE60EF8495E}"/>
              </a:ext>
            </a:extLst>
          </p:cNvPr>
          <p:cNvSpPr/>
          <p:nvPr/>
        </p:nvSpPr>
        <p:spPr>
          <a:xfrm>
            <a:off x="8775319" y="181859"/>
            <a:ext cx="1560352" cy="1417739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F7EE779-2772-4CF9-A22F-764C9CDB252B}"/>
              </a:ext>
            </a:extLst>
          </p:cNvPr>
          <p:cNvSpPr/>
          <p:nvPr/>
        </p:nvSpPr>
        <p:spPr>
          <a:xfrm>
            <a:off x="8899144" y="5858759"/>
            <a:ext cx="1560352" cy="1417739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AAD1EF2-841F-4796-A460-EF16A1B517FE}"/>
              </a:ext>
            </a:extLst>
          </p:cNvPr>
          <p:cNvSpPr/>
          <p:nvPr/>
        </p:nvSpPr>
        <p:spPr>
          <a:xfrm>
            <a:off x="-221869" y="1270206"/>
            <a:ext cx="8667750" cy="586740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4F72E4D6-A785-49EC-B6FD-2720622526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5384" y="1171575"/>
            <a:ext cx="7878577" cy="5686425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9C90E109-383E-49A6-94C3-0C929BBD3F5F}"/>
              </a:ext>
            </a:extLst>
          </p:cNvPr>
          <p:cNvGrpSpPr/>
          <p:nvPr/>
        </p:nvGrpSpPr>
        <p:grpSpPr>
          <a:xfrm>
            <a:off x="6226211" y="1351947"/>
            <a:ext cx="2147987" cy="930171"/>
            <a:chOff x="2826110" y="3451489"/>
            <a:chExt cx="824546" cy="412273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A9F25D7-7A07-40A3-A3AA-39F2D5089C3F}"/>
                </a:ext>
              </a:extLst>
            </p:cNvPr>
            <p:cNvSpPr/>
            <p:nvPr/>
          </p:nvSpPr>
          <p:spPr>
            <a:xfrm>
              <a:off x="2826110" y="3546286"/>
              <a:ext cx="108158" cy="159056"/>
            </a:xfrm>
            <a:custGeom>
              <a:avLst/>
              <a:gdLst>
                <a:gd name="connsiteX0" fmla="*/ 95115 w 108157"/>
                <a:gd name="connsiteY0" fmla="*/ 139969 h 159055"/>
                <a:gd name="connsiteX1" fmla="*/ 92252 w 108157"/>
                <a:gd name="connsiteY1" fmla="*/ 142514 h 159055"/>
                <a:gd name="connsiteX2" fmla="*/ 90662 w 108157"/>
                <a:gd name="connsiteY2" fmla="*/ 142832 h 159055"/>
                <a:gd name="connsiteX3" fmla="*/ 89708 w 108157"/>
                <a:gd name="connsiteY3" fmla="*/ 142832 h 159055"/>
                <a:gd name="connsiteX4" fmla="*/ 88117 w 108157"/>
                <a:gd name="connsiteY4" fmla="*/ 142832 h 159055"/>
                <a:gd name="connsiteX5" fmla="*/ 86844 w 108157"/>
                <a:gd name="connsiteY5" fmla="*/ 142832 h 159055"/>
                <a:gd name="connsiteX6" fmla="*/ 87163 w 108157"/>
                <a:gd name="connsiteY6" fmla="*/ 143787 h 159055"/>
                <a:gd name="connsiteX7" fmla="*/ 87799 w 108157"/>
                <a:gd name="connsiteY7" fmla="*/ 144423 h 159055"/>
                <a:gd name="connsiteX8" fmla="*/ 86526 w 108157"/>
                <a:gd name="connsiteY8" fmla="*/ 144423 h 159055"/>
                <a:gd name="connsiteX9" fmla="*/ 85572 w 108157"/>
                <a:gd name="connsiteY9" fmla="*/ 143787 h 159055"/>
                <a:gd name="connsiteX10" fmla="*/ 84618 w 108157"/>
                <a:gd name="connsiteY10" fmla="*/ 143787 h 159055"/>
                <a:gd name="connsiteX11" fmla="*/ 83982 w 108157"/>
                <a:gd name="connsiteY11" fmla="*/ 144423 h 159055"/>
                <a:gd name="connsiteX12" fmla="*/ 81437 w 108157"/>
                <a:gd name="connsiteY12" fmla="*/ 145695 h 159055"/>
                <a:gd name="connsiteX13" fmla="*/ 80482 w 108157"/>
                <a:gd name="connsiteY13" fmla="*/ 146331 h 159055"/>
                <a:gd name="connsiteX14" fmla="*/ 78255 w 108157"/>
                <a:gd name="connsiteY14" fmla="*/ 147604 h 159055"/>
                <a:gd name="connsiteX15" fmla="*/ 77619 w 108157"/>
                <a:gd name="connsiteY15" fmla="*/ 148558 h 159055"/>
                <a:gd name="connsiteX16" fmla="*/ 76665 w 108157"/>
                <a:gd name="connsiteY16" fmla="*/ 148240 h 159055"/>
                <a:gd name="connsiteX17" fmla="*/ 74120 w 108157"/>
                <a:gd name="connsiteY17" fmla="*/ 148558 h 159055"/>
                <a:gd name="connsiteX18" fmla="*/ 72848 w 108157"/>
                <a:gd name="connsiteY18" fmla="*/ 149831 h 159055"/>
                <a:gd name="connsiteX19" fmla="*/ 72529 w 108157"/>
                <a:gd name="connsiteY19" fmla="*/ 149831 h 159055"/>
                <a:gd name="connsiteX20" fmla="*/ 70939 w 108157"/>
                <a:gd name="connsiteY20" fmla="*/ 151103 h 159055"/>
                <a:gd name="connsiteX21" fmla="*/ 69667 w 108157"/>
                <a:gd name="connsiteY21" fmla="*/ 151421 h 159055"/>
                <a:gd name="connsiteX22" fmla="*/ 67122 w 108157"/>
                <a:gd name="connsiteY22" fmla="*/ 152376 h 159055"/>
                <a:gd name="connsiteX23" fmla="*/ 67122 w 108157"/>
                <a:gd name="connsiteY23" fmla="*/ 152694 h 159055"/>
                <a:gd name="connsiteX24" fmla="*/ 65531 w 108157"/>
                <a:gd name="connsiteY24" fmla="*/ 153330 h 159055"/>
                <a:gd name="connsiteX25" fmla="*/ 64259 w 108157"/>
                <a:gd name="connsiteY25" fmla="*/ 153012 h 159055"/>
                <a:gd name="connsiteX26" fmla="*/ 64577 w 108157"/>
                <a:gd name="connsiteY26" fmla="*/ 154284 h 159055"/>
                <a:gd name="connsiteX27" fmla="*/ 64895 w 108157"/>
                <a:gd name="connsiteY27" fmla="*/ 154284 h 159055"/>
                <a:gd name="connsiteX28" fmla="*/ 64259 w 108157"/>
                <a:gd name="connsiteY28" fmla="*/ 154284 h 159055"/>
                <a:gd name="connsiteX29" fmla="*/ 62668 w 108157"/>
                <a:gd name="connsiteY29" fmla="*/ 153330 h 159055"/>
                <a:gd name="connsiteX30" fmla="*/ 62350 w 108157"/>
                <a:gd name="connsiteY30" fmla="*/ 153966 h 159055"/>
                <a:gd name="connsiteX31" fmla="*/ 61396 w 108157"/>
                <a:gd name="connsiteY31" fmla="*/ 154284 h 159055"/>
                <a:gd name="connsiteX32" fmla="*/ 60123 w 108157"/>
                <a:gd name="connsiteY32" fmla="*/ 153330 h 159055"/>
                <a:gd name="connsiteX33" fmla="*/ 59169 w 108157"/>
                <a:gd name="connsiteY33" fmla="*/ 153648 h 159055"/>
                <a:gd name="connsiteX34" fmla="*/ 59487 w 108157"/>
                <a:gd name="connsiteY34" fmla="*/ 153966 h 159055"/>
                <a:gd name="connsiteX35" fmla="*/ 60123 w 108157"/>
                <a:gd name="connsiteY35" fmla="*/ 154284 h 159055"/>
                <a:gd name="connsiteX36" fmla="*/ 60123 w 108157"/>
                <a:gd name="connsiteY36" fmla="*/ 155239 h 159055"/>
                <a:gd name="connsiteX37" fmla="*/ 58851 w 108157"/>
                <a:gd name="connsiteY37" fmla="*/ 155557 h 159055"/>
                <a:gd name="connsiteX38" fmla="*/ 57260 w 108157"/>
                <a:gd name="connsiteY38" fmla="*/ 155557 h 159055"/>
                <a:gd name="connsiteX39" fmla="*/ 56942 w 108157"/>
                <a:gd name="connsiteY39" fmla="*/ 155557 h 159055"/>
                <a:gd name="connsiteX40" fmla="*/ 57260 w 108157"/>
                <a:gd name="connsiteY40" fmla="*/ 155239 h 159055"/>
                <a:gd name="connsiteX41" fmla="*/ 57260 w 108157"/>
                <a:gd name="connsiteY41" fmla="*/ 154284 h 159055"/>
                <a:gd name="connsiteX42" fmla="*/ 55988 w 108157"/>
                <a:gd name="connsiteY42" fmla="*/ 153330 h 159055"/>
                <a:gd name="connsiteX43" fmla="*/ 55670 w 108157"/>
                <a:gd name="connsiteY43" fmla="*/ 152376 h 159055"/>
                <a:gd name="connsiteX44" fmla="*/ 55033 w 108157"/>
                <a:gd name="connsiteY44" fmla="*/ 151421 h 159055"/>
                <a:gd name="connsiteX45" fmla="*/ 54397 w 108157"/>
                <a:gd name="connsiteY45" fmla="*/ 151421 h 159055"/>
                <a:gd name="connsiteX46" fmla="*/ 52806 w 108157"/>
                <a:gd name="connsiteY46" fmla="*/ 151739 h 159055"/>
                <a:gd name="connsiteX47" fmla="*/ 51852 w 108157"/>
                <a:gd name="connsiteY47" fmla="*/ 151739 h 159055"/>
                <a:gd name="connsiteX48" fmla="*/ 49625 w 108157"/>
                <a:gd name="connsiteY48" fmla="*/ 152376 h 159055"/>
                <a:gd name="connsiteX49" fmla="*/ 49307 w 108157"/>
                <a:gd name="connsiteY49" fmla="*/ 152376 h 159055"/>
                <a:gd name="connsiteX50" fmla="*/ 49625 w 108157"/>
                <a:gd name="connsiteY50" fmla="*/ 152694 h 159055"/>
                <a:gd name="connsiteX51" fmla="*/ 50580 w 108157"/>
                <a:gd name="connsiteY51" fmla="*/ 152694 h 159055"/>
                <a:gd name="connsiteX52" fmla="*/ 51534 w 108157"/>
                <a:gd name="connsiteY52" fmla="*/ 152694 h 159055"/>
                <a:gd name="connsiteX53" fmla="*/ 52170 w 108157"/>
                <a:gd name="connsiteY53" fmla="*/ 153330 h 159055"/>
                <a:gd name="connsiteX54" fmla="*/ 51852 w 108157"/>
                <a:gd name="connsiteY54" fmla="*/ 153966 h 159055"/>
                <a:gd name="connsiteX55" fmla="*/ 51534 w 108157"/>
                <a:gd name="connsiteY55" fmla="*/ 153966 h 159055"/>
                <a:gd name="connsiteX56" fmla="*/ 50580 w 108157"/>
                <a:gd name="connsiteY56" fmla="*/ 153648 h 159055"/>
                <a:gd name="connsiteX57" fmla="*/ 49625 w 108157"/>
                <a:gd name="connsiteY57" fmla="*/ 153966 h 159055"/>
                <a:gd name="connsiteX58" fmla="*/ 49625 w 108157"/>
                <a:gd name="connsiteY58" fmla="*/ 155239 h 159055"/>
                <a:gd name="connsiteX59" fmla="*/ 49625 w 108157"/>
                <a:gd name="connsiteY59" fmla="*/ 155557 h 159055"/>
                <a:gd name="connsiteX60" fmla="*/ 48671 w 108157"/>
                <a:gd name="connsiteY60" fmla="*/ 155875 h 159055"/>
                <a:gd name="connsiteX61" fmla="*/ 45808 w 108157"/>
                <a:gd name="connsiteY61" fmla="*/ 156193 h 159055"/>
                <a:gd name="connsiteX62" fmla="*/ 44854 w 108157"/>
                <a:gd name="connsiteY62" fmla="*/ 156829 h 159055"/>
                <a:gd name="connsiteX63" fmla="*/ 42945 w 108157"/>
                <a:gd name="connsiteY63" fmla="*/ 157147 h 159055"/>
                <a:gd name="connsiteX64" fmla="*/ 42309 w 108157"/>
                <a:gd name="connsiteY64" fmla="*/ 156193 h 159055"/>
                <a:gd name="connsiteX65" fmla="*/ 42627 w 108157"/>
                <a:gd name="connsiteY65" fmla="*/ 156193 h 159055"/>
                <a:gd name="connsiteX66" fmla="*/ 43581 w 108157"/>
                <a:gd name="connsiteY66" fmla="*/ 155239 h 159055"/>
                <a:gd name="connsiteX67" fmla="*/ 43263 w 108157"/>
                <a:gd name="connsiteY67" fmla="*/ 154920 h 159055"/>
                <a:gd name="connsiteX68" fmla="*/ 45172 w 108157"/>
                <a:gd name="connsiteY68" fmla="*/ 154920 h 159055"/>
                <a:gd name="connsiteX69" fmla="*/ 45490 w 108157"/>
                <a:gd name="connsiteY69" fmla="*/ 154284 h 159055"/>
                <a:gd name="connsiteX70" fmla="*/ 45172 w 108157"/>
                <a:gd name="connsiteY70" fmla="*/ 153966 h 159055"/>
                <a:gd name="connsiteX71" fmla="*/ 43899 w 108157"/>
                <a:gd name="connsiteY71" fmla="*/ 153966 h 159055"/>
                <a:gd name="connsiteX72" fmla="*/ 43263 w 108157"/>
                <a:gd name="connsiteY72" fmla="*/ 154920 h 159055"/>
                <a:gd name="connsiteX73" fmla="*/ 41673 w 108157"/>
                <a:gd name="connsiteY73" fmla="*/ 153966 h 159055"/>
                <a:gd name="connsiteX74" fmla="*/ 41673 w 108157"/>
                <a:gd name="connsiteY74" fmla="*/ 154284 h 159055"/>
                <a:gd name="connsiteX75" fmla="*/ 41673 w 108157"/>
                <a:gd name="connsiteY75" fmla="*/ 154602 h 159055"/>
                <a:gd name="connsiteX76" fmla="*/ 41991 w 108157"/>
                <a:gd name="connsiteY76" fmla="*/ 155557 h 159055"/>
                <a:gd name="connsiteX77" fmla="*/ 39446 w 108157"/>
                <a:gd name="connsiteY77" fmla="*/ 155875 h 159055"/>
                <a:gd name="connsiteX78" fmla="*/ 37219 w 108157"/>
                <a:gd name="connsiteY78" fmla="*/ 155557 h 159055"/>
                <a:gd name="connsiteX79" fmla="*/ 36583 w 108157"/>
                <a:gd name="connsiteY79" fmla="*/ 155557 h 159055"/>
                <a:gd name="connsiteX80" fmla="*/ 35310 w 108157"/>
                <a:gd name="connsiteY80" fmla="*/ 155557 h 159055"/>
                <a:gd name="connsiteX81" fmla="*/ 34992 w 108157"/>
                <a:gd name="connsiteY81" fmla="*/ 155875 h 159055"/>
                <a:gd name="connsiteX82" fmla="*/ 34674 w 108157"/>
                <a:gd name="connsiteY82" fmla="*/ 156511 h 159055"/>
                <a:gd name="connsiteX83" fmla="*/ 34674 w 108157"/>
                <a:gd name="connsiteY83" fmla="*/ 156829 h 159055"/>
                <a:gd name="connsiteX84" fmla="*/ 34038 w 108157"/>
                <a:gd name="connsiteY84" fmla="*/ 158420 h 159055"/>
                <a:gd name="connsiteX85" fmla="*/ 30857 w 108157"/>
                <a:gd name="connsiteY85" fmla="*/ 158738 h 159055"/>
                <a:gd name="connsiteX86" fmla="*/ 29266 w 108157"/>
                <a:gd name="connsiteY86" fmla="*/ 158420 h 159055"/>
                <a:gd name="connsiteX87" fmla="*/ 26721 w 108157"/>
                <a:gd name="connsiteY87" fmla="*/ 158738 h 159055"/>
                <a:gd name="connsiteX88" fmla="*/ 26403 w 108157"/>
                <a:gd name="connsiteY88" fmla="*/ 158102 h 159055"/>
                <a:gd name="connsiteX89" fmla="*/ 26085 w 108157"/>
                <a:gd name="connsiteY89" fmla="*/ 157147 h 159055"/>
                <a:gd name="connsiteX90" fmla="*/ 25767 w 108157"/>
                <a:gd name="connsiteY90" fmla="*/ 156829 h 159055"/>
                <a:gd name="connsiteX91" fmla="*/ 24813 w 108157"/>
                <a:gd name="connsiteY91" fmla="*/ 157147 h 159055"/>
                <a:gd name="connsiteX92" fmla="*/ 24176 w 108157"/>
                <a:gd name="connsiteY92" fmla="*/ 157783 h 159055"/>
                <a:gd name="connsiteX93" fmla="*/ 24813 w 108157"/>
                <a:gd name="connsiteY93" fmla="*/ 158102 h 159055"/>
                <a:gd name="connsiteX94" fmla="*/ 25449 w 108157"/>
                <a:gd name="connsiteY94" fmla="*/ 158738 h 159055"/>
                <a:gd name="connsiteX95" fmla="*/ 26085 w 108157"/>
                <a:gd name="connsiteY95" fmla="*/ 159692 h 159055"/>
                <a:gd name="connsiteX96" fmla="*/ 27676 w 108157"/>
                <a:gd name="connsiteY96" fmla="*/ 160965 h 159055"/>
                <a:gd name="connsiteX97" fmla="*/ 26403 w 108157"/>
                <a:gd name="connsiteY97" fmla="*/ 160965 h 159055"/>
                <a:gd name="connsiteX98" fmla="*/ 26085 w 108157"/>
                <a:gd name="connsiteY98" fmla="*/ 160965 h 159055"/>
                <a:gd name="connsiteX99" fmla="*/ 26403 w 108157"/>
                <a:gd name="connsiteY99" fmla="*/ 160965 h 159055"/>
                <a:gd name="connsiteX100" fmla="*/ 27676 w 108157"/>
                <a:gd name="connsiteY100" fmla="*/ 160965 h 159055"/>
                <a:gd name="connsiteX101" fmla="*/ 28312 w 108157"/>
                <a:gd name="connsiteY101" fmla="*/ 160965 h 159055"/>
                <a:gd name="connsiteX102" fmla="*/ 28630 w 108157"/>
                <a:gd name="connsiteY102" fmla="*/ 161601 h 159055"/>
                <a:gd name="connsiteX103" fmla="*/ 27994 w 108157"/>
                <a:gd name="connsiteY103" fmla="*/ 161919 h 159055"/>
                <a:gd name="connsiteX104" fmla="*/ 25131 w 108157"/>
                <a:gd name="connsiteY104" fmla="*/ 161283 h 159055"/>
                <a:gd name="connsiteX105" fmla="*/ 24176 w 108157"/>
                <a:gd name="connsiteY105" fmla="*/ 160328 h 159055"/>
                <a:gd name="connsiteX106" fmla="*/ 24495 w 108157"/>
                <a:gd name="connsiteY106" fmla="*/ 159374 h 159055"/>
                <a:gd name="connsiteX107" fmla="*/ 23540 w 108157"/>
                <a:gd name="connsiteY107" fmla="*/ 159056 h 159055"/>
                <a:gd name="connsiteX108" fmla="*/ 21950 w 108157"/>
                <a:gd name="connsiteY108" fmla="*/ 158738 h 159055"/>
                <a:gd name="connsiteX109" fmla="*/ 21314 w 108157"/>
                <a:gd name="connsiteY109" fmla="*/ 159056 h 159055"/>
                <a:gd name="connsiteX110" fmla="*/ 20041 w 108157"/>
                <a:gd name="connsiteY110" fmla="*/ 159374 h 159055"/>
                <a:gd name="connsiteX111" fmla="*/ 17178 w 108157"/>
                <a:gd name="connsiteY111" fmla="*/ 158420 h 159055"/>
                <a:gd name="connsiteX112" fmla="*/ 14315 w 108157"/>
                <a:gd name="connsiteY112" fmla="*/ 157783 h 159055"/>
                <a:gd name="connsiteX113" fmla="*/ 13679 w 108157"/>
                <a:gd name="connsiteY113" fmla="*/ 158102 h 159055"/>
                <a:gd name="connsiteX114" fmla="*/ 13997 w 108157"/>
                <a:gd name="connsiteY114" fmla="*/ 158738 h 159055"/>
                <a:gd name="connsiteX115" fmla="*/ 13997 w 108157"/>
                <a:gd name="connsiteY115" fmla="*/ 159056 h 159055"/>
                <a:gd name="connsiteX116" fmla="*/ 13679 w 108157"/>
                <a:gd name="connsiteY116" fmla="*/ 159374 h 159055"/>
                <a:gd name="connsiteX117" fmla="*/ 12406 w 108157"/>
                <a:gd name="connsiteY117" fmla="*/ 159056 h 159055"/>
                <a:gd name="connsiteX118" fmla="*/ 11134 w 108157"/>
                <a:gd name="connsiteY118" fmla="*/ 157783 h 159055"/>
                <a:gd name="connsiteX119" fmla="*/ 10816 w 108157"/>
                <a:gd name="connsiteY119" fmla="*/ 158102 h 159055"/>
                <a:gd name="connsiteX120" fmla="*/ 11452 w 108157"/>
                <a:gd name="connsiteY120" fmla="*/ 159056 h 159055"/>
                <a:gd name="connsiteX121" fmla="*/ 12406 w 108157"/>
                <a:gd name="connsiteY121" fmla="*/ 159056 h 159055"/>
                <a:gd name="connsiteX122" fmla="*/ 13043 w 108157"/>
                <a:gd name="connsiteY122" fmla="*/ 159692 h 159055"/>
                <a:gd name="connsiteX123" fmla="*/ 14315 w 108157"/>
                <a:gd name="connsiteY123" fmla="*/ 159692 h 159055"/>
                <a:gd name="connsiteX124" fmla="*/ 14951 w 108157"/>
                <a:gd name="connsiteY124" fmla="*/ 159692 h 159055"/>
                <a:gd name="connsiteX125" fmla="*/ 16542 w 108157"/>
                <a:gd name="connsiteY125" fmla="*/ 159374 h 159055"/>
                <a:gd name="connsiteX126" fmla="*/ 16224 w 108157"/>
                <a:gd name="connsiteY126" fmla="*/ 159692 h 159055"/>
                <a:gd name="connsiteX127" fmla="*/ 19723 w 108157"/>
                <a:gd name="connsiteY127" fmla="*/ 160965 h 159055"/>
                <a:gd name="connsiteX128" fmla="*/ 21314 w 108157"/>
                <a:gd name="connsiteY128" fmla="*/ 161283 h 159055"/>
                <a:gd name="connsiteX129" fmla="*/ 22586 w 108157"/>
                <a:gd name="connsiteY129" fmla="*/ 161919 h 159055"/>
                <a:gd name="connsiteX130" fmla="*/ 20995 w 108157"/>
                <a:gd name="connsiteY130" fmla="*/ 162555 h 159055"/>
                <a:gd name="connsiteX131" fmla="*/ 19405 w 108157"/>
                <a:gd name="connsiteY131" fmla="*/ 162555 h 159055"/>
                <a:gd name="connsiteX132" fmla="*/ 17496 w 108157"/>
                <a:gd name="connsiteY132" fmla="*/ 161601 h 159055"/>
                <a:gd name="connsiteX133" fmla="*/ 16860 w 108157"/>
                <a:gd name="connsiteY133" fmla="*/ 160965 h 159055"/>
                <a:gd name="connsiteX134" fmla="*/ 16224 w 108157"/>
                <a:gd name="connsiteY134" fmla="*/ 160646 h 159055"/>
                <a:gd name="connsiteX135" fmla="*/ 16224 w 108157"/>
                <a:gd name="connsiteY135" fmla="*/ 160965 h 159055"/>
                <a:gd name="connsiteX136" fmla="*/ 16542 w 108157"/>
                <a:gd name="connsiteY136" fmla="*/ 161919 h 159055"/>
                <a:gd name="connsiteX137" fmla="*/ 16224 w 108157"/>
                <a:gd name="connsiteY137" fmla="*/ 162555 h 159055"/>
                <a:gd name="connsiteX138" fmla="*/ 15906 w 108157"/>
                <a:gd name="connsiteY138" fmla="*/ 162555 h 159055"/>
                <a:gd name="connsiteX139" fmla="*/ 13997 w 108157"/>
                <a:gd name="connsiteY139" fmla="*/ 161919 h 159055"/>
                <a:gd name="connsiteX140" fmla="*/ 13679 w 108157"/>
                <a:gd name="connsiteY140" fmla="*/ 162555 h 159055"/>
                <a:gd name="connsiteX141" fmla="*/ 12406 w 108157"/>
                <a:gd name="connsiteY141" fmla="*/ 163509 h 159055"/>
                <a:gd name="connsiteX142" fmla="*/ 11134 w 108157"/>
                <a:gd name="connsiteY142" fmla="*/ 163191 h 159055"/>
                <a:gd name="connsiteX143" fmla="*/ 8271 w 108157"/>
                <a:gd name="connsiteY143" fmla="*/ 162873 h 159055"/>
                <a:gd name="connsiteX144" fmla="*/ 7317 w 108157"/>
                <a:gd name="connsiteY144" fmla="*/ 162237 h 159055"/>
                <a:gd name="connsiteX145" fmla="*/ 5090 w 108157"/>
                <a:gd name="connsiteY145" fmla="*/ 160328 h 159055"/>
                <a:gd name="connsiteX146" fmla="*/ 4454 w 108157"/>
                <a:gd name="connsiteY146" fmla="*/ 157783 h 159055"/>
                <a:gd name="connsiteX147" fmla="*/ 5408 w 108157"/>
                <a:gd name="connsiteY147" fmla="*/ 157147 h 159055"/>
                <a:gd name="connsiteX148" fmla="*/ 5726 w 108157"/>
                <a:gd name="connsiteY148" fmla="*/ 157783 h 159055"/>
                <a:gd name="connsiteX149" fmla="*/ 7317 w 108157"/>
                <a:gd name="connsiteY149" fmla="*/ 157783 h 159055"/>
                <a:gd name="connsiteX150" fmla="*/ 6362 w 108157"/>
                <a:gd name="connsiteY150" fmla="*/ 156511 h 159055"/>
                <a:gd name="connsiteX151" fmla="*/ 5090 w 108157"/>
                <a:gd name="connsiteY151" fmla="*/ 156511 h 159055"/>
                <a:gd name="connsiteX152" fmla="*/ 4454 w 108157"/>
                <a:gd name="connsiteY152" fmla="*/ 156193 h 159055"/>
                <a:gd name="connsiteX153" fmla="*/ 2545 w 108157"/>
                <a:gd name="connsiteY153" fmla="*/ 151421 h 159055"/>
                <a:gd name="connsiteX154" fmla="*/ 1909 w 108157"/>
                <a:gd name="connsiteY154" fmla="*/ 149194 h 159055"/>
                <a:gd name="connsiteX155" fmla="*/ 1909 w 108157"/>
                <a:gd name="connsiteY155" fmla="*/ 148240 h 159055"/>
                <a:gd name="connsiteX156" fmla="*/ 318 w 108157"/>
                <a:gd name="connsiteY156" fmla="*/ 143787 h 159055"/>
                <a:gd name="connsiteX157" fmla="*/ 0 w 108157"/>
                <a:gd name="connsiteY157" fmla="*/ 141560 h 159055"/>
                <a:gd name="connsiteX158" fmla="*/ 636 w 108157"/>
                <a:gd name="connsiteY158" fmla="*/ 139333 h 159055"/>
                <a:gd name="connsiteX159" fmla="*/ 1909 w 108157"/>
                <a:gd name="connsiteY159" fmla="*/ 137424 h 159055"/>
                <a:gd name="connsiteX160" fmla="*/ 3181 w 108157"/>
                <a:gd name="connsiteY160" fmla="*/ 135516 h 159055"/>
                <a:gd name="connsiteX161" fmla="*/ 5090 w 108157"/>
                <a:gd name="connsiteY161" fmla="*/ 133607 h 159055"/>
                <a:gd name="connsiteX162" fmla="*/ 6998 w 108157"/>
                <a:gd name="connsiteY162" fmla="*/ 131380 h 159055"/>
                <a:gd name="connsiteX163" fmla="*/ 7953 w 108157"/>
                <a:gd name="connsiteY163" fmla="*/ 130744 h 159055"/>
                <a:gd name="connsiteX164" fmla="*/ 10816 w 108157"/>
                <a:gd name="connsiteY164" fmla="*/ 128835 h 159055"/>
                <a:gd name="connsiteX165" fmla="*/ 12724 w 108157"/>
                <a:gd name="connsiteY165" fmla="*/ 127563 h 159055"/>
                <a:gd name="connsiteX166" fmla="*/ 13997 w 108157"/>
                <a:gd name="connsiteY166" fmla="*/ 126609 h 159055"/>
                <a:gd name="connsiteX167" fmla="*/ 16860 w 108157"/>
                <a:gd name="connsiteY167" fmla="*/ 124382 h 159055"/>
                <a:gd name="connsiteX168" fmla="*/ 18132 w 108157"/>
                <a:gd name="connsiteY168" fmla="*/ 124700 h 159055"/>
                <a:gd name="connsiteX169" fmla="*/ 20041 w 108157"/>
                <a:gd name="connsiteY169" fmla="*/ 125018 h 159055"/>
                <a:gd name="connsiteX170" fmla="*/ 23858 w 108157"/>
                <a:gd name="connsiteY170" fmla="*/ 123109 h 159055"/>
                <a:gd name="connsiteX171" fmla="*/ 25449 w 108157"/>
                <a:gd name="connsiteY171" fmla="*/ 122791 h 159055"/>
                <a:gd name="connsiteX172" fmla="*/ 27994 w 108157"/>
                <a:gd name="connsiteY172" fmla="*/ 123109 h 159055"/>
                <a:gd name="connsiteX173" fmla="*/ 28630 w 108157"/>
                <a:gd name="connsiteY173" fmla="*/ 122473 h 159055"/>
                <a:gd name="connsiteX174" fmla="*/ 30221 w 108157"/>
                <a:gd name="connsiteY174" fmla="*/ 122473 h 159055"/>
                <a:gd name="connsiteX175" fmla="*/ 30221 w 108157"/>
                <a:gd name="connsiteY175" fmla="*/ 123109 h 159055"/>
                <a:gd name="connsiteX176" fmla="*/ 25449 w 108157"/>
                <a:gd name="connsiteY176" fmla="*/ 125018 h 159055"/>
                <a:gd name="connsiteX177" fmla="*/ 25131 w 108157"/>
                <a:gd name="connsiteY177" fmla="*/ 125654 h 159055"/>
                <a:gd name="connsiteX178" fmla="*/ 25449 w 108157"/>
                <a:gd name="connsiteY178" fmla="*/ 126609 h 159055"/>
                <a:gd name="connsiteX179" fmla="*/ 25131 w 108157"/>
                <a:gd name="connsiteY179" fmla="*/ 127881 h 159055"/>
                <a:gd name="connsiteX180" fmla="*/ 25131 w 108157"/>
                <a:gd name="connsiteY180" fmla="*/ 128517 h 159055"/>
                <a:gd name="connsiteX181" fmla="*/ 25131 w 108157"/>
                <a:gd name="connsiteY181" fmla="*/ 129472 h 159055"/>
                <a:gd name="connsiteX182" fmla="*/ 25131 w 108157"/>
                <a:gd name="connsiteY182" fmla="*/ 130108 h 159055"/>
                <a:gd name="connsiteX183" fmla="*/ 26403 w 108157"/>
                <a:gd name="connsiteY183" fmla="*/ 131380 h 159055"/>
                <a:gd name="connsiteX184" fmla="*/ 25767 w 108157"/>
                <a:gd name="connsiteY184" fmla="*/ 132335 h 159055"/>
                <a:gd name="connsiteX185" fmla="*/ 25767 w 108157"/>
                <a:gd name="connsiteY185" fmla="*/ 132653 h 159055"/>
                <a:gd name="connsiteX186" fmla="*/ 19405 w 108157"/>
                <a:gd name="connsiteY186" fmla="*/ 136152 h 159055"/>
                <a:gd name="connsiteX187" fmla="*/ 19087 w 108157"/>
                <a:gd name="connsiteY187" fmla="*/ 137742 h 159055"/>
                <a:gd name="connsiteX188" fmla="*/ 17814 w 108157"/>
                <a:gd name="connsiteY188" fmla="*/ 139651 h 159055"/>
                <a:gd name="connsiteX189" fmla="*/ 19087 w 108157"/>
                <a:gd name="connsiteY189" fmla="*/ 140605 h 159055"/>
                <a:gd name="connsiteX190" fmla="*/ 21950 w 108157"/>
                <a:gd name="connsiteY190" fmla="*/ 140605 h 159055"/>
                <a:gd name="connsiteX191" fmla="*/ 24813 w 108157"/>
                <a:gd name="connsiteY191" fmla="*/ 140605 h 159055"/>
                <a:gd name="connsiteX192" fmla="*/ 26085 w 108157"/>
                <a:gd name="connsiteY192" fmla="*/ 140605 h 159055"/>
                <a:gd name="connsiteX193" fmla="*/ 28948 w 108157"/>
                <a:gd name="connsiteY193" fmla="*/ 140605 h 159055"/>
                <a:gd name="connsiteX194" fmla="*/ 30221 w 108157"/>
                <a:gd name="connsiteY194" fmla="*/ 140605 h 159055"/>
                <a:gd name="connsiteX195" fmla="*/ 31175 w 108157"/>
                <a:gd name="connsiteY195" fmla="*/ 140605 h 159055"/>
                <a:gd name="connsiteX196" fmla="*/ 33084 w 108157"/>
                <a:gd name="connsiteY196" fmla="*/ 140605 h 159055"/>
                <a:gd name="connsiteX197" fmla="*/ 34038 w 108157"/>
                <a:gd name="connsiteY197" fmla="*/ 140605 h 159055"/>
                <a:gd name="connsiteX198" fmla="*/ 39764 w 108157"/>
                <a:gd name="connsiteY198" fmla="*/ 139333 h 159055"/>
                <a:gd name="connsiteX199" fmla="*/ 41991 w 108157"/>
                <a:gd name="connsiteY199" fmla="*/ 139015 h 159055"/>
                <a:gd name="connsiteX200" fmla="*/ 43263 w 108157"/>
                <a:gd name="connsiteY200" fmla="*/ 138697 h 159055"/>
                <a:gd name="connsiteX201" fmla="*/ 48353 w 108157"/>
                <a:gd name="connsiteY201" fmla="*/ 137742 h 159055"/>
                <a:gd name="connsiteX202" fmla="*/ 50898 w 108157"/>
                <a:gd name="connsiteY202" fmla="*/ 137106 h 159055"/>
                <a:gd name="connsiteX203" fmla="*/ 60759 w 108157"/>
                <a:gd name="connsiteY203" fmla="*/ 134243 h 159055"/>
                <a:gd name="connsiteX204" fmla="*/ 64259 w 108157"/>
                <a:gd name="connsiteY204" fmla="*/ 133289 h 159055"/>
                <a:gd name="connsiteX205" fmla="*/ 72211 w 108157"/>
                <a:gd name="connsiteY205" fmla="*/ 129790 h 159055"/>
                <a:gd name="connsiteX206" fmla="*/ 76665 w 108157"/>
                <a:gd name="connsiteY206" fmla="*/ 126927 h 159055"/>
                <a:gd name="connsiteX207" fmla="*/ 79210 w 108157"/>
                <a:gd name="connsiteY207" fmla="*/ 125654 h 159055"/>
                <a:gd name="connsiteX208" fmla="*/ 81437 w 108157"/>
                <a:gd name="connsiteY208" fmla="*/ 123427 h 159055"/>
                <a:gd name="connsiteX209" fmla="*/ 82391 w 108157"/>
                <a:gd name="connsiteY209" fmla="*/ 122155 h 159055"/>
                <a:gd name="connsiteX210" fmla="*/ 82073 w 108157"/>
                <a:gd name="connsiteY210" fmla="*/ 121837 h 159055"/>
                <a:gd name="connsiteX211" fmla="*/ 80164 w 108157"/>
                <a:gd name="connsiteY211" fmla="*/ 120882 h 159055"/>
                <a:gd name="connsiteX212" fmla="*/ 77937 w 108157"/>
                <a:gd name="connsiteY212" fmla="*/ 119292 h 159055"/>
                <a:gd name="connsiteX213" fmla="*/ 76983 w 108157"/>
                <a:gd name="connsiteY213" fmla="*/ 118974 h 159055"/>
                <a:gd name="connsiteX214" fmla="*/ 71575 w 108157"/>
                <a:gd name="connsiteY214" fmla="*/ 117065 h 159055"/>
                <a:gd name="connsiteX215" fmla="*/ 68394 w 108157"/>
                <a:gd name="connsiteY215" fmla="*/ 116111 h 159055"/>
                <a:gd name="connsiteX216" fmla="*/ 67440 w 108157"/>
                <a:gd name="connsiteY216" fmla="*/ 115793 h 159055"/>
                <a:gd name="connsiteX217" fmla="*/ 67440 w 108157"/>
                <a:gd name="connsiteY217" fmla="*/ 114838 h 159055"/>
                <a:gd name="connsiteX218" fmla="*/ 66485 w 108157"/>
                <a:gd name="connsiteY218" fmla="*/ 114202 h 159055"/>
                <a:gd name="connsiteX219" fmla="*/ 62986 w 108157"/>
                <a:gd name="connsiteY219" fmla="*/ 113884 h 159055"/>
                <a:gd name="connsiteX220" fmla="*/ 61396 w 108157"/>
                <a:gd name="connsiteY220" fmla="*/ 114202 h 159055"/>
                <a:gd name="connsiteX221" fmla="*/ 59169 w 108157"/>
                <a:gd name="connsiteY221" fmla="*/ 112293 h 159055"/>
                <a:gd name="connsiteX222" fmla="*/ 56942 w 108157"/>
                <a:gd name="connsiteY222" fmla="*/ 111657 h 159055"/>
                <a:gd name="connsiteX223" fmla="*/ 56624 w 108157"/>
                <a:gd name="connsiteY223" fmla="*/ 111339 h 159055"/>
                <a:gd name="connsiteX224" fmla="*/ 56624 w 108157"/>
                <a:gd name="connsiteY224" fmla="*/ 111021 h 159055"/>
                <a:gd name="connsiteX225" fmla="*/ 56942 w 108157"/>
                <a:gd name="connsiteY225" fmla="*/ 110385 h 159055"/>
                <a:gd name="connsiteX226" fmla="*/ 54715 w 108157"/>
                <a:gd name="connsiteY226" fmla="*/ 109749 h 159055"/>
                <a:gd name="connsiteX227" fmla="*/ 54079 w 108157"/>
                <a:gd name="connsiteY227" fmla="*/ 110385 h 159055"/>
                <a:gd name="connsiteX228" fmla="*/ 53761 w 108157"/>
                <a:gd name="connsiteY228" fmla="*/ 111021 h 159055"/>
                <a:gd name="connsiteX229" fmla="*/ 50580 w 108157"/>
                <a:gd name="connsiteY229" fmla="*/ 111021 h 159055"/>
                <a:gd name="connsiteX230" fmla="*/ 50580 w 108157"/>
                <a:gd name="connsiteY230" fmla="*/ 111339 h 159055"/>
                <a:gd name="connsiteX231" fmla="*/ 50262 w 108157"/>
                <a:gd name="connsiteY231" fmla="*/ 111657 h 159055"/>
                <a:gd name="connsiteX232" fmla="*/ 48671 w 108157"/>
                <a:gd name="connsiteY232" fmla="*/ 110385 h 159055"/>
                <a:gd name="connsiteX233" fmla="*/ 48353 w 108157"/>
                <a:gd name="connsiteY233" fmla="*/ 109749 h 159055"/>
                <a:gd name="connsiteX234" fmla="*/ 45808 w 108157"/>
                <a:gd name="connsiteY234" fmla="*/ 108158 h 159055"/>
                <a:gd name="connsiteX235" fmla="*/ 45172 w 108157"/>
                <a:gd name="connsiteY235" fmla="*/ 108476 h 159055"/>
                <a:gd name="connsiteX236" fmla="*/ 45172 w 108157"/>
                <a:gd name="connsiteY236" fmla="*/ 109430 h 159055"/>
                <a:gd name="connsiteX237" fmla="*/ 45490 w 108157"/>
                <a:gd name="connsiteY237" fmla="*/ 109749 h 159055"/>
                <a:gd name="connsiteX238" fmla="*/ 46762 w 108157"/>
                <a:gd name="connsiteY238" fmla="*/ 109749 h 159055"/>
                <a:gd name="connsiteX239" fmla="*/ 47081 w 108157"/>
                <a:gd name="connsiteY239" fmla="*/ 110385 h 159055"/>
                <a:gd name="connsiteX240" fmla="*/ 46444 w 108157"/>
                <a:gd name="connsiteY240" fmla="*/ 111021 h 159055"/>
                <a:gd name="connsiteX241" fmla="*/ 47081 w 108157"/>
                <a:gd name="connsiteY241" fmla="*/ 111339 h 159055"/>
                <a:gd name="connsiteX242" fmla="*/ 47399 w 108157"/>
                <a:gd name="connsiteY242" fmla="*/ 111657 h 159055"/>
                <a:gd name="connsiteX243" fmla="*/ 46444 w 108157"/>
                <a:gd name="connsiteY243" fmla="*/ 111657 h 159055"/>
                <a:gd name="connsiteX244" fmla="*/ 45172 w 108157"/>
                <a:gd name="connsiteY244" fmla="*/ 110703 h 159055"/>
                <a:gd name="connsiteX245" fmla="*/ 43581 w 108157"/>
                <a:gd name="connsiteY245" fmla="*/ 109430 h 159055"/>
                <a:gd name="connsiteX246" fmla="*/ 43581 w 108157"/>
                <a:gd name="connsiteY246" fmla="*/ 108794 h 159055"/>
                <a:gd name="connsiteX247" fmla="*/ 41991 w 108157"/>
                <a:gd name="connsiteY247" fmla="*/ 108158 h 159055"/>
                <a:gd name="connsiteX248" fmla="*/ 41036 w 108157"/>
                <a:gd name="connsiteY248" fmla="*/ 108158 h 159055"/>
                <a:gd name="connsiteX249" fmla="*/ 39128 w 108157"/>
                <a:gd name="connsiteY249" fmla="*/ 108158 h 159055"/>
                <a:gd name="connsiteX250" fmla="*/ 38810 w 108157"/>
                <a:gd name="connsiteY250" fmla="*/ 108158 h 159055"/>
                <a:gd name="connsiteX251" fmla="*/ 37537 w 108157"/>
                <a:gd name="connsiteY251" fmla="*/ 108158 h 159055"/>
                <a:gd name="connsiteX252" fmla="*/ 37537 w 108157"/>
                <a:gd name="connsiteY252" fmla="*/ 107522 h 159055"/>
                <a:gd name="connsiteX253" fmla="*/ 35629 w 108157"/>
                <a:gd name="connsiteY253" fmla="*/ 106249 h 159055"/>
                <a:gd name="connsiteX254" fmla="*/ 34674 w 108157"/>
                <a:gd name="connsiteY254" fmla="*/ 106249 h 159055"/>
                <a:gd name="connsiteX255" fmla="*/ 33402 w 108157"/>
                <a:gd name="connsiteY255" fmla="*/ 104977 h 159055"/>
                <a:gd name="connsiteX256" fmla="*/ 31175 w 108157"/>
                <a:gd name="connsiteY256" fmla="*/ 104023 h 159055"/>
                <a:gd name="connsiteX257" fmla="*/ 29903 w 108157"/>
                <a:gd name="connsiteY257" fmla="*/ 104023 h 159055"/>
                <a:gd name="connsiteX258" fmla="*/ 23858 w 108157"/>
                <a:gd name="connsiteY258" fmla="*/ 100841 h 159055"/>
                <a:gd name="connsiteX259" fmla="*/ 20041 w 108157"/>
                <a:gd name="connsiteY259" fmla="*/ 98933 h 159055"/>
                <a:gd name="connsiteX260" fmla="*/ 19405 w 108157"/>
                <a:gd name="connsiteY260" fmla="*/ 97978 h 159055"/>
                <a:gd name="connsiteX261" fmla="*/ 18132 w 108157"/>
                <a:gd name="connsiteY261" fmla="*/ 97024 h 159055"/>
                <a:gd name="connsiteX262" fmla="*/ 16542 w 108157"/>
                <a:gd name="connsiteY262" fmla="*/ 94797 h 159055"/>
                <a:gd name="connsiteX263" fmla="*/ 15269 w 108157"/>
                <a:gd name="connsiteY263" fmla="*/ 93207 h 159055"/>
                <a:gd name="connsiteX264" fmla="*/ 12088 w 108157"/>
                <a:gd name="connsiteY264" fmla="*/ 90980 h 159055"/>
                <a:gd name="connsiteX265" fmla="*/ 11134 w 108157"/>
                <a:gd name="connsiteY265" fmla="*/ 89708 h 159055"/>
                <a:gd name="connsiteX266" fmla="*/ 11134 w 108157"/>
                <a:gd name="connsiteY266" fmla="*/ 89389 h 159055"/>
                <a:gd name="connsiteX267" fmla="*/ 9543 w 108157"/>
                <a:gd name="connsiteY267" fmla="*/ 87799 h 159055"/>
                <a:gd name="connsiteX268" fmla="*/ 6680 w 108157"/>
                <a:gd name="connsiteY268" fmla="*/ 83345 h 159055"/>
                <a:gd name="connsiteX269" fmla="*/ 6680 w 108157"/>
                <a:gd name="connsiteY269" fmla="*/ 82073 h 159055"/>
                <a:gd name="connsiteX270" fmla="*/ 5726 w 108157"/>
                <a:gd name="connsiteY270" fmla="*/ 79210 h 159055"/>
                <a:gd name="connsiteX271" fmla="*/ 5090 w 108157"/>
                <a:gd name="connsiteY271" fmla="*/ 77619 h 159055"/>
                <a:gd name="connsiteX272" fmla="*/ 3817 w 108157"/>
                <a:gd name="connsiteY272" fmla="*/ 71893 h 159055"/>
                <a:gd name="connsiteX273" fmla="*/ 3817 w 108157"/>
                <a:gd name="connsiteY273" fmla="*/ 70303 h 159055"/>
                <a:gd name="connsiteX274" fmla="*/ 3817 w 108157"/>
                <a:gd name="connsiteY274" fmla="*/ 69030 h 159055"/>
                <a:gd name="connsiteX275" fmla="*/ 2863 w 108157"/>
                <a:gd name="connsiteY275" fmla="*/ 65849 h 159055"/>
                <a:gd name="connsiteX276" fmla="*/ 3181 w 108157"/>
                <a:gd name="connsiteY276" fmla="*/ 61396 h 159055"/>
                <a:gd name="connsiteX277" fmla="*/ 3817 w 108157"/>
                <a:gd name="connsiteY277" fmla="*/ 59805 h 159055"/>
                <a:gd name="connsiteX278" fmla="*/ 4454 w 108157"/>
                <a:gd name="connsiteY278" fmla="*/ 56624 h 159055"/>
                <a:gd name="connsiteX279" fmla="*/ 6998 w 108157"/>
                <a:gd name="connsiteY279" fmla="*/ 50898 h 159055"/>
                <a:gd name="connsiteX280" fmla="*/ 8589 w 108157"/>
                <a:gd name="connsiteY280" fmla="*/ 48989 h 159055"/>
                <a:gd name="connsiteX281" fmla="*/ 8589 w 108157"/>
                <a:gd name="connsiteY281" fmla="*/ 48035 h 159055"/>
                <a:gd name="connsiteX282" fmla="*/ 9543 w 108157"/>
                <a:gd name="connsiteY282" fmla="*/ 46444 h 159055"/>
                <a:gd name="connsiteX283" fmla="*/ 11770 w 108157"/>
                <a:gd name="connsiteY283" fmla="*/ 43263 h 159055"/>
                <a:gd name="connsiteX284" fmla="*/ 12724 w 108157"/>
                <a:gd name="connsiteY284" fmla="*/ 41991 h 159055"/>
                <a:gd name="connsiteX285" fmla="*/ 13679 w 108157"/>
                <a:gd name="connsiteY285" fmla="*/ 40082 h 159055"/>
                <a:gd name="connsiteX286" fmla="*/ 15906 w 108157"/>
                <a:gd name="connsiteY286" fmla="*/ 39128 h 159055"/>
                <a:gd name="connsiteX287" fmla="*/ 16224 w 108157"/>
                <a:gd name="connsiteY287" fmla="*/ 39128 h 159055"/>
                <a:gd name="connsiteX288" fmla="*/ 17814 w 108157"/>
                <a:gd name="connsiteY288" fmla="*/ 38173 h 159055"/>
                <a:gd name="connsiteX289" fmla="*/ 21314 w 108157"/>
                <a:gd name="connsiteY289" fmla="*/ 34674 h 159055"/>
                <a:gd name="connsiteX290" fmla="*/ 22586 w 108157"/>
                <a:gd name="connsiteY290" fmla="*/ 33084 h 159055"/>
                <a:gd name="connsiteX291" fmla="*/ 24813 w 108157"/>
                <a:gd name="connsiteY291" fmla="*/ 31493 h 159055"/>
                <a:gd name="connsiteX292" fmla="*/ 26403 w 108157"/>
                <a:gd name="connsiteY292" fmla="*/ 29903 h 159055"/>
                <a:gd name="connsiteX293" fmla="*/ 29266 w 108157"/>
                <a:gd name="connsiteY293" fmla="*/ 28312 h 159055"/>
                <a:gd name="connsiteX294" fmla="*/ 31175 w 108157"/>
                <a:gd name="connsiteY294" fmla="*/ 26403 h 159055"/>
                <a:gd name="connsiteX295" fmla="*/ 35310 w 108157"/>
                <a:gd name="connsiteY295" fmla="*/ 22904 h 159055"/>
                <a:gd name="connsiteX296" fmla="*/ 38810 w 108157"/>
                <a:gd name="connsiteY296" fmla="*/ 20677 h 159055"/>
                <a:gd name="connsiteX297" fmla="*/ 39128 w 108157"/>
                <a:gd name="connsiteY297" fmla="*/ 20041 h 159055"/>
                <a:gd name="connsiteX298" fmla="*/ 43263 w 108157"/>
                <a:gd name="connsiteY298" fmla="*/ 17496 h 159055"/>
                <a:gd name="connsiteX299" fmla="*/ 46762 w 108157"/>
                <a:gd name="connsiteY299" fmla="*/ 15906 h 159055"/>
                <a:gd name="connsiteX300" fmla="*/ 48035 w 108157"/>
                <a:gd name="connsiteY300" fmla="*/ 14951 h 159055"/>
                <a:gd name="connsiteX301" fmla="*/ 49307 w 108157"/>
                <a:gd name="connsiteY301" fmla="*/ 14315 h 159055"/>
                <a:gd name="connsiteX302" fmla="*/ 51216 w 108157"/>
                <a:gd name="connsiteY302" fmla="*/ 13679 h 159055"/>
                <a:gd name="connsiteX303" fmla="*/ 52806 w 108157"/>
                <a:gd name="connsiteY303" fmla="*/ 12724 h 159055"/>
                <a:gd name="connsiteX304" fmla="*/ 55670 w 108157"/>
                <a:gd name="connsiteY304" fmla="*/ 11134 h 159055"/>
                <a:gd name="connsiteX305" fmla="*/ 55988 w 108157"/>
                <a:gd name="connsiteY305" fmla="*/ 11134 h 159055"/>
                <a:gd name="connsiteX306" fmla="*/ 59169 w 108157"/>
                <a:gd name="connsiteY306" fmla="*/ 11452 h 159055"/>
                <a:gd name="connsiteX307" fmla="*/ 59487 w 108157"/>
                <a:gd name="connsiteY307" fmla="*/ 11134 h 159055"/>
                <a:gd name="connsiteX308" fmla="*/ 61396 w 108157"/>
                <a:gd name="connsiteY308" fmla="*/ 9861 h 159055"/>
                <a:gd name="connsiteX309" fmla="*/ 62350 w 108157"/>
                <a:gd name="connsiteY309" fmla="*/ 9861 h 159055"/>
                <a:gd name="connsiteX310" fmla="*/ 65849 w 108157"/>
                <a:gd name="connsiteY310" fmla="*/ 8271 h 159055"/>
                <a:gd name="connsiteX311" fmla="*/ 68076 w 108157"/>
                <a:gd name="connsiteY311" fmla="*/ 7953 h 159055"/>
                <a:gd name="connsiteX312" fmla="*/ 69985 w 108157"/>
                <a:gd name="connsiteY312" fmla="*/ 6998 h 159055"/>
                <a:gd name="connsiteX313" fmla="*/ 72848 w 108157"/>
                <a:gd name="connsiteY313" fmla="*/ 6680 h 159055"/>
                <a:gd name="connsiteX314" fmla="*/ 73802 w 108157"/>
                <a:gd name="connsiteY314" fmla="*/ 6680 h 159055"/>
                <a:gd name="connsiteX315" fmla="*/ 75074 w 108157"/>
                <a:gd name="connsiteY315" fmla="*/ 6044 h 159055"/>
                <a:gd name="connsiteX316" fmla="*/ 75393 w 108157"/>
                <a:gd name="connsiteY316" fmla="*/ 6044 h 159055"/>
                <a:gd name="connsiteX317" fmla="*/ 76347 w 108157"/>
                <a:gd name="connsiteY317" fmla="*/ 6044 h 159055"/>
                <a:gd name="connsiteX318" fmla="*/ 78574 w 108157"/>
                <a:gd name="connsiteY318" fmla="*/ 5408 h 159055"/>
                <a:gd name="connsiteX319" fmla="*/ 80482 w 108157"/>
                <a:gd name="connsiteY319" fmla="*/ 5408 h 159055"/>
                <a:gd name="connsiteX320" fmla="*/ 81437 w 108157"/>
                <a:gd name="connsiteY320" fmla="*/ 4772 h 159055"/>
                <a:gd name="connsiteX321" fmla="*/ 82709 w 108157"/>
                <a:gd name="connsiteY321" fmla="*/ 3499 h 159055"/>
                <a:gd name="connsiteX322" fmla="*/ 84618 w 108157"/>
                <a:gd name="connsiteY322" fmla="*/ 2863 h 159055"/>
                <a:gd name="connsiteX323" fmla="*/ 85254 w 108157"/>
                <a:gd name="connsiteY323" fmla="*/ 2545 h 159055"/>
                <a:gd name="connsiteX324" fmla="*/ 87799 w 108157"/>
                <a:gd name="connsiteY324" fmla="*/ 2545 h 159055"/>
                <a:gd name="connsiteX325" fmla="*/ 85254 w 108157"/>
                <a:gd name="connsiteY325" fmla="*/ 3499 h 159055"/>
                <a:gd name="connsiteX326" fmla="*/ 84618 w 108157"/>
                <a:gd name="connsiteY326" fmla="*/ 4135 h 159055"/>
                <a:gd name="connsiteX327" fmla="*/ 84300 w 108157"/>
                <a:gd name="connsiteY327" fmla="*/ 4135 h 159055"/>
                <a:gd name="connsiteX328" fmla="*/ 84618 w 108157"/>
                <a:gd name="connsiteY328" fmla="*/ 4135 h 159055"/>
                <a:gd name="connsiteX329" fmla="*/ 87799 w 108157"/>
                <a:gd name="connsiteY329" fmla="*/ 3499 h 159055"/>
                <a:gd name="connsiteX330" fmla="*/ 89389 w 108157"/>
                <a:gd name="connsiteY330" fmla="*/ 3499 h 159055"/>
                <a:gd name="connsiteX331" fmla="*/ 90026 w 108157"/>
                <a:gd name="connsiteY331" fmla="*/ 2545 h 159055"/>
                <a:gd name="connsiteX332" fmla="*/ 89708 w 108157"/>
                <a:gd name="connsiteY332" fmla="*/ 2545 h 159055"/>
                <a:gd name="connsiteX333" fmla="*/ 90026 w 108157"/>
                <a:gd name="connsiteY333" fmla="*/ 1272 h 159055"/>
                <a:gd name="connsiteX334" fmla="*/ 93525 w 108157"/>
                <a:gd name="connsiteY334" fmla="*/ 1272 h 159055"/>
                <a:gd name="connsiteX335" fmla="*/ 98297 w 108157"/>
                <a:gd name="connsiteY335" fmla="*/ 954 h 159055"/>
                <a:gd name="connsiteX336" fmla="*/ 99251 w 108157"/>
                <a:gd name="connsiteY336" fmla="*/ 0 h 159055"/>
                <a:gd name="connsiteX337" fmla="*/ 99569 w 108157"/>
                <a:gd name="connsiteY337" fmla="*/ 0 h 159055"/>
                <a:gd name="connsiteX338" fmla="*/ 102114 w 108157"/>
                <a:gd name="connsiteY338" fmla="*/ 636 h 159055"/>
                <a:gd name="connsiteX339" fmla="*/ 106249 w 108157"/>
                <a:gd name="connsiteY339" fmla="*/ 1591 h 159055"/>
                <a:gd name="connsiteX340" fmla="*/ 107204 w 108157"/>
                <a:gd name="connsiteY340" fmla="*/ 2545 h 159055"/>
                <a:gd name="connsiteX341" fmla="*/ 108158 w 108157"/>
                <a:gd name="connsiteY341" fmla="*/ 4772 h 159055"/>
                <a:gd name="connsiteX342" fmla="*/ 110703 w 108157"/>
                <a:gd name="connsiteY342" fmla="*/ 7635 h 159055"/>
                <a:gd name="connsiteX343" fmla="*/ 111657 w 108157"/>
                <a:gd name="connsiteY343" fmla="*/ 8907 h 159055"/>
                <a:gd name="connsiteX344" fmla="*/ 111657 w 108157"/>
                <a:gd name="connsiteY344" fmla="*/ 10816 h 159055"/>
                <a:gd name="connsiteX345" fmla="*/ 111339 w 108157"/>
                <a:gd name="connsiteY345" fmla="*/ 12088 h 159055"/>
                <a:gd name="connsiteX346" fmla="*/ 111339 w 108157"/>
                <a:gd name="connsiteY346" fmla="*/ 16860 h 159055"/>
                <a:gd name="connsiteX347" fmla="*/ 111021 w 108157"/>
                <a:gd name="connsiteY347" fmla="*/ 20041 h 159055"/>
                <a:gd name="connsiteX348" fmla="*/ 111021 w 108157"/>
                <a:gd name="connsiteY348" fmla="*/ 21950 h 159055"/>
                <a:gd name="connsiteX349" fmla="*/ 110703 w 108157"/>
                <a:gd name="connsiteY349" fmla="*/ 22268 h 159055"/>
                <a:gd name="connsiteX350" fmla="*/ 110067 w 108157"/>
                <a:gd name="connsiteY350" fmla="*/ 21950 h 159055"/>
                <a:gd name="connsiteX351" fmla="*/ 109749 w 108157"/>
                <a:gd name="connsiteY351" fmla="*/ 20995 h 159055"/>
                <a:gd name="connsiteX352" fmla="*/ 108158 w 108157"/>
                <a:gd name="connsiteY352" fmla="*/ 20359 h 159055"/>
                <a:gd name="connsiteX353" fmla="*/ 107840 w 108157"/>
                <a:gd name="connsiteY353" fmla="*/ 20677 h 159055"/>
                <a:gd name="connsiteX354" fmla="*/ 107840 w 108157"/>
                <a:gd name="connsiteY354" fmla="*/ 20995 h 159055"/>
                <a:gd name="connsiteX355" fmla="*/ 109431 w 108157"/>
                <a:gd name="connsiteY355" fmla="*/ 22268 h 159055"/>
                <a:gd name="connsiteX356" fmla="*/ 109749 w 108157"/>
                <a:gd name="connsiteY356" fmla="*/ 23222 h 159055"/>
                <a:gd name="connsiteX357" fmla="*/ 109431 w 108157"/>
                <a:gd name="connsiteY357" fmla="*/ 23858 h 159055"/>
                <a:gd name="connsiteX358" fmla="*/ 109431 w 108157"/>
                <a:gd name="connsiteY358" fmla="*/ 26403 h 159055"/>
                <a:gd name="connsiteX359" fmla="*/ 108794 w 108157"/>
                <a:gd name="connsiteY359" fmla="*/ 26721 h 159055"/>
                <a:gd name="connsiteX360" fmla="*/ 107204 w 108157"/>
                <a:gd name="connsiteY360" fmla="*/ 24177 h 159055"/>
                <a:gd name="connsiteX361" fmla="*/ 103386 w 108157"/>
                <a:gd name="connsiteY361" fmla="*/ 21950 h 159055"/>
                <a:gd name="connsiteX362" fmla="*/ 97024 w 108157"/>
                <a:gd name="connsiteY362" fmla="*/ 21950 h 159055"/>
                <a:gd name="connsiteX363" fmla="*/ 95752 w 108157"/>
                <a:gd name="connsiteY363" fmla="*/ 22268 h 159055"/>
                <a:gd name="connsiteX364" fmla="*/ 92889 w 108157"/>
                <a:gd name="connsiteY364" fmla="*/ 22268 h 159055"/>
                <a:gd name="connsiteX365" fmla="*/ 91616 w 108157"/>
                <a:gd name="connsiteY365" fmla="*/ 22586 h 159055"/>
                <a:gd name="connsiteX366" fmla="*/ 89708 w 108157"/>
                <a:gd name="connsiteY366" fmla="*/ 23222 h 159055"/>
                <a:gd name="connsiteX367" fmla="*/ 89071 w 108157"/>
                <a:gd name="connsiteY367" fmla="*/ 23540 h 159055"/>
                <a:gd name="connsiteX368" fmla="*/ 85572 w 108157"/>
                <a:gd name="connsiteY368" fmla="*/ 24495 h 159055"/>
                <a:gd name="connsiteX369" fmla="*/ 81755 w 108157"/>
                <a:gd name="connsiteY369" fmla="*/ 25449 h 159055"/>
                <a:gd name="connsiteX370" fmla="*/ 81119 w 108157"/>
                <a:gd name="connsiteY370" fmla="*/ 25767 h 159055"/>
                <a:gd name="connsiteX371" fmla="*/ 77301 w 108157"/>
                <a:gd name="connsiteY371" fmla="*/ 26721 h 159055"/>
                <a:gd name="connsiteX372" fmla="*/ 76347 w 108157"/>
                <a:gd name="connsiteY372" fmla="*/ 27358 h 159055"/>
                <a:gd name="connsiteX373" fmla="*/ 73166 w 108157"/>
                <a:gd name="connsiteY373" fmla="*/ 28948 h 159055"/>
                <a:gd name="connsiteX374" fmla="*/ 69348 w 108157"/>
                <a:gd name="connsiteY374" fmla="*/ 30539 h 159055"/>
                <a:gd name="connsiteX375" fmla="*/ 65531 w 108157"/>
                <a:gd name="connsiteY375" fmla="*/ 31811 h 159055"/>
                <a:gd name="connsiteX376" fmla="*/ 63304 w 108157"/>
                <a:gd name="connsiteY376" fmla="*/ 32766 h 159055"/>
                <a:gd name="connsiteX377" fmla="*/ 62668 w 108157"/>
                <a:gd name="connsiteY377" fmla="*/ 33720 h 159055"/>
                <a:gd name="connsiteX378" fmla="*/ 60759 w 108157"/>
                <a:gd name="connsiteY378" fmla="*/ 35310 h 159055"/>
                <a:gd name="connsiteX379" fmla="*/ 60123 w 108157"/>
                <a:gd name="connsiteY379" fmla="*/ 35629 h 159055"/>
                <a:gd name="connsiteX380" fmla="*/ 59169 w 108157"/>
                <a:gd name="connsiteY380" fmla="*/ 35629 h 159055"/>
                <a:gd name="connsiteX381" fmla="*/ 56306 w 108157"/>
                <a:gd name="connsiteY381" fmla="*/ 37537 h 159055"/>
                <a:gd name="connsiteX382" fmla="*/ 52170 w 108157"/>
                <a:gd name="connsiteY382" fmla="*/ 39764 h 159055"/>
                <a:gd name="connsiteX383" fmla="*/ 49307 w 108157"/>
                <a:gd name="connsiteY383" fmla="*/ 41036 h 159055"/>
                <a:gd name="connsiteX384" fmla="*/ 49307 w 108157"/>
                <a:gd name="connsiteY384" fmla="*/ 41991 h 159055"/>
                <a:gd name="connsiteX385" fmla="*/ 46444 w 108157"/>
                <a:gd name="connsiteY385" fmla="*/ 44218 h 159055"/>
                <a:gd name="connsiteX386" fmla="*/ 43263 w 108157"/>
                <a:gd name="connsiteY386" fmla="*/ 46444 h 159055"/>
                <a:gd name="connsiteX387" fmla="*/ 42309 w 108157"/>
                <a:gd name="connsiteY387" fmla="*/ 46762 h 159055"/>
                <a:gd name="connsiteX388" fmla="*/ 40718 w 108157"/>
                <a:gd name="connsiteY388" fmla="*/ 47399 h 159055"/>
                <a:gd name="connsiteX389" fmla="*/ 38810 w 108157"/>
                <a:gd name="connsiteY389" fmla="*/ 49625 h 159055"/>
                <a:gd name="connsiteX390" fmla="*/ 38810 w 108157"/>
                <a:gd name="connsiteY390" fmla="*/ 50262 h 159055"/>
                <a:gd name="connsiteX391" fmla="*/ 38173 w 108157"/>
                <a:gd name="connsiteY391" fmla="*/ 50898 h 159055"/>
                <a:gd name="connsiteX392" fmla="*/ 34674 w 108157"/>
                <a:gd name="connsiteY392" fmla="*/ 53761 h 159055"/>
                <a:gd name="connsiteX393" fmla="*/ 34674 w 108157"/>
                <a:gd name="connsiteY393" fmla="*/ 54079 h 159055"/>
                <a:gd name="connsiteX394" fmla="*/ 34038 w 108157"/>
                <a:gd name="connsiteY394" fmla="*/ 55033 h 159055"/>
                <a:gd name="connsiteX395" fmla="*/ 32765 w 108157"/>
                <a:gd name="connsiteY395" fmla="*/ 55988 h 159055"/>
                <a:gd name="connsiteX396" fmla="*/ 31175 w 108157"/>
                <a:gd name="connsiteY396" fmla="*/ 56624 h 159055"/>
                <a:gd name="connsiteX397" fmla="*/ 30539 w 108157"/>
                <a:gd name="connsiteY397" fmla="*/ 56942 h 159055"/>
                <a:gd name="connsiteX398" fmla="*/ 30221 w 108157"/>
                <a:gd name="connsiteY398" fmla="*/ 57896 h 159055"/>
                <a:gd name="connsiteX399" fmla="*/ 29266 w 108157"/>
                <a:gd name="connsiteY399" fmla="*/ 58851 h 159055"/>
                <a:gd name="connsiteX400" fmla="*/ 27994 w 108157"/>
                <a:gd name="connsiteY400" fmla="*/ 61077 h 159055"/>
                <a:gd name="connsiteX401" fmla="*/ 25449 w 108157"/>
                <a:gd name="connsiteY401" fmla="*/ 62986 h 159055"/>
                <a:gd name="connsiteX402" fmla="*/ 25131 w 108157"/>
                <a:gd name="connsiteY402" fmla="*/ 63304 h 159055"/>
                <a:gd name="connsiteX403" fmla="*/ 23540 w 108157"/>
                <a:gd name="connsiteY403" fmla="*/ 66485 h 159055"/>
                <a:gd name="connsiteX404" fmla="*/ 22268 w 108157"/>
                <a:gd name="connsiteY404" fmla="*/ 68394 h 159055"/>
                <a:gd name="connsiteX405" fmla="*/ 21632 w 108157"/>
                <a:gd name="connsiteY405" fmla="*/ 69030 h 159055"/>
                <a:gd name="connsiteX406" fmla="*/ 21314 w 108157"/>
                <a:gd name="connsiteY406" fmla="*/ 70303 h 159055"/>
                <a:gd name="connsiteX407" fmla="*/ 21314 w 108157"/>
                <a:gd name="connsiteY407" fmla="*/ 71257 h 159055"/>
                <a:gd name="connsiteX408" fmla="*/ 27040 w 108157"/>
                <a:gd name="connsiteY408" fmla="*/ 76665 h 159055"/>
                <a:gd name="connsiteX409" fmla="*/ 29903 w 108157"/>
                <a:gd name="connsiteY409" fmla="*/ 77937 h 159055"/>
                <a:gd name="connsiteX410" fmla="*/ 29903 w 108157"/>
                <a:gd name="connsiteY410" fmla="*/ 78574 h 159055"/>
                <a:gd name="connsiteX411" fmla="*/ 30221 w 108157"/>
                <a:gd name="connsiteY411" fmla="*/ 79528 h 159055"/>
                <a:gd name="connsiteX412" fmla="*/ 31175 w 108157"/>
                <a:gd name="connsiteY412" fmla="*/ 80164 h 159055"/>
                <a:gd name="connsiteX413" fmla="*/ 33720 w 108157"/>
                <a:gd name="connsiteY413" fmla="*/ 80482 h 159055"/>
                <a:gd name="connsiteX414" fmla="*/ 34356 w 108157"/>
                <a:gd name="connsiteY414" fmla="*/ 81119 h 159055"/>
                <a:gd name="connsiteX415" fmla="*/ 37855 w 108157"/>
                <a:gd name="connsiteY415" fmla="*/ 81437 h 159055"/>
                <a:gd name="connsiteX416" fmla="*/ 39128 w 108157"/>
                <a:gd name="connsiteY416" fmla="*/ 82073 h 159055"/>
                <a:gd name="connsiteX417" fmla="*/ 43581 w 108157"/>
                <a:gd name="connsiteY417" fmla="*/ 84618 h 159055"/>
                <a:gd name="connsiteX418" fmla="*/ 45808 w 108157"/>
                <a:gd name="connsiteY418" fmla="*/ 84936 h 159055"/>
                <a:gd name="connsiteX419" fmla="*/ 45808 w 108157"/>
                <a:gd name="connsiteY419" fmla="*/ 85254 h 159055"/>
                <a:gd name="connsiteX420" fmla="*/ 46444 w 108157"/>
                <a:gd name="connsiteY420" fmla="*/ 85254 h 159055"/>
                <a:gd name="connsiteX421" fmla="*/ 46126 w 108157"/>
                <a:gd name="connsiteY421" fmla="*/ 84936 h 159055"/>
                <a:gd name="connsiteX422" fmla="*/ 45808 w 108157"/>
                <a:gd name="connsiteY422" fmla="*/ 84936 h 159055"/>
                <a:gd name="connsiteX423" fmla="*/ 46444 w 108157"/>
                <a:gd name="connsiteY423" fmla="*/ 84618 h 159055"/>
                <a:gd name="connsiteX424" fmla="*/ 50262 w 108157"/>
                <a:gd name="connsiteY424" fmla="*/ 85890 h 159055"/>
                <a:gd name="connsiteX425" fmla="*/ 50898 w 108157"/>
                <a:gd name="connsiteY425" fmla="*/ 87163 h 159055"/>
                <a:gd name="connsiteX426" fmla="*/ 52170 w 108157"/>
                <a:gd name="connsiteY426" fmla="*/ 87163 h 159055"/>
                <a:gd name="connsiteX427" fmla="*/ 56306 w 108157"/>
                <a:gd name="connsiteY427" fmla="*/ 87481 h 159055"/>
                <a:gd name="connsiteX428" fmla="*/ 60123 w 108157"/>
                <a:gd name="connsiteY428" fmla="*/ 88753 h 159055"/>
                <a:gd name="connsiteX429" fmla="*/ 62986 w 108157"/>
                <a:gd name="connsiteY429" fmla="*/ 89708 h 159055"/>
                <a:gd name="connsiteX430" fmla="*/ 67122 w 108157"/>
                <a:gd name="connsiteY430" fmla="*/ 90980 h 159055"/>
                <a:gd name="connsiteX431" fmla="*/ 70621 w 108157"/>
                <a:gd name="connsiteY431" fmla="*/ 91934 h 159055"/>
                <a:gd name="connsiteX432" fmla="*/ 71893 w 108157"/>
                <a:gd name="connsiteY432" fmla="*/ 92252 h 159055"/>
                <a:gd name="connsiteX433" fmla="*/ 76347 w 108157"/>
                <a:gd name="connsiteY433" fmla="*/ 94479 h 159055"/>
                <a:gd name="connsiteX434" fmla="*/ 78255 w 108157"/>
                <a:gd name="connsiteY434" fmla="*/ 95115 h 159055"/>
                <a:gd name="connsiteX435" fmla="*/ 81755 w 108157"/>
                <a:gd name="connsiteY435" fmla="*/ 96388 h 159055"/>
                <a:gd name="connsiteX436" fmla="*/ 86208 w 108157"/>
                <a:gd name="connsiteY436" fmla="*/ 98297 h 159055"/>
                <a:gd name="connsiteX437" fmla="*/ 89708 w 108157"/>
                <a:gd name="connsiteY437" fmla="*/ 99569 h 159055"/>
                <a:gd name="connsiteX438" fmla="*/ 91616 w 108157"/>
                <a:gd name="connsiteY438" fmla="*/ 100523 h 159055"/>
                <a:gd name="connsiteX439" fmla="*/ 94797 w 108157"/>
                <a:gd name="connsiteY439" fmla="*/ 102432 h 159055"/>
                <a:gd name="connsiteX440" fmla="*/ 95752 w 108157"/>
                <a:gd name="connsiteY440" fmla="*/ 102750 h 159055"/>
                <a:gd name="connsiteX441" fmla="*/ 96706 w 108157"/>
                <a:gd name="connsiteY441" fmla="*/ 103386 h 159055"/>
                <a:gd name="connsiteX442" fmla="*/ 98615 w 108157"/>
                <a:gd name="connsiteY442" fmla="*/ 104341 h 159055"/>
                <a:gd name="connsiteX443" fmla="*/ 99251 w 108157"/>
                <a:gd name="connsiteY443" fmla="*/ 105931 h 159055"/>
                <a:gd name="connsiteX444" fmla="*/ 103068 w 108157"/>
                <a:gd name="connsiteY444" fmla="*/ 110703 h 159055"/>
                <a:gd name="connsiteX445" fmla="*/ 103068 w 108157"/>
                <a:gd name="connsiteY445" fmla="*/ 112930 h 159055"/>
                <a:gd name="connsiteX446" fmla="*/ 102114 w 108157"/>
                <a:gd name="connsiteY446" fmla="*/ 113248 h 159055"/>
                <a:gd name="connsiteX447" fmla="*/ 101796 w 108157"/>
                <a:gd name="connsiteY447" fmla="*/ 111975 h 159055"/>
                <a:gd name="connsiteX448" fmla="*/ 101478 w 108157"/>
                <a:gd name="connsiteY448" fmla="*/ 111975 h 159055"/>
                <a:gd name="connsiteX449" fmla="*/ 101160 w 108157"/>
                <a:gd name="connsiteY449" fmla="*/ 112293 h 159055"/>
                <a:gd name="connsiteX450" fmla="*/ 101160 w 108157"/>
                <a:gd name="connsiteY450" fmla="*/ 114838 h 159055"/>
                <a:gd name="connsiteX451" fmla="*/ 101160 w 108157"/>
                <a:gd name="connsiteY451" fmla="*/ 115793 h 159055"/>
                <a:gd name="connsiteX452" fmla="*/ 101796 w 108157"/>
                <a:gd name="connsiteY452" fmla="*/ 116429 h 159055"/>
                <a:gd name="connsiteX453" fmla="*/ 102432 w 108157"/>
                <a:gd name="connsiteY453" fmla="*/ 117701 h 159055"/>
                <a:gd name="connsiteX454" fmla="*/ 102750 w 108157"/>
                <a:gd name="connsiteY454" fmla="*/ 118338 h 159055"/>
                <a:gd name="connsiteX455" fmla="*/ 102750 w 108157"/>
                <a:gd name="connsiteY455" fmla="*/ 122473 h 159055"/>
                <a:gd name="connsiteX456" fmla="*/ 102432 w 108157"/>
                <a:gd name="connsiteY456" fmla="*/ 124064 h 159055"/>
                <a:gd name="connsiteX457" fmla="*/ 102114 w 108157"/>
                <a:gd name="connsiteY457" fmla="*/ 126290 h 159055"/>
                <a:gd name="connsiteX458" fmla="*/ 102114 w 108157"/>
                <a:gd name="connsiteY458" fmla="*/ 127563 h 159055"/>
                <a:gd name="connsiteX459" fmla="*/ 102114 w 108157"/>
                <a:gd name="connsiteY459" fmla="*/ 130744 h 159055"/>
                <a:gd name="connsiteX460" fmla="*/ 100841 w 108157"/>
                <a:gd name="connsiteY460" fmla="*/ 131380 h 159055"/>
                <a:gd name="connsiteX461" fmla="*/ 99569 w 108157"/>
                <a:gd name="connsiteY461" fmla="*/ 131062 h 159055"/>
                <a:gd name="connsiteX462" fmla="*/ 99569 w 108157"/>
                <a:gd name="connsiteY462" fmla="*/ 131062 h 159055"/>
                <a:gd name="connsiteX463" fmla="*/ 99887 w 108157"/>
                <a:gd name="connsiteY463" fmla="*/ 133607 h 159055"/>
                <a:gd name="connsiteX464" fmla="*/ 99251 w 108157"/>
                <a:gd name="connsiteY464" fmla="*/ 134561 h 159055"/>
                <a:gd name="connsiteX465" fmla="*/ 99251 w 108157"/>
                <a:gd name="connsiteY465" fmla="*/ 135516 h 159055"/>
                <a:gd name="connsiteX466" fmla="*/ 97660 w 108157"/>
                <a:gd name="connsiteY466" fmla="*/ 137106 h 159055"/>
                <a:gd name="connsiteX467" fmla="*/ 96706 w 108157"/>
                <a:gd name="connsiteY467" fmla="*/ 138061 h 159055"/>
                <a:gd name="connsiteX468" fmla="*/ 96388 w 108157"/>
                <a:gd name="connsiteY468" fmla="*/ 138379 h 159055"/>
                <a:gd name="connsiteX469" fmla="*/ 95434 w 108157"/>
                <a:gd name="connsiteY469" fmla="*/ 137742 h 159055"/>
                <a:gd name="connsiteX470" fmla="*/ 95115 w 108157"/>
                <a:gd name="connsiteY470" fmla="*/ 137742 h 159055"/>
                <a:gd name="connsiteX471" fmla="*/ 95434 w 108157"/>
                <a:gd name="connsiteY471" fmla="*/ 137742 h 159055"/>
                <a:gd name="connsiteX472" fmla="*/ 95115 w 108157"/>
                <a:gd name="connsiteY472" fmla="*/ 139969 h 159055"/>
                <a:gd name="connsiteX473" fmla="*/ 7953 w 108157"/>
                <a:gd name="connsiteY473" fmla="*/ 159056 h 159055"/>
                <a:gd name="connsiteX474" fmla="*/ 7953 w 108157"/>
                <a:gd name="connsiteY474" fmla="*/ 159374 h 159055"/>
                <a:gd name="connsiteX475" fmla="*/ 8271 w 108157"/>
                <a:gd name="connsiteY475" fmla="*/ 159056 h 159055"/>
                <a:gd name="connsiteX476" fmla="*/ 7953 w 108157"/>
                <a:gd name="connsiteY476" fmla="*/ 159056 h 159055"/>
                <a:gd name="connsiteX477" fmla="*/ 9225 w 108157"/>
                <a:gd name="connsiteY477" fmla="*/ 160646 h 159055"/>
                <a:gd name="connsiteX478" fmla="*/ 8907 w 108157"/>
                <a:gd name="connsiteY478" fmla="*/ 160646 h 159055"/>
                <a:gd name="connsiteX479" fmla="*/ 8589 w 108157"/>
                <a:gd name="connsiteY479" fmla="*/ 160646 h 159055"/>
                <a:gd name="connsiteX480" fmla="*/ 8589 w 108157"/>
                <a:gd name="connsiteY480" fmla="*/ 161919 h 159055"/>
                <a:gd name="connsiteX481" fmla="*/ 9225 w 108157"/>
                <a:gd name="connsiteY481" fmla="*/ 161919 h 159055"/>
                <a:gd name="connsiteX482" fmla="*/ 9861 w 108157"/>
                <a:gd name="connsiteY482" fmla="*/ 161919 h 159055"/>
                <a:gd name="connsiteX483" fmla="*/ 9225 w 108157"/>
                <a:gd name="connsiteY483" fmla="*/ 160646 h 159055"/>
                <a:gd name="connsiteX484" fmla="*/ 14315 w 108157"/>
                <a:gd name="connsiteY484" fmla="*/ 127245 h 159055"/>
                <a:gd name="connsiteX485" fmla="*/ 14315 w 108157"/>
                <a:gd name="connsiteY485" fmla="*/ 127563 h 159055"/>
                <a:gd name="connsiteX486" fmla="*/ 14951 w 108157"/>
                <a:gd name="connsiteY486" fmla="*/ 127563 h 159055"/>
                <a:gd name="connsiteX487" fmla="*/ 14315 w 108157"/>
                <a:gd name="connsiteY487" fmla="*/ 127245 h 159055"/>
                <a:gd name="connsiteX488" fmla="*/ 16860 w 108157"/>
                <a:gd name="connsiteY488" fmla="*/ 37537 h 159055"/>
                <a:gd name="connsiteX489" fmla="*/ 16860 w 108157"/>
                <a:gd name="connsiteY489" fmla="*/ 37855 h 159055"/>
                <a:gd name="connsiteX490" fmla="*/ 15906 w 108157"/>
                <a:gd name="connsiteY490" fmla="*/ 39128 h 159055"/>
                <a:gd name="connsiteX491" fmla="*/ 16860 w 108157"/>
                <a:gd name="connsiteY491" fmla="*/ 37537 h 159055"/>
                <a:gd name="connsiteX492" fmla="*/ 15906 w 108157"/>
                <a:gd name="connsiteY492" fmla="*/ 163828 h 159055"/>
                <a:gd name="connsiteX493" fmla="*/ 15906 w 108157"/>
                <a:gd name="connsiteY493" fmla="*/ 163509 h 159055"/>
                <a:gd name="connsiteX494" fmla="*/ 16542 w 108157"/>
                <a:gd name="connsiteY494" fmla="*/ 164146 h 159055"/>
                <a:gd name="connsiteX495" fmla="*/ 16224 w 108157"/>
                <a:gd name="connsiteY495" fmla="*/ 164146 h 159055"/>
                <a:gd name="connsiteX496" fmla="*/ 15906 w 108157"/>
                <a:gd name="connsiteY496" fmla="*/ 163828 h 159055"/>
                <a:gd name="connsiteX497" fmla="*/ 19087 w 108157"/>
                <a:gd name="connsiteY497" fmla="*/ 157783 h 159055"/>
                <a:gd name="connsiteX498" fmla="*/ 19087 w 108157"/>
                <a:gd name="connsiteY498" fmla="*/ 157465 h 159055"/>
                <a:gd name="connsiteX499" fmla="*/ 18450 w 108157"/>
                <a:gd name="connsiteY499" fmla="*/ 157783 h 159055"/>
                <a:gd name="connsiteX500" fmla="*/ 19087 w 108157"/>
                <a:gd name="connsiteY500" fmla="*/ 158102 h 159055"/>
                <a:gd name="connsiteX501" fmla="*/ 19087 w 108157"/>
                <a:gd name="connsiteY501" fmla="*/ 157783 h 159055"/>
                <a:gd name="connsiteX502" fmla="*/ 19087 w 108157"/>
                <a:gd name="connsiteY502" fmla="*/ 163828 h 159055"/>
                <a:gd name="connsiteX503" fmla="*/ 19405 w 108157"/>
                <a:gd name="connsiteY503" fmla="*/ 163509 h 159055"/>
                <a:gd name="connsiteX504" fmla="*/ 19723 w 108157"/>
                <a:gd name="connsiteY504" fmla="*/ 163828 h 159055"/>
                <a:gd name="connsiteX505" fmla="*/ 19405 w 108157"/>
                <a:gd name="connsiteY505" fmla="*/ 164146 h 159055"/>
                <a:gd name="connsiteX506" fmla="*/ 19087 w 108157"/>
                <a:gd name="connsiteY506" fmla="*/ 163828 h 159055"/>
                <a:gd name="connsiteX507" fmla="*/ 20041 w 108157"/>
                <a:gd name="connsiteY507" fmla="*/ 158102 h 159055"/>
                <a:gd name="connsiteX508" fmla="*/ 21632 w 108157"/>
                <a:gd name="connsiteY508" fmla="*/ 158102 h 159055"/>
                <a:gd name="connsiteX509" fmla="*/ 21950 w 108157"/>
                <a:gd name="connsiteY509" fmla="*/ 157783 h 159055"/>
                <a:gd name="connsiteX510" fmla="*/ 21632 w 108157"/>
                <a:gd name="connsiteY510" fmla="*/ 157147 h 159055"/>
                <a:gd name="connsiteX511" fmla="*/ 20041 w 108157"/>
                <a:gd name="connsiteY511" fmla="*/ 157465 h 159055"/>
                <a:gd name="connsiteX512" fmla="*/ 20041 w 108157"/>
                <a:gd name="connsiteY512" fmla="*/ 157783 h 159055"/>
                <a:gd name="connsiteX513" fmla="*/ 20041 w 108157"/>
                <a:gd name="connsiteY513" fmla="*/ 158102 h 159055"/>
                <a:gd name="connsiteX514" fmla="*/ 20359 w 108157"/>
                <a:gd name="connsiteY514" fmla="*/ 122791 h 159055"/>
                <a:gd name="connsiteX515" fmla="*/ 20677 w 108157"/>
                <a:gd name="connsiteY515" fmla="*/ 122791 h 159055"/>
                <a:gd name="connsiteX516" fmla="*/ 20359 w 108157"/>
                <a:gd name="connsiteY516" fmla="*/ 123109 h 159055"/>
                <a:gd name="connsiteX517" fmla="*/ 20359 w 108157"/>
                <a:gd name="connsiteY517" fmla="*/ 122791 h 159055"/>
                <a:gd name="connsiteX518" fmla="*/ 22586 w 108157"/>
                <a:gd name="connsiteY518" fmla="*/ 160328 h 159055"/>
                <a:gd name="connsiteX519" fmla="*/ 22904 w 108157"/>
                <a:gd name="connsiteY519" fmla="*/ 160328 h 159055"/>
                <a:gd name="connsiteX520" fmla="*/ 22586 w 108157"/>
                <a:gd name="connsiteY520" fmla="*/ 160010 h 159055"/>
                <a:gd name="connsiteX521" fmla="*/ 22586 w 108157"/>
                <a:gd name="connsiteY521" fmla="*/ 160328 h 159055"/>
                <a:gd name="connsiteX522" fmla="*/ 27040 w 108157"/>
                <a:gd name="connsiteY522" fmla="*/ 77937 h 159055"/>
                <a:gd name="connsiteX523" fmla="*/ 27040 w 108157"/>
                <a:gd name="connsiteY523" fmla="*/ 77619 h 159055"/>
                <a:gd name="connsiteX524" fmla="*/ 26721 w 108157"/>
                <a:gd name="connsiteY524" fmla="*/ 77301 h 159055"/>
                <a:gd name="connsiteX525" fmla="*/ 26721 w 108157"/>
                <a:gd name="connsiteY525" fmla="*/ 77937 h 159055"/>
                <a:gd name="connsiteX526" fmla="*/ 27040 w 108157"/>
                <a:gd name="connsiteY526" fmla="*/ 77937 h 159055"/>
                <a:gd name="connsiteX527" fmla="*/ 27040 w 108157"/>
                <a:gd name="connsiteY527" fmla="*/ 163509 h 159055"/>
                <a:gd name="connsiteX528" fmla="*/ 27040 w 108157"/>
                <a:gd name="connsiteY528" fmla="*/ 163828 h 159055"/>
                <a:gd name="connsiteX529" fmla="*/ 27040 w 108157"/>
                <a:gd name="connsiteY529" fmla="*/ 163509 h 159055"/>
                <a:gd name="connsiteX530" fmla="*/ 27994 w 108157"/>
                <a:gd name="connsiteY530" fmla="*/ 157783 h 159055"/>
                <a:gd name="connsiteX531" fmla="*/ 27994 w 108157"/>
                <a:gd name="connsiteY531" fmla="*/ 157783 h 159055"/>
                <a:gd name="connsiteX532" fmla="*/ 29266 w 108157"/>
                <a:gd name="connsiteY532" fmla="*/ 156511 h 159055"/>
                <a:gd name="connsiteX533" fmla="*/ 29266 w 108157"/>
                <a:gd name="connsiteY533" fmla="*/ 156511 h 159055"/>
                <a:gd name="connsiteX534" fmla="*/ 27676 w 108157"/>
                <a:gd name="connsiteY534" fmla="*/ 157465 h 159055"/>
                <a:gd name="connsiteX535" fmla="*/ 27994 w 108157"/>
                <a:gd name="connsiteY535" fmla="*/ 157783 h 159055"/>
                <a:gd name="connsiteX536" fmla="*/ 32129 w 108157"/>
                <a:gd name="connsiteY536" fmla="*/ 160965 h 159055"/>
                <a:gd name="connsiteX537" fmla="*/ 32129 w 108157"/>
                <a:gd name="connsiteY537" fmla="*/ 161283 h 159055"/>
                <a:gd name="connsiteX538" fmla="*/ 32129 w 108157"/>
                <a:gd name="connsiteY538" fmla="*/ 161283 h 159055"/>
                <a:gd name="connsiteX539" fmla="*/ 30539 w 108157"/>
                <a:gd name="connsiteY539" fmla="*/ 161601 h 159055"/>
                <a:gd name="connsiteX540" fmla="*/ 29266 w 108157"/>
                <a:gd name="connsiteY540" fmla="*/ 160965 h 159055"/>
                <a:gd name="connsiteX541" fmla="*/ 29266 w 108157"/>
                <a:gd name="connsiteY541" fmla="*/ 160328 h 159055"/>
                <a:gd name="connsiteX542" fmla="*/ 30539 w 108157"/>
                <a:gd name="connsiteY542" fmla="*/ 160646 h 159055"/>
                <a:gd name="connsiteX543" fmla="*/ 32129 w 108157"/>
                <a:gd name="connsiteY543" fmla="*/ 160965 h 159055"/>
                <a:gd name="connsiteX544" fmla="*/ 30857 w 108157"/>
                <a:gd name="connsiteY544" fmla="*/ 157147 h 159055"/>
                <a:gd name="connsiteX545" fmla="*/ 30857 w 108157"/>
                <a:gd name="connsiteY545" fmla="*/ 156829 h 159055"/>
                <a:gd name="connsiteX546" fmla="*/ 30539 w 108157"/>
                <a:gd name="connsiteY546" fmla="*/ 156829 h 159055"/>
                <a:gd name="connsiteX547" fmla="*/ 30857 w 108157"/>
                <a:gd name="connsiteY547" fmla="*/ 157147 h 159055"/>
                <a:gd name="connsiteX548" fmla="*/ 33402 w 108157"/>
                <a:gd name="connsiteY548" fmla="*/ 79528 h 159055"/>
                <a:gd name="connsiteX549" fmla="*/ 33084 w 108157"/>
                <a:gd name="connsiteY549" fmla="*/ 79528 h 159055"/>
                <a:gd name="connsiteX550" fmla="*/ 33402 w 108157"/>
                <a:gd name="connsiteY550" fmla="*/ 79528 h 159055"/>
                <a:gd name="connsiteX551" fmla="*/ 33720 w 108157"/>
                <a:gd name="connsiteY551" fmla="*/ 79528 h 159055"/>
                <a:gd name="connsiteX552" fmla="*/ 33402 w 108157"/>
                <a:gd name="connsiteY552" fmla="*/ 79528 h 159055"/>
                <a:gd name="connsiteX553" fmla="*/ 33720 w 108157"/>
                <a:gd name="connsiteY553" fmla="*/ 79528 h 159055"/>
                <a:gd name="connsiteX554" fmla="*/ 33720 w 108157"/>
                <a:gd name="connsiteY554" fmla="*/ 80482 h 159055"/>
                <a:gd name="connsiteX555" fmla="*/ 33720 w 108157"/>
                <a:gd name="connsiteY555" fmla="*/ 79528 h 159055"/>
                <a:gd name="connsiteX556" fmla="*/ 34356 w 108157"/>
                <a:gd name="connsiteY556" fmla="*/ 102750 h 159055"/>
                <a:gd name="connsiteX557" fmla="*/ 34674 w 108157"/>
                <a:gd name="connsiteY557" fmla="*/ 102432 h 159055"/>
                <a:gd name="connsiteX558" fmla="*/ 33720 w 108157"/>
                <a:gd name="connsiteY558" fmla="*/ 102432 h 159055"/>
                <a:gd name="connsiteX559" fmla="*/ 33720 w 108157"/>
                <a:gd name="connsiteY559" fmla="*/ 102750 h 159055"/>
                <a:gd name="connsiteX560" fmla="*/ 34356 w 108157"/>
                <a:gd name="connsiteY560" fmla="*/ 102750 h 159055"/>
                <a:gd name="connsiteX561" fmla="*/ 34038 w 108157"/>
                <a:gd name="connsiteY561" fmla="*/ 161283 h 159055"/>
                <a:gd name="connsiteX562" fmla="*/ 34038 w 108157"/>
                <a:gd name="connsiteY562" fmla="*/ 160965 h 159055"/>
                <a:gd name="connsiteX563" fmla="*/ 34038 w 108157"/>
                <a:gd name="connsiteY563" fmla="*/ 160646 h 159055"/>
                <a:gd name="connsiteX564" fmla="*/ 37537 w 108157"/>
                <a:gd name="connsiteY564" fmla="*/ 159374 h 159055"/>
                <a:gd name="connsiteX565" fmla="*/ 39764 w 108157"/>
                <a:gd name="connsiteY565" fmla="*/ 159056 h 159055"/>
                <a:gd name="connsiteX566" fmla="*/ 40718 w 108157"/>
                <a:gd name="connsiteY566" fmla="*/ 160010 h 159055"/>
                <a:gd name="connsiteX567" fmla="*/ 37219 w 108157"/>
                <a:gd name="connsiteY567" fmla="*/ 160010 h 159055"/>
                <a:gd name="connsiteX568" fmla="*/ 36265 w 108157"/>
                <a:gd name="connsiteY568" fmla="*/ 160646 h 159055"/>
                <a:gd name="connsiteX569" fmla="*/ 34356 w 108157"/>
                <a:gd name="connsiteY569" fmla="*/ 161283 h 159055"/>
                <a:gd name="connsiteX570" fmla="*/ 34038 w 108157"/>
                <a:gd name="connsiteY570" fmla="*/ 161283 h 159055"/>
                <a:gd name="connsiteX571" fmla="*/ 36265 w 108157"/>
                <a:gd name="connsiteY571" fmla="*/ 158102 h 159055"/>
                <a:gd name="connsiteX572" fmla="*/ 35629 w 108157"/>
                <a:gd name="connsiteY572" fmla="*/ 157783 h 159055"/>
                <a:gd name="connsiteX573" fmla="*/ 36265 w 108157"/>
                <a:gd name="connsiteY573" fmla="*/ 157147 h 159055"/>
                <a:gd name="connsiteX574" fmla="*/ 37537 w 108157"/>
                <a:gd name="connsiteY574" fmla="*/ 157465 h 159055"/>
                <a:gd name="connsiteX575" fmla="*/ 37855 w 108157"/>
                <a:gd name="connsiteY575" fmla="*/ 158102 h 159055"/>
                <a:gd name="connsiteX576" fmla="*/ 37537 w 108157"/>
                <a:gd name="connsiteY576" fmla="*/ 158420 h 159055"/>
                <a:gd name="connsiteX577" fmla="*/ 36901 w 108157"/>
                <a:gd name="connsiteY577" fmla="*/ 158420 h 159055"/>
                <a:gd name="connsiteX578" fmla="*/ 36265 w 108157"/>
                <a:gd name="connsiteY578" fmla="*/ 158102 h 159055"/>
                <a:gd name="connsiteX579" fmla="*/ 36901 w 108157"/>
                <a:gd name="connsiteY579" fmla="*/ 24177 h 159055"/>
                <a:gd name="connsiteX580" fmla="*/ 37219 w 108157"/>
                <a:gd name="connsiteY580" fmla="*/ 24177 h 159055"/>
                <a:gd name="connsiteX581" fmla="*/ 36901 w 108157"/>
                <a:gd name="connsiteY581" fmla="*/ 23540 h 159055"/>
                <a:gd name="connsiteX582" fmla="*/ 36583 w 108157"/>
                <a:gd name="connsiteY582" fmla="*/ 23858 h 159055"/>
                <a:gd name="connsiteX583" fmla="*/ 36901 w 108157"/>
                <a:gd name="connsiteY583" fmla="*/ 24177 h 159055"/>
                <a:gd name="connsiteX584" fmla="*/ 38810 w 108157"/>
                <a:gd name="connsiteY584" fmla="*/ 155239 h 159055"/>
                <a:gd name="connsiteX585" fmla="*/ 38491 w 108157"/>
                <a:gd name="connsiteY585" fmla="*/ 155239 h 159055"/>
                <a:gd name="connsiteX586" fmla="*/ 38810 w 108157"/>
                <a:gd name="connsiteY586" fmla="*/ 155239 h 159055"/>
                <a:gd name="connsiteX587" fmla="*/ 46762 w 108157"/>
                <a:gd name="connsiteY587" fmla="*/ 32766 h 159055"/>
                <a:gd name="connsiteX588" fmla="*/ 44854 w 108157"/>
                <a:gd name="connsiteY588" fmla="*/ 34038 h 159055"/>
                <a:gd name="connsiteX589" fmla="*/ 42309 w 108157"/>
                <a:gd name="connsiteY589" fmla="*/ 35629 h 159055"/>
                <a:gd name="connsiteX590" fmla="*/ 39764 w 108157"/>
                <a:gd name="connsiteY590" fmla="*/ 37537 h 159055"/>
                <a:gd name="connsiteX591" fmla="*/ 40082 w 108157"/>
                <a:gd name="connsiteY591" fmla="*/ 38173 h 159055"/>
                <a:gd name="connsiteX592" fmla="*/ 40718 w 108157"/>
                <a:gd name="connsiteY592" fmla="*/ 38173 h 159055"/>
                <a:gd name="connsiteX593" fmla="*/ 42309 w 108157"/>
                <a:gd name="connsiteY593" fmla="*/ 36583 h 159055"/>
                <a:gd name="connsiteX594" fmla="*/ 44854 w 108157"/>
                <a:gd name="connsiteY594" fmla="*/ 35310 h 159055"/>
                <a:gd name="connsiteX595" fmla="*/ 47081 w 108157"/>
                <a:gd name="connsiteY595" fmla="*/ 33402 h 159055"/>
                <a:gd name="connsiteX596" fmla="*/ 47081 w 108157"/>
                <a:gd name="connsiteY596" fmla="*/ 33084 h 159055"/>
                <a:gd name="connsiteX597" fmla="*/ 46762 w 108157"/>
                <a:gd name="connsiteY597" fmla="*/ 32766 h 159055"/>
                <a:gd name="connsiteX598" fmla="*/ 41991 w 108157"/>
                <a:gd name="connsiteY598" fmla="*/ 105613 h 159055"/>
                <a:gd name="connsiteX599" fmla="*/ 41991 w 108157"/>
                <a:gd name="connsiteY599" fmla="*/ 105295 h 159055"/>
                <a:gd name="connsiteX600" fmla="*/ 41036 w 108157"/>
                <a:gd name="connsiteY600" fmla="*/ 105295 h 159055"/>
                <a:gd name="connsiteX601" fmla="*/ 40718 w 108157"/>
                <a:gd name="connsiteY601" fmla="*/ 105295 h 159055"/>
                <a:gd name="connsiteX602" fmla="*/ 41036 w 108157"/>
                <a:gd name="connsiteY602" fmla="*/ 105295 h 159055"/>
                <a:gd name="connsiteX603" fmla="*/ 41673 w 108157"/>
                <a:gd name="connsiteY603" fmla="*/ 105931 h 159055"/>
                <a:gd name="connsiteX604" fmla="*/ 41991 w 108157"/>
                <a:gd name="connsiteY604" fmla="*/ 105613 h 159055"/>
                <a:gd name="connsiteX605" fmla="*/ 41036 w 108157"/>
                <a:gd name="connsiteY605" fmla="*/ 82709 h 159055"/>
                <a:gd name="connsiteX606" fmla="*/ 41355 w 108157"/>
                <a:gd name="connsiteY606" fmla="*/ 82709 h 159055"/>
                <a:gd name="connsiteX607" fmla="*/ 42309 w 108157"/>
                <a:gd name="connsiteY607" fmla="*/ 83345 h 159055"/>
                <a:gd name="connsiteX608" fmla="*/ 42309 w 108157"/>
                <a:gd name="connsiteY608" fmla="*/ 83663 h 159055"/>
                <a:gd name="connsiteX609" fmla="*/ 41991 w 108157"/>
                <a:gd name="connsiteY609" fmla="*/ 83982 h 159055"/>
                <a:gd name="connsiteX610" fmla="*/ 41036 w 108157"/>
                <a:gd name="connsiteY610" fmla="*/ 82709 h 159055"/>
                <a:gd name="connsiteX611" fmla="*/ 42945 w 108157"/>
                <a:gd name="connsiteY611" fmla="*/ 140924 h 159055"/>
                <a:gd name="connsiteX612" fmla="*/ 41673 w 108157"/>
                <a:gd name="connsiteY612" fmla="*/ 140605 h 159055"/>
                <a:gd name="connsiteX613" fmla="*/ 41673 w 108157"/>
                <a:gd name="connsiteY613" fmla="*/ 140924 h 159055"/>
                <a:gd name="connsiteX614" fmla="*/ 41673 w 108157"/>
                <a:gd name="connsiteY614" fmla="*/ 140924 h 159055"/>
                <a:gd name="connsiteX615" fmla="*/ 42309 w 108157"/>
                <a:gd name="connsiteY615" fmla="*/ 141560 h 159055"/>
                <a:gd name="connsiteX616" fmla="*/ 42945 w 108157"/>
                <a:gd name="connsiteY616" fmla="*/ 141560 h 159055"/>
                <a:gd name="connsiteX617" fmla="*/ 43263 w 108157"/>
                <a:gd name="connsiteY617" fmla="*/ 141242 h 159055"/>
                <a:gd name="connsiteX618" fmla="*/ 42945 w 108157"/>
                <a:gd name="connsiteY618" fmla="*/ 140924 h 159055"/>
                <a:gd name="connsiteX619" fmla="*/ 41991 w 108157"/>
                <a:gd name="connsiteY619" fmla="*/ 155557 h 159055"/>
                <a:gd name="connsiteX620" fmla="*/ 42309 w 108157"/>
                <a:gd name="connsiteY620" fmla="*/ 156193 h 159055"/>
                <a:gd name="connsiteX621" fmla="*/ 41991 w 108157"/>
                <a:gd name="connsiteY621" fmla="*/ 155557 h 159055"/>
                <a:gd name="connsiteX622" fmla="*/ 42627 w 108157"/>
                <a:gd name="connsiteY622" fmla="*/ 158738 h 159055"/>
                <a:gd name="connsiteX623" fmla="*/ 42309 w 108157"/>
                <a:gd name="connsiteY623" fmla="*/ 158420 h 159055"/>
                <a:gd name="connsiteX624" fmla="*/ 42945 w 108157"/>
                <a:gd name="connsiteY624" fmla="*/ 158420 h 159055"/>
                <a:gd name="connsiteX625" fmla="*/ 43899 w 108157"/>
                <a:gd name="connsiteY625" fmla="*/ 158420 h 159055"/>
                <a:gd name="connsiteX626" fmla="*/ 45172 w 108157"/>
                <a:gd name="connsiteY626" fmla="*/ 157783 h 159055"/>
                <a:gd name="connsiteX627" fmla="*/ 45808 w 108157"/>
                <a:gd name="connsiteY627" fmla="*/ 157147 h 159055"/>
                <a:gd name="connsiteX628" fmla="*/ 48671 w 108157"/>
                <a:gd name="connsiteY628" fmla="*/ 157147 h 159055"/>
                <a:gd name="connsiteX629" fmla="*/ 48671 w 108157"/>
                <a:gd name="connsiteY629" fmla="*/ 157465 h 159055"/>
                <a:gd name="connsiteX630" fmla="*/ 48353 w 108157"/>
                <a:gd name="connsiteY630" fmla="*/ 158420 h 159055"/>
                <a:gd name="connsiteX631" fmla="*/ 46762 w 108157"/>
                <a:gd name="connsiteY631" fmla="*/ 159056 h 159055"/>
                <a:gd name="connsiteX632" fmla="*/ 43581 w 108157"/>
                <a:gd name="connsiteY632" fmla="*/ 159374 h 159055"/>
                <a:gd name="connsiteX633" fmla="*/ 42627 w 108157"/>
                <a:gd name="connsiteY633" fmla="*/ 158738 h 159055"/>
                <a:gd name="connsiteX634" fmla="*/ 44218 w 108157"/>
                <a:gd name="connsiteY634" fmla="*/ 104341 h 159055"/>
                <a:gd name="connsiteX635" fmla="*/ 44218 w 108157"/>
                <a:gd name="connsiteY635" fmla="*/ 104659 h 159055"/>
                <a:gd name="connsiteX636" fmla="*/ 44854 w 108157"/>
                <a:gd name="connsiteY636" fmla="*/ 104341 h 159055"/>
                <a:gd name="connsiteX637" fmla="*/ 44218 w 108157"/>
                <a:gd name="connsiteY637" fmla="*/ 104341 h 159055"/>
                <a:gd name="connsiteX638" fmla="*/ 45808 w 108157"/>
                <a:gd name="connsiteY638" fmla="*/ 88753 h 159055"/>
                <a:gd name="connsiteX639" fmla="*/ 45490 w 108157"/>
                <a:gd name="connsiteY639" fmla="*/ 88753 h 159055"/>
                <a:gd name="connsiteX640" fmla="*/ 46444 w 108157"/>
                <a:gd name="connsiteY640" fmla="*/ 89708 h 159055"/>
                <a:gd name="connsiteX641" fmla="*/ 46444 w 108157"/>
                <a:gd name="connsiteY641" fmla="*/ 89389 h 159055"/>
                <a:gd name="connsiteX642" fmla="*/ 45808 w 108157"/>
                <a:gd name="connsiteY642" fmla="*/ 88753 h 159055"/>
                <a:gd name="connsiteX643" fmla="*/ 47717 w 108157"/>
                <a:gd name="connsiteY643" fmla="*/ 153330 h 159055"/>
                <a:gd name="connsiteX644" fmla="*/ 47399 w 108157"/>
                <a:gd name="connsiteY644" fmla="*/ 153012 h 159055"/>
                <a:gd name="connsiteX645" fmla="*/ 46762 w 108157"/>
                <a:gd name="connsiteY645" fmla="*/ 153012 h 159055"/>
                <a:gd name="connsiteX646" fmla="*/ 47081 w 108157"/>
                <a:gd name="connsiteY646" fmla="*/ 153648 h 159055"/>
                <a:gd name="connsiteX647" fmla="*/ 47399 w 108157"/>
                <a:gd name="connsiteY647" fmla="*/ 153648 h 159055"/>
                <a:gd name="connsiteX648" fmla="*/ 47717 w 108157"/>
                <a:gd name="connsiteY648" fmla="*/ 153330 h 159055"/>
                <a:gd name="connsiteX649" fmla="*/ 47081 w 108157"/>
                <a:gd name="connsiteY649" fmla="*/ 160328 h 159055"/>
                <a:gd name="connsiteX650" fmla="*/ 47399 w 108157"/>
                <a:gd name="connsiteY650" fmla="*/ 160010 h 159055"/>
                <a:gd name="connsiteX651" fmla="*/ 48035 w 108157"/>
                <a:gd name="connsiteY651" fmla="*/ 160010 h 159055"/>
                <a:gd name="connsiteX652" fmla="*/ 48353 w 108157"/>
                <a:gd name="connsiteY652" fmla="*/ 160010 h 159055"/>
                <a:gd name="connsiteX653" fmla="*/ 48353 w 108157"/>
                <a:gd name="connsiteY653" fmla="*/ 160646 h 159055"/>
                <a:gd name="connsiteX654" fmla="*/ 47399 w 108157"/>
                <a:gd name="connsiteY654" fmla="*/ 160646 h 159055"/>
                <a:gd name="connsiteX655" fmla="*/ 47081 w 108157"/>
                <a:gd name="connsiteY655" fmla="*/ 160328 h 159055"/>
                <a:gd name="connsiteX656" fmla="*/ 48353 w 108157"/>
                <a:gd name="connsiteY656" fmla="*/ 111975 h 159055"/>
                <a:gd name="connsiteX657" fmla="*/ 48353 w 108157"/>
                <a:gd name="connsiteY657" fmla="*/ 112293 h 159055"/>
                <a:gd name="connsiteX658" fmla="*/ 47399 w 108157"/>
                <a:gd name="connsiteY658" fmla="*/ 111657 h 159055"/>
                <a:gd name="connsiteX659" fmla="*/ 48353 w 108157"/>
                <a:gd name="connsiteY659" fmla="*/ 111975 h 159055"/>
                <a:gd name="connsiteX660" fmla="*/ 49944 w 108157"/>
                <a:gd name="connsiteY660" fmla="*/ 35310 h 159055"/>
                <a:gd name="connsiteX661" fmla="*/ 49625 w 108157"/>
                <a:gd name="connsiteY661" fmla="*/ 35310 h 159055"/>
                <a:gd name="connsiteX662" fmla="*/ 49307 w 108157"/>
                <a:gd name="connsiteY662" fmla="*/ 35310 h 159055"/>
                <a:gd name="connsiteX663" fmla="*/ 49625 w 108157"/>
                <a:gd name="connsiteY663" fmla="*/ 35629 h 159055"/>
                <a:gd name="connsiteX664" fmla="*/ 48035 w 108157"/>
                <a:gd name="connsiteY664" fmla="*/ 36265 h 159055"/>
                <a:gd name="connsiteX665" fmla="*/ 48035 w 108157"/>
                <a:gd name="connsiteY665" fmla="*/ 36583 h 159055"/>
                <a:gd name="connsiteX666" fmla="*/ 49625 w 108157"/>
                <a:gd name="connsiteY666" fmla="*/ 35629 h 159055"/>
                <a:gd name="connsiteX667" fmla="*/ 49944 w 108157"/>
                <a:gd name="connsiteY667" fmla="*/ 35310 h 159055"/>
                <a:gd name="connsiteX668" fmla="*/ 51216 w 108157"/>
                <a:gd name="connsiteY668" fmla="*/ 31811 h 159055"/>
                <a:gd name="connsiteX669" fmla="*/ 53761 w 108157"/>
                <a:gd name="connsiteY669" fmla="*/ 30221 h 159055"/>
                <a:gd name="connsiteX670" fmla="*/ 54715 w 108157"/>
                <a:gd name="connsiteY670" fmla="*/ 29584 h 159055"/>
                <a:gd name="connsiteX671" fmla="*/ 55033 w 108157"/>
                <a:gd name="connsiteY671" fmla="*/ 29266 h 159055"/>
                <a:gd name="connsiteX672" fmla="*/ 54079 w 108157"/>
                <a:gd name="connsiteY672" fmla="*/ 28948 h 159055"/>
                <a:gd name="connsiteX673" fmla="*/ 52488 w 108157"/>
                <a:gd name="connsiteY673" fmla="*/ 29903 h 159055"/>
                <a:gd name="connsiteX674" fmla="*/ 51534 w 108157"/>
                <a:gd name="connsiteY674" fmla="*/ 30539 h 159055"/>
                <a:gd name="connsiteX675" fmla="*/ 48671 w 108157"/>
                <a:gd name="connsiteY675" fmla="*/ 31811 h 159055"/>
                <a:gd name="connsiteX676" fmla="*/ 48671 w 108157"/>
                <a:gd name="connsiteY676" fmla="*/ 32129 h 159055"/>
                <a:gd name="connsiteX677" fmla="*/ 51216 w 108157"/>
                <a:gd name="connsiteY677" fmla="*/ 31811 h 159055"/>
                <a:gd name="connsiteX678" fmla="*/ 50262 w 108157"/>
                <a:gd name="connsiteY678" fmla="*/ 105295 h 159055"/>
                <a:gd name="connsiteX679" fmla="*/ 50262 w 108157"/>
                <a:gd name="connsiteY679" fmla="*/ 105295 h 159055"/>
                <a:gd name="connsiteX680" fmla="*/ 50580 w 108157"/>
                <a:gd name="connsiteY680" fmla="*/ 105295 h 159055"/>
                <a:gd name="connsiteX681" fmla="*/ 50262 w 108157"/>
                <a:gd name="connsiteY681" fmla="*/ 105295 h 159055"/>
                <a:gd name="connsiteX682" fmla="*/ 52488 w 108157"/>
                <a:gd name="connsiteY682" fmla="*/ 159692 h 159055"/>
                <a:gd name="connsiteX683" fmla="*/ 52488 w 108157"/>
                <a:gd name="connsiteY683" fmla="*/ 160010 h 159055"/>
                <a:gd name="connsiteX684" fmla="*/ 51216 w 108157"/>
                <a:gd name="connsiteY684" fmla="*/ 160010 h 159055"/>
                <a:gd name="connsiteX685" fmla="*/ 50580 w 108157"/>
                <a:gd name="connsiteY685" fmla="*/ 160010 h 159055"/>
                <a:gd name="connsiteX686" fmla="*/ 51216 w 108157"/>
                <a:gd name="connsiteY686" fmla="*/ 159374 h 159055"/>
                <a:gd name="connsiteX687" fmla="*/ 51852 w 108157"/>
                <a:gd name="connsiteY687" fmla="*/ 159374 h 159055"/>
                <a:gd name="connsiteX688" fmla="*/ 52488 w 108157"/>
                <a:gd name="connsiteY688" fmla="*/ 159692 h 159055"/>
                <a:gd name="connsiteX689" fmla="*/ 52170 w 108157"/>
                <a:gd name="connsiteY689" fmla="*/ 156193 h 159055"/>
                <a:gd name="connsiteX690" fmla="*/ 52488 w 108157"/>
                <a:gd name="connsiteY690" fmla="*/ 156193 h 159055"/>
                <a:gd name="connsiteX691" fmla="*/ 53443 w 108157"/>
                <a:gd name="connsiteY691" fmla="*/ 156829 h 159055"/>
                <a:gd name="connsiteX692" fmla="*/ 52488 w 108157"/>
                <a:gd name="connsiteY692" fmla="*/ 156829 h 159055"/>
                <a:gd name="connsiteX693" fmla="*/ 52170 w 108157"/>
                <a:gd name="connsiteY693" fmla="*/ 156193 h 159055"/>
                <a:gd name="connsiteX694" fmla="*/ 54715 w 108157"/>
                <a:gd name="connsiteY694" fmla="*/ 113884 h 159055"/>
                <a:gd name="connsiteX695" fmla="*/ 54715 w 108157"/>
                <a:gd name="connsiteY695" fmla="*/ 114202 h 159055"/>
                <a:gd name="connsiteX696" fmla="*/ 53761 w 108157"/>
                <a:gd name="connsiteY696" fmla="*/ 114520 h 159055"/>
                <a:gd name="connsiteX697" fmla="*/ 53443 w 108157"/>
                <a:gd name="connsiteY697" fmla="*/ 114202 h 159055"/>
                <a:gd name="connsiteX698" fmla="*/ 53443 w 108157"/>
                <a:gd name="connsiteY698" fmla="*/ 113884 h 159055"/>
                <a:gd name="connsiteX699" fmla="*/ 54397 w 108157"/>
                <a:gd name="connsiteY699" fmla="*/ 113884 h 159055"/>
                <a:gd name="connsiteX700" fmla="*/ 54715 w 108157"/>
                <a:gd name="connsiteY700" fmla="*/ 113884 h 159055"/>
                <a:gd name="connsiteX701" fmla="*/ 55033 w 108157"/>
                <a:gd name="connsiteY701" fmla="*/ 12406 h 159055"/>
                <a:gd name="connsiteX702" fmla="*/ 55670 w 108157"/>
                <a:gd name="connsiteY702" fmla="*/ 12724 h 159055"/>
                <a:gd name="connsiteX703" fmla="*/ 55988 w 108157"/>
                <a:gd name="connsiteY703" fmla="*/ 12406 h 159055"/>
                <a:gd name="connsiteX704" fmla="*/ 55033 w 108157"/>
                <a:gd name="connsiteY704" fmla="*/ 12406 h 159055"/>
                <a:gd name="connsiteX705" fmla="*/ 57260 w 108157"/>
                <a:gd name="connsiteY705" fmla="*/ 27358 h 159055"/>
                <a:gd name="connsiteX706" fmla="*/ 55670 w 108157"/>
                <a:gd name="connsiteY706" fmla="*/ 27676 h 159055"/>
                <a:gd name="connsiteX707" fmla="*/ 55988 w 108157"/>
                <a:gd name="connsiteY707" fmla="*/ 28312 h 159055"/>
                <a:gd name="connsiteX708" fmla="*/ 57260 w 108157"/>
                <a:gd name="connsiteY708" fmla="*/ 27994 h 159055"/>
                <a:gd name="connsiteX709" fmla="*/ 57896 w 108157"/>
                <a:gd name="connsiteY709" fmla="*/ 27676 h 159055"/>
                <a:gd name="connsiteX710" fmla="*/ 57260 w 108157"/>
                <a:gd name="connsiteY710" fmla="*/ 27358 h 159055"/>
                <a:gd name="connsiteX711" fmla="*/ 55988 w 108157"/>
                <a:gd name="connsiteY711" fmla="*/ 113884 h 159055"/>
                <a:gd name="connsiteX712" fmla="*/ 56306 w 108157"/>
                <a:gd name="connsiteY712" fmla="*/ 113566 h 159055"/>
                <a:gd name="connsiteX713" fmla="*/ 56942 w 108157"/>
                <a:gd name="connsiteY713" fmla="*/ 113566 h 159055"/>
                <a:gd name="connsiteX714" fmla="*/ 57260 w 108157"/>
                <a:gd name="connsiteY714" fmla="*/ 113884 h 159055"/>
                <a:gd name="connsiteX715" fmla="*/ 56942 w 108157"/>
                <a:gd name="connsiteY715" fmla="*/ 114202 h 159055"/>
                <a:gd name="connsiteX716" fmla="*/ 56624 w 108157"/>
                <a:gd name="connsiteY716" fmla="*/ 114202 h 159055"/>
                <a:gd name="connsiteX717" fmla="*/ 55988 w 108157"/>
                <a:gd name="connsiteY717" fmla="*/ 113884 h 159055"/>
                <a:gd name="connsiteX718" fmla="*/ 57896 w 108157"/>
                <a:gd name="connsiteY718" fmla="*/ 150785 h 159055"/>
                <a:gd name="connsiteX719" fmla="*/ 56306 w 108157"/>
                <a:gd name="connsiteY719" fmla="*/ 151421 h 159055"/>
                <a:gd name="connsiteX720" fmla="*/ 57260 w 108157"/>
                <a:gd name="connsiteY720" fmla="*/ 151739 h 159055"/>
                <a:gd name="connsiteX721" fmla="*/ 57896 w 108157"/>
                <a:gd name="connsiteY721" fmla="*/ 152376 h 159055"/>
                <a:gd name="connsiteX722" fmla="*/ 58533 w 108157"/>
                <a:gd name="connsiteY722" fmla="*/ 152376 h 159055"/>
                <a:gd name="connsiteX723" fmla="*/ 57896 w 108157"/>
                <a:gd name="connsiteY723" fmla="*/ 150785 h 159055"/>
                <a:gd name="connsiteX724" fmla="*/ 59487 w 108157"/>
                <a:gd name="connsiteY724" fmla="*/ 26403 h 159055"/>
                <a:gd name="connsiteX725" fmla="*/ 62986 w 108157"/>
                <a:gd name="connsiteY725" fmla="*/ 25131 h 159055"/>
                <a:gd name="connsiteX726" fmla="*/ 63304 w 108157"/>
                <a:gd name="connsiteY726" fmla="*/ 24813 h 159055"/>
                <a:gd name="connsiteX727" fmla="*/ 62986 w 108157"/>
                <a:gd name="connsiteY727" fmla="*/ 24813 h 159055"/>
                <a:gd name="connsiteX728" fmla="*/ 62032 w 108157"/>
                <a:gd name="connsiteY728" fmla="*/ 24813 h 159055"/>
                <a:gd name="connsiteX729" fmla="*/ 59487 w 108157"/>
                <a:gd name="connsiteY729" fmla="*/ 25449 h 159055"/>
                <a:gd name="connsiteX730" fmla="*/ 57896 w 108157"/>
                <a:gd name="connsiteY730" fmla="*/ 26403 h 159055"/>
                <a:gd name="connsiteX731" fmla="*/ 58214 w 108157"/>
                <a:gd name="connsiteY731" fmla="*/ 26721 h 159055"/>
                <a:gd name="connsiteX732" fmla="*/ 58533 w 108157"/>
                <a:gd name="connsiteY732" fmla="*/ 27040 h 159055"/>
                <a:gd name="connsiteX733" fmla="*/ 59487 w 108157"/>
                <a:gd name="connsiteY733" fmla="*/ 26403 h 159055"/>
                <a:gd name="connsiteX734" fmla="*/ 60441 w 108157"/>
                <a:gd name="connsiteY734" fmla="*/ 29584 h 159055"/>
                <a:gd name="connsiteX735" fmla="*/ 60441 w 108157"/>
                <a:gd name="connsiteY735" fmla="*/ 29266 h 159055"/>
                <a:gd name="connsiteX736" fmla="*/ 59805 w 108157"/>
                <a:gd name="connsiteY736" fmla="*/ 29266 h 159055"/>
                <a:gd name="connsiteX737" fmla="*/ 58533 w 108157"/>
                <a:gd name="connsiteY737" fmla="*/ 30539 h 159055"/>
                <a:gd name="connsiteX738" fmla="*/ 58533 w 108157"/>
                <a:gd name="connsiteY738" fmla="*/ 30539 h 159055"/>
                <a:gd name="connsiteX739" fmla="*/ 60441 w 108157"/>
                <a:gd name="connsiteY739" fmla="*/ 29584 h 159055"/>
                <a:gd name="connsiteX740" fmla="*/ 60441 w 108157"/>
                <a:gd name="connsiteY740" fmla="*/ 110385 h 159055"/>
                <a:gd name="connsiteX741" fmla="*/ 61396 w 108157"/>
                <a:gd name="connsiteY741" fmla="*/ 109112 h 159055"/>
                <a:gd name="connsiteX742" fmla="*/ 62032 w 108157"/>
                <a:gd name="connsiteY742" fmla="*/ 108476 h 159055"/>
                <a:gd name="connsiteX743" fmla="*/ 60123 w 108157"/>
                <a:gd name="connsiteY743" fmla="*/ 108794 h 159055"/>
                <a:gd name="connsiteX744" fmla="*/ 59805 w 108157"/>
                <a:gd name="connsiteY744" fmla="*/ 109749 h 159055"/>
                <a:gd name="connsiteX745" fmla="*/ 59805 w 108157"/>
                <a:gd name="connsiteY745" fmla="*/ 110385 h 159055"/>
                <a:gd name="connsiteX746" fmla="*/ 60441 w 108157"/>
                <a:gd name="connsiteY746" fmla="*/ 110385 h 159055"/>
                <a:gd name="connsiteX747" fmla="*/ 61077 w 108157"/>
                <a:gd name="connsiteY747" fmla="*/ 8907 h 159055"/>
                <a:gd name="connsiteX748" fmla="*/ 61077 w 108157"/>
                <a:gd name="connsiteY748" fmla="*/ 9225 h 159055"/>
                <a:gd name="connsiteX749" fmla="*/ 59805 w 108157"/>
                <a:gd name="connsiteY749" fmla="*/ 9225 h 159055"/>
                <a:gd name="connsiteX750" fmla="*/ 59805 w 108157"/>
                <a:gd name="connsiteY750" fmla="*/ 8907 h 159055"/>
                <a:gd name="connsiteX751" fmla="*/ 60759 w 108157"/>
                <a:gd name="connsiteY751" fmla="*/ 8589 h 159055"/>
                <a:gd name="connsiteX752" fmla="*/ 61077 w 108157"/>
                <a:gd name="connsiteY752" fmla="*/ 8907 h 159055"/>
                <a:gd name="connsiteX753" fmla="*/ 61077 w 108157"/>
                <a:gd name="connsiteY753" fmla="*/ 23540 h 159055"/>
                <a:gd name="connsiteX754" fmla="*/ 61396 w 108157"/>
                <a:gd name="connsiteY754" fmla="*/ 23222 h 159055"/>
                <a:gd name="connsiteX755" fmla="*/ 61396 w 108157"/>
                <a:gd name="connsiteY755" fmla="*/ 22586 h 159055"/>
                <a:gd name="connsiteX756" fmla="*/ 60759 w 108157"/>
                <a:gd name="connsiteY756" fmla="*/ 22586 h 159055"/>
                <a:gd name="connsiteX757" fmla="*/ 60441 w 108157"/>
                <a:gd name="connsiteY757" fmla="*/ 23222 h 159055"/>
                <a:gd name="connsiteX758" fmla="*/ 60123 w 108157"/>
                <a:gd name="connsiteY758" fmla="*/ 23540 h 159055"/>
                <a:gd name="connsiteX759" fmla="*/ 60441 w 108157"/>
                <a:gd name="connsiteY759" fmla="*/ 23540 h 159055"/>
                <a:gd name="connsiteX760" fmla="*/ 61077 w 108157"/>
                <a:gd name="connsiteY760" fmla="*/ 23540 h 159055"/>
                <a:gd name="connsiteX761" fmla="*/ 62032 w 108157"/>
                <a:gd name="connsiteY761" fmla="*/ 114520 h 159055"/>
                <a:gd name="connsiteX762" fmla="*/ 61396 w 108157"/>
                <a:gd name="connsiteY762" fmla="*/ 114520 h 159055"/>
                <a:gd name="connsiteX763" fmla="*/ 61396 w 108157"/>
                <a:gd name="connsiteY763" fmla="*/ 114202 h 159055"/>
                <a:gd name="connsiteX764" fmla="*/ 62032 w 108157"/>
                <a:gd name="connsiteY764" fmla="*/ 114520 h 159055"/>
                <a:gd name="connsiteX765" fmla="*/ 62986 w 108157"/>
                <a:gd name="connsiteY765" fmla="*/ 20041 h 159055"/>
                <a:gd name="connsiteX766" fmla="*/ 62350 w 108157"/>
                <a:gd name="connsiteY766" fmla="*/ 19405 h 159055"/>
                <a:gd name="connsiteX767" fmla="*/ 62032 w 108157"/>
                <a:gd name="connsiteY767" fmla="*/ 19723 h 159055"/>
                <a:gd name="connsiteX768" fmla="*/ 62350 w 108157"/>
                <a:gd name="connsiteY768" fmla="*/ 20359 h 159055"/>
                <a:gd name="connsiteX769" fmla="*/ 62986 w 108157"/>
                <a:gd name="connsiteY769" fmla="*/ 20041 h 159055"/>
                <a:gd name="connsiteX770" fmla="*/ 62986 w 108157"/>
                <a:gd name="connsiteY770" fmla="*/ 22268 h 159055"/>
                <a:gd name="connsiteX771" fmla="*/ 62986 w 108157"/>
                <a:gd name="connsiteY771" fmla="*/ 22586 h 159055"/>
                <a:gd name="connsiteX772" fmla="*/ 62986 w 108157"/>
                <a:gd name="connsiteY772" fmla="*/ 22268 h 159055"/>
                <a:gd name="connsiteX773" fmla="*/ 62986 w 108157"/>
                <a:gd name="connsiteY773" fmla="*/ 22268 h 159055"/>
                <a:gd name="connsiteX774" fmla="*/ 63304 w 108157"/>
                <a:gd name="connsiteY774" fmla="*/ 109749 h 159055"/>
                <a:gd name="connsiteX775" fmla="*/ 63304 w 108157"/>
                <a:gd name="connsiteY775" fmla="*/ 109112 h 159055"/>
                <a:gd name="connsiteX776" fmla="*/ 62986 w 108157"/>
                <a:gd name="connsiteY776" fmla="*/ 109430 h 159055"/>
                <a:gd name="connsiteX777" fmla="*/ 63304 w 108157"/>
                <a:gd name="connsiteY777" fmla="*/ 109749 h 159055"/>
                <a:gd name="connsiteX778" fmla="*/ 64895 w 108157"/>
                <a:gd name="connsiteY778" fmla="*/ 155875 h 159055"/>
                <a:gd name="connsiteX779" fmla="*/ 64577 w 108157"/>
                <a:gd name="connsiteY779" fmla="*/ 156193 h 159055"/>
                <a:gd name="connsiteX780" fmla="*/ 63622 w 108157"/>
                <a:gd name="connsiteY780" fmla="*/ 157147 h 159055"/>
                <a:gd name="connsiteX781" fmla="*/ 63304 w 108157"/>
                <a:gd name="connsiteY781" fmla="*/ 156511 h 159055"/>
                <a:gd name="connsiteX782" fmla="*/ 63940 w 108157"/>
                <a:gd name="connsiteY782" fmla="*/ 155875 h 159055"/>
                <a:gd name="connsiteX783" fmla="*/ 64259 w 108157"/>
                <a:gd name="connsiteY783" fmla="*/ 155875 h 159055"/>
                <a:gd name="connsiteX784" fmla="*/ 64895 w 108157"/>
                <a:gd name="connsiteY784" fmla="*/ 155875 h 159055"/>
                <a:gd name="connsiteX785" fmla="*/ 63940 w 108157"/>
                <a:gd name="connsiteY785" fmla="*/ 115793 h 159055"/>
                <a:gd name="connsiteX786" fmla="*/ 64259 w 108157"/>
                <a:gd name="connsiteY786" fmla="*/ 116111 h 159055"/>
                <a:gd name="connsiteX787" fmla="*/ 64259 w 108157"/>
                <a:gd name="connsiteY787" fmla="*/ 116429 h 159055"/>
                <a:gd name="connsiteX788" fmla="*/ 63622 w 108157"/>
                <a:gd name="connsiteY788" fmla="*/ 116429 h 159055"/>
                <a:gd name="connsiteX789" fmla="*/ 63940 w 108157"/>
                <a:gd name="connsiteY789" fmla="*/ 115793 h 159055"/>
                <a:gd name="connsiteX790" fmla="*/ 65531 w 108157"/>
                <a:gd name="connsiteY790" fmla="*/ 20995 h 159055"/>
                <a:gd name="connsiteX791" fmla="*/ 65531 w 108157"/>
                <a:gd name="connsiteY791" fmla="*/ 20995 h 159055"/>
                <a:gd name="connsiteX792" fmla="*/ 65531 w 108157"/>
                <a:gd name="connsiteY792" fmla="*/ 20677 h 159055"/>
                <a:gd name="connsiteX793" fmla="*/ 64577 w 108157"/>
                <a:gd name="connsiteY793" fmla="*/ 21313 h 159055"/>
                <a:gd name="connsiteX794" fmla="*/ 63940 w 108157"/>
                <a:gd name="connsiteY794" fmla="*/ 21632 h 159055"/>
                <a:gd name="connsiteX795" fmla="*/ 64259 w 108157"/>
                <a:gd name="connsiteY795" fmla="*/ 21632 h 159055"/>
                <a:gd name="connsiteX796" fmla="*/ 64577 w 108157"/>
                <a:gd name="connsiteY796" fmla="*/ 21313 h 159055"/>
                <a:gd name="connsiteX797" fmla="*/ 65531 w 108157"/>
                <a:gd name="connsiteY797" fmla="*/ 20995 h 159055"/>
                <a:gd name="connsiteX798" fmla="*/ 64895 w 108157"/>
                <a:gd name="connsiteY798" fmla="*/ 111657 h 159055"/>
                <a:gd name="connsiteX799" fmla="*/ 65213 w 108157"/>
                <a:gd name="connsiteY799" fmla="*/ 111657 h 159055"/>
                <a:gd name="connsiteX800" fmla="*/ 64577 w 108157"/>
                <a:gd name="connsiteY800" fmla="*/ 111339 h 159055"/>
                <a:gd name="connsiteX801" fmla="*/ 64577 w 108157"/>
                <a:gd name="connsiteY801" fmla="*/ 111657 h 159055"/>
                <a:gd name="connsiteX802" fmla="*/ 64895 w 108157"/>
                <a:gd name="connsiteY802" fmla="*/ 111657 h 159055"/>
                <a:gd name="connsiteX803" fmla="*/ 65849 w 108157"/>
                <a:gd name="connsiteY803" fmla="*/ 109430 h 159055"/>
                <a:gd name="connsiteX804" fmla="*/ 66803 w 108157"/>
                <a:gd name="connsiteY804" fmla="*/ 110067 h 159055"/>
                <a:gd name="connsiteX805" fmla="*/ 67122 w 108157"/>
                <a:gd name="connsiteY805" fmla="*/ 109749 h 159055"/>
                <a:gd name="connsiteX806" fmla="*/ 67122 w 108157"/>
                <a:gd name="connsiteY806" fmla="*/ 109430 h 159055"/>
                <a:gd name="connsiteX807" fmla="*/ 65849 w 108157"/>
                <a:gd name="connsiteY807" fmla="*/ 108794 h 159055"/>
                <a:gd name="connsiteX808" fmla="*/ 65531 w 108157"/>
                <a:gd name="connsiteY808" fmla="*/ 109112 h 159055"/>
                <a:gd name="connsiteX809" fmla="*/ 65849 w 108157"/>
                <a:gd name="connsiteY809" fmla="*/ 109430 h 159055"/>
                <a:gd name="connsiteX810" fmla="*/ 68394 w 108157"/>
                <a:gd name="connsiteY810" fmla="*/ 19087 h 159055"/>
                <a:gd name="connsiteX811" fmla="*/ 66485 w 108157"/>
                <a:gd name="connsiteY811" fmla="*/ 19723 h 159055"/>
                <a:gd name="connsiteX812" fmla="*/ 66485 w 108157"/>
                <a:gd name="connsiteY812" fmla="*/ 20359 h 159055"/>
                <a:gd name="connsiteX813" fmla="*/ 67440 w 108157"/>
                <a:gd name="connsiteY813" fmla="*/ 20677 h 159055"/>
                <a:gd name="connsiteX814" fmla="*/ 69985 w 108157"/>
                <a:gd name="connsiteY814" fmla="*/ 19723 h 159055"/>
                <a:gd name="connsiteX815" fmla="*/ 75074 w 108157"/>
                <a:gd name="connsiteY815" fmla="*/ 18450 h 159055"/>
                <a:gd name="connsiteX816" fmla="*/ 78255 w 108157"/>
                <a:gd name="connsiteY816" fmla="*/ 17496 h 159055"/>
                <a:gd name="connsiteX817" fmla="*/ 82709 w 108157"/>
                <a:gd name="connsiteY817" fmla="*/ 16224 h 159055"/>
                <a:gd name="connsiteX818" fmla="*/ 88117 w 108157"/>
                <a:gd name="connsiteY818" fmla="*/ 15269 h 159055"/>
                <a:gd name="connsiteX819" fmla="*/ 88117 w 108157"/>
                <a:gd name="connsiteY819" fmla="*/ 14951 h 159055"/>
                <a:gd name="connsiteX820" fmla="*/ 90662 w 108157"/>
                <a:gd name="connsiteY820" fmla="*/ 14633 h 159055"/>
                <a:gd name="connsiteX821" fmla="*/ 92570 w 108157"/>
                <a:gd name="connsiteY821" fmla="*/ 14315 h 159055"/>
                <a:gd name="connsiteX822" fmla="*/ 93843 w 108157"/>
                <a:gd name="connsiteY822" fmla="*/ 14315 h 159055"/>
                <a:gd name="connsiteX823" fmla="*/ 97024 w 108157"/>
                <a:gd name="connsiteY823" fmla="*/ 15269 h 159055"/>
                <a:gd name="connsiteX824" fmla="*/ 97978 w 108157"/>
                <a:gd name="connsiteY824" fmla="*/ 15906 h 159055"/>
                <a:gd name="connsiteX825" fmla="*/ 98615 w 108157"/>
                <a:gd name="connsiteY825" fmla="*/ 15587 h 159055"/>
                <a:gd name="connsiteX826" fmla="*/ 98297 w 108157"/>
                <a:gd name="connsiteY826" fmla="*/ 15269 h 159055"/>
                <a:gd name="connsiteX827" fmla="*/ 99251 w 108157"/>
                <a:gd name="connsiteY827" fmla="*/ 14315 h 159055"/>
                <a:gd name="connsiteX828" fmla="*/ 99887 w 108157"/>
                <a:gd name="connsiteY828" fmla="*/ 14315 h 159055"/>
                <a:gd name="connsiteX829" fmla="*/ 100841 w 108157"/>
                <a:gd name="connsiteY829" fmla="*/ 15587 h 159055"/>
                <a:gd name="connsiteX830" fmla="*/ 104023 w 108157"/>
                <a:gd name="connsiteY830" fmla="*/ 15587 h 159055"/>
                <a:gd name="connsiteX831" fmla="*/ 104341 w 108157"/>
                <a:gd name="connsiteY831" fmla="*/ 14951 h 159055"/>
                <a:gd name="connsiteX832" fmla="*/ 104023 w 108157"/>
                <a:gd name="connsiteY832" fmla="*/ 13679 h 159055"/>
                <a:gd name="connsiteX833" fmla="*/ 102750 w 108157"/>
                <a:gd name="connsiteY833" fmla="*/ 13361 h 159055"/>
                <a:gd name="connsiteX834" fmla="*/ 100841 w 108157"/>
                <a:gd name="connsiteY834" fmla="*/ 12088 h 159055"/>
                <a:gd name="connsiteX835" fmla="*/ 98615 w 108157"/>
                <a:gd name="connsiteY835" fmla="*/ 10816 h 159055"/>
                <a:gd name="connsiteX836" fmla="*/ 96388 w 108157"/>
                <a:gd name="connsiteY836" fmla="*/ 10816 h 159055"/>
                <a:gd name="connsiteX837" fmla="*/ 95115 w 108157"/>
                <a:gd name="connsiteY837" fmla="*/ 11134 h 159055"/>
                <a:gd name="connsiteX838" fmla="*/ 93207 w 108157"/>
                <a:gd name="connsiteY838" fmla="*/ 11770 h 159055"/>
                <a:gd name="connsiteX839" fmla="*/ 90662 w 108157"/>
                <a:gd name="connsiteY839" fmla="*/ 12088 h 159055"/>
                <a:gd name="connsiteX840" fmla="*/ 90026 w 108157"/>
                <a:gd name="connsiteY840" fmla="*/ 12406 h 159055"/>
                <a:gd name="connsiteX841" fmla="*/ 88117 w 108157"/>
                <a:gd name="connsiteY841" fmla="*/ 13043 h 159055"/>
                <a:gd name="connsiteX842" fmla="*/ 86526 w 108157"/>
                <a:gd name="connsiteY842" fmla="*/ 13043 h 159055"/>
                <a:gd name="connsiteX843" fmla="*/ 84936 w 108157"/>
                <a:gd name="connsiteY843" fmla="*/ 13679 h 159055"/>
                <a:gd name="connsiteX844" fmla="*/ 82391 w 108157"/>
                <a:gd name="connsiteY844" fmla="*/ 14633 h 159055"/>
                <a:gd name="connsiteX845" fmla="*/ 79846 w 108157"/>
                <a:gd name="connsiteY845" fmla="*/ 14951 h 159055"/>
                <a:gd name="connsiteX846" fmla="*/ 78255 w 108157"/>
                <a:gd name="connsiteY846" fmla="*/ 14633 h 159055"/>
                <a:gd name="connsiteX847" fmla="*/ 78574 w 108157"/>
                <a:gd name="connsiteY847" fmla="*/ 13679 h 159055"/>
                <a:gd name="connsiteX848" fmla="*/ 80164 w 108157"/>
                <a:gd name="connsiteY848" fmla="*/ 12724 h 159055"/>
                <a:gd name="connsiteX849" fmla="*/ 80482 w 108157"/>
                <a:gd name="connsiteY849" fmla="*/ 12724 h 159055"/>
                <a:gd name="connsiteX850" fmla="*/ 80164 w 108157"/>
                <a:gd name="connsiteY850" fmla="*/ 12406 h 159055"/>
                <a:gd name="connsiteX851" fmla="*/ 76983 w 108157"/>
                <a:gd name="connsiteY851" fmla="*/ 12724 h 159055"/>
                <a:gd name="connsiteX852" fmla="*/ 76347 w 108157"/>
                <a:gd name="connsiteY852" fmla="*/ 13361 h 159055"/>
                <a:gd name="connsiteX853" fmla="*/ 75393 w 108157"/>
                <a:gd name="connsiteY853" fmla="*/ 14315 h 159055"/>
                <a:gd name="connsiteX854" fmla="*/ 76347 w 108157"/>
                <a:gd name="connsiteY854" fmla="*/ 14633 h 159055"/>
                <a:gd name="connsiteX855" fmla="*/ 76665 w 108157"/>
                <a:gd name="connsiteY855" fmla="*/ 14633 h 159055"/>
                <a:gd name="connsiteX856" fmla="*/ 76665 w 108157"/>
                <a:gd name="connsiteY856" fmla="*/ 15587 h 159055"/>
                <a:gd name="connsiteX857" fmla="*/ 76347 w 108157"/>
                <a:gd name="connsiteY857" fmla="*/ 16542 h 159055"/>
                <a:gd name="connsiteX858" fmla="*/ 75074 w 108157"/>
                <a:gd name="connsiteY858" fmla="*/ 16542 h 159055"/>
                <a:gd name="connsiteX859" fmla="*/ 75074 w 108157"/>
                <a:gd name="connsiteY859" fmla="*/ 16860 h 159055"/>
                <a:gd name="connsiteX860" fmla="*/ 74120 w 108157"/>
                <a:gd name="connsiteY860" fmla="*/ 17496 h 159055"/>
                <a:gd name="connsiteX861" fmla="*/ 72848 w 108157"/>
                <a:gd name="connsiteY861" fmla="*/ 17496 h 159055"/>
                <a:gd name="connsiteX862" fmla="*/ 71257 w 108157"/>
                <a:gd name="connsiteY862" fmla="*/ 18450 h 159055"/>
                <a:gd name="connsiteX863" fmla="*/ 69030 w 108157"/>
                <a:gd name="connsiteY863" fmla="*/ 18450 h 159055"/>
                <a:gd name="connsiteX864" fmla="*/ 69985 w 108157"/>
                <a:gd name="connsiteY864" fmla="*/ 17178 h 159055"/>
                <a:gd name="connsiteX865" fmla="*/ 70621 w 108157"/>
                <a:gd name="connsiteY865" fmla="*/ 16224 h 159055"/>
                <a:gd name="connsiteX866" fmla="*/ 71575 w 108157"/>
                <a:gd name="connsiteY866" fmla="*/ 15587 h 159055"/>
                <a:gd name="connsiteX867" fmla="*/ 69985 w 108157"/>
                <a:gd name="connsiteY867" fmla="*/ 15269 h 159055"/>
                <a:gd name="connsiteX868" fmla="*/ 69667 w 108157"/>
                <a:gd name="connsiteY868" fmla="*/ 15269 h 159055"/>
                <a:gd name="connsiteX869" fmla="*/ 66803 w 108157"/>
                <a:gd name="connsiteY869" fmla="*/ 16860 h 159055"/>
                <a:gd name="connsiteX870" fmla="*/ 66803 w 108157"/>
                <a:gd name="connsiteY870" fmla="*/ 17178 h 159055"/>
                <a:gd name="connsiteX871" fmla="*/ 67440 w 108157"/>
                <a:gd name="connsiteY871" fmla="*/ 17814 h 159055"/>
                <a:gd name="connsiteX872" fmla="*/ 69030 w 108157"/>
                <a:gd name="connsiteY872" fmla="*/ 18450 h 159055"/>
                <a:gd name="connsiteX873" fmla="*/ 68394 w 108157"/>
                <a:gd name="connsiteY873" fmla="*/ 19087 h 159055"/>
                <a:gd name="connsiteX874" fmla="*/ 66803 w 108157"/>
                <a:gd name="connsiteY874" fmla="*/ 5408 h 159055"/>
                <a:gd name="connsiteX875" fmla="*/ 67122 w 108157"/>
                <a:gd name="connsiteY875" fmla="*/ 5090 h 159055"/>
                <a:gd name="connsiteX876" fmla="*/ 67440 w 108157"/>
                <a:gd name="connsiteY876" fmla="*/ 5090 h 159055"/>
                <a:gd name="connsiteX877" fmla="*/ 67440 w 108157"/>
                <a:gd name="connsiteY877" fmla="*/ 5408 h 159055"/>
                <a:gd name="connsiteX878" fmla="*/ 66803 w 108157"/>
                <a:gd name="connsiteY878" fmla="*/ 5726 h 159055"/>
                <a:gd name="connsiteX879" fmla="*/ 66803 w 108157"/>
                <a:gd name="connsiteY879" fmla="*/ 5408 h 159055"/>
                <a:gd name="connsiteX880" fmla="*/ 70621 w 108157"/>
                <a:gd name="connsiteY880" fmla="*/ 149513 h 159055"/>
                <a:gd name="connsiteX881" fmla="*/ 70939 w 108157"/>
                <a:gd name="connsiteY881" fmla="*/ 149194 h 159055"/>
                <a:gd name="connsiteX882" fmla="*/ 70939 w 108157"/>
                <a:gd name="connsiteY882" fmla="*/ 148240 h 159055"/>
                <a:gd name="connsiteX883" fmla="*/ 69348 w 108157"/>
                <a:gd name="connsiteY883" fmla="*/ 147922 h 159055"/>
                <a:gd name="connsiteX884" fmla="*/ 68394 w 108157"/>
                <a:gd name="connsiteY884" fmla="*/ 147604 h 159055"/>
                <a:gd name="connsiteX885" fmla="*/ 67440 w 108157"/>
                <a:gd name="connsiteY885" fmla="*/ 149194 h 159055"/>
                <a:gd name="connsiteX886" fmla="*/ 69348 w 108157"/>
                <a:gd name="connsiteY886" fmla="*/ 149831 h 159055"/>
                <a:gd name="connsiteX887" fmla="*/ 70621 w 108157"/>
                <a:gd name="connsiteY887" fmla="*/ 149513 h 159055"/>
                <a:gd name="connsiteX888" fmla="*/ 69030 w 108157"/>
                <a:gd name="connsiteY888" fmla="*/ 21950 h 159055"/>
                <a:gd name="connsiteX889" fmla="*/ 69030 w 108157"/>
                <a:gd name="connsiteY889" fmla="*/ 21632 h 159055"/>
                <a:gd name="connsiteX890" fmla="*/ 68076 w 108157"/>
                <a:gd name="connsiteY890" fmla="*/ 21632 h 159055"/>
                <a:gd name="connsiteX891" fmla="*/ 68076 w 108157"/>
                <a:gd name="connsiteY891" fmla="*/ 21950 h 159055"/>
                <a:gd name="connsiteX892" fmla="*/ 69030 w 108157"/>
                <a:gd name="connsiteY892" fmla="*/ 22586 h 159055"/>
                <a:gd name="connsiteX893" fmla="*/ 69030 w 108157"/>
                <a:gd name="connsiteY893" fmla="*/ 21950 h 159055"/>
                <a:gd name="connsiteX894" fmla="*/ 71575 w 108157"/>
                <a:gd name="connsiteY894" fmla="*/ 115793 h 159055"/>
                <a:gd name="connsiteX895" fmla="*/ 71893 w 108157"/>
                <a:gd name="connsiteY895" fmla="*/ 115793 h 159055"/>
                <a:gd name="connsiteX896" fmla="*/ 71893 w 108157"/>
                <a:gd name="connsiteY896" fmla="*/ 115156 h 159055"/>
                <a:gd name="connsiteX897" fmla="*/ 69030 w 108157"/>
                <a:gd name="connsiteY897" fmla="*/ 114838 h 159055"/>
                <a:gd name="connsiteX898" fmla="*/ 68712 w 108157"/>
                <a:gd name="connsiteY898" fmla="*/ 115475 h 159055"/>
                <a:gd name="connsiteX899" fmla="*/ 68712 w 108157"/>
                <a:gd name="connsiteY899" fmla="*/ 115793 h 159055"/>
                <a:gd name="connsiteX900" fmla="*/ 70621 w 108157"/>
                <a:gd name="connsiteY900" fmla="*/ 115793 h 159055"/>
                <a:gd name="connsiteX901" fmla="*/ 71575 w 108157"/>
                <a:gd name="connsiteY901" fmla="*/ 115793 h 159055"/>
                <a:gd name="connsiteX902" fmla="*/ 69667 w 108157"/>
                <a:gd name="connsiteY902" fmla="*/ 112930 h 159055"/>
                <a:gd name="connsiteX903" fmla="*/ 69667 w 108157"/>
                <a:gd name="connsiteY903" fmla="*/ 112930 h 159055"/>
                <a:gd name="connsiteX904" fmla="*/ 69985 w 108157"/>
                <a:gd name="connsiteY904" fmla="*/ 112930 h 159055"/>
                <a:gd name="connsiteX905" fmla="*/ 69667 w 108157"/>
                <a:gd name="connsiteY905" fmla="*/ 112930 h 159055"/>
                <a:gd name="connsiteX906" fmla="*/ 73802 w 108157"/>
                <a:gd name="connsiteY906" fmla="*/ 14315 h 159055"/>
                <a:gd name="connsiteX907" fmla="*/ 72848 w 108157"/>
                <a:gd name="connsiteY907" fmla="*/ 14633 h 159055"/>
                <a:gd name="connsiteX908" fmla="*/ 72848 w 108157"/>
                <a:gd name="connsiteY908" fmla="*/ 14951 h 159055"/>
                <a:gd name="connsiteX909" fmla="*/ 74120 w 108157"/>
                <a:gd name="connsiteY909" fmla="*/ 14633 h 159055"/>
                <a:gd name="connsiteX910" fmla="*/ 73802 w 108157"/>
                <a:gd name="connsiteY910" fmla="*/ 14315 h 159055"/>
                <a:gd name="connsiteX911" fmla="*/ 75074 w 108157"/>
                <a:gd name="connsiteY911" fmla="*/ 112612 h 159055"/>
                <a:gd name="connsiteX912" fmla="*/ 75074 w 108157"/>
                <a:gd name="connsiteY912" fmla="*/ 111975 h 159055"/>
                <a:gd name="connsiteX913" fmla="*/ 74438 w 108157"/>
                <a:gd name="connsiteY913" fmla="*/ 111657 h 159055"/>
                <a:gd name="connsiteX914" fmla="*/ 73166 w 108157"/>
                <a:gd name="connsiteY914" fmla="*/ 113566 h 159055"/>
                <a:gd name="connsiteX915" fmla="*/ 73484 w 108157"/>
                <a:gd name="connsiteY915" fmla="*/ 113884 h 159055"/>
                <a:gd name="connsiteX916" fmla="*/ 73802 w 108157"/>
                <a:gd name="connsiteY916" fmla="*/ 113884 h 159055"/>
                <a:gd name="connsiteX917" fmla="*/ 75074 w 108157"/>
                <a:gd name="connsiteY917" fmla="*/ 112612 h 159055"/>
                <a:gd name="connsiteX918" fmla="*/ 75074 w 108157"/>
                <a:gd name="connsiteY918" fmla="*/ 20677 h 159055"/>
                <a:gd name="connsiteX919" fmla="*/ 74120 w 108157"/>
                <a:gd name="connsiteY919" fmla="*/ 20677 h 159055"/>
                <a:gd name="connsiteX920" fmla="*/ 74438 w 108157"/>
                <a:gd name="connsiteY920" fmla="*/ 20677 h 159055"/>
                <a:gd name="connsiteX921" fmla="*/ 75074 w 108157"/>
                <a:gd name="connsiteY921" fmla="*/ 20677 h 159055"/>
                <a:gd name="connsiteX922" fmla="*/ 79528 w 108157"/>
                <a:gd name="connsiteY922" fmla="*/ 19405 h 159055"/>
                <a:gd name="connsiteX923" fmla="*/ 79846 w 108157"/>
                <a:gd name="connsiteY923" fmla="*/ 19087 h 159055"/>
                <a:gd name="connsiteX924" fmla="*/ 79210 w 108157"/>
                <a:gd name="connsiteY924" fmla="*/ 18769 h 159055"/>
                <a:gd name="connsiteX925" fmla="*/ 76347 w 108157"/>
                <a:gd name="connsiteY925" fmla="*/ 19087 h 159055"/>
                <a:gd name="connsiteX926" fmla="*/ 76347 w 108157"/>
                <a:gd name="connsiteY926" fmla="*/ 19405 h 159055"/>
                <a:gd name="connsiteX927" fmla="*/ 76029 w 108157"/>
                <a:gd name="connsiteY927" fmla="*/ 19723 h 159055"/>
                <a:gd name="connsiteX928" fmla="*/ 76665 w 108157"/>
                <a:gd name="connsiteY928" fmla="*/ 19723 h 159055"/>
                <a:gd name="connsiteX929" fmla="*/ 79528 w 108157"/>
                <a:gd name="connsiteY929" fmla="*/ 19405 h 159055"/>
                <a:gd name="connsiteX930" fmla="*/ 76665 w 108157"/>
                <a:gd name="connsiteY930" fmla="*/ 2863 h 159055"/>
                <a:gd name="connsiteX931" fmla="*/ 76665 w 108157"/>
                <a:gd name="connsiteY931" fmla="*/ 3181 h 159055"/>
                <a:gd name="connsiteX932" fmla="*/ 76347 w 108157"/>
                <a:gd name="connsiteY932" fmla="*/ 3499 h 159055"/>
                <a:gd name="connsiteX933" fmla="*/ 76665 w 108157"/>
                <a:gd name="connsiteY933" fmla="*/ 2863 h 159055"/>
                <a:gd name="connsiteX934" fmla="*/ 76983 w 108157"/>
                <a:gd name="connsiteY934" fmla="*/ 144423 h 159055"/>
                <a:gd name="connsiteX935" fmla="*/ 76665 w 108157"/>
                <a:gd name="connsiteY935" fmla="*/ 144423 h 159055"/>
                <a:gd name="connsiteX936" fmla="*/ 76983 w 108157"/>
                <a:gd name="connsiteY936" fmla="*/ 144423 h 159055"/>
                <a:gd name="connsiteX937" fmla="*/ 77619 w 108157"/>
                <a:gd name="connsiteY937" fmla="*/ 150149 h 159055"/>
                <a:gd name="connsiteX938" fmla="*/ 77619 w 108157"/>
                <a:gd name="connsiteY938" fmla="*/ 149831 h 159055"/>
                <a:gd name="connsiteX939" fmla="*/ 78255 w 108157"/>
                <a:gd name="connsiteY939" fmla="*/ 149831 h 159055"/>
                <a:gd name="connsiteX940" fmla="*/ 78574 w 108157"/>
                <a:gd name="connsiteY940" fmla="*/ 150467 h 159055"/>
                <a:gd name="connsiteX941" fmla="*/ 78255 w 108157"/>
                <a:gd name="connsiteY941" fmla="*/ 150785 h 159055"/>
                <a:gd name="connsiteX942" fmla="*/ 77619 w 108157"/>
                <a:gd name="connsiteY942" fmla="*/ 150149 h 159055"/>
                <a:gd name="connsiteX943" fmla="*/ 79846 w 108157"/>
                <a:gd name="connsiteY943" fmla="*/ 143787 h 159055"/>
                <a:gd name="connsiteX944" fmla="*/ 79846 w 108157"/>
                <a:gd name="connsiteY944" fmla="*/ 143468 h 159055"/>
                <a:gd name="connsiteX945" fmla="*/ 79210 w 108157"/>
                <a:gd name="connsiteY945" fmla="*/ 143150 h 159055"/>
                <a:gd name="connsiteX946" fmla="*/ 78255 w 108157"/>
                <a:gd name="connsiteY946" fmla="*/ 143150 h 159055"/>
                <a:gd name="connsiteX947" fmla="*/ 78255 w 108157"/>
                <a:gd name="connsiteY947" fmla="*/ 144105 h 159055"/>
                <a:gd name="connsiteX948" fmla="*/ 78255 w 108157"/>
                <a:gd name="connsiteY948" fmla="*/ 144423 h 159055"/>
                <a:gd name="connsiteX949" fmla="*/ 79846 w 108157"/>
                <a:gd name="connsiteY949" fmla="*/ 143787 h 159055"/>
                <a:gd name="connsiteX950" fmla="*/ 84300 w 108157"/>
                <a:gd name="connsiteY950" fmla="*/ 21950 h 159055"/>
                <a:gd name="connsiteX951" fmla="*/ 84936 w 108157"/>
                <a:gd name="connsiteY951" fmla="*/ 21950 h 159055"/>
                <a:gd name="connsiteX952" fmla="*/ 85254 w 108157"/>
                <a:gd name="connsiteY952" fmla="*/ 21313 h 159055"/>
                <a:gd name="connsiteX953" fmla="*/ 84936 w 108157"/>
                <a:gd name="connsiteY953" fmla="*/ 20995 h 159055"/>
                <a:gd name="connsiteX954" fmla="*/ 84300 w 108157"/>
                <a:gd name="connsiteY954" fmla="*/ 21313 h 159055"/>
                <a:gd name="connsiteX955" fmla="*/ 81755 w 108157"/>
                <a:gd name="connsiteY955" fmla="*/ 21950 h 159055"/>
                <a:gd name="connsiteX956" fmla="*/ 81437 w 108157"/>
                <a:gd name="connsiteY956" fmla="*/ 21950 h 159055"/>
                <a:gd name="connsiteX957" fmla="*/ 81755 w 108157"/>
                <a:gd name="connsiteY957" fmla="*/ 22268 h 159055"/>
                <a:gd name="connsiteX958" fmla="*/ 83663 w 108157"/>
                <a:gd name="connsiteY958" fmla="*/ 22904 h 159055"/>
                <a:gd name="connsiteX959" fmla="*/ 84300 w 108157"/>
                <a:gd name="connsiteY959" fmla="*/ 23540 h 159055"/>
                <a:gd name="connsiteX960" fmla="*/ 84936 w 108157"/>
                <a:gd name="connsiteY960" fmla="*/ 23540 h 159055"/>
                <a:gd name="connsiteX961" fmla="*/ 84936 w 108157"/>
                <a:gd name="connsiteY961" fmla="*/ 23222 h 159055"/>
                <a:gd name="connsiteX962" fmla="*/ 84936 w 108157"/>
                <a:gd name="connsiteY962" fmla="*/ 22904 h 159055"/>
                <a:gd name="connsiteX963" fmla="*/ 83663 w 108157"/>
                <a:gd name="connsiteY963" fmla="*/ 22904 h 159055"/>
                <a:gd name="connsiteX964" fmla="*/ 84300 w 108157"/>
                <a:gd name="connsiteY964" fmla="*/ 21950 h 159055"/>
                <a:gd name="connsiteX965" fmla="*/ 82709 w 108157"/>
                <a:gd name="connsiteY965" fmla="*/ 13043 h 159055"/>
                <a:gd name="connsiteX966" fmla="*/ 81755 w 108157"/>
                <a:gd name="connsiteY966" fmla="*/ 13361 h 159055"/>
                <a:gd name="connsiteX967" fmla="*/ 81755 w 108157"/>
                <a:gd name="connsiteY967" fmla="*/ 13679 h 159055"/>
                <a:gd name="connsiteX968" fmla="*/ 82709 w 108157"/>
                <a:gd name="connsiteY968" fmla="*/ 13043 h 159055"/>
                <a:gd name="connsiteX969" fmla="*/ 83027 w 108157"/>
                <a:gd name="connsiteY969" fmla="*/ 13043 h 159055"/>
                <a:gd name="connsiteX970" fmla="*/ 82709 w 108157"/>
                <a:gd name="connsiteY970" fmla="*/ 13043 h 159055"/>
                <a:gd name="connsiteX971" fmla="*/ 83027 w 108157"/>
                <a:gd name="connsiteY971" fmla="*/ 148558 h 159055"/>
                <a:gd name="connsiteX972" fmla="*/ 82391 w 108157"/>
                <a:gd name="connsiteY972" fmla="*/ 148240 h 159055"/>
                <a:gd name="connsiteX973" fmla="*/ 82391 w 108157"/>
                <a:gd name="connsiteY973" fmla="*/ 147604 h 159055"/>
                <a:gd name="connsiteX974" fmla="*/ 83027 w 108157"/>
                <a:gd name="connsiteY974" fmla="*/ 147286 h 159055"/>
                <a:gd name="connsiteX975" fmla="*/ 83663 w 108157"/>
                <a:gd name="connsiteY975" fmla="*/ 147604 h 159055"/>
                <a:gd name="connsiteX976" fmla="*/ 83663 w 108157"/>
                <a:gd name="connsiteY976" fmla="*/ 147922 h 159055"/>
                <a:gd name="connsiteX977" fmla="*/ 83027 w 108157"/>
                <a:gd name="connsiteY977" fmla="*/ 148558 h 159055"/>
                <a:gd name="connsiteX978" fmla="*/ 82709 w 108157"/>
                <a:gd name="connsiteY978" fmla="*/ 11770 h 159055"/>
                <a:gd name="connsiteX979" fmla="*/ 83027 w 108157"/>
                <a:gd name="connsiteY979" fmla="*/ 11770 h 159055"/>
                <a:gd name="connsiteX980" fmla="*/ 82709 w 108157"/>
                <a:gd name="connsiteY980" fmla="*/ 11770 h 159055"/>
                <a:gd name="connsiteX981" fmla="*/ 84618 w 108157"/>
                <a:gd name="connsiteY981" fmla="*/ 11134 h 159055"/>
                <a:gd name="connsiteX982" fmla="*/ 84936 w 108157"/>
                <a:gd name="connsiteY982" fmla="*/ 11770 h 159055"/>
                <a:gd name="connsiteX983" fmla="*/ 85254 w 108157"/>
                <a:gd name="connsiteY983" fmla="*/ 11134 h 159055"/>
                <a:gd name="connsiteX984" fmla="*/ 85254 w 108157"/>
                <a:gd name="connsiteY984" fmla="*/ 10498 h 159055"/>
                <a:gd name="connsiteX985" fmla="*/ 84618 w 108157"/>
                <a:gd name="connsiteY985" fmla="*/ 11134 h 159055"/>
                <a:gd name="connsiteX986" fmla="*/ 86526 w 108157"/>
                <a:gd name="connsiteY986" fmla="*/ 16224 h 159055"/>
                <a:gd name="connsiteX987" fmla="*/ 86526 w 108157"/>
                <a:gd name="connsiteY987" fmla="*/ 16542 h 159055"/>
                <a:gd name="connsiteX988" fmla="*/ 86526 w 108157"/>
                <a:gd name="connsiteY988" fmla="*/ 16224 h 159055"/>
                <a:gd name="connsiteX989" fmla="*/ 86844 w 108157"/>
                <a:gd name="connsiteY989" fmla="*/ 16224 h 159055"/>
                <a:gd name="connsiteX990" fmla="*/ 86526 w 108157"/>
                <a:gd name="connsiteY990" fmla="*/ 16224 h 159055"/>
                <a:gd name="connsiteX991" fmla="*/ 93843 w 108157"/>
                <a:gd name="connsiteY991" fmla="*/ 20041 h 159055"/>
                <a:gd name="connsiteX992" fmla="*/ 95115 w 108157"/>
                <a:gd name="connsiteY992" fmla="*/ 20041 h 159055"/>
                <a:gd name="connsiteX993" fmla="*/ 97342 w 108157"/>
                <a:gd name="connsiteY993" fmla="*/ 20359 h 159055"/>
                <a:gd name="connsiteX994" fmla="*/ 99569 w 108157"/>
                <a:gd name="connsiteY994" fmla="*/ 19405 h 159055"/>
                <a:gd name="connsiteX995" fmla="*/ 98933 w 108157"/>
                <a:gd name="connsiteY995" fmla="*/ 19087 h 159055"/>
                <a:gd name="connsiteX996" fmla="*/ 97978 w 108157"/>
                <a:gd name="connsiteY996" fmla="*/ 19087 h 159055"/>
                <a:gd name="connsiteX997" fmla="*/ 92889 w 108157"/>
                <a:gd name="connsiteY997" fmla="*/ 19087 h 159055"/>
                <a:gd name="connsiteX998" fmla="*/ 91616 w 108157"/>
                <a:gd name="connsiteY998" fmla="*/ 19405 h 159055"/>
                <a:gd name="connsiteX999" fmla="*/ 89389 w 108157"/>
                <a:gd name="connsiteY999" fmla="*/ 19723 h 159055"/>
                <a:gd name="connsiteX1000" fmla="*/ 87163 w 108157"/>
                <a:gd name="connsiteY1000" fmla="*/ 20677 h 159055"/>
                <a:gd name="connsiteX1001" fmla="*/ 87799 w 108157"/>
                <a:gd name="connsiteY1001" fmla="*/ 20677 h 159055"/>
                <a:gd name="connsiteX1002" fmla="*/ 88435 w 108157"/>
                <a:gd name="connsiteY1002" fmla="*/ 20677 h 159055"/>
                <a:gd name="connsiteX1003" fmla="*/ 92889 w 108157"/>
                <a:gd name="connsiteY1003" fmla="*/ 20677 h 159055"/>
                <a:gd name="connsiteX1004" fmla="*/ 93207 w 108157"/>
                <a:gd name="connsiteY1004" fmla="*/ 20677 h 159055"/>
                <a:gd name="connsiteX1005" fmla="*/ 93525 w 108157"/>
                <a:gd name="connsiteY1005" fmla="*/ 20677 h 159055"/>
                <a:gd name="connsiteX1006" fmla="*/ 93843 w 108157"/>
                <a:gd name="connsiteY1006" fmla="*/ 20995 h 159055"/>
                <a:gd name="connsiteX1007" fmla="*/ 93207 w 108157"/>
                <a:gd name="connsiteY1007" fmla="*/ 20677 h 159055"/>
                <a:gd name="connsiteX1008" fmla="*/ 93843 w 108157"/>
                <a:gd name="connsiteY1008" fmla="*/ 20041 h 159055"/>
                <a:gd name="connsiteX1009" fmla="*/ 92889 w 108157"/>
                <a:gd name="connsiteY1009" fmla="*/ 2863 h 159055"/>
                <a:gd name="connsiteX1010" fmla="*/ 92889 w 108157"/>
                <a:gd name="connsiteY1010" fmla="*/ 2545 h 159055"/>
                <a:gd name="connsiteX1011" fmla="*/ 92252 w 108157"/>
                <a:gd name="connsiteY1011" fmla="*/ 2545 h 159055"/>
                <a:gd name="connsiteX1012" fmla="*/ 91616 w 108157"/>
                <a:gd name="connsiteY1012" fmla="*/ 2863 h 159055"/>
                <a:gd name="connsiteX1013" fmla="*/ 92570 w 108157"/>
                <a:gd name="connsiteY1013" fmla="*/ 2863 h 159055"/>
                <a:gd name="connsiteX1014" fmla="*/ 92889 w 108157"/>
                <a:gd name="connsiteY1014" fmla="*/ 2863 h 159055"/>
                <a:gd name="connsiteX1015" fmla="*/ 93207 w 108157"/>
                <a:gd name="connsiteY1015" fmla="*/ 139969 h 159055"/>
                <a:gd name="connsiteX1016" fmla="*/ 93207 w 108157"/>
                <a:gd name="connsiteY1016" fmla="*/ 140287 h 159055"/>
                <a:gd name="connsiteX1017" fmla="*/ 92252 w 108157"/>
                <a:gd name="connsiteY1017" fmla="*/ 140287 h 159055"/>
                <a:gd name="connsiteX1018" fmla="*/ 91616 w 108157"/>
                <a:gd name="connsiteY1018" fmla="*/ 140605 h 159055"/>
                <a:gd name="connsiteX1019" fmla="*/ 92252 w 108157"/>
                <a:gd name="connsiteY1019" fmla="*/ 140924 h 159055"/>
                <a:gd name="connsiteX1020" fmla="*/ 92889 w 108157"/>
                <a:gd name="connsiteY1020" fmla="*/ 140924 h 159055"/>
                <a:gd name="connsiteX1021" fmla="*/ 93207 w 108157"/>
                <a:gd name="connsiteY1021" fmla="*/ 140287 h 159055"/>
                <a:gd name="connsiteX1022" fmla="*/ 93207 w 108157"/>
                <a:gd name="connsiteY1022" fmla="*/ 139969 h 159055"/>
                <a:gd name="connsiteX1023" fmla="*/ 93207 w 108157"/>
                <a:gd name="connsiteY1023" fmla="*/ 16224 h 159055"/>
                <a:gd name="connsiteX1024" fmla="*/ 93207 w 108157"/>
                <a:gd name="connsiteY1024" fmla="*/ 15906 h 159055"/>
                <a:gd name="connsiteX1025" fmla="*/ 92889 w 108157"/>
                <a:gd name="connsiteY1025" fmla="*/ 16224 h 159055"/>
                <a:gd name="connsiteX1026" fmla="*/ 93207 w 108157"/>
                <a:gd name="connsiteY1026" fmla="*/ 16224 h 159055"/>
                <a:gd name="connsiteX1027" fmla="*/ 94161 w 108157"/>
                <a:gd name="connsiteY1027" fmla="*/ 9225 h 159055"/>
                <a:gd name="connsiteX1028" fmla="*/ 94161 w 108157"/>
                <a:gd name="connsiteY1028" fmla="*/ 9225 h 159055"/>
                <a:gd name="connsiteX1029" fmla="*/ 93843 w 108157"/>
                <a:gd name="connsiteY1029" fmla="*/ 9225 h 159055"/>
                <a:gd name="connsiteX1030" fmla="*/ 94161 w 108157"/>
                <a:gd name="connsiteY1030" fmla="*/ 9543 h 159055"/>
                <a:gd name="connsiteX1031" fmla="*/ 94161 w 108157"/>
                <a:gd name="connsiteY1031" fmla="*/ 9225 h 159055"/>
                <a:gd name="connsiteX1032" fmla="*/ 101160 w 108157"/>
                <a:gd name="connsiteY1032" fmla="*/ 13997 h 159055"/>
                <a:gd name="connsiteX1033" fmla="*/ 101478 w 108157"/>
                <a:gd name="connsiteY1033" fmla="*/ 13997 h 159055"/>
                <a:gd name="connsiteX1034" fmla="*/ 101160 w 108157"/>
                <a:gd name="connsiteY1034" fmla="*/ 14315 h 159055"/>
                <a:gd name="connsiteX1035" fmla="*/ 99887 w 108157"/>
                <a:gd name="connsiteY1035" fmla="*/ 14315 h 159055"/>
                <a:gd name="connsiteX1036" fmla="*/ 101160 w 108157"/>
                <a:gd name="connsiteY1036" fmla="*/ 13997 h 159055"/>
                <a:gd name="connsiteX1037" fmla="*/ 100205 w 108157"/>
                <a:gd name="connsiteY1037" fmla="*/ 110067 h 159055"/>
                <a:gd name="connsiteX1038" fmla="*/ 101160 w 108157"/>
                <a:gd name="connsiteY1038" fmla="*/ 110067 h 159055"/>
                <a:gd name="connsiteX1039" fmla="*/ 99887 w 108157"/>
                <a:gd name="connsiteY1039" fmla="*/ 108794 h 159055"/>
                <a:gd name="connsiteX1040" fmla="*/ 100205 w 108157"/>
                <a:gd name="connsiteY1040" fmla="*/ 110067 h 159055"/>
                <a:gd name="connsiteX1041" fmla="*/ 111021 w 108157"/>
                <a:gd name="connsiteY1041" fmla="*/ 24495 h 159055"/>
                <a:gd name="connsiteX1042" fmla="*/ 111021 w 108157"/>
                <a:gd name="connsiteY1042" fmla="*/ 24177 h 159055"/>
                <a:gd name="connsiteX1043" fmla="*/ 111339 w 108157"/>
                <a:gd name="connsiteY1043" fmla="*/ 24177 h 159055"/>
                <a:gd name="connsiteX1044" fmla="*/ 111975 w 108157"/>
                <a:gd name="connsiteY1044" fmla="*/ 24495 h 159055"/>
                <a:gd name="connsiteX1045" fmla="*/ 111339 w 108157"/>
                <a:gd name="connsiteY1045" fmla="*/ 24813 h 159055"/>
                <a:gd name="connsiteX1046" fmla="*/ 111021 w 108157"/>
                <a:gd name="connsiteY1046" fmla="*/ 24495 h 15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</a:cxnLst>
              <a:rect l="l" t="t" r="r" b="b"/>
              <a:pathLst>
                <a:path w="108157" h="159055">
                  <a:moveTo>
                    <a:pt x="95115" y="139969"/>
                  </a:moveTo>
                  <a:cubicBezTo>
                    <a:pt x="94479" y="140924"/>
                    <a:pt x="92889" y="141560"/>
                    <a:pt x="92252" y="142514"/>
                  </a:cubicBezTo>
                  <a:cubicBezTo>
                    <a:pt x="91616" y="143150"/>
                    <a:pt x="91298" y="143150"/>
                    <a:pt x="90662" y="142832"/>
                  </a:cubicBezTo>
                  <a:cubicBezTo>
                    <a:pt x="90662" y="142832"/>
                    <a:pt x="90026" y="142832"/>
                    <a:pt x="89708" y="142832"/>
                  </a:cubicBezTo>
                  <a:cubicBezTo>
                    <a:pt x="89389" y="142832"/>
                    <a:pt x="88435" y="142832"/>
                    <a:pt x="88117" y="142832"/>
                  </a:cubicBezTo>
                  <a:cubicBezTo>
                    <a:pt x="87799" y="142832"/>
                    <a:pt x="87163" y="142196"/>
                    <a:pt x="86844" y="142832"/>
                  </a:cubicBezTo>
                  <a:cubicBezTo>
                    <a:pt x="86844" y="142832"/>
                    <a:pt x="87163" y="143468"/>
                    <a:pt x="87163" y="143787"/>
                  </a:cubicBezTo>
                  <a:cubicBezTo>
                    <a:pt x="88117" y="143787"/>
                    <a:pt x="88117" y="144105"/>
                    <a:pt x="87799" y="144423"/>
                  </a:cubicBezTo>
                  <a:cubicBezTo>
                    <a:pt x="87163" y="144741"/>
                    <a:pt x="86844" y="144741"/>
                    <a:pt x="86526" y="144423"/>
                  </a:cubicBezTo>
                  <a:cubicBezTo>
                    <a:pt x="86208" y="143787"/>
                    <a:pt x="86208" y="143787"/>
                    <a:pt x="85572" y="143787"/>
                  </a:cubicBezTo>
                  <a:cubicBezTo>
                    <a:pt x="85254" y="143787"/>
                    <a:pt x="84936" y="144105"/>
                    <a:pt x="84618" y="143787"/>
                  </a:cubicBezTo>
                  <a:cubicBezTo>
                    <a:pt x="84300" y="143787"/>
                    <a:pt x="83982" y="143787"/>
                    <a:pt x="83982" y="144423"/>
                  </a:cubicBezTo>
                  <a:cubicBezTo>
                    <a:pt x="83027" y="145059"/>
                    <a:pt x="82073" y="145059"/>
                    <a:pt x="81437" y="145695"/>
                  </a:cubicBezTo>
                  <a:cubicBezTo>
                    <a:pt x="81437" y="146013"/>
                    <a:pt x="81119" y="146331"/>
                    <a:pt x="80482" y="146331"/>
                  </a:cubicBezTo>
                  <a:cubicBezTo>
                    <a:pt x="79528" y="146331"/>
                    <a:pt x="79210" y="146968"/>
                    <a:pt x="78255" y="147604"/>
                  </a:cubicBezTo>
                  <a:cubicBezTo>
                    <a:pt x="79210" y="148558"/>
                    <a:pt x="77937" y="148558"/>
                    <a:pt x="77619" y="148558"/>
                  </a:cubicBezTo>
                  <a:cubicBezTo>
                    <a:pt x="77301" y="148240"/>
                    <a:pt x="76983" y="148240"/>
                    <a:pt x="76665" y="148240"/>
                  </a:cubicBezTo>
                  <a:cubicBezTo>
                    <a:pt x="76029" y="148240"/>
                    <a:pt x="75393" y="148240"/>
                    <a:pt x="74120" y="148558"/>
                  </a:cubicBezTo>
                  <a:cubicBezTo>
                    <a:pt x="73484" y="148876"/>
                    <a:pt x="72848" y="149194"/>
                    <a:pt x="72848" y="149831"/>
                  </a:cubicBezTo>
                  <a:cubicBezTo>
                    <a:pt x="72848" y="149831"/>
                    <a:pt x="72529" y="150149"/>
                    <a:pt x="72529" y="149831"/>
                  </a:cubicBezTo>
                  <a:cubicBezTo>
                    <a:pt x="71575" y="149513"/>
                    <a:pt x="71257" y="150149"/>
                    <a:pt x="70939" y="151103"/>
                  </a:cubicBezTo>
                  <a:cubicBezTo>
                    <a:pt x="70621" y="151421"/>
                    <a:pt x="69667" y="151421"/>
                    <a:pt x="69667" y="151421"/>
                  </a:cubicBezTo>
                  <a:cubicBezTo>
                    <a:pt x="68712" y="151421"/>
                    <a:pt x="68076" y="151739"/>
                    <a:pt x="67122" y="152376"/>
                  </a:cubicBezTo>
                  <a:cubicBezTo>
                    <a:pt x="67122" y="152694"/>
                    <a:pt x="67122" y="152694"/>
                    <a:pt x="67122" y="152694"/>
                  </a:cubicBezTo>
                  <a:cubicBezTo>
                    <a:pt x="66803" y="153330"/>
                    <a:pt x="65849" y="153648"/>
                    <a:pt x="65531" y="153330"/>
                  </a:cubicBezTo>
                  <a:cubicBezTo>
                    <a:pt x="64895" y="153012"/>
                    <a:pt x="64895" y="152694"/>
                    <a:pt x="64259" y="153012"/>
                  </a:cubicBezTo>
                  <a:cubicBezTo>
                    <a:pt x="63940" y="153330"/>
                    <a:pt x="64259" y="153966"/>
                    <a:pt x="64577" y="154284"/>
                  </a:cubicBezTo>
                  <a:cubicBezTo>
                    <a:pt x="64577" y="154284"/>
                    <a:pt x="64577" y="154284"/>
                    <a:pt x="64895" y="154284"/>
                  </a:cubicBezTo>
                  <a:cubicBezTo>
                    <a:pt x="64577" y="154284"/>
                    <a:pt x="64259" y="154602"/>
                    <a:pt x="64259" y="154284"/>
                  </a:cubicBezTo>
                  <a:cubicBezTo>
                    <a:pt x="63940" y="154284"/>
                    <a:pt x="63304" y="153966"/>
                    <a:pt x="62668" y="153330"/>
                  </a:cubicBezTo>
                  <a:cubicBezTo>
                    <a:pt x="62350" y="153330"/>
                    <a:pt x="62350" y="153330"/>
                    <a:pt x="62350" y="153966"/>
                  </a:cubicBezTo>
                  <a:cubicBezTo>
                    <a:pt x="62350" y="154284"/>
                    <a:pt x="62032" y="154284"/>
                    <a:pt x="61396" y="154284"/>
                  </a:cubicBezTo>
                  <a:cubicBezTo>
                    <a:pt x="61077" y="154284"/>
                    <a:pt x="60759" y="153648"/>
                    <a:pt x="60123" y="153330"/>
                  </a:cubicBezTo>
                  <a:cubicBezTo>
                    <a:pt x="59805" y="153330"/>
                    <a:pt x="59487" y="153648"/>
                    <a:pt x="59169" y="153648"/>
                  </a:cubicBezTo>
                  <a:cubicBezTo>
                    <a:pt x="59487" y="153648"/>
                    <a:pt x="59487" y="153966"/>
                    <a:pt x="59487" y="153966"/>
                  </a:cubicBezTo>
                  <a:cubicBezTo>
                    <a:pt x="59805" y="154284"/>
                    <a:pt x="60123" y="154284"/>
                    <a:pt x="60123" y="154284"/>
                  </a:cubicBezTo>
                  <a:cubicBezTo>
                    <a:pt x="60441" y="154602"/>
                    <a:pt x="60123" y="155239"/>
                    <a:pt x="60123" y="155239"/>
                  </a:cubicBezTo>
                  <a:cubicBezTo>
                    <a:pt x="59487" y="155557"/>
                    <a:pt x="59169" y="155557"/>
                    <a:pt x="58851" y="155557"/>
                  </a:cubicBezTo>
                  <a:cubicBezTo>
                    <a:pt x="58533" y="155557"/>
                    <a:pt x="57896" y="155557"/>
                    <a:pt x="57260" y="155557"/>
                  </a:cubicBezTo>
                  <a:lnTo>
                    <a:pt x="56942" y="155557"/>
                  </a:lnTo>
                  <a:cubicBezTo>
                    <a:pt x="56942" y="155557"/>
                    <a:pt x="56942" y="155239"/>
                    <a:pt x="57260" y="155239"/>
                  </a:cubicBezTo>
                  <a:cubicBezTo>
                    <a:pt x="57260" y="154920"/>
                    <a:pt x="57260" y="154602"/>
                    <a:pt x="57260" y="154284"/>
                  </a:cubicBezTo>
                  <a:cubicBezTo>
                    <a:pt x="56624" y="154284"/>
                    <a:pt x="55988" y="154284"/>
                    <a:pt x="55988" y="153330"/>
                  </a:cubicBezTo>
                  <a:cubicBezTo>
                    <a:pt x="55988" y="153012"/>
                    <a:pt x="55988" y="152694"/>
                    <a:pt x="55670" y="152376"/>
                  </a:cubicBezTo>
                  <a:cubicBezTo>
                    <a:pt x="55670" y="151739"/>
                    <a:pt x="55352" y="151421"/>
                    <a:pt x="55033" y="151421"/>
                  </a:cubicBezTo>
                  <a:cubicBezTo>
                    <a:pt x="54715" y="151103"/>
                    <a:pt x="54397" y="151421"/>
                    <a:pt x="54397" y="151421"/>
                  </a:cubicBezTo>
                  <a:cubicBezTo>
                    <a:pt x="54079" y="151739"/>
                    <a:pt x="54079" y="152057"/>
                    <a:pt x="52806" y="151739"/>
                  </a:cubicBezTo>
                  <a:cubicBezTo>
                    <a:pt x="52806" y="151739"/>
                    <a:pt x="52170" y="151421"/>
                    <a:pt x="51852" y="151739"/>
                  </a:cubicBezTo>
                  <a:cubicBezTo>
                    <a:pt x="51534" y="152057"/>
                    <a:pt x="50262" y="152376"/>
                    <a:pt x="49625" y="152376"/>
                  </a:cubicBezTo>
                  <a:cubicBezTo>
                    <a:pt x="49625" y="152376"/>
                    <a:pt x="49625" y="152376"/>
                    <a:pt x="49307" y="152376"/>
                  </a:cubicBezTo>
                  <a:cubicBezTo>
                    <a:pt x="49625" y="152376"/>
                    <a:pt x="49625" y="152694"/>
                    <a:pt x="49625" y="152694"/>
                  </a:cubicBezTo>
                  <a:cubicBezTo>
                    <a:pt x="49625" y="152694"/>
                    <a:pt x="49944" y="152694"/>
                    <a:pt x="50580" y="152694"/>
                  </a:cubicBezTo>
                  <a:cubicBezTo>
                    <a:pt x="50898" y="152694"/>
                    <a:pt x="51216" y="152694"/>
                    <a:pt x="51534" y="152694"/>
                  </a:cubicBezTo>
                  <a:cubicBezTo>
                    <a:pt x="51534" y="153012"/>
                    <a:pt x="51852" y="153012"/>
                    <a:pt x="52170" y="153330"/>
                  </a:cubicBezTo>
                  <a:cubicBezTo>
                    <a:pt x="52488" y="153648"/>
                    <a:pt x="52170" y="153966"/>
                    <a:pt x="51852" y="153966"/>
                  </a:cubicBezTo>
                  <a:lnTo>
                    <a:pt x="51534" y="153966"/>
                  </a:lnTo>
                  <a:cubicBezTo>
                    <a:pt x="51216" y="153966"/>
                    <a:pt x="50898" y="153648"/>
                    <a:pt x="50580" y="153648"/>
                  </a:cubicBezTo>
                  <a:cubicBezTo>
                    <a:pt x="50262" y="153648"/>
                    <a:pt x="49625" y="153966"/>
                    <a:pt x="49625" y="153966"/>
                  </a:cubicBezTo>
                  <a:cubicBezTo>
                    <a:pt x="48671" y="153966"/>
                    <a:pt x="49625" y="154602"/>
                    <a:pt x="49625" y="155239"/>
                  </a:cubicBezTo>
                  <a:lnTo>
                    <a:pt x="49625" y="155557"/>
                  </a:lnTo>
                  <a:cubicBezTo>
                    <a:pt x="49307" y="155557"/>
                    <a:pt x="48353" y="156193"/>
                    <a:pt x="48671" y="155875"/>
                  </a:cubicBezTo>
                  <a:cubicBezTo>
                    <a:pt x="47717" y="155557"/>
                    <a:pt x="46444" y="156193"/>
                    <a:pt x="45808" y="156193"/>
                  </a:cubicBezTo>
                  <a:cubicBezTo>
                    <a:pt x="45172" y="156193"/>
                    <a:pt x="45172" y="156511"/>
                    <a:pt x="44854" y="156829"/>
                  </a:cubicBezTo>
                  <a:cubicBezTo>
                    <a:pt x="43899" y="157783"/>
                    <a:pt x="43899" y="157783"/>
                    <a:pt x="42945" y="157147"/>
                  </a:cubicBezTo>
                  <a:cubicBezTo>
                    <a:pt x="42627" y="156829"/>
                    <a:pt x="42627" y="156829"/>
                    <a:pt x="42309" y="156193"/>
                  </a:cubicBezTo>
                  <a:cubicBezTo>
                    <a:pt x="42627" y="156193"/>
                    <a:pt x="42627" y="156193"/>
                    <a:pt x="42627" y="156193"/>
                  </a:cubicBezTo>
                  <a:cubicBezTo>
                    <a:pt x="43899" y="155875"/>
                    <a:pt x="43899" y="155875"/>
                    <a:pt x="43581" y="155239"/>
                  </a:cubicBezTo>
                  <a:cubicBezTo>
                    <a:pt x="43263" y="155239"/>
                    <a:pt x="43263" y="155239"/>
                    <a:pt x="43263" y="154920"/>
                  </a:cubicBezTo>
                  <a:cubicBezTo>
                    <a:pt x="43899" y="154920"/>
                    <a:pt x="44854" y="154920"/>
                    <a:pt x="45172" y="154920"/>
                  </a:cubicBezTo>
                  <a:lnTo>
                    <a:pt x="45490" y="154284"/>
                  </a:lnTo>
                  <a:cubicBezTo>
                    <a:pt x="45172" y="153966"/>
                    <a:pt x="45172" y="153966"/>
                    <a:pt x="45172" y="153966"/>
                  </a:cubicBezTo>
                  <a:cubicBezTo>
                    <a:pt x="44854" y="153966"/>
                    <a:pt x="44218" y="153966"/>
                    <a:pt x="43899" y="153966"/>
                  </a:cubicBezTo>
                  <a:cubicBezTo>
                    <a:pt x="43263" y="153966"/>
                    <a:pt x="43263" y="154602"/>
                    <a:pt x="43263" y="154920"/>
                  </a:cubicBezTo>
                  <a:cubicBezTo>
                    <a:pt x="42945" y="154602"/>
                    <a:pt x="42309" y="154284"/>
                    <a:pt x="41673" y="153966"/>
                  </a:cubicBezTo>
                  <a:cubicBezTo>
                    <a:pt x="41673" y="153966"/>
                    <a:pt x="41673" y="153966"/>
                    <a:pt x="41673" y="154284"/>
                  </a:cubicBezTo>
                  <a:lnTo>
                    <a:pt x="41673" y="154602"/>
                  </a:lnTo>
                  <a:cubicBezTo>
                    <a:pt x="41673" y="155239"/>
                    <a:pt x="41991" y="155239"/>
                    <a:pt x="41991" y="155557"/>
                  </a:cubicBezTo>
                  <a:cubicBezTo>
                    <a:pt x="41355" y="155557"/>
                    <a:pt x="40718" y="155557"/>
                    <a:pt x="39446" y="155875"/>
                  </a:cubicBezTo>
                  <a:cubicBezTo>
                    <a:pt x="38491" y="156511"/>
                    <a:pt x="37855" y="156829"/>
                    <a:pt x="37219" y="155557"/>
                  </a:cubicBezTo>
                  <a:cubicBezTo>
                    <a:pt x="37219" y="155557"/>
                    <a:pt x="36901" y="155557"/>
                    <a:pt x="36583" y="155557"/>
                  </a:cubicBezTo>
                  <a:cubicBezTo>
                    <a:pt x="36583" y="155557"/>
                    <a:pt x="35629" y="155557"/>
                    <a:pt x="35310" y="155557"/>
                  </a:cubicBezTo>
                  <a:cubicBezTo>
                    <a:pt x="34992" y="155557"/>
                    <a:pt x="34992" y="155557"/>
                    <a:pt x="34992" y="155875"/>
                  </a:cubicBezTo>
                  <a:cubicBezTo>
                    <a:pt x="34356" y="156193"/>
                    <a:pt x="34356" y="156193"/>
                    <a:pt x="34674" y="156511"/>
                  </a:cubicBezTo>
                  <a:cubicBezTo>
                    <a:pt x="34674" y="156511"/>
                    <a:pt x="34674" y="156511"/>
                    <a:pt x="34674" y="156829"/>
                  </a:cubicBezTo>
                  <a:cubicBezTo>
                    <a:pt x="34992" y="157147"/>
                    <a:pt x="34992" y="158420"/>
                    <a:pt x="34038" y="158420"/>
                  </a:cubicBezTo>
                  <a:cubicBezTo>
                    <a:pt x="33084" y="159056"/>
                    <a:pt x="32129" y="159374"/>
                    <a:pt x="30857" y="158738"/>
                  </a:cubicBezTo>
                  <a:cubicBezTo>
                    <a:pt x="29903" y="158420"/>
                    <a:pt x="29584" y="158420"/>
                    <a:pt x="29266" y="158420"/>
                  </a:cubicBezTo>
                  <a:cubicBezTo>
                    <a:pt x="28630" y="158738"/>
                    <a:pt x="27994" y="158738"/>
                    <a:pt x="26721" y="158738"/>
                  </a:cubicBezTo>
                  <a:cubicBezTo>
                    <a:pt x="26085" y="158738"/>
                    <a:pt x="26085" y="158738"/>
                    <a:pt x="26403" y="158102"/>
                  </a:cubicBezTo>
                  <a:cubicBezTo>
                    <a:pt x="26403" y="157783"/>
                    <a:pt x="26403" y="157147"/>
                    <a:pt x="26085" y="157147"/>
                  </a:cubicBezTo>
                  <a:cubicBezTo>
                    <a:pt x="26085" y="157147"/>
                    <a:pt x="26085" y="156829"/>
                    <a:pt x="25767" y="156829"/>
                  </a:cubicBezTo>
                  <a:cubicBezTo>
                    <a:pt x="25449" y="156829"/>
                    <a:pt x="25131" y="156829"/>
                    <a:pt x="24813" y="157147"/>
                  </a:cubicBezTo>
                  <a:cubicBezTo>
                    <a:pt x="24495" y="157147"/>
                    <a:pt x="24495" y="157465"/>
                    <a:pt x="24176" y="157783"/>
                  </a:cubicBezTo>
                  <a:cubicBezTo>
                    <a:pt x="24495" y="157783"/>
                    <a:pt x="24495" y="158102"/>
                    <a:pt x="24813" y="158102"/>
                  </a:cubicBezTo>
                  <a:cubicBezTo>
                    <a:pt x="25449" y="158102"/>
                    <a:pt x="25449" y="158102"/>
                    <a:pt x="25449" y="158738"/>
                  </a:cubicBezTo>
                  <a:cubicBezTo>
                    <a:pt x="25449" y="159374"/>
                    <a:pt x="25449" y="159692"/>
                    <a:pt x="26085" y="159692"/>
                  </a:cubicBezTo>
                  <a:cubicBezTo>
                    <a:pt x="27040" y="159692"/>
                    <a:pt x="27676" y="159692"/>
                    <a:pt x="27676" y="160965"/>
                  </a:cubicBezTo>
                  <a:cubicBezTo>
                    <a:pt x="27676" y="160965"/>
                    <a:pt x="26721" y="160965"/>
                    <a:pt x="26403" y="160965"/>
                  </a:cubicBezTo>
                  <a:lnTo>
                    <a:pt x="26085" y="160965"/>
                  </a:lnTo>
                  <a:cubicBezTo>
                    <a:pt x="26403" y="160965"/>
                    <a:pt x="26403" y="160965"/>
                    <a:pt x="26403" y="160965"/>
                  </a:cubicBezTo>
                  <a:cubicBezTo>
                    <a:pt x="27040" y="160965"/>
                    <a:pt x="27676" y="160965"/>
                    <a:pt x="27676" y="160965"/>
                  </a:cubicBezTo>
                  <a:cubicBezTo>
                    <a:pt x="27676" y="160965"/>
                    <a:pt x="27994" y="160965"/>
                    <a:pt x="28312" y="160965"/>
                  </a:cubicBezTo>
                  <a:cubicBezTo>
                    <a:pt x="28630" y="160965"/>
                    <a:pt x="28948" y="161601"/>
                    <a:pt x="28630" y="161601"/>
                  </a:cubicBezTo>
                  <a:cubicBezTo>
                    <a:pt x="28630" y="161919"/>
                    <a:pt x="28312" y="161919"/>
                    <a:pt x="27994" y="161919"/>
                  </a:cubicBezTo>
                  <a:cubicBezTo>
                    <a:pt x="26721" y="162237"/>
                    <a:pt x="25767" y="161919"/>
                    <a:pt x="25131" y="161283"/>
                  </a:cubicBezTo>
                  <a:cubicBezTo>
                    <a:pt x="24495" y="161283"/>
                    <a:pt x="24176" y="160965"/>
                    <a:pt x="24176" y="160328"/>
                  </a:cubicBezTo>
                  <a:cubicBezTo>
                    <a:pt x="24176" y="159692"/>
                    <a:pt x="24495" y="159692"/>
                    <a:pt x="24495" y="159374"/>
                  </a:cubicBezTo>
                  <a:cubicBezTo>
                    <a:pt x="24495" y="159056"/>
                    <a:pt x="23858" y="159056"/>
                    <a:pt x="23540" y="159056"/>
                  </a:cubicBezTo>
                  <a:cubicBezTo>
                    <a:pt x="22904" y="159056"/>
                    <a:pt x="22268" y="159056"/>
                    <a:pt x="21950" y="158738"/>
                  </a:cubicBezTo>
                  <a:cubicBezTo>
                    <a:pt x="21632" y="158738"/>
                    <a:pt x="21314" y="159056"/>
                    <a:pt x="21314" y="159056"/>
                  </a:cubicBezTo>
                  <a:cubicBezTo>
                    <a:pt x="20995" y="159374"/>
                    <a:pt x="20041" y="159692"/>
                    <a:pt x="20041" y="159374"/>
                  </a:cubicBezTo>
                  <a:cubicBezTo>
                    <a:pt x="19087" y="159056"/>
                    <a:pt x="17814" y="159056"/>
                    <a:pt x="17178" y="158420"/>
                  </a:cubicBezTo>
                  <a:cubicBezTo>
                    <a:pt x="16542" y="158102"/>
                    <a:pt x="15588" y="158102"/>
                    <a:pt x="14315" y="157783"/>
                  </a:cubicBezTo>
                  <a:cubicBezTo>
                    <a:pt x="14315" y="157465"/>
                    <a:pt x="13679" y="158102"/>
                    <a:pt x="13679" y="158102"/>
                  </a:cubicBezTo>
                  <a:cubicBezTo>
                    <a:pt x="13679" y="158102"/>
                    <a:pt x="13997" y="158420"/>
                    <a:pt x="13997" y="158738"/>
                  </a:cubicBezTo>
                  <a:lnTo>
                    <a:pt x="13997" y="159056"/>
                  </a:lnTo>
                  <a:lnTo>
                    <a:pt x="13679" y="159374"/>
                  </a:lnTo>
                  <a:cubicBezTo>
                    <a:pt x="13361" y="159374"/>
                    <a:pt x="13043" y="159374"/>
                    <a:pt x="12406" y="159056"/>
                  </a:cubicBezTo>
                  <a:cubicBezTo>
                    <a:pt x="12406" y="158420"/>
                    <a:pt x="11452" y="158102"/>
                    <a:pt x="11134" y="157783"/>
                  </a:cubicBezTo>
                  <a:cubicBezTo>
                    <a:pt x="11134" y="157783"/>
                    <a:pt x="11134" y="158102"/>
                    <a:pt x="10816" y="158102"/>
                  </a:cubicBezTo>
                  <a:cubicBezTo>
                    <a:pt x="10816" y="158420"/>
                    <a:pt x="11134" y="159056"/>
                    <a:pt x="11452" y="159056"/>
                  </a:cubicBezTo>
                  <a:cubicBezTo>
                    <a:pt x="11770" y="159056"/>
                    <a:pt x="12406" y="159056"/>
                    <a:pt x="12406" y="159056"/>
                  </a:cubicBezTo>
                  <a:cubicBezTo>
                    <a:pt x="12724" y="159374"/>
                    <a:pt x="12724" y="159692"/>
                    <a:pt x="13043" y="159692"/>
                  </a:cubicBezTo>
                  <a:cubicBezTo>
                    <a:pt x="13361" y="159692"/>
                    <a:pt x="13997" y="159692"/>
                    <a:pt x="14315" y="159692"/>
                  </a:cubicBezTo>
                  <a:cubicBezTo>
                    <a:pt x="14951" y="159692"/>
                    <a:pt x="14951" y="159692"/>
                    <a:pt x="14951" y="159692"/>
                  </a:cubicBezTo>
                  <a:cubicBezTo>
                    <a:pt x="15906" y="158738"/>
                    <a:pt x="15906" y="158738"/>
                    <a:pt x="16542" y="159374"/>
                  </a:cubicBezTo>
                  <a:lnTo>
                    <a:pt x="16224" y="159692"/>
                  </a:lnTo>
                  <a:cubicBezTo>
                    <a:pt x="17178" y="160328"/>
                    <a:pt x="17814" y="160965"/>
                    <a:pt x="19723" y="160965"/>
                  </a:cubicBezTo>
                  <a:cubicBezTo>
                    <a:pt x="20359" y="160965"/>
                    <a:pt x="20995" y="160965"/>
                    <a:pt x="21314" y="161283"/>
                  </a:cubicBezTo>
                  <a:cubicBezTo>
                    <a:pt x="21950" y="161601"/>
                    <a:pt x="22586" y="161283"/>
                    <a:pt x="22586" y="161919"/>
                  </a:cubicBezTo>
                  <a:cubicBezTo>
                    <a:pt x="22586" y="162555"/>
                    <a:pt x="21632" y="162555"/>
                    <a:pt x="20995" y="162555"/>
                  </a:cubicBezTo>
                  <a:cubicBezTo>
                    <a:pt x="20677" y="162555"/>
                    <a:pt x="19723" y="162555"/>
                    <a:pt x="19405" y="162555"/>
                  </a:cubicBezTo>
                  <a:cubicBezTo>
                    <a:pt x="18132" y="162555"/>
                    <a:pt x="17814" y="162237"/>
                    <a:pt x="17496" y="161601"/>
                  </a:cubicBezTo>
                  <a:cubicBezTo>
                    <a:pt x="17178" y="160965"/>
                    <a:pt x="16860" y="160965"/>
                    <a:pt x="16860" y="160965"/>
                  </a:cubicBezTo>
                  <a:cubicBezTo>
                    <a:pt x="16542" y="160646"/>
                    <a:pt x="16224" y="160328"/>
                    <a:pt x="16224" y="160646"/>
                  </a:cubicBezTo>
                  <a:cubicBezTo>
                    <a:pt x="16224" y="160965"/>
                    <a:pt x="16224" y="160965"/>
                    <a:pt x="16224" y="160965"/>
                  </a:cubicBezTo>
                  <a:cubicBezTo>
                    <a:pt x="16224" y="161283"/>
                    <a:pt x="16224" y="161919"/>
                    <a:pt x="16542" y="161919"/>
                  </a:cubicBezTo>
                  <a:cubicBezTo>
                    <a:pt x="16542" y="162237"/>
                    <a:pt x="16542" y="162555"/>
                    <a:pt x="16224" y="162555"/>
                  </a:cubicBezTo>
                  <a:cubicBezTo>
                    <a:pt x="16224" y="162555"/>
                    <a:pt x="16224" y="162555"/>
                    <a:pt x="15906" y="162555"/>
                  </a:cubicBezTo>
                  <a:cubicBezTo>
                    <a:pt x="15269" y="162555"/>
                    <a:pt x="14951" y="161919"/>
                    <a:pt x="13997" y="161919"/>
                  </a:cubicBezTo>
                  <a:cubicBezTo>
                    <a:pt x="13997" y="161919"/>
                    <a:pt x="13679" y="162237"/>
                    <a:pt x="13679" y="162555"/>
                  </a:cubicBezTo>
                  <a:cubicBezTo>
                    <a:pt x="13361" y="163509"/>
                    <a:pt x="13043" y="163828"/>
                    <a:pt x="12406" y="163509"/>
                  </a:cubicBezTo>
                  <a:cubicBezTo>
                    <a:pt x="11770" y="163509"/>
                    <a:pt x="11770" y="163191"/>
                    <a:pt x="11134" y="163191"/>
                  </a:cubicBezTo>
                  <a:cubicBezTo>
                    <a:pt x="9861" y="162873"/>
                    <a:pt x="9225" y="162873"/>
                    <a:pt x="8271" y="162873"/>
                  </a:cubicBezTo>
                  <a:cubicBezTo>
                    <a:pt x="7953" y="162555"/>
                    <a:pt x="7635" y="162555"/>
                    <a:pt x="7317" y="162237"/>
                  </a:cubicBezTo>
                  <a:cubicBezTo>
                    <a:pt x="6680" y="161283"/>
                    <a:pt x="5408" y="160646"/>
                    <a:pt x="5090" y="160328"/>
                  </a:cubicBezTo>
                  <a:cubicBezTo>
                    <a:pt x="4454" y="159374"/>
                    <a:pt x="4454" y="158738"/>
                    <a:pt x="4454" y="157783"/>
                  </a:cubicBezTo>
                  <a:cubicBezTo>
                    <a:pt x="4454" y="157465"/>
                    <a:pt x="4772" y="157147"/>
                    <a:pt x="5408" y="157147"/>
                  </a:cubicBezTo>
                  <a:cubicBezTo>
                    <a:pt x="5408" y="157465"/>
                    <a:pt x="5408" y="157465"/>
                    <a:pt x="5726" y="157783"/>
                  </a:cubicBezTo>
                  <a:cubicBezTo>
                    <a:pt x="6998" y="157783"/>
                    <a:pt x="7317" y="157783"/>
                    <a:pt x="7317" y="157783"/>
                  </a:cubicBezTo>
                  <a:cubicBezTo>
                    <a:pt x="6998" y="157465"/>
                    <a:pt x="6998" y="156829"/>
                    <a:pt x="6362" y="156511"/>
                  </a:cubicBezTo>
                  <a:cubicBezTo>
                    <a:pt x="5408" y="156511"/>
                    <a:pt x="5726" y="156193"/>
                    <a:pt x="5090" y="156511"/>
                  </a:cubicBezTo>
                  <a:cubicBezTo>
                    <a:pt x="4454" y="156511"/>
                    <a:pt x="4454" y="156193"/>
                    <a:pt x="4454" y="156193"/>
                  </a:cubicBezTo>
                  <a:cubicBezTo>
                    <a:pt x="4135" y="154602"/>
                    <a:pt x="2863" y="153012"/>
                    <a:pt x="2545" y="151421"/>
                  </a:cubicBezTo>
                  <a:cubicBezTo>
                    <a:pt x="2227" y="150467"/>
                    <a:pt x="1909" y="150149"/>
                    <a:pt x="1909" y="149194"/>
                  </a:cubicBezTo>
                  <a:cubicBezTo>
                    <a:pt x="1909" y="148876"/>
                    <a:pt x="2227" y="148558"/>
                    <a:pt x="1909" y="148240"/>
                  </a:cubicBezTo>
                  <a:cubicBezTo>
                    <a:pt x="318" y="146968"/>
                    <a:pt x="636" y="145377"/>
                    <a:pt x="318" y="143787"/>
                  </a:cubicBezTo>
                  <a:cubicBezTo>
                    <a:pt x="0" y="143150"/>
                    <a:pt x="318" y="142514"/>
                    <a:pt x="0" y="141560"/>
                  </a:cubicBezTo>
                  <a:cubicBezTo>
                    <a:pt x="0" y="140605"/>
                    <a:pt x="318" y="140287"/>
                    <a:pt x="636" y="139333"/>
                  </a:cubicBezTo>
                  <a:cubicBezTo>
                    <a:pt x="1273" y="138697"/>
                    <a:pt x="1273" y="138061"/>
                    <a:pt x="1909" y="137424"/>
                  </a:cubicBezTo>
                  <a:cubicBezTo>
                    <a:pt x="1909" y="136470"/>
                    <a:pt x="2227" y="135834"/>
                    <a:pt x="3181" y="135516"/>
                  </a:cubicBezTo>
                  <a:cubicBezTo>
                    <a:pt x="4135" y="134879"/>
                    <a:pt x="4454" y="134243"/>
                    <a:pt x="5090" y="133607"/>
                  </a:cubicBezTo>
                  <a:cubicBezTo>
                    <a:pt x="5408" y="132971"/>
                    <a:pt x="6362" y="132016"/>
                    <a:pt x="6998" y="131380"/>
                  </a:cubicBezTo>
                  <a:cubicBezTo>
                    <a:pt x="7317" y="130744"/>
                    <a:pt x="7635" y="130744"/>
                    <a:pt x="7953" y="130744"/>
                  </a:cubicBezTo>
                  <a:cubicBezTo>
                    <a:pt x="9861" y="130108"/>
                    <a:pt x="9861" y="130108"/>
                    <a:pt x="10816" y="128835"/>
                  </a:cubicBezTo>
                  <a:cubicBezTo>
                    <a:pt x="11452" y="128517"/>
                    <a:pt x="11770" y="127881"/>
                    <a:pt x="12724" y="127563"/>
                  </a:cubicBezTo>
                  <a:cubicBezTo>
                    <a:pt x="12724" y="127245"/>
                    <a:pt x="13361" y="126927"/>
                    <a:pt x="13997" y="126609"/>
                  </a:cubicBezTo>
                  <a:cubicBezTo>
                    <a:pt x="14315" y="125654"/>
                    <a:pt x="15588" y="125336"/>
                    <a:pt x="16860" y="124382"/>
                  </a:cubicBezTo>
                  <a:cubicBezTo>
                    <a:pt x="17178" y="124382"/>
                    <a:pt x="17814" y="124064"/>
                    <a:pt x="18132" y="124700"/>
                  </a:cubicBezTo>
                  <a:cubicBezTo>
                    <a:pt x="18450" y="125654"/>
                    <a:pt x="19405" y="125336"/>
                    <a:pt x="20041" y="125018"/>
                  </a:cubicBezTo>
                  <a:cubicBezTo>
                    <a:pt x="20995" y="124382"/>
                    <a:pt x="22268" y="123746"/>
                    <a:pt x="23858" y="123109"/>
                  </a:cubicBezTo>
                  <a:cubicBezTo>
                    <a:pt x="24495" y="122791"/>
                    <a:pt x="24813" y="122473"/>
                    <a:pt x="25449" y="122791"/>
                  </a:cubicBezTo>
                  <a:cubicBezTo>
                    <a:pt x="25767" y="123427"/>
                    <a:pt x="26721" y="123109"/>
                    <a:pt x="27994" y="123109"/>
                  </a:cubicBezTo>
                  <a:cubicBezTo>
                    <a:pt x="28312" y="123109"/>
                    <a:pt x="28312" y="122791"/>
                    <a:pt x="28630" y="122473"/>
                  </a:cubicBezTo>
                  <a:cubicBezTo>
                    <a:pt x="29266" y="121519"/>
                    <a:pt x="29584" y="121519"/>
                    <a:pt x="30221" y="122473"/>
                  </a:cubicBezTo>
                  <a:cubicBezTo>
                    <a:pt x="30857" y="122473"/>
                    <a:pt x="30857" y="122791"/>
                    <a:pt x="30221" y="123109"/>
                  </a:cubicBezTo>
                  <a:cubicBezTo>
                    <a:pt x="28630" y="123427"/>
                    <a:pt x="27040" y="124382"/>
                    <a:pt x="25449" y="125018"/>
                  </a:cubicBezTo>
                  <a:cubicBezTo>
                    <a:pt x="25449" y="125018"/>
                    <a:pt x="24813" y="125336"/>
                    <a:pt x="25131" y="125654"/>
                  </a:cubicBezTo>
                  <a:cubicBezTo>
                    <a:pt x="25449" y="125654"/>
                    <a:pt x="25449" y="126290"/>
                    <a:pt x="25449" y="126609"/>
                  </a:cubicBezTo>
                  <a:cubicBezTo>
                    <a:pt x="25767" y="127245"/>
                    <a:pt x="25767" y="127563"/>
                    <a:pt x="25131" y="127881"/>
                  </a:cubicBezTo>
                  <a:cubicBezTo>
                    <a:pt x="25131" y="128199"/>
                    <a:pt x="25131" y="128517"/>
                    <a:pt x="25131" y="128517"/>
                  </a:cubicBezTo>
                  <a:cubicBezTo>
                    <a:pt x="25131" y="128835"/>
                    <a:pt x="25131" y="129153"/>
                    <a:pt x="25131" y="129472"/>
                  </a:cubicBezTo>
                  <a:cubicBezTo>
                    <a:pt x="24813" y="130108"/>
                    <a:pt x="24813" y="130108"/>
                    <a:pt x="25131" y="130108"/>
                  </a:cubicBezTo>
                  <a:cubicBezTo>
                    <a:pt x="25767" y="130426"/>
                    <a:pt x="25767" y="130744"/>
                    <a:pt x="26403" y="131380"/>
                  </a:cubicBezTo>
                  <a:cubicBezTo>
                    <a:pt x="26403" y="131698"/>
                    <a:pt x="26403" y="132016"/>
                    <a:pt x="25767" y="132335"/>
                  </a:cubicBezTo>
                  <a:cubicBezTo>
                    <a:pt x="25767" y="132335"/>
                    <a:pt x="25767" y="132335"/>
                    <a:pt x="25767" y="132653"/>
                  </a:cubicBezTo>
                  <a:cubicBezTo>
                    <a:pt x="23540" y="133289"/>
                    <a:pt x="21314" y="134561"/>
                    <a:pt x="19405" y="136152"/>
                  </a:cubicBezTo>
                  <a:cubicBezTo>
                    <a:pt x="18450" y="136788"/>
                    <a:pt x="18132" y="136788"/>
                    <a:pt x="19087" y="137742"/>
                  </a:cubicBezTo>
                  <a:cubicBezTo>
                    <a:pt x="19087" y="138379"/>
                    <a:pt x="18132" y="139015"/>
                    <a:pt x="17814" y="139651"/>
                  </a:cubicBezTo>
                  <a:cubicBezTo>
                    <a:pt x="17814" y="140287"/>
                    <a:pt x="18132" y="140605"/>
                    <a:pt x="19087" y="140605"/>
                  </a:cubicBezTo>
                  <a:cubicBezTo>
                    <a:pt x="20041" y="140605"/>
                    <a:pt x="20995" y="140605"/>
                    <a:pt x="21950" y="140605"/>
                  </a:cubicBezTo>
                  <a:cubicBezTo>
                    <a:pt x="22586" y="140605"/>
                    <a:pt x="23858" y="140924"/>
                    <a:pt x="24813" y="140605"/>
                  </a:cubicBezTo>
                  <a:cubicBezTo>
                    <a:pt x="25131" y="140605"/>
                    <a:pt x="25767" y="140605"/>
                    <a:pt x="26085" y="140605"/>
                  </a:cubicBezTo>
                  <a:cubicBezTo>
                    <a:pt x="27040" y="140924"/>
                    <a:pt x="27994" y="140605"/>
                    <a:pt x="28948" y="140605"/>
                  </a:cubicBezTo>
                  <a:cubicBezTo>
                    <a:pt x="29266" y="140605"/>
                    <a:pt x="29903" y="140605"/>
                    <a:pt x="30221" y="140605"/>
                  </a:cubicBezTo>
                  <a:cubicBezTo>
                    <a:pt x="30539" y="140605"/>
                    <a:pt x="30857" y="140605"/>
                    <a:pt x="31175" y="140605"/>
                  </a:cubicBezTo>
                  <a:cubicBezTo>
                    <a:pt x="32129" y="140287"/>
                    <a:pt x="32447" y="140287"/>
                    <a:pt x="33084" y="140605"/>
                  </a:cubicBezTo>
                  <a:cubicBezTo>
                    <a:pt x="33402" y="140605"/>
                    <a:pt x="33720" y="140605"/>
                    <a:pt x="34038" y="140605"/>
                  </a:cubicBezTo>
                  <a:cubicBezTo>
                    <a:pt x="36265" y="139969"/>
                    <a:pt x="38173" y="139651"/>
                    <a:pt x="39764" y="139333"/>
                  </a:cubicBezTo>
                  <a:cubicBezTo>
                    <a:pt x="40718" y="139333"/>
                    <a:pt x="41355" y="139333"/>
                    <a:pt x="41991" y="139015"/>
                  </a:cubicBezTo>
                  <a:cubicBezTo>
                    <a:pt x="42627" y="139015"/>
                    <a:pt x="43263" y="138697"/>
                    <a:pt x="43263" y="138697"/>
                  </a:cubicBezTo>
                  <a:cubicBezTo>
                    <a:pt x="45172" y="138061"/>
                    <a:pt x="47081" y="137742"/>
                    <a:pt x="48353" y="137742"/>
                  </a:cubicBezTo>
                  <a:cubicBezTo>
                    <a:pt x="49625" y="137742"/>
                    <a:pt x="49944" y="137106"/>
                    <a:pt x="50898" y="137106"/>
                  </a:cubicBezTo>
                  <a:cubicBezTo>
                    <a:pt x="54397" y="136470"/>
                    <a:pt x="57896" y="135198"/>
                    <a:pt x="60759" y="134243"/>
                  </a:cubicBezTo>
                  <a:cubicBezTo>
                    <a:pt x="62032" y="133925"/>
                    <a:pt x="63304" y="133289"/>
                    <a:pt x="64259" y="133289"/>
                  </a:cubicBezTo>
                  <a:cubicBezTo>
                    <a:pt x="66803" y="132335"/>
                    <a:pt x="69348" y="131062"/>
                    <a:pt x="72211" y="129790"/>
                  </a:cubicBezTo>
                  <a:cubicBezTo>
                    <a:pt x="73802" y="129153"/>
                    <a:pt x="75711" y="128199"/>
                    <a:pt x="76665" y="126927"/>
                  </a:cubicBezTo>
                  <a:cubicBezTo>
                    <a:pt x="77301" y="126290"/>
                    <a:pt x="78255" y="125972"/>
                    <a:pt x="79210" y="125654"/>
                  </a:cubicBezTo>
                  <a:cubicBezTo>
                    <a:pt x="80482" y="125018"/>
                    <a:pt x="80800" y="124382"/>
                    <a:pt x="81437" y="123427"/>
                  </a:cubicBezTo>
                  <a:cubicBezTo>
                    <a:pt x="81755" y="123109"/>
                    <a:pt x="82073" y="122473"/>
                    <a:pt x="82391" y="122155"/>
                  </a:cubicBezTo>
                  <a:cubicBezTo>
                    <a:pt x="82391" y="122155"/>
                    <a:pt x="82391" y="121837"/>
                    <a:pt x="82073" y="121837"/>
                  </a:cubicBezTo>
                  <a:cubicBezTo>
                    <a:pt x="81119" y="121519"/>
                    <a:pt x="81119" y="121201"/>
                    <a:pt x="80164" y="120882"/>
                  </a:cubicBezTo>
                  <a:cubicBezTo>
                    <a:pt x="79210" y="120564"/>
                    <a:pt x="77937" y="120246"/>
                    <a:pt x="77937" y="119292"/>
                  </a:cubicBezTo>
                  <a:cubicBezTo>
                    <a:pt x="77937" y="118974"/>
                    <a:pt x="77301" y="118974"/>
                    <a:pt x="76983" y="118974"/>
                  </a:cubicBezTo>
                  <a:cubicBezTo>
                    <a:pt x="75074" y="118974"/>
                    <a:pt x="73484" y="118019"/>
                    <a:pt x="71575" y="117065"/>
                  </a:cubicBezTo>
                  <a:cubicBezTo>
                    <a:pt x="70621" y="116747"/>
                    <a:pt x="69667" y="115793"/>
                    <a:pt x="68394" y="116111"/>
                  </a:cubicBezTo>
                  <a:cubicBezTo>
                    <a:pt x="68076" y="116111"/>
                    <a:pt x="67758" y="115793"/>
                    <a:pt x="67440" y="115793"/>
                  </a:cubicBezTo>
                  <a:cubicBezTo>
                    <a:pt x="67122" y="115793"/>
                    <a:pt x="67122" y="115475"/>
                    <a:pt x="67440" y="114838"/>
                  </a:cubicBezTo>
                  <a:cubicBezTo>
                    <a:pt x="67440" y="114520"/>
                    <a:pt x="66803" y="114202"/>
                    <a:pt x="66485" y="114202"/>
                  </a:cubicBezTo>
                  <a:cubicBezTo>
                    <a:pt x="64895" y="114838"/>
                    <a:pt x="64259" y="114520"/>
                    <a:pt x="62986" y="113884"/>
                  </a:cubicBezTo>
                  <a:cubicBezTo>
                    <a:pt x="62668" y="113566"/>
                    <a:pt x="62032" y="113884"/>
                    <a:pt x="61396" y="114202"/>
                  </a:cubicBezTo>
                  <a:cubicBezTo>
                    <a:pt x="60441" y="113884"/>
                    <a:pt x="59805" y="112930"/>
                    <a:pt x="59169" y="112293"/>
                  </a:cubicBezTo>
                  <a:cubicBezTo>
                    <a:pt x="58533" y="111339"/>
                    <a:pt x="58214" y="111339"/>
                    <a:pt x="56942" y="111657"/>
                  </a:cubicBezTo>
                  <a:lnTo>
                    <a:pt x="56624" y="111339"/>
                  </a:lnTo>
                  <a:lnTo>
                    <a:pt x="56624" y="111021"/>
                  </a:lnTo>
                  <a:cubicBezTo>
                    <a:pt x="56942" y="110703"/>
                    <a:pt x="56942" y="110385"/>
                    <a:pt x="56942" y="110385"/>
                  </a:cubicBezTo>
                  <a:cubicBezTo>
                    <a:pt x="56306" y="109430"/>
                    <a:pt x="55352" y="109749"/>
                    <a:pt x="54715" y="109749"/>
                  </a:cubicBezTo>
                  <a:cubicBezTo>
                    <a:pt x="54397" y="109749"/>
                    <a:pt x="54079" y="110067"/>
                    <a:pt x="54079" y="110385"/>
                  </a:cubicBezTo>
                  <a:cubicBezTo>
                    <a:pt x="54079" y="110385"/>
                    <a:pt x="54079" y="111021"/>
                    <a:pt x="53761" y="111021"/>
                  </a:cubicBezTo>
                  <a:cubicBezTo>
                    <a:pt x="52806" y="111021"/>
                    <a:pt x="51852" y="111339"/>
                    <a:pt x="50580" y="111021"/>
                  </a:cubicBezTo>
                  <a:cubicBezTo>
                    <a:pt x="50580" y="111021"/>
                    <a:pt x="50580" y="111021"/>
                    <a:pt x="50580" y="111339"/>
                  </a:cubicBezTo>
                  <a:lnTo>
                    <a:pt x="50262" y="111657"/>
                  </a:lnTo>
                  <a:cubicBezTo>
                    <a:pt x="49625" y="111339"/>
                    <a:pt x="48671" y="111021"/>
                    <a:pt x="48671" y="110385"/>
                  </a:cubicBezTo>
                  <a:cubicBezTo>
                    <a:pt x="48671" y="110067"/>
                    <a:pt x="48353" y="109749"/>
                    <a:pt x="48353" y="109749"/>
                  </a:cubicBezTo>
                  <a:cubicBezTo>
                    <a:pt x="47399" y="109430"/>
                    <a:pt x="46444" y="108794"/>
                    <a:pt x="45808" y="108158"/>
                  </a:cubicBezTo>
                  <a:cubicBezTo>
                    <a:pt x="45808" y="108158"/>
                    <a:pt x="45490" y="108476"/>
                    <a:pt x="45172" y="108476"/>
                  </a:cubicBezTo>
                  <a:cubicBezTo>
                    <a:pt x="45172" y="109112"/>
                    <a:pt x="45172" y="109430"/>
                    <a:pt x="45172" y="109430"/>
                  </a:cubicBezTo>
                  <a:cubicBezTo>
                    <a:pt x="45172" y="109749"/>
                    <a:pt x="45490" y="109749"/>
                    <a:pt x="45490" y="109749"/>
                  </a:cubicBezTo>
                  <a:cubicBezTo>
                    <a:pt x="46126" y="109749"/>
                    <a:pt x="46444" y="109749"/>
                    <a:pt x="46762" y="109749"/>
                  </a:cubicBezTo>
                  <a:cubicBezTo>
                    <a:pt x="47081" y="109749"/>
                    <a:pt x="47081" y="110067"/>
                    <a:pt x="47081" y="110385"/>
                  </a:cubicBezTo>
                  <a:cubicBezTo>
                    <a:pt x="46762" y="110385"/>
                    <a:pt x="46444" y="110703"/>
                    <a:pt x="46444" y="111021"/>
                  </a:cubicBezTo>
                  <a:cubicBezTo>
                    <a:pt x="46762" y="111021"/>
                    <a:pt x="47081" y="111339"/>
                    <a:pt x="47081" y="111339"/>
                  </a:cubicBezTo>
                  <a:cubicBezTo>
                    <a:pt x="47081" y="111339"/>
                    <a:pt x="47081" y="111657"/>
                    <a:pt x="47399" y="111657"/>
                  </a:cubicBezTo>
                  <a:cubicBezTo>
                    <a:pt x="47081" y="111657"/>
                    <a:pt x="47081" y="111657"/>
                    <a:pt x="46444" y="111657"/>
                  </a:cubicBezTo>
                  <a:cubicBezTo>
                    <a:pt x="45808" y="111339"/>
                    <a:pt x="45172" y="111339"/>
                    <a:pt x="45172" y="110703"/>
                  </a:cubicBezTo>
                  <a:cubicBezTo>
                    <a:pt x="44218" y="110385"/>
                    <a:pt x="43581" y="110067"/>
                    <a:pt x="43581" y="109430"/>
                  </a:cubicBezTo>
                  <a:cubicBezTo>
                    <a:pt x="43581" y="109430"/>
                    <a:pt x="43581" y="109112"/>
                    <a:pt x="43581" y="108794"/>
                  </a:cubicBezTo>
                  <a:cubicBezTo>
                    <a:pt x="42945" y="108476"/>
                    <a:pt x="42627" y="108158"/>
                    <a:pt x="41991" y="108158"/>
                  </a:cubicBezTo>
                  <a:cubicBezTo>
                    <a:pt x="41673" y="108158"/>
                    <a:pt x="41355" y="108158"/>
                    <a:pt x="41036" y="108158"/>
                  </a:cubicBezTo>
                  <a:cubicBezTo>
                    <a:pt x="40718" y="108158"/>
                    <a:pt x="39764" y="108158"/>
                    <a:pt x="39128" y="108158"/>
                  </a:cubicBezTo>
                  <a:cubicBezTo>
                    <a:pt x="39128" y="108158"/>
                    <a:pt x="39128" y="108158"/>
                    <a:pt x="38810" y="108158"/>
                  </a:cubicBezTo>
                  <a:cubicBezTo>
                    <a:pt x="37855" y="108794"/>
                    <a:pt x="37537" y="108794"/>
                    <a:pt x="37537" y="108158"/>
                  </a:cubicBezTo>
                  <a:cubicBezTo>
                    <a:pt x="37537" y="107840"/>
                    <a:pt x="37537" y="107522"/>
                    <a:pt x="37537" y="107522"/>
                  </a:cubicBezTo>
                  <a:cubicBezTo>
                    <a:pt x="36583" y="106886"/>
                    <a:pt x="36265" y="106567"/>
                    <a:pt x="35629" y="106249"/>
                  </a:cubicBezTo>
                  <a:cubicBezTo>
                    <a:pt x="35310" y="106249"/>
                    <a:pt x="34992" y="106249"/>
                    <a:pt x="34674" y="106249"/>
                  </a:cubicBezTo>
                  <a:cubicBezTo>
                    <a:pt x="34356" y="105931"/>
                    <a:pt x="34038" y="104977"/>
                    <a:pt x="33402" y="104977"/>
                  </a:cubicBezTo>
                  <a:cubicBezTo>
                    <a:pt x="32765" y="104659"/>
                    <a:pt x="31493" y="104977"/>
                    <a:pt x="31175" y="104023"/>
                  </a:cubicBezTo>
                  <a:cubicBezTo>
                    <a:pt x="30857" y="104023"/>
                    <a:pt x="30221" y="104023"/>
                    <a:pt x="29903" y="104023"/>
                  </a:cubicBezTo>
                  <a:cubicBezTo>
                    <a:pt x="27994" y="103386"/>
                    <a:pt x="25449" y="101796"/>
                    <a:pt x="23858" y="100841"/>
                  </a:cubicBezTo>
                  <a:cubicBezTo>
                    <a:pt x="22268" y="100205"/>
                    <a:pt x="21314" y="98933"/>
                    <a:pt x="20041" y="98933"/>
                  </a:cubicBezTo>
                  <a:cubicBezTo>
                    <a:pt x="19723" y="98933"/>
                    <a:pt x="19405" y="98615"/>
                    <a:pt x="19405" y="97978"/>
                  </a:cubicBezTo>
                  <a:cubicBezTo>
                    <a:pt x="19405" y="97660"/>
                    <a:pt x="19087" y="97342"/>
                    <a:pt x="18132" y="97024"/>
                  </a:cubicBezTo>
                  <a:cubicBezTo>
                    <a:pt x="17496" y="96388"/>
                    <a:pt x="16860" y="95752"/>
                    <a:pt x="16542" y="94797"/>
                  </a:cubicBezTo>
                  <a:cubicBezTo>
                    <a:pt x="15906" y="94479"/>
                    <a:pt x="15588" y="93525"/>
                    <a:pt x="15269" y="93207"/>
                  </a:cubicBezTo>
                  <a:cubicBezTo>
                    <a:pt x="13997" y="92571"/>
                    <a:pt x="13043" y="91616"/>
                    <a:pt x="12088" y="90980"/>
                  </a:cubicBezTo>
                  <a:cubicBezTo>
                    <a:pt x="12406" y="90344"/>
                    <a:pt x="11770" y="90026"/>
                    <a:pt x="11134" y="89708"/>
                  </a:cubicBezTo>
                  <a:lnTo>
                    <a:pt x="11134" y="89389"/>
                  </a:lnTo>
                  <a:cubicBezTo>
                    <a:pt x="11134" y="88117"/>
                    <a:pt x="10498" y="88117"/>
                    <a:pt x="9543" y="87799"/>
                  </a:cubicBezTo>
                  <a:cubicBezTo>
                    <a:pt x="8271" y="86526"/>
                    <a:pt x="7317" y="85254"/>
                    <a:pt x="6680" y="83345"/>
                  </a:cubicBezTo>
                  <a:cubicBezTo>
                    <a:pt x="6998" y="83027"/>
                    <a:pt x="6680" y="82391"/>
                    <a:pt x="6680" y="82073"/>
                  </a:cubicBezTo>
                  <a:cubicBezTo>
                    <a:pt x="5408" y="81119"/>
                    <a:pt x="5408" y="80164"/>
                    <a:pt x="5726" y="79210"/>
                  </a:cubicBezTo>
                  <a:cubicBezTo>
                    <a:pt x="5726" y="78256"/>
                    <a:pt x="5408" y="77937"/>
                    <a:pt x="5090" y="77619"/>
                  </a:cubicBezTo>
                  <a:cubicBezTo>
                    <a:pt x="4772" y="75711"/>
                    <a:pt x="4454" y="73484"/>
                    <a:pt x="3817" y="71893"/>
                  </a:cubicBezTo>
                  <a:cubicBezTo>
                    <a:pt x="3817" y="71257"/>
                    <a:pt x="3817" y="70939"/>
                    <a:pt x="3817" y="70303"/>
                  </a:cubicBezTo>
                  <a:cubicBezTo>
                    <a:pt x="3817" y="69985"/>
                    <a:pt x="3817" y="69666"/>
                    <a:pt x="3817" y="69030"/>
                  </a:cubicBezTo>
                  <a:cubicBezTo>
                    <a:pt x="3181" y="68076"/>
                    <a:pt x="2863" y="67122"/>
                    <a:pt x="2863" y="65849"/>
                  </a:cubicBezTo>
                  <a:cubicBezTo>
                    <a:pt x="3181" y="64259"/>
                    <a:pt x="3181" y="62668"/>
                    <a:pt x="3181" y="61396"/>
                  </a:cubicBezTo>
                  <a:cubicBezTo>
                    <a:pt x="3499" y="60759"/>
                    <a:pt x="3499" y="60123"/>
                    <a:pt x="3817" y="59805"/>
                  </a:cubicBezTo>
                  <a:cubicBezTo>
                    <a:pt x="3817" y="58533"/>
                    <a:pt x="4135" y="57578"/>
                    <a:pt x="4454" y="56624"/>
                  </a:cubicBezTo>
                  <a:cubicBezTo>
                    <a:pt x="4772" y="54715"/>
                    <a:pt x="5726" y="52807"/>
                    <a:pt x="6998" y="50898"/>
                  </a:cubicBezTo>
                  <a:cubicBezTo>
                    <a:pt x="7635" y="50262"/>
                    <a:pt x="7953" y="49307"/>
                    <a:pt x="8589" y="48989"/>
                  </a:cubicBezTo>
                  <a:cubicBezTo>
                    <a:pt x="8589" y="48671"/>
                    <a:pt x="8589" y="48353"/>
                    <a:pt x="8589" y="48035"/>
                  </a:cubicBezTo>
                  <a:cubicBezTo>
                    <a:pt x="8271" y="47399"/>
                    <a:pt x="8907" y="46762"/>
                    <a:pt x="9543" y="46444"/>
                  </a:cubicBezTo>
                  <a:cubicBezTo>
                    <a:pt x="10816" y="45172"/>
                    <a:pt x="11452" y="44536"/>
                    <a:pt x="11770" y="43263"/>
                  </a:cubicBezTo>
                  <a:cubicBezTo>
                    <a:pt x="12088" y="42627"/>
                    <a:pt x="12406" y="42309"/>
                    <a:pt x="12724" y="41991"/>
                  </a:cubicBezTo>
                  <a:cubicBezTo>
                    <a:pt x="13043" y="41355"/>
                    <a:pt x="13679" y="40718"/>
                    <a:pt x="13679" y="40082"/>
                  </a:cubicBezTo>
                  <a:cubicBezTo>
                    <a:pt x="14315" y="39446"/>
                    <a:pt x="15269" y="39128"/>
                    <a:pt x="15906" y="39128"/>
                  </a:cubicBezTo>
                  <a:cubicBezTo>
                    <a:pt x="16224" y="39128"/>
                    <a:pt x="16224" y="39128"/>
                    <a:pt x="16224" y="39128"/>
                  </a:cubicBezTo>
                  <a:cubicBezTo>
                    <a:pt x="16860" y="39128"/>
                    <a:pt x="17496" y="38810"/>
                    <a:pt x="17814" y="38173"/>
                  </a:cubicBezTo>
                  <a:cubicBezTo>
                    <a:pt x="19087" y="37219"/>
                    <a:pt x="20359" y="35947"/>
                    <a:pt x="21314" y="34674"/>
                  </a:cubicBezTo>
                  <a:cubicBezTo>
                    <a:pt x="21632" y="34356"/>
                    <a:pt x="22268" y="33720"/>
                    <a:pt x="22586" y="33084"/>
                  </a:cubicBezTo>
                  <a:cubicBezTo>
                    <a:pt x="22904" y="32766"/>
                    <a:pt x="23858" y="32447"/>
                    <a:pt x="24813" y="31493"/>
                  </a:cubicBezTo>
                  <a:cubicBezTo>
                    <a:pt x="25131" y="30857"/>
                    <a:pt x="26403" y="30539"/>
                    <a:pt x="26403" y="29903"/>
                  </a:cubicBezTo>
                  <a:cubicBezTo>
                    <a:pt x="27676" y="29266"/>
                    <a:pt x="28630" y="28630"/>
                    <a:pt x="29266" y="28312"/>
                  </a:cubicBezTo>
                  <a:cubicBezTo>
                    <a:pt x="30221" y="27676"/>
                    <a:pt x="30221" y="27358"/>
                    <a:pt x="31175" y="26403"/>
                  </a:cubicBezTo>
                  <a:cubicBezTo>
                    <a:pt x="32447" y="25131"/>
                    <a:pt x="33720" y="23858"/>
                    <a:pt x="35310" y="22904"/>
                  </a:cubicBezTo>
                  <a:cubicBezTo>
                    <a:pt x="36583" y="22268"/>
                    <a:pt x="37855" y="21313"/>
                    <a:pt x="38810" y="20677"/>
                  </a:cubicBezTo>
                  <a:cubicBezTo>
                    <a:pt x="38810" y="20359"/>
                    <a:pt x="39128" y="20041"/>
                    <a:pt x="39128" y="20041"/>
                  </a:cubicBezTo>
                  <a:cubicBezTo>
                    <a:pt x="40082" y="18450"/>
                    <a:pt x="41673" y="18132"/>
                    <a:pt x="43263" y="17496"/>
                  </a:cubicBezTo>
                  <a:cubicBezTo>
                    <a:pt x="44218" y="16860"/>
                    <a:pt x="46126" y="16860"/>
                    <a:pt x="46762" y="15906"/>
                  </a:cubicBezTo>
                  <a:cubicBezTo>
                    <a:pt x="47081" y="15587"/>
                    <a:pt x="47717" y="15269"/>
                    <a:pt x="48035" y="14951"/>
                  </a:cubicBezTo>
                  <a:cubicBezTo>
                    <a:pt x="48353" y="14951"/>
                    <a:pt x="48671" y="14633"/>
                    <a:pt x="49307" y="14315"/>
                  </a:cubicBezTo>
                  <a:cubicBezTo>
                    <a:pt x="49944" y="13997"/>
                    <a:pt x="50580" y="13361"/>
                    <a:pt x="51216" y="13679"/>
                  </a:cubicBezTo>
                  <a:cubicBezTo>
                    <a:pt x="51852" y="13679"/>
                    <a:pt x="52488" y="13361"/>
                    <a:pt x="52806" y="12724"/>
                  </a:cubicBezTo>
                  <a:cubicBezTo>
                    <a:pt x="53443" y="11770"/>
                    <a:pt x="54715" y="11452"/>
                    <a:pt x="55670" y="11134"/>
                  </a:cubicBezTo>
                  <a:cubicBezTo>
                    <a:pt x="55988" y="10816"/>
                    <a:pt x="55988" y="11134"/>
                    <a:pt x="55988" y="11134"/>
                  </a:cubicBezTo>
                  <a:cubicBezTo>
                    <a:pt x="57260" y="11770"/>
                    <a:pt x="58214" y="11452"/>
                    <a:pt x="59169" y="11452"/>
                  </a:cubicBezTo>
                  <a:cubicBezTo>
                    <a:pt x="59487" y="11452"/>
                    <a:pt x="59487" y="11134"/>
                    <a:pt x="59487" y="11134"/>
                  </a:cubicBezTo>
                  <a:cubicBezTo>
                    <a:pt x="60441" y="10498"/>
                    <a:pt x="61077" y="10180"/>
                    <a:pt x="61396" y="9861"/>
                  </a:cubicBezTo>
                  <a:cubicBezTo>
                    <a:pt x="62032" y="9861"/>
                    <a:pt x="62350" y="9861"/>
                    <a:pt x="62350" y="9861"/>
                  </a:cubicBezTo>
                  <a:cubicBezTo>
                    <a:pt x="63304" y="8271"/>
                    <a:pt x="64895" y="8589"/>
                    <a:pt x="65849" y="8271"/>
                  </a:cubicBezTo>
                  <a:cubicBezTo>
                    <a:pt x="66485" y="8271"/>
                    <a:pt x="67122" y="8271"/>
                    <a:pt x="68076" y="7953"/>
                  </a:cubicBezTo>
                  <a:cubicBezTo>
                    <a:pt x="68712" y="7953"/>
                    <a:pt x="69348" y="7317"/>
                    <a:pt x="69985" y="6998"/>
                  </a:cubicBezTo>
                  <a:cubicBezTo>
                    <a:pt x="71257" y="6998"/>
                    <a:pt x="71893" y="6680"/>
                    <a:pt x="72848" y="6680"/>
                  </a:cubicBezTo>
                  <a:cubicBezTo>
                    <a:pt x="73166" y="6362"/>
                    <a:pt x="73484" y="6362"/>
                    <a:pt x="73802" y="6680"/>
                  </a:cubicBezTo>
                  <a:cubicBezTo>
                    <a:pt x="74120" y="6998"/>
                    <a:pt x="74438" y="6998"/>
                    <a:pt x="75074" y="6044"/>
                  </a:cubicBezTo>
                  <a:lnTo>
                    <a:pt x="75393" y="6044"/>
                  </a:lnTo>
                  <a:cubicBezTo>
                    <a:pt x="75711" y="6362"/>
                    <a:pt x="76347" y="6362"/>
                    <a:pt x="76347" y="6044"/>
                  </a:cubicBezTo>
                  <a:cubicBezTo>
                    <a:pt x="76665" y="5408"/>
                    <a:pt x="77619" y="5090"/>
                    <a:pt x="78574" y="5408"/>
                  </a:cubicBezTo>
                  <a:cubicBezTo>
                    <a:pt x="79528" y="5408"/>
                    <a:pt x="79846" y="5408"/>
                    <a:pt x="80482" y="5408"/>
                  </a:cubicBezTo>
                  <a:cubicBezTo>
                    <a:pt x="80800" y="5408"/>
                    <a:pt x="81437" y="5090"/>
                    <a:pt x="81437" y="4772"/>
                  </a:cubicBezTo>
                  <a:cubicBezTo>
                    <a:pt x="81119" y="3817"/>
                    <a:pt x="81755" y="3499"/>
                    <a:pt x="82709" y="3499"/>
                  </a:cubicBezTo>
                  <a:cubicBezTo>
                    <a:pt x="83027" y="3499"/>
                    <a:pt x="84300" y="3181"/>
                    <a:pt x="84618" y="2863"/>
                  </a:cubicBezTo>
                  <a:cubicBezTo>
                    <a:pt x="84936" y="2863"/>
                    <a:pt x="84936" y="2545"/>
                    <a:pt x="85254" y="2545"/>
                  </a:cubicBezTo>
                  <a:cubicBezTo>
                    <a:pt x="86208" y="2227"/>
                    <a:pt x="87799" y="2545"/>
                    <a:pt x="87799" y="2545"/>
                  </a:cubicBezTo>
                  <a:cubicBezTo>
                    <a:pt x="86844" y="2863"/>
                    <a:pt x="85890" y="3499"/>
                    <a:pt x="85254" y="3499"/>
                  </a:cubicBezTo>
                  <a:cubicBezTo>
                    <a:pt x="84936" y="3499"/>
                    <a:pt x="84618" y="3817"/>
                    <a:pt x="84618" y="4135"/>
                  </a:cubicBezTo>
                  <a:cubicBezTo>
                    <a:pt x="84300" y="4135"/>
                    <a:pt x="84300" y="4135"/>
                    <a:pt x="84300" y="4135"/>
                  </a:cubicBezTo>
                  <a:lnTo>
                    <a:pt x="84618" y="4135"/>
                  </a:lnTo>
                  <a:cubicBezTo>
                    <a:pt x="85572" y="4135"/>
                    <a:pt x="86208" y="3817"/>
                    <a:pt x="87799" y="3499"/>
                  </a:cubicBezTo>
                  <a:cubicBezTo>
                    <a:pt x="88435" y="3499"/>
                    <a:pt x="89071" y="3181"/>
                    <a:pt x="89389" y="3499"/>
                  </a:cubicBezTo>
                  <a:cubicBezTo>
                    <a:pt x="90026" y="3499"/>
                    <a:pt x="90662" y="2863"/>
                    <a:pt x="90026" y="2545"/>
                  </a:cubicBezTo>
                  <a:cubicBezTo>
                    <a:pt x="90026" y="2545"/>
                    <a:pt x="90026" y="2545"/>
                    <a:pt x="89708" y="2545"/>
                  </a:cubicBezTo>
                  <a:cubicBezTo>
                    <a:pt x="89708" y="1909"/>
                    <a:pt x="89708" y="1591"/>
                    <a:pt x="90026" y="1272"/>
                  </a:cubicBezTo>
                  <a:cubicBezTo>
                    <a:pt x="91298" y="1272"/>
                    <a:pt x="92570" y="1272"/>
                    <a:pt x="93525" y="1272"/>
                  </a:cubicBezTo>
                  <a:cubicBezTo>
                    <a:pt x="95115" y="954"/>
                    <a:pt x="96706" y="636"/>
                    <a:pt x="98297" y="954"/>
                  </a:cubicBezTo>
                  <a:cubicBezTo>
                    <a:pt x="98933" y="954"/>
                    <a:pt x="99251" y="636"/>
                    <a:pt x="99251" y="0"/>
                  </a:cubicBezTo>
                  <a:lnTo>
                    <a:pt x="99569" y="0"/>
                  </a:lnTo>
                  <a:cubicBezTo>
                    <a:pt x="100841" y="0"/>
                    <a:pt x="101478" y="318"/>
                    <a:pt x="102114" y="636"/>
                  </a:cubicBezTo>
                  <a:cubicBezTo>
                    <a:pt x="103386" y="636"/>
                    <a:pt x="104977" y="1591"/>
                    <a:pt x="106249" y="1591"/>
                  </a:cubicBezTo>
                  <a:cubicBezTo>
                    <a:pt x="106567" y="1591"/>
                    <a:pt x="107204" y="1909"/>
                    <a:pt x="107204" y="2545"/>
                  </a:cubicBezTo>
                  <a:cubicBezTo>
                    <a:pt x="107522" y="3181"/>
                    <a:pt x="108158" y="4135"/>
                    <a:pt x="108158" y="4772"/>
                  </a:cubicBezTo>
                  <a:cubicBezTo>
                    <a:pt x="108476" y="6362"/>
                    <a:pt x="109431" y="7317"/>
                    <a:pt x="110703" y="7635"/>
                  </a:cubicBezTo>
                  <a:cubicBezTo>
                    <a:pt x="111339" y="7635"/>
                    <a:pt x="111657" y="8271"/>
                    <a:pt x="111657" y="8907"/>
                  </a:cubicBezTo>
                  <a:cubicBezTo>
                    <a:pt x="111657" y="9543"/>
                    <a:pt x="111657" y="10180"/>
                    <a:pt x="111657" y="10816"/>
                  </a:cubicBezTo>
                  <a:cubicBezTo>
                    <a:pt x="111975" y="11134"/>
                    <a:pt x="111975" y="11452"/>
                    <a:pt x="111339" y="12088"/>
                  </a:cubicBezTo>
                  <a:cubicBezTo>
                    <a:pt x="111975" y="13679"/>
                    <a:pt x="111339" y="15269"/>
                    <a:pt x="111339" y="16860"/>
                  </a:cubicBezTo>
                  <a:cubicBezTo>
                    <a:pt x="111021" y="17814"/>
                    <a:pt x="111021" y="19087"/>
                    <a:pt x="111021" y="20041"/>
                  </a:cubicBezTo>
                  <a:cubicBezTo>
                    <a:pt x="111339" y="20677"/>
                    <a:pt x="111339" y="20995"/>
                    <a:pt x="111021" y="21950"/>
                  </a:cubicBezTo>
                  <a:lnTo>
                    <a:pt x="110703" y="22268"/>
                  </a:lnTo>
                  <a:cubicBezTo>
                    <a:pt x="110703" y="22268"/>
                    <a:pt x="110385" y="22268"/>
                    <a:pt x="110067" y="21950"/>
                  </a:cubicBezTo>
                  <a:cubicBezTo>
                    <a:pt x="110067" y="21632"/>
                    <a:pt x="109749" y="21313"/>
                    <a:pt x="109749" y="20995"/>
                  </a:cubicBezTo>
                  <a:cubicBezTo>
                    <a:pt x="109431" y="20677"/>
                    <a:pt x="108158" y="20677"/>
                    <a:pt x="108158" y="20359"/>
                  </a:cubicBezTo>
                  <a:cubicBezTo>
                    <a:pt x="108158" y="20359"/>
                    <a:pt x="107840" y="20359"/>
                    <a:pt x="107840" y="20677"/>
                  </a:cubicBezTo>
                  <a:lnTo>
                    <a:pt x="107840" y="20995"/>
                  </a:lnTo>
                  <a:cubicBezTo>
                    <a:pt x="107840" y="21632"/>
                    <a:pt x="108476" y="22268"/>
                    <a:pt x="109431" y="22268"/>
                  </a:cubicBezTo>
                  <a:cubicBezTo>
                    <a:pt x="109749" y="22586"/>
                    <a:pt x="109749" y="22904"/>
                    <a:pt x="109749" y="23222"/>
                  </a:cubicBezTo>
                  <a:cubicBezTo>
                    <a:pt x="109431" y="23540"/>
                    <a:pt x="109431" y="23858"/>
                    <a:pt x="109431" y="23858"/>
                  </a:cubicBezTo>
                  <a:cubicBezTo>
                    <a:pt x="109431" y="24813"/>
                    <a:pt x="109431" y="25449"/>
                    <a:pt x="109431" y="26403"/>
                  </a:cubicBezTo>
                  <a:cubicBezTo>
                    <a:pt x="109431" y="26403"/>
                    <a:pt x="109431" y="26721"/>
                    <a:pt x="108794" y="26721"/>
                  </a:cubicBezTo>
                  <a:cubicBezTo>
                    <a:pt x="108158" y="25767"/>
                    <a:pt x="107522" y="25131"/>
                    <a:pt x="107204" y="24177"/>
                  </a:cubicBezTo>
                  <a:cubicBezTo>
                    <a:pt x="106567" y="22586"/>
                    <a:pt x="105295" y="22268"/>
                    <a:pt x="103386" y="21950"/>
                  </a:cubicBezTo>
                  <a:cubicBezTo>
                    <a:pt x="101478" y="21950"/>
                    <a:pt x="98933" y="21950"/>
                    <a:pt x="97024" y="21950"/>
                  </a:cubicBezTo>
                  <a:cubicBezTo>
                    <a:pt x="96706" y="21950"/>
                    <a:pt x="96388" y="22268"/>
                    <a:pt x="95752" y="22268"/>
                  </a:cubicBezTo>
                  <a:cubicBezTo>
                    <a:pt x="94797" y="22268"/>
                    <a:pt x="93843" y="22586"/>
                    <a:pt x="92889" y="22268"/>
                  </a:cubicBezTo>
                  <a:cubicBezTo>
                    <a:pt x="92570" y="22268"/>
                    <a:pt x="92252" y="22586"/>
                    <a:pt x="91616" y="22586"/>
                  </a:cubicBezTo>
                  <a:cubicBezTo>
                    <a:pt x="90980" y="22904"/>
                    <a:pt x="90026" y="23222"/>
                    <a:pt x="89708" y="23222"/>
                  </a:cubicBezTo>
                  <a:cubicBezTo>
                    <a:pt x="89389" y="23222"/>
                    <a:pt x="89071" y="23222"/>
                    <a:pt x="89071" y="23540"/>
                  </a:cubicBezTo>
                  <a:cubicBezTo>
                    <a:pt x="88117" y="24177"/>
                    <a:pt x="86844" y="23858"/>
                    <a:pt x="85572" y="24495"/>
                  </a:cubicBezTo>
                  <a:cubicBezTo>
                    <a:pt x="84618" y="25131"/>
                    <a:pt x="83027" y="25131"/>
                    <a:pt x="81755" y="25449"/>
                  </a:cubicBezTo>
                  <a:cubicBezTo>
                    <a:pt x="81755" y="25767"/>
                    <a:pt x="81119" y="25767"/>
                    <a:pt x="81119" y="25767"/>
                  </a:cubicBezTo>
                  <a:cubicBezTo>
                    <a:pt x="80164" y="26403"/>
                    <a:pt x="78574" y="26721"/>
                    <a:pt x="77301" y="26721"/>
                  </a:cubicBezTo>
                  <a:cubicBezTo>
                    <a:pt x="76983" y="26721"/>
                    <a:pt x="76665" y="27040"/>
                    <a:pt x="76347" y="27358"/>
                  </a:cubicBezTo>
                  <a:cubicBezTo>
                    <a:pt x="75393" y="27994"/>
                    <a:pt x="74438" y="28630"/>
                    <a:pt x="73166" y="28948"/>
                  </a:cubicBezTo>
                  <a:cubicBezTo>
                    <a:pt x="71893" y="29266"/>
                    <a:pt x="70939" y="29584"/>
                    <a:pt x="69348" y="30539"/>
                  </a:cubicBezTo>
                  <a:cubicBezTo>
                    <a:pt x="68076" y="30539"/>
                    <a:pt x="67122" y="31811"/>
                    <a:pt x="65531" y="31811"/>
                  </a:cubicBezTo>
                  <a:cubicBezTo>
                    <a:pt x="64895" y="32129"/>
                    <a:pt x="63940" y="32447"/>
                    <a:pt x="63304" y="32766"/>
                  </a:cubicBezTo>
                  <a:cubicBezTo>
                    <a:pt x="62986" y="33402"/>
                    <a:pt x="62986" y="33720"/>
                    <a:pt x="62668" y="33720"/>
                  </a:cubicBezTo>
                  <a:cubicBezTo>
                    <a:pt x="61077" y="33720"/>
                    <a:pt x="61077" y="34356"/>
                    <a:pt x="60759" y="35310"/>
                  </a:cubicBezTo>
                  <a:cubicBezTo>
                    <a:pt x="60759" y="35310"/>
                    <a:pt x="60441" y="35629"/>
                    <a:pt x="60123" y="35629"/>
                  </a:cubicBezTo>
                  <a:cubicBezTo>
                    <a:pt x="59805" y="35310"/>
                    <a:pt x="59169" y="35629"/>
                    <a:pt x="59169" y="35629"/>
                  </a:cubicBezTo>
                  <a:cubicBezTo>
                    <a:pt x="57896" y="36583"/>
                    <a:pt x="56942" y="36583"/>
                    <a:pt x="56306" y="37537"/>
                  </a:cubicBezTo>
                  <a:cubicBezTo>
                    <a:pt x="55352" y="38492"/>
                    <a:pt x="54079" y="38810"/>
                    <a:pt x="52170" y="39764"/>
                  </a:cubicBezTo>
                  <a:cubicBezTo>
                    <a:pt x="51216" y="39764"/>
                    <a:pt x="50580" y="41036"/>
                    <a:pt x="49307" y="41036"/>
                  </a:cubicBezTo>
                  <a:cubicBezTo>
                    <a:pt x="49307" y="41355"/>
                    <a:pt x="49307" y="41991"/>
                    <a:pt x="49307" y="41991"/>
                  </a:cubicBezTo>
                  <a:cubicBezTo>
                    <a:pt x="48035" y="42945"/>
                    <a:pt x="47399" y="43899"/>
                    <a:pt x="46444" y="44218"/>
                  </a:cubicBezTo>
                  <a:cubicBezTo>
                    <a:pt x="45172" y="44536"/>
                    <a:pt x="43899" y="44854"/>
                    <a:pt x="43263" y="46444"/>
                  </a:cubicBezTo>
                  <a:cubicBezTo>
                    <a:pt x="42945" y="46762"/>
                    <a:pt x="42627" y="46762"/>
                    <a:pt x="42309" y="46762"/>
                  </a:cubicBezTo>
                  <a:cubicBezTo>
                    <a:pt x="41355" y="46762"/>
                    <a:pt x="41036" y="46762"/>
                    <a:pt x="40718" y="47399"/>
                  </a:cubicBezTo>
                  <a:cubicBezTo>
                    <a:pt x="40718" y="48671"/>
                    <a:pt x="40082" y="48989"/>
                    <a:pt x="38810" y="49625"/>
                  </a:cubicBezTo>
                  <a:cubicBezTo>
                    <a:pt x="38491" y="49625"/>
                    <a:pt x="38491" y="49625"/>
                    <a:pt x="38810" y="50262"/>
                  </a:cubicBezTo>
                  <a:cubicBezTo>
                    <a:pt x="38810" y="50580"/>
                    <a:pt x="38491" y="50898"/>
                    <a:pt x="38173" y="50898"/>
                  </a:cubicBezTo>
                  <a:cubicBezTo>
                    <a:pt x="36901" y="51852"/>
                    <a:pt x="35629" y="52807"/>
                    <a:pt x="34674" y="53761"/>
                  </a:cubicBezTo>
                  <a:cubicBezTo>
                    <a:pt x="34674" y="54079"/>
                    <a:pt x="34674" y="54079"/>
                    <a:pt x="34674" y="54079"/>
                  </a:cubicBezTo>
                  <a:cubicBezTo>
                    <a:pt x="34356" y="54715"/>
                    <a:pt x="34356" y="55033"/>
                    <a:pt x="34038" y="55033"/>
                  </a:cubicBezTo>
                  <a:cubicBezTo>
                    <a:pt x="33084" y="55351"/>
                    <a:pt x="33084" y="55670"/>
                    <a:pt x="32765" y="55988"/>
                  </a:cubicBezTo>
                  <a:cubicBezTo>
                    <a:pt x="32129" y="56624"/>
                    <a:pt x="31493" y="56942"/>
                    <a:pt x="31175" y="56624"/>
                  </a:cubicBezTo>
                  <a:cubicBezTo>
                    <a:pt x="30857" y="56624"/>
                    <a:pt x="30857" y="56942"/>
                    <a:pt x="30539" y="56942"/>
                  </a:cubicBezTo>
                  <a:cubicBezTo>
                    <a:pt x="30539" y="57260"/>
                    <a:pt x="30539" y="57578"/>
                    <a:pt x="30221" y="57896"/>
                  </a:cubicBezTo>
                  <a:cubicBezTo>
                    <a:pt x="29903" y="58214"/>
                    <a:pt x="29584" y="58533"/>
                    <a:pt x="29266" y="58851"/>
                  </a:cubicBezTo>
                  <a:cubicBezTo>
                    <a:pt x="29266" y="60123"/>
                    <a:pt x="28630" y="60759"/>
                    <a:pt x="27994" y="61077"/>
                  </a:cubicBezTo>
                  <a:cubicBezTo>
                    <a:pt x="26403" y="61714"/>
                    <a:pt x="25767" y="62032"/>
                    <a:pt x="25449" y="62986"/>
                  </a:cubicBezTo>
                  <a:cubicBezTo>
                    <a:pt x="25449" y="62986"/>
                    <a:pt x="25131" y="62986"/>
                    <a:pt x="25131" y="63304"/>
                  </a:cubicBezTo>
                  <a:cubicBezTo>
                    <a:pt x="25449" y="64577"/>
                    <a:pt x="24176" y="65531"/>
                    <a:pt x="23540" y="66485"/>
                  </a:cubicBezTo>
                  <a:cubicBezTo>
                    <a:pt x="23540" y="67122"/>
                    <a:pt x="23540" y="68076"/>
                    <a:pt x="22268" y="68394"/>
                  </a:cubicBezTo>
                  <a:cubicBezTo>
                    <a:pt x="21950" y="68394"/>
                    <a:pt x="21632" y="69030"/>
                    <a:pt x="21632" y="69030"/>
                  </a:cubicBezTo>
                  <a:cubicBezTo>
                    <a:pt x="21632" y="69348"/>
                    <a:pt x="21632" y="69985"/>
                    <a:pt x="21314" y="70303"/>
                  </a:cubicBezTo>
                  <a:cubicBezTo>
                    <a:pt x="20995" y="70621"/>
                    <a:pt x="20995" y="70939"/>
                    <a:pt x="21314" y="71257"/>
                  </a:cubicBezTo>
                  <a:cubicBezTo>
                    <a:pt x="21950" y="73484"/>
                    <a:pt x="24813" y="75393"/>
                    <a:pt x="27040" y="76665"/>
                  </a:cubicBezTo>
                  <a:cubicBezTo>
                    <a:pt x="28312" y="76983"/>
                    <a:pt x="29266" y="77301"/>
                    <a:pt x="29903" y="77937"/>
                  </a:cubicBezTo>
                  <a:cubicBezTo>
                    <a:pt x="30221" y="77937"/>
                    <a:pt x="30221" y="78256"/>
                    <a:pt x="29903" y="78574"/>
                  </a:cubicBezTo>
                  <a:cubicBezTo>
                    <a:pt x="29584" y="78892"/>
                    <a:pt x="29903" y="79210"/>
                    <a:pt x="30221" y="79528"/>
                  </a:cubicBezTo>
                  <a:cubicBezTo>
                    <a:pt x="30221" y="79528"/>
                    <a:pt x="30539" y="79846"/>
                    <a:pt x="31175" y="80164"/>
                  </a:cubicBezTo>
                  <a:cubicBezTo>
                    <a:pt x="32447" y="80164"/>
                    <a:pt x="33084" y="80482"/>
                    <a:pt x="33720" y="80482"/>
                  </a:cubicBezTo>
                  <a:cubicBezTo>
                    <a:pt x="34038" y="80800"/>
                    <a:pt x="34356" y="81119"/>
                    <a:pt x="34356" y="81119"/>
                  </a:cubicBezTo>
                  <a:cubicBezTo>
                    <a:pt x="35310" y="81437"/>
                    <a:pt x="36583" y="82073"/>
                    <a:pt x="37855" y="81437"/>
                  </a:cubicBezTo>
                  <a:cubicBezTo>
                    <a:pt x="37855" y="81119"/>
                    <a:pt x="38810" y="81437"/>
                    <a:pt x="39128" y="82073"/>
                  </a:cubicBezTo>
                  <a:cubicBezTo>
                    <a:pt x="39764" y="83663"/>
                    <a:pt x="41673" y="84300"/>
                    <a:pt x="43581" y="84618"/>
                  </a:cubicBezTo>
                  <a:cubicBezTo>
                    <a:pt x="44218" y="84936"/>
                    <a:pt x="45172" y="85254"/>
                    <a:pt x="45808" y="84936"/>
                  </a:cubicBezTo>
                  <a:lnTo>
                    <a:pt x="45808" y="85254"/>
                  </a:lnTo>
                  <a:cubicBezTo>
                    <a:pt x="46126" y="85254"/>
                    <a:pt x="46126" y="85254"/>
                    <a:pt x="46444" y="85254"/>
                  </a:cubicBezTo>
                  <a:cubicBezTo>
                    <a:pt x="46126" y="85254"/>
                    <a:pt x="46126" y="84936"/>
                    <a:pt x="46126" y="84936"/>
                  </a:cubicBezTo>
                  <a:cubicBezTo>
                    <a:pt x="45808" y="84936"/>
                    <a:pt x="45808" y="84936"/>
                    <a:pt x="45808" y="84936"/>
                  </a:cubicBezTo>
                  <a:cubicBezTo>
                    <a:pt x="45808" y="84936"/>
                    <a:pt x="46126" y="84618"/>
                    <a:pt x="46444" y="84618"/>
                  </a:cubicBezTo>
                  <a:cubicBezTo>
                    <a:pt x="47717" y="84618"/>
                    <a:pt x="48353" y="85572"/>
                    <a:pt x="50262" y="85890"/>
                  </a:cubicBezTo>
                  <a:cubicBezTo>
                    <a:pt x="50262" y="86526"/>
                    <a:pt x="50262" y="86845"/>
                    <a:pt x="50898" y="87163"/>
                  </a:cubicBezTo>
                  <a:cubicBezTo>
                    <a:pt x="51216" y="87163"/>
                    <a:pt x="51852" y="87163"/>
                    <a:pt x="52170" y="87163"/>
                  </a:cubicBezTo>
                  <a:cubicBezTo>
                    <a:pt x="54079" y="86845"/>
                    <a:pt x="55033" y="87163"/>
                    <a:pt x="56306" y="87481"/>
                  </a:cubicBezTo>
                  <a:cubicBezTo>
                    <a:pt x="57896" y="87799"/>
                    <a:pt x="58851" y="88435"/>
                    <a:pt x="60123" y="88753"/>
                  </a:cubicBezTo>
                  <a:cubicBezTo>
                    <a:pt x="60759" y="88753"/>
                    <a:pt x="62350" y="89071"/>
                    <a:pt x="62986" y="89708"/>
                  </a:cubicBezTo>
                  <a:cubicBezTo>
                    <a:pt x="64259" y="90344"/>
                    <a:pt x="65213" y="90980"/>
                    <a:pt x="67122" y="90980"/>
                  </a:cubicBezTo>
                  <a:cubicBezTo>
                    <a:pt x="68394" y="91298"/>
                    <a:pt x="69348" y="91616"/>
                    <a:pt x="70621" y="91934"/>
                  </a:cubicBezTo>
                  <a:cubicBezTo>
                    <a:pt x="70939" y="92252"/>
                    <a:pt x="71257" y="92252"/>
                    <a:pt x="71893" y="92252"/>
                  </a:cubicBezTo>
                  <a:cubicBezTo>
                    <a:pt x="73484" y="93207"/>
                    <a:pt x="75074" y="93525"/>
                    <a:pt x="76347" y="94479"/>
                  </a:cubicBezTo>
                  <a:cubicBezTo>
                    <a:pt x="76983" y="94479"/>
                    <a:pt x="77619" y="94797"/>
                    <a:pt x="78255" y="95115"/>
                  </a:cubicBezTo>
                  <a:cubicBezTo>
                    <a:pt x="79528" y="95115"/>
                    <a:pt x="80800" y="95434"/>
                    <a:pt x="81755" y="96388"/>
                  </a:cubicBezTo>
                  <a:cubicBezTo>
                    <a:pt x="83027" y="96706"/>
                    <a:pt x="84936" y="97978"/>
                    <a:pt x="86208" y="98297"/>
                  </a:cubicBezTo>
                  <a:cubicBezTo>
                    <a:pt x="87799" y="98297"/>
                    <a:pt x="88753" y="98615"/>
                    <a:pt x="89708" y="99569"/>
                  </a:cubicBezTo>
                  <a:cubicBezTo>
                    <a:pt x="90026" y="99887"/>
                    <a:pt x="90662" y="100205"/>
                    <a:pt x="91616" y="100523"/>
                  </a:cubicBezTo>
                  <a:cubicBezTo>
                    <a:pt x="92570" y="101478"/>
                    <a:pt x="93525" y="101796"/>
                    <a:pt x="94797" y="102432"/>
                  </a:cubicBezTo>
                  <a:cubicBezTo>
                    <a:pt x="95434" y="102750"/>
                    <a:pt x="95752" y="102750"/>
                    <a:pt x="95752" y="102750"/>
                  </a:cubicBezTo>
                  <a:cubicBezTo>
                    <a:pt x="96388" y="102750"/>
                    <a:pt x="96388" y="103386"/>
                    <a:pt x="96706" y="103386"/>
                  </a:cubicBezTo>
                  <a:cubicBezTo>
                    <a:pt x="97342" y="104023"/>
                    <a:pt x="97978" y="104023"/>
                    <a:pt x="98615" y="104341"/>
                  </a:cubicBezTo>
                  <a:cubicBezTo>
                    <a:pt x="99251" y="104659"/>
                    <a:pt x="98615" y="105295"/>
                    <a:pt x="99251" y="105931"/>
                  </a:cubicBezTo>
                  <a:cubicBezTo>
                    <a:pt x="101478" y="107204"/>
                    <a:pt x="102432" y="108794"/>
                    <a:pt x="103068" y="110703"/>
                  </a:cubicBezTo>
                  <a:cubicBezTo>
                    <a:pt x="103386" y="111339"/>
                    <a:pt x="103386" y="111975"/>
                    <a:pt x="103068" y="112930"/>
                  </a:cubicBezTo>
                  <a:cubicBezTo>
                    <a:pt x="102750" y="113248"/>
                    <a:pt x="102432" y="113248"/>
                    <a:pt x="102114" y="113248"/>
                  </a:cubicBezTo>
                  <a:cubicBezTo>
                    <a:pt x="102114" y="112930"/>
                    <a:pt x="101796" y="112612"/>
                    <a:pt x="101796" y="111975"/>
                  </a:cubicBezTo>
                  <a:cubicBezTo>
                    <a:pt x="101796" y="111975"/>
                    <a:pt x="101478" y="111657"/>
                    <a:pt x="101478" y="111975"/>
                  </a:cubicBezTo>
                  <a:cubicBezTo>
                    <a:pt x="101160" y="111975"/>
                    <a:pt x="100841" y="112293"/>
                    <a:pt x="101160" y="112293"/>
                  </a:cubicBezTo>
                  <a:cubicBezTo>
                    <a:pt x="101160" y="113248"/>
                    <a:pt x="101160" y="114202"/>
                    <a:pt x="101160" y="114838"/>
                  </a:cubicBezTo>
                  <a:cubicBezTo>
                    <a:pt x="101160" y="115156"/>
                    <a:pt x="100841" y="115475"/>
                    <a:pt x="101160" y="115793"/>
                  </a:cubicBezTo>
                  <a:cubicBezTo>
                    <a:pt x="100841" y="116111"/>
                    <a:pt x="102114" y="116111"/>
                    <a:pt x="101796" y="116429"/>
                  </a:cubicBezTo>
                  <a:cubicBezTo>
                    <a:pt x="101796" y="117383"/>
                    <a:pt x="102114" y="117383"/>
                    <a:pt x="102432" y="117701"/>
                  </a:cubicBezTo>
                  <a:cubicBezTo>
                    <a:pt x="102432" y="118019"/>
                    <a:pt x="102750" y="118338"/>
                    <a:pt x="102750" y="118338"/>
                  </a:cubicBezTo>
                  <a:cubicBezTo>
                    <a:pt x="102114" y="119610"/>
                    <a:pt x="103386" y="121201"/>
                    <a:pt x="102750" y="122473"/>
                  </a:cubicBezTo>
                  <a:cubicBezTo>
                    <a:pt x="102432" y="123109"/>
                    <a:pt x="102114" y="123746"/>
                    <a:pt x="102432" y="124064"/>
                  </a:cubicBezTo>
                  <a:cubicBezTo>
                    <a:pt x="102432" y="124700"/>
                    <a:pt x="102750" y="125336"/>
                    <a:pt x="102114" y="126290"/>
                  </a:cubicBezTo>
                  <a:cubicBezTo>
                    <a:pt x="101796" y="126609"/>
                    <a:pt x="101796" y="126927"/>
                    <a:pt x="102114" y="127563"/>
                  </a:cubicBezTo>
                  <a:cubicBezTo>
                    <a:pt x="102432" y="128517"/>
                    <a:pt x="102432" y="129472"/>
                    <a:pt x="102114" y="130744"/>
                  </a:cubicBezTo>
                  <a:cubicBezTo>
                    <a:pt x="102114" y="131380"/>
                    <a:pt x="101160" y="131380"/>
                    <a:pt x="100841" y="131380"/>
                  </a:cubicBezTo>
                  <a:cubicBezTo>
                    <a:pt x="100205" y="131062"/>
                    <a:pt x="100205" y="131062"/>
                    <a:pt x="99569" y="131062"/>
                  </a:cubicBezTo>
                  <a:cubicBezTo>
                    <a:pt x="99569" y="131062"/>
                    <a:pt x="99251" y="131062"/>
                    <a:pt x="99569" y="131062"/>
                  </a:cubicBezTo>
                  <a:cubicBezTo>
                    <a:pt x="99569" y="132016"/>
                    <a:pt x="99569" y="132653"/>
                    <a:pt x="99887" y="133607"/>
                  </a:cubicBezTo>
                  <a:cubicBezTo>
                    <a:pt x="100205" y="133925"/>
                    <a:pt x="99887" y="134243"/>
                    <a:pt x="99251" y="134561"/>
                  </a:cubicBezTo>
                  <a:cubicBezTo>
                    <a:pt x="99251" y="134879"/>
                    <a:pt x="98933" y="135198"/>
                    <a:pt x="99251" y="135516"/>
                  </a:cubicBezTo>
                  <a:cubicBezTo>
                    <a:pt x="99251" y="136788"/>
                    <a:pt x="98297" y="136788"/>
                    <a:pt x="97660" y="137106"/>
                  </a:cubicBezTo>
                  <a:cubicBezTo>
                    <a:pt x="96706" y="137106"/>
                    <a:pt x="96706" y="137424"/>
                    <a:pt x="96706" y="138061"/>
                  </a:cubicBezTo>
                  <a:lnTo>
                    <a:pt x="96388" y="138379"/>
                  </a:lnTo>
                  <a:cubicBezTo>
                    <a:pt x="96388" y="138061"/>
                    <a:pt x="95434" y="138061"/>
                    <a:pt x="95434" y="137742"/>
                  </a:cubicBezTo>
                  <a:cubicBezTo>
                    <a:pt x="95115" y="137742"/>
                    <a:pt x="95115" y="137742"/>
                    <a:pt x="95115" y="137742"/>
                  </a:cubicBezTo>
                  <a:lnTo>
                    <a:pt x="95434" y="137742"/>
                  </a:lnTo>
                  <a:cubicBezTo>
                    <a:pt x="96388" y="139015"/>
                    <a:pt x="96388" y="139333"/>
                    <a:pt x="95115" y="139969"/>
                  </a:cubicBezTo>
                  <a:close/>
                  <a:moveTo>
                    <a:pt x="7953" y="159056"/>
                  </a:moveTo>
                  <a:cubicBezTo>
                    <a:pt x="7635" y="159056"/>
                    <a:pt x="7635" y="159692"/>
                    <a:pt x="7953" y="159374"/>
                  </a:cubicBezTo>
                  <a:cubicBezTo>
                    <a:pt x="8271" y="159374"/>
                    <a:pt x="8271" y="159374"/>
                    <a:pt x="8271" y="159056"/>
                  </a:cubicBezTo>
                  <a:cubicBezTo>
                    <a:pt x="8271" y="159056"/>
                    <a:pt x="8271" y="159056"/>
                    <a:pt x="7953" y="159056"/>
                  </a:cubicBezTo>
                  <a:close/>
                  <a:moveTo>
                    <a:pt x="9225" y="160646"/>
                  </a:moveTo>
                  <a:cubicBezTo>
                    <a:pt x="9225" y="160646"/>
                    <a:pt x="8907" y="160328"/>
                    <a:pt x="8907" y="160646"/>
                  </a:cubicBezTo>
                  <a:lnTo>
                    <a:pt x="8589" y="160646"/>
                  </a:lnTo>
                  <a:cubicBezTo>
                    <a:pt x="8589" y="160965"/>
                    <a:pt x="8589" y="161283"/>
                    <a:pt x="8589" y="161919"/>
                  </a:cubicBezTo>
                  <a:cubicBezTo>
                    <a:pt x="8589" y="161919"/>
                    <a:pt x="8907" y="161919"/>
                    <a:pt x="9225" y="161919"/>
                  </a:cubicBezTo>
                  <a:cubicBezTo>
                    <a:pt x="9543" y="161919"/>
                    <a:pt x="9543" y="161919"/>
                    <a:pt x="9861" y="161919"/>
                  </a:cubicBezTo>
                  <a:cubicBezTo>
                    <a:pt x="9543" y="161283"/>
                    <a:pt x="9543" y="160965"/>
                    <a:pt x="9225" y="160646"/>
                  </a:cubicBezTo>
                  <a:close/>
                  <a:moveTo>
                    <a:pt x="14315" y="127245"/>
                  </a:moveTo>
                  <a:cubicBezTo>
                    <a:pt x="13997" y="127563"/>
                    <a:pt x="13997" y="127563"/>
                    <a:pt x="14315" y="127563"/>
                  </a:cubicBezTo>
                  <a:cubicBezTo>
                    <a:pt x="14951" y="127563"/>
                    <a:pt x="14951" y="127563"/>
                    <a:pt x="14951" y="127563"/>
                  </a:cubicBezTo>
                  <a:cubicBezTo>
                    <a:pt x="14315" y="127563"/>
                    <a:pt x="14315" y="127245"/>
                    <a:pt x="14315" y="127245"/>
                  </a:cubicBezTo>
                  <a:close/>
                  <a:moveTo>
                    <a:pt x="16860" y="37537"/>
                  </a:moveTo>
                  <a:cubicBezTo>
                    <a:pt x="16860" y="37537"/>
                    <a:pt x="16860" y="37537"/>
                    <a:pt x="16860" y="37855"/>
                  </a:cubicBezTo>
                  <a:cubicBezTo>
                    <a:pt x="16860" y="38173"/>
                    <a:pt x="16224" y="38810"/>
                    <a:pt x="15906" y="39128"/>
                  </a:cubicBezTo>
                  <a:cubicBezTo>
                    <a:pt x="15906" y="38173"/>
                    <a:pt x="16224" y="37855"/>
                    <a:pt x="16860" y="37537"/>
                  </a:cubicBezTo>
                  <a:close/>
                  <a:moveTo>
                    <a:pt x="15906" y="163828"/>
                  </a:moveTo>
                  <a:lnTo>
                    <a:pt x="15906" y="163509"/>
                  </a:lnTo>
                  <a:cubicBezTo>
                    <a:pt x="16224" y="163828"/>
                    <a:pt x="16224" y="163828"/>
                    <a:pt x="16542" y="164146"/>
                  </a:cubicBezTo>
                  <a:lnTo>
                    <a:pt x="16224" y="164146"/>
                  </a:lnTo>
                  <a:cubicBezTo>
                    <a:pt x="15906" y="164146"/>
                    <a:pt x="15906" y="163828"/>
                    <a:pt x="15906" y="163828"/>
                  </a:cubicBezTo>
                  <a:close/>
                  <a:moveTo>
                    <a:pt x="19087" y="157783"/>
                  </a:moveTo>
                  <a:cubicBezTo>
                    <a:pt x="19087" y="157783"/>
                    <a:pt x="19087" y="157783"/>
                    <a:pt x="19087" y="157465"/>
                  </a:cubicBezTo>
                  <a:cubicBezTo>
                    <a:pt x="19087" y="157783"/>
                    <a:pt x="19087" y="157783"/>
                    <a:pt x="18450" y="157783"/>
                  </a:cubicBezTo>
                  <a:cubicBezTo>
                    <a:pt x="18450" y="157783"/>
                    <a:pt x="19087" y="157783"/>
                    <a:pt x="19087" y="158102"/>
                  </a:cubicBezTo>
                  <a:cubicBezTo>
                    <a:pt x="19087" y="157783"/>
                    <a:pt x="19087" y="157783"/>
                    <a:pt x="19087" y="157783"/>
                  </a:cubicBezTo>
                  <a:close/>
                  <a:moveTo>
                    <a:pt x="19087" y="163828"/>
                  </a:moveTo>
                  <a:cubicBezTo>
                    <a:pt x="19405" y="163828"/>
                    <a:pt x="19405" y="163509"/>
                    <a:pt x="19405" y="163509"/>
                  </a:cubicBezTo>
                  <a:cubicBezTo>
                    <a:pt x="19405" y="163509"/>
                    <a:pt x="19405" y="163828"/>
                    <a:pt x="19723" y="163828"/>
                  </a:cubicBezTo>
                  <a:cubicBezTo>
                    <a:pt x="19723" y="164146"/>
                    <a:pt x="19405" y="164146"/>
                    <a:pt x="19405" y="164146"/>
                  </a:cubicBezTo>
                  <a:cubicBezTo>
                    <a:pt x="19405" y="164146"/>
                    <a:pt x="19405" y="164146"/>
                    <a:pt x="19087" y="163828"/>
                  </a:cubicBezTo>
                  <a:close/>
                  <a:moveTo>
                    <a:pt x="20041" y="158102"/>
                  </a:moveTo>
                  <a:cubicBezTo>
                    <a:pt x="20677" y="158102"/>
                    <a:pt x="21314" y="158102"/>
                    <a:pt x="21632" y="158102"/>
                  </a:cubicBezTo>
                  <a:cubicBezTo>
                    <a:pt x="21632" y="158102"/>
                    <a:pt x="21950" y="158102"/>
                    <a:pt x="21950" y="157783"/>
                  </a:cubicBezTo>
                  <a:cubicBezTo>
                    <a:pt x="21632" y="157783"/>
                    <a:pt x="21632" y="157147"/>
                    <a:pt x="21632" y="157147"/>
                  </a:cubicBezTo>
                  <a:cubicBezTo>
                    <a:pt x="21314" y="157147"/>
                    <a:pt x="20677" y="157465"/>
                    <a:pt x="20041" y="157465"/>
                  </a:cubicBezTo>
                  <a:lnTo>
                    <a:pt x="20041" y="157783"/>
                  </a:lnTo>
                  <a:lnTo>
                    <a:pt x="20041" y="158102"/>
                  </a:lnTo>
                  <a:close/>
                  <a:moveTo>
                    <a:pt x="20359" y="122791"/>
                  </a:moveTo>
                  <a:lnTo>
                    <a:pt x="20677" y="122791"/>
                  </a:lnTo>
                  <a:cubicBezTo>
                    <a:pt x="20677" y="122791"/>
                    <a:pt x="20359" y="122791"/>
                    <a:pt x="20359" y="123109"/>
                  </a:cubicBezTo>
                  <a:lnTo>
                    <a:pt x="20359" y="122791"/>
                  </a:lnTo>
                  <a:close/>
                  <a:moveTo>
                    <a:pt x="22586" y="160328"/>
                  </a:moveTo>
                  <a:cubicBezTo>
                    <a:pt x="22586" y="160328"/>
                    <a:pt x="22586" y="160328"/>
                    <a:pt x="22904" y="160328"/>
                  </a:cubicBezTo>
                  <a:cubicBezTo>
                    <a:pt x="22586" y="160328"/>
                    <a:pt x="22586" y="160328"/>
                    <a:pt x="22586" y="160010"/>
                  </a:cubicBezTo>
                  <a:cubicBezTo>
                    <a:pt x="22586" y="160010"/>
                    <a:pt x="22586" y="160010"/>
                    <a:pt x="22586" y="160328"/>
                  </a:cubicBezTo>
                  <a:close/>
                  <a:moveTo>
                    <a:pt x="27040" y="77937"/>
                  </a:moveTo>
                  <a:cubicBezTo>
                    <a:pt x="27040" y="77937"/>
                    <a:pt x="27676" y="77619"/>
                    <a:pt x="27040" y="77619"/>
                  </a:cubicBezTo>
                  <a:cubicBezTo>
                    <a:pt x="27040" y="77301"/>
                    <a:pt x="26721" y="77301"/>
                    <a:pt x="26721" y="77301"/>
                  </a:cubicBezTo>
                  <a:cubicBezTo>
                    <a:pt x="26721" y="77937"/>
                    <a:pt x="26721" y="77937"/>
                    <a:pt x="26721" y="77937"/>
                  </a:cubicBezTo>
                  <a:cubicBezTo>
                    <a:pt x="27040" y="77937"/>
                    <a:pt x="27040" y="77937"/>
                    <a:pt x="27040" y="77937"/>
                  </a:cubicBezTo>
                  <a:close/>
                  <a:moveTo>
                    <a:pt x="27040" y="163509"/>
                  </a:moveTo>
                  <a:cubicBezTo>
                    <a:pt x="27040" y="163509"/>
                    <a:pt x="27040" y="163509"/>
                    <a:pt x="27040" y="163828"/>
                  </a:cubicBezTo>
                  <a:cubicBezTo>
                    <a:pt x="27040" y="163509"/>
                    <a:pt x="27040" y="163509"/>
                    <a:pt x="27040" y="163509"/>
                  </a:cubicBezTo>
                  <a:close/>
                  <a:moveTo>
                    <a:pt x="27994" y="157783"/>
                  </a:moveTo>
                  <a:cubicBezTo>
                    <a:pt x="27994" y="157783"/>
                    <a:pt x="27994" y="158102"/>
                    <a:pt x="27994" y="157783"/>
                  </a:cubicBezTo>
                  <a:cubicBezTo>
                    <a:pt x="28630" y="157465"/>
                    <a:pt x="28948" y="157147"/>
                    <a:pt x="29266" y="156511"/>
                  </a:cubicBezTo>
                  <a:cubicBezTo>
                    <a:pt x="29266" y="156511"/>
                    <a:pt x="29266" y="156193"/>
                    <a:pt x="29266" y="156511"/>
                  </a:cubicBezTo>
                  <a:cubicBezTo>
                    <a:pt x="28312" y="156511"/>
                    <a:pt x="27994" y="156829"/>
                    <a:pt x="27676" y="157465"/>
                  </a:cubicBezTo>
                  <a:cubicBezTo>
                    <a:pt x="27994" y="157465"/>
                    <a:pt x="27994" y="157783"/>
                    <a:pt x="27994" y="157783"/>
                  </a:cubicBezTo>
                  <a:close/>
                  <a:moveTo>
                    <a:pt x="32129" y="160965"/>
                  </a:moveTo>
                  <a:lnTo>
                    <a:pt x="32129" y="161283"/>
                  </a:lnTo>
                  <a:cubicBezTo>
                    <a:pt x="32447" y="161283"/>
                    <a:pt x="32129" y="161283"/>
                    <a:pt x="32129" y="161283"/>
                  </a:cubicBezTo>
                  <a:cubicBezTo>
                    <a:pt x="31175" y="161283"/>
                    <a:pt x="30857" y="161283"/>
                    <a:pt x="30539" y="161601"/>
                  </a:cubicBezTo>
                  <a:cubicBezTo>
                    <a:pt x="29903" y="161919"/>
                    <a:pt x="29584" y="161283"/>
                    <a:pt x="29266" y="160965"/>
                  </a:cubicBezTo>
                  <a:cubicBezTo>
                    <a:pt x="29266" y="160646"/>
                    <a:pt x="29266" y="160328"/>
                    <a:pt x="29266" y="160328"/>
                  </a:cubicBezTo>
                  <a:cubicBezTo>
                    <a:pt x="29584" y="160328"/>
                    <a:pt x="30221" y="160646"/>
                    <a:pt x="30539" y="160646"/>
                  </a:cubicBezTo>
                  <a:cubicBezTo>
                    <a:pt x="30539" y="160646"/>
                    <a:pt x="31175" y="160646"/>
                    <a:pt x="32129" y="160965"/>
                  </a:cubicBezTo>
                  <a:close/>
                  <a:moveTo>
                    <a:pt x="30857" y="157147"/>
                  </a:moveTo>
                  <a:cubicBezTo>
                    <a:pt x="31175" y="156829"/>
                    <a:pt x="31175" y="156511"/>
                    <a:pt x="30857" y="156829"/>
                  </a:cubicBezTo>
                  <a:cubicBezTo>
                    <a:pt x="30539" y="156829"/>
                    <a:pt x="30539" y="156829"/>
                    <a:pt x="30539" y="156829"/>
                  </a:cubicBezTo>
                  <a:cubicBezTo>
                    <a:pt x="30221" y="157147"/>
                    <a:pt x="30539" y="157147"/>
                    <a:pt x="30857" y="157147"/>
                  </a:cubicBezTo>
                  <a:close/>
                  <a:moveTo>
                    <a:pt x="33402" y="79528"/>
                  </a:moveTo>
                  <a:cubicBezTo>
                    <a:pt x="33402" y="79528"/>
                    <a:pt x="33402" y="79528"/>
                    <a:pt x="33084" y="79528"/>
                  </a:cubicBezTo>
                  <a:cubicBezTo>
                    <a:pt x="33402" y="79528"/>
                    <a:pt x="33402" y="79528"/>
                    <a:pt x="33402" y="79528"/>
                  </a:cubicBezTo>
                  <a:cubicBezTo>
                    <a:pt x="33402" y="79528"/>
                    <a:pt x="33402" y="79528"/>
                    <a:pt x="33720" y="79528"/>
                  </a:cubicBezTo>
                  <a:lnTo>
                    <a:pt x="33402" y="79528"/>
                  </a:lnTo>
                  <a:close/>
                  <a:moveTo>
                    <a:pt x="33720" y="79528"/>
                  </a:moveTo>
                  <a:cubicBezTo>
                    <a:pt x="34356" y="79846"/>
                    <a:pt x="34356" y="79846"/>
                    <a:pt x="33720" y="80482"/>
                  </a:cubicBezTo>
                  <a:cubicBezTo>
                    <a:pt x="33720" y="80482"/>
                    <a:pt x="33402" y="79846"/>
                    <a:pt x="33720" y="79528"/>
                  </a:cubicBezTo>
                  <a:close/>
                  <a:moveTo>
                    <a:pt x="34356" y="102750"/>
                  </a:moveTo>
                  <a:cubicBezTo>
                    <a:pt x="34674" y="102750"/>
                    <a:pt x="34674" y="102750"/>
                    <a:pt x="34674" y="102432"/>
                  </a:cubicBezTo>
                  <a:cubicBezTo>
                    <a:pt x="34356" y="102432"/>
                    <a:pt x="33720" y="102432"/>
                    <a:pt x="33720" y="102432"/>
                  </a:cubicBezTo>
                  <a:lnTo>
                    <a:pt x="33720" y="102750"/>
                  </a:lnTo>
                  <a:cubicBezTo>
                    <a:pt x="34038" y="102750"/>
                    <a:pt x="34356" y="102750"/>
                    <a:pt x="34356" y="102750"/>
                  </a:cubicBezTo>
                  <a:close/>
                  <a:moveTo>
                    <a:pt x="34038" y="161283"/>
                  </a:moveTo>
                  <a:lnTo>
                    <a:pt x="34038" y="160965"/>
                  </a:lnTo>
                  <a:lnTo>
                    <a:pt x="34038" y="160646"/>
                  </a:lnTo>
                  <a:cubicBezTo>
                    <a:pt x="34674" y="160010"/>
                    <a:pt x="36265" y="159374"/>
                    <a:pt x="37537" y="159374"/>
                  </a:cubicBezTo>
                  <a:cubicBezTo>
                    <a:pt x="37855" y="159692"/>
                    <a:pt x="38810" y="159056"/>
                    <a:pt x="39764" y="159056"/>
                  </a:cubicBezTo>
                  <a:cubicBezTo>
                    <a:pt x="41036" y="159056"/>
                    <a:pt x="41036" y="159374"/>
                    <a:pt x="40718" y="160010"/>
                  </a:cubicBezTo>
                  <a:cubicBezTo>
                    <a:pt x="39128" y="160010"/>
                    <a:pt x="38173" y="160328"/>
                    <a:pt x="37219" y="160010"/>
                  </a:cubicBezTo>
                  <a:cubicBezTo>
                    <a:pt x="36901" y="160010"/>
                    <a:pt x="36583" y="160328"/>
                    <a:pt x="36265" y="160646"/>
                  </a:cubicBezTo>
                  <a:cubicBezTo>
                    <a:pt x="35310" y="161283"/>
                    <a:pt x="35310" y="161283"/>
                    <a:pt x="34356" y="161283"/>
                  </a:cubicBezTo>
                  <a:lnTo>
                    <a:pt x="34038" y="161283"/>
                  </a:lnTo>
                  <a:close/>
                  <a:moveTo>
                    <a:pt x="36265" y="158102"/>
                  </a:moveTo>
                  <a:lnTo>
                    <a:pt x="35629" y="157783"/>
                  </a:lnTo>
                  <a:cubicBezTo>
                    <a:pt x="36265" y="157465"/>
                    <a:pt x="36265" y="157147"/>
                    <a:pt x="36265" y="157147"/>
                  </a:cubicBezTo>
                  <a:cubicBezTo>
                    <a:pt x="36583" y="157147"/>
                    <a:pt x="37219" y="157147"/>
                    <a:pt x="37537" y="157465"/>
                  </a:cubicBezTo>
                  <a:cubicBezTo>
                    <a:pt x="37537" y="157465"/>
                    <a:pt x="37855" y="157783"/>
                    <a:pt x="37855" y="158102"/>
                  </a:cubicBezTo>
                  <a:lnTo>
                    <a:pt x="37537" y="158420"/>
                  </a:lnTo>
                  <a:cubicBezTo>
                    <a:pt x="37537" y="158420"/>
                    <a:pt x="37537" y="158420"/>
                    <a:pt x="36901" y="158420"/>
                  </a:cubicBezTo>
                  <a:cubicBezTo>
                    <a:pt x="36583" y="158420"/>
                    <a:pt x="36583" y="158102"/>
                    <a:pt x="36265" y="158102"/>
                  </a:cubicBezTo>
                  <a:close/>
                  <a:moveTo>
                    <a:pt x="36901" y="24177"/>
                  </a:moveTo>
                  <a:cubicBezTo>
                    <a:pt x="37219" y="24177"/>
                    <a:pt x="37219" y="24177"/>
                    <a:pt x="37219" y="24177"/>
                  </a:cubicBezTo>
                  <a:cubicBezTo>
                    <a:pt x="37219" y="23858"/>
                    <a:pt x="37219" y="23858"/>
                    <a:pt x="36901" y="23540"/>
                  </a:cubicBezTo>
                  <a:cubicBezTo>
                    <a:pt x="36901" y="23540"/>
                    <a:pt x="36901" y="23858"/>
                    <a:pt x="36583" y="23858"/>
                  </a:cubicBezTo>
                  <a:cubicBezTo>
                    <a:pt x="36901" y="23858"/>
                    <a:pt x="36901" y="24177"/>
                    <a:pt x="36901" y="24177"/>
                  </a:cubicBezTo>
                  <a:close/>
                  <a:moveTo>
                    <a:pt x="38810" y="155239"/>
                  </a:moveTo>
                  <a:lnTo>
                    <a:pt x="38491" y="155239"/>
                  </a:lnTo>
                  <a:cubicBezTo>
                    <a:pt x="38810" y="155239"/>
                    <a:pt x="38810" y="155239"/>
                    <a:pt x="38810" y="155239"/>
                  </a:cubicBezTo>
                  <a:close/>
                  <a:moveTo>
                    <a:pt x="46762" y="32766"/>
                  </a:moveTo>
                  <a:cubicBezTo>
                    <a:pt x="46126" y="33084"/>
                    <a:pt x="45490" y="33402"/>
                    <a:pt x="44854" y="34038"/>
                  </a:cubicBezTo>
                  <a:cubicBezTo>
                    <a:pt x="43581" y="34674"/>
                    <a:pt x="43263" y="34992"/>
                    <a:pt x="42309" y="35629"/>
                  </a:cubicBezTo>
                  <a:cubicBezTo>
                    <a:pt x="41355" y="35947"/>
                    <a:pt x="40718" y="36901"/>
                    <a:pt x="39764" y="37537"/>
                  </a:cubicBezTo>
                  <a:cubicBezTo>
                    <a:pt x="39764" y="37855"/>
                    <a:pt x="39764" y="37855"/>
                    <a:pt x="40082" y="38173"/>
                  </a:cubicBezTo>
                  <a:cubicBezTo>
                    <a:pt x="40082" y="38173"/>
                    <a:pt x="40718" y="38492"/>
                    <a:pt x="40718" y="38173"/>
                  </a:cubicBezTo>
                  <a:cubicBezTo>
                    <a:pt x="41355" y="37855"/>
                    <a:pt x="41991" y="37537"/>
                    <a:pt x="42309" y="36583"/>
                  </a:cubicBezTo>
                  <a:cubicBezTo>
                    <a:pt x="43263" y="36265"/>
                    <a:pt x="43581" y="35629"/>
                    <a:pt x="44854" y="35310"/>
                  </a:cubicBezTo>
                  <a:cubicBezTo>
                    <a:pt x="45808" y="34674"/>
                    <a:pt x="46762" y="34038"/>
                    <a:pt x="47081" y="33402"/>
                  </a:cubicBezTo>
                  <a:cubicBezTo>
                    <a:pt x="47399" y="33402"/>
                    <a:pt x="47081" y="33084"/>
                    <a:pt x="47081" y="33084"/>
                  </a:cubicBezTo>
                  <a:lnTo>
                    <a:pt x="46762" y="32766"/>
                  </a:lnTo>
                  <a:close/>
                  <a:moveTo>
                    <a:pt x="41991" y="105613"/>
                  </a:moveTo>
                  <a:cubicBezTo>
                    <a:pt x="41991" y="105613"/>
                    <a:pt x="41991" y="105613"/>
                    <a:pt x="41991" y="105295"/>
                  </a:cubicBezTo>
                  <a:cubicBezTo>
                    <a:pt x="41673" y="105295"/>
                    <a:pt x="41036" y="105295"/>
                    <a:pt x="41036" y="105295"/>
                  </a:cubicBezTo>
                  <a:lnTo>
                    <a:pt x="40718" y="105295"/>
                  </a:lnTo>
                  <a:cubicBezTo>
                    <a:pt x="40718" y="105295"/>
                    <a:pt x="40718" y="105295"/>
                    <a:pt x="41036" y="105295"/>
                  </a:cubicBezTo>
                  <a:cubicBezTo>
                    <a:pt x="41036" y="105613"/>
                    <a:pt x="41036" y="105613"/>
                    <a:pt x="41673" y="105931"/>
                  </a:cubicBezTo>
                  <a:cubicBezTo>
                    <a:pt x="41673" y="105613"/>
                    <a:pt x="41991" y="105613"/>
                    <a:pt x="41991" y="105613"/>
                  </a:cubicBezTo>
                  <a:close/>
                  <a:moveTo>
                    <a:pt x="41036" y="82709"/>
                  </a:moveTo>
                  <a:lnTo>
                    <a:pt x="41355" y="82709"/>
                  </a:lnTo>
                  <a:cubicBezTo>
                    <a:pt x="41991" y="82709"/>
                    <a:pt x="41991" y="83027"/>
                    <a:pt x="42309" y="83345"/>
                  </a:cubicBezTo>
                  <a:lnTo>
                    <a:pt x="42309" y="83663"/>
                  </a:lnTo>
                  <a:cubicBezTo>
                    <a:pt x="42309" y="83663"/>
                    <a:pt x="41991" y="83663"/>
                    <a:pt x="41991" y="83982"/>
                  </a:cubicBezTo>
                  <a:cubicBezTo>
                    <a:pt x="41673" y="83663"/>
                    <a:pt x="41355" y="83027"/>
                    <a:pt x="41036" y="82709"/>
                  </a:cubicBezTo>
                  <a:close/>
                  <a:moveTo>
                    <a:pt x="42945" y="140924"/>
                  </a:moveTo>
                  <a:cubicBezTo>
                    <a:pt x="42309" y="140924"/>
                    <a:pt x="41991" y="140924"/>
                    <a:pt x="41673" y="140605"/>
                  </a:cubicBezTo>
                  <a:lnTo>
                    <a:pt x="41673" y="140924"/>
                  </a:lnTo>
                  <a:cubicBezTo>
                    <a:pt x="41355" y="140924"/>
                    <a:pt x="41673" y="140924"/>
                    <a:pt x="41673" y="140924"/>
                  </a:cubicBezTo>
                  <a:cubicBezTo>
                    <a:pt x="41991" y="140924"/>
                    <a:pt x="42309" y="141242"/>
                    <a:pt x="42309" y="141560"/>
                  </a:cubicBezTo>
                  <a:cubicBezTo>
                    <a:pt x="42627" y="141878"/>
                    <a:pt x="42945" y="141560"/>
                    <a:pt x="42945" y="141560"/>
                  </a:cubicBezTo>
                  <a:lnTo>
                    <a:pt x="43263" y="141242"/>
                  </a:lnTo>
                  <a:cubicBezTo>
                    <a:pt x="43263" y="140924"/>
                    <a:pt x="43263" y="140924"/>
                    <a:pt x="42945" y="140924"/>
                  </a:cubicBezTo>
                  <a:close/>
                  <a:moveTo>
                    <a:pt x="41991" y="155557"/>
                  </a:moveTo>
                  <a:cubicBezTo>
                    <a:pt x="42309" y="155875"/>
                    <a:pt x="42309" y="155875"/>
                    <a:pt x="42309" y="156193"/>
                  </a:cubicBezTo>
                  <a:cubicBezTo>
                    <a:pt x="41991" y="156193"/>
                    <a:pt x="41991" y="155875"/>
                    <a:pt x="41991" y="155557"/>
                  </a:cubicBezTo>
                  <a:close/>
                  <a:moveTo>
                    <a:pt x="42627" y="158738"/>
                  </a:moveTo>
                  <a:lnTo>
                    <a:pt x="42309" y="158420"/>
                  </a:lnTo>
                  <a:cubicBezTo>
                    <a:pt x="42309" y="158420"/>
                    <a:pt x="42627" y="158420"/>
                    <a:pt x="42945" y="158420"/>
                  </a:cubicBezTo>
                  <a:cubicBezTo>
                    <a:pt x="43263" y="158420"/>
                    <a:pt x="43581" y="158420"/>
                    <a:pt x="43899" y="158420"/>
                  </a:cubicBezTo>
                  <a:cubicBezTo>
                    <a:pt x="44218" y="158420"/>
                    <a:pt x="44854" y="158102"/>
                    <a:pt x="45172" y="157783"/>
                  </a:cubicBezTo>
                  <a:cubicBezTo>
                    <a:pt x="45490" y="157465"/>
                    <a:pt x="45808" y="157147"/>
                    <a:pt x="45808" y="157147"/>
                  </a:cubicBezTo>
                  <a:cubicBezTo>
                    <a:pt x="46762" y="157147"/>
                    <a:pt x="47399" y="157147"/>
                    <a:pt x="48671" y="157147"/>
                  </a:cubicBezTo>
                  <a:cubicBezTo>
                    <a:pt x="49307" y="156829"/>
                    <a:pt x="48671" y="157147"/>
                    <a:pt x="48671" y="157465"/>
                  </a:cubicBezTo>
                  <a:cubicBezTo>
                    <a:pt x="48671" y="158102"/>
                    <a:pt x="48671" y="158420"/>
                    <a:pt x="48353" y="158420"/>
                  </a:cubicBezTo>
                  <a:cubicBezTo>
                    <a:pt x="47717" y="158420"/>
                    <a:pt x="47081" y="158738"/>
                    <a:pt x="46762" y="159056"/>
                  </a:cubicBezTo>
                  <a:cubicBezTo>
                    <a:pt x="45808" y="159374"/>
                    <a:pt x="44218" y="158738"/>
                    <a:pt x="43581" y="159374"/>
                  </a:cubicBezTo>
                  <a:cubicBezTo>
                    <a:pt x="43263" y="159374"/>
                    <a:pt x="42945" y="159056"/>
                    <a:pt x="42627" y="158738"/>
                  </a:cubicBezTo>
                  <a:close/>
                  <a:moveTo>
                    <a:pt x="44218" y="104341"/>
                  </a:moveTo>
                  <a:cubicBezTo>
                    <a:pt x="44218" y="104341"/>
                    <a:pt x="44218" y="104341"/>
                    <a:pt x="44218" y="104659"/>
                  </a:cubicBezTo>
                  <a:cubicBezTo>
                    <a:pt x="44218" y="104341"/>
                    <a:pt x="44218" y="104341"/>
                    <a:pt x="44854" y="104341"/>
                  </a:cubicBezTo>
                  <a:cubicBezTo>
                    <a:pt x="44854" y="104341"/>
                    <a:pt x="44854" y="104341"/>
                    <a:pt x="44218" y="104341"/>
                  </a:cubicBezTo>
                  <a:close/>
                  <a:moveTo>
                    <a:pt x="45808" y="88753"/>
                  </a:moveTo>
                  <a:lnTo>
                    <a:pt x="45490" y="88753"/>
                  </a:lnTo>
                  <a:cubicBezTo>
                    <a:pt x="45490" y="89071"/>
                    <a:pt x="46126" y="89708"/>
                    <a:pt x="46444" y="89708"/>
                  </a:cubicBezTo>
                  <a:lnTo>
                    <a:pt x="46444" y="89389"/>
                  </a:lnTo>
                  <a:cubicBezTo>
                    <a:pt x="46444" y="89071"/>
                    <a:pt x="46126" y="88753"/>
                    <a:pt x="45808" y="88753"/>
                  </a:cubicBezTo>
                  <a:close/>
                  <a:moveTo>
                    <a:pt x="47717" y="153330"/>
                  </a:moveTo>
                  <a:cubicBezTo>
                    <a:pt x="47399" y="153012"/>
                    <a:pt x="47399" y="153012"/>
                    <a:pt x="47399" y="153012"/>
                  </a:cubicBezTo>
                  <a:cubicBezTo>
                    <a:pt x="47081" y="153012"/>
                    <a:pt x="46762" y="153012"/>
                    <a:pt x="46762" y="153012"/>
                  </a:cubicBezTo>
                  <a:cubicBezTo>
                    <a:pt x="46762" y="153330"/>
                    <a:pt x="46762" y="153330"/>
                    <a:pt x="47081" y="153648"/>
                  </a:cubicBezTo>
                  <a:lnTo>
                    <a:pt x="47399" y="153648"/>
                  </a:lnTo>
                  <a:cubicBezTo>
                    <a:pt x="47399" y="153330"/>
                    <a:pt x="47399" y="153330"/>
                    <a:pt x="47717" y="153330"/>
                  </a:cubicBezTo>
                  <a:close/>
                  <a:moveTo>
                    <a:pt x="47081" y="160328"/>
                  </a:moveTo>
                  <a:cubicBezTo>
                    <a:pt x="47081" y="160328"/>
                    <a:pt x="47081" y="160010"/>
                    <a:pt x="47399" y="160010"/>
                  </a:cubicBezTo>
                  <a:cubicBezTo>
                    <a:pt x="47717" y="160010"/>
                    <a:pt x="48035" y="160010"/>
                    <a:pt x="48035" y="160010"/>
                  </a:cubicBezTo>
                  <a:cubicBezTo>
                    <a:pt x="48353" y="160010"/>
                    <a:pt x="48353" y="160010"/>
                    <a:pt x="48353" y="160010"/>
                  </a:cubicBezTo>
                  <a:cubicBezTo>
                    <a:pt x="48353" y="160010"/>
                    <a:pt x="48353" y="160328"/>
                    <a:pt x="48353" y="160646"/>
                  </a:cubicBezTo>
                  <a:cubicBezTo>
                    <a:pt x="48035" y="160646"/>
                    <a:pt x="47717" y="160646"/>
                    <a:pt x="47399" y="160646"/>
                  </a:cubicBezTo>
                  <a:cubicBezTo>
                    <a:pt x="47081" y="160646"/>
                    <a:pt x="47081" y="160328"/>
                    <a:pt x="47081" y="160328"/>
                  </a:cubicBezTo>
                  <a:close/>
                  <a:moveTo>
                    <a:pt x="48353" y="111975"/>
                  </a:moveTo>
                  <a:lnTo>
                    <a:pt x="48353" y="112293"/>
                  </a:lnTo>
                  <a:cubicBezTo>
                    <a:pt x="48035" y="112293"/>
                    <a:pt x="47717" y="111975"/>
                    <a:pt x="47399" y="111657"/>
                  </a:cubicBezTo>
                  <a:cubicBezTo>
                    <a:pt x="47717" y="111657"/>
                    <a:pt x="48353" y="111657"/>
                    <a:pt x="48353" y="111975"/>
                  </a:cubicBezTo>
                  <a:close/>
                  <a:moveTo>
                    <a:pt x="49944" y="35310"/>
                  </a:moveTo>
                  <a:lnTo>
                    <a:pt x="49625" y="35310"/>
                  </a:lnTo>
                  <a:lnTo>
                    <a:pt x="49307" y="35310"/>
                  </a:lnTo>
                  <a:cubicBezTo>
                    <a:pt x="49307" y="35629"/>
                    <a:pt x="49625" y="35629"/>
                    <a:pt x="49625" y="35629"/>
                  </a:cubicBezTo>
                  <a:cubicBezTo>
                    <a:pt x="49307" y="35629"/>
                    <a:pt x="48353" y="35629"/>
                    <a:pt x="48035" y="36265"/>
                  </a:cubicBezTo>
                  <a:cubicBezTo>
                    <a:pt x="48035" y="36583"/>
                    <a:pt x="48035" y="36583"/>
                    <a:pt x="48035" y="36583"/>
                  </a:cubicBezTo>
                  <a:cubicBezTo>
                    <a:pt x="48671" y="36583"/>
                    <a:pt x="48671" y="36265"/>
                    <a:pt x="49625" y="35629"/>
                  </a:cubicBezTo>
                  <a:cubicBezTo>
                    <a:pt x="49944" y="35629"/>
                    <a:pt x="50262" y="35629"/>
                    <a:pt x="49944" y="35310"/>
                  </a:cubicBezTo>
                  <a:close/>
                  <a:moveTo>
                    <a:pt x="51216" y="31811"/>
                  </a:moveTo>
                  <a:cubicBezTo>
                    <a:pt x="51852" y="30857"/>
                    <a:pt x="52488" y="30539"/>
                    <a:pt x="53761" y="30221"/>
                  </a:cubicBezTo>
                  <a:cubicBezTo>
                    <a:pt x="53761" y="30221"/>
                    <a:pt x="54397" y="29584"/>
                    <a:pt x="54715" y="29584"/>
                  </a:cubicBezTo>
                  <a:cubicBezTo>
                    <a:pt x="55033" y="29584"/>
                    <a:pt x="55033" y="29266"/>
                    <a:pt x="55033" y="29266"/>
                  </a:cubicBezTo>
                  <a:cubicBezTo>
                    <a:pt x="54715" y="29266"/>
                    <a:pt x="54397" y="28948"/>
                    <a:pt x="54079" y="28948"/>
                  </a:cubicBezTo>
                  <a:cubicBezTo>
                    <a:pt x="53761" y="28948"/>
                    <a:pt x="52806" y="29266"/>
                    <a:pt x="52488" y="29903"/>
                  </a:cubicBezTo>
                  <a:cubicBezTo>
                    <a:pt x="51852" y="30221"/>
                    <a:pt x="51852" y="30539"/>
                    <a:pt x="51534" y="30539"/>
                  </a:cubicBezTo>
                  <a:cubicBezTo>
                    <a:pt x="50580" y="30539"/>
                    <a:pt x="49944" y="31175"/>
                    <a:pt x="48671" y="31811"/>
                  </a:cubicBezTo>
                  <a:cubicBezTo>
                    <a:pt x="48671" y="32129"/>
                    <a:pt x="49307" y="32129"/>
                    <a:pt x="48671" y="32129"/>
                  </a:cubicBezTo>
                  <a:cubicBezTo>
                    <a:pt x="49944" y="32129"/>
                    <a:pt x="50580" y="31811"/>
                    <a:pt x="51216" y="31811"/>
                  </a:cubicBezTo>
                  <a:close/>
                  <a:moveTo>
                    <a:pt x="50262" y="105295"/>
                  </a:moveTo>
                  <a:cubicBezTo>
                    <a:pt x="49944" y="105295"/>
                    <a:pt x="49944" y="105295"/>
                    <a:pt x="50262" y="105295"/>
                  </a:cubicBezTo>
                  <a:cubicBezTo>
                    <a:pt x="50580" y="105295"/>
                    <a:pt x="50580" y="105295"/>
                    <a:pt x="50580" y="105295"/>
                  </a:cubicBezTo>
                  <a:cubicBezTo>
                    <a:pt x="50262" y="105295"/>
                    <a:pt x="50262" y="105295"/>
                    <a:pt x="50262" y="105295"/>
                  </a:cubicBezTo>
                  <a:close/>
                  <a:moveTo>
                    <a:pt x="52488" y="159692"/>
                  </a:moveTo>
                  <a:lnTo>
                    <a:pt x="52488" y="160010"/>
                  </a:lnTo>
                  <a:cubicBezTo>
                    <a:pt x="51852" y="160010"/>
                    <a:pt x="51534" y="160010"/>
                    <a:pt x="51216" y="160010"/>
                  </a:cubicBezTo>
                  <a:cubicBezTo>
                    <a:pt x="50898" y="160010"/>
                    <a:pt x="50898" y="160010"/>
                    <a:pt x="50580" y="160010"/>
                  </a:cubicBezTo>
                  <a:cubicBezTo>
                    <a:pt x="50580" y="159692"/>
                    <a:pt x="51216" y="159374"/>
                    <a:pt x="51216" y="159374"/>
                  </a:cubicBezTo>
                  <a:cubicBezTo>
                    <a:pt x="51534" y="159374"/>
                    <a:pt x="51852" y="159374"/>
                    <a:pt x="51852" y="159374"/>
                  </a:cubicBezTo>
                  <a:cubicBezTo>
                    <a:pt x="51852" y="159374"/>
                    <a:pt x="52170" y="159692"/>
                    <a:pt x="52488" y="159692"/>
                  </a:cubicBezTo>
                  <a:close/>
                  <a:moveTo>
                    <a:pt x="52170" y="156193"/>
                  </a:moveTo>
                  <a:cubicBezTo>
                    <a:pt x="52170" y="156193"/>
                    <a:pt x="52170" y="156193"/>
                    <a:pt x="52488" y="156193"/>
                  </a:cubicBezTo>
                  <a:cubicBezTo>
                    <a:pt x="53443" y="156193"/>
                    <a:pt x="53761" y="156829"/>
                    <a:pt x="53443" y="156829"/>
                  </a:cubicBezTo>
                  <a:cubicBezTo>
                    <a:pt x="53443" y="156829"/>
                    <a:pt x="52806" y="156829"/>
                    <a:pt x="52488" y="156829"/>
                  </a:cubicBezTo>
                  <a:cubicBezTo>
                    <a:pt x="52488" y="156829"/>
                    <a:pt x="52170" y="156511"/>
                    <a:pt x="52170" y="156193"/>
                  </a:cubicBezTo>
                  <a:close/>
                  <a:moveTo>
                    <a:pt x="54715" y="113884"/>
                  </a:moveTo>
                  <a:lnTo>
                    <a:pt x="54715" y="114202"/>
                  </a:lnTo>
                  <a:cubicBezTo>
                    <a:pt x="54715" y="114202"/>
                    <a:pt x="54397" y="114520"/>
                    <a:pt x="53761" y="114520"/>
                  </a:cubicBezTo>
                  <a:cubicBezTo>
                    <a:pt x="53761" y="114520"/>
                    <a:pt x="53443" y="114520"/>
                    <a:pt x="53443" y="114202"/>
                  </a:cubicBezTo>
                  <a:lnTo>
                    <a:pt x="53443" y="113884"/>
                  </a:lnTo>
                  <a:cubicBezTo>
                    <a:pt x="53761" y="113884"/>
                    <a:pt x="54079" y="113884"/>
                    <a:pt x="54397" y="113884"/>
                  </a:cubicBezTo>
                  <a:cubicBezTo>
                    <a:pt x="54715" y="113884"/>
                    <a:pt x="54715" y="113884"/>
                    <a:pt x="54715" y="113884"/>
                  </a:cubicBezTo>
                  <a:close/>
                  <a:moveTo>
                    <a:pt x="55033" y="12406"/>
                  </a:moveTo>
                  <a:cubicBezTo>
                    <a:pt x="55033" y="12724"/>
                    <a:pt x="55352" y="12724"/>
                    <a:pt x="55670" y="12724"/>
                  </a:cubicBezTo>
                  <a:cubicBezTo>
                    <a:pt x="55670" y="12724"/>
                    <a:pt x="55670" y="12406"/>
                    <a:pt x="55988" y="12406"/>
                  </a:cubicBezTo>
                  <a:cubicBezTo>
                    <a:pt x="55670" y="12406"/>
                    <a:pt x="55352" y="12406"/>
                    <a:pt x="55033" y="12406"/>
                  </a:cubicBezTo>
                  <a:close/>
                  <a:moveTo>
                    <a:pt x="57260" y="27358"/>
                  </a:moveTo>
                  <a:cubicBezTo>
                    <a:pt x="56624" y="26721"/>
                    <a:pt x="55988" y="27040"/>
                    <a:pt x="55670" y="27676"/>
                  </a:cubicBezTo>
                  <a:cubicBezTo>
                    <a:pt x="55670" y="27676"/>
                    <a:pt x="55988" y="27994"/>
                    <a:pt x="55988" y="28312"/>
                  </a:cubicBezTo>
                  <a:cubicBezTo>
                    <a:pt x="56306" y="28312"/>
                    <a:pt x="56624" y="28312"/>
                    <a:pt x="57260" y="27994"/>
                  </a:cubicBezTo>
                  <a:cubicBezTo>
                    <a:pt x="57896" y="27676"/>
                    <a:pt x="57896" y="27676"/>
                    <a:pt x="57896" y="27676"/>
                  </a:cubicBezTo>
                  <a:cubicBezTo>
                    <a:pt x="57896" y="27676"/>
                    <a:pt x="57260" y="27676"/>
                    <a:pt x="57260" y="27358"/>
                  </a:cubicBezTo>
                  <a:close/>
                  <a:moveTo>
                    <a:pt x="55988" y="113884"/>
                  </a:moveTo>
                  <a:lnTo>
                    <a:pt x="56306" y="113566"/>
                  </a:lnTo>
                  <a:cubicBezTo>
                    <a:pt x="56306" y="113566"/>
                    <a:pt x="56624" y="113566"/>
                    <a:pt x="56942" y="113566"/>
                  </a:cubicBezTo>
                  <a:cubicBezTo>
                    <a:pt x="57260" y="113566"/>
                    <a:pt x="57260" y="113884"/>
                    <a:pt x="57260" y="113884"/>
                  </a:cubicBezTo>
                  <a:cubicBezTo>
                    <a:pt x="57260" y="114202"/>
                    <a:pt x="56942" y="114202"/>
                    <a:pt x="56942" y="114202"/>
                  </a:cubicBezTo>
                  <a:lnTo>
                    <a:pt x="56624" y="114202"/>
                  </a:lnTo>
                  <a:cubicBezTo>
                    <a:pt x="56624" y="114202"/>
                    <a:pt x="56306" y="114202"/>
                    <a:pt x="55988" y="113884"/>
                  </a:cubicBezTo>
                  <a:close/>
                  <a:moveTo>
                    <a:pt x="57896" y="150785"/>
                  </a:moveTo>
                  <a:cubicBezTo>
                    <a:pt x="57896" y="150467"/>
                    <a:pt x="56942" y="151103"/>
                    <a:pt x="56306" y="151421"/>
                  </a:cubicBezTo>
                  <a:cubicBezTo>
                    <a:pt x="56306" y="151739"/>
                    <a:pt x="56942" y="151421"/>
                    <a:pt x="57260" y="151739"/>
                  </a:cubicBezTo>
                  <a:cubicBezTo>
                    <a:pt x="57896" y="152057"/>
                    <a:pt x="57260" y="152376"/>
                    <a:pt x="57896" y="152376"/>
                  </a:cubicBezTo>
                  <a:cubicBezTo>
                    <a:pt x="58214" y="152376"/>
                    <a:pt x="58214" y="152376"/>
                    <a:pt x="58533" y="152376"/>
                  </a:cubicBezTo>
                  <a:cubicBezTo>
                    <a:pt x="58851" y="151421"/>
                    <a:pt x="58851" y="151103"/>
                    <a:pt x="57896" y="150785"/>
                  </a:cubicBezTo>
                  <a:close/>
                  <a:moveTo>
                    <a:pt x="59487" y="26403"/>
                  </a:moveTo>
                  <a:cubicBezTo>
                    <a:pt x="60441" y="26085"/>
                    <a:pt x="61396" y="25449"/>
                    <a:pt x="62986" y="25131"/>
                  </a:cubicBezTo>
                  <a:lnTo>
                    <a:pt x="63304" y="24813"/>
                  </a:lnTo>
                  <a:cubicBezTo>
                    <a:pt x="63304" y="24813"/>
                    <a:pt x="63304" y="24813"/>
                    <a:pt x="62986" y="24813"/>
                  </a:cubicBezTo>
                  <a:cubicBezTo>
                    <a:pt x="62986" y="24495"/>
                    <a:pt x="62350" y="24495"/>
                    <a:pt x="62032" y="24813"/>
                  </a:cubicBezTo>
                  <a:cubicBezTo>
                    <a:pt x="60759" y="25131"/>
                    <a:pt x="60123" y="25449"/>
                    <a:pt x="59487" y="25449"/>
                  </a:cubicBezTo>
                  <a:cubicBezTo>
                    <a:pt x="59169" y="25449"/>
                    <a:pt x="58214" y="26085"/>
                    <a:pt x="57896" y="26403"/>
                  </a:cubicBezTo>
                  <a:cubicBezTo>
                    <a:pt x="57896" y="26403"/>
                    <a:pt x="57896" y="26721"/>
                    <a:pt x="58214" y="26721"/>
                  </a:cubicBezTo>
                  <a:cubicBezTo>
                    <a:pt x="58214" y="27040"/>
                    <a:pt x="58214" y="27040"/>
                    <a:pt x="58533" y="27040"/>
                  </a:cubicBezTo>
                  <a:cubicBezTo>
                    <a:pt x="58851" y="26721"/>
                    <a:pt x="59169" y="26721"/>
                    <a:pt x="59487" y="26403"/>
                  </a:cubicBezTo>
                  <a:close/>
                  <a:moveTo>
                    <a:pt x="60441" y="29584"/>
                  </a:moveTo>
                  <a:lnTo>
                    <a:pt x="60441" y="29266"/>
                  </a:lnTo>
                  <a:cubicBezTo>
                    <a:pt x="60123" y="29266"/>
                    <a:pt x="59805" y="29266"/>
                    <a:pt x="59805" y="29266"/>
                  </a:cubicBezTo>
                  <a:cubicBezTo>
                    <a:pt x="59169" y="29266"/>
                    <a:pt x="58851" y="29584"/>
                    <a:pt x="58533" y="30539"/>
                  </a:cubicBezTo>
                  <a:cubicBezTo>
                    <a:pt x="58214" y="30539"/>
                    <a:pt x="58533" y="30539"/>
                    <a:pt x="58533" y="30539"/>
                  </a:cubicBezTo>
                  <a:cubicBezTo>
                    <a:pt x="59169" y="30221"/>
                    <a:pt x="59805" y="29903"/>
                    <a:pt x="60441" y="29584"/>
                  </a:cubicBezTo>
                  <a:close/>
                  <a:moveTo>
                    <a:pt x="60441" y="110385"/>
                  </a:moveTo>
                  <a:cubicBezTo>
                    <a:pt x="61077" y="110067"/>
                    <a:pt x="61396" y="109749"/>
                    <a:pt x="61396" y="109112"/>
                  </a:cubicBezTo>
                  <a:cubicBezTo>
                    <a:pt x="62032" y="109112"/>
                    <a:pt x="61396" y="108794"/>
                    <a:pt x="62032" y="108476"/>
                  </a:cubicBezTo>
                  <a:cubicBezTo>
                    <a:pt x="62032" y="108158"/>
                    <a:pt x="60759" y="108476"/>
                    <a:pt x="60123" y="108794"/>
                  </a:cubicBezTo>
                  <a:cubicBezTo>
                    <a:pt x="60123" y="109112"/>
                    <a:pt x="59805" y="109430"/>
                    <a:pt x="59805" y="109749"/>
                  </a:cubicBezTo>
                  <a:cubicBezTo>
                    <a:pt x="59487" y="110067"/>
                    <a:pt x="59805" y="110067"/>
                    <a:pt x="59805" y="110385"/>
                  </a:cubicBezTo>
                  <a:cubicBezTo>
                    <a:pt x="60441" y="110385"/>
                    <a:pt x="60441" y="110385"/>
                    <a:pt x="60441" y="110385"/>
                  </a:cubicBezTo>
                  <a:close/>
                  <a:moveTo>
                    <a:pt x="61077" y="8907"/>
                  </a:moveTo>
                  <a:lnTo>
                    <a:pt x="61077" y="9225"/>
                  </a:lnTo>
                  <a:cubicBezTo>
                    <a:pt x="61077" y="9543"/>
                    <a:pt x="59805" y="9861"/>
                    <a:pt x="59805" y="9225"/>
                  </a:cubicBezTo>
                  <a:lnTo>
                    <a:pt x="59805" y="8907"/>
                  </a:lnTo>
                  <a:cubicBezTo>
                    <a:pt x="59805" y="8907"/>
                    <a:pt x="60441" y="8589"/>
                    <a:pt x="60759" y="8589"/>
                  </a:cubicBezTo>
                  <a:cubicBezTo>
                    <a:pt x="61077" y="8589"/>
                    <a:pt x="61396" y="8589"/>
                    <a:pt x="61077" y="8907"/>
                  </a:cubicBezTo>
                  <a:close/>
                  <a:moveTo>
                    <a:pt x="61077" y="23540"/>
                  </a:moveTo>
                  <a:cubicBezTo>
                    <a:pt x="61396" y="23540"/>
                    <a:pt x="61396" y="23222"/>
                    <a:pt x="61396" y="23222"/>
                  </a:cubicBezTo>
                  <a:lnTo>
                    <a:pt x="61396" y="22586"/>
                  </a:lnTo>
                  <a:cubicBezTo>
                    <a:pt x="61077" y="22586"/>
                    <a:pt x="61077" y="22586"/>
                    <a:pt x="60759" y="22586"/>
                  </a:cubicBezTo>
                  <a:cubicBezTo>
                    <a:pt x="60441" y="22904"/>
                    <a:pt x="60441" y="22904"/>
                    <a:pt x="60441" y="23222"/>
                  </a:cubicBezTo>
                  <a:cubicBezTo>
                    <a:pt x="60441" y="23222"/>
                    <a:pt x="60123" y="23222"/>
                    <a:pt x="60123" y="23540"/>
                  </a:cubicBezTo>
                  <a:cubicBezTo>
                    <a:pt x="60441" y="23540"/>
                    <a:pt x="60441" y="23540"/>
                    <a:pt x="60441" y="23540"/>
                  </a:cubicBezTo>
                  <a:cubicBezTo>
                    <a:pt x="60759" y="23540"/>
                    <a:pt x="61077" y="23540"/>
                    <a:pt x="61077" y="23540"/>
                  </a:cubicBezTo>
                  <a:close/>
                  <a:moveTo>
                    <a:pt x="62032" y="114520"/>
                  </a:moveTo>
                  <a:lnTo>
                    <a:pt x="61396" y="114520"/>
                  </a:lnTo>
                  <a:cubicBezTo>
                    <a:pt x="61396" y="114202"/>
                    <a:pt x="61396" y="114202"/>
                    <a:pt x="61396" y="114202"/>
                  </a:cubicBezTo>
                  <a:cubicBezTo>
                    <a:pt x="61396" y="114202"/>
                    <a:pt x="61396" y="114520"/>
                    <a:pt x="62032" y="114520"/>
                  </a:cubicBezTo>
                  <a:close/>
                  <a:moveTo>
                    <a:pt x="62986" y="20041"/>
                  </a:moveTo>
                  <a:cubicBezTo>
                    <a:pt x="63304" y="19723"/>
                    <a:pt x="62986" y="19405"/>
                    <a:pt x="62350" y="19405"/>
                  </a:cubicBezTo>
                  <a:cubicBezTo>
                    <a:pt x="62032" y="19405"/>
                    <a:pt x="62032" y="19723"/>
                    <a:pt x="62032" y="19723"/>
                  </a:cubicBezTo>
                  <a:cubicBezTo>
                    <a:pt x="62032" y="20041"/>
                    <a:pt x="62350" y="20359"/>
                    <a:pt x="62350" y="20359"/>
                  </a:cubicBezTo>
                  <a:cubicBezTo>
                    <a:pt x="62668" y="20359"/>
                    <a:pt x="62986" y="20359"/>
                    <a:pt x="62986" y="20041"/>
                  </a:cubicBezTo>
                  <a:close/>
                  <a:moveTo>
                    <a:pt x="62986" y="22268"/>
                  </a:moveTo>
                  <a:cubicBezTo>
                    <a:pt x="62668" y="22268"/>
                    <a:pt x="62668" y="22268"/>
                    <a:pt x="62986" y="22586"/>
                  </a:cubicBezTo>
                  <a:lnTo>
                    <a:pt x="62986" y="22268"/>
                  </a:lnTo>
                  <a:cubicBezTo>
                    <a:pt x="62986" y="22268"/>
                    <a:pt x="62986" y="21950"/>
                    <a:pt x="62986" y="22268"/>
                  </a:cubicBezTo>
                  <a:close/>
                  <a:moveTo>
                    <a:pt x="63304" y="109749"/>
                  </a:moveTo>
                  <a:cubicBezTo>
                    <a:pt x="63304" y="109430"/>
                    <a:pt x="63304" y="109430"/>
                    <a:pt x="63304" y="109112"/>
                  </a:cubicBezTo>
                  <a:cubicBezTo>
                    <a:pt x="63304" y="109430"/>
                    <a:pt x="62986" y="109430"/>
                    <a:pt x="62986" y="109430"/>
                  </a:cubicBezTo>
                  <a:cubicBezTo>
                    <a:pt x="63304" y="109749"/>
                    <a:pt x="63304" y="109749"/>
                    <a:pt x="63304" y="109749"/>
                  </a:cubicBezTo>
                  <a:close/>
                  <a:moveTo>
                    <a:pt x="64895" y="155875"/>
                  </a:moveTo>
                  <a:lnTo>
                    <a:pt x="64577" y="156193"/>
                  </a:lnTo>
                  <a:cubicBezTo>
                    <a:pt x="64577" y="156511"/>
                    <a:pt x="64259" y="156829"/>
                    <a:pt x="63622" y="157147"/>
                  </a:cubicBezTo>
                  <a:cubicBezTo>
                    <a:pt x="63622" y="157147"/>
                    <a:pt x="63304" y="156829"/>
                    <a:pt x="63304" y="156511"/>
                  </a:cubicBezTo>
                  <a:cubicBezTo>
                    <a:pt x="63304" y="156511"/>
                    <a:pt x="63304" y="156193"/>
                    <a:pt x="63940" y="155875"/>
                  </a:cubicBezTo>
                  <a:lnTo>
                    <a:pt x="64259" y="155875"/>
                  </a:lnTo>
                  <a:cubicBezTo>
                    <a:pt x="64577" y="155875"/>
                    <a:pt x="64895" y="155875"/>
                    <a:pt x="64895" y="155875"/>
                  </a:cubicBezTo>
                  <a:close/>
                  <a:moveTo>
                    <a:pt x="63940" y="115793"/>
                  </a:moveTo>
                  <a:cubicBezTo>
                    <a:pt x="64259" y="115793"/>
                    <a:pt x="63940" y="116111"/>
                    <a:pt x="64259" y="116111"/>
                  </a:cubicBezTo>
                  <a:lnTo>
                    <a:pt x="64259" y="116429"/>
                  </a:lnTo>
                  <a:cubicBezTo>
                    <a:pt x="63940" y="116429"/>
                    <a:pt x="63940" y="116429"/>
                    <a:pt x="63622" y="116429"/>
                  </a:cubicBezTo>
                  <a:cubicBezTo>
                    <a:pt x="63622" y="116111"/>
                    <a:pt x="63622" y="116111"/>
                    <a:pt x="63940" y="115793"/>
                  </a:cubicBezTo>
                  <a:close/>
                  <a:moveTo>
                    <a:pt x="65531" y="20995"/>
                  </a:moveTo>
                  <a:cubicBezTo>
                    <a:pt x="65531" y="20995"/>
                    <a:pt x="65849" y="20995"/>
                    <a:pt x="65531" y="20995"/>
                  </a:cubicBezTo>
                  <a:lnTo>
                    <a:pt x="65531" y="20677"/>
                  </a:lnTo>
                  <a:cubicBezTo>
                    <a:pt x="64895" y="20677"/>
                    <a:pt x="64895" y="20995"/>
                    <a:pt x="64577" y="21313"/>
                  </a:cubicBezTo>
                  <a:cubicBezTo>
                    <a:pt x="64577" y="21313"/>
                    <a:pt x="64577" y="21313"/>
                    <a:pt x="63940" y="21632"/>
                  </a:cubicBezTo>
                  <a:lnTo>
                    <a:pt x="64259" y="21632"/>
                  </a:lnTo>
                  <a:cubicBezTo>
                    <a:pt x="64259" y="21632"/>
                    <a:pt x="64259" y="21632"/>
                    <a:pt x="64577" y="21313"/>
                  </a:cubicBezTo>
                  <a:cubicBezTo>
                    <a:pt x="64895" y="21313"/>
                    <a:pt x="65213" y="21313"/>
                    <a:pt x="65531" y="20995"/>
                  </a:cubicBezTo>
                  <a:close/>
                  <a:moveTo>
                    <a:pt x="64895" y="111657"/>
                  </a:moveTo>
                  <a:cubicBezTo>
                    <a:pt x="64895" y="111657"/>
                    <a:pt x="64895" y="111657"/>
                    <a:pt x="65213" y="111657"/>
                  </a:cubicBezTo>
                  <a:cubicBezTo>
                    <a:pt x="64895" y="111657"/>
                    <a:pt x="64577" y="111339"/>
                    <a:pt x="64577" y="111339"/>
                  </a:cubicBezTo>
                  <a:cubicBezTo>
                    <a:pt x="64577" y="111339"/>
                    <a:pt x="64577" y="111339"/>
                    <a:pt x="64577" y="111657"/>
                  </a:cubicBezTo>
                  <a:cubicBezTo>
                    <a:pt x="64577" y="111657"/>
                    <a:pt x="64577" y="111657"/>
                    <a:pt x="64895" y="111657"/>
                  </a:cubicBezTo>
                  <a:close/>
                  <a:moveTo>
                    <a:pt x="65849" y="109430"/>
                  </a:moveTo>
                  <a:cubicBezTo>
                    <a:pt x="65849" y="109749"/>
                    <a:pt x="66485" y="110067"/>
                    <a:pt x="66803" y="110067"/>
                  </a:cubicBezTo>
                  <a:cubicBezTo>
                    <a:pt x="67122" y="110067"/>
                    <a:pt x="67122" y="109749"/>
                    <a:pt x="67122" y="109749"/>
                  </a:cubicBezTo>
                  <a:lnTo>
                    <a:pt x="67122" y="109430"/>
                  </a:lnTo>
                  <a:cubicBezTo>
                    <a:pt x="66803" y="109112"/>
                    <a:pt x="66485" y="109112"/>
                    <a:pt x="65849" y="108794"/>
                  </a:cubicBezTo>
                  <a:cubicBezTo>
                    <a:pt x="65849" y="108794"/>
                    <a:pt x="65849" y="109112"/>
                    <a:pt x="65531" y="109112"/>
                  </a:cubicBezTo>
                  <a:cubicBezTo>
                    <a:pt x="65531" y="109112"/>
                    <a:pt x="65531" y="109430"/>
                    <a:pt x="65849" y="109430"/>
                  </a:cubicBezTo>
                  <a:close/>
                  <a:moveTo>
                    <a:pt x="68394" y="19087"/>
                  </a:moveTo>
                  <a:cubicBezTo>
                    <a:pt x="67440" y="19405"/>
                    <a:pt x="67122" y="19405"/>
                    <a:pt x="66485" y="19723"/>
                  </a:cubicBezTo>
                  <a:lnTo>
                    <a:pt x="66485" y="20359"/>
                  </a:lnTo>
                  <a:cubicBezTo>
                    <a:pt x="66803" y="20677"/>
                    <a:pt x="67122" y="20677"/>
                    <a:pt x="67440" y="20677"/>
                  </a:cubicBezTo>
                  <a:cubicBezTo>
                    <a:pt x="68394" y="20359"/>
                    <a:pt x="69348" y="20359"/>
                    <a:pt x="69985" y="19723"/>
                  </a:cubicBezTo>
                  <a:cubicBezTo>
                    <a:pt x="71893" y="19087"/>
                    <a:pt x="73166" y="18769"/>
                    <a:pt x="75074" y="18450"/>
                  </a:cubicBezTo>
                  <a:cubicBezTo>
                    <a:pt x="76029" y="18132"/>
                    <a:pt x="76983" y="17496"/>
                    <a:pt x="78255" y="17496"/>
                  </a:cubicBezTo>
                  <a:cubicBezTo>
                    <a:pt x="79846" y="16542"/>
                    <a:pt x="81437" y="16224"/>
                    <a:pt x="82709" y="16224"/>
                  </a:cubicBezTo>
                  <a:cubicBezTo>
                    <a:pt x="84618" y="15906"/>
                    <a:pt x="85890" y="15269"/>
                    <a:pt x="88117" y="15269"/>
                  </a:cubicBezTo>
                  <a:lnTo>
                    <a:pt x="88117" y="14951"/>
                  </a:lnTo>
                  <a:cubicBezTo>
                    <a:pt x="88753" y="14315"/>
                    <a:pt x="89708" y="14633"/>
                    <a:pt x="90662" y="14633"/>
                  </a:cubicBezTo>
                  <a:cubicBezTo>
                    <a:pt x="90980" y="14633"/>
                    <a:pt x="91616" y="14315"/>
                    <a:pt x="92570" y="14315"/>
                  </a:cubicBezTo>
                  <a:cubicBezTo>
                    <a:pt x="92889" y="14315"/>
                    <a:pt x="93843" y="13997"/>
                    <a:pt x="93843" y="14315"/>
                  </a:cubicBezTo>
                  <a:cubicBezTo>
                    <a:pt x="94797" y="14951"/>
                    <a:pt x="95752" y="14951"/>
                    <a:pt x="97024" y="15269"/>
                  </a:cubicBezTo>
                  <a:cubicBezTo>
                    <a:pt x="97024" y="15906"/>
                    <a:pt x="97660" y="15906"/>
                    <a:pt x="97978" y="15906"/>
                  </a:cubicBezTo>
                  <a:cubicBezTo>
                    <a:pt x="98297" y="15906"/>
                    <a:pt x="98615" y="15906"/>
                    <a:pt x="98615" y="15587"/>
                  </a:cubicBezTo>
                  <a:cubicBezTo>
                    <a:pt x="98615" y="15269"/>
                    <a:pt x="98297" y="15269"/>
                    <a:pt x="98297" y="15269"/>
                  </a:cubicBezTo>
                  <a:cubicBezTo>
                    <a:pt x="98297" y="14633"/>
                    <a:pt x="98615" y="14633"/>
                    <a:pt x="99251" y="14315"/>
                  </a:cubicBezTo>
                  <a:lnTo>
                    <a:pt x="99887" y="14315"/>
                  </a:lnTo>
                  <a:cubicBezTo>
                    <a:pt x="99887" y="14951"/>
                    <a:pt x="99887" y="15587"/>
                    <a:pt x="100841" y="15587"/>
                  </a:cubicBezTo>
                  <a:cubicBezTo>
                    <a:pt x="101796" y="15587"/>
                    <a:pt x="102750" y="15587"/>
                    <a:pt x="104023" y="15587"/>
                  </a:cubicBezTo>
                  <a:lnTo>
                    <a:pt x="104341" y="14951"/>
                  </a:lnTo>
                  <a:cubicBezTo>
                    <a:pt x="104341" y="14315"/>
                    <a:pt x="104977" y="13679"/>
                    <a:pt x="104023" y="13679"/>
                  </a:cubicBezTo>
                  <a:cubicBezTo>
                    <a:pt x="103704" y="13361"/>
                    <a:pt x="103068" y="13361"/>
                    <a:pt x="102750" y="13361"/>
                  </a:cubicBezTo>
                  <a:cubicBezTo>
                    <a:pt x="102114" y="13043"/>
                    <a:pt x="101160" y="12406"/>
                    <a:pt x="100841" y="12088"/>
                  </a:cubicBezTo>
                  <a:cubicBezTo>
                    <a:pt x="100205" y="10816"/>
                    <a:pt x="99251" y="10816"/>
                    <a:pt x="98615" y="10816"/>
                  </a:cubicBezTo>
                  <a:cubicBezTo>
                    <a:pt x="97978" y="11134"/>
                    <a:pt x="97342" y="11452"/>
                    <a:pt x="96388" y="10816"/>
                  </a:cubicBezTo>
                  <a:cubicBezTo>
                    <a:pt x="96388" y="10816"/>
                    <a:pt x="95434" y="10816"/>
                    <a:pt x="95115" y="11134"/>
                  </a:cubicBezTo>
                  <a:cubicBezTo>
                    <a:pt x="94797" y="12088"/>
                    <a:pt x="94161" y="11770"/>
                    <a:pt x="93207" y="11770"/>
                  </a:cubicBezTo>
                  <a:cubicBezTo>
                    <a:pt x="92570" y="11770"/>
                    <a:pt x="91298" y="11770"/>
                    <a:pt x="90662" y="12088"/>
                  </a:cubicBezTo>
                  <a:cubicBezTo>
                    <a:pt x="90662" y="12406"/>
                    <a:pt x="90344" y="12406"/>
                    <a:pt x="90026" y="12406"/>
                  </a:cubicBezTo>
                  <a:cubicBezTo>
                    <a:pt x="89389" y="12406"/>
                    <a:pt x="88435" y="12724"/>
                    <a:pt x="88117" y="13043"/>
                  </a:cubicBezTo>
                  <a:cubicBezTo>
                    <a:pt x="87163" y="13043"/>
                    <a:pt x="86844" y="13043"/>
                    <a:pt x="86526" y="13043"/>
                  </a:cubicBezTo>
                  <a:cubicBezTo>
                    <a:pt x="85890" y="13043"/>
                    <a:pt x="84936" y="13043"/>
                    <a:pt x="84936" y="13679"/>
                  </a:cubicBezTo>
                  <a:cubicBezTo>
                    <a:pt x="83982" y="14633"/>
                    <a:pt x="83027" y="14633"/>
                    <a:pt x="82391" y="14633"/>
                  </a:cubicBezTo>
                  <a:cubicBezTo>
                    <a:pt x="81437" y="14633"/>
                    <a:pt x="80482" y="14633"/>
                    <a:pt x="79846" y="14951"/>
                  </a:cubicBezTo>
                  <a:cubicBezTo>
                    <a:pt x="79528" y="15269"/>
                    <a:pt x="79210" y="14951"/>
                    <a:pt x="78255" y="14633"/>
                  </a:cubicBezTo>
                  <a:cubicBezTo>
                    <a:pt x="78255" y="14633"/>
                    <a:pt x="78574" y="13997"/>
                    <a:pt x="78574" y="13679"/>
                  </a:cubicBezTo>
                  <a:cubicBezTo>
                    <a:pt x="79210" y="13043"/>
                    <a:pt x="79846" y="13043"/>
                    <a:pt x="80164" y="12724"/>
                  </a:cubicBezTo>
                  <a:cubicBezTo>
                    <a:pt x="80164" y="12724"/>
                    <a:pt x="80164" y="12724"/>
                    <a:pt x="80482" y="12724"/>
                  </a:cubicBezTo>
                  <a:cubicBezTo>
                    <a:pt x="80164" y="12724"/>
                    <a:pt x="80164" y="12406"/>
                    <a:pt x="80164" y="12406"/>
                  </a:cubicBezTo>
                  <a:cubicBezTo>
                    <a:pt x="79210" y="12724"/>
                    <a:pt x="78255" y="12724"/>
                    <a:pt x="76983" y="12724"/>
                  </a:cubicBezTo>
                  <a:cubicBezTo>
                    <a:pt x="76983" y="13043"/>
                    <a:pt x="76665" y="13043"/>
                    <a:pt x="76347" y="13361"/>
                  </a:cubicBezTo>
                  <a:cubicBezTo>
                    <a:pt x="76029" y="13679"/>
                    <a:pt x="75711" y="13997"/>
                    <a:pt x="75393" y="14315"/>
                  </a:cubicBezTo>
                  <a:cubicBezTo>
                    <a:pt x="75393" y="14633"/>
                    <a:pt x="76029" y="14633"/>
                    <a:pt x="76347" y="14633"/>
                  </a:cubicBezTo>
                  <a:lnTo>
                    <a:pt x="76665" y="14633"/>
                  </a:lnTo>
                  <a:cubicBezTo>
                    <a:pt x="76665" y="14951"/>
                    <a:pt x="76983" y="15587"/>
                    <a:pt x="76665" y="15587"/>
                  </a:cubicBezTo>
                  <a:cubicBezTo>
                    <a:pt x="76665" y="16224"/>
                    <a:pt x="76665" y="16224"/>
                    <a:pt x="76347" y="16542"/>
                  </a:cubicBezTo>
                  <a:cubicBezTo>
                    <a:pt x="76029" y="16542"/>
                    <a:pt x="75393" y="16542"/>
                    <a:pt x="75074" y="16542"/>
                  </a:cubicBezTo>
                  <a:cubicBezTo>
                    <a:pt x="75074" y="16542"/>
                    <a:pt x="75074" y="16542"/>
                    <a:pt x="75074" y="16860"/>
                  </a:cubicBezTo>
                  <a:cubicBezTo>
                    <a:pt x="75074" y="17496"/>
                    <a:pt x="75074" y="17496"/>
                    <a:pt x="74120" y="17496"/>
                  </a:cubicBezTo>
                  <a:cubicBezTo>
                    <a:pt x="73484" y="17496"/>
                    <a:pt x="73484" y="17496"/>
                    <a:pt x="72848" y="17496"/>
                  </a:cubicBezTo>
                  <a:cubicBezTo>
                    <a:pt x="72529" y="17496"/>
                    <a:pt x="71893" y="18132"/>
                    <a:pt x="71257" y="18450"/>
                  </a:cubicBezTo>
                  <a:cubicBezTo>
                    <a:pt x="70621" y="18450"/>
                    <a:pt x="69667" y="18450"/>
                    <a:pt x="69030" y="18450"/>
                  </a:cubicBezTo>
                  <a:cubicBezTo>
                    <a:pt x="69030" y="17814"/>
                    <a:pt x="69667" y="17178"/>
                    <a:pt x="69985" y="17178"/>
                  </a:cubicBezTo>
                  <a:cubicBezTo>
                    <a:pt x="69985" y="16860"/>
                    <a:pt x="69985" y="16542"/>
                    <a:pt x="70621" y="16224"/>
                  </a:cubicBezTo>
                  <a:cubicBezTo>
                    <a:pt x="71257" y="15906"/>
                    <a:pt x="71893" y="16224"/>
                    <a:pt x="71575" y="15587"/>
                  </a:cubicBezTo>
                  <a:cubicBezTo>
                    <a:pt x="71575" y="14633"/>
                    <a:pt x="70621" y="15587"/>
                    <a:pt x="69985" y="15269"/>
                  </a:cubicBezTo>
                  <a:cubicBezTo>
                    <a:pt x="69985" y="15269"/>
                    <a:pt x="69985" y="15269"/>
                    <a:pt x="69667" y="15269"/>
                  </a:cubicBezTo>
                  <a:cubicBezTo>
                    <a:pt x="68394" y="15269"/>
                    <a:pt x="67758" y="16224"/>
                    <a:pt x="66803" y="16860"/>
                  </a:cubicBezTo>
                  <a:lnTo>
                    <a:pt x="66803" y="17178"/>
                  </a:lnTo>
                  <a:cubicBezTo>
                    <a:pt x="67122" y="17178"/>
                    <a:pt x="66803" y="17814"/>
                    <a:pt x="67440" y="17814"/>
                  </a:cubicBezTo>
                  <a:cubicBezTo>
                    <a:pt x="68712" y="17178"/>
                    <a:pt x="68394" y="18132"/>
                    <a:pt x="69030" y="18450"/>
                  </a:cubicBezTo>
                  <a:cubicBezTo>
                    <a:pt x="68712" y="18450"/>
                    <a:pt x="68712" y="18769"/>
                    <a:pt x="68394" y="19087"/>
                  </a:cubicBezTo>
                  <a:close/>
                  <a:moveTo>
                    <a:pt x="66803" y="5408"/>
                  </a:moveTo>
                  <a:cubicBezTo>
                    <a:pt x="66803" y="5090"/>
                    <a:pt x="67122" y="5090"/>
                    <a:pt x="67122" y="5090"/>
                  </a:cubicBezTo>
                  <a:cubicBezTo>
                    <a:pt x="67122" y="5090"/>
                    <a:pt x="67122" y="5090"/>
                    <a:pt x="67440" y="5090"/>
                  </a:cubicBezTo>
                  <a:lnTo>
                    <a:pt x="67440" y="5408"/>
                  </a:lnTo>
                  <a:cubicBezTo>
                    <a:pt x="67122" y="5408"/>
                    <a:pt x="67122" y="5408"/>
                    <a:pt x="66803" y="5726"/>
                  </a:cubicBezTo>
                  <a:cubicBezTo>
                    <a:pt x="66803" y="5408"/>
                    <a:pt x="66803" y="5408"/>
                    <a:pt x="66803" y="5408"/>
                  </a:cubicBezTo>
                  <a:close/>
                  <a:moveTo>
                    <a:pt x="70621" y="149513"/>
                  </a:moveTo>
                  <a:lnTo>
                    <a:pt x="70939" y="149194"/>
                  </a:lnTo>
                  <a:cubicBezTo>
                    <a:pt x="70939" y="148876"/>
                    <a:pt x="70939" y="148558"/>
                    <a:pt x="70939" y="148240"/>
                  </a:cubicBezTo>
                  <a:cubicBezTo>
                    <a:pt x="69985" y="148240"/>
                    <a:pt x="69667" y="148240"/>
                    <a:pt x="69348" y="147922"/>
                  </a:cubicBezTo>
                  <a:cubicBezTo>
                    <a:pt x="69030" y="147286"/>
                    <a:pt x="69030" y="147286"/>
                    <a:pt x="68394" y="147604"/>
                  </a:cubicBezTo>
                  <a:cubicBezTo>
                    <a:pt x="67758" y="147922"/>
                    <a:pt x="67440" y="148240"/>
                    <a:pt x="67440" y="149194"/>
                  </a:cubicBezTo>
                  <a:cubicBezTo>
                    <a:pt x="68076" y="149513"/>
                    <a:pt x="68712" y="149831"/>
                    <a:pt x="69348" y="149831"/>
                  </a:cubicBezTo>
                  <a:cubicBezTo>
                    <a:pt x="69667" y="149831"/>
                    <a:pt x="69667" y="149831"/>
                    <a:pt x="70621" y="149513"/>
                  </a:cubicBezTo>
                  <a:close/>
                  <a:moveTo>
                    <a:pt x="69030" y="21950"/>
                  </a:moveTo>
                  <a:lnTo>
                    <a:pt x="69030" y="21632"/>
                  </a:lnTo>
                  <a:cubicBezTo>
                    <a:pt x="68712" y="21632"/>
                    <a:pt x="68394" y="21632"/>
                    <a:pt x="68076" y="21632"/>
                  </a:cubicBezTo>
                  <a:lnTo>
                    <a:pt x="68076" y="21950"/>
                  </a:lnTo>
                  <a:cubicBezTo>
                    <a:pt x="68076" y="22268"/>
                    <a:pt x="68394" y="22268"/>
                    <a:pt x="69030" y="22586"/>
                  </a:cubicBezTo>
                  <a:cubicBezTo>
                    <a:pt x="69030" y="22268"/>
                    <a:pt x="69030" y="22268"/>
                    <a:pt x="69030" y="21950"/>
                  </a:cubicBezTo>
                  <a:close/>
                  <a:moveTo>
                    <a:pt x="71575" y="115793"/>
                  </a:moveTo>
                  <a:cubicBezTo>
                    <a:pt x="71893" y="115793"/>
                    <a:pt x="71893" y="115793"/>
                    <a:pt x="71893" y="115793"/>
                  </a:cubicBezTo>
                  <a:cubicBezTo>
                    <a:pt x="71893" y="115793"/>
                    <a:pt x="71893" y="115475"/>
                    <a:pt x="71893" y="115156"/>
                  </a:cubicBezTo>
                  <a:cubicBezTo>
                    <a:pt x="71257" y="114520"/>
                    <a:pt x="70621" y="114520"/>
                    <a:pt x="69030" y="114838"/>
                  </a:cubicBezTo>
                  <a:cubicBezTo>
                    <a:pt x="69030" y="114838"/>
                    <a:pt x="68712" y="115156"/>
                    <a:pt x="68712" y="115475"/>
                  </a:cubicBezTo>
                  <a:lnTo>
                    <a:pt x="68712" y="115793"/>
                  </a:lnTo>
                  <a:cubicBezTo>
                    <a:pt x="69667" y="115793"/>
                    <a:pt x="69985" y="115793"/>
                    <a:pt x="70621" y="115793"/>
                  </a:cubicBezTo>
                  <a:cubicBezTo>
                    <a:pt x="70939" y="115793"/>
                    <a:pt x="71257" y="115793"/>
                    <a:pt x="71575" y="115793"/>
                  </a:cubicBezTo>
                  <a:close/>
                  <a:moveTo>
                    <a:pt x="69667" y="112930"/>
                  </a:moveTo>
                  <a:cubicBezTo>
                    <a:pt x="69348" y="112930"/>
                    <a:pt x="69348" y="112930"/>
                    <a:pt x="69667" y="112930"/>
                  </a:cubicBezTo>
                  <a:cubicBezTo>
                    <a:pt x="69985" y="112930"/>
                    <a:pt x="69985" y="112930"/>
                    <a:pt x="69985" y="112930"/>
                  </a:cubicBezTo>
                  <a:cubicBezTo>
                    <a:pt x="69667" y="112930"/>
                    <a:pt x="69667" y="112930"/>
                    <a:pt x="69667" y="112930"/>
                  </a:cubicBezTo>
                  <a:close/>
                  <a:moveTo>
                    <a:pt x="73802" y="14315"/>
                  </a:moveTo>
                  <a:cubicBezTo>
                    <a:pt x="73484" y="14633"/>
                    <a:pt x="73166" y="14633"/>
                    <a:pt x="72848" y="14633"/>
                  </a:cubicBezTo>
                  <a:lnTo>
                    <a:pt x="72848" y="14951"/>
                  </a:lnTo>
                  <a:cubicBezTo>
                    <a:pt x="73484" y="15587"/>
                    <a:pt x="73802" y="14951"/>
                    <a:pt x="74120" y="14633"/>
                  </a:cubicBezTo>
                  <a:cubicBezTo>
                    <a:pt x="74120" y="14315"/>
                    <a:pt x="73802" y="14315"/>
                    <a:pt x="73802" y="14315"/>
                  </a:cubicBezTo>
                  <a:close/>
                  <a:moveTo>
                    <a:pt x="75074" y="112612"/>
                  </a:moveTo>
                  <a:cubicBezTo>
                    <a:pt x="75074" y="112293"/>
                    <a:pt x="75074" y="111975"/>
                    <a:pt x="75074" y="111975"/>
                  </a:cubicBezTo>
                  <a:lnTo>
                    <a:pt x="74438" y="111657"/>
                  </a:lnTo>
                  <a:cubicBezTo>
                    <a:pt x="73802" y="112293"/>
                    <a:pt x="73484" y="112930"/>
                    <a:pt x="73166" y="113566"/>
                  </a:cubicBezTo>
                  <a:lnTo>
                    <a:pt x="73484" y="113884"/>
                  </a:lnTo>
                  <a:lnTo>
                    <a:pt x="73802" y="113884"/>
                  </a:lnTo>
                  <a:cubicBezTo>
                    <a:pt x="75393" y="113884"/>
                    <a:pt x="75711" y="113248"/>
                    <a:pt x="75074" y="112612"/>
                  </a:cubicBezTo>
                  <a:close/>
                  <a:moveTo>
                    <a:pt x="75074" y="20677"/>
                  </a:moveTo>
                  <a:cubicBezTo>
                    <a:pt x="74438" y="20677"/>
                    <a:pt x="74120" y="20677"/>
                    <a:pt x="74120" y="20677"/>
                  </a:cubicBezTo>
                  <a:cubicBezTo>
                    <a:pt x="74120" y="20677"/>
                    <a:pt x="74120" y="20677"/>
                    <a:pt x="74438" y="20677"/>
                  </a:cubicBezTo>
                  <a:lnTo>
                    <a:pt x="75074" y="20677"/>
                  </a:lnTo>
                  <a:close/>
                  <a:moveTo>
                    <a:pt x="79528" y="19405"/>
                  </a:moveTo>
                  <a:cubicBezTo>
                    <a:pt x="79528" y="19405"/>
                    <a:pt x="79528" y="19087"/>
                    <a:pt x="79846" y="19087"/>
                  </a:cubicBezTo>
                  <a:cubicBezTo>
                    <a:pt x="79846" y="19087"/>
                    <a:pt x="79528" y="18769"/>
                    <a:pt x="79210" y="18769"/>
                  </a:cubicBezTo>
                  <a:cubicBezTo>
                    <a:pt x="77937" y="19087"/>
                    <a:pt x="77301" y="19087"/>
                    <a:pt x="76347" y="19087"/>
                  </a:cubicBezTo>
                  <a:cubicBezTo>
                    <a:pt x="76347" y="19087"/>
                    <a:pt x="76347" y="19087"/>
                    <a:pt x="76347" y="19405"/>
                  </a:cubicBezTo>
                  <a:lnTo>
                    <a:pt x="76029" y="19723"/>
                  </a:lnTo>
                  <a:cubicBezTo>
                    <a:pt x="76029" y="19723"/>
                    <a:pt x="76029" y="19723"/>
                    <a:pt x="76665" y="19723"/>
                  </a:cubicBezTo>
                  <a:cubicBezTo>
                    <a:pt x="77301" y="19723"/>
                    <a:pt x="77937" y="19723"/>
                    <a:pt x="79528" y="19405"/>
                  </a:cubicBezTo>
                  <a:close/>
                  <a:moveTo>
                    <a:pt x="76665" y="2863"/>
                  </a:moveTo>
                  <a:lnTo>
                    <a:pt x="76665" y="3181"/>
                  </a:lnTo>
                  <a:lnTo>
                    <a:pt x="76347" y="3499"/>
                  </a:lnTo>
                  <a:cubicBezTo>
                    <a:pt x="76665" y="3181"/>
                    <a:pt x="76665" y="3181"/>
                    <a:pt x="76665" y="2863"/>
                  </a:cubicBezTo>
                  <a:close/>
                  <a:moveTo>
                    <a:pt x="76983" y="144423"/>
                  </a:moveTo>
                  <a:lnTo>
                    <a:pt x="76665" y="144423"/>
                  </a:lnTo>
                  <a:lnTo>
                    <a:pt x="76983" y="144423"/>
                  </a:lnTo>
                  <a:close/>
                  <a:moveTo>
                    <a:pt x="77619" y="150149"/>
                  </a:moveTo>
                  <a:cubicBezTo>
                    <a:pt x="77301" y="150149"/>
                    <a:pt x="77619" y="150149"/>
                    <a:pt x="77619" y="149831"/>
                  </a:cubicBezTo>
                  <a:cubicBezTo>
                    <a:pt x="77937" y="149831"/>
                    <a:pt x="78255" y="149831"/>
                    <a:pt x="78255" y="149831"/>
                  </a:cubicBezTo>
                  <a:cubicBezTo>
                    <a:pt x="78574" y="150149"/>
                    <a:pt x="78574" y="150149"/>
                    <a:pt x="78574" y="150467"/>
                  </a:cubicBezTo>
                  <a:cubicBezTo>
                    <a:pt x="78574" y="150467"/>
                    <a:pt x="78574" y="150467"/>
                    <a:pt x="78255" y="150785"/>
                  </a:cubicBezTo>
                  <a:cubicBezTo>
                    <a:pt x="77937" y="150467"/>
                    <a:pt x="77619" y="150467"/>
                    <a:pt x="77619" y="150149"/>
                  </a:cubicBezTo>
                  <a:close/>
                  <a:moveTo>
                    <a:pt x="79846" y="143787"/>
                  </a:moveTo>
                  <a:lnTo>
                    <a:pt x="79846" y="143468"/>
                  </a:lnTo>
                  <a:cubicBezTo>
                    <a:pt x="79846" y="143150"/>
                    <a:pt x="79528" y="143150"/>
                    <a:pt x="79210" y="143150"/>
                  </a:cubicBezTo>
                  <a:cubicBezTo>
                    <a:pt x="78574" y="143150"/>
                    <a:pt x="78255" y="143150"/>
                    <a:pt x="78255" y="143150"/>
                  </a:cubicBezTo>
                  <a:cubicBezTo>
                    <a:pt x="78255" y="143468"/>
                    <a:pt x="78255" y="143787"/>
                    <a:pt x="78255" y="144105"/>
                  </a:cubicBezTo>
                  <a:cubicBezTo>
                    <a:pt x="78255" y="144423"/>
                    <a:pt x="78255" y="144423"/>
                    <a:pt x="78255" y="144423"/>
                  </a:cubicBezTo>
                  <a:cubicBezTo>
                    <a:pt x="79210" y="144423"/>
                    <a:pt x="79528" y="143787"/>
                    <a:pt x="79846" y="143787"/>
                  </a:cubicBezTo>
                  <a:close/>
                  <a:moveTo>
                    <a:pt x="84300" y="21950"/>
                  </a:moveTo>
                  <a:cubicBezTo>
                    <a:pt x="84618" y="21950"/>
                    <a:pt x="84936" y="21950"/>
                    <a:pt x="84936" y="21950"/>
                  </a:cubicBezTo>
                  <a:cubicBezTo>
                    <a:pt x="84936" y="21950"/>
                    <a:pt x="84936" y="21632"/>
                    <a:pt x="85254" y="21313"/>
                  </a:cubicBezTo>
                  <a:cubicBezTo>
                    <a:pt x="85254" y="21313"/>
                    <a:pt x="85254" y="20995"/>
                    <a:pt x="84936" y="20995"/>
                  </a:cubicBezTo>
                  <a:cubicBezTo>
                    <a:pt x="84618" y="20995"/>
                    <a:pt x="84300" y="20995"/>
                    <a:pt x="84300" y="21313"/>
                  </a:cubicBezTo>
                  <a:cubicBezTo>
                    <a:pt x="83663" y="21950"/>
                    <a:pt x="82391" y="21950"/>
                    <a:pt x="81755" y="21950"/>
                  </a:cubicBezTo>
                  <a:lnTo>
                    <a:pt x="81437" y="21950"/>
                  </a:lnTo>
                  <a:lnTo>
                    <a:pt x="81755" y="22268"/>
                  </a:lnTo>
                  <a:cubicBezTo>
                    <a:pt x="82391" y="22586"/>
                    <a:pt x="83027" y="22586"/>
                    <a:pt x="83663" y="22904"/>
                  </a:cubicBezTo>
                  <a:cubicBezTo>
                    <a:pt x="83982" y="22904"/>
                    <a:pt x="83982" y="23222"/>
                    <a:pt x="84300" y="23540"/>
                  </a:cubicBezTo>
                  <a:cubicBezTo>
                    <a:pt x="84300" y="23540"/>
                    <a:pt x="84618" y="23540"/>
                    <a:pt x="84936" y="23540"/>
                  </a:cubicBezTo>
                  <a:cubicBezTo>
                    <a:pt x="84936" y="23222"/>
                    <a:pt x="84936" y="23222"/>
                    <a:pt x="84936" y="23222"/>
                  </a:cubicBezTo>
                  <a:cubicBezTo>
                    <a:pt x="84936" y="22904"/>
                    <a:pt x="84936" y="22904"/>
                    <a:pt x="84936" y="22904"/>
                  </a:cubicBezTo>
                  <a:cubicBezTo>
                    <a:pt x="84300" y="22904"/>
                    <a:pt x="83982" y="22904"/>
                    <a:pt x="83663" y="22904"/>
                  </a:cubicBezTo>
                  <a:cubicBezTo>
                    <a:pt x="83663" y="22586"/>
                    <a:pt x="83663" y="21950"/>
                    <a:pt x="84300" y="21950"/>
                  </a:cubicBezTo>
                  <a:close/>
                  <a:moveTo>
                    <a:pt x="82709" y="13043"/>
                  </a:moveTo>
                  <a:cubicBezTo>
                    <a:pt x="82709" y="13043"/>
                    <a:pt x="82073" y="13043"/>
                    <a:pt x="81755" y="13361"/>
                  </a:cubicBezTo>
                  <a:cubicBezTo>
                    <a:pt x="81755" y="13679"/>
                    <a:pt x="81755" y="13679"/>
                    <a:pt x="81755" y="13679"/>
                  </a:cubicBezTo>
                  <a:cubicBezTo>
                    <a:pt x="82391" y="13679"/>
                    <a:pt x="82709" y="13679"/>
                    <a:pt x="82709" y="13043"/>
                  </a:cubicBezTo>
                  <a:cubicBezTo>
                    <a:pt x="83027" y="13043"/>
                    <a:pt x="83027" y="13043"/>
                    <a:pt x="83027" y="13043"/>
                  </a:cubicBezTo>
                  <a:lnTo>
                    <a:pt x="82709" y="13043"/>
                  </a:lnTo>
                  <a:close/>
                  <a:moveTo>
                    <a:pt x="83027" y="148558"/>
                  </a:moveTo>
                  <a:lnTo>
                    <a:pt x="82391" y="148240"/>
                  </a:lnTo>
                  <a:cubicBezTo>
                    <a:pt x="82391" y="147922"/>
                    <a:pt x="82391" y="147604"/>
                    <a:pt x="82391" y="147604"/>
                  </a:cubicBezTo>
                  <a:cubicBezTo>
                    <a:pt x="82709" y="147604"/>
                    <a:pt x="82709" y="147286"/>
                    <a:pt x="83027" y="147286"/>
                  </a:cubicBezTo>
                  <a:cubicBezTo>
                    <a:pt x="83027" y="147286"/>
                    <a:pt x="83663" y="147286"/>
                    <a:pt x="83663" y="147604"/>
                  </a:cubicBezTo>
                  <a:cubicBezTo>
                    <a:pt x="83663" y="147604"/>
                    <a:pt x="83663" y="147604"/>
                    <a:pt x="83663" y="147922"/>
                  </a:cubicBezTo>
                  <a:lnTo>
                    <a:pt x="83027" y="148558"/>
                  </a:lnTo>
                  <a:close/>
                  <a:moveTo>
                    <a:pt x="82709" y="11770"/>
                  </a:moveTo>
                  <a:cubicBezTo>
                    <a:pt x="83027" y="11770"/>
                    <a:pt x="83027" y="11770"/>
                    <a:pt x="83027" y="11770"/>
                  </a:cubicBezTo>
                  <a:cubicBezTo>
                    <a:pt x="82709" y="11770"/>
                    <a:pt x="82709" y="11770"/>
                    <a:pt x="82709" y="11770"/>
                  </a:cubicBezTo>
                  <a:close/>
                  <a:moveTo>
                    <a:pt x="84618" y="11134"/>
                  </a:moveTo>
                  <a:cubicBezTo>
                    <a:pt x="84300" y="11452"/>
                    <a:pt x="84936" y="11770"/>
                    <a:pt x="84936" y="11770"/>
                  </a:cubicBezTo>
                  <a:cubicBezTo>
                    <a:pt x="84936" y="11770"/>
                    <a:pt x="85254" y="11452"/>
                    <a:pt x="85254" y="11134"/>
                  </a:cubicBezTo>
                  <a:cubicBezTo>
                    <a:pt x="85254" y="10816"/>
                    <a:pt x="84936" y="10816"/>
                    <a:pt x="85254" y="10498"/>
                  </a:cubicBezTo>
                  <a:cubicBezTo>
                    <a:pt x="84936" y="10816"/>
                    <a:pt x="84618" y="10816"/>
                    <a:pt x="84618" y="11134"/>
                  </a:cubicBezTo>
                  <a:close/>
                  <a:moveTo>
                    <a:pt x="86526" y="16224"/>
                  </a:moveTo>
                  <a:cubicBezTo>
                    <a:pt x="86208" y="16224"/>
                    <a:pt x="86208" y="16224"/>
                    <a:pt x="86526" y="16542"/>
                  </a:cubicBezTo>
                  <a:cubicBezTo>
                    <a:pt x="86526" y="16542"/>
                    <a:pt x="86526" y="16542"/>
                    <a:pt x="86526" y="16224"/>
                  </a:cubicBezTo>
                  <a:cubicBezTo>
                    <a:pt x="86844" y="16224"/>
                    <a:pt x="86844" y="16224"/>
                    <a:pt x="86844" y="16224"/>
                  </a:cubicBezTo>
                  <a:cubicBezTo>
                    <a:pt x="86526" y="16224"/>
                    <a:pt x="86526" y="16224"/>
                    <a:pt x="86526" y="16224"/>
                  </a:cubicBezTo>
                  <a:close/>
                  <a:moveTo>
                    <a:pt x="93843" y="20041"/>
                  </a:moveTo>
                  <a:cubicBezTo>
                    <a:pt x="94479" y="20041"/>
                    <a:pt x="94797" y="20041"/>
                    <a:pt x="95115" y="20041"/>
                  </a:cubicBezTo>
                  <a:cubicBezTo>
                    <a:pt x="96388" y="19723"/>
                    <a:pt x="97024" y="19723"/>
                    <a:pt x="97342" y="20359"/>
                  </a:cubicBezTo>
                  <a:cubicBezTo>
                    <a:pt x="98615" y="20995"/>
                    <a:pt x="98615" y="20995"/>
                    <a:pt x="99569" y="19405"/>
                  </a:cubicBezTo>
                  <a:cubicBezTo>
                    <a:pt x="99569" y="19087"/>
                    <a:pt x="99251" y="19087"/>
                    <a:pt x="98933" y="19087"/>
                  </a:cubicBezTo>
                  <a:cubicBezTo>
                    <a:pt x="98615" y="19087"/>
                    <a:pt x="98615" y="19087"/>
                    <a:pt x="97978" y="19087"/>
                  </a:cubicBezTo>
                  <a:cubicBezTo>
                    <a:pt x="96388" y="19405"/>
                    <a:pt x="94161" y="19405"/>
                    <a:pt x="92889" y="19087"/>
                  </a:cubicBezTo>
                  <a:cubicBezTo>
                    <a:pt x="92570" y="19087"/>
                    <a:pt x="92252" y="19087"/>
                    <a:pt x="91616" y="19405"/>
                  </a:cubicBezTo>
                  <a:cubicBezTo>
                    <a:pt x="90344" y="19723"/>
                    <a:pt x="90026" y="19723"/>
                    <a:pt x="89389" y="19723"/>
                  </a:cubicBezTo>
                  <a:cubicBezTo>
                    <a:pt x="88753" y="19723"/>
                    <a:pt x="88117" y="20041"/>
                    <a:pt x="87163" y="20677"/>
                  </a:cubicBezTo>
                  <a:lnTo>
                    <a:pt x="87799" y="20677"/>
                  </a:lnTo>
                  <a:cubicBezTo>
                    <a:pt x="88117" y="20677"/>
                    <a:pt x="88435" y="20995"/>
                    <a:pt x="88435" y="20677"/>
                  </a:cubicBezTo>
                  <a:cubicBezTo>
                    <a:pt x="89708" y="20677"/>
                    <a:pt x="91298" y="20677"/>
                    <a:pt x="92889" y="20677"/>
                  </a:cubicBezTo>
                  <a:lnTo>
                    <a:pt x="93207" y="20677"/>
                  </a:lnTo>
                  <a:lnTo>
                    <a:pt x="93525" y="20677"/>
                  </a:lnTo>
                  <a:cubicBezTo>
                    <a:pt x="93525" y="20995"/>
                    <a:pt x="93843" y="20995"/>
                    <a:pt x="93843" y="20995"/>
                  </a:cubicBezTo>
                  <a:cubicBezTo>
                    <a:pt x="93525" y="20677"/>
                    <a:pt x="93207" y="20677"/>
                    <a:pt x="93207" y="20677"/>
                  </a:cubicBezTo>
                  <a:cubicBezTo>
                    <a:pt x="93525" y="20359"/>
                    <a:pt x="93843" y="20359"/>
                    <a:pt x="93843" y="20041"/>
                  </a:cubicBezTo>
                  <a:close/>
                  <a:moveTo>
                    <a:pt x="92889" y="2863"/>
                  </a:moveTo>
                  <a:lnTo>
                    <a:pt x="92889" y="2545"/>
                  </a:lnTo>
                  <a:cubicBezTo>
                    <a:pt x="92889" y="2545"/>
                    <a:pt x="92570" y="2545"/>
                    <a:pt x="92252" y="2545"/>
                  </a:cubicBezTo>
                  <a:lnTo>
                    <a:pt x="91616" y="2863"/>
                  </a:lnTo>
                  <a:cubicBezTo>
                    <a:pt x="92252" y="2863"/>
                    <a:pt x="92252" y="2863"/>
                    <a:pt x="92570" y="2863"/>
                  </a:cubicBezTo>
                  <a:lnTo>
                    <a:pt x="92889" y="2863"/>
                  </a:lnTo>
                  <a:close/>
                  <a:moveTo>
                    <a:pt x="93207" y="139969"/>
                  </a:moveTo>
                  <a:cubicBezTo>
                    <a:pt x="93207" y="140287"/>
                    <a:pt x="93207" y="140287"/>
                    <a:pt x="93207" y="140287"/>
                  </a:cubicBezTo>
                  <a:cubicBezTo>
                    <a:pt x="92889" y="140287"/>
                    <a:pt x="92570" y="140287"/>
                    <a:pt x="92252" y="140287"/>
                  </a:cubicBezTo>
                  <a:cubicBezTo>
                    <a:pt x="92252" y="140287"/>
                    <a:pt x="91616" y="140287"/>
                    <a:pt x="91616" y="140605"/>
                  </a:cubicBezTo>
                  <a:lnTo>
                    <a:pt x="92252" y="140924"/>
                  </a:lnTo>
                  <a:lnTo>
                    <a:pt x="92889" y="140924"/>
                  </a:lnTo>
                  <a:cubicBezTo>
                    <a:pt x="93207" y="140605"/>
                    <a:pt x="93207" y="140605"/>
                    <a:pt x="93207" y="140287"/>
                  </a:cubicBezTo>
                  <a:lnTo>
                    <a:pt x="93207" y="139969"/>
                  </a:lnTo>
                  <a:close/>
                  <a:moveTo>
                    <a:pt x="93207" y="16224"/>
                  </a:moveTo>
                  <a:cubicBezTo>
                    <a:pt x="93207" y="16224"/>
                    <a:pt x="93207" y="16224"/>
                    <a:pt x="93207" y="15906"/>
                  </a:cubicBezTo>
                  <a:cubicBezTo>
                    <a:pt x="92889" y="15906"/>
                    <a:pt x="92889" y="16224"/>
                    <a:pt x="92889" y="16224"/>
                  </a:cubicBezTo>
                  <a:lnTo>
                    <a:pt x="93207" y="16224"/>
                  </a:lnTo>
                  <a:close/>
                  <a:moveTo>
                    <a:pt x="94161" y="9225"/>
                  </a:moveTo>
                  <a:cubicBezTo>
                    <a:pt x="94161" y="9225"/>
                    <a:pt x="94479" y="8907"/>
                    <a:pt x="94161" y="9225"/>
                  </a:cubicBezTo>
                  <a:cubicBezTo>
                    <a:pt x="94161" y="9225"/>
                    <a:pt x="94161" y="9225"/>
                    <a:pt x="93843" y="9225"/>
                  </a:cubicBezTo>
                  <a:cubicBezTo>
                    <a:pt x="94161" y="9225"/>
                    <a:pt x="94161" y="9543"/>
                    <a:pt x="94161" y="9543"/>
                  </a:cubicBezTo>
                  <a:cubicBezTo>
                    <a:pt x="94161" y="9225"/>
                    <a:pt x="94161" y="9225"/>
                    <a:pt x="94161" y="9225"/>
                  </a:cubicBezTo>
                  <a:close/>
                  <a:moveTo>
                    <a:pt x="101160" y="13997"/>
                  </a:moveTo>
                  <a:lnTo>
                    <a:pt x="101478" y="13997"/>
                  </a:lnTo>
                  <a:lnTo>
                    <a:pt x="101160" y="14315"/>
                  </a:lnTo>
                  <a:cubicBezTo>
                    <a:pt x="100841" y="14315"/>
                    <a:pt x="100205" y="14315"/>
                    <a:pt x="99887" y="14315"/>
                  </a:cubicBezTo>
                  <a:cubicBezTo>
                    <a:pt x="100841" y="13997"/>
                    <a:pt x="101160" y="13997"/>
                    <a:pt x="101160" y="13997"/>
                  </a:cubicBezTo>
                  <a:close/>
                  <a:moveTo>
                    <a:pt x="100205" y="110067"/>
                  </a:moveTo>
                  <a:cubicBezTo>
                    <a:pt x="100841" y="110385"/>
                    <a:pt x="101160" y="110067"/>
                    <a:pt x="101160" y="110067"/>
                  </a:cubicBezTo>
                  <a:cubicBezTo>
                    <a:pt x="101160" y="109430"/>
                    <a:pt x="100205" y="108794"/>
                    <a:pt x="99887" y="108794"/>
                  </a:cubicBezTo>
                  <a:cubicBezTo>
                    <a:pt x="99887" y="109749"/>
                    <a:pt x="99887" y="110067"/>
                    <a:pt x="100205" y="110067"/>
                  </a:cubicBezTo>
                  <a:close/>
                  <a:moveTo>
                    <a:pt x="111021" y="24495"/>
                  </a:moveTo>
                  <a:lnTo>
                    <a:pt x="111021" y="24177"/>
                  </a:lnTo>
                  <a:cubicBezTo>
                    <a:pt x="111021" y="24177"/>
                    <a:pt x="111021" y="24177"/>
                    <a:pt x="111339" y="24177"/>
                  </a:cubicBezTo>
                  <a:cubicBezTo>
                    <a:pt x="111339" y="24177"/>
                    <a:pt x="111657" y="24177"/>
                    <a:pt x="111975" y="24495"/>
                  </a:cubicBezTo>
                  <a:cubicBezTo>
                    <a:pt x="111657" y="24495"/>
                    <a:pt x="111657" y="24495"/>
                    <a:pt x="111339" y="24813"/>
                  </a:cubicBezTo>
                  <a:cubicBezTo>
                    <a:pt x="111339" y="24813"/>
                    <a:pt x="111021" y="24813"/>
                    <a:pt x="111021" y="24495"/>
                  </a:cubicBezTo>
                  <a:close/>
                </a:path>
              </a:pathLst>
            </a:custGeom>
            <a:solidFill>
              <a:srgbClr val="000000"/>
            </a:solidFill>
            <a:ln w="63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717023CA-BF36-4E45-92D7-38A357564A27}"/>
                </a:ext>
              </a:extLst>
            </p:cNvPr>
            <p:cNvSpPr/>
            <p:nvPr/>
          </p:nvSpPr>
          <p:spPr>
            <a:xfrm>
              <a:off x="2902775" y="3451489"/>
              <a:ext cx="203592" cy="279938"/>
            </a:xfrm>
            <a:custGeom>
              <a:avLst/>
              <a:gdLst>
                <a:gd name="connsiteX0" fmla="*/ 41355 w 203591"/>
                <a:gd name="connsiteY0" fmla="*/ 64577 h 279938"/>
                <a:gd name="connsiteX1" fmla="*/ 41036 w 203591"/>
                <a:gd name="connsiteY1" fmla="*/ 64259 h 279938"/>
                <a:gd name="connsiteX2" fmla="*/ 41036 w 203591"/>
                <a:gd name="connsiteY2" fmla="*/ 63940 h 279938"/>
                <a:gd name="connsiteX3" fmla="*/ 42945 w 203591"/>
                <a:gd name="connsiteY3" fmla="*/ 62668 h 279938"/>
                <a:gd name="connsiteX4" fmla="*/ 43581 w 203591"/>
                <a:gd name="connsiteY4" fmla="*/ 62668 h 279938"/>
                <a:gd name="connsiteX5" fmla="*/ 45808 w 203591"/>
                <a:gd name="connsiteY5" fmla="*/ 62350 h 279938"/>
                <a:gd name="connsiteX6" fmla="*/ 47081 w 203591"/>
                <a:gd name="connsiteY6" fmla="*/ 61714 h 279938"/>
                <a:gd name="connsiteX7" fmla="*/ 48671 w 203591"/>
                <a:gd name="connsiteY7" fmla="*/ 61077 h 279938"/>
                <a:gd name="connsiteX8" fmla="*/ 50580 w 203591"/>
                <a:gd name="connsiteY8" fmla="*/ 60123 h 279938"/>
                <a:gd name="connsiteX9" fmla="*/ 51852 w 203591"/>
                <a:gd name="connsiteY9" fmla="*/ 60123 h 279938"/>
                <a:gd name="connsiteX10" fmla="*/ 56306 w 203591"/>
                <a:gd name="connsiteY10" fmla="*/ 59169 h 279938"/>
                <a:gd name="connsiteX11" fmla="*/ 57260 w 203591"/>
                <a:gd name="connsiteY11" fmla="*/ 59169 h 279938"/>
                <a:gd name="connsiteX12" fmla="*/ 57896 w 203591"/>
                <a:gd name="connsiteY12" fmla="*/ 59805 h 279938"/>
                <a:gd name="connsiteX13" fmla="*/ 56306 w 203591"/>
                <a:gd name="connsiteY13" fmla="*/ 61714 h 279938"/>
                <a:gd name="connsiteX14" fmla="*/ 55352 w 203591"/>
                <a:gd name="connsiteY14" fmla="*/ 62032 h 279938"/>
                <a:gd name="connsiteX15" fmla="*/ 55033 w 203591"/>
                <a:gd name="connsiteY15" fmla="*/ 62350 h 279938"/>
                <a:gd name="connsiteX16" fmla="*/ 55033 w 203591"/>
                <a:gd name="connsiteY16" fmla="*/ 62668 h 279938"/>
                <a:gd name="connsiteX17" fmla="*/ 55670 w 203591"/>
                <a:gd name="connsiteY17" fmla="*/ 63304 h 279938"/>
                <a:gd name="connsiteX18" fmla="*/ 56306 w 203591"/>
                <a:gd name="connsiteY18" fmla="*/ 63622 h 279938"/>
                <a:gd name="connsiteX19" fmla="*/ 56942 w 203591"/>
                <a:gd name="connsiteY19" fmla="*/ 63622 h 279938"/>
                <a:gd name="connsiteX20" fmla="*/ 57578 w 203591"/>
                <a:gd name="connsiteY20" fmla="*/ 64259 h 279938"/>
                <a:gd name="connsiteX21" fmla="*/ 58215 w 203591"/>
                <a:gd name="connsiteY21" fmla="*/ 64259 h 279938"/>
                <a:gd name="connsiteX22" fmla="*/ 59487 w 203591"/>
                <a:gd name="connsiteY22" fmla="*/ 62668 h 279938"/>
                <a:gd name="connsiteX23" fmla="*/ 61714 w 203591"/>
                <a:gd name="connsiteY23" fmla="*/ 61077 h 279938"/>
                <a:gd name="connsiteX24" fmla="*/ 62350 w 203591"/>
                <a:gd name="connsiteY24" fmla="*/ 59169 h 279938"/>
                <a:gd name="connsiteX25" fmla="*/ 64259 w 203591"/>
                <a:gd name="connsiteY25" fmla="*/ 57896 h 279938"/>
                <a:gd name="connsiteX26" fmla="*/ 64895 w 203591"/>
                <a:gd name="connsiteY26" fmla="*/ 57896 h 279938"/>
                <a:gd name="connsiteX27" fmla="*/ 66485 w 203591"/>
                <a:gd name="connsiteY27" fmla="*/ 57578 h 279938"/>
                <a:gd name="connsiteX28" fmla="*/ 68076 w 203591"/>
                <a:gd name="connsiteY28" fmla="*/ 56942 h 279938"/>
                <a:gd name="connsiteX29" fmla="*/ 69030 w 203591"/>
                <a:gd name="connsiteY29" fmla="*/ 57578 h 279938"/>
                <a:gd name="connsiteX30" fmla="*/ 69349 w 203591"/>
                <a:gd name="connsiteY30" fmla="*/ 58214 h 279938"/>
                <a:gd name="connsiteX31" fmla="*/ 70621 w 203591"/>
                <a:gd name="connsiteY31" fmla="*/ 57896 h 279938"/>
                <a:gd name="connsiteX32" fmla="*/ 70939 w 203591"/>
                <a:gd name="connsiteY32" fmla="*/ 57896 h 279938"/>
                <a:gd name="connsiteX33" fmla="*/ 71257 w 203591"/>
                <a:gd name="connsiteY33" fmla="*/ 57578 h 279938"/>
                <a:gd name="connsiteX34" fmla="*/ 74438 w 203591"/>
                <a:gd name="connsiteY34" fmla="*/ 55351 h 279938"/>
                <a:gd name="connsiteX35" fmla="*/ 77619 w 203591"/>
                <a:gd name="connsiteY35" fmla="*/ 55351 h 279938"/>
                <a:gd name="connsiteX36" fmla="*/ 77937 w 203591"/>
                <a:gd name="connsiteY36" fmla="*/ 55670 h 279938"/>
                <a:gd name="connsiteX37" fmla="*/ 77937 w 203591"/>
                <a:gd name="connsiteY37" fmla="*/ 55988 h 279938"/>
                <a:gd name="connsiteX38" fmla="*/ 76983 w 203591"/>
                <a:gd name="connsiteY38" fmla="*/ 57260 h 279938"/>
                <a:gd name="connsiteX39" fmla="*/ 76983 w 203591"/>
                <a:gd name="connsiteY39" fmla="*/ 57578 h 279938"/>
                <a:gd name="connsiteX40" fmla="*/ 77937 w 203591"/>
                <a:gd name="connsiteY40" fmla="*/ 57578 h 279938"/>
                <a:gd name="connsiteX41" fmla="*/ 79846 w 203591"/>
                <a:gd name="connsiteY41" fmla="*/ 56942 h 279938"/>
                <a:gd name="connsiteX42" fmla="*/ 81119 w 203591"/>
                <a:gd name="connsiteY42" fmla="*/ 55988 h 279938"/>
                <a:gd name="connsiteX43" fmla="*/ 80164 w 203591"/>
                <a:gd name="connsiteY43" fmla="*/ 57260 h 279938"/>
                <a:gd name="connsiteX44" fmla="*/ 78256 w 203591"/>
                <a:gd name="connsiteY44" fmla="*/ 58533 h 279938"/>
                <a:gd name="connsiteX45" fmla="*/ 77619 w 203591"/>
                <a:gd name="connsiteY45" fmla="*/ 58533 h 279938"/>
                <a:gd name="connsiteX46" fmla="*/ 76983 w 203591"/>
                <a:gd name="connsiteY46" fmla="*/ 59169 h 279938"/>
                <a:gd name="connsiteX47" fmla="*/ 76983 w 203591"/>
                <a:gd name="connsiteY47" fmla="*/ 59805 h 279938"/>
                <a:gd name="connsiteX48" fmla="*/ 80164 w 203591"/>
                <a:gd name="connsiteY48" fmla="*/ 59169 h 279938"/>
                <a:gd name="connsiteX49" fmla="*/ 80800 w 203591"/>
                <a:gd name="connsiteY49" fmla="*/ 59169 h 279938"/>
                <a:gd name="connsiteX50" fmla="*/ 82391 w 203591"/>
                <a:gd name="connsiteY50" fmla="*/ 58533 h 279938"/>
                <a:gd name="connsiteX51" fmla="*/ 83027 w 203591"/>
                <a:gd name="connsiteY51" fmla="*/ 58214 h 279938"/>
                <a:gd name="connsiteX52" fmla="*/ 82391 w 203591"/>
                <a:gd name="connsiteY52" fmla="*/ 57896 h 279938"/>
                <a:gd name="connsiteX53" fmla="*/ 82073 w 203591"/>
                <a:gd name="connsiteY53" fmla="*/ 57578 h 279938"/>
                <a:gd name="connsiteX54" fmla="*/ 81755 w 203591"/>
                <a:gd name="connsiteY54" fmla="*/ 56942 h 279938"/>
                <a:gd name="connsiteX55" fmla="*/ 82391 w 203591"/>
                <a:gd name="connsiteY55" fmla="*/ 55988 h 279938"/>
                <a:gd name="connsiteX56" fmla="*/ 83345 w 203591"/>
                <a:gd name="connsiteY56" fmla="*/ 55351 h 279938"/>
                <a:gd name="connsiteX57" fmla="*/ 83982 w 203591"/>
                <a:gd name="connsiteY57" fmla="*/ 54079 h 279938"/>
                <a:gd name="connsiteX58" fmla="*/ 87481 w 203591"/>
                <a:gd name="connsiteY58" fmla="*/ 41355 h 279938"/>
                <a:gd name="connsiteX59" fmla="*/ 87799 w 203591"/>
                <a:gd name="connsiteY59" fmla="*/ 35947 h 279938"/>
                <a:gd name="connsiteX60" fmla="*/ 90026 w 203591"/>
                <a:gd name="connsiteY60" fmla="*/ 34356 h 279938"/>
                <a:gd name="connsiteX61" fmla="*/ 90662 w 203591"/>
                <a:gd name="connsiteY61" fmla="*/ 33720 h 279938"/>
                <a:gd name="connsiteX62" fmla="*/ 90344 w 203591"/>
                <a:gd name="connsiteY62" fmla="*/ 33402 h 279938"/>
                <a:gd name="connsiteX63" fmla="*/ 90662 w 203591"/>
                <a:gd name="connsiteY63" fmla="*/ 32447 h 279938"/>
                <a:gd name="connsiteX64" fmla="*/ 89390 w 203591"/>
                <a:gd name="connsiteY64" fmla="*/ 31811 h 279938"/>
                <a:gd name="connsiteX65" fmla="*/ 89071 w 203591"/>
                <a:gd name="connsiteY65" fmla="*/ 30221 h 279938"/>
                <a:gd name="connsiteX66" fmla="*/ 89071 w 203591"/>
                <a:gd name="connsiteY66" fmla="*/ 29584 h 279938"/>
                <a:gd name="connsiteX67" fmla="*/ 90026 w 203591"/>
                <a:gd name="connsiteY67" fmla="*/ 28630 h 279938"/>
                <a:gd name="connsiteX68" fmla="*/ 90344 w 203591"/>
                <a:gd name="connsiteY68" fmla="*/ 27676 h 279938"/>
                <a:gd name="connsiteX69" fmla="*/ 90344 w 203591"/>
                <a:gd name="connsiteY69" fmla="*/ 27040 h 279938"/>
                <a:gd name="connsiteX70" fmla="*/ 90980 w 203591"/>
                <a:gd name="connsiteY70" fmla="*/ 25449 h 279938"/>
                <a:gd name="connsiteX71" fmla="*/ 91934 w 203591"/>
                <a:gd name="connsiteY71" fmla="*/ 23858 h 279938"/>
                <a:gd name="connsiteX72" fmla="*/ 91934 w 203591"/>
                <a:gd name="connsiteY72" fmla="*/ 23540 h 279938"/>
                <a:gd name="connsiteX73" fmla="*/ 92571 w 203591"/>
                <a:gd name="connsiteY73" fmla="*/ 21950 h 279938"/>
                <a:gd name="connsiteX74" fmla="*/ 92889 w 203591"/>
                <a:gd name="connsiteY74" fmla="*/ 21632 h 279938"/>
                <a:gd name="connsiteX75" fmla="*/ 92889 w 203591"/>
                <a:gd name="connsiteY75" fmla="*/ 21313 h 279938"/>
                <a:gd name="connsiteX76" fmla="*/ 92571 w 203591"/>
                <a:gd name="connsiteY76" fmla="*/ 20995 h 279938"/>
                <a:gd name="connsiteX77" fmla="*/ 92571 w 203591"/>
                <a:gd name="connsiteY77" fmla="*/ 19405 h 279938"/>
                <a:gd name="connsiteX78" fmla="*/ 92889 w 203591"/>
                <a:gd name="connsiteY78" fmla="*/ 18769 h 279938"/>
                <a:gd name="connsiteX79" fmla="*/ 94479 w 203591"/>
                <a:gd name="connsiteY79" fmla="*/ 17496 h 279938"/>
                <a:gd name="connsiteX80" fmla="*/ 94161 w 203591"/>
                <a:gd name="connsiteY80" fmla="*/ 17178 h 279938"/>
                <a:gd name="connsiteX81" fmla="*/ 95115 w 203591"/>
                <a:gd name="connsiteY81" fmla="*/ 15269 h 279938"/>
                <a:gd name="connsiteX82" fmla="*/ 94797 w 203591"/>
                <a:gd name="connsiteY82" fmla="*/ 14951 h 279938"/>
                <a:gd name="connsiteX83" fmla="*/ 96070 w 203591"/>
                <a:gd name="connsiteY83" fmla="*/ 14315 h 279938"/>
                <a:gd name="connsiteX84" fmla="*/ 97342 w 203591"/>
                <a:gd name="connsiteY84" fmla="*/ 13361 h 279938"/>
                <a:gd name="connsiteX85" fmla="*/ 97342 w 203591"/>
                <a:gd name="connsiteY85" fmla="*/ 11770 h 279938"/>
                <a:gd name="connsiteX86" fmla="*/ 99251 w 203591"/>
                <a:gd name="connsiteY86" fmla="*/ 10180 h 279938"/>
                <a:gd name="connsiteX87" fmla="*/ 100205 w 203591"/>
                <a:gd name="connsiteY87" fmla="*/ 7317 h 279938"/>
                <a:gd name="connsiteX88" fmla="*/ 100841 w 203591"/>
                <a:gd name="connsiteY88" fmla="*/ 6998 h 279938"/>
                <a:gd name="connsiteX89" fmla="*/ 101160 w 203591"/>
                <a:gd name="connsiteY89" fmla="*/ 6044 h 279938"/>
                <a:gd name="connsiteX90" fmla="*/ 102114 w 203591"/>
                <a:gd name="connsiteY90" fmla="*/ 4454 h 279938"/>
                <a:gd name="connsiteX91" fmla="*/ 103705 w 203591"/>
                <a:gd name="connsiteY91" fmla="*/ 3181 h 279938"/>
                <a:gd name="connsiteX92" fmla="*/ 103386 w 203591"/>
                <a:gd name="connsiteY92" fmla="*/ 2545 h 279938"/>
                <a:gd name="connsiteX93" fmla="*/ 104659 w 203591"/>
                <a:gd name="connsiteY93" fmla="*/ 1909 h 279938"/>
                <a:gd name="connsiteX94" fmla="*/ 105295 w 203591"/>
                <a:gd name="connsiteY94" fmla="*/ 1591 h 279938"/>
                <a:gd name="connsiteX95" fmla="*/ 105931 w 203591"/>
                <a:gd name="connsiteY95" fmla="*/ 1272 h 279938"/>
                <a:gd name="connsiteX96" fmla="*/ 106249 w 203591"/>
                <a:gd name="connsiteY96" fmla="*/ 1272 h 279938"/>
                <a:gd name="connsiteX97" fmla="*/ 106567 w 203591"/>
                <a:gd name="connsiteY97" fmla="*/ 1591 h 279938"/>
                <a:gd name="connsiteX98" fmla="*/ 107204 w 203591"/>
                <a:gd name="connsiteY98" fmla="*/ 1272 h 279938"/>
                <a:gd name="connsiteX99" fmla="*/ 108794 w 203591"/>
                <a:gd name="connsiteY99" fmla="*/ 318 h 279938"/>
                <a:gd name="connsiteX100" fmla="*/ 109749 w 203591"/>
                <a:gd name="connsiteY100" fmla="*/ 0 h 279938"/>
                <a:gd name="connsiteX101" fmla="*/ 111021 w 203591"/>
                <a:gd name="connsiteY101" fmla="*/ 636 h 279938"/>
                <a:gd name="connsiteX102" fmla="*/ 111339 w 203591"/>
                <a:gd name="connsiteY102" fmla="*/ 954 h 279938"/>
                <a:gd name="connsiteX103" fmla="*/ 111021 w 203591"/>
                <a:gd name="connsiteY103" fmla="*/ 3181 h 279938"/>
                <a:gd name="connsiteX104" fmla="*/ 111657 w 203591"/>
                <a:gd name="connsiteY104" fmla="*/ 3499 h 279938"/>
                <a:gd name="connsiteX105" fmla="*/ 112294 w 203591"/>
                <a:gd name="connsiteY105" fmla="*/ 3499 h 279938"/>
                <a:gd name="connsiteX106" fmla="*/ 113248 w 203591"/>
                <a:gd name="connsiteY106" fmla="*/ 1909 h 279938"/>
                <a:gd name="connsiteX107" fmla="*/ 113566 w 203591"/>
                <a:gd name="connsiteY107" fmla="*/ 1909 h 279938"/>
                <a:gd name="connsiteX108" fmla="*/ 113884 w 203591"/>
                <a:gd name="connsiteY108" fmla="*/ 2545 h 279938"/>
                <a:gd name="connsiteX109" fmla="*/ 114520 w 203591"/>
                <a:gd name="connsiteY109" fmla="*/ 3181 h 279938"/>
                <a:gd name="connsiteX110" fmla="*/ 115156 w 203591"/>
                <a:gd name="connsiteY110" fmla="*/ 3499 h 279938"/>
                <a:gd name="connsiteX111" fmla="*/ 117701 w 203591"/>
                <a:gd name="connsiteY111" fmla="*/ 3499 h 279938"/>
                <a:gd name="connsiteX112" fmla="*/ 117383 w 203591"/>
                <a:gd name="connsiteY112" fmla="*/ 4135 h 279938"/>
                <a:gd name="connsiteX113" fmla="*/ 117383 w 203591"/>
                <a:gd name="connsiteY113" fmla="*/ 4772 h 279938"/>
                <a:gd name="connsiteX114" fmla="*/ 118656 w 203591"/>
                <a:gd name="connsiteY114" fmla="*/ 4772 h 279938"/>
                <a:gd name="connsiteX115" fmla="*/ 118974 w 203591"/>
                <a:gd name="connsiteY115" fmla="*/ 4454 h 279938"/>
                <a:gd name="connsiteX116" fmla="*/ 120246 w 203591"/>
                <a:gd name="connsiteY116" fmla="*/ 4135 h 279938"/>
                <a:gd name="connsiteX117" fmla="*/ 120882 w 203591"/>
                <a:gd name="connsiteY117" fmla="*/ 4454 h 279938"/>
                <a:gd name="connsiteX118" fmla="*/ 122791 w 203591"/>
                <a:gd name="connsiteY118" fmla="*/ 4772 h 279938"/>
                <a:gd name="connsiteX119" fmla="*/ 124064 w 203591"/>
                <a:gd name="connsiteY119" fmla="*/ 5726 h 279938"/>
                <a:gd name="connsiteX120" fmla="*/ 123746 w 203591"/>
                <a:gd name="connsiteY120" fmla="*/ 7953 h 279938"/>
                <a:gd name="connsiteX121" fmla="*/ 124382 w 203591"/>
                <a:gd name="connsiteY121" fmla="*/ 8907 h 279938"/>
                <a:gd name="connsiteX122" fmla="*/ 124700 w 203591"/>
                <a:gd name="connsiteY122" fmla="*/ 9543 h 279938"/>
                <a:gd name="connsiteX123" fmla="*/ 123746 w 203591"/>
                <a:gd name="connsiteY123" fmla="*/ 11134 h 279938"/>
                <a:gd name="connsiteX124" fmla="*/ 123428 w 203591"/>
                <a:gd name="connsiteY124" fmla="*/ 12088 h 279938"/>
                <a:gd name="connsiteX125" fmla="*/ 122155 w 203591"/>
                <a:gd name="connsiteY125" fmla="*/ 13361 h 279938"/>
                <a:gd name="connsiteX126" fmla="*/ 121837 w 203591"/>
                <a:gd name="connsiteY126" fmla="*/ 13997 h 279938"/>
                <a:gd name="connsiteX127" fmla="*/ 121519 w 203591"/>
                <a:gd name="connsiteY127" fmla="*/ 14951 h 279938"/>
                <a:gd name="connsiteX128" fmla="*/ 121201 w 203591"/>
                <a:gd name="connsiteY128" fmla="*/ 15269 h 279938"/>
                <a:gd name="connsiteX129" fmla="*/ 120882 w 203591"/>
                <a:gd name="connsiteY129" fmla="*/ 15587 h 279938"/>
                <a:gd name="connsiteX130" fmla="*/ 120882 w 203591"/>
                <a:gd name="connsiteY130" fmla="*/ 17178 h 279938"/>
                <a:gd name="connsiteX131" fmla="*/ 119928 w 203591"/>
                <a:gd name="connsiteY131" fmla="*/ 18769 h 279938"/>
                <a:gd name="connsiteX132" fmla="*/ 119928 w 203591"/>
                <a:gd name="connsiteY132" fmla="*/ 19087 h 279938"/>
                <a:gd name="connsiteX133" fmla="*/ 118974 w 203591"/>
                <a:gd name="connsiteY133" fmla="*/ 21313 h 279938"/>
                <a:gd name="connsiteX134" fmla="*/ 118656 w 203591"/>
                <a:gd name="connsiteY134" fmla="*/ 22586 h 279938"/>
                <a:gd name="connsiteX135" fmla="*/ 118656 w 203591"/>
                <a:gd name="connsiteY135" fmla="*/ 22904 h 279938"/>
                <a:gd name="connsiteX136" fmla="*/ 117701 w 203591"/>
                <a:gd name="connsiteY136" fmla="*/ 24176 h 279938"/>
                <a:gd name="connsiteX137" fmla="*/ 118020 w 203591"/>
                <a:gd name="connsiteY137" fmla="*/ 24495 h 279938"/>
                <a:gd name="connsiteX138" fmla="*/ 118020 w 203591"/>
                <a:gd name="connsiteY138" fmla="*/ 25131 h 279938"/>
                <a:gd name="connsiteX139" fmla="*/ 116429 w 203591"/>
                <a:gd name="connsiteY139" fmla="*/ 27040 h 279938"/>
                <a:gd name="connsiteX140" fmla="*/ 116747 w 203591"/>
                <a:gd name="connsiteY140" fmla="*/ 27358 h 279938"/>
                <a:gd name="connsiteX141" fmla="*/ 116747 w 203591"/>
                <a:gd name="connsiteY141" fmla="*/ 27676 h 279938"/>
                <a:gd name="connsiteX142" fmla="*/ 116429 w 203591"/>
                <a:gd name="connsiteY142" fmla="*/ 28312 h 279938"/>
                <a:gd name="connsiteX143" fmla="*/ 116429 w 203591"/>
                <a:gd name="connsiteY143" fmla="*/ 28630 h 279938"/>
                <a:gd name="connsiteX144" fmla="*/ 115475 w 203591"/>
                <a:gd name="connsiteY144" fmla="*/ 29584 h 279938"/>
                <a:gd name="connsiteX145" fmla="*/ 115475 w 203591"/>
                <a:gd name="connsiteY145" fmla="*/ 29903 h 279938"/>
                <a:gd name="connsiteX146" fmla="*/ 114838 w 203591"/>
                <a:gd name="connsiteY146" fmla="*/ 30857 h 279938"/>
                <a:gd name="connsiteX147" fmla="*/ 114202 w 203591"/>
                <a:gd name="connsiteY147" fmla="*/ 32447 h 279938"/>
                <a:gd name="connsiteX148" fmla="*/ 113884 w 203591"/>
                <a:gd name="connsiteY148" fmla="*/ 32766 h 279938"/>
                <a:gd name="connsiteX149" fmla="*/ 113884 w 203591"/>
                <a:gd name="connsiteY149" fmla="*/ 33402 h 279938"/>
                <a:gd name="connsiteX150" fmla="*/ 114202 w 203591"/>
                <a:gd name="connsiteY150" fmla="*/ 33720 h 279938"/>
                <a:gd name="connsiteX151" fmla="*/ 113248 w 203591"/>
                <a:gd name="connsiteY151" fmla="*/ 35629 h 279938"/>
                <a:gd name="connsiteX152" fmla="*/ 111657 w 203591"/>
                <a:gd name="connsiteY152" fmla="*/ 50898 h 279938"/>
                <a:gd name="connsiteX153" fmla="*/ 112612 w 203591"/>
                <a:gd name="connsiteY153" fmla="*/ 50262 h 279938"/>
                <a:gd name="connsiteX154" fmla="*/ 113248 w 203591"/>
                <a:gd name="connsiteY154" fmla="*/ 49944 h 279938"/>
                <a:gd name="connsiteX155" fmla="*/ 114520 w 203591"/>
                <a:gd name="connsiteY155" fmla="*/ 51216 h 279938"/>
                <a:gd name="connsiteX156" fmla="*/ 116111 w 203591"/>
                <a:gd name="connsiteY156" fmla="*/ 52488 h 279938"/>
                <a:gd name="connsiteX157" fmla="*/ 119292 w 203591"/>
                <a:gd name="connsiteY157" fmla="*/ 50898 h 279938"/>
                <a:gd name="connsiteX158" fmla="*/ 116111 w 203591"/>
                <a:gd name="connsiteY158" fmla="*/ 51534 h 279938"/>
                <a:gd name="connsiteX159" fmla="*/ 115475 w 203591"/>
                <a:gd name="connsiteY159" fmla="*/ 51216 h 279938"/>
                <a:gd name="connsiteX160" fmla="*/ 115475 w 203591"/>
                <a:gd name="connsiteY160" fmla="*/ 50898 h 279938"/>
                <a:gd name="connsiteX161" fmla="*/ 118338 w 203591"/>
                <a:gd name="connsiteY161" fmla="*/ 49944 h 279938"/>
                <a:gd name="connsiteX162" fmla="*/ 118974 w 203591"/>
                <a:gd name="connsiteY162" fmla="*/ 49625 h 279938"/>
                <a:gd name="connsiteX163" fmla="*/ 119610 w 203591"/>
                <a:gd name="connsiteY163" fmla="*/ 50262 h 279938"/>
                <a:gd name="connsiteX164" fmla="*/ 119292 w 203591"/>
                <a:gd name="connsiteY164" fmla="*/ 50898 h 279938"/>
                <a:gd name="connsiteX165" fmla="*/ 119928 w 203591"/>
                <a:gd name="connsiteY165" fmla="*/ 50580 h 279938"/>
                <a:gd name="connsiteX166" fmla="*/ 121519 w 203591"/>
                <a:gd name="connsiteY166" fmla="*/ 49944 h 279938"/>
                <a:gd name="connsiteX167" fmla="*/ 124700 w 203591"/>
                <a:gd name="connsiteY167" fmla="*/ 49307 h 279938"/>
                <a:gd name="connsiteX168" fmla="*/ 126609 w 203591"/>
                <a:gd name="connsiteY168" fmla="*/ 48989 h 279938"/>
                <a:gd name="connsiteX169" fmla="*/ 127563 w 203591"/>
                <a:gd name="connsiteY169" fmla="*/ 48989 h 279938"/>
                <a:gd name="connsiteX170" fmla="*/ 127245 w 203591"/>
                <a:gd name="connsiteY170" fmla="*/ 49625 h 279938"/>
                <a:gd name="connsiteX171" fmla="*/ 126609 w 203591"/>
                <a:gd name="connsiteY171" fmla="*/ 50262 h 279938"/>
                <a:gd name="connsiteX172" fmla="*/ 125972 w 203591"/>
                <a:gd name="connsiteY172" fmla="*/ 51216 h 279938"/>
                <a:gd name="connsiteX173" fmla="*/ 126290 w 203591"/>
                <a:gd name="connsiteY173" fmla="*/ 51534 h 279938"/>
                <a:gd name="connsiteX174" fmla="*/ 125972 w 203591"/>
                <a:gd name="connsiteY174" fmla="*/ 51852 h 279938"/>
                <a:gd name="connsiteX175" fmla="*/ 124700 w 203591"/>
                <a:gd name="connsiteY175" fmla="*/ 53443 h 279938"/>
                <a:gd name="connsiteX176" fmla="*/ 121837 w 203591"/>
                <a:gd name="connsiteY176" fmla="*/ 55670 h 279938"/>
                <a:gd name="connsiteX177" fmla="*/ 120882 w 203591"/>
                <a:gd name="connsiteY177" fmla="*/ 56306 h 279938"/>
                <a:gd name="connsiteX178" fmla="*/ 121837 w 203591"/>
                <a:gd name="connsiteY178" fmla="*/ 56942 h 279938"/>
                <a:gd name="connsiteX179" fmla="*/ 122473 w 203591"/>
                <a:gd name="connsiteY179" fmla="*/ 56306 h 279938"/>
                <a:gd name="connsiteX180" fmla="*/ 123428 w 203591"/>
                <a:gd name="connsiteY180" fmla="*/ 55670 h 279938"/>
                <a:gd name="connsiteX181" fmla="*/ 124700 w 203591"/>
                <a:gd name="connsiteY181" fmla="*/ 54715 h 279938"/>
                <a:gd name="connsiteX182" fmla="*/ 125972 w 203591"/>
                <a:gd name="connsiteY182" fmla="*/ 54715 h 279938"/>
                <a:gd name="connsiteX183" fmla="*/ 127881 w 203591"/>
                <a:gd name="connsiteY183" fmla="*/ 53443 h 279938"/>
                <a:gd name="connsiteX184" fmla="*/ 128199 w 203591"/>
                <a:gd name="connsiteY184" fmla="*/ 52807 h 279938"/>
                <a:gd name="connsiteX185" fmla="*/ 128517 w 203591"/>
                <a:gd name="connsiteY185" fmla="*/ 52488 h 279938"/>
                <a:gd name="connsiteX186" fmla="*/ 127881 w 203591"/>
                <a:gd name="connsiteY186" fmla="*/ 52170 h 279938"/>
                <a:gd name="connsiteX187" fmla="*/ 127245 w 203591"/>
                <a:gd name="connsiteY187" fmla="*/ 52170 h 279938"/>
                <a:gd name="connsiteX188" fmla="*/ 127563 w 203591"/>
                <a:gd name="connsiteY188" fmla="*/ 51534 h 279938"/>
                <a:gd name="connsiteX189" fmla="*/ 127881 w 203591"/>
                <a:gd name="connsiteY189" fmla="*/ 51216 h 279938"/>
                <a:gd name="connsiteX190" fmla="*/ 132016 w 203591"/>
                <a:gd name="connsiteY190" fmla="*/ 48989 h 279938"/>
                <a:gd name="connsiteX191" fmla="*/ 132653 w 203591"/>
                <a:gd name="connsiteY191" fmla="*/ 48671 h 279938"/>
                <a:gd name="connsiteX192" fmla="*/ 132971 w 203591"/>
                <a:gd name="connsiteY192" fmla="*/ 48989 h 279938"/>
                <a:gd name="connsiteX193" fmla="*/ 132971 w 203591"/>
                <a:gd name="connsiteY193" fmla="*/ 49625 h 279938"/>
                <a:gd name="connsiteX194" fmla="*/ 133289 w 203591"/>
                <a:gd name="connsiteY194" fmla="*/ 50898 h 279938"/>
                <a:gd name="connsiteX195" fmla="*/ 133925 w 203591"/>
                <a:gd name="connsiteY195" fmla="*/ 50898 h 279938"/>
                <a:gd name="connsiteX196" fmla="*/ 134879 w 203591"/>
                <a:gd name="connsiteY196" fmla="*/ 48353 h 279938"/>
                <a:gd name="connsiteX197" fmla="*/ 137106 w 203591"/>
                <a:gd name="connsiteY197" fmla="*/ 47081 h 279938"/>
                <a:gd name="connsiteX198" fmla="*/ 139969 w 203591"/>
                <a:gd name="connsiteY198" fmla="*/ 47081 h 279938"/>
                <a:gd name="connsiteX199" fmla="*/ 139651 w 203591"/>
                <a:gd name="connsiteY199" fmla="*/ 48353 h 279938"/>
                <a:gd name="connsiteX200" fmla="*/ 139333 w 203591"/>
                <a:gd name="connsiteY200" fmla="*/ 48671 h 279938"/>
                <a:gd name="connsiteX201" fmla="*/ 139333 w 203591"/>
                <a:gd name="connsiteY201" fmla="*/ 49307 h 279938"/>
                <a:gd name="connsiteX202" fmla="*/ 141242 w 203591"/>
                <a:gd name="connsiteY202" fmla="*/ 49625 h 279938"/>
                <a:gd name="connsiteX203" fmla="*/ 141560 w 203591"/>
                <a:gd name="connsiteY203" fmla="*/ 49625 h 279938"/>
                <a:gd name="connsiteX204" fmla="*/ 141560 w 203591"/>
                <a:gd name="connsiteY204" fmla="*/ 50580 h 279938"/>
                <a:gd name="connsiteX205" fmla="*/ 140287 w 203591"/>
                <a:gd name="connsiteY205" fmla="*/ 50898 h 279938"/>
                <a:gd name="connsiteX206" fmla="*/ 138697 w 203591"/>
                <a:gd name="connsiteY206" fmla="*/ 51534 h 279938"/>
                <a:gd name="connsiteX207" fmla="*/ 138379 w 203591"/>
                <a:gd name="connsiteY207" fmla="*/ 51852 h 279938"/>
                <a:gd name="connsiteX208" fmla="*/ 138379 w 203591"/>
                <a:gd name="connsiteY208" fmla="*/ 52488 h 279938"/>
                <a:gd name="connsiteX209" fmla="*/ 139333 w 203591"/>
                <a:gd name="connsiteY209" fmla="*/ 52488 h 279938"/>
                <a:gd name="connsiteX210" fmla="*/ 142832 w 203591"/>
                <a:gd name="connsiteY210" fmla="*/ 51852 h 279938"/>
                <a:gd name="connsiteX211" fmla="*/ 143787 w 203591"/>
                <a:gd name="connsiteY211" fmla="*/ 53125 h 279938"/>
                <a:gd name="connsiteX212" fmla="*/ 144423 w 203591"/>
                <a:gd name="connsiteY212" fmla="*/ 53443 h 279938"/>
                <a:gd name="connsiteX213" fmla="*/ 145059 w 203591"/>
                <a:gd name="connsiteY213" fmla="*/ 53125 h 279938"/>
                <a:gd name="connsiteX214" fmla="*/ 146331 w 203591"/>
                <a:gd name="connsiteY214" fmla="*/ 51534 h 279938"/>
                <a:gd name="connsiteX215" fmla="*/ 146331 w 203591"/>
                <a:gd name="connsiteY215" fmla="*/ 51216 h 279938"/>
                <a:gd name="connsiteX216" fmla="*/ 146013 w 203591"/>
                <a:gd name="connsiteY216" fmla="*/ 51216 h 279938"/>
                <a:gd name="connsiteX217" fmla="*/ 145695 w 203591"/>
                <a:gd name="connsiteY217" fmla="*/ 51534 h 279938"/>
                <a:gd name="connsiteX218" fmla="*/ 145377 w 203591"/>
                <a:gd name="connsiteY218" fmla="*/ 51534 h 279938"/>
                <a:gd name="connsiteX219" fmla="*/ 145695 w 203591"/>
                <a:gd name="connsiteY219" fmla="*/ 51216 h 279938"/>
                <a:gd name="connsiteX220" fmla="*/ 145695 w 203591"/>
                <a:gd name="connsiteY220" fmla="*/ 50898 h 279938"/>
                <a:gd name="connsiteX221" fmla="*/ 146650 w 203591"/>
                <a:gd name="connsiteY221" fmla="*/ 49625 h 279938"/>
                <a:gd name="connsiteX222" fmla="*/ 147286 w 203591"/>
                <a:gd name="connsiteY222" fmla="*/ 48353 h 279938"/>
                <a:gd name="connsiteX223" fmla="*/ 145695 w 203591"/>
                <a:gd name="connsiteY223" fmla="*/ 48671 h 279938"/>
                <a:gd name="connsiteX224" fmla="*/ 144105 w 203591"/>
                <a:gd name="connsiteY224" fmla="*/ 48353 h 279938"/>
                <a:gd name="connsiteX225" fmla="*/ 144423 w 203591"/>
                <a:gd name="connsiteY225" fmla="*/ 48035 h 279938"/>
                <a:gd name="connsiteX226" fmla="*/ 144423 w 203591"/>
                <a:gd name="connsiteY226" fmla="*/ 47717 h 279938"/>
                <a:gd name="connsiteX227" fmla="*/ 144741 w 203591"/>
                <a:gd name="connsiteY227" fmla="*/ 46762 h 279938"/>
                <a:gd name="connsiteX228" fmla="*/ 145695 w 203591"/>
                <a:gd name="connsiteY228" fmla="*/ 47081 h 279938"/>
                <a:gd name="connsiteX229" fmla="*/ 146650 w 203591"/>
                <a:gd name="connsiteY229" fmla="*/ 48035 h 279938"/>
                <a:gd name="connsiteX230" fmla="*/ 147922 w 203591"/>
                <a:gd name="connsiteY230" fmla="*/ 46444 h 279938"/>
                <a:gd name="connsiteX231" fmla="*/ 151421 w 203591"/>
                <a:gd name="connsiteY231" fmla="*/ 46444 h 279938"/>
                <a:gd name="connsiteX232" fmla="*/ 156511 w 203591"/>
                <a:gd name="connsiteY232" fmla="*/ 45172 h 279938"/>
                <a:gd name="connsiteX233" fmla="*/ 158738 w 203591"/>
                <a:gd name="connsiteY233" fmla="*/ 45172 h 279938"/>
                <a:gd name="connsiteX234" fmla="*/ 159374 w 203591"/>
                <a:gd name="connsiteY234" fmla="*/ 47081 h 279938"/>
                <a:gd name="connsiteX235" fmla="*/ 160010 w 203591"/>
                <a:gd name="connsiteY235" fmla="*/ 47717 h 279938"/>
                <a:gd name="connsiteX236" fmla="*/ 161601 w 203591"/>
                <a:gd name="connsiteY236" fmla="*/ 47399 h 279938"/>
                <a:gd name="connsiteX237" fmla="*/ 162873 w 203591"/>
                <a:gd name="connsiteY237" fmla="*/ 47399 h 279938"/>
                <a:gd name="connsiteX238" fmla="*/ 162237 w 203591"/>
                <a:gd name="connsiteY238" fmla="*/ 48989 h 279938"/>
                <a:gd name="connsiteX239" fmla="*/ 162873 w 203591"/>
                <a:gd name="connsiteY239" fmla="*/ 50580 h 279938"/>
                <a:gd name="connsiteX240" fmla="*/ 163828 w 203591"/>
                <a:gd name="connsiteY240" fmla="*/ 50898 h 279938"/>
                <a:gd name="connsiteX241" fmla="*/ 163510 w 203591"/>
                <a:gd name="connsiteY241" fmla="*/ 51216 h 279938"/>
                <a:gd name="connsiteX242" fmla="*/ 162873 w 203591"/>
                <a:gd name="connsiteY242" fmla="*/ 52170 h 279938"/>
                <a:gd name="connsiteX243" fmla="*/ 162237 w 203591"/>
                <a:gd name="connsiteY243" fmla="*/ 53125 h 279938"/>
                <a:gd name="connsiteX244" fmla="*/ 163510 w 203591"/>
                <a:gd name="connsiteY244" fmla="*/ 52170 h 279938"/>
                <a:gd name="connsiteX245" fmla="*/ 165418 w 203591"/>
                <a:gd name="connsiteY245" fmla="*/ 51216 h 279938"/>
                <a:gd name="connsiteX246" fmla="*/ 166054 w 203591"/>
                <a:gd name="connsiteY246" fmla="*/ 50898 h 279938"/>
                <a:gd name="connsiteX247" fmla="*/ 166373 w 203591"/>
                <a:gd name="connsiteY247" fmla="*/ 51216 h 279938"/>
                <a:gd name="connsiteX248" fmla="*/ 167327 w 203591"/>
                <a:gd name="connsiteY248" fmla="*/ 50580 h 279938"/>
                <a:gd name="connsiteX249" fmla="*/ 167963 w 203591"/>
                <a:gd name="connsiteY249" fmla="*/ 48671 h 279938"/>
                <a:gd name="connsiteX250" fmla="*/ 167963 w 203591"/>
                <a:gd name="connsiteY250" fmla="*/ 48353 h 279938"/>
                <a:gd name="connsiteX251" fmla="*/ 168917 w 203591"/>
                <a:gd name="connsiteY251" fmla="*/ 46762 h 279938"/>
                <a:gd name="connsiteX252" fmla="*/ 170826 w 203591"/>
                <a:gd name="connsiteY252" fmla="*/ 44854 h 279938"/>
                <a:gd name="connsiteX253" fmla="*/ 171780 w 203591"/>
                <a:gd name="connsiteY253" fmla="*/ 44854 h 279938"/>
                <a:gd name="connsiteX254" fmla="*/ 172735 w 203591"/>
                <a:gd name="connsiteY254" fmla="*/ 45172 h 279938"/>
                <a:gd name="connsiteX255" fmla="*/ 175916 w 203591"/>
                <a:gd name="connsiteY255" fmla="*/ 43899 h 279938"/>
                <a:gd name="connsiteX256" fmla="*/ 176552 w 203591"/>
                <a:gd name="connsiteY256" fmla="*/ 43899 h 279938"/>
                <a:gd name="connsiteX257" fmla="*/ 177507 w 203591"/>
                <a:gd name="connsiteY257" fmla="*/ 44218 h 279938"/>
                <a:gd name="connsiteX258" fmla="*/ 179415 w 203591"/>
                <a:gd name="connsiteY258" fmla="*/ 43899 h 279938"/>
                <a:gd name="connsiteX259" fmla="*/ 182278 w 203591"/>
                <a:gd name="connsiteY259" fmla="*/ 44536 h 279938"/>
                <a:gd name="connsiteX260" fmla="*/ 185777 w 203591"/>
                <a:gd name="connsiteY260" fmla="*/ 43899 h 279938"/>
                <a:gd name="connsiteX261" fmla="*/ 187050 w 203591"/>
                <a:gd name="connsiteY261" fmla="*/ 43899 h 279938"/>
                <a:gd name="connsiteX262" fmla="*/ 187050 w 203591"/>
                <a:gd name="connsiteY262" fmla="*/ 44218 h 279938"/>
                <a:gd name="connsiteX263" fmla="*/ 187368 w 203591"/>
                <a:gd name="connsiteY263" fmla="*/ 44536 h 279938"/>
                <a:gd name="connsiteX264" fmla="*/ 188004 w 203591"/>
                <a:gd name="connsiteY264" fmla="*/ 44218 h 279938"/>
                <a:gd name="connsiteX265" fmla="*/ 189277 w 203591"/>
                <a:gd name="connsiteY265" fmla="*/ 44218 h 279938"/>
                <a:gd name="connsiteX266" fmla="*/ 191503 w 203591"/>
                <a:gd name="connsiteY266" fmla="*/ 45172 h 279938"/>
                <a:gd name="connsiteX267" fmla="*/ 192140 w 203591"/>
                <a:gd name="connsiteY267" fmla="*/ 45808 h 279938"/>
                <a:gd name="connsiteX268" fmla="*/ 193412 w 203591"/>
                <a:gd name="connsiteY268" fmla="*/ 45490 h 279938"/>
                <a:gd name="connsiteX269" fmla="*/ 194048 w 203591"/>
                <a:gd name="connsiteY269" fmla="*/ 45490 h 279938"/>
                <a:gd name="connsiteX270" fmla="*/ 196593 w 203591"/>
                <a:gd name="connsiteY270" fmla="*/ 44854 h 279938"/>
                <a:gd name="connsiteX271" fmla="*/ 198184 w 203591"/>
                <a:gd name="connsiteY271" fmla="*/ 45808 h 279938"/>
                <a:gd name="connsiteX272" fmla="*/ 200729 w 203591"/>
                <a:gd name="connsiteY272" fmla="*/ 45808 h 279938"/>
                <a:gd name="connsiteX273" fmla="*/ 202001 w 203591"/>
                <a:gd name="connsiteY273" fmla="*/ 45490 h 279938"/>
                <a:gd name="connsiteX274" fmla="*/ 203592 w 203591"/>
                <a:gd name="connsiteY274" fmla="*/ 46444 h 279938"/>
                <a:gd name="connsiteX275" fmla="*/ 204228 w 203591"/>
                <a:gd name="connsiteY275" fmla="*/ 47399 h 279938"/>
                <a:gd name="connsiteX276" fmla="*/ 204228 w 203591"/>
                <a:gd name="connsiteY276" fmla="*/ 47717 h 279938"/>
                <a:gd name="connsiteX277" fmla="*/ 204864 w 203591"/>
                <a:gd name="connsiteY277" fmla="*/ 50262 h 279938"/>
                <a:gd name="connsiteX278" fmla="*/ 204864 w 203591"/>
                <a:gd name="connsiteY278" fmla="*/ 50898 h 279938"/>
                <a:gd name="connsiteX279" fmla="*/ 205818 w 203591"/>
                <a:gd name="connsiteY279" fmla="*/ 52170 h 279938"/>
                <a:gd name="connsiteX280" fmla="*/ 205182 w 203591"/>
                <a:gd name="connsiteY280" fmla="*/ 53761 h 279938"/>
                <a:gd name="connsiteX281" fmla="*/ 205182 w 203591"/>
                <a:gd name="connsiteY281" fmla="*/ 57260 h 279938"/>
                <a:gd name="connsiteX282" fmla="*/ 203910 w 203591"/>
                <a:gd name="connsiteY282" fmla="*/ 58533 h 279938"/>
                <a:gd name="connsiteX283" fmla="*/ 202955 w 203591"/>
                <a:gd name="connsiteY283" fmla="*/ 59487 h 279938"/>
                <a:gd name="connsiteX284" fmla="*/ 200729 w 203591"/>
                <a:gd name="connsiteY284" fmla="*/ 61077 h 279938"/>
                <a:gd name="connsiteX285" fmla="*/ 200092 w 203591"/>
                <a:gd name="connsiteY285" fmla="*/ 61714 h 279938"/>
                <a:gd name="connsiteX286" fmla="*/ 199138 w 203591"/>
                <a:gd name="connsiteY286" fmla="*/ 61714 h 279938"/>
                <a:gd name="connsiteX287" fmla="*/ 196593 w 203591"/>
                <a:gd name="connsiteY287" fmla="*/ 62668 h 279938"/>
                <a:gd name="connsiteX288" fmla="*/ 192458 w 203591"/>
                <a:gd name="connsiteY288" fmla="*/ 63940 h 279938"/>
                <a:gd name="connsiteX289" fmla="*/ 191185 w 203591"/>
                <a:gd name="connsiteY289" fmla="*/ 64259 h 279938"/>
                <a:gd name="connsiteX290" fmla="*/ 188004 w 203591"/>
                <a:gd name="connsiteY290" fmla="*/ 64895 h 279938"/>
                <a:gd name="connsiteX291" fmla="*/ 187050 w 203591"/>
                <a:gd name="connsiteY291" fmla="*/ 64895 h 279938"/>
                <a:gd name="connsiteX292" fmla="*/ 186414 w 203591"/>
                <a:gd name="connsiteY292" fmla="*/ 65213 h 279938"/>
                <a:gd name="connsiteX293" fmla="*/ 186414 w 203591"/>
                <a:gd name="connsiteY293" fmla="*/ 64895 h 279938"/>
                <a:gd name="connsiteX294" fmla="*/ 185141 w 203591"/>
                <a:gd name="connsiteY294" fmla="*/ 63304 h 279938"/>
                <a:gd name="connsiteX295" fmla="*/ 185777 w 203591"/>
                <a:gd name="connsiteY295" fmla="*/ 62668 h 279938"/>
                <a:gd name="connsiteX296" fmla="*/ 187368 w 203591"/>
                <a:gd name="connsiteY296" fmla="*/ 61396 h 279938"/>
                <a:gd name="connsiteX297" fmla="*/ 185141 w 203591"/>
                <a:gd name="connsiteY297" fmla="*/ 61396 h 279938"/>
                <a:gd name="connsiteX298" fmla="*/ 184823 w 203591"/>
                <a:gd name="connsiteY298" fmla="*/ 61077 h 279938"/>
                <a:gd name="connsiteX299" fmla="*/ 186414 w 203591"/>
                <a:gd name="connsiteY299" fmla="*/ 59487 h 279938"/>
                <a:gd name="connsiteX300" fmla="*/ 187050 w 203591"/>
                <a:gd name="connsiteY300" fmla="*/ 59487 h 279938"/>
                <a:gd name="connsiteX301" fmla="*/ 188004 w 203591"/>
                <a:gd name="connsiteY301" fmla="*/ 58533 h 279938"/>
                <a:gd name="connsiteX302" fmla="*/ 188004 w 203591"/>
                <a:gd name="connsiteY302" fmla="*/ 58214 h 279938"/>
                <a:gd name="connsiteX303" fmla="*/ 187050 w 203591"/>
                <a:gd name="connsiteY303" fmla="*/ 57896 h 279938"/>
                <a:gd name="connsiteX304" fmla="*/ 186414 w 203591"/>
                <a:gd name="connsiteY304" fmla="*/ 58214 h 279938"/>
                <a:gd name="connsiteX305" fmla="*/ 186095 w 203591"/>
                <a:gd name="connsiteY305" fmla="*/ 58214 h 279938"/>
                <a:gd name="connsiteX306" fmla="*/ 186414 w 203591"/>
                <a:gd name="connsiteY306" fmla="*/ 57896 h 279938"/>
                <a:gd name="connsiteX307" fmla="*/ 186732 w 203591"/>
                <a:gd name="connsiteY307" fmla="*/ 57260 h 279938"/>
                <a:gd name="connsiteX308" fmla="*/ 185141 w 203591"/>
                <a:gd name="connsiteY308" fmla="*/ 56624 h 279938"/>
                <a:gd name="connsiteX309" fmla="*/ 184187 w 203591"/>
                <a:gd name="connsiteY309" fmla="*/ 56624 h 279938"/>
                <a:gd name="connsiteX310" fmla="*/ 183232 w 203591"/>
                <a:gd name="connsiteY310" fmla="*/ 57260 h 279938"/>
                <a:gd name="connsiteX311" fmla="*/ 181642 w 203591"/>
                <a:gd name="connsiteY311" fmla="*/ 57896 h 279938"/>
                <a:gd name="connsiteX312" fmla="*/ 180051 w 203591"/>
                <a:gd name="connsiteY312" fmla="*/ 57896 h 279938"/>
                <a:gd name="connsiteX313" fmla="*/ 176552 w 203591"/>
                <a:gd name="connsiteY313" fmla="*/ 57260 h 279938"/>
                <a:gd name="connsiteX314" fmla="*/ 172099 w 203591"/>
                <a:gd name="connsiteY314" fmla="*/ 57260 h 279938"/>
                <a:gd name="connsiteX315" fmla="*/ 171462 w 203591"/>
                <a:gd name="connsiteY315" fmla="*/ 56942 h 279938"/>
                <a:gd name="connsiteX316" fmla="*/ 171144 w 203591"/>
                <a:gd name="connsiteY316" fmla="*/ 56306 h 279938"/>
                <a:gd name="connsiteX317" fmla="*/ 171144 w 203591"/>
                <a:gd name="connsiteY317" fmla="*/ 55670 h 279938"/>
                <a:gd name="connsiteX318" fmla="*/ 171780 w 203591"/>
                <a:gd name="connsiteY318" fmla="*/ 54397 h 279938"/>
                <a:gd name="connsiteX319" fmla="*/ 171462 w 203591"/>
                <a:gd name="connsiteY319" fmla="*/ 54079 h 279938"/>
                <a:gd name="connsiteX320" fmla="*/ 170190 w 203591"/>
                <a:gd name="connsiteY320" fmla="*/ 55351 h 279938"/>
                <a:gd name="connsiteX321" fmla="*/ 168599 w 203591"/>
                <a:gd name="connsiteY321" fmla="*/ 55988 h 279938"/>
                <a:gd name="connsiteX322" fmla="*/ 168281 w 203591"/>
                <a:gd name="connsiteY322" fmla="*/ 55988 h 279938"/>
                <a:gd name="connsiteX323" fmla="*/ 168599 w 203591"/>
                <a:gd name="connsiteY323" fmla="*/ 55351 h 279938"/>
                <a:gd name="connsiteX324" fmla="*/ 168281 w 203591"/>
                <a:gd name="connsiteY324" fmla="*/ 55351 h 279938"/>
                <a:gd name="connsiteX325" fmla="*/ 167327 w 203591"/>
                <a:gd name="connsiteY325" fmla="*/ 56306 h 279938"/>
                <a:gd name="connsiteX326" fmla="*/ 165736 w 203591"/>
                <a:gd name="connsiteY326" fmla="*/ 57578 h 279938"/>
                <a:gd name="connsiteX327" fmla="*/ 163828 w 203591"/>
                <a:gd name="connsiteY327" fmla="*/ 57260 h 279938"/>
                <a:gd name="connsiteX328" fmla="*/ 162237 w 203591"/>
                <a:gd name="connsiteY328" fmla="*/ 57896 h 279938"/>
                <a:gd name="connsiteX329" fmla="*/ 160965 w 203591"/>
                <a:gd name="connsiteY329" fmla="*/ 58214 h 279938"/>
                <a:gd name="connsiteX330" fmla="*/ 159374 w 203591"/>
                <a:gd name="connsiteY330" fmla="*/ 57896 h 279938"/>
                <a:gd name="connsiteX331" fmla="*/ 158738 w 203591"/>
                <a:gd name="connsiteY331" fmla="*/ 57896 h 279938"/>
                <a:gd name="connsiteX332" fmla="*/ 158102 w 203591"/>
                <a:gd name="connsiteY332" fmla="*/ 57578 h 279938"/>
                <a:gd name="connsiteX333" fmla="*/ 157465 w 203591"/>
                <a:gd name="connsiteY333" fmla="*/ 57578 h 279938"/>
                <a:gd name="connsiteX334" fmla="*/ 155557 w 203591"/>
                <a:gd name="connsiteY334" fmla="*/ 57896 h 279938"/>
                <a:gd name="connsiteX335" fmla="*/ 153648 w 203591"/>
                <a:gd name="connsiteY335" fmla="*/ 57260 h 279938"/>
                <a:gd name="connsiteX336" fmla="*/ 153012 w 203591"/>
                <a:gd name="connsiteY336" fmla="*/ 57578 h 279938"/>
                <a:gd name="connsiteX337" fmla="*/ 151739 w 203591"/>
                <a:gd name="connsiteY337" fmla="*/ 56942 h 279938"/>
                <a:gd name="connsiteX338" fmla="*/ 151103 w 203591"/>
                <a:gd name="connsiteY338" fmla="*/ 56624 h 279938"/>
                <a:gd name="connsiteX339" fmla="*/ 150149 w 203591"/>
                <a:gd name="connsiteY339" fmla="*/ 56942 h 279938"/>
                <a:gd name="connsiteX340" fmla="*/ 149194 w 203591"/>
                <a:gd name="connsiteY340" fmla="*/ 57896 h 279938"/>
                <a:gd name="connsiteX341" fmla="*/ 148876 w 203591"/>
                <a:gd name="connsiteY341" fmla="*/ 57896 h 279938"/>
                <a:gd name="connsiteX342" fmla="*/ 148876 w 203591"/>
                <a:gd name="connsiteY342" fmla="*/ 57578 h 279938"/>
                <a:gd name="connsiteX343" fmla="*/ 148240 w 203591"/>
                <a:gd name="connsiteY343" fmla="*/ 57260 h 279938"/>
                <a:gd name="connsiteX344" fmla="*/ 146331 w 203591"/>
                <a:gd name="connsiteY344" fmla="*/ 58533 h 279938"/>
                <a:gd name="connsiteX345" fmla="*/ 146331 w 203591"/>
                <a:gd name="connsiteY345" fmla="*/ 57896 h 279938"/>
                <a:gd name="connsiteX346" fmla="*/ 146013 w 203591"/>
                <a:gd name="connsiteY346" fmla="*/ 57578 h 279938"/>
                <a:gd name="connsiteX347" fmla="*/ 145377 w 203591"/>
                <a:gd name="connsiteY347" fmla="*/ 58214 h 279938"/>
                <a:gd name="connsiteX348" fmla="*/ 144105 w 203591"/>
                <a:gd name="connsiteY348" fmla="*/ 58533 h 279938"/>
                <a:gd name="connsiteX349" fmla="*/ 143787 w 203591"/>
                <a:gd name="connsiteY349" fmla="*/ 58533 h 279938"/>
                <a:gd name="connsiteX350" fmla="*/ 143787 w 203591"/>
                <a:gd name="connsiteY350" fmla="*/ 57896 h 279938"/>
                <a:gd name="connsiteX351" fmla="*/ 143469 w 203591"/>
                <a:gd name="connsiteY351" fmla="*/ 57896 h 279938"/>
                <a:gd name="connsiteX352" fmla="*/ 141878 w 203591"/>
                <a:gd name="connsiteY352" fmla="*/ 58851 h 279938"/>
                <a:gd name="connsiteX353" fmla="*/ 141242 w 203591"/>
                <a:gd name="connsiteY353" fmla="*/ 58851 h 279938"/>
                <a:gd name="connsiteX354" fmla="*/ 138061 w 203591"/>
                <a:gd name="connsiteY354" fmla="*/ 58214 h 279938"/>
                <a:gd name="connsiteX355" fmla="*/ 137743 w 203591"/>
                <a:gd name="connsiteY355" fmla="*/ 57896 h 279938"/>
                <a:gd name="connsiteX356" fmla="*/ 137106 w 203591"/>
                <a:gd name="connsiteY356" fmla="*/ 57260 h 279938"/>
                <a:gd name="connsiteX357" fmla="*/ 135834 w 203591"/>
                <a:gd name="connsiteY357" fmla="*/ 57896 h 279938"/>
                <a:gd name="connsiteX358" fmla="*/ 135516 w 203591"/>
                <a:gd name="connsiteY358" fmla="*/ 58214 h 279938"/>
                <a:gd name="connsiteX359" fmla="*/ 134879 w 203591"/>
                <a:gd name="connsiteY359" fmla="*/ 57896 h 279938"/>
                <a:gd name="connsiteX360" fmla="*/ 130744 w 203591"/>
                <a:gd name="connsiteY360" fmla="*/ 59169 h 279938"/>
                <a:gd name="connsiteX361" fmla="*/ 129472 w 203591"/>
                <a:gd name="connsiteY361" fmla="*/ 59487 h 279938"/>
                <a:gd name="connsiteX362" fmla="*/ 128199 w 203591"/>
                <a:gd name="connsiteY362" fmla="*/ 59487 h 279938"/>
                <a:gd name="connsiteX363" fmla="*/ 127245 w 203591"/>
                <a:gd name="connsiteY363" fmla="*/ 59805 h 279938"/>
                <a:gd name="connsiteX364" fmla="*/ 121837 w 203591"/>
                <a:gd name="connsiteY364" fmla="*/ 61077 h 279938"/>
                <a:gd name="connsiteX365" fmla="*/ 119610 w 203591"/>
                <a:gd name="connsiteY365" fmla="*/ 61396 h 279938"/>
                <a:gd name="connsiteX366" fmla="*/ 118338 w 203591"/>
                <a:gd name="connsiteY366" fmla="*/ 61396 h 279938"/>
                <a:gd name="connsiteX367" fmla="*/ 113884 w 203591"/>
                <a:gd name="connsiteY367" fmla="*/ 62350 h 279938"/>
                <a:gd name="connsiteX368" fmla="*/ 113248 w 203591"/>
                <a:gd name="connsiteY368" fmla="*/ 62032 h 279938"/>
                <a:gd name="connsiteX369" fmla="*/ 113248 w 203591"/>
                <a:gd name="connsiteY369" fmla="*/ 60123 h 279938"/>
                <a:gd name="connsiteX370" fmla="*/ 113884 w 203591"/>
                <a:gd name="connsiteY370" fmla="*/ 59487 h 279938"/>
                <a:gd name="connsiteX371" fmla="*/ 113566 w 203591"/>
                <a:gd name="connsiteY371" fmla="*/ 59169 h 279938"/>
                <a:gd name="connsiteX372" fmla="*/ 113248 w 203591"/>
                <a:gd name="connsiteY372" fmla="*/ 59487 h 279938"/>
                <a:gd name="connsiteX373" fmla="*/ 112612 w 203591"/>
                <a:gd name="connsiteY373" fmla="*/ 59805 h 279938"/>
                <a:gd name="connsiteX374" fmla="*/ 110385 w 203591"/>
                <a:gd name="connsiteY374" fmla="*/ 61396 h 279938"/>
                <a:gd name="connsiteX375" fmla="*/ 109431 w 203591"/>
                <a:gd name="connsiteY375" fmla="*/ 61396 h 279938"/>
                <a:gd name="connsiteX376" fmla="*/ 107204 w 203591"/>
                <a:gd name="connsiteY376" fmla="*/ 62350 h 279938"/>
                <a:gd name="connsiteX377" fmla="*/ 97979 w 203591"/>
                <a:gd name="connsiteY377" fmla="*/ 75393 h 279938"/>
                <a:gd name="connsiteX378" fmla="*/ 97342 w 203591"/>
                <a:gd name="connsiteY378" fmla="*/ 74120 h 279938"/>
                <a:gd name="connsiteX379" fmla="*/ 97342 w 203591"/>
                <a:gd name="connsiteY379" fmla="*/ 73802 h 279938"/>
                <a:gd name="connsiteX380" fmla="*/ 96706 w 203591"/>
                <a:gd name="connsiteY380" fmla="*/ 74120 h 279938"/>
                <a:gd name="connsiteX381" fmla="*/ 96388 w 203591"/>
                <a:gd name="connsiteY381" fmla="*/ 74438 h 279938"/>
                <a:gd name="connsiteX382" fmla="*/ 97660 w 203591"/>
                <a:gd name="connsiteY382" fmla="*/ 77619 h 279938"/>
                <a:gd name="connsiteX383" fmla="*/ 97660 w 203591"/>
                <a:gd name="connsiteY383" fmla="*/ 77937 h 279938"/>
                <a:gd name="connsiteX384" fmla="*/ 97024 w 203591"/>
                <a:gd name="connsiteY384" fmla="*/ 79528 h 279938"/>
                <a:gd name="connsiteX385" fmla="*/ 96070 w 203591"/>
                <a:gd name="connsiteY385" fmla="*/ 80164 h 279938"/>
                <a:gd name="connsiteX386" fmla="*/ 96706 w 203591"/>
                <a:gd name="connsiteY386" fmla="*/ 80800 h 279938"/>
                <a:gd name="connsiteX387" fmla="*/ 97024 w 203591"/>
                <a:gd name="connsiteY387" fmla="*/ 81437 h 279938"/>
                <a:gd name="connsiteX388" fmla="*/ 96706 w 203591"/>
                <a:gd name="connsiteY388" fmla="*/ 83027 h 279938"/>
                <a:gd name="connsiteX389" fmla="*/ 95752 w 203591"/>
                <a:gd name="connsiteY389" fmla="*/ 83663 h 279938"/>
                <a:gd name="connsiteX390" fmla="*/ 94797 w 203591"/>
                <a:gd name="connsiteY390" fmla="*/ 84300 h 279938"/>
                <a:gd name="connsiteX391" fmla="*/ 93843 w 203591"/>
                <a:gd name="connsiteY391" fmla="*/ 84936 h 279938"/>
                <a:gd name="connsiteX392" fmla="*/ 94797 w 203591"/>
                <a:gd name="connsiteY392" fmla="*/ 85572 h 279938"/>
                <a:gd name="connsiteX393" fmla="*/ 95115 w 203591"/>
                <a:gd name="connsiteY393" fmla="*/ 86208 h 279938"/>
                <a:gd name="connsiteX394" fmla="*/ 93843 w 203591"/>
                <a:gd name="connsiteY394" fmla="*/ 87481 h 279938"/>
                <a:gd name="connsiteX395" fmla="*/ 93843 w 203591"/>
                <a:gd name="connsiteY395" fmla="*/ 87799 h 279938"/>
                <a:gd name="connsiteX396" fmla="*/ 89071 w 203591"/>
                <a:gd name="connsiteY396" fmla="*/ 106567 h 279938"/>
                <a:gd name="connsiteX397" fmla="*/ 88117 w 203591"/>
                <a:gd name="connsiteY397" fmla="*/ 109112 h 279938"/>
                <a:gd name="connsiteX398" fmla="*/ 88117 w 203591"/>
                <a:gd name="connsiteY398" fmla="*/ 111339 h 279938"/>
                <a:gd name="connsiteX399" fmla="*/ 87163 w 203591"/>
                <a:gd name="connsiteY399" fmla="*/ 112293 h 279938"/>
                <a:gd name="connsiteX400" fmla="*/ 87481 w 203591"/>
                <a:gd name="connsiteY400" fmla="*/ 112612 h 279938"/>
                <a:gd name="connsiteX401" fmla="*/ 87163 w 203591"/>
                <a:gd name="connsiteY401" fmla="*/ 113884 h 279938"/>
                <a:gd name="connsiteX402" fmla="*/ 87163 w 203591"/>
                <a:gd name="connsiteY402" fmla="*/ 114520 h 279938"/>
                <a:gd name="connsiteX403" fmla="*/ 85572 w 203591"/>
                <a:gd name="connsiteY403" fmla="*/ 117383 h 279938"/>
                <a:gd name="connsiteX404" fmla="*/ 84936 w 203591"/>
                <a:gd name="connsiteY404" fmla="*/ 118338 h 279938"/>
                <a:gd name="connsiteX405" fmla="*/ 85890 w 203591"/>
                <a:gd name="connsiteY405" fmla="*/ 118974 h 279938"/>
                <a:gd name="connsiteX406" fmla="*/ 85254 w 203591"/>
                <a:gd name="connsiteY406" fmla="*/ 119610 h 279938"/>
                <a:gd name="connsiteX407" fmla="*/ 85572 w 203591"/>
                <a:gd name="connsiteY407" fmla="*/ 119928 h 279938"/>
                <a:gd name="connsiteX408" fmla="*/ 85572 w 203591"/>
                <a:gd name="connsiteY408" fmla="*/ 120882 h 279938"/>
                <a:gd name="connsiteX409" fmla="*/ 84936 w 203591"/>
                <a:gd name="connsiteY409" fmla="*/ 120882 h 279938"/>
                <a:gd name="connsiteX410" fmla="*/ 85254 w 203591"/>
                <a:gd name="connsiteY410" fmla="*/ 122473 h 279938"/>
                <a:gd name="connsiteX411" fmla="*/ 84300 w 203591"/>
                <a:gd name="connsiteY411" fmla="*/ 123745 h 279938"/>
                <a:gd name="connsiteX412" fmla="*/ 84618 w 203591"/>
                <a:gd name="connsiteY412" fmla="*/ 124382 h 279938"/>
                <a:gd name="connsiteX413" fmla="*/ 84618 w 203591"/>
                <a:gd name="connsiteY413" fmla="*/ 124700 h 279938"/>
                <a:gd name="connsiteX414" fmla="*/ 83982 w 203591"/>
                <a:gd name="connsiteY414" fmla="*/ 125336 h 279938"/>
                <a:gd name="connsiteX415" fmla="*/ 83664 w 203591"/>
                <a:gd name="connsiteY415" fmla="*/ 127563 h 279938"/>
                <a:gd name="connsiteX416" fmla="*/ 83345 w 203591"/>
                <a:gd name="connsiteY416" fmla="*/ 128517 h 279938"/>
                <a:gd name="connsiteX417" fmla="*/ 82709 w 203591"/>
                <a:gd name="connsiteY417" fmla="*/ 130108 h 279938"/>
                <a:gd name="connsiteX418" fmla="*/ 83027 w 203591"/>
                <a:gd name="connsiteY418" fmla="*/ 130744 h 279938"/>
                <a:gd name="connsiteX419" fmla="*/ 83027 w 203591"/>
                <a:gd name="connsiteY419" fmla="*/ 131380 h 279938"/>
                <a:gd name="connsiteX420" fmla="*/ 82391 w 203591"/>
                <a:gd name="connsiteY420" fmla="*/ 133289 h 279938"/>
                <a:gd name="connsiteX421" fmla="*/ 81755 w 203591"/>
                <a:gd name="connsiteY421" fmla="*/ 134243 h 279938"/>
                <a:gd name="connsiteX422" fmla="*/ 80164 w 203591"/>
                <a:gd name="connsiteY422" fmla="*/ 135198 h 279938"/>
                <a:gd name="connsiteX423" fmla="*/ 80800 w 203591"/>
                <a:gd name="connsiteY423" fmla="*/ 135516 h 279938"/>
                <a:gd name="connsiteX424" fmla="*/ 81119 w 203591"/>
                <a:gd name="connsiteY424" fmla="*/ 136152 h 279938"/>
                <a:gd name="connsiteX425" fmla="*/ 81119 w 203591"/>
                <a:gd name="connsiteY425" fmla="*/ 136788 h 279938"/>
                <a:gd name="connsiteX426" fmla="*/ 79528 w 203591"/>
                <a:gd name="connsiteY426" fmla="*/ 139015 h 279938"/>
                <a:gd name="connsiteX427" fmla="*/ 78892 w 203591"/>
                <a:gd name="connsiteY427" fmla="*/ 139651 h 279938"/>
                <a:gd name="connsiteX428" fmla="*/ 79210 w 203591"/>
                <a:gd name="connsiteY428" fmla="*/ 139969 h 279938"/>
                <a:gd name="connsiteX429" fmla="*/ 79528 w 203591"/>
                <a:gd name="connsiteY429" fmla="*/ 140924 h 279938"/>
                <a:gd name="connsiteX430" fmla="*/ 79846 w 203591"/>
                <a:gd name="connsiteY430" fmla="*/ 141560 h 279938"/>
                <a:gd name="connsiteX431" fmla="*/ 79528 w 203591"/>
                <a:gd name="connsiteY431" fmla="*/ 141878 h 279938"/>
                <a:gd name="connsiteX432" fmla="*/ 79846 w 203591"/>
                <a:gd name="connsiteY432" fmla="*/ 142514 h 279938"/>
                <a:gd name="connsiteX433" fmla="*/ 80482 w 203591"/>
                <a:gd name="connsiteY433" fmla="*/ 142514 h 279938"/>
                <a:gd name="connsiteX434" fmla="*/ 80482 w 203591"/>
                <a:gd name="connsiteY434" fmla="*/ 142832 h 279938"/>
                <a:gd name="connsiteX435" fmla="*/ 80164 w 203591"/>
                <a:gd name="connsiteY435" fmla="*/ 143150 h 279938"/>
                <a:gd name="connsiteX436" fmla="*/ 79528 w 203591"/>
                <a:gd name="connsiteY436" fmla="*/ 143150 h 279938"/>
                <a:gd name="connsiteX437" fmla="*/ 78892 w 203591"/>
                <a:gd name="connsiteY437" fmla="*/ 142514 h 279938"/>
                <a:gd name="connsiteX438" fmla="*/ 78574 w 203591"/>
                <a:gd name="connsiteY438" fmla="*/ 142514 h 279938"/>
                <a:gd name="connsiteX439" fmla="*/ 77619 w 203591"/>
                <a:gd name="connsiteY439" fmla="*/ 144105 h 279938"/>
                <a:gd name="connsiteX440" fmla="*/ 77301 w 203591"/>
                <a:gd name="connsiteY440" fmla="*/ 144423 h 279938"/>
                <a:gd name="connsiteX441" fmla="*/ 76665 w 203591"/>
                <a:gd name="connsiteY441" fmla="*/ 144423 h 279938"/>
                <a:gd name="connsiteX442" fmla="*/ 75711 w 203591"/>
                <a:gd name="connsiteY442" fmla="*/ 144741 h 279938"/>
                <a:gd name="connsiteX443" fmla="*/ 75393 w 203591"/>
                <a:gd name="connsiteY443" fmla="*/ 146013 h 279938"/>
                <a:gd name="connsiteX444" fmla="*/ 75393 w 203591"/>
                <a:gd name="connsiteY444" fmla="*/ 146650 h 279938"/>
                <a:gd name="connsiteX445" fmla="*/ 75074 w 203591"/>
                <a:gd name="connsiteY445" fmla="*/ 147286 h 279938"/>
                <a:gd name="connsiteX446" fmla="*/ 75074 w 203591"/>
                <a:gd name="connsiteY446" fmla="*/ 148558 h 279938"/>
                <a:gd name="connsiteX447" fmla="*/ 75711 w 203591"/>
                <a:gd name="connsiteY447" fmla="*/ 149831 h 279938"/>
                <a:gd name="connsiteX448" fmla="*/ 75711 w 203591"/>
                <a:gd name="connsiteY448" fmla="*/ 150149 h 279938"/>
                <a:gd name="connsiteX449" fmla="*/ 75393 w 203591"/>
                <a:gd name="connsiteY449" fmla="*/ 150467 h 279938"/>
                <a:gd name="connsiteX450" fmla="*/ 74438 w 203591"/>
                <a:gd name="connsiteY450" fmla="*/ 152057 h 279938"/>
                <a:gd name="connsiteX451" fmla="*/ 74756 w 203591"/>
                <a:gd name="connsiteY451" fmla="*/ 152694 h 279938"/>
                <a:gd name="connsiteX452" fmla="*/ 75074 w 203591"/>
                <a:gd name="connsiteY452" fmla="*/ 152694 h 279938"/>
                <a:gd name="connsiteX453" fmla="*/ 76029 w 203591"/>
                <a:gd name="connsiteY453" fmla="*/ 152057 h 279938"/>
                <a:gd name="connsiteX454" fmla="*/ 77301 w 203591"/>
                <a:gd name="connsiteY454" fmla="*/ 151421 h 279938"/>
                <a:gd name="connsiteX455" fmla="*/ 78256 w 203591"/>
                <a:gd name="connsiteY455" fmla="*/ 150785 h 279938"/>
                <a:gd name="connsiteX456" fmla="*/ 78892 w 203591"/>
                <a:gd name="connsiteY456" fmla="*/ 150785 h 279938"/>
                <a:gd name="connsiteX457" fmla="*/ 78892 w 203591"/>
                <a:gd name="connsiteY457" fmla="*/ 151421 h 279938"/>
                <a:gd name="connsiteX458" fmla="*/ 77937 w 203591"/>
                <a:gd name="connsiteY458" fmla="*/ 152694 h 279938"/>
                <a:gd name="connsiteX459" fmla="*/ 77937 w 203591"/>
                <a:gd name="connsiteY459" fmla="*/ 153330 h 279938"/>
                <a:gd name="connsiteX460" fmla="*/ 76029 w 203591"/>
                <a:gd name="connsiteY460" fmla="*/ 154602 h 279938"/>
                <a:gd name="connsiteX461" fmla="*/ 75711 w 203591"/>
                <a:gd name="connsiteY461" fmla="*/ 155557 h 279938"/>
                <a:gd name="connsiteX462" fmla="*/ 75711 w 203591"/>
                <a:gd name="connsiteY462" fmla="*/ 156511 h 279938"/>
                <a:gd name="connsiteX463" fmla="*/ 76029 w 203591"/>
                <a:gd name="connsiteY463" fmla="*/ 157147 h 279938"/>
                <a:gd name="connsiteX464" fmla="*/ 77301 w 203591"/>
                <a:gd name="connsiteY464" fmla="*/ 157783 h 279938"/>
                <a:gd name="connsiteX465" fmla="*/ 77301 w 203591"/>
                <a:gd name="connsiteY465" fmla="*/ 158102 h 279938"/>
                <a:gd name="connsiteX466" fmla="*/ 76983 w 203591"/>
                <a:gd name="connsiteY466" fmla="*/ 159056 h 279938"/>
                <a:gd name="connsiteX467" fmla="*/ 76347 w 203591"/>
                <a:gd name="connsiteY467" fmla="*/ 159692 h 279938"/>
                <a:gd name="connsiteX468" fmla="*/ 76029 w 203591"/>
                <a:gd name="connsiteY468" fmla="*/ 160010 h 279938"/>
                <a:gd name="connsiteX469" fmla="*/ 76347 w 203591"/>
                <a:gd name="connsiteY469" fmla="*/ 161283 h 279938"/>
                <a:gd name="connsiteX470" fmla="*/ 76029 w 203591"/>
                <a:gd name="connsiteY470" fmla="*/ 161601 h 279938"/>
                <a:gd name="connsiteX471" fmla="*/ 75393 w 203591"/>
                <a:gd name="connsiteY471" fmla="*/ 161283 h 279938"/>
                <a:gd name="connsiteX472" fmla="*/ 75393 w 203591"/>
                <a:gd name="connsiteY472" fmla="*/ 160965 h 279938"/>
                <a:gd name="connsiteX473" fmla="*/ 75074 w 203591"/>
                <a:gd name="connsiteY473" fmla="*/ 160646 h 279938"/>
                <a:gd name="connsiteX474" fmla="*/ 75711 w 203591"/>
                <a:gd name="connsiteY474" fmla="*/ 158738 h 279938"/>
                <a:gd name="connsiteX475" fmla="*/ 75393 w 203591"/>
                <a:gd name="connsiteY475" fmla="*/ 158102 h 279938"/>
                <a:gd name="connsiteX476" fmla="*/ 73484 w 203591"/>
                <a:gd name="connsiteY476" fmla="*/ 159692 h 279938"/>
                <a:gd name="connsiteX477" fmla="*/ 73166 w 203591"/>
                <a:gd name="connsiteY477" fmla="*/ 160010 h 279938"/>
                <a:gd name="connsiteX478" fmla="*/ 73484 w 203591"/>
                <a:gd name="connsiteY478" fmla="*/ 160328 h 279938"/>
                <a:gd name="connsiteX479" fmla="*/ 74120 w 203591"/>
                <a:gd name="connsiteY479" fmla="*/ 160646 h 279938"/>
                <a:gd name="connsiteX480" fmla="*/ 74120 w 203591"/>
                <a:gd name="connsiteY480" fmla="*/ 160965 h 279938"/>
                <a:gd name="connsiteX481" fmla="*/ 73484 w 203591"/>
                <a:gd name="connsiteY481" fmla="*/ 162555 h 279938"/>
                <a:gd name="connsiteX482" fmla="*/ 72530 w 203591"/>
                <a:gd name="connsiteY482" fmla="*/ 163191 h 279938"/>
                <a:gd name="connsiteX483" fmla="*/ 71575 w 203591"/>
                <a:gd name="connsiteY483" fmla="*/ 163828 h 279938"/>
                <a:gd name="connsiteX484" fmla="*/ 72211 w 203591"/>
                <a:gd name="connsiteY484" fmla="*/ 164464 h 279938"/>
                <a:gd name="connsiteX485" fmla="*/ 72848 w 203591"/>
                <a:gd name="connsiteY485" fmla="*/ 165736 h 279938"/>
                <a:gd name="connsiteX486" fmla="*/ 71893 w 203591"/>
                <a:gd name="connsiteY486" fmla="*/ 166691 h 279938"/>
                <a:gd name="connsiteX487" fmla="*/ 72211 w 203591"/>
                <a:gd name="connsiteY487" fmla="*/ 167009 h 279938"/>
                <a:gd name="connsiteX488" fmla="*/ 71893 w 203591"/>
                <a:gd name="connsiteY488" fmla="*/ 168281 h 279938"/>
                <a:gd name="connsiteX489" fmla="*/ 71257 w 203591"/>
                <a:gd name="connsiteY489" fmla="*/ 168917 h 279938"/>
                <a:gd name="connsiteX490" fmla="*/ 71893 w 203591"/>
                <a:gd name="connsiteY490" fmla="*/ 169872 h 279938"/>
                <a:gd name="connsiteX491" fmla="*/ 72211 w 203591"/>
                <a:gd name="connsiteY491" fmla="*/ 170190 h 279938"/>
                <a:gd name="connsiteX492" fmla="*/ 71575 w 203591"/>
                <a:gd name="connsiteY492" fmla="*/ 170826 h 279938"/>
                <a:gd name="connsiteX493" fmla="*/ 70621 w 203591"/>
                <a:gd name="connsiteY493" fmla="*/ 172735 h 279938"/>
                <a:gd name="connsiteX494" fmla="*/ 70621 w 203591"/>
                <a:gd name="connsiteY494" fmla="*/ 173053 h 279938"/>
                <a:gd name="connsiteX495" fmla="*/ 70939 w 203591"/>
                <a:gd name="connsiteY495" fmla="*/ 174325 h 279938"/>
                <a:gd name="connsiteX496" fmla="*/ 70621 w 203591"/>
                <a:gd name="connsiteY496" fmla="*/ 175280 h 279938"/>
                <a:gd name="connsiteX497" fmla="*/ 70621 w 203591"/>
                <a:gd name="connsiteY497" fmla="*/ 176552 h 279938"/>
                <a:gd name="connsiteX498" fmla="*/ 70939 w 203591"/>
                <a:gd name="connsiteY498" fmla="*/ 177188 h 279938"/>
                <a:gd name="connsiteX499" fmla="*/ 71257 w 203591"/>
                <a:gd name="connsiteY499" fmla="*/ 177506 h 279938"/>
                <a:gd name="connsiteX500" fmla="*/ 70621 w 203591"/>
                <a:gd name="connsiteY500" fmla="*/ 178143 h 279938"/>
                <a:gd name="connsiteX501" fmla="*/ 70303 w 203591"/>
                <a:gd name="connsiteY501" fmla="*/ 180051 h 279938"/>
                <a:gd name="connsiteX502" fmla="*/ 69985 w 203591"/>
                <a:gd name="connsiteY502" fmla="*/ 180688 h 279938"/>
                <a:gd name="connsiteX503" fmla="*/ 70303 w 203591"/>
                <a:gd name="connsiteY503" fmla="*/ 181324 h 279938"/>
                <a:gd name="connsiteX504" fmla="*/ 70303 w 203591"/>
                <a:gd name="connsiteY504" fmla="*/ 182278 h 279938"/>
                <a:gd name="connsiteX505" fmla="*/ 69030 w 203591"/>
                <a:gd name="connsiteY505" fmla="*/ 183232 h 279938"/>
                <a:gd name="connsiteX506" fmla="*/ 68394 w 203591"/>
                <a:gd name="connsiteY506" fmla="*/ 183551 h 279938"/>
                <a:gd name="connsiteX507" fmla="*/ 68712 w 203591"/>
                <a:gd name="connsiteY507" fmla="*/ 184505 h 279938"/>
                <a:gd name="connsiteX508" fmla="*/ 69985 w 203591"/>
                <a:gd name="connsiteY508" fmla="*/ 185777 h 279938"/>
                <a:gd name="connsiteX509" fmla="*/ 69667 w 203591"/>
                <a:gd name="connsiteY509" fmla="*/ 186414 h 279938"/>
                <a:gd name="connsiteX510" fmla="*/ 69985 w 203591"/>
                <a:gd name="connsiteY510" fmla="*/ 186732 h 279938"/>
                <a:gd name="connsiteX511" fmla="*/ 69985 w 203591"/>
                <a:gd name="connsiteY511" fmla="*/ 188004 h 279938"/>
                <a:gd name="connsiteX512" fmla="*/ 69030 w 203591"/>
                <a:gd name="connsiteY512" fmla="*/ 189277 h 279938"/>
                <a:gd name="connsiteX513" fmla="*/ 69030 w 203591"/>
                <a:gd name="connsiteY513" fmla="*/ 191185 h 279938"/>
                <a:gd name="connsiteX514" fmla="*/ 68712 w 203591"/>
                <a:gd name="connsiteY514" fmla="*/ 192140 h 279938"/>
                <a:gd name="connsiteX515" fmla="*/ 68394 w 203591"/>
                <a:gd name="connsiteY515" fmla="*/ 192776 h 279938"/>
                <a:gd name="connsiteX516" fmla="*/ 68712 w 203591"/>
                <a:gd name="connsiteY516" fmla="*/ 193412 h 279938"/>
                <a:gd name="connsiteX517" fmla="*/ 69985 w 203591"/>
                <a:gd name="connsiteY517" fmla="*/ 193412 h 279938"/>
                <a:gd name="connsiteX518" fmla="*/ 70621 w 203591"/>
                <a:gd name="connsiteY518" fmla="*/ 192776 h 279938"/>
                <a:gd name="connsiteX519" fmla="*/ 70939 w 203591"/>
                <a:gd name="connsiteY519" fmla="*/ 192776 h 279938"/>
                <a:gd name="connsiteX520" fmla="*/ 71257 w 203591"/>
                <a:gd name="connsiteY520" fmla="*/ 193094 h 279938"/>
                <a:gd name="connsiteX521" fmla="*/ 71575 w 203591"/>
                <a:gd name="connsiteY521" fmla="*/ 194366 h 279938"/>
                <a:gd name="connsiteX522" fmla="*/ 71893 w 203591"/>
                <a:gd name="connsiteY522" fmla="*/ 194684 h 279938"/>
                <a:gd name="connsiteX523" fmla="*/ 72211 w 203591"/>
                <a:gd name="connsiteY523" fmla="*/ 195321 h 279938"/>
                <a:gd name="connsiteX524" fmla="*/ 71257 w 203591"/>
                <a:gd name="connsiteY524" fmla="*/ 196275 h 279938"/>
                <a:gd name="connsiteX525" fmla="*/ 70621 w 203591"/>
                <a:gd name="connsiteY525" fmla="*/ 196593 h 279938"/>
                <a:gd name="connsiteX526" fmla="*/ 69349 w 203591"/>
                <a:gd name="connsiteY526" fmla="*/ 195003 h 279938"/>
                <a:gd name="connsiteX527" fmla="*/ 69030 w 203591"/>
                <a:gd name="connsiteY527" fmla="*/ 194684 h 279938"/>
                <a:gd name="connsiteX528" fmla="*/ 68712 w 203591"/>
                <a:gd name="connsiteY528" fmla="*/ 195321 h 279938"/>
                <a:gd name="connsiteX529" fmla="*/ 67758 w 203591"/>
                <a:gd name="connsiteY529" fmla="*/ 197229 h 279938"/>
                <a:gd name="connsiteX530" fmla="*/ 67758 w 203591"/>
                <a:gd name="connsiteY530" fmla="*/ 197547 h 279938"/>
                <a:gd name="connsiteX531" fmla="*/ 67440 w 203591"/>
                <a:gd name="connsiteY531" fmla="*/ 201047 h 279938"/>
                <a:gd name="connsiteX532" fmla="*/ 67440 w 203591"/>
                <a:gd name="connsiteY532" fmla="*/ 202319 h 279938"/>
                <a:gd name="connsiteX533" fmla="*/ 67122 w 203591"/>
                <a:gd name="connsiteY533" fmla="*/ 203273 h 279938"/>
                <a:gd name="connsiteX534" fmla="*/ 67122 w 203591"/>
                <a:gd name="connsiteY534" fmla="*/ 204546 h 279938"/>
                <a:gd name="connsiteX535" fmla="*/ 67440 w 203591"/>
                <a:gd name="connsiteY535" fmla="*/ 205182 h 279938"/>
                <a:gd name="connsiteX536" fmla="*/ 67440 w 203591"/>
                <a:gd name="connsiteY536" fmla="*/ 206455 h 279938"/>
                <a:gd name="connsiteX537" fmla="*/ 66803 w 203591"/>
                <a:gd name="connsiteY537" fmla="*/ 207409 h 279938"/>
                <a:gd name="connsiteX538" fmla="*/ 66803 w 203591"/>
                <a:gd name="connsiteY538" fmla="*/ 208363 h 279938"/>
                <a:gd name="connsiteX539" fmla="*/ 67122 w 203591"/>
                <a:gd name="connsiteY539" fmla="*/ 210272 h 279938"/>
                <a:gd name="connsiteX540" fmla="*/ 66803 w 203591"/>
                <a:gd name="connsiteY540" fmla="*/ 211862 h 279938"/>
                <a:gd name="connsiteX541" fmla="*/ 66803 w 203591"/>
                <a:gd name="connsiteY541" fmla="*/ 212181 h 279938"/>
                <a:gd name="connsiteX542" fmla="*/ 67122 w 203591"/>
                <a:gd name="connsiteY542" fmla="*/ 212499 h 279938"/>
                <a:gd name="connsiteX543" fmla="*/ 67440 w 203591"/>
                <a:gd name="connsiteY543" fmla="*/ 212499 h 279938"/>
                <a:gd name="connsiteX544" fmla="*/ 67758 w 203591"/>
                <a:gd name="connsiteY544" fmla="*/ 213135 h 279938"/>
                <a:gd name="connsiteX545" fmla="*/ 67122 w 203591"/>
                <a:gd name="connsiteY545" fmla="*/ 214089 h 279938"/>
                <a:gd name="connsiteX546" fmla="*/ 67122 w 203591"/>
                <a:gd name="connsiteY546" fmla="*/ 216634 h 279938"/>
                <a:gd name="connsiteX547" fmla="*/ 67440 w 203591"/>
                <a:gd name="connsiteY547" fmla="*/ 216952 h 279938"/>
                <a:gd name="connsiteX548" fmla="*/ 67758 w 203591"/>
                <a:gd name="connsiteY548" fmla="*/ 216952 h 279938"/>
                <a:gd name="connsiteX549" fmla="*/ 68394 w 203591"/>
                <a:gd name="connsiteY549" fmla="*/ 215362 h 279938"/>
                <a:gd name="connsiteX550" fmla="*/ 68712 w 203591"/>
                <a:gd name="connsiteY550" fmla="*/ 215044 h 279938"/>
                <a:gd name="connsiteX551" fmla="*/ 69030 w 203591"/>
                <a:gd name="connsiteY551" fmla="*/ 215362 h 279938"/>
                <a:gd name="connsiteX552" fmla="*/ 69985 w 203591"/>
                <a:gd name="connsiteY552" fmla="*/ 216634 h 279938"/>
                <a:gd name="connsiteX553" fmla="*/ 69349 w 203591"/>
                <a:gd name="connsiteY553" fmla="*/ 217270 h 279938"/>
                <a:gd name="connsiteX554" fmla="*/ 69985 w 203591"/>
                <a:gd name="connsiteY554" fmla="*/ 217588 h 279938"/>
                <a:gd name="connsiteX555" fmla="*/ 69667 w 203591"/>
                <a:gd name="connsiteY555" fmla="*/ 220770 h 279938"/>
                <a:gd name="connsiteX556" fmla="*/ 69030 w 203591"/>
                <a:gd name="connsiteY556" fmla="*/ 220770 h 279938"/>
                <a:gd name="connsiteX557" fmla="*/ 68394 w 203591"/>
                <a:gd name="connsiteY557" fmla="*/ 220133 h 279938"/>
                <a:gd name="connsiteX558" fmla="*/ 67758 w 203591"/>
                <a:gd name="connsiteY558" fmla="*/ 218861 h 279938"/>
                <a:gd name="connsiteX559" fmla="*/ 68394 w 203591"/>
                <a:gd name="connsiteY559" fmla="*/ 217907 h 279938"/>
                <a:gd name="connsiteX560" fmla="*/ 68712 w 203591"/>
                <a:gd name="connsiteY560" fmla="*/ 217588 h 279938"/>
                <a:gd name="connsiteX561" fmla="*/ 68394 w 203591"/>
                <a:gd name="connsiteY561" fmla="*/ 217588 h 279938"/>
                <a:gd name="connsiteX562" fmla="*/ 67758 w 203591"/>
                <a:gd name="connsiteY562" fmla="*/ 217270 h 279938"/>
                <a:gd name="connsiteX563" fmla="*/ 66803 w 203591"/>
                <a:gd name="connsiteY563" fmla="*/ 218861 h 279938"/>
                <a:gd name="connsiteX564" fmla="*/ 66803 w 203591"/>
                <a:gd name="connsiteY564" fmla="*/ 219815 h 279938"/>
                <a:gd name="connsiteX565" fmla="*/ 65849 w 203591"/>
                <a:gd name="connsiteY565" fmla="*/ 220770 h 279938"/>
                <a:gd name="connsiteX566" fmla="*/ 66485 w 203591"/>
                <a:gd name="connsiteY566" fmla="*/ 221406 h 279938"/>
                <a:gd name="connsiteX567" fmla="*/ 67122 w 203591"/>
                <a:gd name="connsiteY567" fmla="*/ 222042 h 279938"/>
                <a:gd name="connsiteX568" fmla="*/ 66167 w 203591"/>
                <a:gd name="connsiteY568" fmla="*/ 222678 h 279938"/>
                <a:gd name="connsiteX569" fmla="*/ 66167 w 203591"/>
                <a:gd name="connsiteY569" fmla="*/ 223314 h 279938"/>
                <a:gd name="connsiteX570" fmla="*/ 67758 w 203591"/>
                <a:gd name="connsiteY570" fmla="*/ 223951 h 279938"/>
                <a:gd name="connsiteX571" fmla="*/ 68712 w 203591"/>
                <a:gd name="connsiteY571" fmla="*/ 223951 h 279938"/>
                <a:gd name="connsiteX572" fmla="*/ 69985 w 203591"/>
                <a:gd name="connsiteY572" fmla="*/ 224269 h 279938"/>
                <a:gd name="connsiteX573" fmla="*/ 69667 w 203591"/>
                <a:gd name="connsiteY573" fmla="*/ 225541 h 279938"/>
                <a:gd name="connsiteX574" fmla="*/ 69985 w 203591"/>
                <a:gd name="connsiteY574" fmla="*/ 230949 h 279938"/>
                <a:gd name="connsiteX575" fmla="*/ 69985 w 203591"/>
                <a:gd name="connsiteY575" fmla="*/ 232222 h 279938"/>
                <a:gd name="connsiteX576" fmla="*/ 69349 w 203591"/>
                <a:gd name="connsiteY576" fmla="*/ 232540 h 279938"/>
                <a:gd name="connsiteX577" fmla="*/ 69667 w 203591"/>
                <a:gd name="connsiteY577" fmla="*/ 233494 h 279938"/>
                <a:gd name="connsiteX578" fmla="*/ 69985 w 203591"/>
                <a:gd name="connsiteY578" fmla="*/ 236039 h 279938"/>
                <a:gd name="connsiteX579" fmla="*/ 69667 w 203591"/>
                <a:gd name="connsiteY579" fmla="*/ 236675 h 279938"/>
                <a:gd name="connsiteX580" fmla="*/ 69030 w 203591"/>
                <a:gd name="connsiteY580" fmla="*/ 237630 h 279938"/>
                <a:gd name="connsiteX581" fmla="*/ 69030 w 203591"/>
                <a:gd name="connsiteY581" fmla="*/ 239538 h 279938"/>
                <a:gd name="connsiteX582" fmla="*/ 69667 w 203591"/>
                <a:gd name="connsiteY582" fmla="*/ 239856 h 279938"/>
                <a:gd name="connsiteX583" fmla="*/ 69349 w 203591"/>
                <a:gd name="connsiteY583" fmla="*/ 240174 h 279938"/>
                <a:gd name="connsiteX584" fmla="*/ 69985 w 203591"/>
                <a:gd name="connsiteY584" fmla="*/ 241129 h 279938"/>
                <a:gd name="connsiteX585" fmla="*/ 69985 w 203591"/>
                <a:gd name="connsiteY585" fmla="*/ 241447 h 279938"/>
                <a:gd name="connsiteX586" fmla="*/ 69349 w 203591"/>
                <a:gd name="connsiteY586" fmla="*/ 242083 h 279938"/>
                <a:gd name="connsiteX587" fmla="*/ 69667 w 203591"/>
                <a:gd name="connsiteY587" fmla="*/ 242719 h 279938"/>
                <a:gd name="connsiteX588" fmla="*/ 69349 w 203591"/>
                <a:gd name="connsiteY588" fmla="*/ 243037 h 279938"/>
                <a:gd name="connsiteX589" fmla="*/ 69030 w 203591"/>
                <a:gd name="connsiteY589" fmla="*/ 243356 h 279938"/>
                <a:gd name="connsiteX590" fmla="*/ 68712 w 203591"/>
                <a:gd name="connsiteY590" fmla="*/ 243037 h 279938"/>
                <a:gd name="connsiteX591" fmla="*/ 68712 w 203591"/>
                <a:gd name="connsiteY591" fmla="*/ 242083 h 279938"/>
                <a:gd name="connsiteX592" fmla="*/ 67758 w 203591"/>
                <a:gd name="connsiteY592" fmla="*/ 241447 h 279938"/>
                <a:gd name="connsiteX593" fmla="*/ 67440 w 203591"/>
                <a:gd name="connsiteY593" fmla="*/ 242083 h 279938"/>
                <a:gd name="connsiteX594" fmla="*/ 67122 w 203591"/>
                <a:gd name="connsiteY594" fmla="*/ 245582 h 279938"/>
                <a:gd name="connsiteX595" fmla="*/ 68076 w 203591"/>
                <a:gd name="connsiteY595" fmla="*/ 245900 h 279938"/>
                <a:gd name="connsiteX596" fmla="*/ 68712 w 203591"/>
                <a:gd name="connsiteY596" fmla="*/ 245264 h 279938"/>
                <a:gd name="connsiteX597" fmla="*/ 69667 w 203591"/>
                <a:gd name="connsiteY597" fmla="*/ 245582 h 279938"/>
                <a:gd name="connsiteX598" fmla="*/ 69985 w 203591"/>
                <a:gd name="connsiteY598" fmla="*/ 246537 h 279938"/>
                <a:gd name="connsiteX599" fmla="*/ 69985 w 203591"/>
                <a:gd name="connsiteY599" fmla="*/ 247809 h 279938"/>
                <a:gd name="connsiteX600" fmla="*/ 70621 w 203591"/>
                <a:gd name="connsiteY600" fmla="*/ 249082 h 279938"/>
                <a:gd name="connsiteX601" fmla="*/ 70621 w 203591"/>
                <a:gd name="connsiteY601" fmla="*/ 250354 h 279938"/>
                <a:gd name="connsiteX602" fmla="*/ 70303 w 203591"/>
                <a:gd name="connsiteY602" fmla="*/ 251308 h 279938"/>
                <a:gd name="connsiteX603" fmla="*/ 70939 w 203591"/>
                <a:gd name="connsiteY603" fmla="*/ 252581 h 279938"/>
                <a:gd name="connsiteX604" fmla="*/ 70939 w 203591"/>
                <a:gd name="connsiteY604" fmla="*/ 253535 h 279938"/>
                <a:gd name="connsiteX605" fmla="*/ 71257 w 203591"/>
                <a:gd name="connsiteY605" fmla="*/ 254171 h 279938"/>
                <a:gd name="connsiteX606" fmla="*/ 71257 w 203591"/>
                <a:gd name="connsiteY606" fmla="*/ 254489 h 279938"/>
                <a:gd name="connsiteX607" fmla="*/ 71257 w 203591"/>
                <a:gd name="connsiteY607" fmla="*/ 256716 h 279938"/>
                <a:gd name="connsiteX608" fmla="*/ 72211 w 203591"/>
                <a:gd name="connsiteY608" fmla="*/ 258307 h 279938"/>
                <a:gd name="connsiteX609" fmla="*/ 72211 w 203591"/>
                <a:gd name="connsiteY609" fmla="*/ 259261 h 279938"/>
                <a:gd name="connsiteX610" fmla="*/ 73166 w 203591"/>
                <a:gd name="connsiteY610" fmla="*/ 260215 h 279938"/>
                <a:gd name="connsiteX611" fmla="*/ 73166 w 203591"/>
                <a:gd name="connsiteY611" fmla="*/ 260852 h 279938"/>
                <a:gd name="connsiteX612" fmla="*/ 75074 w 203591"/>
                <a:gd name="connsiteY612" fmla="*/ 260534 h 279938"/>
                <a:gd name="connsiteX613" fmla="*/ 76983 w 203591"/>
                <a:gd name="connsiteY613" fmla="*/ 259579 h 279938"/>
                <a:gd name="connsiteX614" fmla="*/ 78574 w 203591"/>
                <a:gd name="connsiteY614" fmla="*/ 258307 h 279938"/>
                <a:gd name="connsiteX615" fmla="*/ 79528 w 203591"/>
                <a:gd name="connsiteY615" fmla="*/ 256716 h 279938"/>
                <a:gd name="connsiteX616" fmla="*/ 79528 w 203591"/>
                <a:gd name="connsiteY616" fmla="*/ 256398 h 279938"/>
                <a:gd name="connsiteX617" fmla="*/ 81755 w 203591"/>
                <a:gd name="connsiteY617" fmla="*/ 254171 h 279938"/>
                <a:gd name="connsiteX618" fmla="*/ 83027 w 203591"/>
                <a:gd name="connsiteY618" fmla="*/ 252899 h 279938"/>
                <a:gd name="connsiteX619" fmla="*/ 83027 w 203591"/>
                <a:gd name="connsiteY619" fmla="*/ 251945 h 279938"/>
                <a:gd name="connsiteX620" fmla="*/ 83345 w 203591"/>
                <a:gd name="connsiteY620" fmla="*/ 251308 h 279938"/>
                <a:gd name="connsiteX621" fmla="*/ 83982 w 203591"/>
                <a:gd name="connsiteY621" fmla="*/ 250672 h 279938"/>
                <a:gd name="connsiteX622" fmla="*/ 84300 w 203591"/>
                <a:gd name="connsiteY622" fmla="*/ 249400 h 279938"/>
                <a:gd name="connsiteX623" fmla="*/ 85572 w 203591"/>
                <a:gd name="connsiteY623" fmla="*/ 248445 h 279938"/>
                <a:gd name="connsiteX624" fmla="*/ 86526 w 203591"/>
                <a:gd name="connsiteY624" fmla="*/ 246855 h 279938"/>
                <a:gd name="connsiteX625" fmla="*/ 86526 w 203591"/>
                <a:gd name="connsiteY625" fmla="*/ 246219 h 279938"/>
                <a:gd name="connsiteX626" fmla="*/ 87163 w 203591"/>
                <a:gd name="connsiteY626" fmla="*/ 244310 h 279938"/>
                <a:gd name="connsiteX627" fmla="*/ 89390 w 203591"/>
                <a:gd name="connsiteY627" fmla="*/ 242401 h 279938"/>
                <a:gd name="connsiteX628" fmla="*/ 90026 w 203591"/>
                <a:gd name="connsiteY628" fmla="*/ 240811 h 279938"/>
                <a:gd name="connsiteX629" fmla="*/ 90662 w 203591"/>
                <a:gd name="connsiteY629" fmla="*/ 239538 h 279938"/>
                <a:gd name="connsiteX630" fmla="*/ 90344 w 203591"/>
                <a:gd name="connsiteY630" fmla="*/ 239220 h 279938"/>
                <a:gd name="connsiteX631" fmla="*/ 90980 w 203591"/>
                <a:gd name="connsiteY631" fmla="*/ 237948 h 279938"/>
                <a:gd name="connsiteX632" fmla="*/ 91934 w 203591"/>
                <a:gd name="connsiteY632" fmla="*/ 236039 h 279938"/>
                <a:gd name="connsiteX633" fmla="*/ 93525 w 203591"/>
                <a:gd name="connsiteY633" fmla="*/ 233494 h 279938"/>
                <a:gd name="connsiteX634" fmla="*/ 93525 w 203591"/>
                <a:gd name="connsiteY634" fmla="*/ 233176 h 279938"/>
                <a:gd name="connsiteX635" fmla="*/ 94479 w 203591"/>
                <a:gd name="connsiteY635" fmla="*/ 232540 h 279938"/>
                <a:gd name="connsiteX636" fmla="*/ 94161 w 203591"/>
                <a:gd name="connsiteY636" fmla="*/ 232540 h 279938"/>
                <a:gd name="connsiteX637" fmla="*/ 95115 w 203591"/>
                <a:gd name="connsiteY637" fmla="*/ 230631 h 279938"/>
                <a:gd name="connsiteX638" fmla="*/ 95434 w 203591"/>
                <a:gd name="connsiteY638" fmla="*/ 229359 h 279938"/>
                <a:gd name="connsiteX639" fmla="*/ 96706 w 203591"/>
                <a:gd name="connsiteY639" fmla="*/ 228086 h 279938"/>
                <a:gd name="connsiteX640" fmla="*/ 96388 w 203591"/>
                <a:gd name="connsiteY640" fmla="*/ 227132 h 279938"/>
                <a:gd name="connsiteX641" fmla="*/ 96706 w 203591"/>
                <a:gd name="connsiteY641" fmla="*/ 226496 h 279938"/>
                <a:gd name="connsiteX642" fmla="*/ 97660 w 203591"/>
                <a:gd name="connsiteY642" fmla="*/ 225541 h 279938"/>
                <a:gd name="connsiteX643" fmla="*/ 98297 w 203591"/>
                <a:gd name="connsiteY643" fmla="*/ 223951 h 279938"/>
                <a:gd name="connsiteX644" fmla="*/ 99887 w 203591"/>
                <a:gd name="connsiteY644" fmla="*/ 222042 h 279938"/>
                <a:gd name="connsiteX645" fmla="*/ 101478 w 203591"/>
                <a:gd name="connsiteY645" fmla="*/ 218861 h 279938"/>
                <a:gd name="connsiteX646" fmla="*/ 102114 w 203591"/>
                <a:gd name="connsiteY646" fmla="*/ 217907 h 279938"/>
                <a:gd name="connsiteX647" fmla="*/ 103068 w 203591"/>
                <a:gd name="connsiteY647" fmla="*/ 215362 h 279938"/>
                <a:gd name="connsiteX648" fmla="*/ 104341 w 203591"/>
                <a:gd name="connsiteY648" fmla="*/ 213453 h 279938"/>
                <a:gd name="connsiteX649" fmla="*/ 104023 w 203591"/>
                <a:gd name="connsiteY649" fmla="*/ 213135 h 279938"/>
                <a:gd name="connsiteX650" fmla="*/ 104659 w 203591"/>
                <a:gd name="connsiteY650" fmla="*/ 211862 h 279938"/>
                <a:gd name="connsiteX651" fmla="*/ 106249 w 203591"/>
                <a:gd name="connsiteY651" fmla="*/ 209636 h 279938"/>
                <a:gd name="connsiteX652" fmla="*/ 105931 w 203591"/>
                <a:gd name="connsiteY652" fmla="*/ 208999 h 279938"/>
                <a:gd name="connsiteX653" fmla="*/ 106249 w 203591"/>
                <a:gd name="connsiteY653" fmla="*/ 208045 h 279938"/>
                <a:gd name="connsiteX654" fmla="*/ 107840 w 203591"/>
                <a:gd name="connsiteY654" fmla="*/ 206455 h 279938"/>
                <a:gd name="connsiteX655" fmla="*/ 108476 w 203591"/>
                <a:gd name="connsiteY655" fmla="*/ 204864 h 279938"/>
                <a:gd name="connsiteX656" fmla="*/ 108794 w 203591"/>
                <a:gd name="connsiteY656" fmla="*/ 203592 h 279938"/>
                <a:gd name="connsiteX657" fmla="*/ 108476 w 203591"/>
                <a:gd name="connsiteY657" fmla="*/ 203273 h 279938"/>
                <a:gd name="connsiteX658" fmla="*/ 109112 w 203591"/>
                <a:gd name="connsiteY658" fmla="*/ 202319 h 279938"/>
                <a:gd name="connsiteX659" fmla="*/ 110385 w 203591"/>
                <a:gd name="connsiteY659" fmla="*/ 201047 h 279938"/>
                <a:gd name="connsiteX660" fmla="*/ 110703 w 203591"/>
                <a:gd name="connsiteY660" fmla="*/ 200092 h 279938"/>
                <a:gd name="connsiteX661" fmla="*/ 111339 w 203591"/>
                <a:gd name="connsiteY661" fmla="*/ 198820 h 279938"/>
                <a:gd name="connsiteX662" fmla="*/ 112612 w 203591"/>
                <a:gd name="connsiteY662" fmla="*/ 197547 h 279938"/>
                <a:gd name="connsiteX663" fmla="*/ 112294 w 203591"/>
                <a:gd name="connsiteY663" fmla="*/ 196593 h 279938"/>
                <a:gd name="connsiteX664" fmla="*/ 112612 w 203591"/>
                <a:gd name="connsiteY664" fmla="*/ 195321 h 279938"/>
                <a:gd name="connsiteX665" fmla="*/ 113248 w 203591"/>
                <a:gd name="connsiteY665" fmla="*/ 194684 h 279938"/>
                <a:gd name="connsiteX666" fmla="*/ 113248 w 203591"/>
                <a:gd name="connsiteY666" fmla="*/ 194366 h 279938"/>
                <a:gd name="connsiteX667" fmla="*/ 113884 w 203591"/>
                <a:gd name="connsiteY667" fmla="*/ 193730 h 279938"/>
                <a:gd name="connsiteX668" fmla="*/ 114202 w 203591"/>
                <a:gd name="connsiteY668" fmla="*/ 193094 h 279938"/>
                <a:gd name="connsiteX669" fmla="*/ 114838 w 203591"/>
                <a:gd name="connsiteY669" fmla="*/ 192140 h 279938"/>
                <a:gd name="connsiteX670" fmla="*/ 114838 w 203591"/>
                <a:gd name="connsiteY670" fmla="*/ 191503 h 279938"/>
                <a:gd name="connsiteX671" fmla="*/ 115156 w 203591"/>
                <a:gd name="connsiteY671" fmla="*/ 191185 h 279938"/>
                <a:gd name="connsiteX672" fmla="*/ 116747 w 203591"/>
                <a:gd name="connsiteY672" fmla="*/ 187686 h 279938"/>
                <a:gd name="connsiteX673" fmla="*/ 117065 w 203591"/>
                <a:gd name="connsiteY673" fmla="*/ 186095 h 279938"/>
                <a:gd name="connsiteX674" fmla="*/ 118020 w 203591"/>
                <a:gd name="connsiteY674" fmla="*/ 184505 h 279938"/>
                <a:gd name="connsiteX675" fmla="*/ 118974 w 203591"/>
                <a:gd name="connsiteY675" fmla="*/ 183232 h 279938"/>
                <a:gd name="connsiteX676" fmla="*/ 120246 w 203591"/>
                <a:gd name="connsiteY676" fmla="*/ 180688 h 279938"/>
                <a:gd name="connsiteX677" fmla="*/ 120246 w 203591"/>
                <a:gd name="connsiteY677" fmla="*/ 179415 h 279938"/>
                <a:gd name="connsiteX678" fmla="*/ 120564 w 203591"/>
                <a:gd name="connsiteY678" fmla="*/ 179097 h 279938"/>
                <a:gd name="connsiteX679" fmla="*/ 121519 w 203591"/>
                <a:gd name="connsiteY679" fmla="*/ 177188 h 279938"/>
                <a:gd name="connsiteX680" fmla="*/ 122155 w 203591"/>
                <a:gd name="connsiteY680" fmla="*/ 176234 h 279938"/>
                <a:gd name="connsiteX681" fmla="*/ 121519 w 203591"/>
                <a:gd name="connsiteY681" fmla="*/ 175916 h 279938"/>
                <a:gd name="connsiteX682" fmla="*/ 122473 w 203591"/>
                <a:gd name="connsiteY682" fmla="*/ 174962 h 279938"/>
                <a:gd name="connsiteX683" fmla="*/ 123428 w 203591"/>
                <a:gd name="connsiteY683" fmla="*/ 173689 h 279938"/>
                <a:gd name="connsiteX684" fmla="*/ 123109 w 203591"/>
                <a:gd name="connsiteY684" fmla="*/ 173689 h 279938"/>
                <a:gd name="connsiteX685" fmla="*/ 123109 w 203591"/>
                <a:gd name="connsiteY685" fmla="*/ 173371 h 279938"/>
                <a:gd name="connsiteX686" fmla="*/ 123746 w 203591"/>
                <a:gd name="connsiteY686" fmla="*/ 172735 h 279938"/>
                <a:gd name="connsiteX687" fmla="*/ 123428 w 203591"/>
                <a:gd name="connsiteY687" fmla="*/ 172098 h 279938"/>
                <a:gd name="connsiteX688" fmla="*/ 124064 w 203591"/>
                <a:gd name="connsiteY688" fmla="*/ 170826 h 279938"/>
                <a:gd name="connsiteX689" fmla="*/ 125018 w 203591"/>
                <a:gd name="connsiteY689" fmla="*/ 169872 h 279938"/>
                <a:gd name="connsiteX690" fmla="*/ 126609 w 203591"/>
                <a:gd name="connsiteY690" fmla="*/ 167645 h 279938"/>
                <a:gd name="connsiteX691" fmla="*/ 142514 w 203591"/>
                <a:gd name="connsiteY691" fmla="*/ 147286 h 279938"/>
                <a:gd name="connsiteX692" fmla="*/ 133607 w 203591"/>
                <a:gd name="connsiteY692" fmla="*/ 167327 h 279938"/>
                <a:gd name="connsiteX693" fmla="*/ 133925 w 203591"/>
                <a:gd name="connsiteY693" fmla="*/ 167327 h 279938"/>
                <a:gd name="connsiteX694" fmla="*/ 133925 w 203591"/>
                <a:gd name="connsiteY694" fmla="*/ 167645 h 279938"/>
                <a:gd name="connsiteX695" fmla="*/ 133607 w 203591"/>
                <a:gd name="connsiteY695" fmla="*/ 168599 h 279938"/>
                <a:gd name="connsiteX696" fmla="*/ 134243 w 203591"/>
                <a:gd name="connsiteY696" fmla="*/ 168599 h 279938"/>
                <a:gd name="connsiteX697" fmla="*/ 135834 w 203591"/>
                <a:gd name="connsiteY697" fmla="*/ 167963 h 279938"/>
                <a:gd name="connsiteX698" fmla="*/ 135834 w 203591"/>
                <a:gd name="connsiteY698" fmla="*/ 168599 h 279938"/>
                <a:gd name="connsiteX699" fmla="*/ 134879 w 203591"/>
                <a:gd name="connsiteY699" fmla="*/ 170826 h 279938"/>
                <a:gd name="connsiteX700" fmla="*/ 134879 w 203591"/>
                <a:gd name="connsiteY700" fmla="*/ 171144 h 279938"/>
                <a:gd name="connsiteX701" fmla="*/ 133607 w 203591"/>
                <a:gd name="connsiteY701" fmla="*/ 172098 h 279938"/>
                <a:gd name="connsiteX702" fmla="*/ 133289 w 203591"/>
                <a:gd name="connsiteY702" fmla="*/ 173053 h 279938"/>
                <a:gd name="connsiteX703" fmla="*/ 133289 w 203591"/>
                <a:gd name="connsiteY703" fmla="*/ 173689 h 279938"/>
                <a:gd name="connsiteX704" fmla="*/ 132971 w 203591"/>
                <a:gd name="connsiteY704" fmla="*/ 174325 h 279938"/>
                <a:gd name="connsiteX705" fmla="*/ 132335 w 203591"/>
                <a:gd name="connsiteY705" fmla="*/ 175280 h 279938"/>
                <a:gd name="connsiteX706" fmla="*/ 132971 w 203591"/>
                <a:gd name="connsiteY706" fmla="*/ 176234 h 279938"/>
                <a:gd name="connsiteX707" fmla="*/ 133289 w 203591"/>
                <a:gd name="connsiteY707" fmla="*/ 176552 h 279938"/>
                <a:gd name="connsiteX708" fmla="*/ 132653 w 203591"/>
                <a:gd name="connsiteY708" fmla="*/ 176870 h 279938"/>
                <a:gd name="connsiteX709" fmla="*/ 132016 w 203591"/>
                <a:gd name="connsiteY709" fmla="*/ 177188 h 279938"/>
                <a:gd name="connsiteX710" fmla="*/ 129472 w 203591"/>
                <a:gd name="connsiteY710" fmla="*/ 178461 h 279938"/>
                <a:gd name="connsiteX711" fmla="*/ 129472 w 203591"/>
                <a:gd name="connsiteY711" fmla="*/ 179097 h 279938"/>
                <a:gd name="connsiteX712" fmla="*/ 130744 w 203591"/>
                <a:gd name="connsiteY712" fmla="*/ 179733 h 279938"/>
                <a:gd name="connsiteX713" fmla="*/ 129153 w 203591"/>
                <a:gd name="connsiteY713" fmla="*/ 180369 h 279938"/>
                <a:gd name="connsiteX714" fmla="*/ 127881 w 203591"/>
                <a:gd name="connsiteY714" fmla="*/ 181006 h 279938"/>
                <a:gd name="connsiteX715" fmla="*/ 127563 w 203591"/>
                <a:gd name="connsiteY715" fmla="*/ 181642 h 279938"/>
                <a:gd name="connsiteX716" fmla="*/ 127563 w 203591"/>
                <a:gd name="connsiteY716" fmla="*/ 181960 h 279938"/>
                <a:gd name="connsiteX717" fmla="*/ 128835 w 203591"/>
                <a:gd name="connsiteY717" fmla="*/ 181960 h 279938"/>
                <a:gd name="connsiteX718" fmla="*/ 128835 w 203591"/>
                <a:gd name="connsiteY718" fmla="*/ 182596 h 279938"/>
                <a:gd name="connsiteX719" fmla="*/ 129153 w 203591"/>
                <a:gd name="connsiteY719" fmla="*/ 183232 h 279938"/>
                <a:gd name="connsiteX720" fmla="*/ 129472 w 203591"/>
                <a:gd name="connsiteY720" fmla="*/ 183869 h 279938"/>
                <a:gd name="connsiteX721" fmla="*/ 129153 w 203591"/>
                <a:gd name="connsiteY721" fmla="*/ 184187 h 279938"/>
                <a:gd name="connsiteX722" fmla="*/ 127881 w 203591"/>
                <a:gd name="connsiteY722" fmla="*/ 185141 h 279938"/>
                <a:gd name="connsiteX723" fmla="*/ 127881 w 203591"/>
                <a:gd name="connsiteY723" fmla="*/ 187686 h 279938"/>
                <a:gd name="connsiteX724" fmla="*/ 127563 w 203591"/>
                <a:gd name="connsiteY724" fmla="*/ 188322 h 279938"/>
                <a:gd name="connsiteX725" fmla="*/ 127245 w 203591"/>
                <a:gd name="connsiteY725" fmla="*/ 189277 h 279938"/>
                <a:gd name="connsiteX726" fmla="*/ 126927 w 203591"/>
                <a:gd name="connsiteY726" fmla="*/ 189595 h 279938"/>
                <a:gd name="connsiteX727" fmla="*/ 125972 w 203591"/>
                <a:gd name="connsiteY727" fmla="*/ 190867 h 279938"/>
                <a:gd name="connsiteX728" fmla="*/ 126609 w 203591"/>
                <a:gd name="connsiteY728" fmla="*/ 192140 h 279938"/>
                <a:gd name="connsiteX729" fmla="*/ 125018 w 203591"/>
                <a:gd name="connsiteY729" fmla="*/ 192776 h 279938"/>
                <a:gd name="connsiteX730" fmla="*/ 124700 w 203591"/>
                <a:gd name="connsiteY730" fmla="*/ 193094 h 279938"/>
                <a:gd name="connsiteX731" fmla="*/ 124700 w 203591"/>
                <a:gd name="connsiteY731" fmla="*/ 193730 h 279938"/>
                <a:gd name="connsiteX732" fmla="*/ 125018 w 203591"/>
                <a:gd name="connsiteY732" fmla="*/ 194684 h 279938"/>
                <a:gd name="connsiteX733" fmla="*/ 123428 w 203591"/>
                <a:gd name="connsiteY733" fmla="*/ 196275 h 279938"/>
                <a:gd name="connsiteX734" fmla="*/ 123428 w 203591"/>
                <a:gd name="connsiteY734" fmla="*/ 196911 h 279938"/>
                <a:gd name="connsiteX735" fmla="*/ 124700 w 203591"/>
                <a:gd name="connsiteY735" fmla="*/ 196911 h 279938"/>
                <a:gd name="connsiteX736" fmla="*/ 125336 w 203591"/>
                <a:gd name="connsiteY736" fmla="*/ 196593 h 279938"/>
                <a:gd name="connsiteX737" fmla="*/ 125972 w 203591"/>
                <a:gd name="connsiteY737" fmla="*/ 196911 h 279938"/>
                <a:gd name="connsiteX738" fmla="*/ 125654 w 203591"/>
                <a:gd name="connsiteY738" fmla="*/ 197547 h 279938"/>
                <a:gd name="connsiteX739" fmla="*/ 125336 w 203591"/>
                <a:gd name="connsiteY739" fmla="*/ 198184 h 279938"/>
                <a:gd name="connsiteX740" fmla="*/ 124700 w 203591"/>
                <a:gd name="connsiteY740" fmla="*/ 200410 h 279938"/>
                <a:gd name="connsiteX741" fmla="*/ 124700 w 203591"/>
                <a:gd name="connsiteY741" fmla="*/ 201365 h 279938"/>
                <a:gd name="connsiteX742" fmla="*/ 125018 w 203591"/>
                <a:gd name="connsiteY742" fmla="*/ 202001 h 279938"/>
                <a:gd name="connsiteX743" fmla="*/ 124700 w 203591"/>
                <a:gd name="connsiteY743" fmla="*/ 202955 h 279938"/>
                <a:gd name="connsiteX744" fmla="*/ 124382 w 203591"/>
                <a:gd name="connsiteY744" fmla="*/ 203273 h 279938"/>
                <a:gd name="connsiteX745" fmla="*/ 124382 w 203591"/>
                <a:gd name="connsiteY745" fmla="*/ 203592 h 279938"/>
                <a:gd name="connsiteX746" fmla="*/ 123746 w 203591"/>
                <a:gd name="connsiteY746" fmla="*/ 204228 h 279938"/>
                <a:gd name="connsiteX747" fmla="*/ 123109 w 203591"/>
                <a:gd name="connsiteY747" fmla="*/ 205500 h 279938"/>
                <a:gd name="connsiteX748" fmla="*/ 122791 w 203591"/>
                <a:gd name="connsiteY748" fmla="*/ 206455 h 279938"/>
                <a:gd name="connsiteX749" fmla="*/ 120564 w 203591"/>
                <a:gd name="connsiteY749" fmla="*/ 207409 h 279938"/>
                <a:gd name="connsiteX750" fmla="*/ 120564 w 203591"/>
                <a:gd name="connsiteY750" fmla="*/ 208363 h 279938"/>
                <a:gd name="connsiteX751" fmla="*/ 118338 w 203591"/>
                <a:gd name="connsiteY751" fmla="*/ 210590 h 279938"/>
                <a:gd name="connsiteX752" fmla="*/ 118656 w 203591"/>
                <a:gd name="connsiteY752" fmla="*/ 210590 h 279938"/>
                <a:gd name="connsiteX753" fmla="*/ 119292 w 203591"/>
                <a:gd name="connsiteY753" fmla="*/ 211544 h 279938"/>
                <a:gd name="connsiteX754" fmla="*/ 119292 w 203591"/>
                <a:gd name="connsiteY754" fmla="*/ 211862 h 279938"/>
                <a:gd name="connsiteX755" fmla="*/ 118974 w 203591"/>
                <a:gd name="connsiteY755" fmla="*/ 213135 h 279938"/>
                <a:gd name="connsiteX756" fmla="*/ 118656 w 203591"/>
                <a:gd name="connsiteY756" fmla="*/ 213771 h 279938"/>
                <a:gd name="connsiteX757" fmla="*/ 117701 w 203591"/>
                <a:gd name="connsiteY757" fmla="*/ 215362 h 279938"/>
                <a:gd name="connsiteX758" fmla="*/ 118338 w 203591"/>
                <a:gd name="connsiteY758" fmla="*/ 215680 h 279938"/>
                <a:gd name="connsiteX759" fmla="*/ 116747 w 203591"/>
                <a:gd name="connsiteY759" fmla="*/ 216952 h 279938"/>
                <a:gd name="connsiteX760" fmla="*/ 116111 w 203591"/>
                <a:gd name="connsiteY760" fmla="*/ 216634 h 279938"/>
                <a:gd name="connsiteX761" fmla="*/ 115793 w 203591"/>
                <a:gd name="connsiteY761" fmla="*/ 215362 h 279938"/>
                <a:gd name="connsiteX762" fmla="*/ 116429 w 203591"/>
                <a:gd name="connsiteY762" fmla="*/ 215044 h 279938"/>
                <a:gd name="connsiteX763" fmla="*/ 117065 w 203591"/>
                <a:gd name="connsiteY763" fmla="*/ 214089 h 279938"/>
                <a:gd name="connsiteX764" fmla="*/ 116747 w 203591"/>
                <a:gd name="connsiteY764" fmla="*/ 213771 h 279938"/>
                <a:gd name="connsiteX765" fmla="*/ 114520 w 203591"/>
                <a:gd name="connsiteY765" fmla="*/ 215044 h 279938"/>
                <a:gd name="connsiteX766" fmla="*/ 114520 w 203591"/>
                <a:gd name="connsiteY766" fmla="*/ 215362 h 279938"/>
                <a:gd name="connsiteX767" fmla="*/ 113566 w 203591"/>
                <a:gd name="connsiteY767" fmla="*/ 217588 h 279938"/>
                <a:gd name="connsiteX768" fmla="*/ 113566 w 203591"/>
                <a:gd name="connsiteY768" fmla="*/ 217907 h 279938"/>
                <a:gd name="connsiteX769" fmla="*/ 112930 w 203591"/>
                <a:gd name="connsiteY769" fmla="*/ 219179 h 279938"/>
                <a:gd name="connsiteX770" fmla="*/ 112930 w 203591"/>
                <a:gd name="connsiteY770" fmla="*/ 220451 h 279938"/>
                <a:gd name="connsiteX771" fmla="*/ 113566 w 203591"/>
                <a:gd name="connsiteY771" fmla="*/ 220770 h 279938"/>
                <a:gd name="connsiteX772" fmla="*/ 112930 w 203591"/>
                <a:gd name="connsiteY772" fmla="*/ 221406 h 279938"/>
                <a:gd name="connsiteX773" fmla="*/ 112612 w 203591"/>
                <a:gd name="connsiteY773" fmla="*/ 223314 h 279938"/>
                <a:gd name="connsiteX774" fmla="*/ 112612 w 203591"/>
                <a:gd name="connsiteY774" fmla="*/ 224905 h 279938"/>
                <a:gd name="connsiteX775" fmla="*/ 111657 w 203591"/>
                <a:gd name="connsiteY775" fmla="*/ 225859 h 279938"/>
                <a:gd name="connsiteX776" fmla="*/ 111657 w 203591"/>
                <a:gd name="connsiteY776" fmla="*/ 227132 h 279938"/>
                <a:gd name="connsiteX777" fmla="*/ 111021 w 203591"/>
                <a:gd name="connsiteY777" fmla="*/ 228404 h 279938"/>
                <a:gd name="connsiteX778" fmla="*/ 110385 w 203591"/>
                <a:gd name="connsiteY778" fmla="*/ 228404 h 279938"/>
                <a:gd name="connsiteX779" fmla="*/ 109431 w 203591"/>
                <a:gd name="connsiteY779" fmla="*/ 228722 h 279938"/>
                <a:gd name="connsiteX780" fmla="*/ 109112 w 203591"/>
                <a:gd name="connsiteY780" fmla="*/ 229359 h 279938"/>
                <a:gd name="connsiteX781" fmla="*/ 110067 w 203591"/>
                <a:gd name="connsiteY781" fmla="*/ 229995 h 279938"/>
                <a:gd name="connsiteX782" fmla="*/ 109431 w 203591"/>
                <a:gd name="connsiteY782" fmla="*/ 230949 h 279938"/>
                <a:gd name="connsiteX783" fmla="*/ 107204 w 203591"/>
                <a:gd name="connsiteY783" fmla="*/ 231904 h 279938"/>
                <a:gd name="connsiteX784" fmla="*/ 106567 w 203591"/>
                <a:gd name="connsiteY784" fmla="*/ 232222 h 279938"/>
                <a:gd name="connsiteX785" fmla="*/ 106249 w 203591"/>
                <a:gd name="connsiteY785" fmla="*/ 232858 h 279938"/>
                <a:gd name="connsiteX786" fmla="*/ 106249 w 203591"/>
                <a:gd name="connsiteY786" fmla="*/ 234130 h 279938"/>
                <a:gd name="connsiteX787" fmla="*/ 105295 w 203591"/>
                <a:gd name="connsiteY787" fmla="*/ 235721 h 279938"/>
                <a:gd name="connsiteX788" fmla="*/ 104659 w 203591"/>
                <a:gd name="connsiteY788" fmla="*/ 236357 h 279938"/>
                <a:gd name="connsiteX789" fmla="*/ 104659 w 203591"/>
                <a:gd name="connsiteY789" fmla="*/ 236993 h 279938"/>
                <a:gd name="connsiteX790" fmla="*/ 104341 w 203591"/>
                <a:gd name="connsiteY790" fmla="*/ 237630 h 279938"/>
                <a:gd name="connsiteX791" fmla="*/ 103386 w 203591"/>
                <a:gd name="connsiteY791" fmla="*/ 237311 h 279938"/>
                <a:gd name="connsiteX792" fmla="*/ 103386 w 203591"/>
                <a:gd name="connsiteY792" fmla="*/ 236993 h 279938"/>
                <a:gd name="connsiteX793" fmla="*/ 103068 w 203591"/>
                <a:gd name="connsiteY793" fmla="*/ 237311 h 279938"/>
                <a:gd name="connsiteX794" fmla="*/ 102114 w 203591"/>
                <a:gd name="connsiteY794" fmla="*/ 237948 h 279938"/>
                <a:gd name="connsiteX795" fmla="*/ 101796 w 203591"/>
                <a:gd name="connsiteY795" fmla="*/ 238584 h 279938"/>
                <a:gd name="connsiteX796" fmla="*/ 101796 w 203591"/>
                <a:gd name="connsiteY796" fmla="*/ 239220 h 279938"/>
                <a:gd name="connsiteX797" fmla="*/ 102114 w 203591"/>
                <a:gd name="connsiteY797" fmla="*/ 239538 h 279938"/>
                <a:gd name="connsiteX798" fmla="*/ 103386 w 203591"/>
                <a:gd name="connsiteY798" fmla="*/ 238266 h 279938"/>
                <a:gd name="connsiteX799" fmla="*/ 103705 w 203591"/>
                <a:gd name="connsiteY799" fmla="*/ 237948 h 279938"/>
                <a:gd name="connsiteX800" fmla="*/ 104341 w 203591"/>
                <a:gd name="connsiteY800" fmla="*/ 238266 h 279938"/>
                <a:gd name="connsiteX801" fmla="*/ 104977 w 203591"/>
                <a:gd name="connsiteY801" fmla="*/ 239220 h 279938"/>
                <a:gd name="connsiteX802" fmla="*/ 106249 w 203591"/>
                <a:gd name="connsiteY802" fmla="*/ 239856 h 279938"/>
                <a:gd name="connsiteX803" fmla="*/ 107204 w 203591"/>
                <a:gd name="connsiteY803" fmla="*/ 239856 h 279938"/>
                <a:gd name="connsiteX804" fmla="*/ 106886 w 203591"/>
                <a:gd name="connsiteY804" fmla="*/ 239538 h 279938"/>
                <a:gd name="connsiteX805" fmla="*/ 106886 w 203591"/>
                <a:gd name="connsiteY805" fmla="*/ 238266 h 279938"/>
                <a:gd name="connsiteX806" fmla="*/ 107522 w 203591"/>
                <a:gd name="connsiteY806" fmla="*/ 237948 h 279938"/>
                <a:gd name="connsiteX807" fmla="*/ 107522 w 203591"/>
                <a:gd name="connsiteY807" fmla="*/ 238266 h 279938"/>
                <a:gd name="connsiteX808" fmla="*/ 107840 w 203591"/>
                <a:gd name="connsiteY808" fmla="*/ 240493 h 279938"/>
                <a:gd name="connsiteX809" fmla="*/ 107840 w 203591"/>
                <a:gd name="connsiteY809" fmla="*/ 241129 h 279938"/>
                <a:gd name="connsiteX810" fmla="*/ 106249 w 203591"/>
                <a:gd name="connsiteY810" fmla="*/ 242401 h 279938"/>
                <a:gd name="connsiteX811" fmla="*/ 104977 w 203591"/>
                <a:gd name="connsiteY811" fmla="*/ 243356 h 279938"/>
                <a:gd name="connsiteX812" fmla="*/ 103705 w 203591"/>
                <a:gd name="connsiteY812" fmla="*/ 242719 h 279938"/>
                <a:gd name="connsiteX813" fmla="*/ 103068 w 203591"/>
                <a:gd name="connsiteY813" fmla="*/ 242401 h 279938"/>
                <a:gd name="connsiteX814" fmla="*/ 102432 w 203591"/>
                <a:gd name="connsiteY814" fmla="*/ 243037 h 279938"/>
                <a:gd name="connsiteX815" fmla="*/ 101478 w 203591"/>
                <a:gd name="connsiteY815" fmla="*/ 243674 h 279938"/>
                <a:gd name="connsiteX816" fmla="*/ 100841 w 203591"/>
                <a:gd name="connsiteY816" fmla="*/ 243992 h 279938"/>
                <a:gd name="connsiteX817" fmla="*/ 101796 w 203591"/>
                <a:gd name="connsiteY817" fmla="*/ 244946 h 279938"/>
                <a:gd name="connsiteX818" fmla="*/ 101796 w 203591"/>
                <a:gd name="connsiteY818" fmla="*/ 245582 h 279938"/>
                <a:gd name="connsiteX819" fmla="*/ 102432 w 203591"/>
                <a:gd name="connsiteY819" fmla="*/ 246219 h 279938"/>
                <a:gd name="connsiteX820" fmla="*/ 102750 w 203591"/>
                <a:gd name="connsiteY820" fmla="*/ 246855 h 279938"/>
                <a:gd name="connsiteX821" fmla="*/ 101796 w 203591"/>
                <a:gd name="connsiteY821" fmla="*/ 247491 h 279938"/>
                <a:gd name="connsiteX822" fmla="*/ 99569 w 203591"/>
                <a:gd name="connsiteY822" fmla="*/ 249718 h 279938"/>
                <a:gd name="connsiteX823" fmla="*/ 98933 w 203591"/>
                <a:gd name="connsiteY823" fmla="*/ 250354 h 279938"/>
                <a:gd name="connsiteX824" fmla="*/ 99569 w 203591"/>
                <a:gd name="connsiteY824" fmla="*/ 251308 h 279938"/>
                <a:gd name="connsiteX825" fmla="*/ 99887 w 203591"/>
                <a:gd name="connsiteY825" fmla="*/ 250990 h 279938"/>
                <a:gd name="connsiteX826" fmla="*/ 100523 w 203591"/>
                <a:gd name="connsiteY826" fmla="*/ 250672 h 279938"/>
                <a:gd name="connsiteX827" fmla="*/ 100523 w 203591"/>
                <a:gd name="connsiteY827" fmla="*/ 250990 h 279938"/>
                <a:gd name="connsiteX828" fmla="*/ 100841 w 203591"/>
                <a:gd name="connsiteY828" fmla="*/ 250990 h 279938"/>
                <a:gd name="connsiteX829" fmla="*/ 100523 w 203591"/>
                <a:gd name="connsiteY829" fmla="*/ 251308 h 279938"/>
                <a:gd name="connsiteX830" fmla="*/ 100205 w 203591"/>
                <a:gd name="connsiteY830" fmla="*/ 251945 h 279938"/>
                <a:gd name="connsiteX831" fmla="*/ 100523 w 203591"/>
                <a:gd name="connsiteY831" fmla="*/ 252263 h 279938"/>
                <a:gd name="connsiteX832" fmla="*/ 100205 w 203591"/>
                <a:gd name="connsiteY832" fmla="*/ 252581 h 279938"/>
                <a:gd name="connsiteX833" fmla="*/ 99569 w 203591"/>
                <a:gd name="connsiteY833" fmla="*/ 253535 h 279938"/>
                <a:gd name="connsiteX834" fmla="*/ 98933 w 203591"/>
                <a:gd name="connsiteY834" fmla="*/ 253853 h 279938"/>
                <a:gd name="connsiteX835" fmla="*/ 97979 w 203591"/>
                <a:gd name="connsiteY835" fmla="*/ 255444 h 279938"/>
                <a:gd name="connsiteX836" fmla="*/ 97979 w 203591"/>
                <a:gd name="connsiteY836" fmla="*/ 256080 h 279938"/>
                <a:gd name="connsiteX837" fmla="*/ 96706 w 203591"/>
                <a:gd name="connsiteY837" fmla="*/ 257989 h 279938"/>
                <a:gd name="connsiteX838" fmla="*/ 96706 w 203591"/>
                <a:gd name="connsiteY838" fmla="*/ 259579 h 279938"/>
                <a:gd name="connsiteX839" fmla="*/ 95434 w 203591"/>
                <a:gd name="connsiteY839" fmla="*/ 261170 h 279938"/>
                <a:gd name="connsiteX840" fmla="*/ 94479 w 203591"/>
                <a:gd name="connsiteY840" fmla="*/ 262760 h 279938"/>
                <a:gd name="connsiteX841" fmla="*/ 93843 w 203591"/>
                <a:gd name="connsiteY841" fmla="*/ 263397 h 279938"/>
                <a:gd name="connsiteX842" fmla="*/ 93525 w 203591"/>
                <a:gd name="connsiteY842" fmla="*/ 264033 h 279938"/>
                <a:gd name="connsiteX843" fmla="*/ 93525 w 203591"/>
                <a:gd name="connsiteY843" fmla="*/ 264669 h 279938"/>
                <a:gd name="connsiteX844" fmla="*/ 91616 w 203591"/>
                <a:gd name="connsiteY844" fmla="*/ 265941 h 279938"/>
                <a:gd name="connsiteX845" fmla="*/ 91298 w 203591"/>
                <a:gd name="connsiteY845" fmla="*/ 266578 h 279938"/>
                <a:gd name="connsiteX846" fmla="*/ 91934 w 203591"/>
                <a:gd name="connsiteY846" fmla="*/ 267214 h 279938"/>
                <a:gd name="connsiteX847" fmla="*/ 92252 w 203591"/>
                <a:gd name="connsiteY847" fmla="*/ 267850 h 279938"/>
                <a:gd name="connsiteX848" fmla="*/ 91934 w 203591"/>
                <a:gd name="connsiteY848" fmla="*/ 268168 h 279938"/>
                <a:gd name="connsiteX849" fmla="*/ 91298 w 203591"/>
                <a:gd name="connsiteY849" fmla="*/ 269123 h 279938"/>
                <a:gd name="connsiteX850" fmla="*/ 91616 w 203591"/>
                <a:gd name="connsiteY850" fmla="*/ 269759 h 279938"/>
                <a:gd name="connsiteX851" fmla="*/ 91934 w 203591"/>
                <a:gd name="connsiteY851" fmla="*/ 270395 h 279938"/>
                <a:gd name="connsiteX852" fmla="*/ 91934 w 203591"/>
                <a:gd name="connsiteY852" fmla="*/ 270713 h 279938"/>
                <a:gd name="connsiteX853" fmla="*/ 91616 w 203591"/>
                <a:gd name="connsiteY853" fmla="*/ 271031 h 279938"/>
                <a:gd name="connsiteX854" fmla="*/ 90662 w 203591"/>
                <a:gd name="connsiteY854" fmla="*/ 271031 h 279938"/>
                <a:gd name="connsiteX855" fmla="*/ 90026 w 203591"/>
                <a:gd name="connsiteY855" fmla="*/ 271667 h 279938"/>
                <a:gd name="connsiteX856" fmla="*/ 88435 w 203591"/>
                <a:gd name="connsiteY856" fmla="*/ 273894 h 279938"/>
                <a:gd name="connsiteX857" fmla="*/ 87163 w 203591"/>
                <a:gd name="connsiteY857" fmla="*/ 275167 h 279938"/>
                <a:gd name="connsiteX858" fmla="*/ 86845 w 203591"/>
                <a:gd name="connsiteY858" fmla="*/ 275803 h 279938"/>
                <a:gd name="connsiteX859" fmla="*/ 85572 w 203591"/>
                <a:gd name="connsiteY859" fmla="*/ 275803 h 279938"/>
                <a:gd name="connsiteX860" fmla="*/ 84300 w 203591"/>
                <a:gd name="connsiteY860" fmla="*/ 276439 h 279938"/>
                <a:gd name="connsiteX861" fmla="*/ 83345 w 203591"/>
                <a:gd name="connsiteY861" fmla="*/ 277075 h 279938"/>
                <a:gd name="connsiteX862" fmla="*/ 83027 w 203591"/>
                <a:gd name="connsiteY862" fmla="*/ 277394 h 279938"/>
                <a:gd name="connsiteX863" fmla="*/ 82709 w 203591"/>
                <a:gd name="connsiteY863" fmla="*/ 278030 h 279938"/>
                <a:gd name="connsiteX864" fmla="*/ 81755 w 203591"/>
                <a:gd name="connsiteY864" fmla="*/ 277712 h 279938"/>
                <a:gd name="connsiteX865" fmla="*/ 78892 w 203591"/>
                <a:gd name="connsiteY865" fmla="*/ 281211 h 279938"/>
                <a:gd name="connsiteX866" fmla="*/ 78256 w 203591"/>
                <a:gd name="connsiteY866" fmla="*/ 281847 h 279938"/>
                <a:gd name="connsiteX867" fmla="*/ 75393 w 203591"/>
                <a:gd name="connsiteY867" fmla="*/ 281847 h 279938"/>
                <a:gd name="connsiteX868" fmla="*/ 74438 w 203591"/>
                <a:gd name="connsiteY868" fmla="*/ 281211 h 279938"/>
                <a:gd name="connsiteX869" fmla="*/ 72211 w 203591"/>
                <a:gd name="connsiteY869" fmla="*/ 281529 h 279938"/>
                <a:gd name="connsiteX870" fmla="*/ 70939 w 203591"/>
                <a:gd name="connsiteY870" fmla="*/ 281211 h 279938"/>
                <a:gd name="connsiteX871" fmla="*/ 69667 w 203591"/>
                <a:gd name="connsiteY871" fmla="*/ 281529 h 279938"/>
                <a:gd name="connsiteX872" fmla="*/ 68712 w 203591"/>
                <a:gd name="connsiteY872" fmla="*/ 281847 h 279938"/>
                <a:gd name="connsiteX873" fmla="*/ 64259 w 203591"/>
                <a:gd name="connsiteY873" fmla="*/ 279302 h 279938"/>
                <a:gd name="connsiteX874" fmla="*/ 63304 w 203591"/>
                <a:gd name="connsiteY874" fmla="*/ 279620 h 279938"/>
                <a:gd name="connsiteX875" fmla="*/ 62668 w 203591"/>
                <a:gd name="connsiteY875" fmla="*/ 279938 h 279938"/>
                <a:gd name="connsiteX876" fmla="*/ 61714 w 203591"/>
                <a:gd name="connsiteY876" fmla="*/ 279620 h 279938"/>
                <a:gd name="connsiteX877" fmla="*/ 59487 w 203591"/>
                <a:gd name="connsiteY877" fmla="*/ 277712 h 279938"/>
                <a:gd name="connsiteX878" fmla="*/ 57578 w 203591"/>
                <a:gd name="connsiteY878" fmla="*/ 277075 h 279938"/>
                <a:gd name="connsiteX879" fmla="*/ 56942 w 203591"/>
                <a:gd name="connsiteY879" fmla="*/ 276121 h 279938"/>
                <a:gd name="connsiteX880" fmla="*/ 55988 w 203591"/>
                <a:gd name="connsiteY880" fmla="*/ 275167 h 279938"/>
                <a:gd name="connsiteX881" fmla="*/ 54397 w 203591"/>
                <a:gd name="connsiteY881" fmla="*/ 274212 h 279938"/>
                <a:gd name="connsiteX882" fmla="*/ 54079 w 203591"/>
                <a:gd name="connsiteY882" fmla="*/ 273576 h 279938"/>
                <a:gd name="connsiteX883" fmla="*/ 54715 w 203591"/>
                <a:gd name="connsiteY883" fmla="*/ 273258 h 279938"/>
                <a:gd name="connsiteX884" fmla="*/ 55033 w 203591"/>
                <a:gd name="connsiteY884" fmla="*/ 273258 h 279938"/>
                <a:gd name="connsiteX885" fmla="*/ 54715 w 203591"/>
                <a:gd name="connsiteY885" fmla="*/ 272940 h 279938"/>
                <a:gd name="connsiteX886" fmla="*/ 54715 w 203591"/>
                <a:gd name="connsiteY886" fmla="*/ 271986 h 279938"/>
                <a:gd name="connsiteX887" fmla="*/ 54397 w 203591"/>
                <a:gd name="connsiteY887" fmla="*/ 271667 h 279938"/>
                <a:gd name="connsiteX888" fmla="*/ 53125 w 203591"/>
                <a:gd name="connsiteY888" fmla="*/ 271031 h 279938"/>
                <a:gd name="connsiteX889" fmla="*/ 53443 w 203591"/>
                <a:gd name="connsiteY889" fmla="*/ 270713 h 279938"/>
                <a:gd name="connsiteX890" fmla="*/ 53761 w 203591"/>
                <a:gd name="connsiteY890" fmla="*/ 270395 h 279938"/>
                <a:gd name="connsiteX891" fmla="*/ 53761 w 203591"/>
                <a:gd name="connsiteY891" fmla="*/ 270077 h 279938"/>
                <a:gd name="connsiteX892" fmla="*/ 53443 w 203591"/>
                <a:gd name="connsiteY892" fmla="*/ 269441 h 279938"/>
                <a:gd name="connsiteX893" fmla="*/ 53125 w 203591"/>
                <a:gd name="connsiteY893" fmla="*/ 269123 h 279938"/>
                <a:gd name="connsiteX894" fmla="*/ 53443 w 203591"/>
                <a:gd name="connsiteY894" fmla="*/ 268168 h 279938"/>
                <a:gd name="connsiteX895" fmla="*/ 52807 w 203591"/>
                <a:gd name="connsiteY895" fmla="*/ 267532 h 279938"/>
                <a:gd name="connsiteX896" fmla="*/ 52807 w 203591"/>
                <a:gd name="connsiteY896" fmla="*/ 267214 h 279938"/>
                <a:gd name="connsiteX897" fmla="*/ 52488 w 203591"/>
                <a:gd name="connsiteY897" fmla="*/ 266260 h 279938"/>
                <a:gd name="connsiteX898" fmla="*/ 52170 w 203591"/>
                <a:gd name="connsiteY898" fmla="*/ 264669 h 279938"/>
                <a:gd name="connsiteX899" fmla="*/ 51852 w 203591"/>
                <a:gd name="connsiteY899" fmla="*/ 263397 h 279938"/>
                <a:gd name="connsiteX900" fmla="*/ 50580 w 203591"/>
                <a:gd name="connsiteY900" fmla="*/ 263078 h 279938"/>
                <a:gd name="connsiteX901" fmla="*/ 49944 w 203591"/>
                <a:gd name="connsiteY901" fmla="*/ 263078 h 279938"/>
                <a:gd name="connsiteX902" fmla="*/ 49307 w 203591"/>
                <a:gd name="connsiteY902" fmla="*/ 262760 h 279938"/>
                <a:gd name="connsiteX903" fmla="*/ 49307 w 203591"/>
                <a:gd name="connsiteY903" fmla="*/ 261806 h 279938"/>
                <a:gd name="connsiteX904" fmla="*/ 49626 w 203591"/>
                <a:gd name="connsiteY904" fmla="*/ 261488 h 279938"/>
                <a:gd name="connsiteX905" fmla="*/ 50262 w 203591"/>
                <a:gd name="connsiteY905" fmla="*/ 260534 h 279938"/>
                <a:gd name="connsiteX906" fmla="*/ 50262 w 203591"/>
                <a:gd name="connsiteY906" fmla="*/ 259579 h 279938"/>
                <a:gd name="connsiteX907" fmla="*/ 49944 w 203591"/>
                <a:gd name="connsiteY907" fmla="*/ 257034 h 279938"/>
                <a:gd name="connsiteX908" fmla="*/ 49307 w 203591"/>
                <a:gd name="connsiteY908" fmla="*/ 255762 h 279938"/>
                <a:gd name="connsiteX909" fmla="*/ 49307 w 203591"/>
                <a:gd name="connsiteY909" fmla="*/ 255444 h 279938"/>
                <a:gd name="connsiteX910" fmla="*/ 48989 w 203591"/>
                <a:gd name="connsiteY910" fmla="*/ 255126 h 279938"/>
                <a:gd name="connsiteX911" fmla="*/ 48989 w 203591"/>
                <a:gd name="connsiteY911" fmla="*/ 255444 h 279938"/>
                <a:gd name="connsiteX912" fmla="*/ 48353 w 203591"/>
                <a:gd name="connsiteY912" fmla="*/ 255444 h 279938"/>
                <a:gd name="connsiteX913" fmla="*/ 48353 w 203591"/>
                <a:gd name="connsiteY913" fmla="*/ 254489 h 279938"/>
                <a:gd name="connsiteX914" fmla="*/ 48035 w 203591"/>
                <a:gd name="connsiteY914" fmla="*/ 253853 h 279938"/>
                <a:gd name="connsiteX915" fmla="*/ 47717 w 203591"/>
                <a:gd name="connsiteY915" fmla="*/ 253535 h 279938"/>
                <a:gd name="connsiteX916" fmla="*/ 48671 w 203591"/>
                <a:gd name="connsiteY916" fmla="*/ 252581 h 279938"/>
                <a:gd name="connsiteX917" fmla="*/ 48353 w 203591"/>
                <a:gd name="connsiteY917" fmla="*/ 251626 h 279938"/>
                <a:gd name="connsiteX918" fmla="*/ 47717 w 203591"/>
                <a:gd name="connsiteY918" fmla="*/ 251308 h 279938"/>
                <a:gd name="connsiteX919" fmla="*/ 47717 w 203591"/>
                <a:gd name="connsiteY919" fmla="*/ 249082 h 279938"/>
                <a:gd name="connsiteX920" fmla="*/ 48035 w 203591"/>
                <a:gd name="connsiteY920" fmla="*/ 246855 h 279938"/>
                <a:gd name="connsiteX921" fmla="*/ 48671 w 203591"/>
                <a:gd name="connsiteY921" fmla="*/ 246855 h 279938"/>
                <a:gd name="connsiteX922" fmla="*/ 49307 w 203591"/>
                <a:gd name="connsiteY922" fmla="*/ 246219 h 279938"/>
                <a:gd name="connsiteX923" fmla="*/ 48989 w 203591"/>
                <a:gd name="connsiteY923" fmla="*/ 244310 h 279938"/>
                <a:gd name="connsiteX924" fmla="*/ 48671 w 203591"/>
                <a:gd name="connsiteY924" fmla="*/ 243674 h 279938"/>
                <a:gd name="connsiteX925" fmla="*/ 48671 w 203591"/>
                <a:gd name="connsiteY925" fmla="*/ 243037 h 279938"/>
                <a:gd name="connsiteX926" fmla="*/ 48989 w 203591"/>
                <a:gd name="connsiteY926" fmla="*/ 241765 h 279938"/>
                <a:gd name="connsiteX927" fmla="*/ 48671 w 203591"/>
                <a:gd name="connsiteY927" fmla="*/ 240174 h 279938"/>
                <a:gd name="connsiteX928" fmla="*/ 48989 w 203591"/>
                <a:gd name="connsiteY928" fmla="*/ 239856 h 279938"/>
                <a:gd name="connsiteX929" fmla="*/ 47399 w 203591"/>
                <a:gd name="connsiteY929" fmla="*/ 238266 h 279938"/>
                <a:gd name="connsiteX930" fmla="*/ 47717 w 203591"/>
                <a:gd name="connsiteY930" fmla="*/ 237630 h 279938"/>
                <a:gd name="connsiteX931" fmla="*/ 46762 w 203591"/>
                <a:gd name="connsiteY931" fmla="*/ 236993 h 279938"/>
                <a:gd name="connsiteX932" fmla="*/ 47081 w 203591"/>
                <a:gd name="connsiteY932" fmla="*/ 236675 h 279938"/>
                <a:gd name="connsiteX933" fmla="*/ 48671 w 203591"/>
                <a:gd name="connsiteY933" fmla="*/ 235403 h 279938"/>
                <a:gd name="connsiteX934" fmla="*/ 47717 w 203591"/>
                <a:gd name="connsiteY934" fmla="*/ 233494 h 279938"/>
                <a:gd name="connsiteX935" fmla="*/ 47399 w 203591"/>
                <a:gd name="connsiteY935" fmla="*/ 233176 h 279938"/>
                <a:gd name="connsiteX936" fmla="*/ 47717 w 203591"/>
                <a:gd name="connsiteY936" fmla="*/ 232540 h 279938"/>
                <a:gd name="connsiteX937" fmla="*/ 47081 w 203591"/>
                <a:gd name="connsiteY937" fmla="*/ 232222 h 279938"/>
                <a:gd name="connsiteX938" fmla="*/ 47081 w 203591"/>
                <a:gd name="connsiteY938" fmla="*/ 231585 h 279938"/>
                <a:gd name="connsiteX939" fmla="*/ 46762 w 203591"/>
                <a:gd name="connsiteY939" fmla="*/ 229041 h 279938"/>
                <a:gd name="connsiteX940" fmla="*/ 46762 w 203591"/>
                <a:gd name="connsiteY940" fmla="*/ 226814 h 279938"/>
                <a:gd name="connsiteX941" fmla="*/ 47081 w 203591"/>
                <a:gd name="connsiteY941" fmla="*/ 225541 h 279938"/>
                <a:gd name="connsiteX942" fmla="*/ 48353 w 203591"/>
                <a:gd name="connsiteY942" fmla="*/ 225223 h 279938"/>
                <a:gd name="connsiteX943" fmla="*/ 47399 w 203591"/>
                <a:gd name="connsiteY943" fmla="*/ 223951 h 279938"/>
                <a:gd name="connsiteX944" fmla="*/ 47081 w 203591"/>
                <a:gd name="connsiteY944" fmla="*/ 223314 h 279938"/>
                <a:gd name="connsiteX945" fmla="*/ 48035 w 203591"/>
                <a:gd name="connsiteY945" fmla="*/ 222042 h 279938"/>
                <a:gd name="connsiteX946" fmla="*/ 47717 w 203591"/>
                <a:gd name="connsiteY946" fmla="*/ 220770 h 279938"/>
                <a:gd name="connsiteX947" fmla="*/ 47717 w 203591"/>
                <a:gd name="connsiteY947" fmla="*/ 218861 h 279938"/>
                <a:gd name="connsiteX948" fmla="*/ 48989 w 203591"/>
                <a:gd name="connsiteY948" fmla="*/ 216952 h 279938"/>
                <a:gd name="connsiteX949" fmla="*/ 48671 w 203591"/>
                <a:gd name="connsiteY949" fmla="*/ 216634 h 279938"/>
                <a:gd name="connsiteX950" fmla="*/ 48671 w 203591"/>
                <a:gd name="connsiteY950" fmla="*/ 215044 h 279938"/>
                <a:gd name="connsiteX951" fmla="*/ 48353 w 203591"/>
                <a:gd name="connsiteY951" fmla="*/ 214725 h 279938"/>
                <a:gd name="connsiteX952" fmla="*/ 48671 w 203591"/>
                <a:gd name="connsiteY952" fmla="*/ 214089 h 279938"/>
                <a:gd name="connsiteX953" fmla="*/ 49626 w 203591"/>
                <a:gd name="connsiteY953" fmla="*/ 213135 h 279938"/>
                <a:gd name="connsiteX954" fmla="*/ 49307 w 203591"/>
                <a:gd name="connsiteY954" fmla="*/ 211226 h 279938"/>
                <a:gd name="connsiteX955" fmla="*/ 49626 w 203591"/>
                <a:gd name="connsiteY955" fmla="*/ 210272 h 279938"/>
                <a:gd name="connsiteX956" fmla="*/ 49307 w 203591"/>
                <a:gd name="connsiteY956" fmla="*/ 208999 h 279938"/>
                <a:gd name="connsiteX957" fmla="*/ 49307 w 203591"/>
                <a:gd name="connsiteY957" fmla="*/ 208363 h 279938"/>
                <a:gd name="connsiteX958" fmla="*/ 50262 w 203591"/>
                <a:gd name="connsiteY958" fmla="*/ 207091 h 279938"/>
                <a:gd name="connsiteX959" fmla="*/ 50262 w 203591"/>
                <a:gd name="connsiteY959" fmla="*/ 203592 h 279938"/>
                <a:gd name="connsiteX960" fmla="*/ 50580 w 203591"/>
                <a:gd name="connsiteY960" fmla="*/ 203273 h 279938"/>
                <a:gd name="connsiteX961" fmla="*/ 49944 w 203591"/>
                <a:gd name="connsiteY961" fmla="*/ 202001 h 279938"/>
                <a:gd name="connsiteX962" fmla="*/ 49944 w 203591"/>
                <a:gd name="connsiteY962" fmla="*/ 201365 h 279938"/>
                <a:gd name="connsiteX963" fmla="*/ 50898 w 203591"/>
                <a:gd name="connsiteY963" fmla="*/ 199774 h 279938"/>
                <a:gd name="connsiteX964" fmla="*/ 50580 w 203591"/>
                <a:gd name="connsiteY964" fmla="*/ 198820 h 279938"/>
                <a:gd name="connsiteX965" fmla="*/ 50262 w 203591"/>
                <a:gd name="connsiteY965" fmla="*/ 198184 h 279938"/>
                <a:gd name="connsiteX966" fmla="*/ 50580 w 203591"/>
                <a:gd name="connsiteY966" fmla="*/ 197866 h 279938"/>
                <a:gd name="connsiteX967" fmla="*/ 50898 w 203591"/>
                <a:gd name="connsiteY967" fmla="*/ 197547 h 279938"/>
                <a:gd name="connsiteX968" fmla="*/ 50262 w 203591"/>
                <a:gd name="connsiteY968" fmla="*/ 196911 h 279938"/>
                <a:gd name="connsiteX969" fmla="*/ 49626 w 203591"/>
                <a:gd name="connsiteY969" fmla="*/ 195957 h 279938"/>
                <a:gd name="connsiteX970" fmla="*/ 49626 w 203591"/>
                <a:gd name="connsiteY970" fmla="*/ 194366 h 279938"/>
                <a:gd name="connsiteX971" fmla="*/ 49944 w 203591"/>
                <a:gd name="connsiteY971" fmla="*/ 192776 h 279938"/>
                <a:gd name="connsiteX972" fmla="*/ 50262 w 203591"/>
                <a:gd name="connsiteY972" fmla="*/ 192140 h 279938"/>
                <a:gd name="connsiteX973" fmla="*/ 49944 w 203591"/>
                <a:gd name="connsiteY973" fmla="*/ 191185 h 279938"/>
                <a:gd name="connsiteX974" fmla="*/ 50898 w 203591"/>
                <a:gd name="connsiteY974" fmla="*/ 190231 h 279938"/>
                <a:gd name="connsiteX975" fmla="*/ 51216 w 203591"/>
                <a:gd name="connsiteY975" fmla="*/ 189913 h 279938"/>
                <a:gd name="connsiteX976" fmla="*/ 51216 w 203591"/>
                <a:gd name="connsiteY976" fmla="*/ 188640 h 279938"/>
                <a:gd name="connsiteX977" fmla="*/ 50898 w 203591"/>
                <a:gd name="connsiteY977" fmla="*/ 188322 h 279938"/>
                <a:gd name="connsiteX978" fmla="*/ 51216 w 203591"/>
                <a:gd name="connsiteY978" fmla="*/ 188004 h 279938"/>
                <a:gd name="connsiteX979" fmla="*/ 52170 w 203591"/>
                <a:gd name="connsiteY979" fmla="*/ 186414 h 279938"/>
                <a:gd name="connsiteX980" fmla="*/ 51216 w 203591"/>
                <a:gd name="connsiteY980" fmla="*/ 184823 h 279938"/>
                <a:gd name="connsiteX981" fmla="*/ 51852 w 203591"/>
                <a:gd name="connsiteY981" fmla="*/ 183551 h 279938"/>
                <a:gd name="connsiteX982" fmla="*/ 51852 w 203591"/>
                <a:gd name="connsiteY982" fmla="*/ 182914 h 279938"/>
                <a:gd name="connsiteX983" fmla="*/ 52488 w 203591"/>
                <a:gd name="connsiteY983" fmla="*/ 181960 h 279938"/>
                <a:gd name="connsiteX984" fmla="*/ 52807 w 203591"/>
                <a:gd name="connsiteY984" fmla="*/ 180369 h 279938"/>
                <a:gd name="connsiteX985" fmla="*/ 52807 w 203591"/>
                <a:gd name="connsiteY985" fmla="*/ 179415 h 279938"/>
                <a:gd name="connsiteX986" fmla="*/ 52807 w 203591"/>
                <a:gd name="connsiteY986" fmla="*/ 179097 h 279938"/>
                <a:gd name="connsiteX987" fmla="*/ 52488 w 203591"/>
                <a:gd name="connsiteY987" fmla="*/ 179097 h 279938"/>
                <a:gd name="connsiteX988" fmla="*/ 52488 w 203591"/>
                <a:gd name="connsiteY988" fmla="*/ 178143 h 279938"/>
                <a:gd name="connsiteX989" fmla="*/ 52807 w 203591"/>
                <a:gd name="connsiteY989" fmla="*/ 177824 h 279938"/>
                <a:gd name="connsiteX990" fmla="*/ 54079 w 203591"/>
                <a:gd name="connsiteY990" fmla="*/ 176234 h 279938"/>
                <a:gd name="connsiteX991" fmla="*/ 53761 w 203591"/>
                <a:gd name="connsiteY991" fmla="*/ 175280 h 279938"/>
                <a:gd name="connsiteX992" fmla="*/ 54397 w 203591"/>
                <a:gd name="connsiteY992" fmla="*/ 174007 h 279938"/>
                <a:gd name="connsiteX993" fmla="*/ 54397 w 203591"/>
                <a:gd name="connsiteY993" fmla="*/ 173689 h 279938"/>
                <a:gd name="connsiteX994" fmla="*/ 53761 w 203591"/>
                <a:gd name="connsiteY994" fmla="*/ 172417 h 279938"/>
                <a:gd name="connsiteX995" fmla="*/ 53761 w 203591"/>
                <a:gd name="connsiteY995" fmla="*/ 171144 h 279938"/>
                <a:gd name="connsiteX996" fmla="*/ 54079 w 203591"/>
                <a:gd name="connsiteY996" fmla="*/ 170508 h 279938"/>
                <a:gd name="connsiteX997" fmla="*/ 54397 w 203591"/>
                <a:gd name="connsiteY997" fmla="*/ 170190 h 279938"/>
                <a:gd name="connsiteX998" fmla="*/ 54715 w 203591"/>
                <a:gd name="connsiteY998" fmla="*/ 170190 h 279938"/>
                <a:gd name="connsiteX999" fmla="*/ 55033 w 203591"/>
                <a:gd name="connsiteY999" fmla="*/ 169872 h 279938"/>
                <a:gd name="connsiteX1000" fmla="*/ 54715 w 203591"/>
                <a:gd name="connsiteY1000" fmla="*/ 169235 h 279938"/>
                <a:gd name="connsiteX1001" fmla="*/ 54397 w 203591"/>
                <a:gd name="connsiteY1001" fmla="*/ 168599 h 279938"/>
                <a:gd name="connsiteX1002" fmla="*/ 54397 w 203591"/>
                <a:gd name="connsiteY1002" fmla="*/ 168281 h 279938"/>
                <a:gd name="connsiteX1003" fmla="*/ 55033 w 203591"/>
                <a:gd name="connsiteY1003" fmla="*/ 167009 h 279938"/>
                <a:gd name="connsiteX1004" fmla="*/ 55033 w 203591"/>
                <a:gd name="connsiteY1004" fmla="*/ 166691 h 279938"/>
                <a:gd name="connsiteX1005" fmla="*/ 55352 w 203591"/>
                <a:gd name="connsiteY1005" fmla="*/ 166054 h 279938"/>
                <a:gd name="connsiteX1006" fmla="*/ 55033 w 203591"/>
                <a:gd name="connsiteY1006" fmla="*/ 165100 h 279938"/>
                <a:gd name="connsiteX1007" fmla="*/ 54397 w 203591"/>
                <a:gd name="connsiteY1007" fmla="*/ 164146 h 279938"/>
                <a:gd name="connsiteX1008" fmla="*/ 55033 w 203591"/>
                <a:gd name="connsiteY1008" fmla="*/ 163509 h 279938"/>
                <a:gd name="connsiteX1009" fmla="*/ 57260 w 203591"/>
                <a:gd name="connsiteY1009" fmla="*/ 161601 h 279938"/>
                <a:gd name="connsiteX1010" fmla="*/ 57260 w 203591"/>
                <a:gd name="connsiteY1010" fmla="*/ 160646 h 279938"/>
                <a:gd name="connsiteX1011" fmla="*/ 56942 w 203591"/>
                <a:gd name="connsiteY1011" fmla="*/ 159374 h 279938"/>
                <a:gd name="connsiteX1012" fmla="*/ 56942 w 203591"/>
                <a:gd name="connsiteY1012" fmla="*/ 158102 h 279938"/>
                <a:gd name="connsiteX1013" fmla="*/ 57578 w 203591"/>
                <a:gd name="connsiteY1013" fmla="*/ 155239 h 279938"/>
                <a:gd name="connsiteX1014" fmla="*/ 57260 w 203591"/>
                <a:gd name="connsiteY1014" fmla="*/ 154284 h 279938"/>
                <a:gd name="connsiteX1015" fmla="*/ 57578 w 203591"/>
                <a:gd name="connsiteY1015" fmla="*/ 153330 h 279938"/>
                <a:gd name="connsiteX1016" fmla="*/ 57896 w 203591"/>
                <a:gd name="connsiteY1016" fmla="*/ 152057 h 279938"/>
                <a:gd name="connsiteX1017" fmla="*/ 57896 w 203591"/>
                <a:gd name="connsiteY1017" fmla="*/ 149831 h 279938"/>
                <a:gd name="connsiteX1018" fmla="*/ 58533 w 203591"/>
                <a:gd name="connsiteY1018" fmla="*/ 149513 h 279938"/>
                <a:gd name="connsiteX1019" fmla="*/ 58533 w 203591"/>
                <a:gd name="connsiteY1019" fmla="*/ 147922 h 279938"/>
                <a:gd name="connsiteX1020" fmla="*/ 58851 w 203591"/>
                <a:gd name="connsiteY1020" fmla="*/ 146331 h 279938"/>
                <a:gd name="connsiteX1021" fmla="*/ 58215 w 203591"/>
                <a:gd name="connsiteY1021" fmla="*/ 146013 h 279938"/>
                <a:gd name="connsiteX1022" fmla="*/ 59169 w 203591"/>
                <a:gd name="connsiteY1022" fmla="*/ 144423 h 279938"/>
                <a:gd name="connsiteX1023" fmla="*/ 59487 w 203591"/>
                <a:gd name="connsiteY1023" fmla="*/ 143787 h 279938"/>
                <a:gd name="connsiteX1024" fmla="*/ 59169 w 203591"/>
                <a:gd name="connsiteY1024" fmla="*/ 142514 h 279938"/>
                <a:gd name="connsiteX1025" fmla="*/ 60123 w 203591"/>
                <a:gd name="connsiteY1025" fmla="*/ 141242 h 279938"/>
                <a:gd name="connsiteX1026" fmla="*/ 60441 w 203591"/>
                <a:gd name="connsiteY1026" fmla="*/ 140605 h 279938"/>
                <a:gd name="connsiteX1027" fmla="*/ 60123 w 203591"/>
                <a:gd name="connsiteY1027" fmla="*/ 139333 h 279938"/>
                <a:gd name="connsiteX1028" fmla="*/ 61396 w 203591"/>
                <a:gd name="connsiteY1028" fmla="*/ 137742 h 279938"/>
                <a:gd name="connsiteX1029" fmla="*/ 61077 w 203591"/>
                <a:gd name="connsiteY1029" fmla="*/ 137106 h 279938"/>
                <a:gd name="connsiteX1030" fmla="*/ 61396 w 203591"/>
                <a:gd name="connsiteY1030" fmla="*/ 135516 h 279938"/>
                <a:gd name="connsiteX1031" fmla="*/ 61714 w 203591"/>
                <a:gd name="connsiteY1031" fmla="*/ 134561 h 279938"/>
                <a:gd name="connsiteX1032" fmla="*/ 62668 w 203591"/>
                <a:gd name="connsiteY1032" fmla="*/ 133607 h 279938"/>
                <a:gd name="connsiteX1033" fmla="*/ 62668 w 203591"/>
                <a:gd name="connsiteY1033" fmla="*/ 131062 h 279938"/>
                <a:gd name="connsiteX1034" fmla="*/ 61714 w 203591"/>
                <a:gd name="connsiteY1034" fmla="*/ 130108 h 279938"/>
                <a:gd name="connsiteX1035" fmla="*/ 62350 w 203591"/>
                <a:gd name="connsiteY1035" fmla="*/ 128835 h 279938"/>
                <a:gd name="connsiteX1036" fmla="*/ 63622 w 203591"/>
                <a:gd name="connsiteY1036" fmla="*/ 126927 h 279938"/>
                <a:gd name="connsiteX1037" fmla="*/ 63622 w 203591"/>
                <a:gd name="connsiteY1037" fmla="*/ 125018 h 279938"/>
                <a:gd name="connsiteX1038" fmla="*/ 64259 w 203591"/>
                <a:gd name="connsiteY1038" fmla="*/ 124382 h 279938"/>
                <a:gd name="connsiteX1039" fmla="*/ 64259 w 203591"/>
                <a:gd name="connsiteY1039" fmla="*/ 123745 h 279938"/>
                <a:gd name="connsiteX1040" fmla="*/ 64577 w 203591"/>
                <a:gd name="connsiteY1040" fmla="*/ 123427 h 279938"/>
                <a:gd name="connsiteX1041" fmla="*/ 64577 w 203591"/>
                <a:gd name="connsiteY1041" fmla="*/ 123109 h 279938"/>
                <a:gd name="connsiteX1042" fmla="*/ 65213 w 203591"/>
                <a:gd name="connsiteY1042" fmla="*/ 121519 h 279938"/>
                <a:gd name="connsiteX1043" fmla="*/ 65213 w 203591"/>
                <a:gd name="connsiteY1043" fmla="*/ 118974 h 279938"/>
                <a:gd name="connsiteX1044" fmla="*/ 65531 w 203591"/>
                <a:gd name="connsiteY1044" fmla="*/ 118338 h 279938"/>
                <a:gd name="connsiteX1045" fmla="*/ 65531 w 203591"/>
                <a:gd name="connsiteY1045" fmla="*/ 116747 h 279938"/>
                <a:gd name="connsiteX1046" fmla="*/ 66485 w 203591"/>
                <a:gd name="connsiteY1046" fmla="*/ 114838 h 279938"/>
                <a:gd name="connsiteX1047" fmla="*/ 66167 w 203591"/>
                <a:gd name="connsiteY1047" fmla="*/ 114202 h 279938"/>
                <a:gd name="connsiteX1048" fmla="*/ 67122 w 203591"/>
                <a:gd name="connsiteY1048" fmla="*/ 112612 h 279938"/>
                <a:gd name="connsiteX1049" fmla="*/ 66803 w 203591"/>
                <a:gd name="connsiteY1049" fmla="*/ 111975 h 279938"/>
                <a:gd name="connsiteX1050" fmla="*/ 66803 w 203591"/>
                <a:gd name="connsiteY1050" fmla="*/ 111339 h 279938"/>
                <a:gd name="connsiteX1051" fmla="*/ 67440 w 203591"/>
                <a:gd name="connsiteY1051" fmla="*/ 109112 h 279938"/>
                <a:gd name="connsiteX1052" fmla="*/ 67758 w 203591"/>
                <a:gd name="connsiteY1052" fmla="*/ 108476 h 279938"/>
                <a:gd name="connsiteX1053" fmla="*/ 72848 w 203591"/>
                <a:gd name="connsiteY1053" fmla="*/ 87799 h 279938"/>
                <a:gd name="connsiteX1054" fmla="*/ 74120 w 203591"/>
                <a:gd name="connsiteY1054" fmla="*/ 86526 h 279938"/>
                <a:gd name="connsiteX1055" fmla="*/ 74120 w 203591"/>
                <a:gd name="connsiteY1055" fmla="*/ 86208 h 279938"/>
                <a:gd name="connsiteX1056" fmla="*/ 73484 w 203591"/>
                <a:gd name="connsiteY1056" fmla="*/ 84618 h 279938"/>
                <a:gd name="connsiteX1057" fmla="*/ 72848 w 203591"/>
                <a:gd name="connsiteY1057" fmla="*/ 83982 h 279938"/>
                <a:gd name="connsiteX1058" fmla="*/ 74120 w 203591"/>
                <a:gd name="connsiteY1058" fmla="*/ 83663 h 279938"/>
                <a:gd name="connsiteX1059" fmla="*/ 75393 w 203591"/>
                <a:gd name="connsiteY1059" fmla="*/ 82391 h 279938"/>
                <a:gd name="connsiteX1060" fmla="*/ 75074 w 203591"/>
                <a:gd name="connsiteY1060" fmla="*/ 81119 h 279938"/>
                <a:gd name="connsiteX1061" fmla="*/ 75711 w 203591"/>
                <a:gd name="connsiteY1061" fmla="*/ 80164 h 279938"/>
                <a:gd name="connsiteX1062" fmla="*/ 79846 w 203591"/>
                <a:gd name="connsiteY1062" fmla="*/ 66167 h 279938"/>
                <a:gd name="connsiteX1063" fmla="*/ 77937 w 203591"/>
                <a:gd name="connsiteY1063" fmla="*/ 66167 h 279938"/>
                <a:gd name="connsiteX1064" fmla="*/ 76665 w 203591"/>
                <a:gd name="connsiteY1064" fmla="*/ 66803 h 279938"/>
                <a:gd name="connsiteX1065" fmla="*/ 71257 w 203591"/>
                <a:gd name="connsiteY1065" fmla="*/ 68394 h 279938"/>
                <a:gd name="connsiteX1066" fmla="*/ 70621 w 203591"/>
                <a:gd name="connsiteY1066" fmla="*/ 68394 h 279938"/>
                <a:gd name="connsiteX1067" fmla="*/ 69030 w 203591"/>
                <a:gd name="connsiteY1067" fmla="*/ 67440 h 279938"/>
                <a:gd name="connsiteX1068" fmla="*/ 68076 w 203591"/>
                <a:gd name="connsiteY1068" fmla="*/ 67440 h 279938"/>
                <a:gd name="connsiteX1069" fmla="*/ 66485 w 203591"/>
                <a:gd name="connsiteY1069" fmla="*/ 67758 h 279938"/>
                <a:gd name="connsiteX1070" fmla="*/ 65531 w 203591"/>
                <a:gd name="connsiteY1070" fmla="*/ 68712 h 279938"/>
                <a:gd name="connsiteX1071" fmla="*/ 63941 w 203591"/>
                <a:gd name="connsiteY1071" fmla="*/ 68712 h 279938"/>
                <a:gd name="connsiteX1072" fmla="*/ 62668 w 203591"/>
                <a:gd name="connsiteY1072" fmla="*/ 69030 h 279938"/>
                <a:gd name="connsiteX1073" fmla="*/ 61714 w 203591"/>
                <a:gd name="connsiteY1073" fmla="*/ 69666 h 279938"/>
                <a:gd name="connsiteX1074" fmla="*/ 61077 w 203591"/>
                <a:gd name="connsiteY1074" fmla="*/ 69666 h 279938"/>
                <a:gd name="connsiteX1075" fmla="*/ 57578 w 203591"/>
                <a:gd name="connsiteY1075" fmla="*/ 70621 h 279938"/>
                <a:gd name="connsiteX1076" fmla="*/ 53443 w 203591"/>
                <a:gd name="connsiteY1076" fmla="*/ 71257 h 279938"/>
                <a:gd name="connsiteX1077" fmla="*/ 52488 w 203591"/>
                <a:gd name="connsiteY1077" fmla="*/ 71257 h 279938"/>
                <a:gd name="connsiteX1078" fmla="*/ 50898 w 203591"/>
                <a:gd name="connsiteY1078" fmla="*/ 71893 h 279938"/>
                <a:gd name="connsiteX1079" fmla="*/ 50262 w 203591"/>
                <a:gd name="connsiteY1079" fmla="*/ 72211 h 279938"/>
                <a:gd name="connsiteX1080" fmla="*/ 49944 w 203591"/>
                <a:gd name="connsiteY1080" fmla="*/ 71893 h 279938"/>
                <a:gd name="connsiteX1081" fmla="*/ 49944 w 203591"/>
                <a:gd name="connsiteY1081" fmla="*/ 71575 h 279938"/>
                <a:gd name="connsiteX1082" fmla="*/ 50262 w 203591"/>
                <a:gd name="connsiteY1082" fmla="*/ 71257 h 279938"/>
                <a:gd name="connsiteX1083" fmla="*/ 49944 w 203591"/>
                <a:gd name="connsiteY1083" fmla="*/ 71257 h 279938"/>
                <a:gd name="connsiteX1084" fmla="*/ 49944 w 203591"/>
                <a:gd name="connsiteY1084" fmla="*/ 70621 h 279938"/>
                <a:gd name="connsiteX1085" fmla="*/ 48989 w 203591"/>
                <a:gd name="connsiteY1085" fmla="*/ 70939 h 279938"/>
                <a:gd name="connsiteX1086" fmla="*/ 48989 w 203591"/>
                <a:gd name="connsiteY1086" fmla="*/ 71257 h 279938"/>
                <a:gd name="connsiteX1087" fmla="*/ 49626 w 203591"/>
                <a:gd name="connsiteY1087" fmla="*/ 71575 h 279938"/>
                <a:gd name="connsiteX1088" fmla="*/ 48353 w 203591"/>
                <a:gd name="connsiteY1088" fmla="*/ 72529 h 279938"/>
                <a:gd name="connsiteX1089" fmla="*/ 48035 w 203591"/>
                <a:gd name="connsiteY1089" fmla="*/ 72529 h 279938"/>
                <a:gd name="connsiteX1090" fmla="*/ 47717 w 203591"/>
                <a:gd name="connsiteY1090" fmla="*/ 72848 h 279938"/>
                <a:gd name="connsiteX1091" fmla="*/ 47399 w 203591"/>
                <a:gd name="connsiteY1091" fmla="*/ 72848 h 279938"/>
                <a:gd name="connsiteX1092" fmla="*/ 46762 w 203591"/>
                <a:gd name="connsiteY1092" fmla="*/ 72529 h 279938"/>
                <a:gd name="connsiteX1093" fmla="*/ 47081 w 203591"/>
                <a:gd name="connsiteY1093" fmla="*/ 72211 h 279938"/>
                <a:gd name="connsiteX1094" fmla="*/ 46762 w 203591"/>
                <a:gd name="connsiteY1094" fmla="*/ 72211 h 279938"/>
                <a:gd name="connsiteX1095" fmla="*/ 46126 w 203591"/>
                <a:gd name="connsiteY1095" fmla="*/ 71893 h 279938"/>
                <a:gd name="connsiteX1096" fmla="*/ 46126 w 203591"/>
                <a:gd name="connsiteY1096" fmla="*/ 72211 h 279938"/>
                <a:gd name="connsiteX1097" fmla="*/ 44854 w 203591"/>
                <a:gd name="connsiteY1097" fmla="*/ 73802 h 279938"/>
                <a:gd name="connsiteX1098" fmla="*/ 43900 w 203591"/>
                <a:gd name="connsiteY1098" fmla="*/ 74120 h 279938"/>
                <a:gd name="connsiteX1099" fmla="*/ 43263 w 203591"/>
                <a:gd name="connsiteY1099" fmla="*/ 73166 h 279938"/>
                <a:gd name="connsiteX1100" fmla="*/ 41355 w 203591"/>
                <a:gd name="connsiteY1100" fmla="*/ 74120 h 279938"/>
                <a:gd name="connsiteX1101" fmla="*/ 38492 w 203591"/>
                <a:gd name="connsiteY1101" fmla="*/ 74756 h 279938"/>
                <a:gd name="connsiteX1102" fmla="*/ 37219 w 203591"/>
                <a:gd name="connsiteY1102" fmla="*/ 74756 h 279938"/>
                <a:gd name="connsiteX1103" fmla="*/ 36583 w 203591"/>
                <a:gd name="connsiteY1103" fmla="*/ 75393 h 279938"/>
                <a:gd name="connsiteX1104" fmla="*/ 35947 w 203591"/>
                <a:gd name="connsiteY1104" fmla="*/ 75074 h 279938"/>
                <a:gd name="connsiteX1105" fmla="*/ 34356 w 203591"/>
                <a:gd name="connsiteY1105" fmla="*/ 75711 h 279938"/>
                <a:gd name="connsiteX1106" fmla="*/ 30539 w 203591"/>
                <a:gd name="connsiteY1106" fmla="*/ 76665 h 279938"/>
                <a:gd name="connsiteX1107" fmla="*/ 29903 w 203591"/>
                <a:gd name="connsiteY1107" fmla="*/ 76665 h 279938"/>
                <a:gd name="connsiteX1108" fmla="*/ 28312 w 203591"/>
                <a:gd name="connsiteY1108" fmla="*/ 77937 h 279938"/>
                <a:gd name="connsiteX1109" fmla="*/ 26403 w 203591"/>
                <a:gd name="connsiteY1109" fmla="*/ 77937 h 279938"/>
                <a:gd name="connsiteX1110" fmla="*/ 25449 w 203591"/>
                <a:gd name="connsiteY1110" fmla="*/ 77619 h 279938"/>
                <a:gd name="connsiteX1111" fmla="*/ 24495 w 203591"/>
                <a:gd name="connsiteY1111" fmla="*/ 77937 h 279938"/>
                <a:gd name="connsiteX1112" fmla="*/ 22268 w 203591"/>
                <a:gd name="connsiteY1112" fmla="*/ 79528 h 279938"/>
                <a:gd name="connsiteX1113" fmla="*/ 20995 w 203591"/>
                <a:gd name="connsiteY1113" fmla="*/ 79846 h 279938"/>
                <a:gd name="connsiteX1114" fmla="*/ 20359 w 203591"/>
                <a:gd name="connsiteY1114" fmla="*/ 79528 h 279938"/>
                <a:gd name="connsiteX1115" fmla="*/ 18451 w 203591"/>
                <a:gd name="connsiteY1115" fmla="*/ 79528 h 279938"/>
                <a:gd name="connsiteX1116" fmla="*/ 14951 w 203591"/>
                <a:gd name="connsiteY1116" fmla="*/ 81437 h 279938"/>
                <a:gd name="connsiteX1117" fmla="*/ 12406 w 203591"/>
                <a:gd name="connsiteY1117" fmla="*/ 81437 h 279938"/>
                <a:gd name="connsiteX1118" fmla="*/ 3181 w 203591"/>
                <a:gd name="connsiteY1118" fmla="*/ 84300 h 279938"/>
                <a:gd name="connsiteX1119" fmla="*/ 1591 w 203591"/>
                <a:gd name="connsiteY1119" fmla="*/ 85254 h 279938"/>
                <a:gd name="connsiteX1120" fmla="*/ 318 w 203591"/>
                <a:gd name="connsiteY1120" fmla="*/ 85890 h 279938"/>
                <a:gd name="connsiteX1121" fmla="*/ 0 w 203591"/>
                <a:gd name="connsiteY1121" fmla="*/ 84618 h 279938"/>
                <a:gd name="connsiteX1122" fmla="*/ 8907 w 203591"/>
                <a:gd name="connsiteY1122" fmla="*/ 70939 h 279938"/>
                <a:gd name="connsiteX1123" fmla="*/ 9862 w 203591"/>
                <a:gd name="connsiteY1123" fmla="*/ 70939 h 279938"/>
                <a:gd name="connsiteX1124" fmla="*/ 9862 w 203591"/>
                <a:gd name="connsiteY1124" fmla="*/ 71257 h 279938"/>
                <a:gd name="connsiteX1125" fmla="*/ 11134 w 203591"/>
                <a:gd name="connsiteY1125" fmla="*/ 71257 h 279938"/>
                <a:gd name="connsiteX1126" fmla="*/ 10498 w 203591"/>
                <a:gd name="connsiteY1126" fmla="*/ 72211 h 279938"/>
                <a:gd name="connsiteX1127" fmla="*/ 9862 w 203591"/>
                <a:gd name="connsiteY1127" fmla="*/ 73484 h 279938"/>
                <a:gd name="connsiteX1128" fmla="*/ 9862 w 203591"/>
                <a:gd name="connsiteY1128" fmla="*/ 75074 h 279938"/>
                <a:gd name="connsiteX1129" fmla="*/ 10498 w 203591"/>
                <a:gd name="connsiteY1129" fmla="*/ 75074 h 279938"/>
                <a:gd name="connsiteX1130" fmla="*/ 10498 w 203591"/>
                <a:gd name="connsiteY1130" fmla="*/ 74438 h 279938"/>
                <a:gd name="connsiteX1131" fmla="*/ 12406 w 203591"/>
                <a:gd name="connsiteY1131" fmla="*/ 73484 h 279938"/>
                <a:gd name="connsiteX1132" fmla="*/ 12724 w 203591"/>
                <a:gd name="connsiteY1132" fmla="*/ 73484 h 279938"/>
                <a:gd name="connsiteX1133" fmla="*/ 12724 w 203591"/>
                <a:gd name="connsiteY1133" fmla="*/ 73802 h 279938"/>
                <a:gd name="connsiteX1134" fmla="*/ 12406 w 203591"/>
                <a:gd name="connsiteY1134" fmla="*/ 74438 h 279938"/>
                <a:gd name="connsiteX1135" fmla="*/ 13361 w 203591"/>
                <a:gd name="connsiteY1135" fmla="*/ 74756 h 279938"/>
                <a:gd name="connsiteX1136" fmla="*/ 14315 w 203591"/>
                <a:gd name="connsiteY1136" fmla="*/ 74438 h 279938"/>
                <a:gd name="connsiteX1137" fmla="*/ 14951 w 203591"/>
                <a:gd name="connsiteY1137" fmla="*/ 74120 h 279938"/>
                <a:gd name="connsiteX1138" fmla="*/ 15588 w 203591"/>
                <a:gd name="connsiteY1138" fmla="*/ 74120 h 279938"/>
                <a:gd name="connsiteX1139" fmla="*/ 15906 w 203591"/>
                <a:gd name="connsiteY1139" fmla="*/ 74438 h 279938"/>
                <a:gd name="connsiteX1140" fmla="*/ 17496 w 203591"/>
                <a:gd name="connsiteY1140" fmla="*/ 73802 h 279938"/>
                <a:gd name="connsiteX1141" fmla="*/ 18132 w 203591"/>
                <a:gd name="connsiteY1141" fmla="*/ 73166 h 279938"/>
                <a:gd name="connsiteX1142" fmla="*/ 18132 w 203591"/>
                <a:gd name="connsiteY1142" fmla="*/ 72211 h 279938"/>
                <a:gd name="connsiteX1143" fmla="*/ 17496 w 203591"/>
                <a:gd name="connsiteY1143" fmla="*/ 71893 h 279938"/>
                <a:gd name="connsiteX1144" fmla="*/ 17814 w 203591"/>
                <a:gd name="connsiteY1144" fmla="*/ 70621 h 279938"/>
                <a:gd name="connsiteX1145" fmla="*/ 16860 w 203591"/>
                <a:gd name="connsiteY1145" fmla="*/ 70303 h 279938"/>
                <a:gd name="connsiteX1146" fmla="*/ 19405 w 203591"/>
                <a:gd name="connsiteY1146" fmla="*/ 68394 h 279938"/>
                <a:gd name="connsiteX1147" fmla="*/ 23858 w 203591"/>
                <a:gd name="connsiteY1147" fmla="*/ 67122 h 279938"/>
                <a:gd name="connsiteX1148" fmla="*/ 26085 w 203591"/>
                <a:gd name="connsiteY1148" fmla="*/ 66803 h 279938"/>
                <a:gd name="connsiteX1149" fmla="*/ 28948 w 203591"/>
                <a:gd name="connsiteY1149" fmla="*/ 66485 h 279938"/>
                <a:gd name="connsiteX1150" fmla="*/ 29903 w 203591"/>
                <a:gd name="connsiteY1150" fmla="*/ 66485 h 279938"/>
                <a:gd name="connsiteX1151" fmla="*/ 34356 w 203591"/>
                <a:gd name="connsiteY1151" fmla="*/ 64577 h 279938"/>
                <a:gd name="connsiteX1152" fmla="*/ 37219 w 203591"/>
                <a:gd name="connsiteY1152" fmla="*/ 64577 h 279938"/>
                <a:gd name="connsiteX1153" fmla="*/ 38492 w 203591"/>
                <a:gd name="connsiteY1153" fmla="*/ 64895 h 279938"/>
                <a:gd name="connsiteX1154" fmla="*/ 38492 w 203591"/>
                <a:gd name="connsiteY1154" fmla="*/ 65213 h 279938"/>
                <a:gd name="connsiteX1155" fmla="*/ 37537 w 203591"/>
                <a:gd name="connsiteY1155" fmla="*/ 66167 h 279938"/>
                <a:gd name="connsiteX1156" fmla="*/ 35311 w 203591"/>
                <a:gd name="connsiteY1156" fmla="*/ 67758 h 279938"/>
                <a:gd name="connsiteX1157" fmla="*/ 34674 w 203591"/>
                <a:gd name="connsiteY1157" fmla="*/ 68394 h 279938"/>
                <a:gd name="connsiteX1158" fmla="*/ 33720 w 203591"/>
                <a:gd name="connsiteY1158" fmla="*/ 69030 h 279938"/>
                <a:gd name="connsiteX1159" fmla="*/ 33720 w 203591"/>
                <a:gd name="connsiteY1159" fmla="*/ 69348 h 279938"/>
                <a:gd name="connsiteX1160" fmla="*/ 34992 w 203591"/>
                <a:gd name="connsiteY1160" fmla="*/ 69348 h 279938"/>
                <a:gd name="connsiteX1161" fmla="*/ 35947 w 203591"/>
                <a:gd name="connsiteY1161" fmla="*/ 68712 h 279938"/>
                <a:gd name="connsiteX1162" fmla="*/ 36583 w 203591"/>
                <a:gd name="connsiteY1162" fmla="*/ 67758 h 279938"/>
                <a:gd name="connsiteX1163" fmla="*/ 37219 w 203591"/>
                <a:gd name="connsiteY1163" fmla="*/ 67440 h 279938"/>
                <a:gd name="connsiteX1164" fmla="*/ 37537 w 203591"/>
                <a:gd name="connsiteY1164" fmla="*/ 67440 h 279938"/>
                <a:gd name="connsiteX1165" fmla="*/ 38173 w 203591"/>
                <a:gd name="connsiteY1165" fmla="*/ 68712 h 279938"/>
                <a:gd name="connsiteX1166" fmla="*/ 39128 w 203591"/>
                <a:gd name="connsiteY1166" fmla="*/ 69030 h 279938"/>
                <a:gd name="connsiteX1167" fmla="*/ 40718 w 203591"/>
                <a:gd name="connsiteY1167" fmla="*/ 69030 h 279938"/>
                <a:gd name="connsiteX1168" fmla="*/ 42309 w 203591"/>
                <a:gd name="connsiteY1168" fmla="*/ 68394 h 279938"/>
                <a:gd name="connsiteX1169" fmla="*/ 43263 w 203591"/>
                <a:gd name="connsiteY1169" fmla="*/ 68394 h 279938"/>
                <a:gd name="connsiteX1170" fmla="*/ 43263 w 203591"/>
                <a:gd name="connsiteY1170" fmla="*/ 68076 h 279938"/>
                <a:gd name="connsiteX1171" fmla="*/ 44218 w 203591"/>
                <a:gd name="connsiteY1171" fmla="*/ 66167 h 279938"/>
                <a:gd name="connsiteX1172" fmla="*/ 45172 w 203591"/>
                <a:gd name="connsiteY1172" fmla="*/ 65849 h 279938"/>
                <a:gd name="connsiteX1173" fmla="*/ 44854 w 203591"/>
                <a:gd name="connsiteY1173" fmla="*/ 66485 h 279938"/>
                <a:gd name="connsiteX1174" fmla="*/ 44218 w 203591"/>
                <a:gd name="connsiteY1174" fmla="*/ 68076 h 279938"/>
                <a:gd name="connsiteX1175" fmla="*/ 44218 w 203591"/>
                <a:gd name="connsiteY1175" fmla="*/ 68712 h 279938"/>
                <a:gd name="connsiteX1176" fmla="*/ 44854 w 203591"/>
                <a:gd name="connsiteY1176" fmla="*/ 68712 h 279938"/>
                <a:gd name="connsiteX1177" fmla="*/ 46444 w 203591"/>
                <a:gd name="connsiteY1177" fmla="*/ 67122 h 279938"/>
                <a:gd name="connsiteX1178" fmla="*/ 46126 w 203591"/>
                <a:gd name="connsiteY1178" fmla="*/ 66167 h 279938"/>
                <a:gd name="connsiteX1179" fmla="*/ 46126 w 203591"/>
                <a:gd name="connsiteY1179" fmla="*/ 65849 h 279938"/>
                <a:gd name="connsiteX1180" fmla="*/ 46444 w 203591"/>
                <a:gd name="connsiteY1180" fmla="*/ 65531 h 279938"/>
                <a:gd name="connsiteX1181" fmla="*/ 47717 w 203591"/>
                <a:gd name="connsiteY1181" fmla="*/ 63940 h 279938"/>
                <a:gd name="connsiteX1182" fmla="*/ 46126 w 203591"/>
                <a:gd name="connsiteY1182" fmla="*/ 63622 h 279938"/>
                <a:gd name="connsiteX1183" fmla="*/ 46126 w 203591"/>
                <a:gd name="connsiteY1183" fmla="*/ 63304 h 279938"/>
                <a:gd name="connsiteX1184" fmla="*/ 45808 w 203591"/>
                <a:gd name="connsiteY1184" fmla="*/ 63304 h 279938"/>
                <a:gd name="connsiteX1185" fmla="*/ 44854 w 203591"/>
                <a:gd name="connsiteY1185" fmla="*/ 63622 h 279938"/>
                <a:gd name="connsiteX1186" fmla="*/ 43263 w 203591"/>
                <a:gd name="connsiteY1186" fmla="*/ 65531 h 279938"/>
                <a:gd name="connsiteX1187" fmla="*/ 42945 w 203591"/>
                <a:gd name="connsiteY1187" fmla="*/ 64577 h 279938"/>
                <a:gd name="connsiteX1188" fmla="*/ 41355 w 203591"/>
                <a:gd name="connsiteY1188" fmla="*/ 64577 h 279938"/>
                <a:gd name="connsiteX1189" fmla="*/ 20359 w 203591"/>
                <a:gd name="connsiteY1189" fmla="*/ 69985 h 279938"/>
                <a:gd name="connsiteX1190" fmla="*/ 18132 w 203591"/>
                <a:gd name="connsiteY1190" fmla="*/ 72211 h 279938"/>
                <a:gd name="connsiteX1191" fmla="*/ 20359 w 203591"/>
                <a:gd name="connsiteY1191" fmla="*/ 70303 h 279938"/>
                <a:gd name="connsiteX1192" fmla="*/ 20359 w 203591"/>
                <a:gd name="connsiteY1192" fmla="*/ 69985 h 279938"/>
                <a:gd name="connsiteX1193" fmla="*/ 19405 w 203591"/>
                <a:gd name="connsiteY1193" fmla="*/ 75393 h 279938"/>
                <a:gd name="connsiteX1194" fmla="*/ 18451 w 203591"/>
                <a:gd name="connsiteY1194" fmla="*/ 75393 h 279938"/>
                <a:gd name="connsiteX1195" fmla="*/ 18451 w 203591"/>
                <a:gd name="connsiteY1195" fmla="*/ 76665 h 279938"/>
                <a:gd name="connsiteX1196" fmla="*/ 19087 w 203591"/>
                <a:gd name="connsiteY1196" fmla="*/ 76029 h 279938"/>
                <a:gd name="connsiteX1197" fmla="*/ 19405 w 203591"/>
                <a:gd name="connsiteY1197" fmla="*/ 75393 h 279938"/>
                <a:gd name="connsiteX1198" fmla="*/ 22586 w 203591"/>
                <a:gd name="connsiteY1198" fmla="*/ 74120 h 279938"/>
                <a:gd name="connsiteX1199" fmla="*/ 22904 w 203591"/>
                <a:gd name="connsiteY1199" fmla="*/ 74120 h 279938"/>
                <a:gd name="connsiteX1200" fmla="*/ 23222 w 203591"/>
                <a:gd name="connsiteY1200" fmla="*/ 73484 h 279938"/>
                <a:gd name="connsiteX1201" fmla="*/ 23858 w 203591"/>
                <a:gd name="connsiteY1201" fmla="*/ 72848 h 279938"/>
                <a:gd name="connsiteX1202" fmla="*/ 23858 w 203591"/>
                <a:gd name="connsiteY1202" fmla="*/ 72529 h 279938"/>
                <a:gd name="connsiteX1203" fmla="*/ 23540 w 203591"/>
                <a:gd name="connsiteY1203" fmla="*/ 72529 h 279938"/>
                <a:gd name="connsiteX1204" fmla="*/ 21632 w 203591"/>
                <a:gd name="connsiteY1204" fmla="*/ 73484 h 279938"/>
                <a:gd name="connsiteX1205" fmla="*/ 22586 w 203591"/>
                <a:gd name="connsiteY1205" fmla="*/ 74120 h 279938"/>
                <a:gd name="connsiteX1206" fmla="*/ 31811 w 203591"/>
                <a:gd name="connsiteY1206" fmla="*/ 67758 h 279938"/>
                <a:gd name="connsiteX1207" fmla="*/ 29903 w 203591"/>
                <a:gd name="connsiteY1207" fmla="*/ 69348 h 279938"/>
                <a:gd name="connsiteX1208" fmla="*/ 29903 w 203591"/>
                <a:gd name="connsiteY1208" fmla="*/ 69666 h 279938"/>
                <a:gd name="connsiteX1209" fmla="*/ 30539 w 203591"/>
                <a:gd name="connsiteY1209" fmla="*/ 69666 h 279938"/>
                <a:gd name="connsiteX1210" fmla="*/ 31493 w 203591"/>
                <a:gd name="connsiteY1210" fmla="*/ 69030 h 279938"/>
                <a:gd name="connsiteX1211" fmla="*/ 31811 w 203591"/>
                <a:gd name="connsiteY1211" fmla="*/ 68076 h 279938"/>
                <a:gd name="connsiteX1212" fmla="*/ 31811 w 203591"/>
                <a:gd name="connsiteY1212" fmla="*/ 67758 h 279938"/>
                <a:gd name="connsiteX1213" fmla="*/ 43263 w 203591"/>
                <a:gd name="connsiteY1213" fmla="*/ 66167 h 279938"/>
                <a:gd name="connsiteX1214" fmla="*/ 42945 w 203591"/>
                <a:gd name="connsiteY1214" fmla="*/ 66803 h 279938"/>
                <a:gd name="connsiteX1215" fmla="*/ 42627 w 203591"/>
                <a:gd name="connsiteY1215" fmla="*/ 67122 h 279938"/>
                <a:gd name="connsiteX1216" fmla="*/ 42309 w 203591"/>
                <a:gd name="connsiteY1216" fmla="*/ 66485 h 279938"/>
                <a:gd name="connsiteX1217" fmla="*/ 43263 w 203591"/>
                <a:gd name="connsiteY1217" fmla="*/ 65849 h 279938"/>
                <a:gd name="connsiteX1218" fmla="*/ 43263 w 203591"/>
                <a:gd name="connsiteY1218" fmla="*/ 66167 h 279938"/>
                <a:gd name="connsiteX1219" fmla="*/ 50898 w 203591"/>
                <a:gd name="connsiteY1219" fmla="*/ 266896 h 279938"/>
                <a:gd name="connsiteX1220" fmla="*/ 50580 w 203591"/>
                <a:gd name="connsiteY1220" fmla="*/ 266578 h 279938"/>
                <a:gd name="connsiteX1221" fmla="*/ 50898 w 203591"/>
                <a:gd name="connsiteY1221" fmla="*/ 266260 h 279938"/>
                <a:gd name="connsiteX1222" fmla="*/ 50898 w 203591"/>
                <a:gd name="connsiteY1222" fmla="*/ 266896 h 279938"/>
                <a:gd name="connsiteX1223" fmla="*/ 66803 w 203591"/>
                <a:gd name="connsiteY1223" fmla="*/ 229359 h 279938"/>
                <a:gd name="connsiteX1224" fmla="*/ 67758 w 203591"/>
                <a:gd name="connsiteY1224" fmla="*/ 228404 h 279938"/>
                <a:gd name="connsiteX1225" fmla="*/ 67440 w 203591"/>
                <a:gd name="connsiteY1225" fmla="*/ 227450 h 279938"/>
                <a:gd name="connsiteX1226" fmla="*/ 68076 w 203591"/>
                <a:gd name="connsiteY1226" fmla="*/ 226814 h 279938"/>
                <a:gd name="connsiteX1227" fmla="*/ 66803 w 203591"/>
                <a:gd name="connsiteY1227" fmla="*/ 225859 h 279938"/>
                <a:gd name="connsiteX1228" fmla="*/ 67122 w 203591"/>
                <a:gd name="connsiteY1228" fmla="*/ 228404 h 279938"/>
                <a:gd name="connsiteX1229" fmla="*/ 66485 w 203591"/>
                <a:gd name="connsiteY1229" fmla="*/ 229041 h 279938"/>
                <a:gd name="connsiteX1230" fmla="*/ 66167 w 203591"/>
                <a:gd name="connsiteY1230" fmla="*/ 229041 h 279938"/>
                <a:gd name="connsiteX1231" fmla="*/ 66485 w 203591"/>
                <a:gd name="connsiteY1231" fmla="*/ 229359 h 279938"/>
                <a:gd name="connsiteX1232" fmla="*/ 66803 w 203591"/>
                <a:gd name="connsiteY1232" fmla="*/ 229359 h 279938"/>
                <a:gd name="connsiteX1233" fmla="*/ 67122 w 203591"/>
                <a:gd name="connsiteY1233" fmla="*/ 237630 h 279938"/>
                <a:gd name="connsiteX1234" fmla="*/ 67122 w 203591"/>
                <a:gd name="connsiteY1234" fmla="*/ 239538 h 279938"/>
                <a:gd name="connsiteX1235" fmla="*/ 68076 w 203591"/>
                <a:gd name="connsiteY1235" fmla="*/ 239856 h 279938"/>
                <a:gd name="connsiteX1236" fmla="*/ 68712 w 203591"/>
                <a:gd name="connsiteY1236" fmla="*/ 239856 h 279938"/>
                <a:gd name="connsiteX1237" fmla="*/ 68394 w 203591"/>
                <a:gd name="connsiteY1237" fmla="*/ 239538 h 279938"/>
                <a:gd name="connsiteX1238" fmla="*/ 68394 w 203591"/>
                <a:gd name="connsiteY1238" fmla="*/ 237630 h 279938"/>
                <a:gd name="connsiteX1239" fmla="*/ 67122 w 203591"/>
                <a:gd name="connsiteY1239" fmla="*/ 237630 h 279938"/>
                <a:gd name="connsiteX1240" fmla="*/ 67122 w 203591"/>
                <a:gd name="connsiteY1240" fmla="*/ 248127 h 279938"/>
                <a:gd name="connsiteX1241" fmla="*/ 67440 w 203591"/>
                <a:gd name="connsiteY1241" fmla="*/ 249082 h 279938"/>
                <a:gd name="connsiteX1242" fmla="*/ 67758 w 203591"/>
                <a:gd name="connsiteY1242" fmla="*/ 249400 h 279938"/>
                <a:gd name="connsiteX1243" fmla="*/ 67758 w 203591"/>
                <a:gd name="connsiteY1243" fmla="*/ 249082 h 279938"/>
                <a:gd name="connsiteX1244" fmla="*/ 68394 w 203591"/>
                <a:gd name="connsiteY1244" fmla="*/ 247809 h 279938"/>
                <a:gd name="connsiteX1245" fmla="*/ 67440 w 203591"/>
                <a:gd name="connsiteY1245" fmla="*/ 247173 h 279938"/>
                <a:gd name="connsiteX1246" fmla="*/ 67122 w 203591"/>
                <a:gd name="connsiteY1246" fmla="*/ 247809 h 279938"/>
                <a:gd name="connsiteX1247" fmla="*/ 67122 w 203591"/>
                <a:gd name="connsiteY1247" fmla="*/ 248127 h 279938"/>
                <a:gd name="connsiteX1248" fmla="*/ 67440 w 203591"/>
                <a:gd name="connsiteY1248" fmla="*/ 210908 h 279938"/>
                <a:gd name="connsiteX1249" fmla="*/ 67758 w 203591"/>
                <a:gd name="connsiteY1249" fmla="*/ 210590 h 279938"/>
                <a:gd name="connsiteX1250" fmla="*/ 70303 w 203591"/>
                <a:gd name="connsiteY1250" fmla="*/ 209636 h 279938"/>
                <a:gd name="connsiteX1251" fmla="*/ 70621 w 203591"/>
                <a:gd name="connsiteY1251" fmla="*/ 210590 h 279938"/>
                <a:gd name="connsiteX1252" fmla="*/ 68394 w 203591"/>
                <a:gd name="connsiteY1252" fmla="*/ 211226 h 279938"/>
                <a:gd name="connsiteX1253" fmla="*/ 67440 w 203591"/>
                <a:gd name="connsiteY1253" fmla="*/ 210908 h 279938"/>
                <a:gd name="connsiteX1254" fmla="*/ 67758 w 203591"/>
                <a:gd name="connsiteY1254" fmla="*/ 231267 h 279938"/>
                <a:gd name="connsiteX1255" fmla="*/ 67440 w 203591"/>
                <a:gd name="connsiteY1255" fmla="*/ 231585 h 279938"/>
                <a:gd name="connsiteX1256" fmla="*/ 67758 w 203591"/>
                <a:gd name="connsiteY1256" fmla="*/ 231904 h 279938"/>
                <a:gd name="connsiteX1257" fmla="*/ 67758 w 203591"/>
                <a:gd name="connsiteY1257" fmla="*/ 231267 h 279938"/>
                <a:gd name="connsiteX1258" fmla="*/ 68394 w 203591"/>
                <a:gd name="connsiteY1258" fmla="*/ 212499 h 279938"/>
                <a:gd name="connsiteX1259" fmla="*/ 68712 w 203591"/>
                <a:gd name="connsiteY1259" fmla="*/ 212181 h 279938"/>
                <a:gd name="connsiteX1260" fmla="*/ 69030 w 203591"/>
                <a:gd name="connsiteY1260" fmla="*/ 212499 h 279938"/>
                <a:gd name="connsiteX1261" fmla="*/ 68394 w 203591"/>
                <a:gd name="connsiteY1261" fmla="*/ 212499 h 279938"/>
                <a:gd name="connsiteX1262" fmla="*/ 69030 w 203591"/>
                <a:gd name="connsiteY1262" fmla="*/ 198820 h 279938"/>
                <a:gd name="connsiteX1263" fmla="*/ 68712 w 203591"/>
                <a:gd name="connsiteY1263" fmla="*/ 198502 h 279938"/>
                <a:gd name="connsiteX1264" fmla="*/ 69349 w 203591"/>
                <a:gd name="connsiteY1264" fmla="*/ 198184 h 279938"/>
                <a:gd name="connsiteX1265" fmla="*/ 69985 w 203591"/>
                <a:gd name="connsiteY1265" fmla="*/ 198502 h 279938"/>
                <a:gd name="connsiteX1266" fmla="*/ 69349 w 203591"/>
                <a:gd name="connsiteY1266" fmla="*/ 198820 h 279938"/>
                <a:gd name="connsiteX1267" fmla="*/ 69030 w 203591"/>
                <a:gd name="connsiteY1267" fmla="*/ 198820 h 279938"/>
                <a:gd name="connsiteX1268" fmla="*/ 69030 w 203591"/>
                <a:gd name="connsiteY1268" fmla="*/ 208363 h 279938"/>
                <a:gd name="connsiteX1269" fmla="*/ 69030 w 203591"/>
                <a:gd name="connsiteY1269" fmla="*/ 207409 h 279938"/>
                <a:gd name="connsiteX1270" fmla="*/ 69985 w 203591"/>
                <a:gd name="connsiteY1270" fmla="*/ 206773 h 279938"/>
                <a:gd name="connsiteX1271" fmla="*/ 70621 w 203591"/>
                <a:gd name="connsiteY1271" fmla="*/ 207091 h 279938"/>
                <a:gd name="connsiteX1272" fmla="*/ 70303 w 203591"/>
                <a:gd name="connsiteY1272" fmla="*/ 207727 h 279938"/>
                <a:gd name="connsiteX1273" fmla="*/ 69667 w 203591"/>
                <a:gd name="connsiteY1273" fmla="*/ 208363 h 279938"/>
                <a:gd name="connsiteX1274" fmla="*/ 69030 w 203591"/>
                <a:gd name="connsiteY1274" fmla="*/ 208363 h 279938"/>
                <a:gd name="connsiteX1275" fmla="*/ 69985 w 203591"/>
                <a:gd name="connsiteY1275" fmla="*/ 213135 h 279938"/>
                <a:gd name="connsiteX1276" fmla="*/ 69985 w 203591"/>
                <a:gd name="connsiteY1276" fmla="*/ 213453 h 279938"/>
                <a:gd name="connsiteX1277" fmla="*/ 69349 w 203591"/>
                <a:gd name="connsiteY1277" fmla="*/ 213135 h 279938"/>
                <a:gd name="connsiteX1278" fmla="*/ 69349 w 203591"/>
                <a:gd name="connsiteY1278" fmla="*/ 212817 h 279938"/>
                <a:gd name="connsiteX1279" fmla="*/ 69030 w 203591"/>
                <a:gd name="connsiteY1279" fmla="*/ 212499 h 279938"/>
                <a:gd name="connsiteX1280" fmla="*/ 69667 w 203591"/>
                <a:gd name="connsiteY1280" fmla="*/ 212499 h 279938"/>
                <a:gd name="connsiteX1281" fmla="*/ 69985 w 203591"/>
                <a:gd name="connsiteY1281" fmla="*/ 213135 h 279938"/>
                <a:gd name="connsiteX1282" fmla="*/ 69349 w 203591"/>
                <a:gd name="connsiteY1282" fmla="*/ 204864 h 279938"/>
                <a:gd name="connsiteX1283" fmla="*/ 70303 w 203591"/>
                <a:gd name="connsiteY1283" fmla="*/ 204864 h 279938"/>
                <a:gd name="connsiteX1284" fmla="*/ 70621 w 203591"/>
                <a:gd name="connsiteY1284" fmla="*/ 205500 h 279938"/>
                <a:gd name="connsiteX1285" fmla="*/ 70303 w 203591"/>
                <a:gd name="connsiteY1285" fmla="*/ 206455 h 279938"/>
                <a:gd name="connsiteX1286" fmla="*/ 69349 w 203591"/>
                <a:gd name="connsiteY1286" fmla="*/ 205818 h 279938"/>
                <a:gd name="connsiteX1287" fmla="*/ 69349 w 203591"/>
                <a:gd name="connsiteY1287" fmla="*/ 204864 h 279938"/>
                <a:gd name="connsiteX1288" fmla="*/ 70303 w 203591"/>
                <a:gd name="connsiteY1288" fmla="*/ 201365 h 279938"/>
                <a:gd name="connsiteX1289" fmla="*/ 69667 w 203591"/>
                <a:gd name="connsiteY1289" fmla="*/ 201365 h 279938"/>
                <a:gd name="connsiteX1290" fmla="*/ 69985 w 203591"/>
                <a:gd name="connsiteY1290" fmla="*/ 201047 h 279938"/>
                <a:gd name="connsiteX1291" fmla="*/ 70303 w 203591"/>
                <a:gd name="connsiteY1291" fmla="*/ 201365 h 279938"/>
                <a:gd name="connsiteX1292" fmla="*/ 71257 w 203591"/>
                <a:gd name="connsiteY1292" fmla="*/ 189595 h 279938"/>
                <a:gd name="connsiteX1293" fmla="*/ 71893 w 203591"/>
                <a:gd name="connsiteY1293" fmla="*/ 190231 h 279938"/>
                <a:gd name="connsiteX1294" fmla="*/ 71257 w 203591"/>
                <a:gd name="connsiteY1294" fmla="*/ 190867 h 279938"/>
                <a:gd name="connsiteX1295" fmla="*/ 70621 w 203591"/>
                <a:gd name="connsiteY1295" fmla="*/ 190549 h 279938"/>
                <a:gd name="connsiteX1296" fmla="*/ 71257 w 203591"/>
                <a:gd name="connsiteY1296" fmla="*/ 189595 h 279938"/>
                <a:gd name="connsiteX1297" fmla="*/ 73802 w 203591"/>
                <a:gd name="connsiteY1297" fmla="*/ 154284 h 279938"/>
                <a:gd name="connsiteX1298" fmla="*/ 75074 w 203591"/>
                <a:gd name="connsiteY1298" fmla="*/ 153966 h 279938"/>
                <a:gd name="connsiteX1299" fmla="*/ 74120 w 203591"/>
                <a:gd name="connsiteY1299" fmla="*/ 153330 h 279938"/>
                <a:gd name="connsiteX1300" fmla="*/ 73802 w 203591"/>
                <a:gd name="connsiteY1300" fmla="*/ 153966 h 279938"/>
                <a:gd name="connsiteX1301" fmla="*/ 73802 w 203591"/>
                <a:gd name="connsiteY1301" fmla="*/ 154284 h 279938"/>
                <a:gd name="connsiteX1302" fmla="*/ 73802 w 203591"/>
                <a:gd name="connsiteY1302" fmla="*/ 172735 h 279938"/>
                <a:gd name="connsiteX1303" fmla="*/ 73802 w 203591"/>
                <a:gd name="connsiteY1303" fmla="*/ 170826 h 279938"/>
                <a:gd name="connsiteX1304" fmla="*/ 74438 w 203591"/>
                <a:gd name="connsiteY1304" fmla="*/ 170508 h 279938"/>
                <a:gd name="connsiteX1305" fmla="*/ 75074 w 203591"/>
                <a:gd name="connsiteY1305" fmla="*/ 170826 h 279938"/>
                <a:gd name="connsiteX1306" fmla="*/ 74120 w 203591"/>
                <a:gd name="connsiteY1306" fmla="*/ 172417 h 279938"/>
                <a:gd name="connsiteX1307" fmla="*/ 73802 w 203591"/>
                <a:gd name="connsiteY1307" fmla="*/ 172735 h 279938"/>
                <a:gd name="connsiteX1308" fmla="*/ 78256 w 203591"/>
                <a:gd name="connsiteY1308" fmla="*/ 149513 h 279938"/>
                <a:gd name="connsiteX1309" fmla="*/ 76665 w 203591"/>
                <a:gd name="connsiteY1309" fmla="*/ 148240 h 279938"/>
                <a:gd name="connsiteX1310" fmla="*/ 76665 w 203591"/>
                <a:gd name="connsiteY1310" fmla="*/ 147922 h 279938"/>
                <a:gd name="connsiteX1311" fmla="*/ 78256 w 203591"/>
                <a:gd name="connsiteY1311" fmla="*/ 147286 h 279938"/>
                <a:gd name="connsiteX1312" fmla="*/ 79528 w 203591"/>
                <a:gd name="connsiteY1312" fmla="*/ 147922 h 279938"/>
                <a:gd name="connsiteX1313" fmla="*/ 79528 w 203591"/>
                <a:gd name="connsiteY1313" fmla="*/ 148558 h 279938"/>
                <a:gd name="connsiteX1314" fmla="*/ 78574 w 203591"/>
                <a:gd name="connsiteY1314" fmla="*/ 149513 h 279938"/>
                <a:gd name="connsiteX1315" fmla="*/ 78256 w 203591"/>
                <a:gd name="connsiteY1315" fmla="*/ 149513 h 279938"/>
                <a:gd name="connsiteX1316" fmla="*/ 81755 w 203591"/>
                <a:gd name="connsiteY1316" fmla="*/ 55670 h 279938"/>
                <a:gd name="connsiteX1317" fmla="*/ 81119 w 203591"/>
                <a:gd name="connsiteY1317" fmla="*/ 55988 h 279938"/>
                <a:gd name="connsiteX1318" fmla="*/ 81755 w 203591"/>
                <a:gd name="connsiteY1318" fmla="*/ 55670 h 279938"/>
                <a:gd name="connsiteX1319" fmla="*/ 94161 w 203591"/>
                <a:gd name="connsiteY1319" fmla="*/ 268168 h 279938"/>
                <a:gd name="connsiteX1320" fmla="*/ 93843 w 203591"/>
                <a:gd name="connsiteY1320" fmla="*/ 267850 h 279938"/>
                <a:gd name="connsiteX1321" fmla="*/ 94161 w 203591"/>
                <a:gd name="connsiteY1321" fmla="*/ 267214 h 279938"/>
                <a:gd name="connsiteX1322" fmla="*/ 94161 w 203591"/>
                <a:gd name="connsiteY1322" fmla="*/ 268168 h 279938"/>
                <a:gd name="connsiteX1323" fmla="*/ 100523 w 203591"/>
                <a:gd name="connsiteY1323" fmla="*/ 246537 h 279938"/>
                <a:gd name="connsiteX1324" fmla="*/ 100205 w 203591"/>
                <a:gd name="connsiteY1324" fmla="*/ 246219 h 279938"/>
                <a:gd name="connsiteX1325" fmla="*/ 99251 w 203591"/>
                <a:gd name="connsiteY1325" fmla="*/ 247491 h 279938"/>
                <a:gd name="connsiteX1326" fmla="*/ 99569 w 203591"/>
                <a:gd name="connsiteY1326" fmla="*/ 247809 h 279938"/>
                <a:gd name="connsiteX1327" fmla="*/ 100523 w 203591"/>
                <a:gd name="connsiteY1327" fmla="*/ 246537 h 279938"/>
                <a:gd name="connsiteX1328" fmla="*/ 106886 w 203591"/>
                <a:gd name="connsiteY1328" fmla="*/ 231267 h 279938"/>
                <a:gd name="connsiteX1329" fmla="*/ 107840 w 203591"/>
                <a:gd name="connsiteY1329" fmla="*/ 230949 h 279938"/>
                <a:gd name="connsiteX1330" fmla="*/ 107522 w 203591"/>
                <a:gd name="connsiteY1330" fmla="*/ 230631 h 279938"/>
                <a:gd name="connsiteX1331" fmla="*/ 106886 w 203591"/>
                <a:gd name="connsiteY1331" fmla="*/ 229995 h 279938"/>
                <a:gd name="connsiteX1332" fmla="*/ 106249 w 203591"/>
                <a:gd name="connsiteY1332" fmla="*/ 230631 h 279938"/>
                <a:gd name="connsiteX1333" fmla="*/ 106886 w 203591"/>
                <a:gd name="connsiteY1333" fmla="*/ 231267 h 279938"/>
                <a:gd name="connsiteX1334" fmla="*/ 114520 w 203591"/>
                <a:gd name="connsiteY1334" fmla="*/ 228722 h 279938"/>
                <a:gd name="connsiteX1335" fmla="*/ 114202 w 203591"/>
                <a:gd name="connsiteY1335" fmla="*/ 229041 h 279938"/>
                <a:gd name="connsiteX1336" fmla="*/ 114202 w 203591"/>
                <a:gd name="connsiteY1336" fmla="*/ 229359 h 279938"/>
                <a:gd name="connsiteX1337" fmla="*/ 112930 w 203591"/>
                <a:gd name="connsiteY1337" fmla="*/ 229359 h 279938"/>
                <a:gd name="connsiteX1338" fmla="*/ 112930 w 203591"/>
                <a:gd name="connsiteY1338" fmla="*/ 229041 h 279938"/>
                <a:gd name="connsiteX1339" fmla="*/ 113566 w 203591"/>
                <a:gd name="connsiteY1339" fmla="*/ 228404 h 279938"/>
                <a:gd name="connsiteX1340" fmla="*/ 112930 w 203591"/>
                <a:gd name="connsiteY1340" fmla="*/ 227450 h 279938"/>
                <a:gd name="connsiteX1341" fmla="*/ 112930 w 203591"/>
                <a:gd name="connsiteY1341" fmla="*/ 227132 h 279938"/>
                <a:gd name="connsiteX1342" fmla="*/ 113248 w 203591"/>
                <a:gd name="connsiteY1342" fmla="*/ 226496 h 279938"/>
                <a:gd name="connsiteX1343" fmla="*/ 113884 w 203591"/>
                <a:gd name="connsiteY1343" fmla="*/ 225859 h 279938"/>
                <a:gd name="connsiteX1344" fmla="*/ 114520 w 203591"/>
                <a:gd name="connsiteY1344" fmla="*/ 226496 h 279938"/>
                <a:gd name="connsiteX1345" fmla="*/ 114520 w 203591"/>
                <a:gd name="connsiteY1345" fmla="*/ 228722 h 279938"/>
                <a:gd name="connsiteX1346" fmla="*/ 117701 w 203591"/>
                <a:gd name="connsiteY1346" fmla="*/ 55351 h 279938"/>
                <a:gd name="connsiteX1347" fmla="*/ 119292 w 203591"/>
                <a:gd name="connsiteY1347" fmla="*/ 54715 h 279938"/>
                <a:gd name="connsiteX1348" fmla="*/ 119610 w 203591"/>
                <a:gd name="connsiteY1348" fmla="*/ 53761 h 279938"/>
                <a:gd name="connsiteX1349" fmla="*/ 119292 w 203591"/>
                <a:gd name="connsiteY1349" fmla="*/ 53443 h 279938"/>
                <a:gd name="connsiteX1350" fmla="*/ 117383 w 203591"/>
                <a:gd name="connsiteY1350" fmla="*/ 54715 h 279938"/>
                <a:gd name="connsiteX1351" fmla="*/ 117065 w 203591"/>
                <a:gd name="connsiteY1351" fmla="*/ 55351 h 279938"/>
                <a:gd name="connsiteX1352" fmla="*/ 117065 w 203591"/>
                <a:gd name="connsiteY1352" fmla="*/ 55670 h 279938"/>
                <a:gd name="connsiteX1353" fmla="*/ 117701 w 203591"/>
                <a:gd name="connsiteY1353" fmla="*/ 55351 h 279938"/>
                <a:gd name="connsiteX1354" fmla="*/ 122791 w 203591"/>
                <a:gd name="connsiteY1354" fmla="*/ 198820 h 279938"/>
                <a:gd name="connsiteX1355" fmla="*/ 123109 w 203591"/>
                <a:gd name="connsiteY1355" fmla="*/ 199774 h 279938"/>
                <a:gd name="connsiteX1356" fmla="*/ 123428 w 203591"/>
                <a:gd name="connsiteY1356" fmla="*/ 200092 h 279938"/>
                <a:gd name="connsiteX1357" fmla="*/ 124382 w 203591"/>
                <a:gd name="connsiteY1357" fmla="*/ 198820 h 279938"/>
                <a:gd name="connsiteX1358" fmla="*/ 122791 w 203591"/>
                <a:gd name="connsiteY1358" fmla="*/ 198820 h 279938"/>
                <a:gd name="connsiteX1359" fmla="*/ 123746 w 203591"/>
                <a:gd name="connsiteY1359" fmla="*/ 51534 h 279938"/>
                <a:gd name="connsiteX1360" fmla="*/ 124064 w 203591"/>
                <a:gd name="connsiteY1360" fmla="*/ 50898 h 279938"/>
                <a:gd name="connsiteX1361" fmla="*/ 124064 w 203591"/>
                <a:gd name="connsiteY1361" fmla="*/ 50580 h 279938"/>
                <a:gd name="connsiteX1362" fmla="*/ 123746 w 203591"/>
                <a:gd name="connsiteY1362" fmla="*/ 50898 h 279938"/>
                <a:gd name="connsiteX1363" fmla="*/ 123746 w 203591"/>
                <a:gd name="connsiteY1363" fmla="*/ 51534 h 279938"/>
                <a:gd name="connsiteX1364" fmla="*/ 126290 w 203591"/>
                <a:gd name="connsiteY1364" fmla="*/ 175916 h 279938"/>
                <a:gd name="connsiteX1365" fmla="*/ 124700 w 203591"/>
                <a:gd name="connsiteY1365" fmla="*/ 175280 h 279938"/>
                <a:gd name="connsiteX1366" fmla="*/ 124700 w 203591"/>
                <a:gd name="connsiteY1366" fmla="*/ 175916 h 279938"/>
                <a:gd name="connsiteX1367" fmla="*/ 125654 w 203591"/>
                <a:gd name="connsiteY1367" fmla="*/ 176552 h 279938"/>
                <a:gd name="connsiteX1368" fmla="*/ 126290 w 203591"/>
                <a:gd name="connsiteY1368" fmla="*/ 175916 h 279938"/>
                <a:gd name="connsiteX1369" fmla="*/ 127563 w 203591"/>
                <a:gd name="connsiteY1369" fmla="*/ 173371 h 279938"/>
                <a:gd name="connsiteX1370" fmla="*/ 127563 w 203591"/>
                <a:gd name="connsiteY1370" fmla="*/ 171780 h 279938"/>
                <a:gd name="connsiteX1371" fmla="*/ 126609 w 203591"/>
                <a:gd name="connsiteY1371" fmla="*/ 171780 h 279938"/>
                <a:gd name="connsiteX1372" fmla="*/ 126609 w 203591"/>
                <a:gd name="connsiteY1372" fmla="*/ 172098 h 279938"/>
                <a:gd name="connsiteX1373" fmla="*/ 126290 w 203591"/>
                <a:gd name="connsiteY1373" fmla="*/ 173053 h 279938"/>
                <a:gd name="connsiteX1374" fmla="*/ 126609 w 203591"/>
                <a:gd name="connsiteY1374" fmla="*/ 173689 h 279938"/>
                <a:gd name="connsiteX1375" fmla="*/ 127563 w 203591"/>
                <a:gd name="connsiteY1375" fmla="*/ 173371 h 279938"/>
                <a:gd name="connsiteX1376" fmla="*/ 129472 w 203591"/>
                <a:gd name="connsiteY1376" fmla="*/ 55670 h 279938"/>
                <a:gd name="connsiteX1377" fmla="*/ 130744 w 203591"/>
                <a:gd name="connsiteY1377" fmla="*/ 55033 h 279938"/>
                <a:gd name="connsiteX1378" fmla="*/ 130108 w 203591"/>
                <a:gd name="connsiteY1378" fmla="*/ 55033 h 279938"/>
                <a:gd name="connsiteX1379" fmla="*/ 129472 w 203591"/>
                <a:gd name="connsiteY1379" fmla="*/ 54715 h 279938"/>
                <a:gd name="connsiteX1380" fmla="*/ 128517 w 203591"/>
                <a:gd name="connsiteY1380" fmla="*/ 55033 h 279938"/>
                <a:gd name="connsiteX1381" fmla="*/ 128199 w 203591"/>
                <a:gd name="connsiteY1381" fmla="*/ 55033 h 279938"/>
                <a:gd name="connsiteX1382" fmla="*/ 127881 w 203591"/>
                <a:gd name="connsiteY1382" fmla="*/ 55351 h 279938"/>
                <a:gd name="connsiteX1383" fmla="*/ 128517 w 203591"/>
                <a:gd name="connsiteY1383" fmla="*/ 55670 h 279938"/>
                <a:gd name="connsiteX1384" fmla="*/ 129472 w 203591"/>
                <a:gd name="connsiteY1384" fmla="*/ 55670 h 279938"/>
                <a:gd name="connsiteX1385" fmla="*/ 130426 w 203591"/>
                <a:gd name="connsiteY1385" fmla="*/ 189277 h 279938"/>
                <a:gd name="connsiteX1386" fmla="*/ 130426 w 203591"/>
                <a:gd name="connsiteY1386" fmla="*/ 189595 h 279938"/>
                <a:gd name="connsiteX1387" fmla="*/ 129472 w 203591"/>
                <a:gd name="connsiteY1387" fmla="*/ 190231 h 279938"/>
                <a:gd name="connsiteX1388" fmla="*/ 129472 w 203591"/>
                <a:gd name="connsiteY1388" fmla="*/ 189913 h 279938"/>
                <a:gd name="connsiteX1389" fmla="*/ 128835 w 203591"/>
                <a:gd name="connsiteY1389" fmla="*/ 189277 h 279938"/>
                <a:gd name="connsiteX1390" fmla="*/ 129790 w 203591"/>
                <a:gd name="connsiteY1390" fmla="*/ 188640 h 279938"/>
                <a:gd name="connsiteX1391" fmla="*/ 130744 w 203591"/>
                <a:gd name="connsiteY1391" fmla="*/ 188640 h 279938"/>
                <a:gd name="connsiteX1392" fmla="*/ 130426 w 203591"/>
                <a:gd name="connsiteY1392" fmla="*/ 189277 h 279938"/>
                <a:gd name="connsiteX1393" fmla="*/ 130426 w 203591"/>
                <a:gd name="connsiteY1393" fmla="*/ 191185 h 279938"/>
                <a:gd name="connsiteX1394" fmla="*/ 130744 w 203591"/>
                <a:gd name="connsiteY1394" fmla="*/ 191503 h 279938"/>
                <a:gd name="connsiteX1395" fmla="*/ 129790 w 203591"/>
                <a:gd name="connsiteY1395" fmla="*/ 192140 h 279938"/>
                <a:gd name="connsiteX1396" fmla="*/ 129790 w 203591"/>
                <a:gd name="connsiteY1396" fmla="*/ 191821 h 279938"/>
                <a:gd name="connsiteX1397" fmla="*/ 129472 w 203591"/>
                <a:gd name="connsiteY1397" fmla="*/ 191503 h 279938"/>
                <a:gd name="connsiteX1398" fmla="*/ 128835 w 203591"/>
                <a:gd name="connsiteY1398" fmla="*/ 191185 h 279938"/>
                <a:gd name="connsiteX1399" fmla="*/ 130426 w 203591"/>
                <a:gd name="connsiteY1399" fmla="*/ 191185 h 279938"/>
                <a:gd name="connsiteX1400" fmla="*/ 131062 w 203591"/>
                <a:gd name="connsiteY1400" fmla="*/ 53443 h 279938"/>
                <a:gd name="connsiteX1401" fmla="*/ 131698 w 203591"/>
                <a:gd name="connsiteY1401" fmla="*/ 52488 h 279938"/>
                <a:gd name="connsiteX1402" fmla="*/ 131698 w 203591"/>
                <a:gd name="connsiteY1402" fmla="*/ 52170 h 279938"/>
                <a:gd name="connsiteX1403" fmla="*/ 130108 w 203591"/>
                <a:gd name="connsiteY1403" fmla="*/ 52488 h 279938"/>
                <a:gd name="connsiteX1404" fmla="*/ 129790 w 203591"/>
                <a:gd name="connsiteY1404" fmla="*/ 54397 h 279938"/>
                <a:gd name="connsiteX1405" fmla="*/ 131062 w 203591"/>
                <a:gd name="connsiteY1405" fmla="*/ 53443 h 279938"/>
                <a:gd name="connsiteX1406" fmla="*/ 132335 w 203591"/>
                <a:gd name="connsiteY1406" fmla="*/ 183551 h 279938"/>
                <a:gd name="connsiteX1407" fmla="*/ 132016 w 203591"/>
                <a:gd name="connsiteY1407" fmla="*/ 183232 h 279938"/>
                <a:gd name="connsiteX1408" fmla="*/ 132335 w 203591"/>
                <a:gd name="connsiteY1408" fmla="*/ 182914 h 279938"/>
                <a:gd name="connsiteX1409" fmla="*/ 132653 w 203591"/>
                <a:gd name="connsiteY1409" fmla="*/ 182914 h 279938"/>
                <a:gd name="connsiteX1410" fmla="*/ 132971 w 203591"/>
                <a:gd name="connsiteY1410" fmla="*/ 183232 h 279938"/>
                <a:gd name="connsiteX1411" fmla="*/ 133607 w 203591"/>
                <a:gd name="connsiteY1411" fmla="*/ 183551 h 279938"/>
                <a:gd name="connsiteX1412" fmla="*/ 132653 w 203591"/>
                <a:gd name="connsiteY1412" fmla="*/ 184187 h 279938"/>
                <a:gd name="connsiteX1413" fmla="*/ 132335 w 203591"/>
                <a:gd name="connsiteY1413" fmla="*/ 183551 h 279938"/>
                <a:gd name="connsiteX1414" fmla="*/ 135834 w 203591"/>
                <a:gd name="connsiteY1414" fmla="*/ 57896 h 279938"/>
                <a:gd name="connsiteX1415" fmla="*/ 135516 w 203591"/>
                <a:gd name="connsiteY1415" fmla="*/ 57578 h 279938"/>
                <a:gd name="connsiteX1416" fmla="*/ 134879 w 203591"/>
                <a:gd name="connsiteY1416" fmla="*/ 57896 h 279938"/>
                <a:gd name="connsiteX1417" fmla="*/ 135834 w 203591"/>
                <a:gd name="connsiteY1417" fmla="*/ 57896 h 279938"/>
                <a:gd name="connsiteX1418" fmla="*/ 137106 w 203591"/>
                <a:gd name="connsiteY1418" fmla="*/ 51852 h 279938"/>
                <a:gd name="connsiteX1419" fmla="*/ 137106 w 203591"/>
                <a:gd name="connsiteY1419" fmla="*/ 51534 h 279938"/>
                <a:gd name="connsiteX1420" fmla="*/ 136788 w 203591"/>
                <a:gd name="connsiteY1420" fmla="*/ 51534 h 279938"/>
                <a:gd name="connsiteX1421" fmla="*/ 136470 w 203591"/>
                <a:gd name="connsiteY1421" fmla="*/ 52170 h 279938"/>
                <a:gd name="connsiteX1422" fmla="*/ 137106 w 203591"/>
                <a:gd name="connsiteY1422" fmla="*/ 51852 h 279938"/>
                <a:gd name="connsiteX1423" fmla="*/ 137424 w 203591"/>
                <a:gd name="connsiteY1423" fmla="*/ 171780 h 279938"/>
                <a:gd name="connsiteX1424" fmla="*/ 137106 w 203591"/>
                <a:gd name="connsiteY1424" fmla="*/ 170826 h 279938"/>
                <a:gd name="connsiteX1425" fmla="*/ 137106 w 203591"/>
                <a:gd name="connsiteY1425" fmla="*/ 170190 h 279938"/>
                <a:gd name="connsiteX1426" fmla="*/ 136788 w 203591"/>
                <a:gd name="connsiteY1426" fmla="*/ 170190 h 279938"/>
                <a:gd name="connsiteX1427" fmla="*/ 137106 w 203591"/>
                <a:gd name="connsiteY1427" fmla="*/ 169554 h 279938"/>
                <a:gd name="connsiteX1428" fmla="*/ 137424 w 203591"/>
                <a:gd name="connsiteY1428" fmla="*/ 169235 h 279938"/>
                <a:gd name="connsiteX1429" fmla="*/ 139015 w 203591"/>
                <a:gd name="connsiteY1429" fmla="*/ 169872 h 279938"/>
                <a:gd name="connsiteX1430" fmla="*/ 139333 w 203591"/>
                <a:gd name="connsiteY1430" fmla="*/ 170190 h 279938"/>
                <a:gd name="connsiteX1431" fmla="*/ 139015 w 203591"/>
                <a:gd name="connsiteY1431" fmla="*/ 170826 h 279938"/>
                <a:gd name="connsiteX1432" fmla="*/ 137743 w 203591"/>
                <a:gd name="connsiteY1432" fmla="*/ 171780 h 279938"/>
                <a:gd name="connsiteX1433" fmla="*/ 137424 w 203591"/>
                <a:gd name="connsiteY1433" fmla="*/ 171780 h 279938"/>
                <a:gd name="connsiteX1434" fmla="*/ 139333 w 203591"/>
                <a:gd name="connsiteY1434" fmla="*/ 167645 h 279938"/>
                <a:gd name="connsiteX1435" fmla="*/ 139969 w 203591"/>
                <a:gd name="connsiteY1435" fmla="*/ 167645 h 279938"/>
                <a:gd name="connsiteX1436" fmla="*/ 140605 w 203591"/>
                <a:gd name="connsiteY1436" fmla="*/ 168917 h 279938"/>
                <a:gd name="connsiteX1437" fmla="*/ 140287 w 203591"/>
                <a:gd name="connsiteY1437" fmla="*/ 169235 h 279938"/>
                <a:gd name="connsiteX1438" fmla="*/ 139333 w 203591"/>
                <a:gd name="connsiteY1438" fmla="*/ 168917 h 279938"/>
                <a:gd name="connsiteX1439" fmla="*/ 139333 w 203591"/>
                <a:gd name="connsiteY1439" fmla="*/ 167645 h 279938"/>
                <a:gd name="connsiteX1440" fmla="*/ 145059 w 203591"/>
                <a:gd name="connsiteY1440" fmla="*/ 55033 h 279938"/>
                <a:gd name="connsiteX1441" fmla="*/ 146331 w 203591"/>
                <a:gd name="connsiteY1441" fmla="*/ 54715 h 279938"/>
                <a:gd name="connsiteX1442" fmla="*/ 146331 w 203591"/>
                <a:gd name="connsiteY1442" fmla="*/ 54397 h 279938"/>
                <a:gd name="connsiteX1443" fmla="*/ 146331 w 203591"/>
                <a:gd name="connsiteY1443" fmla="*/ 54079 h 279938"/>
                <a:gd name="connsiteX1444" fmla="*/ 145377 w 203591"/>
                <a:gd name="connsiteY1444" fmla="*/ 54079 h 279938"/>
                <a:gd name="connsiteX1445" fmla="*/ 145059 w 203591"/>
                <a:gd name="connsiteY1445" fmla="*/ 54715 h 279938"/>
                <a:gd name="connsiteX1446" fmla="*/ 145059 w 203591"/>
                <a:gd name="connsiteY1446" fmla="*/ 55033 h 279938"/>
                <a:gd name="connsiteX1447" fmla="*/ 150785 w 203591"/>
                <a:gd name="connsiteY1447" fmla="*/ 52488 h 279938"/>
                <a:gd name="connsiteX1448" fmla="*/ 151421 w 203591"/>
                <a:gd name="connsiteY1448" fmla="*/ 51534 h 279938"/>
                <a:gd name="connsiteX1449" fmla="*/ 151421 w 203591"/>
                <a:gd name="connsiteY1449" fmla="*/ 50898 h 279938"/>
                <a:gd name="connsiteX1450" fmla="*/ 151421 w 203591"/>
                <a:gd name="connsiteY1450" fmla="*/ 50580 h 279938"/>
                <a:gd name="connsiteX1451" fmla="*/ 151103 w 203591"/>
                <a:gd name="connsiteY1451" fmla="*/ 50580 h 279938"/>
                <a:gd name="connsiteX1452" fmla="*/ 150149 w 203591"/>
                <a:gd name="connsiteY1452" fmla="*/ 51216 h 279938"/>
                <a:gd name="connsiteX1453" fmla="*/ 150785 w 203591"/>
                <a:gd name="connsiteY1453" fmla="*/ 52170 h 279938"/>
                <a:gd name="connsiteX1454" fmla="*/ 150785 w 203591"/>
                <a:gd name="connsiteY1454" fmla="*/ 52488 h 279938"/>
                <a:gd name="connsiteX1455" fmla="*/ 160646 w 203591"/>
                <a:gd name="connsiteY1455" fmla="*/ 54397 h 279938"/>
                <a:gd name="connsiteX1456" fmla="*/ 162237 w 203591"/>
                <a:gd name="connsiteY1456" fmla="*/ 53125 h 279938"/>
                <a:gd name="connsiteX1457" fmla="*/ 160010 w 203591"/>
                <a:gd name="connsiteY1457" fmla="*/ 54397 h 279938"/>
                <a:gd name="connsiteX1458" fmla="*/ 160646 w 203591"/>
                <a:gd name="connsiteY1458" fmla="*/ 54397 h 279938"/>
                <a:gd name="connsiteX1459" fmla="*/ 188640 w 203591"/>
                <a:gd name="connsiteY1459" fmla="*/ 61077 h 279938"/>
                <a:gd name="connsiteX1460" fmla="*/ 188640 w 203591"/>
                <a:gd name="connsiteY1460" fmla="*/ 60759 h 279938"/>
                <a:gd name="connsiteX1461" fmla="*/ 188004 w 203591"/>
                <a:gd name="connsiteY1461" fmla="*/ 61077 h 279938"/>
                <a:gd name="connsiteX1462" fmla="*/ 188640 w 203591"/>
                <a:gd name="connsiteY1462" fmla="*/ 61077 h 279938"/>
                <a:gd name="connsiteX1463" fmla="*/ 193412 w 203591"/>
                <a:gd name="connsiteY1463" fmla="*/ 46762 h 279938"/>
                <a:gd name="connsiteX1464" fmla="*/ 193730 w 203591"/>
                <a:gd name="connsiteY1464" fmla="*/ 45808 h 279938"/>
                <a:gd name="connsiteX1465" fmla="*/ 193094 w 203591"/>
                <a:gd name="connsiteY1465" fmla="*/ 46444 h 279938"/>
                <a:gd name="connsiteX1466" fmla="*/ 193412 w 203591"/>
                <a:gd name="connsiteY1466" fmla="*/ 47081 h 279938"/>
                <a:gd name="connsiteX1467" fmla="*/ 193412 w 203591"/>
                <a:gd name="connsiteY1467" fmla="*/ 46762 h 279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</a:cxnLst>
              <a:rect l="l" t="t" r="r" b="b"/>
              <a:pathLst>
                <a:path w="203591" h="279938">
                  <a:moveTo>
                    <a:pt x="41355" y="64577"/>
                  </a:moveTo>
                  <a:cubicBezTo>
                    <a:pt x="41036" y="64577"/>
                    <a:pt x="41036" y="64577"/>
                    <a:pt x="41036" y="64259"/>
                  </a:cubicBezTo>
                  <a:lnTo>
                    <a:pt x="41036" y="63940"/>
                  </a:lnTo>
                  <a:cubicBezTo>
                    <a:pt x="42309" y="63622"/>
                    <a:pt x="42627" y="63304"/>
                    <a:pt x="42945" y="62668"/>
                  </a:cubicBezTo>
                  <a:lnTo>
                    <a:pt x="43581" y="62668"/>
                  </a:lnTo>
                  <a:cubicBezTo>
                    <a:pt x="43900" y="62668"/>
                    <a:pt x="44854" y="62350"/>
                    <a:pt x="45808" y="62350"/>
                  </a:cubicBezTo>
                  <a:cubicBezTo>
                    <a:pt x="46126" y="62032"/>
                    <a:pt x="46762" y="62350"/>
                    <a:pt x="47081" y="61714"/>
                  </a:cubicBezTo>
                  <a:cubicBezTo>
                    <a:pt x="47399" y="61714"/>
                    <a:pt x="48671" y="61077"/>
                    <a:pt x="48671" y="61077"/>
                  </a:cubicBezTo>
                  <a:cubicBezTo>
                    <a:pt x="49307" y="60441"/>
                    <a:pt x="49626" y="60123"/>
                    <a:pt x="50580" y="60123"/>
                  </a:cubicBezTo>
                  <a:lnTo>
                    <a:pt x="51852" y="60123"/>
                  </a:lnTo>
                  <a:lnTo>
                    <a:pt x="56306" y="59169"/>
                  </a:lnTo>
                  <a:lnTo>
                    <a:pt x="57260" y="59169"/>
                  </a:lnTo>
                  <a:lnTo>
                    <a:pt x="57896" y="59805"/>
                  </a:lnTo>
                  <a:cubicBezTo>
                    <a:pt x="57578" y="60441"/>
                    <a:pt x="57260" y="61077"/>
                    <a:pt x="56306" y="61714"/>
                  </a:cubicBezTo>
                  <a:cubicBezTo>
                    <a:pt x="55988" y="61714"/>
                    <a:pt x="55988" y="61714"/>
                    <a:pt x="55352" y="62032"/>
                  </a:cubicBezTo>
                  <a:cubicBezTo>
                    <a:pt x="55352" y="62032"/>
                    <a:pt x="55033" y="62032"/>
                    <a:pt x="55033" y="62350"/>
                  </a:cubicBezTo>
                  <a:lnTo>
                    <a:pt x="55033" y="62668"/>
                  </a:lnTo>
                  <a:cubicBezTo>
                    <a:pt x="55033" y="62986"/>
                    <a:pt x="55352" y="63304"/>
                    <a:pt x="55670" y="63304"/>
                  </a:cubicBezTo>
                  <a:cubicBezTo>
                    <a:pt x="55670" y="63304"/>
                    <a:pt x="55988" y="63622"/>
                    <a:pt x="56306" y="63622"/>
                  </a:cubicBezTo>
                  <a:lnTo>
                    <a:pt x="56942" y="63622"/>
                  </a:lnTo>
                  <a:cubicBezTo>
                    <a:pt x="57578" y="63622"/>
                    <a:pt x="57260" y="64259"/>
                    <a:pt x="57578" y="64259"/>
                  </a:cubicBezTo>
                  <a:lnTo>
                    <a:pt x="58215" y="64259"/>
                  </a:lnTo>
                  <a:cubicBezTo>
                    <a:pt x="59487" y="63622"/>
                    <a:pt x="59487" y="63304"/>
                    <a:pt x="59487" y="62668"/>
                  </a:cubicBezTo>
                  <a:cubicBezTo>
                    <a:pt x="60123" y="62032"/>
                    <a:pt x="60441" y="61714"/>
                    <a:pt x="61714" y="61077"/>
                  </a:cubicBezTo>
                  <a:lnTo>
                    <a:pt x="62350" y="59169"/>
                  </a:lnTo>
                  <a:cubicBezTo>
                    <a:pt x="63304" y="58533"/>
                    <a:pt x="63304" y="58214"/>
                    <a:pt x="64259" y="57896"/>
                  </a:cubicBezTo>
                  <a:lnTo>
                    <a:pt x="64895" y="57896"/>
                  </a:lnTo>
                  <a:cubicBezTo>
                    <a:pt x="65531" y="57896"/>
                    <a:pt x="65849" y="57896"/>
                    <a:pt x="66485" y="57578"/>
                  </a:cubicBezTo>
                  <a:cubicBezTo>
                    <a:pt x="67122" y="56942"/>
                    <a:pt x="67758" y="56942"/>
                    <a:pt x="68076" y="56942"/>
                  </a:cubicBezTo>
                  <a:cubicBezTo>
                    <a:pt x="68394" y="56942"/>
                    <a:pt x="68712" y="56942"/>
                    <a:pt x="69030" y="57578"/>
                  </a:cubicBezTo>
                  <a:cubicBezTo>
                    <a:pt x="69349" y="57578"/>
                    <a:pt x="69349" y="57896"/>
                    <a:pt x="69349" y="58214"/>
                  </a:cubicBezTo>
                  <a:cubicBezTo>
                    <a:pt x="69667" y="58214"/>
                    <a:pt x="70303" y="57896"/>
                    <a:pt x="70621" y="57896"/>
                  </a:cubicBezTo>
                  <a:lnTo>
                    <a:pt x="70939" y="57896"/>
                  </a:lnTo>
                  <a:cubicBezTo>
                    <a:pt x="70939" y="57578"/>
                    <a:pt x="70939" y="57578"/>
                    <a:pt x="71257" y="57578"/>
                  </a:cubicBezTo>
                  <a:cubicBezTo>
                    <a:pt x="72530" y="55988"/>
                    <a:pt x="73802" y="55351"/>
                    <a:pt x="74438" y="55351"/>
                  </a:cubicBezTo>
                  <a:lnTo>
                    <a:pt x="77619" y="55351"/>
                  </a:lnTo>
                  <a:cubicBezTo>
                    <a:pt x="77937" y="55351"/>
                    <a:pt x="77937" y="55351"/>
                    <a:pt x="77937" y="55670"/>
                  </a:cubicBezTo>
                  <a:lnTo>
                    <a:pt x="77937" y="55988"/>
                  </a:lnTo>
                  <a:lnTo>
                    <a:pt x="76983" y="57260"/>
                  </a:lnTo>
                  <a:lnTo>
                    <a:pt x="76983" y="57578"/>
                  </a:lnTo>
                  <a:lnTo>
                    <a:pt x="77937" y="57578"/>
                  </a:lnTo>
                  <a:cubicBezTo>
                    <a:pt x="78256" y="57578"/>
                    <a:pt x="78892" y="57578"/>
                    <a:pt x="79846" y="56942"/>
                  </a:cubicBezTo>
                  <a:cubicBezTo>
                    <a:pt x="79846" y="56306"/>
                    <a:pt x="80482" y="56306"/>
                    <a:pt x="81119" y="55988"/>
                  </a:cubicBezTo>
                  <a:cubicBezTo>
                    <a:pt x="80800" y="56306"/>
                    <a:pt x="80482" y="57260"/>
                    <a:pt x="80164" y="57260"/>
                  </a:cubicBezTo>
                  <a:cubicBezTo>
                    <a:pt x="79846" y="58533"/>
                    <a:pt x="79846" y="58533"/>
                    <a:pt x="78256" y="58533"/>
                  </a:cubicBezTo>
                  <a:lnTo>
                    <a:pt x="77619" y="58533"/>
                  </a:lnTo>
                  <a:cubicBezTo>
                    <a:pt x="77301" y="58851"/>
                    <a:pt x="76983" y="58851"/>
                    <a:pt x="76983" y="59169"/>
                  </a:cubicBezTo>
                  <a:lnTo>
                    <a:pt x="76983" y="59805"/>
                  </a:lnTo>
                  <a:cubicBezTo>
                    <a:pt x="78256" y="59169"/>
                    <a:pt x="79210" y="59169"/>
                    <a:pt x="80164" y="59169"/>
                  </a:cubicBezTo>
                  <a:lnTo>
                    <a:pt x="80800" y="59169"/>
                  </a:lnTo>
                  <a:cubicBezTo>
                    <a:pt x="81119" y="59169"/>
                    <a:pt x="81755" y="58533"/>
                    <a:pt x="82391" y="58533"/>
                  </a:cubicBezTo>
                  <a:cubicBezTo>
                    <a:pt x="82391" y="58533"/>
                    <a:pt x="82709" y="58214"/>
                    <a:pt x="83027" y="58214"/>
                  </a:cubicBezTo>
                  <a:cubicBezTo>
                    <a:pt x="82709" y="57896"/>
                    <a:pt x="82391" y="57896"/>
                    <a:pt x="82391" y="57896"/>
                  </a:cubicBezTo>
                  <a:lnTo>
                    <a:pt x="82073" y="57578"/>
                  </a:lnTo>
                  <a:cubicBezTo>
                    <a:pt x="82073" y="57260"/>
                    <a:pt x="82073" y="57260"/>
                    <a:pt x="81755" y="56942"/>
                  </a:cubicBezTo>
                  <a:cubicBezTo>
                    <a:pt x="81755" y="56942"/>
                    <a:pt x="82073" y="56306"/>
                    <a:pt x="82391" y="55988"/>
                  </a:cubicBezTo>
                  <a:cubicBezTo>
                    <a:pt x="83027" y="55988"/>
                    <a:pt x="83345" y="55670"/>
                    <a:pt x="83345" y="55351"/>
                  </a:cubicBezTo>
                  <a:cubicBezTo>
                    <a:pt x="83345" y="55033"/>
                    <a:pt x="83664" y="54397"/>
                    <a:pt x="83982" y="54079"/>
                  </a:cubicBezTo>
                  <a:cubicBezTo>
                    <a:pt x="84618" y="53125"/>
                    <a:pt x="87481" y="41673"/>
                    <a:pt x="87481" y="41355"/>
                  </a:cubicBezTo>
                  <a:cubicBezTo>
                    <a:pt x="87481" y="40718"/>
                    <a:pt x="87481" y="36265"/>
                    <a:pt x="87799" y="35947"/>
                  </a:cubicBezTo>
                  <a:cubicBezTo>
                    <a:pt x="89071" y="35629"/>
                    <a:pt x="89708" y="35629"/>
                    <a:pt x="90026" y="34356"/>
                  </a:cubicBezTo>
                  <a:cubicBezTo>
                    <a:pt x="90344" y="34038"/>
                    <a:pt x="90662" y="34038"/>
                    <a:pt x="90662" y="33720"/>
                  </a:cubicBezTo>
                  <a:lnTo>
                    <a:pt x="90344" y="33402"/>
                  </a:lnTo>
                  <a:cubicBezTo>
                    <a:pt x="90344" y="33084"/>
                    <a:pt x="90344" y="32766"/>
                    <a:pt x="90662" y="32447"/>
                  </a:cubicBezTo>
                  <a:cubicBezTo>
                    <a:pt x="89390" y="32447"/>
                    <a:pt x="89390" y="32447"/>
                    <a:pt x="89390" y="31811"/>
                  </a:cubicBezTo>
                  <a:cubicBezTo>
                    <a:pt x="89390" y="31175"/>
                    <a:pt x="89390" y="30539"/>
                    <a:pt x="89071" y="30221"/>
                  </a:cubicBezTo>
                  <a:lnTo>
                    <a:pt x="89071" y="29584"/>
                  </a:lnTo>
                  <a:cubicBezTo>
                    <a:pt x="89390" y="28948"/>
                    <a:pt x="89708" y="28948"/>
                    <a:pt x="90026" y="28630"/>
                  </a:cubicBezTo>
                  <a:cubicBezTo>
                    <a:pt x="90344" y="28312"/>
                    <a:pt x="90344" y="27994"/>
                    <a:pt x="90344" y="27676"/>
                  </a:cubicBezTo>
                  <a:lnTo>
                    <a:pt x="90344" y="27040"/>
                  </a:lnTo>
                  <a:cubicBezTo>
                    <a:pt x="90344" y="26403"/>
                    <a:pt x="90980" y="26085"/>
                    <a:pt x="90980" y="25449"/>
                  </a:cubicBezTo>
                  <a:cubicBezTo>
                    <a:pt x="91298" y="25131"/>
                    <a:pt x="91934" y="24495"/>
                    <a:pt x="91934" y="23858"/>
                  </a:cubicBezTo>
                  <a:lnTo>
                    <a:pt x="91934" y="23540"/>
                  </a:lnTo>
                  <a:cubicBezTo>
                    <a:pt x="92571" y="23540"/>
                    <a:pt x="92571" y="22904"/>
                    <a:pt x="92571" y="21950"/>
                  </a:cubicBezTo>
                  <a:lnTo>
                    <a:pt x="92889" y="21632"/>
                  </a:lnTo>
                  <a:lnTo>
                    <a:pt x="92889" y="21313"/>
                  </a:lnTo>
                  <a:lnTo>
                    <a:pt x="92571" y="20995"/>
                  </a:lnTo>
                  <a:lnTo>
                    <a:pt x="92571" y="19405"/>
                  </a:lnTo>
                  <a:cubicBezTo>
                    <a:pt x="92571" y="19087"/>
                    <a:pt x="92889" y="19087"/>
                    <a:pt x="92889" y="18769"/>
                  </a:cubicBezTo>
                  <a:cubicBezTo>
                    <a:pt x="93525" y="18450"/>
                    <a:pt x="94161" y="18132"/>
                    <a:pt x="94479" y="17496"/>
                  </a:cubicBezTo>
                  <a:lnTo>
                    <a:pt x="94161" y="17178"/>
                  </a:lnTo>
                  <a:cubicBezTo>
                    <a:pt x="95115" y="16860"/>
                    <a:pt x="95115" y="15587"/>
                    <a:pt x="95115" y="15269"/>
                  </a:cubicBezTo>
                  <a:lnTo>
                    <a:pt x="94797" y="14951"/>
                  </a:lnTo>
                  <a:cubicBezTo>
                    <a:pt x="94797" y="14951"/>
                    <a:pt x="95115" y="14633"/>
                    <a:pt x="96070" y="14315"/>
                  </a:cubicBezTo>
                  <a:lnTo>
                    <a:pt x="97342" y="13361"/>
                  </a:lnTo>
                  <a:lnTo>
                    <a:pt x="97342" y="11770"/>
                  </a:lnTo>
                  <a:cubicBezTo>
                    <a:pt x="97660" y="11452"/>
                    <a:pt x="97979" y="10816"/>
                    <a:pt x="99251" y="10180"/>
                  </a:cubicBezTo>
                  <a:cubicBezTo>
                    <a:pt x="99251" y="10180"/>
                    <a:pt x="99569" y="7953"/>
                    <a:pt x="100205" y="7317"/>
                  </a:cubicBezTo>
                  <a:cubicBezTo>
                    <a:pt x="100523" y="7317"/>
                    <a:pt x="100523" y="7317"/>
                    <a:pt x="100841" y="6998"/>
                  </a:cubicBezTo>
                  <a:cubicBezTo>
                    <a:pt x="101160" y="6680"/>
                    <a:pt x="101160" y="6362"/>
                    <a:pt x="101160" y="6044"/>
                  </a:cubicBezTo>
                  <a:cubicBezTo>
                    <a:pt x="101160" y="5090"/>
                    <a:pt x="101160" y="5090"/>
                    <a:pt x="102114" y="4454"/>
                  </a:cubicBezTo>
                  <a:lnTo>
                    <a:pt x="103705" y="3181"/>
                  </a:lnTo>
                  <a:cubicBezTo>
                    <a:pt x="103386" y="2863"/>
                    <a:pt x="103386" y="2863"/>
                    <a:pt x="103386" y="2545"/>
                  </a:cubicBezTo>
                  <a:cubicBezTo>
                    <a:pt x="103386" y="2227"/>
                    <a:pt x="103705" y="1909"/>
                    <a:pt x="104659" y="1909"/>
                  </a:cubicBezTo>
                  <a:cubicBezTo>
                    <a:pt x="104659" y="1909"/>
                    <a:pt x="104977" y="1591"/>
                    <a:pt x="105295" y="1591"/>
                  </a:cubicBezTo>
                  <a:cubicBezTo>
                    <a:pt x="105613" y="1591"/>
                    <a:pt x="105613" y="1272"/>
                    <a:pt x="105931" y="1272"/>
                  </a:cubicBezTo>
                  <a:lnTo>
                    <a:pt x="106249" y="1272"/>
                  </a:lnTo>
                  <a:cubicBezTo>
                    <a:pt x="106249" y="1272"/>
                    <a:pt x="106249" y="1591"/>
                    <a:pt x="106567" y="1591"/>
                  </a:cubicBezTo>
                  <a:cubicBezTo>
                    <a:pt x="106567" y="1591"/>
                    <a:pt x="106886" y="1591"/>
                    <a:pt x="107204" y="1272"/>
                  </a:cubicBezTo>
                  <a:cubicBezTo>
                    <a:pt x="107840" y="954"/>
                    <a:pt x="108158" y="954"/>
                    <a:pt x="108794" y="318"/>
                  </a:cubicBezTo>
                  <a:cubicBezTo>
                    <a:pt x="109112" y="318"/>
                    <a:pt x="109431" y="0"/>
                    <a:pt x="109749" y="0"/>
                  </a:cubicBezTo>
                  <a:cubicBezTo>
                    <a:pt x="110067" y="0"/>
                    <a:pt x="110385" y="318"/>
                    <a:pt x="111021" y="636"/>
                  </a:cubicBezTo>
                  <a:cubicBezTo>
                    <a:pt x="111021" y="954"/>
                    <a:pt x="111339" y="954"/>
                    <a:pt x="111339" y="954"/>
                  </a:cubicBezTo>
                  <a:cubicBezTo>
                    <a:pt x="111339" y="1909"/>
                    <a:pt x="111339" y="2545"/>
                    <a:pt x="111021" y="3181"/>
                  </a:cubicBezTo>
                  <a:lnTo>
                    <a:pt x="111657" y="3499"/>
                  </a:lnTo>
                  <a:lnTo>
                    <a:pt x="112294" y="3499"/>
                  </a:lnTo>
                  <a:lnTo>
                    <a:pt x="113248" y="1909"/>
                  </a:lnTo>
                  <a:lnTo>
                    <a:pt x="113566" y="1909"/>
                  </a:lnTo>
                  <a:cubicBezTo>
                    <a:pt x="113884" y="1909"/>
                    <a:pt x="113884" y="2227"/>
                    <a:pt x="113884" y="2545"/>
                  </a:cubicBezTo>
                  <a:lnTo>
                    <a:pt x="114520" y="3181"/>
                  </a:lnTo>
                  <a:cubicBezTo>
                    <a:pt x="114520" y="3181"/>
                    <a:pt x="114838" y="3499"/>
                    <a:pt x="115156" y="3499"/>
                  </a:cubicBezTo>
                  <a:lnTo>
                    <a:pt x="117701" y="3499"/>
                  </a:lnTo>
                  <a:cubicBezTo>
                    <a:pt x="117701" y="3499"/>
                    <a:pt x="117383" y="3817"/>
                    <a:pt x="117383" y="4135"/>
                  </a:cubicBezTo>
                  <a:lnTo>
                    <a:pt x="117383" y="4772"/>
                  </a:lnTo>
                  <a:lnTo>
                    <a:pt x="118656" y="4772"/>
                  </a:lnTo>
                  <a:lnTo>
                    <a:pt x="118974" y="4454"/>
                  </a:lnTo>
                  <a:cubicBezTo>
                    <a:pt x="119610" y="4454"/>
                    <a:pt x="119928" y="4135"/>
                    <a:pt x="120246" y="4135"/>
                  </a:cubicBezTo>
                  <a:cubicBezTo>
                    <a:pt x="120246" y="4135"/>
                    <a:pt x="120564" y="4454"/>
                    <a:pt x="120882" y="4454"/>
                  </a:cubicBezTo>
                  <a:cubicBezTo>
                    <a:pt x="121519" y="4454"/>
                    <a:pt x="122155" y="4772"/>
                    <a:pt x="122791" y="4772"/>
                  </a:cubicBezTo>
                  <a:cubicBezTo>
                    <a:pt x="123746" y="4772"/>
                    <a:pt x="124064" y="5408"/>
                    <a:pt x="124064" y="5726"/>
                  </a:cubicBezTo>
                  <a:cubicBezTo>
                    <a:pt x="124064" y="6680"/>
                    <a:pt x="123746" y="7317"/>
                    <a:pt x="123746" y="7953"/>
                  </a:cubicBezTo>
                  <a:cubicBezTo>
                    <a:pt x="123746" y="8271"/>
                    <a:pt x="123746" y="8589"/>
                    <a:pt x="124382" y="8907"/>
                  </a:cubicBezTo>
                  <a:lnTo>
                    <a:pt x="124700" y="9543"/>
                  </a:lnTo>
                  <a:cubicBezTo>
                    <a:pt x="124064" y="10180"/>
                    <a:pt x="123746" y="10816"/>
                    <a:pt x="123746" y="11134"/>
                  </a:cubicBezTo>
                  <a:cubicBezTo>
                    <a:pt x="123746" y="11452"/>
                    <a:pt x="123428" y="11452"/>
                    <a:pt x="123428" y="12088"/>
                  </a:cubicBezTo>
                  <a:cubicBezTo>
                    <a:pt x="122473" y="12088"/>
                    <a:pt x="122791" y="13043"/>
                    <a:pt x="122155" y="13361"/>
                  </a:cubicBezTo>
                  <a:cubicBezTo>
                    <a:pt x="121837" y="13361"/>
                    <a:pt x="121837" y="13679"/>
                    <a:pt x="121837" y="13997"/>
                  </a:cubicBezTo>
                  <a:cubicBezTo>
                    <a:pt x="121837" y="14315"/>
                    <a:pt x="121519" y="14633"/>
                    <a:pt x="121519" y="14951"/>
                  </a:cubicBezTo>
                  <a:cubicBezTo>
                    <a:pt x="121201" y="14951"/>
                    <a:pt x="121201" y="15269"/>
                    <a:pt x="121201" y="15269"/>
                  </a:cubicBezTo>
                  <a:cubicBezTo>
                    <a:pt x="121201" y="15269"/>
                    <a:pt x="121201" y="15587"/>
                    <a:pt x="120882" y="15587"/>
                  </a:cubicBezTo>
                  <a:lnTo>
                    <a:pt x="120882" y="17178"/>
                  </a:lnTo>
                  <a:cubicBezTo>
                    <a:pt x="120882" y="17814"/>
                    <a:pt x="119928" y="18450"/>
                    <a:pt x="119928" y="18769"/>
                  </a:cubicBezTo>
                  <a:lnTo>
                    <a:pt x="119928" y="19087"/>
                  </a:lnTo>
                  <a:cubicBezTo>
                    <a:pt x="119292" y="20041"/>
                    <a:pt x="119928" y="20995"/>
                    <a:pt x="118974" y="21313"/>
                  </a:cubicBezTo>
                  <a:cubicBezTo>
                    <a:pt x="118974" y="21950"/>
                    <a:pt x="118656" y="22268"/>
                    <a:pt x="118656" y="22586"/>
                  </a:cubicBezTo>
                  <a:lnTo>
                    <a:pt x="118656" y="22904"/>
                  </a:lnTo>
                  <a:cubicBezTo>
                    <a:pt x="118338" y="23540"/>
                    <a:pt x="117701" y="23858"/>
                    <a:pt x="117701" y="24176"/>
                  </a:cubicBezTo>
                  <a:lnTo>
                    <a:pt x="118020" y="24495"/>
                  </a:lnTo>
                  <a:lnTo>
                    <a:pt x="118020" y="25131"/>
                  </a:lnTo>
                  <a:cubicBezTo>
                    <a:pt x="117065" y="25449"/>
                    <a:pt x="116747" y="26403"/>
                    <a:pt x="116429" y="27040"/>
                  </a:cubicBezTo>
                  <a:cubicBezTo>
                    <a:pt x="116747" y="27040"/>
                    <a:pt x="116747" y="27358"/>
                    <a:pt x="116747" y="27358"/>
                  </a:cubicBezTo>
                  <a:lnTo>
                    <a:pt x="116747" y="27676"/>
                  </a:lnTo>
                  <a:cubicBezTo>
                    <a:pt x="116747" y="27994"/>
                    <a:pt x="116429" y="27994"/>
                    <a:pt x="116429" y="28312"/>
                  </a:cubicBezTo>
                  <a:lnTo>
                    <a:pt x="116429" y="28630"/>
                  </a:lnTo>
                  <a:cubicBezTo>
                    <a:pt x="115793" y="28948"/>
                    <a:pt x="115475" y="29266"/>
                    <a:pt x="115475" y="29584"/>
                  </a:cubicBezTo>
                  <a:lnTo>
                    <a:pt x="115475" y="29903"/>
                  </a:lnTo>
                  <a:cubicBezTo>
                    <a:pt x="115475" y="30539"/>
                    <a:pt x="114838" y="30539"/>
                    <a:pt x="114838" y="30857"/>
                  </a:cubicBezTo>
                  <a:cubicBezTo>
                    <a:pt x="114838" y="31175"/>
                    <a:pt x="114520" y="31811"/>
                    <a:pt x="114202" y="32447"/>
                  </a:cubicBezTo>
                  <a:lnTo>
                    <a:pt x="113884" y="32766"/>
                  </a:lnTo>
                  <a:lnTo>
                    <a:pt x="113884" y="33402"/>
                  </a:lnTo>
                  <a:lnTo>
                    <a:pt x="114202" y="33720"/>
                  </a:lnTo>
                  <a:cubicBezTo>
                    <a:pt x="113884" y="34356"/>
                    <a:pt x="113248" y="34674"/>
                    <a:pt x="113248" y="35629"/>
                  </a:cubicBezTo>
                  <a:lnTo>
                    <a:pt x="111657" y="50898"/>
                  </a:lnTo>
                  <a:cubicBezTo>
                    <a:pt x="111975" y="50898"/>
                    <a:pt x="112294" y="50580"/>
                    <a:pt x="112612" y="50262"/>
                  </a:cubicBezTo>
                  <a:cubicBezTo>
                    <a:pt x="112930" y="49944"/>
                    <a:pt x="112930" y="49944"/>
                    <a:pt x="113248" y="49944"/>
                  </a:cubicBezTo>
                  <a:cubicBezTo>
                    <a:pt x="113884" y="49944"/>
                    <a:pt x="114520" y="50580"/>
                    <a:pt x="114520" y="51216"/>
                  </a:cubicBezTo>
                  <a:cubicBezTo>
                    <a:pt x="114520" y="52488"/>
                    <a:pt x="115156" y="52488"/>
                    <a:pt x="116111" y="52488"/>
                  </a:cubicBezTo>
                  <a:cubicBezTo>
                    <a:pt x="117383" y="52488"/>
                    <a:pt x="118338" y="52488"/>
                    <a:pt x="119292" y="50898"/>
                  </a:cubicBezTo>
                  <a:lnTo>
                    <a:pt x="116111" y="51534"/>
                  </a:lnTo>
                  <a:cubicBezTo>
                    <a:pt x="116111" y="51534"/>
                    <a:pt x="115475" y="51534"/>
                    <a:pt x="115475" y="51216"/>
                  </a:cubicBezTo>
                  <a:lnTo>
                    <a:pt x="115475" y="50898"/>
                  </a:lnTo>
                  <a:cubicBezTo>
                    <a:pt x="116747" y="49944"/>
                    <a:pt x="117383" y="49944"/>
                    <a:pt x="118338" y="49944"/>
                  </a:cubicBezTo>
                  <a:cubicBezTo>
                    <a:pt x="118656" y="49625"/>
                    <a:pt x="118656" y="49625"/>
                    <a:pt x="118974" y="49625"/>
                  </a:cubicBezTo>
                  <a:cubicBezTo>
                    <a:pt x="119292" y="49625"/>
                    <a:pt x="119610" y="49625"/>
                    <a:pt x="119610" y="50262"/>
                  </a:cubicBezTo>
                  <a:cubicBezTo>
                    <a:pt x="119292" y="50580"/>
                    <a:pt x="119292" y="50898"/>
                    <a:pt x="119292" y="50898"/>
                  </a:cubicBezTo>
                  <a:cubicBezTo>
                    <a:pt x="119610" y="50898"/>
                    <a:pt x="119610" y="50898"/>
                    <a:pt x="119928" y="50580"/>
                  </a:cubicBezTo>
                  <a:cubicBezTo>
                    <a:pt x="120564" y="50580"/>
                    <a:pt x="121519" y="50262"/>
                    <a:pt x="121519" y="49944"/>
                  </a:cubicBezTo>
                  <a:cubicBezTo>
                    <a:pt x="123109" y="49307"/>
                    <a:pt x="124064" y="49307"/>
                    <a:pt x="124700" y="49307"/>
                  </a:cubicBezTo>
                  <a:cubicBezTo>
                    <a:pt x="125336" y="49307"/>
                    <a:pt x="125654" y="49307"/>
                    <a:pt x="126609" y="48989"/>
                  </a:cubicBezTo>
                  <a:lnTo>
                    <a:pt x="127563" y="48989"/>
                  </a:lnTo>
                  <a:lnTo>
                    <a:pt x="127245" y="49625"/>
                  </a:lnTo>
                  <a:cubicBezTo>
                    <a:pt x="127245" y="49944"/>
                    <a:pt x="126927" y="49944"/>
                    <a:pt x="126609" y="50262"/>
                  </a:cubicBezTo>
                  <a:lnTo>
                    <a:pt x="125972" y="51216"/>
                  </a:lnTo>
                  <a:cubicBezTo>
                    <a:pt x="125972" y="51534"/>
                    <a:pt x="126290" y="51534"/>
                    <a:pt x="126290" y="51534"/>
                  </a:cubicBezTo>
                  <a:lnTo>
                    <a:pt x="125972" y="51852"/>
                  </a:lnTo>
                  <a:cubicBezTo>
                    <a:pt x="125972" y="52170"/>
                    <a:pt x="125654" y="52488"/>
                    <a:pt x="124700" y="53443"/>
                  </a:cubicBezTo>
                  <a:cubicBezTo>
                    <a:pt x="123428" y="54079"/>
                    <a:pt x="122473" y="55351"/>
                    <a:pt x="121837" y="55670"/>
                  </a:cubicBezTo>
                  <a:cubicBezTo>
                    <a:pt x="121201" y="55988"/>
                    <a:pt x="120882" y="56306"/>
                    <a:pt x="120882" y="56306"/>
                  </a:cubicBezTo>
                  <a:cubicBezTo>
                    <a:pt x="120882" y="56624"/>
                    <a:pt x="121201" y="56942"/>
                    <a:pt x="121837" y="56942"/>
                  </a:cubicBezTo>
                  <a:cubicBezTo>
                    <a:pt x="122155" y="56942"/>
                    <a:pt x="122473" y="56306"/>
                    <a:pt x="122473" y="56306"/>
                  </a:cubicBezTo>
                  <a:cubicBezTo>
                    <a:pt x="122473" y="56306"/>
                    <a:pt x="122791" y="55988"/>
                    <a:pt x="123428" y="55670"/>
                  </a:cubicBezTo>
                  <a:cubicBezTo>
                    <a:pt x="123428" y="55351"/>
                    <a:pt x="123746" y="55033"/>
                    <a:pt x="124700" y="54715"/>
                  </a:cubicBezTo>
                  <a:lnTo>
                    <a:pt x="125972" y="54715"/>
                  </a:lnTo>
                  <a:cubicBezTo>
                    <a:pt x="126290" y="54715"/>
                    <a:pt x="126927" y="54397"/>
                    <a:pt x="127881" y="53443"/>
                  </a:cubicBezTo>
                  <a:cubicBezTo>
                    <a:pt x="128199" y="53125"/>
                    <a:pt x="128199" y="52807"/>
                    <a:pt x="128199" y="52807"/>
                  </a:cubicBezTo>
                  <a:lnTo>
                    <a:pt x="128517" y="52488"/>
                  </a:lnTo>
                  <a:cubicBezTo>
                    <a:pt x="128517" y="52488"/>
                    <a:pt x="128199" y="52488"/>
                    <a:pt x="127881" y="52170"/>
                  </a:cubicBezTo>
                  <a:lnTo>
                    <a:pt x="127245" y="52170"/>
                  </a:lnTo>
                  <a:cubicBezTo>
                    <a:pt x="126927" y="52170"/>
                    <a:pt x="127245" y="51852"/>
                    <a:pt x="127563" y="51534"/>
                  </a:cubicBezTo>
                  <a:cubicBezTo>
                    <a:pt x="127563" y="51534"/>
                    <a:pt x="127563" y="51216"/>
                    <a:pt x="127881" y="51216"/>
                  </a:cubicBezTo>
                  <a:cubicBezTo>
                    <a:pt x="129790" y="51216"/>
                    <a:pt x="130744" y="50262"/>
                    <a:pt x="132016" y="48989"/>
                  </a:cubicBezTo>
                  <a:cubicBezTo>
                    <a:pt x="132335" y="48671"/>
                    <a:pt x="132335" y="48671"/>
                    <a:pt x="132653" y="48671"/>
                  </a:cubicBezTo>
                  <a:lnTo>
                    <a:pt x="132971" y="48989"/>
                  </a:lnTo>
                  <a:lnTo>
                    <a:pt x="132971" y="49625"/>
                  </a:lnTo>
                  <a:cubicBezTo>
                    <a:pt x="132971" y="49944"/>
                    <a:pt x="132971" y="50262"/>
                    <a:pt x="133289" y="50898"/>
                  </a:cubicBezTo>
                  <a:lnTo>
                    <a:pt x="133925" y="50898"/>
                  </a:lnTo>
                  <a:cubicBezTo>
                    <a:pt x="133925" y="49944"/>
                    <a:pt x="134561" y="48671"/>
                    <a:pt x="134879" y="48353"/>
                  </a:cubicBezTo>
                  <a:cubicBezTo>
                    <a:pt x="135198" y="47717"/>
                    <a:pt x="136470" y="47081"/>
                    <a:pt x="137106" y="47081"/>
                  </a:cubicBezTo>
                  <a:lnTo>
                    <a:pt x="139969" y="47081"/>
                  </a:lnTo>
                  <a:cubicBezTo>
                    <a:pt x="140287" y="47081"/>
                    <a:pt x="139969" y="47717"/>
                    <a:pt x="139651" y="48353"/>
                  </a:cubicBezTo>
                  <a:lnTo>
                    <a:pt x="139333" y="48671"/>
                  </a:lnTo>
                  <a:lnTo>
                    <a:pt x="139333" y="49307"/>
                  </a:lnTo>
                  <a:cubicBezTo>
                    <a:pt x="139969" y="49307"/>
                    <a:pt x="140287" y="49625"/>
                    <a:pt x="141242" y="49625"/>
                  </a:cubicBezTo>
                  <a:lnTo>
                    <a:pt x="141560" y="49625"/>
                  </a:lnTo>
                  <a:lnTo>
                    <a:pt x="141560" y="50580"/>
                  </a:lnTo>
                  <a:cubicBezTo>
                    <a:pt x="141560" y="50580"/>
                    <a:pt x="140605" y="50898"/>
                    <a:pt x="140287" y="50898"/>
                  </a:cubicBezTo>
                  <a:cubicBezTo>
                    <a:pt x="139651" y="50898"/>
                    <a:pt x="139015" y="51216"/>
                    <a:pt x="138697" y="51534"/>
                  </a:cubicBezTo>
                  <a:lnTo>
                    <a:pt x="138379" y="51852"/>
                  </a:lnTo>
                  <a:lnTo>
                    <a:pt x="138379" y="52488"/>
                  </a:lnTo>
                  <a:lnTo>
                    <a:pt x="139333" y="52488"/>
                  </a:lnTo>
                  <a:cubicBezTo>
                    <a:pt x="140924" y="51852"/>
                    <a:pt x="141560" y="51852"/>
                    <a:pt x="142832" y="51852"/>
                  </a:cubicBezTo>
                  <a:cubicBezTo>
                    <a:pt x="143469" y="52170"/>
                    <a:pt x="143787" y="52170"/>
                    <a:pt x="143787" y="53125"/>
                  </a:cubicBezTo>
                  <a:cubicBezTo>
                    <a:pt x="144105" y="53443"/>
                    <a:pt x="144105" y="53443"/>
                    <a:pt x="144423" y="53443"/>
                  </a:cubicBezTo>
                  <a:cubicBezTo>
                    <a:pt x="144741" y="53443"/>
                    <a:pt x="144741" y="53443"/>
                    <a:pt x="145059" y="53125"/>
                  </a:cubicBezTo>
                  <a:cubicBezTo>
                    <a:pt x="146013" y="52807"/>
                    <a:pt x="146013" y="52488"/>
                    <a:pt x="146331" y="51534"/>
                  </a:cubicBezTo>
                  <a:lnTo>
                    <a:pt x="146331" y="51216"/>
                  </a:lnTo>
                  <a:lnTo>
                    <a:pt x="146013" y="51216"/>
                  </a:lnTo>
                  <a:lnTo>
                    <a:pt x="145695" y="51534"/>
                  </a:lnTo>
                  <a:lnTo>
                    <a:pt x="145377" y="51534"/>
                  </a:lnTo>
                  <a:lnTo>
                    <a:pt x="145695" y="51216"/>
                  </a:lnTo>
                  <a:lnTo>
                    <a:pt x="145695" y="50898"/>
                  </a:lnTo>
                  <a:cubicBezTo>
                    <a:pt x="146331" y="50580"/>
                    <a:pt x="146331" y="49944"/>
                    <a:pt x="146650" y="49625"/>
                  </a:cubicBezTo>
                  <a:cubicBezTo>
                    <a:pt x="146650" y="49307"/>
                    <a:pt x="146650" y="48989"/>
                    <a:pt x="147286" y="48353"/>
                  </a:cubicBezTo>
                  <a:cubicBezTo>
                    <a:pt x="146650" y="48671"/>
                    <a:pt x="146331" y="48671"/>
                    <a:pt x="145695" y="48671"/>
                  </a:cubicBezTo>
                  <a:cubicBezTo>
                    <a:pt x="145059" y="48671"/>
                    <a:pt x="144423" y="48671"/>
                    <a:pt x="144105" y="48353"/>
                  </a:cubicBezTo>
                  <a:lnTo>
                    <a:pt x="144423" y="48035"/>
                  </a:lnTo>
                  <a:lnTo>
                    <a:pt x="144423" y="47717"/>
                  </a:lnTo>
                  <a:cubicBezTo>
                    <a:pt x="144423" y="47399"/>
                    <a:pt x="144741" y="46762"/>
                    <a:pt x="144741" y="46762"/>
                  </a:cubicBezTo>
                  <a:cubicBezTo>
                    <a:pt x="145059" y="47081"/>
                    <a:pt x="145377" y="47081"/>
                    <a:pt x="145695" y="47081"/>
                  </a:cubicBezTo>
                  <a:cubicBezTo>
                    <a:pt x="145695" y="47717"/>
                    <a:pt x="146331" y="48035"/>
                    <a:pt x="146650" y="48035"/>
                  </a:cubicBezTo>
                  <a:cubicBezTo>
                    <a:pt x="146968" y="47717"/>
                    <a:pt x="147604" y="47399"/>
                    <a:pt x="147922" y="46444"/>
                  </a:cubicBezTo>
                  <a:lnTo>
                    <a:pt x="151421" y="46444"/>
                  </a:lnTo>
                  <a:cubicBezTo>
                    <a:pt x="152694" y="46444"/>
                    <a:pt x="154284" y="46126"/>
                    <a:pt x="156511" y="45172"/>
                  </a:cubicBezTo>
                  <a:lnTo>
                    <a:pt x="158738" y="45172"/>
                  </a:lnTo>
                  <a:cubicBezTo>
                    <a:pt x="159374" y="45490"/>
                    <a:pt x="159374" y="46126"/>
                    <a:pt x="159374" y="47081"/>
                  </a:cubicBezTo>
                  <a:cubicBezTo>
                    <a:pt x="159374" y="47717"/>
                    <a:pt x="160010" y="47717"/>
                    <a:pt x="160010" y="47717"/>
                  </a:cubicBezTo>
                  <a:cubicBezTo>
                    <a:pt x="161283" y="47399"/>
                    <a:pt x="161283" y="47399"/>
                    <a:pt x="161601" y="47399"/>
                  </a:cubicBezTo>
                  <a:lnTo>
                    <a:pt x="162873" y="47399"/>
                  </a:lnTo>
                  <a:cubicBezTo>
                    <a:pt x="162873" y="47399"/>
                    <a:pt x="162555" y="48353"/>
                    <a:pt x="162237" y="48989"/>
                  </a:cubicBezTo>
                  <a:cubicBezTo>
                    <a:pt x="162237" y="49625"/>
                    <a:pt x="162555" y="49944"/>
                    <a:pt x="162873" y="50580"/>
                  </a:cubicBezTo>
                  <a:cubicBezTo>
                    <a:pt x="163510" y="50580"/>
                    <a:pt x="163828" y="50580"/>
                    <a:pt x="163828" y="50898"/>
                  </a:cubicBezTo>
                  <a:lnTo>
                    <a:pt x="163510" y="51216"/>
                  </a:lnTo>
                  <a:cubicBezTo>
                    <a:pt x="163510" y="51534"/>
                    <a:pt x="163191" y="51852"/>
                    <a:pt x="162873" y="52170"/>
                  </a:cubicBezTo>
                  <a:cubicBezTo>
                    <a:pt x="162873" y="52807"/>
                    <a:pt x="162555" y="53125"/>
                    <a:pt x="162237" y="53125"/>
                  </a:cubicBezTo>
                  <a:cubicBezTo>
                    <a:pt x="162873" y="53125"/>
                    <a:pt x="163510" y="52807"/>
                    <a:pt x="163510" y="52170"/>
                  </a:cubicBezTo>
                  <a:cubicBezTo>
                    <a:pt x="164464" y="51852"/>
                    <a:pt x="165100" y="51216"/>
                    <a:pt x="165418" y="51216"/>
                  </a:cubicBezTo>
                  <a:cubicBezTo>
                    <a:pt x="165736" y="51216"/>
                    <a:pt x="165736" y="50898"/>
                    <a:pt x="166054" y="50898"/>
                  </a:cubicBezTo>
                  <a:lnTo>
                    <a:pt x="166373" y="51216"/>
                  </a:lnTo>
                  <a:lnTo>
                    <a:pt x="167327" y="50580"/>
                  </a:lnTo>
                  <a:cubicBezTo>
                    <a:pt x="167963" y="49307"/>
                    <a:pt x="167963" y="48989"/>
                    <a:pt x="167963" y="48671"/>
                  </a:cubicBezTo>
                  <a:cubicBezTo>
                    <a:pt x="167963" y="48353"/>
                    <a:pt x="167963" y="48353"/>
                    <a:pt x="167963" y="48353"/>
                  </a:cubicBezTo>
                  <a:cubicBezTo>
                    <a:pt x="168281" y="47717"/>
                    <a:pt x="168917" y="47081"/>
                    <a:pt x="168917" y="46762"/>
                  </a:cubicBezTo>
                  <a:cubicBezTo>
                    <a:pt x="169554" y="45490"/>
                    <a:pt x="170190" y="45490"/>
                    <a:pt x="170826" y="44854"/>
                  </a:cubicBezTo>
                  <a:cubicBezTo>
                    <a:pt x="170826" y="44536"/>
                    <a:pt x="170826" y="44854"/>
                    <a:pt x="171780" y="44854"/>
                  </a:cubicBezTo>
                  <a:cubicBezTo>
                    <a:pt x="172099" y="44854"/>
                    <a:pt x="172417" y="45172"/>
                    <a:pt x="172735" y="45172"/>
                  </a:cubicBezTo>
                  <a:cubicBezTo>
                    <a:pt x="174007" y="45172"/>
                    <a:pt x="174643" y="44536"/>
                    <a:pt x="175916" y="43899"/>
                  </a:cubicBezTo>
                  <a:lnTo>
                    <a:pt x="176552" y="43899"/>
                  </a:lnTo>
                  <a:cubicBezTo>
                    <a:pt x="176870" y="44218"/>
                    <a:pt x="176870" y="44218"/>
                    <a:pt x="177507" y="44218"/>
                  </a:cubicBezTo>
                  <a:cubicBezTo>
                    <a:pt x="178461" y="44218"/>
                    <a:pt x="178779" y="44218"/>
                    <a:pt x="179415" y="43899"/>
                  </a:cubicBezTo>
                  <a:cubicBezTo>
                    <a:pt x="180688" y="43899"/>
                    <a:pt x="181642" y="44536"/>
                    <a:pt x="182278" y="44536"/>
                  </a:cubicBezTo>
                  <a:cubicBezTo>
                    <a:pt x="183551" y="44536"/>
                    <a:pt x="184823" y="43899"/>
                    <a:pt x="185777" y="43899"/>
                  </a:cubicBezTo>
                  <a:lnTo>
                    <a:pt x="187050" y="43899"/>
                  </a:lnTo>
                  <a:lnTo>
                    <a:pt x="187050" y="44218"/>
                  </a:lnTo>
                  <a:cubicBezTo>
                    <a:pt x="187050" y="44536"/>
                    <a:pt x="187050" y="44536"/>
                    <a:pt x="187368" y="44536"/>
                  </a:cubicBezTo>
                  <a:cubicBezTo>
                    <a:pt x="187686" y="44536"/>
                    <a:pt x="187686" y="44536"/>
                    <a:pt x="188004" y="44218"/>
                  </a:cubicBezTo>
                  <a:lnTo>
                    <a:pt x="189277" y="44218"/>
                  </a:lnTo>
                  <a:cubicBezTo>
                    <a:pt x="189913" y="44218"/>
                    <a:pt x="191503" y="44218"/>
                    <a:pt x="191503" y="45172"/>
                  </a:cubicBezTo>
                  <a:cubicBezTo>
                    <a:pt x="191503" y="45490"/>
                    <a:pt x="191503" y="45808"/>
                    <a:pt x="192140" y="45808"/>
                  </a:cubicBezTo>
                  <a:cubicBezTo>
                    <a:pt x="192140" y="45808"/>
                    <a:pt x="192776" y="45490"/>
                    <a:pt x="193412" y="45490"/>
                  </a:cubicBezTo>
                  <a:lnTo>
                    <a:pt x="194048" y="45490"/>
                  </a:lnTo>
                  <a:cubicBezTo>
                    <a:pt x="194684" y="45172"/>
                    <a:pt x="195639" y="44854"/>
                    <a:pt x="196593" y="44854"/>
                  </a:cubicBezTo>
                  <a:cubicBezTo>
                    <a:pt x="197229" y="44854"/>
                    <a:pt x="197866" y="45172"/>
                    <a:pt x="198184" y="45808"/>
                  </a:cubicBezTo>
                  <a:lnTo>
                    <a:pt x="200729" y="45808"/>
                  </a:lnTo>
                  <a:cubicBezTo>
                    <a:pt x="201047" y="45490"/>
                    <a:pt x="201683" y="45490"/>
                    <a:pt x="202001" y="45490"/>
                  </a:cubicBezTo>
                  <a:cubicBezTo>
                    <a:pt x="202637" y="45490"/>
                    <a:pt x="202955" y="46126"/>
                    <a:pt x="203592" y="46444"/>
                  </a:cubicBezTo>
                  <a:cubicBezTo>
                    <a:pt x="203910" y="46444"/>
                    <a:pt x="204228" y="46762"/>
                    <a:pt x="204228" y="47399"/>
                  </a:cubicBezTo>
                  <a:lnTo>
                    <a:pt x="204228" y="47717"/>
                  </a:lnTo>
                  <a:cubicBezTo>
                    <a:pt x="204228" y="48671"/>
                    <a:pt x="204864" y="49307"/>
                    <a:pt x="204864" y="50262"/>
                  </a:cubicBezTo>
                  <a:lnTo>
                    <a:pt x="204864" y="50898"/>
                  </a:lnTo>
                  <a:cubicBezTo>
                    <a:pt x="205182" y="51216"/>
                    <a:pt x="205818" y="51852"/>
                    <a:pt x="205818" y="52170"/>
                  </a:cubicBezTo>
                  <a:cubicBezTo>
                    <a:pt x="205182" y="53125"/>
                    <a:pt x="204864" y="53761"/>
                    <a:pt x="205182" y="53761"/>
                  </a:cubicBezTo>
                  <a:lnTo>
                    <a:pt x="205182" y="57260"/>
                  </a:lnTo>
                  <a:cubicBezTo>
                    <a:pt x="205182" y="57896"/>
                    <a:pt x="204228" y="58214"/>
                    <a:pt x="203910" y="58533"/>
                  </a:cubicBezTo>
                  <a:cubicBezTo>
                    <a:pt x="203592" y="58533"/>
                    <a:pt x="203273" y="58851"/>
                    <a:pt x="202955" y="59487"/>
                  </a:cubicBezTo>
                  <a:lnTo>
                    <a:pt x="200729" y="61077"/>
                  </a:lnTo>
                  <a:cubicBezTo>
                    <a:pt x="200410" y="61714"/>
                    <a:pt x="200092" y="61714"/>
                    <a:pt x="200092" y="61714"/>
                  </a:cubicBezTo>
                  <a:lnTo>
                    <a:pt x="199138" y="61714"/>
                  </a:lnTo>
                  <a:cubicBezTo>
                    <a:pt x="198184" y="61714"/>
                    <a:pt x="197548" y="62032"/>
                    <a:pt x="196593" y="62668"/>
                  </a:cubicBezTo>
                  <a:cubicBezTo>
                    <a:pt x="195321" y="63304"/>
                    <a:pt x="193730" y="63940"/>
                    <a:pt x="192458" y="63940"/>
                  </a:cubicBezTo>
                  <a:cubicBezTo>
                    <a:pt x="191822" y="63940"/>
                    <a:pt x="191503" y="63940"/>
                    <a:pt x="191185" y="64259"/>
                  </a:cubicBezTo>
                  <a:cubicBezTo>
                    <a:pt x="190231" y="64895"/>
                    <a:pt x="189277" y="64895"/>
                    <a:pt x="188004" y="64895"/>
                  </a:cubicBezTo>
                  <a:lnTo>
                    <a:pt x="187050" y="64895"/>
                  </a:lnTo>
                  <a:cubicBezTo>
                    <a:pt x="186732" y="64895"/>
                    <a:pt x="186414" y="65213"/>
                    <a:pt x="186414" y="65213"/>
                  </a:cubicBezTo>
                  <a:lnTo>
                    <a:pt x="186414" y="64895"/>
                  </a:lnTo>
                  <a:cubicBezTo>
                    <a:pt x="185777" y="64577"/>
                    <a:pt x="186095" y="63622"/>
                    <a:pt x="185141" y="63304"/>
                  </a:cubicBezTo>
                  <a:lnTo>
                    <a:pt x="185777" y="62668"/>
                  </a:lnTo>
                  <a:lnTo>
                    <a:pt x="187368" y="61396"/>
                  </a:lnTo>
                  <a:lnTo>
                    <a:pt x="185141" y="61396"/>
                  </a:lnTo>
                  <a:cubicBezTo>
                    <a:pt x="184823" y="61396"/>
                    <a:pt x="184823" y="61396"/>
                    <a:pt x="184823" y="61077"/>
                  </a:cubicBezTo>
                  <a:lnTo>
                    <a:pt x="186414" y="59487"/>
                  </a:lnTo>
                  <a:lnTo>
                    <a:pt x="187050" y="59487"/>
                  </a:lnTo>
                  <a:cubicBezTo>
                    <a:pt x="187050" y="59169"/>
                    <a:pt x="187686" y="58851"/>
                    <a:pt x="188004" y="58533"/>
                  </a:cubicBezTo>
                  <a:lnTo>
                    <a:pt x="188004" y="58214"/>
                  </a:lnTo>
                  <a:cubicBezTo>
                    <a:pt x="187686" y="57896"/>
                    <a:pt x="187686" y="57896"/>
                    <a:pt x="187050" y="57896"/>
                  </a:cubicBezTo>
                  <a:lnTo>
                    <a:pt x="186414" y="58214"/>
                  </a:lnTo>
                  <a:lnTo>
                    <a:pt x="186095" y="58214"/>
                  </a:lnTo>
                  <a:lnTo>
                    <a:pt x="186414" y="57896"/>
                  </a:lnTo>
                  <a:cubicBezTo>
                    <a:pt x="186414" y="57578"/>
                    <a:pt x="186732" y="57578"/>
                    <a:pt x="186732" y="57260"/>
                  </a:cubicBezTo>
                  <a:cubicBezTo>
                    <a:pt x="186732" y="56942"/>
                    <a:pt x="186095" y="56624"/>
                    <a:pt x="185141" y="56624"/>
                  </a:cubicBezTo>
                  <a:lnTo>
                    <a:pt x="184187" y="56624"/>
                  </a:lnTo>
                  <a:cubicBezTo>
                    <a:pt x="183869" y="56624"/>
                    <a:pt x="183551" y="56624"/>
                    <a:pt x="183232" y="57260"/>
                  </a:cubicBezTo>
                  <a:cubicBezTo>
                    <a:pt x="182596" y="57896"/>
                    <a:pt x="181960" y="57896"/>
                    <a:pt x="181642" y="57896"/>
                  </a:cubicBezTo>
                  <a:lnTo>
                    <a:pt x="180051" y="57896"/>
                  </a:lnTo>
                  <a:cubicBezTo>
                    <a:pt x="179097" y="57578"/>
                    <a:pt x="177825" y="57260"/>
                    <a:pt x="176552" y="57260"/>
                  </a:cubicBezTo>
                  <a:lnTo>
                    <a:pt x="172099" y="57260"/>
                  </a:lnTo>
                  <a:cubicBezTo>
                    <a:pt x="171780" y="57260"/>
                    <a:pt x="171462" y="56942"/>
                    <a:pt x="171462" y="56942"/>
                  </a:cubicBezTo>
                  <a:cubicBezTo>
                    <a:pt x="171144" y="56942"/>
                    <a:pt x="171144" y="56624"/>
                    <a:pt x="171144" y="56306"/>
                  </a:cubicBezTo>
                  <a:lnTo>
                    <a:pt x="171144" y="55670"/>
                  </a:lnTo>
                  <a:cubicBezTo>
                    <a:pt x="171462" y="55033"/>
                    <a:pt x="171780" y="54715"/>
                    <a:pt x="171780" y="54397"/>
                  </a:cubicBezTo>
                  <a:cubicBezTo>
                    <a:pt x="171780" y="54079"/>
                    <a:pt x="171780" y="54079"/>
                    <a:pt x="171462" y="54079"/>
                  </a:cubicBezTo>
                  <a:cubicBezTo>
                    <a:pt x="170826" y="54715"/>
                    <a:pt x="170508" y="54715"/>
                    <a:pt x="170190" y="55351"/>
                  </a:cubicBezTo>
                  <a:cubicBezTo>
                    <a:pt x="169235" y="55988"/>
                    <a:pt x="168917" y="55988"/>
                    <a:pt x="168599" y="55988"/>
                  </a:cubicBezTo>
                  <a:lnTo>
                    <a:pt x="168281" y="55988"/>
                  </a:lnTo>
                  <a:cubicBezTo>
                    <a:pt x="168281" y="55988"/>
                    <a:pt x="168281" y="55670"/>
                    <a:pt x="168599" y="55351"/>
                  </a:cubicBezTo>
                  <a:lnTo>
                    <a:pt x="168281" y="55351"/>
                  </a:lnTo>
                  <a:cubicBezTo>
                    <a:pt x="167963" y="55351"/>
                    <a:pt x="167327" y="55988"/>
                    <a:pt x="167327" y="56306"/>
                  </a:cubicBezTo>
                  <a:cubicBezTo>
                    <a:pt x="167009" y="56942"/>
                    <a:pt x="166054" y="57578"/>
                    <a:pt x="165736" y="57578"/>
                  </a:cubicBezTo>
                  <a:cubicBezTo>
                    <a:pt x="164782" y="57578"/>
                    <a:pt x="164146" y="57578"/>
                    <a:pt x="163828" y="57260"/>
                  </a:cubicBezTo>
                  <a:lnTo>
                    <a:pt x="162237" y="57896"/>
                  </a:lnTo>
                  <a:cubicBezTo>
                    <a:pt x="161283" y="58214"/>
                    <a:pt x="161283" y="58214"/>
                    <a:pt x="160965" y="58214"/>
                  </a:cubicBezTo>
                  <a:cubicBezTo>
                    <a:pt x="160646" y="58214"/>
                    <a:pt x="160010" y="58214"/>
                    <a:pt x="159374" y="57896"/>
                  </a:cubicBezTo>
                  <a:lnTo>
                    <a:pt x="158738" y="57896"/>
                  </a:lnTo>
                  <a:cubicBezTo>
                    <a:pt x="158420" y="57896"/>
                    <a:pt x="157784" y="57896"/>
                    <a:pt x="158102" y="57578"/>
                  </a:cubicBezTo>
                  <a:cubicBezTo>
                    <a:pt x="158102" y="57260"/>
                    <a:pt x="157784" y="57578"/>
                    <a:pt x="157465" y="57578"/>
                  </a:cubicBezTo>
                  <a:cubicBezTo>
                    <a:pt x="156193" y="57896"/>
                    <a:pt x="156193" y="57896"/>
                    <a:pt x="155557" y="57896"/>
                  </a:cubicBezTo>
                  <a:cubicBezTo>
                    <a:pt x="154602" y="57896"/>
                    <a:pt x="153966" y="57896"/>
                    <a:pt x="153648" y="57260"/>
                  </a:cubicBezTo>
                  <a:cubicBezTo>
                    <a:pt x="153330" y="57578"/>
                    <a:pt x="153330" y="57578"/>
                    <a:pt x="153012" y="57578"/>
                  </a:cubicBezTo>
                  <a:cubicBezTo>
                    <a:pt x="152694" y="57578"/>
                    <a:pt x="152376" y="56942"/>
                    <a:pt x="151739" y="56942"/>
                  </a:cubicBezTo>
                  <a:cubicBezTo>
                    <a:pt x="151739" y="56942"/>
                    <a:pt x="151421" y="56624"/>
                    <a:pt x="151103" y="56624"/>
                  </a:cubicBezTo>
                  <a:cubicBezTo>
                    <a:pt x="150785" y="56624"/>
                    <a:pt x="150467" y="56942"/>
                    <a:pt x="150149" y="56942"/>
                  </a:cubicBezTo>
                  <a:cubicBezTo>
                    <a:pt x="150149" y="57260"/>
                    <a:pt x="150149" y="57578"/>
                    <a:pt x="149194" y="57896"/>
                  </a:cubicBezTo>
                  <a:lnTo>
                    <a:pt x="148876" y="57896"/>
                  </a:lnTo>
                  <a:lnTo>
                    <a:pt x="148876" y="57578"/>
                  </a:lnTo>
                  <a:cubicBezTo>
                    <a:pt x="148558" y="57578"/>
                    <a:pt x="148240" y="57260"/>
                    <a:pt x="148240" y="57260"/>
                  </a:cubicBezTo>
                  <a:cubicBezTo>
                    <a:pt x="147922" y="57260"/>
                    <a:pt x="147604" y="57896"/>
                    <a:pt x="146331" y="58533"/>
                  </a:cubicBezTo>
                  <a:lnTo>
                    <a:pt x="146331" y="57896"/>
                  </a:lnTo>
                  <a:lnTo>
                    <a:pt x="146013" y="57578"/>
                  </a:lnTo>
                  <a:cubicBezTo>
                    <a:pt x="145377" y="57896"/>
                    <a:pt x="145377" y="58214"/>
                    <a:pt x="145377" y="58214"/>
                  </a:cubicBezTo>
                  <a:cubicBezTo>
                    <a:pt x="144741" y="58533"/>
                    <a:pt x="144423" y="58533"/>
                    <a:pt x="144105" y="58533"/>
                  </a:cubicBezTo>
                  <a:lnTo>
                    <a:pt x="143787" y="58533"/>
                  </a:lnTo>
                  <a:lnTo>
                    <a:pt x="143787" y="57896"/>
                  </a:lnTo>
                  <a:lnTo>
                    <a:pt x="143469" y="57896"/>
                  </a:lnTo>
                  <a:cubicBezTo>
                    <a:pt x="142832" y="58533"/>
                    <a:pt x="142514" y="58851"/>
                    <a:pt x="141878" y="58851"/>
                  </a:cubicBezTo>
                  <a:lnTo>
                    <a:pt x="141242" y="58851"/>
                  </a:lnTo>
                  <a:cubicBezTo>
                    <a:pt x="139969" y="58533"/>
                    <a:pt x="139015" y="58214"/>
                    <a:pt x="138061" y="58214"/>
                  </a:cubicBezTo>
                  <a:cubicBezTo>
                    <a:pt x="138061" y="58214"/>
                    <a:pt x="137743" y="58214"/>
                    <a:pt x="137743" y="57896"/>
                  </a:cubicBezTo>
                  <a:cubicBezTo>
                    <a:pt x="137424" y="57578"/>
                    <a:pt x="137424" y="57260"/>
                    <a:pt x="137106" y="57260"/>
                  </a:cubicBezTo>
                  <a:cubicBezTo>
                    <a:pt x="136788" y="57260"/>
                    <a:pt x="136152" y="57896"/>
                    <a:pt x="135834" y="57896"/>
                  </a:cubicBezTo>
                  <a:lnTo>
                    <a:pt x="135516" y="58214"/>
                  </a:lnTo>
                  <a:lnTo>
                    <a:pt x="134879" y="57896"/>
                  </a:lnTo>
                  <a:cubicBezTo>
                    <a:pt x="133607" y="58533"/>
                    <a:pt x="132335" y="59169"/>
                    <a:pt x="130744" y="59169"/>
                  </a:cubicBezTo>
                  <a:cubicBezTo>
                    <a:pt x="130426" y="59487"/>
                    <a:pt x="130108" y="59487"/>
                    <a:pt x="129472" y="59487"/>
                  </a:cubicBezTo>
                  <a:lnTo>
                    <a:pt x="128199" y="59487"/>
                  </a:lnTo>
                  <a:cubicBezTo>
                    <a:pt x="127881" y="59487"/>
                    <a:pt x="127881" y="59487"/>
                    <a:pt x="127245" y="59805"/>
                  </a:cubicBezTo>
                  <a:cubicBezTo>
                    <a:pt x="125018" y="60759"/>
                    <a:pt x="123109" y="61077"/>
                    <a:pt x="121837" y="61077"/>
                  </a:cubicBezTo>
                  <a:cubicBezTo>
                    <a:pt x="120882" y="61396"/>
                    <a:pt x="120246" y="61396"/>
                    <a:pt x="119610" y="61396"/>
                  </a:cubicBezTo>
                  <a:lnTo>
                    <a:pt x="118338" y="61396"/>
                  </a:lnTo>
                  <a:cubicBezTo>
                    <a:pt x="117065" y="61396"/>
                    <a:pt x="115475" y="61714"/>
                    <a:pt x="113884" y="62350"/>
                  </a:cubicBezTo>
                  <a:cubicBezTo>
                    <a:pt x="113566" y="62350"/>
                    <a:pt x="113566" y="62032"/>
                    <a:pt x="113248" y="62032"/>
                  </a:cubicBezTo>
                  <a:lnTo>
                    <a:pt x="113248" y="60123"/>
                  </a:lnTo>
                  <a:cubicBezTo>
                    <a:pt x="113248" y="59805"/>
                    <a:pt x="113248" y="59805"/>
                    <a:pt x="113884" y="59487"/>
                  </a:cubicBezTo>
                  <a:cubicBezTo>
                    <a:pt x="113566" y="59487"/>
                    <a:pt x="113566" y="59169"/>
                    <a:pt x="113566" y="59169"/>
                  </a:cubicBezTo>
                  <a:cubicBezTo>
                    <a:pt x="113566" y="59169"/>
                    <a:pt x="113248" y="59169"/>
                    <a:pt x="113248" y="59487"/>
                  </a:cubicBezTo>
                  <a:cubicBezTo>
                    <a:pt x="112930" y="59487"/>
                    <a:pt x="112612" y="59805"/>
                    <a:pt x="112612" y="59805"/>
                  </a:cubicBezTo>
                  <a:lnTo>
                    <a:pt x="110385" y="61396"/>
                  </a:lnTo>
                  <a:lnTo>
                    <a:pt x="109431" y="61396"/>
                  </a:lnTo>
                  <a:cubicBezTo>
                    <a:pt x="108794" y="62032"/>
                    <a:pt x="108158" y="62350"/>
                    <a:pt x="107204" y="62350"/>
                  </a:cubicBezTo>
                  <a:cubicBezTo>
                    <a:pt x="101478" y="73166"/>
                    <a:pt x="98933" y="75393"/>
                    <a:pt x="97979" y="75393"/>
                  </a:cubicBezTo>
                  <a:cubicBezTo>
                    <a:pt x="97342" y="75393"/>
                    <a:pt x="97342" y="74756"/>
                    <a:pt x="97342" y="74120"/>
                  </a:cubicBezTo>
                  <a:lnTo>
                    <a:pt x="97342" y="73802"/>
                  </a:lnTo>
                  <a:cubicBezTo>
                    <a:pt x="97342" y="73802"/>
                    <a:pt x="97024" y="74120"/>
                    <a:pt x="96706" y="74120"/>
                  </a:cubicBezTo>
                  <a:cubicBezTo>
                    <a:pt x="96388" y="74120"/>
                    <a:pt x="96388" y="74120"/>
                    <a:pt x="96388" y="74438"/>
                  </a:cubicBezTo>
                  <a:cubicBezTo>
                    <a:pt x="96388" y="74756"/>
                    <a:pt x="97660" y="77301"/>
                    <a:pt x="97660" y="77619"/>
                  </a:cubicBezTo>
                  <a:lnTo>
                    <a:pt x="97660" y="77937"/>
                  </a:lnTo>
                  <a:cubicBezTo>
                    <a:pt x="97342" y="78256"/>
                    <a:pt x="97342" y="78574"/>
                    <a:pt x="97024" y="79528"/>
                  </a:cubicBezTo>
                  <a:lnTo>
                    <a:pt x="96070" y="80164"/>
                  </a:lnTo>
                  <a:cubicBezTo>
                    <a:pt x="96070" y="80482"/>
                    <a:pt x="96388" y="80482"/>
                    <a:pt x="96706" y="80800"/>
                  </a:cubicBezTo>
                  <a:cubicBezTo>
                    <a:pt x="96706" y="80800"/>
                    <a:pt x="97024" y="81119"/>
                    <a:pt x="97024" y="81437"/>
                  </a:cubicBezTo>
                  <a:cubicBezTo>
                    <a:pt x="97024" y="81755"/>
                    <a:pt x="97024" y="82391"/>
                    <a:pt x="96706" y="83027"/>
                  </a:cubicBezTo>
                  <a:cubicBezTo>
                    <a:pt x="96070" y="83345"/>
                    <a:pt x="95752" y="83663"/>
                    <a:pt x="95752" y="83663"/>
                  </a:cubicBezTo>
                  <a:cubicBezTo>
                    <a:pt x="95434" y="83982"/>
                    <a:pt x="95115" y="84300"/>
                    <a:pt x="94797" y="84300"/>
                  </a:cubicBezTo>
                  <a:cubicBezTo>
                    <a:pt x="94161" y="84618"/>
                    <a:pt x="93843" y="84618"/>
                    <a:pt x="93843" y="84936"/>
                  </a:cubicBezTo>
                  <a:cubicBezTo>
                    <a:pt x="93843" y="84936"/>
                    <a:pt x="94479" y="85254"/>
                    <a:pt x="94797" y="85572"/>
                  </a:cubicBezTo>
                  <a:cubicBezTo>
                    <a:pt x="95115" y="85572"/>
                    <a:pt x="95434" y="86208"/>
                    <a:pt x="95115" y="86208"/>
                  </a:cubicBezTo>
                  <a:cubicBezTo>
                    <a:pt x="94161" y="86845"/>
                    <a:pt x="94161" y="86845"/>
                    <a:pt x="93843" y="87481"/>
                  </a:cubicBezTo>
                  <a:lnTo>
                    <a:pt x="93843" y="87799"/>
                  </a:lnTo>
                  <a:cubicBezTo>
                    <a:pt x="94161" y="89071"/>
                    <a:pt x="89071" y="104341"/>
                    <a:pt x="89071" y="106567"/>
                  </a:cubicBezTo>
                  <a:cubicBezTo>
                    <a:pt x="89071" y="107840"/>
                    <a:pt x="89071" y="108794"/>
                    <a:pt x="88117" y="109112"/>
                  </a:cubicBezTo>
                  <a:lnTo>
                    <a:pt x="88117" y="111339"/>
                  </a:lnTo>
                  <a:cubicBezTo>
                    <a:pt x="88117" y="111657"/>
                    <a:pt x="87163" y="111657"/>
                    <a:pt x="87163" y="112293"/>
                  </a:cubicBezTo>
                  <a:lnTo>
                    <a:pt x="87481" y="112612"/>
                  </a:lnTo>
                  <a:cubicBezTo>
                    <a:pt x="87481" y="112930"/>
                    <a:pt x="87481" y="113884"/>
                    <a:pt x="87163" y="113884"/>
                  </a:cubicBezTo>
                  <a:lnTo>
                    <a:pt x="87163" y="114520"/>
                  </a:lnTo>
                  <a:cubicBezTo>
                    <a:pt x="87163" y="115156"/>
                    <a:pt x="86526" y="117383"/>
                    <a:pt x="85572" y="117383"/>
                  </a:cubicBezTo>
                  <a:cubicBezTo>
                    <a:pt x="84936" y="117383"/>
                    <a:pt x="84936" y="118338"/>
                    <a:pt x="84936" y="118338"/>
                  </a:cubicBezTo>
                  <a:cubicBezTo>
                    <a:pt x="85254" y="118338"/>
                    <a:pt x="85890" y="118656"/>
                    <a:pt x="85890" y="118974"/>
                  </a:cubicBezTo>
                  <a:cubicBezTo>
                    <a:pt x="85890" y="119292"/>
                    <a:pt x="85890" y="119292"/>
                    <a:pt x="85254" y="119610"/>
                  </a:cubicBezTo>
                  <a:lnTo>
                    <a:pt x="85572" y="119928"/>
                  </a:lnTo>
                  <a:lnTo>
                    <a:pt x="85572" y="120882"/>
                  </a:lnTo>
                  <a:lnTo>
                    <a:pt x="84936" y="120882"/>
                  </a:lnTo>
                  <a:cubicBezTo>
                    <a:pt x="85254" y="121519"/>
                    <a:pt x="85254" y="122155"/>
                    <a:pt x="85254" y="122473"/>
                  </a:cubicBezTo>
                  <a:lnTo>
                    <a:pt x="84300" y="123745"/>
                  </a:lnTo>
                  <a:cubicBezTo>
                    <a:pt x="84300" y="124064"/>
                    <a:pt x="84618" y="124064"/>
                    <a:pt x="84618" y="124382"/>
                  </a:cubicBezTo>
                  <a:lnTo>
                    <a:pt x="84618" y="124700"/>
                  </a:lnTo>
                  <a:cubicBezTo>
                    <a:pt x="84618" y="125018"/>
                    <a:pt x="84300" y="125018"/>
                    <a:pt x="83982" y="125336"/>
                  </a:cubicBezTo>
                  <a:cubicBezTo>
                    <a:pt x="83982" y="126290"/>
                    <a:pt x="83982" y="126927"/>
                    <a:pt x="83664" y="127563"/>
                  </a:cubicBezTo>
                  <a:cubicBezTo>
                    <a:pt x="83664" y="127881"/>
                    <a:pt x="83345" y="128199"/>
                    <a:pt x="83345" y="128517"/>
                  </a:cubicBezTo>
                  <a:cubicBezTo>
                    <a:pt x="83027" y="128517"/>
                    <a:pt x="82709" y="129153"/>
                    <a:pt x="82709" y="130108"/>
                  </a:cubicBezTo>
                  <a:cubicBezTo>
                    <a:pt x="82709" y="130426"/>
                    <a:pt x="83027" y="130426"/>
                    <a:pt x="83027" y="130744"/>
                  </a:cubicBezTo>
                  <a:lnTo>
                    <a:pt x="83027" y="131380"/>
                  </a:lnTo>
                  <a:cubicBezTo>
                    <a:pt x="83027" y="132016"/>
                    <a:pt x="82391" y="132016"/>
                    <a:pt x="82391" y="133289"/>
                  </a:cubicBezTo>
                  <a:cubicBezTo>
                    <a:pt x="82391" y="133607"/>
                    <a:pt x="81755" y="134243"/>
                    <a:pt x="81755" y="134243"/>
                  </a:cubicBezTo>
                  <a:cubicBezTo>
                    <a:pt x="80800" y="134879"/>
                    <a:pt x="80164" y="134879"/>
                    <a:pt x="80164" y="135198"/>
                  </a:cubicBezTo>
                  <a:cubicBezTo>
                    <a:pt x="80164" y="135198"/>
                    <a:pt x="80482" y="135516"/>
                    <a:pt x="80800" y="135516"/>
                  </a:cubicBezTo>
                  <a:cubicBezTo>
                    <a:pt x="80800" y="135834"/>
                    <a:pt x="81119" y="135834"/>
                    <a:pt x="81119" y="136152"/>
                  </a:cubicBezTo>
                  <a:lnTo>
                    <a:pt x="81119" y="136788"/>
                  </a:lnTo>
                  <a:cubicBezTo>
                    <a:pt x="81119" y="137742"/>
                    <a:pt x="80482" y="138379"/>
                    <a:pt x="79528" y="139015"/>
                  </a:cubicBezTo>
                  <a:cubicBezTo>
                    <a:pt x="79210" y="139333"/>
                    <a:pt x="78892" y="139333"/>
                    <a:pt x="78892" y="139651"/>
                  </a:cubicBezTo>
                  <a:lnTo>
                    <a:pt x="79210" y="139969"/>
                  </a:lnTo>
                  <a:cubicBezTo>
                    <a:pt x="79210" y="140287"/>
                    <a:pt x="79210" y="140605"/>
                    <a:pt x="79528" y="140924"/>
                  </a:cubicBezTo>
                  <a:cubicBezTo>
                    <a:pt x="79528" y="141242"/>
                    <a:pt x="79846" y="141560"/>
                    <a:pt x="79846" y="141560"/>
                  </a:cubicBezTo>
                  <a:cubicBezTo>
                    <a:pt x="79846" y="141878"/>
                    <a:pt x="79528" y="141878"/>
                    <a:pt x="79528" y="141878"/>
                  </a:cubicBezTo>
                  <a:cubicBezTo>
                    <a:pt x="79528" y="142196"/>
                    <a:pt x="79528" y="142514"/>
                    <a:pt x="79846" y="142514"/>
                  </a:cubicBezTo>
                  <a:lnTo>
                    <a:pt x="80482" y="142514"/>
                  </a:lnTo>
                  <a:lnTo>
                    <a:pt x="80482" y="142832"/>
                  </a:lnTo>
                  <a:lnTo>
                    <a:pt x="80164" y="143150"/>
                  </a:lnTo>
                  <a:lnTo>
                    <a:pt x="79528" y="143150"/>
                  </a:lnTo>
                  <a:cubicBezTo>
                    <a:pt x="79210" y="143150"/>
                    <a:pt x="79210" y="142832"/>
                    <a:pt x="78892" y="142514"/>
                  </a:cubicBezTo>
                  <a:lnTo>
                    <a:pt x="78574" y="142514"/>
                  </a:lnTo>
                  <a:cubicBezTo>
                    <a:pt x="78256" y="142514"/>
                    <a:pt x="77619" y="143150"/>
                    <a:pt x="77619" y="144105"/>
                  </a:cubicBezTo>
                  <a:cubicBezTo>
                    <a:pt x="77619" y="144423"/>
                    <a:pt x="77301" y="144423"/>
                    <a:pt x="77301" y="144423"/>
                  </a:cubicBezTo>
                  <a:lnTo>
                    <a:pt x="76665" y="144423"/>
                  </a:lnTo>
                  <a:cubicBezTo>
                    <a:pt x="76665" y="144105"/>
                    <a:pt x="75711" y="144741"/>
                    <a:pt x="75711" y="144741"/>
                  </a:cubicBezTo>
                  <a:cubicBezTo>
                    <a:pt x="75393" y="145377"/>
                    <a:pt x="75393" y="145695"/>
                    <a:pt x="75393" y="146013"/>
                  </a:cubicBezTo>
                  <a:lnTo>
                    <a:pt x="75393" y="146650"/>
                  </a:lnTo>
                  <a:cubicBezTo>
                    <a:pt x="75393" y="146968"/>
                    <a:pt x="75393" y="147286"/>
                    <a:pt x="75074" y="147286"/>
                  </a:cubicBezTo>
                  <a:lnTo>
                    <a:pt x="75074" y="148558"/>
                  </a:lnTo>
                  <a:lnTo>
                    <a:pt x="75711" y="149831"/>
                  </a:lnTo>
                  <a:lnTo>
                    <a:pt x="75711" y="150149"/>
                  </a:lnTo>
                  <a:cubicBezTo>
                    <a:pt x="75711" y="150467"/>
                    <a:pt x="75711" y="150467"/>
                    <a:pt x="75393" y="150467"/>
                  </a:cubicBezTo>
                  <a:cubicBezTo>
                    <a:pt x="75393" y="151103"/>
                    <a:pt x="75074" y="151421"/>
                    <a:pt x="74438" y="152057"/>
                  </a:cubicBezTo>
                  <a:cubicBezTo>
                    <a:pt x="74438" y="152057"/>
                    <a:pt x="74438" y="152376"/>
                    <a:pt x="74756" y="152694"/>
                  </a:cubicBezTo>
                  <a:lnTo>
                    <a:pt x="75074" y="152694"/>
                  </a:lnTo>
                  <a:lnTo>
                    <a:pt x="76029" y="152057"/>
                  </a:lnTo>
                  <a:cubicBezTo>
                    <a:pt x="76347" y="152057"/>
                    <a:pt x="76665" y="151421"/>
                    <a:pt x="77301" y="151421"/>
                  </a:cubicBezTo>
                  <a:cubicBezTo>
                    <a:pt x="77619" y="151421"/>
                    <a:pt x="78256" y="151103"/>
                    <a:pt x="78256" y="150785"/>
                  </a:cubicBezTo>
                  <a:lnTo>
                    <a:pt x="78892" y="150785"/>
                  </a:lnTo>
                  <a:lnTo>
                    <a:pt x="78892" y="151421"/>
                  </a:lnTo>
                  <a:cubicBezTo>
                    <a:pt x="78574" y="151421"/>
                    <a:pt x="78256" y="152057"/>
                    <a:pt x="77937" y="152694"/>
                  </a:cubicBezTo>
                  <a:lnTo>
                    <a:pt x="77937" y="153330"/>
                  </a:lnTo>
                  <a:cubicBezTo>
                    <a:pt x="77937" y="154284"/>
                    <a:pt x="77937" y="154602"/>
                    <a:pt x="76029" y="154602"/>
                  </a:cubicBezTo>
                  <a:cubicBezTo>
                    <a:pt x="75711" y="154602"/>
                    <a:pt x="75711" y="155239"/>
                    <a:pt x="75711" y="155557"/>
                  </a:cubicBezTo>
                  <a:lnTo>
                    <a:pt x="75711" y="156511"/>
                  </a:lnTo>
                  <a:cubicBezTo>
                    <a:pt x="75711" y="156829"/>
                    <a:pt x="75711" y="156829"/>
                    <a:pt x="76029" y="157147"/>
                  </a:cubicBezTo>
                  <a:cubicBezTo>
                    <a:pt x="76347" y="157465"/>
                    <a:pt x="77301" y="157147"/>
                    <a:pt x="77301" y="157783"/>
                  </a:cubicBezTo>
                  <a:lnTo>
                    <a:pt x="77301" y="158102"/>
                  </a:lnTo>
                  <a:cubicBezTo>
                    <a:pt x="77301" y="158420"/>
                    <a:pt x="76983" y="158420"/>
                    <a:pt x="76983" y="159056"/>
                  </a:cubicBezTo>
                  <a:cubicBezTo>
                    <a:pt x="76983" y="159692"/>
                    <a:pt x="76347" y="159692"/>
                    <a:pt x="76347" y="159692"/>
                  </a:cubicBezTo>
                  <a:lnTo>
                    <a:pt x="76029" y="160010"/>
                  </a:lnTo>
                  <a:cubicBezTo>
                    <a:pt x="76029" y="160646"/>
                    <a:pt x="76029" y="160646"/>
                    <a:pt x="76347" y="161283"/>
                  </a:cubicBezTo>
                  <a:cubicBezTo>
                    <a:pt x="76347" y="161601"/>
                    <a:pt x="76347" y="161601"/>
                    <a:pt x="76029" y="161601"/>
                  </a:cubicBezTo>
                  <a:cubicBezTo>
                    <a:pt x="76029" y="161601"/>
                    <a:pt x="75711" y="161601"/>
                    <a:pt x="75393" y="161283"/>
                  </a:cubicBezTo>
                  <a:lnTo>
                    <a:pt x="75393" y="160965"/>
                  </a:lnTo>
                  <a:lnTo>
                    <a:pt x="75074" y="160646"/>
                  </a:lnTo>
                  <a:cubicBezTo>
                    <a:pt x="75393" y="160010"/>
                    <a:pt x="75711" y="159692"/>
                    <a:pt x="75711" y="158738"/>
                  </a:cubicBezTo>
                  <a:lnTo>
                    <a:pt x="75393" y="158102"/>
                  </a:lnTo>
                  <a:cubicBezTo>
                    <a:pt x="74120" y="158738"/>
                    <a:pt x="73802" y="159374"/>
                    <a:pt x="73484" y="159692"/>
                  </a:cubicBezTo>
                  <a:lnTo>
                    <a:pt x="73166" y="160010"/>
                  </a:lnTo>
                  <a:cubicBezTo>
                    <a:pt x="73166" y="160010"/>
                    <a:pt x="73166" y="160328"/>
                    <a:pt x="73484" y="160328"/>
                  </a:cubicBezTo>
                  <a:cubicBezTo>
                    <a:pt x="73802" y="160646"/>
                    <a:pt x="74120" y="160646"/>
                    <a:pt x="74120" y="160646"/>
                  </a:cubicBezTo>
                  <a:lnTo>
                    <a:pt x="74120" y="160965"/>
                  </a:lnTo>
                  <a:cubicBezTo>
                    <a:pt x="73802" y="161283"/>
                    <a:pt x="73484" y="161601"/>
                    <a:pt x="73484" y="162555"/>
                  </a:cubicBezTo>
                  <a:cubicBezTo>
                    <a:pt x="73484" y="162873"/>
                    <a:pt x="73484" y="162873"/>
                    <a:pt x="72530" y="163191"/>
                  </a:cubicBezTo>
                  <a:cubicBezTo>
                    <a:pt x="71893" y="163509"/>
                    <a:pt x="71575" y="163509"/>
                    <a:pt x="71575" y="163828"/>
                  </a:cubicBezTo>
                  <a:cubicBezTo>
                    <a:pt x="71575" y="164146"/>
                    <a:pt x="71893" y="164146"/>
                    <a:pt x="72211" y="164464"/>
                  </a:cubicBezTo>
                  <a:cubicBezTo>
                    <a:pt x="72848" y="164782"/>
                    <a:pt x="72848" y="165736"/>
                    <a:pt x="72848" y="165736"/>
                  </a:cubicBezTo>
                  <a:cubicBezTo>
                    <a:pt x="71893" y="166054"/>
                    <a:pt x="71893" y="166372"/>
                    <a:pt x="71893" y="166691"/>
                  </a:cubicBezTo>
                  <a:lnTo>
                    <a:pt x="72211" y="167009"/>
                  </a:lnTo>
                  <a:cubicBezTo>
                    <a:pt x="72211" y="167645"/>
                    <a:pt x="72211" y="167645"/>
                    <a:pt x="71893" y="168281"/>
                  </a:cubicBezTo>
                  <a:cubicBezTo>
                    <a:pt x="71575" y="168599"/>
                    <a:pt x="71257" y="168599"/>
                    <a:pt x="71257" y="168917"/>
                  </a:cubicBezTo>
                  <a:cubicBezTo>
                    <a:pt x="71257" y="169235"/>
                    <a:pt x="71575" y="169554"/>
                    <a:pt x="71893" y="169872"/>
                  </a:cubicBezTo>
                  <a:lnTo>
                    <a:pt x="72211" y="170190"/>
                  </a:lnTo>
                  <a:cubicBezTo>
                    <a:pt x="72211" y="170508"/>
                    <a:pt x="71893" y="170826"/>
                    <a:pt x="71575" y="170826"/>
                  </a:cubicBezTo>
                  <a:lnTo>
                    <a:pt x="70621" y="172735"/>
                  </a:lnTo>
                  <a:lnTo>
                    <a:pt x="70621" y="173053"/>
                  </a:lnTo>
                  <a:cubicBezTo>
                    <a:pt x="70939" y="173371"/>
                    <a:pt x="70939" y="173689"/>
                    <a:pt x="70939" y="174325"/>
                  </a:cubicBezTo>
                  <a:cubicBezTo>
                    <a:pt x="70621" y="174643"/>
                    <a:pt x="70621" y="174962"/>
                    <a:pt x="70621" y="175280"/>
                  </a:cubicBezTo>
                  <a:lnTo>
                    <a:pt x="70621" y="176552"/>
                  </a:lnTo>
                  <a:cubicBezTo>
                    <a:pt x="70621" y="176870"/>
                    <a:pt x="70939" y="176870"/>
                    <a:pt x="70939" y="177188"/>
                  </a:cubicBezTo>
                  <a:cubicBezTo>
                    <a:pt x="71257" y="177188"/>
                    <a:pt x="71257" y="177188"/>
                    <a:pt x="71257" y="177506"/>
                  </a:cubicBezTo>
                  <a:cubicBezTo>
                    <a:pt x="71257" y="177824"/>
                    <a:pt x="70939" y="178143"/>
                    <a:pt x="70621" y="178143"/>
                  </a:cubicBezTo>
                  <a:cubicBezTo>
                    <a:pt x="70621" y="178461"/>
                    <a:pt x="70621" y="179415"/>
                    <a:pt x="70303" y="180051"/>
                  </a:cubicBezTo>
                  <a:cubicBezTo>
                    <a:pt x="69985" y="180369"/>
                    <a:pt x="69985" y="180688"/>
                    <a:pt x="69985" y="180688"/>
                  </a:cubicBezTo>
                  <a:cubicBezTo>
                    <a:pt x="69985" y="181006"/>
                    <a:pt x="69985" y="181324"/>
                    <a:pt x="70303" y="181324"/>
                  </a:cubicBezTo>
                  <a:lnTo>
                    <a:pt x="70303" y="182278"/>
                  </a:lnTo>
                  <a:cubicBezTo>
                    <a:pt x="70303" y="182596"/>
                    <a:pt x="69985" y="182914"/>
                    <a:pt x="69030" y="183232"/>
                  </a:cubicBezTo>
                  <a:cubicBezTo>
                    <a:pt x="68712" y="183551"/>
                    <a:pt x="68394" y="183551"/>
                    <a:pt x="68394" y="183551"/>
                  </a:cubicBezTo>
                  <a:cubicBezTo>
                    <a:pt x="68394" y="184187"/>
                    <a:pt x="68394" y="184505"/>
                    <a:pt x="68712" y="184505"/>
                  </a:cubicBezTo>
                  <a:cubicBezTo>
                    <a:pt x="69667" y="184505"/>
                    <a:pt x="69667" y="184823"/>
                    <a:pt x="69985" y="185777"/>
                  </a:cubicBezTo>
                  <a:cubicBezTo>
                    <a:pt x="69985" y="186095"/>
                    <a:pt x="69667" y="186095"/>
                    <a:pt x="69667" y="186414"/>
                  </a:cubicBezTo>
                  <a:lnTo>
                    <a:pt x="69985" y="186732"/>
                  </a:lnTo>
                  <a:lnTo>
                    <a:pt x="69985" y="188004"/>
                  </a:lnTo>
                  <a:cubicBezTo>
                    <a:pt x="69985" y="188322"/>
                    <a:pt x="69667" y="188958"/>
                    <a:pt x="69030" y="189277"/>
                  </a:cubicBezTo>
                  <a:lnTo>
                    <a:pt x="69030" y="191185"/>
                  </a:lnTo>
                  <a:cubicBezTo>
                    <a:pt x="68712" y="191503"/>
                    <a:pt x="68712" y="191821"/>
                    <a:pt x="68712" y="192140"/>
                  </a:cubicBezTo>
                  <a:cubicBezTo>
                    <a:pt x="68712" y="192458"/>
                    <a:pt x="68712" y="192458"/>
                    <a:pt x="68394" y="192776"/>
                  </a:cubicBezTo>
                  <a:cubicBezTo>
                    <a:pt x="68394" y="193094"/>
                    <a:pt x="68394" y="193412"/>
                    <a:pt x="68712" y="193412"/>
                  </a:cubicBezTo>
                  <a:lnTo>
                    <a:pt x="69985" y="193412"/>
                  </a:lnTo>
                  <a:cubicBezTo>
                    <a:pt x="70303" y="193412"/>
                    <a:pt x="70621" y="193094"/>
                    <a:pt x="70621" y="192776"/>
                  </a:cubicBezTo>
                  <a:lnTo>
                    <a:pt x="70939" y="192776"/>
                  </a:lnTo>
                  <a:cubicBezTo>
                    <a:pt x="70939" y="192776"/>
                    <a:pt x="71257" y="192776"/>
                    <a:pt x="71257" y="193094"/>
                  </a:cubicBezTo>
                  <a:cubicBezTo>
                    <a:pt x="71257" y="193412"/>
                    <a:pt x="71257" y="193730"/>
                    <a:pt x="71575" y="194366"/>
                  </a:cubicBezTo>
                  <a:cubicBezTo>
                    <a:pt x="71575" y="194366"/>
                    <a:pt x="71575" y="194684"/>
                    <a:pt x="71893" y="194684"/>
                  </a:cubicBezTo>
                  <a:cubicBezTo>
                    <a:pt x="72211" y="195003"/>
                    <a:pt x="72211" y="195321"/>
                    <a:pt x="72211" y="195321"/>
                  </a:cubicBezTo>
                  <a:cubicBezTo>
                    <a:pt x="72211" y="195639"/>
                    <a:pt x="71893" y="195639"/>
                    <a:pt x="71257" y="196275"/>
                  </a:cubicBezTo>
                  <a:cubicBezTo>
                    <a:pt x="70939" y="196593"/>
                    <a:pt x="70939" y="196593"/>
                    <a:pt x="70621" y="196593"/>
                  </a:cubicBezTo>
                  <a:cubicBezTo>
                    <a:pt x="70303" y="196275"/>
                    <a:pt x="69985" y="195321"/>
                    <a:pt x="69349" y="195003"/>
                  </a:cubicBezTo>
                  <a:lnTo>
                    <a:pt x="69030" y="194684"/>
                  </a:lnTo>
                  <a:cubicBezTo>
                    <a:pt x="69030" y="194684"/>
                    <a:pt x="69030" y="195003"/>
                    <a:pt x="68712" y="195321"/>
                  </a:cubicBezTo>
                  <a:cubicBezTo>
                    <a:pt x="68394" y="195957"/>
                    <a:pt x="67758" y="196593"/>
                    <a:pt x="67758" y="197229"/>
                  </a:cubicBezTo>
                  <a:lnTo>
                    <a:pt x="67758" y="197547"/>
                  </a:lnTo>
                  <a:cubicBezTo>
                    <a:pt x="67758" y="198502"/>
                    <a:pt x="67758" y="199774"/>
                    <a:pt x="67440" y="201047"/>
                  </a:cubicBezTo>
                  <a:lnTo>
                    <a:pt x="67440" y="202319"/>
                  </a:lnTo>
                  <a:cubicBezTo>
                    <a:pt x="67122" y="202637"/>
                    <a:pt x="67122" y="202955"/>
                    <a:pt x="67122" y="203273"/>
                  </a:cubicBezTo>
                  <a:lnTo>
                    <a:pt x="67122" y="204546"/>
                  </a:lnTo>
                  <a:cubicBezTo>
                    <a:pt x="67440" y="204864"/>
                    <a:pt x="67440" y="204864"/>
                    <a:pt x="67440" y="205182"/>
                  </a:cubicBezTo>
                  <a:lnTo>
                    <a:pt x="67440" y="206455"/>
                  </a:lnTo>
                  <a:cubicBezTo>
                    <a:pt x="67440" y="206455"/>
                    <a:pt x="67440" y="207091"/>
                    <a:pt x="66803" y="207409"/>
                  </a:cubicBezTo>
                  <a:lnTo>
                    <a:pt x="66803" y="208363"/>
                  </a:lnTo>
                  <a:cubicBezTo>
                    <a:pt x="66803" y="208999"/>
                    <a:pt x="67122" y="209636"/>
                    <a:pt x="67122" y="210272"/>
                  </a:cubicBezTo>
                  <a:cubicBezTo>
                    <a:pt x="67122" y="210908"/>
                    <a:pt x="66803" y="211226"/>
                    <a:pt x="66803" y="211862"/>
                  </a:cubicBezTo>
                  <a:lnTo>
                    <a:pt x="66803" y="212181"/>
                  </a:lnTo>
                  <a:cubicBezTo>
                    <a:pt x="66803" y="212499"/>
                    <a:pt x="66803" y="212499"/>
                    <a:pt x="67122" y="212499"/>
                  </a:cubicBezTo>
                  <a:lnTo>
                    <a:pt x="67440" y="212499"/>
                  </a:lnTo>
                  <a:lnTo>
                    <a:pt x="67758" y="213135"/>
                  </a:lnTo>
                  <a:cubicBezTo>
                    <a:pt x="67122" y="213453"/>
                    <a:pt x="67440" y="213771"/>
                    <a:pt x="67122" y="214089"/>
                  </a:cubicBezTo>
                  <a:lnTo>
                    <a:pt x="67122" y="216634"/>
                  </a:lnTo>
                  <a:cubicBezTo>
                    <a:pt x="67122" y="216952"/>
                    <a:pt x="67122" y="216952"/>
                    <a:pt x="67440" y="216952"/>
                  </a:cubicBezTo>
                  <a:lnTo>
                    <a:pt x="67758" y="216952"/>
                  </a:lnTo>
                  <a:cubicBezTo>
                    <a:pt x="67758" y="216316"/>
                    <a:pt x="68394" y="215680"/>
                    <a:pt x="68394" y="215362"/>
                  </a:cubicBezTo>
                  <a:lnTo>
                    <a:pt x="68712" y="215044"/>
                  </a:lnTo>
                  <a:cubicBezTo>
                    <a:pt x="68712" y="215044"/>
                    <a:pt x="68712" y="215362"/>
                    <a:pt x="69030" y="215362"/>
                  </a:cubicBezTo>
                  <a:cubicBezTo>
                    <a:pt x="69985" y="215680"/>
                    <a:pt x="69985" y="215680"/>
                    <a:pt x="69985" y="216634"/>
                  </a:cubicBezTo>
                  <a:cubicBezTo>
                    <a:pt x="69349" y="216634"/>
                    <a:pt x="69349" y="216952"/>
                    <a:pt x="69349" y="217270"/>
                  </a:cubicBezTo>
                  <a:cubicBezTo>
                    <a:pt x="69349" y="217270"/>
                    <a:pt x="69985" y="217270"/>
                    <a:pt x="69985" y="217588"/>
                  </a:cubicBezTo>
                  <a:cubicBezTo>
                    <a:pt x="69667" y="218861"/>
                    <a:pt x="69667" y="219815"/>
                    <a:pt x="69667" y="220770"/>
                  </a:cubicBezTo>
                  <a:lnTo>
                    <a:pt x="69030" y="220770"/>
                  </a:lnTo>
                  <a:cubicBezTo>
                    <a:pt x="68712" y="220770"/>
                    <a:pt x="68712" y="220451"/>
                    <a:pt x="68394" y="220133"/>
                  </a:cubicBezTo>
                  <a:cubicBezTo>
                    <a:pt x="67758" y="219497"/>
                    <a:pt x="67758" y="219179"/>
                    <a:pt x="67758" y="218861"/>
                  </a:cubicBezTo>
                  <a:cubicBezTo>
                    <a:pt x="67758" y="218861"/>
                    <a:pt x="67758" y="218543"/>
                    <a:pt x="68394" y="217907"/>
                  </a:cubicBezTo>
                  <a:lnTo>
                    <a:pt x="68712" y="217588"/>
                  </a:lnTo>
                  <a:lnTo>
                    <a:pt x="68394" y="217588"/>
                  </a:lnTo>
                  <a:cubicBezTo>
                    <a:pt x="68394" y="217270"/>
                    <a:pt x="67758" y="217270"/>
                    <a:pt x="67758" y="217270"/>
                  </a:cubicBezTo>
                  <a:cubicBezTo>
                    <a:pt x="67440" y="217588"/>
                    <a:pt x="67122" y="217907"/>
                    <a:pt x="66803" y="218861"/>
                  </a:cubicBezTo>
                  <a:lnTo>
                    <a:pt x="66803" y="219815"/>
                  </a:lnTo>
                  <a:cubicBezTo>
                    <a:pt x="66803" y="220133"/>
                    <a:pt x="66485" y="220451"/>
                    <a:pt x="65849" y="220770"/>
                  </a:cubicBezTo>
                  <a:cubicBezTo>
                    <a:pt x="65531" y="220770"/>
                    <a:pt x="65849" y="221088"/>
                    <a:pt x="66485" y="221406"/>
                  </a:cubicBezTo>
                  <a:lnTo>
                    <a:pt x="67122" y="222042"/>
                  </a:lnTo>
                  <a:cubicBezTo>
                    <a:pt x="66167" y="222360"/>
                    <a:pt x="66167" y="222360"/>
                    <a:pt x="66167" y="222678"/>
                  </a:cubicBezTo>
                  <a:lnTo>
                    <a:pt x="66167" y="223314"/>
                  </a:lnTo>
                  <a:cubicBezTo>
                    <a:pt x="66167" y="223633"/>
                    <a:pt x="67122" y="223951"/>
                    <a:pt x="67758" y="223951"/>
                  </a:cubicBezTo>
                  <a:lnTo>
                    <a:pt x="68712" y="223951"/>
                  </a:lnTo>
                  <a:cubicBezTo>
                    <a:pt x="69667" y="223951"/>
                    <a:pt x="69985" y="223951"/>
                    <a:pt x="69985" y="224269"/>
                  </a:cubicBezTo>
                  <a:cubicBezTo>
                    <a:pt x="69985" y="224587"/>
                    <a:pt x="69667" y="224905"/>
                    <a:pt x="69667" y="225541"/>
                  </a:cubicBezTo>
                  <a:cubicBezTo>
                    <a:pt x="69667" y="227132"/>
                    <a:pt x="69667" y="229041"/>
                    <a:pt x="69985" y="230949"/>
                  </a:cubicBezTo>
                  <a:lnTo>
                    <a:pt x="69985" y="232222"/>
                  </a:lnTo>
                  <a:cubicBezTo>
                    <a:pt x="69349" y="232222"/>
                    <a:pt x="69349" y="232540"/>
                    <a:pt x="69349" y="232540"/>
                  </a:cubicBezTo>
                  <a:cubicBezTo>
                    <a:pt x="69667" y="232858"/>
                    <a:pt x="69667" y="232858"/>
                    <a:pt x="69667" y="233494"/>
                  </a:cubicBezTo>
                  <a:cubicBezTo>
                    <a:pt x="69985" y="234448"/>
                    <a:pt x="69985" y="235403"/>
                    <a:pt x="69985" y="236039"/>
                  </a:cubicBezTo>
                  <a:cubicBezTo>
                    <a:pt x="69985" y="236039"/>
                    <a:pt x="69667" y="236357"/>
                    <a:pt x="69667" y="236675"/>
                  </a:cubicBezTo>
                  <a:cubicBezTo>
                    <a:pt x="69667" y="236993"/>
                    <a:pt x="69667" y="237311"/>
                    <a:pt x="69030" y="237630"/>
                  </a:cubicBezTo>
                  <a:lnTo>
                    <a:pt x="69030" y="239538"/>
                  </a:lnTo>
                  <a:cubicBezTo>
                    <a:pt x="69349" y="239856"/>
                    <a:pt x="69667" y="239856"/>
                    <a:pt x="69667" y="239856"/>
                  </a:cubicBezTo>
                  <a:lnTo>
                    <a:pt x="69349" y="240174"/>
                  </a:lnTo>
                  <a:cubicBezTo>
                    <a:pt x="69349" y="240493"/>
                    <a:pt x="69349" y="240811"/>
                    <a:pt x="69985" y="241129"/>
                  </a:cubicBezTo>
                  <a:lnTo>
                    <a:pt x="69985" y="241447"/>
                  </a:lnTo>
                  <a:cubicBezTo>
                    <a:pt x="69349" y="241765"/>
                    <a:pt x="69349" y="241765"/>
                    <a:pt x="69349" y="242083"/>
                  </a:cubicBezTo>
                  <a:cubicBezTo>
                    <a:pt x="69667" y="242401"/>
                    <a:pt x="69667" y="242719"/>
                    <a:pt x="69667" y="242719"/>
                  </a:cubicBezTo>
                  <a:cubicBezTo>
                    <a:pt x="69667" y="243037"/>
                    <a:pt x="69667" y="243037"/>
                    <a:pt x="69349" y="243037"/>
                  </a:cubicBezTo>
                  <a:lnTo>
                    <a:pt x="69030" y="243356"/>
                  </a:lnTo>
                  <a:lnTo>
                    <a:pt x="68712" y="243037"/>
                  </a:lnTo>
                  <a:lnTo>
                    <a:pt x="68712" y="242083"/>
                  </a:lnTo>
                  <a:cubicBezTo>
                    <a:pt x="68712" y="241765"/>
                    <a:pt x="68394" y="241447"/>
                    <a:pt x="67758" y="241447"/>
                  </a:cubicBezTo>
                  <a:cubicBezTo>
                    <a:pt x="67758" y="241447"/>
                    <a:pt x="67440" y="241765"/>
                    <a:pt x="67440" y="242083"/>
                  </a:cubicBezTo>
                  <a:cubicBezTo>
                    <a:pt x="67440" y="243037"/>
                    <a:pt x="67122" y="244310"/>
                    <a:pt x="67122" y="245582"/>
                  </a:cubicBezTo>
                  <a:cubicBezTo>
                    <a:pt x="67122" y="245900"/>
                    <a:pt x="67440" y="245900"/>
                    <a:pt x="68076" y="245900"/>
                  </a:cubicBezTo>
                  <a:cubicBezTo>
                    <a:pt x="68394" y="245900"/>
                    <a:pt x="68394" y="245264"/>
                    <a:pt x="68712" y="245264"/>
                  </a:cubicBezTo>
                  <a:cubicBezTo>
                    <a:pt x="69030" y="245264"/>
                    <a:pt x="69667" y="245582"/>
                    <a:pt x="69667" y="245582"/>
                  </a:cubicBezTo>
                  <a:cubicBezTo>
                    <a:pt x="69667" y="245900"/>
                    <a:pt x="69985" y="246537"/>
                    <a:pt x="69985" y="246537"/>
                  </a:cubicBezTo>
                  <a:lnTo>
                    <a:pt x="69985" y="247809"/>
                  </a:lnTo>
                  <a:lnTo>
                    <a:pt x="70621" y="249082"/>
                  </a:lnTo>
                  <a:lnTo>
                    <a:pt x="70621" y="250354"/>
                  </a:lnTo>
                  <a:cubicBezTo>
                    <a:pt x="70621" y="250672"/>
                    <a:pt x="70303" y="250990"/>
                    <a:pt x="70303" y="251308"/>
                  </a:cubicBezTo>
                  <a:cubicBezTo>
                    <a:pt x="70303" y="251626"/>
                    <a:pt x="70621" y="252263"/>
                    <a:pt x="70939" y="252581"/>
                  </a:cubicBezTo>
                  <a:lnTo>
                    <a:pt x="70939" y="253535"/>
                  </a:lnTo>
                  <a:cubicBezTo>
                    <a:pt x="70939" y="253853"/>
                    <a:pt x="70939" y="254171"/>
                    <a:pt x="71257" y="254171"/>
                  </a:cubicBezTo>
                  <a:cubicBezTo>
                    <a:pt x="71575" y="254171"/>
                    <a:pt x="71257" y="254489"/>
                    <a:pt x="71257" y="254489"/>
                  </a:cubicBezTo>
                  <a:lnTo>
                    <a:pt x="71257" y="256716"/>
                  </a:lnTo>
                  <a:cubicBezTo>
                    <a:pt x="71257" y="257034"/>
                    <a:pt x="71257" y="257671"/>
                    <a:pt x="72211" y="258307"/>
                  </a:cubicBezTo>
                  <a:lnTo>
                    <a:pt x="72211" y="259261"/>
                  </a:lnTo>
                  <a:cubicBezTo>
                    <a:pt x="72211" y="259579"/>
                    <a:pt x="72530" y="259897"/>
                    <a:pt x="73166" y="260215"/>
                  </a:cubicBezTo>
                  <a:cubicBezTo>
                    <a:pt x="73166" y="260534"/>
                    <a:pt x="72848" y="260852"/>
                    <a:pt x="73166" y="260852"/>
                  </a:cubicBezTo>
                  <a:cubicBezTo>
                    <a:pt x="73802" y="260852"/>
                    <a:pt x="73802" y="260852"/>
                    <a:pt x="75074" y="260534"/>
                  </a:cubicBezTo>
                  <a:cubicBezTo>
                    <a:pt x="75393" y="260215"/>
                    <a:pt x="76029" y="259579"/>
                    <a:pt x="76983" y="259579"/>
                  </a:cubicBezTo>
                  <a:lnTo>
                    <a:pt x="78574" y="258307"/>
                  </a:lnTo>
                  <a:cubicBezTo>
                    <a:pt x="78892" y="257989"/>
                    <a:pt x="78892" y="257034"/>
                    <a:pt x="79528" y="256716"/>
                  </a:cubicBezTo>
                  <a:lnTo>
                    <a:pt x="79528" y="256398"/>
                  </a:lnTo>
                  <a:cubicBezTo>
                    <a:pt x="80800" y="255762"/>
                    <a:pt x="81119" y="254489"/>
                    <a:pt x="81755" y="254171"/>
                  </a:cubicBezTo>
                  <a:cubicBezTo>
                    <a:pt x="82391" y="253853"/>
                    <a:pt x="82391" y="253535"/>
                    <a:pt x="83027" y="252899"/>
                  </a:cubicBezTo>
                  <a:lnTo>
                    <a:pt x="83027" y="251945"/>
                  </a:lnTo>
                  <a:cubicBezTo>
                    <a:pt x="83027" y="251626"/>
                    <a:pt x="83027" y="251626"/>
                    <a:pt x="83345" y="251308"/>
                  </a:cubicBezTo>
                  <a:lnTo>
                    <a:pt x="83982" y="250672"/>
                  </a:lnTo>
                  <a:cubicBezTo>
                    <a:pt x="83982" y="250354"/>
                    <a:pt x="84300" y="250036"/>
                    <a:pt x="84300" y="249400"/>
                  </a:cubicBezTo>
                  <a:lnTo>
                    <a:pt x="85572" y="248445"/>
                  </a:lnTo>
                  <a:cubicBezTo>
                    <a:pt x="85572" y="247809"/>
                    <a:pt x="85572" y="247173"/>
                    <a:pt x="86526" y="246855"/>
                  </a:cubicBezTo>
                  <a:lnTo>
                    <a:pt x="86526" y="246219"/>
                  </a:lnTo>
                  <a:cubicBezTo>
                    <a:pt x="86526" y="245582"/>
                    <a:pt x="86845" y="244946"/>
                    <a:pt x="87163" y="244310"/>
                  </a:cubicBezTo>
                  <a:lnTo>
                    <a:pt x="89390" y="242401"/>
                  </a:lnTo>
                  <a:cubicBezTo>
                    <a:pt x="89708" y="241765"/>
                    <a:pt x="89708" y="241129"/>
                    <a:pt x="90026" y="240811"/>
                  </a:cubicBezTo>
                  <a:cubicBezTo>
                    <a:pt x="90344" y="240174"/>
                    <a:pt x="90662" y="239856"/>
                    <a:pt x="90662" y="239538"/>
                  </a:cubicBezTo>
                  <a:lnTo>
                    <a:pt x="90344" y="239220"/>
                  </a:lnTo>
                  <a:cubicBezTo>
                    <a:pt x="90344" y="238902"/>
                    <a:pt x="90344" y="238266"/>
                    <a:pt x="90980" y="237948"/>
                  </a:cubicBezTo>
                  <a:lnTo>
                    <a:pt x="91934" y="236039"/>
                  </a:lnTo>
                  <a:cubicBezTo>
                    <a:pt x="92571" y="235721"/>
                    <a:pt x="92571" y="234448"/>
                    <a:pt x="93525" y="233494"/>
                  </a:cubicBezTo>
                  <a:lnTo>
                    <a:pt x="93525" y="233176"/>
                  </a:lnTo>
                  <a:cubicBezTo>
                    <a:pt x="93525" y="232858"/>
                    <a:pt x="94161" y="232858"/>
                    <a:pt x="94479" y="232540"/>
                  </a:cubicBezTo>
                  <a:lnTo>
                    <a:pt x="94161" y="232540"/>
                  </a:lnTo>
                  <a:cubicBezTo>
                    <a:pt x="94797" y="232222"/>
                    <a:pt x="95115" y="231585"/>
                    <a:pt x="95115" y="230631"/>
                  </a:cubicBezTo>
                  <a:cubicBezTo>
                    <a:pt x="95115" y="229995"/>
                    <a:pt x="95434" y="229359"/>
                    <a:pt x="95434" y="229359"/>
                  </a:cubicBezTo>
                  <a:cubicBezTo>
                    <a:pt x="95434" y="229041"/>
                    <a:pt x="96706" y="228722"/>
                    <a:pt x="96706" y="228086"/>
                  </a:cubicBezTo>
                  <a:cubicBezTo>
                    <a:pt x="96706" y="227768"/>
                    <a:pt x="96388" y="227450"/>
                    <a:pt x="96388" y="227132"/>
                  </a:cubicBezTo>
                  <a:cubicBezTo>
                    <a:pt x="96388" y="226814"/>
                    <a:pt x="96388" y="226814"/>
                    <a:pt x="96706" y="226496"/>
                  </a:cubicBezTo>
                  <a:cubicBezTo>
                    <a:pt x="97660" y="225859"/>
                    <a:pt x="97660" y="225859"/>
                    <a:pt x="97660" y="225541"/>
                  </a:cubicBezTo>
                  <a:cubicBezTo>
                    <a:pt x="97979" y="224905"/>
                    <a:pt x="98297" y="224269"/>
                    <a:pt x="98297" y="223951"/>
                  </a:cubicBezTo>
                  <a:cubicBezTo>
                    <a:pt x="98615" y="223314"/>
                    <a:pt x="99569" y="222360"/>
                    <a:pt x="99887" y="222042"/>
                  </a:cubicBezTo>
                  <a:cubicBezTo>
                    <a:pt x="99887" y="220451"/>
                    <a:pt x="100523" y="219179"/>
                    <a:pt x="101478" y="218861"/>
                  </a:cubicBezTo>
                  <a:cubicBezTo>
                    <a:pt x="101478" y="218225"/>
                    <a:pt x="102114" y="217907"/>
                    <a:pt x="102114" y="217907"/>
                  </a:cubicBezTo>
                  <a:cubicBezTo>
                    <a:pt x="102432" y="217270"/>
                    <a:pt x="103068" y="216316"/>
                    <a:pt x="103068" y="215362"/>
                  </a:cubicBezTo>
                  <a:cubicBezTo>
                    <a:pt x="103386" y="215362"/>
                    <a:pt x="104341" y="213771"/>
                    <a:pt x="104341" y="213453"/>
                  </a:cubicBezTo>
                  <a:lnTo>
                    <a:pt x="104023" y="213135"/>
                  </a:lnTo>
                  <a:cubicBezTo>
                    <a:pt x="104023" y="212817"/>
                    <a:pt x="104659" y="212181"/>
                    <a:pt x="104659" y="211862"/>
                  </a:cubicBezTo>
                  <a:cubicBezTo>
                    <a:pt x="104659" y="210908"/>
                    <a:pt x="105931" y="210590"/>
                    <a:pt x="106249" y="209636"/>
                  </a:cubicBezTo>
                  <a:cubicBezTo>
                    <a:pt x="105931" y="209318"/>
                    <a:pt x="105931" y="208999"/>
                    <a:pt x="105931" y="208999"/>
                  </a:cubicBezTo>
                  <a:cubicBezTo>
                    <a:pt x="105931" y="208363"/>
                    <a:pt x="106249" y="208363"/>
                    <a:pt x="106249" y="208045"/>
                  </a:cubicBezTo>
                  <a:cubicBezTo>
                    <a:pt x="107522" y="207727"/>
                    <a:pt x="106886" y="206773"/>
                    <a:pt x="107840" y="206455"/>
                  </a:cubicBezTo>
                  <a:cubicBezTo>
                    <a:pt x="107840" y="205818"/>
                    <a:pt x="108158" y="205182"/>
                    <a:pt x="108476" y="204864"/>
                  </a:cubicBezTo>
                  <a:cubicBezTo>
                    <a:pt x="108476" y="204546"/>
                    <a:pt x="108794" y="203910"/>
                    <a:pt x="108794" y="203592"/>
                  </a:cubicBezTo>
                  <a:lnTo>
                    <a:pt x="108476" y="203273"/>
                  </a:lnTo>
                  <a:cubicBezTo>
                    <a:pt x="108476" y="203273"/>
                    <a:pt x="108794" y="202319"/>
                    <a:pt x="109112" y="202319"/>
                  </a:cubicBezTo>
                  <a:lnTo>
                    <a:pt x="110385" y="201047"/>
                  </a:lnTo>
                  <a:cubicBezTo>
                    <a:pt x="110703" y="200729"/>
                    <a:pt x="110703" y="200410"/>
                    <a:pt x="110703" y="200092"/>
                  </a:cubicBezTo>
                  <a:lnTo>
                    <a:pt x="111339" y="198820"/>
                  </a:lnTo>
                  <a:cubicBezTo>
                    <a:pt x="111339" y="198184"/>
                    <a:pt x="112612" y="198184"/>
                    <a:pt x="112612" y="197547"/>
                  </a:cubicBezTo>
                  <a:cubicBezTo>
                    <a:pt x="112294" y="197229"/>
                    <a:pt x="112294" y="196911"/>
                    <a:pt x="112294" y="196593"/>
                  </a:cubicBezTo>
                  <a:cubicBezTo>
                    <a:pt x="112294" y="196275"/>
                    <a:pt x="112294" y="195957"/>
                    <a:pt x="112612" y="195321"/>
                  </a:cubicBezTo>
                  <a:cubicBezTo>
                    <a:pt x="112612" y="195321"/>
                    <a:pt x="113248" y="195003"/>
                    <a:pt x="113248" y="194684"/>
                  </a:cubicBezTo>
                  <a:lnTo>
                    <a:pt x="113248" y="194366"/>
                  </a:lnTo>
                  <a:cubicBezTo>
                    <a:pt x="113248" y="194048"/>
                    <a:pt x="113248" y="194048"/>
                    <a:pt x="113884" y="193730"/>
                  </a:cubicBezTo>
                  <a:cubicBezTo>
                    <a:pt x="114202" y="193730"/>
                    <a:pt x="114202" y="193412"/>
                    <a:pt x="114202" y="193094"/>
                  </a:cubicBezTo>
                  <a:cubicBezTo>
                    <a:pt x="114202" y="192776"/>
                    <a:pt x="114520" y="192458"/>
                    <a:pt x="114838" y="192140"/>
                  </a:cubicBezTo>
                  <a:lnTo>
                    <a:pt x="114838" y="191503"/>
                  </a:lnTo>
                  <a:cubicBezTo>
                    <a:pt x="114838" y="191185"/>
                    <a:pt x="114838" y="191185"/>
                    <a:pt x="115156" y="191185"/>
                  </a:cubicBezTo>
                  <a:cubicBezTo>
                    <a:pt x="115156" y="189913"/>
                    <a:pt x="115793" y="188640"/>
                    <a:pt x="116747" y="187686"/>
                  </a:cubicBezTo>
                  <a:cubicBezTo>
                    <a:pt x="116747" y="187050"/>
                    <a:pt x="117065" y="186414"/>
                    <a:pt x="117065" y="186095"/>
                  </a:cubicBezTo>
                  <a:cubicBezTo>
                    <a:pt x="117065" y="185777"/>
                    <a:pt x="118020" y="185141"/>
                    <a:pt x="118020" y="184505"/>
                  </a:cubicBezTo>
                  <a:cubicBezTo>
                    <a:pt x="118020" y="184187"/>
                    <a:pt x="118338" y="183551"/>
                    <a:pt x="118974" y="183232"/>
                  </a:cubicBezTo>
                  <a:cubicBezTo>
                    <a:pt x="119610" y="182596"/>
                    <a:pt x="120246" y="181642"/>
                    <a:pt x="120246" y="180688"/>
                  </a:cubicBezTo>
                  <a:lnTo>
                    <a:pt x="120246" y="179415"/>
                  </a:lnTo>
                  <a:cubicBezTo>
                    <a:pt x="119928" y="179097"/>
                    <a:pt x="120564" y="179097"/>
                    <a:pt x="120564" y="179097"/>
                  </a:cubicBezTo>
                  <a:lnTo>
                    <a:pt x="121519" y="177188"/>
                  </a:lnTo>
                  <a:cubicBezTo>
                    <a:pt x="121519" y="176870"/>
                    <a:pt x="122473" y="176552"/>
                    <a:pt x="122155" y="176234"/>
                  </a:cubicBezTo>
                  <a:lnTo>
                    <a:pt x="121519" y="175916"/>
                  </a:lnTo>
                  <a:cubicBezTo>
                    <a:pt x="121519" y="175598"/>
                    <a:pt x="122473" y="175280"/>
                    <a:pt x="122473" y="174962"/>
                  </a:cubicBezTo>
                  <a:cubicBezTo>
                    <a:pt x="122473" y="174643"/>
                    <a:pt x="123428" y="174007"/>
                    <a:pt x="123428" y="173689"/>
                  </a:cubicBezTo>
                  <a:lnTo>
                    <a:pt x="123109" y="173689"/>
                  </a:lnTo>
                  <a:lnTo>
                    <a:pt x="123109" y="173371"/>
                  </a:lnTo>
                  <a:cubicBezTo>
                    <a:pt x="123109" y="173053"/>
                    <a:pt x="123746" y="173053"/>
                    <a:pt x="123746" y="172735"/>
                  </a:cubicBezTo>
                  <a:cubicBezTo>
                    <a:pt x="123746" y="172735"/>
                    <a:pt x="123746" y="172417"/>
                    <a:pt x="123428" y="172098"/>
                  </a:cubicBezTo>
                  <a:cubicBezTo>
                    <a:pt x="123428" y="171780"/>
                    <a:pt x="124382" y="171144"/>
                    <a:pt x="124064" y="170826"/>
                  </a:cubicBezTo>
                  <a:cubicBezTo>
                    <a:pt x="124382" y="170190"/>
                    <a:pt x="124700" y="169872"/>
                    <a:pt x="125018" y="169872"/>
                  </a:cubicBezTo>
                  <a:cubicBezTo>
                    <a:pt x="125654" y="169235"/>
                    <a:pt x="125018" y="168281"/>
                    <a:pt x="126609" y="167645"/>
                  </a:cubicBezTo>
                  <a:cubicBezTo>
                    <a:pt x="137743" y="152694"/>
                    <a:pt x="141878" y="147286"/>
                    <a:pt x="142514" y="147286"/>
                  </a:cubicBezTo>
                  <a:cubicBezTo>
                    <a:pt x="143469" y="147286"/>
                    <a:pt x="133925" y="162873"/>
                    <a:pt x="133607" y="167327"/>
                  </a:cubicBezTo>
                  <a:lnTo>
                    <a:pt x="133925" y="167327"/>
                  </a:lnTo>
                  <a:lnTo>
                    <a:pt x="133925" y="167645"/>
                  </a:lnTo>
                  <a:cubicBezTo>
                    <a:pt x="133925" y="168281"/>
                    <a:pt x="133925" y="168281"/>
                    <a:pt x="133607" y="168599"/>
                  </a:cubicBezTo>
                  <a:lnTo>
                    <a:pt x="134243" y="168599"/>
                  </a:lnTo>
                  <a:cubicBezTo>
                    <a:pt x="134561" y="168599"/>
                    <a:pt x="134879" y="168599"/>
                    <a:pt x="135834" y="167963"/>
                  </a:cubicBezTo>
                  <a:lnTo>
                    <a:pt x="135834" y="168599"/>
                  </a:lnTo>
                  <a:cubicBezTo>
                    <a:pt x="135834" y="169554"/>
                    <a:pt x="135198" y="170190"/>
                    <a:pt x="134879" y="170826"/>
                  </a:cubicBezTo>
                  <a:lnTo>
                    <a:pt x="134879" y="171144"/>
                  </a:lnTo>
                  <a:cubicBezTo>
                    <a:pt x="134561" y="171780"/>
                    <a:pt x="134561" y="171780"/>
                    <a:pt x="133607" y="172098"/>
                  </a:cubicBezTo>
                  <a:cubicBezTo>
                    <a:pt x="133289" y="172417"/>
                    <a:pt x="133289" y="172735"/>
                    <a:pt x="133289" y="173053"/>
                  </a:cubicBezTo>
                  <a:lnTo>
                    <a:pt x="133289" y="173689"/>
                  </a:lnTo>
                  <a:cubicBezTo>
                    <a:pt x="133289" y="173689"/>
                    <a:pt x="133289" y="174007"/>
                    <a:pt x="132971" y="174325"/>
                  </a:cubicBezTo>
                  <a:cubicBezTo>
                    <a:pt x="132335" y="174643"/>
                    <a:pt x="132335" y="174962"/>
                    <a:pt x="132335" y="175280"/>
                  </a:cubicBezTo>
                  <a:cubicBezTo>
                    <a:pt x="132335" y="175598"/>
                    <a:pt x="132335" y="175916"/>
                    <a:pt x="132971" y="176234"/>
                  </a:cubicBezTo>
                  <a:lnTo>
                    <a:pt x="133289" y="176552"/>
                  </a:lnTo>
                  <a:cubicBezTo>
                    <a:pt x="133289" y="176552"/>
                    <a:pt x="132971" y="176552"/>
                    <a:pt x="132653" y="176870"/>
                  </a:cubicBezTo>
                  <a:cubicBezTo>
                    <a:pt x="132653" y="176870"/>
                    <a:pt x="132335" y="177188"/>
                    <a:pt x="132016" y="177188"/>
                  </a:cubicBezTo>
                  <a:cubicBezTo>
                    <a:pt x="131380" y="177824"/>
                    <a:pt x="130744" y="178461"/>
                    <a:pt x="129472" y="178461"/>
                  </a:cubicBezTo>
                  <a:lnTo>
                    <a:pt x="129472" y="179097"/>
                  </a:lnTo>
                  <a:cubicBezTo>
                    <a:pt x="129790" y="179415"/>
                    <a:pt x="129790" y="179733"/>
                    <a:pt x="130744" y="179733"/>
                  </a:cubicBezTo>
                  <a:cubicBezTo>
                    <a:pt x="129790" y="180051"/>
                    <a:pt x="129790" y="180369"/>
                    <a:pt x="129153" y="180369"/>
                  </a:cubicBezTo>
                  <a:cubicBezTo>
                    <a:pt x="128517" y="180369"/>
                    <a:pt x="127881" y="180369"/>
                    <a:pt x="127881" y="181006"/>
                  </a:cubicBezTo>
                  <a:cubicBezTo>
                    <a:pt x="127563" y="181006"/>
                    <a:pt x="127563" y="181324"/>
                    <a:pt x="127563" y="181642"/>
                  </a:cubicBezTo>
                  <a:lnTo>
                    <a:pt x="127563" y="181960"/>
                  </a:lnTo>
                  <a:lnTo>
                    <a:pt x="128835" y="181960"/>
                  </a:lnTo>
                  <a:lnTo>
                    <a:pt x="128835" y="182596"/>
                  </a:lnTo>
                  <a:cubicBezTo>
                    <a:pt x="128835" y="182914"/>
                    <a:pt x="128835" y="183232"/>
                    <a:pt x="129153" y="183232"/>
                  </a:cubicBezTo>
                  <a:cubicBezTo>
                    <a:pt x="129153" y="183551"/>
                    <a:pt x="129472" y="183551"/>
                    <a:pt x="129472" y="183869"/>
                  </a:cubicBezTo>
                  <a:cubicBezTo>
                    <a:pt x="129472" y="184187"/>
                    <a:pt x="129153" y="184187"/>
                    <a:pt x="129153" y="184187"/>
                  </a:cubicBezTo>
                  <a:lnTo>
                    <a:pt x="127881" y="185141"/>
                  </a:lnTo>
                  <a:lnTo>
                    <a:pt x="127881" y="187686"/>
                  </a:lnTo>
                  <a:cubicBezTo>
                    <a:pt x="127563" y="187686"/>
                    <a:pt x="127563" y="188004"/>
                    <a:pt x="127563" y="188322"/>
                  </a:cubicBezTo>
                  <a:cubicBezTo>
                    <a:pt x="127563" y="188640"/>
                    <a:pt x="127245" y="188958"/>
                    <a:pt x="127245" y="189277"/>
                  </a:cubicBezTo>
                  <a:lnTo>
                    <a:pt x="126927" y="189595"/>
                  </a:lnTo>
                  <a:cubicBezTo>
                    <a:pt x="126290" y="189913"/>
                    <a:pt x="125972" y="190549"/>
                    <a:pt x="125972" y="190867"/>
                  </a:cubicBezTo>
                  <a:cubicBezTo>
                    <a:pt x="125972" y="191185"/>
                    <a:pt x="126609" y="191503"/>
                    <a:pt x="126609" y="192140"/>
                  </a:cubicBezTo>
                  <a:cubicBezTo>
                    <a:pt x="126609" y="192140"/>
                    <a:pt x="125336" y="192776"/>
                    <a:pt x="125018" y="192776"/>
                  </a:cubicBezTo>
                  <a:cubicBezTo>
                    <a:pt x="124700" y="192776"/>
                    <a:pt x="124700" y="192776"/>
                    <a:pt x="124700" y="193094"/>
                  </a:cubicBezTo>
                  <a:lnTo>
                    <a:pt x="124700" y="193730"/>
                  </a:lnTo>
                  <a:cubicBezTo>
                    <a:pt x="124700" y="194048"/>
                    <a:pt x="125018" y="194366"/>
                    <a:pt x="125018" y="194684"/>
                  </a:cubicBezTo>
                  <a:cubicBezTo>
                    <a:pt x="125018" y="195321"/>
                    <a:pt x="124382" y="195639"/>
                    <a:pt x="123428" y="196275"/>
                  </a:cubicBezTo>
                  <a:lnTo>
                    <a:pt x="123428" y="196911"/>
                  </a:lnTo>
                  <a:lnTo>
                    <a:pt x="124700" y="196911"/>
                  </a:lnTo>
                  <a:cubicBezTo>
                    <a:pt x="124700" y="196593"/>
                    <a:pt x="125018" y="196593"/>
                    <a:pt x="125336" y="196593"/>
                  </a:cubicBezTo>
                  <a:cubicBezTo>
                    <a:pt x="125654" y="196911"/>
                    <a:pt x="125972" y="196911"/>
                    <a:pt x="125972" y="196911"/>
                  </a:cubicBezTo>
                  <a:cubicBezTo>
                    <a:pt x="125972" y="196911"/>
                    <a:pt x="125654" y="197229"/>
                    <a:pt x="125654" y="197547"/>
                  </a:cubicBezTo>
                  <a:cubicBezTo>
                    <a:pt x="125336" y="197866"/>
                    <a:pt x="125336" y="197866"/>
                    <a:pt x="125336" y="198184"/>
                  </a:cubicBezTo>
                  <a:cubicBezTo>
                    <a:pt x="125336" y="198820"/>
                    <a:pt x="125336" y="199774"/>
                    <a:pt x="124700" y="200410"/>
                  </a:cubicBezTo>
                  <a:lnTo>
                    <a:pt x="124700" y="201365"/>
                  </a:lnTo>
                  <a:cubicBezTo>
                    <a:pt x="125018" y="201365"/>
                    <a:pt x="125018" y="201683"/>
                    <a:pt x="125018" y="202001"/>
                  </a:cubicBezTo>
                  <a:cubicBezTo>
                    <a:pt x="125018" y="202319"/>
                    <a:pt x="125018" y="202637"/>
                    <a:pt x="124700" y="202955"/>
                  </a:cubicBezTo>
                  <a:cubicBezTo>
                    <a:pt x="124382" y="202955"/>
                    <a:pt x="124382" y="202955"/>
                    <a:pt x="124382" y="203273"/>
                  </a:cubicBezTo>
                  <a:lnTo>
                    <a:pt x="124382" y="203592"/>
                  </a:lnTo>
                  <a:cubicBezTo>
                    <a:pt x="123746" y="203592"/>
                    <a:pt x="123746" y="203592"/>
                    <a:pt x="123746" y="204228"/>
                  </a:cubicBezTo>
                  <a:cubicBezTo>
                    <a:pt x="123746" y="204864"/>
                    <a:pt x="123109" y="204864"/>
                    <a:pt x="123109" y="205500"/>
                  </a:cubicBezTo>
                  <a:cubicBezTo>
                    <a:pt x="123109" y="205818"/>
                    <a:pt x="123109" y="206455"/>
                    <a:pt x="122791" y="206455"/>
                  </a:cubicBezTo>
                  <a:cubicBezTo>
                    <a:pt x="121519" y="206455"/>
                    <a:pt x="121519" y="207091"/>
                    <a:pt x="120564" y="207409"/>
                  </a:cubicBezTo>
                  <a:lnTo>
                    <a:pt x="120564" y="208363"/>
                  </a:lnTo>
                  <a:cubicBezTo>
                    <a:pt x="119292" y="208999"/>
                    <a:pt x="118974" y="209636"/>
                    <a:pt x="118338" y="210590"/>
                  </a:cubicBezTo>
                  <a:lnTo>
                    <a:pt x="118656" y="210590"/>
                  </a:lnTo>
                  <a:cubicBezTo>
                    <a:pt x="119292" y="210590"/>
                    <a:pt x="118974" y="211226"/>
                    <a:pt x="119292" y="211544"/>
                  </a:cubicBezTo>
                  <a:lnTo>
                    <a:pt x="119292" y="211862"/>
                  </a:lnTo>
                  <a:cubicBezTo>
                    <a:pt x="118974" y="212181"/>
                    <a:pt x="118974" y="212817"/>
                    <a:pt x="118974" y="213135"/>
                  </a:cubicBezTo>
                  <a:cubicBezTo>
                    <a:pt x="118974" y="213453"/>
                    <a:pt x="118974" y="213771"/>
                    <a:pt x="118656" y="213771"/>
                  </a:cubicBezTo>
                  <a:cubicBezTo>
                    <a:pt x="118338" y="214407"/>
                    <a:pt x="117701" y="214725"/>
                    <a:pt x="117701" y="215362"/>
                  </a:cubicBezTo>
                  <a:lnTo>
                    <a:pt x="118338" y="215680"/>
                  </a:lnTo>
                  <a:cubicBezTo>
                    <a:pt x="118338" y="216634"/>
                    <a:pt x="117065" y="216634"/>
                    <a:pt x="116747" y="216952"/>
                  </a:cubicBezTo>
                  <a:cubicBezTo>
                    <a:pt x="116747" y="216952"/>
                    <a:pt x="116111" y="216952"/>
                    <a:pt x="116111" y="216634"/>
                  </a:cubicBezTo>
                  <a:cubicBezTo>
                    <a:pt x="116111" y="216316"/>
                    <a:pt x="116111" y="215680"/>
                    <a:pt x="115793" y="215362"/>
                  </a:cubicBezTo>
                  <a:cubicBezTo>
                    <a:pt x="115793" y="215362"/>
                    <a:pt x="116111" y="215044"/>
                    <a:pt x="116429" y="215044"/>
                  </a:cubicBezTo>
                  <a:cubicBezTo>
                    <a:pt x="116747" y="215044"/>
                    <a:pt x="116747" y="214725"/>
                    <a:pt x="117065" y="214089"/>
                  </a:cubicBezTo>
                  <a:cubicBezTo>
                    <a:pt x="117065" y="213771"/>
                    <a:pt x="116747" y="213771"/>
                    <a:pt x="116747" y="213771"/>
                  </a:cubicBezTo>
                  <a:cubicBezTo>
                    <a:pt x="115793" y="213771"/>
                    <a:pt x="115156" y="214089"/>
                    <a:pt x="114520" y="215044"/>
                  </a:cubicBezTo>
                  <a:lnTo>
                    <a:pt x="114520" y="215362"/>
                  </a:lnTo>
                  <a:cubicBezTo>
                    <a:pt x="114520" y="215998"/>
                    <a:pt x="113566" y="216634"/>
                    <a:pt x="113566" y="217588"/>
                  </a:cubicBezTo>
                  <a:lnTo>
                    <a:pt x="113566" y="217907"/>
                  </a:lnTo>
                  <a:cubicBezTo>
                    <a:pt x="112930" y="218543"/>
                    <a:pt x="112930" y="218861"/>
                    <a:pt x="112930" y="219179"/>
                  </a:cubicBezTo>
                  <a:lnTo>
                    <a:pt x="112930" y="220451"/>
                  </a:lnTo>
                  <a:cubicBezTo>
                    <a:pt x="113248" y="220451"/>
                    <a:pt x="113566" y="220770"/>
                    <a:pt x="113566" y="220770"/>
                  </a:cubicBezTo>
                  <a:cubicBezTo>
                    <a:pt x="113566" y="221088"/>
                    <a:pt x="113248" y="221088"/>
                    <a:pt x="112930" y="221406"/>
                  </a:cubicBezTo>
                  <a:cubicBezTo>
                    <a:pt x="112612" y="222042"/>
                    <a:pt x="112612" y="222360"/>
                    <a:pt x="112612" y="223314"/>
                  </a:cubicBezTo>
                  <a:lnTo>
                    <a:pt x="112612" y="224905"/>
                  </a:lnTo>
                  <a:cubicBezTo>
                    <a:pt x="112294" y="225541"/>
                    <a:pt x="111657" y="225541"/>
                    <a:pt x="111657" y="225859"/>
                  </a:cubicBezTo>
                  <a:lnTo>
                    <a:pt x="111657" y="227132"/>
                  </a:lnTo>
                  <a:cubicBezTo>
                    <a:pt x="111657" y="227450"/>
                    <a:pt x="111339" y="228404"/>
                    <a:pt x="111021" y="228404"/>
                  </a:cubicBezTo>
                  <a:lnTo>
                    <a:pt x="110385" y="228404"/>
                  </a:lnTo>
                  <a:cubicBezTo>
                    <a:pt x="110067" y="228404"/>
                    <a:pt x="109749" y="228404"/>
                    <a:pt x="109431" y="228722"/>
                  </a:cubicBezTo>
                  <a:cubicBezTo>
                    <a:pt x="109112" y="229041"/>
                    <a:pt x="109112" y="229359"/>
                    <a:pt x="109112" y="229359"/>
                  </a:cubicBezTo>
                  <a:cubicBezTo>
                    <a:pt x="109749" y="229677"/>
                    <a:pt x="110067" y="229677"/>
                    <a:pt x="110067" y="229995"/>
                  </a:cubicBezTo>
                  <a:cubicBezTo>
                    <a:pt x="110067" y="230313"/>
                    <a:pt x="109749" y="230631"/>
                    <a:pt x="109431" y="230949"/>
                  </a:cubicBezTo>
                  <a:cubicBezTo>
                    <a:pt x="108794" y="231904"/>
                    <a:pt x="108158" y="231904"/>
                    <a:pt x="107204" y="231904"/>
                  </a:cubicBezTo>
                  <a:cubicBezTo>
                    <a:pt x="106886" y="231904"/>
                    <a:pt x="106567" y="232222"/>
                    <a:pt x="106567" y="232222"/>
                  </a:cubicBezTo>
                  <a:cubicBezTo>
                    <a:pt x="106567" y="232540"/>
                    <a:pt x="106249" y="232858"/>
                    <a:pt x="106249" y="232858"/>
                  </a:cubicBezTo>
                  <a:lnTo>
                    <a:pt x="106249" y="234130"/>
                  </a:lnTo>
                  <a:cubicBezTo>
                    <a:pt x="105295" y="234448"/>
                    <a:pt x="105295" y="235085"/>
                    <a:pt x="105295" y="235721"/>
                  </a:cubicBezTo>
                  <a:cubicBezTo>
                    <a:pt x="105295" y="236039"/>
                    <a:pt x="104977" y="236039"/>
                    <a:pt x="104659" y="236357"/>
                  </a:cubicBezTo>
                  <a:lnTo>
                    <a:pt x="104659" y="236993"/>
                  </a:lnTo>
                  <a:cubicBezTo>
                    <a:pt x="104659" y="237311"/>
                    <a:pt x="104659" y="237630"/>
                    <a:pt x="104341" y="237630"/>
                  </a:cubicBezTo>
                  <a:cubicBezTo>
                    <a:pt x="104023" y="237630"/>
                    <a:pt x="103705" y="237311"/>
                    <a:pt x="103386" y="237311"/>
                  </a:cubicBezTo>
                  <a:lnTo>
                    <a:pt x="103386" y="236993"/>
                  </a:lnTo>
                  <a:cubicBezTo>
                    <a:pt x="103068" y="236993"/>
                    <a:pt x="103068" y="237311"/>
                    <a:pt x="103068" y="237311"/>
                  </a:cubicBezTo>
                  <a:cubicBezTo>
                    <a:pt x="102750" y="237311"/>
                    <a:pt x="102432" y="237630"/>
                    <a:pt x="102114" y="237948"/>
                  </a:cubicBezTo>
                  <a:cubicBezTo>
                    <a:pt x="101796" y="238266"/>
                    <a:pt x="101796" y="238266"/>
                    <a:pt x="101796" y="238584"/>
                  </a:cubicBezTo>
                  <a:lnTo>
                    <a:pt x="101796" y="239220"/>
                  </a:lnTo>
                  <a:lnTo>
                    <a:pt x="102114" y="239538"/>
                  </a:lnTo>
                  <a:lnTo>
                    <a:pt x="103386" y="238266"/>
                  </a:lnTo>
                  <a:cubicBezTo>
                    <a:pt x="103386" y="238266"/>
                    <a:pt x="103386" y="237948"/>
                    <a:pt x="103705" y="237948"/>
                  </a:cubicBezTo>
                  <a:cubicBezTo>
                    <a:pt x="104023" y="237948"/>
                    <a:pt x="104341" y="238266"/>
                    <a:pt x="104341" y="238266"/>
                  </a:cubicBezTo>
                  <a:cubicBezTo>
                    <a:pt x="104659" y="238584"/>
                    <a:pt x="104977" y="238902"/>
                    <a:pt x="104977" y="239220"/>
                  </a:cubicBezTo>
                  <a:cubicBezTo>
                    <a:pt x="104977" y="239538"/>
                    <a:pt x="105613" y="239856"/>
                    <a:pt x="106249" y="239856"/>
                  </a:cubicBezTo>
                  <a:lnTo>
                    <a:pt x="107204" y="239856"/>
                  </a:lnTo>
                  <a:lnTo>
                    <a:pt x="106886" y="239538"/>
                  </a:lnTo>
                  <a:lnTo>
                    <a:pt x="106886" y="238266"/>
                  </a:lnTo>
                  <a:lnTo>
                    <a:pt x="107522" y="237948"/>
                  </a:lnTo>
                  <a:lnTo>
                    <a:pt x="107522" y="238266"/>
                  </a:lnTo>
                  <a:cubicBezTo>
                    <a:pt x="107522" y="238902"/>
                    <a:pt x="107522" y="239538"/>
                    <a:pt x="107840" y="240493"/>
                  </a:cubicBezTo>
                  <a:lnTo>
                    <a:pt x="107840" y="241129"/>
                  </a:lnTo>
                  <a:cubicBezTo>
                    <a:pt x="106886" y="241447"/>
                    <a:pt x="106567" y="242083"/>
                    <a:pt x="106249" y="242401"/>
                  </a:cubicBezTo>
                  <a:cubicBezTo>
                    <a:pt x="105613" y="243037"/>
                    <a:pt x="105295" y="243356"/>
                    <a:pt x="104977" y="243356"/>
                  </a:cubicBezTo>
                  <a:cubicBezTo>
                    <a:pt x="104659" y="243356"/>
                    <a:pt x="104341" y="243037"/>
                    <a:pt x="103705" y="242719"/>
                  </a:cubicBezTo>
                  <a:cubicBezTo>
                    <a:pt x="103705" y="242719"/>
                    <a:pt x="103386" y="242401"/>
                    <a:pt x="103068" y="242401"/>
                  </a:cubicBezTo>
                  <a:cubicBezTo>
                    <a:pt x="102750" y="242401"/>
                    <a:pt x="102750" y="242719"/>
                    <a:pt x="102432" y="243037"/>
                  </a:cubicBezTo>
                  <a:cubicBezTo>
                    <a:pt x="102114" y="243037"/>
                    <a:pt x="101796" y="243037"/>
                    <a:pt x="101478" y="243674"/>
                  </a:cubicBezTo>
                  <a:cubicBezTo>
                    <a:pt x="100841" y="243674"/>
                    <a:pt x="100841" y="243992"/>
                    <a:pt x="100841" y="243992"/>
                  </a:cubicBezTo>
                  <a:cubicBezTo>
                    <a:pt x="101796" y="244310"/>
                    <a:pt x="101796" y="244628"/>
                    <a:pt x="101796" y="244946"/>
                  </a:cubicBezTo>
                  <a:lnTo>
                    <a:pt x="101796" y="245582"/>
                  </a:lnTo>
                  <a:cubicBezTo>
                    <a:pt x="101796" y="245900"/>
                    <a:pt x="101796" y="245900"/>
                    <a:pt x="102432" y="246219"/>
                  </a:cubicBezTo>
                  <a:cubicBezTo>
                    <a:pt x="102432" y="246537"/>
                    <a:pt x="102750" y="246537"/>
                    <a:pt x="102750" y="246855"/>
                  </a:cubicBezTo>
                  <a:lnTo>
                    <a:pt x="101796" y="247491"/>
                  </a:lnTo>
                  <a:cubicBezTo>
                    <a:pt x="100523" y="248127"/>
                    <a:pt x="100205" y="249082"/>
                    <a:pt x="99569" y="249718"/>
                  </a:cubicBezTo>
                  <a:cubicBezTo>
                    <a:pt x="99251" y="250036"/>
                    <a:pt x="98933" y="250036"/>
                    <a:pt x="98933" y="250354"/>
                  </a:cubicBezTo>
                  <a:cubicBezTo>
                    <a:pt x="98933" y="250672"/>
                    <a:pt x="99251" y="250990"/>
                    <a:pt x="99569" y="251308"/>
                  </a:cubicBezTo>
                  <a:lnTo>
                    <a:pt x="99887" y="250990"/>
                  </a:lnTo>
                  <a:cubicBezTo>
                    <a:pt x="99887" y="250990"/>
                    <a:pt x="100205" y="250672"/>
                    <a:pt x="100523" y="250672"/>
                  </a:cubicBezTo>
                  <a:cubicBezTo>
                    <a:pt x="100523" y="250672"/>
                    <a:pt x="100841" y="250672"/>
                    <a:pt x="100523" y="250990"/>
                  </a:cubicBezTo>
                  <a:lnTo>
                    <a:pt x="100841" y="250990"/>
                  </a:lnTo>
                  <a:lnTo>
                    <a:pt x="100523" y="251308"/>
                  </a:lnTo>
                  <a:cubicBezTo>
                    <a:pt x="100205" y="251308"/>
                    <a:pt x="100205" y="251626"/>
                    <a:pt x="100205" y="251945"/>
                  </a:cubicBezTo>
                  <a:cubicBezTo>
                    <a:pt x="100205" y="252263"/>
                    <a:pt x="100523" y="252263"/>
                    <a:pt x="100523" y="252263"/>
                  </a:cubicBezTo>
                  <a:lnTo>
                    <a:pt x="100205" y="252581"/>
                  </a:lnTo>
                  <a:cubicBezTo>
                    <a:pt x="99887" y="252899"/>
                    <a:pt x="99569" y="253535"/>
                    <a:pt x="99569" y="253535"/>
                  </a:cubicBezTo>
                  <a:lnTo>
                    <a:pt x="98933" y="253853"/>
                  </a:lnTo>
                  <a:cubicBezTo>
                    <a:pt x="98615" y="254489"/>
                    <a:pt x="98615" y="254808"/>
                    <a:pt x="97979" y="255444"/>
                  </a:cubicBezTo>
                  <a:lnTo>
                    <a:pt x="97979" y="256080"/>
                  </a:lnTo>
                  <a:cubicBezTo>
                    <a:pt x="97979" y="257034"/>
                    <a:pt x="97342" y="257352"/>
                    <a:pt x="96706" y="257989"/>
                  </a:cubicBezTo>
                  <a:lnTo>
                    <a:pt x="96706" y="259579"/>
                  </a:lnTo>
                  <a:cubicBezTo>
                    <a:pt x="96706" y="260215"/>
                    <a:pt x="96070" y="260534"/>
                    <a:pt x="95434" y="261170"/>
                  </a:cubicBezTo>
                  <a:cubicBezTo>
                    <a:pt x="94797" y="261488"/>
                    <a:pt x="94479" y="261806"/>
                    <a:pt x="94479" y="262760"/>
                  </a:cubicBezTo>
                  <a:cubicBezTo>
                    <a:pt x="94479" y="263078"/>
                    <a:pt x="94479" y="263397"/>
                    <a:pt x="93843" y="263397"/>
                  </a:cubicBezTo>
                  <a:cubicBezTo>
                    <a:pt x="93525" y="263715"/>
                    <a:pt x="93525" y="263715"/>
                    <a:pt x="93525" y="264033"/>
                  </a:cubicBezTo>
                  <a:lnTo>
                    <a:pt x="93525" y="264669"/>
                  </a:lnTo>
                  <a:cubicBezTo>
                    <a:pt x="92889" y="264669"/>
                    <a:pt x="92571" y="264987"/>
                    <a:pt x="91616" y="265941"/>
                  </a:cubicBezTo>
                  <a:cubicBezTo>
                    <a:pt x="91298" y="266260"/>
                    <a:pt x="91298" y="266260"/>
                    <a:pt x="91298" y="266578"/>
                  </a:cubicBezTo>
                  <a:cubicBezTo>
                    <a:pt x="91298" y="266896"/>
                    <a:pt x="91616" y="267214"/>
                    <a:pt x="91934" y="267214"/>
                  </a:cubicBezTo>
                  <a:cubicBezTo>
                    <a:pt x="91934" y="267532"/>
                    <a:pt x="92252" y="267850"/>
                    <a:pt x="92252" y="267850"/>
                  </a:cubicBezTo>
                  <a:cubicBezTo>
                    <a:pt x="92252" y="268168"/>
                    <a:pt x="91934" y="268168"/>
                    <a:pt x="91934" y="268168"/>
                  </a:cubicBezTo>
                  <a:lnTo>
                    <a:pt x="91298" y="269123"/>
                  </a:lnTo>
                  <a:cubicBezTo>
                    <a:pt x="91298" y="269441"/>
                    <a:pt x="91298" y="269759"/>
                    <a:pt x="91616" y="269759"/>
                  </a:cubicBezTo>
                  <a:cubicBezTo>
                    <a:pt x="91616" y="269759"/>
                    <a:pt x="91616" y="270077"/>
                    <a:pt x="91934" y="270395"/>
                  </a:cubicBezTo>
                  <a:lnTo>
                    <a:pt x="91934" y="270713"/>
                  </a:lnTo>
                  <a:lnTo>
                    <a:pt x="91616" y="271031"/>
                  </a:lnTo>
                  <a:lnTo>
                    <a:pt x="90662" y="271031"/>
                  </a:lnTo>
                  <a:cubicBezTo>
                    <a:pt x="90344" y="271031"/>
                    <a:pt x="90026" y="271031"/>
                    <a:pt x="90026" y="271667"/>
                  </a:cubicBezTo>
                  <a:cubicBezTo>
                    <a:pt x="89708" y="272940"/>
                    <a:pt x="89708" y="272940"/>
                    <a:pt x="88435" y="273894"/>
                  </a:cubicBezTo>
                  <a:cubicBezTo>
                    <a:pt x="88435" y="274212"/>
                    <a:pt x="88117" y="274530"/>
                    <a:pt x="87163" y="275167"/>
                  </a:cubicBezTo>
                  <a:lnTo>
                    <a:pt x="86845" y="275803"/>
                  </a:lnTo>
                  <a:lnTo>
                    <a:pt x="85572" y="275803"/>
                  </a:lnTo>
                  <a:cubicBezTo>
                    <a:pt x="85572" y="276121"/>
                    <a:pt x="85254" y="276439"/>
                    <a:pt x="84300" y="276439"/>
                  </a:cubicBezTo>
                  <a:cubicBezTo>
                    <a:pt x="83982" y="276439"/>
                    <a:pt x="83664" y="277394"/>
                    <a:pt x="83345" y="277075"/>
                  </a:cubicBezTo>
                  <a:lnTo>
                    <a:pt x="83027" y="277394"/>
                  </a:lnTo>
                  <a:cubicBezTo>
                    <a:pt x="83027" y="277712"/>
                    <a:pt x="83027" y="278030"/>
                    <a:pt x="82709" y="278030"/>
                  </a:cubicBezTo>
                  <a:cubicBezTo>
                    <a:pt x="82391" y="278030"/>
                    <a:pt x="81755" y="277712"/>
                    <a:pt x="81755" y="277712"/>
                  </a:cubicBezTo>
                  <a:lnTo>
                    <a:pt x="78892" y="281211"/>
                  </a:lnTo>
                  <a:cubicBezTo>
                    <a:pt x="78892" y="281847"/>
                    <a:pt x="78574" y="281847"/>
                    <a:pt x="78256" y="281847"/>
                  </a:cubicBezTo>
                  <a:lnTo>
                    <a:pt x="75393" y="281847"/>
                  </a:lnTo>
                  <a:cubicBezTo>
                    <a:pt x="75393" y="281211"/>
                    <a:pt x="75074" y="281211"/>
                    <a:pt x="74438" y="281211"/>
                  </a:cubicBezTo>
                  <a:cubicBezTo>
                    <a:pt x="73802" y="281211"/>
                    <a:pt x="72848" y="281529"/>
                    <a:pt x="72211" y="281529"/>
                  </a:cubicBezTo>
                  <a:cubicBezTo>
                    <a:pt x="71575" y="281529"/>
                    <a:pt x="71257" y="281211"/>
                    <a:pt x="70939" y="281211"/>
                  </a:cubicBezTo>
                  <a:cubicBezTo>
                    <a:pt x="70303" y="281529"/>
                    <a:pt x="69985" y="281529"/>
                    <a:pt x="69667" y="281529"/>
                  </a:cubicBezTo>
                  <a:cubicBezTo>
                    <a:pt x="69349" y="281529"/>
                    <a:pt x="69030" y="281529"/>
                    <a:pt x="68712" y="281847"/>
                  </a:cubicBezTo>
                  <a:lnTo>
                    <a:pt x="64259" y="279302"/>
                  </a:lnTo>
                  <a:cubicBezTo>
                    <a:pt x="63622" y="279302"/>
                    <a:pt x="63622" y="279620"/>
                    <a:pt x="63304" y="279620"/>
                  </a:cubicBezTo>
                  <a:cubicBezTo>
                    <a:pt x="62986" y="279938"/>
                    <a:pt x="62668" y="279938"/>
                    <a:pt x="62668" y="279938"/>
                  </a:cubicBezTo>
                  <a:cubicBezTo>
                    <a:pt x="62350" y="279938"/>
                    <a:pt x="62032" y="279938"/>
                    <a:pt x="61714" y="279620"/>
                  </a:cubicBezTo>
                  <a:cubicBezTo>
                    <a:pt x="61077" y="279302"/>
                    <a:pt x="60441" y="278348"/>
                    <a:pt x="59487" y="277712"/>
                  </a:cubicBezTo>
                  <a:cubicBezTo>
                    <a:pt x="58851" y="277712"/>
                    <a:pt x="58851" y="277075"/>
                    <a:pt x="57578" y="277075"/>
                  </a:cubicBezTo>
                  <a:cubicBezTo>
                    <a:pt x="57578" y="276757"/>
                    <a:pt x="57578" y="276439"/>
                    <a:pt x="56942" y="276121"/>
                  </a:cubicBezTo>
                  <a:cubicBezTo>
                    <a:pt x="56624" y="275803"/>
                    <a:pt x="55988" y="275803"/>
                    <a:pt x="55988" y="275167"/>
                  </a:cubicBezTo>
                  <a:cubicBezTo>
                    <a:pt x="55988" y="274212"/>
                    <a:pt x="55033" y="274212"/>
                    <a:pt x="54397" y="274212"/>
                  </a:cubicBezTo>
                  <a:cubicBezTo>
                    <a:pt x="54079" y="274212"/>
                    <a:pt x="54079" y="273894"/>
                    <a:pt x="54079" y="273576"/>
                  </a:cubicBezTo>
                  <a:cubicBezTo>
                    <a:pt x="54079" y="273576"/>
                    <a:pt x="54397" y="273258"/>
                    <a:pt x="54715" y="273258"/>
                  </a:cubicBezTo>
                  <a:lnTo>
                    <a:pt x="55033" y="273258"/>
                  </a:lnTo>
                  <a:lnTo>
                    <a:pt x="54715" y="272940"/>
                  </a:lnTo>
                  <a:lnTo>
                    <a:pt x="54715" y="271986"/>
                  </a:lnTo>
                  <a:cubicBezTo>
                    <a:pt x="54715" y="271667"/>
                    <a:pt x="54715" y="271667"/>
                    <a:pt x="54397" y="271667"/>
                  </a:cubicBezTo>
                  <a:cubicBezTo>
                    <a:pt x="53761" y="271667"/>
                    <a:pt x="53125" y="271349"/>
                    <a:pt x="53125" y="271031"/>
                  </a:cubicBezTo>
                  <a:lnTo>
                    <a:pt x="53443" y="270713"/>
                  </a:lnTo>
                  <a:cubicBezTo>
                    <a:pt x="53761" y="270713"/>
                    <a:pt x="53761" y="270713"/>
                    <a:pt x="53761" y="270395"/>
                  </a:cubicBezTo>
                  <a:lnTo>
                    <a:pt x="53761" y="270077"/>
                  </a:lnTo>
                  <a:cubicBezTo>
                    <a:pt x="53761" y="269759"/>
                    <a:pt x="53443" y="269759"/>
                    <a:pt x="53443" y="269441"/>
                  </a:cubicBezTo>
                  <a:lnTo>
                    <a:pt x="53125" y="269123"/>
                  </a:lnTo>
                  <a:cubicBezTo>
                    <a:pt x="53443" y="268805"/>
                    <a:pt x="53443" y="268486"/>
                    <a:pt x="53443" y="268168"/>
                  </a:cubicBezTo>
                  <a:cubicBezTo>
                    <a:pt x="53443" y="267850"/>
                    <a:pt x="53443" y="267532"/>
                    <a:pt x="52807" y="267532"/>
                  </a:cubicBezTo>
                  <a:lnTo>
                    <a:pt x="52807" y="267214"/>
                  </a:lnTo>
                  <a:cubicBezTo>
                    <a:pt x="52488" y="266896"/>
                    <a:pt x="52488" y="266578"/>
                    <a:pt x="52488" y="266260"/>
                  </a:cubicBezTo>
                  <a:cubicBezTo>
                    <a:pt x="52488" y="265623"/>
                    <a:pt x="52170" y="264987"/>
                    <a:pt x="52170" y="264669"/>
                  </a:cubicBezTo>
                  <a:cubicBezTo>
                    <a:pt x="51852" y="264033"/>
                    <a:pt x="51852" y="264033"/>
                    <a:pt x="51852" y="263397"/>
                  </a:cubicBezTo>
                  <a:cubicBezTo>
                    <a:pt x="51534" y="263397"/>
                    <a:pt x="50898" y="263078"/>
                    <a:pt x="50580" y="263078"/>
                  </a:cubicBezTo>
                  <a:lnTo>
                    <a:pt x="49944" y="263078"/>
                  </a:lnTo>
                  <a:cubicBezTo>
                    <a:pt x="49944" y="263078"/>
                    <a:pt x="49626" y="263078"/>
                    <a:pt x="49307" y="262760"/>
                  </a:cubicBezTo>
                  <a:lnTo>
                    <a:pt x="49307" y="261806"/>
                  </a:lnTo>
                  <a:lnTo>
                    <a:pt x="49626" y="261488"/>
                  </a:lnTo>
                  <a:cubicBezTo>
                    <a:pt x="49626" y="260852"/>
                    <a:pt x="50262" y="260852"/>
                    <a:pt x="50262" y="260534"/>
                  </a:cubicBezTo>
                  <a:lnTo>
                    <a:pt x="50262" y="259579"/>
                  </a:lnTo>
                  <a:cubicBezTo>
                    <a:pt x="50262" y="258307"/>
                    <a:pt x="49944" y="257671"/>
                    <a:pt x="49944" y="257034"/>
                  </a:cubicBezTo>
                  <a:cubicBezTo>
                    <a:pt x="49944" y="256716"/>
                    <a:pt x="49307" y="256398"/>
                    <a:pt x="49307" y="255762"/>
                  </a:cubicBezTo>
                  <a:lnTo>
                    <a:pt x="49307" y="255444"/>
                  </a:lnTo>
                  <a:cubicBezTo>
                    <a:pt x="49307" y="255126"/>
                    <a:pt x="48989" y="255126"/>
                    <a:pt x="48989" y="255126"/>
                  </a:cubicBezTo>
                  <a:lnTo>
                    <a:pt x="48989" y="255444"/>
                  </a:lnTo>
                  <a:lnTo>
                    <a:pt x="48353" y="255444"/>
                  </a:lnTo>
                  <a:lnTo>
                    <a:pt x="48353" y="254489"/>
                  </a:lnTo>
                  <a:cubicBezTo>
                    <a:pt x="48353" y="254171"/>
                    <a:pt x="48353" y="254171"/>
                    <a:pt x="48035" y="253853"/>
                  </a:cubicBezTo>
                  <a:cubicBezTo>
                    <a:pt x="47717" y="253853"/>
                    <a:pt x="47717" y="253853"/>
                    <a:pt x="47717" y="253535"/>
                  </a:cubicBezTo>
                  <a:lnTo>
                    <a:pt x="48671" y="252581"/>
                  </a:lnTo>
                  <a:cubicBezTo>
                    <a:pt x="48671" y="252581"/>
                    <a:pt x="48353" y="251945"/>
                    <a:pt x="48353" y="251626"/>
                  </a:cubicBezTo>
                  <a:cubicBezTo>
                    <a:pt x="47717" y="251626"/>
                    <a:pt x="47717" y="251308"/>
                    <a:pt x="47717" y="251308"/>
                  </a:cubicBezTo>
                  <a:lnTo>
                    <a:pt x="47717" y="249082"/>
                  </a:lnTo>
                  <a:cubicBezTo>
                    <a:pt x="47717" y="248445"/>
                    <a:pt x="47717" y="247809"/>
                    <a:pt x="48035" y="246855"/>
                  </a:cubicBezTo>
                  <a:lnTo>
                    <a:pt x="48671" y="246855"/>
                  </a:lnTo>
                  <a:cubicBezTo>
                    <a:pt x="48989" y="246855"/>
                    <a:pt x="49307" y="246855"/>
                    <a:pt x="49307" y="246219"/>
                  </a:cubicBezTo>
                  <a:cubicBezTo>
                    <a:pt x="48989" y="245582"/>
                    <a:pt x="48989" y="245264"/>
                    <a:pt x="48989" y="244310"/>
                  </a:cubicBezTo>
                  <a:cubicBezTo>
                    <a:pt x="48989" y="243992"/>
                    <a:pt x="48671" y="243992"/>
                    <a:pt x="48671" y="243674"/>
                  </a:cubicBezTo>
                  <a:cubicBezTo>
                    <a:pt x="48353" y="243674"/>
                    <a:pt x="48671" y="243356"/>
                    <a:pt x="48671" y="243037"/>
                  </a:cubicBezTo>
                  <a:cubicBezTo>
                    <a:pt x="48989" y="242719"/>
                    <a:pt x="48989" y="242083"/>
                    <a:pt x="48989" y="241765"/>
                  </a:cubicBezTo>
                  <a:cubicBezTo>
                    <a:pt x="48989" y="241447"/>
                    <a:pt x="48989" y="241129"/>
                    <a:pt x="48671" y="240174"/>
                  </a:cubicBezTo>
                  <a:lnTo>
                    <a:pt x="48989" y="239856"/>
                  </a:lnTo>
                  <a:cubicBezTo>
                    <a:pt x="48353" y="239538"/>
                    <a:pt x="47399" y="238902"/>
                    <a:pt x="47399" y="238266"/>
                  </a:cubicBezTo>
                  <a:cubicBezTo>
                    <a:pt x="47399" y="237948"/>
                    <a:pt x="47717" y="237948"/>
                    <a:pt x="47717" y="237630"/>
                  </a:cubicBezTo>
                  <a:cubicBezTo>
                    <a:pt x="47717" y="237630"/>
                    <a:pt x="46762" y="237311"/>
                    <a:pt x="46762" y="236993"/>
                  </a:cubicBezTo>
                  <a:cubicBezTo>
                    <a:pt x="46762" y="236993"/>
                    <a:pt x="46762" y="236675"/>
                    <a:pt x="47081" y="236675"/>
                  </a:cubicBezTo>
                  <a:cubicBezTo>
                    <a:pt x="48671" y="236039"/>
                    <a:pt x="48671" y="236039"/>
                    <a:pt x="48671" y="235403"/>
                  </a:cubicBezTo>
                  <a:cubicBezTo>
                    <a:pt x="48671" y="234448"/>
                    <a:pt x="48671" y="233812"/>
                    <a:pt x="47717" y="233494"/>
                  </a:cubicBezTo>
                  <a:lnTo>
                    <a:pt x="47399" y="233176"/>
                  </a:lnTo>
                  <a:cubicBezTo>
                    <a:pt x="47399" y="233176"/>
                    <a:pt x="47399" y="232858"/>
                    <a:pt x="47717" y="232540"/>
                  </a:cubicBezTo>
                  <a:lnTo>
                    <a:pt x="47081" y="232222"/>
                  </a:lnTo>
                  <a:lnTo>
                    <a:pt x="47081" y="231585"/>
                  </a:lnTo>
                  <a:cubicBezTo>
                    <a:pt x="46762" y="230631"/>
                    <a:pt x="46762" y="229677"/>
                    <a:pt x="46762" y="229041"/>
                  </a:cubicBezTo>
                  <a:lnTo>
                    <a:pt x="46762" y="226814"/>
                  </a:lnTo>
                  <a:cubicBezTo>
                    <a:pt x="46762" y="225859"/>
                    <a:pt x="46762" y="225859"/>
                    <a:pt x="47081" y="225541"/>
                  </a:cubicBezTo>
                  <a:cubicBezTo>
                    <a:pt x="47717" y="225541"/>
                    <a:pt x="48035" y="225541"/>
                    <a:pt x="48353" y="225223"/>
                  </a:cubicBezTo>
                  <a:cubicBezTo>
                    <a:pt x="48353" y="224905"/>
                    <a:pt x="48035" y="224587"/>
                    <a:pt x="47399" y="223951"/>
                  </a:cubicBezTo>
                  <a:cubicBezTo>
                    <a:pt x="47081" y="223951"/>
                    <a:pt x="47081" y="223314"/>
                    <a:pt x="47081" y="223314"/>
                  </a:cubicBezTo>
                  <a:cubicBezTo>
                    <a:pt x="47717" y="222996"/>
                    <a:pt x="48035" y="222678"/>
                    <a:pt x="48035" y="222042"/>
                  </a:cubicBezTo>
                  <a:cubicBezTo>
                    <a:pt x="48035" y="221724"/>
                    <a:pt x="47717" y="221088"/>
                    <a:pt x="47717" y="220770"/>
                  </a:cubicBezTo>
                  <a:lnTo>
                    <a:pt x="47717" y="218861"/>
                  </a:lnTo>
                  <a:cubicBezTo>
                    <a:pt x="48035" y="217907"/>
                    <a:pt x="48671" y="217270"/>
                    <a:pt x="48989" y="216952"/>
                  </a:cubicBezTo>
                  <a:lnTo>
                    <a:pt x="48671" y="216634"/>
                  </a:lnTo>
                  <a:lnTo>
                    <a:pt x="48671" y="215044"/>
                  </a:lnTo>
                  <a:cubicBezTo>
                    <a:pt x="48353" y="215044"/>
                    <a:pt x="48353" y="214725"/>
                    <a:pt x="48353" y="214725"/>
                  </a:cubicBezTo>
                  <a:cubicBezTo>
                    <a:pt x="48353" y="214725"/>
                    <a:pt x="48353" y="214407"/>
                    <a:pt x="48671" y="214089"/>
                  </a:cubicBezTo>
                  <a:cubicBezTo>
                    <a:pt x="49307" y="213771"/>
                    <a:pt x="49307" y="213135"/>
                    <a:pt x="49626" y="213135"/>
                  </a:cubicBezTo>
                  <a:cubicBezTo>
                    <a:pt x="49307" y="212499"/>
                    <a:pt x="49307" y="211862"/>
                    <a:pt x="49307" y="211226"/>
                  </a:cubicBezTo>
                  <a:cubicBezTo>
                    <a:pt x="49307" y="210908"/>
                    <a:pt x="49626" y="210590"/>
                    <a:pt x="49626" y="210272"/>
                  </a:cubicBezTo>
                  <a:cubicBezTo>
                    <a:pt x="49626" y="209954"/>
                    <a:pt x="49307" y="209636"/>
                    <a:pt x="49307" y="208999"/>
                  </a:cubicBezTo>
                  <a:lnTo>
                    <a:pt x="49307" y="208363"/>
                  </a:lnTo>
                  <a:cubicBezTo>
                    <a:pt x="49307" y="208363"/>
                    <a:pt x="49307" y="207727"/>
                    <a:pt x="50262" y="207091"/>
                  </a:cubicBezTo>
                  <a:lnTo>
                    <a:pt x="50262" y="203592"/>
                  </a:lnTo>
                  <a:lnTo>
                    <a:pt x="50580" y="203273"/>
                  </a:lnTo>
                  <a:cubicBezTo>
                    <a:pt x="49944" y="202955"/>
                    <a:pt x="49944" y="202319"/>
                    <a:pt x="49944" y="202001"/>
                  </a:cubicBezTo>
                  <a:lnTo>
                    <a:pt x="49944" y="201365"/>
                  </a:lnTo>
                  <a:cubicBezTo>
                    <a:pt x="49944" y="200729"/>
                    <a:pt x="49944" y="200410"/>
                    <a:pt x="50898" y="199774"/>
                  </a:cubicBezTo>
                  <a:cubicBezTo>
                    <a:pt x="50898" y="199774"/>
                    <a:pt x="50898" y="198820"/>
                    <a:pt x="50580" y="198820"/>
                  </a:cubicBezTo>
                  <a:cubicBezTo>
                    <a:pt x="50262" y="198502"/>
                    <a:pt x="50262" y="198502"/>
                    <a:pt x="50262" y="198184"/>
                  </a:cubicBezTo>
                  <a:cubicBezTo>
                    <a:pt x="50262" y="198184"/>
                    <a:pt x="50262" y="197866"/>
                    <a:pt x="50580" y="197866"/>
                  </a:cubicBezTo>
                  <a:cubicBezTo>
                    <a:pt x="50580" y="197866"/>
                    <a:pt x="50898" y="197866"/>
                    <a:pt x="50898" y="197547"/>
                  </a:cubicBezTo>
                  <a:cubicBezTo>
                    <a:pt x="50580" y="197229"/>
                    <a:pt x="50262" y="197229"/>
                    <a:pt x="50262" y="196911"/>
                  </a:cubicBezTo>
                  <a:cubicBezTo>
                    <a:pt x="49626" y="196593"/>
                    <a:pt x="49626" y="196275"/>
                    <a:pt x="49626" y="195957"/>
                  </a:cubicBezTo>
                  <a:lnTo>
                    <a:pt x="49626" y="194366"/>
                  </a:lnTo>
                  <a:cubicBezTo>
                    <a:pt x="49944" y="194048"/>
                    <a:pt x="49944" y="193412"/>
                    <a:pt x="49944" y="192776"/>
                  </a:cubicBezTo>
                  <a:cubicBezTo>
                    <a:pt x="50262" y="192458"/>
                    <a:pt x="50262" y="192458"/>
                    <a:pt x="50262" y="192140"/>
                  </a:cubicBezTo>
                  <a:cubicBezTo>
                    <a:pt x="50262" y="191821"/>
                    <a:pt x="49944" y="191503"/>
                    <a:pt x="49944" y="191185"/>
                  </a:cubicBezTo>
                  <a:cubicBezTo>
                    <a:pt x="49944" y="190867"/>
                    <a:pt x="50262" y="190549"/>
                    <a:pt x="50898" y="190231"/>
                  </a:cubicBezTo>
                  <a:cubicBezTo>
                    <a:pt x="51216" y="190231"/>
                    <a:pt x="51216" y="190231"/>
                    <a:pt x="51216" y="189913"/>
                  </a:cubicBezTo>
                  <a:lnTo>
                    <a:pt x="51216" y="188640"/>
                  </a:lnTo>
                  <a:cubicBezTo>
                    <a:pt x="51216" y="188640"/>
                    <a:pt x="50898" y="188640"/>
                    <a:pt x="50898" y="188322"/>
                  </a:cubicBezTo>
                  <a:lnTo>
                    <a:pt x="51216" y="188004"/>
                  </a:lnTo>
                  <a:cubicBezTo>
                    <a:pt x="51216" y="188004"/>
                    <a:pt x="52170" y="187050"/>
                    <a:pt x="52170" y="186414"/>
                  </a:cubicBezTo>
                  <a:cubicBezTo>
                    <a:pt x="51534" y="185777"/>
                    <a:pt x="51216" y="185141"/>
                    <a:pt x="51216" y="184823"/>
                  </a:cubicBezTo>
                  <a:cubicBezTo>
                    <a:pt x="51216" y="184505"/>
                    <a:pt x="51216" y="184187"/>
                    <a:pt x="51852" y="183551"/>
                  </a:cubicBezTo>
                  <a:lnTo>
                    <a:pt x="51852" y="182914"/>
                  </a:lnTo>
                  <a:cubicBezTo>
                    <a:pt x="51852" y="182596"/>
                    <a:pt x="51852" y="182278"/>
                    <a:pt x="52488" y="181960"/>
                  </a:cubicBezTo>
                  <a:cubicBezTo>
                    <a:pt x="52807" y="181642"/>
                    <a:pt x="52807" y="181006"/>
                    <a:pt x="52807" y="180369"/>
                  </a:cubicBezTo>
                  <a:lnTo>
                    <a:pt x="52807" y="179415"/>
                  </a:lnTo>
                  <a:cubicBezTo>
                    <a:pt x="53125" y="179415"/>
                    <a:pt x="52807" y="179097"/>
                    <a:pt x="52807" y="179097"/>
                  </a:cubicBezTo>
                  <a:lnTo>
                    <a:pt x="52488" y="179097"/>
                  </a:lnTo>
                  <a:lnTo>
                    <a:pt x="52488" y="178143"/>
                  </a:lnTo>
                  <a:lnTo>
                    <a:pt x="52807" y="177824"/>
                  </a:lnTo>
                  <a:cubicBezTo>
                    <a:pt x="53761" y="177188"/>
                    <a:pt x="54079" y="176870"/>
                    <a:pt x="54079" y="176234"/>
                  </a:cubicBezTo>
                  <a:cubicBezTo>
                    <a:pt x="53761" y="175916"/>
                    <a:pt x="53761" y="175598"/>
                    <a:pt x="53761" y="175280"/>
                  </a:cubicBezTo>
                  <a:cubicBezTo>
                    <a:pt x="53761" y="174962"/>
                    <a:pt x="54079" y="174325"/>
                    <a:pt x="54397" y="174007"/>
                  </a:cubicBezTo>
                  <a:lnTo>
                    <a:pt x="54397" y="173689"/>
                  </a:lnTo>
                  <a:cubicBezTo>
                    <a:pt x="54079" y="173371"/>
                    <a:pt x="53761" y="172735"/>
                    <a:pt x="53761" y="172417"/>
                  </a:cubicBezTo>
                  <a:lnTo>
                    <a:pt x="53761" y="171144"/>
                  </a:lnTo>
                  <a:cubicBezTo>
                    <a:pt x="53761" y="170826"/>
                    <a:pt x="53761" y="170826"/>
                    <a:pt x="54079" y="170508"/>
                  </a:cubicBezTo>
                  <a:cubicBezTo>
                    <a:pt x="54079" y="170190"/>
                    <a:pt x="54397" y="170190"/>
                    <a:pt x="54397" y="170190"/>
                  </a:cubicBezTo>
                  <a:lnTo>
                    <a:pt x="54715" y="170190"/>
                  </a:lnTo>
                  <a:cubicBezTo>
                    <a:pt x="54715" y="170190"/>
                    <a:pt x="55033" y="170190"/>
                    <a:pt x="55033" y="169872"/>
                  </a:cubicBezTo>
                  <a:cubicBezTo>
                    <a:pt x="55033" y="169872"/>
                    <a:pt x="54715" y="169554"/>
                    <a:pt x="54715" y="169235"/>
                  </a:cubicBezTo>
                  <a:cubicBezTo>
                    <a:pt x="54715" y="169235"/>
                    <a:pt x="54397" y="168917"/>
                    <a:pt x="54397" y="168599"/>
                  </a:cubicBezTo>
                  <a:lnTo>
                    <a:pt x="54397" y="168281"/>
                  </a:lnTo>
                  <a:cubicBezTo>
                    <a:pt x="55033" y="167963"/>
                    <a:pt x="55033" y="167327"/>
                    <a:pt x="55033" y="167009"/>
                  </a:cubicBezTo>
                  <a:lnTo>
                    <a:pt x="55033" y="166691"/>
                  </a:lnTo>
                  <a:cubicBezTo>
                    <a:pt x="55352" y="166372"/>
                    <a:pt x="55352" y="166054"/>
                    <a:pt x="55352" y="166054"/>
                  </a:cubicBezTo>
                  <a:cubicBezTo>
                    <a:pt x="55352" y="165736"/>
                    <a:pt x="55033" y="165736"/>
                    <a:pt x="55033" y="165100"/>
                  </a:cubicBezTo>
                  <a:cubicBezTo>
                    <a:pt x="54715" y="164782"/>
                    <a:pt x="54397" y="164464"/>
                    <a:pt x="54397" y="164146"/>
                  </a:cubicBezTo>
                  <a:cubicBezTo>
                    <a:pt x="54397" y="163828"/>
                    <a:pt x="54715" y="163828"/>
                    <a:pt x="55033" y="163509"/>
                  </a:cubicBezTo>
                  <a:cubicBezTo>
                    <a:pt x="56942" y="163191"/>
                    <a:pt x="56942" y="162555"/>
                    <a:pt x="57260" y="161601"/>
                  </a:cubicBezTo>
                  <a:lnTo>
                    <a:pt x="57260" y="160646"/>
                  </a:lnTo>
                  <a:cubicBezTo>
                    <a:pt x="56942" y="160328"/>
                    <a:pt x="56942" y="159692"/>
                    <a:pt x="56942" y="159374"/>
                  </a:cubicBezTo>
                  <a:lnTo>
                    <a:pt x="56942" y="158102"/>
                  </a:lnTo>
                  <a:cubicBezTo>
                    <a:pt x="57260" y="157465"/>
                    <a:pt x="57260" y="156193"/>
                    <a:pt x="57578" y="155239"/>
                  </a:cubicBezTo>
                  <a:cubicBezTo>
                    <a:pt x="57578" y="154920"/>
                    <a:pt x="57260" y="154602"/>
                    <a:pt x="57260" y="154284"/>
                  </a:cubicBezTo>
                  <a:cubicBezTo>
                    <a:pt x="57260" y="153966"/>
                    <a:pt x="57260" y="153648"/>
                    <a:pt x="57578" y="153330"/>
                  </a:cubicBezTo>
                  <a:cubicBezTo>
                    <a:pt x="57578" y="153012"/>
                    <a:pt x="57896" y="152376"/>
                    <a:pt x="57896" y="152057"/>
                  </a:cubicBezTo>
                  <a:lnTo>
                    <a:pt x="57896" y="149831"/>
                  </a:lnTo>
                  <a:cubicBezTo>
                    <a:pt x="58533" y="149831"/>
                    <a:pt x="58533" y="149513"/>
                    <a:pt x="58533" y="149513"/>
                  </a:cubicBezTo>
                  <a:lnTo>
                    <a:pt x="58533" y="147922"/>
                  </a:lnTo>
                  <a:cubicBezTo>
                    <a:pt x="58851" y="147286"/>
                    <a:pt x="58851" y="146968"/>
                    <a:pt x="58851" y="146331"/>
                  </a:cubicBezTo>
                  <a:lnTo>
                    <a:pt x="58215" y="146013"/>
                  </a:lnTo>
                  <a:cubicBezTo>
                    <a:pt x="58215" y="145695"/>
                    <a:pt x="58851" y="145059"/>
                    <a:pt x="59169" y="144423"/>
                  </a:cubicBezTo>
                  <a:cubicBezTo>
                    <a:pt x="59169" y="144423"/>
                    <a:pt x="59487" y="144105"/>
                    <a:pt x="59487" y="143787"/>
                  </a:cubicBezTo>
                  <a:cubicBezTo>
                    <a:pt x="59487" y="143468"/>
                    <a:pt x="59169" y="143150"/>
                    <a:pt x="59169" y="142514"/>
                  </a:cubicBezTo>
                  <a:cubicBezTo>
                    <a:pt x="59169" y="142514"/>
                    <a:pt x="59169" y="141878"/>
                    <a:pt x="60123" y="141242"/>
                  </a:cubicBezTo>
                  <a:cubicBezTo>
                    <a:pt x="60441" y="141242"/>
                    <a:pt x="60441" y="140924"/>
                    <a:pt x="60441" y="140605"/>
                  </a:cubicBezTo>
                  <a:cubicBezTo>
                    <a:pt x="60441" y="140287"/>
                    <a:pt x="60441" y="139969"/>
                    <a:pt x="60123" y="139333"/>
                  </a:cubicBezTo>
                  <a:cubicBezTo>
                    <a:pt x="61077" y="139015"/>
                    <a:pt x="60441" y="138379"/>
                    <a:pt x="61396" y="137742"/>
                  </a:cubicBezTo>
                  <a:cubicBezTo>
                    <a:pt x="61714" y="137742"/>
                    <a:pt x="61396" y="137424"/>
                    <a:pt x="61077" y="137106"/>
                  </a:cubicBezTo>
                  <a:cubicBezTo>
                    <a:pt x="61077" y="137106"/>
                    <a:pt x="61396" y="136152"/>
                    <a:pt x="61396" y="135516"/>
                  </a:cubicBezTo>
                  <a:cubicBezTo>
                    <a:pt x="61396" y="135516"/>
                    <a:pt x="61396" y="135198"/>
                    <a:pt x="61714" y="134561"/>
                  </a:cubicBezTo>
                  <a:cubicBezTo>
                    <a:pt x="62350" y="134243"/>
                    <a:pt x="62350" y="133925"/>
                    <a:pt x="62668" y="133607"/>
                  </a:cubicBezTo>
                  <a:lnTo>
                    <a:pt x="62668" y="131062"/>
                  </a:lnTo>
                  <a:cubicBezTo>
                    <a:pt x="62668" y="130744"/>
                    <a:pt x="61714" y="130426"/>
                    <a:pt x="61714" y="130108"/>
                  </a:cubicBezTo>
                  <a:cubicBezTo>
                    <a:pt x="61714" y="129790"/>
                    <a:pt x="62032" y="129472"/>
                    <a:pt x="62350" y="128835"/>
                  </a:cubicBezTo>
                  <a:cubicBezTo>
                    <a:pt x="62668" y="128517"/>
                    <a:pt x="62350" y="127563"/>
                    <a:pt x="63622" y="126927"/>
                  </a:cubicBezTo>
                  <a:lnTo>
                    <a:pt x="63622" y="125018"/>
                  </a:lnTo>
                  <a:cubicBezTo>
                    <a:pt x="64259" y="124700"/>
                    <a:pt x="64259" y="124700"/>
                    <a:pt x="64259" y="124382"/>
                  </a:cubicBezTo>
                  <a:lnTo>
                    <a:pt x="64259" y="123745"/>
                  </a:lnTo>
                  <a:lnTo>
                    <a:pt x="64577" y="123427"/>
                  </a:lnTo>
                  <a:lnTo>
                    <a:pt x="64577" y="123109"/>
                  </a:lnTo>
                  <a:cubicBezTo>
                    <a:pt x="64577" y="122473"/>
                    <a:pt x="65213" y="122155"/>
                    <a:pt x="65213" y="121519"/>
                  </a:cubicBezTo>
                  <a:lnTo>
                    <a:pt x="65213" y="118974"/>
                  </a:lnTo>
                  <a:cubicBezTo>
                    <a:pt x="65531" y="118974"/>
                    <a:pt x="65531" y="118656"/>
                    <a:pt x="65531" y="118338"/>
                  </a:cubicBezTo>
                  <a:lnTo>
                    <a:pt x="65531" y="116747"/>
                  </a:lnTo>
                  <a:cubicBezTo>
                    <a:pt x="65531" y="116429"/>
                    <a:pt x="66485" y="115475"/>
                    <a:pt x="66485" y="114838"/>
                  </a:cubicBezTo>
                  <a:cubicBezTo>
                    <a:pt x="66485" y="114520"/>
                    <a:pt x="66485" y="114520"/>
                    <a:pt x="66167" y="114202"/>
                  </a:cubicBezTo>
                  <a:cubicBezTo>
                    <a:pt x="66803" y="113566"/>
                    <a:pt x="67122" y="112930"/>
                    <a:pt x="67122" y="112612"/>
                  </a:cubicBezTo>
                  <a:cubicBezTo>
                    <a:pt x="67122" y="112293"/>
                    <a:pt x="66803" y="112293"/>
                    <a:pt x="66803" y="111975"/>
                  </a:cubicBezTo>
                  <a:lnTo>
                    <a:pt x="66803" y="111339"/>
                  </a:lnTo>
                  <a:cubicBezTo>
                    <a:pt x="66803" y="110703"/>
                    <a:pt x="67122" y="109749"/>
                    <a:pt x="67440" y="109112"/>
                  </a:cubicBezTo>
                  <a:cubicBezTo>
                    <a:pt x="67758" y="108794"/>
                    <a:pt x="67758" y="108794"/>
                    <a:pt x="67758" y="108476"/>
                  </a:cubicBezTo>
                  <a:cubicBezTo>
                    <a:pt x="67758" y="107840"/>
                    <a:pt x="73166" y="88435"/>
                    <a:pt x="72848" y="87799"/>
                  </a:cubicBezTo>
                  <a:cubicBezTo>
                    <a:pt x="73166" y="86845"/>
                    <a:pt x="74120" y="86845"/>
                    <a:pt x="74120" y="86526"/>
                  </a:cubicBezTo>
                  <a:lnTo>
                    <a:pt x="74120" y="86208"/>
                  </a:lnTo>
                  <a:cubicBezTo>
                    <a:pt x="74120" y="85572"/>
                    <a:pt x="73802" y="84936"/>
                    <a:pt x="73484" y="84618"/>
                  </a:cubicBezTo>
                  <a:cubicBezTo>
                    <a:pt x="72848" y="84618"/>
                    <a:pt x="72848" y="84300"/>
                    <a:pt x="72848" y="83982"/>
                  </a:cubicBezTo>
                  <a:cubicBezTo>
                    <a:pt x="72848" y="83663"/>
                    <a:pt x="73802" y="83663"/>
                    <a:pt x="74120" y="83663"/>
                  </a:cubicBezTo>
                  <a:cubicBezTo>
                    <a:pt x="75074" y="83663"/>
                    <a:pt x="75393" y="83027"/>
                    <a:pt x="75393" y="82391"/>
                  </a:cubicBezTo>
                  <a:cubicBezTo>
                    <a:pt x="75074" y="81755"/>
                    <a:pt x="75074" y="81437"/>
                    <a:pt x="75074" y="81119"/>
                  </a:cubicBezTo>
                  <a:cubicBezTo>
                    <a:pt x="75074" y="80800"/>
                    <a:pt x="75711" y="80482"/>
                    <a:pt x="75711" y="80164"/>
                  </a:cubicBezTo>
                  <a:cubicBezTo>
                    <a:pt x="79528" y="67122"/>
                    <a:pt x="78574" y="71257"/>
                    <a:pt x="79846" y="66167"/>
                  </a:cubicBezTo>
                  <a:lnTo>
                    <a:pt x="77937" y="66167"/>
                  </a:lnTo>
                  <a:cubicBezTo>
                    <a:pt x="77619" y="66167"/>
                    <a:pt x="76983" y="66803"/>
                    <a:pt x="76665" y="66803"/>
                  </a:cubicBezTo>
                  <a:cubicBezTo>
                    <a:pt x="74756" y="67122"/>
                    <a:pt x="73484" y="67122"/>
                    <a:pt x="71257" y="68394"/>
                  </a:cubicBezTo>
                  <a:lnTo>
                    <a:pt x="70621" y="68394"/>
                  </a:lnTo>
                  <a:cubicBezTo>
                    <a:pt x="69667" y="68394"/>
                    <a:pt x="69349" y="67758"/>
                    <a:pt x="69030" y="67440"/>
                  </a:cubicBezTo>
                  <a:lnTo>
                    <a:pt x="68076" y="67440"/>
                  </a:lnTo>
                  <a:cubicBezTo>
                    <a:pt x="67440" y="67440"/>
                    <a:pt x="66803" y="67440"/>
                    <a:pt x="66485" y="67758"/>
                  </a:cubicBezTo>
                  <a:cubicBezTo>
                    <a:pt x="66167" y="68394"/>
                    <a:pt x="65531" y="68712"/>
                    <a:pt x="65531" y="68712"/>
                  </a:cubicBezTo>
                  <a:lnTo>
                    <a:pt x="63941" y="68712"/>
                  </a:lnTo>
                  <a:cubicBezTo>
                    <a:pt x="63304" y="68712"/>
                    <a:pt x="63304" y="68712"/>
                    <a:pt x="62668" y="69030"/>
                  </a:cubicBezTo>
                  <a:cubicBezTo>
                    <a:pt x="62350" y="69666"/>
                    <a:pt x="61714" y="69666"/>
                    <a:pt x="61714" y="69666"/>
                  </a:cubicBezTo>
                  <a:lnTo>
                    <a:pt x="61077" y="69666"/>
                  </a:lnTo>
                  <a:cubicBezTo>
                    <a:pt x="60123" y="69666"/>
                    <a:pt x="58851" y="69985"/>
                    <a:pt x="57578" y="70621"/>
                  </a:cubicBezTo>
                  <a:lnTo>
                    <a:pt x="53443" y="71257"/>
                  </a:lnTo>
                  <a:lnTo>
                    <a:pt x="52488" y="71257"/>
                  </a:lnTo>
                  <a:cubicBezTo>
                    <a:pt x="51216" y="71575"/>
                    <a:pt x="50898" y="71893"/>
                    <a:pt x="50898" y="71893"/>
                  </a:cubicBezTo>
                  <a:cubicBezTo>
                    <a:pt x="50580" y="72211"/>
                    <a:pt x="50580" y="72211"/>
                    <a:pt x="50262" y="72211"/>
                  </a:cubicBezTo>
                  <a:cubicBezTo>
                    <a:pt x="49944" y="72211"/>
                    <a:pt x="49944" y="72211"/>
                    <a:pt x="49944" y="71893"/>
                  </a:cubicBezTo>
                  <a:lnTo>
                    <a:pt x="49944" y="71575"/>
                  </a:lnTo>
                  <a:lnTo>
                    <a:pt x="50262" y="71257"/>
                  </a:lnTo>
                  <a:lnTo>
                    <a:pt x="49944" y="71257"/>
                  </a:lnTo>
                  <a:lnTo>
                    <a:pt x="49944" y="70621"/>
                  </a:lnTo>
                  <a:cubicBezTo>
                    <a:pt x="49626" y="70621"/>
                    <a:pt x="48989" y="70939"/>
                    <a:pt x="48989" y="70939"/>
                  </a:cubicBezTo>
                  <a:lnTo>
                    <a:pt x="48989" y="71257"/>
                  </a:lnTo>
                  <a:cubicBezTo>
                    <a:pt x="48989" y="71257"/>
                    <a:pt x="49626" y="71257"/>
                    <a:pt x="49626" y="71575"/>
                  </a:cubicBezTo>
                  <a:cubicBezTo>
                    <a:pt x="49307" y="71893"/>
                    <a:pt x="48989" y="72529"/>
                    <a:pt x="48353" y="72529"/>
                  </a:cubicBezTo>
                  <a:lnTo>
                    <a:pt x="48035" y="72529"/>
                  </a:lnTo>
                  <a:lnTo>
                    <a:pt x="47717" y="72848"/>
                  </a:lnTo>
                  <a:lnTo>
                    <a:pt x="47399" y="72848"/>
                  </a:lnTo>
                  <a:cubicBezTo>
                    <a:pt x="47081" y="72848"/>
                    <a:pt x="46762" y="72529"/>
                    <a:pt x="46762" y="72529"/>
                  </a:cubicBezTo>
                  <a:lnTo>
                    <a:pt x="47081" y="72211"/>
                  </a:lnTo>
                  <a:lnTo>
                    <a:pt x="46762" y="72211"/>
                  </a:lnTo>
                  <a:cubicBezTo>
                    <a:pt x="46444" y="72211"/>
                    <a:pt x="46126" y="71893"/>
                    <a:pt x="46126" y="71893"/>
                  </a:cubicBezTo>
                  <a:lnTo>
                    <a:pt x="46126" y="72211"/>
                  </a:lnTo>
                  <a:cubicBezTo>
                    <a:pt x="45490" y="72529"/>
                    <a:pt x="45490" y="73166"/>
                    <a:pt x="44854" y="73802"/>
                  </a:cubicBezTo>
                  <a:cubicBezTo>
                    <a:pt x="44536" y="74120"/>
                    <a:pt x="44218" y="74120"/>
                    <a:pt x="43900" y="74120"/>
                  </a:cubicBezTo>
                  <a:cubicBezTo>
                    <a:pt x="43263" y="73802"/>
                    <a:pt x="43581" y="73166"/>
                    <a:pt x="43263" y="73166"/>
                  </a:cubicBezTo>
                  <a:cubicBezTo>
                    <a:pt x="42945" y="73166"/>
                    <a:pt x="41991" y="73802"/>
                    <a:pt x="41355" y="74120"/>
                  </a:cubicBezTo>
                  <a:lnTo>
                    <a:pt x="38492" y="74756"/>
                  </a:lnTo>
                  <a:lnTo>
                    <a:pt x="37219" y="74756"/>
                  </a:lnTo>
                  <a:cubicBezTo>
                    <a:pt x="37219" y="75393"/>
                    <a:pt x="36901" y="75393"/>
                    <a:pt x="36583" y="75393"/>
                  </a:cubicBezTo>
                  <a:cubicBezTo>
                    <a:pt x="36265" y="75393"/>
                    <a:pt x="35947" y="75393"/>
                    <a:pt x="35947" y="75074"/>
                  </a:cubicBezTo>
                  <a:cubicBezTo>
                    <a:pt x="35311" y="75074"/>
                    <a:pt x="34674" y="75393"/>
                    <a:pt x="34356" y="75711"/>
                  </a:cubicBezTo>
                  <a:cubicBezTo>
                    <a:pt x="32766" y="76029"/>
                    <a:pt x="31811" y="76665"/>
                    <a:pt x="30539" y="76665"/>
                  </a:cubicBezTo>
                  <a:lnTo>
                    <a:pt x="29903" y="76665"/>
                  </a:lnTo>
                  <a:cubicBezTo>
                    <a:pt x="28948" y="77301"/>
                    <a:pt x="28312" y="77937"/>
                    <a:pt x="28312" y="77937"/>
                  </a:cubicBezTo>
                  <a:lnTo>
                    <a:pt x="26403" y="77937"/>
                  </a:lnTo>
                  <a:cubicBezTo>
                    <a:pt x="26085" y="77937"/>
                    <a:pt x="25767" y="77937"/>
                    <a:pt x="25449" y="77619"/>
                  </a:cubicBezTo>
                  <a:cubicBezTo>
                    <a:pt x="24813" y="77619"/>
                    <a:pt x="24495" y="77937"/>
                    <a:pt x="24495" y="77937"/>
                  </a:cubicBezTo>
                  <a:cubicBezTo>
                    <a:pt x="23858" y="78574"/>
                    <a:pt x="22904" y="78256"/>
                    <a:pt x="22268" y="79528"/>
                  </a:cubicBezTo>
                  <a:cubicBezTo>
                    <a:pt x="21314" y="79846"/>
                    <a:pt x="20995" y="79846"/>
                    <a:pt x="20995" y="79846"/>
                  </a:cubicBezTo>
                  <a:cubicBezTo>
                    <a:pt x="20995" y="79528"/>
                    <a:pt x="20995" y="79528"/>
                    <a:pt x="20359" y="79528"/>
                  </a:cubicBezTo>
                  <a:lnTo>
                    <a:pt x="18451" y="79528"/>
                  </a:lnTo>
                  <a:cubicBezTo>
                    <a:pt x="17496" y="79528"/>
                    <a:pt x="16860" y="79846"/>
                    <a:pt x="14951" y="81437"/>
                  </a:cubicBezTo>
                  <a:lnTo>
                    <a:pt x="12406" y="81437"/>
                  </a:lnTo>
                  <a:cubicBezTo>
                    <a:pt x="10498" y="82709"/>
                    <a:pt x="5408" y="84300"/>
                    <a:pt x="3181" y="84300"/>
                  </a:cubicBezTo>
                  <a:cubicBezTo>
                    <a:pt x="2545" y="84300"/>
                    <a:pt x="2227" y="84936"/>
                    <a:pt x="1591" y="85254"/>
                  </a:cubicBezTo>
                  <a:cubicBezTo>
                    <a:pt x="1273" y="85890"/>
                    <a:pt x="636" y="85890"/>
                    <a:pt x="318" y="85890"/>
                  </a:cubicBezTo>
                  <a:cubicBezTo>
                    <a:pt x="0" y="85890"/>
                    <a:pt x="0" y="85254"/>
                    <a:pt x="0" y="84618"/>
                  </a:cubicBezTo>
                  <a:cubicBezTo>
                    <a:pt x="0" y="81437"/>
                    <a:pt x="4772" y="70939"/>
                    <a:pt x="8907" y="70939"/>
                  </a:cubicBezTo>
                  <a:lnTo>
                    <a:pt x="9862" y="70939"/>
                  </a:lnTo>
                  <a:lnTo>
                    <a:pt x="9862" y="71257"/>
                  </a:lnTo>
                  <a:lnTo>
                    <a:pt x="11134" y="71257"/>
                  </a:lnTo>
                  <a:cubicBezTo>
                    <a:pt x="11452" y="71257"/>
                    <a:pt x="10816" y="71893"/>
                    <a:pt x="10498" y="72211"/>
                  </a:cubicBezTo>
                  <a:lnTo>
                    <a:pt x="9862" y="73484"/>
                  </a:lnTo>
                  <a:lnTo>
                    <a:pt x="9862" y="75074"/>
                  </a:lnTo>
                  <a:cubicBezTo>
                    <a:pt x="9862" y="75393"/>
                    <a:pt x="10180" y="75074"/>
                    <a:pt x="10498" y="75074"/>
                  </a:cubicBezTo>
                  <a:lnTo>
                    <a:pt x="10498" y="74438"/>
                  </a:lnTo>
                  <a:cubicBezTo>
                    <a:pt x="10816" y="73484"/>
                    <a:pt x="11770" y="73484"/>
                    <a:pt x="12406" y="73484"/>
                  </a:cubicBezTo>
                  <a:lnTo>
                    <a:pt x="12724" y="73484"/>
                  </a:lnTo>
                  <a:lnTo>
                    <a:pt x="12724" y="73802"/>
                  </a:lnTo>
                  <a:cubicBezTo>
                    <a:pt x="12724" y="74120"/>
                    <a:pt x="12406" y="74438"/>
                    <a:pt x="12406" y="74438"/>
                  </a:cubicBezTo>
                  <a:cubicBezTo>
                    <a:pt x="13043" y="74438"/>
                    <a:pt x="13361" y="74756"/>
                    <a:pt x="13361" y="74756"/>
                  </a:cubicBezTo>
                  <a:cubicBezTo>
                    <a:pt x="13997" y="74756"/>
                    <a:pt x="13997" y="74756"/>
                    <a:pt x="14315" y="74438"/>
                  </a:cubicBezTo>
                  <a:lnTo>
                    <a:pt x="14951" y="74120"/>
                  </a:lnTo>
                  <a:lnTo>
                    <a:pt x="15588" y="74120"/>
                  </a:lnTo>
                  <a:cubicBezTo>
                    <a:pt x="15588" y="74438"/>
                    <a:pt x="15906" y="74438"/>
                    <a:pt x="15906" y="74438"/>
                  </a:cubicBezTo>
                  <a:cubicBezTo>
                    <a:pt x="16224" y="74438"/>
                    <a:pt x="16860" y="73802"/>
                    <a:pt x="17496" y="73802"/>
                  </a:cubicBezTo>
                  <a:cubicBezTo>
                    <a:pt x="17496" y="73802"/>
                    <a:pt x="17496" y="73484"/>
                    <a:pt x="18132" y="73166"/>
                  </a:cubicBezTo>
                  <a:lnTo>
                    <a:pt x="18132" y="72211"/>
                  </a:lnTo>
                  <a:cubicBezTo>
                    <a:pt x="17496" y="72211"/>
                    <a:pt x="17496" y="72211"/>
                    <a:pt x="17496" y="71893"/>
                  </a:cubicBezTo>
                  <a:cubicBezTo>
                    <a:pt x="17496" y="71575"/>
                    <a:pt x="17496" y="71257"/>
                    <a:pt x="17814" y="70621"/>
                  </a:cubicBezTo>
                  <a:cubicBezTo>
                    <a:pt x="17814" y="70303"/>
                    <a:pt x="17496" y="70303"/>
                    <a:pt x="16860" y="70303"/>
                  </a:cubicBezTo>
                  <a:cubicBezTo>
                    <a:pt x="17496" y="69666"/>
                    <a:pt x="18769" y="68394"/>
                    <a:pt x="19405" y="68394"/>
                  </a:cubicBezTo>
                  <a:cubicBezTo>
                    <a:pt x="20995" y="67758"/>
                    <a:pt x="22904" y="67758"/>
                    <a:pt x="23858" y="67122"/>
                  </a:cubicBezTo>
                  <a:cubicBezTo>
                    <a:pt x="24813" y="66803"/>
                    <a:pt x="25449" y="66803"/>
                    <a:pt x="26085" y="66803"/>
                  </a:cubicBezTo>
                  <a:cubicBezTo>
                    <a:pt x="27040" y="66485"/>
                    <a:pt x="27994" y="66485"/>
                    <a:pt x="28948" y="66485"/>
                  </a:cubicBezTo>
                  <a:lnTo>
                    <a:pt x="29903" y="66485"/>
                  </a:lnTo>
                  <a:cubicBezTo>
                    <a:pt x="31175" y="65213"/>
                    <a:pt x="33084" y="65213"/>
                    <a:pt x="34356" y="64577"/>
                  </a:cubicBezTo>
                  <a:lnTo>
                    <a:pt x="37219" y="64577"/>
                  </a:lnTo>
                  <a:cubicBezTo>
                    <a:pt x="37219" y="64577"/>
                    <a:pt x="38173" y="64895"/>
                    <a:pt x="38492" y="64895"/>
                  </a:cubicBezTo>
                  <a:lnTo>
                    <a:pt x="38492" y="65213"/>
                  </a:lnTo>
                  <a:cubicBezTo>
                    <a:pt x="38492" y="65849"/>
                    <a:pt x="38173" y="65849"/>
                    <a:pt x="37537" y="66167"/>
                  </a:cubicBezTo>
                  <a:cubicBezTo>
                    <a:pt x="36583" y="66167"/>
                    <a:pt x="35629" y="66485"/>
                    <a:pt x="35311" y="67758"/>
                  </a:cubicBezTo>
                  <a:cubicBezTo>
                    <a:pt x="35311" y="67758"/>
                    <a:pt x="34992" y="67758"/>
                    <a:pt x="34674" y="68394"/>
                  </a:cubicBezTo>
                  <a:lnTo>
                    <a:pt x="33720" y="69030"/>
                  </a:lnTo>
                  <a:lnTo>
                    <a:pt x="33720" y="69348"/>
                  </a:lnTo>
                  <a:lnTo>
                    <a:pt x="34992" y="69348"/>
                  </a:lnTo>
                  <a:lnTo>
                    <a:pt x="35947" y="68712"/>
                  </a:lnTo>
                  <a:cubicBezTo>
                    <a:pt x="35947" y="68712"/>
                    <a:pt x="36265" y="68394"/>
                    <a:pt x="36583" y="67758"/>
                  </a:cubicBezTo>
                  <a:cubicBezTo>
                    <a:pt x="36583" y="67758"/>
                    <a:pt x="36583" y="67440"/>
                    <a:pt x="37219" y="67440"/>
                  </a:cubicBezTo>
                  <a:lnTo>
                    <a:pt x="37537" y="67440"/>
                  </a:lnTo>
                  <a:cubicBezTo>
                    <a:pt x="37537" y="67758"/>
                    <a:pt x="38173" y="68076"/>
                    <a:pt x="38173" y="68712"/>
                  </a:cubicBezTo>
                  <a:cubicBezTo>
                    <a:pt x="38492" y="69030"/>
                    <a:pt x="38810" y="69030"/>
                    <a:pt x="39128" y="69030"/>
                  </a:cubicBezTo>
                  <a:lnTo>
                    <a:pt x="40718" y="69030"/>
                  </a:lnTo>
                  <a:cubicBezTo>
                    <a:pt x="41036" y="68394"/>
                    <a:pt x="41673" y="68394"/>
                    <a:pt x="42309" y="68394"/>
                  </a:cubicBezTo>
                  <a:lnTo>
                    <a:pt x="43263" y="68394"/>
                  </a:lnTo>
                  <a:lnTo>
                    <a:pt x="43263" y="68076"/>
                  </a:lnTo>
                  <a:lnTo>
                    <a:pt x="44218" y="66167"/>
                  </a:lnTo>
                  <a:cubicBezTo>
                    <a:pt x="44218" y="66167"/>
                    <a:pt x="45172" y="65531"/>
                    <a:pt x="45172" y="65849"/>
                  </a:cubicBezTo>
                  <a:cubicBezTo>
                    <a:pt x="45172" y="65849"/>
                    <a:pt x="45172" y="66167"/>
                    <a:pt x="44854" y="66485"/>
                  </a:cubicBezTo>
                  <a:cubicBezTo>
                    <a:pt x="44854" y="67122"/>
                    <a:pt x="44536" y="67440"/>
                    <a:pt x="44218" y="68076"/>
                  </a:cubicBezTo>
                  <a:lnTo>
                    <a:pt x="44218" y="68712"/>
                  </a:lnTo>
                  <a:lnTo>
                    <a:pt x="44854" y="68712"/>
                  </a:lnTo>
                  <a:cubicBezTo>
                    <a:pt x="45808" y="68712"/>
                    <a:pt x="46126" y="67440"/>
                    <a:pt x="46444" y="67122"/>
                  </a:cubicBezTo>
                  <a:cubicBezTo>
                    <a:pt x="46444" y="66803"/>
                    <a:pt x="46126" y="66485"/>
                    <a:pt x="46126" y="66167"/>
                  </a:cubicBezTo>
                  <a:lnTo>
                    <a:pt x="46126" y="65849"/>
                  </a:lnTo>
                  <a:cubicBezTo>
                    <a:pt x="46126" y="65849"/>
                    <a:pt x="46126" y="65531"/>
                    <a:pt x="46444" y="65531"/>
                  </a:cubicBezTo>
                  <a:lnTo>
                    <a:pt x="47717" y="63940"/>
                  </a:lnTo>
                  <a:lnTo>
                    <a:pt x="46126" y="63622"/>
                  </a:lnTo>
                  <a:lnTo>
                    <a:pt x="46126" y="63304"/>
                  </a:lnTo>
                  <a:lnTo>
                    <a:pt x="45808" y="63304"/>
                  </a:lnTo>
                  <a:lnTo>
                    <a:pt x="44854" y="63622"/>
                  </a:lnTo>
                  <a:cubicBezTo>
                    <a:pt x="43900" y="63940"/>
                    <a:pt x="43581" y="64259"/>
                    <a:pt x="43263" y="65531"/>
                  </a:cubicBezTo>
                  <a:cubicBezTo>
                    <a:pt x="43263" y="65213"/>
                    <a:pt x="43263" y="64577"/>
                    <a:pt x="42945" y="64577"/>
                  </a:cubicBezTo>
                  <a:lnTo>
                    <a:pt x="41355" y="64577"/>
                  </a:lnTo>
                  <a:close/>
                  <a:moveTo>
                    <a:pt x="20359" y="69985"/>
                  </a:moveTo>
                  <a:cubicBezTo>
                    <a:pt x="19723" y="70303"/>
                    <a:pt x="19087" y="71257"/>
                    <a:pt x="18132" y="72211"/>
                  </a:cubicBezTo>
                  <a:cubicBezTo>
                    <a:pt x="18769" y="72211"/>
                    <a:pt x="19723" y="71257"/>
                    <a:pt x="20359" y="70303"/>
                  </a:cubicBezTo>
                  <a:cubicBezTo>
                    <a:pt x="20677" y="70303"/>
                    <a:pt x="20359" y="69985"/>
                    <a:pt x="20359" y="69985"/>
                  </a:cubicBezTo>
                  <a:close/>
                  <a:moveTo>
                    <a:pt x="19405" y="75393"/>
                  </a:moveTo>
                  <a:lnTo>
                    <a:pt x="18451" y="75393"/>
                  </a:lnTo>
                  <a:lnTo>
                    <a:pt x="18451" y="76665"/>
                  </a:lnTo>
                  <a:cubicBezTo>
                    <a:pt x="18451" y="76347"/>
                    <a:pt x="18769" y="76347"/>
                    <a:pt x="19087" y="76029"/>
                  </a:cubicBezTo>
                  <a:lnTo>
                    <a:pt x="19405" y="75393"/>
                  </a:lnTo>
                  <a:close/>
                  <a:moveTo>
                    <a:pt x="22586" y="74120"/>
                  </a:moveTo>
                  <a:lnTo>
                    <a:pt x="22904" y="74120"/>
                  </a:lnTo>
                  <a:cubicBezTo>
                    <a:pt x="23222" y="73802"/>
                    <a:pt x="23222" y="73484"/>
                    <a:pt x="23222" y="73484"/>
                  </a:cubicBezTo>
                  <a:cubicBezTo>
                    <a:pt x="23222" y="73484"/>
                    <a:pt x="23858" y="73166"/>
                    <a:pt x="23858" y="72848"/>
                  </a:cubicBezTo>
                  <a:lnTo>
                    <a:pt x="23858" y="72529"/>
                  </a:lnTo>
                  <a:lnTo>
                    <a:pt x="23540" y="72529"/>
                  </a:lnTo>
                  <a:cubicBezTo>
                    <a:pt x="22904" y="72529"/>
                    <a:pt x="22268" y="72529"/>
                    <a:pt x="21632" y="73484"/>
                  </a:cubicBezTo>
                  <a:cubicBezTo>
                    <a:pt x="21632" y="73802"/>
                    <a:pt x="22268" y="74120"/>
                    <a:pt x="22586" y="74120"/>
                  </a:cubicBezTo>
                  <a:close/>
                  <a:moveTo>
                    <a:pt x="31811" y="67758"/>
                  </a:moveTo>
                  <a:lnTo>
                    <a:pt x="29903" y="69348"/>
                  </a:lnTo>
                  <a:lnTo>
                    <a:pt x="29903" y="69666"/>
                  </a:lnTo>
                  <a:lnTo>
                    <a:pt x="30539" y="69666"/>
                  </a:lnTo>
                  <a:cubicBezTo>
                    <a:pt x="31175" y="69666"/>
                    <a:pt x="31493" y="69666"/>
                    <a:pt x="31493" y="69030"/>
                  </a:cubicBezTo>
                  <a:cubicBezTo>
                    <a:pt x="31493" y="69030"/>
                    <a:pt x="31811" y="68712"/>
                    <a:pt x="31811" y="68076"/>
                  </a:cubicBezTo>
                  <a:lnTo>
                    <a:pt x="31811" y="67758"/>
                  </a:lnTo>
                  <a:close/>
                  <a:moveTo>
                    <a:pt x="43263" y="66167"/>
                  </a:moveTo>
                  <a:cubicBezTo>
                    <a:pt x="43263" y="66485"/>
                    <a:pt x="42945" y="66803"/>
                    <a:pt x="42945" y="66803"/>
                  </a:cubicBezTo>
                  <a:cubicBezTo>
                    <a:pt x="42945" y="67122"/>
                    <a:pt x="42945" y="67122"/>
                    <a:pt x="42627" y="67122"/>
                  </a:cubicBezTo>
                  <a:cubicBezTo>
                    <a:pt x="42627" y="67122"/>
                    <a:pt x="42309" y="66803"/>
                    <a:pt x="42309" y="66485"/>
                  </a:cubicBezTo>
                  <a:cubicBezTo>
                    <a:pt x="42945" y="65849"/>
                    <a:pt x="43263" y="65849"/>
                    <a:pt x="43263" y="65849"/>
                  </a:cubicBezTo>
                  <a:lnTo>
                    <a:pt x="43263" y="66167"/>
                  </a:lnTo>
                  <a:close/>
                  <a:moveTo>
                    <a:pt x="50898" y="266896"/>
                  </a:moveTo>
                  <a:cubicBezTo>
                    <a:pt x="50898" y="266896"/>
                    <a:pt x="50580" y="266896"/>
                    <a:pt x="50580" y="266578"/>
                  </a:cubicBezTo>
                  <a:cubicBezTo>
                    <a:pt x="50580" y="266578"/>
                    <a:pt x="50898" y="266578"/>
                    <a:pt x="50898" y="266260"/>
                  </a:cubicBezTo>
                  <a:lnTo>
                    <a:pt x="50898" y="266896"/>
                  </a:lnTo>
                  <a:close/>
                  <a:moveTo>
                    <a:pt x="66803" y="229359"/>
                  </a:moveTo>
                  <a:cubicBezTo>
                    <a:pt x="67122" y="229359"/>
                    <a:pt x="67440" y="229041"/>
                    <a:pt x="67758" y="228404"/>
                  </a:cubicBezTo>
                  <a:cubicBezTo>
                    <a:pt x="67758" y="228086"/>
                    <a:pt x="67440" y="227450"/>
                    <a:pt x="67440" y="227450"/>
                  </a:cubicBezTo>
                  <a:cubicBezTo>
                    <a:pt x="67440" y="227450"/>
                    <a:pt x="68076" y="227132"/>
                    <a:pt x="68076" y="226814"/>
                  </a:cubicBezTo>
                  <a:cubicBezTo>
                    <a:pt x="67440" y="226496"/>
                    <a:pt x="67440" y="225859"/>
                    <a:pt x="66803" y="225859"/>
                  </a:cubicBezTo>
                  <a:lnTo>
                    <a:pt x="67122" y="228404"/>
                  </a:lnTo>
                  <a:cubicBezTo>
                    <a:pt x="67122" y="228722"/>
                    <a:pt x="66485" y="229041"/>
                    <a:pt x="66485" y="229041"/>
                  </a:cubicBezTo>
                  <a:lnTo>
                    <a:pt x="66167" y="229041"/>
                  </a:lnTo>
                  <a:cubicBezTo>
                    <a:pt x="66167" y="229041"/>
                    <a:pt x="66167" y="229359"/>
                    <a:pt x="66485" y="229359"/>
                  </a:cubicBezTo>
                  <a:lnTo>
                    <a:pt x="66803" y="229359"/>
                  </a:lnTo>
                  <a:close/>
                  <a:moveTo>
                    <a:pt x="67122" y="237630"/>
                  </a:moveTo>
                  <a:lnTo>
                    <a:pt x="67122" y="239538"/>
                  </a:lnTo>
                  <a:cubicBezTo>
                    <a:pt x="67758" y="239856"/>
                    <a:pt x="68076" y="239856"/>
                    <a:pt x="68076" y="239856"/>
                  </a:cubicBezTo>
                  <a:lnTo>
                    <a:pt x="68712" y="239856"/>
                  </a:lnTo>
                  <a:lnTo>
                    <a:pt x="68394" y="239538"/>
                  </a:lnTo>
                  <a:lnTo>
                    <a:pt x="68394" y="237630"/>
                  </a:lnTo>
                  <a:lnTo>
                    <a:pt x="67122" y="237630"/>
                  </a:lnTo>
                  <a:close/>
                  <a:moveTo>
                    <a:pt x="67122" y="248127"/>
                  </a:moveTo>
                  <a:cubicBezTo>
                    <a:pt x="67122" y="248445"/>
                    <a:pt x="67122" y="248763"/>
                    <a:pt x="67440" y="249082"/>
                  </a:cubicBezTo>
                  <a:cubicBezTo>
                    <a:pt x="67440" y="249082"/>
                    <a:pt x="67440" y="249400"/>
                    <a:pt x="67758" y="249400"/>
                  </a:cubicBezTo>
                  <a:lnTo>
                    <a:pt x="67758" y="249082"/>
                  </a:lnTo>
                  <a:cubicBezTo>
                    <a:pt x="68394" y="248763"/>
                    <a:pt x="68394" y="248127"/>
                    <a:pt x="68394" y="247809"/>
                  </a:cubicBezTo>
                  <a:cubicBezTo>
                    <a:pt x="68394" y="247491"/>
                    <a:pt x="68076" y="247173"/>
                    <a:pt x="67440" y="247173"/>
                  </a:cubicBezTo>
                  <a:cubicBezTo>
                    <a:pt x="67122" y="247173"/>
                    <a:pt x="67122" y="247491"/>
                    <a:pt x="67122" y="247809"/>
                  </a:cubicBezTo>
                  <a:lnTo>
                    <a:pt x="67122" y="248127"/>
                  </a:lnTo>
                  <a:close/>
                  <a:moveTo>
                    <a:pt x="67440" y="210908"/>
                  </a:moveTo>
                  <a:lnTo>
                    <a:pt x="67758" y="210590"/>
                  </a:lnTo>
                  <a:cubicBezTo>
                    <a:pt x="68712" y="209954"/>
                    <a:pt x="69985" y="209636"/>
                    <a:pt x="70303" y="209636"/>
                  </a:cubicBezTo>
                  <a:cubicBezTo>
                    <a:pt x="70303" y="209636"/>
                    <a:pt x="70621" y="210272"/>
                    <a:pt x="70621" y="210590"/>
                  </a:cubicBezTo>
                  <a:cubicBezTo>
                    <a:pt x="69985" y="210908"/>
                    <a:pt x="69667" y="211226"/>
                    <a:pt x="68394" y="211226"/>
                  </a:cubicBezTo>
                  <a:cubicBezTo>
                    <a:pt x="68076" y="211226"/>
                    <a:pt x="67440" y="211226"/>
                    <a:pt x="67440" y="210908"/>
                  </a:cubicBezTo>
                  <a:close/>
                  <a:moveTo>
                    <a:pt x="67758" y="231267"/>
                  </a:moveTo>
                  <a:cubicBezTo>
                    <a:pt x="67758" y="231585"/>
                    <a:pt x="67440" y="231585"/>
                    <a:pt x="67440" y="231585"/>
                  </a:cubicBezTo>
                  <a:cubicBezTo>
                    <a:pt x="67440" y="231585"/>
                    <a:pt x="67440" y="231904"/>
                    <a:pt x="67758" y="231904"/>
                  </a:cubicBezTo>
                  <a:lnTo>
                    <a:pt x="67758" y="231267"/>
                  </a:lnTo>
                  <a:close/>
                  <a:moveTo>
                    <a:pt x="68394" y="212499"/>
                  </a:moveTo>
                  <a:cubicBezTo>
                    <a:pt x="68394" y="212181"/>
                    <a:pt x="68712" y="212181"/>
                    <a:pt x="68712" y="212181"/>
                  </a:cubicBezTo>
                  <a:cubicBezTo>
                    <a:pt x="68712" y="212181"/>
                    <a:pt x="68712" y="212499"/>
                    <a:pt x="69030" y="212499"/>
                  </a:cubicBezTo>
                  <a:lnTo>
                    <a:pt x="68394" y="212499"/>
                  </a:lnTo>
                  <a:close/>
                  <a:moveTo>
                    <a:pt x="69030" y="198820"/>
                  </a:moveTo>
                  <a:lnTo>
                    <a:pt x="68712" y="198502"/>
                  </a:lnTo>
                  <a:cubicBezTo>
                    <a:pt x="69030" y="198502"/>
                    <a:pt x="69349" y="198184"/>
                    <a:pt x="69349" y="198184"/>
                  </a:cubicBezTo>
                  <a:cubicBezTo>
                    <a:pt x="69985" y="198184"/>
                    <a:pt x="69985" y="198502"/>
                    <a:pt x="69985" y="198502"/>
                  </a:cubicBezTo>
                  <a:cubicBezTo>
                    <a:pt x="69985" y="198502"/>
                    <a:pt x="69985" y="198820"/>
                    <a:pt x="69349" y="198820"/>
                  </a:cubicBezTo>
                  <a:lnTo>
                    <a:pt x="69030" y="198820"/>
                  </a:lnTo>
                  <a:close/>
                  <a:moveTo>
                    <a:pt x="69030" y="208363"/>
                  </a:moveTo>
                  <a:lnTo>
                    <a:pt x="69030" y="207409"/>
                  </a:lnTo>
                  <a:cubicBezTo>
                    <a:pt x="69349" y="207091"/>
                    <a:pt x="69985" y="206773"/>
                    <a:pt x="69985" y="206773"/>
                  </a:cubicBezTo>
                  <a:cubicBezTo>
                    <a:pt x="70303" y="206773"/>
                    <a:pt x="70621" y="206773"/>
                    <a:pt x="70621" y="207091"/>
                  </a:cubicBezTo>
                  <a:cubicBezTo>
                    <a:pt x="70621" y="207091"/>
                    <a:pt x="70303" y="207409"/>
                    <a:pt x="70303" y="207727"/>
                  </a:cubicBezTo>
                  <a:cubicBezTo>
                    <a:pt x="70303" y="208363"/>
                    <a:pt x="69667" y="208363"/>
                    <a:pt x="69667" y="208363"/>
                  </a:cubicBezTo>
                  <a:lnTo>
                    <a:pt x="69030" y="208363"/>
                  </a:lnTo>
                  <a:close/>
                  <a:moveTo>
                    <a:pt x="69985" y="213135"/>
                  </a:moveTo>
                  <a:lnTo>
                    <a:pt x="69985" y="213453"/>
                  </a:lnTo>
                  <a:cubicBezTo>
                    <a:pt x="69985" y="213453"/>
                    <a:pt x="69349" y="213453"/>
                    <a:pt x="69349" y="213135"/>
                  </a:cubicBezTo>
                  <a:lnTo>
                    <a:pt x="69349" y="212817"/>
                  </a:lnTo>
                  <a:lnTo>
                    <a:pt x="69030" y="212499"/>
                  </a:lnTo>
                  <a:lnTo>
                    <a:pt x="69667" y="212499"/>
                  </a:lnTo>
                  <a:lnTo>
                    <a:pt x="69985" y="213135"/>
                  </a:lnTo>
                  <a:close/>
                  <a:moveTo>
                    <a:pt x="69349" y="204864"/>
                  </a:moveTo>
                  <a:lnTo>
                    <a:pt x="70303" y="204864"/>
                  </a:lnTo>
                  <a:cubicBezTo>
                    <a:pt x="70621" y="204864"/>
                    <a:pt x="70621" y="205182"/>
                    <a:pt x="70621" y="205500"/>
                  </a:cubicBezTo>
                  <a:cubicBezTo>
                    <a:pt x="70621" y="205818"/>
                    <a:pt x="70621" y="206136"/>
                    <a:pt x="70303" y="206455"/>
                  </a:cubicBezTo>
                  <a:cubicBezTo>
                    <a:pt x="69985" y="206455"/>
                    <a:pt x="69985" y="206455"/>
                    <a:pt x="69349" y="205818"/>
                  </a:cubicBezTo>
                  <a:lnTo>
                    <a:pt x="69349" y="204864"/>
                  </a:lnTo>
                  <a:close/>
                  <a:moveTo>
                    <a:pt x="70303" y="201365"/>
                  </a:moveTo>
                  <a:lnTo>
                    <a:pt x="69667" y="201365"/>
                  </a:lnTo>
                  <a:cubicBezTo>
                    <a:pt x="69667" y="201365"/>
                    <a:pt x="69985" y="201365"/>
                    <a:pt x="69985" y="201047"/>
                  </a:cubicBezTo>
                  <a:lnTo>
                    <a:pt x="70303" y="201365"/>
                  </a:lnTo>
                  <a:close/>
                  <a:moveTo>
                    <a:pt x="71257" y="189595"/>
                  </a:moveTo>
                  <a:cubicBezTo>
                    <a:pt x="71575" y="189595"/>
                    <a:pt x="71893" y="189913"/>
                    <a:pt x="71893" y="190231"/>
                  </a:cubicBezTo>
                  <a:cubicBezTo>
                    <a:pt x="71893" y="190549"/>
                    <a:pt x="71575" y="190867"/>
                    <a:pt x="71257" y="190867"/>
                  </a:cubicBezTo>
                  <a:cubicBezTo>
                    <a:pt x="70939" y="190867"/>
                    <a:pt x="70621" y="190549"/>
                    <a:pt x="70621" y="190549"/>
                  </a:cubicBezTo>
                  <a:cubicBezTo>
                    <a:pt x="70621" y="189913"/>
                    <a:pt x="70621" y="189595"/>
                    <a:pt x="71257" y="189595"/>
                  </a:cubicBezTo>
                  <a:close/>
                  <a:moveTo>
                    <a:pt x="73802" y="154284"/>
                  </a:moveTo>
                  <a:cubicBezTo>
                    <a:pt x="74756" y="154284"/>
                    <a:pt x="75074" y="154284"/>
                    <a:pt x="75074" y="153966"/>
                  </a:cubicBezTo>
                  <a:cubicBezTo>
                    <a:pt x="75074" y="153648"/>
                    <a:pt x="74756" y="153330"/>
                    <a:pt x="74120" y="153330"/>
                  </a:cubicBezTo>
                  <a:cubicBezTo>
                    <a:pt x="73802" y="153330"/>
                    <a:pt x="73802" y="153648"/>
                    <a:pt x="73802" y="153966"/>
                  </a:cubicBezTo>
                  <a:lnTo>
                    <a:pt x="73802" y="154284"/>
                  </a:lnTo>
                  <a:close/>
                  <a:moveTo>
                    <a:pt x="73802" y="172735"/>
                  </a:moveTo>
                  <a:lnTo>
                    <a:pt x="73802" y="170826"/>
                  </a:lnTo>
                  <a:cubicBezTo>
                    <a:pt x="74120" y="170508"/>
                    <a:pt x="74120" y="170508"/>
                    <a:pt x="74438" y="170508"/>
                  </a:cubicBezTo>
                  <a:cubicBezTo>
                    <a:pt x="75074" y="170508"/>
                    <a:pt x="75074" y="170508"/>
                    <a:pt x="75074" y="170826"/>
                  </a:cubicBezTo>
                  <a:cubicBezTo>
                    <a:pt x="75074" y="171144"/>
                    <a:pt x="75074" y="171780"/>
                    <a:pt x="74120" y="172417"/>
                  </a:cubicBezTo>
                  <a:lnTo>
                    <a:pt x="73802" y="172735"/>
                  </a:lnTo>
                  <a:close/>
                  <a:moveTo>
                    <a:pt x="78256" y="149513"/>
                  </a:moveTo>
                  <a:cubicBezTo>
                    <a:pt x="77619" y="149513"/>
                    <a:pt x="77301" y="148876"/>
                    <a:pt x="76665" y="148240"/>
                  </a:cubicBezTo>
                  <a:lnTo>
                    <a:pt x="76665" y="147922"/>
                  </a:lnTo>
                  <a:cubicBezTo>
                    <a:pt x="76983" y="147604"/>
                    <a:pt x="77937" y="147286"/>
                    <a:pt x="78256" y="147286"/>
                  </a:cubicBezTo>
                  <a:cubicBezTo>
                    <a:pt x="78892" y="147286"/>
                    <a:pt x="79210" y="147604"/>
                    <a:pt x="79528" y="147922"/>
                  </a:cubicBezTo>
                  <a:lnTo>
                    <a:pt x="79528" y="148558"/>
                  </a:lnTo>
                  <a:cubicBezTo>
                    <a:pt x="79528" y="148876"/>
                    <a:pt x="78892" y="149194"/>
                    <a:pt x="78574" y="149513"/>
                  </a:cubicBezTo>
                  <a:lnTo>
                    <a:pt x="78256" y="149513"/>
                  </a:lnTo>
                  <a:close/>
                  <a:moveTo>
                    <a:pt x="81755" y="55670"/>
                  </a:moveTo>
                  <a:cubicBezTo>
                    <a:pt x="81437" y="55988"/>
                    <a:pt x="81119" y="55988"/>
                    <a:pt x="81119" y="55988"/>
                  </a:cubicBezTo>
                  <a:lnTo>
                    <a:pt x="81755" y="55670"/>
                  </a:lnTo>
                  <a:close/>
                  <a:moveTo>
                    <a:pt x="94161" y="268168"/>
                  </a:moveTo>
                  <a:lnTo>
                    <a:pt x="93843" y="267850"/>
                  </a:lnTo>
                  <a:cubicBezTo>
                    <a:pt x="93843" y="267532"/>
                    <a:pt x="94161" y="267532"/>
                    <a:pt x="94161" y="267214"/>
                  </a:cubicBezTo>
                  <a:lnTo>
                    <a:pt x="94161" y="268168"/>
                  </a:lnTo>
                  <a:close/>
                  <a:moveTo>
                    <a:pt x="100523" y="246537"/>
                  </a:moveTo>
                  <a:lnTo>
                    <a:pt x="100205" y="246219"/>
                  </a:lnTo>
                  <a:cubicBezTo>
                    <a:pt x="100205" y="246219"/>
                    <a:pt x="99569" y="246855"/>
                    <a:pt x="99251" y="247491"/>
                  </a:cubicBezTo>
                  <a:cubicBezTo>
                    <a:pt x="99251" y="247491"/>
                    <a:pt x="99251" y="247809"/>
                    <a:pt x="99569" y="247809"/>
                  </a:cubicBezTo>
                  <a:cubicBezTo>
                    <a:pt x="99887" y="247809"/>
                    <a:pt x="100523" y="246855"/>
                    <a:pt x="100523" y="246537"/>
                  </a:cubicBezTo>
                  <a:close/>
                  <a:moveTo>
                    <a:pt x="106886" y="231267"/>
                  </a:moveTo>
                  <a:cubicBezTo>
                    <a:pt x="107522" y="231267"/>
                    <a:pt x="107840" y="231267"/>
                    <a:pt x="107840" y="230949"/>
                  </a:cubicBezTo>
                  <a:cubicBezTo>
                    <a:pt x="107840" y="230949"/>
                    <a:pt x="107522" y="230949"/>
                    <a:pt x="107522" y="230631"/>
                  </a:cubicBezTo>
                  <a:cubicBezTo>
                    <a:pt x="107522" y="230313"/>
                    <a:pt x="107522" y="229995"/>
                    <a:pt x="106886" y="229995"/>
                  </a:cubicBezTo>
                  <a:cubicBezTo>
                    <a:pt x="106567" y="229995"/>
                    <a:pt x="106249" y="230313"/>
                    <a:pt x="106249" y="230631"/>
                  </a:cubicBezTo>
                  <a:lnTo>
                    <a:pt x="106886" y="231267"/>
                  </a:lnTo>
                  <a:close/>
                  <a:moveTo>
                    <a:pt x="114520" y="228722"/>
                  </a:moveTo>
                  <a:lnTo>
                    <a:pt x="114202" y="229041"/>
                  </a:lnTo>
                  <a:lnTo>
                    <a:pt x="114202" y="229359"/>
                  </a:lnTo>
                  <a:lnTo>
                    <a:pt x="112930" y="229359"/>
                  </a:lnTo>
                  <a:lnTo>
                    <a:pt x="112930" y="229041"/>
                  </a:lnTo>
                  <a:cubicBezTo>
                    <a:pt x="112930" y="229041"/>
                    <a:pt x="113566" y="228722"/>
                    <a:pt x="113566" y="228404"/>
                  </a:cubicBezTo>
                  <a:cubicBezTo>
                    <a:pt x="113566" y="228086"/>
                    <a:pt x="113248" y="228086"/>
                    <a:pt x="112930" y="227450"/>
                  </a:cubicBezTo>
                  <a:lnTo>
                    <a:pt x="112930" y="227132"/>
                  </a:lnTo>
                  <a:cubicBezTo>
                    <a:pt x="112930" y="226814"/>
                    <a:pt x="112930" y="226814"/>
                    <a:pt x="113248" y="226496"/>
                  </a:cubicBezTo>
                  <a:lnTo>
                    <a:pt x="113884" y="225859"/>
                  </a:lnTo>
                  <a:cubicBezTo>
                    <a:pt x="114202" y="225859"/>
                    <a:pt x="114520" y="226496"/>
                    <a:pt x="114520" y="226496"/>
                  </a:cubicBezTo>
                  <a:lnTo>
                    <a:pt x="114520" y="228722"/>
                  </a:lnTo>
                  <a:close/>
                  <a:moveTo>
                    <a:pt x="117701" y="55351"/>
                  </a:moveTo>
                  <a:cubicBezTo>
                    <a:pt x="118656" y="55033"/>
                    <a:pt x="119292" y="55033"/>
                    <a:pt x="119292" y="54715"/>
                  </a:cubicBezTo>
                  <a:cubicBezTo>
                    <a:pt x="119292" y="54079"/>
                    <a:pt x="119292" y="54079"/>
                    <a:pt x="119610" y="53761"/>
                  </a:cubicBezTo>
                  <a:cubicBezTo>
                    <a:pt x="119610" y="53761"/>
                    <a:pt x="119610" y="53443"/>
                    <a:pt x="119292" y="53443"/>
                  </a:cubicBezTo>
                  <a:cubicBezTo>
                    <a:pt x="118656" y="53443"/>
                    <a:pt x="118020" y="54079"/>
                    <a:pt x="117383" y="54715"/>
                  </a:cubicBezTo>
                  <a:lnTo>
                    <a:pt x="117065" y="55351"/>
                  </a:lnTo>
                  <a:lnTo>
                    <a:pt x="117065" y="55670"/>
                  </a:lnTo>
                  <a:lnTo>
                    <a:pt x="117701" y="55351"/>
                  </a:lnTo>
                  <a:close/>
                  <a:moveTo>
                    <a:pt x="122791" y="198820"/>
                  </a:moveTo>
                  <a:lnTo>
                    <a:pt x="123109" y="199774"/>
                  </a:lnTo>
                  <a:lnTo>
                    <a:pt x="123428" y="200092"/>
                  </a:lnTo>
                  <a:cubicBezTo>
                    <a:pt x="123746" y="199774"/>
                    <a:pt x="124382" y="199456"/>
                    <a:pt x="124382" y="198820"/>
                  </a:cubicBezTo>
                  <a:lnTo>
                    <a:pt x="122791" y="198820"/>
                  </a:lnTo>
                  <a:close/>
                  <a:moveTo>
                    <a:pt x="123746" y="51534"/>
                  </a:moveTo>
                  <a:cubicBezTo>
                    <a:pt x="124064" y="51534"/>
                    <a:pt x="124064" y="51216"/>
                    <a:pt x="124064" y="50898"/>
                  </a:cubicBezTo>
                  <a:lnTo>
                    <a:pt x="124064" y="50580"/>
                  </a:lnTo>
                  <a:cubicBezTo>
                    <a:pt x="123746" y="50580"/>
                    <a:pt x="124064" y="50898"/>
                    <a:pt x="123746" y="50898"/>
                  </a:cubicBezTo>
                  <a:lnTo>
                    <a:pt x="123746" y="51534"/>
                  </a:lnTo>
                  <a:close/>
                  <a:moveTo>
                    <a:pt x="126290" y="175916"/>
                  </a:moveTo>
                  <a:cubicBezTo>
                    <a:pt x="126290" y="175916"/>
                    <a:pt x="125336" y="175280"/>
                    <a:pt x="124700" y="175280"/>
                  </a:cubicBezTo>
                  <a:lnTo>
                    <a:pt x="124700" y="175916"/>
                  </a:lnTo>
                  <a:cubicBezTo>
                    <a:pt x="125018" y="176552"/>
                    <a:pt x="125018" y="176552"/>
                    <a:pt x="125654" y="176552"/>
                  </a:cubicBezTo>
                  <a:cubicBezTo>
                    <a:pt x="125654" y="176552"/>
                    <a:pt x="126609" y="176234"/>
                    <a:pt x="126290" y="175916"/>
                  </a:cubicBezTo>
                  <a:close/>
                  <a:moveTo>
                    <a:pt x="127563" y="173371"/>
                  </a:moveTo>
                  <a:lnTo>
                    <a:pt x="127563" y="171780"/>
                  </a:lnTo>
                  <a:lnTo>
                    <a:pt x="126609" y="171780"/>
                  </a:lnTo>
                  <a:lnTo>
                    <a:pt x="126609" y="172098"/>
                  </a:lnTo>
                  <a:cubicBezTo>
                    <a:pt x="126609" y="172417"/>
                    <a:pt x="126290" y="172735"/>
                    <a:pt x="126290" y="173053"/>
                  </a:cubicBezTo>
                  <a:cubicBezTo>
                    <a:pt x="126609" y="173371"/>
                    <a:pt x="126609" y="173689"/>
                    <a:pt x="126609" y="173689"/>
                  </a:cubicBezTo>
                  <a:cubicBezTo>
                    <a:pt x="126927" y="173689"/>
                    <a:pt x="127563" y="173371"/>
                    <a:pt x="127563" y="173371"/>
                  </a:cubicBezTo>
                  <a:close/>
                  <a:moveTo>
                    <a:pt x="129472" y="55670"/>
                  </a:moveTo>
                  <a:cubicBezTo>
                    <a:pt x="130426" y="55670"/>
                    <a:pt x="130426" y="55351"/>
                    <a:pt x="130744" y="55033"/>
                  </a:cubicBezTo>
                  <a:lnTo>
                    <a:pt x="130108" y="55033"/>
                  </a:lnTo>
                  <a:cubicBezTo>
                    <a:pt x="129790" y="55033"/>
                    <a:pt x="129790" y="54715"/>
                    <a:pt x="129472" y="54715"/>
                  </a:cubicBezTo>
                  <a:cubicBezTo>
                    <a:pt x="129153" y="54715"/>
                    <a:pt x="128517" y="55033"/>
                    <a:pt x="128517" y="55033"/>
                  </a:cubicBezTo>
                  <a:lnTo>
                    <a:pt x="128199" y="55033"/>
                  </a:lnTo>
                  <a:lnTo>
                    <a:pt x="127881" y="55351"/>
                  </a:lnTo>
                  <a:cubicBezTo>
                    <a:pt x="128199" y="55670"/>
                    <a:pt x="128517" y="55670"/>
                    <a:pt x="128517" y="55670"/>
                  </a:cubicBezTo>
                  <a:lnTo>
                    <a:pt x="129472" y="55670"/>
                  </a:lnTo>
                  <a:close/>
                  <a:moveTo>
                    <a:pt x="130426" y="189277"/>
                  </a:moveTo>
                  <a:lnTo>
                    <a:pt x="130426" y="189595"/>
                  </a:lnTo>
                  <a:cubicBezTo>
                    <a:pt x="130426" y="189913"/>
                    <a:pt x="129472" y="189913"/>
                    <a:pt x="129472" y="190231"/>
                  </a:cubicBezTo>
                  <a:lnTo>
                    <a:pt x="129472" y="189913"/>
                  </a:lnTo>
                  <a:lnTo>
                    <a:pt x="128835" y="189277"/>
                  </a:lnTo>
                  <a:cubicBezTo>
                    <a:pt x="129153" y="189277"/>
                    <a:pt x="129790" y="188640"/>
                    <a:pt x="129790" y="188640"/>
                  </a:cubicBezTo>
                  <a:lnTo>
                    <a:pt x="130744" y="188640"/>
                  </a:lnTo>
                  <a:lnTo>
                    <a:pt x="130426" y="189277"/>
                  </a:lnTo>
                  <a:close/>
                  <a:moveTo>
                    <a:pt x="130426" y="191185"/>
                  </a:moveTo>
                  <a:lnTo>
                    <a:pt x="130744" y="191503"/>
                  </a:lnTo>
                  <a:cubicBezTo>
                    <a:pt x="130744" y="191821"/>
                    <a:pt x="130426" y="191821"/>
                    <a:pt x="129790" y="192140"/>
                  </a:cubicBezTo>
                  <a:lnTo>
                    <a:pt x="129790" y="191821"/>
                  </a:lnTo>
                  <a:cubicBezTo>
                    <a:pt x="129472" y="191821"/>
                    <a:pt x="129472" y="191503"/>
                    <a:pt x="129472" y="191503"/>
                  </a:cubicBezTo>
                  <a:cubicBezTo>
                    <a:pt x="129153" y="191503"/>
                    <a:pt x="128835" y="191185"/>
                    <a:pt x="128835" y="191185"/>
                  </a:cubicBezTo>
                  <a:lnTo>
                    <a:pt x="130426" y="191185"/>
                  </a:lnTo>
                  <a:close/>
                  <a:moveTo>
                    <a:pt x="131062" y="53443"/>
                  </a:moveTo>
                  <a:cubicBezTo>
                    <a:pt x="131062" y="53443"/>
                    <a:pt x="131380" y="53125"/>
                    <a:pt x="131698" y="52488"/>
                  </a:cubicBezTo>
                  <a:lnTo>
                    <a:pt x="131698" y="52170"/>
                  </a:lnTo>
                  <a:cubicBezTo>
                    <a:pt x="130744" y="52170"/>
                    <a:pt x="130744" y="52170"/>
                    <a:pt x="130108" y="52488"/>
                  </a:cubicBezTo>
                  <a:cubicBezTo>
                    <a:pt x="130108" y="53125"/>
                    <a:pt x="130108" y="53761"/>
                    <a:pt x="129790" y="54397"/>
                  </a:cubicBezTo>
                  <a:cubicBezTo>
                    <a:pt x="130426" y="53761"/>
                    <a:pt x="131062" y="53761"/>
                    <a:pt x="131062" y="53443"/>
                  </a:cubicBezTo>
                  <a:close/>
                  <a:moveTo>
                    <a:pt x="132335" y="183551"/>
                  </a:moveTo>
                  <a:cubicBezTo>
                    <a:pt x="132016" y="183551"/>
                    <a:pt x="132016" y="183232"/>
                    <a:pt x="132016" y="183232"/>
                  </a:cubicBezTo>
                  <a:lnTo>
                    <a:pt x="132335" y="182914"/>
                  </a:lnTo>
                  <a:lnTo>
                    <a:pt x="132653" y="182914"/>
                  </a:lnTo>
                  <a:lnTo>
                    <a:pt x="132971" y="183232"/>
                  </a:lnTo>
                  <a:lnTo>
                    <a:pt x="133607" y="183551"/>
                  </a:lnTo>
                  <a:cubicBezTo>
                    <a:pt x="132971" y="183551"/>
                    <a:pt x="132971" y="184187"/>
                    <a:pt x="132653" y="184187"/>
                  </a:cubicBezTo>
                  <a:cubicBezTo>
                    <a:pt x="132335" y="184187"/>
                    <a:pt x="132335" y="184187"/>
                    <a:pt x="132335" y="183551"/>
                  </a:cubicBezTo>
                  <a:close/>
                  <a:moveTo>
                    <a:pt x="135834" y="57896"/>
                  </a:moveTo>
                  <a:cubicBezTo>
                    <a:pt x="135516" y="57896"/>
                    <a:pt x="135516" y="57578"/>
                    <a:pt x="135516" y="57578"/>
                  </a:cubicBezTo>
                  <a:cubicBezTo>
                    <a:pt x="135516" y="57578"/>
                    <a:pt x="135198" y="57896"/>
                    <a:pt x="134879" y="57896"/>
                  </a:cubicBezTo>
                  <a:lnTo>
                    <a:pt x="135834" y="57896"/>
                  </a:lnTo>
                  <a:close/>
                  <a:moveTo>
                    <a:pt x="137106" y="51852"/>
                  </a:moveTo>
                  <a:cubicBezTo>
                    <a:pt x="137106" y="51852"/>
                    <a:pt x="137424" y="51534"/>
                    <a:pt x="137106" y="51534"/>
                  </a:cubicBezTo>
                  <a:lnTo>
                    <a:pt x="136788" y="51534"/>
                  </a:lnTo>
                  <a:cubicBezTo>
                    <a:pt x="136470" y="51852"/>
                    <a:pt x="136470" y="51852"/>
                    <a:pt x="136470" y="52170"/>
                  </a:cubicBezTo>
                  <a:cubicBezTo>
                    <a:pt x="136788" y="51852"/>
                    <a:pt x="137106" y="51852"/>
                    <a:pt x="137106" y="51852"/>
                  </a:cubicBezTo>
                  <a:close/>
                  <a:moveTo>
                    <a:pt x="137424" y="171780"/>
                  </a:moveTo>
                  <a:cubicBezTo>
                    <a:pt x="137106" y="171462"/>
                    <a:pt x="137106" y="171144"/>
                    <a:pt x="137106" y="170826"/>
                  </a:cubicBezTo>
                  <a:lnTo>
                    <a:pt x="137106" y="170190"/>
                  </a:lnTo>
                  <a:lnTo>
                    <a:pt x="136788" y="170190"/>
                  </a:lnTo>
                  <a:cubicBezTo>
                    <a:pt x="136788" y="169872"/>
                    <a:pt x="137106" y="169872"/>
                    <a:pt x="137106" y="169554"/>
                  </a:cubicBezTo>
                  <a:lnTo>
                    <a:pt x="137424" y="169235"/>
                  </a:lnTo>
                  <a:cubicBezTo>
                    <a:pt x="137743" y="169554"/>
                    <a:pt x="138061" y="169872"/>
                    <a:pt x="139015" y="169872"/>
                  </a:cubicBezTo>
                  <a:cubicBezTo>
                    <a:pt x="139333" y="169872"/>
                    <a:pt x="139333" y="170190"/>
                    <a:pt x="139333" y="170190"/>
                  </a:cubicBezTo>
                  <a:cubicBezTo>
                    <a:pt x="139333" y="170190"/>
                    <a:pt x="139333" y="170508"/>
                    <a:pt x="139015" y="170826"/>
                  </a:cubicBezTo>
                  <a:cubicBezTo>
                    <a:pt x="139015" y="171780"/>
                    <a:pt x="139015" y="171780"/>
                    <a:pt x="137743" y="171780"/>
                  </a:cubicBezTo>
                  <a:lnTo>
                    <a:pt x="137424" y="171780"/>
                  </a:lnTo>
                  <a:close/>
                  <a:moveTo>
                    <a:pt x="139333" y="167645"/>
                  </a:moveTo>
                  <a:lnTo>
                    <a:pt x="139969" y="167645"/>
                  </a:lnTo>
                  <a:cubicBezTo>
                    <a:pt x="139969" y="167963"/>
                    <a:pt x="139969" y="168599"/>
                    <a:pt x="140605" y="168917"/>
                  </a:cubicBezTo>
                  <a:lnTo>
                    <a:pt x="140287" y="169235"/>
                  </a:lnTo>
                  <a:cubicBezTo>
                    <a:pt x="139969" y="169235"/>
                    <a:pt x="139651" y="169235"/>
                    <a:pt x="139333" y="168917"/>
                  </a:cubicBezTo>
                  <a:lnTo>
                    <a:pt x="139333" y="167645"/>
                  </a:lnTo>
                  <a:close/>
                  <a:moveTo>
                    <a:pt x="145059" y="55033"/>
                  </a:moveTo>
                  <a:cubicBezTo>
                    <a:pt x="145377" y="55033"/>
                    <a:pt x="146013" y="55033"/>
                    <a:pt x="146331" y="54715"/>
                  </a:cubicBezTo>
                  <a:lnTo>
                    <a:pt x="146331" y="54397"/>
                  </a:lnTo>
                  <a:cubicBezTo>
                    <a:pt x="146650" y="54079"/>
                    <a:pt x="146331" y="54079"/>
                    <a:pt x="146331" y="54079"/>
                  </a:cubicBezTo>
                  <a:lnTo>
                    <a:pt x="145377" y="54079"/>
                  </a:lnTo>
                  <a:cubicBezTo>
                    <a:pt x="145377" y="54079"/>
                    <a:pt x="145059" y="54397"/>
                    <a:pt x="145059" y="54715"/>
                  </a:cubicBezTo>
                  <a:lnTo>
                    <a:pt x="145059" y="55033"/>
                  </a:lnTo>
                  <a:close/>
                  <a:moveTo>
                    <a:pt x="150785" y="52488"/>
                  </a:moveTo>
                  <a:lnTo>
                    <a:pt x="151421" y="51534"/>
                  </a:lnTo>
                  <a:lnTo>
                    <a:pt x="151421" y="50898"/>
                  </a:lnTo>
                  <a:cubicBezTo>
                    <a:pt x="151739" y="50580"/>
                    <a:pt x="151421" y="50580"/>
                    <a:pt x="151421" y="50580"/>
                  </a:cubicBezTo>
                  <a:lnTo>
                    <a:pt x="151103" y="50580"/>
                  </a:lnTo>
                  <a:cubicBezTo>
                    <a:pt x="150785" y="50580"/>
                    <a:pt x="150467" y="50898"/>
                    <a:pt x="150149" y="51216"/>
                  </a:cubicBezTo>
                  <a:cubicBezTo>
                    <a:pt x="150149" y="51534"/>
                    <a:pt x="150785" y="51534"/>
                    <a:pt x="150785" y="52170"/>
                  </a:cubicBezTo>
                  <a:lnTo>
                    <a:pt x="150785" y="52488"/>
                  </a:lnTo>
                  <a:close/>
                  <a:moveTo>
                    <a:pt x="160646" y="54397"/>
                  </a:moveTo>
                  <a:cubicBezTo>
                    <a:pt x="161919" y="54079"/>
                    <a:pt x="161919" y="53443"/>
                    <a:pt x="162237" y="53125"/>
                  </a:cubicBezTo>
                  <a:cubicBezTo>
                    <a:pt x="160965" y="53125"/>
                    <a:pt x="160646" y="53761"/>
                    <a:pt x="160010" y="54397"/>
                  </a:cubicBezTo>
                  <a:lnTo>
                    <a:pt x="160646" y="54397"/>
                  </a:lnTo>
                  <a:close/>
                  <a:moveTo>
                    <a:pt x="188640" y="61077"/>
                  </a:moveTo>
                  <a:cubicBezTo>
                    <a:pt x="188640" y="61077"/>
                    <a:pt x="188958" y="60759"/>
                    <a:pt x="188640" y="60759"/>
                  </a:cubicBezTo>
                  <a:cubicBezTo>
                    <a:pt x="188322" y="61077"/>
                    <a:pt x="188322" y="61077"/>
                    <a:pt x="188004" y="61077"/>
                  </a:cubicBezTo>
                  <a:lnTo>
                    <a:pt x="188640" y="61077"/>
                  </a:lnTo>
                  <a:close/>
                  <a:moveTo>
                    <a:pt x="193412" y="46762"/>
                  </a:moveTo>
                  <a:cubicBezTo>
                    <a:pt x="193412" y="46444"/>
                    <a:pt x="193412" y="46444"/>
                    <a:pt x="193730" y="45808"/>
                  </a:cubicBezTo>
                  <a:lnTo>
                    <a:pt x="193094" y="46444"/>
                  </a:lnTo>
                  <a:cubicBezTo>
                    <a:pt x="193094" y="46762"/>
                    <a:pt x="193412" y="46762"/>
                    <a:pt x="193412" y="47081"/>
                  </a:cubicBezTo>
                  <a:lnTo>
                    <a:pt x="193412" y="46762"/>
                  </a:lnTo>
                  <a:close/>
                </a:path>
              </a:pathLst>
            </a:custGeom>
            <a:solidFill>
              <a:srgbClr val="000000"/>
            </a:solidFill>
            <a:ln w="63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3DD2B38-0277-44D2-86BF-26B54000521D}"/>
                </a:ext>
              </a:extLst>
            </p:cNvPr>
            <p:cNvSpPr/>
            <p:nvPr/>
          </p:nvSpPr>
          <p:spPr>
            <a:xfrm>
              <a:off x="3022703" y="3546286"/>
              <a:ext cx="89071" cy="146331"/>
            </a:xfrm>
            <a:custGeom>
              <a:avLst/>
              <a:gdLst>
                <a:gd name="connsiteX0" fmla="*/ 40400 w 89071"/>
                <a:gd name="connsiteY0" fmla="*/ 90026 h 146331"/>
                <a:gd name="connsiteX1" fmla="*/ 39764 w 89071"/>
                <a:gd name="connsiteY1" fmla="*/ 91616 h 146331"/>
                <a:gd name="connsiteX2" fmla="*/ 38810 w 89071"/>
                <a:gd name="connsiteY2" fmla="*/ 92571 h 146331"/>
                <a:gd name="connsiteX3" fmla="*/ 38810 w 89071"/>
                <a:gd name="connsiteY3" fmla="*/ 94479 h 146331"/>
                <a:gd name="connsiteX4" fmla="*/ 38492 w 89071"/>
                <a:gd name="connsiteY4" fmla="*/ 95434 h 146331"/>
                <a:gd name="connsiteX5" fmla="*/ 37537 w 89071"/>
                <a:gd name="connsiteY5" fmla="*/ 96388 h 146331"/>
                <a:gd name="connsiteX6" fmla="*/ 34356 w 89071"/>
                <a:gd name="connsiteY6" fmla="*/ 105613 h 146331"/>
                <a:gd name="connsiteX7" fmla="*/ 33720 w 89071"/>
                <a:gd name="connsiteY7" fmla="*/ 107522 h 146331"/>
                <a:gd name="connsiteX8" fmla="*/ 32447 w 89071"/>
                <a:gd name="connsiteY8" fmla="*/ 109430 h 146331"/>
                <a:gd name="connsiteX9" fmla="*/ 32129 w 89071"/>
                <a:gd name="connsiteY9" fmla="*/ 111657 h 146331"/>
                <a:gd name="connsiteX10" fmla="*/ 31175 w 89071"/>
                <a:gd name="connsiteY10" fmla="*/ 113248 h 146331"/>
                <a:gd name="connsiteX11" fmla="*/ 30539 w 89071"/>
                <a:gd name="connsiteY11" fmla="*/ 114202 h 146331"/>
                <a:gd name="connsiteX12" fmla="*/ 29584 w 89071"/>
                <a:gd name="connsiteY12" fmla="*/ 118656 h 146331"/>
                <a:gd name="connsiteX13" fmla="*/ 27994 w 89071"/>
                <a:gd name="connsiteY13" fmla="*/ 123746 h 146331"/>
                <a:gd name="connsiteX14" fmla="*/ 27040 w 89071"/>
                <a:gd name="connsiteY14" fmla="*/ 125654 h 146331"/>
                <a:gd name="connsiteX15" fmla="*/ 26403 w 89071"/>
                <a:gd name="connsiteY15" fmla="*/ 127563 h 146331"/>
                <a:gd name="connsiteX16" fmla="*/ 25767 w 89071"/>
                <a:gd name="connsiteY16" fmla="*/ 128517 h 146331"/>
                <a:gd name="connsiteX17" fmla="*/ 23540 w 89071"/>
                <a:gd name="connsiteY17" fmla="*/ 133925 h 146331"/>
                <a:gd name="connsiteX18" fmla="*/ 21950 w 89071"/>
                <a:gd name="connsiteY18" fmla="*/ 137424 h 146331"/>
                <a:gd name="connsiteX19" fmla="*/ 21314 w 89071"/>
                <a:gd name="connsiteY19" fmla="*/ 138379 h 146331"/>
                <a:gd name="connsiteX20" fmla="*/ 19405 w 89071"/>
                <a:gd name="connsiteY20" fmla="*/ 140605 h 146331"/>
                <a:gd name="connsiteX21" fmla="*/ 17178 w 89071"/>
                <a:gd name="connsiteY21" fmla="*/ 142514 h 146331"/>
                <a:gd name="connsiteX22" fmla="*/ 16224 w 89071"/>
                <a:gd name="connsiteY22" fmla="*/ 143787 h 146331"/>
                <a:gd name="connsiteX23" fmla="*/ 14951 w 89071"/>
                <a:gd name="connsiteY23" fmla="*/ 144741 h 146331"/>
                <a:gd name="connsiteX24" fmla="*/ 14633 w 89071"/>
                <a:gd name="connsiteY24" fmla="*/ 145059 h 146331"/>
                <a:gd name="connsiteX25" fmla="*/ 14633 w 89071"/>
                <a:gd name="connsiteY25" fmla="*/ 145695 h 146331"/>
                <a:gd name="connsiteX26" fmla="*/ 12724 w 89071"/>
                <a:gd name="connsiteY26" fmla="*/ 147604 h 146331"/>
                <a:gd name="connsiteX27" fmla="*/ 11134 w 89071"/>
                <a:gd name="connsiteY27" fmla="*/ 148240 h 146331"/>
                <a:gd name="connsiteX28" fmla="*/ 10816 w 89071"/>
                <a:gd name="connsiteY28" fmla="*/ 148558 h 146331"/>
                <a:gd name="connsiteX29" fmla="*/ 9225 w 89071"/>
                <a:gd name="connsiteY29" fmla="*/ 149513 h 146331"/>
                <a:gd name="connsiteX30" fmla="*/ 7635 w 89071"/>
                <a:gd name="connsiteY30" fmla="*/ 148876 h 146331"/>
                <a:gd name="connsiteX31" fmla="*/ 3817 w 89071"/>
                <a:gd name="connsiteY31" fmla="*/ 147286 h 146331"/>
                <a:gd name="connsiteX32" fmla="*/ 2863 w 89071"/>
                <a:gd name="connsiteY32" fmla="*/ 146650 h 146331"/>
                <a:gd name="connsiteX33" fmla="*/ 636 w 89071"/>
                <a:gd name="connsiteY33" fmla="*/ 144741 h 146331"/>
                <a:gd name="connsiteX34" fmla="*/ 636 w 89071"/>
                <a:gd name="connsiteY34" fmla="*/ 144423 h 146331"/>
                <a:gd name="connsiteX35" fmla="*/ 0 w 89071"/>
                <a:gd name="connsiteY35" fmla="*/ 142196 h 146331"/>
                <a:gd name="connsiteX36" fmla="*/ 0 w 89071"/>
                <a:gd name="connsiteY36" fmla="*/ 141560 h 146331"/>
                <a:gd name="connsiteX37" fmla="*/ 636 w 89071"/>
                <a:gd name="connsiteY37" fmla="*/ 139015 h 146331"/>
                <a:gd name="connsiteX38" fmla="*/ 954 w 89071"/>
                <a:gd name="connsiteY38" fmla="*/ 135516 h 146331"/>
                <a:gd name="connsiteX39" fmla="*/ 954 w 89071"/>
                <a:gd name="connsiteY39" fmla="*/ 134879 h 146331"/>
                <a:gd name="connsiteX40" fmla="*/ 1909 w 89071"/>
                <a:gd name="connsiteY40" fmla="*/ 131698 h 146331"/>
                <a:gd name="connsiteX41" fmla="*/ 3181 w 89071"/>
                <a:gd name="connsiteY41" fmla="*/ 126609 h 146331"/>
                <a:gd name="connsiteX42" fmla="*/ 3817 w 89071"/>
                <a:gd name="connsiteY42" fmla="*/ 122155 h 146331"/>
                <a:gd name="connsiteX43" fmla="*/ 4454 w 89071"/>
                <a:gd name="connsiteY43" fmla="*/ 119292 h 146331"/>
                <a:gd name="connsiteX44" fmla="*/ 6044 w 89071"/>
                <a:gd name="connsiteY44" fmla="*/ 111975 h 146331"/>
                <a:gd name="connsiteX45" fmla="*/ 6362 w 89071"/>
                <a:gd name="connsiteY45" fmla="*/ 106886 h 146331"/>
                <a:gd name="connsiteX46" fmla="*/ 6362 w 89071"/>
                <a:gd name="connsiteY46" fmla="*/ 104659 h 146331"/>
                <a:gd name="connsiteX47" fmla="*/ 6680 w 89071"/>
                <a:gd name="connsiteY47" fmla="*/ 100523 h 146331"/>
                <a:gd name="connsiteX48" fmla="*/ 6680 w 89071"/>
                <a:gd name="connsiteY48" fmla="*/ 98933 h 146331"/>
                <a:gd name="connsiteX49" fmla="*/ 7317 w 89071"/>
                <a:gd name="connsiteY49" fmla="*/ 97978 h 146331"/>
                <a:gd name="connsiteX50" fmla="*/ 7635 w 89071"/>
                <a:gd name="connsiteY50" fmla="*/ 93843 h 146331"/>
                <a:gd name="connsiteX51" fmla="*/ 8271 w 89071"/>
                <a:gd name="connsiteY51" fmla="*/ 89389 h 146331"/>
                <a:gd name="connsiteX52" fmla="*/ 8907 w 89071"/>
                <a:gd name="connsiteY52" fmla="*/ 85254 h 146331"/>
                <a:gd name="connsiteX53" fmla="*/ 9862 w 89071"/>
                <a:gd name="connsiteY53" fmla="*/ 78574 h 146331"/>
                <a:gd name="connsiteX54" fmla="*/ 9862 w 89071"/>
                <a:gd name="connsiteY54" fmla="*/ 77937 h 146331"/>
                <a:gd name="connsiteX55" fmla="*/ 9862 w 89071"/>
                <a:gd name="connsiteY55" fmla="*/ 76665 h 146331"/>
                <a:gd name="connsiteX56" fmla="*/ 10180 w 89071"/>
                <a:gd name="connsiteY56" fmla="*/ 71575 h 146331"/>
                <a:gd name="connsiteX57" fmla="*/ 11452 w 89071"/>
                <a:gd name="connsiteY57" fmla="*/ 66485 h 146331"/>
                <a:gd name="connsiteX58" fmla="*/ 11770 w 89071"/>
                <a:gd name="connsiteY58" fmla="*/ 65213 h 146331"/>
                <a:gd name="connsiteX59" fmla="*/ 12724 w 89071"/>
                <a:gd name="connsiteY59" fmla="*/ 59805 h 146331"/>
                <a:gd name="connsiteX60" fmla="*/ 12724 w 89071"/>
                <a:gd name="connsiteY60" fmla="*/ 56624 h 146331"/>
                <a:gd name="connsiteX61" fmla="*/ 13043 w 89071"/>
                <a:gd name="connsiteY61" fmla="*/ 53125 h 146331"/>
                <a:gd name="connsiteX62" fmla="*/ 13361 w 89071"/>
                <a:gd name="connsiteY62" fmla="*/ 51534 h 146331"/>
                <a:gd name="connsiteX63" fmla="*/ 13997 w 89071"/>
                <a:gd name="connsiteY63" fmla="*/ 45808 h 146331"/>
                <a:gd name="connsiteX64" fmla="*/ 15269 w 89071"/>
                <a:gd name="connsiteY64" fmla="*/ 39128 h 146331"/>
                <a:gd name="connsiteX65" fmla="*/ 15906 w 89071"/>
                <a:gd name="connsiteY65" fmla="*/ 34992 h 146331"/>
                <a:gd name="connsiteX66" fmla="*/ 16224 w 89071"/>
                <a:gd name="connsiteY66" fmla="*/ 32766 h 146331"/>
                <a:gd name="connsiteX67" fmla="*/ 16224 w 89071"/>
                <a:gd name="connsiteY67" fmla="*/ 31811 h 146331"/>
                <a:gd name="connsiteX68" fmla="*/ 16542 w 89071"/>
                <a:gd name="connsiteY68" fmla="*/ 31175 h 146331"/>
                <a:gd name="connsiteX69" fmla="*/ 17814 w 89071"/>
                <a:gd name="connsiteY69" fmla="*/ 24495 h 146331"/>
                <a:gd name="connsiteX70" fmla="*/ 19087 w 89071"/>
                <a:gd name="connsiteY70" fmla="*/ 15906 h 146331"/>
                <a:gd name="connsiteX71" fmla="*/ 19405 w 89071"/>
                <a:gd name="connsiteY71" fmla="*/ 15587 h 146331"/>
                <a:gd name="connsiteX72" fmla="*/ 21314 w 89071"/>
                <a:gd name="connsiteY72" fmla="*/ 10180 h 146331"/>
                <a:gd name="connsiteX73" fmla="*/ 21632 w 89071"/>
                <a:gd name="connsiteY73" fmla="*/ 8589 h 146331"/>
                <a:gd name="connsiteX74" fmla="*/ 22586 w 89071"/>
                <a:gd name="connsiteY74" fmla="*/ 3499 h 146331"/>
                <a:gd name="connsiteX75" fmla="*/ 24495 w 89071"/>
                <a:gd name="connsiteY75" fmla="*/ 318 h 146331"/>
                <a:gd name="connsiteX76" fmla="*/ 25131 w 89071"/>
                <a:gd name="connsiteY76" fmla="*/ 0 h 146331"/>
                <a:gd name="connsiteX77" fmla="*/ 25449 w 89071"/>
                <a:gd name="connsiteY77" fmla="*/ 0 h 146331"/>
                <a:gd name="connsiteX78" fmla="*/ 26721 w 89071"/>
                <a:gd name="connsiteY78" fmla="*/ 318 h 146331"/>
                <a:gd name="connsiteX79" fmla="*/ 27676 w 89071"/>
                <a:gd name="connsiteY79" fmla="*/ 318 h 146331"/>
                <a:gd name="connsiteX80" fmla="*/ 30857 w 89071"/>
                <a:gd name="connsiteY80" fmla="*/ 1272 h 146331"/>
                <a:gd name="connsiteX81" fmla="*/ 35311 w 89071"/>
                <a:gd name="connsiteY81" fmla="*/ 2227 h 146331"/>
                <a:gd name="connsiteX82" fmla="*/ 36901 w 89071"/>
                <a:gd name="connsiteY82" fmla="*/ 2863 h 146331"/>
                <a:gd name="connsiteX83" fmla="*/ 37537 w 89071"/>
                <a:gd name="connsiteY83" fmla="*/ 2863 h 146331"/>
                <a:gd name="connsiteX84" fmla="*/ 38810 w 89071"/>
                <a:gd name="connsiteY84" fmla="*/ 3817 h 146331"/>
                <a:gd name="connsiteX85" fmla="*/ 38810 w 89071"/>
                <a:gd name="connsiteY85" fmla="*/ 4135 h 146331"/>
                <a:gd name="connsiteX86" fmla="*/ 38492 w 89071"/>
                <a:gd name="connsiteY86" fmla="*/ 5408 h 146331"/>
                <a:gd name="connsiteX87" fmla="*/ 39128 w 89071"/>
                <a:gd name="connsiteY87" fmla="*/ 5726 h 146331"/>
                <a:gd name="connsiteX88" fmla="*/ 39446 w 89071"/>
                <a:gd name="connsiteY88" fmla="*/ 6362 h 146331"/>
                <a:gd name="connsiteX89" fmla="*/ 39128 w 89071"/>
                <a:gd name="connsiteY89" fmla="*/ 9225 h 146331"/>
                <a:gd name="connsiteX90" fmla="*/ 38492 w 89071"/>
                <a:gd name="connsiteY90" fmla="*/ 11452 h 146331"/>
                <a:gd name="connsiteX91" fmla="*/ 37537 w 89071"/>
                <a:gd name="connsiteY91" fmla="*/ 12088 h 146331"/>
                <a:gd name="connsiteX92" fmla="*/ 37219 w 89071"/>
                <a:gd name="connsiteY92" fmla="*/ 12406 h 146331"/>
                <a:gd name="connsiteX93" fmla="*/ 37855 w 89071"/>
                <a:gd name="connsiteY93" fmla="*/ 12724 h 146331"/>
                <a:gd name="connsiteX94" fmla="*/ 38173 w 89071"/>
                <a:gd name="connsiteY94" fmla="*/ 13361 h 146331"/>
                <a:gd name="connsiteX95" fmla="*/ 36901 w 89071"/>
                <a:gd name="connsiteY95" fmla="*/ 14951 h 146331"/>
                <a:gd name="connsiteX96" fmla="*/ 36583 w 89071"/>
                <a:gd name="connsiteY96" fmla="*/ 15269 h 146331"/>
                <a:gd name="connsiteX97" fmla="*/ 36265 w 89071"/>
                <a:gd name="connsiteY97" fmla="*/ 14951 h 146331"/>
                <a:gd name="connsiteX98" fmla="*/ 35311 w 89071"/>
                <a:gd name="connsiteY98" fmla="*/ 15587 h 146331"/>
                <a:gd name="connsiteX99" fmla="*/ 35311 w 89071"/>
                <a:gd name="connsiteY99" fmla="*/ 16542 h 146331"/>
                <a:gd name="connsiteX100" fmla="*/ 35629 w 89071"/>
                <a:gd name="connsiteY100" fmla="*/ 17178 h 146331"/>
                <a:gd name="connsiteX101" fmla="*/ 36583 w 89071"/>
                <a:gd name="connsiteY101" fmla="*/ 18450 h 146331"/>
                <a:gd name="connsiteX102" fmla="*/ 36265 w 89071"/>
                <a:gd name="connsiteY102" fmla="*/ 19087 h 146331"/>
                <a:gd name="connsiteX103" fmla="*/ 34992 w 89071"/>
                <a:gd name="connsiteY103" fmla="*/ 24177 h 146331"/>
                <a:gd name="connsiteX104" fmla="*/ 34992 w 89071"/>
                <a:gd name="connsiteY104" fmla="*/ 24813 h 146331"/>
                <a:gd name="connsiteX105" fmla="*/ 34992 w 89071"/>
                <a:gd name="connsiteY105" fmla="*/ 26085 h 146331"/>
                <a:gd name="connsiteX106" fmla="*/ 34992 w 89071"/>
                <a:gd name="connsiteY106" fmla="*/ 27994 h 146331"/>
                <a:gd name="connsiteX107" fmla="*/ 35311 w 89071"/>
                <a:gd name="connsiteY107" fmla="*/ 30221 h 146331"/>
                <a:gd name="connsiteX108" fmla="*/ 35311 w 89071"/>
                <a:gd name="connsiteY108" fmla="*/ 30539 h 146331"/>
                <a:gd name="connsiteX109" fmla="*/ 34356 w 89071"/>
                <a:gd name="connsiteY109" fmla="*/ 33402 h 146331"/>
                <a:gd name="connsiteX110" fmla="*/ 33402 w 89071"/>
                <a:gd name="connsiteY110" fmla="*/ 39128 h 146331"/>
                <a:gd name="connsiteX111" fmla="*/ 33084 w 89071"/>
                <a:gd name="connsiteY111" fmla="*/ 41991 h 146331"/>
                <a:gd name="connsiteX112" fmla="*/ 33402 w 89071"/>
                <a:gd name="connsiteY112" fmla="*/ 43581 h 146331"/>
                <a:gd name="connsiteX113" fmla="*/ 32765 w 89071"/>
                <a:gd name="connsiteY113" fmla="*/ 46126 h 146331"/>
                <a:gd name="connsiteX114" fmla="*/ 33402 w 89071"/>
                <a:gd name="connsiteY114" fmla="*/ 48353 h 146331"/>
                <a:gd name="connsiteX115" fmla="*/ 33084 w 89071"/>
                <a:gd name="connsiteY115" fmla="*/ 48989 h 146331"/>
                <a:gd name="connsiteX116" fmla="*/ 33084 w 89071"/>
                <a:gd name="connsiteY116" fmla="*/ 49944 h 146331"/>
                <a:gd name="connsiteX117" fmla="*/ 33084 w 89071"/>
                <a:gd name="connsiteY117" fmla="*/ 50580 h 146331"/>
                <a:gd name="connsiteX118" fmla="*/ 32765 w 89071"/>
                <a:gd name="connsiteY118" fmla="*/ 52170 h 146331"/>
                <a:gd name="connsiteX119" fmla="*/ 32129 w 89071"/>
                <a:gd name="connsiteY119" fmla="*/ 53761 h 146331"/>
                <a:gd name="connsiteX120" fmla="*/ 31493 w 89071"/>
                <a:gd name="connsiteY120" fmla="*/ 56942 h 146331"/>
                <a:gd name="connsiteX121" fmla="*/ 31811 w 89071"/>
                <a:gd name="connsiteY121" fmla="*/ 57896 h 146331"/>
                <a:gd name="connsiteX122" fmla="*/ 31811 w 89071"/>
                <a:gd name="connsiteY122" fmla="*/ 60123 h 146331"/>
                <a:gd name="connsiteX123" fmla="*/ 31493 w 89071"/>
                <a:gd name="connsiteY123" fmla="*/ 62032 h 146331"/>
                <a:gd name="connsiteX124" fmla="*/ 31493 w 89071"/>
                <a:gd name="connsiteY124" fmla="*/ 63622 h 146331"/>
                <a:gd name="connsiteX125" fmla="*/ 31493 w 89071"/>
                <a:gd name="connsiteY125" fmla="*/ 64577 h 146331"/>
                <a:gd name="connsiteX126" fmla="*/ 30857 w 89071"/>
                <a:gd name="connsiteY126" fmla="*/ 66803 h 146331"/>
                <a:gd name="connsiteX127" fmla="*/ 30857 w 89071"/>
                <a:gd name="connsiteY127" fmla="*/ 67440 h 146331"/>
                <a:gd name="connsiteX128" fmla="*/ 31493 w 89071"/>
                <a:gd name="connsiteY128" fmla="*/ 67122 h 146331"/>
                <a:gd name="connsiteX129" fmla="*/ 34992 w 89071"/>
                <a:gd name="connsiteY129" fmla="*/ 62032 h 146331"/>
                <a:gd name="connsiteX130" fmla="*/ 36265 w 89071"/>
                <a:gd name="connsiteY130" fmla="*/ 60123 h 146331"/>
                <a:gd name="connsiteX131" fmla="*/ 40082 w 89071"/>
                <a:gd name="connsiteY131" fmla="*/ 53125 h 146331"/>
                <a:gd name="connsiteX132" fmla="*/ 44536 w 89071"/>
                <a:gd name="connsiteY132" fmla="*/ 46444 h 146331"/>
                <a:gd name="connsiteX133" fmla="*/ 46444 w 89071"/>
                <a:gd name="connsiteY133" fmla="*/ 44218 h 146331"/>
                <a:gd name="connsiteX134" fmla="*/ 48353 w 89071"/>
                <a:gd name="connsiteY134" fmla="*/ 41991 h 146331"/>
                <a:gd name="connsiteX135" fmla="*/ 50262 w 89071"/>
                <a:gd name="connsiteY135" fmla="*/ 39764 h 146331"/>
                <a:gd name="connsiteX136" fmla="*/ 51216 w 89071"/>
                <a:gd name="connsiteY136" fmla="*/ 39128 h 146331"/>
                <a:gd name="connsiteX137" fmla="*/ 54715 w 89071"/>
                <a:gd name="connsiteY137" fmla="*/ 34674 h 146331"/>
                <a:gd name="connsiteX138" fmla="*/ 55670 w 89071"/>
                <a:gd name="connsiteY138" fmla="*/ 34038 h 146331"/>
                <a:gd name="connsiteX139" fmla="*/ 56306 w 89071"/>
                <a:gd name="connsiteY139" fmla="*/ 33402 h 146331"/>
                <a:gd name="connsiteX140" fmla="*/ 61396 w 89071"/>
                <a:gd name="connsiteY140" fmla="*/ 28948 h 146331"/>
                <a:gd name="connsiteX141" fmla="*/ 62350 w 89071"/>
                <a:gd name="connsiteY141" fmla="*/ 28630 h 146331"/>
                <a:gd name="connsiteX142" fmla="*/ 62668 w 89071"/>
                <a:gd name="connsiteY142" fmla="*/ 28948 h 146331"/>
                <a:gd name="connsiteX143" fmla="*/ 62986 w 89071"/>
                <a:gd name="connsiteY143" fmla="*/ 28630 h 146331"/>
                <a:gd name="connsiteX144" fmla="*/ 65213 w 89071"/>
                <a:gd name="connsiteY144" fmla="*/ 27676 h 146331"/>
                <a:gd name="connsiteX145" fmla="*/ 65531 w 89071"/>
                <a:gd name="connsiteY145" fmla="*/ 27676 h 146331"/>
                <a:gd name="connsiteX146" fmla="*/ 65849 w 89071"/>
                <a:gd name="connsiteY146" fmla="*/ 27040 h 146331"/>
                <a:gd name="connsiteX147" fmla="*/ 69348 w 89071"/>
                <a:gd name="connsiteY147" fmla="*/ 24177 h 146331"/>
                <a:gd name="connsiteX148" fmla="*/ 70939 w 89071"/>
                <a:gd name="connsiteY148" fmla="*/ 22904 h 146331"/>
                <a:gd name="connsiteX149" fmla="*/ 71257 w 89071"/>
                <a:gd name="connsiteY149" fmla="*/ 22586 h 146331"/>
                <a:gd name="connsiteX150" fmla="*/ 73802 w 89071"/>
                <a:gd name="connsiteY150" fmla="*/ 21950 h 146331"/>
                <a:gd name="connsiteX151" fmla="*/ 74438 w 89071"/>
                <a:gd name="connsiteY151" fmla="*/ 21950 h 146331"/>
                <a:gd name="connsiteX152" fmla="*/ 75711 w 89071"/>
                <a:gd name="connsiteY152" fmla="*/ 22268 h 146331"/>
                <a:gd name="connsiteX153" fmla="*/ 76665 w 89071"/>
                <a:gd name="connsiteY153" fmla="*/ 22586 h 146331"/>
                <a:gd name="connsiteX154" fmla="*/ 77937 w 89071"/>
                <a:gd name="connsiteY154" fmla="*/ 21950 h 146331"/>
                <a:gd name="connsiteX155" fmla="*/ 78574 w 89071"/>
                <a:gd name="connsiteY155" fmla="*/ 21632 h 146331"/>
                <a:gd name="connsiteX156" fmla="*/ 79528 w 89071"/>
                <a:gd name="connsiteY156" fmla="*/ 21950 h 146331"/>
                <a:gd name="connsiteX157" fmla="*/ 81437 w 89071"/>
                <a:gd name="connsiteY157" fmla="*/ 21632 h 146331"/>
                <a:gd name="connsiteX158" fmla="*/ 84618 w 89071"/>
                <a:gd name="connsiteY158" fmla="*/ 22586 h 146331"/>
                <a:gd name="connsiteX159" fmla="*/ 84936 w 89071"/>
                <a:gd name="connsiteY159" fmla="*/ 22586 h 146331"/>
                <a:gd name="connsiteX160" fmla="*/ 85572 w 89071"/>
                <a:gd name="connsiteY160" fmla="*/ 22586 h 146331"/>
                <a:gd name="connsiteX161" fmla="*/ 87163 w 89071"/>
                <a:gd name="connsiteY161" fmla="*/ 23540 h 146331"/>
                <a:gd name="connsiteX162" fmla="*/ 86844 w 89071"/>
                <a:gd name="connsiteY162" fmla="*/ 24177 h 146331"/>
                <a:gd name="connsiteX163" fmla="*/ 88117 w 89071"/>
                <a:gd name="connsiteY163" fmla="*/ 25131 h 146331"/>
                <a:gd name="connsiteX164" fmla="*/ 89390 w 89071"/>
                <a:gd name="connsiteY164" fmla="*/ 25131 h 146331"/>
                <a:gd name="connsiteX165" fmla="*/ 90344 w 89071"/>
                <a:gd name="connsiteY165" fmla="*/ 25131 h 146331"/>
                <a:gd name="connsiteX166" fmla="*/ 91616 w 89071"/>
                <a:gd name="connsiteY166" fmla="*/ 24813 h 146331"/>
                <a:gd name="connsiteX167" fmla="*/ 93843 w 89071"/>
                <a:gd name="connsiteY167" fmla="*/ 25131 h 146331"/>
                <a:gd name="connsiteX168" fmla="*/ 94161 w 89071"/>
                <a:gd name="connsiteY168" fmla="*/ 25449 h 146331"/>
                <a:gd name="connsiteX169" fmla="*/ 94797 w 89071"/>
                <a:gd name="connsiteY169" fmla="*/ 28948 h 146331"/>
                <a:gd name="connsiteX170" fmla="*/ 94797 w 89071"/>
                <a:gd name="connsiteY170" fmla="*/ 29266 h 146331"/>
                <a:gd name="connsiteX171" fmla="*/ 94161 w 89071"/>
                <a:gd name="connsiteY171" fmla="*/ 29903 h 146331"/>
                <a:gd name="connsiteX172" fmla="*/ 93525 w 89071"/>
                <a:gd name="connsiteY172" fmla="*/ 29903 h 146331"/>
                <a:gd name="connsiteX173" fmla="*/ 93525 w 89071"/>
                <a:gd name="connsiteY173" fmla="*/ 30539 h 146331"/>
                <a:gd name="connsiteX174" fmla="*/ 93207 w 89071"/>
                <a:gd name="connsiteY174" fmla="*/ 31493 h 146331"/>
                <a:gd name="connsiteX175" fmla="*/ 92252 w 89071"/>
                <a:gd name="connsiteY175" fmla="*/ 31175 h 146331"/>
                <a:gd name="connsiteX176" fmla="*/ 91934 w 89071"/>
                <a:gd name="connsiteY176" fmla="*/ 31493 h 146331"/>
                <a:gd name="connsiteX177" fmla="*/ 91934 w 89071"/>
                <a:gd name="connsiteY177" fmla="*/ 32129 h 146331"/>
                <a:gd name="connsiteX178" fmla="*/ 91934 w 89071"/>
                <a:gd name="connsiteY178" fmla="*/ 32447 h 146331"/>
                <a:gd name="connsiteX179" fmla="*/ 90980 w 89071"/>
                <a:gd name="connsiteY179" fmla="*/ 33084 h 146331"/>
                <a:gd name="connsiteX180" fmla="*/ 90344 w 89071"/>
                <a:gd name="connsiteY180" fmla="*/ 33402 h 146331"/>
                <a:gd name="connsiteX181" fmla="*/ 90344 w 89071"/>
                <a:gd name="connsiteY181" fmla="*/ 33720 h 146331"/>
                <a:gd name="connsiteX182" fmla="*/ 90662 w 89071"/>
                <a:gd name="connsiteY182" fmla="*/ 34038 h 146331"/>
                <a:gd name="connsiteX183" fmla="*/ 90662 w 89071"/>
                <a:gd name="connsiteY183" fmla="*/ 34356 h 146331"/>
                <a:gd name="connsiteX184" fmla="*/ 90026 w 89071"/>
                <a:gd name="connsiteY184" fmla="*/ 34674 h 146331"/>
                <a:gd name="connsiteX185" fmla="*/ 89390 w 89071"/>
                <a:gd name="connsiteY185" fmla="*/ 34674 h 146331"/>
                <a:gd name="connsiteX186" fmla="*/ 85572 w 89071"/>
                <a:gd name="connsiteY186" fmla="*/ 32766 h 146331"/>
                <a:gd name="connsiteX187" fmla="*/ 83345 w 89071"/>
                <a:gd name="connsiteY187" fmla="*/ 32447 h 146331"/>
                <a:gd name="connsiteX188" fmla="*/ 79846 w 89071"/>
                <a:gd name="connsiteY188" fmla="*/ 33084 h 146331"/>
                <a:gd name="connsiteX189" fmla="*/ 79528 w 89071"/>
                <a:gd name="connsiteY189" fmla="*/ 33402 h 146331"/>
                <a:gd name="connsiteX190" fmla="*/ 76665 w 89071"/>
                <a:gd name="connsiteY190" fmla="*/ 34992 h 146331"/>
                <a:gd name="connsiteX191" fmla="*/ 70303 w 89071"/>
                <a:gd name="connsiteY191" fmla="*/ 39128 h 146331"/>
                <a:gd name="connsiteX192" fmla="*/ 69030 w 89071"/>
                <a:gd name="connsiteY192" fmla="*/ 41355 h 146331"/>
                <a:gd name="connsiteX193" fmla="*/ 68394 w 89071"/>
                <a:gd name="connsiteY193" fmla="*/ 42309 h 146331"/>
                <a:gd name="connsiteX194" fmla="*/ 64577 w 89071"/>
                <a:gd name="connsiteY194" fmla="*/ 46444 h 146331"/>
                <a:gd name="connsiteX195" fmla="*/ 61396 w 89071"/>
                <a:gd name="connsiteY195" fmla="*/ 51216 h 146331"/>
                <a:gd name="connsiteX196" fmla="*/ 59169 w 89071"/>
                <a:gd name="connsiteY196" fmla="*/ 54079 h 146331"/>
                <a:gd name="connsiteX197" fmla="*/ 58851 w 89071"/>
                <a:gd name="connsiteY197" fmla="*/ 55351 h 146331"/>
                <a:gd name="connsiteX198" fmla="*/ 56624 w 89071"/>
                <a:gd name="connsiteY198" fmla="*/ 57896 h 146331"/>
                <a:gd name="connsiteX199" fmla="*/ 55033 w 89071"/>
                <a:gd name="connsiteY199" fmla="*/ 60441 h 146331"/>
                <a:gd name="connsiteX200" fmla="*/ 53761 w 89071"/>
                <a:gd name="connsiteY200" fmla="*/ 63622 h 146331"/>
                <a:gd name="connsiteX201" fmla="*/ 51216 w 89071"/>
                <a:gd name="connsiteY201" fmla="*/ 68076 h 146331"/>
                <a:gd name="connsiteX202" fmla="*/ 50580 w 89071"/>
                <a:gd name="connsiteY202" fmla="*/ 69030 h 146331"/>
                <a:gd name="connsiteX203" fmla="*/ 49626 w 89071"/>
                <a:gd name="connsiteY203" fmla="*/ 71257 h 146331"/>
                <a:gd name="connsiteX204" fmla="*/ 49307 w 89071"/>
                <a:gd name="connsiteY204" fmla="*/ 71575 h 146331"/>
                <a:gd name="connsiteX205" fmla="*/ 48353 w 89071"/>
                <a:gd name="connsiteY205" fmla="*/ 73802 h 146331"/>
                <a:gd name="connsiteX206" fmla="*/ 47717 w 89071"/>
                <a:gd name="connsiteY206" fmla="*/ 74756 h 146331"/>
                <a:gd name="connsiteX207" fmla="*/ 46444 w 89071"/>
                <a:gd name="connsiteY207" fmla="*/ 75393 h 146331"/>
                <a:gd name="connsiteX208" fmla="*/ 46126 w 89071"/>
                <a:gd name="connsiteY208" fmla="*/ 76347 h 146331"/>
                <a:gd name="connsiteX209" fmla="*/ 46126 w 89071"/>
                <a:gd name="connsiteY209" fmla="*/ 76983 h 146331"/>
                <a:gd name="connsiteX210" fmla="*/ 46126 w 89071"/>
                <a:gd name="connsiteY210" fmla="*/ 77619 h 146331"/>
                <a:gd name="connsiteX211" fmla="*/ 44218 w 89071"/>
                <a:gd name="connsiteY211" fmla="*/ 83027 h 146331"/>
                <a:gd name="connsiteX212" fmla="*/ 43899 w 89071"/>
                <a:gd name="connsiteY212" fmla="*/ 83345 h 146331"/>
                <a:gd name="connsiteX213" fmla="*/ 42945 w 89071"/>
                <a:gd name="connsiteY213" fmla="*/ 84300 h 146331"/>
                <a:gd name="connsiteX214" fmla="*/ 42945 w 89071"/>
                <a:gd name="connsiteY214" fmla="*/ 84618 h 146331"/>
                <a:gd name="connsiteX215" fmla="*/ 41673 w 89071"/>
                <a:gd name="connsiteY215" fmla="*/ 85890 h 146331"/>
                <a:gd name="connsiteX216" fmla="*/ 41673 w 89071"/>
                <a:gd name="connsiteY216" fmla="*/ 86845 h 146331"/>
                <a:gd name="connsiteX217" fmla="*/ 41673 w 89071"/>
                <a:gd name="connsiteY217" fmla="*/ 87481 h 146331"/>
                <a:gd name="connsiteX218" fmla="*/ 40400 w 89071"/>
                <a:gd name="connsiteY218" fmla="*/ 89071 h 146331"/>
                <a:gd name="connsiteX219" fmla="*/ 40400 w 89071"/>
                <a:gd name="connsiteY219" fmla="*/ 90026 h 146331"/>
                <a:gd name="connsiteX220" fmla="*/ 40400 w 89071"/>
                <a:gd name="connsiteY220" fmla="*/ 88435 h 146331"/>
                <a:gd name="connsiteX221" fmla="*/ 40082 w 89071"/>
                <a:gd name="connsiteY221" fmla="*/ 88435 h 146331"/>
                <a:gd name="connsiteX222" fmla="*/ 40400 w 89071"/>
                <a:gd name="connsiteY222" fmla="*/ 89071 h 146331"/>
                <a:gd name="connsiteX223" fmla="*/ 40400 w 89071"/>
                <a:gd name="connsiteY223" fmla="*/ 88435 h 146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89071" h="146331">
                  <a:moveTo>
                    <a:pt x="40400" y="90026"/>
                  </a:moveTo>
                  <a:cubicBezTo>
                    <a:pt x="40400" y="90344"/>
                    <a:pt x="40082" y="90980"/>
                    <a:pt x="39764" y="91616"/>
                  </a:cubicBezTo>
                  <a:cubicBezTo>
                    <a:pt x="39128" y="91616"/>
                    <a:pt x="38810" y="91934"/>
                    <a:pt x="38810" y="92571"/>
                  </a:cubicBezTo>
                  <a:lnTo>
                    <a:pt x="38810" y="94479"/>
                  </a:lnTo>
                  <a:cubicBezTo>
                    <a:pt x="38810" y="94797"/>
                    <a:pt x="38810" y="95115"/>
                    <a:pt x="38492" y="95434"/>
                  </a:cubicBezTo>
                  <a:cubicBezTo>
                    <a:pt x="38173" y="95752"/>
                    <a:pt x="37537" y="96070"/>
                    <a:pt x="37537" y="96388"/>
                  </a:cubicBezTo>
                  <a:lnTo>
                    <a:pt x="34356" y="105613"/>
                  </a:lnTo>
                  <a:cubicBezTo>
                    <a:pt x="34356" y="106249"/>
                    <a:pt x="34038" y="106886"/>
                    <a:pt x="33720" y="107522"/>
                  </a:cubicBezTo>
                  <a:cubicBezTo>
                    <a:pt x="33084" y="107840"/>
                    <a:pt x="32765" y="108476"/>
                    <a:pt x="32447" y="109430"/>
                  </a:cubicBezTo>
                  <a:cubicBezTo>
                    <a:pt x="32447" y="109749"/>
                    <a:pt x="32129" y="111021"/>
                    <a:pt x="32129" y="111657"/>
                  </a:cubicBezTo>
                  <a:cubicBezTo>
                    <a:pt x="32129" y="111975"/>
                    <a:pt x="31811" y="112612"/>
                    <a:pt x="31175" y="113248"/>
                  </a:cubicBezTo>
                  <a:cubicBezTo>
                    <a:pt x="30539" y="113248"/>
                    <a:pt x="30539" y="113884"/>
                    <a:pt x="30539" y="114202"/>
                  </a:cubicBezTo>
                  <a:cubicBezTo>
                    <a:pt x="30539" y="116111"/>
                    <a:pt x="30221" y="117701"/>
                    <a:pt x="29584" y="118656"/>
                  </a:cubicBezTo>
                  <a:cubicBezTo>
                    <a:pt x="28630" y="120882"/>
                    <a:pt x="28312" y="122473"/>
                    <a:pt x="27994" y="123746"/>
                  </a:cubicBezTo>
                  <a:lnTo>
                    <a:pt x="27040" y="125654"/>
                  </a:lnTo>
                  <a:cubicBezTo>
                    <a:pt x="27040" y="126290"/>
                    <a:pt x="26721" y="127245"/>
                    <a:pt x="26403" y="127563"/>
                  </a:cubicBezTo>
                  <a:cubicBezTo>
                    <a:pt x="26403" y="127881"/>
                    <a:pt x="25767" y="128199"/>
                    <a:pt x="25767" y="128517"/>
                  </a:cubicBezTo>
                  <a:cubicBezTo>
                    <a:pt x="25449" y="130426"/>
                    <a:pt x="24177" y="132335"/>
                    <a:pt x="23540" y="133925"/>
                  </a:cubicBezTo>
                  <a:cubicBezTo>
                    <a:pt x="23222" y="135198"/>
                    <a:pt x="22586" y="136470"/>
                    <a:pt x="21950" y="137424"/>
                  </a:cubicBezTo>
                  <a:cubicBezTo>
                    <a:pt x="21632" y="137742"/>
                    <a:pt x="21632" y="138379"/>
                    <a:pt x="21314" y="138379"/>
                  </a:cubicBezTo>
                  <a:cubicBezTo>
                    <a:pt x="20041" y="138697"/>
                    <a:pt x="19723" y="139651"/>
                    <a:pt x="19405" y="140605"/>
                  </a:cubicBezTo>
                  <a:cubicBezTo>
                    <a:pt x="18769" y="141560"/>
                    <a:pt x="18132" y="142514"/>
                    <a:pt x="17178" y="142514"/>
                  </a:cubicBezTo>
                  <a:cubicBezTo>
                    <a:pt x="16860" y="142832"/>
                    <a:pt x="16224" y="143150"/>
                    <a:pt x="16224" y="143787"/>
                  </a:cubicBezTo>
                  <a:cubicBezTo>
                    <a:pt x="15906" y="144423"/>
                    <a:pt x="15906" y="144741"/>
                    <a:pt x="14951" y="144741"/>
                  </a:cubicBezTo>
                  <a:cubicBezTo>
                    <a:pt x="14633" y="144741"/>
                    <a:pt x="14633" y="144741"/>
                    <a:pt x="14633" y="145059"/>
                  </a:cubicBezTo>
                  <a:lnTo>
                    <a:pt x="14633" y="145695"/>
                  </a:lnTo>
                  <a:cubicBezTo>
                    <a:pt x="13679" y="146331"/>
                    <a:pt x="13361" y="146968"/>
                    <a:pt x="12724" y="147604"/>
                  </a:cubicBezTo>
                  <a:cubicBezTo>
                    <a:pt x="12088" y="147604"/>
                    <a:pt x="11452" y="147604"/>
                    <a:pt x="11134" y="148240"/>
                  </a:cubicBezTo>
                  <a:cubicBezTo>
                    <a:pt x="11134" y="148240"/>
                    <a:pt x="11134" y="148558"/>
                    <a:pt x="10816" y="148558"/>
                  </a:cubicBezTo>
                  <a:cubicBezTo>
                    <a:pt x="9862" y="149194"/>
                    <a:pt x="9543" y="149513"/>
                    <a:pt x="9225" y="149513"/>
                  </a:cubicBezTo>
                  <a:cubicBezTo>
                    <a:pt x="8907" y="149513"/>
                    <a:pt x="8271" y="149194"/>
                    <a:pt x="7635" y="148876"/>
                  </a:cubicBezTo>
                  <a:lnTo>
                    <a:pt x="3817" y="147286"/>
                  </a:lnTo>
                  <a:cubicBezTo>
                    <a:pt x="3499" y="147286"/>
                    <a:pt x="2863" y="146968"/>
                    <a:pt x="2863" y="146650"/>
                  </a:cubicBezTo>
                  <a:cubicBezTo>
                    <a:pt x="2545" y="145377"/>
                    <a:pt x="1273" y="145059"/>
                    <a:pt x="636" y="144741"/>
                  </a:cubicBezTo>
                  <a:lnTo>
                    <a:pt x="636" y="144423"/>
                  </a:lnTo>
                  <a:cubicBezTo>
                    <a:pt x="636" y="143787"/>
                    <a:pt x="636" y="143150"/>
                    <a:pt x="0" y="142196"/>
                  </a:cubicBezTo>
                  <a:lnTo>
                    <a:pt x="0" y="141560"/>
                  </a:lnTo>
                  <a:cubicBezTo>
                    <a:pt x="318" y="140924"/>
                    <a:pt x="636" y="139969"/>
                    <a:pt x="636" y="139015"/>
                  </a:cubicBezTo>
                  <a:cubicBezTo>
                    <a:pt x="636" y="137742"/>
                    <a:pt x="954" y="136788"/>
                    <a:pt x="954" y="135516"/>
                  </a:cubicBezTo>
                  <a:lnTo>
                    <a:pt x="954" y="134879"/>
                  </a:lnTo>
                  <a:cubicBezTo>
                    <a:pt x="1591" y="133925"/>
                    <a:pt x="1591" y="132335"/>
                    <a:pt x="1909" y="131698"/>
                  </a:cubicBezTo>
                  <a:cubicBezTo>
                    <a:pt x="2863" y="130108"/>
                    <a:pt x="3181" y="128199"/>
                    <a:pt x="3181" y="126609"/>
                  </a:cubicBezTo>
                  <a:cubicBezTo>
                    <a:pt x="3181" y="125336"/>
                    <a:pt x="3499" y="123427"/>
                    <a:pt x="3817" y="122155"/>
                  </a:cubicBezTo>
                  <a:cubicBezTo>
                    <a:pt x="3817" y="121201"/>
                    <a:pt x="4135" y="120564"/>
                    <a:pt x="4454" y="119292"/>
                  </a:cubicBezTo>
                  <a:lnTo>
                    <a:pt x="6044" y="111975"/>
                  </a:lnTo>
                  <a:cubicBezTo>
                    <a:pt x="6044" y="110067"/>
                    <a:pt x="6362" y="108476"/>
                    <a:pt x="6362" y="106886"/>
                  </a:cubicBezTo>
                  <a:lnTo>
                    <a:pt x="6362" y="104659"/>
                  </a:lnTo>
                  <a:cubicBezTo>
                    <a:pt x="6362" y="103386"/>
                    <a:pt x="6680" y="102114"/>
                    <a:pt x="6680" y="100523"/>
                  </a:cubicBezTo>
                  <a:lnTo>
                    <a:pt x="6680" y="98933"/>
                  </a:lnTo>
                  <a:cubicBezTo>
                    <a:pt x="6680" y="98615"/>
                    <a:pt x="7317" y="98297"/>
                    <a:pt x="7317" y="97978"/>
                  </a:cubicBezTo>
                  <a:cubicBezTo>
                    <a:pt x="7317" y="96388"/>
                    <a:pt x="7635" y="94797"/>
                    <a:pt x="7635" y="93843"/>
                  </a:cubicBezTo>
                  <a:cubicBezTo>
                    <a:pt x="7953" y="92252"/>
                    <a:pt x="8271" y="90662"/>
                    <a:pt x="8271" y="89389"/>
                  </a:cubicBezTo>
                  <a:cubicBezTo>
                    <a:pt x="8271" y="88117"/>
                    <a:pt x="8589" y="86845"/>
                    <a:pt x="8907" y="85254"/>
                  </a:cubicBezTo>
                  <a:cubicBezTo>
                    <a:pt x="8907" y="83027"/>
                    <a:pt x="9225" y="80800"/>
                    <a:pt x="9862" y="78574"/>
                  </a:cubicBezTo>
                  <a:lnTo>
                    <a:pt x="9862" y="77937"/>
                  </a:lnTo>
                  <a:cubicBezTo>
                    <a:pt x="9862" y="77619"/>
                    <a:pt x="9862" y="76983"/>
                    <a:pt x="9862" y="76665"/>
                  </a:cubicBezTo>
                  <a:cubicBezTo>
                    <a:pt x="9862" y="75074"/>
                    <a:pt x="10180" y="73484"/>
                    <a:pt x="10180" y="71575"/>
                  </a:cubicBezTo>
                  <a:cubicBezTo>
                    <a:pt x="10180" y="69985"/>
                    <a:pt x="10498" y="68076"/>
                    <a:pt x="11452" y="66485"/>
                  </a:cubicBezTo>
                  <a:cubicBezTo>
                    <a:pt x="11452" y="65849"/>
                    <a:pt x="11452" y="65849"/>
                    <a:pt x="11770" y="65213"/>
                  </a:cubicBezTo>
                  <a:cubicBezTo>
                    <a:pt x="12088" y="63622"/>
                    <a:pt x="12724" y="62032"/>
                    <a:pt x="12724" y="59805"/>
                  </a:cubicBezTo>
                  <a:lnTo>
                    <a:pt x="12724" y="56624"/>
                  </a:lnTo>
                  <a:cubicBezTo>
                    <a:pt x="13043" y="55670"/>
                    <a:pt x="13043" y="54397"/>
                    <a:pt x="13043" y="53125"/>
                  </a:cubicBezTo>
                  <a:cubicBezTo>
                    <a:pt x="13043" y="53125"/>
                    <a:pt x="13043" y="52170"/>
                    <a:pt x="13361" y="51534"/>
                  </a:cubicBezTo>
                  <a:cubicBezTo>
                    <a:pt x="13997" y="49625"/>
                    <a:pt x="13997" y="47717"/>
                    <a:pt x="13997" y="45808"/>
                  </a:cubicBezTo>
                  <a:cubicBezTo>
                    <a:pt x="14633" y="43581"/>
                    <a:pt x="14951" y="41355"/>
                    <a:pt x="15269" y="39128"/>
                  </a:cubicBezTo>
                  <a:cubicBezTo>
                    <a:pt x="15588" y="37855"/>
                    <a:pt x="15269" y="36583"/>
                    <a:pt x="15906" y="34992"/>
                  </a:cubicBezTo>
                  <a:cubicBezTo>
                    <a:pt x="16224" y="34674"/>
                    <a:pt x="16224" y="33720"/>
                    <a:pt x="16224" y="32766"/>
                  </a:cubicBezTo>
                  <a:cubicBezTo>
                    <a:pt x="16224" y="32447"/>
                    <a:pt x="16224" y="32129"/>
                    <a:pt x="16224" y="31811"/>
                  </a:cubicBezTo>
                  <a:cubicBezTo>
                    <a:pt x="16224" y="31811"/>
                    <a:pt x="16224" y="31493"/>
                    <a:pt x="16542" y="31175"/>
                  </a:cubicBezTo>
                  <a:cubicBezTo>
                    <a:pt x="16860" y="29266"/>
                    <a:pt x="17178" y="26721"/>
                    <a:pt x="17814" y="24495"/>
                  </a:cubicBezTo>
                  <a:cubicBezTo>
                    <a:pt x="18450" y="21632"/>
                    <a:pt x="18769" y="18769"/>
                    <a:pt x="19087" y="15906"/>
                  </a:cubicBezTo>
                  <a:cubicBezTo>
                    <a:pt x="19405" y="15906"/>
                    <a:pt x="19087" y="15587"/>
                    <a:pt x="19405" y="15587"/>
                  </a:cubicBezTo>
                  <a:cubicBezTo>
                    <a:pt x="20359" y="13679"/>
                    <a:pt x="20359" y="11770"/>
                    <a:pt x="21314" y="10180"/>
                  </a:cubicBezTo>
                  <a:cubicBezTo>
                    <a:pt x="21314" y="9861"/>
                    <a:pt x="21314" y="8907"/>
                    <a:pt x="21632" y="8589"/>
                  </a:cubicBezTo>
                  <a:cubicBezTo>
                    <a:pt x="21950" y="6680"/>
                    <a:pt x="22586" y="5726"/>
                    <a:pt x="22586" y="3499"/>
                  </a:cubicBezTo>
                  <a:lnTo>
                    <a:pt x="24495" y="318"/>
                  </a:lnTo>
                  <a:cubicBezTo>
                    <a:pt x="24813" y="0"/>
                    <a:pt x="24813" y="0"/>
                    <a:pt x="25131" y="0"/>
                  </a:cubicBezTo>
                  <a:lnTo>
                    <a:pt x="25449" y="0"/>
                  </a:lnTo>
                  <a:cubicBezTo>
                    <a:pt x="25767" y="318"/>
                    <a:pt x="26403" y="318"/>
                    <a:pt x="26721" y="318"/>
                  </a:cubicBezTo>
                  <a:cubicBezTo>
                    <a:pt x="27040" y="318"/>
                    <a:pt x="27358" y="318"/>
                    <a:pt x="27676" y="318"/>
                  </a:cubicBezTo>
                  <a:cubicBezTo>
                    <a:pt x="28948" y="954"/>
                    <a:pt x="29903" y="1272"/>
                    <a:pt x="30857" y="1272"/>
                  </a:cubicBezTo>
                  <a:cubicBezTo>
                    <a:pt x="32447" y="1272"/>
                    <a:pt x="34038" y="1909"/>
                    <a:pt x="35311" y="2227"/>
                  </a:cubicBezTo>
                  <a:cubicBezTo>
                    <a:pt x="35947" y="2545"/>
                    <a:pt x="36265" y="2863"/>
                    <a:pt x="36901" y="2863"/>
                  </a:cubicBezTo>
                  <a:cubicBezTo>
                    <a:pt x="37219" y="2863"/>
                    <a:pt x="37219" y="2863"/>
                    <a:pt x="37537" y="2863"/>
                  </a:cubicBezTo>
                  <a:cubicBezTo>
                    <a:pt x="38173" y="2863"/>
                    <a:pt x="38492" y="3181"/>
                    <a:pt x="38810" y="3817"/>
                  </a:cubicBezTo>
                  <a:lnTo>
                    <a:pt x="38810" y="4135"/>
                  </a:lnTo>
                  <a:cubicBezTo>
                    <a:pt x="38810" y="4454"/>
                    <a:pt x="38810" y="5090"/>
                    <a:pt x="38492" y="5408"/>
                  </a:cubicBezTo>
                  <a:cubicBezTo>
                    <a:pt x="38492" y="5408"/>
                    <a:pt x="38810" y="5726"/>
                    <a:pt x="39128" y="5726"/>
                  </a:cubicBezTo>
                  <a:cubicBezTo>
                    <a:pt x="39446" y="5726"/>
                    <a:pt x="39446" y="6044"/>
                    <a:pt x="39446" y="6362"/>
                  </a:cubicBezTo>
                  <a:cubicBezTo>
                    <a:pt x="39446" y="7317"/>
                    <a:pt x="39128" y="7953"/>
                    <a:pt x="39128" y="9225"/>
                  </a:cubicBezTo>
                  <a:cubicBezTo>
                    <a:pt x="39128" y="9861"/>
                    <a:pt x="38492" y="10816"/>
                    <a:pt x="38492" y="11452"/>
                  </a:cubicBezTo>
                  <a:cubicBezTo>
                    <a:pt x="38492" y="12088"/>
                    <a:pt x="38173" y="11770"/>
                    <a:pt x="37537" y="12088"/>
                  </a:cubicBezTo>
                  <a:cubicBezTo>
                    <a:pt x="37219" y="12406"/>
                    <a:pt x="37219" y="12406"/>
                    <a:pt x="37219" y="12406"/>
                  </a:cubicBezTo>
                  <a:cubicBezTo>
                    <a:pt x="37219" y="12406"/>
                    <a:pt x="37219" y="12724"/>
                    <a:pt x="37855" y="12724"/>
                  </a:cubicBezTo>
                  <a:cubicBezTo>
                    <a:pt x="37855" y="12724"/>
                    <a:pt x="38173" y="13043"/>
                    <a:pt x="38173" y="13361"/>
                  </a:cubicBezTo>
                  <a:cubicBezTo>
                    <a:pt x="37537" y="13997"/>
                    <a:pt x="36901" y="14633"/>
                    <a:pt x="36901" y="14951"/>
                  </a:cubicBezTo>
                  <a:cubicBezTo>
                    <a:pt x="36901" y="15269"/>
                    <a:pt x="36583" y="15269"/>
                    <a:pt x="36583" y="15269"/>
                  </a:cubicBezTo>
                  <a:cubicBezTo>
                    <a:pt x="36583" y="15269"/>
                    <a:pt x="36265" y="15269"/>
                    <a:pt x="36265" y="14951"/>
                  </a:cubicBezTo>
                  <a:cubicBezTo>
                    <a:pt x="35311" y="14951"/>
                    <a:pt x="35311" y="14951"/>
                    <a:pt x="35311" y="15587"/>
                  </a:cubicBezTo>
                  <a:lnTo>
                    <a:pt x="35311" y="16542"/>
                  </a:lnTo>
                  <a:cubicBezTo>
                    <a:pt x="35311" y="16860"/>
                    <a:pt x="35629" y="17178"/>
                    <a:pt x="35629" y="17178"/>
                  </a:cubicBezTo>
                  <a:cubicBezTo>
                    <a:pt x="36265" y="17496"/>
                    <a:pt x="36583" y="18132"/>
                    <a:pt x="36583" y="18450"/>
                  </a:cubicBezTo>
                  <a:cubicBezTo>
                    <a:pt x="36583" y="18769"/>
                    <a:pt x="36265" y="18769"/>
                    <a:pt x="36265" y="19087"/>
                  </a:cubicBezTo>
                  <a:cubicBezTo>
                    <a:pt x="35947" y="20677"/>
                    <a:pt x="35629" y="22586"/>
                    <a:pt x="34992" y="24177"/>
                  </a:cubicBezTo>
                  <a:lnTo>
                    <a:pt x="34992" y="24813"/>
                  </a:lnTo>
                  <a:cubicBezTo>
                    <a:pt x="34992" y="25131"/>
                    <a:pt x="34992" y="25767"/>
                    <a:pt x="34992" y="26085"/>
                  </a:cubicBezTo>
                  <a:cubicBezTo>
                    <a:pt x="34992" y="26721"/>
                    <a:pt x="34992" y="27358"/>
                    <a:pt x="34992" y="27994"/>
                  </a:cubicBezTo>
                  <a:cubicBezTo>
                    <a:pt x="34992" y="28630"/>
                    <a:pt x="34992" y="29584"/>
                    <a:pt x="35311" y="30221"/>
                  </a:cubicBezTo>
                  <a:lnTo>
                    <a:pt x="35311" y="30539"/>
                  </a:lnTo>
                  <a:cubicBezTo>
                    <a:pt x="34674" y="31493"/>
                    <a:pt x="34674" y="32447"/>
                    <a:pt x="34356" y="33402"/>
                  </a:cubicBezTo>
                  <a:cubicBezTo>
                    <a:pt x="33720" y="35310"/>
                    <a:pt x="33720" y="37219"/>
                    <a:pt x="33402" y="39128"/>
                  </a:cubicBezTo>
                  <a:cubicBezTo>
                    <a:pt x="33402" y="40082"/>
                    <a:pt x="33084" y="41036"/>
                    <a:pt x="33084" y="41991"/>
                  </a:cubicBezTo>
                  <a:cubicBezTo>
                    <a:pt x="33084" y="42627"/>
                    <a:pt x="33084" y="42945"/>
                    <a:pt x="33402" y="43581"/>
                  </a:cubicBezTo>
                  <a:cubicBezTo>
                    <a:pt x="33084" y="44536"/>
                    <a:pt x="32765" y="45172"/>
                    <a:pt x="32765" y="46126"/>
                  </a:cubicBezTo>
                  <a:cubicBezTo>
                    <a:pt x="32765" y="46762"/>
                    <a:pt x="33084" y="47717"/>
                    <a:pt x="33402" y="48353"/>
                  </a:cubicBezTo>
                  <a:cubicBezTo>
                    <a:pt x="33084" y="48353"/>
                    <a:pt x="33084" y="48671"/>
                    <a:pt x="33084" y="48989"/>
                  </a:cubicBezTo>
                  <a:cubicBezTo>
                    <a:pt x="33084" y="49307"/>
                    <a:pt x="33084" y="49625"/>
                    <a:pt x="33084" y="49944"/>
                  </a:cubicBezTo>
                  <a:cubicBezTo>
                    <a:pt x="33084" y="50262"/>
                    <a:pt x="33084" y="50262"/>
                    <a:pt x="33084" y="50580"/>
                  </a:cubicBezTo>
                  <a:cubicBezTo>
                    <a:pt x="33084" y="50898"/>
                    <a:pt x="33084" y="51852"/>
                    <a:pt x="32765" y="52170"/>
                  </a:cubicBezTo>
                  <a:cubicBezTo>
                    <a:pt x="32447" y="52807"/>
                    <a:pt x="32129" y="53125"/>
                    <a:pt x="32129" y="53761"/>
                  </a:cubicBezTo>
                  <a:cubicBezTo>
                    <a:pt x="32129" y="55033"/>
                    <a:pt x="31493" y="55988"/>
                    <a:pt x="31493" y="56942"/>
                  </a:cubicBezTo>
                  <a:cubicBezTo>
                    <a:pt x="31493" y="57260"/>
                    <a:pt x="31493" y="57578"/>
                    <a:pt x="31811" y="57896"/>
                  </a:cubicBezTo>
                  <a:lnTo>
                    <a:pt x="31811" y="60123"/>
                  </a:lnTo>
                  <a:cubicBezTo>
                    <a:pt x="31493" y="60759"/>
                    <a:pt x="31493" y="61396"/>
                    <a:pt x="31493" y="62032"/>
                  </a:cubicBezTo>
                  <a:cubicBezTo>
                    <a:pt x="31493" y="62668"/>
                    <a:pt x="31493" y="62986"/>
                    <a:pt x="31493" y="63622"/>
                  </a:cubicBezTo>
                  <a:cubicBezTo>
                    <a:pt x="31493" y="63940"/>
                    <a:pt x="31493" y="64259"/>
                    <a:pt x="31493" y="64577"/>
                  </a:cubicBezTo>
                  <a:cubicBezTo>
                    <a:pt x="31493" y="65213"/>
                    <a:pt x="31175" y="66803"/>
                    <a:pt x="30857" y="66803"/>
                  </a:cubicBezTo>
                  <a:lnTo>
                    <a:pt x="30857" y="67440"/>
                  </a:lnTo>
                  <a:cubicBezTo>
                    <a:pt x="31175" y="67440"/>
                    <a:pt x="31493" y="67440"/>
                    <a:pt x="31493" y="67122"/>
                  </a:cubicBezTo>
                  <a:lnTo>
                    <a:pt x="34992" y="62032"/>
                  </a:lnTo>
                  <a:cubicBezTo>
                    <a:pt x="35629" y="61714"/>
                    <a:pt x="35947" y="60759"/>
                    <a:pt x="36265" y="60123"/>
                  </a:cubicBezTo>
                  <a:cubicBezTo>
                    <a:pt x="37219" y="57578"/>
                    <a:pt x="38810" y="55351"/>
                    <a:pt x="40082" y="53125"/>
                  </a:cubicBezTo>
                  <a:lnTo>
                    <a:pt x="44536" y="46444"/>
                  </a:lnTo>
                  <a:cubicBezTo>
                    <a:pt x="45172" y="46126"/>
                    <a:pt x="45808" y="45172"/>
                    <a:pt x="46444" y="44218"/>
                  </a:cubicBezTo>
                  <a:lnTo>
                    <a:pt x="48353" y="41991"/>
                  </a:lnTo>
                  <a:cubicBezTo>
                    <a:pt x="48989" y="41355"/>
                    <a:pt x="49307" y="40400"/>
                    <a:pt x="50262" y="39764"/>
                  </a:cubicBezTo>
                  <a:cubicBezTo>
                    <a:pt x="50580" y="39446"/>
                    <a:pt x="50898" y="39128"/>
                    <a:pt x="51216" y="39128"/>
                  </a:cubicBezTo>
                  <a:cubicBezTo>
                    <a:pt x="52170" y="37537"/>
                    <a:pt x="53125" y="35629"/>
                    <a:pt x="54715" y="34674"/>
                  </a:cubicBezTo>
                  <a:cubicBezTo>
                    <a:pt x="55352" y="34674"/>
                    <a:pt x="55352" y="34356"/>
                    <a:pt x="55670" y="34038"/>
                  </a:cubicBezTo>
                  <a:lnTo>
                    <a:pt x="56306" y="33402"/>
                  </a:lnTo>
                  <a:cubicBezTo>
                    <a:pt x="58214" y="32129"/>
                    <a:pt x="59805" y="30539"/>
                    <a:pt x="61396" y="28948"/>
                  </a:cubicBezTo>
                  <a:cubicBezTo>
                    <a:pt x="61714" y="28630"/>
                    <a:pt x="62032" y="28630"/>
                    <a:pt x="62350" y="28630"/>
                  </a:cubicBezTo>
                  <a:cubicBezTo>
                    <a:pt x="62350" y="28948"/>
                    <a:pt x="62668" y="28948"/>
                    <a:pt x="62668" y="28948"/>
                  </a:cubicBezTo>
                  <a:cubicBezTo>
                    <a:pt x="62668" y="28948"/>
                    <a:pt x="62986" y="28948"/>
                    <a:pt x="62986" y="28630"/>
                  </a:cubicBezTo>
                  <a:cubicBezTo>
                    <a:pt x="63941" y="28312"/>
                    <a:pt x="64577" y="27676"/>
                    <a:pt x="65213" y="27676"/>
                  </a:cubicBezTo>
                  <a:lnTo>
                    <a:pt x="65531" y="27676"/>
                  </a:lnTo>
                  <a:cubicBezTo>
                    <a:pt x="65849" y="27676"/>
                    <a:pt x="65849" y="27358"/>
                    <a:pt x="65849" y="27040"/>
                  </a:cubicBezTo>
                  <a:cubicBezTo>
                    <a:pt x="66485" y="25767"/>
                    <a:pt x="67440" y="25131"/>
                    <a:pt x="69348" y="24177"/>
                  </a:cubicBezTo>
                  <a:cubicBezTo>
                    <a:pt x="69985" y="23858"/>
                    <a:pt x="70939" y="23858"/>
                    <a:pt x="70939" y="22904"/>
                  </a:cubicBezTo>
                  <a:cubicBezTo>
                    <a:pt x="71257" y="22904"/>
                    <a:pt x="71257" y="22586"/>
                    <a:pt x="71257" y="22586"/>
                  </a:cubicBezTo>
                  <a:cubicBezTo>
                    <a:pt x="72211" y="22268"/>
                    <a:pt x="73166" y="21950"/>
                    <a:pt x="73802" y="21950"/>
                  </a:cubicBezTo>
                  <a:cubicBezTo>
                    <a:pt x="74120" y="21950"/>
                    <a:pt x="74120" y="21950"/>
                    <a:pt x="74438" y="21950"/>
                  </a:cubicBezTo>
                  <a:cubicBezTo>
                    <a:pt x="74756" y="21950"/>
                    <a:pt x="75393" y="21950"/>
                    <a:pt x="75711" y="22268"/>
                  </a:cubicBezTo>
                  <a:cubicBezTo>
                    <a:pt x="76029" y="22268"/>
                    <a:pt x="76347" y="22586"/>
                    <a:pt x="76665" y="22586"/>
                  </a:cubicBezTo>
                  <a:cubicBezTo>
                    <a:pt x="76983" y="22586"/>
                    <a:pt x="77619" y="22268"/>
                    <a:pt x="77937" y="21950"/>
                  </a:cubicBezTo>
                  <a:cubicBezTo>
                    <a:pt x="78256" y="21950"/>
                    <a:pt x="78256" y="21632"/>
                    <a:pt x="78574" y="21632"/>
                  </a:cubicBezTo>
                  <a:cubicBezTo>
                    <a:pt x="78892" y="21632"/>
                    <a:pt x="79210" y="21950"/>
                    <a:pt x="79528" y="21950"/>
                  </a:cubicBezTo>
                  <a:cubicBezTo>
                    <a:pt x="80164" y="21632"/>
                    <a:pt x="80482" y="21632"/>
                    <a:pt x="81437" y="21632"/>
                  </a:cubicBezTo>
                  <a:cubicBezTo>
                    <a:pt x="82709" y="21950"/>
                    <a:pt x="83663" y="21632"/>
                    <a:pt x="84618" y="22586"/>
                  </a:cubicBezTo>
                  <a:lnTo>
                    <a:pt x="84936" y="22586"/>
                  </a:lnTo>
                  <a:cubicBezTo>
                    <a:pt x="85254" y="22586"/>
                    <a:pt x="85254" y="22586"/>
                    <a:pt x="85572" y="22586"/>
                  </a:cubicBezTo>
                  <a:cubicBezTo>
                    <a:pt x="86208" y="22586"/>
                    <a:pt x="86844" y="22904"/>
                    <a:pt x="87163" y="23540"/>
                  </a:cubicBezTo>
                  <a:cubicBezTo>
                    <a:pt x="87163" y="23858"/>
                    <a:pt x="86844" y="24177"/>
                    <a:pt x="86844" y="24177"/>
                  </a:cubicBezTo>
                  <a:cubicBezTo>
                    <a:pt x="86844" y="24813"/>
                    <a:pt x="87799" y="24495"/>
                    <a:pt x="88117" y="25131"/>
                  </a:cubicBezTo>
                  <a:cubicBezTo>
                    <a:pt x="88435" y="25131"/>
                    <a:pt x="88753" y="25131"/>
                    <a:pt x="89390" y="25131"/>
                  </a:cubicBezTo>
                  <a:cubicBezTo>
                    <a:pt x="89708" y="25131"/>
                    <a:pt x="90026" y="25131"/>
                    <a:pt x="90344" y="25131"/>
                  </a:cubicBezTo>
                  <a:cubicBezTo>
                    <a:pt x="90662" y="24813"/>
                    <a:pt x="91298" y="24813"/>
                    <a:pt x="91616" y="24813"/>
                  </a:cubicBezTo>
                  <a:cubicBezTo>
                    <a:pt x="92571" y="24813"/>
                    <a:pt x="93207" y="25131"/>
                    <a:pt x="93843" y="25131"/>
                  </a:cubicBezTo>
                  <a:cubicBezTo>
                    <a:pt x="94161" y="25131"/>
                    <a:pt x="94161" y="25131"/>
                    <a:pt x="94161" y="25449"/>
                  </a:cubicBezTo>
                  <a:cubicBezTo>
                    <a:pt x="94161" y="26721"/>
                    <a:pt x="94161" y="27994"/>
                    <a:pt x="94797" y="28948"/>
                  </a:cubicBezTo>
                  <a:lnTo>
                    <a:pt x="94797" y="29266"/>
                  </a:lnTo>
                  <a:cubicBezTo>
                    <a:pt x="94797" y="29584"/>
                    <a:pt x="94479" y="29903"/>
                    <a:pt x="94161" y="29903"/>
                  </a:cubicBezTo>
                  <a:lnTo>
                    <a:pt x="93525" y="29903"/>
                  </a:lnTo>
                  <a:lnTo>
                    <a:pt x="93525" y="30539"/>
                  </a:lnTo>
                  <a:cubicBezTo>
                    <a:pt x="93525" y="30857"/>
                    <a:pt x="93525" y="31493"/>
                    <a:pt x="93207" y="31493"/>
                  </a:cubicBezTo>
                  <a:cubicBezTo>
                    <a:pt x="92889" y="31493"/>
                    <a:pt x="92571" y="31175"/>
                    <a:pt x="92252" y="31175"/>
                  </a:cubicBezTo>
                  <a:cubicBezTo>
                    <a:pt x="92252" y="31175"/>
                    <a:pt x="91934" y="31175"/>
                    <a:pt x="91934" y="31493"/>
                  </a:cubicBezTo>
                  <a:cubicBezTo>
                    <a:pt x="91934" y="31493"/>
                    <a:pt x="91934" y="31811"/>
                    <a:pt x="91934" y="32129"/>
                  </a:cubicBezTo>
                  <a:lnTo>
                    <a:pt x="91934" y="32447"/>
                  </a:lnTo>
                  <a:cubicBezTo>
                    <a:pt x="91934" y="33084"/>
                    <a:pt x="91934" y="33084"/>
                    <a:pt x="90980" y="33084"/>
                  </a:cubicBezTo>
                  <a:cubicBezTo>
                    <a:pt x="90662" y="33084"/>
                    <a:pt x="90344" y="33084"/>
                    <a:pt x="90344" y="33402"/>
                  </a:cubicBezTo>
                  <a:cubicBezTo>
                    <a:pt x="90344" y="33402"/>
                    <a:pt x="90344" y="33402"/>
                    <a:pt x="90344" y="33720"/>
                  </a:cubicBezTo>
                  <a:lnTo>
                    <a:pt x="90662" y="34038"/>
                  </a:lnTo>
                  <a:lnTo>
                    <a:pt x="90662" y="34356"/>
                  </a:lnTo>
                  <a:cubicBezTo>
                    <a:pt x="90662" y="34674"/>
                    <a:pt x="90026" y="34992"/>
                    <a:pt x="90026" y="34674"/>
                  </a:cubicBezTo>
                  <a:lnTo>
                    <a:pt x="89390" y="34674"/>
                  </a:lnTo>
                  <a:cubicBezTo>
                    <a:pt x="88435" y="33720"/>
                    <a:pt x="87163" y="33402"/>
                    <a:pt x="85572" y="32766"/>
                  </a:cubicBezTo>
                  <a:cubicBezTo>
                    <a:pt x="84936" y="32766"/>
                    <a:pt x="84300" y="32447"/>
                    <a:pt x="83345" y="32447"/>
                  </a:cubicBezTo>
                  <a:cubicBezTo>
                    <a:pt x="82073" y="32447"/>
                    <a:pt x="80800" y="32447"/>
                    <a:pt x="79846" y="33084"/>
                  </a:cubicBezTo>
                  <a:cubicBezTo>
                    <a:pt x="79846" y="33402"/>
                    <a:pt x="79846" y="33402"/>
                    <a:pt x="79528" y="33402"/>
                  </a:cubicBezTo>
                  <a:cubicBezTo>
                    <a:pt x="78256" y="33720"/>
                    <a:pt x="77301" y="34356"/>
                    <a:pt x="76665" y="34992"/>
                  </a:cubicBezTo>
                  <a:lnTo>
                    <a:pt x="70303" y="39128"/>
                  </a:lnTo>
                  <a:lnTo>
                    <a:pt x="69030" y="41355"/>
                  </a:lnTo>
                  <a:lnTo>
                    <a:pt x="68394" y="42309"/>
                  </a:lnTo>
                  <a:cubicBezTo>
                    <a:pt x="66803" y="43581"/>
                    <a:pt x="65849" y="45172"/>
                    <a:pt x="64577" y="46444"/>
                  </a:cubicBezTo>
                  <a:cubicBezTo>
                    <a:pt x="63941" y="48353"/>
                    <a:pt x="62668" y="49307"/>
                    <a:pt x="61396" y="51216"/>
                  </a:cubicBezTo>
                  <a:cubicBezTo>
                    <a:pt x="60441" y="52170"/>
                    <a:pt x="59805" y="53125"/>
                    <a:pt x="59169" y="54079"/>
                  </a:cubicBezTo>
                  <a:cubicBezTo>
                    <a:pt x="58851" y="54397"/>
                    <a:pt x="58851" y="55033"/>
                    <a:pt x="58851" y="55351"/>
                  </a:cubicBezTo>
                  <a:cubicBezTo>
                    <a:pt x="58214" y="56306"/>
                    <a:pt x="57578" y="57578"/>
                    <a:pt x="56624" y="57896"/>
                  </a:cubicBezTo>
                  <a:cubicBezTo>
                    <a:pt x="55988" y="58533"/>
                    <a:pt x="55352" y="59487"/>
                    <a:pt x="55033" y="60441"/>
                  </a:cubicBezTo>
                  <a:cubicBezTo>
                    <a:pt x="54715" y="61714"/>
                    <a:pt x="54397" y="62668"/>
                    <a:pt x="53761" y="63622"/>
                  </a:cubicBezTo>
                  <a:cubicBezTo>
                    <a:pt x="53125" y="64895"/>
                    <a:pt x="52488" y="66803"/>
                    <a:pt x="51216" y="68076"/>
                  </a:cubicBezTo>
                  <a:cubicBezTo>
                    <a:pt x="50898" y="68394"/>
                    <a:pt x="50580" y="68712"/>
                    <a:pt x="50580" y="69030"/>
                  </a:cubicBezTo>
                  <a:cubicBezTo>
                    <a:pt x="49944" y="69030"/>
                    <a:pt x="49626" y="69985"/>
                    <a:pt x="49626" y="71257"/>
                  </a:cubicBezTo>
                  <a:cubicBezTo>
                    <a:pt x="49626" y="71575"/>
                    <a:pt x="49626" y="71575"/>
                    <a:pt x="49307" y="71575"/>
                  </a:cubicBezTo>
                  <a:cubicBezTo>
                    <a:pt x="48353" y="71893"/>
                    <a:pt x="48353" y="72848"/>
                    <a:pt x="48353" y="73802"/>
                  </a:cubicBezTo>
                  <a:cubicBezTo>
                    <a:pt x="48353" y="74438"/>
                    <a:pt x="48035" y="74756"/>
                    <a:pt x="47717" y="74756"/>
                  </a:cubicBezTo>
                  <a:cubicBezTo>
                    <a:pt x="47081" y="74756"/>
                    <a:pt x="46762" y="75393"/>
                    <a:pt x="46444" y="75393"/>
                  </a:cubicBezTo>
                  <a:cubicBezTo>
                    <a:pt x="46126" y="75711"/>
                    <a:pt x="46126" y="76029"/>
                    <a:pt x="46126" y="76347"/>
                  </a:cubicBezTo>
                  <a:cubicBezTo>
                    <a:pt x="46126" y="76665"/>
                    <a:pt x="46126" y="76983"/>
                    <a:pt x="46126" y="76983"/>
                  </a:cubicBezTo>
                  <a:cubicBezTo>
                    <a:pt x="46126" y="77301"/>
                    <a:pt x="46126" y="77301"/>
                    <a:pt x="46126" y="77619"/>
                  </a:cubicBezTo>
                  <a:lnTo>
                    <a:pt x="44218" y="83027"/>
                  </a:lnTo>
                  <a:cubicBezTo>
                    <a:pt x="44218" y="83027"/>
                    <a:pt x="43899" y="83027"/>
                    <a:pt x="43899" y="83345"/>
                  </a:cubicBezTo>
                  <a:lnTo>
                    <a:pt x="42945" y="84300"/>
                  </a:lnTo>
                  <a:lnTo>
                    <a:pt x="42945" y="84618"/>
                  </a:lnTo>
                  <a:lnTo>
                    <a:pt x="41673" y="85890"/>
                  </a:lnTo>
                  <a:cubicBezTo>
                    <a:pt x="41673" y="86208"/>
                    <a:pt x="41673" y="86526"/>
                    <a:pt x="41673" y="86845"/>
                  </a:cubicBezTo>
                  <a:cubicBezTo>
                    <a:pt x="41673" y="87163"/>
                    <a:pt x="41673" y="87163"/>
                    <a:pt x="41673" y="87481"/>
                  </a:cubicBezTo>
                  <a:cubicBezTo>
                    <a:pt x="41355" y="88435"/>
                    <a:pt x="41355" y="88753"/>
                    <a:pt x="40400" y="89071"/>
                  </a:cubicBezTo>
                  <a:lnTo>
                    <a:pt x="40400" y="90026"/>
                  </a:lnTo>
                  <a:close/>
                  <a:moveTo>
                    <a:pt x="40400" y="88435"/>
                  </a:moveTo>
                  <a:lnTo>
                    <a:pt x="40082" y="88435"/>
                  </a:lnTo>
                  <a:cubicBezTo>
                    <a:pt x="40082" y="88753"/>
                    <a:pt x="40400" y="88753"/>
                    <a:pt x="40400" y="89071"/>
                  </a:cubicBezTo>
                  <a:lnTo>
                    <a:pt x="40400" y="88435"/>
                  </a:lnTo>
                  <a:close/>
                </a:path>
              </a:pathLst>
            </a:custGeom>
            <a:solidFill>
              <a:srgbClr val="000000"/>
            </a:solidFill>
            <a:ln w="63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6DEF55F5-5A9C-4891-8ACD-79BBC81DE1DD}"/>
                </a:ext>
              </a:extLst>
            </p:cNvPr>
            <p:cNvSpPr/>
            <p:nvPr/>
          </p:nvSpPr>
          <p:spPr>
            <a:xfrm>
              <a:off x="3099686" y="3542469"/>
              <a:ext cx="108158" cy="171780"/>
            </a:xfrm>
            <a:custGeom>
              <a:avLst/>
              <a:gdLst>
                <a:gd name="connsiteX0" fmla="*/ 65213 w 108157"/>
                <a:gd name="connsiteY0" fmla="*/ 154602 h 171780"/>
                <a:gd name="connsiteX1" fmla="*/ 64895 w 108157"/>
                <a:gd name="connsiteY1" fmla="*/ 153330 h 171780"/>
                <a:gd name="connsiteX2" fmla="*/ 64895 w 108157"/>
                <a:gd name="connsiteY2" fmla="*/ 151739 h 171780"/>
                <a:gd name="connsiteX3" fmla="*/ 64577 w 108157"/>
                <a:gd name="connsiteY3" fmla="*/ 148876 h 171780"/>
                <a:gd name="connsiteX4" fmla="*/ 63940 w 108157"/>
                <a:gd name="connsiteY4" fmla="*/ 147286 h 171780"/>
                <a:gd name="connsiteX5" fmla="*/ 64895 w 108157"/>
                <a:gd name="connsiteY5" fmla="*/ 143787 h 171780"/>
                <a:gd name="connsiteX6" fmla="*/ 64895 w 108157"/>
                <a:gd name="connsiteY6" fmla="*/ 142514 h 171780"/>
                <a:gd name="connsiteX7" fmla="*/ 64577 w 108157"/>
                <a:gd name="connsiteY7" fmla="*/ 140924 h 171780"/>
                <a:gd name="connsiteX8" fmla="*/ 64577 w 108157"/>
                <a:gd name="connsiteY8" fmla="*/ 139333 h 171780"/>
                <a:gd name="connsiteX9" fmla="*/ 63940 w 108157"/>
                <a:gd name="connsiteY9" fmla="*/ 136788 h 171780"/>
                <a:gd name="connsiteX10" fmla="*/ 65213 w 108157"/>
                <a:gd name="connsiteY10" fmla="*/ 111657 h 171780"/>
                <a:gd name="connsiteX11" fmla="*/ 65213 w 108157"/>
                <a:gd name="connsiteY11" fmla="*/ 111021 h 171780"/>
                <a:gd name="connsiteX12" fmla="*/ 66803 w 108157"/>
                <a:gd name="connsiteY12" fmla="*/ 110703 h 171780"/>
                <a:gd name="connsiteX13" fmla="*/ 66803 w 108157"/>
                <a:gd name="connsiteY13" fmla="*/ 109430 h 171780"/>
                <a:gd name="connsiteX14" fmla="*/ 65849 w 108157"/>
                <a:gd name="connsiteY14" fmla="*/ 108476 h 171780"/>
                <a:gd name="connsiteX15" fmla="*/ 65531 w 108157"/>
                <a:gd name="connsiteY15" fmla="*/ 107204 h 171780"/>
                <a:gd name="connsiteX16" fmla="*/ 65531 w 108157"/>
                <a:gd name="connsiteY16" fmla="*/ 106567 h 171780"/>
                <a:gd name="connsiteX17" fmla="*/ 65849 w 108157"/>
                <a:gd name="connsiteY17" fmla="*/ 105613 h 171780"/>
                <a:gd name="connsiteX18" fmla="*/ 66803 w 108157"/>
                <a:gd name="connsiteY18" fmla="*/ 104023 h 171780"/>
                <a:gd name="connsiteX19" fmla="*/ 66803 w 108157"/>
                <a:gd name="connsiteY19" fmla="*/ 103704 h 171780"/>
                <a:gd name="connsiteX20" fmla="*/ 65849 w 108157"/>
                <a:gd name="connsiteY20" fmla="*/ 103386 h 171780"/>
                <a:gd name="connsiteX21" fmla="*/ 66167 w 108157"/>
                <a:gd name="connsiteY21" fmla="*/ 103704 h 171780"/>
                <a:gd name="connsiteX22" fmla="*/ 65531 w 108157"/>
                <a:gd name="connsiteY22" fmla="*/ 104023 h 171780"/>
                <a:gd name="connsiteX23" fmla="*/ 64577 w 108157"/>
                <a:gd name="connsiteY23" fmla="*/ 104659 h 171780"/>
                <a:gd name="connsiteX24" fmla="*/ 64259 w 108157"/>
                <a:gd name="connsiteY24" fmla="*/ 104341 h 171780"/>
                <a:gd name="connsiteX25" fmla="*/ 63622 w 108157"/>
                <a:gd name="connsiteY25" fmla="*/ 104341 h 171780"/>
                <a:gd name="connsiteX26" fmla="*/ 61077 w 108157"/>
                <a:gd name="connsiteY26" fmla="*/ 105931 h 171780"/>
                <a:gd name="connsiteX27" fmla="*/ 59169 w 108157"/>
                <a:gd name="connsiteY27" fmla="*/ 108158 h 171780"/>
                <a:gd name="connsiteX28" fmla="*/ 57896 w 108157"/>
                <a:gd name="connsiteY28" fmla="*/ 109749 h 171780"/>
                <a:gd name="connsiteX29" fmla="*/ 56942 w 108157"/>
                <a:gd name="connsiteY29" fmla="*/ 110703 h 171780"/>
                <a:gd name="connsiteX30" fmla="*/ 56942 w 108157"/>
                <a:gd name="connsiteY30" fmla="*/ 111021 h 171780"/>
                <a:gd name="connsiteX31" fmla="*/ 55033 w 108157"/>
                <a:gd name="connsiteY31" fmla="*/ 113884 h 171780"/>
                <a:gd name="connsiteX32" fmla="*/ 55033 w 108157"/>
                <a:gd name="connsiteY32" fmla="*/ 114202 h 171780"/>
                <a:gd name="connsiteX33" fmla="*/ 53125 w 108157"/>
                <a:gd name="connsiteY33" fmla="*/ 117701 h 171780"/>
                <a:gd name="connsiteX34" fmla="*/ 52488 w 108157"/>
                <a:gd name="connsiteY34" fmla="*/ 118338 h 171780"/>
                <a:gd name="connsiteX35" fmla="*/ 50262 w 108157"/>
                <a:gd name="connsiteY35" fmla="*/ 119610 h 171780"/>
                <a:gd name="connsiteX36" fmla="*/ 49307 w 108157"/>
                <a:gd name="connsiteY36" fmla="*/ 121201 h 171780"/>
                <a:gd name="connsiteX37" fmla="*/ 42945 w 108157"/>
                <a:gd name="connsiteY37" fmla="*/ 126290 h 171780"/>
                <a:gd name="connsiteX38" fmla="*/ 39764 w 108157"/>
                <a:gd name="connsiteY38" fmla="*/ 127245 h 171780"/>
                <a:gd name="connsiteX39" fmla="*/ 38810 w 108157"/>
                <a:gd name="connsiteY39" fmla="*/ 127881 h 171780"/>
                <a:gd name="connsiteX40" fmla="*/ 33402 w 108157"/>
                <a:gd name="connsiteY40" fmla="*/ 128835 h 171780"/>
                <a:gd name="connsiteX41" fmla="*/ 31175 w 108157"/>
                <a:gd name="connsiteY41" fmla="*/ 128835 h 171780"/>
                <a:gd name="connsiteX42" fmla="*/ 25767 w 108157"/>
                <a:gd name="connsiteY42" fmla="*/ 129471 h 171780"/>
                <a:gd name="connsiteX43" fmla="*/ 23858 w 108157"/>
                <a:gd name="connsiteY43" fmla="*/ 129471 h 171780"/>
                <a:gd name="connsiteX44" fmla="*/ 22268 w 108157"/>
                <a:gd name="connsiteY44" fmla="*/ 128835 h 171780"/>
                <a:gd name="connsiteX45" fmla="*/ 20995 w 108157"/>
                <a:gd name="connsiteY45" fmla="*/ 128199 h 171780"/>
                <a:gd name="connsiteX46" fmla="*/ 19723 w 108157"/>
                <a:gd name="connsiteY46" fmla="*/ 128199 h 171780"/>
                <a:gd name="connsiteX47" fmla="*/ 17814 w 108157"/>
                <a:gd name="connsiteY47" fmla="*/ 127881 h 171780"/>
                <a:gd name="connsiteX48" fmla="*/ 15906 w 108157"/>
                <a:gd name="connsiteY48" fmla="*/ 127563 h 171780"/>
                <a:gd name="connsiteX49" fmla="*/ 12724 w 108157"/>
                <a:gd name="connsiteY49" fmla="*/ 127563 h 171780"/>
                <a:gd name="connsiteX50" fmla="*/ 11770 w 108157"/>
                <a:gd name="connsiteY50" fmla="*/ 126608 h 171780"/>
                <a:gd name="connsiteX51" fmla="*/ 7953 w 108157"/>
                <a:gd name="connsiteY51" fmla="*/ 122791 h 171780"/>
                <a:gd name="connsiteX52" fmla="*/ 6998 w 108157"/>
                <a:gd name="connsiteY52" fmla="*/ 121837 h 171780"/>
                <a:gd name="connsiteX53" fmla="*/ 5408 w 108157"/>
                <a:gd name="connsiteY53" fmla="*/ 118656 h 171780"/>
                <a:gd name="connsiteX54" fmla="*/ 3181 w 108157"/>
                <a:gd name="connsiteY54" fmla="*/ 115793 h 171780"/>
                <a:gd name="connsiteX55" fmla="*/ 2227 w 108157"/>
                <a:gd name="connsiteY55" fmla="*/ 114202 h 171780"/>
                <a:gd name="connsiteX56" fmla="*/ 2545 w 108157"/>
                <a:gd name="connsiteY56" fmla="*/ 113566 h 171780"/>
                <a:gd name="connsiteX57" fmla="*/ 3499 w 108157"/>
                <a:gd name="connsiteY57" fmla="*/ 113248 h 171780"/>
                <a:gd name="connsiteX58" fmla="*/ 2863 w 108157"/>
                <a:gd name="connsiteY58" fmla="*/ 112293 h 171780"/>
                <a:gd name="connsiteX59" fmla="*/ 2545 w 108157"/>
                <a:gd name="connsiteY59" fmla="*/ 111975 h 171780"/>
                <a:gd name="connsiteX60" fmla="*/ 2227 w 108157"/>
                <a:gd name="connsiteY60" fmla="*/ 111975 h 171780"/>
                <a:gd name="connsiteX61" fmla="*/ 2227 w 108157"/>
                <a:gd name="connsiteY61" fmla="*/ 112293 h 171780"/>
                <a:gd name="connsiteX62" fmla="*/ 1273 w 108157"/>
                <a:gd name="connsiteY62" fmla="*/ 112293 h 171780"/>
                <a:gd name="connsiteX63" fmla="*/ 636 w 108157"/>
                <a:gd name="connsiteY63" fmla="*/ 109112 h 171780"/>
                <a:gd name="connsiteX64" fmla="*/ 0 w 108157"/>
                <a:gd name="connsiteY64" fmla="*/ 107840 h 171780"/>
                <a:gd name="connsiteX65" fmla="*/ 318 w 108157"/>
                <a:gd name="connsiteY65" fmla="*/ 106886 h 171780"/>
                <a:gd name="connsiteX66" fmla="*/ 636 w 108157"/>
                <a:gd name="connsiteY66" fmla="*/ 106886 h 171780"/>
                <a:gd name="connsiteX67" fmla="*/ 954 w 108157"/>
                <a:gd name="connsiteY67" fmla="*/ 107204 h 171780"/>
                <a:gd name="connsiteX68" fmla="*/ 954 w 108157"/>
                <a:gd name="connsiteY68" fmla="*/ 107522 h 171780"/>
                <a:gd name="connsiteX69" fmla="*/ 1591 w 108157"/>
                <a:gd name="connsiteY69" fmla="*/ 109430 h 171780"/>
                <a:gd name="connsiteX70" fmla="*/ 1909 w 108157"/>
                <a:gd name="connsiteY70" fmla="*/ 110385 h 171780"/>
                <a:gd name="connsiteX71" fmla="*/ 2545 w 108157"/>
                <a:gd name="connsiteY71" fmla="*/ 111021 h 171780"/>
                <a:gd name="connsiteX72" fmla="*/ 2863 w 108157"/>
                <a:gd name="connsiteY72" fmla="*/ 110703 h 171780"/>
                <a:gd name="connsiteX73" fmla="*/ 2863 w 108157"/>
                <a:gd name="connsiteY73" fmla="*/ 108476 h 171780"/>
                <a:gd name="connsiteX74" fmla="*/ 3499 w 108157"/>
                <a:gd name="connsiteY74" fmla="*/ 107204 h 171780"/>
                <a:gd name="connsiteX75" fmla="*/ 3181 w 108157"/>
                <a:gd name="connsiteY75" fmla="*/ 106249 h 171780"/>
                <a:gd name="connsiteX76" fmla="*/ 2545 w 108157"/>
                <a:gd name="connsiteY76" fmla="*/ 102432 h 171780"/>
                <a:gd name="connsiteX77" fmla="*/ 2545 w 108157"/>
                <a:gd name="connsiteY77" fmla="*/ 97660 h 171780"/>
                <a:gd name="connsiteX78" fmla="*/ 2863 w 108157"/>
                <a:gd name="connsiteY78" fmla="*/ 96706 h 171780"/>
                <a:gd name="connsiteX79" fmla="*/ 2863 w 108157"/>
                <a:gd name="connsiteY79" fmla="*/ 94479 h 171780"/>
                <a:gd name="connsiteX80" fmla="*/ 5408 w 108157"/>
                <a:gd name="connsiteY80" fmla="*/ 92889 h 171780"/>
                <a:gd name="connsiteX81" fmla="*/ 4135 w 108157"/>
                <a:gd name="connsiteY81" fmla="*/ 91298 h 171780"/>
                <a:gd name="connsiteX82" fmla="*/ 3499 w 108157"/>
                <a:gd name="connsiteY82" fmla="*/ 90980 h 171780"/>
                <a:gd name="connsiteX83" fmla="*/ 3181 w 108157"/>
                <a:gd name="connsiteY83" fmla="*/ 90980 h 171780"/>
                <a:gd name="connsiteX84" fmla="*/ 3817 w 108157"/>
                <a:gd name="connsiteY84" fmla="*/ 90344 h 171780"/>
                <a:gd name="connsiteX85" fmla="*/ 5726 w 108157"/>
                <a:gd name="connsiteY85" fmla="*/ 89071 h 171780"/>
                <a:gd name="connsiteX86" fmla="*/ 5726 w 108157"/>
                <a:gd name="connsiteY86" fmla="*/ 87163 h 171780"/>
                <a:gd name="connsiteX87" fmla="*/ 5408 w 108157"/>
                <a:gd name="connsiteY87" fmla="*/ 86845 h 171780"/>
                <a:gd name="connsiteX88" fmla="*/ 6044 w 108157"/>
                <a:gd name="connsiteY88" fmla="*/ 83982 h 171780"/>
                <a:gd name="connsiteX89" fmla="*/ 6362 w 108157"/>
                <a:gd name="connsiteY89" fmla="*/ 81437 h 171780"/>
                <a:gd name="connsiteX90" fmla="*/ 6680 w 108157"/>
                <a:gd name="connsiteY90" fmla="*/ 79528 h 171780"/>
                <a:gd name="connsiteX91" fmla="*/ 7635 w 108157"/>
                <a:gd name="connsiteY91" fmla="*/ 77301 h 171780"/>
                <a:gd name="connsiteX92" fmla="*/ 8907 w 108157"/>
                <a:gd name="connsiteY92" fmla="*/ 76029 h 171780"/>
                <a:gd name="connsiteX93" fmla="*/ 8907 w 108157"/>
                <a:gd name="connsiteY93" fmla="*/ 75711 h 171780"/>
                <a:gd name="connsiteX94" fmla="*/ 9225 w 108157"/>
                <a:gd name="connsiteY94" fmla="*/ 75074 h 171780"/>
                <a:gd name="connsiteX95" fmla="*/ 9225 w 108157"/>
                <a:gd name="connsiteY95" fmla="*/ 74756 h 171780"/>
                <a:gd name="connsiteX96" fmla="*/ 10498 w 108157"/>
                <a:gd name="connsiteY96" fmla="*/ 72848 h 171780"/>
                <a:gd name="connsiteX97" fmla="*/ 10816 w 108157"/>
                <a:gd name="connsiteY97" fmla="*/ 70939 h 171780"/>
                <a:gd name="connsiteX98" fmla="*/ 12088 w 108157"/>
                <a:gd name="connsiteY98" fmla="*/ 68394 h 171780"/>
                <a:gd name="connsiteX99" fmla="*/ 12724 w 108157"/>
                <a:gd name="connsiteY99" fmla="*/ 66167 h 171780"/>
                <a:gd name="connsiteX100" fmla="*/ 13361 w 108157"/>
                <a:gd name="connsiteY100" fmla="*/ 65213 h 171780"/>
                <a:gd name="connsiteX101" fmla="*/ 14315 w 108157"/>
                <a:gd name="connsiteY101" fmla="*/ 63304 h 171780"/>
                <a:gd name="connsiteX102" fmla="*/ 15588 w 108157"/>
                <a:gd name="connsiteY102" fmla="*/ 62350 h 171780"/>
                <a:gd name="connsiteX103" fmla="*/ 15588 w 108157"/>
                <a:gd name="connsiteY103" fmla="*/ 61077 h 171780"/>
                <a:gd name="connsiteX104" fmla="*/ 18132 w 108157"/>
                <a:gd name="connsiteY104" fmla="*/ 56942 h 171780"/>
                <a:gd name="connsiteX105" fmla="*/ 19087 w 108157"/>
                <a:gd name="connsiteY105" fmla="*/ 55670 h 171780"/>
                <a:gd name="connsiteX106" fmla="*/ 20677 w 108157"/>
                <a:gd name="connsiteY106" fmla="*/ 53761 h 171780"/>
                <a:gd name="connsiteX107" fmla="*/ 20995 w 108157"/>
                <a:gd name="connsiteY107" fmla="*/ 52807 h 171780"/>
                <a:gd name="connsiteX108" fmla="*/ 22904 w 108157"/>
                <a:gd name="connsiteY108" fmla="*/ 49944 h 171780"/>
                <a:gd name="connsiteX109" fmla="*/ 24176 w 108157"/>
                <a:gd name="connsiteY109" fmla="*/ 48353 h 171780"/>
                <a:gd name="connsiteX110" fmla="*/ 25131 w 108157"/>
                <a:gd name="connsiteY110" fmla="*/ 47717 h 171780"/>
                <a:gd name="connsiteX111" fmla="*/ 26721 w 108157"/>
                <a:gd name="connsiteY111" fmla="*/ 44854 h 171780"/>
                <a:gd name="connsiteX112" fmla="*/ 27040 w 108157"/>
                <a:gd name="connsiteY112" fmla="*/ 44536 h 171780"/>
                <a:gd name="connsiteX113" fmla="*/ 27358 w 108157"/>
                <a:gd name="connsiteY113" fmla="*/ 44536 h 171780"/>
                <a:gd name="connsiteX114" fmla="*/ 29266 w 108157"/>
                <a:gd name="connsiteY114" fmla="*/ 41036 h 171780"/>
                <a:gd name="connsiteX115" fmla="*/ 31175 w 108157"/>
                <a:gd name="connsiteY115" fmla="*/ 38492 h 171780"/>
                <a:gd name="connsiteX116" fmla="*/ 33402 w 108157"/>
                <a:gd name="connsiteY116" fmla="*/ 35310 h 171780"/>
                <a:gd name="connsiteX117" fmla="*/ 37537 w 108157"/>
                <a:gd name="connsiteY117" fmla="*/ 32129 h 171780"/>
                <a:gd name="connsiteX118" fmla="*/ 39446 w 108157"/>
                <a:gd name="connsiteY118" fmla="*/ 29903 h 171780"/>
                <a:gd name="connsiteX119" fmla="*/ 41355 w 108157"/>
                <a:gd name="connsiteY119" fmla="*/ 28630 h 171780"/>
                <a:gd name="connsiteX120" fmla="*/ 42945 w 108157"/>
                <a:gd name="connsiteY120" fmla="*/ 27676 h 171780"/>
                <a:gd name="connsiteX121" fmla="*/ 44854 w 108157"/>
                <a:gd name="connsiteY121" fmla="*/ 25449 h 171780"/>
                <a:gd name="connsiteX122" fmla="*/ 45172 w 108157"/>
                <a:gd name="connsiteY122" fmla="*/ 26085 h 171780"/>
                <a:gd name="connsiteX123" fmla="*/ 46126 w 108157"/>
                <a:gd name="connsiteY123" fmla="*/ 27676 h 171780"/>
                <a:gd name="connsiteX124" fmla="*/ 47081 w 108157"/>
                <a:gd name="connsiteY124" fmla="*/ 26403 h 171780"/>
                <a:gd name="connsiteX125" fmla="*/ 46444 w 108157"/>
                <a:gd name="connsiteY125" fmla="*/ 25131 h 171780"/>
                <a:gd name="connsiteX126" fmla="*/ 46444 w 108157"/>
                <a:gd name="connsiteY126" fmla="*/ 24813 h 171780"/>
                <a:gd name="connsiteX127" fmla="*/ 49944 w 108157"/>
                <a:gd name="connsiteY127" fmla="*/ 23222 h 171780"/>
                <a:gd name="connsiteX128" fmla="*/ 57896 w 108157"/>
                <a:gd name="connsiteY128" fmla="*/ 21632 h 171780"/>
                <a:gd name="connsiteX129" fmla="*/ 59805 w 108157"/>
                <a:gd name="connsiteY129" fmla="*/ 21313 h 171780"/>
                <a:gd name="connsiteX130" fmla="*/ 62350 w 108157"/>
                <a:gd name="connsiteY130" fmla="*/ 21632 h 171780"/>
                <a:gd name="connsiteX131" fmla="*/ 63304 w 108157"/>
                <a:gd name="connsiteY131" fmla="*/ 21950 h 171780"/>
                <a:gd name="connsiteX132" fmla="*/ 64259 w 108157"/>
                <a:gd name="connsiteY132" fmla="*/ 22268 h 171780"/>
                <a:gd name="connsiteX133" fmla="*/ 66485 w 108157"/>
                <a:gd name="connsiteY133" fmla="*/ 22586 h 171780"/>
                <a:gd name="connsiteX134" fmla="*/ 69667 w 108157"/>
                <a:gd name="connsiteY134" fmla="*/ 24813 h 171780"/>
                <a:gd name="connsiteX135" fmla="*/ 75074 w 108157"/>
                <a:gd name="connsiteY135" fmla="*/ 28630 h 171780"/>
                <a:gd name="connsiteX136" fmla="*/ 77937 w 108157"/>
                <a:gd name="connsiteY136" fmla="*/ 29584 h 171780"/>
                <a:gd name="connsiteX137" fmla="*/ 78574 w 108157"/>
                <a:gd name="connsiteY137" fmla="*/ 29903 h 171780"/>
                <a:gd name="connsiteX138" fmla="*/ 79846 w 108157"/>
                <a:gd name="connsiteY138" fmla="*/ 28948 h 171780"/>
                <a:gd name="connsiteX139" fmla="*/ 80482 w 108157"/>
                <a:gd name="connsiteY139" fmla="*/ 27994 h 171780"/>
                <a:gd name="connsiteX140" fmla="*/ 80164 w 108157"/>
                <a:gd name="connsiteY140" fmla="*/ 27358 h 171780"/>
                <a:gd name="connsiteX141" fmla="*/ 81119 w 108157"/>
                <a:gd name="connsiteY141" fmla="*/ 26721 h 171780"/>
                <a:gd name="connsiteX142" fmla="*/ 82073 w 108157"/>
                <a:gd name="connsiteY142" fmla="*/ 27358 h 171780"/>
                <a:gd name="connsiteX143" fmla="*/ 83027 w 108157"/>
                <a:gd name="connsiteY143" fmla="*/ 27676 h 171780"/>
                <a:gd name="connsiteX144" fmla="*/ 83345 w 108157"/>
                <a:gd name="connsiteY144" fmla="*/ 27358 h 171780"/>
                <a:gd name="connsiteX145" fmla="*/ 83345 w 108157"/>
                <a:gd name="connsiteY145" fmla="*/ 27040 h 171780"/>
                <a:gd name="connsiteX146" fmla="*/ 81119 w 108157"/>
                <a:gd name="connsiteY146" fmla="*/ 24813 h 171780"/>
                <a:gd name="connsiteX147" fmla="*/ 82073 w 108157"/>
                <a:gd name="connsiteY147" fmla="*/ 23540 h 171780"/>
                <a:gd name="connsiteX148" fmla="*/ 87481 w 108157"/>
                <a:gd name="connsiteY148" fmla="*/ 10180 h 171780"/>
                <a:gd name="connsiteX149" fmla="*/ 87481 w 108157"/>
                <a:gd name="connsiteY149" fmla="*/ 9543 h 171780"/>
                <a:gd name="connsiteX150" fmla="*/ 89389 w 108157"/>
                <a:gd name="connsiteY150" fmla="*/ 4772 h 171780"/>
                <a:gd name="connsiteX151" fmla="*/ 90026 w 108157"/>
                <a:gd name="connsiteY151" fmla="*/ 3181 h 171780"/>
                <a:gd name="connsiteX152" fmla="*/ 90980 w 108157"/>
                <a:gd name="connsiteY152" fmla="*/ 2227 h 171780"/>
                <a:gd name="connsiteX153" fmla="*/ 91934 w 108157"/>
                <a:gd name="connsiteY153" fmla="*/ 1272 h 171780"/>
                <a:gd name="connsiteX154" fmla="*/ 93843 w 108157"/>
                <a:gd name="connsiteY154" fmla="*/ 318 h 171780"/>
                <a:gd name="connsiteX155" fmla="*/ 94797 w 108157"/>
                <a:gd name="connsiteY155" fmla="*/ 318 h 171780"/>
                <a:gd name="connsiteX156" fmla="*/ 97978 w 108157"/>
                <a:gd name="connsiteY156" fmla="*/ 0 h 171780"/>
                <a:gd name="connsiteX157" fmla="*/ 99887 w 108157"/>
                <a:gd name="connsiteY157" fmla="*/ 954 h 171780"/>
                <a:gd name="connsiteX158" fmla="*/ 100523 w 108157"/>
                <a:gd name="connsiteY158" fmla="*/ 1272 h 171780"/>
                <a:gd name="connsiteX159" fmla="*/ 104341 w 108157"/>
                <a:gd name="connsiteY159" fmla="*/ 3817 h 171780"/>
                <a:gd name="connsiteX160" fmla="*/ 107522 w 108157"/>
                <a:gd name="connsiteY160" fmla="*/ 5090 h 171780"/>
                <a:gd name="connsiteX161" fmla="*/ 110067 w 108157"/>
                <a:gd name="connsiteY161" fmla="*/ 7635 h 171780"/>
                <a:gd name="connsiteX162" fmla="*/ 111657 w 108157"/>
                <a:gd name="connsiteY162" fmla="*/ 7953 h 171780"/>
                <a:gd name="connsiteX163" fmla="*/ 112293 w 108157"/>
                <a:gd name="connsiteY163" fmla="*/ 9861 h 171780"/>
                <a:gd name="connsiteX164" fmla="*/ 112293 w 108157"/>
                <a:gd name="connsiteY164" fmla="*/ 10816 h 171780"/>
                <a:gd name="connsiteX165" fmla="*/ 104659 w 108157"/>
                <a:gd name="connsiteY165" fmla="*/ 23222 h 171780"/>
                <a:gd name="connsiteX166" fmla="*/ 104659 w 108157"/>
                <a:gd name="connsiteY166" fmla="*/ 24176 h 171780"/>
                <a:gd name="connsiteX167" fmla="*/ 104341 w 108157"/>
                <a:gd name="connsiteY167" fmla="*/ 24176 h 171780"/>
                <a:gd name="connsiteX168" fmla="*/ 103704 w 108157"/>
                <a:gd name="connsiteY168" fmla="*/ 24813 h 171780"/>
                <a:gd name="connsiteX169" fmla="*/ 103704 w 108157"/>
                <a:gd name="connsiteY169" fmla="*/ 24176 h 171780"/>
                <a:gd name="connsiteX170" fmla="*/ 103068 w 108157"/>
                <a:gd name="connsiteY170" fmla="*/ 23858 h 171780"/>
                <a:gd name="connsiteX171" fmla="*/ 101796 w 108157"/>
                <a:gd name="connsiteY171" fmla="*/ 24176 h 171780"/>
                <a:gd name="connsiteX172" fmla="*/ 101796 w 108157"/>
                <a:gd name="connsiteY172" fmla="*/ 24813 h 171780"/>
                <a:gd name="connsiteX173" fmla="*/ 104023 w 108157"/>
                <a:gd name="connsiteY173" fmla="*/ 24813 h 171780"/>
                <a:gd name="connsiteX174" fmla="*/ 104023 w 108157"/>
                <a:gd name="connsiteY174" fmla="*/ 25767 h 171780"/>
                <a:gd name="connsiteX175" fmla="*/ 103068 w 108157"/>
                <a:gd name="connsiteY175" fmla="*/ 26721 h 171780"/>
                <a:gd name="connsiteX176" fmla="*/ 103386 w 108157"/>
                <a:gd name="connsiteY176" fmla="*/ 27676 h 171780"/>
                <a:gd name="connsiteX177" fmla="*/ 104023 w 108157"/>
                <a:gd name="connsiteY177" fmla="*/ 28312 h 171780"/>
                <a:gd name="connsiteX178" fmla="*/ 103704 w 108157"/>
                <a:gd name="connsiteY178" fmla="*/ 28630 h 171780"/>
                <a:gd name="connsiteX179" fmla="*/ 104023 w 108157"/>
                <a:gd name="connsiteY179" fmla="*/ 29903 h 171780"/>
                <a:gd name="connsiteX180" fmla="*/ 103704 w 108157"/>
                <a:gd name="connsiteY180" fmla="*/ 30539 h 171780"/>
                <a:gd name="connsiteX181" fmla="*/ 103386 w 108157"/>
                <a:gd name="connsiteY181" fmla="*/ 31175 h 171780"/>
                <a:gd name="connsiteX182" fmla="*/ 101796 w 108157"/>
                <a:gd name="connsiteY182" fmla="*/ 34038 h 171780"/>
                <a:gd name="connsiteX183" fmla="*/ 101160 w 108157"/>
                <a:gd name="connsiteY183" fmla="*/ 36583 h 171780"/>
                <a:gd name="connsiteX184" fmla="*/ 101160 w 108157"/>
                <a:gd name="connsiteY184" fmla="*/ 37855 h 171780"/>
                <a:gd name="connsiteX185" fmla="*/ 99569 w 108157"/>
                <a:gd name="connsiteY185" fmla="*/ 41991 h 171780"/>
                <a:gd name="connsiteX186" fmla="*/ 99569 w 108157"/>
                <a:gd name="connsiteY186" fmla="*/ 45808 h 171780"/>
                <a:gd name="connsiteX187" fmla="*/ 98615 w 108157"/>
                <a:gd name="connsiteY187" fmla="*/ 48671 h 171780"/>
                <a:gd name="connsiteX188" fmla="*/ 97978 w 108157"/>
                <a:gd name="connsiteY188" fmla="*/ 49307 h 171780"/>
                <a:gd name="connsiteX189" fmla="*/ 98615 w 108157"/>
                <a:gd name="connsiteY189" fmla="*/ 50580 h 171780"/>
                <a:gd name="connsiteX190" fmla="*/ 98615 w 108157"/>
                <a:gd name="connsiteY190" fmla="*/ 50898 h 171780"/>
                <a:gd name="connsiteX191" fmla="*/ 97660 w 108157"/>
                <a:gd name="connsiteY191" fmla="*/ 54079 h 171780"/>
                <a:gd name="connsiteX192" fmla="*/ 96070 w 108157"/>
                <a:gd name="connsiteY192" fmla="*/ 57578 h 171780"/>
                <a:gd name="connsiteX193" fmla="*/ 96070 w 108157"/>
                <a:gd name="connsiteY193" fmla="*/ 58851 h 171780"/>
                <a:gd name="connsiteX194" fmla="*/ 95115 w 108157"/>
                <a:gd name="connsiteY194" fmla="*/ 58851 h 171780"/>
                <a:gd name="connsiteX195" fmla="*/ 95115 w 108157"/>
                <a:gd name="connsiteY195" fmla="*/ 59169 h 171780"/>
                <a:gd name="connsiteX196" fmla="*/ 95434 w 108157"/>
                <a:gd name="connsiteY196" fmla="*/ 60441 h 171780"/>
                <a:gd name="connsiteX197" fmla="*/ 95434 w 108157"/>
                <a:gd name="connsiteY197" fmla="*/ 60759 h 171780"/>
                <a:gd name="connsiteX198" fmla="*/ 93525 w 108157"/>
                <a:gd name="connsiteY198" fmla="*/ 62032 h 171780"/>
                <a:gd name="connsiteX199" fmla="*/ 93207 w 108157"/>
                <a:gd name="connsiteY199" fmla="*/ 62350 h 171780"/>
                <a:gd name="connsiteX200" fmla="*/ 92889 w 108157"/>
                <a:gd name="connsiteY200" fmla="*/ 62668 h 171780"/>
                <a:gd name="connsiteX201" fmla="*/ 93525 w 108157"/>
                <a:gd name="connsiteY201" fmla="*/ 63622 h 171780"/>
                <a:gd name="connsiteX202" fmla="*/ 93843 w 108157"/>
                <a:gd name="connsiteY202" fmla="*/ 63622 h 171780"/>
                <a:gd name="connsiteX203" fmla="*/ 94479 w 108157"/>
                <a:gd name="connsiteY203" fmla="*/ 63940 h 171780"/>
                <a:gd name="connsiteX204" fmla="*/ 94479 w 108157"/>
                <a:gd name="connsiteY204" fmla="*/ 64895 h 171780"/>
                <a:gd name="connsiteX205" fmla="*/ 94161 w 108157"/>
                <a:gd name="connsiteY205" fmla="*/ 66167 h 171780"/>
                <a:gd name="connsiteX206" fmla="*/ 93207 w 108157"/>
                <a:gd name="connsiteY206" fmla="*/ 70303 h 171780"/>
                <a:gd name="connsiteX207" fmla="*/ 92889 w 108157"/>
                <a:gd name="connsiteY207" fmla="*/ 71257 h 171780"/>
                <a:gd name="connsiteX208" fmla="*/ 91298 w 108157"/>
                <a:gd name="connsiteY208" fmla="*/ 71257 h 171780"/>
                <a:gd name="connsiteX209" fmla="*/ 90344 w 108157"/>
                <a:gd name="connsiteY209" fmla="*/ 71575 h 171780"/>
                <a:gd name="connsiteX210" fmla="*/ 89708 w 108157"/>
                <a:gd name="connsiteY210" fmla="*/ 71575 h 171780"/>
                <a:gd name="connsiteX211" fmla="*/ 89389 w 108157"/>
                <a:gd name="connsiteY211" fmla="*/ 71893 h 171780"/>
                <a:gd name="connsiteX212" fmla="*/ 88435 w 108157"/>
                <a:gd name="connsiteY212" fmla="*/ 72848 h 171780"/>
                <a:gd name="connsiteX213" fmla="*/ 87163 w 108157"/>
                <a:gd name="connsiteY213" fmla="*/ 73484 h 171780"/>
                <a:gd name="connsiteX214" fmla="*/ 86526 w 108157"/>
                <a:gd name="connsiteY214" fmla="*/ 73802 h 171780"/>
                <a:gd name="connsiteX215" fmla="*/ 85572 w 108157"/>
                <a:gd name="connsiteY215" fmla="*/ 73802 h 171780"/>
                <a:gd name="connsiteX216" fmla="*/ 85254 w 108157"/>
                <a:gd name="connsiteY216" fmla="*/ 74438 h 171780"/>
                <a:gd name="connsiteX217" fmla="*/ 85572 w 108157"/>
                <a:gd name="connsiteY217" fmla="*/ 74756 h 171780"/>
                <a:gd name="connsiteX218" fmla="*/ 87163 w 108157"/>
                <a:gd name="connsiteY218" fmla="*/ 76029 h 171780"/>
                <a:gd name="connsiteX219" fmla="*/ 88117 w 108157"/>
                <a:gd name="connsiteY219" fmla="*/ 75074 h 171780"/>
                <a:gd name="connsiteX220" fmla="*/ 88435 w 108157"/>
                <a:gd name="connsiteY220" fmla="*/ 74438 h 171780"/>
                <a:gd name="connsiteX221" fmla="*/ 89071 w 108157"/>
                <a:gd name="connsiteY221" fmla="*/ 74120 h 171780"/>
                <a:gd name="connsiteX222" fmla="*/ 90026 w 108157"/>
                <a:gd name="connsiteY222" fmla="*/ 74756 h 171780"/>
                <a:gd name="connsiteX223" fmla="*/ 90980 w 108157"/>
                <a:gd name="connsiteY223" fmla="*/ 77937 h 171780"/>
                <a:gd name="connsiteX224" fmla="*/ 90980 w 108157"/>
                <a:gd name="connsiteY224" fmla="*/ 78256 h 171780"/>
                <a:gd name="connsiteX225" fmla="*/ 90662 w 108157"/>
                <a:gd name="connsiteY225" fmla="*/ 78892 h 171780"/>
                <a:gd name="connsiteX226" fmla="*/ 90026 w 108157"/>
                <a:gd name="connsiteY226" fmla="*/ 79846 h 171780"/>
                <a:gd name="connsiteX227" fmla="*/ 90344 w 108157"/>
                <a:gd name="connsiteY227" fmla="*/ 80482 h 171780"/>
                <a:gd name="connsiteX228" fmla="*/ 90026 w 108157"/>
                <a:gd name="connsiteY228" fmla="*/ 80800 h 171780"/>
                <a:gd name="connsiteX229" fmla="*/ 90026 w 108157"/>
                <a:gd name="connsiteY229" fmla="*/ 81119 h 171780"/>
                <a:gd name="connsiteX230" fmla="*/ 90344 w 108157"/>
                <a:gd name="connsiteY230" fmla="*/ 82073 h 171780"/>
                <a:gd name="connsiteX231" fmla="*/ 90344 w 108157"/>
                <a:gd name="connsiteY231" fmla="*/ 83027 h 171780"/>
                <a:gd name="connsiteX232" fmla="*/ 89708 w 108157"/>
                <a:gd name="connsiteY232" fmla="*/ 85254 h 171780"/>
                <a:gd name="connsiteX233" fmla="*/ 89071 w 108157"/>
                <a:gd name="connsiteY233" fmla="*/ 85890 h 171780"/>
                <a:gd name="connsiteX234" fmla="*/ 88117 w 108157"/>
                <a:gd name="connsiteY234" fmla="*/ 85572 h 171780"/>
                <a:gd name="connsiteX235" fmla="*/ 87163 w 108157"/>
                <a:gd name="connsiteY235" fmla="*/ 84936 h 171780"/>
                <a:gd name="connsiteX236" fmla="*/ 86208 w 108157"/>
                <a:gd name="connsiteY236" fmla="*/ 83982 h 171780"/>
                <a:gd name="connsiteX237" fmla="*/ 84936 w 108157"/>
                <a:gd name="connsiteY237" fmla="*/ 82709 h 171780"/>
                <a:gd name="connsiteX238" fmla="*/ 84618 w 108157"/>
                <a:gd name="connsiteY238" fmla="*/ 82709 h 171780"/>
                <a:gd name="connsiteX239" fmla="*/ 83982 w 108157"/>
                <a:gd name="connsiteY239" fmla="*/ 83027 h 171780"/>
                <a:gd name="connsiteX240" fmla="*/ 84300 w 108157"/>
                <a:gd name="connsiteY240" fmla="*/ 83345 h 171780"/>
                <a:gd name="connsiteX241" fmla="*/ 84936 w 108157"/>
                <a:gd name="connsiteY241" fmla="*/ 83663 h 171780"/>
                <a:gd name="connsiteX242" fmla="*/ 84936 w 108157"/>
                <a:gd name="connsiteY242" fmla="*/ 84618 h 171780"/>
                <a:gd name="connsiteX243" fmla="*/ 85572 w 108157"/>
                <a:gd name="connsiteY243" fmla="*/ 85890 h 171780"/>
                <a:gd name="connsiteX244" fmla="*/ 85890 w 108157"/>
                <a:gd name="connsiteY244" fmla="*/ 86526 h 171780"/>
                <a:gd name="connsiteX245" fmla="*/ 84618 w 108157"/>
                <a:gd name="connsiteY245" fmla="*/ 86845 h 171780"/>
                <a:gd name="connsiteX246" fmla="*/ 84300 w 108157"/>
                <a:gd name="connsiteY246" fmla="*/ 86526 h 171780"/>
                <a:gd name="connsiteX247" fmla="*/ 84300 w 108157"/>
                <a:gd name="connsiteY247" fmla="*/ 85890 h 171780"/>
                <a:gd name="connsiteX248" fmla="*/ 83982 w 108157"/>
                <a:gd name="connsiteY248" fmla="*/ 85254 h 171780"/>
                <a:gd name="connsiteX249" fmla="*/ 83663 w 108157"/>
                <a:gd name="connsiteY249" fmla="*/ 85254 h 171780"/>
                <a:gd name="connsiteX250" fmla="*/ 83345 w 108157"/>
                <a:gd name="connsiteY250" fmla="*/ 85572 h 171780"/>
                <a:gd name="connsiteX251" fmla="*/ 83027 w 108157"/>
                <a:gd name="connsiteY251" fmla="*/ 85890 h 171780"/>
                <a:gd name="connsiteX252" fmla="*/ 82391 w 108157"/>
                <a:gd name="connsiteY252" fmla="*/ 86208 h 171780"/>
                <a:gd name="connsiteX253" fmla="*/ 81755 w 108157"/>
                <a:gd name="connsiteY253" fmla="*/ 85254 h 171780"/>
                <a:gd name="connsiteX254" fmla="*/ 80800 w 108157"/>
                <a:gd name="connsiteY254" fmla="*/ 85890 h 171780"/>
                <a:gd name="connsiteX255" fmla="*/ 81119 w 108157"/>
                <a:gd name="connsiteY255" fmla="*/ 86526 h 171780"/>
                <a:gd name="connsiteX256" fmla="*/ 83345 w 108157"/>
                <a:gd name="connsiteY256" fmla="*/ 88117 h 171780"/>
                <a:gd name="connsiteX257" fmla="*/ 83663 w 108157"/>
                <a:gd name="connsiteY257" fmla="*/ 88435 h 171780"/>
                <a:gd name="connsiteX258" fmla="*/ 84618 w 108157"/>
                <a:gd name="connsiteY258" fmla="*/ 88117 h 171780"/>
                <a:gd name="connsiteX259" fmla="*/ 85254 w 108157"/>
                <a:gd name="connsiteY259" fmla="*/ 87799 h 171780"/>
                <a:gd name="connsiteX260" fmla="*/ 87163 w 108157"/>
                <a:gd name="connsiteY260" fmla="*/ 89708 h 171780"/>
                <a:gd name="connsiteX261" fmla="*/ 86526 w 108157"/>
                <a:gd name="connsiteY261" fmla="*/ 89708 h 171780"/>
                <a:gd name="connsiteX262" fmla="*/ 85572 w 108157"/>
                <a:gd name="connsiteY262" fmla="*/ 90344 h 171780"/>
                <a:gd name="connsiteX263" fmla="*/ 84618 w 108157"/>
                <a:gd name="connsiteY263" fmla="*/ 90344 h 171780"/>
                <a:gd name="connsiteX264" fmla="*/ 83663 w 108157"/>
                <a:gd name="connsiteY264" fmla="*/ 90980 h 171780"/>
                <a:gd name="connsiteX265" fmla="*/ 82073 w 108157"/>
                <a:gd name="connsiteY265" fmla="*/ 91934 h 171780"/>
                <a:gd name="connsiteX266" fmla="*/ 81755 w 108157"/>
                <a:gd name="connsiteY266" fmla="*/ 92252 h 171780"/>
                <a:gd name="connsiteX267" fmla="*/ 82709 w 108157"/>
                <a:gd name="connsiteY267" fmla="*/ 93525 h 171780"/>
                <a:gd name="connsiteX268" fmla="*/ 83982 w 108157"/>
                <a:gd name="connsiteY268" fmla="*/ 94479 h 171780"/>
                <a:gd name="connsiteX269" fmla="*/ 87163 w 108157"/>
                <a:gd name="connsiteY269" fmla="*/ 95115 h 171780"/>
                <a:gd name="connsiteX270" fmla="*/ 88117 w 108157"/>
                <a:gd name="connsiteY270" fmla="*/ 97024 h 171780"/>
                <a:gd name="connsiteX271" fmla="*/ 88435 w 108157"/>
                <a:gd name="connsiteY271" fmla="*/ 97342 h 171780"/>
                <a:gd name="connsiteX272" fmla="*/ 88435 w 108157"/>
                <a:gd name="connsiteY272" fmla="*/ 97978 h 171780"/>
                <a:gd name="connsiteX273" fmla="*/ 88117 w 108157"/>
                <a:gd name="connsiteY273" fmla="*/ 99569 h 171780"/>
                <a:gd name="connsiteX274" fmla="*/ 87481 w 108157"/>
                <a:gd name="connsiteY274" fmla="*/ 100841 h 171780"/>
                <a:gd name="connsiteX275" fmla="*/ 87481 w 108157"/>
                <a:gd name="connsiteY275" fmla="*/ 104341 h 171780"/>
                <a:gd name="connsiteX276" fmla="*/ 87163 w 108157"/>
                <a:gd name="connsiteY276" fmla="*/ 107204 h 171780"/>
                <a:gd name="connsiteX277" fmla="*/ 87481 w 108157"/>
                <a:gd name="connsiteY277" fmla="*/ 108476 h 171780"/>
                <a:gd name="connsiteX278" fmla="*/ 87163 w 108157"/>
                <a:gd name="connsiteY278" fmla="*/ 109749 h 171780"/>
                <a:gd name="connsiteX279" fmla="*/ 86526 w 108157"/>
                <a:gd name="connsiteY279" fmla="*/ 111339 h 171780"/>
                <a:gd name="connsiteX280" fmla="*/ 87163 w 108157"/>
                <a:gd name="connsiteY280" fmla="*/ 112612 h 171780"/>
                <a:gd name="connsiteX281" fmla="*/ 86844 w 108157"/>
                <a:gd name="connsiteY281" fmla="*/ 116747 h 171780"/>
                <a:gd name="connsiteX282" fmla="*/ 86526 w 108157"/>
                <a:gd name="connsiteY282" fmla="*/ 112612 h 171780"/>
                <a:gd name="connsiteX283" fmla="*/ 86208 w 108157"/>
                <a:gd name="connsiteY283" fmla="*/ 112293 h 171780"/>
                <a:gd name="connsiteX284" fmla="*/ 85890 w 108157"/>
                <a:gd name="connsiteY284" fmla="*/ 111975 h 171780"/>
                <a:gd name="connsiteX285" fmla="*/ 84936 w 108157"/>
                <a:gd name="connsiteY285" fmla="*/ 111339 h 171780"/>
                <a:gd name="connsiteX286" fmla="*/ 84300 w 108157"/>
                <a:gd name="connsiteY286" fmla="*/ 111975 h 171780"/>
                <a:gd name="connsiteX287" fmla="*/ 83663 w 108157"/>
                <a:gd name="connsiteY287" fmla="*/ 118019 h 171780"/>
                <a:gd name="connsiteX288" fmla="*/ 83345 w 108157"/>
                <a:gd name="connsiteY288" fmla="*/ 112612 h 171780"/>
                <a:gd name="connsiteX289" fmla="*/ 82709 w 108157"/>
                <a:gd name="connsiteY289" fmla="*/ 112293 h 171780"/>
                <a:gd name="connsiteX290" fmla="*/ 83027 w 108157"/>
                <a:gd name="connsiteY290" fmla="*/ 115793 h 171780"/>
                <a:gd name="connsiteX291" fmla="*/ 80164 w 108157"/>
                <a:gd name="connsiteY291" fmla="*/ 141878 h 171780"/>
                <a:gd name="connsiteX292" fmla="*/ 79846 w 108157"/>
                <a:gd name="connsiteY292" fmla="*/ 143468 h 171780"/>
                <a:gd name="connsiteX293" fmla="*/ 80800 w 108157"/>
                <a:gd name="connsiteY293" fmla="*/ 144105 h 171780"/>
                <a:gd name="connsiteX294" fmla="*/ 81119 w 108157"/>
                <a:gd name="connsiteY294" fmla="*/ 143787 h 171780"/>
                <a:gd name="connsiteX295" fmla="*/ 81755 w 108157"/>
                <a:gd name="connsiteY295" fmla="*/ 142514 h 171780"/>
                <a:gd name="connsiteX296" fmla="*/ 82391 w 108157"/>
                <a:gd name="connsiteY296" fmla="*/ 141560 h 171780"/>
                <a:gd name="connsiteX297" fmla="*/ 83663 w 108157"/>
                <a:gd name="connsiteY297" fmla="*/ 141878 h 171780"/>
                <a:gd name="connsiteX298" fmla="*/ 84618 w 108157"/>
                <a:gd name="connsiteY298" fmla="*/ 142832 h 171780"/>
                <a:gd name="connsiteX299" fmla="*/ 84936 w 108157"/>
                <a:gd name="connsiteY299" fmla="*/ 144423 h 171780"/>
                <a:gd name="connsiteX300" fmla="*/ 85254 w 108157"/>
                <a:gd name="connsiteY300" fmla="*/ 152376 h 171780"/>
                <a:gd name="connsiteX301" fmla="*/ 85254 w 108157"/>
                <a:gd name="connsiteY301" fmla="*/ 153330 h 171780"/>
                <a:gd name="connsiteX302" fmla="*/ 84300 w 108157"/>
                <a:gd name="connsiteY302" fmla="*/ 154284 h 171780"/>
                <a:gd name="connsiteX303" fmla="*/ 83982 w 108157"/>
                <a:gd name="connsiteY303" fmla="*/ 153330 h 171780"/>
                <a:gd name="connsiteX304" fmla="*/ 83982 w 108157"/>
                <a:gd name="connsiteY304" fmla="*/ 151421 h 171780"/>
                <a:gd name="connsiteX305" fmla="*/ 83345 w 108157"/>
                <a:gd name="connsiteY305" fmla="*/ 151103 h 171780"/>
                <a:gd name="connsiteX306" fmla="*/ 83027 w 108157"/>
                <a:gd name="connsiteY306" fmla="*/ 151421 h 171780"/>
                <a:gd name="connsiteX307" fmla="*/ 82073 w 108157"/>
                <a:gd name="connsiteY307" fmla="*/ 155557 h 171780"/>
                <a:gd name="connsiteX308" fmla="*/ 82391 w 108157"/>
                <a:gd name="connsiteY308" fmla="*/ 155875 h 171780"/>
                <a:gd name="connsiteX309" fmla="*/ 83027 w 108157"/>
                <a:gd name="connsiteY309" fmla="*/ 155875 h 171780"/>
                <a:gd name="connsiteX310" fmla="*/ 83982 w 108157"/>
                <a:gd name="connsiteY310" fmla="*/ 155557 h 171780"/>
                <a:gd name="connsiteX311" fmla="*/ 84618 w 108157"/>
                <a:gd name="connsiteY311" fmla="*/ 154920 h 171780"/>
                <a:gd name="connsiteX312" fmla="*/ 85254 w 108157"/>
                <a:gd name="connsiteY312" fmla="*/ 154920 h 171780"/>
                <a:gd name="connsiteX313" fmla="*/ 82391 w 108157"/>
                <a:gd name="connsiteY313" fmla="*/ 165736 h 171780"/>
                <a:gd name="connsiteX314" fmla="*/ 82709 w 108157"/>
                <a:gd name="connsiteY314" fmla="*/ 167645 h 171780"/>
                <a:gd name="connsiteX315" fmla="*/ 82709 w 108157"/>
                <a:gd name="connsiteY315" fmla="*/ 167963 h 171780"/>
                <a:gd name="connsiteX316" fmla="*/ 81755 w 108157"/>
                <a:gd name="connsiteY316" fmla="*/ 168917 h 171780"/>
                <a:gd name="connsiteX317" fmla="*/ 76983 w 108157"/>
                <a:gd name="connsiteY317" fmla="*/ 175916 h 171780"/>
                <a:gd name="connsiteX318" fmla="*/ 76347 w 108157"/>
                <a:gd name="connsiteY318" fmla="*/ 175916 h 171780"/>
                <a:gd name="connsiteX319" fmla="*/ 76029 w 108157"/>
                <a:gd name="connsiteY319" fmla="*/ 174007 h 171780"/>
                <a:gd name="connsiteX320" fmla="*/ 75711 w 108157"/>
                <a:gd name="connsiteY320" fmla="*/ 169235 h 171780"/>
                <a:gd name="connsiteX321" fmla="*/ 75711 w 108157"/>
                <a:gd name="connsiteY321" fmla="*/ 162555 h 171780"/>
                <a:gd name="connsiteX322" fmla="*/ 75393 w 108157"/>
                <a:gd name="connsiteY322" fmla="*/ 161919 h 171780"/>
                <a:gd name="connsiteX323" fmla="*/ 73484 w 108157"/>
                <a:gd name="connsiteY323" fmla="*/ 167645 h 171780"/>
                <a:gd name="connsiteX324" fmla="*/ 73166 w 108157"/>
                <a:gd name="connsiteY324" fmla="*/ 167327 h 171780"/>
                <a:gd name="connsiteX325" fmla="*/ 72529 w 108157"/>
                <a:gd name="connsiteY325" fmla="*/ 167009 h 171780"/>
                <a:gd name="connsiteX326" fmla="*/ 70303 w 108157"/>
                <a:gd name="connsiteY326" fmla="*/ 167009 h 171780"/>
                <a:gd name="connsiteX327" fmla="*/ 67440 w 108157"/>
                <a:gd name="connsiteY327" fmla="*/ 168917 h 171780"/>
                <a:gd name="connsiteX328" fmla="*/ 65213 w 108157"/>
                <a:gd name="connsiteY328" fmla="*/ 158420 h 171780"/>
                <a:gd name="connsiteX329" fmla="*/ 64895 w 108157"/>
                <a:gd name="connsiteY329" fmla="*/ 156511 h 171780"/>
                <a:gd name="connsiteX330" fmla="*/ 65213 w 108157"/>
                <a:gd name="connsiteY330" fmla="*/ 155557 h 171780"/>
                <a:gd name="connsiteX331" fmla="*/ 65213 w 108157"/>
                <a:gd name="connsiteY331" fmla="*/ 154602 h 171780"/>
                <a:gd name="connsiteX332" fmla="*/ 0 w 108157"/>
                <a:gd name="connsiteY332" fmla="*/ 103704 h 171780"/>
                <a:gd name="connsiteX333" fmla="*/ 318 w 108157"/>
                <a:gd name="connsiteY333" fmla="*/ 103386 h 171780"/>
                <a:gd name="connsiteX334" fmla="*/ 636 w 108157"/>
                <a:gd name="connsiteY334" fmla="*/ 103704 h 171780"/>
                <a:gd name="connsiteX335" fmla="*/ 636 w 108157"/>
                <a:gd name="connsiteY335" fmla="*/ 105931 h 171780"/>
                <a:gd name="connsiteX336" fmla="*/ 0 w 108157"/>
                <a:gd name="connsiteY336" fmla="*/ 104341 h 171780"/>
                <a:gd name="connsiteX337" fmla="*/ 0 w 108157"/>
                <a:gd name="connsiteY337" fmla="*/ 103704 h 171780"/>
                <a:gd name="connsiteX338" fmla="*/ 49944 w 108157"/>
                <a:gd name="connsiteY338" fmla="*/ 43263 h 171780"/>
                <a:gd name="connsiteX339" fmla="*/ 49307 w 108157"/>
                <a:gd name="connsiteY339" fmla="*/ 44536 h 171780"/>
                <a:gd name="connsiteX340" fmla="*/ 49625 w 108157"/>
                <a:gd name="connsiteY340" fmla="*/ 44854 h 171780"/>
                <a:gd name="connsiteX341" fmla="*/ 49625 w 108157"/>
                <a:gd name="connsiteY341" fmla="*/ 45490 h 171780"/>
                <a:gd name="connsiteX342" fmla="*/ 48035 w 108157"/>
                <a:gd name="connsiteY342" fmla="*/ 47399 h 171780"/>
                <a:gd name="connsiteX343" fmla="*/ 44854 w 108157"/>
                <a:gd name="connsiteY343" fmla="*/ 50262 h 171780"/>
                <a:gd name="connsiteX344" fmla="*/ 44854 w 108157"/>
                <a:gd name="connsiteY344" fmla="*/ 50898 h 171780"/>
                <a:gd name="connsiteX345" fmla="*/ 42945 w 108157"/>
                <a:gd name="connsiteY345" fmla="*/ 52488 h 171780"/>
                <a:gd name="connsiteX346" fmla="*/ 41673 w 108157"/>
                <a:gd name="connsiteY346" fmla="*/ 54715 h 171780"/>
                <a:gd name="connsiteX347" fmla="*/ 39764 w 108157"/>
                <a:gd name="connsiteY347" fmla="*/ 57260 h 171780"/>
                <a:gd name="connsiteX348" fmla="*/ 39446 w 108157"/>
                <a:gd name="connsiteY348" fmla="*/ 57260 h 171780"/>
                <a:gd name="connsiteX349" fmla="*/ 39446 w 108157"/>
                <a:gd name="connsiteY349" fmla="*/ 57578 h 171780"/>
                <a:gd name="connsiteX350" fmla="*/ 37537 w 108157"/>
                <a:gd name="connsiteY350" fmla="*/ 61077 h 171780"/>
                <a:gd name="connsiteX351" fmla="*/ 36901 w 108157"/>
                <a:gd name="connsiteY351" fmla="*/ 62032 h 171780"/>
                <a:gd name="connsiteX352" fmla="*/ 36901 w 108157"/>
                <a:gd name="connsiteY352" fmla="*/ 62350 h 171780"/>
                <a:gd name="connsiteX353" fmla="*/ 35947 w 108157"/>
                <a:gd name="connsiteY353" fmla="*/ 62986 h 171780"/>
                <a:gd name="connsiteX354" fmla="*/ 34038 w 108157"/>
                <a:gd name="connsiteY354" fmla="*/ 65849 h 171780"/>
                <a:gd name="connsiteX355" fmla="*/ 33720 w 108157"/>
                <a:gd name="connsiteY355" fmla="*/ 66167 h 171780"/>
                <a:gd name="connsiteX356" fmla="*/ 33720 w 108157"/>
                <a:gd name="connsiteY356" fmla="*/ 65849 h 171780"/>
                <a:gd name="connsiteX357" fmla="*/ 32447 w 108157"/>
                <a:gd name="connsiteY357" fmla="*/ 64895 h 171780"/>
                <a:gd name="connsiteX358" fmla="*/ 31811 w 108157"/>
                <a:gd name="connsiteY358" fmla="*/ 64895 h 171780"/>
                <a:gd name="connsiteX359" fmla="*/ 30857 w 108157"/>
                <a:gd name="connsiteY359" fmla="*/ 66167 h 171780"/>
                <a:gd name="connsiteX360" fmla="*/ 31175 w 108157"/>
                <a:gd name="connsiteY360" fmla="*/ 67122 h 171780"/>
                <a:gd name="connsiteX361" fmla="*/ 32129 w 108157"/>
                <a:gd name="connsiteY361" fmla="*/ 67122 h 171780"/>
                <a:gd name="connsiteX362" fmla="*/ 32765 w 108157"/>
                <a:gd name="connsiteY362" fmla="*/ 66803 h 171780"/>
                <a:gd name="connsiteX363" fmla="*/ 32765 w 108157"/>
                <a:gd name="connsiteY363" fmla="*/ 67122 h 171780"/>
                <a:gd name="connsiteX364" fmla="*/ 33084 w 108157"/>
                <a:gd name="connsiteY364" fmla="*/ 69985 h 171780"/>
                <a:gd name="connsiteX365" fmla="*/ 32765 w 108157"/>
                <a:gd name="connsiteY365" fmla="*/ 70303 h 171780"/>
                <a:gd name="connsiteX366" fmla="*/ 31811 w 108157"/>
                <a:gd name="connsiteY366" fmla="*/ 69985 h 171780"/>
                <a:gd name="connsiteX367" fmla="*/ 31493 w 108157"/>
                <a:gd name="connsiteY367" fmla="*/ 70621 h 171780"/>
                <a:gd name="connsiteX368" fmla="*/ 30857 w 108157"/>
                <a:gd name="connsiteY368" fmla="*/ 71893 h 171780"/>
                <a:gd name="connsiteX369" fmla="*/ 29584 w 108157"/>
                <a:gd name="connsiteY369" fmla="*/ 72848 h 171780"/>
                <a:gd name="connsiteX370" fmla="*/ 28948 w 108157"/>
                <a:gd name="connsiteY370" fmla="*/ 72848 h 171780"/>
                <a:gd name="connsiteX371" fmla="*/ 28312 w 108157"/>
                <a:gd name="connsiteY371" fmla="*/ 73166 h 171780"/>
                <a:gd name="connsiteX372" fmla="*/ 28630 w 108157"/>
                <a:gd name="connsiteY372" fmla="*/ 73484 h 171780"/>
                <a:gd name="connsiteX373" fmla="*/ 29584 w 108157"/>
                <a:gd name="connsiteY373" fmla="*/ 75074 h 171780"/>
                <a:gd name="connsiteX374" fmla="*/ 30539 w 108157"/>
                <a:gd name="connsiteY374" fmla="*/ 75074 h 171780"/>
                <a:gd name="connsiteX375" fmla="*/ 29266 w 108157"/>
                <a:gd name="connsiteY375" fmla="*/ 76665 h 171780"/>
                <a:gd name="connsiteX376" fmla="*/ 28312 w 108157"/>
                <a:gd name="connsiteY376" fmla="*/ 77301 h 171780"/>
                <a:gd name="connsiteX377" fmla="*/ 27994 w 108157"/>
                <a:gd name="connsiteY377" fmla="*/ 79528 h 171780"/>
                <a:gd name="connsiteX378" fmla="*/ 27040 w 108157"/>
                <a:gd name="connsiteY378" fmla="*/ 81437 h 171780"/>
                <a:gd name="connsiteX379" fmla="*/ 26403 w 108157"/>
                <a:gd name="connsiteY379" fmla="*/ 83982 h 171780"/>
                <a:gd name="connsiteX380" fmla="*/ 26721 w 108157"/>
                <a:gd name="connsiteY380" fmla="*/ 84618 h 171780"/>
                <a:gd name="connsiteX381" fmla="*/ 27040 w 108157"/>
                <a:gd name="connsiteY381" fmla="*/ 85572 h 171780"/>
                <a:gd name="connsiteX382" fmla="*/ 26403 w 108157"/>
                <a:gd name="connsiteY382" fmla="*/ 86845 h 171780"/>
                <a:gd name="connsiteX383" fmla="*/ 24495 w 108157"/>
                <a:gd name="connsiteY383" fmla="*/ 89389 h 171780"/>
                <a:gd name="connsiteX384" fmla="*/ 22586 w 108157"/>
                <a:gd name="connsiteY384" fmla="*/ 91934 h 171780"/>
                <a:gd name="connsiteX385" fmla="*/ 22586 w 108157"/>
                <a:gd name="connsiteY385" fmla="*/ 92571 h 171780"/>
                <a:gd name="connsiteX386" fmla="*/ 21950 w 108157"/>
                <a:gd name="connsiteY386" fmla="*/ 98615 h 171780"/>
                <a:gd name="connsiteX387" fmla="*/ 22268 w 108157"/>
                <a:gd name="connsiteY387" fmla="*/ 99887 h 171780"/>
                <a:gd name="connsiteX388" fmla="*/ 22268 w 108157"/>
                <a:gd name="connsiteY388" fmla="*/ 100841 h 171780"/>
                <a:gd name="connsiteX389" fmla="*/ 21950 w 108157"/>
                <a:gd name="connsiteY389" fmla="*/ 102114 h 171780"/>
                <a:gd name="connsiteX390" fmla="*/ 22268 w 108157"/>
                <a:gd name="connsiteY390" fmla="*/ 103704 h 171780"/>
                <a:gd name="connsiteX391" fmla="*/ 22586 w 108157"/>
                <a:gd name="connsiteY391" fmla="*/ 104659 h 171780"/>
                <a:gd name="connsiteX392" fmla="*/ 22268 w 108157"/>
                <a:gd name="connsiteY392" fmla="*/ 105613 h 171780"/>
                <a:gd name="connsiteX393" fmla="*/ 22268 w 108157"/>
                <a:gd name="connsiteY393" fmla="*/ 107204 h 171780"/>
                <a:gd name="connsiteX394" fmla="*/ 22904 w 108157"/>
                <a:gd name="connsiteY394" fmla="*/ 112930 h 171780"/>
                <a:gd name="connsiteX395" fmla="*/ 23540 w 108157"/>
                <a:gd name="connsiteY395" fmla="*/ 114202 h 171780"/>
                <a:gd name="connsiteX396" fmla="*/ 25131 w 108157"/>
                <a:gd name="connsiteY396" fmla="*/ 115793 h 171780"/>
                <a:gd name="connsiteX397" fmla="*/ 26721 w 108157"/>
                <a:gd name="connsiteY397" fmla="*/ 115156 h 171780"/>
                <a:gd name="connsiteX398" fmla="*/ 28312 w 108157"/>
                <a:gd name="connsiteY398" fmla="*/ 114202 h 171780"/>
                <a:gd name="connsiteX399" fmla="*/ 30857 w 108157"/>
                <a:gd name="connsiteY399" fmla="*/ 111975 h 171780"/>
                <a:gd name="connsiteX400" fmla="*/ 34038 w 108157"/>
                <a:gd name="connsiteY400" fmla="*/ 107840 h 171780"/>
                <a:gd name="connsiteX401" fmla="*/ 34992 w 108157"/>
                <a:gd name="connsiteY401" fmla="*/ 107204 h 171780"/>
                <a:gd name="connsiteX402" fmla="*/ 38810 w 108157"/>
                <a:gd name="connsiteY402" fmla="*/ 103386 h 171780"/>
                <a:gd name="connsiteX403" fmla="*/ 40718 w 108157"/>
                <a:gd name="connsiteY403" fmla="*/ 101478 h 171780"/>
                <a:gd name="connsiteX404" fmla="*/ 44854 w 108157"/>
                <a:gd name="connsiteY404" fmla="*/ 96706 h 171780"/>
                <a:gd name="connsiteX405" fmla="*/ 48353 w 108157"/>
                <a:gd name="connsiteY405" fmla="*/ 92252 h 171780"/>
                <a:gd name="connsiteX406" fmla="*/ 50898 w 108157"/>
                <a:gd name="connsiteY406" fmla="*/ 88753 h 171780"/>
                <a:gd name="connsiteX407" fmla="*/ 51534 w 108157"/>
                <a:gd name="connsiteY407" fmla="*/ 87481 h 171780"/>
                <a:gd name="connsiteX408" fmla="*/ 53761 w 108157"/>
                <a:gd name="connsiteY408" fmla="*/ 84936 h 171780"/>
                <a:gd name="connsiteX409" fmla="*/ 54715 w 108157"/>
                <a:gd name="connsiteY409" fmla="*/ 83663 h 171780"/>
                <a:gd name="connsiteX410" fmla="*/ 58214 w 108157"/>
                <a:gd name="connsiteY410" fmla="*/ 79846 h 171780"/>
                <a:gd name="connsiteX411" fmla="*/ 58533 w 108157"/>
                <a:gd name="connsiteY411" fmla="*/ 78574 h 171780"/>
                <a:gd name="connsiteX412" fmla="*/ 59487 w 108157"/>
                <a:gd name="connsiteY412" fmla="*/ 76983 h 171780"/>
                <a:gd name="connsiteX413" fmla="*/ 62032 w 108157"/>
                <a:gd name="connsiteY413" fmla="*/ 73166 h 171780"/>
                <a:gd name="connsiteX414" fmla="*/ 63622 w 108157"/>
                <a:gd name="connsiteY414" fmla="*/ 71575 h 171780"/>
                <a:gd name="connsiteX415" fmla="*/ 63940 w 108157"/>
                <a:gd name="connsiteY415" fmla="*/ 71575 h 171780"/>
                <a:gd name="connsiteX416" fmla="*/ 64259 w 108157"/>
                <a:gd name="connsiteY416" fmla="*/ 70939 h 171780"/>
                <a:gd name="connsiteX417" fmla="*/ 64259 w 108157"/>
                <a:gd name="connsiteY417" fmla="*/ 70621 h 171780"/>
                <a:gd name="connsiteX418" fmla="*/ 64577 w 108157"/>
                <a:gd name="connsiteY418" fmla="*/ 69666 h 171780"/>
                <a:gd name="connsiteX419" fmla="*/ 65213 w 108157"/>
                <a:gd name="connsiteY419" fmla="*/ 68394 h 171780"/>
                <a:gd name="connsiteX420" fmla="*/ 67122 w 108157"/>
                <a:gd name="connsiteY420" fmla="*/ 66803 h 171780"/>
                <a:gd name="connsiteX421" fmla="*/ 69030 w 108157"/>
                <a:gd name="connsiteY421" fmla="*/ 65213 h 171780"/>
                <a:gd name="connsiteX422" fmla="*/ 69348 w 108157"/>
                <a:gd name="connsiteY422" fmla="*/ 64577 h 171780"/>
                <a:gd name="connsiteX423" fmla="*/ 69030 w 108157"/>
                <a:gd name="connsiteY423" fmla="*/ 63304 h 171780"/>
                <a:gd name="connsiteX424" fmla="*/ 68076 w 108157"/>
                <a:gd name="connsiteY424" fmla="*/ 61396 h 171780"/>
                <a:gd name="connsiteX425" fmla="*/ 69030 w 108157"/>
                <a:gd name="connsiteY425" fmla="*/ 59487 h 171780"/>
                <a:gd name="connsiteX426" fmla="*/ 70303 w 108157"/>
                <a:gd name="connsiteY426" fmla="*/ 57896 h 171780"/>
                <a:gd name="connsiteX427" fmla="*/ 70939 w 108157"/>
                <a:gd name="connsiteY427" fmla="*/ 57260 h 171780"/>
                <a:gd name="connsiteX428" fmla="*/ 71575 w 108157"/>
                <a:gd name="connsiteY428" fmla="*/ 57260 h 171780"/>
                <a:gd name="connsiteX429" fmla="*/ 72848 w 108157"/>
                <a:gd name="connsiteY429" fmla="*/ 55988 h 171780"/>
                <a:gd name="connsiteX430" fmla="*/ 73166 w 108157"/>
                <a:gd name="connsiteY430" fmla="*/ 55988 h 171780"/>
                <a:gd name="connsiteX431" fmla="*/ 73802 w 108157"/>
                <a:gd name="connsiteY431" fmla="*/ 55351 h 171780"/>
                <a:gd name="connsiteX432" fmla="*/ 75074 w 108157"/>
                <a:gd name="connsiteY432" fmla="*/ 51852 h 171780"/>
                <a:gd name="connsiteX433" fmla="*/ 75711 w 108157"/>
                <a:gd name="connsiteY433" fmla="*/ 49307 h 171780"/>
                <a:gd name="connsiteX434" fmla="*/ 75711 w 108157"/>
                <a:gd name="connsiteY434" fmla="*/ 48989 h 171780"/>
                <a:gd name="connsiteX435" fmla="*/ 75393 w 108157"/>
                <a:gd name="connsiteY435" fmla="*/ 48671 h 171780"/>
                <a:gd name="connsiteX436" fmla="*/ 75711 w 108157"/>
                <a:gd name="connsiteY436" fmla="*/ 48035 h 171780"/>
                <a:gd name="connsiteX437" fmla="*/ 76029 w 108157"/>
                <a:gd name="connsiteY437" fmla="*/ 47399 h 171780"/>
                <a:gd name="connsiteX438" fmla="*/ 75711 w 108157"/>
                <a:gd name="connsiteY438" fmla="*/ 46762 h 171780"/>
                <a:gd name="connsiteX439" fmla="*/ 75393 w 108157"/>
                <a:gd name="connsiteY439" fmla="*/ 46444 h 171780"/>
                <a:gd name="connsiteX440" fmla="*/ 75711 w 108157"/>
                <a:gd name="connsiteY440" fmla="*/ 45808 h 171780"/>
                <a:gd name="connsiteX441" fmla="*/ 75393 w 108157"/>
                <a:gd name="connsiteY441" fmla="*/ 44854 h 171780"/>
                <a:gd name="connsiteX442" fmla="*/ 72211 w 108157"/>
                <a:gd name="connsiteY442" fmla="*/ 41355 h 171780"/>
                <a:gd name="connsiteX443" fmla="*/ 70621 w 108157"/>
                <a:gd name="connsiteY443" fmla="*/ 39446 h 171780"/>
                <a:gd name="connsiteX444" fmla="*/ 69985 w 108157"/>
                <a:gd name="connsiteY444" fmla="*/ 37537 h 171780"/>
                <a:gd name="connsiteX445" fmla="*/ 68076 w 108157"/>
                <a:gd name="connsiteY445" fmla="*/ 35310 h 171780"/>
                <a:gd name="connsiteX446" fmla="*/ 66803 w 108157"/>
                <a:gd name="connsiteY446" fmla="*/ 34038 h 171780"/>
                <a:gd name="connsiteX447" fmla="*/ 62668 w 108157"/>
                <a:gd name="connsiteY447" fmla="*/ 31493 h 171780"/>
                <a:gd name="connsiteX448" fmla="*/ 61714 w 108157"/>
                <a:gd name="connsiteY448" fmla="*/ 31493 h 171780"/>
                <a:gd name="connsiteX449" fmla="*/ 60759 w 108157"/>
                <a:gd name="connsiteY449" fmla="*/ 31175 h 171780"/>
                <a:gd name="connsiteX450" fmla="*/ 59169 w 108157"/>
                <a:gd name="connsiteY450" fmla="*/ 31811 h 171780"/>
                <a:gd name="connsiteX451" fmla="*/ 56306 w 108157"/>
                <a:gd name="connsiteY451" fmla="*/ 33720 h 171780"/>
                <a:gd name="connsiteX452" fmla="*/ 55670 w 108157"/>
                <a:gd name="connsiteY452" fmla="*/ 34356 h 171780"/>
                <a:gd name="connsiteX453" fmla="*/ 55033 w 108157"/>
                <a:gd name="connsiteY453" fmla="*/ 35310 h 171780"/>
                <a:gd name="connsiteX454" fmla="*/ 53443 w 108157"/>
                <a:gd name="connsiteY454" fmla="*/ 37855 h 171780"/>
                <a:gd name="connsiteX455" fmla="*/ 53443 w 108157"/>
                <a:gd name="connsiteY455" fmla="*/ 38492 h 171780"/>
                <a:gd name="connsiteX456" fmla="*/ 51534 w 108157"/>
                <a:gd name="connsiteY456" fmla="*/ 41355 h 171780"/>
                <a:gd name="connsiteX457" fmla="*/ 51534 w 108157"/>
                <a:gd name="connsiteY457" fmla="*/ 41036 h 171780"/>
                <a:gd name="connsiteX458" fmla="*/ 50580 w 108157"/>
                <a:gd name="connsiteY458" fmla="*/ 39764 h 171780"/>
                <a:gd name="connsiteX459" fmla="*/ 50262 w 108157"/>
                <a:gd name="connsiteY459" fmla="*/ 40400 h 171780"/>
                <a:gd name="connsiteX460" fmla="*/ 51852 w 108157"/>
                <a:gd name="connsiteY460" fmla="*/ 41355 h 171780"/>
                <a:gd name="connsiteX461" fmla="*/ 49944 w 108157"/>
                <a:gd name="connsiteY461" fmla="*/ 43263 h 171780"/>
                <a:gd name="connsiteX462" fmla="*/ 33084 w 108157"/>
                <a:gd name="connsiteY462" fmla="*/ 64577 h 171780"/>
                <a:gd name="connsiteX463" fmla="*/ 33720 w 108157"/>
                <a:gd name="connsiteY463" fmla="*/ 63940 h 171780"/>
                <a:gd name="connsiteX464" fmla="*/ 33402 w 108157"/>
                <a:gd name="connsiteY464" fmla="*/ 62986 h 171780"/>
                <a:gd name="connsiteX465" fmla="*/ 32765 w 108157"/>
                <a:gd name="connsiteY465" fmla="*/ 63622 h 171780"/>
                <a:gd name="connsiteX466" fmla="*/ 33084 w 108157"/>
                <a:gd name="connsiteY466" fmla="*/ 64577 h 171780"/>
                <a:gd name="connsiteX467" fmla="*/ 63940 w 108157"/>
                <a:gd name="connsiteY467" fmla="*/ 108476 h 171780"/>
                <a:gd name="connsiteX468" fmla="*/ 63622 w 108157"/>
                <a:gd name="connsiteY468" fmla="*/ 108476 h 171780"/>
                <a:gd name="connsiteX469" fmla="*/ 62668 w 108157"/>
                <a:gd name="connsiteY469" fmla="*/ 107204 h 171780"/>
                <a:gd name="connsiteX470" fmla="*/ 62668 w 108157"/>
                <a:gd name="connsiteY470" fmla="*/ 106886 h 171780"/>
                <a:gd name="connsiteX471" fmla="*/ 62986 w 108157"/>
                <a:gd name="connsiteY471" fmla="*/ 106567 h 171780"/>
                <a:gd name="connsiteX472" fmla="*/ 63304 w 108157"/>
                <a:gd name="connsiteY472" fmla="*/ 106886 h 171780"/>
                <a:gd name="connsiteX473" fmla="*/ 63940 w 108157"/>
                <a:gd name="connsiteY473" fmla="*/ 107840 h 171780"/>
                <a:gd name="connsiteX474" fmla="*/ 63940 w 108157"/>
                <a:gd name="connsiteY474" fmla="*/ 108476 h 171780"/>
                <a:gd name="connsiteX475" fmla="*/ 77937 w 108157"/>
                <a:gd name="connsiteY475" fmla="*/ 101796 h 171780"/>
                <a:gd name="connsiteX476" fmla="*/ 77619 w 108157"/>
                <a:gd name="connsiteY476" fmla="*/ 100841 h 171780"/>
                <a:gd name="connsiteX477" fmla="*/ 77937 w 108157"/>
                <a:gd name="connsiteY477" fmla="*/ 100205 h 171780"/>
                <a:gd name="connsiteX478" fmla="*/ 77937 w 108157"/>
                <a:gd name="connsiteY478" fmla="*/ 98933 h 171780"/>
                <a:gd name="connsiteX479" fmla="*/ 77619 w 108157"/>
                <a:gd name="connsiteY479" fmla="*/ 97660 h 171780"/>
                <a:gd name="connsiteX480" fmla="*/ 77619 w 108157"/>
                <a:gd name="connsiteY480" fmla="*/ 96706 h 171780"/>
                <a:gd name="connsiteX481" fmla="*/ 76983 w 108157"/>
                <a:gd name="connsiteY481" fmla="*/ 97024 h 171780"/>
                <a:gd name="connsiteX482" fmla="*/ 76347 w 108157"/>
                <a:gd name="connsiteY482" fmla="*/ 98933 h 171780"/>
                <a:gd name="connsiteX483" fmla="*/ 76347 w 108157"/>
                <a:gd name="connsiteY483" fmla="*/ 99887 h 171780"/>
                <a:gd name="connsiteX484" fmla="*/ 77301 w 108157"/>
                <a:gd name="connsiteY484" fmla="*/ 101796 h 171780"/>
                <a:gd name="connsiteX485" fmla="*/ 77937 w 108157"/>
                <a:gd name="connsiteY485" fmla="*/ 102114 h 171780"/>
                <a:gd name="connsiteX486" fmla="*/ 77937 w 108157"/>
                <a:gd name="connsiteY486" fmla="*/ 101796 h 171780"/>
                <a:gd name="connsiteX487" fmla="*/ 78892 w 108157"/>
                <a:gd name="connsiteY487" fmla="*/ 91298 h 171780"/>
                <a:gd name="connsiteX488" fmla="*/ 78255 w 108157"/>
                <a:gd name="connsiteY488" fmla="*/ 93207 h 171780"/>
                <a:gd name="connsiteX489" fmla="*/ 78574 w 108157"/>
                <a:gd name="connsiteY489" fmla="*/ 94479 h 171780"/>
                <a:gd name="connsiteX490" fmla="*/ 78892 w 108157"/>
                <a:gd name="connsiteY490" fmla="*/ 95115 h 171780"/>
                <a:gd name="connsiteX491" fmla="*/ 78574 w 108157"/>
                <a:gd name="connsiteY491" fmla="*/ 96070 h 171780"/>
                <a:gd name="connsiteX492" fmla="*/ 78574 w 108157"/>
                <a:gd name="connsiteY492" fmla="*/ 96706 h 171780"/>
                <a:gd name="connsiteX493" fmla="*/ 79210 w 108157"/>
                <a:gd name="connsiteY493" fmla="*/ 97342 h 171780"/>
                <a:gd name="connsiteX494" fmla="*/ 79846 w 108157"/>
                <a:gd name="connsiteY494" fmla="*/ 97660 h 171780"/>
                <a:gd name="connsiteX495" fmla="*/ 80164 w 108157"/>
                <a:gd name="connsiteY495" fmla="*/ 97342 h 171780"/>
                <a:gd name="connsiteX496" fmla="*/ 79846 w 108157"/>
                <a:gd name="connsiteY496" fmla="*/ 96706 h 171780"/>
                <a:gd name="connsiteX497" fmla="*/ 79528 w 108157"/>
                <a:gd name="connsiteY497" fmla="*/ 96388 h 171780"/>
                <a:gd name="connsiteX498" fmla="*/ 79846 w 108157"/>
                <a:gd name="connsiteY498" fmla="*/ 93525 h 171780"/>
                <a:gd name="connsiteX499" fmla="*/ 80164 w 108157"/>
                <a:gd name="connsiteY499" fmla="*/ 92571 h 171780"/>
                <a:gd name="connsiteX500" fmla="*/ 80164 w 108157"/>
                <a:gd name="connsiteY500" fmla="*/ 91298 h 171780"/>
                <a:gd name="connsiteX501" fmla="*/ 78892 w 108157"/>
                <a:gd name="connsiteY501" fmla="*/ 90662 h 171780"/>
                <a:gd name="connsiteX502" fmla="*/ 79528 w 108157"/>
                <a:gd name="connsiteY502" fmla="*/ 89708 h 171780"/>
                <a:gd name="connsiteX503" fmla="*/ 79528 w 108157"/>
                <a:gd name="connsiteY503" fmla="*/ 89389 h 171780"/>
                <a:gd name="connsiteX504" fmla="*/ 78255 w 108157"/>
                <a:gd name="connsiteY504" fmla="*/ 90026 h 171780"/>
                <a:gd name="connsiteX505" fmla="*/ 78892 w 108157"/>
                <a:gd name="connsiteY505" fmla="*/ 90980 h 171780"/>
                <a:gd name="connsiteX506" fmla="*/ 78892 w 108157"/>
                <a:gd name="connsiteY506" fmla="*/ 91298 h 171780"/>
                <a:gd name="connsiteX507" fmla="*/ 79210 w 108157"/>
                <a:gd name="connsiteY507" fmla="*/ 84618 h 171780"/>
                <a:gd name="connsiteX508" fmla="*/ 79210 w 108157"/>
                <a:gd name="connsiteY508" fmla="*/ 84936 h 171780"/>
                <a:gd name="connsiteX509" fmla="*/ 79528 w 108157"/>
                <a:gd name="connsiteY509" fmla="*/ 84618 h 171780"/>
                <a:gd name="connsiteX510" fmla="*/ 79210 w 108157"/>
                <a:gd name="connsiteY510" fmla="*/ 84618 h 171780"/>
                <a:gd name="connsiteX511" fmla="*/ 81755 w 108157"/>
                <a:gd name="connsiteY511" fmla="*/ 101796 h 171780"/>
                <a:gd name="connsiteX512" fmla="*/ 83982 w 108157"/>
                <a:gd name="connsiteY512" fmla="*/ 102114 h 171780"/>
                <a:gd name="connsiteX513" fmla="*/ 84300 w 108157"/>
                <a:gd name="connsiteY513" fmla="*/ 102114 h 171780"/>
                <a:gd name="connsiteX514" fmla="*/ 84936 w 108157"/>
                <a:gd name="connsiteY514" fmla="*/ 100841 h 171780"/>
                <a:gd name="connsiteX515" fmla="*/ 84618 w 108157"/>
                <a:gd name="connsiteY515" fmla="*/ 100523 h 171780"/>
                <a:gd name="connsiteX516" fmla="*/ 83027 w 108157"/>
                <a:gd name="connsiteY516" fmla="*/ 101160 h 171780"/>
                <a:gd name="connsiteX517" fmla="*/ 82073 w 108157"/>
                <a:gd name="connsiteY517" fmla="*/ 100523 h 171780"/>
                <a:gd name="connsiteX518" fmla="*/ 82073 w 108157"/>
                <a:gd name="connsiteY518" fmla="*/ 99887 h 171780"/>
                <a:gd name="connsiteX519" fmla="*/ 81755 w 108157"/>
                <a:gd name="connsiteY519" fmla="*/ 99251 h 171780"/>
                <a:gd name="connsiteX520" fmla="*/ 79846 w 108157"/>
                <a:gd name="connsiteY520" fmla="*/ 98615 h 171780"/>
                <a:gd name="connsiteX521" fmla="*/ 79210 w 108157"/>
                <a:gd name="connsiteY521" fmla="*/ 98615 h 171780"/>
                <a:gd name="connsiteX522" fmla="*/ 80800 w 108157"/>
                <a:gd name="connsiteY522" fmla="*/ 101796 h 171780"/>
                <a:gd name="connsiteX523" fmla="*/ 81755 w 108157"/>
                <a:gd name="connsiteY523" fmla="*/ 101796 h 171780"/>
                <a:gd name="connsiteX524" fmla="*/ 80800 w 108157"/>
                <a:gd name="connsiteY524" fmla="*/ 148558 h 171780"/>
                <a:gd name="connsiteX525" fmla="*/ 81755 w 108157"/>
                <a:gd name="connsiteY525" fmla="*/ 148558 h 171780"/>
                <a:gd name="connsiteX526" fmla="*/ 81755 w 108157"/>
                <a:gd name="connsiteY526" fmla="*/ 148240 h 171780"/>
                <a:gd name="connsiteX527" fmla="*/ 80800 w 108157"/>
                <a:gd name="connsiteY527" fmla="*/ 147922 h 171780"/>
                <a:gd name="connsiteX528" fmla="*/ 80800 w 108157"/>
                <a:gd name="connsiteY528" fmla="*/ 148558 h 171780"/>
                <a:gd name="connsiteX529" fmla="*/ 81755 w 108157"/>
                <a:gd name="connsiteY529" fmla="*/ 76029 h 171780"/>
                <a:gd name="connsiteX530" fmla="*/ 81119 w 108157"/>
                <a:gd name="connsiteY530" fmla="*/ 76029 h 171780"/>
                <a:gd name="connsiteX531" fmla="*/ 81755 w 108157"/>
                <a:gd name="connsiteY531" fmla="*/ 76347 h 171780"/>
                <a:gd name="connsiteX532" fmla="*/ 81119 w 108157"/>
                <a:gd name="connsiteY532" fmla="*/ 76347 h 171780"/>
                <a:gd name="connsiteX533" fmla="*/ 85254 w 108157"/>
                <a:gd name="connsiteY533" fmla="*/ 79210 h 171780"/>
                <a:gd name="connsiteX534" fmla="*/ 85572 w 108157"/>
                <a:gd name="connsiteY534" fmla="*/ 79210 h 171780"/>
                <a:gd name="connsiteX535" fmla="*/ 81755 w 108157"/>
                <a:gd name="connsiteY535" fmla="*/ 76029 h 171780"/>
                <a:gd name="connsiteX536" fmla="*/ 82073 w 108157"/>
                <a:gd name="connsiteY536" fmla="*/ 104341 h 171780"/>
                <a:gd name="connsiteX537" fmla="*/ 82709 w 108157"/>
                <a:gd name="connsiteY537" fmla="*/ 104977 h 171780"/>
                <a:gd name="connsiteX538" fmla="*/ 82391 w 108157"/>
                <a:gd name="connsiteY538" fmla="*/ 104341 h 171780"/>
                <a:gd name="connsiteX539" fmla="*/ 82073 w 108157"/>
                <a:gd name="connsiteY539" fmla="*/ 104341 h 171780"/>
                <a:gd name="connsiteX540" fmla="*/ 82391 w 108157"/>
                <a:gd name="connsiteY540" fmla="*/ 110703 h 171780"/>
                <a:gd name="connsiteX541" fmla="*/ 82391 w 108157"/>
                <a:gd name="connsiteY541" fmla="*/ 111021 h 171780"/>
                <a:gd name="connsiteX542" fmla="*/ 82709 w 108157"/>
                <a:gd name="connsiteY542" fmla="*/ 111339 h 171780"/>
                <a:gd name="connsiteX543" fmla="*/ 83027 w 108157"/>
                <a:gd name="connsiteY543" fmla="*/ 110703 h 171780"/>
                <a:gd name="connsiteX544" fmla="*/ 82391 w 108157"/>
                <a:gd name="connsiteY544" fmla="*/ 110703 h 171780"/>
                <a:gd name="connsiteX545" fmla="*/ 83663 w 108157"/>
                <a:gd name="connsiteY545" fmla="*/ 147604 h 171780"/>
                <a:gd name="connsiteX546" fmla="*/ 83027 w 108157"/>
                <a:gd name="connsiteY546" fmla="*/ 147286 h 171780"/>
                <a:gd name="connsiteX547" fmla="*/ 82709 w 108157"/>
                <a:gd name="connsiteY547" fmla="*/ 146968 h 171780"/>
                <a:gd name="connsiteX548" fmla="*/ 82391 w 108157"/>
                <a:gd name="connsiteY548" fmla="*/ 147286 h 171780"/>
                <a:gd name="connsiteX549" fmla="*/ 83345 w 108157"/>
                <a:gd name="connsiteY549" fmla="*/ 147922 h 171780"/>
                <a:gd name="connsiteX550" fmla="*/ 83663 w 108157"/>
                <a:gd name="connsiteY550" fmla="*/ 147604 h 171780"/>
                <a:gd name="connsiteX551" fmla="*/ 84618 w 108157"/>
                <a:gd name="connsiteY551" fmla="*/ 70939 h 171780"/>
                <a:gd name="connsiteX552" fmla="*/ 84618 w 108157"/>
                <a:gd name="connsiteY552" fmla="*/ 70621 h 171780"/>
                <a:gd name="connsiteX553" fmla="*/ 83982 w 108157"/>
                <a:gd name="connsiteY553" fmla="*/ 69666 h 171780"/>
                <a:gd name="connsiteX554" fmla="*/ 83663 w 108157"/>
                <a:gd name="connsiteY554" fmla="*/ 69666 h 171780"/>
                <a:gd name="connsiteX555" fmla="*/ 83027 w 108157"/>
                <a:gd name="connsiteY555" fmla="*/ 70621 h 171780"/>
                <a:gd name="connsiteX556" fmla="*/ 83345 w 108157"/>
                <a:gd name="connsiteY556" fmla="*/ 71257 h 171780"/>
                <a:gd name="connsiteX557" fmla="*/ 83982 w 108157"/>
                <a:gd name="connsiteY557" fmla="*/ 71575 h 171780"/>
                <a:gd name="connsiteX558" fmla="*/ 84618 w 108157"/>
                <a:gd name="connsiteY558" fmla="*/ 70939 h 171780"/>
                <a:gd name="connsiteX559" fmla="*/ 83345 w 108157"/>
                <a:gd name="connsiteY559" fmla="*/ 96070 h 171780"/>
                <a:gd name="connsiteX560" fmla="*/ 83663 w 108157"/>
                <a:gd name="connsiteY560" fmla="*/ 95752 h 171780"/>
                <a:gd name="connsiteX561" fmla="*/ 83345 w 108157"/>
                <a:gd name="connsiteY561" fmla="*/ 95434 h 171780"/>
                <a:gd name="connsiteX562" fmla="*/ 83345 w 108157"/>
                <a:gd name="connsiteY562" fmla="*/ 96070 h 171780"/>
                <a:gd name="connsiteX563" fmla="*/ 85254 w 108157"/>
                <a:gd name="connsiteY563" fmla="*/ 98297 h 171780"/>
                <a:gd name="connsiteX564" fmla="*/ 85890 w 108157"/>
                <a:gd name="connsiteY564" fmla="*/ 98933 h 171780"/>
                <a:gd name="connsiteX565" fmla="*/ 85890 w 108157"/>
                <a:gd name="connsiteY565" fmla="*/ 98297 h 171780"/>
                <a:gd name="connsiteX566" fmla="*/ 86526 w 108157"/>
                <a:gd name="connsiteY566" fmla="*/ 97024 h 171780"/>
                <a:gd name="connsiteX567" fmla="*/ 85572 w 108157"/>
                <a:gd name="connsiteY567" fmla="*/ 96388 h 171780"/>
                <a:gd name="connsiteX568" fmla="*/ 85254 w 108157"/>
                <a:gd name="connsiteY568" fmla="*/ 97024 h 171780"/>
                <a:gd name="connsiteX569" fmla="*/ 84936 w 108157"/>
                <a:gd name="connsiteY569" fmla="*/ 97660 h 171780"/>
                <a:gd name="connsiteX570" fmla="*/ 85254 w 108157"/>
                <a:gd name="connsiteY570" fmla="*/ 98297 h 171780"/>
                <a:gd name="connsiteX571" fmla="*/ 85890 w 108157"/>
                <a:gd name="connsiteY571" fmla="*/ 110067 h 171780"/>
                <a:gd name="connsiteX572" fmla="*/ 85890 w 108157"/>
                <a:gd name="connsiteY572" fmla="*/ 109749 h 171780"/>
                <a:gd name="connsiteX573" fmla="*/ 85254 w 108157"/>
                <a:gd name="connsiteY573" fmla="*/ 109430 h 171780"/>
                <a:gd name="connsiteX574" fmla="*/ 85254 w 108157"/>
                <a:gd name="connsiteY574" fmla="*/ 110067 h 171780"/>
                <a:gd name="connsiteX575" fmla="*/ 85890 w 108157"/>
                <a:gd name="connsiteY575" fmla="*/ 110067 h 171780"/>
                <a:gd name="connsiteX576" fmla="*/ 86526 w 108157"/>
                <a:gd name="connsiteY576" fmla="*/ 92571 h 171780"/>
                <a:gd name="connsiteX577" fmla="*/ 86208 w 108157"/>
                <a:gd name="connsiteY577" fmla="*/ 92571 h 171780"/>
                <a:gd name="connsiteX578" fmla="*/ 85572 w 108157"/>
                <a:gd name="connsiteY578" fmla="*/ 92252 h 171780"/>
                <a:gd name="connsiteX579" fmla="*/ 85890 w 108157"/>
                <a:gd name="connsiteY579" fmla="*/ 91616 h 171780"/>
                <a:gd name="connsiteX580" fmla="*/ 86208 w 108157"/>
                <a:gd name="connsiteY580" fmla="*/ 91616 h 171780"/>
                <a:gd name="connsiteX581" fmla="*/ 87163 w 108157"/>
                <a:gd name="connsiteY581" fmla="*/ 92252 h 171780"/>
                <a:gd name="connsiteX582" fmla="*/ 86526 w 108157"/>
                <a:gd name="connsiteY582" fmla="*/ 92571 h 171780"/>
                <a:gd name="connsiteX583" fmla="*/ 87163 w 108157"/>
                <a:gd name="connsiteY583" fmla="*/ 69030 h 171780"/>
                <a:gd name="connsiteX584" fmla="*/ 87163 w 108157"/>
                <a:gd name="connsiteY584" fmla="*/ 69348 h 171780"/>
                <a:gd name="connsiteX585" fmla="*/ 87481 w 108157"/>
                <a:gd name="connsiteY585" fmla="*/ 69666 h 171780"/>
                <a:gd name="connsiteX586" fmla="*/ 88435 w 108157"/>
                <a:gd name="connsiteY586" fmla="*/ 69666 h 171780"/>
                <a:gd name="connsiteX587" fmla="*/ 88117 w 108157"/>
                <a:gd name="connsiteY587" fmla="*/ 69030 h 171780"/>
                <a:gd name="connsiteX588" fmla="*/ 87481 w 108157"/>
                <a:gd name="connsiteY588" fmla="*/ 68712 h 171780"/>
                <a:gd name="connsiteX589" fmla="*/ 87163 w 108157"/>
                <a:gd name="connsiteY589" fmla="*/ 69030 h 171780"/>
                <a:gd name="connsiteX590" fmla="*/ 87799 w 108157"/>
                <a:gd name="connsiteY590" fmla="*/ 80800 h 171780"/>
                <a:gd name="connsiteX591" fmla="*/ 87163 w 108157"/>
                <a:gd name="connsiteY591" fmla="*/ 80800 h 171780"/>
                <a:gd name="connsiteX592" fmla="*/ 87163 w 108157"/>
                <a:gd name="connsiteY592" fmla="*/ 81119 h 171780"/>
                <a:gd name="connsiteX593" fmla="*/ 87481 w 108157"/>
                <a:gd name="connsiteY593" fmla="*/ 81755 h 171780"/>
                <a:gd name="connsiteX594" fmla="*/ 87799 w 108157"/>
                <a:gd name="connsiteY594" fmla="*/ 81755 h 171780"/>
                <a:gd name="connsiteX595" fmla="*/ 88435 w 108157"/>
                <a:gd name="connsiteY595" fmla="*/ 81119 h 171780"/>
                <a:gd name="connsiteX596" fmla="*/ 87799 w 108157"/>
                <a:gd name="connsiteY596" fmla="*/ 80800 h 171780"/>
                <a:gd name="connsiteX597" fmla="*/ 87799 w 108157"/>
                <a:gd name="connsiteY597" fmla="*/ 79528 h 171780"/>
                <a:gd name="connsiteX598" fmla="*/ 87799 w 108157"/>
                <a:gd name="connsiteY598" fmla="*/ 79210 h 171780"/>
                <a:gd name="connsiteX599" fmla="*/ 87481 w 108157"/>
                <a:gd name="connsiteY599" fmla="*/ 79528 h 171780"/>
                <a:gd name="connsiteX600" fmla="*/ 87799 w 108157"/>
                <a:gd name="connsiteY600" fmla="*/ 79528 h 171780"/>
                <a:gd name="connsiteX601" fmla="*/ 88435 w 108157"/>
                <a:gd name="connsiteY601" fmla="*/ 83663 h 171780"/>
                <a:gd name="connsiteX602" fmla="*/ 88753 w 108157"/>
                <a:gd name="connsiteY602" fmla="*/ 83345 h 171780"/>
                <a:gd name="connsiteX603" fmla="*/ 88435 w 108157"/>
                <a:gd name="connsiteY603" fmla="*/ 82709 h 171780"/>
                <a:gd name="connsiteX604" fmla="*/ 87799 w 108157"/>
                <a:gd name="connsiteY604" fmla="*/ 82709 h 171780"/>
                <a:gd name="connsiteX605" fmla="*/ 88117 w 108157"/>
                <a:gd name="connsiteY605" fmla="*/ 83663 h 171780"/>
                <a:gd name="connsiteX606" fmla="*/ 88435 w 108157"/>
                <a:gd name="connsiteY606" fmla="*/ 83663 h 171780"/>
                <a:gd name="connsiteX607" fmla="*/ 88753 w 108157"/>
                <a:gd name="connsiteY607" fmla="*/ 66167 h 171780"/>
                <a:gd name="connsiteX608" fmla="*/ 89389 w 108157"/>
                <a:gd name="connsiteY608" fmla="*/ 66167 h 171780"/>
                <a:gd name="connsiteX609" fmla="*/ 90344 w 108157"/>
                <a:gd name="connsiteY609" fmla="*/ 66485 h 171780"/>
                <a:gd name="connsiteX610" fmla="*/ 91298 w 108157"/>
                <a:gd name="connsiteY610" fmla="*/ 67758 h 171780"/>
                <a:gd name="connsiteX611" fmla="*/ 92252 w 108157"/>
                <a:gd name="connsiteY611" fmla="*/ 67758 h 171780"/>
                <a:gd name="connsiteX612" fmla="*/ 92252 w 108157"/>
                <a:gd name="connsiteY612" fmla="*/ 67440 h 171780"/>
                <a:gd name="connsiteX613" fmla="*/ 89071 w 108157"/>
                <a:gd name="connsiteY613" fmla="*/ 64259 h 171780"/>
                <a:gd name="connsiteX614" fmla="*/ 88753 w 108157"/>
                <a:gd name="connsiteY614" fmla="*/ 65213 h 171780"/>
                <a:gd name="connsiteX615" fmla="*/ 88753 w 108157"/>
                <a:gd name="connsiteY615" fmla="*/ 66167 h 171780"/>
                <a:gd name="connsiteX616" fmla="*/ 88753 w 108157"/>
                <a:gd name="connsiteY616" fmla="*/ 67758 h 171780"/>
                <a:gd name="connsiteX617" fmla="*/ 89071 w 108157"/>
                <a:gd name="connsiteY617" fmla="*/ 67440 h 171780"/>
                <a:gd name="connsiteX618" fmla="*/ 88753 w 108157"/>
                <a:gd name="connsiteY618" fmla="*/ 67440 h 171780"/>
                <a:gd name="connsiteX619" fmla="*/ 88753 w 108157"/>
                <a:gd name="connsiteY619" fmla="*/ 67758 h 171780"/>
                <a:gd name="connsiteX620" fmla="*/ 91934 w 108157"/>
                <a:gd name="connsiteY620" fmla="*/ 61714 h 171780"/>
                <a:gd name="connsiteX621" fmla="*/ 92252 w 108157"/>
                <a:gd name="connsiteY621" fmla="*/ 61396 h 171780"/>
                <a:gd name="connsiteX622" fmla="*/ 92570 w 108157"/>
                <a:gd name="connsiteY622" fmla="*/ 60759 h 171780"/>
                <a:gd name="connsiteX623" fmla="*/ 92252 w 108157"/>
                <a:gd name="connsiteY623" fmla="*/ 60123 h 171780"/>
                <a:gd name="connsiteX624" fmla="*/ 90344 w 108157"/>
                <a:gd name="connsiteY624" fmla="*/ 58533 h 171780"/>
                <a:gd name="connsiteX625" fmla="*/ 89389 w 108157"/>
                <a:gd name="connsiteY625" fmla="*/ 58533 h 171780"/>
                <a:gd name="connsiteX626" fmla="*/ 89071 w 108157"/>
                <a:gd name="connsiteY626" fmla="*/ 59169 h 171780"/>
                <a:gd name="connsiteX627" fmla="*/ 89389 w 108157"/>
                <a:gd name="connsiteY627" fmla="*/ 59487 h 171780"/>
                <a:gd name="connsiteX628" fmla="*/ 91298 w 108157"/>
                <a:gd name="connsiteY628" fmla="*/ 61714 h 171780"/>
                <a:gd name="connsiteX629" fmla="*/ 91934 w 108157"/>
                <a:gd name="connsiteY629" fmla="*/ 61714 h 171780"/>
                <a:gd name="connsiteX630" fmla="*/ 90980 w 108157"/>
                <a:gd name="connsiteY630" fmla="*/ 69030 h 171780"/>
                <a:gd name="connsiteX631" fmla="*/ 91934 w 108157"/>
                <a:gd name="connsiteY631" fmla="*/ 69666 h 171780"/>
                <a:gd name="connsiteX632" fmla="*/ 92252 w 108157"/>
                <a:gd name="connsiteY632" fmla="*/ 69666 h 171780"/>
                <a:gd name="connsiteX633" fmla="*/ 91934 w 108157"/>
                <a:gd name="connsiteY633" fmla="*/ 69030 h 171780"/>
                <a:gd name="connsiteX634" fmla="*/ 90980 w 108157"/>
                <a:gd name="connsiteY634" fmla="*/ 69030 h 171780"/>
                <a:gd name="connsiteX635" fmla="*/ 92252 w 108157"/>
                <a:gd name="connsiteY635" fmla="*/ 74120 h 171780"/>
                <a:gd name="connsiteX636" fmla="*/ 92252 w 108157"/>
                <a:gd name="connsiteY636" fmla="*/ 74438 h 171780"/>
                <a:gd name="connsiteX637" fmla="*/ 91934 w 108157"/>
                <a:gd name="connsiteY637" fmla="*/ 74756 h 171780"/>
                <a:gd name="connsiteX638" fmla="*/ 91298 w 108157"/>
                <a:gd name="connsiteY638" fmla="*/ 74120 h 171780"/>
                <a:gd name="connsiteX639" fmla="*/ 92252 w 108157"/>
                <a:gd name="connsiteY639" fmla="*/ 74120 h 171780"/>
                <a:gd name="connsiteX640" fmla="*/ 95115 w 108157"/>
                <a:gd name="connsiteY640" fmla="*/ 42627 h 171780"/>
                <a:gd name="connsiteX641" fmla="*/ 94161 w 108157"/>
                <a:gd name="connsiteY641" fmla="*/ 41991 h 171780"/>
                <a:gd name="connsiteX642" fmla="*/ 93207 w 108157"/>
                <a:gd name="connsiteY642" fmla="*/ 41673 h 171780"/>
                <a:gd name="connsiteX643" fmla="*/ 92570 w 108157"/>
                <a:gd name="connsiteY643" fmla="*/ 41991 h 171780"/>
                <a:gd name="connsiteX644" fmla="*/ 92889 w 108157"/>
                <a:gd name="connsiteY644" fmla="*/ 42309 h 171780"/>
                <a:gd name="connsiteX645" fmla="*/ 93207 w 108157"/>
                <a:gd name="connsiteY645" fmla="*/ 42945 h 171780"/>
                <a:gd name="connsiteX646" fmla="*/ 93525 w 108157"/>
                <a:gd name="connsiteY646" fmla="*/ 44218 h 171780"/>
                <a:gd name="connsiteX647" fmla="*/ 93843 w 108157"/>
                <a:gd name="connsiteY647" fmla="*/ 44854 h 171780"/>
                <a:gd name="connsiteX648" fmla="*/ 94161 w 108157"/>
                <a:gd name="connsiteY648" fmla="*/ 45172 h 171780"/>
                <a:gd name="connsiteX649" fmla="*/ 96070 w 108157"/>
                <a:gd name="connsiteY649" fmla="*/ 45490 h 171780"/>
                <a:gd name="connsiteX650" fmla="*/ 96388 w 108157"/>
                <a:gd name="connsiteY650" fmla="*/ 45172 h 171780"/>
                <a:gd name="connsiteX651" fmla="*/ 96388 w 108157"/>
                <a:gd name="connsiteY651" fmla="*/ 44854 h 171780"/>
                <a:gd name="connsiteX652" fmla="*/ 95434 w 108157"/>
                <a:gd name="connsiteY652" fmla="*/ 44218 h 171780"/>
                <a:gd name="connsiteX653" fmla="*/ 95115 w 108157"/>
                <a:gd name="connsiteY653" fmla="*/ 42627 h 171780"/>
                <a:gd name="connsiteX654" fmla="*/ 94479 w 108157"/>
                <a:gd name="connsiteY654" fmla="*/ 52807 h 171780"/>
                <a:gd name="connsiteX655" fmla="*/ 94161 w 108157"/>
                <a:gd name="connsiteY655" fmla="*/ 52170 h 171780"/>
                <a:gd name="connsiteX656" fmla="*/ 93207 w 108157"/>
                <a:gd name="connsiteY656" fmla="*/ 52488 h 171780"/>
                <a:gd name="connsiteX657" fmla="*/ 93207 w 108157"/>
                <a:gd name="connsiteY657" fmla="*/ 52807 h 171780"/>
                <a:gd name="connsiteX658" fmla="*/ 94161 w 108157"/>
                <a:gd name="connsiteY658" fmla="*/ 53443 h 171780"/>
                <a:gd name="connsiteX659" fmla="*/ 94479 w 108157"/>
                <a:gd name="connsiteY659" fmla="*/ 52807 h 171780"/>
                <a:gd name="connsiteX660" fmla="*/ 95752 w 108157"/>
                <a:gd name="connsiteY660" fmla="*/ 32129 h 171780"/>
                <a:gd name="connsiteX661" fmla="*/ 94161 w 108157"/>
                <a:gd name="connsiteY661" fmla="*/ 32766 h 171780"/>
                <a:gd name="connsiteX662" fmla="*/ 94161 w 108157"/>
                <a:gd name="connsiteY662" fmla="*/ 33402 h 171780"/>
                <a:gd name="connsiteX663" fmla="*/ 95752 w 108157"/>
                <a:gd name="connsiteY663" fmla="*/ 35629 h 171780"/>
                <a:gd name="connsiteX664" fmla="*/ 95752 w 108157"/>
                <a:gd name="connsiteY664" fmla="*/ 36265 h 171780"/>
                <a:gd name="connsiteX665" fmla="*/ 96388 w 108157"/>
                <a:gd name="connsiteY665" fmla="*/ 36901 h 171780"/>
                <a:gd name="connsiteX666" fmla="*/ 96706 w 108157"/>
                <a:gd name="connsiteY666" fmla="*/ 36901 h 171780"/>
                <a:gd name="connsiteX667" fmla="*/ 97978 w 108157"/>
                <a:gd name="connsiteY667" fmla="*/ 36583 h 171780"/>
                <a:gd name="connsiteX668" fmla="*/ 98615 w 108157"/>
                <a:gd name="connsiteY668" fmla="*/ 36583 h 171780"/>
                <a:gd name="connsiteX669" fmla="*/ 98933 w 108157"/>
                <a:gd name="connsiteY669" fmla="*/ 35947 h 171780"/>
                <a:gd name="connsiteX670" fmla="*/ 97660 w 108157"/>
                <a:gd name="connsiteY670" fmla="*/ 34992 h 171780"/>
                <a:gd name="connsiteX671" fmla="*/ 97342 w 108157"/>
                <a:gd name="connsiteY671" fmla="*/ 34356 h 171780"/>
                <a:gd name="connsiteX672" fmla="*/ 97978 w 108157"/>
                <a:gd name="connsiteY672" fmla="*/ 32766 h 171780"/>
                <a:gd name="connsiteX673" fmla="*/ 96070 w 108157"/>
                <a:gd name="connsiteY673" fmla="*/ 32129 h 171780"/>
                <a:gd name="connsiteX674" fmla="*/ 95752 w 108157"/>
                <a:gd name="connsiteY674" fmla="*/ 32129 h 171780"/>
                <a:gd name="connsiteX675" fmla="*/ 95752 w 108157"/>
                <a:gd name="connsiteY675" fmla="*/ 54715 h 171780"/>
                <a:gd name="connsiteX676" fmla="*/ 96070 w 108157"/>
                <a:gd name="connsiteY676" fmla="*/ 54397 h 171780"/>
                <a:gd name="connsiteX677" fmla="*/ 95752 w 108157"/>
                <a:gd name="connsiteY677" fmla="*/ 53761 h 171780"/>
                <a:gd name="connsiteX678" fmla="*/ 95434 w 108157"/>
                <a:gd name="connsiteY678" fmla="*/ 54397 h 171780"/>
                <a:gd name="connsiteX679" fmla="*/ 95752 w 108157"/>
                <a:gd name="connsiteY679" fmla="*/ 54715 h 171780"/>
                <a:gd name="connsiteX680" fmla="*/ 97342 w 108157"/>
                <a:gd name="connsiteY680" fmla="*/ 41036 h 171780"/>
                <a:gd name="connsiteX681" fmla="*/ 96706 w 108157"/>
                <a:gd name="connsiteY681" fmla="*/ 40718 h 171780"/>
                <a:gd name="connsiteX682" fmla="*/ 96070 w 108157"/>
                <a:gd name="connsiteY682" fmla="*/ 41036 h 171780"/>
                <a:gd name="connsiteX683" fmla="*/ 96388 w 108157"/>
                <a:gd name="connsiteY683" fmla="*/ 41355 h 171780"/>
                <a:gd name="connsiteX684" fmla="*/ 97342 w 108157"/>
                <a:gd name="connsiteY684" fmla="*/ 41036 h 171780"/>
                <a:gd name="connsiteX685" fmla="*/ 99569 w 108157"/>
                <a:gd name="connsiteY685" fmla="*/ 29584 h 171780"/>
                <a:gd name="connsiteX686" fmla="*/ 99569 w 108157"/>
                <a:gd name="connsiteY686" fmla="*/ 29266 h 171780"/>
                <a:gd name="connsiteX687" fmla="*/ 98933 w 108157"/>
                <a:gd name="connsiteY687" fmla="*/ 29266 h 171780"/>
                <a:gd name="connsiteX688" fmla="*/ 98297 w 108157"/>
                <a:gd name="connsiteY688" fmla="*/ 28948 h 171780"/>
                <a:gd name="connsiteX689" fmla="*/ 97978 w 108157"/>
                <a:gd name="connsiteY689" fmla="*/ 28948 h 171780"/>
                <a:gd name="connsiteX690" fmla="*/ 97660 w 108157"/>
                <a:gd name="connsiteY690" fmla="*/ 29903 h 171780"/>
                <a:gd name="connsiteX691" fmla="*/ 97978 w 108157"/>
                <a:gd name="connsiteY691" fmla="*/ 30539 h 171780"/>
                <a:gd name="connsiteX692" fmla="*/ 99569 w 108157"/>
                <a:gd name="connsiteY692" fmla="*/ 29584 h 171780"/>
                <a:gd name="connsiteX693" fmla="*/ 101160 w 108157"/>
                <a:gd name="connsiteY693" fmla="*/ 31175 h 171780"/>
                <a:gd name="connsiteX694" fmla="*/ 100841 w 108157"/>
                <a:gd name="connsiteY694" fmla="*/ 30539 h 171780"/>
                <a:gd name="connsiteX695" fmla="*/ 99887 w 108157"/>
                <a:gd name="connsiteY695" fmla="*/ 30539 h 171780"/>
                <a:gd name="connsiteX696" fmla="*/ 100205 w 108157"/>
                <a:gd name="connsiteY696" fmla="*/ 31175 h 171780"/>
                <a:gd name="connsiteX697" fmla="*/ 101160 w 108157"/>
                <a:gd name="connsiteY697" fmla="*/ 31175 h 171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</a:cxnLst>
              <a:rect l="l" t="t" r="r" b="b"/>
              <a:pathLst>
                <a:path w="108157" h="171780">
                  <a:moveTo>
                    <a:pt x="65213" y="154602"/>
                  </a:moveTo>
                  <a:cubicBezTo>
                    <a:pt x="65213" y="154284"/>
                    <a:pt x="64895" y="153648"/>
                    <a:pt x="64895" y="153330"/>
                  </a:cubicBezTo>
                  <a:lnTo>
                    <a:pt x="64895" y="151739"/>
                  </a:lnTo>
                  <a:cubicBezTo>
                    <a:pt x="64895" y="151103"/>
                    <a:pt x="64895" y="150149"/>
                    <a:pt x="64577" y="148876"/>
                  </a:cubicBezTo>
                  <a:cubicBezTo>
                    <a:pt x="64577" y="148558"/>
                    <a:pt x="64577" y="147922"/>
                    <a:pt x="63940" y="147286"/>
                  </a:cubicBezTo>
                  <a:cubicBezTo>
                    <a:pt x="64577" y="145695"/>
                    <a:pt x="64577" y="144741"/>
                    <a:pt x="64895" y="143787"/>
                  </a:cubicBezTo>
                  <a:lnTo>
                    <a:pt x="64895" y="142514"/>
                  </a:lnTo>
                  <a:cubicBezTo>
                    <a:pt x="64577" y="141242"/>
                    <a:pt x="64577" y="141242"/>
                    <a:pt x="64577" y="140924"/>
                  </a:cubicBezTo>
                  <a:lnTo>
                    <a:pt x="64577" y="139333"/>
                  </a:lnTo>
                  <a:cubicBezTo>
                    <a:pt x="64577" y="138061"/>
                    <a:pt x="64577" y="137424"/>
                    <a:pt x="63940" y="136788"/>
                  </a:cubicBezTo>
                  <a:cubicBezTo>
                    <a:pt x="63940" y="136470"/>
                    <a:pt x="65213" y="115793"/>
                    <a:pt x="65213" y="111657"/>
                  </a:cubicBezTo>
                  <a:lnTo>
                    <a:pt x="65213" y="111021"/>
                  </a:lnTo>
                  <a:cubicBezTo>
                    <a:pt x="65531" y="110703"/>
                    <a:pt x="66485" y="110703"/>
                    <a:pt x="66803" y="110703"/>
                  </a:cubicBezTo>
                  <a:lnTo>
                    <a:pt x="66803" y="109430"/>
                  </a:lnTo>
                  <a:cubicBezTo>
                    <a:pt x="66803" y="109112"/>
                    <a:pt x="66485" y="108794"/>
                    <a:pt x="65849" y="108476"/>
                  </a:cubicBezTo>
                  <a:cubicBezTo>
                    <a:pt x="65531" y="108158"/>
                    <a:pt x="65531" y="107840"/>
                    <a:pt x="65531" y="107204"/>
                  </a:cubicBezTo>
                  <a:lnTo>
                    <a:pt x="65531" y="106567"/>
                  </a:lnTo>
                  <a:cubicBezTo>
                    <a:pt x="65531" y="106249"/>
                    <a:pt x="65531" y="105931"/>
                    <a:pt x="65849" y="105613"/>
                  </a:cubicBezTo>
                  <a:cubicBezTo>
                    <a:pt x="66485" y="105295"/>
                    <a:pt x="66803" y="104977"/>
                    <a:pt x="66803" y="104023"/>
                  </a:cubicBezTo>
                  <a:cubicBezTo>
                    <a:pt x="67122" y="104023"/>
                    <a:pt x="66803" y="103704"/>
                    <a:pt x="66803" y="103704"/>
                  </a:cubicBezTo>
                  <a:cubicBezTo>
                    <a:pt x="66485" y="103386"/>
                    <a:pt x="66485" y="103386"/>
                    <a:pt x="65849" y="103386"/>
                  </a:cubicBezTo>
                  <a:cubicBezTo>
                    <a:pt x="66167" y="103386"/>
                    <a:pt x="66167" y="103704"/>
                    <a:pt x="66167" y="103704"/>
                  </a:cubicBezTo>
                  <a:cubicBezTo>
                    <a:pt x="66167" y="104023"/>
                    <a:pt x="65849" y="104023"/>
                    <a:pt x="65531" y="104023"/>
                  </a:cubicBezTo>
                  <a:cubicBezTo>
                    <a:pt x="65213" y="104341"/>
                    <a:pt x="64895" y="104659"/>
                    <a:pt x="64577" y="104659"/>
                  </a:cubicBezTo>
                  <a:lnTo>
                    <a:pt x="64259" y="104341"/>
                  </a:lnTo>
                  <a:lnTo>
                    <a:pt x="63622" y="104341"/>
                  </a:lnTo>
                  <a:cubicBezTo>
                    <a:pt x="62032" y="104341"/>
                    <a:pt x="61077" y="104977"/>
                    <a:pt x="61077" y="105931"/>
                  </a:cubicBezTo>
                  <a:cubicBezTo>
                    <a:pt x="61077" y="106886"/>
                    <a:pt x="59805" y="107522"/>
                    <a:pt x="59169" y="108158"/>
                  </a:cubicBezTo>
                  <a:cubicBezTo>
                    <a:pt x="58533" y="108476"/>
                    <a:pt x="57896" y="108794"/>
                    <a:pt x="57896" y="109749"/>
                  </a:cubicBezTo>
                  <a:cubicBezTo>
                    <a:pt x="57896" y="110385"/>
                    <a:pt x="56942" y="110067"/>
                    <a:pt x="56942" y="110703"/>
                  </a:cubicBezTo>
                  <a:lnTo>
                    <a:pt x="56942" y="111021"/>
                  </a:lnTo>
                  <a:lnTo>
                    <a:pt x="55033" y="113884"/>
                  </a:lnTo>
                  <a:lnTo>
                    <a:pt x="55033" y="114202"/>
                  </a:lnTo>
                  <a:cubicBezTo>
                    <a:pt x="53761" y="115475"/>
                    <a:pt x="53443" y="116747"/>
                    <a:pt x="53125" y="117701"/>
                  </a:cubicBezTo>
                  <a:cubicBezTo>
                    <a:pt x="53125" y="117701"/>
                    <a:pt x="52806" y="118338"/>
                    <a:pt x="52488" y="118338"/>
                  </a:cubicBezTo>
                  <a:cubicBezTo>
                    <a:pt x="51534" y="118338"/>
                    <a:pt x="50898" y="118974"/>
                    <a:pt x="50262" y="119610"/>
                  </a:cubicBezTo>
                  <a:lnTo>
                    <a:pt x="49307" y="121201"/>
                  </a:lnTo>
                  <a:lnTo>
                    <a:pt x="42945" y="126290"/>
                  </a:lnTo>
                  <a:cubicBezTo>
                    <a:pt x="41991" y="126608"/>
                    <a:pt x="40718" y="126608"/>
                    <a:pt x="39764" y="127245"/>
                  </a:cubicBezTo>
                  <a:cubicBezTo>
                    <a:pt x="39446" y="127563"/>
                    <a:pt x="39128" y="127881"/>
                    <a:pt x="38810" y="127881"/>
                  </a:cubicBezTo>
                  <a:cubicBezTo>
                    <a:pt x="36901" y="128199"/>
                    <a:pt x="34674" y="128199"/>
                    <a:pt x="33402" y="128835"/>
                  </a:cubicBezTo>
                  <a:lnTo>
                    <a:pt x="31175" y="128835"/>
                  </a:lnTo>
                  <a:cubicBezTo>
                    <a:pt x="29266" y="128835"/>
                    <a:pt x="27358" y="129153"/>
                    <a:pt x="25767" y="129471"/>
                  </a:cubicBezTo>
                  <a:lnTo>
                    <a:pt x="23858" y="129471"/>
                  </a:lnTo>
                  <a:cubicBezTo>
                    <a:pt x="23222" y="129471"/>
                    <a:pt x="22586" y="129153"/>
                    <a:pt x="22268" y="128835"/>
                  </a:cubicBezTo>
                  <a:cubicBezTo>
                    <a:pt x="21950" y="128199"/>
                    <a:pt x="21314" y="128199"/>
                    <a:pt x="20995" y="128199"/>
                  </a:cubicBezTo>
                  <a:lnTo>
                    <a:pt x="19723" y="128199"/>
                  </a:lnTo>
                  <a:cubicBezTo>
                    <a:pt x="19087" y="128199"/>
                    <a:pt x="18450" y="127881"/>
                    <a:pt x="17814" y="127881"/>
                  </a:cubicBezTo>
                  <a:cubicBezTo>
                    <a:pt x="17178" y="127563"/>
                    <a:pt x="16542" y="127563"/>
                    <a:pt x="15906" y="127563"/>
                  </a:cubicBezTo>
                  <a:lnTo>
                    <a:pt x="12724" y="127563"/>
                  </a:lnTo>
                  <a:cubicBezTo>
                    <a:pt x="12088" y="127245"/>
                    <a:pt x="12088" y="126608"/>
                    <a:pt x="11770" y="126608"/>
                  </a:cubicBezTo>
                  <a:cubicBezTo>
                    <a:pt x="10816" y="125336"/>
                    <a:pt x="9225" y="123746"/>
                    <a:pt x="7953" y="122791"/>
                  </a:cubicBezTo>
                  <a:lnTo>
                    <a:pt x="6998" y="121837"/>
                  </a:lnTo>
                  <a:lnTo>
                    <a:pt x="5408" y="118656"/>
                  </a:lnTo>
                  <a:cubicBezTo>
                    <a:pt x="4135" y="117701"/>
                    <a:pt x="3181" y="117065"/>
                    <a:pt x="3181" y="115793"/>
                  </a:cubicBezTo>
                  <a:cubicBezTo>
                    <a:pt x="3181" y="115156"/>
                    <a:pt x="2545" y="114838"/>
                    <a:pt x="2227" y="114202"/>
                  </a:cubicBezTo>
                  <a:cubicBezTo>
                    <a:pt x="2227" y="113884"/>
                    <a:pt x="2227" y="113566"/>
                    <a:pt x="2545" y="113566"/>
                  </a:cubicBezTo>
                  <a:cubicBezTo>
                    <a:pt x="3181" y="113566"/>
                    <a:pt x="3499" y="113566"/>
                    <a:pt x="3499" y="113248"/>
                  </a:cubicBezTo>
                  <a:cubicBezTo>
                    <a:pt x="3499" y="112612"/>
                    <a:pt x="3181" y="112293"/>
                    <a:pt x="2863" y="112293"/>
                  </a:cubicBezTo>
                  <a:cubicBezTo>
                    <a:pt x="2863" y="111975"/>
                    <a:pt x="2863" y="111975"/>
                    <a:pt x="2545" y="111975"/>
                  </a:cubicBezTo>
                  <a:lnTo>
                    <a:pt x="2227" y="111975"/>
                  </a:lnTo>
                  <a:lnTo>
                    <a:pt x="2227" y="112293"/>
                  </a:lnTo>
                  <a:lnTo>
                    <a:pt x="1273" y="112293"/>
                  </a:lnTo>
                  <a:lnTo>
                    <a:pt x="636" y="109112"/>
                  </a:lnTo>
                  <a:cubicBezTo>
                    <a:pt x="318" y="108476"/>
                    <a:pt x="0" y="108476"/>
                    <a:pt x="0" y="107840"/>
                  </a:cubicBezTo>
                  <a:cubicBezTo>
                    <a:pt x="0" y="107522"/>
                    <a:pt x="318" y="107204"/>
                    <a:pt x="318" y="106886"/>
                  </a:cubicBezTo>
                  <a:lnTo>
                    <a:pt x="636" y="106886"/>
                  </a:lnTo>
                  <a:cubicBezTo>
                    <a:pt x="636" y="107204"/>
                    <a:pt x="636" y="107204"/>
                    <a:pt x="954" y="107204"/>
                  </a:cubicBezTo>
                  <a:lnTo>
                    <a:pt x="954" y="107522"/>
                  </a:lnTo>
                  <a:cubicBezTo>
                    <a:pt x="954" y="108476"/>
                    <a:pt x="1273" y="108794"/>
                    <a:pt x="1591" y="109430"/>
                  </a:cubicBezTo>
                  <a:cubicBezTo>
                    <a:pt x="1591" y="109749"/>
                    <a:pt x="1909" y="110067"/>
                    <a:pt x="1909" y="110385"/>
                  </a:cubicBezTo>
                  <a:cubicBezTo>
                    <a:pt x="2227" y="111021"/>
                    <a:pt x="2227" y="111021"/>
                    <a:pt x="2545" y="111021"/>
                  </a:cubicBezTo>
                  <a:lnTo>
                    <a:pt x="2863" y="110703"/>
                  </a:lnTo>
                  <a:lnTo>
                    <a:pt x="2863" y="108476"/>
                  </a:lnTo>
                  <a:cubicBezTo>
                    <a:pt x="2863" y="108158"/>
                    <a:pt x="2863" y="107522"/>
                    <a:pt x="3499" y="107204"/>
                  </a:cubicBezTo>
                  <a:cubicBezTo>
                    <a:pt x="3499" y="107204"/>
                    <a:pt x="3181" y="106567"/>
                    <a:pt x="3181" y="106249"/>
                  </a:cubicBezTo>
                  <a:cubicBezTo>
                    <a:pt x="2863" y="105295"/>
                    <a:pt x="2545" y="103704"/>
                    <a:pt x="2545" y="102432"/>
                  </a:cubicBezTo>
                  <a:lnTo>
                    <a:pt x="2545" y="97660"/>
                  </a:lnTo>
                  <a:cubicBezTo>
                    <a:pt x="2545" y="97342"/>
                    <a:pt x="2545" y="97024"/>
                    <a:pt x="2863" y="96706"/>
                  </a:cubicBezTo>
                  <a:lnTo>
                    <a:pt x="2863" y="94479"/>
                  </a:lnTo>
                  <a:cubicBezTo>
                    <a:pt x="3181" y="93843"/>
                    <a:pt x="4135" y="93207"/>
                    <a:pt x="5408" y="92889"/>
                  </a:cubicBezTo>
                  <a:cubicBezTo>
                    <a:pt x="5408" y="92252"/>
                    <a:pt x="4135" y="91934"/>
                    <a:pt x="4135" y="91298"/>
                  </a:cubicBezTo>
                  <a:cubicBezTo>
                    <a:pt x="3499" y="91298"/>
                    <a:pt x="3499" y="91298"/>
                    <a:pt x="3499" y="90980"/>
                  </a:cubicBezTo>
                  <a:lnTo>
                    <a:pt x="3181" y="90980"/>
                  </a:lnTo>
                  <a:lnTo>
                    <a:pt x="3817" y="90344"/>
                  </a:lnTo>
                  <a:cubicBezTo>
                    <a:pt x="4135" y="90026"/>
                    <a:pt x="5726" y="90026"/>
                    <a:pt x="5726" y="89071"/>
                  </a:cubicBezTo>
                  <a:lnTo>
                    <a:pt x="5726" y="87163"/>
                  </a:lnTo>
                  <a:lnTo>
                    <a:pt x="5408" y="86845"/>
                  </a:lnTo>
                  <a:cubicBezTo>
                    <a:pt x="5726" y="85890"/>
                    <a:pt x="5726" y="84618"/>
                    <a:pt x="6044" y="83982"/>
                  </a:cubicBezTo>
                  <a:cubicBezTo>
                    <a:pt x="6044" y="83027"/>
                    <a:pt x="6362" y="82391"/>
                    <a:pt x="6362" y="81437"/>
                  </a:cubicBezTo>
                  <a:cubicBezTo>
                    <a:pt x="6362" y="80482"/>
                    <a:pt x="6680" y="80164"/>
                    <a:pt x="6680" y="79528"/>
                  </a:cubicBezTo>
                  <a:cubicBezTo>
                    <a:pt x="6998" y="78892"/>
                    <a:pt x="6998" y="78256"/>
                    <a:pt x="7635" y="77301"/>
                  </a:cubicBezTo>
                  <a:cubicBezTo>
                    <a:pt x="7953" y="76665"/>
                    <a:pt x="8589" y="76347"/>
                    <a:pt x="8907" y="76029"/>
                  </a:cubicBezTo>
                  <a:lnTo>
                    <a:pt x="8907" y="75711"/>
                  </a:lnTo>
                  <a:cubicBezTo>
                    <a:pt x="8907" y="75392"/>
                    <a:pt x="9225" y="75711"/>
                    <a:pt x="9225" y="75074"/>
                  </a:cubicBezTo>
                  <a:lnTo>
                    <a:pt x="9225" y="74756"/>
                  </a:lnTo>
                  <a:lnTo>
                    <a:pt x="10498" y="72848"/>
                  </a:lnTo>
                  <a:cubicBezTo>
                    <a:pt x="10816" y="72529"/>
                    <a:pt x="10816" y="71575"/>
                    <a:pt x="10816" y="70939"/>
                  </a:cubicBezTo>
                  <a:lnTo>
                    <a:pt x="12088" y="68394"/>
                  </a:lnTo>
                  <a:cubicBezTo>
                    <a:pt x="12088" y="67440"/>
                    <a:pt x="12406" y="66485"/>
                    <a:pt x="12724" y="66167"/>
                  </a:cubicBezTo>
                  <a:lnTo>
                    <a:pt x="13361" y="65213"/>
                  </a:lnTo>
                  <a:cubicBezTo>
                    <a:pt x="13361" y="64259"/>
                    <a:pt x="13679" y="63622"/>
                    <a:pt x="14315" y="63304"/>
                  </a:cubicBezTo>
                  <a:lnTo>
                    <a:pt x="15588" y="62350"/>
                  </a:lnTo>
                  <a:lnTo>
                    <a:pt x="15588" y="61077"/>
                  </a:lnTo>
                  <a:cubicBezTo>
                    <a:pt x="16860" y="59805"/>
                    <a:pt x="17496" y="58533"/>
                    <a:pt x="18132" y="56942"/>
                  </a:cubicBezTo>
                  <a:cubicBezTo>
                    <a:pt x="18132" y="55988"/>
                    <a:pt x="18450" y="55988"/>
                    <a:pt x="19087" y="55670"/>
                  </a:cubicBezTo>
                  <a:cubicBezTo>
                    <a:pt x="19723" y="55351"/>
                    <a:pt x="20677" y="54715"/>
                    <a:pt x="20677" y="53761"/>
                  </a:cubicBezTo>
                  <a:cubicBezTo>
                    <a:pt x="20677" y="53443"/>
                    <a:pt x="20995" y="53125"/>
                    <a:pt x="20995" y="52807"/>
                  </a:cubicBezTo>
                  <a:cubicBezTo>
                    <a:pt x="21632" y="51852"/>
                    <a:pt x="22268" y="51216"/>
                    <a:pt x="22904" y="49944"/>
                  </a:cubicBezTo>
                  <a:cubicBezTo>
                    <a:pt x="23222" y="49307"/>
                    <a:pt x="24176" y="48989"/>
                    <a:pt x="24176" y="48353"/>
                  </a:cubicBezTo>
                  <a:cubicBezTo>
                    <a:pt x="24176" y="48035"/>
                    <a:pt x="24495" y="47717"/>
                    <a:pt x="25131" y="47717"/>
                  </a:cubicBezTo>
                  <a:lnTo>
                    <a:pt x="26721" y="44854"/>
                  </a:lnTo>
                  <a:cubicBezTo>
                    <a:pt x="26721" y="44536"/>
                    <a:pt x="26721" y="44536"/>
                    <a:pt x="27040" y="44536"/>
                  </a:cubicBezTo>
                  <a:lnTo>
                    <a:pt x="27358" y="44536"/>
                  </a:lnTo>
                  <a:cubicBezTo>
                    <a:pt x="28630" y="43263"/>
                    <a:pt x="28630" y="41991"/>
                    <a:pt x="29266" y="41036"/>
                  </a:cubicBezTo>
                  <a:cubicBezTo>
                    <a:pt x="29584" y="40082"/>
                    <a:pt x="29903" y="39446"/>
                    <a:pt x="31175" y="38492"/>
                  </a:cubicBezTo>
                  <a:cubicBezTo>
                    <a:pt x="32129" y="37855"/>
                    <a:pt x="32129" y="36583"/>
                    <a:pt x="33402" y="35310"/>
                  </a:cubicBezTo>
                  <a:cubicBezTo>
                    <a:pt x="34356" y="34356"/>
                    <a:pt x="35629" y="32766"/>
                    <a:pt x="37537" y="32129"/>
                  </a:cubicBezTo>
                  <a:cubicBezTo>
                    <a:pt x="38491" y="31493"/>
                    <a:pt x="38810" y="30539"/>
                    <a:pt x="39446" y="29903"/>
                  </a:cubicBezTo>
                  <a:cubicBezTo>
                    <a:pt x="39764" y="29266"/>
                    <a:pt x="40082" y="28630"/>
                    <a:pt x="41355" y="28630"/>
                  </a:cubicBezTo>
                  <a:lnTo>
                    <a:pt x="42945" y="27676"/>
                  </a:lnTo>
                  <a:cubicBezTo>
                    <a:pt x="43581" y="27040"/>
                    <a:pt x="44536" y="26403"/>
                    <a:pt x="44854" y="25449"/>
                  </a:cubicBezTo>
                  <a:lnTo>
                    <a:pt x="45172" y="26085"/>
                  </a:lnTo>
                  <a:cubicBezTo>
                    <a:pt x="45808" y="26721"/>
                    <a:pt x="45808" y="27040"/>
                    <a:pt x="46126" y="27676"/>
                  </a:cubicBezTo>
                  <a:cubicBezTo>
                    <a:pt x="46444" y="27040"/>
                    <a:pt x="47081" y="27040"/>
                    <a:pt x="47081" y="26403"/>
                  </a:cubicBezTo>
                  <a:cubicBezTo>
                    <a:pt x="47081" y="26085"/>
                    <a:pt x="46762" y="25449"/>
                    <a:pt x="46444" y="25131"/>
                  </a:cubicBezTo>
                  <a:lnTo>
                    <a:pt x="46444" y="24813"/>
                  </a:lnTo>
                  <a:cubicBezTo>
                    <a:pt x="47717" y="24495"/>
                    <a:pt x="48671" y="23858"/>
                    <a:pt x="49944" y="23222"/>
                  </a:cubicBezTo>
                  <a:cubicBezTo>
                    <a:pt x="52806" y="21950"/>
                    <a:pt x="55352" y="21950"/>
                    <a:pt x="57896" y="21632"/>
                  </a:cubicBezTo>
                  <a:cubicBezTo>
                    <a:pt x="58533" y="21313"/>
                    <a:pt x="59169" y="21313"/>
                    <a:pt x="59805" y="21313"/>
                  </a:cubicBezTo>
                  <a:cubicBezTo>
                    <a:pt x="60441" y="21632"/>
                    <a:pt x="61714" y="21632"/>
                    <a:pt x="62350" y="21632"/>
                  </a:cubicBezTo>
                  <a:cubicBezTo>
                    <a:pt x="62668" y="21632"/>
                    <a:pt x="62986" y="21950"/>
                    <a:pt x="63304" y="21950"/>
                  </a:cubicBezTo>
                  <a:cubicBezTo>
                    <a:pt x="63622" y="21950"/>
                    <a:pt x="63940" y="22268"/>
                    <a:pt x="64259" y="22268"/>
                  </a:cubicBezTo>
                  <a:cubicBezTo>
                    <a:pt x="64895" y="22268"/>
                    <a:pt x="65531" y="22268"/>
                    <a:pt x="66485" y="22586"/>
                  </a:cubicBezTo>
                  <a:cubicBezTo>
                    <a:pt x="67440" y="23222"/>
                    <a:pt x="68712" y="23858"/>
                    <a:pt x="69667" y="24813"/>
                  </a:cubicBezTo>
                  <a:cubicBezTo>
                    <a:pt x="71893" y="26085"/>
                    <a:pt x="73484" y="27358"/>
                    <a:pt x="75074" y="28630"/>
                  </a:cubicBezTo>
                  <a:cubicBezTo>
                    <a:pt x="75711" y="29266"/>
                    <a:pt x="77301" y="29584"/>
                    <a:pt x="77937" y="29584"/>
                  </a:cubicBezTo>
                  <a:cubicBezTo>
                    <a:pt x="78255" y="29903"/>
                    <a:pt x="78255" y="29903"/>
                    <a:pt x="78574" y="29903"/>
                  </a:cubicBezTo>
                  <a:cubicBezTo>
                    <a:pt x="78892" y="29903"/>
                    <a:pt x="79528" y="29266"/>
                    <a:pt x="79846" y="28948"/>
                  </a:cubicBezTo>
                  <a:cubicBezTo>
                    <a:pt x="80164" y="28630"/>
                    <a:pt x="80482" y="28312"/>
                    <a:pt x="80482" y="27994"/>
                  </a:cubicBezTo>
                  <a:cubicBezTo>
                    <a:pt x="80482" y="27676"/>
                    <a:pt x="80164" y="27676"/>
                    <a:pt x="80164" y="27358"/>
                  </a:cubicBezTo>
                  <a:cubicBezTo>
                    <a:pt x="80164" y="27040"/>
                    <a:pt x="80482" y="26721"/>
                    <a:pt x="81119" y="26721"/>
                  </a:cubicBezTo>
                  <a:lnTo>
                    <a:pt x="82073" y="27358"/>
                  </a:lnTo>
                  <a:cubicBezTo>
                    <a:pt x="82391" y="27676"/>
                    <a:pt x="82709" y="27676"/>
                    <a:pt x="83027" y="27676"/>
                  </a:cubicBezTo>
                  <a:lnTo>
                    <a:pt x="83345" y="27358"/>
                  </a:lnTo>
                  <a:lnTo>
                    <a:pt x="83345" y="27040"/>
                  </a:lnTo>
                  <a:cubicBezTo>
                    <a:pt x="82391" y="26403"/>
                    <a:pt x="81119" y="25131"/>
                    <a:pt x="81119" y="24813"/>
                  </a:cubicBezTo>
                  <a:cubicBezTo>
                    <a:pt x="81119" y="23858"/>
                    <a:pt x="81437" y="24176"/>
                    <a:pt x="82073" y="23540"/>
                  </a:cubicBezTo>
                  <a:cubicBezTo>
                    <a:pt x="84300" y="24176"/>
                    <a:pt x="87163" y="10180"/>
                    <a:pt x="87481" y="10180"/>
                  </a:cubicBezTo>
                  <a:lnTo>
                    <a:pt x="87481" y="9543"/>
                  </a:lnTo>
                  <a:cubicBezTo>
                    <a:pt x="88753" y="7953"/>
                    <a:pt x="89071" y="6362"/>
                    <a:pt x="89389" y="4772"/>
                  </a:cubicBezTo>
                  <a:cubicBezTo>
                    <a:pt x="89389" y="4135"/>
                    <a:pt x="89708" y="3817"/>
                    <a:pt x="90026" y="3181"/>
                  </a:cubicBezTo>
                  <a:cubicBezTo>
                    <a:pt x="90344" y="2863"/>
                    <a:pt x="90662" y="2863"/>
                    <a:pt x="90980" y="2227"/>
                  </a:cubicBezTo>
                  <a:cubicBezTo>
                    <a:pt x="91298" y="1591"/>
                    <a:pt x="91298" y="1272"/>
                    <a:pt x="91934" y="1272"/>
                  </a:cubicBezTo>
                  <a:cubicBezTo>
                    <a:pt x="92570" y="636"/>
                    <a:pt x="92889" y="318"/>
                    <a:pt x="93843" y="318"/>
                  </a:cubicBezTo>
                  <a:lnTo>
                    <a:pt x="94797" y="318"/>
                  </a:lnTo>
                  <a:cubicBezTo>
                    <a:pt x="95752" y="318"/>
                    <a:pt x="97024" y="0"/>
                    <a:pt x="97978" y="0"/>
                  </a:cubicBezTo>
                  <a:cubicBezTo>
                    <a:pt x="98615" y="0"/>
                    <a:pt x="99251" y="318"/>
                    <a:pt x="99887" y="954"/>
                  </a:cubicBezTo>
                  <a:cubicBezTo>
                    <a:pt x="99887" y="954"/>
                    <a:pt x="100205" y="1272"/>
                    <a:pt x="100523" y="1272"/>
                  </a:cubicBezTo>
                  <a:cubicBezTo>
                    <a:pt x="101796" y="2863"/>
                    <a:pt x="103068" y="3499"/>
                    <a:pt x="104341" y="3817"/>
                  </a:cubicBezTo>
                  <a:cubicBezTo>
                    <a:pt x="105295" y="4454"/>
                    <a:pt x="106567" y="5090"/>
                    <a:pt x="107522" y="5090"/>
                  </a:cubicBezTo>
                  <a:cubicBezTo>
                    <a:pt x="108794" y="6044"/>
                    <a:pt x="110067" y="6362"/>
                    <a:pt x="110067" y="7635"/>
                  </a:cubicBezTo>
                  <a:cubicBezTo>
                    <a:pt x="110385" y="7635"/>
                    <a:pt x="110703" y="7953"/>
                    <a:pt x="111657" y="7953"/>
                  </a:cubicBezTo>
                  <a:cubicBezTo>
                    <a:pt x="111975" y="8589"/>
                    <a:pt x="112293" y="9225"/>
                    <a:pt x="112293" y="9861"/>
                  </a:cubicBezTo>
                  <a:lnTo>
                    <a:pt x="112293" y="10816"/>
                  </a:lnTo>
                  <a:cubicBezTo>
                    <a:pt x="111657" y="11452"/>
                    <a:pt x="105295" y="23858"/>
                    <a:pt x="104659" y="23222"/>
                  </a:cubicBezTo>
                  <a:lnTo>
                    <a:pt x="104659" y="24176"/>
                  </a:lnTo>
                  <a:lnTo>
                    <a:pt x="104341" y="24176"/>
                  </a:lnTo>
                  <a:cubicBezTo>
                    <a:pt x="104341" y="24495"/>
                    <a:pt x="104023" y="24813"/>
                    <a:pt x="103704" y="24813"/>
                  </a:cubicBezTo>
                  <a:lnTo>
                    <a:pt x="103704" y="24176"/>
                  </a:lnTo>
                  <a:cubicBezTo>
                    <a:pt x="103704" y="24176"/>
                    <a:pt x="103386" y="24176"/>
                    <a:pt x="103068" y="23858"/>
                  </a:cubicBezTo>
                  <a:cubicBezTo>
                    <a:pt x="102432" y="23858"/>
                    <a:pt x="102114" y="24176"/>
                    <a:pt x="101796" y="24176"/>
                  </a:cubicBezTo>
                  <a:lnTo>
                    <a:pt x="101796" y="24813"/>
                  </a:lnTo>
                  <a:lnTo>
                    <a:pt x="104023" y="24813"/>
                  </a:lnTo>
                  <a:lnTo>
                    <a:pt x="104023" y="25767"/>
                  </a:lnTo>
                  <a:cubicBezTo>
                    <a:pt x="103386" y="26085"/>
                    <a:pt x="103068" y="26403"/>
                    <a:pt x="103068" y="26721"/>
                  </a:cubicBezTo>
                  <a:cubicBezTo>
                    <a:pt x="103068" y="27040"/>
                    <a:pt x="103386" y="27676"/>
                    <a:pt x="103386" y="27676"/>
                  </a:cubicBezTo>
                  <a:lnTo>
                    <a:pt x="104023" y="28312"/>
                  </a:lnTo>
                  <a:cubicBezTo>
                    <a:pt x="104023" y="28630"/>
                    <a:pt x="103704" y="28630"/>
                    <a:pt x="103704" y="28630"/>
                  </a:cubicBezTo>
                  <a:cubicBezTo>
                    <a:pt x="103704" y="28948"/>
                    <a:pt x="104023" y="29584"/>
                    <a:pt x="104023" y="29903"/>
                  </a:cubicBezTo>
                  <a:cubicBezTo>
                    <a:pt x="104023" y="30221"/>
                    <a:pt x="104023" y="30221"/>
                    <a:pt x="103704" y="30539"/>
                  </a:cubicBezTo>
                  <a:cubicBezTo>
                    <a:pt x="103386" y="30539"/>
                    <a:pt x="103386" y="30857"/>
                    <a:pt x="103386" y="31175"/>
                  </a:cubicBezTo>
                  <a:cubicBezTo>
                    <a:pt x="103068" y="32447"/>
                    <a:pt x="102750" y="33402"/>
                    <a:pt x="101796" y="34038"/>
                  </a:cubicBezTo>
                  <a:cubicBezTo>
                    <a:pt x="101160" y="34674"/>
                    <a:pt x="101478" y="35310"/>
                    <a:pt x="101160" y="36583"/>
                  </a:cubicBezTo>
                  <a:lnTo>
                    <a:pt x="101160" y="37855"/>
                  </a:lnTo>
                  <a:cubicBezTo>
                    <a:pt x="100205" y="39446"/>
                    <a:pt x="99887" y="40718"/>
                    <a:pt x="99569" y="41991"/>
                  </a:cubicBezTo>
                  <a:lnTo>
                    <a:pt x="99569" y="45808"/>
                  </a:lnTo>
                  <a:cubicBezTo>
                    <a:pt x="99569" y="46762"/>
                    <a:pt x="98933" y="47717"/>
                    <a:pt x="98615" y="48671"/>
                  </a:cubicBezTo>
                  <a:lnTo>
                    <a:pt x="97978" y="49307"/>
                  </a:lnTo>
                  <a:lnTo>
                    <a:pt x="98615" y="50580"/>
                  </a:lnTo>
                  <a:lnTo>
                    <a:pt x="98615" y="50898"/>
                  </a:lnTo>
                  <a:cubicBezTo>
                    <a:pt x="97978" y="51852"/>
                    <a:pt x="98297" y="52807"/>
                    <a:pt x="97660" y="54079"/>
                  </a:cubicBezTo>
                  <a:cubicBezTo>
                    <a:pt x="96706" y="55351"/>
                    <a:pt x="96070" y="55988"/>
                    <a:pt x="96070" y="57578"/>
                  </a:cubicBezTo>
                  <a:lnTo>
                    <a:pt x="96070" y="58851"/>
                  </a:lnTo>
                  <a:lnTo>
                    <a:pt x="95115" y="58851"/>
                  </a:lnTo>
                  <a:lnTo>
                    <a:pt x="95115" y="59169"/>
                  </a:lnTo>
                  <a:cubicBezTo>
                    <a:pt x="95115" y="59805"/>
                    <a:pt x="95434" y="60123"/>
                    <a:pt x="95434" y="60441"/>
                  </a:cubicBezTo>
                  <a:lnTo>
                    <a:pt x="95434" y="60759"/>
                  </a:lnTo>
                  <a:cubicBezTo>
                    <a:pt x="94797" y="61714"/>
                    <a:pt x="94479" y="61714"/>
                    <a:pt x="93525" y="62032"/>
                  </a:cubicBezTo>
                  <a:lnTo>
                    <a:pt x="93207" y="62350"/>
                  </a:lnTo>
                  <a:cubicBezTo>
                    <a:pt x="92889" y="62350"/>
                    <a:pt x="92889" y="62350"/>
                    <a:pt x="92889" y="62668"/>
                  </a:cubicBezTo>
                  <a:cubicBezTo>
                    <a:pt x="92889" y="62986"/>
                    <a:pt x="93207" y="63622"/>
                    <a:pt x="93525" y="63622"/>
                  </a:cubicBezTo>
                  <a:lnTo>
                    <a:pt x="93843" y="63622"/>
                  </a:lnTo>
                  <a:cubicBezTo>
                    <a:pt x="94161" y="63622"/>
                    <a:pt x="94479" y="63622"/>
                    <a:pt x="94479" y="63940"/>
                  </a:cubicBezTo>
                  <a:lnTo>
                    <a:pt x="94479" y="64895"/>
                  </a:lnTo>
                  <a:cubicBezTo>
                    <a:pt x="94479" y="65531"/>
                    <a:pt x="94161" y="66167"/>
                    <a:pt x="94161" y="66167"/>
                  </a:cubicBezTo>
                  <a:cubicBezTo>
                    <a:pt x="93843" y="67440"/>
                    <a:pt x="93207" y="69030"/>
                    <a:pt x="93207" y="70303"/>
                  </a:cubicBezTo>
                  <a:cubicBezTo>
                    <a:pt x="93207" y="70621"/>
                    <a:pt x="92889" y="70939"/>
                    <a:pt x="92889" y="71257"/>
                  </a:cubicBezTo>
                  <a:lnTo>
                    <a:pt x="91298" y="71257"/>
                  </a:lnTo>
                  <a:cubicBezTo>
                    <a:pt x="90980" y="71575"/>
                    <a:pt x="90662" y="71575"/>
                    <a:pt x="90344" y="71575"/>
                  </a:cubicBezTo>
                  <a:lnTo>
                    <a:pt x="89708" y="71575"/>
                  </a:lnTo>
                  <a:cubicBezTo>
                    <a:pt x="89389" y="71575"/>
                    <a:pt x="89389" y="71893"/>
                    <a:pt x="89389" y="71893"/>
                  </a:cubicBezTo>
                  <a:cubicBezTo>
                    <a:pt x="89389" y="72529"/>
                    <a:pt x="89071" y="72848"/>
                    <a:pt x="88435" y="72848"/>
                  </a:cubicBezTo>
                  <a:cubicBezTo>
                    <a:pt x="87799" y="72848"/>
                    <a:pt x="87163" y="73166"/>
                    <a:pt x="87163" y="73484"/>
                  </a:cubicBezTo>
                  <a:cubicBezTo>
                    <a:pt x="87163" y="73802"/>
                    <a:pt x="86844" y="73802"/>
                    <a:pt x="86526" y="73802"/>
                  </a:cubicBezTo>
                  <a:lnTo>
                    <a:pt x="85572" y="73802"/>
                  </a:lnTo>
                  <a:cubicBezTo>
                    <a:pt x="85254" y="74120"/>
                    <a:pt x="85254" y="74438"/>
                    <a:pt x="85254" y="74438"/>
                  </a:cubicBezTo>
                  <a:cubicBezTo>
                    <a:pt x="85254" y="74756"/>
                    <a:pt x="85254" y="74756"/>
                    <a:pt x="85572" y="74756"/>
                  </a:cubicBezTo>
                  <a:lnTo>
                    <a:pt x="87163" y="76029"/>
                  </a:lnTo>
                  <a:cubicBezTo>
                    <a:pt x="87481" y="76029"/>
                    <a:pt x="88117" y="76029"/>
                    <a:pt x="88117" y="75074"/>
                  </a:cubicBezTo>
                  <a:cubicBezTo>
                    <a:pt x="88117" y="74756"/>
                    <a:pt x="88117" y="74438"/>
                    <a:pt x="88435" y="74438"/>
                  </a:cubicBezTo>
                  <a:cubicBezTo>
                    <a:pt x="88435" y="74120"/>
                    <a:pt x="88753" y="74120"/>
                    <a:pt x="89071" y="74120"/>
                  </a:cubicBezTo>
                  <a:cubicBezTo>
                    <a:pt x="89071" y="74120"/>
                    <a:pt x="89708" y="74438"/>
                    <a:pt x="90026" y="74756"/>
                  </a:cubicBezTo>
                  <a:cubicBezTo>
                    <a:pt x="90344" y="76029"/>
                    <a:pt x="90980" y="76665"/>
                    <a:pt x="90980" y="77937"/>
                  </a:cubicBezTo>
                  <a:lnTo>
                    <a:pt x="90980" y="78256"/>
                  </a:lnTo>
                  <a:cubicBezTo>
                    <a:pt x="90980" y="78574"/>
                    <a:pt x="90980" y="78574"/>
                    <a:pt x="90662" y="78892"/>
                  </a:cubicBezTo>
                  <a:cubicBezTo>
                    <a:pt x="90344" y="79210"/>
                    <a:pt x="90026" y="79528"/>
                    <a:pt x="90026" y="79846"/>
                  </a:cubicBezTo>
                  <a:cubicBezTo>
                    <a:pt x="90026" y="80164"/>
                    <a:pt x="90344" y="80164"/>
                    <a:pt x="90344" y="80482"/>
                  </a:cubicBezTo>
                  <a:lnTo>
                    <a:pt x="90026" y="80800"/>
                  </a:lnTo>
                  <a:lnTo>
                    <a:pt x="90026" y="81119"/>
                  </a:lnTo>
                  <a:cubicBezTo>
                    <a:pt x="90026" y="81437"/>
                    <a:pt x="90344" y="81755"/>
                    <a:pt x="90344" y="82073"/>
                  </a:cubicBezTo>
                  <a:lnTo>
                    <a:pt x="90344" y="83027"/>
                  </a:lnTo>
                  <a:cubicBezTo>
                    <a:pt x="90344" y="83982"/>
                    <a:pt x="90026" y="84300"/>
                    <a:pt x="89708" y="85254"/>
                  </a:cubicBezTo>
                  <a:lnTo>
                    <a:pt x="89071" y="85890"/>
                  </a:lnTo>
                  <a:cubicBezTo>
                    <a:pt x="88753" y="85890"/>
                    <a:pt x="88435" y="85890"/>
                    <a:pt x="88117" y="85572"/>
                  </a:cubicBezTo>
                  <a:lnTo>
                    <a:pt x="87163" y="84936"/>
                  </a:lnTo>
                  <a:cubicBezTo>
                    <a:pt x="86208" y="84936"/>
                    <a:pt x="86208" y="84936"/>
                    <a:pt x="86208" y="83982"/>
                  </a:cubicBezTo>
                  <a:cubicBezTo>
                    <a:pt x="86208" y="83027"/>
                    <a:pt x="86208" y="82709"/>
                    <a:pt x="84936" y="82709"/>
                  </a:cubicBezTo>
                  <a:lnTo>
                    <a:pt x="84618" y="82709"/>
                  </a:lnTo>
                  <a:cubicBezTo>
                    <a:pt x="84300" y="82709"/>
                    <a:pt x="84300" y="83027"/>
                    <a:pt x="83982" y="83027"/>
                  </a:cubicBezTo>
                  <a:lnTo>
                    <a:pt x="84300" y="83345"/>
                  </a:lnTo>
                  <a:cubicBezTo>
                    <a:pt x="84618" y="83345"/>
                    <a:pt x="84936" y="83345"/>
                    <a:pt x="84936" y="83663"/>
                  </a:cubicBezTo>
                  <a:lnTo>
                    <a:pt x="84936" y="84618"/>
                  </a:lnTo>
                  <a:cubicBezTo>
                    <a:pt x="84936" y="85254"/>
                    <a:pt x="85254" y="85572"/>
                    <a:pt x="85572" y="85890"/>
                  </a:cubicBezTo>
                  <a:cubicBezTo>
                    <a:pt x="85572" y="86208"/>
                    <a:pt x="86208" y="86208"/>
                    <a:pt x="85890" y="86526"/>
                  </a:cubicBezTo>
                  <a:cubicBezTo>
                    <a:pt x="85254" y="86845"/>
                    <a:pt x="84936" y="86845"/>
                    <a:pt x="84618" y="86845"/>
                  </a:cubicBezTo>
                  <a:lnTo>
                    <a:pt x="84300" y="86526"/>
                  </a:lnTo>
                  <a:lnTo>
                    <a:pt x="84300" y="85890"/>
                  </a:lnTo>
                  <a:cubicBezTo>
                    <a:pt x="84300" y="85572"/>
                    <a:pt x="84300" y="85254"/>
                    <a:pt x="83982" y="85254"/>
                  </a:cubicBezTo>
                  <a:lnTo>
                    <a:pt x="83663" y="85254"/>
                  </a:lnTo>
                  <a:cubicBezTo>
                    <a:pt x="83345" y="85254"/>
                    <a:pt x="83345" y="85254"/>
                    <a:pt x="83345" y="85572"/>
                  </a:cubicBezTo>
                  <a:cubicBezTo>
                    <a:pt x="83345" y="85890"/>
                    <a:pt x="83345" y="85890"/>
                    <a:pt x="83027" y="85890"/>
                  </a:cubicBezTo>
                  <a:cubicBezTo>
                    <a:pt x="82709" y="86208"/>
                    <a:pt x="82709" y="86208"/>
                    <a:pt x="82391" y="86208"/>
                  </a:cubicBezTo>
                  <a:cubicBezTo>
                    <a:pt x="82073" y="85572"/>
                    <a:pt x="81755" y="85254"/>
                    <a:pt x="81755" y="85254"/>
                  </a:cubicBezTo>
                  <a:cubicBezTo>
                    <a:pt x="81119" y="85254"/>
                    <a:pt x="81119" y="85572"/>
                    <a:pt x="80800" y="85890"/>
                  </a:cubicBezTo>
                  <a:cubicBezTo>
                    <a:pt x="80800" y="86208"/>
                    <a:pt x="80800" y="86526"/>
                    <a:pt x="81119" y="86526"/>
                  </a:cubicBezTo>
                  <a:cubicBezTo>
                    <a:pt x="82391" y="86845"/>
                    <a:pt x="82709" y="87163"/>
                    <a:pt x="83345" y="88117"/>
                  </a:cubicBezTo>
                  <a:cubicBezTo>
                    <a:pt x="83345" y="88435"/>
                    <a:pt x="83345" y="88435"/>
                    <a:pt x="83663" y="88435"/>
                  </a:cubicBezTo>
                  <a:cubicBezTo>
                    <a:pt x="83982" y="88435"/>
                    <a:pt x="83982" y="88435"/>
                    <a:pt x="84618" y="88117"/>
                  </a:cubicBezTo>
                  <a:cubicBezTo>
                    <a:pt x="84936" y="88117"/>
                    <a:pt x="84936" y="87799"/>
                    <a:pt x="85254" y="87799"/>
                  </a:cubicBezTo>
                  <a:cubicBezTo>
                    <a:pt x="85572" y="88435"/>
                    <a:pt x="86526" y="88753"/>
                    <a:pt x="87163" y="89708"/>
                  </a:cubicBezTo>
                  <a:lnTo>
                    <a:pt x="86526" y="89708"/>
                  </a:lnTo>
                  <a:cubicBezTo>
                    <a:pt x="86208" y="90026"/>
                    <a:pt x="85890" y="90344"/>
                    <a:pt x="85572" y="90344"/>
                  </a:cubicBezTo>
                  <a:lnTo>
                    <a:pt x="84618" y="90344"/>
                  </a:lnTo>
                  <a:cubicBezTo>
                    <a:pt x="83982" y="90344"/>
                    <a:pt x="83663" y="90662"/>
                    <a:pt x="83663" y="90980"/>
                  </a:cubicBezTo>
                  <a:cubicBezTo>
                    <a:pt x="83663" y="91298"/>
                    <a:pt x="82709" y="91934"/>
                    <a:pt x="82073" y="91934"/>
                  </a:cubicBezTo>
                  <a:cubicBezTo>
                    <a:pt x="82073" y="91934"/>
                    <a:pt x="81755" y="91934"/>
                    <a:pt x="81755" y="92252"/>
                  </a:cubicBezTo>
                  <a:lnTo>
                    <a:pt x="82709" y="93525"/>
                  </a:lnTo>
                  <a:cubicBezTo>
                    <a:pt x="82709" y="94161"/>
                    <a:pt x="83345" y="94479"/>
                    <a:pt x="83982" y="94479"/>
                  </a:cubicBezTo>
                  <a:cubicBezTo>
                    <a:pt x="84936" y="94479"/>
                    <a:pt x="85890" y="94797"/>
                    <a:pt x="87163" y="95115"/>
                  </a:cubicBezTo>
                  <a:cubicBezTo>
                    <a:pt x="87799" y="96070"/>
                    <a:pt x="88117" y="96388"/>
                    <a:pt x="88117" y="97024"/>
                  </a:cubicBezTo>
                  <a:cubicBezTo>
                    <a:pt x="88435" y="97024"/>
                    <a:pt x="88435" y="97024"/>
                    <a:pt x="88435" y="97342"/>
                  </a:cubicBezTo>
                  <a:lnTo>
                    <a:pt x="88435" y="97978"/>
                  </a:lnTo>
                  <a:cubicBezTo>
                    <a:pt x="88435" y="98615"/>
                    <a:pt x="88435" y="98933"/>
                    <a:pt x="88117" y="99569"/>
                  </a:cubicBezTo>
                  <a:cubicBezTo>
                    <a:pt x="87799" y="99887"/>
                    <a:pt x="87481" y="100523"/>
                    <a:pt x="87481" y="100841"/>
                  </a:cubicBezTo>
                  <a:lnTo>
                    <a:pt x="87481" y="104341"/>
                  </a:lnTo>
                  <a:cubicBezTo>
                    <a:pt x="87163" y="105295"/>
                    <a:pt x="87163" y="105931"/>
                    <a:pt x="87163" y="107204"/>
                  </a:cubicBezTo>
                  <a:cubicBezTo>
                    <a:pt x="87163" y="107522"/>
                    <a:pt x="87481" y="108158"/>
                    <a:pt x="87481" y="108476"/>
                  </a:cubicBezTo>
                  <a:cubicBezTo>
                    <a:pt x="87481" y="108794"/>
                    <a:pt x="87163" y="109430"/>
                    <a:pt x="87163" y="109749"/>
                  </a:cubicBezTo>
                  <a:cubicBezTo>
                    <a:pt x="86844" y="110385"/>
                    <a:pt x="86526" y="110703"/>
                    <a:pt x="86526" y="111339"/>
                  </a:cubicBezTo>
                  <a:cubicBezTo>
                    <a:pt x="86526" y="111975"/>
                    <a:pt x="86844" y="112293"/>
                    <a:pt x="87163" y="112612"/>
                  </a:cubicBezTo>
                  <a:cubicBezTo>
                    <a:pt x="87163" y="115475"/>
                    <a:pt x="86844" y="116747"/>
                    <a:pt x="86844" y="116747"/>
                  </a:cubicBezTo>
                  <a:cubicBezTo>
                    <a:pt x="86844" y="116747"/>
                    <a:pt x="86526" y="114838"/>
                    <a:pt x="86526" y="112612"/>
                  </a:cubicBezTo>
                  <a:cubicBezTo>
                    <a:pt x="86526" y="112612"/>
                    <a:pt x="86526" y="112293"/>
                    <a:pt x="86208" y="112293"/>
                  </a:cubicBezTo>
                  <a:cubicBezTo>
                    <a:pt x="85890" y="112293"/>
                    <a:pt x="85890" y="111975"/>
                    <a:pt x="85890" y="111975"/>
                  </a:cubicBezTo>
                  <a:cubicBezTo>
                    <a:pt x="85572" y="111657"/>
                    <a:pt x="85254" y="111339"/>
                    <a:pt x="84936" y="111339"/>
                  </a:cubicBezTo>
                  <a:cubicBezTo>
                    <a:pt x="84618" y="111339"/>
                    <a:pt x="84300" y="111657"/>
                    <a:pt x="84300" y="111975"/>
                  </a:cubicBezTo>
                  <a:cubicBezTo>
                    <a:pt x="83982" y="115793"/>
                    <a:pt x="83663" y="118019"/>
                    <a:pt x="83663" y="118019"/>
                  </a:cubicBezTo>
                  <a:cubicBezTo>
                    <a:pt x="83663" y="118019"/>
                    <a:pt x="83345" y="116429"/>
                    <a:pt x="83345" y="112612"/>
                  </a:cubicBezTo>
                  <a:cubicBezTo>
                    <a:pt x="83345" y="112293"/>
                    <a:pt x="83027" y="112293"/>
                    <a:pt x="82709" y="112293"/>
                  </a:cubicBezTo>
                  <a:cubicBezTo>
                    <a:pt x="83027" y="112612"/>
                    <a:pt x="83027" y="113884"/>
                    <a:pt x="83027" y="115793"/>
                  </a:cubicBezTo>
                  <a:cubicBezTo>
                    <a:pt x="83027" y="123427"/>
                    <a:pt x="81755" y="140924"/>
                    <a:pt x="80164" y="141878"/>
                  </a:cubicBezTo>
                  <a:cubicBezTo>
                    <a:pt x="79846" y="142514"/>
                    <a:pt x="79846" y="142514"/>
                    <a:pt x="79846" y="143468"/>
                  </a:cubicBezTo>
                  <a:lnTo>
                    <a:pt x="80800" y="144105"/>
                  </a:lnTo>
                  <a:cubicBezTo>
                    <a:pt x="80800" y="144105"/>
                    <a:pt x="81119" y="144105"/>
                    <a:pt x="81119" y="143787"/>
                  </a:cubicBezTo>
                  <a:cubicBezTo>
                    <a:pt x="81755" y="143787"/>
                    <a:pt x="81755" y="142832"/>
                    <a:pt x="81755" y="142514"/>
                  </a:cubicBezTo>
                  <a:cubicBezTo>
                    <a:pt x="81755" y="141560"/>
                    <a:pt x="82073" y="141560"/>
                    <a:pt x="82391" y="141560"/>
                  </a:cubicBezTo>
                  <a:cubicBezTo>
                    <a:pt x="83027" y="141878"/>
                    <a:pt x="83345" y="141878"/>
                    <a:pt x="83663" y="141878"/>
                  </a:cubicBezTo>
                  <a:cubicBezTo>
                    <a:pt x="84300" y="141878"/>
                    <a:pt x="84618" y="141878"/>
                    <a:pt x="84618" y="142832"/>
                  </a:cubicBezTo>
                  <a:cubicBezTo>
                    <a:pt x="84936" y="143150"/>
                    <a:pt x="84936" y="144105"/>
                    <a:pt x="84936" y="144423"/>
                  </a:cubicBezTo>
                  <a:cubicBezTo>
                    <a:pt x="84936" y="147604"/>
                    <a:pt x="84936" y="149513"/>
                    <a:pt x="85254" y="152376"/>
                  </a:cubicBezTo>
                  <a:lnTo>
                    <a:pt x="85254" y="153330"/>
                  </a:lnTo>
                  <a:cubicBezTo>
                    <a:pt x="84936" y="154284"/>
                    <a:pt x="84618" y="154284"/>
                    <a:pt x="84300" y="154284"/>
                  </a:cubicBezTo>
                  <a:cubicBezTo>
                    <a:pt x="83982" y="154284"/>
                    <a:pt x="83982" y="154284"/>
                    <a:pt x="83982" y="153330"/>
                  </a:cubicBezTo>
                  <a:lnTo>
                    <a:pt x="83982" y="151421"/>
                  </a:lnTo>
                  <a:cubicBezTo>
                    <a:pt x="83663" y="151421"/>
                    <a:pt x="83663" y="151103"/>
                    <a:pt x="83345" y="151103"/>
                  </a:cubicBezTo>
                  <a:lnTo>
                    <a:pt x="83027" y="151421"/>
                  </a:lnTo>
                  <a:cubicBezTo>
                    <a:pt x="82709" y="153966"/>
                    <a:pt x="82073" y="155239"/>
                    <a:pt x="82073" y="155557"/>
                  </a:cubicBezTo>
                  <a:lnTo>
                    <a:pt x="82391" y="155875"/>
                  </a:lnTo>
                  <a:lnTo>
                    <a:pt x="83027" y="155875"/>
                  </a:lnTo>
                  <a:cubicBezTo>
                    <a:pt x="83345" y="155875"/>
                    <a:pt x="83345" y="155875"/>
                    <a:pt x="83982" y="155557"/>
                  </a:cubicBezTo>
                  <a:cubicBezTo>
                    <a:pt x="83982" y="154920"/>
                    <a:pt x="84300" y="154920"/>
                    <a:pt x="84618" y="154920"/>
                  </a:cubicBezTo>
                  <a:lnTo>
                    <a:pt x="85254" y="154920"/>
                  </a:lnTo>
                  <a:cubicBezTo>
                    <a:pt x="85254" y="154920"/>
                    <a:pt x="83345" y="165418"/>
                    <a:pt x="82391" y="165736"/>
                  </a:cubicBezTo>
                  <a:cubicBezTo>
                    <a:pt x="82709" y="166372"/>
                    <a:pt x="82709" y="167327"/>
                    <a:pt x="82709" y="167645"/>
                  </a:cubicBezTo>
                  <a:lnTo>
                    <a:pt x="82709" y="167963"/>
                  </a:lnTo>
                  <a:cubicBezTo>
                    <a:pt x="82073" y="167963"/>
                    <a:pt x="81755" y="168599"/>
                    <a:pt x="81755" y="168917"/>
                  </a:cubicBezTo>
                  <a:cubicBezTo>
                    <a:pt x="81755" y="170190"/>
                    <a:pt x="77937" y="175280"/>
                    <a:pt x="76983" y="175916"/>
                  </a:cubicBezTo>
                  <a:lnTo>
                    <a:pt x="76347" y="175916"/>
                  </a:lnTo>
                  <a:cubicBezTo>
                    <a:pt x="76029" y="175916"/>
                    <a:pt x="76029" y="175280"/>
                    <a:pt x="76029" y="174007"/>
                  </a:cubicBezTo>
                  <a:cubicBezTo>
                    <a:pt x="75711" y="173053"/>
                    <a:pt x="75711" y="171144"/>
                    <a:pt x="75711" y="169235"/>
                  </a:cubicBezTo>
                  <a:lnTo>
                    <a:pt x="75711" y="162555"/>
                  </a:lnTo>
                  <a:cubicBezTo>
                    <a:pt x="75711" y="162237"/>
                    <a:pt x="75393" y="161919"/>
                    <a:pt x="75393" y="161919"/>
                  </a:cubicBezTo>
                  <a:cubicBezTo>
                    <a:pt x="75074" y="161919"/>
                    <a:pt x="74438" y="167645"/>
                    <a:pt x="73484" y="167645"/>
                  </a:cubicBezTo>
                  <a:lnTo>
                    <a:pt x="73166" y="167327"/>
                  </a:lnTo>
                  <a:lnTo>
                    <a:pt x="72529" y="167009"/>
                  </a:lnTo>
                  <a:lnTo>
                    <a:pt x="70303" y="167009"/>
                  </a:lnTo>
                  <a:cubicBezTo>
                    <a:pt x="69348" y="167009"/>
                    <a:pt x="68394" y="167327"/>
                    <a:pt x="67440" y="168917"/>
                  </a:cubicBezTo>
                  <a:cubicBezTo>
                    <a:pt x="66803" y="168917"/>
                    <a:pt x="65213" y="161919"/>
                    <a:pt x="65213" y="158420"/>
                  </a:cubicBezTo>
                  <a:cubicBezTo>
                    <a:pt x="64895" y="157465"/>
                    <a:pt x="64895" y="156829"/>
                    <a:pt x="64895" y="156511"/>
                  </a:cubicBezTo>
                  <a:cubicBezTo>
                    <a:pt x="64895" y="156193"/>
                    <a:pt x="64895" y="155875"/>
                    <a:pt x="65213" y="155557"/>
                  </a:cubicBezTo>
                  <a:lnTo>
                    <a:pt x="65213" y="154602"/>
                  </a:lnTo>
                  <a:close/>
                  <a:moveTo>
                    <a:pt x="0" y="103704"/>
                  </a:moveTo>
                  <a:lnTo>
                    <a:pt x="318" y="103386"/>
                  </a:lnTo>
                  <a:lnTo>
                    <a:pt x="636" y="103704"/>
                  </a:lnTo>
                  <a:lnTo>
                    <a:pt x="636" y="105931"/>
                  </a:lnTo>
                  <a:cubicBezTo>
                    <a:pt x="636" y="105931"/>
                    <a:pt x="0" y="105295"/>
                    <a:pt x="0" y="104341"/>
                  </a:cubicBezTo>
                  <a:lnTo>
                    <a:pt x="0" y="103704"/>
                  </a:lnTo>
                  <a:close/>
                  <a:moveTo>
                    <a:pt x="49944" y="43263"/>
                  </a:moveTo>
                  <a:cubicBezTo>
                    <a:pt x="49625" y="43581"/>
                    <a:pt x="49307" y="43899"/>
                    <a:pt x="49307" y="44536"/>
                  </a:cubicBezTo>
                  <a:cubicBezTo>
                    <a:pt x="49307" y="44854"/>
                    <a:pt x="49625" y="44854"/>
                    <a:pt x="49625" y="44854"/>
                  </a:cubicBezTo>
                  <a:lnTo>
                    <a:pt x="49625" y="45490"/>
                  </a:lnTo>
                  <a:cubicBezTo>
                    <a:pt x="48671" y="45808"/>
                    <a:pt x="48671" y="46762"/>
                    <a:pt x="48035" y="47399"/>
                  </a:cubicBezTo>
                  <a:cubicBezTo>
                    <a:pt x="47081" y="48035"/>
                    <a:pt x="46444" y="49307"/>
                    <a:pt x="44854" y="50262"/>
                  </a:cubicBezTo>
                  <a:lnTo>
                    <a:pt x="44854" y="50898"/>
                  </a:lnTo>
                  <a:cubicBezTo>
                    <a:pt x="44536" y="51852"/>
                    <a:pt x="43581" y="52170"/>
                    <a:pt x="42945" y="52488"/>
                  </a:cubicBezTo>
                  <a:cubicBezTo>
                    <a:pt x="41991" y="53125"/>
                    <a:pt x="41673" y="53761"/>
                    <a:pt x="41673" y="54715"/>
                  </a:cubicBezTo>
                  <a:cubicBezTo>
                    <a:pt x="41355" y="55670"/>
                    <a:pt x="41355" y="56624"/>
                    <a:pt x="39764" y="57260"/>
                  </a:cubicBezTo>
                  <a:lnTo>
                    <a:pt x="39446" y="57260"/>
                  </a:lnTo>
                  <a:lnTo>
                    <a:pt x="39446" y="57578"/>
                  </a:lnTo>
                  <a:cubicBezTo>
                    <a:pt x="39446" y="58851"/>
                    <a:pt x="38173" y="59805"/>
                    <a:pt x="37537" y="61077"/>
                  </a:cubicBezTo>
                  <a:cubicBezTo>
                    <a:pt x="37219" y="61396"/>
                    <a:pt x="36901" y="61714"/>
                    <a:pt x="36901" y="62032"/>
                  </a:cubicBezTo>
                  <a:lnTo>
                    <a:pt x="36901" y="62350"/>
                  </a:lnTo>
                  <a:cubicBezTo>
                    <a:pt x="36901" y="62668"/>
                    <a:pt x="36583" y="62986"/>
                    <a:pt x="35947" y="62986"/>
                  </a:cubicBezTo>
                  <a:cubicBezTo>
                    <a:pt x="35629" y="63940"/>
                    <a:pt x="34356" y="64577"/>
                    <a:pt x="34038" y="65849"/>
                  </a:cubicBezTo>
                  <a:cubicBezTo>
                    <a:pt x="34038" y="66167"/>
                    <a:pt x="33720" y="66167"/>
                    <a:pt x="33720" y="66167"/>
                  </a:cubicBezTo>
                  <a:lnTo>
                    <a:pt x="33720" y="65849"/>
                  </a:lnTo>
                  <a:cubicBezTo>
                    <a:pt x="33084" y="65849"/>
                    <a:pt x="32765" y="65531"/>
                    <a:pt x="32447" y="64895"/>
                  </a:cubicBezTo>
                  <a:cubicBezTo>
                    <a:pt x="32129" y="64895"/>
                    <a:pt x="31811" y="64577"/>
                    <a:pt x="31811" y="64895"/>
                  </a:cubicBezTo>
                  <a:cubicBezTo>
                    <a:pt x="31493" y="65531"/>
                    <a:pt x="31493" y="66167"/>
                    <a:pt x="30857" y="66167"/>
                  </a:cubicBezTo>
                  <a:cubicBezTo>
                    <a:pt x="30857" y="66167"/>
                    <a:pt x="31175" y="66803"/>
                    <a:pt x="31175" y="67122"/>
                  </a:cubicBezTo>
                  <a:lnTo>
                    <a:pt x="32129" y="67122"/>
                  </a:lnTo>
                  <a:cubicBezTo>
                    <a:pt x="32447" y="67122"/>
                    <a:pt x="32447" y="67122"/>
                    <a:pt x="32765" y="66803"/>
                  </a:cubicBezTo>
                  <a:lnTo>
                    <a:pt x="32765" y="67122"/>
                  </a:lnTo>
                  <a:cubicBezTo>
                    <a:pt x="32765" y="68076"/>
                    <a:pt x="32765" y="69348"/>
                    <a:pt x="33084" y="69985"/>
                  </a:cubicBezTo>
                  <a:lnTo>
                    <a:pt x="32765" y="70303"/>
                  </a:lnTo>
                  <a:cubicBezTo>
                    <a:pt x="32447" y="70303"/>
                    <a:pt x="32129" y="70303"/>
                    <a:pt x="31811" y="69985"/>
                  </a:cubicBezTo>
                  <a:cubicBezTo>
                    <a:pt x="31493" y="69985"/>
                    <a:pt x="31493" y="69985"/>
                    <a:pt x="31493" y="70621"/>
                  </a:cubicBezTo>
                  <a:cubicBezTo>
                    <a:pt x="31175" y="71257"/>
                    <a:pt x="30857" y="71575"/>
                    <a:pt x="30857" y="71893"/>
                  </a:cubicBezTo>
                  <a:cubicBezTo>
                    <a:pt x="29903" y="72529"/>
                    <a:pt x="30539" y="72848"/>
                    <a:pt x="29584" y="72848"/>
                  </a:cubicBezTo>
                  <a:lnTo>
                    <a:pt x="28948" y="72848"/>
                  </a:lnTo>
                  <a:cubicBezTo>
                    <a:pt x="28630" y="72848"/>
                    <a:pt x="28312" y="72848"/>
                    <a:pt x="28312" y="73166"/>
                  </a:cubicBezTo>
                  <a:lnTo>
                    <a:pt x="28630" y="73484"/>
                  </a:lnTo>
                  <a:lnTo>
                    <a:pt x="29584" y="75074"/>
                  </a:lnTo>
                  <a:lnTo>
                    <a:pt x="30539" y="75074"/>
                  </a:lnTo>
                  <a:cubicBezTo>
                    <a:pt x="30539" y="76029"/>
                    <a:pt x="30539" y="76347"/>
                    <a:pt x="29266" y="76665"/>
                  </a:cubicBezTo>
                  <a:cubicBezTo>
                    <a:pt x="28948" y="76665"/>
                    <a:pt x="28312" y="76665"/>
                    <a:pt x="28312" y="77301"/>
                  </a:cubicBezTo>
                  <a:cubicBezTo>
                    <a:pt x="27994" y="78256"/>
                    <a:pt x="27994" y="78574"/>
                    <a:pt x="27994" y="79528"/>
                  </a:cubicBezTo>
                  <a:cubicBezTo>
                    <a:pt x="27994" y="80164"/>
                    <a:pt x="27676" y="80800"/>
                    <a:pt x="27040" y="81437"/>
                  </a:cubicBezTo>
                  <a:cubicBezTo>
                    <a:pt x="26721" y="82709"/>
                    <a:pt x="26403" y="83345"/>
                    <a:pt x="26403" y="83982"/>
                  </a:cubicBezTo>
                  <a:cubicBezTo>
                    <a:pt x="26403" y="83982"/>
                    <a:pt x="26403" y="84300"/>
                    <a:pt x="26721" y="84618"/>
                  </a:cubicBezTo>
                  <a:cubicBezTo>
                    <a:pt x="26721" y="84936"/>
                    <a:pt x="27040" y="85254"/>
                    <a:pt x="27040" y="85572"/>
                  </a:cubicBezTo>
                  <a:cubicBezTo>
                    <a:pt x="27040" y="85890"/>
                    <a:pt x="26721" y="86526"/>
                    <a:pt x="26403" y="86845"/>
                  </a:cubicBezTo>
                  <a:cubicBezTo>
                    <a:pt x="25767" y="87481"/>
                    <a:pt x="25449" y="88435"/>
                    <a:pt x="24495" y="89389"/>
                  </a:cubicBezTo>
                  <a:cubicBezTo>
                    <a:pt x="23858" y="90344"/>
                    <a:pt x="23858" y="91298"/>
                    <a:pt x="22586" y="91934"/>
                  </a:cubicBezTo>
                  <a:lnTo>
                    <a:pt x="22586" y="92571"/>
                  </a:lnTo>
                  <a:cubicBezTo>
                    <a:pt x="22586" y="94797"/>
                    <a:pt x="21950" y="97024"/>
                    <a:pt x="21950" y="98615"/>
                  </a:cubicBezTo>
                  <a:cubicBezTo>
                    <a:pt x="21950" y="99251"/>
                    <a:pt x="22268" y="99569"/>
                    <a:pt x="22268" y="99887"/>
                  </a:cubicBezTo>
                  <a:lnTo>
                    <a:pt x="22268" y="100841"/>
                  </a:lnTo>
                  <a:cubicBezTo>
                    <a:pt x="21950" y="101160"/>
                    <a:pt x="21950" y="101796"/>
                    <a:pt x="21950" y="102114"/>
                  </a:cubicBezTo>
                  <a:cubicBezTo>
                    <a:pt x="21950" y="102750"/>
                    <a:pt x="21950" y="103068"/>
                    <a:pt x="22268" y="103704"/>
                  </a:cubicBezTo>
                  <a:cubicBezTo>
                    <a:pt x="22268" y="104023"/>
                    <a:pt x="22586" y="104341"/>
                    <a:pt x="22586" y="104659"/>
                  </a:cubicBezTo>
                  <a:cubicBezTo>
                    <a:pt x="22586" y="104977"/>
                    <a:pt x="22268" y="105295"/>
                    <a:pt x="22268" y="105613"/>
                  </a:cubicBezTo>
                  <a:lnTo>
                    <a:pt x="22268" y="107204"/>
                  </a:lnTo>
                  <a:cubicBezTo>
                    <a:pt x="22586" y="109112"/>
                    <a:pt x="22904" y="111021"/>
                    <a:pt x="22904" y="112930"/>
                  </a:cubicBezTo>
                  <a:cubicBezTo>
                    <a:pt x="22904" y="113248"/>
                    <a:pt x="23222" y="113566"/>
                    <a:pt x="23540" y="114202"/>
                  </a:cubicBezTo>
                  <a:cubicBezTo>
                    <a:pt x="24176" y="115156"/>
                    <a:pt x="24495" y="115475"/>
                    <a:pt x="25131" y="115793"/>
                  </a:cubicBezTo>
                  <a:cubicBezTo>
                    <a:pt x="25449" y="115793"/>
                    <a:pt x="26085" y="115475"/>
                    <a:pt x="26721" y="115156"/>
                  </a:cubicBezTo>
                  <a:lnTo>
                    <a:pt x="28312" y="114202"/>
                  </a:lnTo>
                  <a:cubicBezTo>
                    <a:pt x="28948" y="113248"/>
                    <a:pt x="29903" y="112612"/>
                    <a:pt x="30857" y="111975"/>
                  </a:cubicBezTo>
                  <a:cubicBezTo>
                    <a:pt x="32765" y="110703"/>
                    <a:pt x="33720" y="109112"/>
                    <a:pt x="34038" y="107840"/>
                  </a:cubicBezTo>
                  <a:cubicBezTo>
                    <a:pt x="34356" y="107522"/>
                    <a:pt x="34674" y="107204"/>
                    <a:pt x="34992" y="107204"/>
                  </a:cubicBezTo>
                  <a:cubicBezTo>
                    <a:pt x="36901" y="106249"/>
                    <a:pt x="38173" y="104977"/>
                    <a:pt x="38810" y="103386"/>
                  </a:cubicBezTo>
                  <a:cubicBezTo>
                    <a:pt x="39446" y="102432"/>
                    <a:pt x="40082" y="101478"/>
                    <a:pt x="40718" y="101478"/>
                  </a:cubicBezTo>
                  <a:cubicBezTo>
                    <a:pt x="41991" y="99569"/>
                    <a:pt x="43581" y="97978"/>
                    <a:pt x="44854" y="96706"/>
                  </a:cubicBezTo>
                  <a:lnTo>
                    <a:pt x="48353" y="92252"/>
                  </a:lnTo>
                  <a:cubicBezTo>
                    <a:pt x="49307" y="90980"/>
                    <a:pt x="50262" y="90344"/>
                    <a:pt x="50898" y="88753"/>
                  </a:cubicBezTo>
                  <a:lnTo>
                    <a:pt x="51534" y="87481"/>
                  </a:lnTo>
                  <a:cubicBezTo>
                    <a:pt x="52806" y="87163"/>
                    <a:pt x="53443" y="86208"/>
                    <a:pt x="53761" y="84936"/>
                  </a:cubicBezTo>
                  <a:lnTo>
                    <a:pt x="54715" y="83663"/>
                  </a:lnTo>
                  <a:cubicBezTo>
                    <a:pt x="55988" y="83027"/>
                    <a:pt x="56624" y="81119"/>
                    <a:pt x="58214" y="79846"/>
                  </a:cubicBezTo>
                  <a:cubicBezTo>
                    <a:pt x="58533" y="79210"/>
                    <a:pt x="58533" y="78892"/>
                    <a:pt x="58533" y="78574"/>
                  </a:cubicBezTo>
                  <a:cubicBezTo>
                    <a:pt x="58851" y="78256"/>
                    <a:pt x="58851" y="77619"/>
                    <a:pt x="59487" y="76983"/>
                  </a:cubicBezTo>
                  <a:cubicBezTo>
                    <a:pt x="60759" y="76347"/>
                    <a:pt x="61714" y="74756"/>
                    <a:pt x="62032" y="73166"/>
                  </a:cubicBezTo>
                  <a:cubicBezTo>
                    <a:pt x="62668" y="72211"/>
                    <a:pt x="62668" y="71575"/>
                    <a:pt x="63622" y="71575"/>
                  </a:cubicBezTo>
                  <a:lnTo>
                    <a:pt x="63940" y="71575"/>
                  </a:lnTo>
                  <a:cubicBezTo>
                    <a:pt x="64259" y="71575"/>
                    <a:pt x="64259" y="71257"/>
                    <a:pt x="64259" y="70939"/>
                  </a:cubicBezTo>
                  <a:lnTo>
                    <a:pt x="64259" y="70621"/>
                  </a:lnTo>
                  <a:cubicBezTo>
                    <a:pt x="64259" y="70303"/>
                    <a:pt x="64259" y="69666"/>
                    <a:pt x="64577" y="69666"/>
                  </a:cubicBezTo>
                  <a:cubicBezTo>
                    <a:pt x="64895" y="69348"/>
                    <a:pt x="65213" y="69030"/>
                    <a:pt x="65213" y="68394"/>
                  </a:cubicBezTo>
                  <a:cubicBezTo>
                    <a:pt x="65531" y="67440"/>
                    <a:pt x="66485" y="66803"/>
                    <a:pt x="67122" y="66803"/>
                  </a:cubicBezTo>
                  <a:cubicBezTo>
                    <a:pt x="68076" y="66803"/>
                    <a:pt x="68712" y="66167"/>
                    <a:pt x="69030" y="65213"/>
                  </a:cubicBezTo>
                  <a:cubicBezTo>
                    <a:pt x="69348" y="64895"/>
                    <a:pt x="69348" y="64577"/>
                    <a:pt x="69348" y="64577"/>
                  </a:cubicBezTo>
                  <a:cubicBezTo>
                    <a:pt x="69030" y="63940"/>
                    <a:pt x="69030" y="63622"/>
                    <a:pt x="69030" y="63304"/>
                  </a:cubicBezTo>
                  <a:cubicBezTo>
                    <a:pt x="68394" y="62668"/>
                    <a:pt x="68076" y="62032"/>
                    <a:pt x="68076" y="61396"/>
                  </a:cubicBezTo>
                  <a:cubicBezTo>
                    <a:pt x="68076" y="60759"/>
                    <a:pt x="68394" y="60123"/>
                    <a:pt x="69030" y="59487"/>
                  </a:cubicBezTo>
                  <a:lnTo>
                    <a:pt x="70303" y="57896"/>
                  </a:lnTo>
                  <a:cubicBezTo>
                    <a:pt x="70621" y="57578"/>
                    <a:pt x="70621" y="57260"/>
                    <a:pt x="70939" y="57260"/>
                  </a:cubicBezTo>
                  <a:lnTo>
                    <a:pt x="71575" y="57260"/>
                  </a:lnTo>
                  <a:cubicBezTo>
                    <a:pt x="72211" y="56942"/>
                    <a:pt x="72211" y="56306"/>
                    <a:pt x="72848" y="55988"/>
                  </a:cubicBezTo>
                  <a:lnTo>
                    <a:pt x="73166" y="55988"/>
                  </a:lnTo>
                  <a:cubicBezTo>
                    <a:pt x="73484" y="55988"/>
                    <a:pt x="73802" y="55670"/>
                    <a:pt x="73802" y="55351"/>
                  </a:cubicBezTo>
                  <a:cubicBezTo>
                    <a:pt x="73802" y="54079"/>
                    <a:pt x="74438" y="52807"/>
                    <a:pt x="75074" y="51852"/>
                  </a:cubicBezTo>
                  <a:cubicBezTo>
                    <a:pt x="75393" y="51216"/>
                    <a:pt x="75711" y="50262"/>
                    <a:pt x="75711" y="49307"/>
                  </a:cubicBezTo>
                  <a:lnTo>
                    <a:pt x="75711" y="48989"/>
                  </a:lnTo>
                  <a:cubicBezTo>
                    <a:pt x="75393" y="48989"/>
                    <a:pt x="75393" y="48989"/>
                    <a:pt x="75393" y="48671"/>
                  </a:cubicBezTo>
                  <a:cubicBezTo>
                    <a:pt x="75393" y="48671"/>
                    <a:pt x="75393" y="48353"/>
                    <a:pt x="75711" y="48035"/>
                  </a:cubicBezTo>
                  <a:cubicBezTo>
                    <a:pt x="75711" y="48035"/>
                    <a:pt x="76029" y="47717"/>
                    <a:pt x="76029" y="47399"/>
                  </a:cubicBezTo>
                  <a:cubicBezTo>
                    <a:pt x="76029" y="47081"/>
                    <a:pt x="75711" y="47081"/>
                    <a:pt x="75711" y="46762"/>
                  </a:cubicBezTo>
                  <a:cubicBezTo>
                    <a:pt x="75393" y="46762"/>
                    <a:pt x="75393" y="46762"/>
                    <a:pt x="75393" y="46444"/>
                  </a:cubicBezTo>
                  <a:cubicBezTo>
                    <a:pt x="75393" y="46444"/>
                    <a:pt x="75393" y="46126"/>
                    <a:pt x="75711" y="45808"/>
                  </a:cubicBezTo>
                  <a:cubicBezTo>
                    <a:pt x="75711" y="45490"/>
                    <a:pt x="75711" y="45172"/>
                    <a:pt x="75393" y="44854"/>
                  </a:cubicBezTo>
                  <a:cubicBezTo>
                    <a:pt x="74120" y="43899"/>
                    <a:pt x="73166" y="42627"/>
                    <a:pt x="72211" y="41355"/>
                  </a:cubicBezTo>
                  <a:cubicBezTo>
                    <a:pt x="71575" y="40718"/>
                    <a:pt x="70939" y="40400"/>
                    <a:pt x="70621" y="39446"/>
                  </a:cubicBezTo>
                  <a:cubicBezTo>
                    <a:pt x="70621" y="38810"/>
                    <a:pt x="70303" y="37855"/>
                    <a:pt x="69985" y="37537"/>
                  </a:cubicBezTo>
                  <a:cubicBezTo>
                    <a:pt x="69030" y="36901"/>
                    <a:pt x="68712" y="36265"/>
                    <a:pt x="68076" y="35310"/>
                  </a:cubicBezTo>
                  <a:cubicBezTo>
                    <a:pt x="67440" y="34992"/>
                    <a:pt x="67440" y="34356"/>
                    <a:pt x="66803" y="34038"/>
                  </a:cubicBezTo>
                  <a:cubicBezTo>
                    <a:pt x="64895" y="32129"/>
                    <a:pt x="64895" y="32129"/>
                    <a:pt x="62668" y="31493"/>
                  </a:cubicBezTo>
                  <a:lnTo>
                    <a:pt x="61714" y="31493"/>
                  </a:lnTo>
                  <a:cubicBezTo>
                    <a:pt x="61396" y="31175"/>
                    <a:pt x="61396" y="31175"/>
                    <a:pt x="60759" y="31175"/>
                  </a:cubicBezTo>
                  <a:cubicBezTo>
                    <a:pt x="60441" y="31175"/>
                    <a:pt x="59805" y="31493"/>
                    <a:pt x="59169" y="31811"/>
                  </a:cubicBezTo>
                  <a:cubicBezTo>
                    <a:pt x="58214" y="32447"/>
                    <a:pt x="57260" y="33402"/>
                    <a:pt x="56306" y="33720"/>
                  </a:cubicBezTo>
                  <a:lnTo>
                    <a:pt x="55670" y="34356"/>
                  </a:lnTo>
                  <a:cubicBezTo>
                    <a:pt x="55352" y="34356"/>
                    <a:pt x="55033" y="34992"/>
                    <a:pt x="55033" y="35310"/>
                  </a:cubicBezTo>
                  <a:cubicBezTo>
                    <a:pt x="53761" y="35629"/>
                    <a:pt x="53443" y="36583"/>
                    <a:pt x="53443" y="37855"/>
                  </a:cubicBezTo>
                  <a:lnTo>
                    <a:pt x="53443" y="38492"/>
                  </a:lnTo>
                  <a:cubicBezTo>
                    <a:pt x="53443" y="39764"/>
                    <a:pt x="52806" y="40718"/>
                    <a:pt x="51534" y="41355"/>
                  </a:cubicBezTo>
                  <a:lnTo>
                    <a:pt x="51534" y="41036"/>
                  </a:lnTo>
                  <a:cubicBezTo>
                    <a:pt x="51216" y="40082"/>
                    <a:pt x="50898" y="39764"/>
                    <a:pt x="50580" y="39764"/>
                  </a:cubicBezTo>
                  <a:cubicBezTo>
                    <a:pt x="50262" y="39764"/>
                    <a:pt x="50262" y="40082"/>
                    <a:pt x="50262" y="40400"/>
                  </a:cubicBezTo>
                  <a:cubicBezTo>
                    <a:pt x="50262" y="40718"/>
                    <a:pt x="50580" y="41355"/>
                    <a:pt x="51852" y="41355"/>
                  </a:cubicBezTo>
                  <a:cubicBezTo>
                    <a:pt x="51216" y="41991"/>
                    <a:pt x="51534" y="42945"/>
                    <a:pt x="49944" y="43263"/>
                  </a:cubicBezTo>
                  <a:close/>
                  <a:moveTo>
                    <a:pt x="33084" y="64577"/>
                  </a:moveTo>
                  <a:cubicBezTo>
                    <a:pt x="33402" y="64577"/>
                    <a:pt x="33720" y="64259"/>
                    <a:pt x="33720" y="63940"/>
                  </a:cubicBezTo>
                  <a:cubicBezTo>
                    <a:pt x="33720" y="63622"/>
                    <a:pt x="33720" y="63304"/>
                    <a:pt x="33402" y="62986"/>
                  </a:cubicBezTo>
                  <a:cubicBezTo>
                    <a:pt x="33084" y="62986"/>
                    <a:pt x="32765" y="63304"/>
                    <a:pt x="32765" y="63622"/>
                  </a:cubicBezTo>
                  <a:cubicBezTo>
                    <a:pt x="32765" y="63940"/>
                    <a:pt x="32765" y="64577"/>
                    <a:pt x="33084" y="64577"/>
                  </a:cubicBezTo>
                  <a:close/>
                  <a:moveTo>
                    <a:pt x="63940" y="108476"/>
                  </a:moveTo>
                  <a:lnTo>
                    <a:pt x="63622" y="108476"/>
                  </a:lnTo>
                  <a:cubicBezTo>
                    <a:pt x="62986" y="107840"/>
                    <a:pt x="62668" y="107522"/>
                    <a:pt x="62668" y="107204"/>
                  </a:cubicBezTo>
                  <a:lnTo>
                    <a:pt x="62668" y="106886"/>
                  </a:lnTo>
                  <a:lnTo>
                    <a:pt x="62986" y="106567"/>
                  </a:lnTo>
                  <a:cubicBezTo>
                    <a:pt x="62986" y="106567"/>
                    <a:pt x="63304" y="106567"/>
                    <a:pt x="63304" y="106886"/>
                  </a:cubicBezTo>
                  <a:cubicBezTo>
                    <a:pt x="63622" y="107204"/>
                    <a:pt x="63940" y="107522"/>
                    <a:pt x="63940" y="107840"/>
                  </a:cubicBezTo>
                  <a:lnTo>
                    <a:pt x="63940" y="108476"/>
                  </a:lnTo>
                  <a:close/>
                  <a:moveTo>
                    <a:pt x="77937" y="101796"/>
                  </a:moveTo>
                  <a:cubicBezTo>
                    <a:pt x="77937" y="101478"/>
                    <a:pt x="77619" y="101160"/>
                    <a:pt x="77619" y="100841"/>
                  </a:cubicBezTo>
                  <a:cubicBezTo>
                    <a:pt x="77619" y="100523"/>
                    <a:pt x="77619" y="100523"/>
                    <a:pt x="77937" y="100205"/>
                  </a:cubicBezTo>
                  <a:lnTo>
                    <a:pt x="77937" y="98933"/>
                  </a:lnTo>
                  <a:cubicBezTo>
                    <a:pt x="77619" y="98615"/>
                    <a:pt x="77619" y="97978"/>
                    <a:pt x="77619" y="97660"/>
                  </a:cubicBezTo>
                  <a:lnTo>
                    <a:pt x="77619" y="96706"/>
                  </a:lnTo>
                  <a:cubicBezTo>
                    <a:pt x="77301" y="96706"/>
                    <a:pt x="76983" y="97024"/>
                    <a:pt x="76983" y="97024"/>
                  </a:cubicBezTo>
                  <a:cubicBezTo>
                    <a:pt x="76347" y="97978"/>
                    <a:pt x="76347" y="98297"/>
                    <a:pt x="76347" y="98933"/>
                  </a:cubicBezTo>
                  <a:lnTo>
                    <a:pt x="76347" y="99887"/>
                  </a:lnTo>
                  <a:cubicBezTo>
                    <a:pt x="76347" y="100841"/>
                    <a:pt x="76983" y="101478"/>
                    <a:pt x="77301" y="101796"/>
                  </a:cubicBezTo>
                  <a:cubicBezTo>
                    <a:pt x="77619" y="102114"/>
                    <a:pt x="77619" y="102114"/>
                    <a:pt x="77937" y="102114"/>
                  </a:cubicBezTo>
                  <a:lnTo>
                    <a:pt x="77937" y="101796"/>
                  </a:lnTo>
                  <a:close/>
                  <a:moveTo>
                    <a:pt x="78892" y="91298"/>
                  </a:moveTo>
                  <a:cubicBezTo>
                    <a:pt x="78574" y="91934"/>
                    <a:pt x="78255" y="92571"/>
                    <a:pt x="78255" y="93207"/>
                  </a:cubicBezTo>
                  <a:cubicBezTo>
                    <a:pt x="78255" y="93525"/>
                    <a:pt x="78255" y="93843"/>
                    <a:pt x="78574" y="94479"/>
                  </a:cubicBezTo>
                  <a:cubicBezTo>
                    <a:pt x="78574" y="94479"/>
                    <a:pt x="78892" y="94797"/>
                    <a:pt x="78892" y="95115"/>
                  </a:cubicBezTo>
                  <a:cubicBezTo>
                    <a:pt x="78892" y="95434"/>
                    <a:pt x="78574" y="95752"/>
                    <a:pt x="78574" y="96070"/>
                  </a:cubicBezTo>
                  <a:lnTo>
                    <a:pt x="78574" y="96706"/>
                  </a:lnTo>
                  <a:cubicBezTo>
                    <a:pt x="78574" y="97024"/>
                    <a:pt x="78892" y="97024"/>
                    <a:pt x="79210" y="97342"/>
                  </a:cubicBezTo>
                  <a:cubicBezTo>
                    <a:pt x="79528" y="97660"/>
                    <a:pt x="79846" y="97660"/>
                    <a:pt x="79846" y="97660"/>
                  </a:cubicBezTo>
                  <a:lnTo>
                    <a:pt x="80164" y="97342"/>
                  </a:lnTo>
                  <a:cubicBezTo>
                    <a:pt x="79846" y="97024"/>
                    <a:pt x="79846" y="97024"/>
                    <a:pt x="79846" y="96706"/>
                  </a:cubicBezTo>
                  <a:lnTo>
                    <a:pt x="79528" y="96388"/>
                  </a:lnTo>
                  <a:cubicBezTo>
                    <a:pt x="79528" y="95434"/>
                    <a:pt x="79528" y="94479"/>
                    <a:pt x="79846" y="93525"/>
                  </a:cubicBezTo>
                  <a:cubicBezTo>
                    <a:pt x="80164" y="93207"/>
                    <a:pt x="80164" y="92889"/>
                    <a:pt x="80164" y="92571"/>
                  </a:cubicBezTo>
                  <a:lnTo>
                    <a:pt x="80164" y="91298"/>
                  </a:lnTo>
                  <a:cubicBezTo>
                    <a:pt x="80164" y="90980"/>
                    <a:pt x="79528" y="90980"/>
                    <a:pt x="78892" y="90662"/>
                  </a:cubicBezTo>
                  <a:cubicBezTo>
                    <a:pt x="79210" y="90662"/>
                    <a:pt x="79210" y="90026"/>
                    <a:pt x="79528" y="89708"/>
                  </a:cubicBezTo>
                  <a:lnTo>
                    <a:pt x="79528" y="89389"/>
                  </a:lnTo>
                  <a:cubicBezTo>
                    <a:pt x="78574" y="89708"/>
                    <a:pt x="78255" y="89708"/>
                    <a:pt x="78255" y="90026"/>
                  </a:cubicBezTo>
                  <a:cubicBezTo>
                    <a:pt x="78255" y="90344"/>
                    <a:pt x="78574" y="90662"/>
                    <a:pt x="78892" y="90980"/>
                  </a:cubicBezTo>
                  <a:lnTo>
                    <a:pt x="78892" y="91298"/>
                  </a:lnTo>
                  <a:close/>
                  <a:moveTo>
                    <a:pt x="79210" y="84618"/>
                  </a:moveTo>
                  <a:lnTo>
                    <a:pt x="79210" y="84936"/>
                  </a:lnTo>
                  <a:cubicBezTo>
                    <a:pt x="79528" y="84936"/>
                    <a:pt x="79528" y="84618"/>
                    <a:pt x="79528" y="84618"/>
                  </a:cubicBezTo>
                  <a:lnTo>
                    <a:pt x="79210" y="84618"/>
                  </a:lnTo>
                  <a:close/>
                  <a:moveTo>
                    <a:pt x="81755" y="101796"/>
                  </a:moveTo>
                  <a:cubicBezTo>
                    <a:pt x="82391" y="101796"/>
                    <a:pt x="83027" y="102114"/>
                    <a:pt x="83982" y="102114"/>
                  </a:cubicBezTo>
                  <a:lnTo>
                    <a:pt x="84300" y="102114"/>
                  </a:lnTo>
                  <a:cubicBezTo>
                    <a:pt x="84618" y="101478"/>
                    <a:pt x="84936" y="101160"/>
                    <a:pt x="84936" y="100841"/>
                  </a:cubicBezTo>
                  <a:lnTo>
                    <a:pt x="84618" y="100523"/>
                  </a:lnTo>
                  <a:cubicBezTo>
                    <a:pt x="84300" y="100841"/>
                    <a:pt x="83663" y="101160"/>
                    <a:pt x="83027" y="101160"/>
                  </a:cubicBezTo>
                  <a:cubicBezTo>
                    <a:pt x="83027" y="101160"/>
                    <a:pt x="82391" y="100523"/>
                    <a:pt x="82073" y="100523"/>
                  </a:cubicBezTo>
                  <a:lnTo>
                    <a:pt x="82073" y="99887"/>
                  </a:lnTo>
                  <a:cubicBezTo>
                    <a:pt x="82073" y="99569"/>
                    <a:pt x="82073" y="99251"/>
                    <a:pt x="81755" y="99251"/>
                  </a:cubicBezTo>
                  <a:cubicBezTo>
                    <a:pt x="80800" y="99251"/>
                    <a:pt x="80164" y="99251"/>
                    <a:pt x="79846" y="98615"/>
                  </a:cubicBezTo>
                  <a:cubicBezTo>
                    <a:pt x="79528" y="98615"/>
                    <a:pt x="79210" y="98297"/>
                    <a:pt x="79210" y="98615"/>
                  </a:cubicBezTo>
                  <a:cubicBezTo>
                    <a:pt x="79528" y="100205"/>
                    <a:pt x="79846" y="101160"/>
                    <a:pt x="80800" y="101796"/>
                  </a:cubicBezTo>
                  <a:lnTo>
                    <a:pt x="81755" y="101796"/>
                  </a:lnTo>
                  <a:close/>
                  <a:moveTo>
                    <a:pt x="80800" y="148558"/>
                  </a:moveTo>
                  <a:lnTo>
                    <a:pt x="81755" y="148558"/>
                  </a:lnTo>
                  <a:lnTo>
                    <a:pt x="81755" y="148240"/>
                  </a:lnTo>
                  <a:cubicBezTo>
                    <a:pt x="81755" y="148240"/>
                    <a:pt x="81119" y="147922"/>
                    <a:pt x="80800" y="147922"/>
                  </a:cubicBezTo>
                  <a:lnTo>
                    <a:pt x="80800" y="148558"/>
                  </a:lnTo>
                  <a:close/>
                  <a:moveTo>
                    <a:pt x="81755" y="76029"/>
                  </a:moveTo>
                  <a:lnTo>
                    <a:pt x="81119" y="76029"/>
                  </a:lnTo>
                  <a:cubicBezTo>
                    <a:pt x="81119" y="76029"/>
                    <a:pt x="81437" y="76347"/>
                    <a:pt x="81755" y="76347"/>
                  </a:cubicBezTo>
                  <a:lnTo>
                    <a:pt x="81119" y="76347"/>
                  </a:lnTo>
                  <a:cubicBezTo>
                    <a:pt x="82709" y="77619"/>
                    <a:pt x="83982" y="78574"/>
                    <a:pt x="85254" y="79210"/>
                  </a:cubicBezTo>
                  <a:cubicBezTo>
                    <a:pt x="85254" y="79528"/>
                    <a:pt x="85254" y="79210"/>
                    <a:pt x="85572" y="79210"/>
                  </a:cubicBezTo>
                  <a:cubicBezTo>
                    <a:pt x="84618" y="77619"/>
                    <a:pt x="83345" y="76983"/>
                    <a:pt x="81755" y="76029"/>
                  </a:cubicBezTo>
                  <a:close/>
                  <a:moveTo>
                    <a:pt x="82073" y="104341"/>
                  </a:moveTo>
                  <a:lnTo>
                    <a:pt x="82709" y="104977"/>
                  </a:lnTo>
                  <a:cubicBezTo>
                    <a:pt x="82709" y="104977"/>
                    <a:pt x="82709" y="104659"/>
                    <a:pt x="82391" y="104341"/>
                  </a:cubicBezTo>
                  <a:lnTo>
                    <a:pt x="82073" y="104341"/>
                  </a:lnTo>
                  <a:close/>
                  <a:moveTo>
                    <a:pt x="82391" y="110703"/>
                  </a:moveTo>
                  <a:lnTo>
                    <a:pt x="82391" y="111021"/>
                  </a:lnTo>
                  <a:cubicBezTo>
                    <a:pt x="82391" y="111021"/>
                    <a:pt x="82709" y="111657"/>
                    <a:pt x="82709" y="111339"/>
                  </a:cubicBezTo>
                  <a:cubicBezTo>
                    <a:pt x="83027" y="111339"/>
                    <a:pt x="83027" y="111021"/>
                    <a:pt x="83027" y="110703"/>
                  </a:cubicBezTo>
                  <a:lnTo>
                    <a:pt x="82391" y="110703"/>
                  </a:lnTo>
                  <a:close/>
                  <a:moveTo>
                    <a:pt x="83663" y="147604"/>
                  </a:moveTo>
                  <a:cubicBezTo>
                    <a:pt x="83663" y="147604"/>
                    <a:pt x="83345" y="147286"/>
                    <a:pt x="83027" y="147286"/>
                  </a:cubicBezTo>
                  <a:cubicBezTo>
                    <a:pt x="82709" y="147286"/>
                    <a:pt x="82709" y="146968"/>
                    <a:pt x="82709" y="146968"/>
                  </a:cubicBezTo>
                  <a:lnTo>
                    <a:pt x="82391" y="147286"/>
                  </a:lnTo>
                  <a:cubicBezTo>
                    <a:pt x="82391" y="147286"/>
                    <a:pt x="82709" y="147922"/>
                    <a:pt x="83345" y="147922"/>
                  </a:cubicBezTo>
                  <a:cubicBezTo>
                    <a:pt x="83345" y="147922"/>
                    <a:pt x="83663" y="147922"/>
                    <a:pt x="83663" y="147604"/>
                  </a:cubicBezTo>
                  <a:close/>
                  <a:moveTo>
                    <a:pt x="84618" y="70939"/>
                  </a:moveTo>
                  <a:lnTo>
                    <a:pt x="84618" y="70621"/>
                  </a:lnTo>
                  <a:cubicBezTo>
                    <a:pt x="84618" y="69985"/>
                    <a:pt x="84300" y="69666"/>
                    <a:pt x="83982" y="69666"/>
                  </a:cubicBezTo>
                  <a:lnTo>
                    <a:pt x="83663" y="69666"/>
                  </a:lnTo>
                  <a:cubicBezTo>
                    <a:pt x="83345" y="69985"/>
                    <a:pt x="83027" y="70303"/>
                    <a:pt x="83027" y="70621"/>
                  </a:cubicBezTo>
                  <a:cubicBezTo>
                    <a:pt x="83027" y="70939"/>
                    <a:pt x="83345" y="70939"/>
                    <a:pt x="83345" y="71257"/>
                  </a:cubicBezTo>
                  <a:cubicBezTo>
                    <a:pt x="83663" y="71257"/>
                    <a:pt x="83982" y="71257"/>
                    <a:pt x="83982" y="71575"/>
                  </a:cubicBezTo>
                  <a:cubicBezTo>
                    <a:pt x="84300" y="71257"/>
                    <a:pt x="84618" y="71257"/>
                    <a:pt x="84618" y="70939"/>
                  </a:cubicBezTo>
                  <a:close/>
                  <a:moveTo>
                    <a:pt x="83345" y="96070"/>
                  </a:moveTo>
                  <a:cubicBezTo>
                    <a:pt x="83663" y="96070"/>
                    <a:pt x="83663" y="95752"/>
                    <a:pt x="83663" y="95752"/>
                  </a:cubicBezTo>
                  <a:cubicBezTo>
                    <a:pt x="83663" y="95752"/>
                    <a:pt x="83345" y="95752"/>
                    <a:pt x="83345" y="95434"/>
                  </a:cubicBezTo>
                  <a:lnTo>
                    <a:pt x="83345" y="96070"/>
                  </a:lnTo>
                  <a:close/>
                  <a:moveTo>
                    <a:pt x="85254" y="98297"/>
                  </a:moveTo>
                  <a:lnTo>
                    <a:pt x="85890" y="98933"/>
                  </a:lnTo>
                  <a:lnTo>
                    <a:pt x="85890" y="98297"/>
                  </a:lnTo>
                  <a:lnTo>
                    <a:pt x="86526" y="97024"/>
                  </a:lnTo>
                  <a:cubicBezTo>
                    <a:pt x="86526" y="97024"/>
                    <a:pt x="85890" y="96388"/>
                    <a:pt x="85572" y="96388"/>
                  </a:cubicBezTo>
                  <a:cubicBezTo>
                    <a:pt x="85254" y="96388"/>
                    <a:pt x="85254" y="97024"/>
                    <a:pt x="85254" y="97024"/>
                  </a:cubicBezTo>
                  <a:cubicBezTo>
                    <a:pt x="85254" y="97024"/>
                    <a:pt x="85254" y="97342"/>
                    <a:pt x="84936" y="97660"/>
                  </a:cubicBezTo>
                  <a:cubicBezTo>
                    <a:pt x="85254" y="97978"/>
                    <a:pt x="85254" y="98297"/>
                    <a:pt x="85254" y="98297"/>
                  </a:cubicBezTo>
                  <a:close/>
                  <a:moveTo>
                    <a:pt x="85890" y="110067"/>
                  </a:moveTo>
                  <a:lnTo>
                    <a:pt x="85890" y="109749"/>
                  </a:lnTo>
                  <a:cubicBezTo>
                    <a:pt x="85572" y="109749"/>
                    <a:pt x="85254" y="109430"/>
                    <a:pt x="85254" y="109430"/>
                  </a:cubicBezTo>
                  <a:lnTo>
                    <a:pt x="85254" y="110067"/>
                  </a:lnTo>
                  <a:lnTo>
                    <a:pt x="85890" y="110067"/>
                  </a:lnTo>
                  <a:close/>
                  <a:moveTo>
                    <a:pt x="86526" y="92571"/>
                  </a:moveTo>
                  <a:lnTo>
                    <a:pt x="86208" y="92571"/>
                  </a:lnTo>
                  <a:cubicBezTo>
                    <a:pt x="85890" y="92571"/>
                    <a:pt x="85572" y="92571"/>
                    <a:pt x="85572" y="92252"/>
                  </a:cubicBezTo>
                  <a:cubicBezTo>
                    <a:pt x="85572" y="91934"/>
                    <a:pt x="85572" y="91934"/>
                    <a:pt x="85890" y="91616"/>
                  </a:cubicBezTo>
                  <a:lnTo>
                    <a:pt x="86208" y="91616"/>
                  </a:lnTo>
                  <a:cubicBezTo>
                    <a:pt x="86526" y="91934"/>
                    <a:pt x="86526" y="92252"/>
                    <a:pt x="87163" y="92252"/>
                  </a:cubicBezTo>
                  <a:lnTo>
                    <a:pt x="86526" y="92571"/>
                  </a:lnTo>
                  <a:close/>
                  <a:moveTo>
                    <a:pt x="87163" y="69030"/>
                  </a:moveTo>
                  <a:lnTo>
                    <a:pt x="87163" y="69348"/>
                  </a:lnTo>
                  <a:cubicBezTo>
                    <a:pt x="87163" y="69666"/>
                    <a:pt x="87163" y="69666"/>
                    <a:pt x="87481" y="69666"/>
                  </a:cubicBezTo>
                  <a:lnTo>
                    <a:pt x="88435" y="69666"/>
                  </a:lnTo>
                  <a:cubicBezTo>
                    <a:pt x="88435" y="69666"/>
                    <a:pt x="88435" y="69348"/>
                    <a:pt x="88117" y="69030"/>
                  </a:cubicBezTo>
                  <a:cubicBezTo>
                    <a:pt x="88117" y="68712"/>
                    <a:pt x="87799" y="68712"/>
                    <a:pt x="87481" y="68712"/>
                  </a:cubicBezTo>
                  <a:lnTo>
                    <a:pt x="87163" y="69030"/>
                  </a:lnTo>
                  <a:close/>
                  <a:moveTo>
                    <a:pt x="87799" y="80800"/>
                  </a:moveTo>
                  <a:lnTo>
                    <a:pt x="87163" y="80800"/>
                  </a:lnTo>
                  <a:lnTo>
                    <a:pt x="87163" y="81119"/>
                  </a:lnTo>
                  <a:cubicBezTo>
                    <a:pt x="87163" y="81437"/>
                    <a:pt x="87481" y="81755"/>
                    <a:pt x="87481" y="81755"/>
                  </a:cubicBezTo>
                  <a:lnTo>
                    <a:pt x="87799" y="81755"/>
                  </a:lnTo>
                  <a:cubicBezTo>
                    <a:pt x="88117" y="81755"/>
                    <a:pt x="88435" y="81437"/>
                    <a:pt x="88435" y="81119"/>
                  </a:cubicBezTo>
                  <a:cubicBezTo>
                    <a:pt x="88117" y="80800"/>
                    <a:pt x="87799" y="80800"/>
                    <a:pt x="87799" y="80800"/>
                  </a:cubicBezTo>
                  <a:close/>
                  <a:moveTo>
                    <a:pt x="87799" y="79528"/>
                  </a:moveTo>
                  <a:lnTo>
                    <a:pt x="87799" y="79210"/>
                  </a:lnTo>
                  <a:cubicBezTo>
                    <a:pt x="87799" y="79528"/>
                    <a:pt x="87481" y="79528"/>
                    <a:pt x="87481" y="79528"/>
                  </a:cubicBezTo>
                  <a:lnTo>
                    <a:pt x="87799" y="79528"/>
                  </a:lnTo>
                  <a:close/>
                  <a:moveTo>
                    <a:pt x="88435" y="83663"/>
                  </a:moveTo>
                  <a:cubicBezTo>
                    <a:pt x="88435" y="83345"/>
                    <a:pt x="88753" y="83345"/>
                    <a:pt x="88753" y="83345"/>
                  </a:cubicBezTo>
                  <a:cubicBezTo>
                    <a:pt x="88753" y="83027"/>
                    <a:pt x="88435" y="82709"/>
                    <a:pt x="88435" y="82709"/>
                  </a:cubicBezTo>
                  <a:lnTo>
                    <a:pt x="87799" y="82709"/>
                  </a:lnTo>
                  <a:cubicBezTo>
                    <a:pt x="87799" y="83027"/>
                    <a:pt x="87799" y="83345"/>
                    <a:pt x="88117" y="83663"/>
                  </a:cubicBezTo>
                  <a:lnTo>
                    <a:pt x="88435" y="83663"/>
                  </a:lnTo>
                  <a:close/>
                  <a:moveTo>
                    <a:pt x="88753" y="66167"/>
                  </a:moveTo>
                  <a:lnTo>
                    <a:pt x="89389" y="66167"/>
                  </a:lnTo>
                  <a:cubicBezTo>
                    <a:pt x="90026" y="66167"/>
                    <a:pt x="90344" y="66167"/>
                    <a:pt x="90344" y="66485"/>
                  </a:cubicBezTo>
                  <a:lnTo>
                    <a:pt x="91298" y="67758"/>
                  </a:lnTo>
                  <a:lnTo>
                    <a:pt x="92252" y="67758"/>
                  </a:lnTo>
                  <a:lnTo>
                    <a:pt x="92252" y="67440"/>
                  </a:lnTo>
                  <a:cubicBezTo>
                    <a:pt x="91934" y="66167"/>
                    <a:pt x="90344" y="65213"/>
                    <a:pt x="89071" y="64259"/>
                  </a:cubicBezTo>
                  <a:cubicBezTo>
                    <a:pt x="89071" y="64895"/>
                    <a:pt x="88753" y="65213"/>
                    <a:pt x="88753" y="65213"/>
                  </a:cubicBezTo>
                  <a:lnTo>
                    <a:pt x="88753" y="66167"/>
                  </a:lnTo>
                  <a:close/>
                  <a:moveTo>
                    <a:pt x="88753" y="67758"/>
                  </a:moveTo>
                  <a:cubicBezTo>
                    <a:pt x="88753" y="67758"/>
                    <a:pt x="89071" y="67758"/>
                    <a:pt x="89071" y="67440"/>
                  </a:cubicBezTo>
                  <a:lnTo>
                    <a:pt x="88753" y="67440"/>
                  </a:lnTo>
                  <a:lnTo>
                    <a:pt x="88753" y="67758"/>
                  </a:lnTo>
                  <a:close/>
                  <a:moveTo>
                    <a:pt x="91934" y="61714"/>
                  </a:moveTo>
                  <a:lnTo>
                    <a:pt x="92252" y="61396"/>
                  </a:lnTo>
                  <a:cubicBezTo>
                    <a:pt x="92252" y="61396"/>
                    <a:pt x="92570" y="61077"/>
                    <a:pt x="92570" y="60759"/>
                  </a:cubicBezTo>
                  <a:cubicBezTo>
                    <a:pt x="92570" y="60441"/>
                    <a:pt x="92252" y="60441"/>
                    <a:pt x="92252" y="60123"/>
                  </a:cubicBezTo>
                  <a:cubicBezTo>
                    <a:pt x="91298" y="59805"/>
                    <a:pt x="90662" y="58851"/>
                    <a:pt x="90344" y="58533"/>
                  </a:cubicBezTo>
                  <a:lnTo>
                    <a:pt x="89389" y="58533"/>
                  </a:lnTo>
                  <a:cubicBezTo>
                    <a:pt x="89071" y="58851"/>
                    <a:pt x="89071" y="58851"/>
                    <a:pt x="89071" y="59169"/>
                  </a:cubicBezTo>
                  <a:cubicBezTo>
                    <a:pt x="89071" y="59487"/>
                    <a:pt x="89071" y="59487"/>
                    <a:pt x="89389" y="59487"/>
                  </a:cubicBezTo>
                  <a:lnTo>
                    <a:pt x="91298" y="61714"/>
                  </a:lnTo>
                  <a:lnTo>
                    <a:pt x="91934" y="61714"/>
                  </a:lnTo>
                  <a:close/>
                  <a:moveTo>
                    <a:pt x="90980" y="69030"/>
                  </a:moveTo>
                  <a:cubicBezTo>
                    <a:pt x="90980" y="69348"/>
                    <a:pt x="91298" y="69666"/>
                    <a:pt x="91934" y="69666"/>
                  </a:cubicBezTo>
                  <a:lnTo>
                    <a:pt x="92252" y="69666"/>
                  </a:lnTo>
                  <a:cubicBezTo>
                    <a:pt x="92252" y="69348"/>
                    <a:pt x="92252" y="69348"/>
                    <a:pt x="91934" y="69030"/>
                  </a:cubicBezTo>
                  <a:lnTo>
                    <a:pt x="90980" y="69030"/>
                  </a:lnTo>
                  <a:close/>
                  <a:moveTo>
                    <a:pt x="92252" y="74120"/>
                  </a:moveTo>
                  <a:lnTo>
                    <a:pt x="92252" y="74438"/>
                  </a:lnTo>
                  <a:lnTo>
                    <a:pt x="91934" y="74756"/>
                  </a:lnTo>
                  <a:cubicBezTo>
                    <a:pt x="91934" y="74438"/>
                    <a:pt x="91298" y="74438"/>
                    <a:pt x="91298" y="74120"/>
                  </a:cubicBezTo>
                  <a:lnTo>
                    <a:pt x="92252" y="74120"/>
                  </a:lnTo>
                  <a:close/>
                  <a:moveTo>
                    <a:pt x="95115" y="42627"/>
                  </a:moveTo>
                  <a:cubicBezTo>
                    <a:pt x="94797" y="41991"/>
                    <a:pt x="94479" y="41991"/>
                    <a:pt x="94161" y="41991"/>
                  </a:cubicBezTo>
                  <a:cubicBezTo>
                    <a:pt x="93843" y="41673"/>
                    <a:pt x="93207" y="41673"/>
                    <a:pt x="93207" y="41673"/>
                  </a:cubicBezTo>
                  <a:cubicBezTo>
                    <a:pt x="92889" y="41673"/>
                    <a:pt x="92570" y="41673"/>
                    <a:pt x="92570" y="41991"/>
                  </a:cubicBezTo>
                  <a:lnTo>
                    <a:pt x="92889" y="42309"/>
                  </a:lnTo>
                  <a:cubicBezTo>
                    <a:pt x="92889" y="42627"/>
                    <a:pt x="92889" y="42945"/>
                    <a:pt x="93207" y="42945"/>
                  </a:cubicBezTo>
                  <a:cubicBezTo>
                    <a:pt x="93525" y="43263"/>
                    <a:pt x="93525" y="43899"/>
                    <a:pt x="93525" y="44218"/>
                  </a:cubicBezTo>
                  <a:cubicBezTo>
                    <a:pt x="93843" y="44536"/>
                    <a:pt x="93843" y="44536"/>
                    <a:pt x="93843" y="44854"/>
                  </a:cubicBezTo>
                  <a:cubicBezTo>
                    <a:pt x="93843" y="44854"/>
                    <a:pt x="93843" y="45172"/>
                    <a:pt x="94161" y="45172"/>
                  </a:cubicBezTo>
                  <a:cubicBezTo>
                    <a:pt x="95115" y="45490"/>
                    <a:pt x="95434" y="45490"/>
                    <a:pt x="96070" y="45490"/>
                  </a:cubicBezTo>
                  <a:cubicBezTo>
                    <a:pt x="96388" y="45490"/>
                    <a:pt x="96388" y="45490"/>
                    <a:pt x="96388" y="45172"/>
                  </a:cubicBezTo>
                  <a:lnTo>
                    <a:pt x="96388" y="44854"/>
                  </a:lnTo>
                  <a:cubicBezTo>
                    <a:pt x="96388" y="44854"/>
                    <a:pt x="96070" y="44536"/>
                    <a:pt x="95434" y="44218"/>
                  </a:cubicBezTo>
                  <a:cubicBezTo>
                    <a:pt x="95434" y="43899"/>
                    <a:pt x="95434" y="43263"/>
                    <a:pt x="95115" y="42627"/>
                  </a:cubicBezTo>
                  <a:close/>
                  <a:moveTo>
                    <a:pt x="94479" y="52807"/>
                  </a:moveTo>
                  <a:cubicBezTo>
                    <a:pt x="94479" y="52488"/>
                    <a:pt x="94479" y="52170"/>
                    <a:pt x="94161" y="52170"/>
                  </a:cubicBezTo>
                  <a:cubicBezTo>
                    <a:pt x="93525" y="52488"/>
                    <a:pt x="93207" y="52488"/>
                    <a:pt x="93207" y="52488"/>
                  </a:cubicBezTo>
                  <a:lnTo>
                    <a:pt x="93207" y="52807"/>
                  </a:lnTo>
                  <a:cubicBezTo>
                    <a:pt x="93207" y="53125"/>
                    <a:pt x="93525" y="53443"/>
                    <a:pt x="94161" y="53443"/>
                  </a:cubicBezTo>
                  <a:cubicBezTo>
                    <a:pt x="94161" y="53125"/>
                    <a:pt x="94479" y="53125"/>
                    <a:pt x="94479" y="52807"/>
                  </a:cubicBezTo>
                  <a:close/>
                  <a:moveTo>
                    <a:pt x="95752" y="32129"/>
                  </a:moveTo>
                  <a:cubicBezTo>
                    <a:pt x="94479" y="32129"/>
                    <a:pt x="94161" y="32447"/>
                    <a:pt x="94161" y="32766"/>
                  </a:cubicBezTo>
                  <a:lnTo>
                    <a:pt x="94161" y="33402"/>
                  </a:lnTo>
                  <a:cubicBezTo>
                    <a:pt x="95115" y="34356"/>
                    <a:pt x="95434" y="34674"/>
                    <a:pt x="95752" y="35629"/>
                  </a:cubicBezTo>
                  <a:cubicBezTo>
                    <a:pt x="95434" y="35629"/>
                    <a:pt x="95752" y="35947"/>
                    <a:pt x="95752" y="36265"/>
                  </a:cubicBezTo>
                  <a:cubicBezTo>
                    <a:pt x="95752" y="36583"/>
                    <a:pt x="96070" y="36901"/>
                    <a:pt x="96388" y="36901"/>
                  </a:cubicBezTo>
                  <a:lnTo>
                    <a:pt x="96706" y="36901"/>
                  </a:lnTo>
                  <a:cubicBezTo>
                    <a:pt x="97342" y="36583"/>
                    <a:pt x="97660" y="36583"/>
                    <a:pt x="97978" y="36583"/>
                  </a:cubicBezTo>
                  <a:lnTo>
                    <a:pt x="98615" y="36583"/>
                  </a:lnTo>
                  <a:cubicBezTo>
                    <a:pt x="98933" y="36583"/>
                    <a:pt x="98933" y="36265"/>
                    <a:pt x="98933" y="35947"/>
                  </a:cubicBezTo>
                  <a:lnTo>
                    <a:pt x="97660" y="34992"/>
                  </a:lnTo>
                  <a:cubicBezTo>
                    <a:pt x="97342" y="34674"/>
                    <a:pt x="97342" y="34356"/>
                    <a:pt x="97342" y="34356"/>
                  </a:cubicBezTo>
                  <a:cubicBezTo>
                    <a:pt x="97660" y="33720"/>
                    <a:pt x="97978" y="33084"/>
                    <a:pt x="97978" y="32766"/>
                  </a:cubicBezTo>
                  <a:cubicBezTo>
                    <a:pt x="97978" y="32447"/>
                    <a:pt x="97660" y="32447"/>
                    <a:pt x="96070" y="32129"/>
                  </a:cubicBezTo>
                  <a:lnTo>
                    <a:pt x="95752" y="32129"/>
                  </a:lnTo>
                  <a:close/>
                  <a:moveTo>
                    <a:pt x="95752" y="54715"/>
                  </a:moveTo>
                  <a:lnTo>
                    <a:pt x="96070" y="54397"/>
                  </a:lnTo>
                  <a:cubicBezTo>
                    <a:pt x="96070" y="54079"/>
                    <a:pt x="95752" y="53761"/>
                    <a:pt x="95752" y="53761"/>
                  </a:cubicBezTo>
                  <a:cubicBezTo>
                    <a:pt x="95752" y="53443"/>
                    <a:pt x="95434" y="53761"/>
                    <a:pt x="95434" y="54397"/>
                  </a:cubicBezTo>
                  <a:lnTo>
                    <a:pt x="95752" y="54715"/>
                  </a:lnTo>
                  <a:close/>
                  <a:moveTo>
                    <a:pt x="97342" y="41036"/>
                  </a:moveTo>
                  <a:cubicBezTo>
                    <a:pt x="97342" y="41036"/>
                    <a:pt x="97342" y="40718"/>
                    <a:pt x="96706" y="40718"/>
                  </a:cubicBezTo>
                  <a:cubicBezTo>
                    <a:pt x="96388" y="40718"/>
                    <a:pt x="96070" y="40718"/>
                    <a:pt x="96070" y="41036"/>
                  </a:cubicBezTo>
                  <a:cubicBezTo>
                    <a:pt x="96070" y="41355"/>
                    <a:pt x="96388" y="41355"/>
                    <a:pt x="96388" y="41355"/>
                  </a:cubicBezTo>
                  <a:cubicBezTo>
                    <a:pt x="96706" y="41355"/>
                    <a:pt x="97342" y="41355"/>
                    <a:pt x="97342" y="41036"/>
                  </a:cubicBezTo>
                  <a:close/>
                  <a:moveTo>
                    <a:pt x="99569" y="29584"/>
                  </a:moveTo>
                  <a:lnTo>
                    <a:pt x="99569" y="29266"/>
                  </a:lnTo>
                  <a:lnTo>
                    <a:pt x="98933" y="29266"/>
                  </a:lnTo>
                  <a:cubicBezTo>
                    <a:pt x="98615" y="29266"/>
                    <a:pt x="98297" y="29266"/>
                    <a:pt x="98297" y="28948"/>
                  </a:cubicBezTo>
                  <a:lnTo>
                    <a:pt x="97978" y="28948"/>
                  </a:lnTo>
                  <a:cubicBezTo>
                    <a:pt x="97978" y="29266"/>
                    <a:pt x="97978" y="29584"/>
                    <a:pt x="97660" y="29903"/>
                  </a:cubicBezTo>
                  <a:cubicBezTo>
                    <a:pt x="97660" y="29903"/>
                    <a:pt x="97978" y="30221"/>
                    <a:pt x="97978" y="30539"/>
                  </a:cubicBezTo>
                  <a:cubicBezTo>
                    <a:pt x="98615" y="30539"/>
                    <a:pt x="99251" y="30221"/>
                    <a:pt x="99569" y="29584"/>
                  </a:cubicBezTo>
                  <a:close/>
                  <a:moveTo>
                    <a:pt x="101160" y="31175"/>
                  </a:moveTo>
                  <a:cubicBezTo>
                    <a:pt x="101160" y="30857"/>
                    <a:pt x="101160" y="30539"/>
                    <a:pt x="100841" y="30539"/>
                  </a:cubicBezTo>
                  <a:lnTo>
                    <a:pt x="99887" y="30539"/>
                  </a:lnTo>
                  <a:cubicBezTo>
                    <a:pt x="99887" y="30857"/>
                    <a:pt x="100205" y="31175"/>
                    <a:pt x="100205" y="31175"/>
                  </a:cubicBezTo>
                  <a:lnTo>
                    <a:pt x="101160" y="31175"/>
                  </a:lnTo>
                  <a:close/>
                </a:path>
              </a:pathLst>
            </a:custGeom>
            <a:solidFill>
              <a:srgbClr val="000000"/>
            </a:solidFill>
            <a:ln w="63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7B405A9-9FDB-41AB-BCF1-D9AADE17F688}"/>
                </a:ext>
              </a:extLst>
            </p:cNvPr>
            <p:cNvSpPr/>
            <p:nvPr/>
          </p:nvSpPr>
          <p:spPr>
            <a:xfrm>
              <a:off x="3168717" y="3451489"/>
              <a:ext cx="203592" cy="279938"/>
            </a:xfrm>
            <a:custGeom>
              <a:avLst/>
              <a:gdLst>
                <a:gd name="connsiteX0" fmla="*/ 41355 w 203591"/>
                <a:gd name="connsiteY0" fmla="*/ 64577 h 279938"/>
                <a:gd name="connsiteX1" fmla="*/ 41036 w 203591"/>
                <a:gd name="connsiteY1" fmla="*/ 64259 h 279938"/>
                <a:gd name="connsiteX2" fmla="*/ 41036 w 203591"/>
                <a:gd name="connsiteY2" fmla="*/ 63940 h 279938"/>
                <a:gd name="connsiteX3" fmla="*/ 42945 w 203591"/>
                <a:gd name="connsiteY3" fmla="*/ 62668 h 279938"/>
                <a:gd name="connsiteX4" fmla="*/ 43581 w 203591"/>
                <a:gd name="connsiteY4" fmla="*/ 62668 h 279938"/>
                <a:gd name="connsiteX5" fmla="*/ 45808 w 203591"/>
                <a:gd name="connsiteY5" fmla="*/ 62350 h 279938"/>
                <a:gd name="connsiteX6" fmla="*/ 47081 w 203591"/>
                <a:gd name="connsiteY6" fmla="*/ 61714 h 279938"/>
                <a:gd name="connsiteX7" fmla="*/ 48671 w 203591"/>
                <a:gd name="connsiteY7" fmla="*/ 61077 h 279938"/>
                <a:gd name="connsiteX8" fmla="*/ 50580 w 203591"/>
                <a:gd name="connsiteY8" fmla="*/ 60123 h 279938"/>
                <a:gd name="connsiteX9" fmla="*/ 51852 w 203591"/>
                <a:gd name="connsiteY9" fmla="*/ 60123 h 279938"/>
                <a:gd name="connsiteX10" fmla="*/ 56306 w 203591"/>
                <a:gd name="connsiteY10" fmla="*/ 59169 h 279938"/>
                <a:gd name="connsiteX11" fmla="*/ 57260 w 203591"/>
                <a:gd name="connsiteY11" fmla="*/ 59169 h 279938"/>
                <a:gd name="connsiteX12" fmla="*/ 57896 w 203591"/>
                <a:gd name="connsiteY12" fmla="*/ 59805 h 279938"/>
                <a:gd name="connsiteX13" fmla="*/ 56306 w 203591"/>
                <a:gd name="connsiteY13" fmla="*/ 61714 h 279938"/>
                <a:gd name="connsiteX14" fmla="*/ 55351 w 203591"/>
                <a:gd name="connsiteY14" fmla="*/ 62032 h 279938"/>
                <a:gd name="connsiteX15" fmla="*/ 55033 w 203591"/>
                <a:gd name="connsiteY15" fmla="*/ 62350 h 279938"/>
                <a:gd name="connsiteX16" fmla="*/ 55033 w 203591"/>
                <a:gd name="connsiteY16" fmla="*/ 62668 h 279938"/>
                <a:gd name="connsiteX17" fmla="*/ 55670 w 203591"/>
                <a:gd name="connsiteY17" fmla="*/ 63304 h 279938"/>
                <a:gd name="connsiteX18" fmla="*/ 56306 w 203591"/>
                <a:gd name="connsiteY18" fmla="*/ 63622 h 279938"/>
                <a:gd name="connsiteX19" fmla="*/ 56942 w 203591"/>
                <a:gd name="connsiteY19" fmla="*/ 63622 h 279938"/>
                <a:gd name="connsiteX20" fmla="*/ 57578 w 203591"/>
                <a:gd name="connsiteY20" fmla="*/ 64259 h 279938"/>
                <a:gd name="connsiteX21" fmla="*/ 58214 w 203591"/>
                <a:gd name="connsiteY21" fmla="*/ 64259 h 279938"/>
                <a:gd name="connsiteX22" fmla="*/ 59487 w 203591"/>
                <a:gd name="connsiteY22" fmla="*/ 62668 h 279938"/>
                <a:gd name="connsiteX23" fmla="*/ 61714 w 203591"/>
                <a:gd name="connsiteY23" fmla="*/ 61077 h 279938"/>
                <a:gd name="connsiteX24" fmla="*/ 62350 w 203591"/>
                <a:gd name="connsiteY24" fmla="*/ 59169 h 279938"/>
                <a:gd name="connsiteX25" fmla="*/ 64259 w 203591"/>
                <a:gd name="connsiteY25" fmla="*/ 57896 h 279938"/>
                <a:gd name="connsiteX26" fmla="*/ 64895 w 203591"/>
                <a:gd name="connsiteY26" fmla="*/ 57896 h 279938"/>
                <a:gd name="connsiteX27" fmla="*/ 66485 w 203591"/>
                <a:gd name="connsiteY27" fmla="*/ 57578 h 279938"/>
                <a:gd name="connsiteX28" fmla="*/ 68076 w 203591"/>
                <a:gd name="connsiteY28" fmla="*/ 56942 h 279938"/>
                <a:gd name="connsiteX29" fmla="*/ 69030 w 203591"/>
                <a:gd name="connsiteY29" fmla="*/ 57578 h 279938"/>
                <a:gd name="connsiteX30" fmla="*/ 69348 w 203591"/>
                <a:gd name="connsiteY30" fmla="*/ 58214 h 279938"/>
                <a:gd name="connsiteX31" fmla="*/ 70621 w 203591"/>
                <a:gd name="connsiteY31" fmla="*/ 57896 h 279938"/>
                <a:gd name="connsiteX32" fmla="*/ 70939 w 203591"/>
                <a:gd name="connsiteY32" fmla="*/ 57896 h 279938"/>
                <a:gd name="connsiteX33" fmla="*/ 71257 w 203591"/>
                <a:gd name="connsiteY33" fmla="*/ 57578 h 279938"/>
                <a:gd name="connsiteX34" fmla="*/ 74438 w 203591"/>
                <a:gd name="connsiteY34" fmla="*/ 55351 h 279938"/>
                <a:gd name="connsiteX35" fmla="*/ 77619 w 203591"/>
                <a:gd name="connsiteY35" fmla="*/ 55351 h 279938"/>
                <a:gd name="connsiteX36" fmla="*/ 77937 w 203591"/>
                <a:gd name="connsiteY36" fmla="*/ 55670 h 279938"/>
                <a:gd name="connsiteX37" fmla="*/ 77937 w 203591"/>
                <a:gd name="connsiteY37" fmla="*/ 55988 h 279938"/>
                <a:gd name="connsiteX38" fmla="*/ 76983 w 203591"/>
                <a:gd name="connsiteY38" fmla="*/ 57260 h 279938"/>
                <a:gd name="connsiteX39" fmla="*/ 76983 w 203591"/>
                <a:gd name="connsiteY39" fmla="*/ 57578 h 279938"/>
                <a:gd name="connsiteX40" fmla="*/ 77937 w 203591"/>
                <a:gd name="connsiteY40" fmla="*/ 57578 h 279938"/>
                <a:gd name="connsiteX41" fmla="*/ 79846 w 203591"/>
                <a:gd name="connsiteY41" fmla="*/ 56942 h 279938"/>
                <a:gd name="connsiteX42" fmla="*/ 81118 w 203591"/>
                <a:gd name="connsiteY42" fmla="*/ 55988 h 279938"/>
                <a:gd name="connsiteX43" fmla="*/ 80164 w 203591"/>
                <a:gd name="connsiteY43" fmla="*/ 57260 h 279938"/>
                <a:gd name="connsiteX44" fmla="*/ 78256 w 203591"/>
                <a:gd name="connsiteY44" fmla="*/ 58533 h 279938"/>
                <a:gd name="connsiteX45" fmla="*/ 77619 w 203591"/>
                <a:gd name="connsiteY45" fmla="*/ 58533 h 279938"/>
                <a:gd name="connsiteX46" fmla="*/ 76983 w 203591"/>
                <a:gd name="connsiteY46" fmla="*/ 59169 h 279938"/>
                <a:gd name="connsiteX47" fmla="*/ 76983 w 203591"/>
                <a:gd name="connsiteY47" fmla="*/ 59805 h 279938"/>
                <a:gd name="connsiteX48" fmla="*/ 80164 w 203591"/>
                <a:gd name="connsiteY48" fmla="*/ 59169 h 279938"/>
                <a:gd name="connsiteX49" fmla="*/ 80800 w 203591"/>
                <a:gd name="connsiteY49" fmla="*/ 59169 h 279938"/>
                <a:gd name="connsiteX50" fmla="*/ 82391 w 203591"/>
                <a:gd name="connsiteY50" fmla="*/ 58533 h 279938"/>
                <a:gd name="connsiteX51" fmla="*/ 83027 w 203591"/>
                <a:gd name="connsiteY51" fmla="*/ 58214 h 279938"/>
                <a:gd name="connsiteX52" fmla="*/ 82391 w 203591"/>
                <a:gd name="connsiteY52" fmla="*/ 57896 h 279938"/>
                <a:gd name="connsiteX53" fmla="*/ 82073 w 203591"/>
                <a:gd name="connsiteY53" fmla="*/ 57578 h 279938"/>
                <a:gd name="connsiteX54" fmla="*/ 81755 w 203591"/>
                <a:gd name="connsiteY54" fmla="*/ 56942 h 279938"/>
                <a:gd name="connsiteX55" fmla="*/ 82391 w 203591"/>
                <a:gd name="connsiteY55" fmla="*/ 55988 h 279938"/>
                <a:gd name="connsiteX56" fmla="*/ 83345 w 203591"/>
                <a:gd name="connsiteY56" fmla="*/ 55351 h 279938"/>
                <a:gd name="connsiteX57" fmla="*/ 83981 w 203591"/>
                <a:gd name="connsiteY57" fmla="*/ 54079 h 279938"/>
                <a:gd name="connsiteX58" fmla="*/ 87481 w 203591"/>
                <a:gd name="connsiteY58" fmla="*/ 41355 h 279938"/>
                <a:gd name="connsiteX59" fmla="*/ 87799 w 203591"/>
                <a:gd name="connsiteY59" fmla="*/ 35947 h 279938"/>
                <a:gd name="connsiteX60" fmla="*/ 90026 w 203591"/>
                <a:gd name="connsiteY60" fmla="*/ 34356 h 279938"/>
                <a:gd name="connsiteX61" fmla="*/ 90662 w 203591"/>
                <a:gd name="connsiteY61" fmla="*/ 33720 h 279938"/>
                <a:gd name="connsiteX62" fmla="*/ 90344 w 203591"/>
                <a:gd name="connsiteY62" fmla="*/ 33402 h 279938"/>
                <a:gd name="connsiteX63" fmla="*/ 90662 w 203591"/>
                <a:gd name="connsiteY63" fmla="*/ 32447 h 279938"/>
                <a:gd name="connsiteX64" fmla="*/ 89390 w 203591"/>
                <a:gd name="connsiteY64" fmla="*/ 31811 h 279938"/>
                <a:gd name="connsiteX65" fmla="*/ 89071 w 203591"/>
                <a:gd name="connsiteY65" fmla="*/ 30221 h 279938"/>
                <a:gd name="connsiteX66" fmla="*/ 89071 w 203591"/>
                <a:gd name="connsiteY66" fmla="*/ 29584 h 279938"/>
                <a:gd name="connsiteX67" fmla="*/ 90026 w 203591"/>
                <a:gd name="connsiteY67" fmla="*/ 28630 h 279938"/>
                <a:gd name="connsiteX68" fmla="*/ 90344 w 203591"/>
                <a:gd name="connsiteY68" fmla="*/ 27676 h 279938"/>
                <a:gd name="connsiteX69" fmla="*/ 90344 w 203591"/>
                <a:gd name="connsiteY69" fmla="*/ 27040 h 279938"/>
                <a:gd name="connsiteX70" fmla="*/ 90980 w 203591"/>
                <a:gd name="connsiteY70" fmla="*/ 25449 h 279938"/>
                <a:gd name="connsiteX71" fmla="*/ 91934 w 203591"/>
                <a:gd name="connsiteY71" fmla="*/ 23858 h 279938"/>
                <a:gd name="connsiteX72" fmla="*/ 91934 w 203591"/>
                <a:gd name="connsiteY72" fmla="*/ 23540 h 279938"/>
                <a:gd name="connsiteX73" fmla="*/ 92571 w 203591"/>
                <a:gd name="connsiteY73" fmla="*/ 21950 h 279938"/>
                <a:gd name="connsiteX74" fmla="*/ 92889 w 203591"/>
                <a:gd name="connsiteY74" fmla="*/ 21632 h 279938"/>
                <a:gd name="connsiteX75" fmla="*/ 92889 w 203591"/>
                <a:gd name="connsiteY75" fmla="*/ 21313 h 279938"/>
                <a:gd name="connsiteX76" fmla="*/ 92571 w 203591"/>
                <a:gd name="connsiteY76" fmla="*/ 20995 h 279938"/>
                <a:gd name="connsiteX77" fmla="*/ 92571 w 203591"/>
                <a:gd name="connsiteY77" fmla="*/ 19405 h 279938"/>
                <a:gd name="connsiteX78" fmla="*/ 92889 w 203591"/>
                <a:gd name="connsiteY78" fmla="*/ 18769 h 279938"/>
                <a:gd name="connsiteX79" fmla="*/ 94479 w 203591"/>
                <a:gd name="connsiteY79" fmla="*/ 17496 h 279938"/>
                <a:gd name="connsiteX80" fmla="*/ 94161 w 203591"/>
                <a:gd name="connsiteY80" fmla="*/ 17178 h 279938"/>
                <a:gd name="connsiteX81" fmla="*/ 95115 w 203591"/>
                <a:gd name="connsiteY81" fmla="*/ 15269 h 279938"/>
                <a:gd name="connsiteX82" fmla="*/ 94797 w 203591"/>
                <a:gd name="connsiteY82" fmla="*/ 14951 h 279938"/>
                <a:gd name="connsiteX83" fmla="*/ 96070 w 203591"/>
                <a:gd name="connsiteY83" fmla="*/ 14315 h 279938"/>
                <a:gd name="connsiteX84" fmla="*/ 97342 w 203591"/>
                <a:gd name="connsiteY84" fmla="*/ 13361 h 279938"/>
                <a:gd name="connsiteX85" fmla="*/ 97342 w 203591"/>
                <a:gd name="connsiteY85" fmla="*/ 11770 h 279938"/>
                <a:gd name="connsiteX86" fmla="*/ 99251 w 203591"/>
                <a:gd name="connsiteY86" fmla="*/ 10180 h 279938"/>
                <a:gd name="connsiteX87" fmla="*/ 100205 w 203591"/>
                <a:gd name="connsiteY87" fmla="*/ 7317 h 279938"/>
                <a:gd name="connsiteX88" fmla="*/ 100841 w 203591"/>
                <a:gd name="connsiteY88" fmla="*/ 6998 h 279938"/>
                <a:gd name="connsiteX89" fmla="*/ 101160 w 203591"/>
                <a:gd name="connsiteY89" fmla="*/ 6044 h 279938"/>
                <a:gd name="connsiteX90" fmla="*/ 102114 w 203591"/>
                <a:gd name="connsiteY90" fmla="*/ 4454 h 279938"/>
                <a:gd name="connsiteX91" fmla="*/ 103705 w 203591"/>
                <a:gd name="connsiteY91" fmla="*/ 3181 h 279938"/>
                <a:gd name="connsiteX92" fmla="*/ 103386 w 203591"/>
                <a:gd name="connsiteY92" fmla="*/ 2545 h 279938"/>
                <a:gd name="connsiteX93" fmla="*/ 104659 w 203591"/>
                <a:gd name="connsiteY93" fmla="*/ 1909 h 279938"/>
                <a:gd name="connsiteX94" fmla="*/ 105295 w 203591"/>
                <a:gd name="connsiteY94" fmla="*/ 1591 h 279938"/>
                <a:gd name="connsiteX95" fmla="*/ 105931 w 203591"/>
                <a:gd name="connsiteY95" fmla="*/ 1272 h 279938"/>
                <a:gd name="connsiteX96" fmla="*/ 106249 w 203591"/>
                <a:gd name="connsiteY96" fmla="*/ 1272 h 279938"/>
                <a:gd name="connsiteX97" fmla="*/ 106567 w 203591"/>
                <a:gd name="connsiteY97" fmla="*/ 1591 h 279938"/>
                <a:gd name="connsiteX98" fmla="*/ 107204 w 203591"/>
                <a:gd name="connsiteY98" fmla="*/ 1272 h 279938"/>
                <a:gd name="connsiteX99" fmla="*/ 108794 w 203591"/>
                <a:gd name="connsiteY99" fmla="*/ 318 h 279938"/>
                <a:gd name="connsiteX100" fmla="*/ 109748 w 203591"/>
                <a:gd name="connsiteY100" fmla="*/ 0 h 279938"/>
                <a:gd name="connsiteX101" fmla="*/ 111021 w 203591"/>
                <a:gd name="connsiteY101" fmla="*/ 636 h 279938"/>
                <a:gd name="connsiteX102" fmla="*/ 111339 w 203591"/>
                <a:gd name="connsiteY102" fmla="*/ 954 h 279938"/>
                <a:gd name="connsiteX103" fmla="*/ 111021 w 203591"/>
                <a:gd name="connsiteY103" fmla="*/ 3181 h 279938"/>
                <a:gd name="connsiteX104" fmla="*/ 111657 w 203591"/>
                <a:gd name="connsiteY104" fmla="*/ 3499 h 279938"/>
                <a:gd name="connsiteX105" fmla="*/ 112293 w 203591"/>
                <a:gd name="connsiteY105" fmla="*/ 3499 h 279938"/>
                <a:gd name="connsiteX106" fmla="*/ 113248 w 203591"/>
                <a:gd name="connsiteY106" fmla="*/ 1909 h 279938"/>
                <a:gd name="connsiteX107" fmla="*/ 113566 w 203591"/>
                <a:gd name="connsiteY107" fmla="*/ 1909 h 279938"/>
                <a:gd name="connsiteX108" fmla="*/ 113884 w 203591"/>
                <a:gd name="connsiteY108" fmla="*/ 2545 h 279938"/>
                <a:gd name="connsiteX109" fmla="*/ 114520 w 203591"/>
                <a:gd name="connsiteY109" fmla="*/ 3181 h 279938"/>
                <a:gd name="connsiteX110" fmla="*/ 115156 w 203591"/>
                <a:gd name="connsiteY110" fmla="*/ 3499 h 279938"/>
                <a:gd name="connsiteX111" fmla="*/ 117701 w 203591"/>
                <a:gd name="connsiteY111" fmla="*/ 3499 h 279938"/>
                <a:gd name="connsiteX112" fmla="*/ 117383 w 203591"/>
                <a:gd name="connsiteY112" fmla="*/ 4135 h 279938"/>
                <a:gd name="connsiteX113" fmla="*/ 117383 w 203591"/>
                <a:gd name="connsiteY113" fmla="*/ 4772 h 279938"/>
                <a:gd name="connsiteX114" fmla="*/ 118656 w 203591"/>
                <a:gd name="connsiteY114" fmla="*/ 4772 h 279938"/>
                <a:gd name="connsiteX115" fmla="*/ 118974 w 203591"/>
                <a:gd name="connsiteY115" fmla="*/ 4454 h 279938"/>
                <a:gd name="connsiteX116" fmla="*/ 120246 w 203591"/>
                <a:gd name="connsiteY116" fmla="*/ 4135 h 279938"/>
                <a:gd name="connsiteX117" fmla="*/ 120882 w 203591"/>
                <a:gd name="connsiteY117" fmla="*/ 4454 h 279938"/>
                <a:gd name="connsiteX118" fmla="*/ 122791 w 203591"/>
                <a:gd name="connsiteY118" fmla="*/ 4772 h 279938"/>
                <a:gd name="connsiteX119" fmla="*/ 124063 w 203591"/>
                <a:gd name="connsiteY119" fmla="*/ 5726 h 279938"/>
                <a:gd name="connsiteX120" fmla="*/ 123745 w 203591"/>
                <a:gd name="connsiteY120" fmla="*/ 7953 h 279938"/>
                <a:gd name="connsiteX121" fmla="*/ 124382 w 203591"/>
                <a:gd name="connsiteY121" fmla="*/ 8907 h 279938"/>
                <a:gd name="connsiteX122" fmla="*/ 124700 w 203591"/>
                <a:gd name="connsiteY122" fmla="*/ 9543 h 279938"/>
                <a:gd name="connsiteX123" fmla="*/ 123745 w 203591"/>
                <a:gd name="connsiteY123" fmla="*/ 11134 h 279938"/>
                <a:gd name="connsiteX124" fmla="*/ 123427 w 203591"/>
                <a:gd name="connsiteY124" fmla="*/ 12088 h 279938"/>
                <a:gd name="connsiteX125" fmla="*/ 122155 w 203591"/>
                <a:gd name="connsiteY125" fmla="*/ 13361 h 279938"/>
                <a:gd name="connsiteX126" fmla="*/ 121837 w 203591"/>
                <a:gd name="connsiteY126" fmla="*/ 13997 h 279938"/>
                <a:gd name="connsiteX127" fmla="*/ 121519 w 203591"/>
                <a:gd name="connsiteY127" fmla="*/ 14951 h 279938"/>
                <a:gd name="connsiteX128" fmla="*/ 121201 w 203591"/>
                <a:gd name="connsiteY128" fmla="*/ 15269 h 279938"/>
                <a:gd name="connsiteX129" fmla="*/ 120882 w 203591"/>
                <a:gd name="connsiteY129" fmla="*/ 15587 h 279938"/>
                <a:gd name="connsiteX130" fmla="*/ 120882 w 203591"/>
                <a:gd name="connsiteY130" fmla="*/ 17178 h 279938"/>
                <a:gd name="connsiteX131" fmla="*/ 119928 w 203591"/>
                <a:gd name="connsiteY131" fmla="*/ 18769 h 279938"/>
                <a:gd name="connsiteX132" fmla="*/ 119928 w 203591"/>
                <a:gd name="connsiteY132" fmla="*/ 19087 h 279938"/>
                <a:gd name="connsiteX133" fmla="*/ 118974 w 203591"/>
                <a:gd name="connsiteY133" fmla="*/ 21313 h 279938"/>
                <a:gd name="connsiteX134" fmla="*/ 118656 w 203591"/>
                <a:gd name="connsiteY134" fmla="*/ 22586 h 279938"/>
                <a:gd name="connsiteX135" fmla="*/ 118656 w 203591"/>
                <a:gd name="connsiteY135" fmla="*/ 22904 h 279938"/>
                <a:gd name="connsiteX136" fmla="*/ 117701 w 203591"/>
                <a:gd name="connsiteY136" fmla="*/ 24176 h 279938"/>
                <a:gd name="connsiteX137" fmla="*/ 118020 w 203591"/>
                <a:gd name="connsiteY137" fmla="*/ 24495 h 279938"/>
                <a:gd name="connsiteX138" fmla="*/ 118020 w 203591"/>
                <a:gd name="connsiteY138" fmla="*/ 25131 h 279938"/>
                <a:gd name="connsiteX139" fmla="*/ 116429 w 203591"/>
                <a:gd name="connsiteY139" fmla="*/ 27040 h 279938"/>
                <a:gd name="connsiteX140" fmla="*/ 116747 w 203591"/>
                <a:gd name="connsiteY140" fmla="*/ 27358 h 279938"/>
                <a:gd name="connsiteX141" fmla="*/ 116747 w 203591"/>
                <a:gd name="connsiteY141" fmla="*/ 27676 h 279938"/>
                <a:gd name="connsiteX142" fmla="*/ 116429 w 203591"/>
                <a:gd name="connsiteY142" fmla="*/ 28312 h 279938"/>
                <a:gd name="connsiteX143" fmla="*/ 116429 w 203591"/>
                <a:gd name="connsiteY143" fmla="*/ 28630 h 279938"/>
                <a:gd name="connsiteX144" fmla="*/ 115475 w 203591"/>
                <a:gd name="connsiteY144" fmla="*/ 29584 h 279938"/>
                <a:gd name="connsiteX145" fmla="*/ 115475 w 203591"/>
                <a:gd name="connsiteY145" fmla="*/ 29903 h 279938"/>
                <a:gd name="connsiteX146" fmla="*/ 114838 w 203591"/>
                <a:gd name="connsiteY146" fmla="*/ 30857 h 279938"/>
                <a:gd name="connsiteX147" fmla="*/ 114202 w 203591"/>
                <a:gd name="connsiteY147" fmla="*/ 32447 h 279938"/>
                <a:gd name="connsiteX148" fmla="*/ 113884 w 203591"/>
                <a:gd name="connsiteY148" fmla="*/ 32766 h 279938"/>
                <a:gd name="connsiteX149" fmla="*/ 113884 w 203591"/>
                <a:gd name="connsiteY149" fmla="*/ 33402 h 279938"/>
                <a:gd name="connsiteX150" fmla="*/ 114202 w 203591"/>
                <a:gd name="connsiteY150" fmla="*/ 33720 h 279938"/>
                <a:gd name="connsiteX151" fmla="*/ 113248 w 203591"/>
                <a:gd name="connsiteY151" fmla="*/ 35629 h 279938"/>
                <a:gd name="connsiteX152" fmla="*/ 111657 w 203591"/>
                <a:gd name="connsiteY152" fmla="*/ 50898 h 279938"/>
                <a:gd name="connsiteX153" fmla="*/ 112611 w 203591"/>
                <a:gd name="connsiteY153" fmla="*/ 50262 h 279938"/>
                <a:gd name="connsiteX154" fmla="*/ 113248 w 203591"/>
                <a:gd name="connsiteY154" fmla="*/ 49944 h 279938"/>
                <a:gd name="connsiteX155" fmla="*/ 114520 w 203591"/>
                <a:gd name="connsiteY155" fmla="*/ 51216 h 279938"/>
                <a:gd name="connsiteX156" fmla="*/ 116111 w 203591"/>
                <a:gd name="connsiteY156" fmla="*/ 52488 h 279938"/>
                <a:gd name="connsiteX157" fmla="*/ 119292 w 203591"/>
                <a:gd name="connsiteY157" fmla="*/ 50898 h 279938"/>
                <a:gd name="connsiteX158" fmla="*/ 116111 w 203591"/>
                <a:gd name="connsiteY158" fmla="*/ 51534 h 279938"/>
                <a:gd name="connsiteX159" fmla="*/ 115475 w 203591"/>
                <a:gd name="connsiteY159" fmla="*/ 51216 h 279938"/>
                <a:gd name="connsiteX160" fmla="*/ 115475 w 203591"/>
                <a:gd name="connsiteY160" fmla="*/ 50898 h 279938"/>
                <a:gd name="connsiteX161" fmla="*/ 118338 w 203591"/>
                <a:gd name="connsiteY161" fmla="*/ 49944 h 279938"/>
                <a:gd name="connsiteX162" fmla="*/ 118974 w 203591"/>
                <a:gd name="connsiteY162" fmla="*/ 49625 h 279938"/>
                <a:gd name="connsiteX163" fmla="*/ 119610 w 203591"/>
                <a:gd name="connsiteY163" fmla="*/ 50262 h 279938"/>
                <a:gd name="connsiteX164" fmla="*/ 119292 w 203591"/>
                <a:gd name="connsiteY164" fmla="*/ 50898 h 279938"/>
                <a:gd name="connsiteX165" fmla="*/ 119928 w 203591"/>
                <a:gd name="connsiteY165" fmla="*/ 50580 h 279938"/>
                <a:gd name="connsiteX166" fmla="*/ 121519 w 203591"/>
                <a:gd name="connsiteY166" fmla="*/ 49944 h 279938"/>
                <a:gd name="connsiteX167" fmla="*/ 124700 w 203591"/>
                <a:gd name="connsiteY167" fmla="*/ 49307 h 279938"/>
                <a:gd name="connsiteX168" fmla="*/ 126608 w 203591"/>
                <a:gd name="connsiteY168" fmla="*/ 48989 h 279938"/>
                <a:gd name="connsiteX169" fmla="*/ 127563 w 203591"/>
                <a:gd name="connsiteY169" fmla="*/ 48989 h 279938"/>
                <a:gd name="connsiteX170" fmla="*/ 127245 w 203591"/>
                <a:gd name="connsiteY170" fmla="*/ 49625 h 279938"/>
                <a:gd name="connsiteX171" fmla="*/ 126608 w 203591"/>
                <a:gd name="connsiteY171" fmla="*/ 50262 h 279938"/>
                <a:gd name="connsiteX172" fmla="*/ 125972 w 203591"/>
                <a:gd name="connsiteY172" fmla="*/ 51216 h 279938"/>
                <a:gd name="connsiteX173" fmla="*/ 126290 w 203591"/>
                <a:gd name="connsiteY173" fmla="*/ 51534 h 279938"/>
                <a:gd name="connsiteX174" fmla="*/ 125972 w 203591"/>
                <a:gd name="connsiteY174" fmla="*/ 51852 h 279938"/>
                <a:gd name="connsiteX175" fmla="*/ 124700 w 203591"/>
                <a:gd name="connsiteY175" fmla="*/ 53443 h 279938"/>
                <a:gd name="connsiteX176" fmla="*/ 121837 w 203591"/>
                <a:gd name="connsiteY176" fmla="*/ 55670 h 279938"/>
                <a:gd name="connsiteX177" fmla="*/ 120882 w 203591"/>
                <a:gd name="connsiteY177" fmla="*/ 56306 h 279938"/>
                <a:gd name="connsiteX178" fmla="*/ 121837 w 203591"/>
                <a:gd name="connsiteY178" fmla="*/ 56942 h 279938"/>
                <a:gd name="connsiteX179" fmla="*/ 122473 w 203591"/>
                <a:gd name="connsiteY179" fmla="*/ 56306 h 279938"/>
                <a:gd name="connsiteX180" fmla="*/ 123427 w 203591"/>
                <a:gd name="connsiteY180" fmla="*/ 55670 h 279938"/>
                <a:gd name="connsiteX181" fmla="*/ 124700 w 203591"/>
                <a:gd name="connsiteY181" fmla="*/ 54715 h 279938"/>
                <a:gd name="connsiteX182" fmla="*/ 125972 w 203591"/>
                <a:gd name="connsiteY182" fmla="*/ 54715 h 279938"/>
                <a:gd name="connsiteX183" fmla="*/ 127881 w 203591"/>
                <a:gd name="connsiteY183" fmla="*/ 53443 h 279938"/>
                <a:gd name="connsiteX184" fmla="*/ 128199 w 203591"/>
                <a:gd name="connsiteY184" fmla="*/ 52807 h 279938"/>
                <a:gd name="connsiteX185" fmla="*/ 128517 w 203591"/>
                <a:gd name="connsiteY185" fmla="*/ 52488 h 279938"/>
                <a:gd name="connsiteX186" fmla="*/ 127881 w 203591"/>
                <a:gd name="connsiteY186" fmla="*/ 52170 h 279938"/>
                <a:gd name="connsiteX187" fmla="*/ 127245 w 203591"/>
                <a:gd name="connsiteY187" fmla="*/ 52170 h 279938"/>
                <a:gd name="connsiteX188" fmla="*/ 127563 w 203591"/>
                <a:gd name="connsiteY188" fmla="*/ 51534 h 279938"/>
                <a:gd name="connsiteX189" fmla="*/ 127881 w 203591"/>
                <a:gd name="connsiteY189" fmla="*/ 51216 h 279938"/>
                <a:gd name="connsiteX190" fmla="*/ 132016 w 203591"/>
                <a:gd name="connsiteY190" fmla="*/ 48989 h 279938"/>
                <a:gd name="connsiteX191" fmla="*/ 132653 w 203591"/>
                <a:gd name="connsiteY191" fmla="*/ 48671 h 279938"/>
                <a:gd name="connsiteX192" fmla="*/ 132971 w 203591"/>
                <a:gd name="connsiteY192" fmla="*/ 48989 h 279938"/>
                <a:gd name="connsiteX193" fmla="*/ 132971 w 203591"/>
                <a:gd name="connsiteY193" fmla="*/ 49625 h 279938"/>
                <a:gd name="connsiteX194" fmla="*/ 133289 w 203591"/>
                <a:gd name="connsiteY194" fmla="*/ 50898 h 279938"/>
                <a:gd name="connsiteX195" fmla="*/ 133925 w 203591"/>
                <a:gd name="connsiteY195" fmla="*/ 50898 h 279938"/>
                <a:gd name="connsiteX196" fmla="*/ 134879 w 203591"/>
                <a:gd name="connsiteY196" fmla="*/ 48353 h 279938"/>
                <a:gd name="connsiteX197" fmla="*/ 137106 w 203591"/>
                <a:gd name="connsiteY197" fmla="*/ 47081 h 279938"/>
                <a:gd name="connsiteX198" fmla="*/ 139969 w 203591"/>
                <a:gd name="connsiteY198" fmla="*/ 47081 h 279938"/>
                <a:gd name="connsiteX199" fmla="*/ 139651 w 203591"/>
                <a:gd name="connsiteY199" fmla="*/ 48353 h 279938"/>
                <a:gd name="connsiteX200" fmla="*/ 139333 w 203591"/>
                <a:gd name="connsiteY200" fmla="*/ 48671 h 279938"/>
                <a:gd name="connsiteX201" fmla="*/ 139333 w 203591"/>
                <a:gd name="connsiteY201" fmla="*/ 49307 h 279938"/>
                <a:gd name="connsiteX202" fmla="*/ 141242 w 203591"/>
                <a:gd name="connsiteY202" fmla="*/ 49625 h 279938"/>
                <a:gd name="connsiteX203" fmla="*/ 141560 w 203591"/>
                <a:gd name="connsiteY203" fmla="*/ 49625 h 279938"/>
                <a:gd name="connsiteX204" fmla="*/ 141560 w 203591"/>
                <a:gd name="connsiteY204" fmla="*/ 50580 h 279938"/>
                <a:gd name="connsiteX205" fmla="*/ 140287 w 203591"/>
                <a:gd name="connsiteY205" fmla="*/ 50898 h 279938"/>
                <a:gd name="connsiteX206" fmla="*/ 138697 w 203591"/>
                <a:gd name="connsiteY206" fmla="*/ 51534 h 279938"/>
                <a:gd name="connsiteX207" fmla="*/ 138378 w 203591"/>
                <a:gd name="connsiteY207" fmla="*/ 51852 h 279938"/>
                <a:gd name="connsiteX208" fmla="*/ 138378 w 203591"/>
                <a:gd name="connsiteY208" fmla="*/ 52488 h 279938"/>
                <a:gd name="connsiteX209" fmla="*/ 139333 w 203591"/>
                <a:gd name="connsiteY209" fmla="*/ 52488 h 279938"/>
                <a:gd name="connsiteX210" fmla="*/ 142832 w 203591"/>
                <a:gd name="connsiteY210" fmla="*/ 51852 h 279938"/>
                <a:gd name="connsiteX211" fmla="*/ 143787 w 203591"/>
                <a:gd name="connsiteY211" fmla="*/ 53125 h 279938"/>
                <a:gd name="connsiteX212" fmla="*/ 144423 w 203591"/>
                <a:gd name="connsiteY212" fmla="*/ 53443 h 279938"/>
                <a:gd name="connsiteX213" fmla="*/ 145059 w 203591"/>
                <a:gd name="connsiteY213" fmla="*/ 53125 h 279938"/>
                <a:gd name="connsiteX214" fmla="*/ 146331 w 203591"/>
                <a:gd name="connsiteY214" fmla="*/ 51534 h 279938"/>
                <a:gd name="connsiteX215" fmla="*/ 146331 w 203591"/>
                <a:gd name="connsiteY215" fmla="*/ 51216 h 279938"/>
                <a:gd name="connsiteX216" fmla="*/ 146013 w 203591"/>
                <a:gd name="connsiteY216" fmla="*/ 51216 h 279938"/>
                <a:gd name="connsiteX217" fmla="*/ 145695 w 203591"/>
                <a:gd name="connsiteY217" fmla="*/ 51534 h 279938"/>
                <a:gd name="connsiteX218" fmla="*/ 145377 w 203591"/>
                <a:gd name="connsiteY218" fmla="*/ 51534 h 279938"/>
                <a:gd name="connsiteX219" fmla="*/ 145695 w 203591"/>
                <a:gd name="connsiteY219" fmla="*/ 51216 h 279938"/>
                <a:gd name="connsiteX220" fmla="*/ 145695 w 203591"/>
                <a:gd name="connsiteY220" fmla="*/ 50898 h 279938"/>
                <a:gd name="connsiteX221" fmla="*/ 146650 w 203591"/>
                <a:gd name="connsiteY221" fmla="*/ 49625 h 279938"/>
                <a:gd name="connsiteX222" fmla="*/ 147286 w 203591"/>
                <a:gd name="connsiteY222" fmla="*/ 48353 h 279938"/>
                <a:gd name="connsiteX223" fmla="*/ 145695 w 203591"/>
                <a:gd name="connsiteY223" fmla="*/ 48671 h 279938"/>
                <a:gd name="connsiteX224" fmla="*/ 144105 w 203591"/>
                <a:gd name="connsiteY224" fmla="*/ 48353 h 279938"/>
                <a:gd name="connsiteX225" fmla="*/ 144423 w 203591"/>
                <a:gd name="connsiteY225" fmla="*/ 48035 h 279938"/>
                <a:gd name="connsiteX226" fmla="*/ 144423 w 203591"/>
                <a:gd name="connsiteY226" fmla="*/ 47717 h 279938"/>
                <a:gd name="connsiteX227" fmla="*/ 144741 w 203591"/>
                <a:gd name="connsiteY227" fmla="*/ 46762 h 279938"/>
                <a:gd name="connsiteX228" fmla="*/ 145695 w 203591"/>
                <a:gd name="connsiteY228" fmla="*/ 47081 h 279938"/>
                <a:gd name="connsiteX229" fmla="*/ 146650 w 203591"/>
                <a:gd name="connsiteY229" fmla="*/ 48035 h 279938"/>
                <a:gd name="connsiteX230" fmla="*/ 147922 w 203591"/>
                <a:gd name="connsiteY230" fmla="*/ 46444 h 279938"/>
                <a:gd name="connsiteX231" fmla="*/ 151421 w 203591"/>
                <a:gd name="connsiteY231" fmla="*/ 46444 h 279938"/>
                <a:gd name="connsiteX232" fmla="*/ 156511 w 203591"/>
                <a:gd name="connsiteY232" fmla="*/ 45172 h 279938"/>
                <a:gd name="connsiteX233" fmla="*/ 158738 w 203591"/>
                <a:gd name="connsiteY233" fmla="*/ 45172 h 279938"/>
                <a:gd name="connsiteX234" fmla="*/ 159374 w 203591"/>
                <a:gd name="connsiteY234" fmla="*/ 47081 h 279938"/>
                <a:gd name="connsiteX235" fmla="*/ 160010 w 203591"/>
                <a:gd name="connsiteY235" fmla="*/ 47717 h 279938"/>
                <a:gd name="connsiteX236" fmla="*/ 161601 w 203591"/>
                <a:gd name="connsiteY236" fmla="*/ 47399 h 279938"/>
                <a:gd name="connsiteX237" fmla="*/ 162873 w 203591"/>
                <a:gd name="connsiteY237" fmla="*/ 47399 h 279938"/>
                <a:gd name="connsiteX238" fmla="*/ 162237 w 203591"/>
                <a:gd name="connsiteY238" fmla="*/ 48989 h 279938"/>
                <a:gd name="connsiteX239" fmla="*/ 162873 w 203591"/>
                <a:gd name="connsiteY239" fmla="*/ 50580 h 279938"/>
                <a:gd name="connsiteX240" fmla="*/ 163827 w 203591"/>
                <a:gd name="connsiteY240" fmla="*/ 50898 h 279938"/>
                <a:gd name="connsiteX241" fmla="*/ 163509 w 203591"/>
                <a:gd name="connsiteY241" fmla="*/ 51216 h 279938"/>
                <a:gd name="connsiteX242" fmla="*/ 162873 w 203591"/>
                <a:gd name="connsiteY242" fmla="*/ 52170 h 279938"/>
                <a:gd name="connsiteX243" fmla="*/ 162237 w 203591"/>
                <a:gd name="connsiteY243" fmla="*/ 53125 h 279938"/>
                <a:gd name="connsiteX244" fmla="*/ 163509 w 203591"/>
                <a:gd name="connsiteY244" fmla="*/ 52170 h 279938"/>
                <a:gd name="connsiteX245" fmla="*/ 165418 w 203591"/>
                <a:gd name="connsiteY245" fmla="*/ 51216 h 279938"/>
                <a:gd name="connsiteX246" fmla="*/ 166054 w 203591"/>
                <a:gd name="connsiteY246" fmla="*/ 50898 h 279938"/>
                <a:gd name="connsiteX247" fmla="*/ 166372 w 203591"/>
                <a:gd name="connsiteY247" fmla="*/ 51216 h 279938"/>
                <a:gd name="connsiteX248" fmla="*/ 167327 w 203591"/>
                <a:gd name="connsiteY248" fmla="*/ 50580 h 279938"/>
                <a:gd name="connsiteX249" fmla="*/ 167963 w 203591"/>
                <a:gd name="connsiteY249" fmla="*/ 48671 h 279938"/>
                <a:gd name="connsiteX250" fmla="*/ 167963 w 203591"/>
                <a:gd name="connsiteY250" fmla="*/ 48353 h 279938"/>
                <a:gd name="connsiteX251" fmla="*/ 168917 w 203591"/>
                <a:gd name="connsiteY251" fmla="*/ 46762 h 279938"/>
                <a:gd name="connsiteX252" fmla="*/ 170826 w 203591"/>
                <a:gd name="connsiteY252" fmla="*/ 44854 h 279938"/>
                <a:gd name="connsiteX253" fmla="*/ 171780 w 203591"/>
                <a:gd name="connsiteY253" fmla="*/ 44854 h 279938"/>
                <a:gd name="connsiteX254" fmla="*/ 172735 w 203591"/>
                <a:gd name="connsiteY254" fmla="*/ 45172 h 279938"/>
                <a:gd name="connsiteX255" fmla="*/ 175916 w 203591"/>
                <a:gd name="connsiteY255" fmla="*/ 43899 h 279938"/>
                <a:gd name="connsiteX256" fmla="*/ 176552 w 203591"/>
                <a:gd name="connsiteY256" fmla="*/ 43899 h 279938"/>
                <a:gd name="connsiteX257" fmla="*/ 177506 w 203591"/>
                <a:gd name="connsiteY257" fmla="*/ 44218 h 279938"/>
                <a:gd name="connsiteX258" fmla="*/ 179415 w 203591"/>
                <a:gd name="connsiteY258" fmla="*/ 43899 h 279938"/>
                <a:gd name="connsiteX259" fmla="*/ 182278 w 203591"/>
                <a:gd name="connsiteY259" fmla="*/ 44536 h 279938"/>
                <a:gd name="connsiteX260" fmla="*/ 185777 w 203591"/>
                <a:gd name="connsiteY260" fmla="*/ 43899 h 279938"/>
                <a:gd name="connsiteX261" fmla="*/ 187050 w 203591"/>
                <a:gd name="connsiteY261" fmla="*/ 43899 h 279938"/>
                <a:gd name="connsiteX262" fmla="*/ 187050 w 203591"/>
                <a:gd name="connsiteY262" fmla="*/ 44218 h 279938"/>
                <a:gd name="connsiteX263" fmla="*/ 187368 w 203591"/>
                <a:gd name="connsiteY263" fmla="*/ 44536 h 279938"/>
                <a:gd name="connsiteX264" fmla="*/ 188004 w 203591"/>
                <a:gd name="connsiteY264" fmla="*/ 44218 h 279938"/>
                <a:gd name="connsiteX265" fmla="*/ 189276 w 203591"/>
                <a:gd name="connsiteY265" fmla="*/ 44218 h 279938"/>
                <a:gd name="connsiteX266" fmla="*/ 191503 w 203591"/>
                <a:gd name="connsiteY266" fmla="*/ 45172 h 279938"/>
                <a:gd name="connsiteX267" fmla="*/ 192139 w 203591"/>
                <a:gd name="connsiteY267" fmla="*/ 45808 h 279938"/>
                <a:gd name="connsiteX268" fmla="*/ 193412 w 203591"/>
                <a:gd name="connsiteY268" fmla="*/ 45490 h 279938"/>
                <a:gd name="connsiteX269" fmla="*/ 194048 w 203591"/>
                <a:gd name="connsiteY269" fmla="*/ 45490 h 279938"/>
                <a:gd name="connsiteX270" fmla="*/ 196593 w 203591"/>
                <a:gd name="connsiteY270" fmla="*/ 44854 h 279938"/>
                <a:gd name="connsiteX271" fmla="*/ 198184 w 203591"/>
                <a:gd name="connsiteY271" fmla="*/ 45808 h 279938"/>
                <a:gd name="connsiteX272" fmla="*/ 200729 w 203591"/>
                <a:gd name="connsiteY272" fmla="*/ 45808 h 279938"/>
                <a:gd name="connsiteX273" fmla="*/ 202001 w 203591"/>
                <a:gd name="connsiteY273" fmla="*/ 45490 h 279938"/>
                <a:gd name="connsiteX274" fmla="*/ 203591 w 203591"/>
                <a:gd name="connsiteY274" fmla="*/ 46444 h 279938"/>
                <a:gd name="connsiteX275" fmla="*/ 204228 w 203591"/>
                <a:gd name="connsiteY275" fmla="*/ 47399 h 279938"/>
                <a:gd name="connsiteX276" fmla="*/ 204228 w 203591"/>
                <a:gd name="connsiteY276" fmla="*/ 47717 h 279938"/>
                <a:gd name="connsiteX277" fmla="*/ 204864 w 203591"/>
                <a:gd name="connsiteY277" fmla="*/ 50262 h 279938"/>
                <a:gd name="connsiteX278" fmla="*/ 204864 w 203591"/>
                <a:gd name="connsiteY278" fmla="*/ 50898 h 279938"/>
                <a:gd name="connsiteX279" fmla="*/ 205818 w 203591"/>
                <a:gd name="connsiteY279" fmla="*/ 52170 h 279938"/>
                <a:gd name="connsiteX280" fmla="*/ 205182 w 203591"/>
                <a:gd name="connsiteY280" fmla="*/ 53761 h 279938"/>
                <a:gd name="connsiteX281" fmla="*/ 205182 w 203591"/>
                <a:gd name="connsiteY281" fmla="*/ 57260 h 279938"/>
                <a:gd name="connsiteX282" fmla="*/ 203910 w 203591"/>
                <a:gd name="connsiteY282" fmla="*/ 58533 h 279938"/>
                <a:gd name="connsiteX283" fmla="*/ 202955 w 203591"/>
                <a:gd name="connsiteY283" fmla="*/ 59487 h 279938"/>
                <a:gd name="connsiteX284" fmla="*/ 200729 w 203591"/>
                <a:gd name="connsiteY284" fmla="*/ 61077 h 279938"/>
                <a:gd name="connsiteX285" fmla="*/ 200092 w 203591"/>
                <a:gd name="connsiteY285" fmla="*/ 61714 h 279938"/>
                <a:gd name="connsiteX286" fmla="*/ 199138 w 203591"/>
                <a:gd name="connsiteY286" fmla="*/ 61714 h 279938"/>
                <a:gd name="connsiteX287" fmla="*/ 196593 w 203591"/>
                <a:gd name="connsiteY287" fmla="*/ 62668 h 279938"/>
                <a:gd name="connsiteX288" fmla="*/ 192457 w 203591"/>
                <a:gd name="connsiteY288" fmla="*/ 63940 h 279938"/>
                <a:gd name="connsiteX289" fmla="*/ 191185 w 203591"/>
                <a:gd name="connsiteY289" fmla="*/ 64259 h 279938"/>
                <a:gd name="connsiteX290" fmla="*/ 188004 w 203591"/>
                <a:gd name="connsiteY290" fmla="*/ 64895 h 279938"/>
                <a:gd name="connsiteX291" fmla="*/ 187050 w 203591"/>
                <a:gd name="connsiteY291" fmla="*/ 64895 h 279938"/>
                <a:gd name="connsiteX292" fmla="*/ 186414 w 203591"/>
                <a:gd name="connsiteY292" fmla="*/ 65213 h 279938"/>
                <a:gd name="connsiteX293" fmla="*/ 186414 w 203591"/>
                <a:gd name="connsiteY293" fmla="*/ 64895 h 279938"/>
                <a:gd name="connsiteX294" fmla="*/ 185141 w 203591"/>
                <a:gd name="connsiteY294" fmla="*/ 63304 h 279938"/>
                <a:gd name="connsiteX295" fmla="*/ 185777 w 203591"/>
                <a:gd name="connsiteY295" fmla="*/ 62668 h 279938"/>
                <a:gd name="connsiteX296" fmla="*/ 187368 w 203591"/>
                <a:gd name="connsiteY296" fmla="*/ 61396 h 279938"/>
                <a:gd name="connsiteX297" fmla="*/ 185141 w 203591"/>
                <a:gd name="connsiteY297" fmla="*/ 61396 h 279938"/>
                <a:gd name="connsiteX298" fmla="*/ 184823 w 203591"/>
                <a:gd name="connsiteY298" fmla="*/ 61077 h 279938"/>
                <a:gd name="connsiteX299" fmla="*/ 186414 w 203591"/>
                <a:gd name="connsiteY299" fmla="*/ 59487 h 279938"/>
                <a:gd name="connsiteX300" fmla="*/ 187050 w 203591"/>
                <a:gd name="connsiteY300" fmla="*/ 59487 h 279938"/>
                <a:gd name="connsiteX301" fmla="*/ 188004 w 203591"/>
                <a:gd name="connsiteY301" fmla="*/ 58533 h 279938"/>
                <a:gd name="connsiteX302" fmla="*/ 188004 w 203591"/>
                <a:gd name="connsiteY302" fmla="*/ 58214 h 279938"/>
                <a:gd name="connsiteX303" fmla="*/ 187050 w 203591"/>
                <a:gd name="connsiteY303" fmla="*/ 57896 h 279938"/>
                <a:gd name="connsiteX304" fmla="*/ 186414 w 203591"/>
                <a:gd name="connsiteY304" fmla="*/ 58214 h 279938"/>
                <a:gd name="connsiteX305" fmla="*/ 186095 w 203591"/>
                <a:gd name="connsiteY305" fmla="*/ 58214 h 279938"/>
                <a:gd name="connsiteX306" fmla="*/ 186414 w 203591"/>
                <a:gd name="connsiteY306" fmla="*/ 57896 h 279938"/>
                <a:gd name="connsiteX307" fmla="*/ 186732 w 203591"/>
                <a:gd name="connsiteY307" fmla="*/ 57260 h 279938"/>
                <a:gd name="connsiteX308" fmla="*/ 185141 w 203591"/>
                <a:gd name="connsiteY308" fmla="*/ 56624 h 279938"/>
                <a:gd name="connsiteX309" fmla="*/ 184187 w 203591"/>
                <a:gd name="connsiteY309" fmla="*/ 56624 h 279938"/>
                <a:gd name="connsiteX310" fmla="*/ 183232 w 203591"/>
                <a:gd name="connsiteY310" fmla="*/ 57260 h 279938"/>
                <a:gd name="connsiteX311" fmla="*/ 181642 w 203591"/>
                <a:gd name="connsiteY311" fmla="*/ 57896 h 279938"/>
                <a:gd name="connsiteX312" fmla="*/ 180051 w 203591"/>
                <a:gd name="connsiteY312" fmla="*/ 57896 h 279938"/>
                <a:gd name="connsiteX313" fmla="*/ 176552 w 203591"/>
                <a:gd name="connsiteY313" fmla="*/ 57260 h 279938"/>
                <a:gd name="connsiteX314" fmla="*/ 172099 w 203591"/>
                <a:gd name="connsiteY314" fmla="*/ 57260 h 279938"/>
                <a:gd name="connsiteX315" fmla="*/ 171462 w 203591"/>
                <a:gd name="connsiteY315" fmla="*/ 56942 h 279938"/>
                <a:gd name="connsiteX316" fmla="*/ 171144 w 203591"/>
                <a:gd name="connsiteY316" fmla="*/ 56306 h 279938"/>
                <a:gd name="connsiteX317" fmla="*/ 171144 w 203591"/>
                <a:gd name="connsiteY317" fmla="*/ 55670 h 279938"/>
                <a:gd name="connsiteX318" fmla="*/ 171780 w 203591"/>
                <a:gd name="connsiteY318" fmla="*/ 54397 h 279938"/>
                <a:gd name="connsiteX319" fmla="*/ 171462 w 203591"/>
                <a:gd name="connsiteY319" fmla="*/ 54079 h 279938"/>
                <a:gd name="connsiteX320" fmla="*/ 170190 w 203591"/>
                <a:gd name="connsiteY320" fmla="*/ 55351 h 279938"/>
                <a:gd name="connsiteX321" fmla="*/ 168599 w 203591"/>
                <a:gd name="connsiteY321" fmla="*/ 55988 h 279938"/>
                <a:gd name="connsiteX322" fmla="*/ 168281 w 203591"/>
                <a:gd name="connsiteY322" fmla="*/ 55988 h 279938"/>
                <a:gd name="connsiteX323" fmla="*/ 168599 w 203591"/>
                <a:gd name="connsiteY323" fmla="*/ 55351 h 279938"/>
                <a:gd name="connsiteX324" fmla="*/ 168281 w 203591"/>
                <a:gd name="connsiteY324" fmla="*/ 55351 h 279938"/>
                <a:gd name="connsiteX325" fmla="*/ 167327 w 203591"/>
                <a:gd name="connsiteY325" fmla="*/ 56306 h 279938"/>
                <a:gd name="connsiteX326" fmla="*/ 165736 w 203591"/>
                <a:gd name="connsiteY326" fmla="*/ 57578 h 279938"/>
                <a:gd name="connsiteX327" fmla="*/ 163827 w 203591"/>
                <a:gd name="connsiteY327" fmla="*/ 57260 h 279938"/>
                <a:gd name="connsiteX328" fmla="*/ 162237 w 203591"/>
                <a:gd name="connsiteY328" fmla="*/ 57896 h 279938"/>
                <a:gd name="connsiteX329" fmla="*/ 160965 w 203591"/>
                <a:gd name="connsiteY329" fmla="*/ 58214 h 279938"/>
                <a:gd name="connsiteX330" fmla="*/ 159374 w 203591"/>
                <a:gd name="connsiteY330" fmla="*/ 57896 h 279938"/>
                <a:gd name="connsiteX331" fmla="*/ 158738 w 203591"/>
                <a:gd name="connsiteY331" fmla="*/ 57896 h 279938"/>
                <a:gd name="connsiteX332" fmla="*/ 158102 w 203591"/>
                <a:gd name="connsiteY332" fmla="*/ 57578 h 279938"/>
                <a:gd name="connsiteX333" fmla="*/ 157465 w 203591"/>
                <a:gd name="connsiteY333" fmla="*/ 57578 h 279938"/>
                <a:gd name="connsiteX334" fmla="*/ 155557 w 203591"/>
                <a:gd name="connsiteY334" fmla="*/ 57896 h 279938"/>
                <a:gd name="connsiteX335" fmla="*/ 153648 w 203591"/>
                <a:gd name="connsiteY335" fmla="*/ 57260 h 279938"/>
                <a:gd name="connsiteX336" fmla="*/ 153012 w 203591"/>
                <a:gd name="connsiteY336" fmla="*/ 57578 h 279938"/>
                <a:gd name="connsiteX337" fmla="*/ 151739 w 203591"/>
                <a:gd name="connsiteY337" fmla="*/ 56942 h 279938"/>
                <a:gd name="connsiteX338" fmla="*/ 151103 w 203591"/>
                <a:gd name="connsiteY338" fmla="*/ 56624 h 279938"/>
                <a:gd name="connsiteX339" fmla="*/ 150149 w 203591"/>
                <a:gd name="connsiteY339" fmla="*/ 56942 h 279938"/>
                <a:gd name="connsiteX340" fmla="*/ 149194 w 203591"/>
                <a:gd name="connsiteY340" fmla="*/ 57896 h 279938"/>
                <a:gd name="connsiteX341" fmla="*/ 148876 w 203591"/>
                <a:gd name="connsiteY341" fmla="*/ 57896 h 279938"/>
                <a:gd name="connsiteX342" fmla="*/ 148876 w 203591"/>
                <a:gd name="connsiteY342" fmla="*/ 57578 h 279938"/>
                <a:gd name="connsiteX343" fmla="*/ 148240 w 203591"/>
                <a:gd name="connsiteY343" fmla="*/ 57260 h 279938"/>
                <a:gd name="connsiteX344" fmla="*/ 146331 w 203591"/>
                <a:gd name="connsiteY344" fmla="*/ 58533 h 279938"/>
                <a:gd name="connsiteX345" fmla="*/ 146331 w 203591"/>
                <a:gd name="connsiteY345" fmla="*/ 57896 h 279938"/>
                <a:gd name="connsiteX346" fmla="*/ 146013 w 203591"/>
                <a:gd name="connsiteY346" fmla="*/ 57578 h 279938"/>
                <a:gd name="connsiteX347" fmla="*/ 145377 w 203591"/>
                <a:gd name="connsiteY347" fmla="*/ 58214 h 279938"/>
                <a:gd name="connsiteX348" fmla="*/ 144105 w 203591"/>
                <a:gd name="connsiteY348" fmla="*/ 58533 h 279938"/>
                <a:gd name="connsiteX349" fmla="*/ 143787 w 203591"/>
                <a:gd name="connsiteY349" fmla="*/ 58533 h 279938"/>
                <a:gd name="connsiteX350" fmla="*/ 143787 w 203591"/>
                <a:gd name="connsiteY350" fmla="*/ 57896 h 279938"/>
                <a:gd name="connsiteX351" fmla="*/ 143469 w 203591"/>
                <a:gd name="connsiteY351" fmla="*/ 57896 h 279938"/>
                <a:gd name="connsiteX352" fmla="*/ 141878 w 203591"/>
                <a:gd name="connsiteY352" fmla="*/ 58851 h 279938"/>
                <a:gd name="connsiteX353" fmla="*/ 141242 w 203591"/>
                <a:gd name="connsiteY353" fmla="*/ 58851 h 279938"/>
                <a:gd name="connsiteX354" fmla="*/ 138060 w 203591"/>
                <a:gd name="connsiteY354" fmla="*/ 58214 h 279938"/>
                <a:gd name="connsiteX355" fmla="*/ 137742 w 203591"/>
                <a:gd name="connsiteY355" fmla="*/ 57896 h 279938"/>
                <a:gd name="connsiteX356" fmla="*/ 137106 w 203591"/>
                <a:gd name="connsiteY356" fmla="*/ 57260 h 279938"/>
                <a:gd name="connsiteX357" fmla="*/ 135834 w 203591"/>
                <a:gd name="connsiteY357" fmla="*/ 57896 h 279938"/>
                <a:gd name="connsiteX358" fmla="*/ 135516 w 203591"/>
                <a:gd name="connsiteY358" fmla="*/ 58214 h 279938"/>
                <a:gd name="connsiteX359" fmla="*/ 134879 w 203591"/>
                <a:gd name="connsiteY359" fmla="*/ 57896 h 279938"/>
                <a:gd name="connsiteX360" fmla="*/ 130744 w 203591"/>
                <a:gd name="connsiteY360" fmla="*/ 59169 h 279938"/>
                <a:gd name="connsiteX361" fmla="*/ 129472 w 203591"/>
                <a:gd name="connsiteY361" fmla="*/ 59487 h 279938"/>
                <a:gd name="connsiteX362" fmla="*/ 128199 w 203591"/>
                <a:gd name="connsiteY362" fmla="*/ 59487 h 279938"/>
                <a:gd name="connsiteX363" fmla="*/ 127245 w 203591"/>
                <a:gd name="connsiteY363" fmla="*/ 59805 h 279938"/>
                <a:gd name="connsiteX364" fmla="*/ 121837 w 203591"/>
                <a:gd name="connsiteY364" fmla="*/ 61077 h 279938"/>
                <a:gd name="connsiteX365" fmla="*/ 119610 w 203591"/>
                <a:gd name="connsiteY365" fmla="*/ 61396 h 279938"/>
                <a:gd name="connsiteX366" fmla="*/ 118338 w 203591"/>
                <a:gd name="connsiteY366" fmla="*/ 61396 h 279938"/>
                <a:gd name="connsiteX367" fmla="*/ 113884 w 203591"/>
                <a:gd name="connsiteY367" fmla="*/ 62350 h 279938"/>
                <a:gd name="connsiteX368" fmla="*/ 113248 w 203591"/>
                <a:gd name="connsiteY368" fmla="*/ 62032 h 279938"/>
                <a:gd name="connsiteX369" fmla="*/ 113248 w 203591"/>
                <a:gd name="connsiteY369" fmla="*/ 60123 h 279938"/>
                <a:gd name="connsiteX370" fmla="*/ 113884 w 203591"/>
                <a:gd name="connsiteY370" fmla="*/ 59487 h 279938"/>
                <a:gd name="connsiteX371" fmla="*/ 113566 w 203591"/>
                <a:gd name="connsiteY371" fmla="*/ 59169 h 279938"/>
                <a:gd name="connsiteX372" fmla="*/ 113248 w 203591"/>
                <a:gd name="connsiteY372" fmla="*/ 59487 h 279938"/>
                <a:gd name="connsiteX373" fmla="*/ 112611 w 203591"/>
                <a:gd name="connsiteY373" fmla="*/ 59805 h 279938"/>
                <a:gd name="connsiteX374" fmla="*/ 110385 w 203591"/>
                <a:gd name="connsiteY374" fmla="*/ 61396 h 279938"/>
                <a:gd name="connsiteX375" fmla="*/ 109430 w 203591"/>
                <a:gd name="connsiteY375" fmla="*/ 61396 h 279938"/>
                <a:gd name="connsiteX376" fmla="*/ 107204 w 203591"/>
                <a:gd name="connsiteY376" fmla="*/ 62350 h 279938"/>
                <a:gd name="connsiteX377" fmla="*/ 97978 w 203591"/>
                <a:gd name="connsiteY377" fmla="*/ 75393 h 279938"/>
                <a:gd name="connsiteX378" fmla="*/ 97342 w 203591"/>
                <a:gd name="connsiteY378" fmla="*/ 74120 h 279938"/>
                <a:gd name="connsiteX379" fmla="*/ 97342 w 203591"/>
                <a:gd name="connsiteY379" fmla="*/ 73802 h 279938"/>
                <a:gd name="connsiteX380" fmla="*/ 96706 w 203591"/>
                <a:gd name="connsiteY380" fmla="*/ 74120 h 279938"/>
                <a:gd name="connsiteX381" fmla="*/ 96388 w 203591"/>
                <a:gd name="connsiteY381" fmla="*/ 74438 h 279938"/>
                <a:gd name="connsiteX382" fmla="*/ 97660 w 203591"/>
                <a:gd name="connsiteY382" fmla="*/ 77619 h 279938"/>
                <a:gd name="connsiteX383" fmla="*/ 97660 w 203591"/>
                <a:gd name="connsiteY383" fmla="*/ 77937 h 279938"/>
                <a:gd name="connsiteX384" fmla="*/ 97024 w 203591"/>
                <a:gd name="connsiteY384" fmla="*/ 79528 h 279938"/>
                <a:gd name="connsiteX385" fmla="*/ 96070 w 203591"/>
                <a:gd name="connsiteY385" fmla="*/ 80164 h 279938"/>
                <a:gd name="connsiteX386" fmla="*/ 96706 w 203591"/>
                <a:gd name="connsiteY386" fmla="*/ 80800 h 279938"/>
                <a:gd name="connsiteX387" fmla="*/ 97024 w 203591"/>
                <a:gd name="connsiteY387" fmla="*/ 81437 h 279938"/>
                <a:gd name="connsiteX388" fmla="*/ 96706 w 203591"/>
                <a:gd name="connsiteY388" fmla="*/ 83027 h 279938"/>
                <a:gd name="connsiteX389" fmla="*/ 95752 w 203591"/>
                <a:gd name="connsiteY389" fmla="*/ 83663 h 279938"/>
                <a:gd name="connsiteX390" fmla="*/ 94797 w 203591"/>
                <a:gd name="connsiteY390" fmla="*/ 84300 h 279938"/>
                <a:gd name="connsiteX391" fmla="*/ 93843 w 203591"/>
                <a:gd name="connsiteY391" fmla="*/ 84936 h 279938"/>
                <a:gd name="connsiteX392" fmla="*/ 94797 w 203591"/>
                <a:gd name="connsiteY392" fmla="*/ 85572 h 279938"/>
                <a:gd name="connsiteX393" fmla="*/ 95115 w 203591"/>
                <a:gd name="connsiteY393" fmla="*/ 86208 h 279938"/>
                <a:gd name="connsiteX394" fmla="*/ 93843 w 203591"/>
                <a:gd name="connsiteY394" fmla="*/ 87481 h 279938"/>
                <a:gd name="connsiteX395" fmla="*/ 93843 w 203591"/>
                <a:gd name="connsiteY395" fmla="*/ 87799 h 279938"/>
                <a:gd name="connsiteX396" fmla="*/ 89071 w 203591"/>
                <a:gd name="connsiteY396" fmla="*/ 106567 h 279938"/>
                <a:gd name="connsiteX397" fmla="*/ 88117 w 203591"/>
                <a:gd name="connsiteY397" fmla="*/ 109112 h 279938"/>
                <a:gd name="connsiteX398" fmla="*/ 88117 w 203591"/>
                <a:gd name="connsiteY398" fmla="*/ 111339 h 279938"/>
                <a:gd name="connsiteX399" fmla="*/ 87163 w 203591"/>
                <a:gd name="connsiteY399" fmla="*/ 112293 h 279938"/>
                <a:gd name="connsiteX400" fmla="*/ 87481 w 203591"/>
                <a:gd name="connsiteY400" fmla="*/ 112612 h 279938"/>
                <a:gd name="connsiteX401" fmla="*/ 87163 w 203591"/>
                <a:gd name="connsiteY401" fmla="*/ 113884 h 279938"/>
                <a:gd name="connsiteX402" fmla="*/ 87163 w 203591"/>
                <a:gd name="connsiteY402" fmla="*/ 114520 h 279938"/>
                <a:gd name="connsiteX403" fmla="*/ 85572 w 203591"/>
                <a:gd name="connsiteY403" fmla="*/ 117383 h 279938"/>
                <a:gd name="connsiteX404" fmla="*/ 84936 w 203591"/>
                <a:gd name="connsiteY404" fmla="*/ 118338 h 279938"/>
                <a:gd name="connsiteX405" fmla="*/ 85890 w 203591"/>
                <a:gd name="connsiteY405" fmla="*/ 118974 h 279938"/>
                <a:gd name="connsiteX406" fmla="*/ 85254 w 203591"/>
                <a:gd name="connsiteY406" fmla="*/ 119610 h 279938"/>
                <a:gd name="connsiteX407" fmla="*/ 85572 w 203591"/>
                <a:gd name="connsiteY407" fmla="*/ 119928 h 279938"/>
                <a:gd name="connsiteX408" fmla="*/ 85572 w 203591"/>
                <a:gd name="connsiteY408" fmla="*/ 120882 h 279938"/>
                <a:gd name="connsiteX409" fmla="*/ 84936 w 203591"/>
                <a:gd name="connsiteY409" fmla="*/ 120882 h 279938"/>
                <a:gd name="connsiteX410" fmla="*/ 85254 w 203591"/>
                <a:gd name="connsiteY410" fmla="*/ 122473 h 279938"/>
                <a:gd name="connsiteX411" fmla="*/ 84299 w 203591"/>
                <a:gd name="connsiteY411" fmla="*/ 123745 h 279938"/>
                <a:gd name="connsiteX412" fmla="*/ 84618 w 203591"/>
                <a:gd name="connsiteY412" fmla="*/ 124382 h 279938"/>
                <a:gd name="connsiteX413" fmla="*/ 84618 w 203591"/>
                <a:gd name="connsiteY413" fmla="*/ 124700 h 279938"/>
                <a:gd name="connsiteX414" fmla="*/ 83981 w 203591"/>
                <a:gd name="connsiteY414" fmla="*/ 125336 h 279938"/>
                <a:gd name="connsiteX415" fmla="*/ 83663 w 203591"/>
                <a:gd name="connsiteY415" fmla="*/ 127563 h 279938"/>
                <a:gd name="connsiteX416" fmla="*/ 83345 w 203591"/>
                <a:gd name="connsiteY416" fmla="*/ 128517 h 279938"/>
                <a:gd name="connsiteX417" fmla="*/ 82709 w 203591"/>
                <a:gd name="connsiteY417" fmla="*/ 130108 h 279938"/>
                <a:gd name="connsiteX418" fmla="*/ 83027 w 203591"/>
                <a:gd name="connsiteY418" fmla="*/ 130744 h 279938"/>
                <a:gd name="connsiteX419" fmla="*/ 83027 w 203591"/>
                <a:gd name="connsiteY419" fmla="*/ 131380 h 279938"/>
                <a:gd name="connsiteX420" fmla="*/ 82391 w 203591"/>
                <a:gd name="connsiteY420" fmla="*/ 133289 h 279938"/>
                <a:gd name="connsiteX421" fmla="*/ 81755 w 203591"/>
                <a:gd name="connsiteY421" fmla="*/ 134243 h 279938"/>
                <a:gd name="connsiteX422" fmla="*/ 80164 w 203591"/>
                <a:gd name="connsiteY422" fmla="*/ 135198 h 279938"/>
                <a:gd name="connsiteX423" fmla="*/ 80800 w 203591"/>
                <a:gd name="connsiteY423" fmla="*/ 135516 h 279938"/>
                <a:gd name="connsiteX424" fmla="*/ 81118 w 203591"/>
                <a:gd name="connsiteY424" fmla="*/ 136152 h 279938"/>
                <a:gd name="connsiteX425" fmla="*/ 81118 w 203591"/>
                <a:gd name="connsiteY425" fmla="*/ 136788 h 279938"/>
                <a:gd name="connsiteX426" fmla="*/ 79528 w 203591"/>
                <a:gd name="connsiteY426" fmla="*/ 139015 h 279938"/>
                <a:gd name="connsiteX427" fmla="*/ 78892 w 203591"/>
                <a:gd name="connsiteY427" fmla="*/ 139651 h 279938"/>
                <a:gd name="connsiteX428" fmla="*/ 79210 w 203591"/>
                <a:gd name="connsiteY428" fmla="*/ 139969 h 279938"/>
                <a:gd name="connsiteX429" fmla="*/ 79528 w 203591"/>
                <a:gd name="connsiteY429" fmla="*/ 140924 h 279938"/>
                <a:gd name="connsiteX430" fmla="*/ 79846 w 203591"/>
                <a:gd name="connsiteY430" fmla="*/ 141560 h 279938"/>
                <a:gd name="connsiteX431" fmla="*/ 79528 w 203591"/>
                <a:gd name="connsiteY431" fmla="*/ 141878 h 279938"/>
                <a:gd name="connsiteX432" fmla="*/ 79846 w 203591"/>
                <a:gd name="connsiteY432" fmla="*/ 142514 h 279938"/>
                <a:gd name="connsiteX433" fmla="*/ 80482 w 203591"/>
                <a:gd name="connsiteY433" fmla="*/ 142514 h 279938"/>
                <a:gd name="connsiteX434" fmla="*/ 80482 w 203591"/>
                <a:gd name="connsiteY434" fmla="*/ 142832 h 279938"/>
                <a:gd name="connsiteX435" fmla="*/ 80164 w 203591"/>
                <a:gd name="connsiteY435" fmla="*/ 143150 h 279938"/>
                <a:gd name="connsiteX436" fmla="*/ 79528 w 203591"/>
                <a:gd name="connsiteY436" fmla="*/ 143150 h 279938"/>
                <a:gd name="connsiteX437" fmla="*/ 78892 w 203591"/>
                <a:gd name="connsiteY437" fmla="*/ 142514 h 279938"/>
                <a:gd name="connsiteX438" fmla="*/ 78574 w 203591"/>
                <a:gd name="connsiteY438" fmla="*/ 142514 h 279938"/>
                <a:gd name="connsiteX439" fmla="*/ 77619 w 203591"/>
                <a:gd name="connsiteY439" fmla="*/ 144105 h 279938"/>
                <a:gd name="connsiteX440" fmla="*/ 77301 w 203591"/>
                <a:gd name="connsiteY440" fmla="*/ 144423 h 279938"/>
                <a:gd name="connsiteX441" fmla="*/ 76665 w 203591"/>
                <a:gd name="connsiteY441" fmla="*/ 144423 h 279938"/>
                <a:gd name="connsiteX442" fmla="*/ 75711 w 203591"/>
                <a:gd name="connsiteY442" fmla="*/ 144741 h 279938"/>
                <a:gd name="connsiteX443" fmla="*/ 75393 w 203591"/>
                <a:gd name="connsiteY443" fmla="*/ 146013 h 279938"/>
                <a:gd name="connsiteX444" fmla="*/ 75393 w 203591"/>
                <a:gd name="connsiteY444" fmla="*/ 146650 h 279938"/>
                <a:gd name="connsiteX445" fmla="*/ 75074 w 203591"/>
                <a:gd name="connsiteY445" fmla="*/ 147286 h 279938"/>
                <a:gd name="connsiteX446" fmla="*/ 75074 w 203591"/>
                <a:gd name="connsiteY446" fmla="*/ 148558 h 279938"/>
                <a:gd name="connsiteX447" fmla="*/ 75711 w 203591"/>
                <a:gd name="connsiteY447" fmla="*/ 149831 h 279938"/>
                <a:gd name="connsiteX448" fmla="*/ 75711 w 203591"/>
                <a:gd name="connsiteY448" fmla="*/ 150149 h 279938"/>
                <a:gd name="connsiteX449" fmla="*/ 75393 w 203591"/>
                <a:gd name="connsiteY449" fmla="*/ 150467 h 279938"/>
                <a:gd name="connsiteX450" fmla="*/ 74438 w 203591"/>
                <a:gd name="connsiteY450" fmla="*/ 152057 h 279938"/>
                <a:gd name="connsiteX451" fmla="*/ 74756 w 203591"/>
                <a:gd name="connsiteY451" fmla="*/ 152694 h 279938"/>
                <a:gd name="connsiteX452" fmla="*/ 75074 w 203591"/>
                <a:gd name="connsiteY452" fmla="*/ 152694 h 279938"/>
                <a:gd name="connsiteX453" fmla="*/ 76029 w 203591"/>
                <a:gd name="connsiteY453" fmla="*/ 152057 h 279938"/>
                <a:gd name="connsiteX454" fmla="*/ 77301 w 203591"/>
                <a:gd name="connsiteY454" fmla="*/ 151421 h 279938"/>
                <a:gd name="connsiteX455" fmla="*/ 78256 w 203591"/>
                <a:gd name="connsiteY455" fmla="*/ 150785 h 279938"/>
                <a:gd name="connsiteX456" fmla="*/ 78892 w 203591"/>
                <a:gd name="connsiteY456" fmla="*/ 150785 h 279938"/>
                <a:gd name="connsiteX457" fmla="*/ 78892 w 203591"/>
                <a:gd name="connsiteY457" fmla="*/ 151421 h 279938"/>
                <a:gd name="connsiteX458" fmla="*/ 77937 w 203591"/>
                <a:gd name="connsiteY458" fmla="*/ 152694 h 279938"/>
                <a:gd name="connsiteX459" fmla="*/ 77937 w 203591"/>
                <a:gd name="connsiteY459" fmla="*/ 153330 h 279938"/>
                <a:gd name="connsiteX460" fmla="*/ 76029 w 203591"/>
                <a:gd name="connsiteY460" fmla="*/ 154602 h 279938"/>
                <a:gd name="connsiteX461" fmla="*/ 75711 w 203591"/>
                <a:gd name="connsiteY461" fmla="*/ 155557 h 279938"/>
                <a:gd name="connsiteX462" fmla="*/ 75711 w 203591"/>
                <a:gd name="connsiteY462" fmla="*/ 156511 h 279938"/>
                <a:gd name="connsiteX463" fmla="*/ 76029 w 203591"/>
                <a:gd name="connsiteY463" fmla="*/ 157147 h 279938"/>
                <a:gd name="connsiteX464" fmla="*/ 77301 w 203591"/>
                <a:gd name="connsiteY464" fmla="*/ 157783 h 279938"/>
                <a:gd name="connsiteX465" fmla="*/ 77301 w 203591"/>
                <a:gd name="connsiteY465" fmla="*/ 158102 h 279938"/>
                <a:gd name="connsiteX466" fmla="*/ 76983 w 203591"/>
                <a:gd name="connsiteY466" fmla="*/ 159056 h 279938"/>
                <a:gd name="connsiteX467" fmla="*/ 76347 w 203591"/>
                <a:gd name="connsiteY467" fmla="*/ 159692 h 279938"/>
                <a:gd name="connsiteX468" fmla="*/ 76029 w 203591"/>
                <a:gd name="connsiteY468" fmla="*/ 160010 h 279938"/>
                <a:gd name="connsiteX469" fmla="*/ 76347 w 203591"/>
                <a:gd name="connsiteY469" fmla="*/ 161283 h 279938"/>
                <a:gd name="connsiteX470" fmla="*/ 76029 w 203591"/>
                <a:gd name="connsiteY470" fmla="*/ 161601 h 279938"/>
                <a:gd name="connsiteX471" fmla="*/ 75393 w 203591"/>
                <a:gd name="connsiteY471" fmla="*/ 161283 h 279938"/>
                <a:gd name="connsiteX472" fmla="*/ 75393 w 203591"/>
                <a:gd name="connsiteY472" fmla="*/ 160965 h 279938"/>
                <a:gd name="connsiteX473" fmla="*/ 75074 w 203591"/>
                <a:gd name="connsiteY473" fmla="*/ 160646 h 279938"/>
                <a:gd name="connsiteX474" fmla="*/ 75711 w 203591"/>
                <a:gd name="connsiteY474" fmla="*/ 158738 h 279938"/>
                <a:gd name="connsiteX475" fmla="*/ 75393 w 203591"/>
                <a:gd name="connsiteY475" fmla="*/ 158102 h 279938"/>
                <a:gd name="connsiteX476" fmla="*/ 73484 w 203591"/>
                <a:gd name="connsiteY476" fmla="*/ 159692 h 279938"/>
                <a:gd name="connsiteX477" fmla="*/ 73166 w 203591"/>
                <a:gd name="connsiteY477" fmla="*/ 160010 h 279938"/>
                <a:gd name="connsiteX478" fmla="*/ 73484 w 203591"/>
                <a:gd name="connsiteY478" fmla="*/ 160328 h 279938"/>
                <a:gd name="connsiteX479" fmla="*/ 74120 w 203591"/>
                <a:gd name="connsiteY479" fmla="*/ 160646 h 279938"/>
                <a:gd name="connsiteX480" fmla="*/ 74120 w 203591"/>
                <a:gd name="connsiteY480" fmla="*/ 160965 h 279938"/>
                <a:gd name="connsiteX481" fmla="*/ 73484 w 203591"/>
                <a:gd name="connsiteY481" fmla="*/ 162555 h 279938"/>
                <a:gd name="connsiteX482" fmla="*/ 72529 w 203591"/>
                <a:gd name="connsiteY482" fmla="*/ 163191 h 279938"/>
                <a:gd name="connsiteX483" fmla="*/ 71575 w 203591"/>
                <a:gd name="connsiteY483" fmla="*/ 163828 h 279938"/>
                <a:gd name="connsiteX484" fmla="*/ 72211 w 203591"/>
                <a:gd name="connsiteY484" fmla="*/ 164464 h 279938"/>
                <a:gd name="connsiteX485" fmla="*/ 72847 w 203591"/>
                <a:gd name="connsiteY485" fmla="*/ 165736 h 279938"/>
                <a:gd name="connsiteX486" fmla="*/ 71893 w 203591"/>
                <a:gd name="connsiteY486" fmla="*/ 166691 h 279938"/>
                <a:gd name="connsiteX487" fmla="*/ 72211 w 203591"/>
                <a:gd name="connsiteY487" fmla="*/ 167009 h 279938"/>
                <a:gd name="connsiteX488" fmla="*/ 71893 w 203591"/>
                <a:gd name="connsiteY488" fmla="*/ 168281 h 279938"/>
                <a:gd name="connsiteX489" fmla="*/ 71257 w 203591"/>
                <a:gd name="connsiteY489" fmla="*/ 168917 h 279938"/>
                <a:gd name="connsiteX490" fmla="*/ 71893 w 203591"/>
                <a:gd name="connsiteY490" fmla="*/ 169872 h 279938"/>
                <a:gd name="connsiteX491" fmla="*/ 72211 w 203591"/>
                <a:gd name="connsiteY491" fmla="*/ 170190 h 279938"/>
                <a:gd name="connsiteX492" fmla="*/ 71575 w 203591"/>
                <a:gd name="connsiteY492" fmla="*/ 170826 h 279938"/>
                <a:gd name="connsiteX493" fmla="*/ 70621 w 203591"/>
                <a:gd name="connsiteY493" fmla="*/ 172735 h 279938"/>
                <a:gd name="connsiteX494" fmla="*/ 70621 w 203591"/>
                <a:gd name="connsiteY494" fmla="*/ 173053 h 279938"/>
                <a:gd name="connsiteX495" fmla="*/ 70939 w 203591"/>
                <a:gd name="connsiteY495" fmla="*/ 174325 h 279938"/>
                <a:gd name="connsiteX496" fmla="*/ 70621 w 203591"/>
                <a:gd name="connsiteY496" fmla="*/ 175280 h 279938"/>
                <a:gd name="connsiteX497" fmla="*/ 70621 w 203591"/>
                <a:gd name="connsiteY497" fmla="*/ 176552 h 279938"/>
                <a:gd name="connsiteX498" fmla="*/ 70939 w 203591"/>
                <a:gd name="connsiteY498" fmla="*/ 177188 h 279938"/>
                <a:gd name="connsiteX499" fmla="*/ 71257 w 203591"/>
                <a:gd name="connsiteY499" fmla="*/ 177506 h 279938"/>
                <a:gd name="connsiteX500" fmla="*/ 70621 w 203591"/>
                <a:gd name="connsiteY500" fmla="*/ 178143 h 279938"/>
                <a:gd name="connsiteX501" fmla="*/ 70303 w 203591"/>
                <a:gd name="connsiteY501" fmla="*/ 180051 h 279938"/>
                <a:gd name="connsiteX502" fmla="*/ 69985 w 203591"/>
                <a:gd name="connsiteY502" fmla="*/ 180688 h 279938"/>
                <a:gd name="connsiteX503" fmla="*/ 70303 w 203591"/>
                <a:gd name="connsiteY503" fmla="*/ 181324 h 279938"/>
                <a:gd name="connsiteX504" fmla="*/ 70303 w 203591"/>
                <a:gd name="connsiteY504" fmla="*/ 182278 h 279938"/>
                <a:gd name="connsiteX505" fmla="*/ 69030 w 203591"/>
                <a:gd name="connsiteY505" fmla="*/ 183232 h 279938"/>
                <a:gd name="connsiteX506" fmla="*/ 68394 w 203591"/>
                <a:gd name="connsiteY506" fmla="*/ 183551 h 279938"/>
                <a:gd name="connsiteX507" fmla="*/ 68712 w 203591"/>
                <a:gd name="connsiteY507" fmla="*/ 184505 h 279938"/>
                <a:gd name="connsiteX508" fmla="*/ 69985 w 203591"/>
                <a:gd name="connsiteY508" fmla="*/ 185777 h 279938"/>
                <a:gd name="connsiteX509" fmla="*/ 69666 w 203591"/>
                <a:gd name="connsiteY509" fmla="*/ 186414 h 279938"/>
                <a:gd name="connsiteX510" fmla="*/ 69985 w 203591"/>
                <a:gd name="connsiteY510" fmla="*/ 186732 h 279938"/>
                <a:gd name="connsiteX511" fmla="*/ 69985 w 203591"/>
                <a:gd name="connsiteY511" fmla="*/ 188004 h 279938"/>
                <a:gd name="connsiteX512" fmla="*/ 69030 w 203591"/>
                <a:gd name="connsiteY512" fmla="*/ 189277 h 279938"/>
                <a:gd name="connsiteX513" fmla="*/ 69030 w 203591"/>
                <a:gd name="connsiteY513" fmla="*/ 191185 h 279938"/>
                <a:gd name="connsiteX514" fmla="*/ 68712 w 203591"/>
                <a:gd name="connsiteY514" fmla="*/ 192140 h 279938"/>
                <a:gd name="connsiteX515" fmla="*/ 68394 w 203591"/>
                <a:gd name="connsiteY515" fmla="*/ 192776 h 279938"/>
                <a:gd name="connsiteX516" fmla="*/ 68712 w 203591"/>
                <a:gd name="connsiteY516" fmla="*/ 193412 h 279938"/>
                <a:gd name="connsiteX517" fmla="*/ 69985 w 203591"/>
                <a:gd name="connsiteY517" fmla="*/ 193412 h 279938"/>
                <a:gd name="connsiteX518" fmla="*/ 70621 w 203591"/>
                <a:gd name="connsiteY518" fmla="*/ 192776 h 279938"/>
                <a:gd name="connsiteX519" fmla="*/ 70939 w 203591"/>
                <a:gd name="connsiteY519" fmla="*/ 192776 h 279938"/>
                <a:gd name="connsiteX520" fmla="*/ 71257 w 203591"/>
                <a:gd name="connsiteY520" fmla="*/ 193094 h 279938"/>
                <a:gd name="connsiteX521" fmla="*/ 71575 w 203591"/>
                <a:gd name="connsiteY521" fmla="*/ 194366 h 279938"/>
                <a:gd name="connsiteX522" fmla="*/ 71893 w 203591"/>
                <a:gd name="connsiteY522" fmla="*/ 194684 h 279938"/>
                <a:gd name="connsiteX523" fmla="*/ 72211 w 203591"/>
                <a:gd name="connsiteY523" fmla="*/ 195321 h 279938"/>
                <a:gd name="connsiteX524" fmla="*/ 71257 w 203591"/>
                <a:gd name="connsiteY524" fmla="*/ 196275 h 279938"/>
                <a:gd name="connsiteX525" fmla="*/ 70621 w 203591"/>
                <a:gd name="connsiteY525" fmla="*/ 196593 h 279938"/>
                <a:gd name="connsiteX526" fmla="*/ 69348 w 203591"/>
                <a:gd name="connsiteY526" fmla="*/ 195003 h 279938"/>
                <a:gd name="connsiteX527" fmla="*/ 69030 w 203591"/>
                <a:gd name="connsiteY527" fmla="*/ 194684 h 279938"/>
                <a:gd name="connsiteX528" fmla="*/ 68712 w 203591"/>
                <a:gd name="connsiteY528" fmla="*/ 195321 h 279938"/>
                <a:gd name="connsiteX529" fmla="*/ 67758 w 203591"/>
                <a:gd name="connsiteY529" fmla="*/ 197229 h 279938"/>
                <a:gd name="connsiteX530" fmla="*/ 67758 w 203591"/>
                <a:gd name="connsiteY530" fmla="*/ 197547 h 279938"/>
                <a:gd name="connsiteX531" fmla="*/ 67440 w 203591"/>
                <a:gd name="connsiteY531" fmla="*/ 201047 h 279938"/>
                <a:gd name="connsiteX532" fmla="*/ 67440 w 203591"/>
                <a:gd name="connsiteY532" fmla="*/ 202319 h 279938"/>
                <a:gd name="connsiteX533" fmla="*/ 67122 w 203591"/>
                <a:gd name="connsiteY533" fmla="*/ 203273 h 279938"/>
                <a:gd name="connsiteX534" fmla="*/ 67122 w 203591"/>
                <a:gd name="connsiteY534" fmla="*/ 204546 h 279938"/>
                <a:gd name="connsiteX535" fmla="*/ 67440 w 203591"/>
                <a:gd name="connsiteY535" fmla="*/ 205182 h 279938"/>
                <a:gd name="connsiteX536" fmla="*/ 67440 w 203591"/>
                <a:gd name="connsiteY536" fmla="*/ 206455 h 279938"/>
                <a:gd name="connsiteX537" fmla="*/ 66803 w 203591"/>
                <a:gd name="connsiteY537" fmla="*/ 207409 h 279938"/>
                <a:gd name="connsiteX538" fmla="*/ 66803 w 203591"/>
                <a:gd name="connsiteY538" fmla="*/ 208363 h 279938"/>
                <a:gd name="connsiteX539" fmla="*/ 67122 w 203591"/>
                <a:gd name="connsiteY539" fmla="*/ 210272 h 279938"/>
                <a:gd name="connsiteX540" fmla="*/ 66803 w 203591"/>
                <a:gd name="connsiteY540" fmla="*/ 211862 h 279938"/>
                <a:gd name="connsiteX541" fmla="*/ 66803 w 203591"/>
                <a:gd name="connsiteY541" fmla="*/ 212181 h 279938"/>
                <a:gd name="connsiteX542" fmla="*/ 67122 w 203591"/>
                <a:gd name="connsiteY542" fmla="*/ 212499 h 279938"/>
                <a:gd name="connsiteX543" fmla="*/ 67440 w 203591"/>
                <a:gd name="connsiteY543" fmla="*/ 212499 h 279938"/>
                <a:gd name="connsiteX544" fmla="*/ 67758 w 203591"/>
                <a:gd name="connsiteY544" fmla="*/ 213135 h 279938"/>
                <a:gd name="connsiteX545" fmla="*/ 67122 w 203591"/>
                <a:gd name="connsiteY545" fmla="*/ 214089 h 279938"/>
                <a:gd name="connsiteX546" fmla="*/ 67122 w 203591"/>
                <a:gd name="connsiteY546" fmla="*/ 216634 h 279938"/>
                <a:gd name="connsiteX547" fmla="*/ 67440 w 203591"/>
                <a:gd name="connsiteY547" fmla="*/ 216952 h 279938"/>
                <a:gd name="connsiteX548" fmla="*/ 67758 w 203591"/>
                <a:gd name="connsiteY548" fmla="*/ 216952 h 279938"/>
                <a:gd name="connsiteX549" fmla="*/ 68394 w 203591"/>
                <a:gd name="connsiteY549" fmla="*/ 215362 h 279938"/>
                <a:gd name="connsiteX550" fmla="*/ 68712 w 203591"/>
                <a:gd name="connsiteY550" fmla="*/ 215044 h 279938"/>
                <a:gd name="connsiteX551" fmla="*/ 69030 w 203591"/>
                <a:gd name="connsiteY551" fmla="*/ 215362 h 279938"/>
                <a:gd name="connsiteX552" fmla="*/ 69985 w 203591"/>
                <a:gd name="connsiteY552" fmla="*/ 216634 h 279938"/>
                <a:gd name="connsiteX553" fmla="*/ 69348 w 203591"/>
                <a:gd name="connsiteY553" fmla="*/ 217270 h 279938"/>
                <a:gd name="connsiteX554" fmla="*/ 69985 w 203591"/>
                <a:gd name="connsiteY554" fmla="*/ 217588 h 279938"/>
                <a:gd name="connsiteX555" fmla="*/ 69666 w 203591"/>
                <a:gd name="connsiteY555" fmla="*/ 220770 h 279938"/>
                <a:gd name="connsiteX556" fmla="*/ 69030 w 203591"/>
                <a:gd name="connsiteY556" fmla="*/ 220770 h 279938"/>
                <a:gd name="connsiteX557" fmla="*/ 68394 w 203591"/>
                <a:gd name="connsiteY557" fmla="*/ 220133 h 279938"/>
                <a:gd name="connsiteX558" fmla="*/ 67758 w 203591"/>
                <a:gd name="connsiteY558" fmla="*/ 218861 h 279938"/>
                <a:gd name="connsiteX559" fmla="*/ 68394 w 203591"/>
                <a:gd name="connsiteY559" fmla="*/ 217907 h 279938"/>
                <a:gd name="connsiteX560" fmla="*/ 68712 w 203591"/>
                <a:gd name="connsiteY560" fmla="*/ 217588 h 279938"/>
                <a:gd name="connsiteX561" fmla="*/ 68394 w 203591"/>
                <a:gd name="connsiteY561" fmla="*/ 217588 h 279938"/>
                <a:gd name="connsiteX562" fmla="*/ 67758 w 203591"/>
                <a:gd name="connsiteY562" fmla="*/ 217270 h 279938"/>
                <a:gd name="connsiteX563" fmla="*/ 66803 w 203591"/>
                <a:gd name="connsiteY563" fmla="*/ 218861 h 279938"/>
                <a:gd name="connsiteX564" fmla="*/ 66803 w 203591"/>
                <a:gd name="connsiteY564" fmla="*/ 219815 h 279938"/>
                <a:gd name="connsiteX565" fmla="*/ 65849 w 203591"/>
                <a:gd name="connsiteY565" fmla="*/ 220770 h 279938"/>
                <a:gd name="connsiteX566" fmla="*/ 66485 w 203591"/>
                <a:gd name="connsiteY566" fmla="*/ 221406 h 279938"/>
                <a:gd name="connsiteX567" fmla="*/ 67122 w 203591"/>
                <a:gd name="connsiteY567" fmla="*/ 222042 h 279938"/>
                <a:gd name="connsiteX568" fmla="*/ 66167 w 203591"/>
                <a:gd name="connsiteY568" fmla="*/ 222678 h 279938"/>
                <a:gd name="connsiteX569" fmla="*/ 66167 w 203591"/>
                <a:gd name="connsiteY569" fmla="*/ 223314 h 279938"/>
                <a:gd name="connsiteX570" fmla="*/ 67758 w 203591"/>
                <a:gd name="connsiteY570" fmla="*/ 223951 h 279938"/>
                <a:gd name="connsiteX571" fmla="*/ 68712 w 203591"/>
                <a:gd name="connsiteY571" fmla="*/ 223951 h 279938"/>
                <a:gd name="connsiteX572" fmla="*/ 69985 w 203591"/>
                <a:gd name="connsiteY572" fmla="*/ 224269 h 279938"/>
                <a:gd name="connsiteX573" fmla="*/ 69666 w 203591"/>
                <a:gd name="connsiteY573" fmla="*/ 225541 h 279938"/>
                <a:gd name="connsiteX574" fmla="*/ 69985 w 203591"/>
                <a:gd name="connsiteY574" fmla="*/ 230949 h 279938"/>
                <a:gd name="connsiteX575" fmla="*/ 69985 w 203591"/>
                <a:gd name="connsiteY575" fmla="*/ 232222 h 279938"/>
                <a:gd name="connsiteX576" fmla="*/ 69348 w 203591"/>
                <a:gd name="connsiteY576" fmla="*/ 232540 h 279938"/>
                <a:gd name="connsiteX577" fmla="*/ 69666 w 203591"/>
                <a:gd name="connsiteY577" fmla="*/ 233494 h 279938"/>
                <a:gd name="connsiteX578" fmla="*/ 69985 w 203591"/>
                <a:gd name="connsiteY578" fmla="*/ 236039 h 279938"/>
                <a:gd name="connsiteX579" fmla="*/ 69666 w 203591"/>
                <a:gd name="connsiteY579" fmla="*/ 236675 h 279938"/>
                <a:gd name="connsiteX580" fmla="*/ 69030 w 203591"/>
                <a:gd name="connsiteY580" fmla="*/ 237630 h 279938"/>
                <a:gd name="connsiteX581" fmla="*/ 69030 w 203591"/>
                <a:gd name="connsiteY581" fmla="*/ 239538 h 279938"/>
                <a:gd name="connsiteX582" fmla="*/ 69666 w 203591"/>
                <a:gd name="connsiteY582" fmla="*/ 239856 h 279938"/>
                <a:gd name="connsiteX583" fmla="*/ 69348 w 203591"/>
                <a:gd name="connsiteY583" fmla="*/ 240174 h 279938"/>
                <a:gd name="connsiteX584" fmla="*/ 69985 w 203591"/>
                <a:gd name="connsiteY584" fmla="*/ 241129 h 279938"/>
                <a:gd name="connsiteX585" fmla="*/ 69985 w 203591"/>
                <a:gd name="connsiteY585" fmla="*/ 241447 h 279938"/>
                <a:gd name="connsiteX586" fmla="*/ 69348 w 203591"/>
                <a:gd name="connsiteY586" fmla="*/ 242083 h 279938"/>
                <a:gd name="connsiteX587" fmla="*/ 69666 w 203591"/>
                <a:gd name="connsiteY587" fmla="*/ 242719 h 279938"/>
                <a:gd name="connsiteX588" fmla="*/ 69348 w 203591"/>
                <a:gd name="connsiteY588" fmla="*/ 243037 h 279938"/>
                <a:gd name="connsiteX589" fmla="*/ 69030 w 203591"/>
                <a:gd name="connsiteY589" fmla="*/ 243356 h 279938"/>
                <a:gd name="connsiteX590" fmla="*/ 68712 w 203591"/>
                <a:gd name="connsiteY590" fmla="*/ 243037 h 279938"/>
                <a:gd name="connsiteX591" fmla="*/ 68712 w 203591"/>
                <a:gd name="connsiteY591" fmla="*/ 242083 h 279938"/>
                <a:gd name="connsiteX592" fmla="*/ 67758 w 203591"/>
                <a:gd name="connsiteY592" fmla="*/ 241447 h 279938"/>
                <a:gd name="connsiteX593" fmla="*/ 67440 w 203591"/>
                <a:gd name="connsiteY593" fmla="*/ 242083 h 279938"/>
                <a:gd name="connsiteX594" fmla="*/ 67122 w 203591"/>
                <a:gd name="connsiteY594" fmla="*/ 245582 h 279938"/>
                <a:gd name="connsiteX595" fmla="*/ 68076 w 203591"/>
                <a:gd name="connsiteY595" fmla="*/ 245900 h 279938"/>
                <a:gd name="connsiteX596" fmla="*/ 68712 w 203591"/>
                <a:gd name="connsiteY596" fmla="*/ 245264 h 279938"/>
                <a:gd name="connsiteX597" fmla="*/ 69666 w 203591"/>
                <a:gd name="connsiteY597" fmla="*/ 245582 h 279938"/>
                <a:gd name="connsiteX598" fmla="*/ 69985 w 203591"/>
                <a:gd name="connsiteY598" fmla="*/ 246537 h 279938"/>
                <a:gd name="connsiteX599" fmla="*/ 69985 w 203591"/>
                <a:gd name="connsiteY599" fmla="*/ 247809 h 279938"/>
                <a:gd name="connsiteX600" fmla="*/ 70621 w 203591"/>
                <a:gd name="connsiteY600" fmla="*/ 249082 h 279938"/>
                <a:gd name="connsiteX601" fmla="*/ 70621 w 203591"/>
                <a:gd name="connsiteY601" fmla="*/ 250354 h 279938"/>
                <a:gd name="connsiteX602" fmla="*/ 70303 w 203591"/>
                <a:gd name="connsiteY602" fmla="*/ 251308 h 279938"/>
                <a:gd name="connsiteX603" fmla="*/ 70939 w 203591"/>
                <a:gd name="connsiteY603" fmla="*/ 252581 h 279938"/>
                <a:gd name="connsiteX604" fmla="*/ 70939 w 203591"/>
                <a:gd name="connsiteY604" fmla="*/ 253535 h 279938"/>
                <a:gd name="connsiteX605" fmla="*/ 71257 w 203591"/>
                <a:gd name="connsiteY605" fmla="*/ 254171 h 279938"/>
                <a:gd name="connsiteX606" fmla="*/ 71257 w 203591"/>
                <a:gd name="connsiteY606" fmla="*/ 254489 h 279938"/>
                <a:gd name="connsiteX607" fmla="*/ 71257 w 203591"/>
                <a:gd name="connsiteY607" fmla="*/ 256716 h 279938"/>
                <a:gd name="connsiteX608" fmla="*/ 72211 w 203591"/>
                <a:gd name="connsiteY608" fmla="*/ 258307 h 279938"/>
                <a:gd name="connsiteX609" fmla="*/ 72211 w 203591"/>
                <a:gd name="connsiteY609" fmla="*/ 259261 h 279938"/>
                <a:gd name="connsiteX610" fmla="*/ 73166 w 203591"/>
                <a:gd name="connsiteY610" fmla="*/ 260215 h 279938"/>
                <a:gd name="connsiteX611" fmla="*/ 73166 w 203591"/>
                <a:gd name="connsiteY611" fmla="*/ 260852 h 279938"/>
                <a:gd name="connsiteX612" fmla="*/ 75074 w 203591"/>
                <a:gd name="connsiteY612" fmla="*/ 260534 h 279938"/>
                <a:gd name="connsiteX613" fmla="*/ 76983 w 203591"/>
                <a:gd name="connsiteY613" fmla="*/ 259579 h 279938"/>
                <a:gd name="connsiteX614" fmla="*/ 78574 w 203591"/>
                <a:gd name="connsiteY614" fmla="*/ 258307 h 279938"/>
                <a:gd name="connsiteX615" fmla="*/ 79528 w 203591"/>
                <a:gd name="connsiteY615" fmla="*/ 256716 h 279938"/>
                <a:gd name="connsiteX616" fmla="*/ 79528 w 203591"/>
                <a:gd name="connsiteY616" fmla="*/ 256398 h 279938"/>
                <a:gd name="connsiteX617" fmla="*/ 81755 w 203591"/>
                <a:gd name="connsiteY617" fmla="*/ 254171 h 279938"/>
                <a:gd name="connsiteX618" fmla="*/ 83027 w 203591"/>
                <a:gd name="connsiteY618" fmla="*/ 252899 h 279938"/>
                <a:gd name="connsiteX619" fmla="*/ 83027 w 203591"/>
                <a:gd name="connsiteY619" fmla="*/ 251945 h 279938"/>
                <a:gd name="connsiteX620" fmla="*/ 83345 w 203591"/>
                <a:gd name="connsiteY620" fmla="*/ 251308 h 279938"/>
                <a:gd name="connsiteX621" fmla="*/ 83981 w 203591"/>
                <a:gd name="connsiteY621" fmla="*/ 250672 h 279938"/>
                <a:gd name="connsiteX622" fmla="*/ 84299 w 203591"/>
                <a:gd name="connsiteY622" fmla="*/ 249400 h 279938"/>
                <a:gd name="connsiteX623" fmla="*/ 85572 w 203591"/>
                <a:gd name="connsiteY623" fmla="*/ 248445 h 279938"/>
                <a:gd name="connsiteX624" fmla="*/ 86526 w 203591"/>
                <a:gd name="connsiteY624" fmla="*/ 246855 h 279938"/>
                <a:gd name="connsiteX625" fmla="*/ 86526 w 203591"/>
                <a:gd name="connsiteY625" fmla="*/ 246219 h 279938"/>
                <a:gd name="connsiteX626" fmla="*/ 87163 w 203591"/>
                <a:gd name="connsiteY626" fmla="*/ 244310 h 279938"/>
                <a:gd name="connsiteX627" fmla="*/ 89390 w 203591"/>
                <a:gd name="connsiteY627" fmla="*/ 242401 h 279938"/>
                <a:gd name="connsiteX628" fmla="*/ 90026 w 203591"/>
                <a:gd name="connsiteY628" fmla="*/ 240811 h 279938"/>
                <a:gd name="connsiteX629" fmla="*/ 90662 w 203591"/>
                <a:gd name="connsiteY629" fmla="*/ 239538 h 279938"/>
                <a:gd name="connsiteX630" fmla="*/ 90344 w 203591"/>
                <a:gd name="connsiteY630" fmla="*/ 239220 h 279938"/>
                <a:gd name="connsiteX631" fmla="*/ 90980 w 203591"/>
                <a:gd name="connsiteY631" fmla="*/ 237948 h 279938"/>
                <a:gd name="connsiteX632" fmla="*/ 91934 w 203591"/>
                <a:gd name="connsiteY632" fmla="*/ 236039 h 279938"/>
                <a:gd name="connsiteX633" fmla="*/ 93525 w 203591"/>
                <a:gd name="connsiteY633" fmla="*/ 233494 h 279938"/>
                <a:gd name="connsiteX634" fmla="*/ 93525 w 203591"/>
                <a:gd name="connsiteY634" fmla="*/ 233176 h 279938"/>
                <a:gd name="connsiteX635" fmla="*/ 94479 w 203591"/>
                <a:gd name="connsiteY635" fmla="*/ 232540 h 279938"/>
                <a:gd name="connsiteX636" fmla="*/ 94161 w 203591"/>
                <a:gd name="connsiteY636" fmla="*/ 232540 h 279938"/>
                <a:gd name="connsiteX637" fmla="*/ 95115 w 203591"/>
                <a:gd name="connsiteY637" fmla="*/ 230631 h 279938"/>
                <a:gd name="connsiteX638" fmla="*/ 95433 w 203591"/>
                <a:gd name="connsiteY638" fmla="*/ 229359 h 279938"/>
                <a:gd name="connsiteX639" fmla="*/ 96706 w 203591"/>
                <a:gd name="connsiteY639" fmla="*/ 228086 h 279938"/>
                <a:gd name="connsiteX640" fmla="*/ 96388 w 203591"/>
                <a:gd name="connsiteY640" fmla="*/ 227132 h 279938"/>
                <a:gd name="connsiteX641" fmla="*/ 96706 w 203591"/>
                <a:gd name="connsiteY641" fmla="*/ 226496 h 279938"/>
                <a:gd name="connsiteX642" fmla="*/ 97660 w 203591"/>
                <a:gd name="connsiteY642" fmla="*/ 225541 h 279938"/>
                <a:gd name="connsiteX643" fmla="*/ 98296 w 203591"/>
                <a:gd name="connsiteY643" fmla="*/ 223951 h 279938"/>
                <a:gd name="connsiteX644" fmla="*/ 99887 w 203591"/>
                <a:gd name="connsiteY644" fmla="*/ 222042 h 279938"/>
                <a:gd name="connsiteX645" fmla="*/ 101478 w 203591"/>
                <a:gd name="connsiteY645" fmla="*/ 218861 h 279938"/>
                <a:gd name="connsiteX646" fmla="*/ 102114 w 203591"/>
                <a:gd name="connsiteY646" fmla="*/ 217907 h 279938"/>
                <a:gd name="connsiteX647" fmla="*/ 103068 w 203591"/>
                <a:gd name="connsiteY647" fmla="*/ 215362 h 279938"/>
                <a:gd name="connsiteX648" fmla="*/ 104341 w 203591"/>
                <a:gd name="connsiteY648" fmla="*/ 213453 h 279938"/>
                <a:gd name="connsiteX649" fmla="*/ 104023 w 203591"/>
                <a:gd name="connsiteY649" fmla="*/ 213135 h 279938"/>
                <a:gd name="connsiteX650" fmla="*/ 104659 w 203591"/>
                <a:gd name="connsiteY650" fmla="*/ 211862 h 279938"/>
                <a:gd name="connsiteX651" fmla="*/ 106249 w 203591"/>
                <a:gd name="connsiteY651" fmla="*/ 209636 h 279938"/>
                <a:gd name="connsiteX652" fmla="*/ 105931 w 203591"/>
                <a:gd name="connsiteY652" fmla="*/ 208999 h 279938"/>
                <a:gd name="connsiteX653" fmla="*/ 106249 w 203591"/>
                <a:gd name="connsiteY653" fmla="*/ 208045 h 279938"/>
                <a:gd name="connsiteX654" fmla="*/ 107840 w 203591"/>
                <a:gd name="connsiteY654" fmla="*/ 206455 h 279938"/>
                <a:gd name="connsiteX655" fmla="*/ 108476 w 203591"/>
                <a:gd name="connsiteY655" fmla="*/ 204864 h 279938"/>
                <a:gd name="connsiteX656" fmla="*/ 108794 w 203591"/>
                <a:gd name="connsiteY656" fmla="*/ 203592 h 279938"/>
                <a:gd name="connsiteX657" fmla="*/ 108476 w 203591"/>
                <a:gd name="connsiteY657" fmla="*/ 203273 h 279938"/>
                <a:gd name="connsiteX658" fmla="*/ 109112 w 203591"/>
                <a:gd name="connsiteY658" fmla="*/ 202319 h 279938"/>
                <a:gd name="connsiteX659" fmla="*/ 110385 w 203591"/>
                <a:gd name="connsiteY659" fmla="*/ 201047 h 279938"/>
                <a:gd name="connsiteX660" fmla="*/ 110703 w 203591"/>
                <a:gd name="connsiteY660" fmla="*/ 200092 h 279938"/>
                <a:gd name="connsiteX661" fmla="*/ 111339 w 203591"/>
                <a:gd name="connsiteY661" fmla="*/ 198820 h 279938"/>
                <a:gd name="connsiteX662" fmla="*/ 112611 w 203591"/>
                <a:gd name="connsiteY662" fmla="*/ 197547 h 279938"/>
                <a:gd name="connsiteX663" fmla="*/ 112293 w 203591"/>
                <a:gd name="connsiteY663" fmla="*/ 196593 h 279938"/>
                <a:gd name="connsiteX664" fmla="*/ 112611 w 203591"/>
                <a:gd name="connsiteY664" fmla="*/ 195321 h 279938"/>
                <a:gd name="connsiteX665" fmla="*/ 113248 w 203591"/>
                <a:gd name="connsiteY665" fmla="*/ 194684 h 279938"/>
                <a:gd name="connsiteX666" fmla="*/ 113248 w 203591"/>
                <a:gd name="connsiteY666" fmla="*/ 194366 h 279938"/>
                <a:gd name="connsiteX667" fmla="*/ 113884 w 203591"/>
                <a:gd name="connsiteY667" fmla="*/ 193730 h 279938"/>
                <a:gd name="connsiteX668" fmla="*/ 114202 w 203591"/>
                <a:gd name="connsiteY668" fmla="*/ 193094 h 279938"/>
                <a:gd name="connsiteX669" fmla="*/ 114838 w 203591"/>
                <a:gd name="connsiteY669" fmla="*/ 192140 h 279938"/>
                <a:gd name="connsiteX670" fmla="*/ 114838 w 203591"/>
                <a:gd name="connsiteY670" fmla="*/ 191503 h 279938"/>
                <a:gd name="connsiteX671" fmla="*/ 115156 w 203591"/>
                <a:gd name="connsiteY671" fmla="*/ 191185 h 279938"/>
                <a:gd name="connsiteX672" fmla="*/ 116747 w 203591"/>
                <a:gd name="connsiteY672" fmla="*/ 187686 h 279938"/>
                <a:gd name="connsiteX673" fmla="*/ 117065 w 203591"/>
                <a:gd name="connsiteY673" fmla="*/ 186095 h 279938"/>
                <a:gd name="connsiteX674" fmla="*/ 118020 w 203591"/>
                <a:gd name="connsiteY674" fmla="*/ 184505 h 279938"/>
                <a:gd name="connsiteX675" fmla="*/ 118974 w 203591"/>
                <a:gd name="connsiteY675" fmla="*/ 183232 h 279938"/>
                <a:gd name="connsiteX676" fmla="*/ 120246 w 203591"/>
                <a:gd name="connsiteY676" fmla="*/ 180688 h 279938"/>
                <a:gd name="connsiteX677" fmla="*/ 120246 w 203591"/>
                <a:gd name="connsiteY677" fmla="*/ 179415 h 279938"/>
                <a:gd name="connsiteX678" fmla="*/ 120564 w 203591"/>
                <a:gd name="connsiteY678" fmla="*/ 179097 h 279938"/>
                <a:gd name="connsiteX679" fmla="*/ 121519 w 203591"/>
                <a:gd name="connsiteY679" fmla="*/ 177188 h 279938"/>
                <a:gd name="connsiteX680" fmla="*/ 122155 w 203591"/>
                <a:gd name="connsiteY680" fmla="*/ 176234 h 279938"/>
                <a:gd name="connsiteX681" fmla="*/ 121519 w 203591"/>
                <a:gd name="connsiteY681" fmla="*/ 175916 h 279938"/>
                <a:gd name="connsiteX682" fmla="*/ 122473 w 203591"/>
                <a:gd name="connsiteY682" fmla="*/ 174962 h 279938"/>
                <a:gd name="connsiteX683" fmla="*/ 123427 w 203591"/>
                <a:gd name="connsiteY683" fmla="*/ 173689 h 279938"/>
                <a:gd name="connsiteX684" fmla="*/ 123109 w 203591"/>
                <a:gd name="connsiteY684" fmla="*/ 173689 h 279938"/>
                <a:gd name="connsiteX685" fmla="*/ 123109 w 203591"/>
                <a:gd name="connsiteY685" fmla="*/ 173371 h 279938"/>
                <a:gd name="connsiteX686" fmla="*/ 123745 w 203591"/>
                <a:gd name="connsiteY686" fmla="*/ 172735 h 279938"/>
                <a:gd name="connsiteX687" fmla="*/ 123427 w 203591"/>
                <a:gd name="connsiteY687" fmla="*/ 172098 h 279938"/>
                <a:gd name="connsiteX688" fmla="*/ 124063 w 203591"/>
                <a:gd name="connsiteY688" fmla="*/ 170826 h 279938"/>
                <a:gd name="connsiteX689" fmla="*/ 125018 w 203591"/>
                <a:gd name="connsiteY689" fmla="*/ 169872 h 279938"/>
                <a:gd name="connsiteX690" fmla="*/ 126608 w 203591"/>
                <a:gd name="connsiteY690" fmla="*/ 167645 h 279938"/>
                <a:gd name="connsiteX691" fmla="*/ 142514 w 203591"/>
                <a:gd name="connsiteY691" fmla="*/ 147286 h 279938"/>
                <a:gd name="connsiteX692" fmla="*/ 133607 w 203591"/>
                <a:gd name="connsiteY692" fmla="*/ 167327 h 279938"/>
                <a:gd name="connsiteX693" fmla="*/ 133925 w 203591"/>
                <a:gd name="connsiteY693" fmla="*/ 167327 h 279938"/>
                <a:gd name="connsiteX694" fmla="*/ 133925 w 203591"/>
                <a:gd name="connsiteY694" fmla="*/ 167645 h 279938"/>
                <a:gd name="connsiteX695" fmla="*/ 133607 w 203591"/>
                <a:gd name="connsiteY695" fmla="*/ 168599 h 279938"/>
                <a:gd name="connsiteX696" fmla="*/ 134243 w 203591"/>
                <a:gd name="connsiteY696" fmla="*/ 168599 h 279938"/>
                <a:gd name="connsiteX697" fmla="*/ 135834 w 203591"/>
                <a:gd name="connsiteY697" fmla="*/ 167963 h 279938"/>
                <a:gd name="connsiteX698" fmla="*/ 135834 w 203591"/>
                <a:gd name="connsiteY698" fmla="*/ 168599 h 279938"/>
                <a:gd name="connsiteX699" fmla="*/ 134879 w 203591"/>
                <a:gd name="connsiteY699" fmla="*/ 170826 h 279938"/>
                <a:gd name="connsiteX700" fmla="*/ 134879 w 203591"/>
                <a:gd name="connsiteY700" fmla="*/ 171144 h 279938"/>
                <a:gd name="connsiteX701" fmla="*/ 133607 w 203591"/>
                <a:gd name="connsiteY701" fmla="*/ 172098 h 279938"/>
                <a:gd name="connsiteX702" fmla="*/ 133289 w 203591"/>
                <a:gd name="connsiteY702" fmla="*/ 173053 h 279938"/>
                <a:gd name="connsiteX703" fmla="*/ 133289 w 203591"/>
                <a:gd name="connsiteY703" fmla="*/ 173689 h 279938"/>
                <a:gd name="connsiteX704" fmla="*/ 132971 w 203591"/>
                <a:gd name="connsiteY704" fmla="*/ 174325 h 279938"/>
                <a:gd name="connsiteX705" fmla="*/ 132335 w 203591"/>
                <a:gd name="connsiteY705" fmla="*/ 175280 h 279938"/>
                <a:gd name="connsiteX706" fmla="*/ 132971 w 203591"/>
                <a:gd name="connsiteY706" fmla="*/ 176234 h 279938"/>
                <a:gd name="connsiteX707" fmla="*/ 133289 w 203591"/>
                <a:gd name="connsiteY707" fmla="*/ 176552 h 279938"/>
                <a:gd name="connsiteX708" fmla="*/ 132653 w 203591"/>
                <a:gd name="connsiteY708" fmla="*/ 176870 h 279938"/>
                <a:gd name="connsiteX709" fmla="*/ 132016 w 203591"/>
                <a:gd name="connsiteY709" fmla="*/ 177188 h 279938"/>
                <a:gd name="connsiteX710" fmla="*/ 129472 w 203591"/>
                <a:gd name="connsiteY710" fmla="*/ 178461 h 279938"/>
                <a:gd name="connsiteX711" fmla="*/ 129472 w 203591"/>
                <a:gd name="connsiteY711" fmla="*/ 179097 h 279938"/>
                <a:gd name="connsiteX712" fmla="*/ 130744 w 203591"/>
                <a:gd name="connsiteY712" fmla="*/ 179733 h 279938"/>
                <a:gd name="connsiteX713" fmla="*/ 129153 w 203591"/>
                <a:gd name="connsiteY713" fmla="*/ 180369 h 279938"/>
                <a:gd name="connsiteX714" fmla="*/ 127881 w 203591"/>
                <a:gd name="connsiteY714" fmla="*/ 181006 h 279938"/>
                <a:gd name="connsiteX715" fmla="*/ 127563 w 203591"/>
                <a:gd name="connsiteY715" fmla="*/ 181642 h 279938"/>
                <a:gd name="connsiteX716" fmla="*/ 127563 w 203591"/>
                <a:gd name="connsiteY716" fmla="*/ 181960 h 279938"/>
                <a:gd name="connsiteX717" fmla="*/ 128835 w 203591"/>
                <a:gd name="connsiteY717" fmla="*/ 181960 h 279938"/>
                <a:gd name="connsiteX718" fmla="*/ 128835 w 203591"/>
                <a:gd name="connsiteY718" fmla="*/ 182596 h 279938"/>
                <a:gd name="connsiteX719" fmla="*/ 129153 w 203591"/>
                <a:gd name="connsiteY719" fmla="*/ 183232 h 279938"/>
                <a:gd name="connsiteX720" fmla="*/ 129472 w 203591"/>
                <a:gd name="connsiteY720" fmla="*/ 183869 h 279938"/>
                <a:gd name="connsiteX721" fmla="*/ 129153 w 203591"/>
                <a:gd name="connsiteY721" fmla="*/ 184187 h 279938"/>
                <a:gd name="connsiteX722" fmla="*/ 127881 w 203591"/>
                <a:gd name="connsiteY722" fmla="*/ 185141 h 279938"/>
                <a:gd name="connsiteX723" fmla="*/ 127881 w 203591"/>
                <a:gd name="connsiteY723" fmla="*/ 187686 h 279938"/>
                <a:gd name="connsiteX724" fmla="*/ 127563 w 203591"/>
                <a:gd name="connsiteY724" fmla="*/ 188322 h 279938"/>
                <a:gd name="connsiteX725" fmla="*/ 127245 w 203591"/>
                <a:gd name="connsiteY725" fmla="*/ 189277 h 279938"/>
                <a:gd name="connsiteX726" fmla="*/ 126926 w 203591"/>
                <a:gd name="connsiteY726" fmla="*/ 189595 h 279938"/>
                <a:gd name="connsiteX727" fmla="*/ 125972 w 203591"/>
                <a:gd name="connsiteY727" fmla="*/ 190867 h 279938"/>
                <a:gd name="connsiteX728" fmla="*/ 126608 w 203591"/>
                <a:gd name="connsiteY728" fmla="*/ 192140 h 279938"/>
                <a:gd name="connsiteX729" fmla="*/ 125018 w 203591"/>
                <a:gd name="connsiteY729" fmla="*/ 192776 h 279938"/>
                <a:gd name="connsiteX730" fmla="*/ 124700 w 203591"/>
                <a:gd name="connsiteY730" fmla="*/ 193094 h 279938"/>
                <a:gd name="connsiteX731" fmla="*/ 124700 w 203591"/>
                <a:gd name="connsiteY731" fmla="*/ 193730 h 279938"/>
                <a:gd name="connsiteX732" fmla="*/ 125018 w 203591"/>
                <a:gd name="connsiteY732" fmla="*/ 194684 h 279938"/>
                <a:gd name="connsiteX733" fmla="*/ 123427 w 203591"/>
                <a:gd name="connsiteY733" fmla="*/ 196275 h 279938"/>
                <a:gd name="connsiteX734" fmla="*/ 123427 w 203591"/>
                <a:gd name="connsiteY734" fmla="*/ 196911 h 279938"/>
                <a:gd name="connsiteX735" fmla="*/ 124700 w 203591"/>
                <a:gd name="connsiteY735" fmla="*/ 196911 h 279938"/>
                <a:gd name="connsiteX736" fmla="*/ 125336 w 203591"/>
                <a:gd name="connsiteY736" fmla="*/ 196593 h 279938"/>
                <a:gd name="connsiteX737" fmla="*/ 125972 w 203591"/>
                <a:gd name="connsiteY737" fmla="*/ 196911 h 279938"/>
                <a:gd name="connsiteX738" fmla="*/ 125654 w 203591"/>
                <a:gd name="connsiteY738" fmla="*/ 197547 h 279938"/>
                <a:gd name="connsiteX739" fmla="*/ 125336 w 203591"/>
                <a:gd name="connsiteY739" fmla="*/ 198184 h 279938"/>
                <a:gd name="connsiteX740" fmla="*/ 124700 w 203591"/>
                <a:gd name="connsiteY740" fmla="*/ 200410 h 279938"/>
                <a:gd name="connsiteX741" fmla="*/ 124700 w 203591"/>
                <a:gd name="connsiteY741" fmla="*/ 201365 h 279938"/>
                <a:gd name="connsiteX742" fmla="*/ 125018 w 203591"/>
                <a:gd name="connsiteY742" fmla="*/ 202001 h 279938"/>
                <a:gd name="connsiteX743" fmla="*/ 124700 w 203591"/>
                <a:gd name="connsiteY743" fmla="*/ 202955 h 279938"/>
                <a:gd name="connsiteX744" fmla="*/ 124382 w 203591"/>
                <a:gd name="connsiteY744" fmla="*/ 203273 h 279938"/>
                <a:gd name="connsiteX745" fmla="*/ 124382 w 203591"/>
                <a:gd name="connsiteY745" fmla="*/ 203592 h 279938"/>
                <a:gd name="connsiteX746" fmla="*/ 123745 w 203591"/>
                <a:gd name="connsiteY746" fmla="*/ 204228 h 279938"/>
                <a:gd name="connsiteX747" fmla="*/ 123109 w 203591"/>
                <a:gd name="connsiteY747" fmla="*/ 205500 h 279938"/>
                <a:gd name="connsiteX748" fmla="*/ 122791 w 203591"/>
                <a:gd name="connsiteY748" fmla="*/ 206455 h 279938"/>
                <a:gd name="connsiteX749" fmla="*/ 120564 w 203591"/>
                <a:gd name="connsiteY749" fmla="*/ 207409 h 279938"/>
                <a:gd name="connsiteX750" fmla="*/ 120564 w 203591"/>
                <a:gd name="connsiteY750" fmla="*/ 208363 h 279938"/>
                <a:gd name="connsiteX751" fmla="*/ 118338 w 203591"/>
                <a:gd name="connsiteY751" fmla="*/ 210590 h 279938"/>
                <a:gd name="connsiteX752" fmla="*/ 118656 w 203591"/>
                <a:gd name="connsiteY752" fmla="*/ 210590 h 279938"/>
                <a:gd name="connsiteX753" fmla="*/ 119292 w 203591"/>
                <a:gd name="connsiteY753" fmla="*/ 211544 h 279938"/>
                <a:gd name="connsiteX754" fmla="*/ 119292 w 203591"/>
                <a:gd name="connsiteY754" fmla="*/ 211862 h 279938"/>
                <a:gd name="connsiteX755" fmla="*/ 118974 w 203591"/>
                <a:gd name="connsiteY755" fmla="*/ 213135 h 279938"/>
                <a:gd name="connsiteX756" fmla="*/ 118656 w 203591"/>
                <a:gd name="connsiteY756" fmla="*/ 213771 h 279938"/>
                <a:gd name="connsiteX757" fmla="*/ 117701 w 203591"/>
                <a:gd name="connsiteY757" fmla="*/ 215362 h 279938"/>
                <a:gd name="connsiteX758" fmla="*/ 118338 w 203591"/>
                <a:gd name="connsiteY758" fmla="*/ 215680 h 279938"/>
                <a:gd name="connsiteX759" fmla="*/ 116747 w 203591"/>
                <a:gd name="connsiteY759" fmla="*/ 216952 h 279938"/>
                <a:gd name="connsiteX760" fmla="*/ 116111 w 203591"/>
                <a:gd name="connsiteY760" fmla="*/ 216634 h 279938"/>
                <a:gd name="connsiteX761" fmla="*/ 115793 w 203591"/>
                <a:gd name="connsiteY761" fmla="*/ 215362 h 279938"/>
                <a:gd name="connsiteX762" fmla="*/ 116429 w 203591"/>
                <a:gd name="connsiteY762" fmla="*/ 215044 h 279938"/>
                <a:gd name="connsiteX763" fmla="*/ 117065 w 203591"/>
                <a:gd name="connsiteY763" fmla="*/ 214089 h 279938"/>
                <a:gd name="connsiteX764" fmla="*/ 116747 w 203591"/>
                <a:gd name="connsiteY764" fmla="*/ 213771 h 279938"/>
                <a:gd name="connsiteX765" fmla="*/ 114520 w 203591"/>
                <a:gd name="connsiteY765" fmla="*/ 215044 h 279938"/>
                <a:gd name="connsiteX766" fmla="*/ 114520 w 203591"/>
                <a:gd name="connsiteY766" fmla="*/ 215362 h 279938"/>
                <a:gd name="connsiteX767" fmla="*/ 113566 w 203591"/>
                <a:gd name="connsiteY767" fmla="*/ 217588 h 279938"/>
                <a:gd name="connsiteX768" fmla="*/ 113566 w 203591"/>
                <a:gd name="connsiteY768" fmla="*/ 217907 h 279938"/>
                <a:gd name="connsiteX769" fmla="*/ 112929 w 203591"/>
                <a:gd name="connsiteY769" fmla="*/ 219179 h 279938"/>
                <a:gd name="connsiteX770" fmla="*/ 112929 w 203591"/>
                <a:gd name="connsiteY770" fmla="*/ 220451 h 279938"/>
                <a:gd name="connsiteX771" fmla="*/ 113566 w 203591"/>
                <a:gd name="connsiteY771" fmla="*/ 220770 h 279938"/>
                <a:gd name="connsiteX772" fmla="*/ 112929 w 203591"/>
                <a:gd name="connsiteY772" fmla="*/ 221406 h 279938"/>
                <a:gd name="connsiteX773" fmla="*/ 112611 w 203591"/>
                <a:gd name="connsiteY773" fmla="*/ 223314 h 279938"/>
                <a:gd name="connsiteX774" fmla="*/ 112611 w 203591"/>
                <a:gd name="connsiteY774" fmla="*/ 224905 h 279938"/>
                <a:gd name="connsiteX775" fmla="*/ 111657 w 203591"/>
                <a:gd name="connsiteY775" fmla="*/ 225859 h 279938"/>
                <a:gd name="connsiteX776" fmla="*/ 111657 w 203591"/>
                <a:gd name="connsiteY776" fmla="*/ 227132 h 279938"/>
                <a:gd name="connsiteX777" fmla="*/ 111021 w 203591"/>
                <a:gd name="connsiteY777" fmla="*/ 228404 h 279938"/>
                <a:gd name="connsiteX778" fmla="*/ 110385 w 203591"/>
                <a:gd name="connsiteY778" fmla="*/ 228404 h 279938"/>
                <a:gd name="connsiteX779" fmla="*/ 109430 w 203591"/>
                <a:gd name="connsiteY779" fmla="*/ 228722 h 279938"/>
                <a:gd name="connsiteX780" fmla="*/ 109112 w 203591"/>
                <a:gd name="connsiteY780" fmla="*/ 229359 h 279938"/>
                <a:gd name="connsiteX781" fmla="*/ 110067 w 203591"/>
                <a:gd name="connsiteY781" fmla="*/ 229995 h 279938"/>
                <a:gd name="connsiteX782" fmla="*/ 109430 w 203591"/>
                <a:gd name="connsiteY782" fmla="*/ 230949 h 279938"/>
                <a:gd name="connsiteX783" fmla="*/ 107204 w 203591"/>
                <a:gd name="connsiteY783" fmla="*/ 231904 h 279938"/>
                <a:gd name="connsiteX784" fmla="*/ 106567 w 203591"/>
                <a:gd name="connsiteY784" fmla="*/ 232222 h 279938"/>
                <a:gd name="connsiteX785" fmla="*/ 106249 w 203591"/>
                <a:gd name="connsiteY785" fmla="*/ 232858 h 279938"/>
                <a:gd name="connsiteX786" fmla="*/ 106249 w 203591"/>
                <a:gd name="connsiteY786" fmla="*/ 234130 h 279938"/>
                <a:gd name="connsiteX787" fmla="*/ 105295 w 203591"/>
                <a:gd name="connsiteY787" fmla="*/ 235721 h 279938"/>
                <a:gd name="connsiteX788" fmla="*/ 104659 w 203591"/>
                <a:gd name="connsiteY788" fmla="*/ 236357 h 279938"/>
                <a:gd name="connsiteX789" fmla="*/ 104659 w 203591"/>
                <a:gd name="connsiteY789" fmla="*/ 236993 h 279938"/>
                <a:gd name="connsiteX790" fmla="*/ 104341 w 203591"/>
                <a:gd name="connsiteY790" fmla="*/ 237630 h 279938"/>
                <a:gd name="connsiteX791" fmla="*/ 103386 w 203591"/>
                <a:gd name="connsiteY791" fmla="*/ 237311 h 279938"/>
                <a:gd name="connsiteX792" fmla="*/ 103386 w 203591"/>
                <a:gd name="connsiteY792" fmla="*/ 236993 h 279938"/>
                <a:gd name="connsiteX793" fmla="*/ 103068 w 203591"/>
                <a:gd name="connsiteY793" fmla="*/ 237311 h 279938"/>
                <a:gd name="connsiteX794" fmla="*/ 102114 w 203591"/>
                <a:gd name="connsiteY794" fmla="*/ 237948 h 279938"/>
                <a:gd name="connsiteX795" fmla="*/ 101796 w 203591"/>
                <a:gd name="connsiteY795" fmla="*/ 238584 h 279938"/>
                <a:gd name="connsiteX796" fmla="*/ 101796 w 203591"/>
                <a:gd name="connsiteY796" fmla="*/ 239220 h 279938"/>
                <a:gd name="connsiteX797" fmla="*/ 102114 w 203591"/>
                <a:gd name="connsiteY797" fmla="*/ 239538 h 279938"/>
                <a:gd name="connsiteX798" fmla="*/ 103386 w 203591"/>
                <a:gd name="connsiteY798" fmla="*/ 238266 h 279938"/>
                <a:gd name="connsiteX799" fmla="*/ 103705 w 203591"/>
                <a:gd name="connsiteY799" fmla="*/ 237948 h 279938"/>
                <a:gd name="connsiteX800" fmla="*/ 104341 w 203591"/>
                <a:gd name="connsiteY800" fmla="*/ 238266 h 279938"/>
                <a:gd name="connsiteX801" fmla="*/ 104977 w 203591"/>
                <a:gd name="connsiteY801" fmla="*/ 239220 h 279938"/>
                <a:gd name="connsiteX802" fmla="*/ 106249 w 203591"/>
                <a:gd name="connsiteY802" fmla="*/ 239856 h 279938"/>
                <a:gd name="connsiteX803" fmla="*/ 107204 w 203591"/>
                <a:gd name="connsiteY803" fmla="*/ 239856 h 279938"/>
                <a:gd name="connsiteX804" fmla="*/ 106886 w 203591"/>
                <a:gd name="connsiteY804" fmla="*/ 239538 h 279938"/>
                <a:gd name="connsiteX805" fmla="*/ 106886 w 203591"/>
                <a:gd name="connsiteY805" fmla="*/ 238266 h 279938"/>
                <a:gd name="connsiteX806" fmla="*/ 107522 w 203591"/>
                <a:gd name="connsiteY806" fmla="*/ 237948 h 279938"/>
                <a:gd name="connsiteX807" fmla="*/ 107522 w 203591"/>
                <a:gd name="connsiteY807" fmla="*/ 238266 h 279938"/>
                <a:gd name="connsiteX808" fmla="*/ 107840 w 203591"/>
                <a:gd name="connsiteY808" fmla="*/ 240493 h 279938"/>
                <a:gd name="connsiteX809" fmla="*/ 107840 w 203591"/>
                <a:gd name="connsiteY809" fmla="*/ 241129 h 279938"/>
                <a:gd name="connsiteX810" fmla="*/ 106249 w 203591"/>
                <a:gd name="connsiteY810" fmla="*/ 242401 h 279938"/>
                <a:gd name="connsiteX811" fmla="*/ 104977 w 203591"/>
                <a:gd name="connsiteY811" fmla="*/ 243356 h 279938"/>
                <a:gd name="connsiteX812" fmla="*/ 103705 w 203591"/>
                <a:gd name="connsiteY812" fmla="*/ 242719 h 279938"/>
                <a:gd name="connsiteX813" fmla="*/ 103068 w 203591"/>
                <a:gd name="connsiteY813" fmla="*/ 242401 h 279938"/>
                <a:gd name="connsiteX814" fmla="*/ 102432 w 203591"/>
                <a:gd name="connsiteY814" fmla="*/ 243037 h 279938"/>
                <a:gd name="connsiteX815" fmla="*/ 101478 w 203591"/>
                <a:gd name="connsiteY815" fmla="*/ 243674 h 279938"/>
                <a:gd name="connsiteX816" fmla="*/ 100841 w 203591"/>
                <a:gd name="connsiteY816" fmla="*/ 243992 h 279938"/>
                <a:gd name="connsiteX817" fmla="*/ 101796 w 203591"/>
                <a:gd name="connsiteY817" fmla="*/ 244946 h 279938"/>
                <a:gd name="connsiteX818" fmla="*/ 101796 w 203591"/>
                <a:gd name="connsiteY818" fmla="*/ 245582 h 279938"/>
                <a:gd name="connsiteX819" fmla="*/ 102432 w 203591"/>
                <a:gd name="connsiteY819" fmla="*/ 246219 h 279938"/>
                <a:gd name="connsiteX820" fmla="*/ 102750 w 203591"/>
                <a:gd name="connsiteY820" fmla="*/ 246855 h 279938"/>
                <a:gd name="connsiteX821" fmla="*/ 101796 w 203591"/>
                <a:gd name="connsiteY821" fmla="*/ 247491 h 279938"/>
                <a:gd name="connsiteX822" fmla="*/ 99569 w 203591"/>
                <a:gd name="connsiteY822" fmla="*/ 249718 h 279938"/>
                <a:gd name="connsiteX823" fmla="*/ 98933 w 203591"/>
                <a:gd name="connsiteY823" fmla="*/ 250354 h 279938"/>
                <a:gd name="connsiteX824" fmla="*/ 99569 w 203591"/>
                <a:gd name="connsiteY824" fmla="*/ 251308 h 279938"/>
                <a:gd name="connsiteX825" fmla="*/ 99887 w 203591"/>
                <a:gd name="connsiteY825" fmla="*/ 250990 h 279938"/>
                <a:gd name="connsiteX826" fmla="*/ 100523 w 203591"/>
                <a:gd name="connsiteY826" fmla="*/ 250672 h 279938"/>
                <a:gd name="connsiteX827" fmla="*/ 100523 w 203591"/>
                <a:gd name="connsiteY827" fmla="*/ 250990 h 279938"/>
                <a:gd name="connsiteX828" fmla="*/ 100841 w 203591"/>
                <a:gd name="connsiteY828" fmla="*/ 250990 h 279938"/>
                <a:gd name="connsiteX829" fmla="*/ 100523 w 203591"/>
                <a:gd name="connsiteY829" fmla="*/ 251308 h 279938"/>
                <a:gd name="connsiteX830" fmla="*/ 100205 w 203591"/>
                <a:gd name="connsiteY830" fmla="*/ 251945 h 279938"/>
                <a:gd name="connsiteX831" fmla="*/ 100523 w 203591"/>
                <a:gd name="connsiteY831" fmla="*/ 252263 h 279938"/>
                <a:gd name="connsiteX832" fmla="*/ 100205 w 203591"/>
                <a:gd name="connsiteY832" fmla="*/ 252581 h 279938"/>
                <a:gd name="connsiteX833" fmla="*/ 99569 w 203591"/>
                <a:gd name="connsiteY833" fmla="*/ 253535 h 279938"/>
                <a:gd name="connsiteX834" fmla="*/ 98933 w 203591"/>
                <a:gd name="connsiteY834" fmla="*/ 253853 h 279938"/>
                <a:gd name="connsiteX835" fmla="*/ 97978 w 203591"/>
                <a:gd name="connsiteY835" fmla="*/ 255444 h 279938"/>
                <a:gd name="connsiteX836" fmla="*/ 97978 w 203591"/>
                <a:gd name="connsiteY836" fmla="*/ 256080 h 279938"/>
                <a:gd name="connsiteX837" fmla="*/ 96706 w 203591"/>
                <a:gd name="connsiteY837" fmla="*/ 257989 h 279938"/>
                <a:gd name="connsiteX838" fmla="*/ 96706 w 203591"/>
                <a:gd name="connsiteY838" fmla="*/ 259579 h 279938"/>
                <a:gd name="connsiteX839" fmla="*/ 95433 w 203591"/>
                <a:gd name="connsiteY839" fmla="*/ 261170 h 279938"/>
                <a:gd name="connsiteX840" fmla="*/ 94479 w 203591"/>
                <a:gd name="connsiteY840" fmla="*/ 262760 h 279938"/>
                <a:gd name="connsiteX841" fmla="*/ 93843 w 203591"/>
                <a:gd name="connsiteY841" fmla="*/ 263397 h 279938"/>
                <a:gd name="connsiteX842" fmla="*/ 93525 w 203591"/>
                <a:gd name="connsiteY842" fmla="*/ 264033 h 279938"/>
                <a:gd name="connsiteX843" fmla="*/ 93525 w 203591"/>
                <a:gd name="connsiteY843" fmla="*/ 264669 h 279938"/>
                <a:gd name="connsiteX844" fmla="*/ 91616 w 203591"/>
                <a:gd name="connsiteY844" fmla="*/ 265941 h 279938"/>
                <a:gd name="connsiteX845" fmla="*/ 91298 w 203591"/>
                <a:gd name="connsiteY845" fmla="*/ 266578 h 279938"/>
                <a:gd name="connsiteX846" fmla="*/ 91934 w 203591"/>
                <a:gd name="connsiteY846" fmla="*/ 267214 h 279938"/>
                <a:gd name="connsiteX847" fmla="*/ 92252 w 203591"/>
                <a:gd name="connsiteY847" fmla="*/ 267850 h 279938"/>
                <a:gd name="connsiteX848" fmla="*/ 91934 w 203591"/>
                <a:gd name="connsiteY848" fmla="*/ 268168 h 279938"/>
                <a:gd name="connsiteX849" fmla="*/ 91298 w 203591"/>
                <a:gd name="connsiteY849" fmla="*/ 269123 h 279938"/>
                <a:gd name="connsiteX850" fmla="*/ 91616 w 203591"/>
                <a:gd name="connsiteY850" fmla="*/ 269759 h 279938"/>
                <a:gd name="connsiteX851" fmla="*/ 91934 w 203591"/>
                <a:gd name="connsiteY851" fmla="*/ 270395 h 279938"/>
                <a:gd name="connsiteX852" fmla="*/ 91934 w 203591"/>
                <a:gd name="connsiteY852" fmla="*/ 270713 h 279938"/>
                <a:gd name="connsiteX853" fmla="*/ 91616 w 203591"/>
                <a:gd name="connsiteY853" fmla="*/ 271031 h 279938"/>
                <a:gd name="connsiteX854" fmla="*/ 90662 w 203591"/>
                <a:gd name="connsiteY854" fmla="*/ 271031 h 279938"/>
                <a:gd name="connsiteX855" fmla="*/ 90026 w 203591"/>
                <a:gd name="connsiteY855" fmla="*/ 271667 h 279938"/>
                <a:gd name="connsiteX856" fmla="*/ 88435 w 203591"/>
                <a:gd name="connsiteY856" fmla="*/ 273894 h 279938"/>
                <a:gd name="connsiteX857" fmla="*/ 87163 w 203591"/>
                <a:gd name="connsiteY857" fmla="*/ 275167 h 279938"/>
                <a:gd name="connsiteX858" fmla="*/ 86844 w 203591"/>
                <a:gd name="connsiteY858" fmla="*/ 275803 h 279938"/>
                <a:gd name="connsiteX859" fmla="*/ 85572 w 203591"/>
                <a:gd name="connsiteY859" fmla="*/ 275803 h 279938"/>
                <a:gd name="connsiteX860" fmla="*/ 84299 w 203591"/>
                <a:gd name="connsiteY860" fmla="*/ 276439 h 279938"/>
                <a:gd name="connsiteX861" fmla="*/ 83345 w 203591"/>
                <a:gd name="connsiteY861" fmla="*/ 277075 h 279938"/>
                <a:gd name="connsiteX862" fmla="*/ 83027 w 203591"/>
                <a:gd name="connsiteY862" fmla="*/ 277394 h 279938"/>
                <a:gd name="connsiteX863" fmla="*/ 82709 w 203591"/>
                <a:gd name="connsiteY863" fmla="*/ 278030 h 279938"/>
                <a:gd name="connsiteX864" fmla="*/ 81755 w 203591"/>
                <a:gd name="connsiteY864" fmla="*/ 277712 h 279938"/>
                <a:gd name="connsiteX865" fmla="*/ 78892 w 203591"/>
                <a:gd name="connsiteY865" fmla="*/ 281211 h 279938"/>
                <a:gd name="connsiteX866" fmla="*/ 78256 w 203591"/>
                <a:gd name="connsiteY866" fmla="*/ 281847 h 279938"/>
                <a:gd name="connsiteX867" fmla="*/ 75393 w 203591"/>
                <a:gd name="connsiteY867" fmla="*/ 281847 h 279938"/>
                <a:gd name="connsiteX868" fmla="*/ 74438 w 203591"/>
                <a:gd name="connsiteY868" fmla="*/ 281211 h 279938"/>
                <a:gd name="connsiteX869" fmla="*/ 72211 w 203591"/>
                <a:gd name="connsiteY869" fmla="*/ 281529 h 279938"/>
                <a:gd name="connsiteX870" fmla="*/ 70939 w 203591"/>
                <a:gd name="connsiteY870" fmla="*/ 281211 h 279938"/>
                <a:gd name="connsiteX871" fmla="*/ 69666 w 203591"/>
                <a:gd name="connsiteY871" fmla="*/ 281529 h 279938"/>
                <a:gd name="connsiteX872" fmla="*/ 68712 w 203591"/>
                <a:gd name="connsiteY872" fmla="*/ 281847 h 279938"/>
                <a:gd name="connsiteX873" fmla="*/ 64259 w 203591"/>
                <a:gd name="connsiteY873" fmla="*/ 279302 h 279938"/>
                <a:gd name="connsiteX874" fmla="*/ 63304 w 203591"/>
                <a:gd name="connsiteY874" fmla="*/ 279620 h 279938"/>
                <a:gd name="connsiteX875" fmla="*/ 62668 w 203591"/>
                <a:gd name="connsiteY875" fmla="*/ 279938 h 279938"/>
                <a:gd name="connsiteX876" fmla="*/ 61714 w 203591"/>
                <a:gd name="connsiteY876" fmla="*/ 279620 h 279938"/>
                <a:gd name="connsiteX877" fmla="*/ 59487 w 203591"/>
                <a:gd name="connsiteY877" fmla="*/ 277712 h 279938"/>
                <a:gd name="connsiteX878" fmla="*/ 57578 w 203591"/>
                <a:gd name="connsiteY878" fmla="*/ 277075 h 279938"/>
                <a:gd name="connsiteX879" fmla="*/ 56942 w 203591"/>
                <a:gd name="connsiteY879" fmla="*/ 276121 h 279938"/>
                <a:gd name="connsiteX880" fmla="*/ 55988 w 203591"/>
                <a:gd name="connsiteY880" fmla="*/ 275167 h 279938"/>
                <a:gd name="connsiteX881" fmla="*/ 54397 w 203591"/>
                <a:gd name="connsiteY881" fmla="*/ 274212 h 279938"/>
                <a:gd name="connsiteX882" fmla="*/ 54079 w 203591"/>
                <a:gd name="connsiteY882" fmla="*/ 273576 h 279938"/>
                <a:gd name="connsiteX883" fmla="*/ 54715 w 203591"/>
                <a:gd name="connsiteY883" fmla="*/ 273258 h 279938"/>
                <a:gd name="connsiteX884" fmla="*/ 55033 w 203591"/>
                <a:gd name="connsiteY884" fmla="*/ 273258 h 279938"/>
                <a:gd name="connsiteX885" fmla="*/ 54715 w 203591"/>
                <a:gd name="connsiteY885" fmla="*/ 272940 h 279938"/>
                <a:gd name="connsiteX886" fmla="*/ 54715 w 203591"/>
                <a:gd name="connsiteY886" fmla="*/ 271986 h 279938"/>
                <a:gd name="connsiteX887" fmla="*/ 54397 w 203591"/>
                <a:gd name="connsiteY887" fmla="*/ 271667 h 279938"/>
                <a:gd name="connsiteX888" fmla="*/ 53125 w 203591"/>
                <a:gd name="connsiteY888" fmla="*/ 271031 h 279938"/>
                <a:gd name="connsiteX889" fmla="*/ 53443 w 203591"/>
                <a:gd name="connsiteY889" fmla="*/ 270713 h 279938"/>
                <a:gd name="connsiteX890" fmla="*/ 53761 w 203591"/>
                <a:gd name="connsiteY890" fmla="*/ 270395 h 279938"/>
                <a:gd name="connsiteX891" fmla="*/ 53761 w 203591"/>
                <a:gd name="connsiteY891" fmla="*/ 270077 h 279938"/>
                <a:gd name="connsiteX892" fmla="*/ 53443 w 203591"/>
                <a:gd name="connsiteY892" fmla="*/ 269441 h 279938"/>
                <a:gd name="connsiteX893" fmla="*/ 53125 w 203591"/>
                <a:gd name="connsiteY893" fmla="*/ 269123 h 279938"/>
                <a:gd name="connsiteX894" fmla="*/ 53443 w 203591"/>
                <a:gd name="connsiteY894" fmla="*/ 268168 h 279938"/>
                <a:gd name="connsiteX895" fmla="*/ 52806 w 203591"/>
                <a:gd name="connsiteY895" fmla="*/ 267532 h 279938"/>
                <a:gd name="connsiteX896" fmla="*/ 52806 w 203591"/>
                <a:gd name="connsiteY896" fmla="*/ 267214 h 279938"/>
                <a:gd name="connsiteX897" fmla="*/ 52488 w 203591"/>
                <a:gd name="connsiteY897" fmla="*/ 266260 h 279938"/>
                <a:gd name="connsiteX898" fmla="*/ 52170 w 203591"/>
                <a:gd name="connsiteY898" fmla="*/ 264669 h 279938"/>
                <a:gd name="connsiteX899" fmla="*/ 51852 w 203591"/>
                <a:gd name="connsiteY899" fmla="*/ 263397 h 279938"/>
                <a:gd name="connsiteX900" fmla="*/ 50580 w 203591"/>
                <a:gd name="connsiteY900" fmla="*/ 263078 h 279938"/>
                <a:gd name="connsiteX901" fmla="*/ 49944 w 203591"/>
                <a:gd name="connsiteY901" fmla="*/ 263078 h 279938"/>
                <a:gd name="connsiteX902" fmla="*/ 49307 w 203591"/>
                <a:gd name="connsiteY902" fmla="*/ 262760 h 279938"/>
                <a:gd name="connsiteX903" fmla="*/ 49307 w 203591"/>
                <a:gd name="connsiteY903" fmla="*/ 261806 h 279938"/>
                <a:gd name="connsiteX904" fmla="*/ 49625 w 203591"/>
                <a:gd name="connsiteY904" fmla="*/ 261488 h 279938"/>
                <a:gd name="connsiteX905" fmla="*/ 50262 w 203591"/>
                <a:gd name="connsiteY905" fmla="*/ 260534 h 279938"/>
                <a:gd name="connsiteX906" fmla="*/ 50262 w 203591"/>
                <a:gd name="connsiteY906" fmla="*/ 259579 h 279938"/>
                <a:gd name="connsiteX907" fmla="*/ 49944 w 203591"/>
                <a:gd name="connsiteY907" fmla="*/ 257034 h 279938"/>
                <a:gd name="connsiteX908" fmla="*/ 49307 w 203591"/>
                <a:gd name="connsiteY908" fmla="*/ 255762 h 279938"/>
                <a:gd name="connsiteX909" fmla="*/ 49307 w 203591"/>
                <a:gd name="connsiteY909" fmla="*/ 255444 h 279938"/>
                <a:gd name="connsiteX910" fmla="*/ 48989 w 203591"/>
                <a:gd name="connsiteY910" fmla="*/ 255126 h 279938"/>
                <a:gd name="connsiteX911" fmla="*/ 48989 w 203591"/>
                <a:gd name="connsiteY911" fmla="*/ 255444 h 279938"/>
                <a:gd name="connsiteX912" fmla="*/ 48353 w 203591"/>
                <a:gd name="connsiteY912" fmla="*/ 255444 h 279938"/>
                <a:gd name="connsiteX913" fmla="*/ 48353 w 203591"/>
                <a:gd name="connsiteY913" fmla="*/ 254489 h 279938"/>
                <a:gd name="connsiteX914" fmla="*/ 48035 w 203591"/>
                <a:gd name="connsiteY914" fmla="*/ 253853 h 279938"/>
                <a:gd name="connsiteX915" fmla="*/ 47717 w 203591"/>
                <a:gd name="connsiteY915" fmla="*/ 253535 h 279938"/>
                <a:gd name="connsiteX916" fmla="*/ 48671 w 203591"/>
                <a:gd name="connsiteY916" fmla="*/ 252581 h 279938"/>
                <a:gd name="connsiteX917" fmla="*/ 48353 w 203591"/>
                <a:gd name="connsiteY917" fmla="*/ 251626 h 279938"/>
                <a:gd name="connsiteX918" fmla="*/ 47717 w 203591"/>
                <a:gd name="connsiteY918" fmla="*/ 251308 h 279938"/>
                <a:gd name="connsiteX919" fmla="*/ 47717 w 203591"/>
                <a:gd name="connsiteY919" fmla="*/ 249082 h 279938"/>
                <a:gd name="connsiteX920" fmla="*/ 48035 w 203591"/>
                <a:gd name="connsiteY920" fmla="*/ 246855 h 279938"/>
                <a:gd name="connsiteX921" fmla="*/ 48671 w 203591"/>
                <a:gd name="connsiteY921" fmla="*/ 246855 h 279938"/>
                <a:gd name="connsiteX922" fmla="*/ 49307 w 203591"/>
                <a:gd name="connsiteY922" fmla="*/ 246219 h 279938"/>
                <a:gd name="connsiteX923" fmla="*/ 48989 w 203591"/>
                <a:gd name="connsiteY923" fmla="*/ 244310 h 279938"/>
                <a:gd name="connsiteX924" fmla="*/ 48671 w 203591"/>
                <a:gd name="connsiteY924" fmla="*/ 243674 h 279938"/>
                <a:gd name="connsiteX925" fmla="*/ 48671 w 203591"/>
                <a:gd name="connsiteY925" fmla="*/ 243037 h 279938"/>
                <a:gd name="connsiteX926" fmla="*/ 48989 w 203591"/>
                <a:gd name="connsiteY926" fmla="*/ 241765 h 279938"/>
                <a:gd name="connsiteX927" fmla="*/ 48671 w 203591"/>
                <a:gd name="connsiteY927" fmla="*/ 240174 h 279938"/>
                <a:gd name="connsiteX928" fmla="*/ 48989 w 203591"/>
                <a:gd name="connsiteY928" fmla="*/ 239856 h 279938"/>
                <a:gd name="connsiteX929" fmla="*/ 47399 w 203591"/>
                <a:gd name="connsiteY929" fmla="*/ 238266 h 279938"/>
                <a:gd name="connsiteX930" fmla="*/ 47717 w 203591"/>
                <a:gd name="connsiteY930" fmla="*/ 237630 h 279938"/>
                <a:gd name="connsiteX931" fmla="*/ 46762 w 203591"/>
                <a:gd name="connsiteY931" fmla="*/ 236993 h 279938"/>
                <a:gd name="connsiteX932" fmla="*/ 47081 w 203591"/>
                <a:gd name="connsiteY932" fmla="*/ 236675 h 279938"/>
                <a:gd name="connsiteX933" fmla="*/ 48671 w 203591"/>
                <a:gd name="connsiteY933" fmla="*/ 235403 h 279938"/>
                <a:gd name="connsiteX934" fmla="*/ 47717 w 203591"/>
                <a:gd name="connsiteY934" fmla="*/ 233494 h 279938"/>
                <a:gd name="connsiteX935" fmla="*/ 47399 w 203591"/>
                <a:gd name="connsiteY935" fmla="*/ 233176 h 279938"/>
                <a:gd name="connsiteX936" fmla="*/ 47717 w 203591"/>
                <a:gd name="connsiteY936" fmla="*/ 232540 h 279938"/>
                <a:gd name="connsiteX937" fmla="*/ 47081 w 203591"/>
                <a:gd name="connsiteY937" fmla="*/ 232222 h 279938"/>
                <a:gd name="connsiteX938" fmla="*/ 47081 w 203591"/>
                <a:gd name="connsiteY938" fmla="*/ 231585 h 279938"/>
                <a:gd name="connsiteX939" fmla="*/ 46762 w 203591"/>
                <a:gd name="connsiteY939" fmla="*/ 229041 h 279938"/>
                <a:gd name="connsiteX940" fmla="*/ 46762 w 203591"/>
                <a:gd name="connsiteY940" fmla="*/ 226814 h 279938"/>
                <a:gd name="connsiteX941" fmla="*/ 47081 w 203591"/>
                <a:gd name="connsiteY941" fmla="*/ 225541 h 279938"/>
                <a:gd name="connsiteX942" fmla="*/ 48353 w 203591"/>
                <a:gd name="connsiteY942" fmla="*/ 225223 h 279938"/>
                <a:gd name="connsiteX943" fmla="*/ 47399 w 203591"/>
                <a:gd name="connsiteY943" fmla="*/ 223951 h 279938"/>
                <a:gd name="connsiteX944" fmla="*/ 47081 w 203591"/>
                <a:gd name="connsiteY944" fmla="*/ 223314 h 279938"/>
                <a:gd name="connsiteX945" fmla="*/ 48035 w 203591"/>
                <a:gd name="connsiteY945" fmla="*/ 222042 h 279938"/>
                <a:gd name="connsiteX946" fmla="*/ 47717 w 203591"/>
                <a:gd name="connsiteY946" fmla="*/ 220770 h 279938"/>
                <a:gd name="connsiteX947" fmla="*/ 47717 w 203591"/>
                <a:gd name="connsiteY947" fmla="*/ 218861 h 279938"/>
                <a:gd name="connsiteX948" fmla="*/ 48989 w 203591"/>
                <a:gd name="connsiteY948" fmla="*/ 216952 h 279938"/>
                <a:gd name="connsiteX949" fmla="*/ 48671 w 203591"/>
                <a:gd name="connsiteY949" fmla="*/ 216634 h 279938"/>
                <a:gd name="connsiteX950" fmla="*/ 48671 w 203591"/>
                <a:gd name="connsiteY950" fmla="*/ 215044 h 279938"/>
                <a:gd name="connsiteX951" fmla="*/ 48353 w 203591"/>
                <a:gd name="connsiteY951" fmla="*/ 214725 h 279938"/>
                <a:gd name="connsiteX952" fmla="*/ 48671 w 203591"/>
                <a:gd name="connsiteY952" fmla="*/ 214089 h 279938"/>
                <a:gd name="connsiteX953" fmla="*/ 49625 w 203591"/>
                <a:gd name="connsiteY953" fmla="*/ 213135 h 279938"/>
                <a:gd name="connsiteX954" fmla="*/ 49307 w 203591"/>
                <a:gd name="connsiteY954" fmla="*/ 211226 h 279938"/>
                <a:gd name="connsiteX955" fmla="*/ 49625 w 203591"/>
                <a:gd name="connsiteY955" fmla="*/ 210272 h 279938"/>
                <a:gd name="connsiteX956" fmla="*/ 49307 w 203591"/>
                <a:gd name="connsiteY956" fmla="*/ 208999 h 279938"/>
                <a:gd name="connsiteX957" fmla="*/ 49307 w 203591"/>
                <a:gd name="connsiteY957" fmla="*/ 208363 h 279938"/>
                <a:gd name="connsiteX958" fmla="*/ 50262 w 203591"/>
                <a:gd name="connsiteY958" fmla="*/ 207091 h 279938"/>
                <a:gd name="connsiteX959" fmla="*/ 50262 w 203591"/>
                <a:gd name="connsiteY959" fmla="*/ 203592 h 279938"/>
                <a:gd name="connsiteX960" fmla="*/ 50580 w 203591"/>
                <a:gd name="connsiteY960" fmla="*/ 203273 h 279938"/>
                <a:gd name="connsiteX961" fmla="*/ 49944 w 203591"/>
                <a:gd name="connsiteY961" fmla="*/ 202001 h 279938"/>
                <a:gd name="connsiteX962" fmla="*/ 49944 w 203591"/>
                <a:gd name="connsiteY962" fmla="*/ 201365 h 279938"/>
                <a:gd name="connsiteX963" fmla="*/ 50898 w 203591"/>
                <a:gd name="connsiteY963" fmla="*/ 199774 h 279938"/>
                <a:gd name="connsiteX964" fmla="*/ 50580 w 203591"/>
                <a:gd name="connsiteY964" fmla="*/ 198820 h 279938"/>
                <a:gd name="connsiteX965" fmla="*/ 50262 w 203591"/>
                <a:gd name="connsiteY965" fmla="*/ 198184 h 279938"/>
                <a:gd name="connsiteX966" fmla="*/ 50580 w 203591"/>
                <a:gd name="connsiteY966" fmla="*/ 197866 h 279938"/>
                <a:gd name="connsiteX967" fmla="*/ 50898 w 203591"/>
                <a:gd name="connsiteY967" fmla="*/ 197547 h 279938"/>
                <a:gd name="connsiteX968" fmla="*/ 50262 w 203591"/>
                <a:gd name="connsiteY968" fmla="*/ 196911 h 279938"/>
                <a:gd name="connsiteX969" fmla="*/ 49625 w 203591"/>
                <a:gd name="connsiteY969" fmla="*/ 195957 h 279938"/>
                <a:gd name="connsiteX970" fmla="*/ 49625 w 203591"/>
                <a:gd name="connsiteY970" fmla="*/ 194366 h 279938"/>
                <a:gd name="connsiteX971" fmla="*/ 49944 w 203591"/>
                <a:gd name="connsiteY971" fmla="*/ 192776 h 279938"/>
                <a:gd name="connsiteX972" fmla="*/ 50262 w 203591"/>
                <a:gd name="connsiteY972" fmla="*/ 192140 h 279938"/>
                <a:gd name="connsiteX973" fmla="*/ 49944 w 203591"/>
                <a:gd name="connsiteY973" fmla="*/ 191185 h 279938"/>
                <a:gd name="connsiteX974" fmla="*/ 50898 w 203591"/>
                <a:gd name="connsiteY974" fmla="*/ 190231 h 279938"/>
                <a:gd name="connsiteX975" fmla="*/ 51216 w 203591"/>
                <a:gd name="connsiteY975" fmla="*/ 189913 h 279938"/>
                <a:gd name="connsiteX976" fmla="*/ 51216 w 203591"/>
                <a:gd name="connsiteY976" fmla="*/ 188640 h 279938"/>
                <a:gd name="connsiteX977" fmla="*/ 50898 w 203591"/>
                <a:gd name="connsiteY977" fmla="*/ 188322 h 279938"/>
                <a:gd name="connsiteX978" fmla="*/ 51216 w 203591"/>
                <a:gd name="connsiteY978" fmla="*/ 188004 h 279938"/>
                <a:gd name="connsiteX979" fmla="*/ 52170 w 203591"/>
                <a:gd name="connsiteY979" fmla="*/ 186414 h 279938"/>
                <a:gd name="connsiteX980" fmla="*/ 51216 w 203591"/>
                <a:gd name="connsiteY980" fmla="*/ 184823 h 279938"/>
                <a:gd name="connsiteX981" fmla="*/ 51852 w 203591"/>
                <a:gd name="connsiteY981" fmla="*/ 183551 h 279938"/>
                <a:gd name="connsiteX982" fmla="*/ 51852 w 203591"/>
                <a:gd name="connsiteY982" fmla="*/ 182914 h 279938"/>
                <a:gd name="connsiteX983" fmla="*/ 52488 w 203591"/>
                <a:gd name="connsiteY983" fmla="*/ 181960 h 279938"/>
                <a:gd name="connsiteX984" fmla="*/ 52806 w 203591"/>
                <a:gd name="connsiteY984" fmla="*/ 180369 h 279938"/>
                <a:gd name="connsiteX985" fmla="*/ 52806 w 203591"/>
                <a:gd name="connsiteY985" fmla="*/ 179415 h 279938"/>
                <a:gd name="connsiteX986" fmla="*/ 52806 w 203591"/>
                <a:gd name="connsiteY986" fmla="*/ 179097 h 279938"/>
                <a:gd name="connsiteX987" fmla="*/ 52488 w 203591"/>
                <a:gd name="connsiteY987" fmla="*/ 179097 h 279938"/>
                <a:gd name="connsiteX988" fmla="*/ 52488 w 203591"/>
                <a:gd name="connsiteY988" fmla="*/ 178143 h 279938"/>
                <a:gd name="connsiteX989" fmla="*/ 52806 w 203591"/>
                <a:gd name="connsiteY989" fmla="*/ 177824 h 279938"/>
                <a:gd name="connsiteX990" fmla="*/ 54079 w 203591"/>
                <a:gd name="connsiteY990" fmla="*/ 176234 h 279938"/>
                <a:gd name="connsiteX991" fmla="*/ 53761 w 203591"/>
                <a:gd name="connsiteY991" fmla="*/ 175280 h 279938"/>
                <a:gd name="connsiteX992" fmla="*/ 54397 w 203591"/>
                <a:gd name="connsiteY992" fmla="*/ 174007 h 279938"/>
                <a:gd name="connsiteX993" fmla="*/ 54397 w 203591"/>
                <a:gd name="connsiteY993" fmla="*/ 173689 h 279938"/>
                <a:gd name="connsiteX994" fmla="*/ 53761 w 203591"/>
                <a:gd name="connsiteY994" fmla="*/ 172417 h 279938"/>
                <a:gd name="connsiteX995" fmla="*/ 53761 w 203591"/>
                <a:gd name="connsiteY995" fmla="*/ 171144 h 279938"/>
                <a:gd name="connsiteX996" fmla="*/ 54079 w 203591"/>
                <a:gd name="connsiteY996" fmla="*/ 170508 h 279938"/>
                <a:gd name="connsiteX997" fmla="*/ 54397 w 203591"/>
                <a:gd name="connsiteY997" fmla="*/ 170190 h 279938"/>
                <a:gd name="connsiteX998" fmla="*/ 54715 w 203591"/>
                <a:gd name="connsiteY998" fmla="*/ 170190 h 279938"/>
                <a:gd name="connsiteX999" fmla="*/ 55033 w 203591"/>
                <a:gd name="connsiteY999" fmla="*/ 169872 h 279938"/>
                <a:gd name="connsiteX1000" fmla="*/ 54715 w 203591"/>
                <a:gd name="connsiteY1000" fmla="*/ 169235 h 279938"/>
                <a:gd name="connsiteX1001" fmla="*/ 54397 w 203591"/>
                <a:gd name="connsiteY1001" fmla="*/ 168599 h 279938"/>
                <a:gd name="connsiteX1002" fmla="*/ 54397 w 203591"/>
                <a:gd name="connsiteY1002" fmla="*/ 168281 h 279938"/>
                <a:gd name="connsiteX1003" fmla="*/ 55033 w 203591"/>
                <a:gd name="connsiteY1003" fmla="*/ 167009 h 279938"/>
                <a:gd name="connsiteX1004" fmla="*/ 55033 w 203591"/>
                <a:gd name="connsiteY1004" fmla="*/ 166691 h 279938"/>
                <a:gd name="connsiteX1005" fmla="*/ 55351 w 203591"/>
                <a:gd name="connsiteY1005" fmla="*/ 166054 h 279938"/>
                <a:gd name="connsiteX1006" fmla="*/ 55033 w 203591"/>
                <a:gd name="connsiteY1006" fmla="*/ 165100 h 279938"/>
                <a:gd name="connsiteX1007" fmla="*/ 54397 w 203591"/>
                <a:gd name="connsiteY1007" fmla="*/ 164146 h 279938"/>
                <a:gd name="connsiteX1008" fmla="*/ 55033 w 203591"/>
                <a:gd name="connsiteY1008" fmla="*/ 163509 h 279938"/>
                <a:gd name="connsiteX1009" fmla="*/ 57260 w 203591"/>
                <a:gd name="connsiteY1009" fmla="*/ 161601 h 279938"/>
                <a:gd name="connsiteX1010" fmla="*/ 57260 w 203591"/>
                <a:gd name="connsiteY1010" fmla="*/ 160646 h 279938"/>
                <a:gd name="connsiteX1011" fmla="*/ 56942 w 203591"/>
                <a:gd name="connsiteY1011" fmla="*/ 159374 h 279938"/>
                <a:gd name="connsiteX1012" fmla="*/ 56942 w 203591"/>
                <a:gd name="connsiteY1012" fmla="*/ 158102 h 279938"/>
                <a:gd name="connsiteX1013" fmla="*/ 57578 w 203591"/>
                <a:gd name="connsiteY1013" fmla="*/ 155239 h 279938"/>
                <a:gd name="connsiteX1014" fmla="*/ 57260 w 203591"/>
                <a:gd name="connsiteY1014" fmla="*/ 154284 h 279938"/>
                <a:gd name="connsiteX1015" fmla="*/ 57578 w 203591"/>
                <a:gd name="connsiteY1015" fmla="*/ 153330 h 279938"/>
                <a:gd name="connsiteX1016" fmla="*/ 57896 w 203591"/>
                <a:gd name="connsiteY1016" fmla="*/ 152057 h 279938"/>
                <a:gd name="connsiteX1017" fmla="*/ 57896 w 203591"/>
                <a:gd name="connsiteY1017" fmla="*/ 149831 h 279938"/>
                <a:gd name="connsiteX1018" fmla="*/ 58532 w 203591"/>
                <a:gd name="connsiteY1018" fmla="*/ 149513 h 279938"/>
                <a:gd name="connsiteX1019" fmla="*/ 58532 w 203591"/>
                <a:gd name="connsiteY1019" fmla="*/ 147922 h 279938"/>
                <a:gd name="connsiteX1020" fmla="*/ 58851 w 203591"/>
                <a:gd name="connsiteY1020" fmla="*/ 146331 h 279938"/>
                <a:gd name="connsiteX1021" fmla="*/ 58214 w 203591"/>
                <a:gd name="connsiteY1021" fmla="*/ 146013 h 279938"/>
                <a:gd name="connsiteX1022" fmla="*/ 59169 w 203591"/>
                <a:gd name="connsiteY1022" fmla="*/ 144423 h 279938"/>
                <a:gd name="connsiteX1023" fmla="*/ 59487 w 203591"/>
                <a:gd name="connsiteY1023" fmla="*/ 143787 h 279938"/>
                <a:gd name="connsiteX1024" fmla="*/ 59169 w 203591"/>
                <a:gd name="connsiteY1024" fmla="*/ 142514 h 279938"/>
                <a:gd name="connsiteX1025" fmla="*/ 60123 w 203591"/>
                <a:gd name="connsiteY1025" fmla="*/ 141242 h 279938"/>
                <a:gd name="connsiteX1026" fmla="*/ 60441 w 203591"/>
                <a:gd name="connsiteY1026" fmla="*/ 140605 h 279938"/>
                <a:gd name="connsiteX1027" fmla="*/ 60123 w 203591"/>
                <a:gd name="connsiteY1027" fmla="*/ 139333 h 279938"/>
                <a:gd name="connsiteX1028" fmla="*/ 61396 w 203591"/>
                <a:gd name="connsiteY1028" fmla="*/ 137742 h 279938"/>
                <a:gd name="connsiteX1029" fmla="*/ 61077 w 203591"/>
                <a:gd name="connsiteY1029" fmla="*/ 137106 h 279938"/>
                <a:gd name="connsiteX1030" fmla="*/ 61396 w 203591"/>
                <a:gd name="connsiteY1030" fmla="*/ 135516 h 279938"/>
                <a:gd name="connsiteX1031" fmla="*/ 61714 w 203591"/>
                <a:gd name="connsiteY1031" fmla="*/ 134561 h 279938"/>
                <a:gd name="connsiteX1032" fmla="*/ 62668 w 203591"/>
                <a:gd name="connsiteY1032" fmla="*/ 133607 h 279938"/>
                <a:gd name="connsiteX1033" fmla="*/ 62668 w 203591"/>
                <a:gd name="connsiteY1033" fmla="*/ 131062 h 279938"/>
                <a:gd name="connsiteX1034" fmla="*/ 61714 w 203591"/>
                <a:gd name="connsiteY1034" fmla="*/ 130108 h 279938"/>
                <a:gd name="connsiteX1035" fmla="*/ 62350 w 203591"/>
                <a:gd name="connsiteY1035" fmla="*/ 128835 h 279938"/>
                <a:gd name="connsiteX1036" fmla="*/ 63622 w 203591"/>
                <a:gd name="connsiteY1036" fmla="*/ 126927 h 279938"/>
                <a:gd name="connsiteX1037" fmla="*/ 63622 w 203591"/>
                <a:gd name="connsiteY1037" fmla="*/ 125018 h 279938"/>
                <a:gd name="connsiteX1038" fmla="*/ 64259 w 203591"/>
                <a:gd name="connsiteY1038" fmla="*/ 124382 h 279938"/>
                <a:gd name="connsiteX1039" fmla="*/ 64259 w 203591"/>
                <a:gd name="connsiteY1039" fmla="*/ 123745 h 279938"/>
                <a:gd name="connsiteX1040" fmla="*/ 64577 w 203591"/>
                <a:gd name="connsiteY1040" fmla="*/ 123427 h 279938"/>
                <a:gd name="connsiteX1041" fmla="*/ 64577 w 203591"/>
                <a:gd name="connsiteY1041" fmla="*/ 123109 h 279938"/>
                <a:gd name="connsiteX1042" fmla="*/ 65213 w 203591"/>
                <a:gd name="connsiteY1042" fmla="*/ 121519 h 279938"/>
                <a:gd name="connsiteX1043" fmla="*/ 65213 w 203591"/>
                <a:gd name="connsiteY1043" fmla="*/ 118974 h 279938"/>
                <a:gd name="connsiteX1044" fmla="*/ 65531 w 203591"/>
                <a:gd name="connsiteY1044" fmla="*/ 118338 h 279938"/>
                <a:gd name="connsiteX1045" fmla="*/ 65531 w 203591"/>
                <a:gd name="connsiteY1045" fmla="*/ 116747 h 279938"/>
                <a:gd name="connsiteX1046" fmla="*/ 66485 w 203591"/>
                <a:gd name="connsiteY1046" fmla="*/ 114838 h 279938"/>
                <a:gd name="connsiteX1047" fmla="*/ 66167 w 203591"/>
                <a:gd name="connsiteY1047" fmla="*/ 114202 h 279938"/>
                <a:gd name="connsiteX1048" fmla="*/ 67122 w 203591"/>
                <a:gd name="connsiteY1048" fmla="*/ 112612 h 279938"/>
                <a:gd name="connsiteX1049" fmla="*/ 66803 w 203591"/>
                <a:gd name="connsiteY1049" fmla="*/ 111975 h 279938"/>
                <a:gd name="connsiteX1050" fmla="*/ 66803 w 203591"/>
                <a:gd name="connsiteY1050" fmla="*/ 111339 h 279938"/>
                <a:gd name="connsiteX1051" fmla="*/ 67440 w 203591"/>
                <a:gd name="connsiteY1051" fmla="*/ 109112 h 279938"/>
                <a:gd name="connsiteX1052" fmla="*/ 67758 w 203591"/>
                <a:gd name="connsiteY1052" fmla="*/ 108476 h 279938"/>
                <a:gd name="connsiteX1053" fmla="*/ 72847 w 203591"/>
                <a:gd name="connsiteY1053" fmla="*/ 87799 h 279938"/>
                <a:gd name="connsiteX1054" fmla="*/ 74120 w 203591"/>
                <a:gd name="connsiteY1054" fmla="*/ 86526 h 279938"/>
                <a:gd name="connsiteX1055" fmla="*/ 74120 w 203591"/>
                <a:gd name="connsiteY1055" fmla="*/ 86208 h 279938"/>
                <a:gd name="connsiteX1056" fmla="*/ 73484 w 203591"/>
                <a:gd name="connsiteY1056" fmla="*/ 84618 h 279938"/>
                <a:gd name="connsiteX1057" fmla="*/ 72847 w 203591"/>
                <a:gd name="connsiteY1057" fmla="*/ 83982 h 279938"/>
                <a:gd name="connsiteX1058" fmla="*/ 74120 w 203591"/>
                <a:gd name="connsiteY1058" fmla="*/ 83663 h 279938"/>
                <a:gd name="connsiteX1059" fmla="*/ 75393 w 203591"/>
                <a:gd name="connsiteY1059" fmla="*/ 82391 h 279938"/>
                <a:gd name="connsiteX1060" fmla="*/ 75074 w 203591"/>
                <a:gd name="connsiteY1060" fmla="*/ 81119 h 279938"/>
                <a:gd name="connsiteX1061" fmla="*/ 75711 w 203591"/>
                <a:gd name="connsiteY1061" fmla="*/ 80164 h 279938"/>
                <a:gd name="connsiteX1062" fmla="*/ 79846 w 203591"/>
                <a:gd name="connsiteY1062" fmla="*/ 66167 h 279938"/>
                <a:gd name="connsiteX1063" fmla="*/ 77937 w 203591"/>
                <a:gd name="connsiteY1063" fmla="*/ 66167 h 279938"/>
                <a:gd name="connsiteX1064" fmla="*/ 76665 w 203591"/>
                <a:gd name="connsiteY1064" fmla="*/ 66803 h 279938"/>
                <a:gd name="connsiteX1065" fmla="*/ 71257 w 203591"/>
                <a:gd name="connsiteY1065" fmla="*/ 68394 h 279938"/>
                <a:gd name="connsiteX1066" fmla="*/ 70621 w 203591"/>
                <a:gd name="connsiteY1066" fmla="*/ 68394 h 279938"/>
                <a:gd name="connsiteX1067" fmla="*/ 69030 w 203591"/>
                <a:gd name="connsiteY1067" fmla="*/ 67440 h 279938"/>
                <a:gd name="connsiteX1068" fmla="*/ 68076 w 203591"/>
                <a:gd name="connsiteY1068" fmla="*/ 67440 h 279938"/>
                <a:gd name="connsiteX1069" fmla="*/ 66485 w 203591"/>
                <a:gd name="connsiteY1069" fmla="*/ 67758 h 279938"/>
                <a:gd name="connsiteX1070" fmla="*/ 65531 w 203591"/>
                <a:gd name="connsiteY1070" fmla="*/ 68712 h 279938"/>
                <a:gd name="connsiteX1071" fmla="*/ 63940 w 203591"/>
                <a:gd name="connsiteY1071" fmla="*/ 68712 h 279938"/>
                <a:gd name="connsiteX1072" fmla="*/ 62668 w 203591"/>
                <a:gd name="connsiteY1072" fmla="*/ 69030 h 279938"/>
                <a:gd name="connsiteX1073" fmla="*/ 61714 w 203591"/>
                <a:gd name="connsiteY1073" fmla="*/ 69666 h 279938"/>
                <a:gd name="connsiteX1074" fmla="*/ 61077 w 203591"/>
                <a:gd name="connsiteY1074" fmla="*/ 69666 h 279938"/>
                <a:gd name="connsiteX1075" fmla="*/ 57578 w 203591"/>
                <a:gd name="connsiteY1075" fmla="*/ 70621 h 279938"/>
                <a:gd name="connsiteX1076" fmla="*/ 53443 w 203591"/>
                <a:gd name="connsiteY1076" fmla="*/ 71257 h 279938"/>
                <a:gd name="connsiteX1077" fmla="*/ 52488 w 203591"/>
                <a:gd name="connsiteY1077" fmla="*/ 71257 h 279938"/>
                <a:gd name="connsiteX1078" fmla="*/ 50898 w 203591"/>
                <a:gd name="connsiteY1078" fmla="*/ 71893 h 279938"/>
                <a:gd name="connsiteX1079" fmla="*/ 50262 w 203591"/>
                <a:gd name="connsiteY1079" fmla="*/ 72211 h 279938"/>
                <a:gd name="connsiteX1080" fmla="*/ 49944 w 203591"/>
                <a:gd name="connsiteY1080" fmla="*/ 71893 h 279938"/>
                <a:gd name="connsiteX1081" fmla="*/ 49944 w 203591"/>
                <a:gd name="connsiteY1081" fmla="*/ 71575 h 279938"/>
                <a:gd name="connsiteX1082" fmla="*/ 50262 w 203591"/>
                <a:gd name="connsiteY1082" fmla="*/ 71257 h 279938"/>
                <a:gd name="connsiteX1083" fmla="*/ 49944 w 203591"/>
                <a:gd name="connsiteY1083" fmla="*/ 71257 h 279938"/>
                <a:gd name="connsiteX1084" fmla="*/ 49944 w 203591"/>
                <a:gd name="connsiteY1084" fmla="*/ 70621 h 279938"/>
                <a:gd name="connsiteX1085" fmla="*/ 48989 w 203591"/>
                <a:gd name="connsiteY1085" fmla="*/ 70939 h 279938"/>
                <a:gd name="connsiteX1086" fmla="*/ 48989 w 203591"/>
                <a:gd name="connsiteY1086" fmla="*/ 71257 h 279938"/>
                <a:gd name="connsiteX1087" fmla="*/ 49625 w 203591"/>
                <a:gd name="connsiteY1087" fmla="*/ 71575 h 279938"/>
                <a:gd name="connsiteX1088" fmla="*/ 48353 w 203591"/>
                <a:gd name="connsiteY1088" fmla="*/ 72529 h 279938"/>
                <a:gd name="connsiteX1089" fmla="*/ 48035 w 203591"/>
                <a:gd name="connsiteY1089" fmla="*/ 72529 h 279938"/>
                <a:gd name="connsiteX1090" fmla="*/ 47717 w 203591"/>
                <a:gd name="connsiteY1090" fmla="*/ 72848 h 279938"/>
                <a:gd name="connsiteX1091" fmla="*/ 47399 w 203591"/>
                <a:gd name="connsiteY1091" fmla="*/ 72848 h 279938"/>
                <a:gd name="connsiteX1092" fmla="*/ 46762 w 203591"/>
                <a:gd name="connsiteY1092" fmla="*/ 72529 h 279938"/>
                <a:gd name="connsiteX1093" fmla="*/ 47081 w 203591"/>
                <a:gd name="connsiteY1093" fmla="*/ 72211 h 279938"/>
                <a:gd name="connsiteX1094" fmla="*/ 46762 w 203591"/>
                <a:gd name="connsiteY1094" fmla="*/ 72211 h 279938"/>
                <a:gd name="connsiteX1095" fmla="*/ 46126 w 203591"/>
                <a:gd name="connsiteY1095" fmla="*/ 71893 h 279938"/>
                <a:gd name="connsiteX1096" fmla="*/ 46126 w 203591"/>
                <a:gd name="connsiteY1096" fmla="*/ 72211 h 279938"/>
                <a:gd name="connsiteX1097" fmla="*/ 44854 w 203591"/>
                <a:gd name="connsiteY1097" fmla="*/ 73802 h 279938"/>
                <a:gd name="connsiteX1098" fmla="*/ 43899 w 203591"/>
                <a:gd name="connsiteY1098" fmla="*/ 74120 h 279938"/>
                <a:gd name="connsiteX1099" fmla="*/ 43263 w 203591"/>
                <a:gd name="connsiteY1099" fmla="*/ 73166 h 279938"/>
                <a:gd name="connsiteX1100" fmla="*/ 41355 w 203591"/>
                <a:gd name="connsiteY1100" fmla="*/ 74120 h 279938"/>
                <a:gd name="connsiteX1101" fmla="*/ 38491 w 203591"/>
                <a:gd name="connsiteY1101" fmla="*/ 74756 h 279938"/>
                <a:gd name="connsiteX1102" fmla="*/ 37219 w 203591"/>
                <a:gd name="connsiteY1102" fmla="*/ 74756 h 279938"/>
                <a:gd name="connsiteX1103" fmla="*/ 36583 w 203591"/>
                <a:gd name="connsiteY1103" fmla="*/ 75393 h 279938"/>
                <a:gd name="connsiteX1104" fmla="*/ 35947 w 203591"/>
                <a:gd name="connsiteY1104" fmla="*/ 75074 h 279938"/>
                <a:gd name="connsiteX1105" fmla="*/ 34356 w 203591"/>
                <a:gd name="connsiteY1105" fmla="*/ 75711 h 279938"/>
                <a:gd name="connsiteX1106" fmla="*/ 30539 w 203591"/>
                <a:gd name="connsiteY1106" fmla="*/ 76665 h 279938"/>
                <a:gd name="connsiteX1107" fmla="*/ 29902 w 203591"/>
                <a:gd name="connsiteY1107" fmla="*/ 76665 h 279938"/>
                <a:gd name="connsiteX1108" fmla="*/ 28312 w 203591"/>
                <a:gd name="connsiteY1108" fmla="*/ 77937 h 279938"/>
                <a:gd name="connsiteX1109" fmla="*/ 26403 w 203591"/>
                <a:gd name="connsiteY1109" fmla="*/ 77937 h 279938"/>
                <a:gd name="connsiteX1110" fmla="*/ 25449 w 203591"/>
                <a:gd name="connsiteY1110" fmla="*/ 77619 h 279938"/>
                <a:gd name="connsiteX1111" fmla="*/ 24495 w 203591"/>
                <a:gd name="connsiteY1111" fmla="*/ 77937 h 279938"/>
                <a:gd name="connsiteX1112" fmla="*/ 22268 w 203591"/>
                <a:gd name="connsiteY1112" fmla="*/ 79528 h 279938"/>
                <a:gd name="connsiteX1113" fmla="*/ 20995 w 203591"/>
                <a:gd name="connsiteY1113" fmla="*/ 79846 h 279938"/>
                <a:gd name="connsiteX1114" fmla="*/ 20359 w 203591"/>
                <a:gd name="connsiteY1114" fmla="*/ 79528 h 279938"/>
                <a:gd name="connsiteX1115" fmla="*/ 18450 w 203591"/>
                <a:gd name="connsiteY1115" fmla="*/ 79528 h 279938"/>
                <a:gd name="connsiteX1116" fmla="*/ 14951 w 203591"/>
                <a:gd name="connsiteY1116" fmla="*/ 81437 h 279938"/>
                <a:gd name="connsiteX1117" fmla="*/ 12406 w 203591"/>
                <a:gd name="connsiteY1117" fmla="*/ 81437 h 279938"/>
                <a:gd name="connsiteX1118" fmla="*/ 3181 w 203591"/>
                <a:gd name="connsiteY1118" fmla="*/ 84300 h 279938"/>
                <a:gd name="connsiteX1119" fmla="*/ 1591 w 203591"/>
                <a:gd name="connsiteY1119" fmla="*/ 85254 h 279938"/>
                <a:gd name="connsiteX1120" fmla="*/ 318 w 203591"/>
                <a:gd name="connsiteY1120" fmla="*/ 85890 h 279938"/>
                <a:gd name="connsiteX1121" fmla="*/ 0 w 203591"/>
                <a:gd name="connsiteY1121" fmla="*/ 84618 h 279938"/>
                <a:gd name="connsiteX1122" fmla="*/ 8907 w 203591"/>
                <a:gd name="connsiteY1122" fmla="*/ 70939 h 279938"/>
                <a:gd name="connsiteX1123" fmla="*/ 9861 w 203591"/>
                <a:gd name="connsiteY1123" fmla="*/ 70939 h 279938"/>
                <a:gd name="connsiteX1124" fmla="*/ 9861 w 203591"/>
                <a:gd name="connsiteY1124" fmla="*/ 71257 h 279938"/>
                <a:gd name="connsiteX1125" fmla="*/ 11134 w 203591"/>
                <a:gd name="connsiteY1125" fmla="*/ 71257 h 279938"/>
                <a:gd name="connsiteX1126" fmla="*/ 10498 w 203591"/>
                <a:gd name="connsiteY1126" fmla="*/ 72211 h 279938"/>
                <a:gd name="connsiteX1127" fmla="*/ 9861 w 203591"/>
                <a:gd name="connsiteY1127" fmla="*/ 73484 h 279938"/>
                <a:gd name="connsiteX1128" fmla="*/ 9861 w 203591"/>
                <a:gd name="connsiteY1128" fmla="*/ 75074 h 279938"/>
                <a:gd name="connsiteX1129" fmla="*/ 10498 w 203591"/>
                <a:gd name="connsiteY1129" fmla="*/ 75074 h 279938"/>
                <a:gd name="connsiteX1130" fmla="*/ 10498 w 203591"/>
                <a:gd name="connsiteY1130" fmla="*/ 74438 h 279938"/>
                <a:gd name="connsiteX1131" fmla="*/ 12406 w 203591"/>
                <a:gd name="connsiteY1131" fmla="*/ 73484 h 279938"/>
                <a:gd name="connsiteX1132" fmla="*/ 12724 w 203591"/>
                <a:gd name="connsiteY1132" fmla="*/ 73484 h 279938"/>
                <a:gd name="connsiteX1133" fmla="*/ 12724 w 203591"/>
                <a:gd name="connsiteY1133" fmla="*/ 73802 h 279938"/>
                <a:gd name="connsiteX1134" fmla="*/ 12406 w 203591"/>
                <a:gd name="connsiteY1134" fmla="*/ 74438 h 279938"/>
                <a:gd name="connsiteX1135" fmla="*/ 13361 w 203591"/>
                <a:gd name="connsiteY1135" fmla="*/ 74756 h 279938"/>
                <a:gd name="connsiteX1136" fmla="*/ 14315 w 203591"/>
                <a:gd name="connsiteY1136" fmla="*/ 74438 h 279938"/>
                <a:gd name="connsiteX1137" fmla="*/ 14951 w 203591"/>
                <a:gd name="connsiteY1137" fmla="*/ 74120 h 279938"/>
                <a:gd name="connsiteX1138" fmla="*/ 15587 w 203591"/>
                <a:gd name="connsiteY1138" fmla="*/ 74120 h 279938"/>
                <a:gd name="connsiteX1139" fmla="*/ 15906 w 203591"/>
                <a:gd name="connsiteY1139" fmla="*/ 74438 h 279938"/>
                <a:gd name="connsiteX1140" fmla="*/ 17496 w 203591"/>
                <a:gd name="connsiteY1140" fmla="*/ 73802 h 279938"/>
                <a:gd name="connsiteX1141" fmla="*/ 18132 w 203591"/>
                <a:gd name="connsiteY1141" fmla="*/ 73166 h 279938"/>
                <a:gd name="connsiteX1142" fmla="*/ 18132 w 203591"/>
                <a:gd name="connsiteY1142" fmla="*/ 72211 h 279938"/>
                <a:gd name="connsiteX1143" fmla="*/ 17496 w 203591"/>
                <a:gd name="connsiteY1143" fmla="*/ 71893 h 279938"/>
                <a:gd name="connsiteX1144" fmla="*/ 17814 w 203591"/>
                <a:gd name="connsiteY1144" fmla="*/ 70621 h 279938"/>
                <a:gd name="connsiteX1145" fmla="*/ 16860 w 203591"/>
                <a:gd name="connsiteY1145" fmla="*/ 70303 h 279938"/>
                <a:gd name="connsiteX1146" fmla="*/ 19405 w 203591"/>
                <a:gd name="connsiteY1146" fmla="*/ 68394 h 279938"/>
                <a:gd name="connsiteX1147" fmla="*/ 23858 w 203591"/>
                <a:gd name="connsiteY1147" fmla="*/ 67122 h 279938"/>
                <a:gd name="connsiteX1148" fmla="*/ 26085 w 203591"/>
                <a:gd name="connsiteY1148" fmla="*/ 66803 h 279938"/>
                <a:gd name="connsiteX1149" fmla="*/ 28948 w 203591"/>
                <a:gd name="connsiteY1149" fmla="*/ 66485 h 279938"/>
                <a:gd name="connsiteX1150" fmla="*/ 29902 w 203591"/>
                <a:gd name="connsiteY1150" fmla="*/ 66485 h 279938"/>
                <a:gd name="connsiteX1151" fmla="*/ 34356 w 203591"/>
                <a:gd name="connsiteY1151" fmla="*/ 64577 h 279938"/>
                <a:gd name="connsiteX1152" fmla="*/ 37219 w 203591"/>
                <a:gd name="connsiteY1152" fmla="*/ 64577 h 279938"/>
                <a:gd name="connsiteX1153" fmla="*/ 38491 w 203591"/>
                <a:gd name="connsiteY1153" fmla="*/ 64895 h 279938"/>
                <a:gd name="connsiteX1154" fmla="*/ 38491 w 203591"/>
                <a:gd name="connsiteY1154" fmla="*/ 65213 h 279938"/>
                <a:gd name="connsiteX1155" fmla="*/ 37537 w 203591"/>
                <a:gd name="connsiteY1155" fmla="*/ 66167 h 279938"/>
                <a:gd name="connsiteX1156" fmla="*/ 35310 w 203591"/>
                <a:gd name="connsiteY1156" fmla="*/ 67758 h 279938"/>
                <a:gd name="connsiteX1157" fmla="*/ 34674 w 203591"/>
                <a:gd name="connsiteY1157" fmla="*/ 68394 h 279938"/>
                <a:gd name="connsiteX1158" fmla="*/ 33720 w 203591"/>
                <a:gd name="connsiteY1158" fmla="*/ 69030 h 279938"/>
                <a:gd name="connsiteX1159" fmla="*/ 33720 w 203591"/>
                <a:gd name="connsiteY1159" fmla="*/ 69348 h 279938"/>
                <a:gd name="connsiteX1160" fmla="*/ 34992 w 203591"/>
                <a:gd name="connsiteY1160" fmla="*/ 69348 h 279938"/>
                <a:gd name="connsiteX1161" fmla="*/ 35947 w 203591"/>
                <a:gd name="connsiteY1161" fmla="*/ 68712 h 279938"/>
                <a:gd name="connsiteX1162" fmla="*/ 36583 w 203591"/>
                <a:gd name="connsiteY1162" fmla="*/ 67758 h 279938"/>
                <a:gd name="connsiteX1163" fmla="*/ 37219 w 203591"/>
                <a:gd name="connsiteY1163" fmla="*/ 67440 h 279938"/>
                <a:gd name="connsiteX1164" fmla="*/ 37537 w 203591"/>
                <a:gd name="connsiteY1164" fmla="*/ 67440 h 279938"/>
                <a:gd name="connsiteX1165" fmla="*/ 38173 w 203591"/>
                <a:gd name="connsiteY1165" fmla="*/ 68712 h 279938"/>
                <a:gd name="connsiteX1166" fmla="*/ 39128 w 203591"/>
                <a:gd name="connsiteY1166" fmla="*/ 69030 h 279938"/>
                <a:gd name="connsiteX1167" fmla="*/ 40718 w 203591"/>
                <a:gd name="connsiteY1167" fmla="*/ 69030 h 279938"/>
                <a:gd name="connsiteX1168" fmla="*/ 42309 w 203591"/>
                <a:gd name="connsiteY1168" fmla="*/ 68394 h 279938"/>
                <a:gd name="connsiteX1169" fmla="*/ 43263 w 203591"/>
                <a:gd name="connsiteY1169" fmla="*/ 68394 h 279938"/>
                <a:gd name="connsiteX1170" fmla="*/ 43263 w 203591"/>
                <a:gd name="connsiteY1170" fmla="*/ 68076 h 279938"/>
                <a:gd name="connsiteX1171" fmla="*/ 44217 w 203591"/>
                <a:gd name="connsiteY1171" fmla="*/ 66167 h 279938"/>
                <a:gd name="connsiteX1172" fmla="*/ 45172 w 203591"/>
                <a:gd name="connsiteY1172" fmla="*/ 65849 h 279938"/>
                <a:gd name="connsiteX1173" fmla="*/ 44854 w 203591"/>
                <a:gd name="connsiteY1173" fmla="*/ 66485 h 279938"/>
                <a:gd name="connsiteX1174" fmla="*/ 44217 w 203591"/>
                <a:gd name="connsiteY1174" fmla="*/ 68076 h 279938"/>
                <a:gd name="connsiteX1175" fmla="*/ 44217 w 203591"/>
                <a:gd name="connsiteY1175" fmla="*/ 68712 h 279938"/>
                <a:gd name="connsiteX1176" fmla="*/ 44854 w 203591"/>
                <a:gd name="connsiteY1176" fmla="*/ 68712 h 279938"/>
                <a:gd name="connsiteX1177" fmla="*/ 46444 w 203591"/>
                <a:gd name="connsiteY1177" fmla="*/ 67122 h 279938"/>
                <a:gd name="connsiteX1178" fmla="*/ 46126 w 203591"/>
                <a:gd name="connsiteY1178" fmla="*/ 66167 h 279938"/>
                <a:gd name="connsiteX1179" fmla="*/ 46126 w 203591"/>
                <a:gd name="connsiteY1179" fmla="*/ 65849 h 279938"/>
                <a:gd name="connsiteX1180" fmla="*/ 46444 w 203591"/>
                <a:gd name="connsiteY1180" fmla="*/ 65531 h 279938"/>
                <a:gd name="connsiteX1181" fmla="*/ 47717 w 203591"/>
                <a:gd name="connsiteY1181" fmla="*/ 63940 h 279938"/>
                <a:gd name="connsiteX1182" fmla="*/ 46126 w 203591"/>
                <a:gd name="connsiteY1182" fmla="*/ 63622 h 279938"/>
                <a:gd name="connsiteX1183" fmla="*/ 46126 w 203591"/>
                <a:gd name="connsiteY1183" fmla="*/ 63304 h 279938"/>
                <a:gd name="connsiteX1184" fmla="*/ 45808 w 203591"/>
                <a:gd name="connsiteY1184" fmla="*/ 63304 h 279938"/>
                <a:gd name="connsiteX1185" fmla="*/ 44854 w 203591"/>
                <a:gd name="connsiteY1185" fmla="*/ 63622 h 279938"/>
                <a:gd name="connsiteX1186" fmla="*/ 43263 w 203591"/>
                <a:gd name="connsiteY1186" fmla="*/ 65531 h 279938"/>
                <a:gd name="connsiteX1187" fmla="*/ 42945 w 203591"/>
                <a:gd name="connsiteY1187" fmla="*/ 64577 h 279938"/>
                <a:gd name="connsiteX1188" fmla="*/ 41355 w 203591"/>
                <a:gd name="connsiteY1188" fmla="*/ 64577 h 279938"/>
                <a:gd name="connsiteX1189" fmla="*/ 20359 w 203591"/>
                <a:gd name="connsiteY1189" fmla="*/ 69985 h 279938"/>
                <a:gd name="connsiteX1190" fmla="*/ 18132 w 203591"/>
                <a:gd name="connsiteY1190" fmla="*/ 72211 h 279938"/>
                <a:gd name="connsiteX1191" fmla="*/ 20359 w 203591"/>
                <a:gd name="connsiteY1191" fmla="*/ 70303 h 279938"/>
                <a:gd name="connsiteX1192" fmla="*/ 20359 w 203591"/>
                <a:gd name="connsiteY1192" fmla="*/ 69985 h 279938"/>
                <a:gd name="connsiteX1193" fmla="*/ 19405 w 203591"/>
                <a:gd name="connsiteY1193" fmla="*/ 75393 h 279938"/>
                <a:gd name="connsiteX1194" fmla="*/ 18450 w 203591"/>
                <a:gd name="connsiteY1194" fmla="*/ 75393 h 279938"/>
                <a:gd name="connsiteX1195" fmla="*/ 18450 w 203591"/>
                <a:gd name="connsiteY1195" fmla="*/ 76665 h 279938"/>
                <a:gd name="connsiteX1196" fmla="*/ 19087 w 203591"/>
                <a:gd name="connsiteY1196" fmla="*/ 76029 h 279938"/>
                <a:gd name="connsiteX1197" fmla="*/ 19405 w 203591"/>
                <a:gd name="connsiteY1197" fmla="*/ 75393 h 279938"/>
                <a:gd name="connsiteX1198" fmla="*/ 22586 w 203591"/>
                <a:gd name="connsiteY1198" fmla="*/ 74120 h 279938"/>
                <a:gd name="connsiteX1199" fmla="*/ 22904 w 203591"/>
                <a:gd name="connsiteY1199" fmla="*/ 74120 h 279938"/>
                <a:gd name="connsiteX1200" fmla="*/ 23222 w 203591"/>
                <a:gd name="connsiteY1200" fmla="*/ 73484 h 279938"/>
                <a:gd name="connsiteX1201" fmla="*/ 23858 w 203591"/>
                <a:gd name="connsiteY1201" fmla="*/ 72848 h 279938"/>
                <a:gd name="connsiteX1202" fmla="*/ 23858 w 203591"/>
                <a:gd name="connsiteY1202" fmla="*/ 72529 h 279938"/>
                <a:gd name="connsiteX1203" fmla="*/ 23540 w 203591"/>
                <a:gd name="connsiteY1203" fmla="*/ 72529 h 279938"/>
                <a:gd name="connsiteX1204" fmla="*/ 21632 w 203591"/>
                <a:gd name="connsiteY1204" fmla="*/ 73484 h 279938"/>
                <a:gd name="connsiteX1205" fmla="*/ 22586 w 203591"/>
                <a:gd name="connsiteY1205" fmla="*/ 74120 h 279938"/>
                <a:gd name="connsiteX1206" fmla="*/ 31811 w 203591"/>
                <a:gd name="connsiteY1206" fmla="*/ 67758 h 279938"/>
                <a:gd name="connsiteX1207" fmla="*/ 29902 w 203591"/>
                <a:gd name="connsiteY1207" fmla="*/ 69348 h 279938"/>
                <a:gd name="connsiteX1208" fmla="*/ 29902 w 203591"/>
                <a:gd name="connsiteY1208" fmla="*/ 69666 h 279938"/>
                <a:gd name="connsiteX1209" fmla="*/ 30539 w 203591"/>
                <a:gd name="connsiteY1209" fmla="*/ 69666 h 279938"/>
                <a:gd name="connsiteX1210" fmla="*/ 31493 w 203591"/>
                <a:gd name="connsiteY1210" fmla="*/ 69030 h 279938"/>
                <a:gd name="connsiteX1211" fmla="*/ 31811 w 203591"/>
                <a:gd name="connsiteY1211" fmla="*/ 68076 h 279938"/>
                <a:gd name="connsiteX1212" fmla="*/ 31811 w 203591"/>
                <a:gd name="connsiteY1212" fmla="*/ 67758 h 279938"/>
                <a:gd name="connsiteX1213" fmla="*/ 43263 w 203591"/>
                <a:gd name="connsiteY1213" fmla="*/ 66167 h 279938"/>
                <a:gd name="connsiteX1214" fmla="*/ 42945 w 203591"/>
                <a:gd name="connsiteY1214" fmla="*/ 66803 h 279938"/>
                <a:gd name="connsiteX1215" fmla="*/ 42627 w 203591"/>
                <a:gd name="connsiteY1215" fmla="*/ 67122 h 279938"/>
                <a:gd name="connsiteX1216" fmla="*/ 42309 w 203591"/>
                <a:gd name="connsiteY1216" fmla="*/ 66485 h 279938"/>
                <a:gd name="connsiteX1217" fmla="*/ 43263 w 203591"/>
                <a:gd name="connsiteY1217" fmla="*/ 65849 h 279938"/>
                <a:gd name="connsiteX1218" fmla="*/ 43263 w 203591"/>
                <a:gd name="connsiteY1218" fmla="*/ 66167 h 279938"/>
                <a:gd name="connsiteX1219" fmla="*/ 50898 w 203591"/>
                <a:gd name="connsiteY1219" fmla="*/ 266896 h 279938"/>
                <a:gd name="connsiteX1220" fmla="*/ 50580 w 203591"/>
                <a:gd name="connsiteY1220" fmla="*/ 266578 h 279938"/>
                <a:gd name="connsiteX1221" fmla="*/ 50898 w 203591"/>
                <a:gd name="connsiteY1221" fmla="*/ 266260 h 279938"/>
                <a:gd name="connsiteX1222" fmla="*/ 50898 w 203591"/>
                <a:gd name="connsiteY1222" fmla="*/ 266896 h 279938"/>
                <a:gd name="connsiteX1223" fmla="*/ 66803 w 203591"/>
                <a:gd name="connsiteY1223" fmla="*/ 229359 h 279938"/>
                <a:gd name="connsiteX1224" fmla="*/ 67758 w 203591"/>
                <a:gd name="connsiteY1224" fmla="*/ 228404 h 279938"/>
                <a:gd name="connsiteX1225" fmla="*/ 67440 w 203591"/>
                <a:gd name="connsiteY1225" fmla="*/ 227450 h 279938"/>
                <a:gd name="connsiteX1226" fmla="*/ 68076 w 203591"/>
                <a:gd name="connsiteY1226" fmla="*/ 226814 h 279938"/>
                <a:gd name="connsiteX1227" fmla="*/ 66803 w 203591"/>
                <a:gd name="connsiteY1227" fmla="*/ 225859 h 279938"/>
                <a:gd name="connsiteX1228" fmla="*/ 67122 w 203591"/>
                <a:gd name="connsiteY1228" fmla="*/ 228404 h 279938"/>
                <a:gd name="connsiteX1229" fmla="*/ 66485 w 203591"/>
                <a:gd name="connsiteY1229" fmla="*/ 229041 h 279938"/>
                <a:gd name="connsiteX1230" fmla="*/ 66167 w 203591"/>
                <a:gd name="connsiteY1230" fmla="*/ 229041 h 279938"/>
                <a:gd name="connsiteX1231" fmla="*/ 66485 w 203591"/>
                <a:gd name="connsiteY1231" fmla="*/ 229359 h 279938"/>
                <a:gd name="connsiteX1232" fmla="*/ 66803 w 203591"/>
                <a:gd name="connsiteY1232" fmla="*/ 229359 h 279938"/>
                <a:gd name="connsiteX1233" fmla="*/ 67122 w 203591"/>
                <a:gd name="connsiteY1233" fmla="*/ 237630 h 279938"/>
                <a:gd name="connsiteX1234" fmla="*/ 67122 w 203591"/>
                <a:gd name="connsiteY1234" fmla="*/ 239538 h 279938"/>
                <a:gd name="connsiteX1235" fmla="*/ 68076 w 203591"/>
                <a:gd name="connsiteY1235" fmla="*/ 239856 h 279938"/>
                <a:gd name="connsiteX1236" fmla="*/ 68712 w 203591"/>
                <a:gd name="connsiteY1236" fmla="*/ 239856 h 279938"/>
                <a:gd name="connsiteX1237" fmla="*/ 68394 w 203591"/>
                <a:gd name="connsiteY1237" fmla="*/ 239538 h 279938"/>
                <a:gd name="connsiteX1238" fmla="*/ 68394 w 203591"/>
                <a:gd name="connsiteY1238" fmla="*/ 237630 h 279938"/>
                <a:gd name="connsiteX1239" fmla="*/ 67122 w 203591"/>
                <a:gd name="connsiteY1239" fmla="*/ 237630 h 279938"/>
                <a:gd name="connsiteX1240" fmla="*/ 67122 w 203591"/>
                <a:gd name="connsiteY1240" fmla="*/ 248127 h 279938"/>
                <a:gd name="connsiteX1241" fmla="*/ 67440 w 203591"/>
                <a:gd name="connsiteY1241" fmla="*/ 249082 h 279938"/>
                <a:gd name="connsiteX1242" fmla="*/ 67758 w 203591"/>
                <a:gd name="connsiteY1242" fmla="*/ 249400 h 279938"/>
                <a:gd name="connsiteX1243" fmla="*/ 67758 w 203591"/>
                <a:gd name="connsiteY1243" fmla="*/ 249082 h 279938"/>
                <a:gd name="connsiteX1244" fmla="*/ 68394 w 203591"/>
                <a:gd name="connsiteY1244" fmla="*/ 247809 h 279938"/>
                <a:gd name="connsiteX1245" fmla="*/ 67440 w 203591"/>
                <a:gd name="connsiteY1245" fmla="*/ 247173 h 279938"/>
                <a:gd name="connsiteX1246" fmla="*/ 67122 w 203591"/>
                <a:gd name="connsiteY1246" fmla="*/ 247809 h 279938"/>
                <a:gd name="connsiteX1247" fmla="*/ 67122 w 203591"/>
                <a:gd name="connsiteY1247" fmla="*/ 248127 h 279938"/>
                <a:gd name="connsiteX1248" fmla="*/ 67440 w 203591"/>
                <a:gd name="connsiteY1248" fmla="*/ 210908 h 279938"/>
                <a:gd name="connsiteX1249" fmla="*/ 67758 w 203591"/>
                <a:gd name="connsiteY1249" fmla="*/ 210590 h 279938"/>
                <a:gd name="connsiteX1250" fmla="*/ 70303 w 203591"/>
                <a:gd name="connsiteY1250" fmla="*/ 209636 h 279938"/>
                <a:gd name="connsiteX1251" fmla="*/ 70621 w 203591"/>
                <a:gd name="connsiteY1251" fmla="*/ 210590 h 279938"/>
                <a:gd name="connsiteX1252" fmla="*/ 68394 w 203591"/>
                <a:gd name="connsiteY1252" fmla="*/ 211226 h 279938"/>
                <a:gd name="connsiteX1253" fmla="*/ 67440 w 203591"/>
                <a:gd name="connsiteY1253" fmla="*/ 210908 h 279938"/>
                <a:gd name="connsiteX1254" fmla="*/ 67758 w 203591"/>
                <a:gd name="connsiteY1254" fmla="*/ 231267 h 279938"/>
                <a:gd name="connsiteX1255" fmla="*/ 67440 w 203591"/>
                <a:gd name="connsiteY1255" fmla="*/ 231585 h 279938"/>
                <a:gd name="connsiteX1256" fmla="*/ 67758 w 203591"/>
                <a:gd name="connsiteY1256" fmla="*/ 231904 h 279938"/>
                <a:gd name="connsiteX1257" fmla="*/ 67758 w 203591"/>
                <a:gd name="connsiteY1257" fmla="*/ 231267 h 279938"/>
                <a:gd name="connsiteX1258" fmla="*/ 68394 w 203591"/>
                <a:gd name="connsiteY1258" fmla="*/ 212499 h 279938"/>
                <a:gd name="connsiteX1259" fmla="*/ 68712 w 203591"/>
                <a:gd name="connsiteY1259" fmla="*/ 212181 h 279938"/>
                <a:gd name="connsiteX1260" fmla="*/ 69030 w 203591"/>
                <a:gd name="connsiteY1260" fmla="*/ 212499 h 279938"/>
                <a:gd name="connsiteX1261" fmla="*/ 68394 w 203591"/>
                <a:gd name="connsiteY1261" fmla="*/ 212499 h 279938"/>
                <a:gd name="connsiteX1262" fmla="*/ 69030 w 203591"/>
                <a:gd name="connsiteY1262" fmla="*/ 198820 h 279938"/>
                <a:gd name="connsiteX1263" fmla="*/ 68712 w 203591"/>
                <a:gd name="connsiteY1263" fmla="*/ 198502 h 279938"/>
                <a:gd name="connsiteX1264" fmla="*/ 69348 w 203591"/>
                <a:gd name="connsiteY1264" fmla="*/ 198184 h 279938"/>
                <a:gd name="connsiteX1265" fmla="*/ 69985 w 203591"/>
                <a:gd name="connsiteY1265" fmla="*/ 198502 h 279938"/>
                <a:gd name="connsiteX1266" fmla="*/ 69348 w 203591"/>
                <a:gd name="connsiteY1266" fmla="*/ 198820 h 279938"/>
                <a:gd name="connsiteX1267" fmla="*/ 69030 w 203591"/>
                <a:gd name="connsiteY1267" fmla="*/ 198820 h 279938"/>
                <a:gd name="connsiteX1268" fmla="*/ 69030 w 203591"/>
                <a:gd name="connsiteY1268" fmla="*/ 208363 h 279938"/>
                <a:gd name="connsiteX1269" fmla="*/ 69030 w 203591"/>
                <a:gd name="connsiteY1269" fmla="*/ 207409 h 279938"/>
                <a:gd name="connsiteX1270" fmla="*/ 69985 w 203591"/>
                <a:gd name="connsiteY1270" fmla="*/ 206773 h 279938"/>
                <a:gd name="connsiteX1271" fmla="*/ 70621 w 203591"/>
                <a:gd name="connsiteY1271" fmla="*/ 207091 h 279938"/>
                <a:gd name="connsiteX1272" fmla="*/ 70303 w 203591"/>
                <a:gd name="connsiteY1272" fmla="*/ 207727 h 279938"/>
                <a:gd name="connsiteX1273" fmla="*/ 69666 w 203591"/>
                <a:gd name="connsiteY1273" fmla="*/ 208363 h 279938"/>
                <a:gd name="connsiteX1274" fmla="*/ 69030 w 203591"/>
                <a:gd name="connsiteY1274" fmla="*/ 208363 h 279938"/>
                <a:gd name="connsiteX1275" fmla="*/ 69985 w 203591"/>
                <a:gd name="connsiteY1275" fmla="*/ 213135 h 279938"/>
                <a:gd name="connsiteX1276" fmla="*/ 69985 w 203591"/>
                <a:gd name="connsiteY1276" fmla="*/ 213453 h 279938"/>
                <a:gd name="connsiteX1277" fmla="*/ 69348 w 203591"/>
                <a:gd name="connsiteY1277" fmla="*/ 213135 h 279938"/>
                <a:gd name="connsiteX1278" fmla="*/ 69348 w 203591"/>
                <a:gd name="connsiteY1278" fmla="*/ 212817 h 279938"/>
                <a:gd name="connsiteX1279" fmla="*/ 69030 w 203591"/>
                <a:gd name="connsiteY1279" fmla="*/ 212499 h 279938"/>
                <a:gd name="connsiteX1280" fmla="*/ 69666 w 203591"/>
                <a:gd name="connsiteY1280" fmla="*/ 212499 h 279938"/>
                <a:gd name="connsiteX1281" fmla="*/ 69985 w 203591"/>
                <a:gd name="connsiteY1281" fmla="*/ 213135 h 279938"/>
                <a:gd name="connsiteX1282" fmla="*/ 69348 w 203591"/>
                <a:gd name="connsiteY1282" fmla="*/ 204864 h 279938"/>
                <a:gd name="connsiteX1283" fmla="*/ 70303 w 203591"/>
                <a:gd name="connsiteY1283" fmla="*/ 204864 h 279938"/>
                <a:gd name="connsiteX1284" fmla="*/ 70621 w 203591"/>
                <a:gd name="connsiteY1284" fmla="*/ 205500 h 279938"/>
                <a:gd name="connsiteX1285" fmla="*/ 70303 w 203591"/>
                <a:gd name="connsiteY1285" fmla="*/ 206455 h 279938"/>
                <a:gd name="connsiteX1286" fmla="*/ 69348 w 203591"/>
                <a:gd name="connsiteY1286" fmla="*/ 205818 h 279938"/>
                <a:gd name="connsiteX1287" fmla="*/ 69348 w 203591"/>
                <a:gd name="connsiteY1287" fmla="*/ 204864 h 279938"/>
                <a:gd name="connsiteX1288" fmla="*/ 70303 w 203591"/>
                <a:gd name="connsiteY1288" fmla="*/ 201365 h 279938"/>
                <a:gd name="connsiteX1289" fmla="*/ 69666 w 203591"/>
                <a:gd name="connsiteY1289" fmla="*/ 201365 h 279938"/>
                <a:gd name="connsiteX1290" fmla="*/ 69985 w 203591"/>
                <a:gd name="connsiteY1290" fmla="*/ 201047 h 279938"/>
                <a:gd name="connsiteX1291" fmla="*/ 70303 w 203591"/>
                <a:gd name="connsiteY1291" fmla="*/ 201365 h 279938"/>
                <a:gd name="connsiteX1292" fmla="*/ 71257 w 203591"/>
                <a:gd name="connsiteY1292" fmla="*/ 189595 h 279938"/>
                <a:gd name="connsiteX1293" fmla="*/ 71893 w 203591"/>
                <a:gd name="connsiteY1293" fmla="*/ 190231 h 279938"/>
                <a:gd name="connsiteX1294" fmla="*/ 71257 w 203591"/>
                <a:gd name="connsiteY1294" fmla="*/ 190867 h 279938"/>
                <a:gd name="connsiteX1295" fmla="*/ 70621 w 203591"/>
                <a:gd name="connsiteY1295" fmla="*/ 190549 h 279938"/>
                <a:gd name="connsiteX1296" fmla="*/ 71257 w 203591"/>
                <a:gd name="connsiteY1296" fmla="*/ 189595 h 279938"/>
                <a:gd name="connsiteX1297" fmla="*/ 73802 w 203591"/>
                <a:gd name="connsiteY1297" fmla="*/ 154284 h 279938"/>
                <a:gd name="connsiteX1298" fmla="*/ 75074 w 203591"/>
                <a:gd name="connsiteY1298" fmla="*/ 153966 h 279938"/>
                <a:gd name="connsiteX1299" fmla="*/ 74120 w 203591"/>
                <a:gd name="connsiteY1299" fmla="*/ 153330 h 279938"/>
                <a:gd name="connsiteX1300" fmla="*/ 73802 w 203591"/>
                <a:gd name="connsiteY1300" fmla="*/ 153966 h 279938"/>
                <a:gd name="connsiteX1301" fmla="*/ 73802 w 203591"/>
                <a:gd name="connsiteY1301" fmla="*/ 154284 h 279938"/>
                <a:gd name="connsiteX1302" fmla="*/ 73802 w 203591"/>
                <a:gd name="connsiteY1302" fmla="*/ 172735 h 279938"/>
                <a:gd name="connsiteX1303" fmla="*/ 73802 w 203591"/>
                <a:gd name="connsiteY1303" fmla="*/ 170826 h 279938"/>
                <a:gd name="connsiteX1304" fmla="*/ 74438 w 203591"/>
                <a:gd name="connsiteY1304" fmla="*/ 170508 h 279938"/>
                <a:gd name="connsiteX1305" fmla="*/ 75074 w 203591"/>
                <a:gd name="connsiteY1305" fmla="*/ 170826 h 279938"/>
                <a:gd name="connsiteX1306" fmla="*/ 74120 w 203591"/>
                <a:gd name="connsiteY1306" fmla="*/ 172417 h 279938"/>
                <a:gd name="connsiteX1307" fmla="*/ 73802 w 203591"/>
                <a:gd name="connsiteY1307" fmla="*/ 172735 h 279938"/>
                <a:gd name="connsiteX1308" fmla="*/ 78256 w 203591"/>
                <a:gd name="connsiteY1308" fmla="*/ 149513 h 279938"/>
                <a:gd name="connsiteX1309" fmla="*/ 76665 w 203591"/>
                <a:gd name="connsiteY1309" fmla="*/ 148240 h 279938"/>
                <a:gd name="connsiteX1310" fmla="*/ 76665 w 203591"/>
                <a:gd name="connsiteY1310" fmla="*/ 147922 h 279938"/>
                <a:gd name="connsiteX1311" fmla="*/ 78256 w 203591"/>
                <a:gd name="connsiteY1311" fmla="*/ 147286 h 279938"/>
                <a:gd name="connsiteX1312" fmla="*/ 79528 w 203591"/>
                <a:gd name="connsiteY1312" fmla="*/ 147922 h 279938"/>
                <a:gd name="connsiteX1313" fmla="*/ 79528 w 203591"/>
                <a:gd name="connsiteY1313" fmla="*/ 148558 h 279938"/>
                <a:gd name="connsiteX1314" fmla="*/ 78574 w 203591"/>
                <a:gd name="connsiteY1314" fmla="*/ 149513 h 279938"/>
                <a:gd name="connsiteX1315" fmla="*/ 78256 w 203591"/>
                <a:gd name="connsiteY1315" fmla="*/ 149513 h 279938"/>
                <a:gd name="connsiteX1316" fmla="*/ 81755 w 203591"/>
                <a:gd name="connsiteY1316" fmla="*/ 55670 h 279938"/>
                <a:gd name="connsiteX1317" fmla="*/ 81118 w 203591"/>
                <a:gd name="connsiteY1317" fmla="*/ 55988 h 279938"/>
                <a:gd name="connsiteX1318" fmla="*/ 81755 w 203591"/>
                <a:gd name="connsiteY1318" fmla="*/ 55670 h 279938"/>
                <a:gd name="connsiteX1319" fmla="*/ 94161 w 203591"/>
                <a:gd name="connsiteY1319" fmla="*/ 268168 h 279938"/>
                <a:gd name="connsiteX1320" fmla="*/ 93843 w 203591"/>
                <a:gd name="connsiteY1320" fmla="*/ 267850 h 279938"/>
                <a:gd name="connsiteX1321" fmla="*/ 94161 w 203591"/>
                <a:gd name="connsiteY1321" fmla="*/ 267214 h 279938"/>
                <a:gd name="connsiteX1322" fmla="*/ 94161 w 203591"/>
                <a:gd name="connsiteY1322" fmla="*/ 268168 h 279938"/>
                <a:gd name="connsiteX1323" fmla="*/ 100523 w 203591"/>
                <a:gd name="connsiteY1323" fmla="*/ 246537 h 279938"/>
                <a:gd name="connsiteX1324" fmla="*/ 100205 w 203591"/>
                <a:gd name="connsiteY1324" fmla="*/ 246219 h 279938"/>
                <a:gd name="connsiteX1325" fmla="*/ 99251 w 203591"/>
                <a:gd name="connsiteY1325" fmla="*/ 247491 h 279938"/>
                <a:gd name="connsiteX1326" fmla="*/ 99569 w 203591"/>
                <a:gd name="connsiteY1326" fmla="*/ 247809 h 279938"/>
                <a:gd name="connsiteX1327" fmla="*/ 100523 w 203591"/>
                <a:gd name="connsiteY1327" fmla="*/ 246537 h 279938"/>
                <a:gd name="connsiteX1328" fmla="*/ 106886 w 203591"/>
                <a:gd name="connsiteY1328" fmla="*/ 231267 h 279938"/>
                <a:gd name="connsiteX1329" fmla="*/ 107840 w 203591"/>
                <a:gd name="connsiteY1329" fmla="*/ 230949 h 279938"/>
                <a:gd name="connsiteX1330" fmla="*/ 107522 w 203591"/>
                <a:gd name="connsiteY1330" fmla="*/ 230631 h 279938"/>
                <a:gd name="connsiteX1331" fmla="*/ 106886 w 203591"/>
                <a:gd name="connsiteY1331" fmla="*/ 229995 h 279938"/>
                <a:gd name="connsiteX1332" fmla="*/ 106249 w 203591"/>
                <a:gd name="connsiteY1332" fmla="*/ 230631 h 279938"/>
                <a:gd name="connsiteX1333" fmla="*/ 106886 w 203591"/>
                <a:gd name="connsiteY1333" fmla="*/ 231267 h 279938"/>
                <a:gd name="connsiteX1334" fmla="*/ 114520 w 203591"/>
                <a:gd name="connsiteY1334" fmla="*/ 228722 h 279938"/>
                <a:gd name="connsiteX1335" fmla="*/ 114202 w 203591"/>
                <a:gd name="connsiteY1335" fmla="*/ 229041 h 279938"/>
                <a:gd name="connsiteX1336" fmla="*/ 114202 w 203591"/>
                <a:gd name="connsiteY1336" fmla="*/ 229359 h 279938"/>
                <a:gd name="connsiteX1337" fmla="*/ 112929 w 203591"/>
                <a:gd name="connsiteY1337" fmla="*/ 229359 h 279938"/>
                <a:gd name="connsiteX1338" fmla="*/ 112929 w 203591"/>
                <a:gd name="connsiteY1338" fmla="*/ 229041 h 279938"/>
                <a:gd name="connsiteX1339" fmla="*/ 113566 w 203591"/>
                <a:gd name="connsiteY1339" fmla="*/ 228404 h 279938"/>
                <a:gd name="connsiteX1340" fmla="*/ 112929 w 203591"/>
                <a:gd name="connsiteY1340" fmla="*/ 227450 h 279938"/>
                <a:gd name="connsiteX1341" fmla="*/ 112929 w 203591"/>
                <a:gd name="connsiteY1341" fmla="*/ 227132 h 279938"/>
                <a:gd name="connsiteX1342" fmla="*/ 113248 w 203591"/>
                <a:gd name="connsiteY1342" fmla="*/ 226496 h 279938"/>
                <a:gd name="connsiteX1343" fmla="*/ 113884 w 203591"/>
                <a:gd name="connsiteY1343" fmla="*/ 225859 h 279938"/>
                <a:gd name="connsiteX1344" fmla="*/ 114520 w 203591"/>
                <a:gd name="connsiteY1344" fmla="*/ 226496 h 279938"/>
                <a:gd name="connsiteX1345" fmla="*/ 114520 w 203591"/>
                <a:gd name="connsiteY1345" fmla="*/ 228722 h 279938"/>
                <a:gd name="connsiteX1346" fmla="*/ 117701 w 203591"/>
                <a:gd name="connsiteY1346" fmla="*/ 55351 h 279938"/>
                <a:gd name="connsiteX1347" fmla="*/ 119292 w 203591"/>
                <a:gd name="connsiteY1347" fmla="*/ 54715 h 279938"/>
                <a:gd name="connsiteX1348" fmla="*/ 119610 w 203591"/>
                <a:gd name="connsiteY1348" fmla="*/ 53761 h 279938"/>
                <a:gd name="connsiteX1349" fmla="*/ 119292 w 203591"/>
                <a:gd name="connsiteY1349" fmla="*/ 53443 h 279938"/>
                <a:gd name="connsiteX1350" fmla="*/ 117383 w 203591"/>
                <a:gd name="connsiteY1350" fmla="*/ 54715 h 279938"/>
                <a:gd name="connsiteX1351" fmla="*/ 117065 w 203591"/>
                <a:gd name="connsiteY1351" fmla="*/ 55351 h 279938"/>
                <a:gd name="connsiteX1352" fmla="*/ 117065 w 203591"/>
                <a:gd name="connsiteY1352" fmla="*/ 55670 h 279938"/>
                <a:gd name="connsiteX1353" fmla="*/ 117701 w 203591"/>
                <a:gd name="connsiteY1353" fmla="*/ 55351 h 279938"/>
                <a:gd name="connsiteX1354" fmla="*/ 122791 w 203591"/>
                <a:gd name="connsiteY1354" fmla="*/ 198820 h 279938"/>
                <a:gd name="connsiteX1355" fmla="*/ 123109 w 203591"/>
                <a:gd name="connsiteY1355" fmla="*/ 199774 h 279938"/>
                <a:gd name="connsiteX1356" fmla="*/ 123427 w 203591"/>
                <a:gd name="connsiteY1356" fmla="*/ 200092 h 279938"/>
                <a:gd name="connsiteX1357" fmla="*/ 124382 w 203591"/>
                <a:gd name="connsiteY1357" fmla="*/ 198820 h 279938"/>
                <a:gd name="connsiteX1358" fmla="*/ 122791 w 203591"/>
                <a:gd name="connsiteY1358" fmla="*/ 198820 h 279938"/>
                <a:gd name="connsiteX1359" fmla="*/ 123745 w 203591"/>
                <a:gd name="connsiteY1359" fmla="*/ 51534 h 279938"/>
                <a:gd name="connsiteX1360" fmla="*/ 124063 w 203591"/>
                <a:gd name="connsiteY1360" fmla="*/ 50898 h 279938"/>
                <a:gd name="connsiteX1361" fmla="*/ 124063 w 203591"/>
                <a:gd name="connsiteY1361" fmla="*/ 50580 h 279938"/>
                <a:gd name="connsiteX1362" fmla="*/ 123745 w 203591"/>
                <a:gd name="connsiteY1362" fmla="*/ 50898 h 279938"/>
                <a:gd name="connsiteX1363" fmla="*/ 123745 w 203591"/>
                <a:gd name="connsiteY1363" fmla="*/ 51534 h 279938"/>
                <a:gd name="connsiteX1364" fmla="*/ 126290 w 203591"/>
                <a:gd name="connsiteY1364" fmla="*/ 175916 h 279938"/>
                <a:gd name="connsiteX1365" fmla="*/ 124700 w 203591"/>
                <a:gd name="connsiteY1365" fmla="*/ 175280 h 279938"/>
                <a:gd name="connsiteX1366" fmla="*/ 124700 w 203591"/>
                <a:gd name="connsiteY1366" fmla="*/ 175916 h 279938"/>
                <a:gd name="connsiteX1367" fmla="*/ 125654 w 203591"/>
                <a:gd name="connsiteY1367" fmla="*/ 176552 h 279938"/>
                <a:gd name="connsiteX1368" fmla="*/ 126290 w 203591"/>
                <a:gd name="connsiteY1368" fmla="*/ 175916 h 279938"/>
                <a:gd name="connsiteX1369" fmla="*/ 127563 w 203591"/>
                <a:gd name="connsiteY1369" fmla="*/ 173371 h 279938"/>
                <a:gd name="connsiteX1370" fmla="*/ 127563 w 203591"/>
                <a:gd name="connsiteY1370" fmla="*/ 171780 h 279938"/>
                <a:gd name="connsiteX1371" fmla="*/ 126608 w 203591"/>
                <a:gd name="connsiteY1371" fmla="*/ 171780 h 279938"/>
                <a:gd name="connsiteX1372" fmla="*/ 126608 w 203591"/>
                <a:gd name="connsiteY1372" fmla="*/ 172098 h 279938"/>
                <a:gd name="connsiteX1373" fmla="*/ 126290 w 203591"/>
                <a:gd name="connsiteY1373" fmla="*/ 173053 h 279938"/>
                <a:gd name="connsiteX1374" fmla="*/ 126608 w 203591"/>
                <a:gd name="connsiteY1374" fmla="*/ 173689 h 279938"/>
                <a:gd name="connsiteX1375" fmla="*/ 127563 w 203591"/>
                <a:gd name="connsiteY1375" fmla="*/ 173371 h 279938"/>
                <a:gd name="connsiteX1376" fmla="*/ 129472 w 203591"/>
                <a:gd name="connsiteY1376" fmla="*/ 55670 h 279938"/>
                <a:gd name="connsiteX1377" fmla="*/ 130744 w 203591"/>
                <a:gd name="connsiteY1377" fmla="*/ 55033 h 279938"/>
                <a:gd name="connsiteX1378" fmla="*/ 130108 w 203591"/>
                <a:gd name="connsiteY1378" fmla="*/ 55033 h 279938"/>
                <a:gd name="connsiteX1379" fmla="*/ 129472 w 203591"/>
                <a:gd name="connsiteY1379" fmla="*/ 54715 h 279938"/>
                <a:gd name="connsiteX1380" fmla="*/ 128517 w 203591"/>
                <a:gd name="connsiteY1380" fmla="*/ 55033 h 279938"/>
                <a:gd name="connsiteX1381" fmla="*/ 128199 w 203591"/>
                <a:gd name="connsiteY1381" fmla="*/ 55033 h 279938"/>
                <a:gd name="connsiteX1382" fmla="*/ 127881 w 203591"/>
                <a:gd name="connsiteY1382" fmla="*/ 55351 h 279938"/>
                <a:gd name="connsiteX1383" fmla="*/ 128517 w 203591"/>
                <a:gd name="connsiteY1383" fmla="*/ 55670 h 279938"/>
                <a:gd name="connsiteX1384" fmla="*/ 129472 w 203591"/>
                <a:gd name="connsiteY1384" fmla="*/ 55670 h 279938"/>
                <a:gd name="connsiteX1385" fmla="*/ 130426 w 203591"/>
                <a:gd name="connsiteY1385" fmla="*/ 189277 h 279938"/>
                <a:gd name="connsiteX1386" fmla="*/ 130426 w 203591"/>
                <a:gd name="connsiteY1386" fmla="*/ 189595 h 279938"/>
                <a:gd name="connsiteX1387" fmla="*/ 129472 w 203591"/>
                <a:gd name="connsiteY1387" fmla="*/ 190231 h 279938"/>
                <a:gd name="connsiteX1388" fmla="*/ 129472 w 203591"/>
                <a:gd name="connsiteY1388" fmla="*/ 189913 h 279938"/>
                <a:gd name="connsiteX1389" fmla="*/ 128835 w 203591"/>
                <a:gd name="connsiteY1389" fmla="*/ 189277 h 279938"/>
                <a:gd name="connsiteX1390" fmla="*/ 129790 w 203591"/>
                <a:gd name="connsiteY1390" fmla="*/ 188640 h 279938"/>
                <a:gd name="connsiteX1391" fmla="*/ 130744 w 203591"/>
                <a:gd name="connsiteY1391" fmla="*/ 188640 h 279938"/>
                <a:gd name="connsiteX1392" fmla="*/ 130426 w 203591"/>
                <a:gd name="connsiteY1392" fmla="*/ 189277 h 279938"/>
                <a:gd name="connsiteX1393" fmla="*/ 130426 w 203591"/>
                <a:gd name="connsiteY1393" fmla="*/ 191185 h 279938"/>
                <a:gd name="connsiteX1394" fmla="*/ 130744 w 203591"/>
                <a:gd name="connsiteY1394" fmla="*/ 191503 h 279938"/>
                <a:gd name="connsiteX1395" fmla="*/ 129790 w 203591"/>
                <a:gd name="connsiteY1395" fmla="*/ 192140 h 279938"/>
                <a:gd name="connsiteX1396" fmla="*/ 129790 w 203591"/>
                <a:gd name="connsiteY1396" fmla="*/ 191821 h 279938"/>
                <a:gd name="connsiteX1397" fmla="*/ 129472 w 203591"/>
                <a:gd name="connsiteY1397" fmla="*/ 191503 h 279938"/>
                <a:gd name="connsiteX1398" fmla="*/ 128835 w 203591"/>
                <a:gd name="connsiteY1398" fmla="*/ 191185 h 279938"/>
                <a:gd name="connsiteX1399" fmla="*/ 130426 w 203591"/>
                <a:gd name="connsiteY1399" fmla="*/ 191185 h 279938"/>
                <a:gd name="connsiteX1400" fmla="*/ 131062 w 203591"/>
                <a:gd name="connsiteY1400" fmla="*/ 53443 h 279938"/>
                <a:gd name="connsiteX1401" fmla="*/ 131698 w 203591"/>
                <a:gd name="connsiteY1401" fmla="*/ 52488 h 279938"/>
                <a:gd name="connsiteX1402" fmla="*/ 131698 w 203591"/>
                <a:gd name="connsiteY1402" fmla="*/ 52170 h 279938"/>
                <a:gd name="connsiteX1403" fmla="*/ 130108 w 203591"/>
                <a:gd name="connsiteY1403" fmla="*/ 52488 h 279938"/>
                <a:gd name="connsiteX1404" fmla="*/ 129790 w 203591"/>
                <a:gd name="connsiteY1404" fmla="*/ 54397 h 279938"/>
                <a:gd name="connsiteX1405" fmla="*/ 131062 w 203591"/>
                <a:gd name="connsiteY1405" fmla="*/ 53443 h 279938"/>
                <a:gd name="connsiteX1406" fmla="*/ 132335 w 203591"/>
                <a:gd name="connsiteY1406" fmla="*/ 183551 h 279938"/>
                <a:gd name="connsiteX1407" fmla="*/ 132016 w 203591"/>
                <a:gd name="connsiteY1407" fmla="*/ 183232 h 279938"/>
                <a:gd name="connsiteX1408" fmla="*/ 132335 w 203591"/>
                <a:gd name="connsiteY1408" fmla="*/ 182914 h 279938"/>
                <a:gd name="connsiteX1409" fmla="*/ 132653 w 203591"/>
                <a:gd name="connsiteY1409" fmla="*/ 182914 h 279938"/>
                <a:gd name="connsiteX1410" fmla="*/ 132971 w 203591"/>
                <a:gd name="connsiteY1410" fmla="*/ 183232 h 279938"/>
                <a:gd name="connsiteX1411" fmla="*/ 133607 w 203591"/>
                <a:gd name="connsiteY1411" fmla="*/ 183551 h 279938"/>
                <a:gd name="connsiteX1412" fmla="*/ 132653 w 203591"/>
                <a:gd name="connsiteY1412" fmla="*/ 184187 h 279938"/>
                <a:gd name="connsiteX1413" fmla="*/ 132335 w 203591"/>
                <a:gd name="connsiteY1413" fmla="*/ 183551 h 279938"/>
                <a:gd name="connsiteX1414" fmla="*/ 135834 w 203591"/>
                <a:gd name="connsiteY1414" fmla="*/ 57896 h 279938"/>
                <a:gd name="connsiteX1415" fmla="*/ 135516 w 203591"/>
                <a:gd name="connsiteY1415" fmla="*/ 57578 h 279938"/>
                <a:gd name="connsiteX1416" fmla="*/ 134879 w 203591"/>
                <a:gd name="connsiteY1416" fmla="*/ 57896 h 279938"/>
                <a:gd name="connsiteX1417" fmla="*/ 135834 w 203591"/>
                <a:gd name="connsiteY1417" fmla="*/ 57896 h 279938"/>
                <a:gd name="connsiteX1418" fmla="*/ 137106 w 203591"/>
                <a:gd name="connsiteY1418" fmla="*/ 51852 h 279938"/>
                <a:gd name="connsiteX1419" fmla="*/ 137106 w 203591"/>
                <a:gd name="connsiteY1419" fmla="*/ 51534 h 279938"/>
                <a:gd name="connsiteX1420" fmla="*/ 136788 w 203591"/>
                <a:gd name="connsiteY1420" fmla="*/ 51534 h 279938"/>
                <a:gd name="connsiteX1421" fmla="*/ 136470 w 203591"/>
                <a:gd name="connsiteY1421" fmla="*/ 52170 h 279938"/>
                <a:gd name="connsiteX1422" fmla="*/ 137106 w 203591"/>
                <a:gd name="connsiteY1422" fmla="*/ 51852 h 279938"/>
                <a:gd name="connsiteX1423" fmla="*/ 137424 w 203591"/>
                <a:gd name="connsiteY1423" fmla="*/ 171780 h 279938"/>
                <a:gd name="connsiteX1424" fmla="*/ 137106 w 203591"/>
                <a:gd name="connsiteY1424" fmla="*/ 170826 h 279938"/>
                <a:gd name="connsiteX1425" fmla="*/ 137106 w 203591"/>
                <a:gd name="connsiteY1425" fmla="*/ 170190 h 279938"/>
                <a:gd name="connsiteX1426" fmla="*/ 136788 w 203591"/>
                <a:gd name="connsiteY1426" fmla="*/ 170190 h 279938"/>
                <a:gd name="connsiteX1427" fmla="*/ 137106 w 203591"/>
                <a:gd name="connsiteY1427" fmla="*/ 169554 h 279938"/>
                <a:gd name="connsiteX1428" fmla="*/ 137424 w 203591"/>
                <a:gd name="connsiteY1428" fmla="*/ 169235 h 279938"/>
                <a:gd name="connsiteX1429" fmla="*/ 139015 w 203591"/>
                <a:gd name="connsiteY1429" fmla="*/ 169872 h 279938"/>
                <a:gd name="connsiteX1430" fmla="*/ 139333 w 203591"/>
                <a:gd name="connsiteY1430" fmla="*/ 170190 h 279938"/>
                <a:gd name="connsiteX1431" fmla="*/ 139015 w 203591"/>
                <a:gd name="connsiteY1431" fmla="*/ 170826 h 279938"/>
                <a:gd name="connsiteX1432" fmla="*/ 137742 w 203591"/>
                <a:gd name="connsiteY1432" fmla="*/ 171780 h 279938"/>
                <a:gd name="connsiteX1433" fmla="*/ 137424 w 203591"/>
                <a:gd name="connsiteY1433" fmla="*/ 171780 h 279938"/>
                <a:gd name="connsiteX1434" fmla="*/ 139333 w 203591"/>
                <a:gd name="connsiteY1434" fmla="*/ 167645 h 279938"/>
                <a:gd name="connsiteX1435" fmla="*/ 139969 w 203591"/>
                <a:gd name="connsiteY1435" fmla="*/ 167645 h 279938"/>
                <a:gd name="connsiteX1436" fmla="*/ 140605 w 203591"/>
                <a:gd name="connsiteY1436" fmla="*/ 168917 h 279938"/>
                <a:gd name="connsiteX1437" fmla="*/ 140287 w 203591"/>
                <a:gd name="connsiteY1437" fmla="*/ 169235 h 279938"/>
                <a:gd name="connsiteX1438" fmla="*/ 139333 w 203591"/>
                <a:gd name="connsiteY1438" fmla="*/ 168917 h 279938"/>
                <a:gd name="connsiteX1439" fmla="*/ 139333 w 203591"/>
                <a:gd name="connsiteY1439" fmla="*/ 167645 h 279938"/>
                <a:gd name="connsiteX1440" fmla="*/ 145059 w 203591"/>
                <a:gd name="connsiteY1440" fmla="*/ 55033 h 279938"/>
                <a:gd name="connsiteX1441" fmla="*/ 146331 w 203591"/>
                <a:gd name="connsiteY1441" fmla="*/ 54715 h 279938"/>
                <a:gd name="connsiteX1442" fmla="*/ 146331 w 203591"/>
                <a:gd name="connsiteY1442" fmla="*/ 54397 h 279938"/>
                <a:gd name="connsiteX1443" fmla="*/ 146331 w 203591"/>
                <a:gd name="connsiteY1443" fmla="*/ 54079 h 279938"/>
                <a:gd name="connsiteX1444" fmla="*/ 145377 w 203591"/>
                <a:gd name="connsiteY1444" fmla="*/ 54079 h 279938"/>
                <a:gd name="connsiteX1445" fmla="*/ 145059 w 203591"/>
                <a:gd name="connsiteY1445" fmla="*/ 54715 h 279938"/>
                <a:gd name="connsiteX1446" fmla="*/ 145059 w 203591"/>
                <a:gd name="connsiteY1446" fmla="*/ 55033 h 279938"/>
                <a:gd name="connsiteX1447" fmla="*/ 150785 w 203591"/>
                <a:gd name="connsiteY1447" fmla="*/ 52488 h 279938"/>
                <a:gd name="connsiteX1448" fmla="*/ 151421 w 203591"/>
                <a:gd name="connsiteY1448" fmla="*/ 51534 h 279938"/>
                <a:gd name="connsiteX1449" fmla="*/ 151421 w 203591"/>
                <a:gd name="connsiteY1449" fmla="*/ 50898 h 279938"/>
                <a:gd name="connsiteX1450" fmla="*/ 151421 w 203591"/>
                <a:gd name="connsiteY1450" fmla="*/ 50580 h 279938"/>
                <a:gd name="connsiteX1451" fmla="*/ 151103 w 203591"/>
                <a:gd name="connsiteY1451" fmla="*/ 50580 h 279938"/>
                <a:gd name="connsiteX1452" fmla="*/ 150149 w 203591"/>
                <a:gd name="connsiteY1452" fmla="*/ 51216 h 279938"/>
                <a:gd name="connsiteX1453" fmla="*/ 150785 w 203591"/>
                <a:gd name="connsiteY1453" fmla="*/ 52170 h 279938"/>
                <a:gd name="connsiteX1454" fmla="*/ 150785 w 203591"/>
                <a:gd name="connsiteY1454" fmla="*/ 52488 h 279938"/>
                <a:gd name="connsiteX1455" fmla="*/ 160646 w 203591"/>
                <a:gd name="connsiteY1455" fmla="*/ 54397 h 279938"/>
                <a:gd name="connsiteX1456" fmla="*/ 162237 w 203591"/>
                <a:gd name="connsiteY1456" fmla="*/ 53125 h 279938"/>
                <a:gd name="connsiteX1457" fmla="*/ 160010 w 203591"/>
                <a:gd name="connsiteY1457" fmla="*/ 54397 h 279938"/>
                <a:gd name="connsiteX1458" fmla="*/ 160646 w 203591"/>
                <a:gd name="connsiteY1458" fmla="*/ 54397 h 279938"/>
                <a:gd name="connsiteX1459" fmla="*/ 188640 w 203591"/>
                <a:gd name="connsiteY1459" fmla="*/ 61077 h 279938"/>
                <a:gd name="connsiteX1460" fmla="*/ 188640 w 203591"/>
                <a:gd name="connsiteY1460" fmla="*/ 60759 h 279938"/>
                <a:gd name="connsiteX1461" fmla="*/ 188004 w 203591"/>
                <a:gd name="connsiteY1461" fmla="*/ 61077 h 279938"/>
                <a:gd name="connsiteX1462" fmla="*/ 188640 w 203591"/>
                <a:gd name="connsiteY1462" fmla="*/ 61077 h 279938"/>
                <a:gd name="connsiteX1463" fmla="*/ 193412 w 203591"/>
                <a:gd name="connsiteY1463" fmla="*/ 46762 h 279938"/>
                <a:gd name="connsiteX1464" fmla="*/ 193730 w 203591"/>
                <a:gd name="connsiteY1464" fmla="*/ 45808 h 279938"/>
                <a:gd name="connsiteX1465" fmla="*/ 193094 w 203591"/>
                <a:gd name="connsiteY1465" fmla="*/ 46444 h 279938"/>
                <a:gd name="connsiteX1466" fmla="*/ 193412 w 203591"/>
                <a:gd name="connsiteY1466" fmla="*/ 47081 h 279938"/>
                <a:gd name="connsiteX1467" fmla="*/ 193412 w 203591"/>
                <a:gd name="connsiteY1467" fmla="*/ 46762 h 279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</a:cxnLst>
              <a:rect l="l" t="t" r="r" b="b"/>
              <a:pathLst>
                <a:path w="203591" h="279938">
                  <a:moveTo>
                    <a:pt x="41355" y="64577"/>
                  </a:moveTo>
                  <a:cubicBezTo>
                    <a:pt x="41036" y="64577"/>
                    <a:pt x="41036" y="64577"/>
                    <a:pt x="41036" y="64259"/>
                  </a:cubicBezTo>
                  <a:lnTo>
                    <a:pt x="41036" y="63940"/>
                  </a:lnTo>
                  <a:cubicBezTo>
                    <a:pt x="42309" y="63622"/>
                    <a:pt x="42627" y="63304"/>
                    <a:pt x="42945" y="62668"/>
                  </a:cubicBezTo>
                  <a:lnTo>
                    <a:pt x="43581" y="62668"/>
                  </a:lnTo>
                  <a:cubicBezTo>
                    <a:pt x="43899" y="62668"/>
                    <a:pt x="44854" y="62350"/>
                    <a:pt x="45808" y="62350"/>
                  </a:cubicBezTo>
                  <a:cubicBezTo>
                    <a:pt x="46126" y="62032"/>
                    <a:pt x="46762" y="62350"/>
                    <a:pt x="47081" y="61714"/>
                  </a:cubicBezTo>
                  <a:cubicBezTo>
                    <a:pt x="47399" y="61714"/>
                    <a:pt x="48671" y="61077"/>
                    <a:pt x="48671" y="61077"/>
                  </a:cubicBezTo>
                  <a:cubicBezTo>
                    <a:pt x="49307" y="60441"/>
                    <a:pt x="49625" y="60123"/>
                    <a:pt x="50580" y="60123"/>
                  </a:cubicBezTo>
                  <a:lnTo>
                    <a:pt x="51852" y="60123"/>
                  </a:lnTo>
                  <a:lnTo>
                    <a:pt x="56306" y="59169"/>
                  </a:lnTo>
                  <a:lnTo>
                    <a:pt x="57260" y="59169"/>
                  </a:lnTo>
                  <a:lnTo>
                    <a:pt x="57896" y="59805"/>
                  </a:lnTo>
                  <a:cubicBezTo>
                    <a:pt x="57578" y="60441"/>
                    <a:pt x="57260" y="61077"/>
                    <a:pt x="56306" y="61714"/>
                  </a:cubicBezTo>
                  <a:cubicBezTo>
                    <a:pt x="55988" y="61714"/>
                    <a:pt x="55988" y="61714"/>
                    <a:pt x="55351" y="62032"/>
                  </a:cubicBezTo>
                  <a:cubicBezTo>
                    <a:pt x="55351" y="62032"/>
                    <a:pt x="55033" y="62032"/>
                    <a:pt x="55033" y="62350"/>
                  </a:cubicBezTo>
                  <a:lnTo>
                    <a:pt x="55033" y="62668"/>
                  </a:lnTo>
                  <a:cubicBezTo>
                    <a:pt x="55033" y="62986"/>
                    <a:pt x="55351" y="63304"/>
                    <a:pt x="55670" y="63304"/>
                  </a:cubicBezTo>
                  <a:cubicBezTo>
                    <a:pt x="55670" y="63304"/>
                    <a:pt x="55988" y="63622"/>
                    <a:pt x="56306" y="63622"/>
                  </a:cubicBezTo>
                  <a:lnTo>
                    <a:pt x="56942" y="63622"/>
                  </a:lnTo>
                  <a:cubicBezTo>
                    <a:pt x="57578" y="63622"/>
                    <a:pt x="57260" y="64259"/>
                    <a:pt x="57578" y="64259"/>
                  </a:cubicBezTo>
                  <a:lnTo>
                    <a:pt x="58214" y="64259"/>
                  </a:lnTo>
                  <a:cubicBezTo>
                    <a:pt x="59487" y="63622"/>
                    <a:pt x="59487" y="63304"/>
                    <a:pt x="59487" y="62668"/>
                  </a:cubicBezTo>
                  <a:cubicBezTo>
                    <a:pt x="60123" y="62032"/>
                    <a:pt x="60441" y="61714"/>
                    <a:pt x="61714" y="61077"/>
                  </a:cubicBezTo>
                  <a:lnTo>
                    <a:pt x="62350" y="59169"/>
                  </a:lnTo>
                  <a:cubicBezTo>
                    <a:pt x="63304" y="58533"/>
                    <a:pt x="63304" y="58214"/>
                    <a:pt x="64259" y="57896"/>
                  </a:cubicBezTo>
                  <a:lnTo>
                    <a:pt x="64895" y="57896"/>
                  </a:lnTo>
                  <a:cubicBezTo>
                    <a:pt x="65531" y="57896"/>
                    <a:pt x="65849" y="57896"/>
                    <a:pt x="66485" y="57578"/>
                  </a:cubicBezTo>
                  <a:cubicBezTo>
                    <a:pt x="67122" y="56942"/>
                    <a:pt x="67758" y="56942"/>
                    <a:pt x="68076" y="56942"/>
                  </a:cubicBezTo>
                  <a:cubicBezTo>
                    <a:pt x="68394" y="56942"/>
                    <a:pt x="68712" y="56942"/>
                    <a:pt x="69030" y="57578"/>
                  </a:cubicBezTo>
                  <a:cubicBezTo>
                    <a:pt x="69348" y="57578"/>
                    <a:pt x="69348" y="57896"/>
                    <a:pt x="69348" y="58214"/>
                  </a:cubicBezTo>
                  <a:cubicBezTo>
                    <a:pt x="69666" y="58214"/>
                    <a:pt x="70303" y="57896"/>
                    <a:pt x="70621" y="57896"/>
                  </a:cubicBezTo>
                  <a:lnTo>
                    <a:pt x="70939" y="57896"/>
                  </a:lnTo>
                  <a:cubicBezTo>
                    <a:pt x="70939" y="57578"/>
                    <a:pt x="70939" y="57578"/>
                    <a:pt x="71257" y="57578"/>
                  </a:cubicBezTo>
                  <a:cubicBezTo>
                    <a:pt x="72529" y="55988"/>
                    <a:pt x="73802" y="55351"/>
                    <a:pt x="74438" y="55351"/>
                  </a:cubicBezTo>
                  <a:lnTo>
                    <a:pt x="77619" y="55351"/>
                  </a:lnTo>
                  <a:cubicBezTo>
                    <a:pt x="77937" y="55351"/>
                    <a:pt x="77937" y="55351"/>
                    <a:pt x="77937" y="55670"/>
                  </a:cubicBezTo>
                  <a:lnTo>
                    <a:pt x="77937" y="55988"/>
                  </a:lnTo>
                  <a:lnTo>
                    <a:pt x="76983" y="57260"/>
                  </a:lnTo>
                  <a:lnTo>
                    <a:pt x="76983" y="57578"/>
                  </a:lnTo>
                  <a:lnTo>
                    <a:pt x="77937" y="57578"/>
                  </a:lnTo>
                  <a:cubicBezTo>
                    <a:pt x="78256" y="57578"/>
                    <a:pt x="78892" y="57578"/>
                    <a:pt x="79846" y="56942"/>
                  </a:cubicBezTo>
                  <a:cubicBezTo>
                    <a:pt x="79846" y="56306"/>
                    <a:pt x="80482" y="56306"/>
                    <a:pt x="81118" y="55988"/>
                  </a:cubicBezTo>
                  <a:cubicBezTo>
                    <a:pt x="80800" y="56306"/>
                    <a:pt x="80482" y="57260"/>
                    <a:pt x="80164" y="57260"/>
                  </a:cubicBezTo>
                  <a:cubicBezTo>
                    <a:pt x="79846" y="58533"/>
                    <a:pt x="79846" y="58533"/>
                    <a:pt x="78256" y="58533"/>
                  </a:cubicBezTo>
                  <a:lnTo>
                    <a:pt x="77619" y="58533"/>
                  </a:lnTo>
                  <a:cubicBezTo>
                    <a:pt x="77301" y="58851"/>
                    <a:pt x="76983" y="58851"/>
                    <a:pt x="76983" y="59169"/>
                  </a:cubicBezTo>
                  <a:lnTo>
                    <a:pt x="76983" y="59805"/>
                  </a:lnTo>
                  <a:cubicBezTo>
                    <a:pt x="78256" y="59169"/>
                    <a:pt x="79210" y="59169"/>
                    <a:pt x="80164" y="59169"/>
                  </a:cubicBezTo>
                  <a:lnTo>
                    <a:pt x="80800" y="59169"/>
                  </a:lnTo>
                  <a:cubicBezTo>
                    <a:pt x="81118" y="59169"/>
                    <a:pt x="81755" y="58533"/>
                    <a:pt x="82391" y="58533"/>
                  </a:cubicBezTo>
                  <a:cubicBezTo>
                    <a:pt x="82391" y="58533"/>
                    <a:pt x="82709" y="58214"/>
                    <a:pt x="83027" y="58214"/>
                  </a:cubicBezTo>
                  <a:cubicBezTo>
                    <a:pt x="82709" y="57896"/>
                    <a:pt x="82391" y="57896"/>
                    <a:pt x="82391" y="57896"/>
                  </a:cubicBezTo>
                  <a:lnTo>
                    <a:pt x="82073" y="57578"/>
                  </a:lnTo>
                  <a:cubicBezTo>
                    <a:pt x="82073" y="57260"/>
                    <a:pt x="82073" y="57260"/>
                    <a:pt x="81755" y="56942"/>
                  </a:cubicBezTo>
                  <a:cubicBezTo>
                    <a:pt x="81755" y="56942"/>
                    <a:pt x="82073" y="56306"/>
                    <a:pt x="82391" y="55988"/>
                  </a:cubicBezTo>
                  <a:cubicBezTo>
                    <a:pt x="83027" y="55988"/>
                    <a:pt x="83345" y="55670"/>
                    <a:pt x="83345" y="55351"/>
                  </a:cubicBezTo>
                  <a:cubicBezTo>
                    <a:pt x="83345" y="55033"/>
                    <a:pt x="83663" y="54397"/>
                    <a:pt x="83981" y="54079"/>
                  </a:cubicBezTo>
                  <a:cubicBezTo>
                    <a:pt x="84618" y="53125"/>
                    <a:pt x="87481" y="41673"/>
                    <a:pt x="87481" y="41355"/>
                  </a:cubicBezTo>
                  <a:cubicBezTo>
                    <a:pt x="87481" y="40718"/>
                    <a:pt x="87481" y="36265"/>
                    <a:pt x="87799" y="35947"/>
                  </a:cubicBezTo>
                  <a:cubicBezTo>
                    <a:pt x="89071" y="35629"/>
                    <a:pt x="89708" y="35629"/>
                    <a:pt x="90026" y="34356"/>
                  </a:cubicBezTo>
                  <a:cubicBezTo>
                    <a:pt x="90344" y="34038"/>
                    <a:pt x="90662" y="34038"/>
                    <a:pt x="90662" y="33720"/>
                  </a:cubicBezTo>
                  <a:lnTo>
                    <a:pt x="90344" y="33402"/>
                  </a:lnTo>
                  <a:cubicBezTo>
                    <a:pt x="90344" y="33084"/>
                    <a:pt x="90344" y="32766"/>
                    <a:pt x="90662" y="32447"/>
                  </a:cubicBezTo>
                  <a:cubicBezTo>
                    <a:pt x="89390" y="32447"/>
                    <a:pt x="89390" y="32447"/>
                    <a:pt x="89390" y="31811"/>
                  </a:cubicBezTo>
                  <a:cubicBezTo>
                    <a:pt x="89390" y="31175"/>
                    <a:pt x="89390" y="30539"/>
                    <a:pt x="89071" y="30221"/>
                  </a:cubicBezTo>
                  <a:lnTo>
                    <a:pt x="89071" y="29584"/>
                  </a:lnTo>
                  <a:cubicBezTo>
                    <a:pt x="89390" y="28948"/>
                    <a:pt x="89708" y="28948"/>
                    <a:pt x="90026" y="28630"/>
                  </a:cubicBezTo>
                  <a:cubicBezTo>
                    <a:pt x="90344" y="28312"/>
                    <a:pt x="90344" y="27994"/>
                    <a:pt x="90344" y="27676"/>
                  </a:cubicBezTo>
                  <a:lnTo>
                    <a:pt x="90344" y="27040"/>
                  </a:lnTo>
                  <a:cubicBezTo>
                    <a:pt x="90344" y="26403"/>
                    <a:pt x="90980" y="26085"/>
                    <a:pt x="90980" y="25449"/>
                  </a:cubicBezTo>
                  <a:cubicBezTo>
                    <a:pt x="91298" y="25131"/>
                    <a:pt x="91934" y="24495"/>
                    <a:pt x="91934" y="23858"/>
                  </a:cubicBezTo>
                  <a:lnTo>
                    <a:pt x="91934" y="23540"/>
                  </a:lnTo>
                  <a:cubicBezTo>
                    <a:pt x="92571" y="23540"/>
                    <a:pt x="92571" y="22904"/>
                    <a:pt x="92571" y="21950"/>
                  </a:cubicBezTo>
                  <a:lnTo>
                    <a:pt x="92889" y="21632"/>
                  </a:lnTo>
                  <a:lnTo>
                    <a:pt x="92889" y="21313"/>
                  </a:lnTo>
                  <a:lnTo>
                    <a:pt x="92571" y="20995"/>
                  </a:lnTo>
                  <a:lnTo>
                    <a:pt x="92571" y="19405"/>
                  </a:lnTo>
                  <a:cubicBezTo>
                    <a:pt x="92571" y="19087"/>
                    <a:pt x="92889" y="19087"/>
                    <a:pt x="92889" y="18769"/>
                  </a:cubicBezTo>
                  <a:cubicBezTo>
                    <a:pt x="93525" y="18450"/>
                    <a:pt x="94161" y="18132"/>
                    <a:pt x="94479" y="17496"/>
                  </a:cubicBezTo>
                  <a:lnTo>
                    <a:pt x="94161" y="17178"/>
                  </a:lnTo>
                  <a:cubicBezTo>
                    <a:pt x="95115" y="16860"/>
                    <a:pt x="95115" y="15587"/>
                    <a:pt x="95115" y="15269"/>
                  </a:cubicBezTo>
                  <a:lnTo>
                    <a:pt x="94797" y="14951"/>
                  </a:lnTo>
                  <a:cubicBezTo>
                    <a:pt x="94797" y="14951"/>
                    <a:pt x="95115" y="14633"/>
                    <a:pt x="96070" y="14315"/>
                  </a:cubicBezTo>
                  <a:lnTo>
                    <a:pt x="97342" y="13361"/>
                  </a:lnTo>
                  <a:lnTo>
                    <a:pt x="97342" y="11770"/>
                  </a:lnTo>
                  <a:cubicBezTo>
                    <a:pt x="97660" y="11452"/>
                    <a:pt x="97978" y="10816"/>
                    <a:pt x="99251" y="10180"/>
                  </a:cubicBezTo>
                  <a:cubicBezTo>
                    <a:pt x="99251" y="10180"/>
                    <a:pt x="99569" y="7953"/>
                    <a:pt x="100205" y="7317"/>
                  </a:cubicBezTo>
                  <a:cubicBezTo>
                    <a:pt x="100523" y="7317"/>
                    <a:pt x="100523" y="7317"/>
                    <a:pt x="100841" y="6998"/>
                  </a:cubicBezTo>
                  <a:cubicBezTo>
                    <a:pt x="101160" y="6680"/>
                    <a:pt x="101160" y="6362"/>
                    <a:pt x="101160" y="6044"/>
                  </a:cubicBezTo>
                  <a:cubicBezTo>
                    <a:pt x="101160" y="5090"/>
                    <a:pt x="101160" y="5090"/>
                    <a:pt x="102114" y="4454"/>
                  </a:cubicBezTo>
                  <a:lnTo>
                    <a:pt x="103705" y="3181"/>
                  </a:lnTo>
                  <a:cubicBezTo>
                    <a:pt x="103386" y="2863"/>
                    <a:pt x="103386" y="2863"/>
                    <a:pt x="103386" y="2545"/>
                  </a:cubicBezTo>
                  <a:cubicBezTo>
                    <a:pt x="103386" y="2227"/>
                    <a:pt x="103705" y="1909"/>
                    <a:pt x="104659" y="1909"/>
                  </a:cubicBezTo>
                  <a:cubicBezTo>
                    <a:pt x="104659" y="1909"/>
                    <a:pt x="104977" y="1591"/>
                    <a:pt x="105295" y="1591"/>
                  </a:cubicBezTo>
                  <a:cubicBezTo>
                    <a:pt x="105613" y="1591"/>
                    <a:pt x="105613" y="1272"/>
                    <a:pt x="105931" y="1272"/>
                  </a:cubicBezTo>
                  <a:lnTo>
                    <a:pt x="106249" y="1272"/>
                  </a:lnTo>
                  <a:cubicBezTo>
                    <a:pt x="106249" y="1272"/>
                    <a:pt x="106249" y="1591"/>
                    <a:pt x="106567" y="1591"/>
                  </a:cubicBezTo>
                  <a:cubicBezTo>
                    <a:pt x="106567" y="1591"/>
                    <a:pt x="106886" y="1591"/>
                    <a:pt x="107204" y="1272"/>
                  </a:cubicBezTo>
                  <a:cubicBezTo>
                    <a:pt x="107840" y="954"/>
                    <a:pt x="108158" y="954"/>
                    <a:pt x="108794" y="318"/>
                  </a:cubicBezTo>
                  <a:cubicBezTo>
                    <a:pt x="109112" y="318"/>
                    <a:pt x="109430" y="0"/>
                    <a:pt x="109748" y="0"/>
                  </a:cubicBezTo>
                  <a:cubicBezTo>
                    <a:pt x="110067" y="0"/>
                    <a:pt x="110385" y="318"/>
                    <a:pt x="111021" y="636"/>
                  </a:cubicBezTo>
                  <a:cubicBezTo>
                    <a:pt x="111021" y="954"/>
                    <a:pt x="111339" y="954"/>
                    <a:pt x="111339" y="954"/>
                  </a:cubicBezTo>
                  <a:cubicBezTo>
                    <a:pt x="111339" y="1909"/>
                    <a:pt x="111339" y="2545"/>
                    <a:pt x="111021" y="3181"/>
                  </a:cubicBezTo>
                  <a:lnTo>
                    <a:pt x="111657" y="3499"/>
                  </a:lnTo>
                  <a:lnTo>
                    <a:pt x="112293" y="3499"/>
                  </a:lnTo>
                  <a:lnTo>
                    <a:pt x="113248" y="1909"/>
                  </a:lnTo>
                  <a:lnTo>
                    <a:pt x="113566" y="1909"/>
                  </a:lnTo>
                  <a:cubicBezTo>
                    <a:pt x="113884" y="1909"/>
                    <a:pt x="113884" y="2227"/>
                    <a:pt x="113884" y="2545"/>
                  </a:cubicBezTo>
                  <a:lnTo>
                    <a:pt x="114520" y="3181"/>
                  </a:lnTo>
                  <a:cubicBezTo>
                    <a:pt x="114520" y="3181"/>
                    <a:pt x="114838" y="3499"/>
                    <a:pt x="115156" y="3499"/>
                  </a:cubicBezTo>
                  <a:lnTo>
                    <a:pt x="117701" y="3499"/>
                  </a:lnTo>
                  <a:cubicBezTo>
                    <a:pt x="117701" y="3499"/>
                    <a:pt x="117383" y="3817"/>
                    <a:pt x="117383" y="4135"/>
                  </a:cubicBezTo>
                  <a:lnTo>
                    <a:pt x="117383" y="4772"/>
                  </a:lnTo>
                  <a:lnTo>
                    <a:pt x="118656" y="4772"/>
                  </a:lnTo>
                  <a:lnTo>
                    <a:pt x="118974" y="4454"/>
                  </a:lnTo>
                  <a:cubicBezTo>
                    <a:pt x="119610" y="4454"/>
                    <a:pt x="119928" y="4135"/>
                    <a:pt x="120246" y="4135"/>
                  </a:cubicBezTo>
                  <a:cubicBezTo>
                    <a:pt x="120246" y="4135"/>
                    <a:pt x="120564" y="4454"/>
                    <a:pt x="120882" y="4454"/>
                  </a:cubicBezTo>
                  <a:cubicBezTo>
                    <a:pt x="121519" y="4454"/>
                    <a:pt x="122155" y="4772"/>
                    <a:pt x="122791" y="4772"/>
                  </a:cubicBezTo>
                  <a:cubicBezTo>
                    <a:pt x="123745" y="4772"/>
                    <a:pt x="124063" y="5408"/>
                    <a:pt x="124063" y="5726"/>
                  </a:cubicBezTo>
                  <a:cubicBezTo>
                    <a:pt x="124063" y="6680"/>
                    <a:pt x="123745" y="7317"/>
                    <a:pt x="123745" y="7953"/>
                  </a:cubicBezTo>
                  <a:cubicBezTo>
                    <a:pt x="123745" y="8271"/>
                    <a:pt x="123745" y="8589"/>
                    <a:pt x="124382" y="8907"/>
                  </a:cubicBezTo>
                  <a:lnTo>
                    <a:pt x="124700" y="9543"/>
                  </a:lnTo>
                  <a:cubicBezTo>
                    <a:pt x="124063" y="10180"/>
                    <a:pt x="123745" y="10816"/>
                    <a:pt x="123745" y="11134"/>
                  </a:cubicBezTo>
                  <a:cubicBezTo>
                    <a:pt x="123745" y="11452"/>
                    <a:pt x="123427" y="11452"/>
                    <a:pt x="123427" y="12088"/>
                  </a:cubicBezTo>
                  <a:cubicBezTo>
                    <a:pt x="122473" y="12088"/>
                    <a:pt x="122791" y="13043"/>
                    <a:pt x="122155" y="13361"/>
                  </a:cubicBezTo>
                  <a:cubicBezTo>
                    <a:pt x="121837" y="13361"/>
                    <a:pt x="121837" y="13679"/>
                    <a:pt x="121837" y="13997"/>
                  </a:cubicBezTo>
                  <a:cubicBezTo>
                    <a:pt x="121837" y="14315"/>
                    <a:pt x="121519" y="14633"/>
                    <a:pt x="121519" y="14951"/>
                  </a:cubicBezTo>
                  <a:cubicBezTo>
                    <a:pt x="121201" y="14951"/>
                    <a:pt x="121201" y="15269"/>
                    <a:pt x="121201" y="15269"/>
                  </a:cubicBezTo>
                  <a:cubicBezTo>
                    <a:pt x="121201" y="15269"/>
                    <a:pt x="121201" y="15587"/>
                    <a:pt x="120882" y="15587"/>
                  </a:cubicBezTo>
                  <a:lnTo>
                    <a:pt x="120882" y="17178"/>
                  </a:lnTo>
                  <a:cubicBezTo>
                    <a:pt x="120882" y="17814"/>
                    <a:pt x="119928" y="18450"/>
                    <a:pt x="119928" y="18769"/>
                  </a:cubicBezTo>
                  <a:lnTo>
                    <a:pt x="119928" y="19087"/>
                  </a:lnTo>
                  <a:cubicBezTo>
                    <a:pt x="119292" y="20041"/>
                    <a:pt x="119928" y="20995"/>
                    <a:pt x="118974" y="21313"/>
                  </a:cubicBezTo>
                  <a:cubicBezTo>
                    <a:pt x="118974" y="21950"/>
                    <a:pt x="118656" y="22268"/>
                    <a:pt x="118656" y="22586"/>
                  </a:cubicBezTo>
                  <a:lnTo>
                    <a:pt x="118656" y="22904"/>
                  </a:lnTo>
                  <a:cubicBezTo>
                    <a:pt x="118338" y="23540"/>
                    <a:pt x="117701" y="23858"/>
                    <a:pt x="117701" y="24176"/>
                  </a:cubicBezTo>
                  <a:lnTo>
                    <a:pt x="118020" y="24495"/>
                  </a:lnTo>
                  <a:lnTo>
                    <a:pt x="118020" y="25131"/>
                  </a:lnTo>
                  <a:cubicBezTo>
                    <a:pt x="117065" y="25449"/>
                    <a:pt x="116747" y="26403"/>
                    <a:pt x="116429" y="27040"/>
                  </a:cubicBezTo>
                  <a:cubicBezTo>
                    <a:pt x="116747" y="27040"/>
                    <a:pt x="116747" y="27358"/>
                    <a:pt x="116747" y="27358"/>
                  </a:cubicBezTo>
                  <a:lnTo>
                    <a:pt x="116747" y="27676"/>
                  </a:lnTo>
                  <a:cubicBezTo>
                    <a:pt x="116747" y="27994"/>
                    <a:pt x="116429" y="27994"/>
                    <a:pt x="116429" y="28312"/>
                  </a:cubicBezTo>
                  <a:lnTo>
                    <a:pt x="116429" y="28630"/>
                  </a:lnTo>
                  <a:cubicBezTo>
                    <a:pt x="115793" y="28948"/>
                    <a:pt x="115475" y="29266"/>
                    <a:pt x="115475" y="29584"/>
                  </a:cubicBezTo>
                  <a:lnTo>
                    <a:pt x="115475" y="29903"/>
                  </a:lnTo>
                  <a:cubicBezTo>
                    <a:pt x="115475" y="30539"/>
                    <a:pt x="114838" y="30539"/>
                    <a:pt x="114838" y="30857"/>
                  </a:cubicBezTo>
                  <a:cubicBezTo>
                    <a:pt x="114838" y="31175"/>
                    <a:pt x="114520" y="31811"/>
                    <a:pt x="114202" y="32447"/>
                  </a:cubicBezTo>
                  <a:lnTo>
                    <a:pt x="113884" y="32766"/>
                  </a:lnTo>
                  <a:lnTo>
                    <a:pt x="113884" y="33402"/>
                  </a:lnTo>
                  <a:lnTo>
                    <a:pt x="114202" y="33720"/>
                  </a:lnTo>
                  <a:cubicBezTo>
                    <a:pt x="113884" y="34356"/>
                    <a:pt x="113248" y="34674"/>
                    <a:pt x="113248" y="35629"/>
                  </a:cubicBezTo>
                  <a:lnTo>
                    <a:pt x="111657" y="50898"/>
                  </a:lnTo>
                  <a:cubicBezTo>
                    <a:pt x="111975" y="50898"/>
                    <a:pt x="112293" y="50580"/>
                    <a:pt x="112611" y="50262"/>
                  </a:cubicBezTo>
                  <a:cubicBezTo>
                    <a:pt x="112929" y="49944"/>
                    <a:pt x="112929" y="49944"/>
                    <a:pt x="113248" y="49944"/>
                  </a:cubicBezTo>
                  <a:cubicBezTo>
                    <a:pt x="113884" y="49944"/>
                    <a:pt x="114520" y="50580"/>
                    <a:pt x="114520" y="51216"/>
                  </a:cubicBezTo>
                  <a:cubicBezTo>
                    <a:pt x="114520" y="52488"/>
                    <a:pt x="115156" y="52488"/>
                    <a:pt x="116111" y="52488"/>
                  </a:cubicBezTo>
                  <a:cubicBezTo>
                    <a:pt x="117383" y="52488"/>
                    <a:pt x="118338" y="52488"/>
                    <a:pt x="119292" y="50898"/>
                  </a:cubicBezTo>
                  <a:lnTo>
                    <a:pt x="116111" y="51534"/>
                  </a:lnTo>
                  <a:cubicBezTo>
                    <a:pt x="116111" y="51534"/>
                    <a:pt x="115475" y="51534"/>
                    <a:pt x="115475" y="51216"/>
                  </a:cubicBezTo>
                  <a:lnTo>
                    <a:pt x="115475" y="50898"/>
                  </a:lnTo>
                  <a:cubicBezTo>
                    <a:pt x="116747" y="49944"/>
                    <a:pt x="117383" y="49944"/>
                    <a:pt x="118338" y="49944"/>
                  </a:cubicBezTo>
                  <a:cubicBezTo>
                    <a:pt x="118656" y="49625"/>
                    <a:pt x="118656" y="49625"/>
                    <a:pt x="118974" y="49625"/>
                  </a:cubicBezTo>
                  <a:cubicBezTo>
                    <a:pt x="119292" y="49625"/>
                    <a:pt x="119610" y="49625"/>
                    <a:pt x="119610" y="50262"/>
                  </a:cubicBezTo>
                  <a:cubicBezTo>
                    <a:pt x="119292" y="50580"/>
                    <a:pt x="119292" y="50898"/>
                    <a:pt x="119292" y="50898"/>
                  </a:cubicBezTo>
                  <a:cubicBezTo>
                    <a:pt x="119610" y="50898"/>
                    <a:pt x="119610" y="50898"/>
                    <a:pt x="119928" y="50580"/>
                  </a:cubicBezTo>
                  <a:cubicBezTo>
                    <a:pt x="120564" y="50580"/>
                    <a:pt x="121519" y="50262"/>
                    <a:pt x="121519" y="49944"/>
                  </a:cubicBezTo>
                  <a:cubicBezTo>
                    <a:pt x="123109" y="49307"/>
                    <a:pt x="124063" y="49307"/>
                    <a:pt x="124700" y="49307"/>
                  </a:cubicBezTo>
                  <a:cubicBezTo>
                    <a:pt x="125336" y="49307"/>
                    <a:pt x="125654" y="49307"/>
                    <a:pt x="126608" y="48989"/>
                  </a:cubicBezTo>
                  <a:lnTo>
                    <a:pt x="127563" y="48989"/>
                  </a:lnTo>
                  <a:lnTo>
                    <a:pt x="127245" y="49625"/>
                  </a:lnTo>
                  <a:cubicBezTo>
                    <a:pt x="127245" y="49944"/>
                    <a:pt x="126926" y="49944"/>
                    <a:pt x="126608" y="50262"/>
                  </a:cubicBezTo>
                  <a:lnTo>
                    <a:pt x="125972" y="51216"/>
                  </a:lnTo>
                  <a:cubicBezTo>
                    <a:pt x="125972" y="51534"/>
                    <a:pt x="126290" y="51534"/>
                    <a:pt x="126290" y="51534"/>
                  </a:cubicBezTo>
                  <a:lnTo>
                    <a:pt x="125972" y="51852"/>
                  </a:lnTo>
                  <a:cubicBezTo>
                    <a:pt x="125972" y="52170"/>
                    <a:pt x="125654" y="52488"/>
                    <a:pt x="124700" y="53443"/>
                  </a:cubicBezTo>
                  <a:cubicBezTo>
                    <a:pt x="123427" y="54079"/>
                    <a:pt x="122473" y="55351"/>
                    <a:pt x="121837" y="55670"/>
                  </a:cubicBezTo>
                  <a:cubicBezTo>
                    <a:pt x="121201" y="55988"/>
                    <a:pt x="120882" y="56306"/>
                    <a:pt x="120882" y="56306"/>
                  </a:cubicBezTo>
                  <a:cubicBezTo>
                    <a:pt x="120882" y="56624"/>
                    <a:pt x="121201" y="56942"/>
                    <a:pt x="121837" y="56942"/>
                  </a:cubicBezTo>
                  <a:cubicBezTo>
                    <a:pt x="122155" y="56942"/>
                    <a:pt x="122473" y="56306"/>
                    <a:pt x="122473" y="56306"/>
                  </a:cubicBezTo>
                  <a:cubicBezTo>
                    <a:pt x="122473" y="56306"/>
                    <a:pt x="122791" y="55988"/>
                    <a:pt x="123427" y="55670"/>
                  </a:cubicBezTo>
                  <a:cubicBezTo>
                    <a:pt x="123427" y="55351"/>
                    <a:pt x="123745" y="55033"/>
                    <a:pt x="124700" y="54715"/>
                  </a:cubicBezTo>
                  <a:lnTo>
                    <a:pt x="125972" y="54715"/>
                  </a:lnTo>
                  <a:cubicBezTo>
                    <a:pt x="126290" y="54715"/>
                    <a:pt x="126926" y="54397"/>
                    <a:pt x="127881" y="53443"/>
                  </a:cubicBezTo>
                  <a:cubicBezTo>
                    <a:pt x="128199" y="53125"/>
                    <a:pt x="128199" y="52807"/>
                    <a:pt x="128199" y="52807"/>
                  </a:cubicBezTo>
                  <a:lnTo>
                    <a:pt x="128517" y="52488"/>
                  </a:lnTo>
                  <a:cubicBezTo>
                    <a:pt x="128517" y="52488"/>
                    <a:pt x="128199" y="52488"/>
                    <a:pt x="127881" y="52170"/>
                  </a:cubicBezTo>
                  <a:lnTo>
                    <a:pt x="127245" y="52170"/>
                  </a:lnTo>
                  <a:cubicBezTo>
                    <a:pt x="126926" y="52170"/>
                    <a:pt x="127245" y="51852"/>
                    <a:pt x="127563" y="51534"/>
                  </a:cubicBezTo>
                  <a:cubicBezTo>
                    <a:pt x="127563" y="51534"/>
                    <a:pt x="127563" y="51216"/>
                    <a:pt x="127881" y="51216"/>
                  </a:cubicBezTo>
                  <a:cubicBezTo>
                    <a:pt x="129790" y="51216"/>
                    <a:pt x="130744" y="50262"/>
                    <a:pt x="132016" y="48989"/>
                  </a:cubicBezTo>
                  <a:cubicBezTo>
                    <a:pt x="132335" y="48671"/>
                    <a:pt x="132335" y="48671"/>
                    <a:pt x="132653" y="48671"/>
                  </a:cubicBezTo>
                  <a:lnTo>
                    <a:pt x="132971" y="48989"/>
                  </a:lnTo>
                  <a:lnTo>
                    <a:pt x="132971" y="49625"/>
                  </a:lnTo>
                  <a:cubicBezTo>
                    <a:pt x="132971" y="49944"/>
                    <a:pt x="132971" y="50262"/>
                    <a:pt x="133289" y="50898"/>
                  </a:cubicBezTo>
                  <a:lnTo>
                    <a:pt x="133925" y="50898"/>
                  </a:lnTo>
                  <a:cubicBezTo>
                    <a:pt x="133925" y="49944"/>
                    <a:pt x="134561" y="48671"/>
                    <a:pt x="134879" y="48353"/>
                  </a:cubicBezTo>
                  <a:cubicBezTo>
                    <a:pt x="135197" y="47717"/>
                    <a:pt x="136470" y="47081"/>
                    <a:pt x="137106" y="47081"/>
                  </a:cubicBezTo>
                  <a:lnTo>
                    <a:pt x="139969" y="47081"/>
                  </a:lnTo>
                  <a:cubicBezTo>
                    <a:pt x="140287" y="47081"/>
                    <a:pt x="139969" y="47717"/>
                    <a:pt x="139651" y="48353"/>
                  </a:cubicBezTo>
                  <a:lnTo>
                    <a:pt x="139333" y="48671"/>
                  </a:lnTo>
                  <a:lnTo>
                    <a:pt x="139333" y="49307"/>
                  </a:lnTo>
                  <a:cubicBezTo>
                    <a:pt x="139969" y="49307"/>
                    <a:pt x="140287" y="49625"/>
                    <a:pt x="141242" y="49625"/>
                  </a:cubicBezTo>
                  <a:lnTo>
                    <a:pt x="141560" y="49625"/>
                  </a:lnTo>
                  <a:lnTo>
                    <a:pt x="141560" y="50580"/>
                  </a:lnTo>
                  <a:cubicBezTo>
                    <a:pt x="141560" y="50580"/>
                    <a:pt x="140605" y="50898"/>
                    <a:pt x="140287" y="50898"/>
                  </a:cubicBezTo>
                  <a:cubicBezTo>
                    <a:pt x="139651" y="50898"/>
                    <a:pt x="139015" y="51216"/>
                    <a:pt x="138697" y="51534"/>
                  </a:cubicBezTo>
                  <a:lnTo>
                    <a:pt x="138378" y="51852"/>
                  </a:lnTo>
                  <a:lnTo>
                    <a:pt x="138378" y="52488"/>
                  </a:lnTo>
                  <a:lnTo>
                    <a:pt x="139333" y="52488"/>
                  </a:lnTo>
                  <a:cubicBezTo>
                    <a:pt x="140923" y="51852"/>
                    <a:pt x="141560" y="51852"/>
                    <a:pt x="142832" y="51852"/>
                  </a:cubicBezTo>
                  <a:cubicBezTo>
                    <a:pt x="143469" y="52170"/>
                    <a:pt x="143787" y="52170"/>
                    <a:pt x="143787" y="53125"/>
                  </a:cubicBezTo>
                  <a:cubicBezTo>
                    <a:pt x="144105" y="53443"/>
                    <a:pt x="144105" y="53443"/>
                    <a:pt x="144423" y="53443"/>
                  </a:cubicBezTo>
                  <a:cubicBezTo>
                    <a:pt x="144741" y="53443"/>
                    <a:pt x="144741" y="53443"/>
                    <a:pt x="145059" y="53125"/>
                  </a:cubicBezTo>
                  <a:cubicBezTo>
                    <a:pt x="146013" y="52807"/>
                    <a:pt x="146013" y="52488"/>
                    <a:pt x="146331" y="51534"/>
                  </a:cubicBezTo>
                  <a:lnTo>
                    <a:pt x="146331" y="51216"/>
                  </a:lnTo>
                  <a:lnTo>
                    <a:pt x="146013" y="51216"/>
                  </a:lnTo>
                  <a:lnTo>
                    <a:pt x="145695" y="51534"/>
                  </a:lnTo>
                  <a:lnTo>
                    <a:pt x="145377" y="51534"/>
                  </a:lnTo>
                  <a:lnTo>
                    <a:pt x="145695" y="51216"/>
                  </a:lnTo>
                  <a:lnTo>
                    <a:pt x="145695" y="50898"/>
                  </a:lnTo>
                  <a:cubicBezTo>
                    <a:pt x="146331" y="50580"/>
                    <a:pt x="146331" y="49944"/>
                    <a:pt x="146650" y="49625"/>
                  </a:cubicBezTo>
                  <a:cubicBezTo>
                    <a:pt x="146650" y="49307"/>
                    <a:pt x="146650" y="48989"/>
                    <a:pt x="147286" y="48353"/>
                  </a:cubicBezTo>
                  <a:cubicBezTo>
                    <a:pt x="146650" y="48671"/>
                    <a:pt x="146331" y="48671"/>
                    <a:pt x="145695" y="48671"/>
                  </a:cubicBezTo>
                  <a:cubicBezTo>
                    <a:pt x="145059" y="48671"/>
                    <a:pt x="144423" y="48671"/>
                    <a:pt x="144105" y="48353"/>
                  </a:cubicBezTo>
                  <a:lnTo>
                    <a:pt x="144423" y="48035"/>
                  </a:lnTo>
                  <a:lnTo>
                    <a:pt x="144423" y="47717"/>
                  </a:lnTo>
                  <a:cubicBezTo>
                    <a:pt x="144423" y="47399"/>
                    <a:pt x="144741" y="46762"/>
                    <a:pt x="144741" y="46762"/>
                  </a:cubicBezTo>
                  <a:cubicBezTo>
                    <a:pt x="145059" y="47081"/>
                    <a:pt x="145377" y="47081"/>
                    <a:pt x="145695" y="47081"/>
                  </a:cubicBezTo>
                  <a:cubicBezTo>
                    <a:pt x="145695" y="47717"/>
                    <a:pt x="146331" y="48035"/>
                    <a:pt x="146650" y="48035"/>
                  </a:cubicBezTo>
                  <a:cubicBezTo>
                    <a:pt x="146968" y="47717"/>
                    <a:pt x="147604" y="47399"/>
                    <a:pt x="147922" y="46444"/>
                  </a:cubicBezTo>
                  <a:lnTo>
                    <a:pt x="151421" y="46444"/>
                  </a:lnTo>
                  <a:cubicBezTo>
                    <a:pt x="152693" y="46444"/>
                    <a:pt x="154284" y="46126"/>
                    <a:pt x="156511" y="45172"/>
                  </a:cubicBezTo>
                  <a:lnTo>
                    <a:pt x="158738" y="45172"/>
                  </a:lnTo>
                  <a:cubicBezTo>
                    <a:pt x="159374" y="45490"/>
                    <a:pt x="159374" y="46126"/>
                    <a:pt x="159374" y="47081"/>
                  </a:cubicBezTo>
                  <a:cubicBezTo>
                    <a:pt x="159374" y="47717"/>
                    <a:pt x="160010" y="47717"/>
                    <a:pt x="160010" y="47717"/>
                  </a:cubicBezTo>
                  <a:cubicBezTo>
                    <a:pt x="161283" y="47399"/>
                    <a:pt x="161283" y="47399"/>
                    <a:pt x="161601" y="47399"/>
                  </a:cubicBezTo>
                  <a:lnTo>
                    <a:pt x="162873" y="47399"/>
                  </a:lnTo>
                  <a:cubicBezTo>
                    <a:pt x="162873" y="47399"/>
                    <a:pt x="162555" y="48353"/>
                    <a:pt x="162237" y="48989"/>
                  </a:cubicBezTo>
                  <a:cubicBezTo>
                    <a:pt x="162237" y="49625"/>
                    <a:pt x="162555" y="49944"/>
                    <a:pt x="162873" y="50580"/>
                  </a:cubicBezTo>
                  <a:cubicBezTo>
                    <a:pt x="163509" y="50580"/>
                    <a:pt x="163827" y="50580"/>
                    <a:pt x="163827" y="50898"/>
                  </a:cubicBezTo>
                  <a:lnTo>
                    <a:pt x="163509" y="51216"/>
                  </a:lnTo>
                  <a:cubicBezTo>
                    <a:pt x="163509" y="51534"/>
                    <a:pt x="163191" y="51852"/>
                    <a:pt x="162873" y="52170"/>
                  </a:cubicBezTo>
                  <a:cubicBezTo>
                    <a:pt x="162873" y="52807"/>
                    <a:pt x="162555" y="53125"/>
                    <a:pt x="162237" y="53125"/>
                  </a:cubicBezTo>
                  <a:cubicBezTo>
                    <a:pt x="162873" y="53125"/>
                    <a:pt x="163509" y="52807"/>
                    <a:pt x="163509" y="52170"/>
                  </a:cubicBezTo>
                  <a:cubicBezTo>
                    <a:pt x="164464" y="51852"/>
                    <a:pt x="165100" y="51216"/>
                    <a:pt x="165418" y="51216"/>
                  </a:cubicBezTo>
                  <a:cubicBezTo>
                    <a:pt x="165736" y="51216"/>
                    <a:pt x="165736" y="50898"/>
                    <a:pt x="166054" y="50898"/>
                  </a:cubicBezTo>
                  <a:lnTo>
                    <a:pt x="166372" y="51216"/>
                  </a:lnTo>
                  <a:lnTo>
                    <a:pt x="167327" y="50580"/>
                  </a:lnTo>
                  <a:cubicBezTo>
                    <a:pt x="167963" y="49307"/>
                    <a:pt x="167963" y="48989"/>
                    <a:pt x="167963" y="48671"/>
                  </a:cubicBezTo>
                  <a:cubicBezTo>
                    <a:pt x="167963" y="48353"/>
                    <a:pt x="167963" y="48353"/>
                    <a:pt x="167963" y="48353"/>
                  </a:cubicBezTo>
                  <a:cubicBezTo>
                    <a:pt x="168281" y="47717"/>
                    <a:pt x="168917" y="47081"/>
                    <a:pt x="168917" y="46762"/>
                  </a:cubicBezTo>
                  <a:cubicBezTo>
                    <a:pt x="169554" y="45490"/>
                    <a:pt x="170190" y="45490"/>
                    <a:pt x="170826" y="44854"/>
                  </a:cubicBezTo>
                  <a:cubicBezTo>
                    <a:pt x="170826" y="44536"/>
                    <a:pt x="170826" y="44854"/>
                    <a:pt x="171780" y="44854"/>
                  </a:cubicBezTo>
                  <a:cubicBezTo>
                    <a:pt x="172099" y="44854"/>
                    <a:pt x="172417" y="45172"/>
                    <a:pt x="172735" y="45172"/>
                  </a:cubicBezTo>
                  <a:cubicBezTo>
                    <a:pt x="174007" y="45172"/>
                    <a:pt x="174643" y="44536"/>
                    <a:pt x="175916" y="43899"/>
                  </a:cubicBezTo>
                  <a:lnTo>
                    <a:pt x="176552" y="43899"/>
                  </a:lnTo>
                  <a:cubicBezTo>
                    <a:pt x="176870" y="44218"/>
                    <a:pt x="176870" y="44218"/>
                    <a:pt x="177506" y="44218"/>
                  </a:cubicBezTo>
                  <a:cubicBezTo>
                    <a:pt x="178461" y="44218"/>
                    <a:pt x="178779" y="44218"/>
                    <a:pt x="179415" y="43899"/>
                  </a:cubicBezTo>
                  <a:cubicBezTo>
                    <a:pt x="180687" y="43899"/>
                    <a:pt x="181642" y="44536"/>
                    <a:pt x="182278" y="44536"/>
                  </a:cubicBezTo>
                  <a:cubicBezTo>
                    <a:pt x="183551" y="44536"/>
                    <a:pt x="184823" y="43899"/>
                    <a:pt x="185777" y="43899"/>
                  </a:cubicBezTo>
                  <a:lnTo>
                    <a:pt x="187050" y="43899"/>
                  </a:lnTo>
                  <a:lnTo>
                    <a:pt x="187050" y="44218"/>
                  </a:lnTo>
                  <a:cubicBezTo>
                    <a:pt x="187050" y="44536"/>
                    <a:pt x="187050" y="44536"/>
                    <a:pt x="187368" y="44536"/>
                  </a:cubicBezTo>
                  <a:cubicBezTo>
                    <a:pt x="187686" y="44536"/>
                    <a:pt x="187686" y="44536"/>
                    <a:pt x="188004" y="44218"/>
                  </a:cubicBezTo>
                  <a:lnTo>
                    <a:pt x="189276" y="44218"/>
                  </a:lnTo>
                  <a:cubicBezTo>
                    <a:pt x="189913" y="44218"/>
                    <a:pt x="191503" y="44218"/>
                    <a:pt x="191503" y="45172"/>
                  </a:cubicBezTo>
                  <a:cubicBezTo>
                    <a:pt x="191503" y="45490"/>
                    <a:pt x="191503" y="45808"/>
                    <a:pt x="192139" y="45808"/>
                  </a:cubicBezTo>
                  <a:cubicBezTo>
                    <a:pt x="192139" y="45808"/>
                    <a:pt x="192776" y="45490"/>
                    <a:pt x="193412" y="45490"/>
                  </a:cubicBezTo>
                  <a:lnTo>
                    <a:pt x="194048" y="45490"/>
                  </a:lnTo>
                  <a:cubicBezTo>
                    <a:pt x="194684" y="45172"/>
                    <a:pt x="195639" y="44854"/>
                    <a:pt x="196593" y="44854"/>
                  </a:cubicBezTo>
                  <a:cubicBezTo>
                    <a:pt x="197229" y="44854"/>
                    <a:pt x="197866" y="45172"/>
                    <a:pt x="198184" y="45808"/>
                  </a:cubicBezTo>
                  <a:lnTo>
                    <a:pt x="200729" y="45808"/>
                  </a:lnTo>
                  <a:cubicBezTo>
                    <a:pt x="201047" y="45490"/>
                    <a:pt x="201683" y="45490"/>
                    <a:pt x="202001" y="45490"/>
                  </a:cubicBezTo>
                  <a:cubicBezTo>
                    <a:pt x="202637" y="45490"/>
                    <a:pt x="202955" y="46126"/>
                    <a:pt x="203591" y="46444"/>
                  </a:cubicBezTo>
                  <a:cubicBezTo>
                    <a:pt x="203910" y="46444"/>
                    <a:pt x="204228" y="46762"/>
                    <a:pt x="204228" y="47399"/>
                  </a:cubicBezTo>
                  <a:lnTo>
                    <a:pt x="204228" y="47717"/>
                  </a:lnTo>
                  <a:cubicBezTo>
                    <a:pt x="204228" y="48671"/>
                    <a:pt x="204864" y="49307"/>
                    <a:pt x="204864" y="50262"/>
                  </a:cubicBezTo>
                  <a:lnTo>
                    <a:pt x="204864" y="50898"/>
                  </a:lnTo>
                  <a:cubicBezTo>
                    <a:pt x="205182" y="51216"/>
                    <a:pt x="205818" y="51852"/>
                    <a:pt x="205818" y="52170"/>
                  </a:cubicBezTo>
                  <a:cubicBezTo>
                    <a:pt x="205182" y="53125"/>
                    <a:pt x="204864" y="53761"/>
                    <a:pt x="205182" y="53761"/>
                  </a:cubicBezTo>
                  <a:lnTo>
                    <a:pt x="205182" y="57260"/>
                  </a:lnTo>
                  <a:cubicBezTo>
                    <a:pt x="205182" y="57896"/>
                    <a:pt x="204228" y="58214"/>
                    <a:pt x="203910" y="58533"/>
                  </a:cubicBezTo>
                  <a:cubicBezTo>
                    <a:pt x="203591" y="58533"/>
                    <a:pt x="203273" y="58851"/>
                    <a:pt x="202955" y="59487"/>
                  </a:cubicBezTo>
                  <a:lnTo>
                    <a:pt x="200729" y="61077"/>
                  </a:lnTo>
                  <a:cubicBezTo>
                    <a:pt x="200410" y="61714"/>
                    <a:pt x="200092" y="61714"/>
                    <a:pt x="200092" y="61714"/>
                  </a:cubicBezTo>
                  <a:lnTo>
                    <a:pt x="199138" y="61714"/>
                  </a:lnTo>
                  <a:cubicBezTo>
                    <a:pt x="198184" y="61714"/>
                    <a:pt x="197548" y="62032"/>
                    <a:pt x="196593" y="62668"/>
                  </a:cubicBezTo>
                  <a:cubicBezTo>
                    <a:pt x="195321" y="63304"/>
                    <a:pt x="193730" y="63940"/>
                    <a:pt x="192457" y="63940"/>
                  </a:cubicBezTo>
                  <a:cubicBezTo>
                    <a:pt x="191821" y="63940"/>
                    <a:pt x="191503" y="63940"/>
                    <a:pt x="191185" y="64259"/>
                  </a:cubicBezTo>
                  <a:cubicBezTo>
                    <a:pt x="190231" y="64895"/>
                    <a:pt x="189276" y="64895"/>
                    <a:pt x="188004" y="64895"/>
                  </a:cubicBezTo>
                  <a:lnTo>
                    <a:pt x="187050" y="64895"/>
                  </a:lnTo>
                  <a:cubicBezTo>
                    <a:pt x="186732" y="64895"/>
                    <a:pt x="186414" y="65213"/>
                    <a:pt x="186414" y="65213"/>
                  </a:cubicBezTo>
                  <a:lnTo>
                    <a:pt x="186414" y="64895"/>
                  </a:lnTo>
                  <a:cubicBezTo>
                    <a:pt x="185777" y="64577"/>
                    <a:pt x="186095" y="63622"/>
                    <a:pt x="185141" y="63304"/>
                  </a:cubicBezTo>
                  <a:lnTo>
                    <a:pt x="185777" y="62668"/>
                  </a:lnTo>
                  <a:lnTo>
                    <a:pt x="187368" y="61396"/>
                  </a:lnTo>
                  <a:lnTo>
                    <a:pt x="185141" y="61396"/>
                  </a:lnTo>
                  <a:cubicBezTo>
                    <a:pt x="184823" y="61396"/>
                    <a:pt x="184823" y="61396"/>
                    <a:pt x="184823" y="61077"/>
                  </a:cubicBezTo>
                  <a:lnTo>
                    <a:pt x="186414" y="59487"/>
                  </a:lnTo>
                  <a:lnTo>
                    <a:pt x="187050" y="59487"/>
                  </a:lnTo>
                  <a:cubicBezTo>
                    <a:pt x="187050" y="59169"/>
                    <a:pt x="187686" y="58851"/>
                    <a:pt x="188004" y="58533"/>
                  </a:cubicBezTo>
                  <a:lnTo>
                    <a:pt x="188004" y="58214"/>
                  </a:lnTo>
                  <a:cubicBezTo>
                    <a:pt x="187686" y="57896"/>
                    <a:pt x="187686" y="57896"/>
                    <a:pt x="187050" y="57896"/>
                  </a:cubicBezTo>
                  <a:lnTo>
                    <a:pt x="186414" y="58214"/>
                  </a:lnTo>
                  <a:lnTo>
                    <a:pt x="186095" y="58214"/>
                  </a:lnTo>
                  <a:lnTo>
                    <a:pt x="186414" y="57896"/>
                  </a:lnTo>
                  <a:cubicBezTo>
                    <a:pt x="186414" y="57578"/>
                    <a:pt x="186732" y="57578"/>
                    <a:pt x="186732" y="57260"/>
                  </a:cubicBezTo>
                  <a:cubicBezTo>
                    <a:pt x="186732" y="56942"/>
                    <a:pt x="186095" y="56624"/>
                    <a:pt x="185141" y="56624"/>
                  </a:cubicBezTo>
                  <a:lnTo>
                    <a:pt x="184187" y="56624"/>
                  </a:lnTo>
                  <a:cubicBezTo>
                    <a:pt x="183869" y="56624"/>
                    <a:pt x="183551" y="56624"/>
                    <a:pt x="183232" y="57260"/>
                  </a:cubicBezTo>
                  <a:cubicBezTo>
                    <a:pt x="182596" y="57896"/>
                    <a:pt x="181960" y="57896"/>
                    <a:pt x="181642" y="57896"/>
                  </a:cubicBezTo>
                  <a:lnTo>
                    <a:pt x="180051" y="57896"/>
                  </a:lnTo>
                  <a:cubicBezTo>
                    <a:pt x="179097" y="57578"/>
                    <a:pt x="177824" y="57260"/>
                    <a:pt x="176552" y="57260"/>
                  </a:cubicBezTo>
                  <a:lnTo>
                    <a:pt x="172099" y="57260"/>
                  </a:lnTo>
                  <a:cubicBezTo>
                    <a:pt x="171780" y="57260"/>
                    <a:pt x="171462" y="56942"/>
                    <a:pt x="171462" y="56942"/>
                  </a:cubicBezTo>
                  <a:cubicBezTo>
                    <a:pt x="171144" y="56942"/>
                    <a:pt x="171144" y="56624"/>
                    <a:pt x="171144" y="56306"/>
                  </a:cubicBezTo>
                  <a:lnTo>
                    <a:pt x="171144" y="55670"/>
                  </a:lnTo>
                  <a:cubicBezTo>
                    <a:pt x="171462" y="55033"/>
                    <a:pt x="171780" y="54715"/>
                    <a:pt x="171780" y="54397"/>
                  </a:cubicBezTo>
                  <a:cubicBezTo>
                    <a:pt x="171780" y="54079"/>
                    <a:pt x="171780" y="54079"/>
                    <a:pt x="171462" y="54079"/>
                  </a:cubicBezTo>
                  <a:cubicBezTo>
                    <a:pt x="170826" y="54715"/>
                    <a:pt x="170508" y="54715"/>
                    <a:pt x="170190" y="55351"/>
                  </a:cubicBezTo>
                  <a:cubicBezTo>
                    <a:pt x="169235" y="55988"/>
                    <a:pt x="168917" y="55988"/>
                    <a:pt x="168599" y="55988"/>
                  </a:cubicBezTo>
                  <a:lnTo>
                    <a:pt x="168281" y="55988"/>
                  </a:lnTo>
                  <a:cubicBezTo>
                    <a:pt x="168281" y="55988"/>
                    <a:pt x="168281" y="55670"/>
                    <a:pt x="168599" y="55351"/>
                  </a:cubicBezTo>
                  <a:lnTo>
                    <a:pt x="168281" y="55351"/>
                  </a:lnTo>
                  <a:cubicBezTo>
                    <a:pt x="167963" y="55351"/>
                    <a:pt x="167327" y="55988"/>
                    <a:pt x="167327" y="56306"/>
                  </a:cubicBezTo>
                  <a:cubicBezTo>
                    <a:pt x="167008" y="56942"/>
                    <a:pt x="166054" y="57578"/>
                    <a:pt x="165736" y="57578"/>
                  </a:cubicBezTo>
                  <a:cubicBezTo>
                    <a:pt x="164782" y="57578"/>
                    <a:pt x="164146" y="57578"/>
                    <a:pt x="163827" y="57260"/>
                  </a:cubicBezTo>
                  <a:lnTo>
                    <a:pt x="162237" y="57896"/>
                  </a:lnTo>
                  <a:cubicBezTo>
                    <a:pt x="161283" y="58214"/>
                    <a:pt x="161283" y="58214"/>
                    <a:pt x="160965" y="58214"/>
                  </a:cubicBezTo>
                  <a:cubicBezTo>
                    <a:pt x="160646" y="58214"/>
                    <a:pt x="160010" y="58214"/>
                    <a:pt x="159374" y="57896"/>
                  </a:cubicBezTo>
                  <a:lnTo>
                    <a:pt x="158738" y="57896"/>
                  </a:lnTo>
                  <a:cubicBezTo>
                    <a:pt x="158420" y="57896"/>
                    <a:pt x="157784" y="57896"/>
                    <a:pt x="158102" y="57578"/>
                  </a:cubicBezTo>
                  <a:cubicBezTo>
                    <a:pt x="158102" y="57260"/>
                    <a:pt x="157784" y="57578"/>
                    <a:pt x="157465" y="57578"/>
                  </a:cubicBezTo>
                  <a:cubicBezTo>
                    <a:pt x="156193" y="57896"/>
                    <a:pt x="156193" y="57896"/>
                    <a:pt x="155557" y="57896"/>
                  </a:cubicBezTo>
                  <a:cubicBezTo>
                    <a:pt x="154602" y="57896"/>
                    <a:pt x="153966" y="57896"/>
                    <a:pt x="153648" y="57260"/>
                  </a:cubicBezTo>
                  <a:cubicBezTo>
                    <a:pt x="153330" y="57578"/>
                    <a:pt x="153330" y="57578"/>
                    <a:pt x="153012" y="57578"/>
                  </a:cubicBezTo>
                  <a:cubicBezTo>
                    <a:pt x="152693" y="57578"/>
                    <a:pt x="152375" y="56942"/>
                    <a:pt x="151739" y="56942"/>
                  </a:cubicBezTo>
                  <a:cubicBezTo>
                    <a:pt x="151739" y="56942"/>
                    <a:pt x="151421" y="56624"/>
                    <a:pt x="151103" y="56624"/>
                  </a:cubicBezTo>
                  <a:cubicBezTo>
                    <a:pt x="150785" y="56624"/>
                    <a:pt x="150467" y="56942"/>
                    <a:pt x="150149" y="56942"/>
                  </a:cubicBezTo>
                  <a:cubicBezTo>
                    <a:pt x="150149" y="57260"/>
                    <a:pt x="150149" y="57578"/>
                    <a:pt x="149194" y="57896"/>
                  </a:cubicBezTo>
                  <a:lnTo>
                    <a:pt x="148876" y="57896"/>
                  </a:lnTo>
                  <a:lnTo>
                    <a:pt x="148876" y="57578"/>
                  </a:lnTo>
                  <a:cubicBezTo>
                    <a:pt x="148558" y="57578"/>
                    <a:pt x="148240" y="57260"/>
                    <a:pt x="148240" y="57260"/>
                  </a:cubicBezTo>
                  <a:cubicBezTo>
                    <a:pt x="147922" y="57260"/>
                    <a:pt x="147604" y="57896"/>
                    <a:pt x="146331" y="58533"/>
                  </a:cubicBezTo>
                  <a:lnTo>
                    <a:pt x="146331" y="57896"/>
                  </a:lnTo>
                  <a:lnTo>
                    <a:pt x="146013" y="57578"/>
                  </a:lnTo>
                  <a:cubicBezTo>
                    <a:pt x="145377" y="57896"/>
                    <a:pt x="145377" y="58214"/>
                    <a:pt x="145377" y="58214"/>
                  </a:cubicBezTo>
                  <a:cubicBezTo>
                    <a:pt x="144741" y="58533"/>
                    <a:pt x="144423" y="58533"/>
                    <a:pt x="144105" y="58533"/>
                  </a:cubicBezTo>
                  <a:lnTo>
                    <a:pt x="143787" y="58533"/>
                  </a:lnTo>
                  <a:lnTo>
                    <a:pt x="143787" y="57896"/>
                  </a:lnTo>
                  <a:lnTo>
                    <a:pt x="143469" y="57896"/>
                  </a:lnTo>
                  <a:cubicBezTo>
                    <a:pt x="142832" y="58533"/>
                    <a:pt x="142514" y="58851"/>
                    <a:pt x="141878" y="58851"/>
                  </a:cubicBezTo>
                  <a:lnTo>
                    <a:pt x="141242" y="58851"/>
                  </a:lnTo>
                  <a:cubicBezTo>
                    <a:pt x="139969" y="58533"/>
                    <a:pt x="139015" y="58214"/>
                    <a:pt x="138060" y="58214"/>
                  </a:cubicBezTo>
                  <a:cubicBezTo>
                    <a:pt x="138060" y="58214"/>
                    <a:pt x="137742" y="58214"/>
                    <a:pt x="137742" y="57896"/>
                  </a:cubicBezTo>
                  <a:cubicBezTo>
                    <a:pt x="137424" y="57578"/>
                    <a:pt x="137424" y="57260"/>
                    <a:pt x="137106" y="57260"/>
                  </a:cubicBezTo>
                  <a:cubicBezTo>
                    <a:pt x="136788" y="57260"/>
                    <a:pt x="136152" y="57896"/>
                    <a:pt x="135834" y="57896"/>
                  </a:cubicBezTo>
                  <a:lnTo>
                    <a:pt x="135516" y="58214"/>
                  </a:lnTo>
                  <a:lnTo>
                    <a:pt x="134879" y="57896"/>
                  </a:lnTo>
                  <a:cubicBezTo>
                    <a:pt x="133607" y="58533"/>
                    <a:pt x="132335" y="59169"/>
                    <a:pt x="130744" y="59169"/>
                  </a:cubicBezTo>
                  <a:cubicBezTo>
                    <a:pt x="130426" y="59487"/>
                    <a:pt x="130108" y="59487"/>
                    <a:pt x="129472" y="59487"/>
                  </a:cubicBezTo>
                  <a:lnTo>
                    <a:pt x="128199" y="59487"/>
                  </a:lnTo>
                  <a:cubicBezTo>
                    <a:pt x="127881" y="59487"/>
                    <a:pt x="127881" y="59487"/>
                    <a:pt x="127245" y="59805"/>
                  </a:cubicBezTo>
                  <a:cubicBezTo>
                    <a:pt x="125018" y="60759"/>
                    <a:pt x="123109" y="61077"/>
                    <a:pt x="121837" y="61077"/>
                  </a:cubicBezTo>
                  <a:cubicBezTo>
                    <a:pt x="120882" y="61396"/>
                    <a:pt x="120246" y="61396"/>
                    <a:pt x="119610" y="61396"/>
                  </a:cubicBezTo>
                  <a:lnTo>
                    <a:pt x="118338" y="61396"/>
                  </a:lnTo>
                  <a:cubicBezTo>
                    <a:pt x="117065" y="61396"/>
                    <a:pt x="115475" y="61714"/>
                    <a:pt x="113884" y="62350"/>
                  </a:cubicBezTo>
                  <a:cubicBezTo>
                    <a:pt x="113566" y="62350"/>
                    <a:pt x="113566" y="62032"/>
                    <a:pt x="113248" y="62032"/>
                  </a:cubicBezTo>
                  <a:lnTo>
                    <a:pt x="113248" y="60123"/>
                  </a:lnTo>
                  <a:cubicBezTo>
                    <a:pt x="113248" y="59805"/>
                    <a:pt x="113248" y="59805"/>
                    <a:pt x="113884" y="59487"/>
                  </a:cubicBezTo>
                  <a:cubicBezTo>
                    <a:pt x="113566" y="59487"/>
                    <a:pt x="113566" y="59169"/>
                    <a:pt x="113566" y="59169"/>
                  </a:cubicBezTo>
                  <a:cubicBezTo>
                    <a:pt x="113566" y="59169"/>
                    <a:pt x="113248" y="59169"/>
                    <a:pt x="113248" y="59487"/>
                  </a:cubicBezTo>
                  <a:cubicBezTo>
                    <a:pt x="112929" y="59487"/>
                    <a:pt x="112611" y="59805"/>
                    <a:pt x="112611" y="59805"/>
                  </a:cubicBezTo>
                  <a:lnTo>
                    <a:pt x="110385" y="61396"/>
                  </a:lnTo>
                  <a:lnTo>
                    <a:pt x="109430" y="61396"/>
                  </a:lnTo>
                  <a:cubicBezTo>
                    <a:pt x="108794" y="62032"/>
                    <a:pt x="108158" y="62350"/>
                    <a:pt x="107204" y="62350"/>
                  </a:cubicBezTo>
                  <a:cubicBezTo>
                    <a:pt x="101478" y="73166"/>
                    <a:pt x="98933" y="75393"/>
                    <a:pt x="97978" y="75393"/>
                  </a:cubicBezTo>
                  <a:cubicBezTo>
                    <a:pt x="97342" y="75393"/>
                    <a:pt x="97342" y="74756"/>
                    <a:pt x="97342" y="74120"/>
                  </a:cubicBezTo>
                  <a:lnTo>
                    <a:pt x="97342" y="73802"/>
                  </a:lnTo>
                  <a:cubicBezTo>
                    <a:pt x="97342" y="73802"/>
                    <a:pt x="97024" y="74120"/>
                    <a:pt x="96706" y="74120"/>
                  </a:cubicBezTo>
                  <a:cubicBezTo>
                    <a:pt x="96388" y="74120"/>
                    <a:pt x="96388" y="74120"/>
                    <a:pt x="96388" y="74438"/>
                  </a:cubicBezTo>
                  <a:cubicBezTo>
                    <a:pt x="96388" y="74756"/>
                    <a:pt x="97660" y="77301"/>
                    <a:pt x="97660" y="77619"/>
                  </a:cubicBezTo>
                  <a:lnTo>
                    <a:pt x="97660" y="77937"/>
                  </a:lnTo>
                  <a:cubicBezTo>
                    <a:pt x="97342" y="78256"/>
                    <a:pt x="97342" y="78574"/>
                    <a:pt x="97024" y="79528"/>
                  </a:cubicBezTo>
                  <a:lnTo>
                    <a:pt x="96070" y="80164"/>
                  </a:lnTo>
                  <a:cubicBezTo>
                    <a:pt x="96070" y="80482"/>
                    <a:pt x="96388" y="80482"/>
                    <a:pt x="96706" y="80800"/>
                  </a:cubicBezTo>
                  <a:cubicBezTo>
                    <a:pt x="96706" y="80800"/>
                    <a:pt x="97024" y="81119"/>
                    <a:pt x="97024" y="81437"/>
                  </a:cubicBezTo>
                  <a:cubicBezTo>
                    <a:pt x="97024" y="81755"/>
                    <a:pt x="97024" y="82391"/>
                    <a:pt x="96706" y="83027"/>
                  </a:cubicBezTo>
                  <a:cubicBezTo>
                    <a:pt x="96070" y="83345"/>
                    <a:pt x="95752" y="83663"/>
                    <a:pt x="95752" y="83663"/>
                  </a:cubicBezTo>
                  <a:cubicBezTo>
                    <a:pt x="95433" y="83982"/>
                    <a:pt x="95115" y="84300"/>
                    <a:pt x="94797" y="84300"/>
                  </a:cubicBezTo>
                  <a:cubicBezTo>
                    <a:pt x="94161" y="84618"/>
                    <a:pt x="93843" y="84618"/>
                    <a:pt x="93843" y="84936"/>
                  </a:cubicBezTo>
                  <a:cubicBezTo>
                    <a:pt x="93843" y="84936"/>
                    <a:pt x="94479" y="85254"/>
                    <a:pt x="94797" y="85572"/>
                  </a:cubicBezTo>
                  <a:cubicBezTo>
                    <a:pt x="95115" y="85572"/>
                    <a:pt x="95433" y="86208"/>
                    <a:pt x="95115" y="86208"/>
                  </a:cubicBezTo>
                  <a:cubicBezTo>
                    <a:pt x="94161" y="86845"/>
                    <a:pt x="94161" y="86845"/>
                    <a:pt x="93843" y="87481"/>
                  </a:cubicBezTo>
                  <a:lnTo>
                    <a:pt x="93843" y="87799"/>
                  </a:lnTo>
                  <a:cubicBezTo>
                    <a:pt x="94161" y="89071"/>
                    <a:pt x="89071" y="104341"/>
                    <a:pt x="89071" y="106567"/>
                  </a:cubicBezTo>
                  <a:cubicBezTo>
                    <a:pt x="89071" y="107840"/>
                    <a:pt x="89071" y="108794"/>
                    <a:pt x="88117" y="109112"/>
                  </a:cubicBezTo>
                  <a:lnTo>
                    <a:pt x="88117" y="111339"/>
                  </a:lnTo>
                  <a:cubicBezTo>
                    <a:pt x="88117" y="111657"/>
                    <a:pt x="87163" y="111657"/>
                    <a:pt x="87163" y="112293"/>
                  </a:cubicBezTo>
                  <a:lnTo>
                    <a:pt x="87481" y="112612"/>
                  </a:lnTo>
                  <a:cubicBezTo>
                    <a:pt x="87481" y="112930"/>
                    <a:pt x="87481" y="113884"/>
                    <a:pt x="87163" y="113884"/>
                  </a:cubicBezTo>
                  <a:lnTo>
                    <a:pt x="87163" y="114520"/>
                  </a:lnTo>
                  <a:cubicBezTo>
                    <a:pt x="87163" y="115156"/>
                    <a:pt x="86526" y="117383"/>
                    <a:pt x="85572" y="117383"/>
                  </a:cubicBezTo>
                  <a:cubicBezTo>
                    <a:pt x="84936" y="117383"/>
                    <a:pt x="84936" y="118338"/>
                    <a:pt x="84936" y="118338"/>
                  </a:cubicBezTo>
                  <a:cubicBezTo>
                    <a:pt x="85254" y="118338"/>
                    <a:pt x="85890" y="118656"/>
                    <a:pt x="85890" y="118974"/>
                  </a:cubicBezTo>
                  <a:cubicBezTo>
                    <a:pt x="85890" y="119292"/>
                    <a:pt x="85890" y="119292"/>
                    <a:pt x="85254" y="119610"/>
                  </a:cubicBezTo>
                  <a:lnTo>
                    <a:pt x="85572" y="119928"/>
                  </a:lnTo>
                  <a:lnTo>
                    <a:pt x="85572" y="120882"/>
                  </a:lnTo>
                  <a:lnTo>
                    <a:pt x="84936" y="120882"/>
                  </a:lnTo>
                  <a:cubicBezTo>
                    <a:pt x="85254" y="121519"/>
                    <a:pt x="85254" y="122155"/>
                    <a:pt x="85254" y="122473"/>
                  </a:cubicBezTo>
                  <a:lnTo>
                    <a:pt x="84299" y="123745"/>
                  </a:lnTo>
                  <a:cubicBezTo>
                    <a:pt x="84299" y="124064"/>
                    <a:pt x="84618" y="124064"/>
                    <a:pt x="84618" y="124382"/>
                  </a:cubicBezTo>
                  <a:lnTo>
                    <a:pt x="84618" y="124700"/>
                  </a:lnTo>
                  <a:cubicBezTo>
                    <a:pt x="84618" y="125018"/>
                    <a:pt x="84299" y="125018"/>
                    <a:pt x="83981" y="125336"/>
                  </a:cubicBezTo>
                  <a:cubicBezTo>
                    <a:pt x="83981" y="126290"/>
                    <a:pt x="83981" y="126927"/>
                    <a:pt x="83663" y="127563"/>
                  </a:cubicBezTo>
                  <a:cubicBezTo>
                    <a:pt x="83663" y="127881"/>
                    <a:pt x="83345" y="128199"/>
                    <a:pt x="83345" y="128517"/>
                  </a:cubicBezTo>
                  <a:cubicBezTo>
                    <a:pt x="83027" y="128517"/>
                    <a:pt x="82709" y="129153"/>
                    <a:pt x="82709" y="130108"/>
                  </a:cubicBezTo>
                  <a:cubicBezTo>
                    <a:pt x="82709" y="130426"/>
                    <a:pt x="83027" y="130426"/>
                    <a:pt x="83027" y="130744"/>
                  </a:cubicBezTo>
                  <a:lnTo>
                    <a:pt x="83027" y="131380"/>
                  </a:lnTo>
                  <a:cubicBezTo>
                    <a:pt x="83027" y="132016"/>
                    <a:pt x="82391" y="132016"/>
                    <a:pt x="82391" y="133289"/>
                  </a:cubicBezTo>
                  <a:cubicBezTo>
                    <a:pt x="82391" y="133607"/>
                    <a:pt x="81755" y="134243"/>
                    <a:pt x="81755" y="134243"/>
                  </a:cubicBezTo>
                  <a:cubicBezTo>
                    <a:pt x="80800" y="134879"/>
                    <a:pt x="80164" y="134879"/>
                    <a:pt x="80164" y="135198"/>
                  </a:cubicBezTo>
                  <a:cubicBezTo>
                    <a:pt x="80164" y="135198"/>
                    <a:pt x="80482" y="135516"/>
                    <a:pt x="80800" y="135516"/>
                  </a:cubicBezTo>
                  <a:cubicBezTo>
                    <a:pt x="80800" y="135834"/>
                    <a:pt x="81118" y="135834"/>
                    <a:pt x="81118" y="136152"/>
                  </a:cubicBezTo>
                  <a:lnTo>
                    <a:pt x="81118" y="136788"/>
                  </a:lnTo>
                  <a:cubicBezTo>
                    <a:pt x="81118" y="137742"/>
                    <a:pt x="80482" y="138379"/>
                    <a:pt x="79528" y="139015"/>
                  </a:cubicBezTo>
                  <a:cubicBezTo>
                    <a:pt x="79210" y="139333"/>
                    <a:pt x="78892" y="139333"/>
                    <a:pt x="78892" y="139651"/>
                  </a:cubicBezTo>
                  <a:lnTo>
                    <a:pt x="79210" y="139969"/>
                  </a:lnTo>
                  <a:cubicBezTo>
                    <a:pt x="79210" y="140287"/>
                    <a:pt x="79210" y="140605"/>
                    <a:pt x="79528" y="140924"/>
                  </a:cubicBezTo>
                  <a:cubicBezTo>
                    <a:pt x="79528" y="141242"/>
                    <a:pt x="79846" y="141560"/>
                    <a:pt x="79846" y="141560"/>
                  </a:cubicBezTo>
                  <a:cubicBezTo>
                    <a:pt x="79846" y="141878"/>
                    <a:pt x="79528" y="141878"/>
                    <a:pt x="79528" y="141878"/>
                  </a:cubicBezTo>
                  <a:cubicBezTo>
                    <a:pt x="79528" y="142196"/>
                    <a:pt x="79528" y="142514"/>
                    <a:pt x="79846" y="142514"/>
                  </a:cubicBezTo>
                  <a:lnTo>
                    <a:pt x="80482" y="142514"/>
                  </a:lnTo>
                  <a:lnTo>
                    <a:pt x="80482" y="142832"/>
                  </a:lnTo>
                  <a:lnTo>
                    <a:pt x="80164" y="143150"/>
                  </a:lnTo>
                  <a:lnTo>
                    <a:pt x="79528" y="143150"/>
                  </a:lnTo>
                  <a:cubicBezTo>
                    <a:pt x="79210" y="143150"/>
                    <a:pt x="79210" y="142832"/>
                    <a:pt x="78892" y="142514"/>
                  </a:cubicBezTo>
                  <a:lnTo>
                    <a:pt x="78574" y="142514"/>
                  </a:lnTo>
                  <a:cubicBezTo>
                    <a:pt x="78256" y="142514"/>
                    <a:pt x="77619" y="143150"/>
                    <a:pt x="77619" y="144105"/>
                  </a:cubicBezTo>
                  <a:cubicBezTo>
                    <a:pt x="77619" y="144423"/>
                    <a:pt x="77301" y="144423"/>
                    <a:pt x="77301" y="144423"/>
                  </a:cubicBezTo>
                  <a:lnTo>
                    <a:pt x="76665" y="144423"/>
                  </a:lnTo>
                  <a:cubicBezTo>
                    <a:pt x="76665" y="144105"/>
                    <a:pt x="75711" y="144741"/>
                    <a:pt x="75711" y="144741"/>
                  </a:cubicBezTo>
                  <a:cubicBezTo>
                    <a:pt x="75393" y="145377"/>
                    <a:pt x="75393" y="145695"/>
                    <a:pt x="75393" y="146013"/>
                  </a:cubicBezTo>
                  <a:lnTo>
                    <a:pt x="75393" y="146650"/>
                  </a:lnTo>
                  <a:cubicBezTo>
                    <a:pt x="75393" y="146968"/>
                    <a:pt x="75393" y="147286"/>
                    <a:pt x="75074" y="147286"/>
                  </a:cubicBezTo>
                  <a:lnTo>
                    <a:pt x="75074" y="148558"/>
                  </a:lnTo>
                  <a:lnTo>
                    <a:pt x="75711" y="149831"/>
                  </a:lnTo>
                  <a:lnTo>
                    <a:pt x="75711" y="150149"/>
                  </a:lnTo>
                  <a:cubicBezTo>
                    <a:pt x="75711" y="150467"/>
                    <a:pt x="75711" y="150467"/>
                    <a:pt x="75393" y="150467"/>
                  </a:cubicBezTo>
                  <a:cubicBezTo>
                    <a:pt x="75393" y="151103"/>
                    <a:pt x="75074" y="151421"/>
                    <a:pt x="74438" y="152057"/>
                  </a:cubicBezTo>
                  <a:cubicBezTo>
                    <a:pt x="74438" y="152057"/>
                    <a:pt x="74438" y="152376"/>
                    <a:pt x="74756" y="152694"/>
                  </a:cubicBezTo>
                  <a:lnTo>
                    <a:pt x="75074" y="152694"/>
                  </a:lnTo>
                  <a:lnTo>
                    <a:pt x="76029" y="152057"/>
                  </a:lnTo>
                  <a:cubicBezTo>
                    <a:pt x="76347" y="152057"/>
                    <a:pt x="76665" y="151421"/>
                    <a:pt x="77301" y="151421"/>
                  </a:cubicBezTo>
                  <a:cubicBezTo>
                    <a:pt x="77619" y="151421"/>
                    <a:pt x="78256" y="151103"/>
                    <a:pt x="78256" y="150785"/>
                  </a:cubicBezTo>
                  <a:lnTo>
                    <a:pt x="78892" y="150785"/>
                  </a:lnTo>
                  <a:lnTo>
                    <a:pt x="78892" y="151421"/>
                  </a:lnTo>
                  <a:cubicBezTo>
                    <a:pt x="78574" y="151421"/>
                    <a:pt x="78256" y="152057"/>
                    <a:pt x="77937" y="152694"/>
                  </a:cubicBezTo>
                  <a:lnTo>
                    <a:pt x="77937" y="153330"/>
                  </a:lnTo>
                  <a:cubicBezTo>
                    <a:pt x="77937" y="154284"/>
                    <a:pt x="77937" y="154602"/>
                    <a:pt x="76029" y="154602"/>
                  </a:cubicBezTo>
                  <a:cubicBezTo>
                    <a:pt x="75711" y="154602"/>
                    <a:pt x="75711" y="155239"/>
                    <a:pt x="75711" y="155557"/>
                  </a:cubicBezTo>
                  <a:lnTo>
                    <a:pt x="75711" y="156511"/>
                  </a:lnTo>
                  <a:cubicBezTo>
                    <a:pt x="75711" y="156829"/>
                    <a:pt x="75711" y="156829"/>
                    <a:pt x="76029" y="157147"/>
                  </a:cubicBezTo>
                  <a:cubicBezTo>
                    <a:pt x="76347" y="157465"/>
                    <a:pt x="77301" y="157147"/>
                    <a:pt x="77301" y="157783"/>
                  </a:cubicBezTo>
                  <a:lnTo>
                    <a:pt x="77301" y="158102"/>
                  </a:lnTo>
                  <a:cubicBezTo>
                    <a:pt x="77301" y="158420"/>
                    <a:pt x="76983" y="158420"/>
                    <a:pt x="76983" y="159056"/>
                  </a:cubicBezTo>
                  <a:cubicBezTo>
                    <a:pt x="76983" y="159692"/>
                    <a:pt x="76347" y="159692"/>
                    <a:pt x="76347" y="159692"/>
                  </a:cubicBezTo>
                  <a:lnTo>
                    <a:pt x="76029" y="160010"/>
                  </a:lnTo>
                  <a:cubicBezTo>
                    <a:pt x="76029" y="160646"/>
                    <a:pt x="76029" y="160646"/>
                    <a:pt x="76347" y="161283"/>
                  </a:cubicBezTo>
                  <a:cubicBezTo>
                    <a:pt x="76347" y="161601"/>
                    <a:pt x="76347" y="161601"/>
                    <a:pt x="76029" y="161601"/>
                  </a:cubicBezTo>
                  <a:cubicBezTo>
                    <a:pt x="76029" y="161601"/>
                    <a:pt x="75711" y="161601"/>
                    <a:pt x="75393" y="161283"/>
                  </a:cubicBezTo>
                  <a:lnTo>
                    <a:pt x="75393" y="160965"/>
                  </a:lnTo>
                  <a:lnTo>
                    <a:pt x="75074" y="160646"/>
                  </a:lnTo>
                  <a:cubicBezTo>
                    <a:pt x="75393" y="160010"/>
                    <a:pt x="75711" y="159692"/>
                    <a:pt x="75711" y="158738"/>
                  </a:cubicBezTo>
                  <a:lnTo>
                    <a:pt x="75393" y="158102"/>
                  </a:lnTo>
                  <a:cubicBezTo>
                    <a:pt x="74120" y="158738"/>
                    <a:pt x="73802" y="159374"/>
                    <a:pt x="73484" y="159692"/>
                  </a:cubicBezTo>
                  <a:lnTo>
                    <a:pt x="73166" y="160010"/>
                  </a:lnTo>
                  <a:cubicBezTo>
                    <a:pt x="73166" y="160010"/>
                    <a:pt x="73166" y="160328"/>
                    <a:pt x="73484" y="160328"/>
                  </a:cubicBezTo>
                  <a:cubicBezTo>
                    <a:pt x="73802" y="160646"/>
                    <a:pt x="74120" y="160646"/>
                    <a:pt x="74120" y="160646"/>
                  </a:cubicBezTo>
                  <a:lnTo>
                    <a:pt x="74120" y="160965"/>
                  </a:lnTo>
                  <a:cubicBezTo>
                    <a:pt x="73802" y="161283"/>
                    <a:pt x="73484" y="161601"/>
                    <a:pt x="73484" y="162555"/>
                  </a:cubicBezTo>
                  <a:cubicBezTo>
                    <a:pt x="73484" y="162873"/>
                    <a:pt x="73484" y="162873"/>
                    <a:pt x="72529" y="163191"/>
                  </a:cubicBezTo>
                  <a:cubicBezTo>
                    <a:pt x="71893" y="163509"/>
                    <a:pt x="71575" y="163509"/>
                    <a:pt x="71575" y="163828"/>
                  </a:cubicBezTo>
                  <a:cubicBezTo>
                    <a:pt x="71575" y="164146"/>
                    <a:pt x="71893" y="164146"/>
                    <a:pt x="72211" y="164464"/>
                  </a:cubicBezTo>
                  <a:cubicBezTo>
                    <a:pt x="72847" y="164782"/>
                    <a:pt x="72847" y="165736"/>
                    <a:pt x="72847" y="165736"/>
                  </a:cubicBezTo>
                  <a:cubicBezTo>
                    <a:pt x="71893" y="166054"/>
                    <a:pt x="71893" y="166372"/>
                    <a:pt x="71893" y="166691"/>
                  </a:cubicBezTo>
                  <a:lnTo>
                    <a:pt x="72211" y="167009"/>
                  </a:lnTo>
                  <a:cubicBezTo>
                    <a:pt x="72211" y="167645"/>
                    <a:pt x="72211" y="167645"/>
                    <a:pt x="71893" y="168281"/>
                  </a:cubicBezTo>
                  <a:cubicBezTo>
                    <a:pt x="71575" y="168599"/>
                    <a:pt x="71257" y="168599"/>
                    <a:pt x="71257" y="168917"/>
                  </a:cubicBezTo>
                  <a:cubicBezTo>
                    <a:pt x="71257" y="169235"/>
                    <a:pt x="71575" y="169554"/>
                    <a:pt x="71893" y="169872"/>
                  </a:cubicBezTo>
                  <a:lnTo>
                    <a:pt x="72211" y="170190"/>
                  </a:lnTo>
                  <a:cubicBezTo>
                    <a:pt x="72211" y="170508"/>
                    <a:pt x="71893" y="170826"/>
                    <a:pt x="71575" y="170826"/>
                  </a:cubicBezTo>
                  <a:lnTo>
                    <a:pt x="70621" y="172735"/>
                  </a:lnTo>
                  <a:lnTo>
                    <a:pt x="70621" y="173053"/>
                  </a:lnTo>
                  <a:cubicBezTo>
                    <a:pt x="70939" y="173371"/>
                    <a:pt x="70939" y="173689"/>
                    <a:pt x="70939" y="174325"/>
                  </a:cubicBezTo>
                  <a:cubicBezTo>
                    <a:pt x="70621" y="174643"/>
                    <a:pt x="70621" y="174962"/>
                    <a:pt x="70621" y="175280"/>
                  </a:cubicBezTo>
                  <a:lnTo>
                    <a:pt x="70621" y="176552"/>
                  </a:lnTo>
                  <a:cubicBezTo>
                    <a:pt x="70621" y="176870"/>
                    <a:pt x="70939" y="176870"/>
                    <a:pt x="70939" y="177188"/>
                  </a:cubicBezTo>
                  <a:cubicBezTo>
                    <a:pt x="71257" y="177188"/>
                    <a:pt x="71257" y="177188"/>
                    <a:pt x="71257" y="177506"/>
                  </a:cubicBezTo>
                  <a:cubicBezTo>
                    <a:pt x="71257" y="177824"/>
                    <a:pt x="70939" y="178143"/>
                    <a:pt x="70621" y="178143"/>
                  </a:cubicBezTo>
                  <a:cubicBezTo>
                    <a:pt x="70621" y="178461"/>
                    <a:pt x="70621" y="179415"/>
                    <a:pt x="70303" y="180051"/>
                  </a:cubicBezTo>
                  <a:cubicBezTo>
                    <a:pt x="69985" y="180369"/>
                    <a:pt x="69985" y="180688"/>
                    <a:pt x="69985" y="180688"/>
                  </a:cubicBezTo>
                  <a:cubicBezTo>
                    <a:pt x="69985" y="181006"/>
                    <a:pt x="69985" y="181324"/>
                    <a:pt x="70303" y="181324"/>
                  </a:cubicBezTo>
                  <a:lnTo>
                    <a:pt x="70303" y="182278"/>
                  </a:lnTo>
                  <a:cubicBezTo>
                    <a:pt x="70303" y="182596"/>
                    <a:pt x="69985" y="182914"/>
                    <a:pt x="69030" y="183232"/>
                  </a:cubicBezTo>
                  <a:cubicBezTo>
                    <a:pt x="68712" y="183551"/>
                    <a:pt x="68394" y="183551"/>
                    <a:pt x="68394" y="183551"/>
                  </a:cubicBezTo>
                  <a:cubicBezTo>
                    <a:pt x="68394" y="184187"/>
                    <a:pt x="68394" y="184505"/>
                    <a:pt x="68712" y="184505"/>
                  </a:cubicBezTo>
                  <a:cubicBezTo>
                    <a:pt x="69666" y="184505"/>
                    <a:pt x="69666" y="184823"/>
                    <a:pt x="69985" y="185777"/>
                  </a:cubicBezTo>
                  <a:cubicBezTo>
                    <a:pt x="69985" y="186095"/>
                    <a:pt x="69666" y="186095"/>
                    <a:pt x="69666" y="186414"/>
                  </a:cubicBezTo>
                  <a:lnTo>
                    <a:pt x="69985" y="186732"/>
                  </a:lnTo>
                  <a:lnTo>
                    <a:pt x="69985" y="188004"/>
                  </a:lnTo>
                  <a:cubicBezTo>
                    <a:pt x="69985" y="188322"/>
                    <a:pt x="69666" y="188958"/>
                    <a:pt x="69030" y="189277"/>
                  </a:cubicBezTo>
                  <a:lnTo>
                    <a:pt x="69030" y="191185"/>
                  </a:lnTo>
                  <a:cubicBezTo>
                    <a:pt x="68712" y="191503"/>
                    <a:pt x="68712" y="191821"/>
                    <a:pt x="68712" y="192140"/>
                  </a:cubicBezTo>
                  <a:cubicBezTo>
                    <a:pt x="68712" y="192458"/>
                    <a:pt x="68712" y="192458"/>
                    <a:pt x="68394" y="192776"/>
                  </a:cubicBezTo>
                  <a:cubicBezTo>
                    <a:pt x="68394" y="193094"/>
                    <a:pt x="68394" y="193412"/>
                    <a:pt x="68712" y="193412"/>
                  </a:cubicBezTo>
                  <a:lnTo>
                    <a:pt x="69985" y="193412"/>
                  </a:lnTo>
                  <a:cubicBezTo>
                    <a:pt x="70303" y="193412"/>
                    <a:pt x="70621" y="193094"/>
                    <a:pt x="70621" y="192776"/>
                  </a:cubicBezTo>
                  <a:lnTo>
                    <a:pt x="70939" y="192776"/>
                  </a:lnTo>
                  <a:cubicBezTo>
                    <a:pt x="70939" y="192776"/>
                    <a:pt x="71257" y="192776"/>
                    <a:pt x="71257" y="193094"/>
                  </a:cubicBezTo>
                  <a:cubicBezTo>
                    <a:pt x="71257" y="193412"/>
                    <a:pt x="71257" y="193730"/>
                    <a:pt x="71575" y="194366"/>
                  </a:cubicBezTo>
                  <a:cubicBezTo>
                    <a:pt x="71575" y="194366"/>
                    <a:pt x="71575" y="194684"/>
                    <a:pt x="71893" y="194684"/>
                  </a:cubicBezTo>
                  <a:cubicBezTo>
                    <a:pt x="72211" y="195003"/>
                    <a:pt x="72211" y="195321"/>
                    <a:pt x="72211" y="195321"/>
                  </a:cubicBezTo>
                  <a:cubicBezTo>
                    <a:pt x="72211" y="195639"/>
                    <a:pt x="71893" y="195639"/>
                    <a:pt x="71257" y="196275"/>
                  </a:cubicBezTo>
                  <a:cubicBezTo>
                    <a:pt x="70939" y="196593"/>
                    <a:pt x="70939" y="196593"/>
                    <a:pt x="70621" y="196593"/>
                  </a:cubicBezTo>
                  <a:cubicBezTo>
                    <a:pt x="70303" y="196275"/>
                    <a:pt x="69985" y="195321"/>
                    <a:pt x="69348" y="195003"/>
                  </a:cubicBezTo>
                  <a:lnTo>
                    <a:pt x="69030" y="194684"/>
                  </a:lnTo>
                  <a:cubicBezTo>
                    <a:pt x="69030" y="194684"/>
                    <a:pt x="69030" y="195003"/>
                    <a:pt x="68712" y="195321"/>
                  </a:cubicBezTo>
                  <a:cubicBezTo>
                    <a:pt x="68394" y="195957"/>
                    <a:pt x="67758" y="196593"/>
                    <a:pt x="67758" y="197229"/>
                  </a:cubicBezTo>
                  <a:lnTo>
                    <a:pt x="67758" y="197547"/>
                  </a:lnTo>
                  <a:cubicBezTo>
                    <a:pt x="67758" y="198502"/>
                    <a:pt x="67758" y="199774"/>
                    <a:pt x="67440" y="201047"/>
                  </a:cubicBezTo>
                  <a:lnTo>
                    <a:pt x="67440" y="202319"/>
                  </a:lnTo>
                  <a:cubicBezTo>
                    <a:pt x="67122" y="202637"/>
                    <a:pt x="67122" y="202955"/>
                    <a:pt x="67122" y="203273"/>
                  </a:cubicBezTo>
                  <a:lnTo>
                    <a:pt x="67122" y="204546"/>
                  </a:lnTo>
                  <a:cubicBezTo>
                    <a:pt x="67440" y="204864"/>
                    <a:pt x="67440" y="204864"/>
                    <a:pt x="67440" y="205182"/>
                  </a:cubicBezTo>
                  <a:lnTo>
                    <a:pt x="67440" y="206455"/>
                  </a:lnTo>
                  <a:cubicBezTo>
                    <a:pt x="67440" y="206455"/>
                    <a:pt x="67440" y="207091"/>
                    <a:pt x="66803" y="207409"/>
                  </a:cubicBezTo>
                  <a:lnTo>
                    <a:pt x="66803" y="208363"/>
                  </a:lnTo>
                  <a:cubicBezTo>
                    <a:pt x="66803" y="208999"/>
                    <a:pt x="67122" y="209636"/>
                    <a:pt x="67122" y="210272"/>
                  </a:cubicBezTo>
                  <a:cubicBezTo>
                    <a:pt x="67122" y="210908"/>
                    <a:pt x="66803" y="211226"/>
                    <a:pt x="66803" y="211862"/>
                  </a:cubicBezTo>
                  <a:lnTo>
                    <a:pt x="66803" y="212181"/>
                  </a:lnTo>
                  <a:cubicBezTo>
                    <a:pt x="66803" y="212499"/>
                    <a:pt x="66803" y="212499"/>
                    <a:pt x="67122" y="212499"/>
                  </a:cubicBezTo>
                  <a:lnTo>
                    <a:pt x="67440" y="212499"/>
                  </a:lnTo>
                  <a:lnTo>
                    <a:pt x="67758" y="213135"/>
                  </a:lnTo>
                  <a:cubicBezTo>
                    <a:pt x="67122" y="213453"/>
                    <a:pt x="67440" y="213771"/>
                    <a:pt x="67122" y="214089"/>
                  </a:cubicBezTo>
                  <a:lnTo>
                    <a:pt x="67122" y="216634"/>
                  </a:lnTo>
                  <a:cubicBezTo>
                    <a:pt x="67122" y="216952"/>
                    <a:pt x="67122" y="216952"/>
                    <a:pt x="67440" y="216952"/>
                  </a:cubicBezTo>
                  <a:lnTo>
                    <a:pt x="67758" y="216952"/>
                  </a:lnTo>
                  <a:cubicBezTo>
                    <a:pt x="67758" y="216316"/>
                    <a:pt x="68394" y="215680"/>
                    <a:pt x="68394" y="215362"/>
                  </a:cubicBezTo>
                  <a:lnTo>
                    <a:pt x="68712" y="215044"/>
                  </a:lnTo>
                  <a:cubicBezTo>
                    <a:pt x="68712" y="215044"/>
                    <a:pt x="68712" y="215362"/>
                    <a:pt x="69030" y="215362"/>
                  </a:cubicBezTo>
                  <a:cubicBezTo>
                    <a:pt x="69985" y="215680"/>
                    <a:pt x="69985" y="215680"/>
                    <a:pt x="69985" y="216634"/>
                  </a:cubicBezTo>
                  <a:cubicBezTo>
                    <a:pt x="69348" y="216634"/>
                    <a:pt x="69348" y="216952"/>
                    <a:pt x="69348" y="217270"/>
                  </a:cubicBezTo>
                  <a:cubicBezTo>
                    <a:pt x="69348" y="217270"/>
                    <a:pt x="69985" y="217270"/>
                    <a:pt x="69985" y="217588"/>
                  </a:cubicBezTo>
                  <a:cubicBezTo>
                    <a:pt x="69666" y="218861"/>
                    <a:pt x="69666" y="219815"/>
                    <a:pt x="69666" y="220770"/>
                  </a:cubicBezTo>
                  <a:lnTo>
                    <a:pt x="69030" y="220770"/>
                  </a:lnTo>
                  <a:cubicBezTo>
                    <a:pt x="68712" y="220770"/>
                    <a:pt x="68712" y="220451"/>
                    <a:pt x="68394" y="220133"/>
                  </a:cubicBezTo>
                  <a:cubicBezTo>
                    <a:pt x="67758" y="219497"/>
                    <a:pt x="67758" y="219179"/>
                    <a:pt x="67758" y="218861"/>
                  </a:cubicBezTo>
                  <a:cubicBezTo>
                    <a:pt x="67758" y="218861"/>
                    <a:pt x="67758" y="218543"/>
                    <a:pt x="68394" y="217907"/>
                  </a:cubicBezTo>
                  <a:lnTo>
                    <a:pt x="68712" y="217588"/>
                  </a:lnTo>
                  <a:lnTo>
                    <a:pt x="68394" y="217588"/>
                  </a:lnTo>
                  <a:cubicBezTo>
                    <a:pt x="68394" y="217270"/>
                    <a:pt x="67758" y="217270"/>
                    <a:pt x="67758" y="217270"/>
                  </a:cubicBezTo>
                  <a:cubicBezTo>
                    <a:pt x="67440" y="217588"/>
                    <a:pt x="67122" y="217907"/>
                    <a:pt x="66803" y="218861"/>
                  </a:cubicBezTo>
                  <a:lnTo>
                    <a:pt x="66803" y="219815"/>
                  </a:lnTo>
                  <a:cubicBezTo>
                    <a:pt x="66803" y="220133"/>
                    <a:pt x="66485" y="220451"/>
                    <a:pt x="65849" y="220770"/>
                  </a:cubicBezTo>
                  <a:cubicBezTo>
                    <a:pt x="65531" y="220770"/>
                    <a:pt x="65849" y="221088"/>
                    <a:pt x="66485" y="221406"/>
                  </a:cubicBezTo>
                  <a:lnTo>
                    <a:pt x="67122" y="222042"/>
                  </a:lnTo>
                  <a:cubicBezTo>
                    <a:pt x="66167" y="222360"/>
                    <a:pt x="66167" y="222360"/>
                    <a:pt x="66167" y="222678"/>
                  </a:cubicBezTo>
                  <a:lnTo>
                    <a:pt x="66167" y="223314"/>
                  </a:lnTo>
                  <a:cubicBezTo>
                    <a:pt x="66167" y="223633"/>
                    <a:pt x="67122" y="223951"/>
                    <a:pt x="67758" y="223951"/>
                  </a:cubicBezTo>
                  <a:lnTo>
                    <a:pt x="68712" y="223951"/>
                  </a:lnTo>
                  <a:cubicBezTo>
                    <a:pt x="69666" y="223951"/>
                    <a:pt x="69985" y="223951"/>
                    <a:pt x="69985" y="224269"/>
                  </a:cubicBezTo>
                  <a:cubicBezTo>
                    <a:pt x="69985" y="224587"/>
                    <a:pt x="69666" y="224905"/>
                    <a:pt x="69666" y="225541"/>
                  </a:cubicBezTo>
                  <a:cubicBezTo>
                    <a:pt x="69666" y="227132"/>
                    <a:pt x="69666" y="229041"/>
                    <a:pt x="69985" y="230949"/>
                  </a:cubicBezTo>
                  <a:lnTo>
                    <a:pt x="69985" y="232222"/>
                  </a:lnTo>
                  <a:cubicBezTo>
                    <a:pt x="69348" y="232222"/>
                    <a:pt x="69348" y="232540"/>
                    <a:pt x="69348" y="232540"/>
                  </a:cubicBezTo>
                  <a:cubicBezTo>
                    <a:pt x="69666" y="232858"/>
                    <a:pt x="69666" y="232858"/>
                    <a:pt x="69666" y="233494"/>
                  </a:cubicBezTo>
                  <a:cubicBezTo>
                    <a:pt x="69985" y="234448"/>
                    <a:pt x="69985" y="235403"/>
                    <a:pt x="69985" y="236039"/>
                  </a:cubicBezTo>
                  <a:cubicBezTo>
                    <a:pt x="69985" y="236039"/>
                    <a:pt x="69666" y="236357"/>
                    <a:pt x="69666" y="236675"/>
                  </a:cubicBezTo>
                  <a:cubicBezTo>
                    <a:pt x="69666" y="236993"/>
                    <a:pt x="69666" y="237311"/>
                    <a:pt x="69030" y="237630"/>
                  </a:cubicBezTo>
                  <a:lnTo>
                    <a:pt x="69030" y="239538"/>
                  </a:lnTo>
                  <a:cubicBezTo>
                    <a:pt x="69348" y="239856"/>
                    <a:pt x="69666" y="239856"/>
                    <a:pt x="69666" y="239856"/>
                  </a:cubicBezTo>
                  <a:lnTo>
                    <a:pt x="69348" y="240174"/>
                  </a:lnTo>
                  <a:cubicBezTo>
                    <a:pt x="69348" y="240493"/>
                    <a:pt x="69348" y="240811"/>
                    <a:pt x="69985" y="241129"/>
                  </a:cubicBezTo>
                  <a:lnTo>
                    <a:pt x="69985" y="241447"/>
                  </a:lnTo>
                  <a:cubicBezTo>
                    <a:pt x="69348" y="241765"/>
                    <a:pt x="69348" y="241765"/>
                    <a:pt x="69348" y="242083"/>
                  </a:cubicBezTo>
                  <a:cubicBezTo>
                    <a:pt x="69666" y="242401"/>
                    <a:pt x="69666" y="242719"/>
                    <a:pt x="69666" y="242719"/>
                  </a:cubicBezTo>
                  <a:cubicBezTo>
                    <a:pt x="69666" y="243037"/>
                    <a:pt x="69666" y="243037"/>
                    <a:pt x="69348" y="243037"/>
                  </a:cubicBezTo>
                  <a:lnTo>
                    <a:pt x="69030" y="243356"/>
                  </a:lnTo>
                  <a:lnTo>
                    <a:pt x="68712" y="243037"/>
                  </a:lnTo>
                  <a:lnTo>
                    <a:pt x="68712" y="242083"/>
                  </a:lnTo>
                  <a:cubicBezTo>
                    <a:pt x="68712" y="241765"/>
                    <a:pt x="68394" y="241447"/>
                    <a:pt x="67758" y="241447"/>
                  </a:cubicBezTo>
                  <a:cubicBezTo>
                    <a:pt x="67758" y="241447"/>
                    <a:pt x="67440" y="241765"/>
                    <a:pt x="67440" y="242083"/>
                  </a:cubicBezTo>
                  <a:cubicBezTo>
                    <a:pt x="67440" y="243037"/>
                    <a:pt x="67122" y="244310"/>
                    <a:pt x="67122" y="245582"/>
                  </a:cubicBezTo>
                  <a:cubicBezTo>
                    <a:pt x="67122" y="245900"/>
                    <a:pt x="67440" y="245900"/>
                    <a:pt x="68076" y="245900"/>
                  </a:cubicBezTo>
                  <a:cubicBezTo>
                    <a:pt x="68394" y="245900"/>
                    <a:pt x="68394" y="245264"/>
                    <a:pt x="68712" y="245264"/>
                  </a:cubicBezTo>
                  <a:cubicBezTo>
                    <a:pt x="69030" y="245264"/>
                    <a:pt x="69666" y="245582"/>
                    <a:pt x="69666" y="245582"/>
                  </a:cubicBezTo>
                  <a:cubicBezTo>
                    <a:pt x="69666" y="245900"/>
                    <a:pt x="69985" y="246537"/>
                    <a:pt x="69985" y="246537"/>
                  </a:cubicBezTo>
                  <a:lnTo>
                    <a:pt x="69985" y="247809"/>
                  </a:lnTo>
                  <a:lnTo>
                    <a:pt x="70621" y="249082"/>
                  </a:lnTo>
                  <a:lnTo>
                    <a:pt x="70621" y="250354"/>
                  </a:lnTo>
                  <a:cubicBezTo>
                    <a:pt x="70621" y="250672"/>
                    <a:pt x="70303" y="250990"/>
                    <a:pt x="70303" y="251308"/>
                  </a:cubicBezTo>
                  <a:cubicBezTo>
                    <a:pt x="70303" y="251626"/>
                    <a:pt x="70621" y="252263"/>
                    <a:pt x="70939" y="252581"/>
                  </a:cubicBezTo>
                  <a:lnTo>
                    <a:pt x="70939" y="253535"/>
                  </a:lnTo>
                  <a:cubicBezTo>
                    <a:pt x="70939" y="253853"/>
                    <a:pt x="70939" y="254171"/>
                    <a:pt x="71257" y="254171"/>
                  </a:cubicBezTo>
                  <a:cubicBezTo>
                    <a:pt x="71575" y="254171"/>
                    <a:pt x="71257" y="254489"/>
                    <a:pt x="71257" y="254489"/>
                  </a:cubicBezTo>
                  <a:lnTo>
                    <a:pt x="71257" y="256716"/>
                  </a:lnTo>
                  <a:cubicBezTo>
                    <a:pt x="71257" y="257034"/>
                    <a:pt x="71257" y="257671"/>
                    <a:pt x="72211" y="258307"/>
                  </a:cubicBezTo>
                  <a:lnTo>
                    <a:pt x="72211" y="259261"/>
                  </a:lnTo>
                  <a:cubicBezTo>
                    <a:pt x="72211" y="259579"/>
                    <a:pt x="72529" y="259897"/>
                    <a:pt x="73166" y="260215"/>
                  </a:cubicBezTo>
                  <a:cubicBezTo>
                    <a:pt x="73166" y="260534"/>
                    <a:pt x="72847" y="260852"/>
                    <a:pt x="73166" y="260852"/>
                  </a:cubicBezTo>
                  <a:cubicBezTo>
                    <a:pt x="73802" y="260852"/>
                    <a:pt x="73802" y="260852"/>
                    <a:pt x="75074" y="260534"/>
                  </a:cubicBezTo>
                  <a:cubicBezTo>
                    <a:pt x="75393" y="260215"/>
                    <a:pt x="76029" y="259579"/>
                    <a:pt x="76983" y="259579"/>
                  </a:cubicBezTo>
                  <a:lnTo>
                    <a:pt x="78574" y="258307"/>
                  </a:lnTo>
                  <a:cubicBezTo>
                    <a:pt x="78892" y="257989"/>
                    <a:pt x="78892" y="257034"/>
                    <a:pt x="79528" y="256716"/>
                  </a:cubicBezTo>
                  <a:lnTo>
                    <a:pt x="79528" y="256398"/>
                  </a:lnTo>
                  <a:cubicBezTo>
                    <a:pt x="80800" y="255762"/>
                    <a:pt x="81118" y="254489"/>
                    <a:pt x="81755" y="254171"/>
                  </a:cubicBezTo>
                  <a:cubicBezTo>
                    <a:pt x="82391" y="253853"/>
                    <a:pt x="82391" y="253535"/>
                    <a:pt x="83027" y="252899"/>
                  </a:cubicBezTo>
                  <a:lnTo>
                    <a:pt x="83027" y="251945"/>
                  </a:lnTo>
                  <a:cubicBezTo>
                    <a:pt x="83027" y="251626"/>
                    <a:pt x="83027" y="251626"/>
                    <a:pt x="83345" y="251308"/>
                  </a:cubicBezTo>
                  <a:lnTo>
                    <a:pt x="83981" y="250672"/>
                  </a:lnTo>
                  <a:cubicBezTo>
                    <a:pt x="83981" y="250354"/>
                    <a:pt x="84299" y="250036"/>
                    <a:pt x="84299" y="249400"/>
                  </a:cubicBezTo>
                  <a:lnTo>
                    <a:pt x="85572" y="248445"/>
                  </a:lnTo>
                  <a:cubicBezTo>
                    <a:pt x="85572" y="247809"/>
                    <a:pt x="85572" y="247173"/>
                    <a:pt x="86526" y="246855"/>
                  </a:cubicBezTo>
                  <a:lnTo>
                    <a:pt x="86526" y="246219"/>
                  </a:lnTo>
                  <a:cubicBezTo>
                    <a:pt x="86526" y="245582"/>
                    <a:pt x="86844" y="244946"/>
                    <a:pt x="87163" y="244310"/>
                  </a:cubicBezTo>
                  <a:lnTo>
                    <a:pt x="89390" y="242401"/>
                  </a:lnTo>
                  <a:cubicBezTo>
                    <a:pt x="89708" y="241765"/>
                    <a:pt x="89708" y="241129"/>
                    <a:pt x="90026" y="240811"/>
                  </a:cubicBezTo>
                  <a:cubicBezTo>
                    <a:pt x="90344" y="240174"/>
                    <a:pt x="90662" y="239856"/>
                    <a:pt x="90662" y="239538"/>
                  </a:cubicBezTo>
                  <a:lnTo>
                    <a:pt x="90344" y="239220"/>
                  </a:lnTo>
                  <a:cubicBezTo>
                    <a:pt x="90344" y="238902"/>
                    <a:pt x="90344" y="238266"/>
                    <a:pt x="90980" y="237948"/>
                  </a:cubicBezTo>
                  <a:lnTo>
                    <a:pt x="91934" y="236039"/>
                  </a:lnTo>
                  <a:cubicBezTo>
                    <a:pt x="92571" y="235721"/>
                    <a:pt x="92571" y="234448"/>
                    <a:pt x="93525" y="233494"/>
                  </a:cubicBezTo>
                  <a:lnTo>
                    <a:pt x="93525" y="233176"/>
                  </a:lnTo>
                  <a:cubicBezTo>
                    <a:pt x="93525" y="232858"/>
                    <a:pt x="94161" y="232858"/>
                    <a:pt x="94479" y="232540"/>
                  </a:cubicBezTo>
                  <a:lnTo>
                    <a:pt x="94161" y="232540"/>
                  </a:lnTo>
                  <a:cubicBezTo>
                    <a:pt x="94797" y="232222"/>
                    <a:pt x="95115" y="231585"/>
                    <a:pt x="95115" y="230631"/>
                  </a:cubicBezTo>
                  <a:cubicBezTo>
                    <a:pt x="95115" y="229995"/>
                    <a:pt x="95433" y="229359"/>
                    <a:pt x="95433" y="229359"/>
                  </a:cubicBezTo>
                  <a:cubicBezTo>
                    <a:pt x="95433" y="229041"/>
                    <a:pt x="96706" y="228722"/>
                    <a:pt x="96706" y="228086"/>
                  </a:cubicBezTo>
                  <a:cubicBezTo>
                    <a:pt x="96706" y="227768"/>
                    <a:pt x="96388" y="227450"/>
                    <a:pt x="96388" y="227132"/>
                  </a:cubicBezTo>
                  <a:cubicBezTo>
                    <a:pt x="96388" y="226814"/>
                    <a:pt x="96388" y="226814"/>
                    <a:pt x="96706" y="226496"/>
                  </a:cubicBezTo>
                  <a:cubicBezTo>
                    <a:pt x="97660" y="225859"/>
                    <a:pt x="97660" y="225859"/>
                    <a:pt x="97660" y="225541"/>
                  </a:cubicBezTo>
                  <a:cubicBezTo>
                    <a:pt x="97978" y="224905"/>
                    <a:pt x="98296" y="224269"/>
                    <a:pt x="98296" y="223951"/>
                  </a:cubicBezTo>
                  <a:cubicBezTo>
                    <a:pt x="98614" y="223314"/>
                    <a:pt x="99569" y="222360"/>
                    <a:pt x="99887" y="222042"/>
                  </a:cubicBezTo>
                  <a:cubicBezTo>
                    <a:pt x="99887" y="220451"/>
                    <a:pt x="100523" y="219179"/>
                    <a:pt x="101478" y="218861"/>
                  </a:cubicBezTo>
                  <a:cubicBezTo>
                    <a:pt x="101478" y="218225"/>
                    <a:pt x="102114" y="217907"/>
                    <a:pt x="102114" y="217907"/>
                  </a:cubicBezTo>
                  <a:cubicBezTo>
                    <a:pt x="102432" y="217270"/>
                    <a:pt x="103068" y="216316"/>
                    <a:pt x="103068" y="215362"/>
                  </a:cubicBezTo>
                  <a:cubicBezTo>
                    <a:pt x="103386" y="215362"/>
                    <a:pt x="104341" y="213771"/>
                    <a:pt x="104341" y="213453"/>
                  </a:cubicBezTo>
                  <a:lnTo>
                    <a:pt x="104023" y="213135"/>
                  </a:lnTo>
                  <a:cubicBezTo>
                    <a:pt x="104023" y="212817"/>
                    <a:pt x="104659" y="212181"/>
                    <a:pt x="104659" y="211862"/>
                  </a:cubicBezTo>
                  <a:cubicBezTo>
                    <a:pt x="104659" y="210908"/>
                    <a:pt x="105931" y="210590"/>
                    <a:pt x="106249" y="209636"/>
                  </a:cubicBezTo>
                  <a:cubicBezTo>
                    <a:pt x="105931" y="209318"/>
                    <a:pt x="105931" y="208999"/>
                    <a:pt x="105931" y="208999"/>
                  </a:cubicBezTo>
                  <a:cubicBezTo>
                    <a:pt x="105931" y="208363"/>
                    <a:pt x="106249" y="208363"/>
                    <a:pt x="106249" y="208045"/>
                  </a:cubicBezTo>
                  <a:cubicBezTo>
                    <a:pt x="107522" y="207727"/>
                    <a:pt x="106886" y="206773"/>
                    <a:pt x="107840" y="206455"/>
                  </a:cubicBezTo>
                  <a:cubicBezTo>
                    <a:pt x="107840" y="205818"/>
                    <a:pt x="108158" y="205182"/>
                    <a:pt x="108476" y="204864"/>
                  </a:cubicBezTo>
                  <a:cubicBezTo>
                    <a:pt x="108476" y="204546"/>
                    <a:pt x="108794" y="203910"/>
                    <a:pt x="108794" y="203592"/>
                  </a:cubicBezTo>
                  <a:lnTo>
                    <a:pt x="108476" y="203273"/>
                  </a:lnTo>
                  <a:cubicBezTo>
                    <a:pt x="108476" y="203273"/>
                    <a:pt x="108794" y="202319"/>
                    <a:pt x="109112" y="202319"/>
                  </a:cubicBezTo>
                  <a:lnTo>
                    <a:pt x="110385" y="201047"/>
                  </a:lnTo>
                  <a:cubicBezTo>
                    <a:pt x="110703" y="200729"/>
                    <a:pt x="110703" y="200410"/>
                    <a:pt x="110703" y="200092"/>
                  </a:cubicBezTo>
                  <a:lnTo>
                    <a:pt x="111339" y="198820"/>
                  </a:lnTo>
                  <a:cubicBezTo>
                    <a:pt x="111339" y="198184"/>
                    <a:pt x="112611" y="198184"/>
                    <a:pt x="112611" y="197547"/>
                  </a:cubicBezTo>
                  <a:cubicBezTo>
                    <a:pt x="112293" y="197229"/>
                    <a:pt x="112293" y="196911"/>
                    <a:pt x="112293" y="196593"/>
                  </a:cubicBezTo>
                  <a:cubicBezTo>
                    <a:pt x="112293" y="196275"/>
                    <a:pt x="112293" y="195957"/>
                    <a:pt x="112611" y="195321"/>
                  </a:cubicBezTo>
                  <a:cubicBezTo>
                    <a:pt x="112611" y="195321"/>
                    <a:pt x="113248" y="195003"/>
                    <a:pt x="113248" y="194684"/>
                  </a:cubicBezTo>
                  <a:lnTo>
                    <a:pt x="113248" y="194366"/>
                  </a:lnTo>
                  <a:cubicBezTo>
                    <a:pt x="113248" y="194048"/>
                    <a:pt x="113248" y="194048"/>
                    <a:pt x="113884" y="193730"/>
                  </a:cubicBezTo>
                  <a:cubicBezTo>
                    <a:pt x="114202" y="193730"/>
                    <a:pt x="114202" y="193412"/>
                    <a:pt x="114202" y="193094"/>
                  </a:cubicBezTo>
                  <a:cubicBezTo>
                    <a:pt x="114202" y="192776"/>
                    <a:pt x="114520" y="192458"/>
                    <a:pt x="114838" y="192140"/>
                  </a:cubicBezTo>
                  <a:lnTo>
                    <a:pt x="114838" y="191503"/>
                  </a:lnTo>
                  <a:cubicBezTo>
                    <a:pt x="114838" y="191185"/>
                    <a:pt x="114838" y="191185"/>
                    <a:pt x="115156" y="191185"/>
                  </a:cubicBezTo>
                  <a:cubicBezTo>
                    <a:pt x="115156" y="189913"/>
                    <a:pt x="115793" y="188640"/>
                    <a:pt x="116747" y="187686"/>
                  </a:cubicBezTo>
                  <a:cubicBezTo>
                    <a:pt x="116747" y="187050"/>
                    <a:pt x="117065" y="186414"/>
                    <a:pt x="117065" y="186095"/>
                  </a:cubicBezTo>
                  <a:cubicBezTo>
                    <a:pt x="117065" y="185777"/>
                    <a:pt x="118020" y="185141"/>
                    <a:pt x="118020" y="184505"/>
                  </a:cubicBezTo>
                  <a:cubicBezTo>
                    <a:pt x="118020" y="184187"/>
                    <a:pt x="118338" y="183551"/>
                    <a:pt x="118974" y="183232"/>
                  </a:cubicBezTo>
                  <a:cubicBezTo>
                    <a:pt x="119610" y="182596"/>
                    <a:pt x="120246" y="181642"/>
                    <a:pt x="120246" y="180688"/>
                  </a:cubicBezTo>
                  <a:lnTo>
                    <a:pt x="120246" y="179415"/>
                  </a:lnTo>
                  <a:cubicBezTo>
                    <a:pt x="119928" y="179097"/>
                    <a:pt x="120564" y="179097"/>
                    <a:pt x="120564" y="179097"/>
                  </a:cubicBezTo>
                  <a:lnTo>
                    <a:pt x="121519" y="177188"/>
                  </a:lnTo>
                  <a:cubicBezTo>
                    <a:pt x="121519" y="176870"/>
                    <a:pt x="122473" y="176552"/>
                    <a:pt x="122155" y="176234"/>
                  </a:cubicBezTo>
                  <a:lnTo>
                    <a:pt x="121519" y="175916"/>
                  </a:lnTo>
                  <a:cubicBezTo>
                    <a:pt x="121519" y="175598"/>
                    <a:pt x="122473" y="175280"/>
                    <a:pt x="122473" y="174962"/>
                  </a:cubicBezTo>
                  <a:cubicBezTo>
                    <a:pt x="122473" y="174643"/>
                    <a:pt x="123427" y="174007"/>
                    <a:pt x="123427" y="173689"/>
                  </a:cubicBezTo>
                  <a:lnTo>
                    <a:pt x="123109" y="173689"/>
                  </a:lnTo>
                  <a:lnTo>
                    <a:pt x="123109" y="173371"/>
                  </a:lnTo>
                  <a:cubicBezTo>
                    <a:pt x="123109" y="173053"/>
                    <a:pt x="123745" y="173053"/>
                    <a:pt x="123745" y="172735"/>
                  </a:cubicBezTo>
                  <a:cubicBezTo>
                    <a:pt x="123745" y="172735"/>
                    <a:pt x="123745" y="172417"/>
                    <a:pt x="123427" y="172098"/>
                  </a:cubicBezTo>
                  <a:cubicBezTo>
                    <a:pt x="123427" y="171780"/>
                    <a:pt x="124382" y="171144"/>
                    <a:pt x="124063" y="170826"/>
                  </a:cubicBezTo>
                  <a:cubicBezTo>
                    <a:pt x="124382" y="170190"/>
                    <a:pt x="124700" y="169872"/>
                    <a:pt x="125018" y="169872"/>
                  </a:cubicBezTo>
                  <a:cubicBezTo>
                    <a:pt x="125654" y="169235"/>
                    <a:pt x="125018" y="168281"/>
                    <a:pt x="126608" y="167645"/>
                  </a:cubicBezTo>
                  <a:cubicBezTo>
                    <a:pt x="137742" y="152694"/>
                    <a:pt x="141878" y="147286"/>
                    <a:pt x="142514" y="147286"/>
                  </a:cubicBezTo>
                  <a:cubicBezTo>
                    <a:pt x="143469" y="147286"/>
                    <a:pt x="133925" y="162873"/>
                    <a:pt x="133607" y="167327"/>
                  </a:cubicBezTo>
                  <a:lnTo>
                    <a:pt x="133925" y="167327"/>
                  </a:lnTo>
                  <a:lnTo>
                    <a:pt x="133925" y="167645"/>
                  </a:lnTo>
                  <a:cubicBezTo>
                    <a:pt x="133925" y="168281"/>
                    <a:pt x="133925" y="168281"/>
                    <a:pt x="133607" y="168599"/>
                  </a:cubicBezTo>
                  <a:lnTo>
                    <a:pt x="134243" y="168599"/>
                  </a:lnTo>
                  <a:cubicBezTo>
                    <a:pt x="134561" y="168599"/>
                    <a:pt x="134879" y="168599"/>
                    <a:pt x="135834" y="167963"/>
                  </a:cubicBezTo>
                  <a:lnTo>
                    <a:pt x="135834" y="168599"/>
                  </a:lnTo>
                  <a:cubicBezTo>
                    <a:pt x="135834" y="169554"/>
                    <a:pt x="135197" y="170190"/>
                    <a:pt x="134879" y="170826"/>
                  </a:cubicBezTo>
                  <a:lnTo>
                    <a:pt x="134879" y="171144"/>
                  </a:lnTo>
                  <a:cubicBezTo>
                    <a:pt x="134561" y="171780"/>
                    <a:pt x="134561" y="171780"/>
                    <a:pt x="133607" y="172098"/>
                  </a:cubicBezTo>
                  <a:cubicBezTo>
                    <a:pt x="133289" y="172417"/>
                    <a:pt x="133289" y="172735"/>
                    <a:pt x="133289" y="173053"/>
                  </a:cubicBezTo>
                  <a:lnTo>
                    <a:pt x="133289" y="173689"/>
                  </a:lnTo>
                  <a:cubicBezTo>
                    <a:pt x="133289" y="173689"/>
                    <a:pt x="133289" y="174007"/>
                    <a:pt x="132971" y="174325"/>
                  </a:cubicBezTo>
                  <a:cubicBezTo>
                    <a:pt x="132335" y="174643"/>
                    <a:pt x="132335" y="174962"/>
                    <a:pt x="132335" y="175280"/>
                  </a:cubicBezTo>
                  <a:cubicBezTo>
                    <a:pt x="132335" y="175598"/>
                    <a:pt x="132335" y="175916"/>
                    <a:pt x="132971" y="176234"/>
                  </a:cubicBezTo>
                  <a:lnTo>
                    <a:pt x="133289" y="176552"/>
                  </a:lnTo>
                  <a:cubicBezTo>
                    <a:pt x="133289" y="176552"/>
                    <a:pt x="132971" y="176552"/>
                    <a:pt x="132653" y="176870"/>
                  </a:cubicBezTo>
                  <a:cubicBezTo>
                    <a:pt x="132653" y="176870"/>
                    <a:pt x="132335" y="177188"/>
                    <a:pt x="132016" y="177188"/>
                  </a:cubicBezTo>
                  <a:cubicBezTo>
                    <a:pt x="131380" y="177824"/>
                    <a:pt x="130744" y="178461"/>
                    <a:pt x="129472" y="178461"/>
                  </a:cubicBezTo>
                  <a:lnTo>
                    <a:pt x="129472" y="179097"/>
                  </a:lnTo>
                  <a:cubicBezTo>
                    <a:pt x="129790" y="179415"/>
                    <a:pt x="129790" y="179733"/>
                    <a:pt x="130744" y="179733"/>
                  </a:cubicBezTo>
                  <a:cubicBezTo>
                    <a:pt x="129790" y="180051"/>
                    <a:pt x="129790" y="180369"/>
                    <a:pt x="129153" y="180369"/>
                  </a:cubicBezTo>
                  <a:cubicBezTo>
                    <a:pt x="128517" y="180369"/>
                    <a:pt x="127881" y="180369"/>
                    <a:pt x="127881" y="181006"/>
                  </a:cubicBezTo>
                  <a:cubicBezTo>
                    <a:pt x="127563" y="181006"/>
                    <a:pt x="127563" y="181324"/>
                    <a:pt x="127563" y="181642"/>
                  </a:cubicBezTo>
                  <a:lnTo>
                    <a:pt x="127563" y="181960"/>
                  </a:lnTo>
                  <a:lnTo>
                    <a:pt x="128835" y="181960"/>
                  </a:lnTo>
                  <a:lnTo>
                    <a:pt x="128835" y="182596"/>
                  </a:lnTo>
                  <a:cubicBezTo>
                    <a:pt x="128835" y="182914"/>
                    <a:pt x="128835" y="183232"/>
                    <a:pt x="129153" y="183232"/>
                  </a:cubicBezTo>
                  <a:cubicBezTo>
                    <a:pt x="129153" y="183551"/>
                    <a:pt x="129472" y="183551"/>
                    <a:pt x="129472" y="183869"/>
                  </a:cubicBezTo>
                  <a:cubicBezTo>
                    <a:pt x="129472" y="184187"/>
                    <a:pt x="129153" y="184187"/>
                    <a:pt x="129153" y="184187"/>
                  </a:cubicBezTo>
                  <a:lnTo>
                    <a:pt x="127881" y="185141"/>
                  </a:lnTo>
                  <a:lnTo>
                    <a:pt x="127881" y="187686"/>
                  </a:lnTo>
                  <a:cubicBezTo>
                    <a:pt x="127563" y="187686"/>
                    <a:pt x="127563" y="188004"/>
                    <a:pt x="127563" y="188322"/>
                  </a:cubicBezTo>
                  <a:cubicBezTo>
                    <a:pt x="127563" y="188640"/>
                    <a:pt x="127245" y="188958"/>
                    <a:pt x="127245" y="189277"/>
                  </a:cubicBezTo>
                  <a:lnTo>
                    <a:pt x="126926" y="189595"/>
                  </a:lnTo>
                  <a:cubicBezTo>
                    <a:pt x="126290" y="189913"/>
                    <a:pt x="125972" y="190549"/>
                    <a:pt x="125972" y="190867"/>
                  </a:cubicBezTo>
                  <a:cubicBezTo>
                    <a:pt x="125972" y="191185"/>
                    <a:pt x="126608" y="191503"/>
                    <a:pt x="126608" y="192140"/>
                  </a:cubicBezTo>
                  <a:cubicBezTo>
                    <a:pt x="126608" y="192140"/>
                    <a:pt x="125336" y="192776"/>
                    <a:pt x="125018" y="192776"/>
                  </a:cubicBezTo>
                  <a:cubicBezTo>
                    <a:pt x="124700" y="192776"/>
                    <a:pt x="124700" y="192776"/>
                    <a:pt x="124700" y="193094"/>
                  </a:cubicBezTo>
                  <a:lnTo>
                    <a:pt x="124700" y="193730"/>
                  </a:lnTo>
                  <a:cubicBezTo>
                    <a:pt x="124700" y="194048"/>
                    <a:pt x="125018" y="194366"/>
                    <a:pt x="125018" y="194684"/>
                  </a:cubicBezTo>
                  <a:cubicBezTo>
                    <a:pt x="125018" y="195321"/>
                    <a:pt x="124382" y="195639"/>
                    <a:pt x="123427" y="196275"/>
                  </a:cubicBezTo>
                  <a:lnTo>
                    <a:pt x="123427" y="196911"/>
                  </a:lnTo>
                  <a:lnTo>
                    <a:pt x="124700" y="196911"/>
                  </a:lnTo>
                  <a:cubicBezTo>
                    <a:pt x="124700" y="196593"/>
                    <a:pt x="125018" y="196593"/>
                    <a:pt x="125336" y="196593"/>
                  </a:cubicBezTo>
                  <a:cubicBezTo>
                    <a:pt x="125654" y="196911"/>
                    <a:pt x="125972" y="196911"/>
                    <a:pt x="125972" y="196911"/>
                  </a:cubicBezTo>
                  <a:cubicBezTo>
                    <a:pt x="125972" y="196911"/>
                    <a:pt x="125654" y="197229"/>
                    <a:pt x="125654" y="197547"/>
                  </a:cubicBezTo>
                  <a:cubicBezTo>
                    <a:pt x="125336" y="197866"/>
                    <a:pt x="125336" y="197866"/>
                    <a:pt x="125336" y="198184"/>
                  </a:cubicBezTo>
                  <a:cubicBezTo>
                    <a:pt x="125336" y="198820"/>
                    <a:pt x="125336" y="199774"/>
                    <a:pt x="124700" y="200410"/>
                  </a:cubicBezTo>
                  <a:lnTo>
                    <a:pt x="124700" y="201365"/>
                  </a:lnTo>
                  <a:cubicBezTo>
                    <a:pt x="125018" y="201365"/>
                    <a:pt x="125018" y="201683"/>
                    <a:pt x="125018" y="202001"/>
                  </a:cubicBezTo>
                  <a:cubicBezTo>
                    <a:pt x="125018" y="202319"/>
                    <a:pt x="125018" y="202637"/>
                    <a:pt x="124700" y="202955"/>
                  </a:cubicBezTo>
                  <a:cubicBezTo>
                    <a:pt x="124382" y="202955"/>
                    <a:pt x="124382" y="202955"/>
                    <a:pt x="124382" y="203273"/>
                  </a:cubicBezTo>
                  <a:lnTo>
                    <a:pt x="124382" y="203592"/>
                  </a:lnTo>
                  <a:cubicBezTo>
                    <a:pt x="123745" y="203592"/>
                    <a:pt x="123745" y="203592"/>
                    <a:pt x="123745" y="204228"/>
                  </a:cubicBezTo>
                  <a:cubicBezTo>
                    <a:pt x="123745" y="204864"/>
                    <a:pt x="123109" y="204864"/>
                    <a:pt x="123109" y="205500"/>
                  </a:cubicBezTo>
                  <a:cubicBezTo>
                    <a:pt x="123109" y="205818"/>
                    <a:pt x="123109" y="206455"/>
                    <a:pt x="122791" y="206455"/>
                  </a:cubicBezTo>
                  <a:cubicBezTo>
                    <a:pt x="121519" y="206455"/>
                    <a:pt x="121519" y="207091"/>
                    <a:pt x="120564" y="207409"/>
                  </a:cubicBezTo>
                  <a:lnTo>
                    <a:pt x="120564" y="208363"/>
                  </a:lnTo>
                  <a:cubicBezTo>
                    <a:pt x="119292" y="208999"/>
                    <a:pt x="118974" y="209636"/>
                    <a:pt x="118338" y="210590"/>
                  </a:cubicBezTo>
                  <a:lnTo>
                    <a:pt x="118656" y="210590"/>
                  </a:lnTo>
                  <a:cubicBezTo>
                    <a:pt x="119292" y="210590"/>
                    <a:pt x="118974" y="211226"/>
                    <a:pt x="119292" y="211544"/>
                  </a:cubicBezTo>
                  <a:lnTo>
                    <a:pt x="119292" y="211862"/>
                  </a:lnTo>
                  <a:cubicBezTo>
                    <a:pt x="118974" y="212181"/>
                    <a:pt x="118974" y="212817"/>
                    <a:pt x="118974" y="213135"/>
                  </a:cubicBezTo>
                  <a:cubicBezTo>
                    <a:pt x="118974" y="213453"/>
                    <a:pt x="118974" y="213771"/>
                    <a:pt x="118656" y="213771"/>
                  </a:cubicBezTo>
                  <a:cubicBezTo>
                    <a:pt x="118338" y="214407"/>
                    <a:pt x="117701" y="214725"/>
                    <a:pt x="117701" y="215362"/>
                  </a:cubicBezTo>
                  <a:lnTo>
                    <a:pt x="118338" y="215680"/>
                  </a:lnTo>
                  <a:cubicBezTo>
                    <a:pt x="118338" y="216634"/>
                    <a:pt x="117065" y="216634"/>
                    <a:pt x="116747" y="216952"/>
                  </a:cubicBezTo>
                  <a:cubicBezTo>
                    <a:pt x="116747" y="216952"/>
                    <a:pt x="116111" y="216952"/>
                    <a:pt x="116111" y="216634"/>
                  </a:cubicBezTo>
                  <a:cubicBezTo>
                    <a:pt x="116111" y="216316"/>
                    <a:pt x="116111" y="215680"/>
                    <a:pt x="115793" y="215362"/>
                  </a:cubicBezTo>
                  <a:cubicBezTo>
                    <a:pt x="115793" y="215362"/>
                    <a:pt x="116111" y="215044"/>
                    <a:pt x="116429" y="215044"/>
                  </a:cubicBezTo>
                  <a:cubicBezTo>
                    <a:pt x="116747" y="215044"/>
                    <a:pt x="116747" y="214725"/>
                    <a:pt x="117065" y="214089"/>
                  </a:cubicBezTo>
                  <a:cubicBezTo>
                    <a:pt x="117065" y="213771"/>
                    <a:pt x="116747" y="213771"/>
                    <a:pt x="116747" y="213771"/>
                  </a:cubicBezTo>
                  <a:cubicBezTo>
                    <a:pt x="115793" y="213771"/>
                    <a:pt x="115156" y="214089"/>
                    <a:pt x="114520" y="215044"/>
                  </a:cubicBezTo>
                  <a:lnTo>
                    <a:pt x="114520" y="215362"/>
                  </a:lnTo>
                  <a:cubicBezTo>
                    <a:pt x="114520" y="215998"/>
                    <a:pt x="113566" y="216634"/>
                    <a:pt x="113566" y="217588"/>
                  </a:cubicBezTo>
                  <a:lnTo>
                    <a:pt x="113566" y="217907"/>
                  </a:lnTo>
                  <a:cubicBezTo>
                    <a:pt x="112929" y="218543"/>
                    <a:pt x="112929" y="218861"/>
                    <a:pt x="112929" y="219179"/>
                  </a:cubicBezTo>
                  <a:lnTo>
                    <a:pt x="112929" y="220451"/>
                  </a:lnTo>
                  <a:cubicBezTo>
                    <a:pt x="113248" y="220451"/>
                    <a:pt x="113566" y="220770"/>
                    <a:pt x="113566" y="220770"/>
                  </a:cubicBezTo>
                  <a:cubicBezTo>
                    <a:pt x="113566" y="221088"/>
                    <a:pt x="113248" y="221088"/>
                    <a:pt x="112929" y="221406"/>
                  </a:cubicBezTo>
                  <a:cubicBezTo>
                    <a:pt x="112611" y="222042"/>
                    <a:pt x="112611" y="222360"/>
                    <a:pt x="112611" y="223314"/>
                  </a:cubicBezTo>
                  <a:lnTo>
                    <a:pt x="112611" y="224905"/>
                  </a:lnTo>
                  <a:cubicBezTo>
                    <a:pt x="112293" y="225541"/>
                    <a:pt x="111657" y="225541"/>
                    <a:pt x="111657" y="225859"/>
                  </a:cubicBezTo>
                  <a:lnTo>
                    <a:pt x="111657" y="227132"/>
                  </a:lnTo>
                  <a:cubicBezTo>
                    <a:pt x="111657" y="227450"/>
                    <a:pt x="111339" y="228404"/>
                    <a:pt x="111021" y="228404"/>
                  </a:cubicBezTo>
                  <a:lnTo>
                    <a:pt x="110385" y="228404"/>
                  </a:lnTo>
                  <a:cubicBezTo>
                    <a:pt x="110067" y="228404"/>
                    <a:pt x="109748" y="228404"/>
                    <a:pt x="109430" y="228722"/>
                  </a:cubicBezTo>
                  <a:cubicBezTo>
                    <a:pt x="109112" y="229041"/>
                    <a:pt x="109112" y="229359"/>
                    <a:pt x="109112" y="229359"/>
                  </a:cubicBezTo>
                  <a:cubicBezTo>
                    <a:pt x="109748" y="229677"/>
                    <a:pt x="110067" y="229677"/>
                    <a:pt x="110067" y="229995"/>
                  </a:cubicBezTo>
                  <a:cubicBezTo>
                    <a:pt x="110067" y="230313"/>
                    <a:pt x="109748" y="230631"/>
                    <a:pt x="109430" y="230949"/>
                  </a:cubicBezTo>
                  <a:cubicBezTo>
                    <a:pt x="108794" y="231904"/>
                    <a:pt x="108158" y="231904"/>
                    <a:pt x="107204" y="231904"/>
                  </a:cubicBezTo>
                  <a:cubicBezTo>
                    <a:pt x="106886" y="231904"/>
                    <a:pt x="106567" y="232222"/>
                    <a:pt x="106567" y="232222"/>
                  </a:cubicBezTo>
                  <a:cubicBezTo>
                    <a:pt x="106567" y="232540"/>
                    <a:pt x="106249" y="232858"/>
                    <a:pt x="106249" y="232858"/>
                  </a:cubicBezTo>
                  <a:lnTo>
                    <a:pt x="106249" y="234130"/>
                  </a:lnTo>
                  <a:cubicBezTo>
                    <a:pt x="105295" y="234448"/>
                    <a:pt x="105295" y="235085"/>
                    <a:pt x="105295" y="235721"/>
                  </a:cubicBezTo>
                  <a:cubicBezTo>
                    <a:pt x="105295" y="236039"/>
                    <a:pt x="104977" y="236039"/>
                    <a:pt x="104659" y="236357"/>
                  </a:cubicBezTo>
                  <a:lnTo>
                    <a:pt x="104659" y="236993"/>
                  </a:lnTo>
                  <a:cubicBezTo>
                    <a:pt x="104659" y="237311"/>
                    <a:pt x="104659" y="237630"/>
                    <a:pt x="104341" y="237630"/>
                  </a:cubicBezTo>
                  <a:cubicBezTo>
                    <a:pt x="104023" y="237630"/>
                    <a:pt x="103705" y="237311"/>
                    <a:pt x="103386" y="237311"/>
                  </a:cubicBezTo>
                  <a:lnTo>
                    <a:pt x="103386" y="236993"/>
                  </a:lnTo>
                  <a:cubicBezTo>
                    <a:pt x="103068" y="236993"/>
                    <a:pt x="103068" y="237311"/>
                    <a:pt x="103068" y="237311"/>
                  </a:cubicBezTo>
                  <a:cubicBezTo>
                    <a:pt x="102750" y="237311"/>
                    <a:pt x="102432" y="237630"/>
                    <a:pt x="102114" y="237948"/>
                  </a:cubicBezTo>
                  <a:cubicBezTo>
                    <a:pt x="101796" y="238266"/>
                    <a:pt x="101796" y="238266"/>
                    <a:pt x="101796" y="238584"/>
                  </a:cubicBezTo>
                  <a:lnTo>
                    <a:pt x="101796" y="239220"/>
                  </a:lnTo>
                  <a:lnTo>
                    <a:pt x="102114" y="239538"/>
                  </a:lnTo>
                  <a:lnTo>
                    <a:pt x="103386" y="238266"/>
                  </a:lnTo>
                  <a:cubicBezTo>
                    <a:pt x="103386" y="238266"/>
                    <a:pt x="103386" y="237948"/>
                    <a:pt x="103705" y="237948"/>
                  </a:cubicBezTo>
                  <a:cubicBezTo>
                    <a:pt x="104023" y="237948"/>
                    <a:pt x="104341" y="238266"/>
                    <a:pt x="104341" y="238266"/>
                  </a:cubicBezTo>
                  <a:cubicBezTo>
                    <a:pt x="104659" y="238584"/>
                    <a:pt x="104977" y="238902"/>
                    <a:pt x="104977" y="239220"/>
                  </a:cubicBezTo>
                  <a:cubicBezTo>
                    <a:pt x="104977" y="239538"/>
                    <a:pt x="105613" y="239856"/>
                    <a:pt x="106249" y="239856"/>
                  </a:cubicBezTo>
                  <a:lnTo>
                    <a:pt x="107204" y="239856"/>
                  </a:lnTo>
                  <a:lnTo>
                    <a:pt x="106886" y="239538"/>
                  </a:lnTo>
                  <a:lnTo>
                    <a:pt x="106886" y="238266"/>
                  </a:lnTo>
                  <a:lnTo>
                    <a:pt x="107522" y="237948"/>
                  </a:lnTo>
                  <a:lnTo>
                    <a:pt x="107522" y="238266"/>
                  </a:lnTo>
                  <a:cubicBezTo>
                    <a:pt x="107522" y="238902"/>
                    <a:pt x="107522" y="239538"/>
                    <a:pt x="107840" y="240493"/>
                  </a:cubicBezTo>
                  <a:lnTo>
                    <a:pt x="107840" y="241129"/>
                  </a:lnTo>
                  <a:cubicBezTo>
                    <a:pt x="106886" y="241447"/>
                    <a:pt x="106567" y="242083"/>
                    <a:pt x="106249" y="242401"/>
                  </a:cubicBezTo>
                  <a:cubicBezTo>
                    <a:pt x="105613" y="243037"/>
                    <a:pt x="105295" y="243356"/>
                    <a:pt x="104977" y="243356"/>
                  </a:cubicBezTo>
                  <a:cubicBezTo>
                    <a:pt x="104659" y="243356"/>
                    <a:pt x="104341" y="243037"/>
                    <a:pt x="103705" y="242719"/>
                  </a:cubicBezTo>
                  <a:cubicBezTo>
                    <a:pt x="103705" y="242719"/>
                    <a:pt x="103386" y="242401"/>
                    <a:pt x="103068" y="242401"/>
                  </a:cubicBezTo>
                  <a:cubicBezTo>
                    <a:pt x="102750" y="242401"/>
                    <a:pt x="102750" y="242719"/>
                    <a:pt x="102432" y="243037"/>
                  </a:cubicBezTo>
                  <a:cubicBezTo>
                    <a:pt x="102114" y="243037"/>
                    <a:pt x="101796" y="243037"/>
                    <a:pt x="101478" y="243674"/>
                  </a:cubicBezTo>
                  <a:cubicBezTo>
                    <a:pt x="100841" y="243674"/>
                    <a:pt x="100841" y="243992"/>
                    <a:pt x="100841" y="243992"/>
                  </a:cubicBezTo>
                  <a:cubicBezTo>
                    <a:pt x="101796" y="244310"/>
                    <a:pt x="101796" y="244628"/>
                    <a:pt x="101796" y="244946"/>
                  </a:cubicBezTo>
                  <a:lnTo>
                    <a:pt x="101796" y="245582"/>
                  </a:lnTo>
                  <a:cubicBezTo>
                    <a:pt x="101796" y="245900"/>
                    <a:pt x="101796" y="245900"/>
                    <a:pt x="102432" y="246219"/>
                  </a:cubicBezTo>
                  <a:cubicBezTo>
                    <a:pt x="102432" y="246537"/>
                    <a:pt x="102750" y="246537"/>
                    <a:pt x="102750" y="246855"/>
                  </a:cubicBezTo>
                  <a:lnTo>
                    <a:pt x="101796" y="247491"/>
                  </a:lnTo>
                  <a:cubicBezTo>
                    <a:pt x="100523" y="248127"/>
                    <a:pt x="100205" y="249082"/>
                    <a:pt x="99569" y="249718"/>
                  </a:cubicBezTo>
                  <a:cubicBezTo>
                    <a:pt x="99251" y="250036"/>
                    <a:pt x="98933" y="250036"/>
                    <a:pt x="98933" y="250354"/>
                  </a:cubicBezTo>
                  <a:cubicBezTo>
                    <a:pt x="98933" y="250672"/>
                    <a:pt x="99251" y="250990"/>
                    <a:pt x="99569" y="251308"/>
                  </a:cubicBezTo>
                  <a:lnTo>
                    <a:pt x="99887" y="250990"/>
                  </a:lnTo>
                  <a:cubicBezTo>
                    <a:pt x="99887" y="250990"/>
                    <a:pt x="100205" y="250672"/>
                    <a:pt x="100523" y="250672"/>
                  </a:cubicBezTo>
                  <a:cubicBezTo>
                    <a:pt x="100523" y="250672"/>
                    <a:pt x="100841" y="250672"/>
                    <a:pt x="100523" y="250990"/>
                  </a:cubicBezTo>
                  <a:lnTo>
                    <a:pt x="100841" y="250990"/>
                  </a:lnTo>
                  <a:lnTo>
                    <a:pt x="100523" y="251308"/>
                  </a:lnTo>
                  <a:cubicBezTo>
                    <a:pt x="100205" y="251308"/>
                    <a:pt x="100205" y="251626"/>
                    <a:pt x="100205" y="251945"/>
                  </a:cubicBezTo>
                  <a:cubicBezTo>
                    <a:pt x="100205" y="252263"/>
                    <a:pt x="100523" y="252263"/>
                    <a:pt x="100523" y="252263"/>
                  </a:cubicBezTo>
                  <a:lnTo>
                    <a:pt x="100205" y="252581"/>
                  </a:lnTo>
                  <a:cubicBezTo>
                    <a:pt x="99887" y="252899"/>
                    <a:pt x="99569" y="253535"/>
                    <a:pt x="99569" y="253535"/>
                  </a:cubicBezTo>
                  <a:lnTo>
                    <a:pt x="98933" y="253853"/>
                  </a:lnTo>
                  <a:cubicBezTo>
                    <a:pt x="98614" y="254489"/>
                    <a:pt x="98614" y="254808"/>
                    <a:pt x="97978" y="255444"/>
                  </a:cubicBezTo>
                  <a:lnTo>
                    <a:pt x="97978" y="256080"/>
                  </a:lnTo>
                  <a:cubicBezTo>
                    <a:pt x="97978" y="257034"/>
                    <a:pt x="97342" y="257352"/>
                    <a:pt x="96706" y="257989"/>
                  </a:cubicBezTo>
                  <a:lnTo>
                    <a:pt x="96706" y="259579"/>
                  </a:lnTo>
                  <a:cubicBezTo>
                    <a:pt x="96706" y="260215"/>
                    <a:pt x="96070" y="260534"/>
                    <a:pt x="95433" y="261170"/>
                  </a:cubicBezTo>
                  <a:cubicBezTo>
                    <a:pt x="94797" y="261488"/>
                    <a:pt x="94479" y="261806"/>
                    <a:pt x="94479" y="262760"/>
                  </a:cubicBezTo>
                  <a:cubicBezTo>
                    <a:pt x="94479" y="263078"/>
                    <a:pt x="94479" y="263397"/>
                    <a:pt x="93843" y="263397"/>
                  </a:cubicBezTo>
                  <a:cubicBezTo>
                    <a:pt x="93525" y="263715"/>
                    <a:pt x="93525" y="263715"/>
                    <a:pt x="93525" y="264033"/>
                  </a:cubicBezTo>
                  <a:lnTo>
                    <a:pt x="93525" y="264669"/>
                  </a:lnTo>
                  <a:cubicBezTo>
                    <a:pt x="92889" y="264669"/>
                    <a:pt x="92571" y="264987"/>
                    <a:pt x="91616" y="265941"/>
                  </a:cubicBezTo>
                  <a:cubicBezTo>
                    <a:pt x="91298" y="266260"/>
                    <a:pt x="91298" y="266260"/>
                    <a:pt x="91298" y="266578"/>
                  </a:cubicBezTo>
                  <a:cubicBezTo>
                    <a:pt x="91298" y="266896"/>
                    <a:pt x="91616" y="267214"/>
                    <a:pt x="91934" y="267214"/>
                  </a:cubicBezTo>
                  <a:cubicBezTo>
                    <a:pt x="91934" y="267532"/>
                    <a:pt x="92252" y="267850"/>
                    <a:pt x="92252" y="267850"/>
                  </a:cubicBezTo>
                  <a:cubicBezTo>
                    <a:pt x="92252" y="268168"/>
                    <a:pt x="91934" y="268168"/>
                    <a:pt x="91934" y="268168"/>
                  </a:cubicBezTo>
                  <a:lnTo>
                    <a:pt x="91298" y="269123"/>
                  </a:lnTo>
                  <a:cubicBezTo>
                    <a:pt x="91298" y="269441"/>
                    <a:pt x="91298" y="269759"/>
                    <a:pt x="91616" y="269759"/>
                  </a:cubicBezTo>
                  <a:cubicBezTo>
                    <a:pt x="91616" y="269759"/>
                    <a:pt x="91616" y="270077"/>
                    <a:pt x="91934" y="270395"/>
                  </a:cubicBezTo>
                  <a:lnTo>
                    <a:pt x="91934" y="270713"/>
                  </a:lnTo>
                  <a:lnTo>
                    <a:pt x="91616" y="271031"/>
                  </a:lnTo>
                  <a:lnTo>
                    <a:pt x="90662" y="271031"/>
                  </a:lnTo>
                  <a:cubicBezTo>
                    <a:pt x="90344" y="271031"/>
                    <a:pt x="90026" y="271031"/>
                    <a:pt x="90026" y="271667"/>
                  </a:cubicBezTo>
                  <a:cubicBezTo>
                    <a:pt x="89708" y="272940"/>
                    <a:pt x="89708" y="272940"/>
                    <a:pt x="88435" y="273894"/>
                  </a:cubicBezTo>
                  <a:cubicBezTo>
                    <a:pt x="88435" y="274212"/>
                    <a:pt x="88117" y="274530"/>
                    <a:pt x="87163" y="275167"/>
                  </a:cubicBezTo>
                  <a:lnTo>
                    <a:pt x="86844" y="275803"/>
                  </a:lnTo>
                  <a:lnTo>
                    <a:pt x="85572" y="275803"/>
                  </a:lnTo>
                  <a:cubicBezTo>
                    <a:pt x="85572" y="276121"/>
                    <a:pt x="85254" y="276439"/>
                    <a:pt x="84299" y="276439"/>
                  </a:cubicBezTo>
                  <a:cubicBezTo>
                    <a:pt x="83981" y="276439"/>
                    <a:pt x="83663" y="277394"/>
                    <a:pt x="83345" y="277075"/>
                  </a:cubicBezTo>
                  <a:lnTo>
                    <a:pt x="83027" y="277394"/>
                  </a:lnTo>
                  <a:cubicBezTo>
                    <a:pt x="83027" y="277712"/>
                    <a:pt x="83027" y="278030"/>
                    <a:pt x="82709" y="278030"/>
                  </a:cubicBezTo>
                  <a:cubicBezTo>
                    <a:pt x="82391" y="278030"/>
                    <a:pt x="81755" y="277712"/>
                    <a:pt x="81755" y="277712"/>
                  </a:cubicBezTo>
                  <a:lnTo>
                    <a:pt x="78892" y="281211"/>
                  </a:lnTo>
                  <a:cubicBezTo>
                    <a:pt x="78892" y="281847"/>
                    <a:pt x="78574" y="281847"/>
                    <a:pt x="78256" y="281847"/>
                  </a:cubicBezTo>
                  <a:lnTo>
                    <a:pt x="75393" y="281847"/>
                  </a:lnTo>
                  <a:cubicBezTo>
                    <a:pt x="75393" y="281211"/>
                    <a:pt x="75074" y="281211"/>
                    <a:pt x="74438" y="281211"/>
                  </a:cubicBezTo>
                  <a:cubicBezTo>
                    <a:pt x="73802" y="281211"/>
                    <a:pt x="72847" y="281529"/>
                    <a:pt x="72211" y="281529"/>
                  </a:cubicBezTo>
                  <a:cubicBezTo>
                    <a:pt x="71575" y="281529"/>
                    <a:pt x="71257" y="281211"/>
                    <a:pt x="70939" y="281211"/>
                  </a:cubicBezTo>
                  <a:cubicBezTo>
                    <a:pt x="70303" y="281529"/>
                    <a:pt x="69985" y="281529"/>
                    <a:pt x="69666" y="281529"/>
                  </a:cubicBezTo>
                  <a:cubicBezTo>
                    <a:pt x="69348" y="281529"/>
                    <a:pt x="69030" y="281529"/>
                    <a:pt x="68712" y="281847"/>
                  </a:cubicBezTo>
                  <a:lnTo>
                    <a:pt x="64259" y="279302"/>
                  </a:lnTo>
                  <a:cubicBezTo>
                    <a:pt x="63622" y="279302"/>
                    <a:pt x="63622" y="279620"/>
                    <a:pt x="63304" y="279620"/>
                  </a:cubicBezTo>
                  <a:cubicBezTo>
                    <a:pt x="62986" y="279938"/>
                    <a:pt x="62668" y="279938"/>
                    <a:pt x="62668" y="279938"/>
                  </a:cubicBezTo>
                  <a:cubicBezTo>
                    <a:pt x="62350" y="279938"/>
                    <a:pt x="62032" y="279938"/>
                    <a:pt x="61714" y="279620"/>
                  </a:cubicBezTo>
                  <a:cubicBezTo>
                    <a:pt x="61077" y="279302"/>
                    <a:pt x="60441" y="278348"/>
                    <a:pt x="59487" y="277712"/>
                  </a:cubicBezTo>
                  <a:cubicBezTo>
                    <a:pt x="58851" y="277712"/>
                    <a:pt x="58851" y="277075"/>
                    <a:pt x="57578" y="277075"/>
                  </a:cubicBezTo>
                  <a:cubicBezTo>
                    <a:pt x="57578" y="276757"/>
                    <a:pt x="57578" y="276439"/>
                    <a:pt x="56942" y="276121"/>
                  </a:cubicBezTo>
                  <a:cubicBezTo>
                    <a:pt x="56624" y="275803"/>
                    <a:pt x="55988" y="275803"/>
                    <a:pt x="55988" y="275167"/>
                  </a:cubicBezTo>
                  <a:cubicBezTo>
                    <a:pt x="55988" y="274212"/>
                    <a:pt x="55033" y="274212"/>
                    <a:pt x="54397" y="274212"/>
                  </a:cubicBezTo>
                  <a:cubicBezTo>
                    <a:pt x="54079" y="274212"/>
                    <a:pt x="54079" y="273894"/>
                    <a:pt x="54079" y="273576"/>
                  </a:cubicBezTo>
                  <a:cubicBezTo>
                    <a:pt x="54079" y="273576"/>
                    <a:pt x="54397" y="273258"/>
                    <a:pt x="54715" y="273258"/>
                  </a:cubicBezTo>
                  <a:lnTo>
                    <a:pt x="55033" y="273258"/>
                  </a:lnTo>
                  <a:lnTo>
                    <a:pt x="54715" y="272940"/>
                  </a:lnTo>
                  <a:lnTo>
                    <a:pt x="54715" y="271986"/>
                  </a:lnTo>
                  <a:cubicBezTo>
                    <a:pt x="54715" y="271667"/>
                    <a:pt x="54715" y="271667"/>
                    <a:pt x="54397" y="271667"/>
                  </a:cubicBezTo>
                  <a:cubicBezTo>
                    <a:pt x="53761" y="271667"/>
                    <a:pt x="53125" y="271349"/>
                    <a:pt x="53125" y="271031"/>
                  </a:cubicBezTo>
                  <a:lnTo>
                    <a:pt x="53443" y="270713"/>
                  </a:lnTo>
                  <a:cubicBezTo>
                    <a:pt x="53761" y="270713"/>
                    <a:pt x="53761" y="270713"/>
                    <a:pt x="53761" y="270395"/>
                  </a:cubicBezTo>
                  <a:lnTo>
                    <a:pt x="53761" y="270077"/>
                  </a:lnTo>
                  <a:cubicBezTo>
                    <a:pt x="53761" y="269759"/>
                    <a:pt x="53443" y="269759"/>
                    <a:pt x="53443" y="269441"/>
                  </a:cubicBezTo>
                  <a:lnTo>
                    <a:pt x="53125" y="269123"/>
                  </a:lnTo>
                  <a:cubicBezTo>
                    <a:pt x="53443" y="268805"/>
                    <a:pt x="53443" y="268486"/>
                    <a:pt x="53443" y="268168"/>
                  </a:cubicBezTo>
                  <a:cubicBezTo>
                    <a:pt x="53443" y="267850"/>
                    <a:pt x="53443" y="267532"/>
                    <a:pt x="52806" y="267532"/>
                  </a:cubicBezTo>
                  <a:lnTo>
                    <a:pt x="52806" y="267214"/>
                  </a:lnTo>
                  <a:cubicBezTo>
                    <a:pt x="52488" y="266896"/>
                    <a:pt x="52488" y="266578"/>
                    <a:pt x="52488" y="266260"/>
                  </a:cubicBezTo>
                  <a:cubicBezTo>
                    <a:pt x="52488" y="265623"/>
                    <a:pt x="52170" y="264987"/>
                    <a:pt x="52170" y="264669"/>
                  </a:cubicBezTo>
                  <a:cubicBezTo>
                    <a:pt x="51852" y="264033"/>
                    <a:pt x="51852" y="264033"/>
                    <a:pt x="51852" y="263397"/>
                  </a:cubicBezTo>
                  <a:cubicBezTo>
                    <a:pt x="51534" y="263397"/>
                    <a:pt x="50898" y="263078"/>
                    <a:pt x="50580" y="263078"/>
                  </a:cubicBezTo>
                  <a:lnTo>
                    <a:pt x="49944" y="263078"/>
                  </a:lnTo>
                  <a:cubicBezTo>
                    <a:pt x="49944" y="263078"/>
                    <a:pt x="49625" y="263078"/>
                    <a:pt x="49307" y="262760"/>
                  </a:cubicBezTo>
                  <a:lnTo>
                    <a:pt x="49307" y="261806"/>
                  </a:lnTo>
                  <a:lnTo>
                    <a:pt x="49625" y="261488"/>
                  </a:lnTo>
                  <a:cubicBezTo>
                    <a:pt x="49625" y="260852"/>
                    <a:pt x="50262" y="260852"/>
                    <a:pt x="50262" y="260534"/>
                  </a:cubicBezTo>
                  <a:lnTo>
                    <a:pt x="50262" y="259579"/>
                  </a:lnTo>
                  <a:cubicBezTo>
                    <a:pt x="50262" y="258307"/>
                    <a:pt x="49944" y="257671"/>
                    <a:pt x="49944" y="257034"/>
                  </a:cubicBezTo>
                  <a:cubicBezTo>
                    <a:pt x="49944" y="256716"/>
                    <a:pt x="49307" y="256398"/>
                    <a:pt x="49307" y="255762"/>
                  </a:cubicBezTo>
                  <a:lnTo>
                    <a:pt x="49307" y="255444"/>
                  </a:lnTo>
                  <a:cubicBezTo>
                    <a:pt x="49307" y="255126"/>
                    <a:pt x="48989" y="255126"/>
                    <a:pt x="48989" y="255126"/>
                  </a:cubicBezTo>
                  <a:lnTo>
                    <a:pt x="48989" y="255444"/>
                  </a:lnTo>
                  <a:lnTo>
                    <a:pt x="48353" y="255444"/>
                  </a:lnTo>
                  <a:lnTo>
                    <a:pt x="48353" y="254489"/>
                  </a:lnTo>
                  <a:cubicBezTo>
                    <a:pt x="48353" y="254171"/>
                    <a:pt x="48353" y="254171"/>
                    <a:pt x="48035" y="253853"/>
                  </a:cubicBezTo>
                  <a:cubicBezTo>
                    <a:pt x="47717" y="253853"/>
                    <a:pt x="47717" y="253853"/>
                    <a:pt x="47717" y="253535"/>
                  </a:cubicBezTo>
                  <a:lnTo>
                    <a:pt x="48671" y="252581"/>
                  </a:lnTo>
                  <a:cubicBezTo>
                    <a:pt x="48671" y="252581"/>
                    <a:pt x="48353" y="251945"/>
                    <a:pt x="48353" y="251626"/>
                  </a:cubicBezTo>
                  <a:cubicBezTo>
                    <a:pt x="47717" y="251626"/>
                    <a:pt x="47717" y="251308"/>
                    <a:pt x="47717" y="251308"/>
                  </a:cubicBezTo>
                  <a:lnTo>
                    <a:pt x="47717" y="249082"/>
                  </a:lnTo>
                  <a:cubicBezTo>
                    <a:pt x="47717" y="248445"/>
                    <a:pt x="47717" y="247809"/>
                    <a:pt x="48035" y="246855"/>
                  </a:cubicBezTo>
                  <a:lnTo>
                    <a:pt x="48671" y="246855"/>
                  </a:lnTo>
                  <a:cubicBezTo>
                    <a:pt x="48989" y="246855"/>
                    <a:pt x="49307" y="246855"/>
                    <a:pt x="49307" y="246219"/>
                  </a:cubicBezTo>
                  <a:cubicBezTo>
                    <a:pt x="48989" y="245582"/>
                    <a:pt x="48989" y="245264"/>
                    <a:pt x="48989" y="244310"/>
                  </a:cubicBezTo>
                  <a:cubicBezTo>
                    <a:pt x="48989" y="243992"/>
                    <a:pt x="48671" y="243992"/>
                    <a:pt x="48671" y="243674"/>
                  </a:cubicBezTo>
                  <a:cubicBezTo>
                    <a:pt x="48353" y="243674"/>
                    <a:pt x="48671" y="243356"/>
                    <a:pt x="48671" y="243037"/>
                  </a:cubicBezTo>
                  <a:cubicBezTo>
                    <a:pt x="48989" y="242719"/>
                    <a:pt x="48989" y="242083"/>
                    <a:pt x="48989" y="241765"/>
                  </a:cubicBezTo>
                  <a:cubicBezTo>
                    <a:pt x="48989" y="241447"/>
                    <a:pt x="48989" y="241129"/>
                    <a:pt x="48671" y="240174"/>
                  </a:cubicBezTo>
                  <a:lnTo>
                    <a:pt x="48989" y="239856"/>
                  </a:lnTo>
                  <a:cubicBezTo>
                    <a:pt x="48353" y="239538"/>
                    <a:pt x="47399" y="238902"/>
                    <a:pt x="47399" y="238266"/>
                  </a:cubicBezTo>
                  <a:cubicBezTo>
                    <a:pt x="47399" y="237948"/>
                    <a:pt x="47717" y="237948"/>
                    <a:pt x="47717" y="237630"/>
                  </a:cubicBezTo>
                  <a:cubicBezTo>
                    <a:pt x="47717" y="237630"/>
                    <a:pt x="46762" y="237311"/>
                    <a:pt x="46762" y="236993"/>
                  </a:cubicBezTo>
                  <a:cubicBezTo>
                    <a:pt x="46762" y="236993"/>
                    <a:pt x="46762" y="236675"/>
                    <a:pt x="47081" y="236675"/>
                  </a:cubicBezTo>
                  <a:cubicBezTo>
                    <a:pt x="48671" y="236039"/>
                    <a:pt x="48671" y="236039"/>
                    <a:pt x="48671" y="235403"/>
                  </a:cubicBezTo>
                  <a:cubicBezTo>
                    <a:pt x="48671" y="234448"/>
                    <a:pt x="48671" y="233812"/>
                    <a:pt x="47717" y="233494"/>
                  </a:cubicBezTo>
                  <a:lnTo>
                    <a:pt x="47399" y="233176"/>
                  </a:lnTo>
                  <a:cubicBezTo>
                    <a:pt x="47399" y="233176"/>
                    <a:pt x="47399" y="232858"/>
                    <a:pt x="47717" y="232540"/>
                  </a:cubicBezTo>
                  <a:lnTo>
                    <a:pt x="47081" y="232222"/>
                  </a:lnTo>
                  <a:lnTo>
                    <a:pt x="47081" y="231585"/>
                  </a:lnTo>
                  <a:cubicBezTo>
                    <a:pt x="46762" y="230631"/>
                    <a:pt x="46762" y="229677"/>
                    <a:pt x="46762" y="229041"/>
                  </a:cubicBezTo>
                  <a:lnTo>
                    <a:pt x="46762" y="226814"/>
                  </a:lnTo>
                  <a:cubicBezTo>
                    <a:pt x="46762" y="225859"/>
                    <a:pt x="46762" y="225859"/>
                    <a:pt x="47081" y="225541"/>
                  </a:cubicBezTo>
                  <a:cubicBezTo>
                    <a:pt x="47717" y="225541"/>
                    <a:pt x="48035" y="225541"/>
                    <a:pt x="48353" y="225223"/>
                  </a:cubicBezTo>
                  <a:cubicBezTo>
                    <a:pt x="48353" y="224905"/>
                    <a:pt x="48035" y="224587"/>
                    <a:pt x="47399" y="223951"/>
                  </a:cubicBezTo>
                  <a:cubicBezTo>
                    <a:pt x="47081" y="223951"/>
                    <a:pt x="47081" y="223314"/>
                    <a:pt x="47081" y="223314"/>
                  </a:cubicBezTo>
                  <a:cubicBezTo>
                    <a:pt x="47717" y="222996"/>
                    <a:pt x="48035" y="222678"/>
                    <a:pt x="48035" y="222042"/>
                  </a:cubicBezTo>
                  <a:cubicBezTo>
                    <a:pt x="48035" y="221724"/>
                    <a:pt x="47717" y="221088"/>
                    <a:pt x="47717" y="220770"/>
                  </a:cubicBezTo>
                  <a:lnTo>
                    <a:pt x="47717" y="218861"/>
                  </a:lnTo>
                  <a:cubicBezTo>
                    <a:pt x="48035" y="217907"/>
                    <a:pt x="48671" y="217270"/>
                    <a:pt x="48989" y="216952"/>
                  </a:cubicBezTo>
                  <a:lnTo>
                    <a:pt x="48671" y="216634"/>
                  </a:lnTo>
                  <a:lnTo>
                    <a:pt x="48671" y="215044"/>
                  </a:lnTo>
                  <a:cubicBezTo>
                    <a:pt x="48353" y="215044"/>
                    <a:pt x="48353" y="214725"/>
                    <a:pt x="48353" y="214725"/>
                  </a:cubicBezTo>
                  <a:cubicBezTo>
                    <a:pt x="48353" y="214725"/>
                    <a:pt x="48353" y="214407"/>
                    <a:pt x="48671" y="214089"/>
                  </a:cubicBezTo>
                  <a:cubicBezTo>
                    <a:pt x="49307" y="213771"/>
                    <a:pt x="49307" y="213135"/>
                    <a:pt x="49625" y="213135"/>
                  </a:cubicBezTo>
                  <a:cubicBezTo>
                    <a:pt x="49307" y="212499"/>
                    <a:pt x="49307" y="211862"/>
                    <a:pt x="49307" y="211226"/>
                  </a:cubicBezTo>
                  <a:cubicBezTo>
                    <a:pt x="49307" y="210908"/>
                    <a:pt x="49625" y="210590"/>
                    <a:pt x="49625" y="210272"/>
                  </a:cubicBezTo>
                  <a:cubicBezTo>
                    <a:pt x="49625" y="209954"/>
                    <a:pt x="49307" y="209636"/>
                    <a:pt x="49307" y="208999"/>
                  </a:cubicBezTo>
                  <a:lnTo>
                    <a:pt x="49307" y="208363"/>
                  </a:lnTo>
                  <a:cubicBezTo>
                    <a:pt x="49307" y="208363"/>
                    <a:pt x="49307" y="207727"/>
                    <a:pt x="50262" y="207091"/>
                  </a:cubicBezTo>
                  <a:lnTo>
                    <a:pt x="50262" y="203592"/>
                  </a:lnTo>
                  <a:lnTo>
                    <a:pt x="50580" y="203273"/>
                  </a:lnTo>
                  <a:cubicBezTo>
                    <a:pt x="49944" y="202955"/>
                    <a:pt x="49944" y="202319"/>
                    <a:pt x="49944" y="202001"/>
                  </a:cubicBezTo>
                  <a:lnTo>
                    <a:pt x="49944" y="201365"/>
                  </a:lnTo>
                  <a:cubicBezTo>
                    <a:pt x="49944" y="200729"/>
                    <a:pt x="49944" y="200410"/>
                    <a:pt x="50898" y="199774"/>
                  </a:cubicBezTo>
                  <a:cubicBezTo>
                    <a:pt x="50898" y="199774"/>
                    <a:pt x="50898" y="198820"/>
                    <a:pt x="50580" y="198820"/>
                  </a:cubicBezTo>
                  <a:cubicBezTo>
                    <a:pt x="50262" y="198502"/>
                    <a:pt x="50262" y="198502"/>
                    <a:pt x="50262" y="198184"/>
                  </a:cubicBezTo>
                  <a:cubicBezTo>
                    <a:pt x="50262" y="198184"/>
                    <a:pt x="50262" y="197866"/>
                    <a:pt x="50580" y="197866"/>
                  </a:cubicBezTo>
                  <a:cubicBezTo>
                    <a:pt x="50580" y="197866"/>
                    <a:pt x="50898" y="197866"/>
                    <a:pt x="50898" y="197547"/>
                  </a:cubicBezTo>
                  <a:cubicBezTo>
                    <a:pt x="50580" y="197229"/>
                    <a:pt x="50262" y="197229"/>
                    <a:pt x="50262" y="196911"/>
                  </a:cubicBezTo>
                  <a:cubicBezTo>
                    <a:pt x="49625" y="196593"/>
                    <a:pt x="49625" y="196275"/>
                    <a:pt x="49625" y="195957"/>
                  </a:cubicBezTo>
                  <a:lnTo>
                    <a:pt x="49625" y="194366"/>
                  </a:lnTo>
                  <a:cubicBezTo>
                    <a:pt x="49944" y="194048"/>
                    <a:pt x="49944" y="193412"/>
                    <a:pt x="49944" y="192776"/>
                  </a:cubicBezTo>
                  <a:cubicBezTo>
                    <a:pt x="50262" y="192458"/>
                    <a:pt x="50262" y="192458"/>
                    <a:pt x="50262" y="192140"/>
                  </a:cubicBezTo>
                  <a:cubicBezTo>
                    <a:pt x="50262" y="191821"/>
                    <a:pt x="49944" y="191503"/>
                    <a:pt x="49944" y="191185"/>
                  </a:cubicBezTo>
                  <a:cubicBezTo>
                    <a:pt x="49944" y="190867"/>
                    <a:pt x="50262" y="190549"/>
                    <a:pt x="50898" y="190231"/>
                  </a:cubicBezTo>
                  <a:cubicBezTo>
                    <a:pt x="51216" y="190231"/>
                    <a:pt x="51216" y="190231"/>
                    <a:pt x="51216" y="189913"/>
                  </a:cubicBezTo>
                  <a:lnTo>
                    <a:pt x="51216" y="188640"/>
                  </a:lnTo>
                  <a:cubicBezTo>
                    <a:pt x="51216" y="188640"/>
                    <a:pt x="50898" y="188640"/>
                    <a:pt x="50898" y="188322"/>
                  </a:cubicBezTo>
                  <a:lnTo>
                    <a:pt x="51216" y="188004"/>
                  </a:lnTo>
                  <a:cubicBezTo>
                    <a:pt x="51216" y="188004"/>
                    <a:pt x="52170" y="187050"/>
                    <a:pt x="52170" y="186414"/>
                  </a:cubicBezTo>
                  <a:cubicBezTo>
                    <a:pt x="51534" y="185777"/>
                    <a:pt x="51216" y="185141"/>
                    <a:pt x="51216" y="184823"/>
                  </a:cubicBezTo>
                  <a:cubicBezTo>
                    <a:pt x="51216" y="184505"/>
                    <a:pt x="51216" y="184187"/>
                    <a:pt x="51852" y="183551"/>
                  </a:cubicBezTo>
                  <a:lnTo>
                    <a:pt x="51852" y="182914"/>
                  </a:lnTo>
                  <a:cubicBezTo>
                    <a:pt x="51852" y="182596"/>
                    <a:pt x="51852" y="182278"/>
                    <a:pt x="52488" y="181960"/>
                  </a:cubicBezTo>
                  <a:cubicBezTo>
                    <a:pt x="52806" y="181642"/>
                    <a:pt x="52806" y="181006"/>
                    <a:pt x="52806" y="180369"/>
                  </a:cubicBezTo>
                  <a:lnTo>
                    <a:pt x="52806" y="179415"/>
                  </a:lnTo>
                  <a:cubicBezTo>
                    <a:pt x="53125" y="179415"/>
                    <a:pt x="52806" y="179097"/>
                    <a:pt x="52806" y="179097"/>
                  </a:cubicBezTo>
                  <a:lnTo>
                    <a:pt x="52488" y="179097"/>
                  </a:lnTo>
                  <a:lnTo>
                    <a:pt x="52488" y="178143"/>
                  </a:lnTo>
                  <a:lnTo>
                    <a:pt x="52806" y="177824"/>
                  </a:lnTo>
                  <a:cubicBezTo>
                    <a:pt x="53761" y="177188"/>
                    <a:pt x="54079" y="176870"/>
                    <a:pt x="54079" y="176234"/>
                  </a:cubicBezTo>
                  <a:cubicBezTo>
                    <a:pt x="53761" y="175916"/>
                    <a:pt x="53761" y="175598"/>
                    <a:pt x="53761" y="175280"/>
                  </a:cubicBezTo>
                  <a:cubicBezTo>
                    <a:pt x="53761" y="174962"/>
                    <a:pt x="54079" y="174325"/>
                    <a:pt x="54397" y="174007"/>
                  </a:cubicBezTo>
                  <a:lnTo>
                    <a:pt x="54397" y="173689"/>
                  </a:lnTo>
                  <a:cubicBezTo>
                    <a:pt x="54079" y="173371"/>
                    <a:pt x="53761" y="172735"/>
                    <a:pt x="53761" y="172417"/>
                  </a:cubicBezTo>
                  <a:lnTo>
                    <a:pt x="53761" y="171144"/>
                  </a:lnTo>
                  <a:cubicBezTo>
                    <a:pt x="53761" y="170826"/>
                    <a:pt x="53761" y="170826"/>
                    <a:pt x="54079" y="170508"/>
                  </a:cubicBezTo>
                  <a:cubicBezTo>
                    <a:pt x="54079" y="170190"/>
                    <a:pt x="54397" y="170190"/>
                    <a:pt x="54397" y="170190"/>
                  </a:cubicBezTo>
                  <a:lnTo>
                    <a:pt x="54715" y="170190"/>
                  </a:lnTo>
                  <a:cubicBezTo>
                    <a:pt x="54715" y="170190"/>
                    <a:pt x="55033" y="170190"/>
                    <a:pt x="55033" y="169872"/>
                  </a:cubicBezTo>
                  <a:cubicBezTo>
                    <a:pt x="55033" y="169872"/>
                    <a:pt x="54715" y="169554"/>
                    <a:pt x="54715" y="169235"/>
                  </a:cubicBezTo>
                  <a:cubicBezTo>
                    <a:pt x="54715" y="169235"/>
                    <a:pt x="54397" y="168917"/>
                    <a:pt x="54397" y="168599"/>
                  </a:cubicBezTo>
                  <a:lnTo>
                    <a:pt x="54397" y="168281"/>
                  </a:lnTo>
                  <a:cubicBezTo>
                    <a:pt x="55033" y="167963"/>
                    <a:pt x="55033" y="167327"/>
                    <a:pt x="55033" y="167009"/>
                  </a:cubicBezTo>
                  <a:lnTo>
                    <a:pt x="55033" y="166691"/>
                  </a:lnTo>
                  <a:cubicBezTo>
                    <a:pt x="55351" y="166372"/>
                    <a:pt x="55351" y="166054"/>
                    <a:pt x="55351" y="166054"/>
                  </a:cubicBezTo>
                  <a:cubicBezTo>
                    <a:pt x="55351" y="165736"/>
                    <a:pt x="55033" y="165736"/>
                    <a:pt x="55033" y="165100"/>
                  </a:cubicBezTo>
                  <a:cubicBezTo>
                    <a:pt x="54715" y="164782"/>
                    <a:pt x="54397" y="164464"/>
                    <a:pt x="54397" y="164146"/>
                  </a:cubicBezTo>
                  <a:cubicBezTo>
                    <a:pt x="54397" y="163828"/>
                    <a:pt x="54715" y="163828"/>
                    <a:pt x="55033" y="163509"/>
                  </a:cubicBezTo>
                  <a:cubicBezTo>
                    <a:pt x="56942" y="163191"/>
                    <a:pt x="56942" y="162555"/>
                    <a:pt x="57260" y="161601"/>
                  </a:cubicBezTo>
                  <a:lnTo>
                    <a:pt x="57260" y="160646"/>
                  </a:lnTo>
                  <a:cubicBezTo>
                    <a:pt x="56942" y="160328"/>
                    <a:pt x="56942" y="159692"/>
                    <a:pt x="56942" y="159374"/>
                  </a:cubicBezTo>
                  <a:lnTo>
                    <a:pt x="56942" y="158102"/>
                  </a:lnTo>
                  <a:cubicBezTo>
                    <a:pt x="57260" y="157465"/>
                    <a:pt x="57260" y="156193"/>
                    <a:pt x="57578" y="155239"/>
                  </a:cubicBezTo>
                  <a:cubicBezTo>
                    <a:pt x="57578" y="154920"/>
                    <a:pt x="57260" y="154602"/>
                    <a:pt x="57260" y="154284"/>
                  </a:cubicBezTo>
                  <a:cubicBezTo>
                    <a:pt x="57260" y="153966"/>
                    <a:pt x="57260" y="153648"/>
                    <a:pt x="57578" y="153330"/>
                  </a:cubicBezTo>
                  <a:cubicBezTo>
                    <a:pt x="57578" y="153012"/>
                    <a:pt x="57896" y="152376"/>
                    <a:pt x="57896" y="152057"/>
                  </a:cubicBezTo>
                  <a:lnTo>
                    <a:pt x="57896" y="149831"/>
                  </a:lnTo>
                  <a:cubicBezTo>
                    <a:pt x="58532" y="149831"/>
                    <a:pt x="58532" y="149513"/>
                    <a:pt x="58532" y="149513"/>
                  </a:cubicBezTo>
                  <a:lnTo>
                    <a:pt x="58532" y="147922"/>
                  </a:lnTo>
                  <a:cubicBezTo>
                    <a:pt x="58851" y="147286"/>
                    <a:pt x="58851" y="146968"/>
                    <a:pt x="58851" y="146331"/>
                  </a:cubicBezTo>
                  <a:lnTo>
                    <a:pt x="58214" y="146013"/>
                  </a:lnTo>
                  <a:cubicBezTo>
                    <a:pt x="58214" y="145695"/>
                    <a:pt x="58851" y="145059"/>
                    <a:pt x="59169" y="144423"/>
                  </a:cubicBezTo>
                  <a:cubicBezTo>
                    <a:pt x="59169" y="144423"/>
                    <a:pt x="59487" y="144105"/>
                    <a:pt x="59487" y="143787"/>
                  </a:cubicBezTo>
                  <a:cubicBezTo>
                    <a:pt x="59487" y="143468"/>
                    <a:pt x="59169" y="143150"/>
                    <a:pt x="59169" y="142514"/>
                  </a:cubicBezTo>
                  <a:cubicBezTo>
                    <a:pt x="59169" y="142514"/>
                    <a:pt x="59169" y="141878"/>
                    <a:pt x="60123" y="141242"/>
                  </a:cubicBezTo>
                  <a:cubicBezTo>
                    <a:pt x="60441" y="141242"/>
                    <a:pt x="60441" y="140924"/>
                    <a:pt x="60441" y="140605"/>
                  </a:cubicBezTo>
                  <a:cubicBezTo>
                    <a:pt x="60441" y="140287"/>
                    <a:pt x="60441" y="139969"/>
                    <a:pt x="60123" y="139333"/>
                  </a:cubicBezTo>
                  <a:cubicBezTo>
                    <a:pt x="61077" y="139015"/>
                    <a:pt x="60441" y="138379"/>
                    <a:pt x="61396" y="137742"/>
                  </a:cubicBezTo>
                  <a:cubicBezTo>
                    <a:pt x="61714" y="137742"/>
                    <a:pt x="61396" y="137424"/>
                    <a:pt x="61077" y="137106"/>
                  </a:cubicBezTo>
                  <a:cubicBezTo>
                    <a:pt x="61077" y="137106"/>
                    <a:pt x="61396" y="136152"/>
                    <a:pt x="61396" y="135516"/>
                  </a:cubicBezTo>
                  <a:cubicBezTo>
                    <a:pt x="61396" y="135516"/>
                    <a:pt x="61396" y="135198"/>
                    <a:pt x="61714" y="134561"/>
                  </a:cubicBezTo>
                  <a:cubicBezTo>
                    <a:pt x="62350" y="134243"/>
                    <a:pt x="62350" y="133925"/>
                    <a:pt x="62668" y="133607"/>
                  </a:cubicBezTo>
                  <a:lnTo>
                    <a:pt x="62668" y="131062"/>
                  </a:lnTo>
                  <a:cubicBezTo>
                    <a:pt x="62668" y="130744"/>
                    <a:pt x="61714" y="130426"/>
                    <a:pt x="61714" y="130108"/>
                  </a:cubicBezTo>
                  <a:cubicBezTo>
                    <a:pt x="61714" y="129790"/>
                    <a:pt x="62032" y="129472"/>
                    <a:pt x="62350" y="128835"/>
                  </a:cubicBezTo>
                  <a:cubicBezTo>
                    <a:pt x="62668" y="128517"/>
                    <a:pt x="62350" y="127563"/>
                    <a:pt x="63622" y="126927"/>
                  </a:cubicBezTo>
                  <a:lnTo>
                    <a:pt x="63622" y="125018"/>
                  </a:lnTo>
                  <a:cubicBezTo>
                    <a:pt x="64259" y="124700"/>
                    <a:pt x="64259" y="124700"/>
                    <a:pt x="64259" y="124382"/>
                  </a:cubicBezTo>
                  <a:lnTo>
                    <a:pt x="64259" y="123745"/>
                  </a:lnTo>
                  <a:lnTo>
                    <a:pt x="64577" y="123427"/>
                  </a:lnTo>
                  <a:lnTo>
                    <a:pt x="64577" y="123109"/>
                  </a:lnTo>
                  <a:cubicBezTo>
                    <a:pt x="64577" y="122473"/>
                    <a:pt x="65213" y="122155"/>
                    <a:pt x="65213" y="121519"/>
                  </a:cubicBezTo>
                  <a:lnTo>
                    <a:pt x="65213" y="118974"/>
                  </a:lnTo>
                  <a:cubicBezTo>
                    <a:pt x="65531" y="118974"/>
                    <a:pt x="65531" y="118656"/>
                    <a:pt x="65531" y="118338"/>
                  </a:cubicBezTo>
                  <a:lnTo>
                    <a:pt x="65531" y="116747"/>
                  </a:lnTo>
                  <a:cubicBezTo>
                    <a:pt x="65531" y="116429"/>
                    <a:pt x="66485" y="115475"/>
                    <a:pt x="66485" y="114838"/>
                  </a:cubicBezTo>
                  <a:cubicBezTo>
                    <a:pt x="66485" y="114520"/>
                    <a:pt x="66485" y="114520"/>
                    <a:pt x="66167" y="114202"/>
                  </a:cubicBezTo>
                  <a:cubicBezTo>
                    <a:pt x="66803" y="113566"/>
                    <a:pt x="67122" y="112930"/>
                    <a:pt x="67122" y="112612"/>
                  </a:cubicBezTo>
                  <a:cubicBezTo>
                    <a:pt x="67122" y="112293"/>
                    <a:pt x="66803" y="112293"/>
                    <a:pt x="66803" y="111975"/>
                  </a:cubicBezTo>
                  <a:lnTo>
                    <a:pt x="66803" y="111339"/>
                  </a:lnTo>
                  <a:cubicBezTo>
                    <a:pt x="66803" y="110703"/>
                    <a:pt x="67122" y="109749"/>
                    <a:pt x="67440" y="109112"/>
                  </a:cubicBezTo>
                  <a:cubicBezTo>
                    <a:pt x="67758" y="108794"/>
                    <a:pt x="67758" y="108794"/>
                    <a:pt x="67758" y="108476"/>
                  </a:cubicBezTo>
                  <a:cubicBezTo>
                    <a:pt x="67758" y="107840"/>
                    <a:pt x="73166" y="88435"/>
                    <a:pt x="72847" y="87799"/>
                  </a:cubicBezTo>
                  <a:cubicBezTo>
                    <a:pt x="73166" y="86845"/>
                    <a:pt x="74120" y="86845"/>
                    <a:pt x="74120" y="86526"/>
                  </a:cubicBezTo>
                  <a:lnTo>
                    <a:pt x="74120" y="86208"/>
                  </a:lnTo>
                  <a:cubicBezTo>
                    <a:pt x="74120" y="85572"/>
                    <a:pt x="73802" y="84936"/>
                    <a:pt x="73484" y="84618"/>
                  </a:cubicBezTo>
                  <a:cubicBezTo>
                    <a:pt x="72847" y="84618"/>
                    <a:pt x="72847" y="84300"/>
                    <a:pt x="72847" y="83982"/>
                  </a:cubicBezTo>
                  <a:cubicBezTo>
                    <a:pt x="72847" y="83663"/>
                    <a:pt x="73802" y="83663"/>
                    <a:pt x="74120" y="83663"/>
                  </a:cubicBezTo>
                  <a:cubicBezTo>
                    <a:pt x="75074" y="83663"/>
                    <a:pt x="75393" y="83027"/>
                    <a:pt x="75393" y="82391"/>
                  </a:cubicBezTo>
                  <a:cubicBezTo>
                    <a:pt x="75074" y="81755"/>
                    <a:pt x="75074" y="81437"/>
                    <a:pt x="75074" y="81119"/>
                  </a:cubicBezTo>
                  <a:cubicBezTo>
                    <a:pt x="75074" y="80800"/>
                    <a:pt x="75711" y="80482"/>
                    <a:pt x="75711" y="80164"/>
                  </a:cubicBezTo>
                  <a:cubicBezTo>
                    <a:pt x="79528" y="67122"/>
                    <a:pt x="78574" y="71257"/>
                    <a:pt x="79846" y="66167"/>
                  </a:cubicBezTo>
                  <a:lnTo>
                    <a:pt x="77937" y="66167"/>
                  </a:lnTo>
                  <a:cubicBezTo>
                    <a:pt x="77619" y="66167"/>
                    <a:pt x="76983" y="66803"/>
                    <a:pt x="76665" y="66803"/>
                  </a:cubicBezTo>
                  <a:cubicBezTo>
                    <a:pt x="74756" y="67122"/>
                    <a:pt x="73484" y="67122"/>
                    <a:pt x="71257" y="68394"/>
                  </a:cubicBezTo>
                  <a:lnTo>
                    <a:pt x="70621" y="68394"/>
                  </a:lnTo>
                  <a:cubicBezTo>
                    <a:pt x="69666" y="68394"/>
                    <a:pt x="69348" y="67758"/>
                    <a:pt x="69030" y="67440"/>
                  </a:cubicBezTo>
                  <a:lnTo>
                    <a:pt x="68076" y="67440"/>
                  </a:lnTo>
                  <a:cubicBezTo>
                    <a:pt x="67440" y="67440"/>
                    <a:pt x="66803" y="67440"/>
                    <a:pt x="66485" y="67758"/>
                  </a:cubicBezTo>
                  <a:cubicBezTo>
                    <a:pt x="66167" y="68394"/>
                    <a:pt x="65531" y="68712"/>
                    <a:pt x="65531" y="68712"/>
                  </a:cubicBezTo>
                  <a:lnTo>
                    <a:pt x="63940" y="68712"/>
                  </a:lnTo>
                  <a:cubicBezTo>
                    <a:pt x="63304" y="68712"/>
                    <a:pt x="63304" y="68712"/>
                    <a:pt x="62668" y="69030"/>
                  </a:cubicBezTo>
                  <a:cubicBezTo>
                    <a:pt x="62350" y="69666"/>
                    <a:pt x="61714" y="69666"/>
                    <a:pt x="61714" y="69666"/>
                  </a:cubicBezTo>
                  <a:lnTo>
                    <a:pt x="61077" y="69666"/>
                  </a:lnTo>
                  <a:cubicBezTo>
                    <a:pt x="60123" y="69666"/>
                    <a:pt x="58851" y="69985"/>
                    <a:pt x="57578" y="70621"/>
                  </a:cubicBezTo>
                  <a:lnTo>
                    <a:pt x="53443" y="71257"/>
                  </a:lnTo>
                  <a:lnTo>
                    <a:pt x="52488" y="71257"/>
                  </a:lnTo>
                  <a:cubicBezTo>
                    <a:pt x="51216" y="71575"/>
                    <a:pt x="50898" y="71893"/>
                    <a:pt x="50898" y="71893"/>
                  </a:cubicBezTo>
                  <a:cubicBezTo>
                    <a:pt x="50580" y="72211"/>
                    <a:pt x="50580" y="72211"/>
                    <a:pt x="50262" y="72211"/>
                  </a:cubicBezTo>
                  <a:cubicBezTo>
                    <a:pt x="49944" y="72211"/>
                    <a:pt x="49944" y="72211"/>
                    <a:pt x="49944" y="71893"/>
                  </a:cubicBezTo>
                  <a:lnTo>
                    <a:pt x="49944" y="71575"/>
                  </a:lnTo>
                  <a:lnTo>
                    <a:pt x="50262" y="71257"/>
                  </a:lnTo>
                  <a:lnTo>
                    <a:pt x="49944" y="71257"/>
                  </a:lnTo>
                  <a:lnTo>
                    <a:pt x="49944" y="70621"/>
                  </a:lnTo>
                  <a:cubicBezTo>
                    <a:pt x="49625" y="70621"/>
                    <a:pt x="48989" y="70939"/>
                    <a:pt x="48989" y="70939"/>
                  </a:cubicBezTo>
                  <a:lnTo>
                    <a:pt x="48989" y="71257"/>
                  </a:lnTo>
                  <a:cubicBezTo>
                    <a:pt x="48989" y="71257"/>
                    <a:pt x="49625" y="71257"/>
                    <a:pt x="49625" y="71575"/>
                  </a:cubicBezTo>
                  <a:cubicBezTo>
                    <a:pt x="49307" y="71893"/>
                    <a:pt x="48989" y="72529"/>
                    <a:pt x="48353" y="72529"/>
                  </a:cubicBezTo>
                  <a:lnTo>
                    <a:pt x="48035" y="72529"/>
                  </a:lnTo>
                  <a:lnTo>
                    <a:pt x="47717" y="72848"/>
                  </a:lnTo>
                  <a:lnTo>
                    <a:pt x="47399" y="72848"/>
                  </a:lnTo>
                  <a:cubicBezTo>
                    <a:pt x="47081" y="72848"/>
                    <a:pt x="46762" y="72529"/>
                    <a:pt x="46762" y="72529"/>
                  </a:cubicBezTo>
                  <a:lnTo>
                    <a:pt x="47081" y="72211"/>
                  </a:lnTo>
                  <a:lnTo>
                    <a:pt x="46762" y="72211"/>
                  </a:lnTo>
                  <a:cubicBezTo>
                    <a:pt x="46444" y="72211"/>
                    <a:pt x="46126" y="71893"/>
                    <a:pt x="46126" y="71893"/>
                  </a:cubicBezTo>
                  <a:lnTo>
                    <a:pt x="46126" y="72211"/>
                  </a:lnTo>
                  <a:cubicBezTo>
                    <a:pt x="45490" y="72529"/>
                    <a:pt x="45490" y="73166"/>
                    <a:pt x="44854" y="73802"/>
                  </a:cubicBezTo>
                  <a:cubicBezTo>
                    <a:pt x="44536" y="74120"/>
                    <a:pt x="44217" y="74120"/>
                    <a:pt x="43899" y="74120"/>
                  </a:cubicBezTo>
                  <a:cubicBezTo>
                    <a:pt x="43263" y="73802"/>
                    <a:pt x="43581" y="73166"/>
                    <a:pt x="43263" y="73166"/>
                  </a:cubicBezTo>
                  <a:cubicBezTo>
                    <a:pt x="42945" y="73166"/>
                    <a:pt x="41991" y="73802"/>
                    <a:pt x="41355" y="74120"/>
                  </a:cubicBezTo>
                  <a:lnTo>
                    <a:pt x="38491" y="74756"/>
                  </a:lnTo>
                  <a:lnTo>
                    <a:pt x="37219" y="74756"/>
                  </a:lnTo>
                  <a:cubicBezTo>
                    <a:pt x="37219" y="75393"/>
                    <a:pt x="36901" y="75393"/>
                    <a:pt x="36583" y="75393"/>
                  </a:cubicBezTo>
                  <a:cubicBezTo>
                    <a:pt x="36265" y="75393"/>
                    <a:pt x="35947" y="75393"/>
                    <a:pt x="35947" y="75074"/>
                  </a:cubicBezTo>
                  <a:cubicBezTo>
                    <a:pt x="35310" y="75074"/>
                    <a:pt x="34674" y="75393"/>
                    <a:pt x="34356" y="75711"/>
                  </a:cubicBezTo>
                  <a:cubicBezTo>
                    <a:pt x="32765" y="76029"/>
                    <a:pt x="31811" y="76665"/>
                    <a:pt x="30539" y="76665"/>
                  </a:cubicBezTo>
                  <a:lnTo>
                    <a:pt x="29902" y="76665"/>
                  </a:lnTo>
                  <a:cubicBezTo>
                    <a:pt x="28948" y="77301"/>
                    <a:pt x="28312" y="77937"/>
                    <a:pt x="28312" y="77937"/>
                  </a:cubicBezTo>
                  <a:lnTo>
                    <a:pt x="26403" y="77937"/>
                  </a:lnTo>
                  <a:cubicBezTo>
                    <a:pt x="26085" y="77937"/>
                    <a:pt x="25767" y="77937"/>
                    <a:pt x="25449" y="77619"/>
                  </a:cubicBezTo>
                  <a:cubicBezTo>
                    <a:pt x="24813" y="77619"/>
                    <a:pt x="24495" y="77937"/>
                    <a:pt x="24495" y="77937"/>
                  </a:cubicBezTo>
                  <a:cubicBezTo>
                    <a:pt x="23858" y="78574"/>
                    <a:pt x="22904" y="78256"/>
                    <a:pt x="22268" y="79528"/>
                  </a:cubicBezTo>
                  <a:cubicBezTo>
                    <a:pt x="21314" y="79846"/>
                    <a:pt x="20995" y="79846"/>
                    <a:pt x="20995" y="79846"/>
                  </a:cubicBezTo>
                  <a:cubicBezTo>
                    <a:pt x="20995" y="79528"/>
                    <a:pt x="20995" y="79528"/>
                    <a:pt x="20359" y="79528"/>
                  </a:cubicBezTo>
                  <a:lnTo>
                    <a:pt x="18450" y="79528"/>
                  </a:lnTo>
                  <a:cubicBezTo>
                    <a:pt x="17496" y="79528"/>
                    <a:pt x="16860" y="79846"/>
                    <a:pt x="14951" y="81437"/>
                  </a:cubicBezTo>
                  <a:lnTo>
                    <a:pt x="12406" y="81437"/>
                  </a:lnTo>
                  <a:cubicBezTo>
                    <a:pt x="10498" y="82709"/>
                    <a:pt x="5408" y="84300"/>
                    <a:pt x="3181" y="84300"/>
                  </a:cubicBezTo>
                  <a:cubicBezTo>
                    <a:pt x="2545" y="84300"/>
                    <a:pt x="2227" y="84936"/>
                    <a:pt x="1591" y="85254"/>
                  </a:cubicBezTo>
                  <a:cubicBezTo>
                    <a:pt x="1272" y="85890"/>
                    <a:pt x="636" y="85890"/>
                    <a:pt x="318" y="85890"/>
                  </a:cubicBezTo>
                  <a:cubicBezTo>
                    <a:pt x="0" y="85890"/>
                    <a:pt x="0" y="85254"/>
                    <a:pt x="0" y="84618"/>
                  </a:cubicBezTo>
                  <a:cubicBezTo>
                    <a:pt x="0" y="81437"/>
                    <a:pt x="4772" y="70939"/>
                    <a:pt x="8907" y="70939"/>
                  </a:cubicBezTo>
                  <a:lnTo>
                    <a:pt x="9861" y="70939"/>
                  </a:lnTo>
                  <a:lnTo>
                    <a:pt x="9861" y="71257"/>
                  </a:lnTo>
                  <a:lnTo>
                    <a:pt x="11134" y="71257"/>
                  </a:lnTo>
                  <a:cubicBezTo>
                    <a:pt x="11452" y="71257"/>
                    <a:pt x="10816" y="71893"/>
                    <a:pt x="10498" y="72211"/>
                  </a:cubicBezTo>
                  <a:lnTo>
                    <a:pt x="9861" y="73484"/>
                  </a:lnTo>
                  <a:lnTo>
                    <a:pt x="9861" y="75074"/>
                  </a:lnTo>
                  <a:cubicBezTo>
                    <a:pt x="9861" y="75393"/>
                    <a:pt x="10180" y="75074"/>
                    <a:pt x="10498" y="75074"/>
                  </a:cubicBezTo>
                  <a:lnTo>
                    <a:pt x="10498" y="74438"/>
                  </a:lnTo>
                  <a:cubicBezTo>
                    <a:pt x="10816" y="73484"/>
                    <a:pt x="11770" y="73484"/>
                    <a:pt x="12406" y="73484"/>
                  </a:cubicBezTo>
                  <a:lnTo>
                    <a:pt x="12724" y="73484"/>
                  </a:lnTo>
                  <a:lnTo>
                    <a:pt x="12724" y="73802"/>
                  </a:lnTo>
                  <a:cubicBezTo>
                    <a:pt x="12724" y="74120"/>
                    <a:pt x="12406" y="74438"/>
                    <a:pt x="12406" y="74438"/>
                  </a:cubicBezTo>
                  <a:cubicBezTo>
                    <a:pt x="13043" y="74438"/>
                    <a:pt x="13361" y="74756"/>
                    <a:pt x="13361" y="74756"/>
                  </a:cubicBezTo>
                  <a:cubicBezTo>
                    <a:pt x="13997" y="74756"/>
                    <a:pt x="13997" y="74756"/>
                    <a:pt x="14315" y="74438"/>
                  </a:cubicBezTo>
                  <a:lnTo>
                    <a:pt x="14951" y="74120"/>
                  </a:lnTo>
                  <a:lnTo>
                    <a:pt x="15587" y="74120"/>
                  </a:lnTo>
                  <a:cubicBezTo>
                    <a:pt x="15587" y="74438"/>
                    <a:pt x="15906" y="74438"/>
                    <a:pt x="15906" y="74438"/>
                  </a:cubicBezTo>
                  <a:cubicBezTo>
                    <a:pt x="16224" y="74438"/>
                    <a:pt x="16860" y="73802"/>
                    <a:pt x="17496" y="73802"/>
                  </a:cubicBezTo>
                  <a:cubicBezTo>
                    <a:pt x="17496" y="73802"/>
                    <a:pt x="17496" y="73484"/>
                    <a:pt x="18132" y="73166"/>
                  </a:cubicBezTo>
                  <a:lnTo>
                    <a:pt x="18132" y="72211"/>
                  </a:lnTo>
                  <a:cubicBezTo>
                    <a:pt x="17496" y="72211"/>
                    <a:pt x="17496" y="72211"/>
                    <a:pt x="17496" y="71893"/>
                  </a:cubicBezTo>
                  <a:cubicBezTo>
                    <a:pt x="17496" y="71575"/>
                    <a:pt x="17496" y="71257"/>
                    <a:pt x="17814" y="70621"/>
                  </a:cubicBezTo>
                  <a:cubicBezTo>
                    <a:pt x="17814" y="70303"/>
                    <a:pt x="17496" y="70303"/>
                    <a:pt x="16860" y="70303"/>
                  </a:cubicBezTo>
                  <a:cubicBezTo>
                    <a:pt x="17496" y="69666"/>
                    <a:pt x="18768" y="68394"/>
                    <a:pt x="19405" y="68394"/>
                  </a:cubicBezTo>
                  <a:cubicBezTo>
                    <a:pt x="20995" y="67758"/>
                    <a:pt x="22904" y="67758"/>
                    <a:pt x="23858" y="67122"/>
                  </a:cubicBezTo>
                  <a:cubicBezTo>
                    <a:pt x="24813" y="66803"/>
                    <a:pt x="25449" y="66803"/>
                    <a:pt x="26085" y="66803"/>
                  </a:cubicBezTo>
                  <a:cubicBezTo>
                    <a:pt x="27040" y="66485"/>
                    <a:pt x="27994" y="66485"/>
                    <a:pt x="28948" y="66485"/>
                  </a:cubicBezTo>
                  <a:lnTo>
                    <a:pt x="29902" y="66485"/>
                  </a:lnTo>
                  <a:cubicBezTo>
                    <a:pt x="31175" y="65213"/>
                    <a:pt x="33084" y="65213"/>
                    <a:pt x="34356" y="64577"/>
                  </a:cubicBezTo>
                  <a:lnTo>
                    <a:pt x="37219" y="64577"/>
                  </a:lnTo>
                  <a:cubicBezTo>
                    <a:pt x="37219" y="64577"/>
                    <a:pt x="38173" y="64895"/>
                    <a:pt x="38491" y="64895"/>
                  </a:cubicBezTo>
                  <a:lnTo>
                    <a:pt x="38491" y="65213"/>
                  </a:lnTo>
                  <a:cubicBezTo>
                    <a:pt x="38491" y="65849"/>
                    <a:pt x="38173" y="65849"/>
                    <a:pt x="37537" y="66167"/>
                  </a:cubicBezTo>
                  <a:cubicBezTo>
                    <a:pt x="36583" y="66167"/>
                    <a:pt x="35629" y="66485"/>
                    <a:pt x="35310" y="67758"/>
                  </a:cubicBezTo>
                  <a:cubicBezTo>
                    <a:pt x="35310" y="67758"/>
                    <a:pt x="34992" y="67758"/>
                    <a:pt x="34674" y="68394"/>
                  </a:cubicBezTo>
                  <a:lnTo>
                    <a:pt x="33720" y="69030"/>
                  </a:lnTo>
                  <a:lnTo>
                    <a:pt x="33720" y="69348"/>
                  </a:lnTo>
                  <a:lnTo>
                    <a:pt x="34992" y="69348"/>
                  </a:lnTo>
                  <a:lnTo>
                    <a:pt x="35947" y="68712"/>
                  </a:lnTo>
                  <a:cubicBezTo>
                    <a:pt x="35947" y="68712"/>
                    <a:pt x="36265" y="68394"/>
                    <a:pt x="36583" y="67758"/>
                  </a:cubicBezTo>
                  <a:cubicBezTo>
                    <a:pt x="36583" y="67758"/>
                    <a:pt x="36583" y="67440"/>
                    <a:pt x="37219" y="67440"/>
                  </a:cubicBezTo>
                  <a:lnTo>
                    <a:pt x="37537" y="67440"/>
                  </a:lnTo>
                  <a:cubicBezTo>
                    <a:pt x="37537" y="67758"/>
                    <a:pt x="38173" y="68076"/>
                    <a:pt x="38173" y="68712"/>
                  </a:cubicBezTo>
                  <a:cubicBezTo>
                    <a:pt x="38491" y="69030"/>
                    <a:pt x="38810" y="69030"/>
                    <a:pt x="39128" y="69030"/>
                  </a:cubicBezTo>
                  <a:lnTo>
                    <a:pt x="40718" y="69030"/>
                  </a:lnTo>
                  <a:cubicBezTo>
                    <a:pt x="41036" y="68394"/>
                    <a:pt x="41673" y="68394"/>
                    <a:pt x="42309" y="68394"/>
                  </a:cubicBezTo>
                  <a:lnTo>
                    <a:pt x="43263" y="68394"/>
                  </a:lnTo>
                  <a:lnTo>
                    <a:pt x="43263" y="68076"/>
                  </a:lnTo>
                  <a:lnTo>
                    <a:pt x="44217" y="66167"/>
                  </a:lnTo>
                  <a:cubicBezTo>
                    <a:pt x="44217" y="66167"/>
                    <a:pt x="45172" y="65531"/>
                    <a:pt x="45172" y="65849"/>
                  </a:cubicBezTo>
                  <a:cubicBezTo>
                    <a:pt x="45172" y="65849"/>
                    <a:pt x="45172" y="66167"/>
                    <a:pt x="44854" y="66485"/>
                  </a:cubicBezTo>
                  <a:cubicBezTo>
                    <a:pt x="44854" y="67122"/>
                    <a:pt x="44536" y="67440"/>
                    <a:pt x="44217" y="68076"/>
                  </a:cubicBezTo>
                  <a:lnTo>
                    <a:pt x="44217" y="68712"/>
                  </a:lnTo>
                  <a:lnTo>
                    <a:pt x="44854" y="68712"/>
                  </a:lnTo>
                  <a:cubicBezTo>
                    <a:pt x="45808" y="68712"/>
                    <a:pt x="46126" y="67440"/>
                    <a:pt x="46444" y="67122"/>
                  </a:cubicBezTo>
                  <a:cubicBezTo>
                    <a:pt x="46444" y="66803"/>
                    <a:pt x="46126" y="66485"/>
                    <a:pt x="46126" y="66167"/>
                  </a:cubicBezTo>
                  <a:lnTo>
                    <a:pt x="46126" y="65849"/>
                  </a:lnTo>
                  <a:cubicBezTo>
                    <a:pt x="46126" y="65849"/>
                    <a:pt x="46126" y="65531"/>
                    <a:pt x="46444" y="65531"/>
                  </a:cubicBezTo>
                  <a:lnTo>
                    <a:pt x="47717" y="63940"/>
                  </a:lnTo>
                  <a:lnTo>
                    <a:pt x="46126" y="63622"/>
                  </a:lnTo>
                  <a:lnTo>
                    <a:pt x="46126" y="63304"/>
                  </a:lnTo>
                  <a:lnTo>
                    <a:pt x="45808" y="63304"/>
                  </a:lnTo>
                  <a:lnTo>
                    <a:pt x="44854" y="63622"/>
                  </a:lnTo>
                  <a:cubicBezTo>
                    <a:pt x="43899" y="63940"/>
                    <a:pt x="43581" y="64259"/>
                    <a:pt x="43263" y="65531"/>
                  </a:cubicBezTo>
                  <a:cubicBezTo>
                    <a:pt x="43263" y="65213"/>
                    <a:pt x="43263" y="64577"/>
                    <a:pt x="42945" y="64577"/>
                  </a:cubicBezTo>
                  <a:lnTo>
                    <a:pt x="41355" y="64577"/>
                  </a:lnTo>
                  <a:close/>
                  <a:moveTo>
                    <a:pt x="20359" y="69985"/>
                  </a:moveTo>
                  <a:cubicBezTo>
                    <a:pt x="19723" y="70303"/>
                    <a:pt x="19087" y="71257"/>
                    <a:pt x="18132" y="72211"/>
                  </a:cubicBezTo>
                  <a:cubicBezTo>
                    <a:pt x="18768" y="72211"/>
                    <a:pt x="19723" y="71257"/>
                    <a:pt x="20359" y="70303"/>
                  </a:cubicBezTo>
                  <a:cubicBezTo>
                    <a:pt x="20677" y="70303"/>
                    <a:pt x="20359" y="69985"/>
                    <a:pt x="20359" y="69985"/>
                  </a:cubicBezTo>
                  <a:close/>
                  <a:moveTo>
                    <a:pt x="19405" y="75393"/>
                  </a:moveTo>
                  <a:lnTo>
                    <a:pt x="18450" y="75393"/>
                  </a:lnTo>
                  <a:lnTo>
                    <a:pt x="18450" y="76665"/>
                  </a:lnTo>
                  <a:cubicBezTo>
                    <a:pt x="18450" y="76347"/>
                    <a:pt x="18768" y="76347"/>
                    <a:pt x="19087" y="76029"/>
                  </a:cubicBezTo>
                  <a:lnTo>
                    <a:pt x="19405" y="75393"/>
                  </a:lnTo>
                  <a:close/>
                  <a:moveTo>
                    <a:pt x="22586" y="74120"/>
                  </a:moveTo>
                  <a:lnTo>
                    <a:pt x="22904" y="74120"/>
                  </a:lnTo>
                  <a:cubicBezTo>
                    <a:pt x="23222" y="73802"/>
                    <a:pt x="23222" y="73484"/>
                    <a:pt x="23222" y="73484"/>
                  </a:cubicBezTo>
                  <a:cubicBezTo>
                    <a:pt x="23222" y="73484"/>
                    <a:pt x="23858" y="73166"/>
                    <a:pt x="23858" y="72848"/>
                  </a:cubicBezTo>
                  <a:lnTo>
                    <a:pt x="23858" y="72529"/>
                  </a:lnTo>
                  <a:lnTo>
                    <a:pt x="23540" y="72529"/>
                  </a:lnTo>
                  <a:cubicBezTo>
                    <a:pt x="22904" y="72529"/>
                    <a:pt x="22268" y="72529"/>
                    <a:pt x="21632" y="73484"/>
                  </a:cubicBezTo>
                  <a:cubicBezTo>
                    <a:pt x="21632" y="73802"/>
                    <a:pt x="22268" y="74120"/>
                    <a:pt x="22586" y="74120"/>
                  </a:cubicBezTo>
                  <a:close/>
                  <a:moveTo>
                    <a:pt x="31811" y="67758"/>
                  </a:moveTo>
                  <a:lnTo>
                    <a:pt x="29902" y="69348"/>
                  </a:lnTo>
                  <a:lnTo>
                    <a:pt x="29902" y="69666"/>
                  </a:lnTo>
                  <a:lnTo>
                    <a:pt x="30539" y="69666"/>
                  </a:lnTo>
                  <a:cubicBezTo>
                    <a:pt x="31175" y="69666"/>
                    <a:pt x="31493" y="69666"/>
                    <a:pt x="31493" y="69030"/>
                  </a:cubicBezTo>
                  <a:cubicBezTo>
                    <a:pt x="31493" y="69030"/>
                    <a:pt x="31811" y="68712"/>
                    <a:pt x="31811" y="68076"/>
                  </a:cubicBezTo>
                  <a:lnTo>
                    <a:pt x="31811" y="67758"/>
                  </a:lnTo>
                  <a:close/>
                  <a:moveTo>
                    <a:pt x="43263" y="66167"/>
                  </a:moveTo>
                  <a:cubicBezTo>
                    <a:pt x="43263" y="66485"/>
                    <a:pt x="42945" y="66803"/>
                    <a:pt x="42945" y="66803"/>
                  </a:cubicBezTo>
                  <a:cubicBezTo>
                    <a:pt x="42945" y="67122"/>
                    <a:pt x="42945" y="67122"/>
                    <a:pt x="42627" y="67122"/>
                  </a:cubicBezTo>
                  <a:cubicBezTo>
                    <a:pt x="42627" y="67122"/>
                    <a:pt x="42309" y="66803"/>
                    <a:pt x="42309" y="66485"/>
                  </a:cubicBezTo>
                  <a:cubicBezTo>
                    <a:pt x="42945" y="65849"/>
                    <a:pt x="43263" y="65849"/>
                    <a:pt x="43263" y="65849"/>
                  </a:cubicBezTo>
                  <a:lnTo>
                    <a:pt x="43263" y="66167"/>
                  </a:lnTo>
                  <a:close/>
                  <a:moveTo>
                    <a:pt x="50898" y="266896"/>
                  </a:moveTo>
                  <a:cubicBezTo>
                    <a:pt x="50898" y="266896"/>
                    <a:pt x="50580" y="266896"/>
                    <a:pt x="50580" y="266578"/>
                  </a:cubicBezTo>
                  <a:cubicBezTo>
                    <a:pt x="50580" y="266578"/>
                    <a:pt x="50898" y="266578"/>
                    <a:pt x="50898" y="266260"/>
                  </a:cubicBezTo>
                  <a:lnTo>
                    <a:pt x="50898" y="266896"/>
                  </a:lnTo>
                  <a:close/>
                  <a:moveTo>
                    <a:pt x="66803" y="229359"/>
                  </a:moveTo>
                  <a:cubicBezTo>
                    <a:pt x="67122" y="229359"/>
                    <a:pt x="67440" y="229041"/>
                    <a:pt x="67758" y="228404"/>
                  </a:cubicBezTo>
                  <a:cubicBezTo>
                    <a:pt x="67758" y="228086"/>
                    <a:pt x="67440" y="227450"/>
                    <a:pt x="67440" y="227450"/>
                  </a:cubicBezTo>
                  <a:cubicBezTo>
                    <a:pt x="67440" y="227450"/>
                    <a:pt x="68076" y="227132"/>
                    <a:pt x="68076" y="226814"/>
                  </a:cubicBezTo>
                  <a:cubicBezTo>
                    <a:pt x="67440" y="226496"/>
                    <a:pt x="67440" y="225859"/>
                    <a:pt x="66803" y="225859"/>
                  </a:cubicBezTo>
                  <a:lnTo>
                    <a:pt x="67122" y="228404"/>
                  </a:lnTo>
                  <a:cubicBezTo>
                    <a:pt x="67122" y="228722"/>
                    <a:pt x="66485" y="229041"/>
                    <a:pt x="66485" y="229041"/>
                  </a:cubicBezTo>
                  <a:lnTo>
                    <a:pt x="66167" y="229041"/>
                  </a:lnTo>
                  <a:cubicBezTo>
                    <a:pt x="66167" y="229041"/>
                    <a:pt x="66167" y="229359"/>
                    <a:pt x="66485" y="229359"/>
                  </a:cubicBezTo>
                  <a:lnTo>
                    <a:pt x="66803" y="229359"/>
                  </a:lnTo>
                  <a:close/>
                  <a:moveTo>
                    <a:pt x="67122" y="237630"/>
                  </a:moveTo>
                  <a:lnTo>
                    <a:pt x="67122" y="239538"/>
                  </a:lnTo>
                  <a:cubicBezTo>
                    <a:pt x="67758" y="239856"/>
                    <a:pt x="68076" y="239856"/>
                    <a:pt x="68076" y="239856"/>
                  </a:cubicBezTo>
                  <a:lnTo>
                    <a:pt x="68712" y="239856"/>
                  </a:lnTo>
                  <a:lnTo>
                    <a:pt x="68394" y="239538"/>
                  </a:lnTo>
                  <a:lnTo>
                    <a:pt x="68394" y="237630"/>
                  </a:lnTo>
                  <a:lnTo>
                    <a:pt x="67122" y="237630"/>
                  </a:lnTo>
                  <a:close/>
                  <a:moveTo>
                    <a:pt x="67122" y="248127"/>
                  </a:moveTo>
                  <a:cubicBezTo>
                    <a:pt x="67122" y="248445"/>
                    <a:pt x="67122" y="248763"/>
                    <a:pt x="67440" y="249082"/>
                  </a:cubicBezTo>
                  <a:cubicBezTo>
                    <a:pt x="67440" y="249082"/>
                    <a:pt x="67440" y="249400"/>
                    <a:pt x="67758" y="249400"/>
                  </a:cubicBezTo>
                  <a:lnTo>
                    <a:pt x="67758" y="249082"/>
                  </a:lnTo>
                  <a:cubicBezTo>
                    <a:pt x="68394" y="248763"/>
                    <a:pt x="68394" y="248127"/>
                    <a:pt x="68394" y="247809"/>
                  </a:cubicBezTo>
                  <a:cubicBezTo>
                    <a:pt x="68394" y="247491"/>
                    <a:pt x="68076" y="247173"/>
                    <a:pt x="67440" y="247173"/>
                  </a:cubicBezTo>
                  <a:cubicBezTo>
                    <a:pt x="67122" y="247173"/>
                    <a:pt x="67122" y="247491"/>
                    <a:pt x="67122" y="247809"/>
                  </a:cubicBezTo>
                  <a:lnTo>
                    <a:pt x="67122" y="248127"/>
                  </a:lnTo>
                  <a:close/>
                  <a:moveTo>
                    <a:pt x="67440" y="210908"/>
                  </a:moveTo>
                  <a:lnTo>
                    <a:pt x="67758" y="210590"/>
                  </a:lnTo>
                  <a:cubicBezTo>
                    <a:pt x="68712" y="209954"/>
                    <a:pt x="69985" y="209636"/>
                    <a:pt x="70303" y="209636"/>
                  </a:cubicBezTo>
                  <a:cubicBezTo>
                    <a:pt x="70303" y="209636"/>
                    <a:pt x="70621" y="210272"/>
                    <a:pt x="70621" y="210590"/>
                  </a:cubicBezTo>
                  <a:cubicBezTo>
                    <a:pt x="69985" y="210908"/>
                    <a:pt x="69666" y="211226"/>
                    <a:pt x="68394" y="211226"/>
                  </a:cubicBezTo>
                  <a:cubicBezTo>
                    <a:pt x="68076" y="211226"/>
                    <a:pt x="67440" y="211226"/>
                    <a:pt x="67440" y="210908"/>
                  </a:cubicBezTo>
                  <a:close/>
                  <a:moveTo>
                    <a:pt x="67758" y="231267"/>
                  </a:moveTo>
                  <a:cubicBezTo>
                    <a:pt x="67758" y="231585"/>
                    <a:pt x="67440" y="231585"/>
                    <a:pt x="67440" y="231585"/>
                  </a:cubicBezTo>
                  <a:cubicBezTo>
                    <a:pt x="67440" y="231585"/>
                    <a:pt x="67440" y="231904"/>
                    <a:pt x="67758" y="231904"/>
                  </a:cubicBezTo>
                  <a:lnTo>
                    <a:pt x="67758" y="231267"/>
                  </a:lnTo>
                  <a:close/>
                  <a:moveTo>
                    <a:pt x="68394" y="212499"/>
                  </a:moveTo>
                  <a:cubicBezTo>
                    <a:pt x="68394" y="212181"/>
                    <a:pt x="68712" y="212181"/>
                    <a:pt x="68712" y="212181"/>
                  </a:cubicBezTo>
                  <a:cubicBezTo>
                    <a:pt x="68712" y="212181"/>
                    <a:pt x="68712" y="212499"/>
                    <a:pt x="69030" y="212499"/>
                  </a:cubicBezTo>
                  <a:lnTo>
                    <a:pt x="68394" y="212499"/>
                  </a:lnTo>
                  <a:close/>
                  <a:moveTo>
                    <a:pt x="69030" y="198820"/>
                  </a:moveTo>
                  <a:lnTo>
                    <a:pt x="68712" y="198502"/>
                  </a:lnTo>
                  <a:cubicBezTo>
                    <a:pt x="69030" y="198502"/>
                    <a:pt x="69348" y="198184"/>
                    <a:pt x="69348" y="198184"/>
                  </a:cubicBezTo>
                  <a:cubicBezTo>
                    <a:pt x="69985" y="198184"/>
                    <a:pt x="69985" y="198502"/>
                    <a:pt x="69985" y="198502"/>
                  </a:cubicBezTo>
                  <a:cubicBezTo>
                    <a:pt x="69985" y="198502"/>
                    <a:pt x="69985" y="198820"/>
                    <a:pt x="69348" y="198820"/>
                  </a:cubicBezTo>
                  <a:lnTo>
                    <a:pt x="69030" y="198820"/>
                  </a:lnTo>
                  <a:close/>
                  <a:moveTo>
                    <a:pt x="69030" y="208363"/>
                  </a:moveTo>
                  <a:lnTo>
                    <a:pt x="69030" y="207409"/>
                  </a:lnTo>
                  <a:cubicBezTo>
                    <a:pt x="69348" y="207091"/>
                    <a:pt x="69985" y="206773"/>
                    <a:pt x="69985" y="206773"/>
                  </a:cubicBezTo>
                  <a:cubicBezTo>
                    <a:pt x="70303" y="206773"/>
                    <a:pt x="70621" y="206773"/>
                    <a:pt x="70621" y="207091"/>
                  </a:cubicBezTo>
                  <a:cubicBezTo>
                    <a:pt x="70621" y="207091"/>
                    <a:pt x="70303" y="207409"/>
                    <a:pt x="70303" y="207727"/>
                  </a:cubicBezTo>
                  <a:cubicBezTo>
                    <a:pt x="70303" y="208363"/>
                    <a:pt x="69666" y="208363"/>
                    <a:pt x="69666" y="208363"/>
                  </a:cubicBezTo>
                  <a:lnTo>
                    <a:pt x="69030" y="208363"/>
                  </a:lnTo>
                  <a:close/>
                  <a:moveTo>
                    <a:pt x="69985" y="213135"/>
                  </a:moveTo>
                  <a:lnTo>
                    <a:pt x="69985" y="213453"/>
                  </a:lnTo>
                  <a:cubicBezTo>
                    <a:pt x="69985" y="213453"/>
                    <a:pt x="69348" y="213453"/>
                    <a:pt x="69348" y="213135"/>
                  </a:cubicBezTo>
                  <a:lnTo>
                    <a:pt x="69348" y="212817"/>
                  </a:lnTo>
                  <a:lnTo>
                    <a:pt x="69030" y="212499"/>
                  </a:lnTo>
                  <a:lnTo>
                    <a:pt x="69666" y="212499"/>
                  </a:lnTo>
                  <a:lnTo>
                    <a:pt x="69985" y="213135"/>
                  </a:lnTo>
                  <a:close/>
                  <a:moveTo>
                    <a:pt x="69348" y="204864"/>
                  </a:moveTo>
                  <a:lnTo>
                    <a:pt x="70303" y="204864"/>
                  </a:lnTo>
                  <a:cubicBezTo>
                    <a:pt x="70621" y="204864"/>
                    <a:pt x="70621" y="205182"/>
                    <a:pt x="70621" y="205500"/>
                  </a:cubicBezTo>
                  <a:cubicBezTo>
                    <a:pt x="70621" y="205818"/>
                    <a:pt x="70621" y="206136"/>
                    <a:pt x="70303" y="206455"/>
                  </a:cubicBezTo>
                  <a:cubicBezTo>
                    <a:pt x="69985" y="206455"/>
                    <a:pt x="69985" y="206455"/>
                    <a:pt x="69348" y="205818"/>
                  </a:cubicBezTo>
                  <a:lnTo>
                    <a:pt x="69348" y="204864"/>
                  </a:lnTo>
                  <a:close/>
                  <a:moveTo>
                    <a:pt x="70303" y="201365"/>
                  </a:moveTo>
                  <a:lnTo>
                    <a:pt x="69666" y="201365"/>
                  </a:lnTo>
                  <a:cubicBezTo>
                    <a:pt x="69666" y="201365"/>
                    <a:pt x="69985" y="201365"/>
                    <a:pt x="69985" y="201047"/>
                  </a:cubicBezTo>
                  <a:lnTo>
                    <a:pt x="70303" y="201365"/>
                  </a:lnTo>
                  <a:close/>
                  <a:moveTo>
                    <a:pt x="71257" y="189595"/>
                  </a:moveTo>
                  <a:cubicBezTo>
                    <a:pt x="71575" y="189595"/>
                    <a:pt x="71893" y="189913"/>
                    <a:pt x="71893" y="190231"/>
                  </a:cubicBezTo>
                  <a:cubicBezTo>
                    <a:pt x="71893" y="190549"/>
                    <a:pt x="71575" y="190867"/>
                    <a:pt x="71257" y="190867"/>
                  </a:cubicBezTo>
                  <a:cubicBezTo>
                    <a:pt x="70939" y="190867"/>
                    <a:pt x="70621" y="190549"/>
                    <a:pt x="70621" y="190549"/>
                  </a:cubicBezTo>
                  <a:cubicBezTo>
                    <a:pt x="70621" y="189913"/>
                    <a:pt x="70621" y="189595"/>
                    <a:pt x="71257" y="189595"/>
                  </a:cubicBezTo>
                  <a:close/>
                  <a:moveTo>
                    <a:pt x="73802" y="154284"/>
                  </a:moveTo>
                  <a:cubicBezTo>
                    <a:pt x="74756" y="154284"/>
                    <a:pt x="75074" y="154284"/>
                    <a:pt x="75074" y="153966"/>
                  </a:cubicBezTo>
                  <a:cubicBezTo>
                    <a:pt x="75074" y="153648"/>
                    <a:pt x="74756" y="153330"/>
                    <a:pt x="74120" y="153330"/>
                  </a:cubicBezTo>
                  <a:cubicBezTo>
                    <a:pt x="73802" y="153330"/>
                    <a:pt x="73802" y="153648"/>
                    <a:pt x="73802" y="153966"/>
                  </a:cubicBezTo>
                  <a:lnTo>
                    <a:pt x="73802" y="154284"/>
                  </a:lnTo>
                  <a:close/>
                  <a:moveTo>
                    <a:pt x="73802" y="172735"/>
                  </a:moveTo>
                  <a:lnTo>
                    <a:pt x="73802" y="170826"/>
                  </a:lnTo>
                  <a:cubicBezTo>
                    <a:pt x="74120" y="170508"/>
                    <a:pt x="74120" y="170508"/>
                    <a:pt x="74438" y="170508"/>
                  </a:cubicBezTo>
                  <a:cubicBezTo>
                    <a:pt x="75074" y="170508"/>
                    <a:pt x="75074" y="170508"/>
                    <a:pt x="75074" y="170826"/>
                  </a:cubicBezTo>
                  <a:cubicBezTo>
                    <a:pt x="75074" y="171144"/>
                    <a:pt x="75074" y="171780"/>
                    <a:pt x="74120" y="172417"/>
                  </a:cubicBezTo>
                  <a:lnTo>
                    <a:pt x="73802" y="172735"/>
                  </a:lnTo>
                  <a:close/>
                  <a:moveTo>
                    <a:pt x="78256" y="149513"/>
                  </a:moveTo>
                  <a:cubicBezTo>
                    <a:pt x="77619" y="149513"/>
                    <a:pt x="77301" y="148876"/>
                    <a:pt x="76665" y="148240"/>
                  </a:cubicBezTo>
                  <a:lnTo>
                    <a:pt x="76665" y="147922"/>
                  </a:lnTo>
                  <a:cubicBezTo>
                    <a:pt x="76983" y="147604"/>
                    <a:pt x="77937" y="147286"/>
                    <a:pt x="78256" y="147286"/>
                  </a:cubicBezTo>
                  <a:cubicBezTo>
                    <a:pt x="78892" y="147286"/>
                    <a:pt x="79210" y="147604"/>
                    <a:pt x="79528" y="147922"/>
                  </a:cubicBezTo>
                  <a:lnTo>
                    <a:pt x="79528" y="148558"/>
                  </a:lnTo>
                  <a:cubicBezTo>
                    <a:pt x="79528" y="148876"/>
                    <a:pt x="78892" y="149194"/>
                    <a:pt x="78574" y="149513"/>
                  </a:cubicBezTo>
                  <a:lnTo>
                    <a:pt x="78256" y="149513"/>
                  </a:lnTo>
                  <a:close/>
                  <a:moveTo>
                    <a:pt x="81755" y="55670"/>
                  </a:moveTo>
                  <a:cubicBezTo>
                    <a:pt x="81437" y="55988"/>
                    <a:pt x="81118" y="55988"/>
                    <a:pt x="81118" y="55988"/>
                  </a:cubicBezTo>
                  <a:lnTo>
                    <a:pt x="81755" y="55670"/>
                  </a:lnTo>
                  <a:close/>
                  <a:moveTo>
                    <a:pt x="94161" y="268168"/>
                  </a:moveTo>
                  <a:lnTo>
                    <a:pt x="93843" y="267850"/>
                  </a:lnTo>
                  <a:cubicBezTo>
                    <a:pt x="93843" y="267532"/>
                    <a:pt x="94161" y="267532"/>
                    <a:pt x="94161" y="267214"/>
                  </a:cubicBezTo>
                  <a:lnTo>
                    <a:pt x="94161" y="268168"/>
                  </a:lnTo>
                  <a:close/>
                  <a:moveTo>
                    <a:pt x="100523" y="246537"/>
                  </a:moveTo>
                  <a:lnTo>
                    <a:pt x="100205" y="246219"/>
                  </a:lnTo>
                  <a:cubicBezTo>
                    <a:pt x="100205" y="246219"/>
                    <a:pt x="99569" y="246855"/>
                    <a:pt x="99251" y="247491"/>
                  </a:cubicBezTo>
                  <a:cubicBezTo>
                    <a:pt x="99251" y="247491"/>
                    <a:pt x="99251" y="247809"/>
                    <a:pt x="99569" y="247809"/>
                  </a:cubicBezTo>
                  <a:cubicBezTo>
                    <a:pt x="99887" y="247809"/>
                    <a:pt x="100523" y="246855"/>
                    <a:pt x="100523" y="246537"/>
                  </a:cubicBezTo>
                  <a:close/>
                  <a:moveTo>
                    <a:pt x="106886" y="231267"/>
                  </a:moveTo>
                  <a:cubicBezTo>
                    <a:pt x="107522" y="231267"/>
                    <a:pt x="107840" y="231267"/>
                    <a:pt x="107840" y="230949"/>
                  </a:cubicBezTo>
                  <a:cubicBezTo>
                    <a:pt x="107840" y="230949"/>
                    <a:pt x="107522" y="230949"/>
                    <a:pt x="107522" y="230631"/>
                  </a:cubicBezTo>
                  <a:cubicBezTo>
                    <a:pt x="107522" y="230313"/>
                    <a:pt x="107522" y="229995"/>
                    <a:pt x="106886" y="229995"/>
                  </a:cubicBezTo>
                  <a:cubicBezTo>
                    <a:pt x="106567" y="229995"/>
                    <a:pt x="106249" y="230313"/>
                    <a:pt x="106249" y="230631"/>
                  </a:cubicBezTo>
                  <a:lnTo>
                    <a:pt x="106886" y="231267"/>
                  </a:lnTo>
                  <a:close/>
                  <a:moveTo>
                    <a:pt x="114520" y="228722"/>
                  </a:moveTo>
                  <a:lnTo>
                    <a:pt x="114202" y="229041"/>
                  </a:lnTo>
                  <a:lnTo>
                    <a:pt x="114202" y="229359"/>
                  </a:lnTo>
                  <a:lnTo>
                    <a:pt x="112929" y="229359"/>
                  </a:lnTo>
                  <a:lnTo>
                    <a:pt x="112929" y="229041"/>
                  </a:lnTo>
                  <a:cubicBezTo>
                    <a:pt x="112929" y="229041"/>
                    <a:pt x="113566" y="228722"/>
                    <a:pt x="113566" y="228404"/>
                  </a:cubicBezTo>
                  <a:cubicBezTo>
                    <a:pt x="113566" y="228086"/>
                    <a:pt x="113248" y="228086"/>
                    <a:pt x="112929" y="227450"/>
                  </a:cubicBezTo>
                  <a:lnTo>
                    <a:pt x="112929" y="227132"/>
                  </a:lnTo>
                  <a:cubicBezTo>
                    <a:pt x="112929" y="226814"/>
                    <a:pt x="112929" y="226814"/>
                    <a:pt x="113248" y="226496"/>
                  </a:cubicBezTo>
                  <a:lnTo>
                    <a:pt x="113884" y="225859"/>
                  </a:lnTo>
                  <a:cubicBezTo>
                    <a:pt x="114202" y="225859"/>
                    <a:pt x="114520" y="226496"/>
                    <a:pt x="114520" y="226496"/>
                  </a:cubicBezTo>
                  <a:lnTo>
                    <a:pt x="114520" y="228722"/>
                  </a:lnTo>
                  <a:close/>
                  <a:moveTo>
                    <a:pt x="117701" y="55351"/>
                  </a:moveTo>
                  <a:cubicBezTo>
                    <a:pt x="118656" y="55033"/>
                    <a:pt x="119292" y="55033"/>
                    <a:pt x="119292" y="54715"/>
                  </a:cubicBezTo>
                  <a:cubicBezTo>
                    <a:pt x="119292" y="54079"/>
                    <a:pt x="119292" y="54079"/>
                    <a:pt x="119610" y="53761"/>
                  </a:cubicBezTo>
                  <a:cubicBezTo>
                    <a:pt x="119610" y="53761"/>
                    <a:pt x="119610" y="53443"/>
                    <a:pt x="119292" y="53443"/>
                  </a:cubicBezTo>
                  <a:cubicBezTo>
                    <a:pt x="118656" y="53443"/>
                    <a:pt x="118020" y="54079"/>
                    <a:pt x="117383" y="54715"/>
                  </a:cubicBezTo>
                  <a:lnTo>
                    <a:pt x="117065" y="55351"/>
                  </a:lnTo>
                  <a:lnTo>
                    <a:pt x="117065" y="55670"/>
                  </a:lnTo>
                  <a:lnTo>
                    <a:pt x="117701" y="55351"/>
                  </a:lnTo>
                  <a:close/>
                  <a:moveTo>
                    <a:pt x="122791" y="198820"/>
                  </a:moveTo>
                  <a:lnTo>
                    <a:pt x="123109" y="199774"/>
                  </a:lnTo>
                  <a:lnTo>
                    <a:pt x="123427" y="200092"/>
                  </a:lnTo>
                  <a:cubicBezTo>
                    <a:pt x="123745" y="199774"/>
                    <a:pt x="124382" y="199456"/>
                    <a:pt x="124382" y="198820"/>
                  </a:cubicBezTo>
                  <a:lnTo>
                    <a:pt x="122791" y="198820"/>
                  </a:lnTo>
                  <a:close/>
                  <a:moveTo>
                    <a:pt x="123745" y="51534"/>
                  </a:moveTo>
                  <a:cubicBezTo>
                    <a:pt x="124063" y="51534"/>
                    <a:pt x="124063" y="51216"/>
                    <a:pt x="124063" y="50898"/>
                  </a:cubicBezTo>
                  <a:lnTo>
                    <a:pt x="124063" y="50580"/>
                  </a:lnTo>
                  <a:cubicBezTo>
                    <a:pt x="123745" y="50580"/>
                    <a:pt x="124063" y="50898"/>
                    <a:pt x="123745" y="50898"/>
                  </a:cubicBezTo>
                  <a:lnTo>
                    <a:pt x="123745" y="51534"/>
                  </a:lnTo>
                  <a:close/>
                  <a:moveTo>
                    <a:pt x="126290" y="175916"/>
                  </a:moveTo>
                  <a:cubicBezTo>
                    <a:pt x="126290" y="175916"/>
                    <a:pt x="125336" y="175280"/>
                    <a:pt x="124700" y="175280"/>
                  </a:cubicBezTo>
                  <a:lnTo>
                    <a:pt x="124700" y="175916"/>
                  </a:lnTo>
                  <a:cubicBezTo>
                    <a:pt x="125018" y="176552"/>
                    <a:pt x="125018" y="176552"/>
                    <a:pt x="125654" y="176552"/>
                  </a:cubicBezTo>
                  <a:cubicBezTo>
                    <a:pt x="125654" y="176552"/>
                    <a:pt x="126608" y="176234"/>
                    <a:pt x="126290" y="175916"/>
                  </a:cubicBezTo>
                  <a:close/>
                  <a:moveTo>
                    <a:pt x="127563" y="173371"/>
                  </a:moveTo>
                  <a:lnTo>
                    <a:pt x="127563" y="171780"/>
                  </a:lnTo>
                  <a:lnTo>
                    <a:pt x="126608" y="171780"/>
                  </a:lnTo>
                  <a:lnTo>
                    <a:pt x="126608" y="172098"/>
                  </a:lnTo>
                  <a:cubicBezTo>
                    <a:pt x="126608" y="172417"/>
                    <a:pt x="126290" y="172735"/>
                    <a:pt x="126290" y="173053"/>
                  </a:cubicBezTo>
                  <a:cubicBezTo>
                    <a:pt x="126608" y="173371"/>
                    <a:pt x="126608" y="173689"/>
                    <a:pt x="126608" y="173689"/>
                  </a:cubicBezTo>
                  <a:cubicBezTo>
                    <a:pt x="126926" y="173689"/>
                    <a:pt x="127563" y="173371"/>
                    <a:pt x="127563" y="173371"/>
                  </a:cubicBezTo>
                  <a:close/>
                  <a:moveTo>
                    <a:pt x="129472" y="55670"/>
                  </a:moveTo>
                  <a:cubicBezTo>
                    <a:pt x="130426" y="55670"/>
                    <a:pt x="130426" y="55351"/>
                    <a:pt x="130744" y="55033"/>
                  </a:cubicBezTo>
                  <a:lnTo>
                    <a:pt x="130108" y="55033"/>
                  </a:lnTo>
                  <a:cubicBezTo>
                    <a:pt x="129790" y="55033"/>
                    <a:pt x="129790" y="54715"/>
                    <a:pt x="129472" y="54715"/>
                  </a:cubicBezTo>
                  <a:cubicBezTo>
                    <a:pt x="129153" y="54715"/>
                    <a:pt x="128517" y="55033"/>
                    <a:pt x="128517" y="55033"/>
                  </a:cubicBezTo>
                  <a:lnTo>
                    <a:pt x="128199" y="55033"/>
                  </a:lnTo>
                  <a:lnTo>
                    <a:pt x="127881" y="55351"/>
                  </a:lnTo>
                  <a:cubicBezTo>
                    <a:pt x="128199" y="55670"/>
                    <a:pt x="128517" y="55670"/>
                    <a:pt x="128517" y="55670"/>
                  </a:cubicBezTo>
                  <a:lnTo>
                    <a:pt x="129472" y="55670"/>
                  </a:lnTo>
                  <a:close/>
                  <a:moveTo>
                    <a:pt x="130426" y="189277"/>
                  </a:moveTo>
                  <a:lnTo>
                    <a:pt x="130426" y="189595"/>
                  </a:lnTo>
                  <a:cubicBezTo>
                    <a:pt x="130426" y="189913"/>
                    <a:pt x="129472" y="189913"/>
                    <a:pt x="129472" y="190231"/>
                  </a:cubicBezTo>
                  <a:lnTo>
                    <a:pt x="129472" y="189913"/>
                  </a:lnTo>
                  <a:lnTo>
                    <a:pt x="128835" y="189277"/>
                  </a:lnTo>
                  <a:cubicBezTo>
                    <a:pt x="129153" y="189277"/>
                    <a:pt x="129790" y="188640"/>
                    <a:pt x="129790" y="188640"/>
                  </a:cubicBezTo>
                  <a:lnTo>
                    <a:pt x="130744" y="188640"/>
                  </a:lnTo>
                  <a:lnTo>
                    <a:pt x="130426" y="189277"/>
                  </a:lnTo>
                  <a:close/>
                  <a:moveTo>
                    <a:pt x="130426" y="191185"/>
                  </a:moveTo>
                  <a:lnTo>
                    <a:pt x="130744" y="191503"/>
                  </a:lnTo>
                  <a:cubicBezTo>
                    <a:pt x="130744" y="191821"/>
                    <a:pt x="130426" y="191821"/>
                    <a:pt x="129790" y="192140"/>
                  </a:cubicBezTo>
                  <a:lnTo>
                    <a:pt x="129790" y="191821"/>
                  </a:lnTo>
                  <a:cubicBezTo>
                    <a:pt x="129472" y="191821"/>
                    <a:pt x="129472" y="191503"/>
                    <a:pt x="129472" y="191503"/>
                  </a:cubicBezTo>
                  <a:cubicBezTo>
                    <a:pt x="129153" y="191503"/>
                    <a:pt x="128835" y="191185"/>
                    <a:pt x="128835" y="191185"/>
                  </a:cubicBezTo>
                  <a:lnTo>
                    <a:pt x="130426" y="191185"/>
                  </a:lnTo>
                  <a:close/>
                  <a:moveTo>
                    <a:pt x="131062" y="53443"/>
                  </a:moveTo>
                  <a:cubicBezTo>
                    <a:pt x="131062" y="53443"/>
                    <a:pt x="131380" y="53125"/>
                    <a:pt x="131698" y="52488"/>
                  </a:cubicBezTo>
                  <a:lnTo>
                    <a:pt x="131698" y="52170"/>
                  </a:lnTo>
                  <a:cubicBezTo>
                    <a:pt x="130744" y="52170"/>
                    <a:pt x="130744" y="52170"/>
                    <a:pt x="130108" y="52488"/>
                  </a:cubicBezTo>
                  <a:cubicBezTo>
                    <a:pt x="130108" y="53125"/>
                    <a:pt x="130108" y="53761"/>
                    <a:pt x="129790" y="54397"/>
                  </a:cubicBezTo>
                  <a:cubicBezTo>
                    <a:pt x="130426" y="53761"/>
                    <a:pt x="131062" y="53761"/>
                    <a:pt x="131062" y="53443"/>
                  </a:cubicBezTo>
                  <a:close/>
                  <a:moveTo>
                    <a:pt x="132335" y="183551"/>
                  </a:moveTo>
                  <a:cubicBezTo>
                    <a:pt x="132016" y="183551"/>
                    <a:pt x="132016" y="183232"/>
                    <a:pt x="132016" y="183232"/>
                  </a:cubicBezTo>
                  <a:lnTo>
                    <a:pt x="132335" y="182914"/>
                  </a:lnTo>
                  <a:lnTo>
                    <a:pt x="132653" y="182914"/>
                  </a:lnTo>
                  <a:lnTo>
                    <a:pt x="132971" y="183232"/>
                  </a:lnTo>
                  <a:lnTo>
                    <a:pt x="133607" y="183551"/>
                  </a:lnTo>
                  <a:cubicBezTo>
                    <a:pt x="132971" y="183551"/>
                    <a:pt x="132971" y="184187"/>
                    <a:pt x="132653" y="184187"/>
                  </a:cubicBezTo>
                  <a:cubicBezTo>
                    <a:pt x="132335" y="184187"/>
                    <a:pt x="132335" y="184187"/>
                    <a:pt x="132335" y="183551"/>
                  </a:cubicBezTo>
                  <a:close/>
                  <a:moveTo>
                    <a:pt x="135834" y="57896"/>
                  </a:moveTo>
                  <a:cubicBezTo>
                    <a:pt x="135516" y="57896"/>
                    <a:pt x="135516" y="57578"/>
                    <a:pt x="135516" y="57578"/>
                  </a:cubicBezTo>
                  <a:cubicBezTo>
                    <a:pt x="135516" y="57578"/>
                    <a:pt x="135197" y="57896"/>
                    <a:pt x="134879" y="57896"/>
                  </a:cubicBezTo>
                  <a:lnTo>
                    <a:pt x="135834" y="57896"/>
                  </a:lnTo>
                  <a:close/>
                  <a:moveTo>
                    <a:pt x="137106" y="51852"/>
                  </a:moveTo>
                  <a:cubicBezTo>
                    <a:pt x="137106" y="51852"/>
                    <a:pt x="137424" y="51534"/>
                    <a:pt x="137106" y="51534"/>
                  </a:cubicBezTo>
                  <a:lnTo>
                    <a:pt x="136788" y="51534"/>
                  </a:lnTo>
                  <a:cubicBezTo>
                    <a:pt x="136470" y="51852"/>
                    <a:pt x="136470" y="51852"/>
                    <a:pt x="136470" y="52170"/>
                  </a:cubicBezTo>
                  <a:cubicBezTo>
                    <a:pt x="136788" y="51852"/>
                    <a:pt x="137106" y="51852"/>
                    <a:pt x="137106" y="51852"/>
                  </a:cubicBezTo>
                  <a:close/>
                  <a:moveTo>
                    <a:pt x="137424" y="171780"/>
                  </a:moveTo>
                  <a:cubicBezTo>
                    <a:pt x="137106" y="171462"/>
                    <a:pt x="137106" y="171144"/>
                    <a:pt x="137106" y="170826"/>
                  </a:cubicBezTo>
                  <a:lnTo>
                    <a:pt x="137106" y="170190"/>
                  </a:lnTo>
                  <a:lnTo>
                    <a:pt x="136788" y="170190"/>
                  </a:lnTo>
                  <a:cubicBezTo>
                    <a:pt x="136788" y="169872"/>
                    <a:pt x="137106" y="169872"/>
                    <a:pt x="137106" y="169554"/>
                  </a:cubicBezTo>
                  <a:lnTo>
                    <a:pt x="137424" y="169235"/>
                  </a:lnTo>
                  <a:cubicBezTo>
                    <a:pt x="137742" y="169554"/>
                    <a:pt x="138060" y="169872"/>
                    <a:pt x="139015" y="169872"/>
                  </a:cubicBezTo>
                  <a:cubicBezTo>
                    <a:pt x="139333" y="169872"/>
                    <a:pt x="139333" y="170190"/>
                    <a:pt x="139333" y="170190"/>
                  </a:cubicBezTo>
                  <a:cubicBezTo>
                    <a:pt x="139333" y="170190"/>
                    <a:pt x="139333" y="170508"/>
                    <a:pt x="139015" y="170826"/>
                  </a:cubicBezTo>
                  <a:cubicBezTo>
                    <a:pt x="139015" y="171780"/>
                    <a:pt x="139015" y="171780"/>
                    <a:pt x="137742" y="171780"/>
                  </a:cubicBezTo>
                  <a:lnTo>
                    <a:pt x="137424" y="171780"/>
                  </a:lnTo>
                  <a:close/>
                  <a:moveTo>
                    <a:pt x="139333" y="167645"/>
                  </a:moveTo>
                  <a:lnTo>
                    <a:pt x="139969" y="167645"/>
                  </a:lnTo>
                  <a:cubicBezTo>
                    <a:pt x="139969" y="167963"/>
                    <a:pt x="139969" y="168599"/>
                    <a:pt x="140605" y="168917"/>
                  </a:cubicBezTo>
                  <a:lnTo>
                    <a:pt x="140287" y="169235"/>
                  </a:lnTo>
                  <a:cubicBezTo>
                    <a:pt x="139969" y="169235"/>
                    <a:pt x="139651" y="169235"/>
                    <a:pt x="139333" y="168917"/>
                  </a:cubicBezTo>
                  <a:lnTo>
                    <a:pt x="139333" y="167645"/>
                  </a:lnTo>
                  <a:close/>
                  <a:moveTo>
                    <a:pt x="145059" y="55033"/>
                  </a:moveTo>
                  <a:cubicBezTo>
                    <a:pt x="145377" y="55033"/>
                    <a:pt x="146013" y="55033"/>
                    <a:pt x="146331" y="54715"/>
                  </a:cubicBezTo>
                  <a:lnTo>
                    <a:pt x="146331" y="54397"/>
                  </a:lnTo>
                  <a:cubicBezTo>
                    <a:pt x="146650" y="54079"/>
                    <a:pt x="146331" y="54079"/>
                    <a:pt x="146331" y="54079"/>
                  </a:cubicBezTo>
                  <a:lnTo>
                    <a:pt x="145377" y="54079"/>
                  </a:lnTo>
                  <a:cubicBezTo>
                    <a:pt x="145377" y="54079"/>
                    <a:pt x="145059" y="54397"/>
                    <a:pt x="145059" y="54715"/>
                  </a:cubicBezTo>
                  <a:lnTo>
                    <a:pt x="145059" y="55033"/>
                  </a:lnTo>
                  <a:close/>
                  <a:moveTo>
                    <a:pt x="150785" y="52488"/>
                  </a:moveTo>
                  <a:lnTo>
                    <a:pt x="151421" y="51534"/>
                  </a:lnTo>
                  <a:lnTo>
                    <a:pt x="151421" y="50898"/>
                  </a:lnTo>
                  <a:cubicBezTo>
                    <a:pt x="151739" y="50580"/>
                    <a:pt x="151421" y="50580"/>
                    <a:pt x="151421" y="50580"/>
                  </a:cubicBezTo>
                  <a:lnTo>
                    <a:pt x="151103" y="50580"/>
                  </a:lnTo>
                  <a:cubicBezTo>
                    <a:pt x="150785" y="50580"/>
                    <a:pt x="150467" y="50898"/>
                    <a:pt x="150149" y="51216"/>
                  </a:cubicBezTo>
                  <a:cubicBezTo>
                    <a:pt x="150149" y="51534"/>
                    <a:pt x="150785" y="51534"/>
                    <a:pt x="150785" y="52170"/>
                  </a:cubicBezTo>
                  <a:lnTo>
                    <a:pt x="150785" y="52488"/>
                  </a:lnTo>
                  <a:close/>
                  <a:moveTo>
                    <a:pt x="160646" y="54397"/>
                  </a:moveTo>
                  <a:cubicBezTo>
                    <a:pt x="161919" y="54079"/>
                    <a:pt x="161919" y="53443"/>
                    <a:pt x="162237" y="53125"/>
                  </a:cubicBezTo>
                  <a:cubicBezTo>
                    <a:pt x="160965" y="53125"/>
                    <a:pt x="160646" y="53761"/>
                    <a:pt x="160010" y="54397"/>
                  </a:cubicBezTo>
                  <a:lnTo>
                    <a:pt x="160646" y="54397"/>
                  </a:lnTo>
                  <a:close/>
                  <a:moveTo>
                    <a:pt x="188640" y="61077"/>
                  </a:moveTo>
                  <a:cubicBezTo>
                    <a:pt x="188640" y="61077"/>
                    <a:pt x="188958" y="60759"/>
                    <a:pt x="188640" y="60759"/>
                  </a:cubicBezTo>
                  <a:cubicBezTo>
                    <a:pt x="188322" y="61077"/>
                    <a:pt x="188322" y="61077"/>
                    <a:pt x="188004" y="61077"/>
                  </a:cubicBezTo>
                  <a:lnTo>
                    <a:pt x="188640" y="61077"/>
                  </a:lnTo>
                  <a:close/>
                  <a:moveTo>
                    <a:pt x="193412" y="46762"/>
                  </a:moveTo>
                  <a:cubicBezTo>
                    <a:pt x="193412" y="46444"/>
                    <a:pt x="193412" y="46444"/>
                    <a:pt x="193730" y="45808"/>
                  </a:cubicBezTo>
                  <a:lnTo>
                    <a:pt x="193094" y="46444"/>
                  </a:lnTo>
                  <a:cubicBezTo>
                    <a:pt x="193094" y="46762"/>
                    <a:pt x="193412" y="46762"/>
                    <a:pt x="193412" y="47081"/>
                  </a:cubicBezTo>
                  <a:lnTo>
                    <a:pt x="193412" y="46762"/>
                  </a:lnTo>
                  <a:close/>
                </a:path>
              </a:pathLst>
            </a:custGeom>
            <a:solidFill>
              <a:srgbClr val="000000"/>
            </a:solidFill>
            <a:ln w="63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509DC25-C40A-4505-B6C7-3C4F2BA07EA3}"/>
                </a:ext>
              </a:extLst>
            </p:cNvPr>
            <p:cNvSpPr/>
            <p:nvPr/>
          </p:nvSpPr>
          <p:spPr>
            <a:xfrm>
              <a:off x="3289281" y="3554557"/>
              <a:ext cx="127245" cy="146331"/>
            </a:xfrm>
            <a:custGeom>
              <a:avLst/>
              <a:gdLst>
                <a:gd name="connsiteX0" fmla="*/ 121837 w 127244"/>
                <a:gd name="connsiteY0" fmla="*/ 74756 h 146331"/>
                <a:gd name="connsiteX1" fmla="*/ 120882 w 127244"/>
                <a:gd name="connsiteY1" fmla="*/ 76983 h 146331"/>
                <a:gd name="connsiteX2" fmla="*/ 118338 w 127244"/>
                <a:gd name="connsiteY2" fmla="*/ 79210 h 146331"/>
                <a:gd name="connsiteX3" fmla="*/ 117701 w 127244"/>
                <a:gd name="connsiteY3" fmla="*/ 80482 h 146331"/>
                <a:gd name="connsiteX4" fmla="*/ 117383 w 127244"/>
                <a:gd name="connsiteY4" fmla="*/ 81119 h 146331"/>
                <a:gd name="connsiteX5" fmla="*/ 118019 w 127244"/>
                <a:gd name="connsiteY5" fmla="*/ 82391 h 146331"/>
                <a:gd name="connsiteX6" fmla="*/ 118656 w 127244"/>
                <a:gd name="connsiteY6" fmla="*/ 82709 h 146331"/>
                <a:gd name="connsiteX7" fmla="*/ 119928 w 127244"/>
                <a:gd name="connsiteY7" fmla="*/ 83027 h 146331"/>
                <a:gd name="connsiteX8" fmla="*/ 120246 w 127244"/>
                <a:gd name="connsiteY8" fmla="*/ 82709 h 146331"/>
                <a:gd name="connsiteX9" fmla="*/ 120882 w 127244"/>
                <a:gd name="connsiteY9" fmla="*/ 83027 h 146331"/>
                <a:gd name="connsiteX10" fmla="*/ 118338 w 127244"/>
                <a:gd name="connsiteY10" fmla="*/ 86845 h 146331"/>
                <a:gd name="connsiteX11" fmla="*/ 117383 w 127244"/>
                <a:gd name="connsiteY11" fmla="*/ 88753 h 146331"/>
                <a:gd name="connsiteX12" fmla="*/ 116429 w 127244"/>
                <a:gd name="connsiteY12" fmla="*/ 89071 h 146331"/>
                <a:gd name="connsiteX13" fmla="*/ 116747 w 127244"/>
                <a:gd name="connsiteY13" fmla="*/ 88117 h 146331"/>
                <a:gd name="connsiteX14" fmla="*/ 116429 w 127244"/>
                <a:gd name="connsiteY14" fmla="*/ 86845 h 146331"/>
                <a:gd name="connsiteX15" fmla="*/ 117383 w 127244"/>
                <a:gd name="connsiteY15" fmla="*/ 84300 h 146331"/>
                <a:gd name="connsiteX16" fmla="*/ 117701 w 127244"/>
                <a:gd name="connsiteY16" fmla="*/ 83663 h 146331"/>
                <a:gd name="connsiteX17" fmla="*/ 117383 w 127244"/>
                <a:gd name="connsiteY17" fmla="*/ 83663 h 146331"/>
                <a:gd name="connsiteX18" fmla="*/ 116747 w 127244"/>
                <a:gd name="connsiteY18" fmla="*/ 83663 h 146331"/>
                <a:gd name="connsiteX19" fmla="*/ 115475 w 127244"/>
                <a:gd name="connsiteY19" fmla="*/ 85254 h 146331"/>
                <a:gd name="connsiteX20" fmla="*/ 114520 w 127244"/>
                <a:gd name="connsiteY20" fmla="*/ 86208 h 146331"/>
                <a:gd name="connsiteX21" fmla="*/ 114202 w 127244"/>
                <a:gd name="connsiteY21" fmla="*/ 86208 h 146331"/>
                <a:gd name="connsiteX22" fmla="*/ 113566 w 127244"/>
                <a:gd name="connsiteY22" fmla="*/ 85890 h 146331"/>
                <a:gd name="connsiteX23" fmla="*/ 113566 w 127244"/>
                <a:gd name="connsiteY23" fmla="*/ 85254 h 146331"/>
                <a:gd name="connsiteX24" fmla="*/ 113248 w 127244"/>
                <a:gd name="connsiteY24" fmla="*/ 84618 h 146331"/>
                <a:gd name="connsiteX25" fmla="*/ 112930 w 127244"/>
                <a:gd name="connsiteY25" fmla="*/ 85254 h 146331"/>
                <a:gd name="connsiteX26" fmla="*/ 111976 w 127244"/>
                <a:gd name="connsiteY26" fmla="*/ 85890 h 146331"/>
                <a:gd name="connsiteX27" fmla="*/ 111976 w 127244"/>
                <a:gd name="connsiteY27" fmla="*/ 88117 h 146331"/>
                <a:gd name="connsiteX28" fmla="*/ 111657 w 127244"/>
                <a:gd name="connsiteY28" fmla="*/ 88435 h 146331"/>
                <a:gd name="connsiteX29" fmla="*/ 109431 w 127244"/>
                <a:gd name="connsiteY29" fmla="*/ 87481 h 146331"/>
                <a:gd name="connsiteX30" fmla="*/ 108794 w 127244"/>
                <a:gd name="connsiteY30" fmla="*/ 87799 h 146331"/>
                <a:gd name="connsiteX31" fmla="*/ 109112 w 127244"/>
                <a:gd name="connsiteY31" fmla="*/ 88753 h 146331"/>
                <a:gd name="connsiteX32" fmla="*/ 108476 w 127244"/>
                <a:gd name="connsiteY32" fmla="*/ 89708 h 146331"/>
                <a:gd name="connsiteX33" fmla="*/ 105931 w 127244"/>
                <a:gd name="connsiteY33" fmla="*/ 93525 h 146331"/>
                <a:gd name="connsiteX34" fmla="*/ 105613 w 127244"/>
                <a:gd name="connsiteY34" fmla="*/ 93843 h 146331"/>
                <a:gd name="connsiteX35" fmla="*/ 104977 w 127244"/>
                <a:gd name="connsiteY35" fmla="*/ 93843 h 146331"/>
                <a:gd name="connsiteX36" fmla="*/ 104659 w 127244"/>
                <a:gd name="connsiteY36" fmla="*/ 94161 h 146331"/>
                <a:gd name="connsiteX37" fmla="*/ 104659 w 127244"/>
                <a:gd name="connsiteY37" fmla="*/ 94797 h 146331"/>
                <a:gd name="connsiteX38" fmla="*/ 104023 w 127244"/>
                <a:gd name="connsiteY38" fmla="*/ 96388 h 146331"/>
                <a:gd name="connsiteX39" fmla="*/ 102114 w 127244"/>
                <a:gd name="connsiteY39" fmla="*/ 97978 h 146331"/>
                <a:gd name="connsiteX40" fmla="*/ 100523 w 127244"/>
                <a:gd name="connsiteY40" fmla="*/ 98615 h 146331"/>
                <a:gd name="connsiteX41" fmla="*/ 99887 w 127244"/>
                <a:gd name="connsiteY41" fmla="*/ 99251 h 146331"/>
                <a:gd name="connsiteX42" fmla="*/ 99251 w 127244"/>
                <a:gd name="connsiteY42" fmla="*/ 99569 h 146331"/>
                <a:gd name="connsiteX43" fmla="*/ 99887 w 127244"/>
                <a:gd name="connsiteY43" fmla="*/ 99887 h 146331"/>
                <a:gd name="connsiteX44" fmla="*/ 100205 w 127244"/>
                <a:gd name="connsiteY44" fmla="*/ 100205 h 146331"/>
                <a:gd name="connsiteX45" fmla="*/ 100842 w 127244"/>
                <a:gd name="connsiteY45" fmla="*/ 100841 h 146331"/>
                <a:gd name="connsiteX46" fmla="*/ 99569 w 127244"/>
                <a:gd name="connsiteY46" fmla="*/ 102432 h 146331"/>
                <a:gd name="connsiteX47" fmla="*/ 98297 w 127244"/>
                <a:gd name="connsiteY47" fmla="*/ 103068 h 146331"/>
                <a:gd name="connsiteX48" fmla="*/ 96070 w 127244"/>
                <a:gd name="connsiteY48" fmla="*/ 104341 h 146331"/>
                <a:gd name="connsiteX49" fmla="*/ 95115 w 127244"/>
                <a:gd name="connsiteY49" fmla="*/ 106886 h 146331"/>
                <a:gd name="connsiteX50" fmla="*/ 94479 w 127244"/>
                <a:gd name="connsiteY50" fmla="*/ 109112 h 146331"/>
                <a:gd name="connsiteX51" fmla="*/ 94797 w 127244"/>
                <a:gd name="connsiteY51" fmla="*/ 109749 h 146331"/>
                <a:gd name="connsiteX52" fmla="*/ 95115 w 127244"/>
                <a:gd name="connsiteY52" fmla="*/ 110067 h 146331"/>
                <a:gd name="connsiteX53" fmla="*/ 94797 w 127244"/>
                <a:gd name="connsiteY53" fmla="*/ 110385 h 146331"/>
                <a:gd name="connsiteX54" fmla="*/ 94479 w 127244"/>
                <a:gd name="connsiteY54" fmla="*/ 111021 h 146331"/>
                <a:gd name="connsiteX55" fmla="*/ 94797 w 127244"/>
                <a:gd name="connsiteY55" fmla="*/ 111657 h 146331"/>
                <a:gd name="connsiteX56" fmla="*/ 95115 w 127244"/>
                <a:gd name="connsiteY56" fmla="*/ 111975 h 146331"/>
                <a:gd name="connsiteX57" fmla="*/ 95434 w 127244"/>
                <a:gd name="connsiteY57" fmla="*/ 111657 h 146331"/>
                <a:gd name="connsiteX58" fmla="*/ 96706 w 127244"/>
                <a:gd name="connsiteY58" fmla="*/ 110067 h 146331"/>
                <a:gd name="connsiteX59" fmla="*/ 96706 w 127244"/>
                <a:gd name="connsiteY59" fmla="*/ 109749 h 146331"/>
                <a:gd name="connsiteX60" fmla="*/ 97661 w 127244"/>
                <a:gd name="connsiteY60" fmla="*/ 108794 h 146331"/>
                <a:gd name="connsiteX61" fmla="*/ 99569 w 127244"/>
                <a:gd name="connsiteY61" fmla="*/ 107522 h 146331"/>
                <a:gd name="connsiteX62" fmla="*/ 100205 w 127244"/>
                <a:gd name="connsiteY62" fmla="*/ 106249 h 146331"/>
                <a:gd name="connsiteX63" fmla="*/ 100842 w 127244"/>
                <a:gd name="connsiteY63" fmla="*/ 106567 h 146331"/>
                <a:gd name="connsiteX64" fmla="*/ 99569 w 127244"/>
                <a:gd name="connsiteY64" fmla="*/ 108476 h 146331"/>
                <a:gd name="connsiteX65" fmla="*/ 99251 w 127244"/>
                <a:gd name="connsiteY65" fmla="*/ 108794 h 146331"/>
                <a:gd name="connsiteX66" fmla="*/ 99251 w 127244"/>
                <a:gd name="connsiteY66" fmla="*/ 109112 h 146331"/>
                <a:gd name="connsiteX67" fmla="*/ 97342 w 127244"/>
                <a:gd name="connsiteY67" fmla="*/ 111657 h 146331"/>
                <a:gd name="connsiteX68" fmla="*/ 95434 w 127244"/>
                <a:gd name="connsiteY68" fmla="*/ 113884 h 146331"/>
                <a:gd name="connsiteX69" fmla="*/ 92570 w 127244"/>
                <a:gd name="connsiteY69" fmla="*/ 116429 h 146331"/>
                <a:gd name="connsiteX70" fmla="*/ 91616 w 127244"/>
                <a:gd name="connsiteY70" fmla="*/ 117065 h 146331"/>
                <a:gd name="connsiteX71" fmla="*/ 91298 w 127244"/>
                <a:gd name="connsiteY71" fmla="*/ 117065 h 146331"/>
                <a:gd name="connsiteX72" fmla="*/ 90026 w 127244"/>
                <a:gd name="connsiteY72" fmla="*/ 115793 h 146331"/>
                <a:gd name="connsiteX73" fmla="*/ 89708 w 127244"/>
                <a:gd name="connsiteY73" fmla="*/ 115475 h 146331"/>
                <a:gd name="connsiteX74" fmla="*/ 89708 w 127244"/>
                <a:gd name="connsiteY74" fmla="*/ 115156 h 146331"/>
                <a:gd name="connsiteX75" fmla="*/ 90026 w 127244"/>
                <a:gd name="connsiteY75" fmla="*/ 114838 h 146331"/>
                <a:gd name="connsiteX76" fmla="*/ 90662 w 127244"/>
                <a:gd name="connsiteY76" fmla="*/ 114202 h 146331"/>
                <a:gd name="connsiteX77" fmla="*/ 90980 w 127244"/>
                <a:gd name="connsiteY77" fmla="*/ 113884 h 146331"/>
                <a:gd name="connsiteX78" fmla="*/ 90662 w 127244"/>
                <a:gd name="connsiteY78" fmla="*/ 113566 h 146331"/>
                <a:gd name="connsiteX79" fmla="*/ 90026 w 127244"/>
                <a:gd name="connsiteY79" fmla="*/ 112930 h 146331"/>
                <a:gd name="connsiteX80" fmla="*/ 90662 w 127244"/>
                <a:gd name="connsiteY80" fmla="*/ 112612 h 146331"/>
                <a:gd name="connsiteX81" fmla="*/ 90662 w 127244"/>
                <a:gd name="connsiteY81" fmla="*/ 112293 h 146331"/>
                <a:gd name="connsiteX82" fmla="*/ 90980 w 127244"/>
                <a:gd name="connsiteY82" fmla="*/ 111975 h 146331"/>
                <a:gd name="connsiteX83" fmla="*/ 90980 w 127244"/>
                <a:gd name="connsiteY83" fmla="*/ 111657 h 146331"/>
                <a:gd name="connsiteX84" fmla="*/ 90344 w 127244"/>
                <a:gd name="connsiteY84" fmla="*/ 111339 h 146331"/>
                <a:gd name="connsiteX85" fmla="*/ 90026 w 127244"/>
                <a:gd name="connsiteY85" fmla="*/ 111339 h 146331"/>
                <a:gd name="connsiteX86" fmla="*/ 87481 w 127244"/>
                <a:gd name="connsiteY86" fmla="*/ 113884 h 146331"/>
                <a:gd name="connsiteX87" fmla="*/ 87163 w 127244"/>
                <a:gd name="connsiteY87" fmla="*/ 114202 h 146331"/>
                <a:gd name="connsiteX88" fmla="*/ 87481 w 127244"/>
                <a:gd name="connsiteY88" fmla="*/ 114520 h 146331"/>
                <a:gd name="connsiteX89" fmla="*/ 88117 w 127244"/>
                <a:gd name="connsiteY89" fmla="*/ 114520 h 146331"/>
                <a:gd name="connsiteX90" fmla="*/ 88435 w 127244"/>
                <a:gd name="connsiteY90" fmla="*/ 114838 h 146331"/>
                <a:gd name="connsiteX91" fmla="*/ 87799 w 127244"/>
                <a:gd name="connsiteY91" fmla="*/ 115156 h 146331"/>
                <a:gd name="connsiteX92" fmla="*/ 86527 w 127244"/>
                <a:gd name="connsiteY92" fmla="*/ 117065 h 146331"/>
                <a:gd name="connsiteX93" fmla="*/ 86527 w 127244"/>
                <a:gd name="connsiteY93" fmla="*/ 117701 h 146331"/>
                <a:gd name="connsiteX94" fmla="*/ 86845 w 127244"/>
                <a:gd name="connsiteY94" fmla="*/ 118974 h 146331"/>
                <a:gd name="connsiteX95" fmla="*/ 86845 w 127244"/>
                <a:gd name="connsiteY95" fmla="*/ 119292 h 146331"/>
                <a:gd name="connsiteX96" fmla="*/ 86208 w 127244"/>
                <a:gd name="connsiteY96" fmla="*/ 119928 h 146331"/>
                <a:gd name="connsiteX97" fmla="*/ 85890 w 127244"/>
                <a:gd name="connsiteY97" fmla="*/ 120246 h 146331"/>
                <a:gd name="connsiteX98" fmla="*/ 86208 w 127244"/>
                <a:gd name="connsiteY98" fmla="*/ 120246 h 146331"/>
                <a:gd name="connsiteX99" fmla="*/ 86527 w 127244"/>
                <a:gd name="connsiteY99" fmla="*/ 120882 h 146331"/>
                <a:gd name="connsiteX100" fmla="*/ 86845 w 127244"/>
                <a:gd name="connsiteY100" fmla="*/ 121519 h 146331"/>
                <a:gd name="connsiteX101" fmla="*/ 85890 w 127244"/>
                <a:gd name="connsiteY101" fmla="*/ 122473 h 146331"/>
                <a:gd name="connsiteX102" fmla="*/ 84300 w 127244"/>
                <a:gd name="connsiteY102" fmla="*/ 122791 h 146331"/>
                <a:gd name="connsiteX103" fmla="*/ 83664 w 127244"/>
                <a:gd name="connsiteY103" fmla="*/ 123427 h 146331"/>
                <a:gd name="connsiteX104" fmla="*/ 83982 w 127244"/>
                <a:gd name="connsiteY104" fmla="*/ 124064 h 146331"/>
                <a:gd name="connsiteX105" fmla="*/ 84300 w 127244"/>
                <a:gd name="connsiteY105" fmla="*/ 124700 h 146331"/>
                <a:gd name="connsiteX106" fmla="*/ 84300 w 127244"/>
                <a:gd name="connsiteY106" fmla="*/ 125018 h 146331"/>
                <a:gd name="connsiteX107" fmla="*/ 83664 w 127244"/>
                <a:gd name="connsiteY107" fmla="*/ 125018 h 146331"/>
                <a:gd name="connsiteX108" fmla="*/ 82073 w 127244"/>
                <a:gd name="connsiteY108" fmla="*/ 124382 h 146331"/>
                <a:gd name="connsiteX109" fmla="*/ 81437 w 127244"/>
                <a:gd name="connsiteY109" fmla="*/ 124382 h 146331"/>
                <a:gd name="connsiteX110" fmla="*/ 80800 w 127244"/>
                <a:gd name="connsiteY110" fmla="*/ 123745 h 146331"/>
                <a:gd name="connsiteX111" fmla="*/ 81755 w 127244"/>
                <a:gd name="connsiteY111" fmla="*/ 122791 h 146331"/>
                <a:gd name="connsiteX112" fmla="*/ 81437 w 127244"/>
                <a:gd name="connsiteY112" fmla="*/ 122473 h 146331"/>
                <a:gd name="connsiteX113" fmla="*/ 81755 w 127244"/>
                <a:gd name="connsiteY113" fmla="*/ 122155 h 146331"/>
                <a:gd name="connsiteX114" fmla="*/ 80482 w 127244"/>
                <a:gd name="connsiteY114" fmla="*/ 122473 h 146331"/>
                <a:gd name="connsiteX115" fmla="*/ 77301 w 127244"/>
                <a:gd name="connsiteY115" fmla="*/ 122473 h 146331"/>
                <a:gd name="connsiteX116" fmla="*/ 76983 w 127244"/>
                <a:gd name="connsiteY116" fmla="*/ 123427 h 146331"/>
                <a:gd name="connsiteX117" fmla="*/ 79210 w 127244"/>
                <a:gd name="connsiteY117" fmla="*/ 125336 h 146331"/>
                <a:gd name="connsiteX118" fmla="*/ 79528 w 127244"/>
                <a:gd name="connsiteY118" fmla="*/ 125654 h 146331"/>
                <a:gd name="connsiteX119" fmla="*/ 79528 w 127244"/>
                <a:gd name="connsiteY119" fmla="*/ 125972 h 146331"/>
                <a:gd name="connsiteX120" fmla="*/ 79846 w 127244"/>
                <a:gd name="connsiteY120" fmla="*/ 126609 h 146331"/>
                <a:gd name="connsiteX121" fmla="*/ 79846 w 127244"/>
                <a:gd name="connsiteY121" fmla="*/ 127563 h 146331"/>
                <a:gd name="connsiteX122" fmla="*/ 76983 w 127244"/>
                <a:gd name="connsiteY122" fmla="*/ 131062 h 146331"/>
                <a:gd name="connsiteX123" fmla="*/ 75711 w 127244"/>
                <a:gd name="connsiteY123" fmla="*/ 132016 h 146331"/>
                <a:gd name="connsiteX124" fmla="*/ 73802 w 127244"/>
                <a:gd name="connsiteY124" fmla="*/ 134243 h 146331"/>
                <a:gd name="connsiteX125" fmla="*/ 70939 w 127244"/>
                <a:gd name="connsiteY125" fmla="*/ 136470 h 146331"/>
                <a:gd name="connsiteX126" fmla="*/ 68712 w 127244"/>
                <a:gd name="connsiteY126" fmla="*/ 138061 h 146331"/>
                <a:gd name="connsiteX127" fmla="*/ 65531 w 127244"/>
                <a:gd name="connsiteY127" fmla="*/ 140287 h 146331"/>
                <a:gd name="connsiteX128" fmla="*/ 63622 w 127244"/>
                <a:gd name="connsiteY128" fmla="*/ 141560 h 146331"/>
                <a:gd name="connsiteX129" fmla="*/ 61078 w 127244"/>
                <a:gd name="connsiteY129" fmla="*/ 142832 h 146331"/>
                <a:gd name="connsiteX130" fmla="*/ 54397 w 127244"/>
                <a:gd name="connsiteY130" fmla="*/ 146013 h 146331"/>
                <a:gd name="connsiteX131" fmla="*/ 52806 w 127244"/>
                <a:gd name="connsiteY131" fmla="*/ 147604 h 146331"/>
                <a:gd name="connsiteX132" fmla="*/ 50580 w 127244"/>
                <a:gd name="connsiteY132" fmla="*/ 147604 h 146331"/>
                <a:gd name="connsiteX133" fmla="*/ 49625 w 127244"/>
                <a:gd name="connsiteY133" fmla="*/ 147922 h 146331"/>
                <a:gd name="connsiteX134" fmla="*/ 47399 w 127244"/>
                <a:gd name="connsiteY134" fmla="*/ 148876 h 146331"/>
                <a:gd name="connsiteX135" fmla="*/ 45172 w 127244"/>
                <a:gd name="connsiteY135" fmla="*/ 149194 h 146331"/>
                <a:gd name="connsiteX136" fmla="*/ 43582 w 127244"/>
                <a:gd name="connsiteY136" fmla="*/ 149831 h 146331"/>
                <a:gd name="connsiteX137" fmla="*/ 42945 w 127244"/>
                <a:gd name="connsiteY137" fmla="*/ 150149 h 146331"/>
                <a:gd name="connsiteX138" fmla="*/ 42627 w 127244"/>
                <a:gd name="connsiteY138" fmla="*/ 149831 h 146331"/>
                <a:gd name="connsiteX139" fmla="*/ 41036 w 127244"/>
                <a:gd name="connsiteY139" fmla="*/ 149513 h 146331"/>
                <a:gd name="connsiteX140" fmla="*/ 39446 w 127244"/>
                <a:gd name="connsiteY140" fmla="*/ 149831 h 146331"/>
                <a:gd name="connsiteX141" fmla="*/ 37855 w 127244"/>
                <a:gd name="connsiteY141" fmla="*/ 150149 h 146331"/>
                <a:gd name="connsiteX142" fmla="*/ 34038 w 127244"/>
                <a:gd name="connsiteY142" fmla="*/ 150149 h 146331"/>
                <a:gd name="connsiteX143" fmla="*/ 32448 w 127244"/>
                <a:gd name="connsiteY143" fmla="*/ 149831 h 146331"/>
                <a:gd name="connsiteX144" fmla="*/ 27358 w 127244"/>
                <a:gd name="connsiteY144" fmla="*/ 149831 h 146331"/>
                <a:gd name="connsiteX145" fmla="*/ 26085 w 127244"/>
                <a:gd name="connsiteY145" fmla="*/ 149513 h 146331"/>
                <a:gd name="connsiteX146" fmla="*/ 25131 w 127244"/>
                <a:gd name="connsiteY146" fmla="*/ 149194 h 146331"/>
                <a:gd name="connsiteX147" fmla="*/ 20359 w 127244"/>
                <a:gd name="connsiteY147" fmla="*/ 148240 h 146331"/>
                <a:gd name="connsiteX148" fmla="*/ 19723 w 127244"/>
                <a:gd name="connsiteY148" fmla="*/ 147922 h 146331"/>
                <a:gd name="connsiteX149" fmla="*/ 17814 w 127244"/>
                <a:gd name="connsiteY149" fmla="*/ 146968 h 146331"/>
                <a:gd name="connsiteX150" fmla="*/ 16542 w 127244"/>
                <a:gd name="connsiteY150" fmla="*/ 146013 h 146331"/>
                <a:gd name="connsiteX151" fmla="*/ 14633 w 127244"/>
                <a:gd name="connsiteY151" fmla="*/ 144741 h 146331"/>
                <a:gd name="connsiteX152" fmla="*/ 12406 w 127244"/>
                <a:gd name="connsiteY152" fmla="*/ 144741 h 146331"/>
                <a:gd name="connsiteX153" fmla="*/ 12088 w 127244"/>
                <a:gd name="connsiteY153" fmla="*/ 144105 h 146331"/>
                <a:gd name="connsiteX154" fmla="*/ 12724 w 127244"/>
                <a:gd name="connsiteY154" fmla="*/ 143468 h 146331"/>
                <a:gd name="connsiteX155" fmla="*/ 12724 w 127244"/>
                <a:gd name="connsiteY155" fmla="*/ 143150 h 146331"/>
                <a:gd name="connsiteX156" fmla="*/ 12406 w 127244"/>
                <a:gd name="connsiteY156" fmla="*/ 142832 h 146331"/>
                <a:gd name="connsiteX157" fmla="*/ 11770 w 127244"/>
                <a:gd name="connsiteY157" fmla="*/ 142514 h 146331"/>
                <a:gd name="connsiteX158" fmla="*/ 9861 w 127244"/>
                <a:gd name="connsiteY158" fmla="*/ 141878 h 146331"/>
                <a:gd name="connsiteX159" fmla="*/ 9543 w 127244"/>
                <a:gd name="connsiteY159" fmla="*/ 141878 h 146331"/>
                <a:gd name="connsiteX160" fmla="*/ 9225 w 127244"/>
                <a:gd name="connsiteY160" fmla="*/ 141560 h 146331"/>
                <a:gd name="connsiteX161" fmla="*/ 9543 w 127244"/>
                <a:gd name="connsiteY161" fmla="*/ 140924 h 146331"/>
                <a:gd name="connsiteX162" fmla="*/ 9543 w 127244"/>
                <a:gd name="connsiteY162" fmla="*/ 140287 h 146331"/>
                <a:gd name="connsiteX163" fmla="*/ 8271 w 127244"/>
                <a:gd name="connsiteY163" fmla="*/ 140287 h 146331"/>
                <a:gd name="connsiteX164" fmla="*/ 7953 w 127244"/>
                <a:gd name="connsiteY164" fmla="*/ 139333 h 146331"/>
                <a:gd name="connsiteX165" fmla="*/ 8271 w 127244"/>
                <a:gd name="connsiteY165" fmla="*/ 139333 h 146331"/>
                <a:gd name="connsiteX166" fmla="*/ 8907 w 127244"/>
                <a:gd name="connsiteY166" fmla="*/ 138061 h 146331"/>
                <a:gd name="connsiteX167" fmla="*/ 7953 w 127244"/>
                <a:gd name="connsiteY167" fmla="*/ 136470 h 146331"/>
                <a:gd name="connsiteX168" fmla="*/ 2545 w 127244"/>
                <a:gd name="connsiteY168" fmla="*/ 128835 h 146331"/>
                <a:gd name="connsiteX169" fmla="*/ 1909 w 127244"/>
                <a:gd name="connsiteY169" fmla="*/ 126927 h 146331"/>
                <a:gd name="connsiteX170" fmla="*/ 954 w 127244"/>
                <a:gd name="connsiteY170" fmla="*/ 123745 h 146331"/>
                <a:gd name="connsiteX171" fmla="*/ 954 w 127244"/>
                <a:gd name="connsiteY171" fmla="*/ 120246 h 146331"/>
                <a:gd name="connsiteX172" fmla="*/ 636 w 127244"/>
                <a:gd name="connsiteY172" fmla="*/ 118656 h 146331"/>
                <a:gd name="connsiteX173" fmla="*/ 954 w 127244"/>
                <a:gd name="connsiteY173" fmla="*/ 117701 h 146331"/>
                <a:gd name="connsiteX174" fmla="*/ 954 w 127244"/>
                <a:gd name="connsiteY174" fmla="*/ 115793 h 146331"/>
                <a:gd name="connsiteX175" fmla="*/ 1273 w 127244"/>
                <a:gd name="connsiteY175" fmla="*/ 114838 h 146331"/>
                <a:gd name="connsiteX176" fmla="*/ 954 w 127244"/>
                <a:gd name="connsiteY176" fmla="*/ 113884 h 146331"/>
                <a:gd name="connsiteX177" fmla="*/ 636 w 127244"/>
                <a:gd name="connsiteY177" fmla="*/ 111975 h 146331"/>
                <a:gd name="connsiteX178" fmla="*/ 636 w 127244"/>
                <a:gd name="connsiteY178" fmla="*/ 111339 h 146331"/>
                <a:gd name="connsiteX179" fmla="*/ 954 w 127244"/>
                <a:gd name="connsiteY179" fmla="*/ 110067 h 146331"/>
                <a:gd name="connsiteX180" fmla="*/ 318 w 127244"/>
                <a:gd name="connsiteY180" fmla="*/ 109112 h 146331"/>
                <a:gd name="connsiteX181" fmla="*/ 0 w 127244"/>
                <a:gd name="connsiteY181" fmla="*/ 108158 h 146331"/>
                <a:gd name="connsiteX182" fmla="*/ 636 w 127244"/>
                <a:gd name="connsiteY182" fmla="*/ 106567 h 146331"/>
                <a:gd name="connsiteX183" fmla="*/ 318 w 127244"/>
                <a:gd name="connsiteY183" fmla="*/ 104977 h 146331"/>
                <a:gd name="connsiteX184" fmla="*/ 636 w 127244"/>
                <a:gd name="connsiteY184" fmla="*/ 100841 h 146331"/>
                <a:gd name="connsiteX185" fmla="*/ 318 w 127244"/>
                <a:gd name="connsiteY185" fmla="*/ 99887 h 146331"/>
                <a:gd name="connsiteX186" fmla="*/ 954 w 127244"/>
                <a:gd name="connsiteY186" fmla="*/ 98297 h 146331"/>
                <a:gd name="connsiteX187" fmla="*/ 1273 w 127244"/>
                <a:gd name="connsiteY187" fmla="*/ 97660 h 146331"/>
                <a:gd name="connsiteX188" fmla="*/ 1909 w 127244"/>
                <a:gd name="connsiteY188" fmla="*/ 98615 h 146331"/>
                <a:gd name="connsiteX189" fmla="*/ 1909 w 127244"/>
                <a:gd name="connsiteY189" fmla="*/ 99251 h 146331"/>
                <a:gd name="connsiteX190" fmla="*/ 2227 w 127244"/>
                <a:gd name="connsiteY190" fmla="*/ 98933 h 146331"/>
                <a:gd name="connsiteX191" fmla="*/ 2227 w 127244"/>
                <a:gd name="connsiteY191" fmla="*/ 96070 h 146331"/>
                <a:gd name="connsiteX192" fmla="*/ 2545 w 127244"/>
                <a:gd name="connsiteY192" fmla="*/ 95434 h 146331"/>
                <a:gd name="connsiteX193" fmla="*/ 3181 w 127244"/>
                <a:gd name="connsiteY193" fmla="*/ 94797 h 146331"/>
                <a:gd name="connsiteX194" fmla="*/ 2863 w 127244"/>
                <a:gd name="connsiteY194" fmla="*/ 94797 h 146331"/>
                <a:gd name="connsiteX195" fmla="*/ 2227 w 127244"/>
                <a:gd name="connsiteY195" fmla="*/ 92252 h 146331"/>
                <a:gd name="connsiteX196" fmla="*/ 2227 w 127244"/>
                <a:gd name="connsiteY196" fmla="*/ 91616 h 146331"/>
                <a:gd name="connsiteX197" fmla="*/ 1909 w 127244"/>
                <a:gd name="connsiteY197" fmla="*/ 90980 h 146331"/>
                <a:gd name="connsiteX198" fmla="*/ 2227 w 127244"/>
                <a:gd name="connsiteY198" fmla="*/ 89071 h 146331"/>
                <a:gd name="connsiteX199" fmla="*/ 2227 w 127244"/>
                <a:gd name="connsiteY199" fmla="*/ 88117 h 146331"/>
                <a:gd name="connsiteX200" fmla="*/ 2545 w 127244"/>
                <a:gd name="connsiteY200" fmla="*/ 86845 h 146331"/>
                <a:gd name="connsiteX201" fmla="*/ 3181 w 127244"/>
                <a:gd name="connsiteY201" fmla="*/ 86526 h 146331"/>
                <a:gd name="connsiteX202" fmla="*/ 3818 w 127244"/>
                <a:gd name="connsiteY202" fmla="*/ 85890 h 146331"/>
                <a:gd name="connsiteX203" fmla="*/ 4136 w 127244"/>
                <a:gd name="connsiteY203" fmla="*/ 85572 h 146331"/>
                <a:gd name="connsiteX204" fmla="*/ 4136 w 127244"/>
                <a:gd name="connsiteY204" fmla="*/ 85254 h 146331"/>
                <a:gd name="connsiteX205" fmla="*/ 3818 w 127244"/>
                <a:gd name="connsiteY205" fmla="*/ 84936 h 146331"/>
                <a:gd name="connsiteX206" fmla="*/ 3181 w 127244"/>
                <a:gd name="connsiteY206" fmla="*/ 85254 h 146331"/>
                <a:gd name="connsiteX207" fmla="*/ 2863 w 127244"/>
                <a:gd name="connsiteY207" fmla="*/ 85254 h 146331"/>
                <a:gd name="connsiteX208" fmla="*/ 3181 w 127244"/>
                <a:gd name="connsiteY208" fmla="*/ 84300 h 146331"/>
                <a:gd name="connsiteX209" fmla="*/ 3499 w 127244"/>
                <a:gd name="connsiteY209" fmla="*/ 83345 h 146331"/>
                <a:gd name="connsiteX210" fmla="*/ 2863 w 127244"/>
                <a:gd name="connsiteY210" fmla="*/ 81755 h 146331"/>
                <a:gd name="connsiteX211" fmla="*/ 3181 w 127244"/>
                <a:gd name="connsiteY211" fmla="*/ 81119 h 146331"/>
                <a:gd name="connsiteX212" fmla="*/ 2863 w 127244"/>
                <a:gd name="connsiteY212" fmla="*/ 80164 h 146331"/>
                <a:gd name="connsiteX213" fmla="*/ 2863 w 127244"/>
                <a:gd name="connsiteY213" fmla="*/ 79846 h 146331"/>
                <a:gd name="connsiteX214" fmla="*/ 4136 w 127244"/>
                <a:gd name="connsiteY214" fmla="*/ 76665 h 146331"/>
                <a:gd name="connsiteX215" fmla="*/ 3818 w 127244"/>
                <a:gd name="connsiteY215" fmla="*/ 75393 h 146331"/>
                <a:gd name="connsiteX216" fmla="*/ 4454 w 127244"/>
                <a:gd name="connsiteY216" fmla="*/ 72848 h 146331"/>
                <a:gd name="connsiteX217" fmla="*/ 4454 w 127244"/>
                <a:gd name="connsiteY217" fmla="*/ 72211 h 146331"/>
                <a:gd name="connsiteX218" fmla="*/ 5408 w 127244"/>
                <a:gd name="connsiteY218" fmla="*/ 71257 h 146331"/>
                <a:gd name="connsiteX219" fmla="*/ 5726 w 127244"/>
                <a:gd name="connsiteY219" fmla="*/ 70621 h 146331"/>
                <a:gd name="connsiteX220" fmla="*/ 5408 w 127244"/>
                <a:gd name="connsiteY220" fmla="*/ 69666 h 146331"/>
                <a:gd name="connsiteX221" fmla="*/ 5726 w 127244"/>
                <a:gd name="connsiteY221" fmla="*/ 68076 h 146331"/>
                <a:gd name="connsiteX222" fmla="*/ 6044 w 127244"/>
                <a:gd name="connsiteY222" fmla="*/ 67440 h 146331"/>
                <a:gd name="connsiteX223" fmla="*/ 6680 w 127244"/>
                <a:gd name="connsiteY223" fmla="*/ 66167 h 146331"/>
                <a:gd name="connsiteX224" fmla="*/ 6680 w 127244"/>
                <a:gd name="connsiteY224" fmla="*/ 64259 h 146331"/>
                <a:gd name="connsiteX225" fmla="*/ 6999 w 127244"/>
                <a:gd name="connsiteY225" fmla="*/ 61077 h 146331"/>
                <a:gd name="connsiteX226" fmla="*/ 8907 w 127244"/>
                <a:gd name="connsiteY226" fmla="*/ 57896 h 146331"/>
                <a:gd name="connsiteX227" fmla="*/ 9543 w 127244"/>
                <a:gd name="connsiteY227" fmla="*/ 56306 h 146331"/>
                <a:gd name="connsiteX228" fmla="*/ 9225 w 127244"/>
                <a:gd name="connsiteY228" fmla="*/ 55033 h 146331"/>
                <a:gd name="connsiteX229" fmla="*/ 9861 w 127244"/>
                <a:gd name="connsiteY229" fmla="*/ 53443 h 146331"/>
                <a:gd name="connsiteX230" fmla="*/ 12406 w 127244"/>
                <a:gd name="connsiteY230" fmla="*/ 47717 h 146331"/>
                <a:gd name="connsiteX231" fmla="*/ 13043 w 127244"/>
                <a:gd name="connsiteY231" fmla="*/ 45172 h 146331"/>
                <a:gd name="connsiteX232" fmla="*/ 13997 w 127244"/>
                <a:gd name="connsiteY232" fmla="*/ 42627 h 146331"/>
                <a:gd name="connsiteX233" fmla="*/ 14951 w 127244"/>
                <a:gd name="connsiteY233" fmla="*/ 41991 h 146331"/>
                <a:gd name="connsiteX234" fmla="*/ 16224 w 127244"/>
                <a:gd name="connsiteY234" fmla="*/ 38492 h 146331"/>
                <a:gd name="connsiteX235" fmla="*/ 18451 w 127244"/>
                <a:gd name="connsiteY235" fmla="*/ 34038 h 146331"/>
                <a:gd name="connsiteX236" fmla="*/ 19087 w 127244"/>
                <a:gd name="connsiteY236" fmla="*/ 31493 h 146331"/>
                <a:gd name="connsiteX237" fmla="*/ 19723 w 127244"/>
                <a:gd name="connsiteY237" fmla="*/ 30539 h 146331"/>
                <a:gd name="connsiteX238" fmla="*/ 21950 w 127244"/>
                <a:gd name="connsiteY238" fmla="*/ 27676 h 146331"/>
                <a:gd name="connsiteX239" fmla="*/ 24495 w 127244"/>
                <a:gd name="connsiteY239" fmla="*/ 23222 h 146331"/>
                <a:gd name="connsiteX240" fmla="*/ 24495 w 127244"/>
                <a:gd name="connsiteY240" fmla="*/ 22904 h 146331"/>
                <a:gd name="connsiteX241" fmla="*/ 26085 w 127244"/>
                <a:gd name="connsiteY241" fmla="*/ 20359 h 146331"/>
                <a:gd name="connsiteX242" fmla="*/ 26085 w 127244"/>
                <a:gd name="connsiteY242" fmla="*/ 20041 h 146331"/>
                <a:gd name="connsiteX243" fmla="*/ 29585 w 127244"/>
                <a:gd name="connsiteY243" fmla="*/ 14315 h 146331"/>
                <a:gd name="connsiteX244" fmla="*/ 34038 w 127244"/>
                <a:gd name="connsiteY244" fmla="*/ 9543 h 146331"/>
                <a:gd name="connsiteX245" fmla="*/ 34992 w 127244"/>
                <a:gd name="connsiteY245" fmla="*/ 7953 h 146331"/>
                <a:gd name="connsiteX246" fmla="*/ 36901 w 127244"/>
                <a:gd name="connsiteY246" fmla="*/ 6680 h 146331"/>
                <a:gd name="connsiteX247" fmla="*/ 40082 w 127244"/>
                <a:gd name="connsiteY247" fmla="*/ 4454 h 146331"/>
                <a:gd name="connsiteX248" fmla="*/ 40718 w 127244"/>
                <a:gd name="connsiteY248" fmla="*/ 4135 h 146331"/>
                <a:gd name="connsiteX249" fmla="*/ 44854 w 127244"/>
                <a:gd name="connsiteY249" fmla="*/ 1591 h 146331"/>
                <a:gd name="connsiteX250" fmla="*/ 47399 w 127244"/>
                <a:gd name="connsiteY250" fmla="*/ 636 h 146331"/>
                <a:gd name="connsiteX251" fmla="*/ 50262 w 127244"/>
                <a:gd name="connsiteY251" fmla="*/ 0 h 146331"/>
                <a:gd name="connsiteX252" fmla="*/ 55988 w 127244"/>
                <a:gd name="connsiteY252" fmla="*/ 0 h 146331"/>
                <a:gd name="connsiteX253" fmla="*/ 58215 w 127244"/>
                <a:gd name="connsiteY253" fmla="*/ 1591 h 146331"/>
                <a:gd name="connsiteX254" fmla="*/ 58851 w 127244"/>
                <a:gd name="connsiteY254" fmla="*/ 2227 h 146331"/>
                <a:gd name="connsiteX255" fmla="*/ 61714 w 127244"/>
                <a:gd name="connsiteY255" fmla="*/ 4135 h 146331"/>
                <a:gd name="connsiteX256" fmla="*/ 62986 w 127244"/>
                <a:gd name="connsiteY256" fmla="*/ 5090 h 146331"/>
                <a:gd name="connsiteX257" fmla="*/ 63940 w 127244"/>
                <a:gd name="connsiteY257" fmla="*/ 5726 h 146331"/>
                <a:gd name="connsiteX258" fmla="*/ 64577 w 127244"/>
                <a:gd name="connsiteY258" fmla="*/ 6680 h 146331"/>
                <a:gd name="connsiteX259" fmla="*/ 66485 w 127244"/>
                <a:gd name="connsiteY259" fmla="*/ 7317 h 146331"/>
                <a:gd name="connsiteX260" fmla="*/ 67122 w 127244"/>
                <a:gd name="connsiteY260" fmla="*/ 7317 h 146331"/>
                <a:gd name="connsiteX261" fmla="*/ 69030 w 127244"/>
                <a:gd name="connsiteY261" fmla="*/ 8589 h 146331"/>
                <a:gd name="connsiteX262" fmla="*/ 69349 w 127244"/>
                <a:gd name="connsiteY262" fmla="*/ 9543 h 146331"/>
                <a:gd name="connsiteX263" fmla="*/ 69030 w 127244"/>
                <a:gd name="connsiteY263" fmla="*/ 10180 h 146331"/>
                <a:gd name="connsiteX264" fmla="*/ 66803 w 127244"/>
                <a:gd name="connsiteY264" fmla="*/ 10816 h 146331"/>
                <a:gd name="connsiteX265" fmla="*/ 66485 w 127244"/>
                <a:gd name="connsiteY265" fmla="*/ 11134 h 146331"/>
                <a:gd name="connsiteX266" fmla="*/ 66167 w 127244"/>
                <a:gd name="connsiteY266" fmla="*/ 10180 h 146331"/>
                <a:gd name="connsiteX267" fmla="*/ 66167 w 127244"/>
                <a:gd name="connsiteY267" fmla="*/ 9543 h 146331"/>
                <a:gd name="connsiteX268" fmla="*/ 65213 w 127244"/>
                <a:gd name="connsiteY268" fmla="*/ 9543 h 146331"/>
                <a:gd name="connsiteX269" fmla="*/ 63940 w 127244"/>
                <a:gd name="connsiteY269" fmla="*/ 11452 h 146331"/>
                <a:gd name="connsiteX270" fmla="*/ 64259 w 127244"/>
                <a:gd name="connsiteY270" fmla="*/ 12088 h 146331"/>
                <a:gd name="connsiteX271" fmla="*/ 64577 w 127244"/>
                <a:gd name="connsiteY271" fmla="*/ 12406 h 146331"/>
                <a:gd name="connsiteX272" fmla="*/ 65213 w 127244"/>
                <a:gd name="connsiteY272" fmla="*/ 13997 h 146331"/>
                <a:gd name="connsiteX273" fmla="*/ 65849 w 127244"/>
                <a:gd name="connsiteY273" fmla="*/ 14633 h 146331"/>
                <a:gd name="connsiteX274" fmla="*/ 66485 w 127244"/>
                <a:gd name="connsiteY274" fmla="*/ 14315 h 146331"/>
                <a:gd name="connsiteX275" fmla="*/ 67122 w 127244"/>
                <a:gd name="connsiteY275" fmla="*/ 15269 h 146331"/>
                <a:gd name="connsiteX276" fmla="*/ 67758 w 127244"/>
                <a:gd name="connsiteY276" fmla="*/ 16542 h 146331"/>
                <a:gd name="connsiteX277" fmla="*/ 67440 w 127244"/>
                <a:gd name="connsiteY277" fmla="*/ 17178 h 146331"/>
                <a:gd name="connsiteX278" fmla="*/ 68076 w 127244"/>
                <a:gd name="connsiteY278" fmla="*/ 18450 h 146331"/>
                <a:gd name="connsiteX279" fmla="*/ 68712 w 127244"/>
                <a:gd name="connsiteY279" fmla="*/ 18450 h 146331"/>
                <a:gd name="connsiteX280" fmla="*/ 68712 w 127244"/>
                <a:gd name="connsiteY280" fmla="*/ 16860 h 146331"/>
                <a:gd name="connsiteX281" fmla="*/ 68394 w 127244"/>
                <a:gd name="connsiteY281" fmla="*/ 13997 h 146331"/>
                <a:gd name="connsiteX282" fmla="*/ 69985 w 127244"/>
                <a:gd name="connsiteY282" fmla="*/ 12406 h 146331"/>
                <a:gd name="connsiteX283" fmla="*/ 71257 w 127244"/>
                <a:gd name="connsiteY283" fmla="*/ 12724 h 146331"/>
                <a:gd name="connsiteX284" fmla="*/ 70939 w 127244"/>
                <a:gd name="connsiteY284" fmla="*/ 13361 h 146331"/>
                <a:gd name="connsiteX285" fmla="*/ 72530 w 127244"/>
                <a:gd name="connsiteY285" fmla="*/ 14633 h 146331"/>
                <a:gd name="connsiteX286" fmla="*/ 72848 w 127244"/>
                <a:gd name="connsiteY286" fmla="*/ 15587 h 146331"/>
                <a:gd name="connsiteX287" fmla="*/ 72848 w 127244"/>
                <a:gd name="connsiteY287" fmla="*/ 15906 h 146331"/>
                <a:gd name="connsiteX288" fmla="*/ 71893 w 127244"/>
                <a:gd name="connsiteY288" fmla="*/ 16860 h 146331"/>
                <a:gd name="connsiteX289" fmla="*/ 72530 w 127244"/>
                <a:gd name="connsiteY289" fmla="*/ 17814 h 146331"/>
                <a:gd name="connsiteX290" fmla="*/ 73166 w 127244"/>
                <a:gd name="connsiteY290" fmla="*/ 18450 h 146331"/>
                <a:gd name="connsiteX291" fmla="*/ 72848 w 127244"/>
                <a:gd name="connsiteY291" fmla="*/ 19405 h 146331"/>
                <a:gd name="connsiteX292" fmla="*/ 72530 w 127244"/>
                <a:gd name="connsiteY292" fmla="*/ 20041 h 146331"/>
                <a:gd name="connsiteX293" fmla="*/ 71575 w 127244"/>
                <a:gd name="connsiteY293" fmla="*/ 21313 h 146331"/>
                <a:gd name="connsiteX294" fmla="*/ 71893 w 127244"/>
                <a:gd name="connsiteY294" fmla="*/ 22268 h 146331"/>
                <a:gd name="connsiteX295" fmla="*/ 72212 w 127244"/>
                <a:gd name="connsiteY295" fmla="*/ 22586 h 146331"/>
                <a:gd name="connsiteX296" fmla="*/ 73166 w 127244"/>
                <a:gd name="connsiteY296" fmla="*/ 22586 h 146331"/>
                <a:gd name="connsiteX297" fmla="*/ 73166 w 127244"/>
                <a:gd name="connsiteY297" fmla="*/ 22904 h 146331"/>
                <a:gd name="connsiteX298" fmla="*/ 72212 w 127244"/>
                <a:gd name="connsiteY298" fmla="*/ 25131 h 146331"/>
                <a:gd name="connsiteX299" fmla="*/ 71893 w 127244"/>
                <a:gd name="connsiteY299" fmla="*/ 25767 h 146331"/>
                <a:gd name="connsiteX300" fmla="*/ 72212 w 127244"/>
                <a:gd name="connsiteY300" fmla="*/ 26721 h 146331"/>
                <a:gd name="connsiteX301" fmla="*/ 72848 w 127244"/>
                <a:gd name="connsiteY301" fmla="*/ 28312 h 146331"/>
                <a:gd name="connsiteX302" fmla="*/ 72848 w 127244"/>
                <a:gd name="connsiteY302" fmla="*/ 29584 h 146331"/>
                <a:gd name="connsiteX303" fmla="*/ 72212 w 127244"/>
                <a:gd name="connsiteY303" fmla="*/ 30539 h 146331"/>
                <a:gd name="connsiteX304" fmla="*/ 70939 w 127244"/>
                <a:gd name="connsiteY304" fmla="*/ 33402 h 146331"/>
                <a:gd name="connsiteX305" fmla="*/ 71257 w 127244"/>
                <a:gd name="connsiteY305" fmla="*/ 34356 h 146331"/>
                <a:gd name="connsiteX306" fmla="*/ 68712 w 127244"/>
                <a:gd name="connsiteY306" fmla="*/ 39446 h 146331"/>
                <a:gd name="connsiteX307" fmla="*/ 69030 w 127244"/>
                <a:gd name="connsiteY307" fmla="*/ 40400 h 146331"/>
                <a:gd name="connsiteX308" fmla="*/ 68076 w 127244"/>
                <a:gd name="connsiteY308" fmla="*/ 42627 h 146331"/>
                <a:gd name="connsiteX309" fmla="*/ 66803 w 127244"/>
                <a:gd name="connsiteY309" fmla="*/ 45808 h 146331"/>
                <a:gd name="connsiteX310" fmla="*/ 66803 w 127244"/>
                <a:gd name="connsiteY310" fmla="*/ 46444 h 146331"/>
                <a:gd name="connsiteX311" fmla="*/ 64259 w 127244"/>
                <a:gd name="connsiteY311" fmla="*/ 50898 h 146331"/>
                <a:gd name="connsiteX312" fmla="*/ 62986 w 127244"/>
                <a:gd name="connsiteY312" fmla="*/ 52170 h 146331"/>
                <a:gd name="connsiteX313" fmla="*/ 61396 w 127244"/>
                <a:gd name="connsiteY313" fmla="*/ 54715 h 146331"/>
                <a:gd name="connsiteX314" fmla="*/ 61396 w 127244"/>
                <a:gd name="connsiteY314" fmla="*/ 55033 h 146331"/>
                <a:gd name="connsiteX315" fmla="*/ 60759 w 127244"/>
                <a:gd name="connsiteY315" fmla="*/ 55670 h 146331"/>
                <a:gd name="connsiteX316" fmla="*/ 59805 w 127244"/>
                <a:gd name="connsiteY316" fmla="*/ 57578 h 146331"/>
                <a:gd name="connsiteX317" fmla="*/ 59805 w 127244"/>
                <a:gd name="connsiteY317" fmla="*/ 57896 h 146331"/>
                <a:gd name="connsiteX318" fmla="*/ 59169 w 127244"/>
                <a:gd name="connsiteY318" fmla="*/ 58851 h 146331"/>
                <a:gd name="connsiteX319" fmla="*/ 57260 w 127244"/>
                <a:gd name="connsiteY319" fmla="*/ 60441 h 146331"/>
                <a:gd name="connsiteX320" fmla="*/ 54079 w 127244"/>
                <a:gd name="connsiteY320" fmla="*/ 64577 h 146331"/>
                <a:gd name="connsiteX321" fmla="*/ 49307 w 127244"/>
                <a:gd name="connsiteY321" fmla="*/ 70303 h 146331"/>
                <a:gd name="connsiteX322" fmla="*/ 47081 w 127244"/>
                <a:gd name="connsiteY322" fmla="*/ 71893 h 146331"/>
                <a:gd name="connsiteX323" fmla="*/ 45808 w 127244"/>
                <a:gd name="connsiteY323" fmla="*/ 72529 h 146331"/>
                <a:gd name="connsiteX324" fmla="*/ 43582 w 127244"/>
                <a:gd name="connsiteY324" fmla="*/ 74438 h 146331"/>
                <a:gd name="connsiteX325" fmla="*/ 39764 w 127244"/>
                <a:gd name="connsiteY325" fmla="*/ 75711 h 146331"/>
                <a:gd name="connsiteX326" fmla="*/ 38491 w 127244"/>
                <a:gd name="connsiteY326" fmla="*/ 76029 h 146331"/>
                <a:gd name="connsiteX327" fmla="*/ 33084 w 127244"/>
                <a:gd name="connsiteY327" fmla="*/ 76983 h 146331"/>
                <a:gd name="connsiteX328" fmla="*/ 29903 w 127244"/>
                <a:gd name="connsiteY328" fmla="*/ 77619 h 146331"/>
                <a:gd name="connsiteX329" fmla="*/ 28312 w 127244"/>
                <a:gd name="connsiteY329" fmla="*/ 77937 h 146331"/>
                <a:gd name="connsiteX330" fmla="*/ 26085 w 127244"/>
                <a:gd name="connsiteY330" fmla="*/ 77301 h 146331"/>
                <a:gd name="connsiteX331" fmla="*/ 24495 w 127244"/>
                <a:gd name="connsiteY331" fmla="*/ 76983 h 146331"/>
                <a:gd name="connsiteX332" fmla="*/ 23858 w 127244"/>
                <a:gd name="connsiteY332" fmla="*/ 77619 h 146331"/>
                <a:gd name="connsiteX333" fmla="*/ 22268 w 127244"/>
                <a:gd name="connsiteY333" fmla="*/ 81755 h 146331"/>
                <a:gd name="connsiteX334" fmla="*/ 22586 w 127244"/>
                <a:gd name="connsiteY334" fmla="*/ 83663 h 146331"/>
                <a:gd name="connsiteX335" fmla="*/ 22904 w 127244"/>
                <a:gd name="connsiteY335" fmla="*/ 85254 h 146331"/>
                <a:gd name="connsiteX336" fmla="*/ 22586 w 127244"/>
                <a:gd name="connsiteY336" fmla="*/ 85890 h 146331"/>
                <a:gd name="connsiteX337" fmla="*/ 21632 w 127244"/>
                <a:gd name="connsiteY337" fmla="*/ 87481 h 146331"/>
                <a:gd name="connsiteX338" fmla="*/ 21950 w 127244"/>
                <a:gd name="connsiteY338" fmla="*/ 88435 h 146331"/>
                <a:gd name="connsiteX339" fmla="*/ 20995 w 127244"/>
                <a:gd name="connsiteY339" fmla="*/ 90980 h 146331"/>
                <a:gd name="connsiteX340" fmla="*/ 20995 w 127244"/>
                <a:gd name="connsiteY340" fmla="*/ 94797 h 146331"/>
                <a:gd name="connsiteX341" fmla="*/ 21314 w 127244"/>
                <a:gd name="connsiteY341" fmla="*/ 96388 h 146331"/>
                <a:gd name="connsiteX342" fmla="*/ 20995 w 127244"/>
                <a:gd name="connsiteY342" fmla="*/ 97024 h 146331"/>
                <a:gd name="connsiteX343" fmla="*/ 20677 w 127244"/>
                <a:gd name="connsiteY343" fmla="*/ 98933 h 146331"/>
                <a:gd name="connsiteX344" fmla="*/ 20359 w 127244"/>
                <a:gd name="connsiteY344" fmla="*/ 99887 h 146331"/>
                <a:gd name="connsiteX345" fmla="*/ 20677 w 127244"/>
                <a:gd name="connsiteY345" fmla="*/ 100841 h 146331"/>
                <a:gd name="connsiteX346" fmla="*/ 20995 w 127244"/>
                <a:gd name="connsiteY346" fmla="*/ 101796 h 146331"/>
                <a:gd name="connsiteX347" fmla="*/ 20677 w 127244"/>
                <a:gd name="connsiteY347" fmla="*/ 102432 h 146331"/>
                <a:gd name="connsiteX348" fmla="*/ 20677 w 127244"/>
                <a:gd name="connsiteY348" fmla="*/ 102750 h 146331"/>
                <a:gd name="connsiteX349" fmla="*/ 20995 w 127244"/>
                <a:gd name="connsiteY349" fmla="*/ 103704 h 146331"/>
                <a:gd name="connsiteX350" fmla="*/ 20677 w 127244"/>
                <a:gd name="connsiteY350" fmla="*/ 105613 h 146331"/>
                <a:gd name="connsiteX351" fmla="*/ 20677 w 127244"/>
                <a:gd name="connsiteY351" fmla="*/ 107522 h 146331"/>
                <a:gd name="connsiteX352" fmla="*/ 21314 w 127244"/>
                <a:gd name="connsiteY352" fmla="*/ 109112 h 146331"/>
                <a:gd name="connsiteX353" fmla="*/ 21314 w 127244"/>
                <a:gd name="connsiteY353" fmla="*/ 113248 h 146331"/>
                <a:gd name="connsiteX354" fmla="*/ 20677 w 127244"/>
                <a:gd name="connsiteY354" fmla="*/ 115156 h 146331"/>
                <a:gd name="connsiteX355" fmla="*/ 21314 w 127244"/>
                <a:gd name="connsiteY355" fmla="*/ 116429 h 146331"/>
                <a:gd name="connsiteX356" fmla="*/ 21314 w 127244"/>
                <a:gd name="connsiteY356" fmla="*/ 117383 h 146331"/>
                <a:gd name="connsiteX357" fmla="*/ 21632 w 127244"/>
                <a:gd name="connsiteY357" fmla="*/ 118019 h 146331"/>
                <a:gd name="connsiteX358" fmla="*/ 23222 w 127244"/>
                <a:gd name="connsiteY358" fmla="*/ 120882 h 146331"/>
                <a:gd name="connsiteX359" fmla="*/ 23222 w 127244"/>
                <a:gd name="connsiteY359" fmla="*/ 122155 h 146331"/>
                <a:gd name="connsiteX360" fmla="*/ 22904 w 127244"/>
                <a:gd name="connsiteY360" fmla="*/ 123109 h 146331"/>
                <a:gd name="connsiteX361" fmla="*/ 24176 w 127244"/>
                <a:gd name="connsiteY361" fmla="*/ 124700 h 146331"/>
                <a:gd name="connsiteX362" fmla="*/ 25767 w 127244"/>
                <a:gd name="connsiteY362" fmla="*/ 127881 h 146331"/>
                <a:gd name="connsiteX363" fmla="*/ 26085 w 127244"/>
                <a:gd name="connsiteY363" fmla="*/ 128199 h 146331"/>
                <a:gd name="connsiteX364" fmla="*/ 27358 w 127244"/>
                <a:gd name="connsiteY364" fmla="*/ 130744 h 146331"/>
                <a:gd name="connsiteX365" fmla="*/ 27358 w 127244"/>
                <a:gd name="connsiteY365" fmla="*/ 131062 h 146331"/>
                <a:gd name="connsiteX366" fmla="*/ 28948 w 127244"/>
                <a:gd name="connsiteY366" fmla="*/ 132653 h 146331"/>
                <a:gd name="connsiteX367" fmla="*/ 30221 w 127244"/>
                <a:gd name="connsiteY367" fmla="*/ 134243 h 146331"/>
                <a:gd name="connsiteX368" fmla="*/ 34356 w 127244"/>
                <a:gd name="connsiteY368" fmla="*/ 136152 h 146331"/>
                <a:gd name="connsiteX369" fmla="*/ 35947 w 127244"/>
                <a:gd name="connsiteY369" fmla="*/ 135834 h 146331"/>
                <a:gd name="connsiteX370" fmla="*/ 37537 w 127244"/>
                <a:gd name="connsiteY370" fmla="*/ 135516 h 146331"/>
                <a:gd name="connsiteX371" fmla="*/ 45172 w 127244"/>
                <a:gd name="connsiteY371" fmla="*/ 133607 h 146331"/>
                <a:gd name="connsiteX372" fmla="*/ 50580 w 127244"/>
                <a:gd name="connsiteY372" fmla="*/ 130426 h 146331"/>
                <a:gd name="connsiteX373" fmla="*/ 54079 w 127244"/>
                <a:gd name="connsiteY373" fmla="*/ 128835 h 146331"/>
                <a:gd name="connsiteX374" fmla="*/ 59805 w 127244"/>
                <a:gd name="connsiteY374" fmla="*/ 124382 h 146331"/>
                <a:gd name="connsiteX375" fmla="*/ 64259 w 127244"/>
                <a:gd name="connsiteY375" fmla="*/ 120882 h 146331"/>
                <a:gd name="connsiteX376" fmla="*/ 67440 w 127244"/>
                <a:gd name="connsiteY376" fmla="*/ 117383 h 146331"/>
                <a:gd name="connsiteX377" fmla="*/ 71893 w 127244"/>
                <a:gd name="connsiteY377" fmla="*/ 113566 h 146331"/>
                <a:gd name="connsiteX378" fmla="*/ 74120 w 127244"/>
                <a:gd name="connsiteY378" fmla="*/ 111339 h 146331"/>
                <a:gd name="connsiteX379" fmla="*/ 75074 w 127244"/>
                <a:gd name="connsiteY379" fmla="*/ 110385 h 146331"/>
                <a:gd name="connsiteX380" fmla="*/ 75393 w 127244"/>
                <a:gd name="connsiteY380" fmla="*/ 109430 h 146331"/>
                <a:gd name="connsiteX381" fmla="*/ 78892 w 127244"/>
                <a:gd name="connsiteY381" fmla="*/ 106886 h 146331"/>
                <a:gd name="connsiteX382" fmla="*/ 81755 w 127244"/>
                <a:gd name="connsiteY382" fmla="*/ 103704 h 146331"/>
                <a:gd name="connsiteX383" fmla="*/ 85890 w 127244"/>
                <a:gd name="connsiteY383" fmla="*/ 98615 h 146331"/>
                <a:gd name="connsiteX384" fmla="*/ 91934 w 127244"/>
                <a:gd name="connsiteY384" fmla="*/ 91934 h 146331"/>
                <a:gd name="connsiteX385" fmla="*/ 92252 w 127244"/>
                <a:gd name="connsiteY385" fmla="*/ 91616 h 146331"/>
                <a:gd name="connsiteX386" fmla="*/ 95115 w 127244"/>
                <a:gd name="connsiteY386" fmla="*/ 88435 h 146331"/>
                <a:gd name="connsiteX387" fmla="*/ 98933 w 127244"/>
                <a:gd name="connsiteY387" fmla="*/ 83663 h 146331"/>
                <a:gd name="connsiteX388" fmla="*/ 100205 w 127244"/>
                <a:gd name="connsiteY388" fmla="*/ 81437 h 146331"/>
                <a:gd name="connsiteX389" fmla="*/ 104659 w 127244"/>
                <a:gd name="connsiteY389" fmla="*/ 76347 h 146331"/>
                <a:gd name="connsiteX390" fmla="*/ 104341 w 127244"/>
                <a:gd name="connsiteY390" fmla="*/ 76029 h 146331"/>
                <a:gd name="connsiteX391" fmla="*/ 108158 w 127244"/>
                <a:gd name="connsiteY391" fmla="*/ 70303 h 146331"/>
                <a:gd name="connsiteX392" fmla="*/ 108476 w 127244"/>
                <a:gd name="connsiteY392" fmla="*/ 69030 h 146331"/>
                <a:gd name="connsiteX393" fmla="*/ 110703 w 127244"/>
                <a:gd name="connsiteY393" fmla="*/ 66803 h 146331"/>
                <a:gd name="connsiteX394" fmla="*/ 111657 w 127244"/>
                <a:gd name="connsiteY394" fmla="*/ 63940 h 146331"/>
                <a:gd name="connsiteX395" fmla="*/ 111976 w 127244"/>
                <a:gd name="connsiteY395" fmla="*/ 64259 h 146331"/>
                <a:gd name="connsiteX396" fmla="*/ 111976 w 127244"/>
                <a:gd name="connsiteY396" fmla="*/ 64895 h 146331"/>
                <a:gd name="connsiteX397" fmla="*/ 112294 w 127244"/>
                <a:gd name="connsiteY397" fmla="*/ 64895 h 146331"/>
                <a:gd name="connsiteX398" fmla="*/ 112930 w 127244"/>
                <a:gd name="connsiteY398" fmla="*/ 63940 h 146331"/>
                <a:gd name="connsiteX399" fmla="*/ 112930 w 127244"/>
                <a:gd name="connsiteY399" fmla="*/ 63304 h 146331"/>
                <a:gd name="connsiteX400" fmla="*/ 113566 w 127244"/>
                <a:gd name="connsiteY400" fmla="*/ 61396 h 146331"/>
                <a:gd name="connsiteX401" fmla="*/ 113884 w 127244"/>
                <a:gd name="connsiteY401" fmla="*/ 60441 h 146331"/>
                <a:gd name="connsiteX402" fmla="*/ 114838 w 127244"/>
                <a:gd name="connsiteY402" fmla="*/ 59169 h 146331"/>
                <a:gd name="connsiteX403" fmla="*/ 115475 w 127244"/>
                <a:gd name="connsiteY403" fmla="*/ 56624 h 146331"/>
                <a:gd name="connsiteX404" fmla="*/ 116429 w 127244"/>
                <a:gd name="connsiteY404" fmla="*/ 55351 h 146331"/>
                <a:gd name="connsiteX405" fmla="*/ 117065 w 127244"/>
                <a:gd name="connsiteY405" fmla="*/ 54715 h 146331"/>
                <a:gd name="connsiteX406" fmla="*/ 117065 w 127244"/>
                <a:gd name="connsiteY406" fmla="*/ 53761 h 146331"/>
                <a:gd name="connsiteX407" fmla="*/ 118974 w 127244"/>
                <a:gd name="connsiteY407" fmla="*/ 51852 h 146331"/>
                <a:gd name="connsiteX408" fmla="*/ 118974 w 127244"/>
                <a:gd name="connsiteY408" fmla="*/ 51534 h 146331"/>
                <a:gd name="connsiteX409" fmla="*/ 119292 w 127244"/>
                <a:gd name="connsiteY409" fmla="*/ 50898 h 146331"/>
                <a:gd name="connsiteX410" fmla="*/ 119292 w 127244"/>
                <a:gd name="connsiteY410" fmla="*/ 50262 h 146331"/>
                <a:gd name="connsiteX411" fmla="*/ 120246 w 127244"/>
                <a:gd name="connsiteY411" fmla="*/ 48989 h 146331"/>
                <a:gd name="connsiteX412" fmla="*/ 121519 w 127244"/>
                <a:gd name="connsiteY412" fmla="*/ 47399 h 146331"/>
                <a:gd name="connsiteX413" fmla="*/ 121837 w 127244"/>
                <a:gd name="connsiteY413" fmla="*/ 47399 h 146331"/>
                <a:gd name="connsiteX414" fmla="*/ 122155 w 127244"/>
                <a:gd name="connsiteY414" fmla="*/ 47717 h 146331"/>
                <a:gd name="connsiteX415" fmla="*/ 122473 w 127244"/>
                <a:gd name="connsiteY415" fmla="*/ 48671 h 146331"/>
                <a:gd name="connsiteX416" fmla="*/ 123109 w 127244"/>
                <a:gd name="connsiteY416" fmla="*/ 48989 h 146331"/>
                <a:gd name="connsiteX417" fmla="*/ 124064 w 127244"/>
                <a:gd name="connsiteY417" fmla="*/ 49307 h 146331"/>
                <a:gd name="connsiteX418" fmla="*/ 123746 w 127244"/>
                <a:gd name="connsiteY418" fmla="*/ 49625 h 146331"/>
                <a:gd name="connsiteX419" fmla="*/ 123109 w 127244"/>
                <a:gd name="connsiteY419" fmla="*/ 52488 h 146331"/>
                <a:gd name="connsiteX420" fmla="*/ 121519 w 127244"/>
                <a:gd name="connsiteY420" fmla="*/ 53443 h 146331"/>
                <a:gd name="connsiteX421" fmla="*/ 120882 w 127244"/>
                <a:gd name="connsiteY421" fmla="*/ 53443 h 146331"/>
                <a:gd name="connsiteX422" fmla="*/ 119928 w 127244"/>
                <a:gd name="connsiteY422" fmla="*/ 54079 h 146331"/>
                <a:gd name="connsiteX423" fmla="*/ 120882 w 127244"/>
                <a:gd name="connsiteY423" fmla="*/ 56306 h 146331"/>
                <a:gd name="connsiteX424" fmla="*/ 121519 w 127244"/>
                <a:gd name="connsiteY424" fmla="*/ 57260 h 146331"/>
                <a:gd name="connsiteX425" fmla="*/ 121519 w 127244"/>
                <a:gd name="connsiteY425" fmla="*/ 57896 h 146331"/>
                <a:gd name="connsiteX426" fmla="*/ 121519 w 127244"/>
                <a:gd name="connsiteY426" fmla="*/ 58533 h 146331"/>
                <a:gd name="connsiteX427" fmla="*/ 121519 w 127244"/>
                <a:gd name="connsiteY427" fmla="*/ 59169 h 146331"/>
                <a:gd name="connsiteX428" fmla="*/ 120882 w 127244"/>
                <a:gd name="connsiteY428" fmla="*/ 61396 h 146331"/>
                <a:gd name="connsiteX429" fmla="*/ 120564 w 127244"/>
                <a:gd name="connsiteY429" fmla="*/ 62668 h 146331"/>
                <a:gd name="connsiteX430" fmla="*/ 120246 w 127244"/>
                <a:gd name="connsiteY430" fmla="*/ 62668 h 146331"/>
                <a:gd name="connsiteX431" fmla="*/ 120246 w 127244"/>
                <a:gd name="connsiteY431" fmla="*/ 60759 h 146331"/>
                <a:gd name="connsiteX432" fmla="*/ 119928 w 127244"/>
                <a:gd name="connsiteY432" fmla="*/ 60759 h 146331"/>
                <a:gd name="connsiteX433" fmla="*/ 119292 w 127244"/>
                <a:gd name="connsiteY433" fmla="*/ 58533 h 146331"/>
                <a:gd name="connsiteX434" fmla="*/ 119610 w 127244"/>
                <a:gd name="connsiteY434" fmla="*/ 57896 h 146331"/>
                <a:gd name="connsiteX435" fmla="*/ 118974 w 127244"/>
                <a:gd name="connsiteY435" fmla="*/ 57578 h 146331"/>
                <a:gd name="connsiteX436" fmla="*/ 118656 w 127244"/>
                <a:gd name="connsiteY436" fmla="*/ 57896 h 146331"/>
                <a:gd name="connsiteX437" fmla="*/ 117065 w 127244"/>
                <a:gd name="connsiteY437" fmla="*/ 60759 h 146331"/>
                <a:gd name="connsiteX438" fmla="*/ 116429 w 127244"/>
                <a:gd name="connsiteY438" fmla="*/ 62350 h 146331"/>
                <a:gd name="connsiteX439" fmla="*/ 115475 w 127244"/>
                <a:gd name="connsiteY439" fmla="*/ 62986 h 146331"/>
                <a:gd name="connsiteX440" fmla="*/ 114520 w 127244"/>
                <a:gd name="connsiteY440" fmla="*/ 63940 h 146331"/>
                <a:gd name="connsiteX441" fmla="*/ 114520 w 127244"/>
                <a:gd name="connsiteY441" fmla="*/ 64259 h 146331"/>
                <a:gd name="connsiteX442" fmla="*/ 114202 w 127244"/>
                <a:gd name="connsiteY442" fmla="*/ 65213 h 146331"/>
                <a:gd name="connsiteX443" fmla="*/ 113248 w 127244"/>
                <a:gd name="connsiteY443" fmla="*/ 69030 h 146331"/>
                <a:gd name="connsiteX444" fmla="*/ 113248 w 127244"/>
                <a:gd name="connsiteY444" fmla="*/ 69348 h 146331"/>
                <a:gd name="connsiteX445" fmla="*/ 113884 w 127244"/>
                <a:gd name="connsiteY445" fmla="*/ 69348 h 146331"/>
                <a:gd name="connsiteX446" fmla="*/ 114838 w 127244"/>
                <a:gd name="connsiteY446" fmla="*/ 68076 h 146331"/>
                <a:gd name="connsiteX447" fmla="*/ 116111 w 127244"/>
                <a:gd name="connsiteY447" fmla="*/ 66803 h 146331"/>
                <a:gd name="connsiteX448" fmla="*/ 117701 w 127244"/>
                <a:gd name="connsiteY448" fmla="*/ 66167 h 146331"/>
                <a:gd name="connsiteX449" fmla="*/ 118019 w 127244"/>
                <a:gd name="connsiteY449" fmla="*/ 66167 h 146331"/>
                <a:gd name="connsiteX450" fmla="*/ 117383 w 127244"/>
                <a:gd name="connsiteY450" fmla="*/ 68712 h 146331"/>
                <a:gd name="connsiteX451" fmla="*/ 116429 w 127244"/>
                <a:gd name="connsiteY451" fmla="*/ 69666 h 146331"/>
                <a:gd name="connsiteX452" fmla="*/ 117383 w 127244"/>
                <a:gd name="connsiteY452" fmla="*/ 70939 h 146331"/>
                <a:gd name="connsiteX453" fmla="*/ 118338 w 127244"/>
                <a:gd name="connsiteY453" fmla="*/ 71257 h 146331"/>
                <a:gd name="connsiteX454" fmla="*/ 118656 w 127244"/>
                <a:gd name="connsiteY454" fmla="*/ 72529 h 146331"/>
                <a:gd name="connsiteX455" fmla="*/ 118656 w 127244"/>
                <a:gd name="connsiteY455" fmla="*/ 73484 h 146331"/>
                <a:gd name="connsiteX456" fmla="*/ 118974 w 127244"/>
                <a:gd name="connsiteY456" fmla="*/ 74120 h 146331"/>
                <a:gd name="connsiteX457" fmla="*/ 120882 w 127244"/>
                <a:gd name="connsiteY457" fmla="*/ 74120 h 146331"/>
                <a:gd name="connsiteX458" fmla="*/ 121837 w 127244"/>
                <a:gd name="connsiteY458" fmla="*/ 74756 h 146331"/>
                <a:gd name="connsiteX459" fmla="*/ 1591 w 127244"/>
                <a:gd name="connsiteY459" fmla="*/ 118656 h 146331"/>
                <a:gd name="connsiteX460" fmla="*/ 1591 w 127244"/>
                <a:gd name="connsiteY460" fmla="*/ 118974 h 146331"/>
                <a:gd name="connsiteX461" fmla="*/ 1909 w 127244"/>
                <a:gd name="connsiteY461" fmla="*/ 119292 h 146331"/>
                <a:gd name="connsiteX462" fmla="*/ 2227 w 127244"/>
                <a:gd name="connsiteY462" fmla="*/ 119292 h 146331"/>
                <a:gd name="connsiteX463" fmla="*/ 1591 w 127244"/>
                <a:gd name="connsiteY463" fmla="*/ 118656 h 146331"/>
                <a:gd name="connsiteX464" fmla="*/ 20677 w 127244"/>
                <a:gd name="connsiteY464" fmla="*/ 46762 h 146331"/>
                <a:gd name="connsiteX465" fmla="*/ 21314 w 127244"/>
                <a:gd name="connsiteY465" fmla="*/ 44854 h 146331"/>
                <a:gd name="connsiteX466" fmla="*/ 21314 w 127244"/>
                <a:gd name="connsiteY466" fmla="*/ 43899 h 146331"/>
                <a:gd name="connsiteX467" fmla="*/ 22904 w 127244"/>
                <a:gd name="connsiteY467" fmla="*/ 41673 h 146331"/>
                <a:gd name="connsiteX468" fmla="*/ 23858 w 127244"/>
                <a:gd name="connsiteY468" fmla="*/ 39128 h 146331"/>
                <a:gd name="connsiteX469" fmla="*/ 24176 w 127244"/>
                <a:gd name="connsiteY469" fmla="*/ 38810 h 146331"/>
                <a:gd name="connsiteX470" fmla="*/ 25131 w 127244"/>
                <a:gd name="connsiteY470" fmla="*/ 37537 h 146331"/>
                <a:gd name="connsiteX471" fmla="*/ 27040 w 127244"/>
                <a:gd name="connsiteY471" fmla="*/ 31811 h 146331"/>
                <a:gd name="connsiteX472" fmla="*/ 26721 w 127244"/>
                <a:gd name="connsiteY472" fmla="*/ 31493 h 146331"/>
                <a:gd name="connsiteX473" fmla="*/ 26721 w 127244"/>
                <a:gd name="connsiteY473" fmla="*/ 31175 h 146331"/>
                <a:gd name="connsiteX474" fmla="*/ 25767 w 127244"/>
                <a:gd name="connsiteY474" fmla="*/ 32129 h 146331"/>
                <a:gd name="connsiteX475" fmla="*/ 25131 w 127244"/>
                <a:gd name="connsiteY475" fmla="*/ 34038 h 146331"/>
                <a:gd name="connsiteX476" fmla="*/ 23858 w 127244"/>
                <a:gd name="connsiteY476" fmla="*/ 36901 h 146331"/>
                <a:gd name="connsiteX477" fmla="*/ 21950 w 127244"/>
                <a:gd name="connsiteY477" fmla="*/ 39446 h 146331"/>
                <a:gd name="connsiteX478" fmla="*/ 20677 w 127244"/>
                <a:gd name="connsiteY478" fmla="*/ 42309 h 146331"/>
                <a:gd name="connsiteX479" fmla="*/ 20995 w 127244"/>
                <a:gd name="connsiteY479" fmla="*/ 42945 h 146331"/>
                <a:gd name="connsiteX480" fmla="*/ 19723 w 127244"/>
                <a:gd name="connsiteY480" fmla="*/ 44854 h 146331"/>
                <a:gd name="connsiteX481" fmla="*/ 18451 w 127244"/>
                <a:gd name="connsiteY481" fmla="*/ 48989 h 146331"/>
                <a:gd name="connsiteX482" fmla="*/ 17814 w 127244"/>
                <a:gd name="connsiteY482" fmla="*/ 52170 h 146331"/>
                <a:gd name="connsiteX483" fmla="*/ 17496 w 127244"/>
                <a:gd name="connsiteY483" fmla="*/ 52488 h 146331"/>
                <a:gd name="connsiteX484" fmla="*/ 17814 w 127244"/>
                <a:gd name="connsiteY484" fmla="*/ 52807 h 146331"/>
                <a:gd name="connsiteX485" fmla="*/ 18133 w 127244"/>
                <a:gd name="connsiteY485" fmla="*/ 52488 h 146331"/>
                <a:gd name="connsiteX486" fmla="*/ 18451 w 127244"/>
                <a:gd name="connsiteY486" fmla="*/ 51852 h 146331"/>
                <a:gd name="connsiteX487" fmla="*/ 18451 w 127244"/>
                <a:gd name="connsiteY487" fmla="*/ 51216 h 146331"/>
                <a:gd name="connsiteX488" fmla="*/ 19087 w 127244"/>
                <a:gd name="connsiteY488" fmla="*/ 49625 h 146331"/>
                <a:gd name="connsiteX489" fmla="*/ 20677 w 127244"/>
                <a:gd name="connsiteY489" fmla="*/ 46762 h 146331"/>
                <a:gd name="connsiteX490" fmla="*/ 30221 w 127244"/>
                <a:gd name="connsiteY490" fmla="*/ 54079 h 146331"/>
                <a:gd name="connsiteX491" fmla="*/ 29585 w 127244"/>
                <a:gd name="connsiteY491" fmla="*/ 55988 h 146331"/>
                <a:gd name="connsiteX492" fmla="*/ 29585 w 127244"/>
                <a:gd name="connsiteY492" fmla="*/ 57260 h 146331"/>
                <a:gd name="connsiteX493" fmla="*/ 32766 w 127244"/>
                <a:gd name="connsiteY493" fmla="*/ 60123 h 146331"/>
                <a:gd name="connsiteX494" fmla="*/ 33720 w 127244"/>
                <a:gd name="connsiteY494" fmla="*/ 60123 h 146331"/>
                <a:gd name="connsiteX495" fmla="*/ 34356 w 127244"/>
                <a:gd name="connsiteY495" fmla="*/ 59487 h 146331"/>
                <a:gd name="connsiteX496" fmla="*/ 36901 w 127244"/>
                <a:gd name="connsiteY496" fmla="*/ 56624 h 146331"/>
                <a:gd name="connsiteX497" fmla="*/ 40400 w 127244"/>
                <a:gd name="connsiteY497" fmla="*/ 52170 h 146331"/>
                <a:gd name="connsiteX498" fmla="*/ 41355 w 127244"/>
                <a:gd name="connsiteY498" fmla="*/ 50898 h 146331"/>
                <a:gd name="connsiteX499" fmla="*/ 42945 w 127244"/>
                <a:gd name="connsiteY499" fmla="*/ 48671 h 146331"/>
                <a:gd name="connsiteX500" fmla="*/ 44536 w 127244"/>
                <a:gd name="connsiteY500" fmla="*/ 46126 h 146331"/>
                <a:gd name="connsiteX501" fmla="*/ 45172 w 127244"/>
                <a:gd name="connsiteY501" fmla="*/ 44218 h 146331"/>
                <a:gd name="connsiteX502" fmla="*/ 47399 w 127244"/>
                <a:gd name="connsiteY502" fmla="*/ 41355 h 146331"/>
                <a:gd name="connsiteX503" fmla="*/ 48989 w 127244"/>
                <a:gd name="connsiteY503" fmla="*/ 38173 h 146331"/>
                <a:gd name="connsiteX504" fmla="*/ 49307 w 127244"/>
                <a:gd name="connsiteY504" fmla="*/ 35629 h 146331"/>
                <a:gd name="connsiteX505" fmla="*/ 50580 w 127244"/>
                <a:gd name="connsiteY505" fmla="*/ 32766 h 146331"/>
                <a:gd name="connsiteX506" fmla="*/ 51852 w 127244"/>
                <a:gd name="connsiteY506" fmla="*/ 29903 h 146331"/>
                <a:gd name="connsiteX507" fmla="*/ 52806 w 127244"/>
                <a:gd name="connsiteY507" fmla="*/ 27358 h 146331"/>
                <a:gd name="connsiteX508" fmla="*/ 52488 w 127244"/>
                <a:gd name="connsiteY508" fmla="*/ 26403 h 146331"/>
                <a:gd name="connsiteX509" fmla="*/ 52488 w 127244"/>
                <a:gd name="connsiteY509" fmla="*/ 25767 h 146331"/>
                <a:gd name="connsiteX510" fmla="*/ 53125 w 127244"/>
                <a:gd name="connsiteY510" fmla="*/ 25131 h 146331"/>
                <a:gd name="connsiteX511" fmla="*/ 53761 w 127244"/>
                <a:gd name="connsiteY511" fmla="*/ 25131 h 146331"/>
                <a:gd name="connsiteX512" fmla="*/ 54079 w 127244"/>
                <a:gd name="connsiteY512" fmla="*/ 24495 h 146331"/>
                <a:gd name="connsiteX513" fmla="*/ 53761 w 127244"/>
                <a:gd name="connsiteY513" fmla="*/ 24176 h 146331"/>
                <a:gd name="connsiteX514" fmla="*/ 53761 w 127244"/>
                <a:gd name="connsiteY514" fmla="*/ 23858 h 146331"/>
                <a:gd name="connsiteX515" fmla="*/ 53443 w 127244"/>
                <a:gd name="connsiteY515" fmla="*/ 23540 h 146331"/>
                <a:gd name="connsiteX516" fmla="*/ 53125 w 127244"/>
                <a:gd name="connsiteY516" fmla="*/ 22904 h 146331"/>
                <a:gd name="connsiteX517" fmla="*/ 53443 w 127244"/>
                <a:gd name="connsiteY517" fmla="*/ 22268 h 146331"/>
                <a:gd name="connsiteX518" fmla="*/ 53761 w 127244"/>
                <a:gd name="connsiteY518" fmla="*/ 21632 h 146331"/>
                <a:gd name="connsiteX519" fmla="*/ 53125 w 127244"/>
                <a:gd name="connsiteY519" fmla="*/ 21313 h 146331"/>
                <a:gd name="connsiteX520" fmla="*/ 53125 w 127244"/>
                <a:gd name="connsiteY520" fmla="*/ 20677 h 146331"/>
                <a:gd name="connsiteX521" fmla="*/ 53761 w 127244"/>
                <a:gd name="connsiteY521" fmla="*/ 19405 h 146331"/>
                <a:gd name="connsiteX522" fmla="*/ 53443 w 127244"/>
                <a:gd name="connsiteY522" fmla="*/ 18132 h 146331"/>
                <a:gd name="connsiteX523" fmla="*/ 52806 w 127244"/>
                <a:gd name="connsiteY523" fmla="*/ 15587 h 146331"/>
                <a:gd name="connsiteX524" fmla="*/ 52806 w 127244"/>
                <a:gd name="connsiteY524" fmla="*/ 15269 h 146331"/>
                <a:gd name="connsiteX525" fmla="*/ 53125 w 127244"/>
                <a:gd name="connsiteY525" fmla="*/ 14951 h 146331"/>
                <a:gd name="connsiteX526" fmla="*/ 53443 w 127244"/>
                <a:gd name="connsiteY526" fmla="*/ 14633 h 146331"/>
                <a:gd name="connsiteX527" fmla="*/ 53761 w 127244"/>
                <a:gd name="connsiteY527" fmla="*/ 13997 h 146331"/>
                <a:gd name="connsiteX528" fmla="*/ 51852 w 127244"/>
                <a:gd name="connsiteY528" fmla="*/ 13997 h 146331"/>
                <a:gd name="connsiteX529" fmla="*/ 48989 w 127244"/>
                <a:gd name="connsiteY529" fmla="*/ 17814 h 146331"/>
                <a:gd name="connsiteX530" fmla="*/ 48671 w 127244"/>
                <a:gd name="connsiteY530" fmla="*/ 18132 h 146331"/>
                <a:gd name="connsiteX531" fmla="*/ 48671 w 127244"/>
                <a:gd name="connsiteY531" fmla="*/ 18450 h 146331"/>
                <a:gd name="connsiteX532" fmla="*/ 44854 w 127244"/>
                <a:gd name="connsiteY532" fmla="*/ 23222 h 146331"/>
                <a:gd name="connsiteX533" fmla="*/ 44536 w 127244"/>
                <a:gd name="connsiteY533" fmla="*/ 23540 h 146331"/>
                <a:gd name="connsiteX534" fmla="*/ 41991 w 127244"/>
                <a:gd name="connsiteY534" fmla="*/ 26403 h 146331"/>
                <a:gd name="connsiteX535" fmla="*/ 41355 w 127244"/>
                <a:gd name="connsiteY535" fmla="*/ 27676 h 146331"/>
                <a:gd name="connsiteX536" fmla="*/ 41355 w 127244"/>
                <a:gd name="connsiteY536" fmla="*/ 27994 h 146331"/>
                <a:gd name="connsiteX537" fmla="*/ 40082 w 127244"/>
                <a:gd name="connsiteY537" fmla="*/ 29903 h 146331"/>
                <a:gd name="connsiteX538" fmla="*/ 38810 w 127244"/>
                <a:gd name="connsiteY538" fmla="*/ 31811 h 146331"/>
                <a:gd name="connsiteX539" fmla="*/ 38173 w 127244"/>
                <a:gd name="connsiteY539" fmla="*/ 32447 h 146331"/>
                <a:gd name="connsiteX540" fmla="*/ 38491 w 127244"/>
                <a:gd name="connsiteY540" fmla="*/ 34356 h 146331"/>
                <a:gd name="connsiteX541" fmla="*/ 37219 w 127244"/>
                <a:gd name="connsiteY541" fmla="*/ 36265 h 146331"/>
                <a:gd name="connsiteX542" fmla="*/ 37219 w 127244"/>
                <a:gd name="connsiteY542" fmla="*/ 37219 h 146331"/>
                <a:gd name="connsiteX543" fmla="*/ 36265 w 127244"/>
                <a:gd name="connsiteY543" fmla="*/ 38173 h 146331"/>
                <a:gd name="connsiteX544" fmla="*/ 34992 w 127244"/>
                <a:gd name="connsiteY544" fmla="*/ 40718 h 146331"/>
                <a:gd name="connsiteX545" fmla="*/ 34992 w 127244"/>
                <a:gd name="connsiteY545" fmla="*/ 41355 h 146331"/>
                <a:gd name="connsiteX546" fmla="*/ 34038 w 127244"/>
                <a:gd name="connsiteY546" fmla="*/ 42627 h 146331"/>
                <a:gd name="connsiteX547" fmla="*/ 32766 w 127244"/>
                <a:gd name="connsiteY547" fmla="*/ 43899 h 146331"/>
                <a:gd name="connsiteX548" fmla="*/ 32766 w 127244"/>
                <a:gd name="connsiteY548" fmla="*/ 44218 h 146331"/>
                <a:gd name="connsiteX549" fmla="*/ 30539 w 127244"/>
                <a:gd name="connsiteY549" fmla="*/ 51216 h 146331"/>
                <a:gd name="connsiteX550" fmla="*/ 30539 w 127244"/>
                <a:gd name="connsiteY550" fmla="*/ 53125 h 146331"/>
                <a:gd name="connsiteX551" fmla="*/ 30221 w 127244"/>
                <a:gd name="connsiteY551" fmla="*/ 54079 h 146331"/>
                <a:gd name="connsiteX552" fmla="*/ 62032 w 127244"/>
                <a:gd name="connsiteY552" fmla="*/ 30221 h 146331"/>
                <a:gd name="connsiteX553" fmla="*/ 62668 w 127244"/>
                <a:gd name="connsiteY553" fmla="*/ 29903 h 146331"/>
                <a:gd name="connsiteX554" fmla="*/ 62986 w 127244"/>
                <a:gd name="connsiteY554" fmla="*/ 28948 h 146331"/>
                <a:gd name="connsiteX555" fmla="*/ 62986 w 127244"/>
                <a:gd name="connsiteY555" fmla="*/ 28630 h 146331"/>
                <a:gd name="connsiteX556" fmla="*/ 62668 w 127244"/>
                <a:gd name="connsiteY556" fmla="*/ 28312 h 146331"/>
                <a:gd name="connsiteX557" fmla="*/ 62350 w 127244"/>
                <a:gd name="connsiteY557" fmla="*/ 28312 h 146331"/>
                <a:gd name="connsiteX558" fmla="*/ 61714 w 127244"/>
                <a:gd name="connsiteY558" fmla="*/ 29266 h 146331"/>
                <a:gd name="connsiteX559" fmla="*/ 62032 w 127244"/>
                <a:gd name="connsiteY559" fmla="*/ 30221 h 146331"/>
                <a:gd name="connsiteX560" fmla="*/ 62032 w 127244"/>
                <a:gd name="connsiteY560" fmla="*/ 13997 h 146331"/>
                <a:gd name="connsiteX561" fmla="*/ 62350 w 127244"/>
                <a:gd name="connsiteY561" fmla="*/ 14633 h 146331"/>
                <a:gd name="connsiteX562" fmla="*/ 62986 w 127244"/>
                <a:gd name="connsiteY562" fmla="*/ 15269 h 146331"/>
                <a:gd name="connsiteX563" fmla="*/ 63622 w 127244"/>
                <a:gd name="connsiteY563" fmla="*/ 14633 h 146331"/>
                <a:gd name="connsiteX564" fmla="*/ 62668 w 127244"/>
                <a:gd name="connsiteY564" fmla="*/ 13361 h 146331"/>
                <a:gd name="connsiteX565" fmla="*/ 62350 w 127244"/>
                <a:gd name="connsiteY565" fmla="*/ 13361 h 146331"/>
                <a:gd name="connsiteX566" fmla="*/ 62032 w 127244"/>
                <a:gd name="connsiteY566" fmla="*/ 13997 h 146331"/>
                <a:gd name="connsiteX567" fmla="*/ 63940 w 127244"/>
                <a:gd name="connsiteY567" fmla="*/ 16542 h 146331"/>
                <a:gd name="connsiteX568" fmla="*/ 62668 w 127244"/>
                <a:gd name="connsiteY568" fmla="*/ 16860 h 146331"/>
                <a:gd name="connsiteX569" fmla="*/ 62668 w 127244"/>
                <a:gd name="connsiteY569" fmla="*/ 18450 h 146331"/>
                <a:gd name="connsiteX570" fmla="*/ 62986 w 127244"/>
                <a:gd name="connsiteY570" fmla="*/ 20041 h 146331"/>
                <a:gd name="connsiteX571" fmla="*/ 62350 w 127244"/>
                <a:gd name="connsiteY571" fmla="*/ 21313 h 146331"/>
                <a:gd name="connsiteX572" fmla="*/ 62986 w 127244"/>
                <a:gd name="connsiteY572" fmla="*/ 23540 h 146331"/>
                <a:gd name="connsiteX573" fmla="*/ 62350 w 127244"/>
                <a:gd name="connsiteY573" fmla="*/ 24495 h 146331"/>
                <a:gd name="connsiteX574" fmla="*/ 62350 w 127244"/>
                <a:gd name="connsiteY574" fmla="*/ 25131 h 146331"/>
                <a:gd name="connsiteX575" fmla="*/ 62668 w 127244"/>
                <a:gd name="connsiteY575" fmla="*/ 25449 h 146331"/>
                <a:gd name="connsiteX576" fmla="*/ 63304 w 127244"/>
                <a:gd name="connsiteY576" fmla="*/ 25131 h 146331"/>
                <a:gd name="connsiteX577" fmla="*/ 64577 w 127244"/>
                <a:gd name="connsiteY577" fmla="*/ 24813 h 146331"/>
                <a:gd name="connsiteX578" fmla="*/ 66803 w 127244"/>
                <a:gd name="connsiteY578" fmla="*/ 21950 h 146331"/>
                <a:gd name="connsiteX579" fmla="*/ 66803 w 127244"/>
                <a:gd name="connsiteY579" fmla="*/ 20677 h 146331"/>
                <a:gd name="connsiteX580" fmla="*/ 66167 w 127244"/>
                <a:gd name="connsiteY580" fmla="*/ 19723 h 146331"/>
                <a:gd name="connsiteX581" fmla="*/ 64895 w 127244"/>
                <a:gd name="connsiteY581" fmla="*/ 18450 h 146331"/>
                <a:gd name="connsiteX582" fmla="*/ 64259 w 127244"/>
                <a:gd name="connsiteY582" fmla="*/ 16860 h 146331"/>
                <a:gd name="connsiteX583" fmla="*/ 63940 w 127244"/>
                <a:gd name="connsiteY583" fmla="*/ 16542 h 146331"/>
                <a:gd name="connsiteX584" fmla="*/ 65213 w 127244"/>
                <a:gd name="connsiteY584" fmla="*/ 17814 h 146331"/>
                <a:gd name="connsiteX585" fmla="*/ 65849 w 127244"/>
                <a:gd name="connsiteY585" fmla="*/ 18132 h 146331"/>
                <a:gd name="connsiteX586" fmla="*/ 66167 w 127244"/>
                <a:gd name="connsiteY586" fmla="*/ 18132 h 146331"/>
                <a:gd name="connsiteX587" fmla="*/ 66167 w 127244"/>
                <a:gd name="connsiteY587" fmla="*/ 17496 h 146331"/>
                <a:gd name="connsiteX588" fmla="*/ 65849 w 127244"/>
                <a:gd name="connsiteY588" fmla="*/ 16860 h 146331"/>
                <a:gd name="connsiteX589" fmla="*/ 65531 w 127244"/>
                <a:gd name="connsiteY589" fmla="*/ 17178 h 146331"/>
                <a:gd name="connsiteX590" fmla="*/ 65213 w 127244"/>
                <a:gd name="connsiteY590" fmla="*/ 17814 h 146331"/>
                <a:gd name="connsiteX591" fmla="*/ 66485 w 127244"/>
                <a:gd name="connsiteY591" fmla="*/ 26721 h 146331"/>
                <a:gd name="connsiteX592" fmla="*/ 66485 w 127244"/>
                <a:gd name="connsiteY592" fmla="*/ 27040 h 146331"/>
                <a:gd name="connsiteX593" fmla="*/ 67122 w 127244"/>
                <a:gd name="connsiteY593" fmla="*/ 29584 h 146331"/>
                <a:gd name="connsiteX594" fmla="*/ 67758 w 127244"/>
                <a:gd name="connsiteY594" fmla="*/ 29584 h 146331"/>
                <a:gd name="connsiteX595" fmla="*/ 69030 w 127244"/>
                <a:gd name="connsiteY595" fmla="*/ 27994 h 146331"/>
                <a:gd name="connsiteX596" fmla="*/ 68712 w 127244"/>
                <a:gd name="connsiteY596" fmla="*/ 27358 h 146331"/>
                <a:gd name="connsiteX597" fmla="*/ 68394 w 127244"/>
                <a:gd name="connsiteY597" fmla="*/ 26721 h 146331"/>
                <a:gd name="connsiteX598" fmla="*/ 68712 w 127244"/>
                <a:gd name="connsiteY598" fmla="*/ 26085 h 146331"/>
                <a:gd name="connsiteX599" fmla="*/ 68712 w 127244"/>
                <a:gd name="connsiteY599" fmla="*/ 25767 h 146331"/>
                <a:gd name="connsiteX600" fmla="*/ 67758 w 127244"/>
                <a:gd name="connsiteY600" fmla="*/ 25449 h 146331"/>
                <a:gd name="connsiteX601" fmla="*/ 66485 w 127244"/>
                <a:gd name="connsiteY601" fmla="*/ 26721 h 146331"/>
                <a:gd name="connsiteX602" fmla="*/ 67758 w 127244"/>
                <a:gd name="connsiteY602" fmla="*/ 22904 h 146331"/>
                <a:gd name="connsiteX603" fmla="*/ 67758 w 127244"/>
                <a:gd name="connsiteY603" fmla="*/ 24176 h 146331"/>
                <a:gd name="connsiteX604" fmla="*/ 68076 w 127244"/>
                <a:gd name="connsiteY604" fmla="*/ 24495 h 146331"/>
                <a:gd name="connsiteX605" fmla="*/ 69667 w 127244"/>
                <a:gd name="connsiteY605" fmla="*/ 22904 h 146331"/>
                <a:gd name="connsiteX606" fmla="*/ 69667 w 127244"/>
                <a:gd name="connsiteY606" fmla="*/ 22586 h 146331"/>
                <a:gd name="connsiteX607" fmla="*/ 68394 w 127244"/>
                <a:gd name="connsiteY607" fmla="*/ 21313 h 146331"/>
                <a:gd name="connsiteX608" fmla="*/ 68076 w 127244"/>
                <a:gd name="connsiteY608" fmla="*/ 21313 h 146331"/>
                <a:gd name="connsiteX609" fmla="*/ 67758 w 127244"/>
                <a:gd name="connsiteY609" fmla="*/ 22904 h 146331"/>
                <a:gd name="connsiteX610" fmla="*/ 82073 w 127244"/>
                <a:gd name="connsiteY610" fmla="*/ 120882 h 146331"/>
                <a:gd name="connsiteX611" fmla="*/ 81755 w 127244"/>
                <a:gd name="connsiteY611" fmla="*/ 120246 h 146331"/>
                <a:gd name="connsiteX612" fmla="*/ 81119 w 127244"/>
                <a:gd name="connsiteY612" fmla="*/ 120246 h 146331"/>
                <a:gd name="connsiteX613" fmla="*/ 80800 w 127244"/>
                <a:gd name="connsiteY613" fmla="*/ 120882 h 146331"/>
                <a:gd name="connsiteX614" fmla="*/ 81437 w 127244"/>
                <a:gd name="connsiteY614" fmla="*/ 121201 h 146331"/>
                <a:gd name="connsiteX615" fmla="*/ 81755 w 127244"/>
                <a:gd name="connsiteY615" fmla="*/ 121201 h 146331"/>
                <a:gd name="connsiteX616" fmla="*/ 82073 w 127244"/>
                <a:gd name="connsiteY616" fmla="*/ 120882 h 146331"/>
                <a:gd name="connsiteX617" fmla="*/ 89071 w 127244"/>
                <a:gd name="connsiteY617" fmla="*/ 119292 h 146331"/>
                <a:gd name="connsiteX618" fmla="*/ 88753 w 127244"/>
                <a:gd name="connsiteY618" fmla="*/ 119610 h 146331"/>
                <a:gd name="connsiteX619" fmla="*/ 88435 w 127244"/>
                <a:gd name="connsiteY619" fmla="*/ 119292 h 146331"/>
                <a:gd name="connsiteX620" fmla="*/ 88753 w 127244"/>
                <a:gd name="connsiteY620" fmla="*/ 118974 h 146331"/>
                <a:gd name="connsiteX621" fmla="*/ 89071 w 127244"/>
                <a:gd name="connsiteY621" fmla="*/ 119292 h 146331"/>
                <a:gd name="connsiteX622" fmla="*/ 106567 w 127244"/>
                <a:gd name="connsiteY622" fmla="*/ 100841 h 146331"/>
                <a:gd name="connsiteX623" fmla="*/ 104977 w 127244"/>
                <a:gd name="connsiteY623" fmla="*/ 102432 h 146331"/>
                <a:gd name="connsiteX624" fmla="*/ 104341 w 127244"/>
                <a:gd name="connsiteY624" fmla="*/ 103068 h 146331"/>
                <a:gd name="connsiteX625" fmla="*/ 104023 w 127244"/>
                <a:gd name="connsiteY625" fmla="*/ 102432 h 146331"/>
                <a:gd name="connsiteX626" fmla="*/ 103068 w 127244"/>
                <a:gd name="connsiteY626" fmla="*/ 101478 h 146331"/>
                <a:gd name="connsiteX627" fmla="*/ 102432 w 127244"/>
                <a:gd name="connsiteY627" fmla="*/ 100841 h 146331"/>
                <a:gd name="connsiteX628" fmla="*/ 102432 w 127244"/>
                <a:gd name="connsiteY628" fmla="*/ 100205 h 146331"/>
                <a:gd name="connsiteX629" fmla="*/ 104023 w 127244"/>
                <a:gd name="connsiteY629" fmla="*/ 99251 h 146331"/>
                <a:gd name="connsiteX630" fmla="*/ 104341 w 127244"/>
                <a:gd name="connsiteY630" fmla="*/ 99569 h 146331"/>
                <a:gd name="connsiteX631" fmla="*/ 105931 w 127244"/>
                <a:gd name="connsiteY631" fmla="*/ 100205 h 146331"/>
                <a:gd name="connsiteX632" fmla="*/ 106567 w 127244"/>
                <a:gd name="connsiteY632" fmla="*/ 100841 h 146331"/>
                <a:gd name="connsiteX633" fmla="*/ 108476 w 127244"/>
                <a:gd name="connsiteY633" fmla="*/ 94479 h 146331"/>
                <a:gd name="connsiteX634" fmla="*/ 108476 w 127244"/>
                <a:gd name="connsiteY634" fmla="*/ 94797 h 146331"/>
                <a:gd name="connsiteX635" fmla="*/ 106567 w 127244"/>
                <a:gd name="connsiteY635" fmla="*/ 96706 h 146331"/>
                <a:gd name="connsiteX636" fmla="*/ 106249 w 127244"/>
                <a:gd name="connsiteY636" fmla="*/ 96706 h 146331"/>
                <a:gd name="connsiteX637" fmla="*/ 105931 w 127244"/>
                <a:gd name="connsiteY637" fmla="*/ 96388 h 146331"/>
                <a:gd name="connsiteX638" fmla="*/ 106249 w 127244"/>
                <a:gd name="connsiteY638" fmla="*/ 95752 h 146331"/>
                <a:gd name="connsiteX639" fmla="*/ 107204 w 127244"/>
                <a:gd name="connsiteY639" fmla="*/ 94797 h 146331"/>
                <a:gd name="connsiteX640" fmla="*/ 107204 w 127244"/>
                <a:gd name="connsiteY640" fmla="*/ 94161 h 146331"/>
                <a:gd name="connsiteX641" fmla="*/ 107522 w 127244"/>
                <a:gd name="connsiteY641" fmla="*/ 94161 h 146331"/>
                <a:gd name="connsiteX642" fmla="*/ 108476 w 127244"/>
                <a:gd name="connsiteY642" fmla="*/ 94479 h 146331"/>
                <a:gd name="connsiteX643" fmla="*/ 115793 w 127244"/>
                <a:gd name="connsiteY643" fmla="*/ 89389 h 146331"/>
                <a:gd name="connsiteX644" fmla="*/ 116429 w 127244"/>
                <a:gd name="connsiteY644" fmla="*/ 89071 h 146331"/>
                <a:gd name="connsiteX645" fmla="*/ 115475 w 127244"/>
                <a:gd name="connsiteY645" fmla="*/ 91298 h 146331"/>
                <a:gd name="connsiteX646" fmla="*/ 114838 w 127244"/>
                <a:gd name="connsiteY646" fmla="*/ 91616 h 146331"/>
                <a:gd name="connsiteX647" fmla="*/ 114838 w 127244"/>
                <a:gd name="connsiteY647" fmla="*/ 90662 h 146331"/>
                <a:gd name="connsiteX648" fmla="*/ 115793 w 127244"/>
                <a:gd name="connsiteY648" fmla="*/ 89389 h 146331"/>
                <a:gd name="connsiteX649" fmla="*/ 116747 w 127244"/>
                <a:gd name="connsiteY649" fmla="*/ 73166 h 146331"/>
                <a:gd name="connsiteX650" fmla="*/ 116429 w 127244"/>
                <a:gd name="connsiteY650" fmla="*/ 71893 h 146331"/>
                <a:gd name="connsiteX651" fmla="*/ 116111 w 127244"/>
                <a:gd name="connsiteY651" fmla="*/ 71893 h 146331"/>
                <a:gd name="connsiteX652" fmla="*/ 116111 w 127244"/>
                <a:gd name="connsiteY652" fmla="*/ 72529 h 146331"/>
                <a:gd name="connsiteX653" fmla="*/ 116429 w 127244"/>
                <a:gd name="connsiteY653" fmla="*/ 73166 h 146331"/>
                <a:gd name="connsiteX654" fmla="*/ 116429 w 127244"/>
                <a:gd name="connsiteY654" fmla="*/ 73484 h 146331"/>
                <a:gd name="connsiteX655" fmla="*/ 116747 w 127244"/>
                <a:gd name="connsiteY655" fmla="*/ 73166 h 146331"/>
                <a:gd name="connsiteX656" fmla="*/ 118019 w 127244"/>
                <a:gd name="connsiteY656" fmla="*/ 64259 h 146331"/>
                <a:gd name="connsiteX657" fmla="*/ 118019 w 127244"/>
                <a:gd name="connsiteY657" fmla="*/ 64577 h 146331"/>
                <a:gd name="connsiteX658" fmla="*/ 116747 w 127244"/>
                <a:gd name="connsiteY658" fmla="*/ 65531 h 146331"/>
                <a:gd name="connsiteX659" fmla="*/ 116429 w 127244"/>
                <a:gd name="connsiteY659" fmla="*/ 65213 h 146331"/>
                <a:gd name="connsiteX660" fmla="*/ 116429 w 127244"/>
                <a:gd name="connsiteY660" fmla="*/ 64895 h 146331"/>
                <a:gd name="connsiteX661" fmla="*/ 117383 w 127244"/>
                <a:gd name="connsiteY661" fmla="*/ 63940 h 146331"/>
                <a:gd name="connsiteX662" fmla="*/ 118019 w 127244"/>
                <a:gd name="connsiteY662" fmla="*/ 64259 h 146331"/>
                <a:gd name="connsiteX663" fmla="*/ 124064 w 127244"/>
                <a:gd name="connsiteY663" fmla="*/ 68076 h 146331"/>
                <a:gd name="connsiteX664" fmla="*/ 124064 w 127244"/>
                <a:gd name="connsiteY664" fmla="*/ 68394 h 146331"/>
                <a:gd name="connsiteX665" fmla="*/ 123428 w 127244"/>
                <a:gd name="connsiteY665" fmla="*/ 70303 h 146331"/>
                <a:gd name="connsiteX666" fmla="*/ 123109 w 127244"/>
                <a:gd name="connsiteY666" fmla="*/ 71257 h 146331"/>
                <a:gd name="connsiteX667" fmla="*/ 122791 w 127244"/>
                <a:gd name="connsiteY667" fmla="*/ 72211 h 146331"/>
                <a:gd name="connsiteX668" fmla="*/ 121837 w 127244"/>
                <a:gd name="connsiteY668" fmla="*/ 73166 h 146331"/>
                <a:gd name="connsiteX669" fmla="*/ 120882 w 127244"/>
                <a:gd name="connsiteY669" fmla="*/ 72211 h 146331"/>
                <a:gd name="connsiteX670" fmla="*/ 121837 w 127244"/>
                <a:gd name="connsiteY670" fmla="*/ 69666 h 146331"/>
                <a:gd name="connsiteX671" fmla="*/ 121837 w 127244"/>
                <a:gd name="connsiteY671" fmla="*/ 68712 h 146331"/>
                <a:gd name="connsiteX672" fmla="*/ 122155 w 127244"/>
                <a:gd name="connsiteY672" fmla="*/ 67440 h 146331"/>
                <a:gd name="connsiteX673" fmla="*/ 123109 w 127244"/>
                <a:gd name="connsiteY673" fmla="*/ 64895 h 146331"/>
                <a:gd name="connsiteX674" fmla="*/ 123109 w 127244"/>
                <a:gd name="connsiteY674" fmla="*/ 64259 h 146331"/>
                <a:gd name="connsiteX675" fmla="*/ 123428 w 127244"/>
                <a:gd name="connsiteY675" fmla="*/ 63622 h 146331"/>
                <a:gd name="connsiteX676" fmla="*/ 123746 w 127244"/>
                <a:gd name="connsiteY676" fmla="*/ 63622 h 146331"/>
                <a:gd name="connsiteX677" fmla="*/ 124064 w 127244"/>
                <a:gd name="connsiteY677" fmla="*/ 63622 h 146331"/>
                <a:gd name="connsiteX678" fmla="*/ 124382 w 127244"/>
                <a:gd name="connsiteY678" fmla="*/ 64259 h 146331"/>
                <a:gd name="connsiteX679" fmla="*/ 124064 w 127244"/>
                <a:gd name="connsiteY679" fmla="*/ 64577 h 146331"/>
                <a:gd name="connsiteX680" fmla="*/ 123428 w 127244"/>
                <a:gd name="connsiteY680" fmla="*/ 65849 h 146331"/>
                <a:gd name="connsiteX681" fmla="*/ 123109 w 127244"/>
                <a:gd name="connsiteY681" fmla="*/ 66485 h 146331"/>
                <a:gd name="connsiteX682" fmla="*/ 123746 w 127244"/>
                <a:gd name="connsiteY682" fmla="*/ 67122 h 146331"/>
                <a:gd name="connsiteX683" fmla="*/ 124064 w 127244"/>
                <a:gd name="connsiteY683" fmla="*/ 68076 h 146331"/>
                <a:gd name="connsiteX684" fmla="*/ 120882 w 127244"/>
                <a:gd name="connsiteY684" fmla="*/ 45490 h 146331"/>
                <a:gd name="connsiteX685" fmla="*/ 121519 w 127244"/>
                <a:gd name="connsiteY685" fmla="*/ 44536 h 146331"/>
                <a:gd name="connsiteX686" fmla="*/ 123109 w 127244"/>
                <a:gd name="connsiteY686" fmla="*/ 44536 h 146331"/>
                <a:gd name="connsiteX687" fmla="*/ 122791 w 127244"/>
                <a:gd name="connsiteY687" fmla="*/ 45490 h 146331"/>
                <a:gd name="connsiteX688" fmla="*/ 123109 w 127244"/>
                <a:gd name="connsiteY688" fmla="*/ 45808 h 146331"/>
                <a:gd name="connsiteX689" fmla="*/ 122473 w 127244"/>
                <a:gd name="connsiteY689" fmla="*/ 46444 h 146331"/>
                <a:gd name="connsiteX690" fmla="*/ 120882 w 127244"/>
                <a:gd name="connsiteY690" fmla="*/ 45490 h 146331"/>
                <a:gd name="connsiteX691" fmla="*/ 124700 w 127244"/>
                <a:gd name="connsiteY691" fmla="*/ 77619 h 146331"/>
                <a:gd name="connsiteX692" fmla="*/ 123746 w 127244"/>
                <a:gd name="connsiteY692" fmla="*/ 78574 h 146331"/>
                <a:gd name="connsiteX693" fmla="*/ 124382 w 127244"/>
                <a:gd name="connsiteY693" fmla="*/ 76983 h 146331"/>
                <a:gd name="connsiteX694" fmla="*/ 124700 w 127244"/>
                <a:gd name="connsiteY694" fmla="*/ 77301 h 146331"/>
                <a:gd name="connsiteX695" fmla="*/ 124700 w 127244"/>
                <a:gd name="connsiteY695" fmla="*/ 77619 h 146331"/>
                <a:gd name="connsiteX696" fmla="*/ 126609 w 127244"/>
                <a:gd name="connsiteY696" fmla="*/ 73484 h 146331"/>
                <a:gd name="connsiteX697" fmla="*/ 126291 w 127244"/>
                <a:gd name="connsiteY697" fmla="*/ 72529 h 146331"/>
                <a:gd name="connsiteX698" fmla="*/ 126609 w 127244"/>
                <a:gd name="connsiteY698" fmla="*/ 71893 h 146331"/>
                <a:gd name="connsiteX699" fmla="*/ 126927 w 127244"/>
                <a:gd name="connsiteY699" fmla="*/ 71575 h 146331"/>
                <a:gd name="connsiteX700" fmla="*/ 127245 w 127244"/>
                <a:gd name="connsiteY700" fmla="*/ 71893 h 146331"/>
                <a:gd name="connsiteX701" fmla="*/ 126609 w 127244"/>
                <a:gd name="connsiteY701" fmla="*/ 73484 h 146331"/>
                <a:gd name="connsiteX702" fmla="*/ 126291 w 127244"/>
                <a:gd name="connsiteY702" fmla="*/ 73802 h 146331"/>
                <a:gd name="connsiteX703" fmla="*/ 126609 w 127244"/>
                <a:gd name="connsiteY703" fmla="*/ 73484 h 146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</a:cxnLst>
              <a:rect l="l" t="t" r="r" b="b"/>
              <a:pathLst>
                <a:path w="127244" h="146331">
                  <a:moveTo>
                    <a:pt x="121837" y="74756"/>
                  </a:moveTo>
                  <a:cubicBezTo>
                    <a:pt x="120882" y="75711"/>
                    <a:pt x="120882" y="76347"/>
                    <a:pt x="120882" y="76983"/>
                  </a:cubicBezTo>
                  <a:cubicBezTo>
                    <a:pt x="120246" y="77937"/>
                    <a:pt x="119610" y="78574"/>
                    <a:pt x="118338" y="79210"/>
                  </a:cubicBezTo>
                  <a:cubicBezTo>
                    <a:pt x="118019" y="79528"/>
                    <a:pt x="117701" y="80164"/>
                    <a:pt x="117701" y="80482"/>
                  </a:cubicBezTo>
                  <a:cubicBezTo>
                    <a:pt x="117701" y="80800"/>
                    <a:pt x="117383" y="80800"/>
                    <a:pt x="117383" y="81119"/>
                  </a:cubicBezTo>
                  <a:cubicBezTo>
                    <a:pt x="117383" y="81437"/>
                    <a:pt x="117701" y="82073"/>
                    <a:pt x="118019" y="82391"/>
                  </a:cubicBezTo>
                  <a:cubicBezTo>
                    <a:pt x="118338" y="82391"/>
                    <a:pt x="118656" y="82709"/>
                    <a:pt x="118656" y="82709"/>
                  </a:cubicBezTo>
                  <a:cubicBezTo>
                    <a:pt x="119292" y="83027"/>
                    <a:pt x="119292" y="83027"/>
                    <a:pt x="119928" y="83027"/>
                  </a:cubicBezTo>
                  <a:lnTo>
                    <a:pt x="120246" y="82709"/>
                  </a:lnTo>
                  <a:cubicBezTo>
                    <a:pt x="120564" y="82709"/>
                    <a:pt x="120882" y="82709"/>
                    <a:pt x="120882" y="83027"/>
                  </a:cubicBezTo>
                  <a:cubicBezTo>
                    <a:pt x="120246" y="84618"/>
                    <a:pt x="119292" y="85890"/>
                    <a:pt x="118338" y="86845"/>
                  </a:cubicBezTo>
                  <a:cubicBezTo>
                    <a:pt x="117701" y="87481"/>
                    <a:pt x="117383" y="88117"/>
                    <a:pt x="117383" y="88753"/>
                  </a:cubicBezTo>
                  <a:cubicBezTo>
                    <a:pt x="117383" y="89071"/>
                    <a:pt x="116747" y="89071"/>
                    <a:pt x="116429" y="89071"/>
                  </a:cubicBezTo>
                  <a:cubicBezTo>
                    <a:pt x="116429" y="88753"/>
                    <a:pt x="116747" y="88435"/>
                    <a:pt x="116747" y="88117"/>
                  </a:cubicBezTo>
                  <a:cubicBezTo>
                    <a:pt x="116747" y="87799"/>
                    <a:pt x="116429" y="87481"/>
                    <a:pt x="116429" y="86845"/>
                  </a:cubicBezTo>
                  <a:cubicBezTo>
                    <a:pt x="116429" y="85890"/>
                    <a:pt x="117065" y="85254"/>
                    <a:pt x="117383" y="84300"/>
                  </a:cubicBezTo>
                  <a:cubicBezTo>
                    <a:pt x="117701" y="83982"/>
                    <a:pt x="117701" y="83663"/>
                    <a:pt x="117701" y="83663"/>
                  </a:cubicBezTo>
                  <a:lnTo>
                    <a:pt x="117383" y="83663"/>
                  </a:lnTo>
                  <a:cubicBezTo>
                    <a:pt x="117383" y="83345"/>
                    <a:pt x="117065" y="83663"/>
                    <a:pt x="116747" y="83663"/>
                  </a:cubicBezTo>
                  <a:cubicBezTo>
                    <a:pt x="115793" y="83663"/>
                    <a:pt x="115475" y="84300"/>
                    <a:pt x="115475" y="85254"/>
                  </a:cubicBezTo>
                  <a:cubicBezTo>
                    <a:pt x="115157" y="85890"/>
                    <a:pt x="114838" y="85890"/>
                    <a:pt x="114520" y="86208"/>
                  </a:cubicBezTo>
                  <a:lnTo>
                    <a:pt x="114202" y="86208"/>
                  </a:lnTo>
                  <a:cubicBezTo>
                    <a:pt x="113884" y="86208"/>
                    <a:pt x="113884" y="86208"/>
                    <a:pt x="113566" y="85890"/>
                  </a:cubicBezTo>
                  <a:lnTo>
                    <a:pt x="113566" y="85254"/>
                  </a:lnTo>
                  <a:cubicBezTo>
                    <a:pt x="113566" y="84936"/>
                    <a:pt x="113566" y="84618"/>
                    <a:pt x="113248" y="84618"/>
                  </a:cubicBezTo>
                  <a:cubicBezTo>
                    <a:pt x="112930" y="84618"/>
                    <a:pt x="112930" y="84936"/>
                    <a:pt x="112930" y="85254"/>
                  </a:cubicBezTo>
                  <a:cubicBezTo>
                    <a:pt x="112294" y="85254"/>
                    <a:pt x="111976" y="85890"/>
                    <a:pt x="111976" y="85890"/>
                  </a:cubicBezTo>
                  <a:lnTo>
                    <a:pt x="111976" y="88117"/>
                  </a:lnTo>
                  <a:cubicBezTo>
                    <a:pt x="111657" y="88117"/>
                    <a:pt x="111976" y="88435"/>
                    <a:pt x="111657" y="88435"/>
                  </a:cubicBezTo>
                  <a:cubicBezTo>
                    <a:pt x="110703" y="88117"/>
                    <a:pt x="109749" y="88117"/>
                    <a:pt x="109431" y="87481"/>
                  </a:cubicBezTo>
                  <a:cubicBezTo>
                    <a:pt x="109431" y="87481"/>
                    <a:pt x="108794" y="87481"/>
                    <a:pt x="108794" y="87799"/>
                  </a:cubicBezTo>
                  <a:cubicBezTo>
                    <a:pt x="108794" y="88117"/>
                    <a:pt x="108794" y="88117"/>
                    <a:pt x="109112" y="88753"/>
                  </a:cubicBezTo>
                  <a:cubicBezTo>
                    <a:pt x="109112" y="89071"/>
                    <a:pt x="109112" y="89389"/>
                    <a:pt x="108476" y="89708"/>
                  </a:cubicBezTo>
                  <a:cubicBezTo>
                    <a:pt x="107204" y="90980"/>
                    <a:pt x="106885" y="91934"/>
                    <a:pt x="105931" y="93525"/>
                  </a:cubicBezTo>
                  <a:cubicBezTo>
                    <a:pt x="105931" y="93525"/>
                    <a:pt x="105931" y="93843"/>
                    <a:pt x="105613" y="93843"/>
                  </a:cubicBezTo>
                  <a:lnTo>
                    <a:pt x="104977" y="93843"/>
                  </a:lnTo>
                  <a:cubicBezTo>
                    <a:pt x="104659" y="93843"/>
                    <a:pt x="104659" y="93843"/>
                    <a:pt x="104659" y="94161"/>
                  </a:cubicBezTo>
                  <a:lnTo>
                    <a:pt x="104659" y="94797"/>
                  </a:lnTo>
                  <a:cubicBezTo>
                    <a:pt x="104659" y="95434"/>
                    <a:pt x="104023" y="95752"/>
                    <a:pt x="104023" y="96388"/>
                  </a:cubicBezTo>
                  <a:cubicBezTo>
                    <a:pt x="103386" y="97024"/>
                    <a:pt x="102432" y="97024"/>
                    <a:pt x="102114" y="97978"/>
                  </a:cubicBezTo>
                  <a:cubicBezTo>
                    <a:pt x="102114" y="98615"/>
                    <a:pt x="101478" y="98615"/>
                    <a:pt x="100523" y="98615"/>
                  </a:cubicBezTo>
                  <a:cubicBezTo>
                    <a:pt x="100523" y="98615"/>
                    <a:pt x="99887" y="98933"/>
                    <a:pt x="99887" y="99251"/>
                  </a:cubicBezTo>
                  <a:cubicBezTo>
                    <a:pt x="99569" y="99251"/>
                    <a:pt x="99251" y="99569"/>
                    <a:pt x="99251" y="99569"/>
                  </a:cubicBezTo>
                  <a:cubicBezTo>
                    <a:pt x="99251" y="99569"/>
                    <a:pt x="99569" y="99887"/>
                    <a:pt x="99887" y="99887"/>
                  </a:cubicBezTo>
                  <a:cubicBezTo>
                    <a:pt x="99887" y="100205"/>
                    <a:pt x="99887" y="100205"/>
                    <a:pt x="100205" y="100205"/>
                  </a:cubicBezTo>
                  <a:lnTo>
                    <a:pt x="100842" y="100841"/>
                  </a:lnTo>
                  <a:cubicBezTo>
                    <a:pt x="100523" y="101478"/>
                    <a:pt x="100205" y="102432"/>
                    <a:pt x="99569" y="102432"/>
                  </a:cubicBezTo>
                  <a:cubicBezTo>
                    <a:pt x="99251" y="102750"/>
                    <a:pt x="98615" y="103068"/>
                    <a:pt x="98297" y="103068"/>
                  </a:cubicBezTo>
                  <a:cubicBezTo>
                    <a:pt x="97342" y="103386"/>
                    <a:pt x="97024" y="103704"/>
                    <a:pt x="96070" y="104341"/>
                  </a:cubicBezTo>
                  <a:cubicBezTo>
                    <a:pt x="95115" y="104977"/>
                    <a:pt x="95115" y="105931"/>
                    <a:pt x="95115" y="106886"/>
                  </a:cubicBezTo>
                  <a:lnTo>
                    <a:pt x="94479" y="109112"/>
                  </a:lnTo>
                  <a:cubicBezTo>
                    <a:pt x="94161" y="109112"/>
                    <a:pt x="94479" y="109430"/>
                    <a:pt x="94797" y="109749"/>
                  </a:cubicBezTo>
                  <a:cubicBezTo>
                    <a:pt x="94797" y="110067"/>
                    <a:pt x="95115" y="110067"/>
                    <a:pt x="95115" y="110067"/>
                  </a:cubicBezTo>
                  <a:lnTo>
                    <a:pt x="94797" y="110385"/>
                  </a:lnTo>
                  <a:cubicBezTo>
                    <a:pt x="94479" y="110703"/>
                    <a:pt x="94479" y="110703"/>
                    <a:pt x="94479" y="111021"/>
                  </a:cubicBezTo>
                  <a:cubicBezTo>
                    <a:pt x="94479" y="111339"/>
                    <a:pt x="94479" y="111657"/>
                    <a:pt x="94797" y="111657"/>
                  </a:cubicBezTo>
                  <a:cubicBezTo>
                    <a:pt x="94797" y="111975"/>
                    <a:pt x="94797" y="111975"/>
                    <a:pt x="95115" y="111975"/>
                  </a:cubicBezTo>
                  <a:cubicBezTo>
                    <a:pt x="95115" y="111975"/>
                    <a:pt x="95434" y="111975"/>
                    <a:pt x="95434" y="111657"/>
                  </a:cubicBezTo>
                  <a:cubicBezTo>
                    <a:pt x="96070" y="111339"/>
                    <a:pt x="96706" y="110703"/>
                    <a:pt x="96706" y="110067"/>
                  </a:cubicBezTo>
                  <a:lnTo>
                    <a:pt x="96706" y="109749"/>
                  </a:lnTo>
                  <a:cubicBezTo>
                    <a:pt x="96706" y="109430"/>
                    <a:pt x="97024" y="108794"/>
                    <a:pt x="97661" y="108794"/>
                  </a:cubicBezTo>
                  <a:cubicBezTo>
                    <a:pt x="98297" y="108794"/>
                    <a:pt x="98615" y="108158"/>
                    <a:pt x="99569" y="107522"/>
                  </a:cubicBezTo>
                  <a:cubicBezTo>
                    <a:pt x="99569" y="107204"/>
                    <a:pt x="99887" y="106567"/>
                    <a:pt x="100205" y="106249"/>
                  </a:cubicBezTo>
                  <a:cubicBezTo>
                    <a:pt x="100523" y="106249"/>
                    <a:pt x="100523" y="106249"/>
                    <a:pt x="100842" y="106567"/>
                  </a:cubicBezTo>
                  <a:cubicBezTo>
                    <a:pt x="100523" y="107204"/>
                    <a:pt x="100205" y="107840"/>
                    <a:pt x="99569" y="108476"/>
                  </a:cubicBezTo>
                  <a:lnTo>
                    <a:pt x="99251" y="108794"/>
                  </a:lnTo>
                  <a:lnTo>
                    <a:pt x="99251" y="109112"/>
                  </a:lnTo>
                  <a:cubicBezTo>
                    <a:pt x="99251" y="110067"/>
                    <a:pt x="98297" y="110703"/>
                    <a:pt x="97342" y="111657"/>
                  </a:cubicBezTo>
                  <a:cubicBezTo>
                    <a:pt x="97024" y="112612"/>
                    <a:pt x="96070" y="112930"/>
                    <a:pt x="95434" y="113884"/>
                  </a:cubicBezTo>
                  <a:cubicBezTo>
                    <a:pt x="94797" y="114838"/>
                    <a:pt x="93525" y="115475"/>
                    <a:pt x="92570" y="116429"/>
                  </a:cubicBezTo>
                  <a:cubicBezTo>
                    <a:pt x="92570" y="116429"/>
                    <a:pt x="92252" y="116747"/>
                    <a:pt x="91616" y="117065"/>
                  </a:cubicBezTo>
                  <a:lnTo>
                    <a:pt x="91298" y="117065"/>
                  </a:lnTo>
                  <a:cubicBezTo>
                    <a:pt x="90980" y="116111"/>
                    <a:pt x="90980" y="115793"/>
                    <a:pt x="90026" y="115793"/>
                  </a:cubicBezTo>
                  <a:cubicBezTo>
                    <a:pt x="90026" y="115793"/>
                    <a:pt x="89708" y="115793"/>
                    <a:pt x="89708" y="115475"/>
                  </a:cubicBezTo>
                  <a:lnTo>
                    <a:pt x="89708" y="115156"/>
                  </a:lnTo>
                  <a:cubicBezTo>
                    <a:pt x="89708" y="114838"/>
                    <a:pt x="89708" y="114838"/>
                    <a:pt x="90026" y="114838"/>
                  </a:cubicBezTo>
                  <a:cubicBezTo>
                    <a:pt x="90344" y="114838"/>
                    <a:pt x="90662" y="114520"/>
                    <a:pt x="90662" y="114202"/>
                  </a:cubicBezTo>
                  <a:lnTo>
                    <a:pt x="90980" y="113884"/>
                  </a:lnTo>
                  <a:cubicBezTo>
                    <a:pt x="90980" y="113884"/>
                    <a:pt x="90662" y="113884"/>
                    <a:pt x="90662" y="113566"/>
                  </a:cubicBezTo>
                  <a:lnTo>
                    <a:pt x="90026" y="112930"/>
                  </a:lnTo>
                  <a:cubicBezTo>
                    <a:pt x="90026" y="112930"/>
                    <a:pt x="90344" y="112930"/>
                    <a:pt x="90662" y="112612"/>
                  </a:cubicBezTo>
                  <a:lnTo>
                    <a:pt x="90662" y="112293"/>
                  </a:lnTo>
                  <a:cubicBezTo>
                    <a:pt x="90662" y="111975"/>
                    <a:pt x="90662" y="111975"/>
                    <a:pt x="90980" y="111975"/>
                  </a:cubicBezTo>
                  <a:lnTo>
                    <a:pt x="90980" y="111657"/>
                  </a:lnTo>
                  <a:cubicBezTo>
                    <a:pt x="90662" y="111339"/>
                    <a:pt x="90662" y="111339"/>
                    <a:pt x="90344" y="111339"/>
                  </a:cubicBezTo>
                  <a:lnTo>
                    <a:pt x="90026" y="111339"/>
                  </a:lnTo>
                  <a:cubicBezTo>
                    <a:pt x="88753" y="111975"/>
                    <a:pt x="88117" y="112612"/>
                    <a:pt x="87481" y="113884"/>
                  </a:cubicBezTo>
                  <a:lnTo>
                    <a:pt x="87163" y="114202"/>
                  </a:lnTo>
                  <a:cubicBezTo>
                    <a:pt x="87163" y="114202"/>
                    <a:pt x="87163" y="114520"/>
                    <a:pt x="87481" y="114520"/>
                  </a:cubicBezTo>
                  <a:lnTo>
                    <a:pt x="88117" y="114520"/>
                  </a:lnTo>
                  <a:lnTo>
                    <a:pt x="88435" y="114838"/>
                  </a:lnTo>
                  <a:cubicBezTo>
                    <a:pt x="88435" y="114838"/>
                    <a:pt x="88117" y="114838"/>
                    <a:pt x="87799" y="115156"/>
                  </a:cubicBezTo>
                  <a:cubicBezTo>
                    <a:pt x="86845" y="115793"/>
                    <a:pt x="87163" y="116747"/>
                    <a:pt x="86527" y="117065"/>
                  </a:cubicBezTo>
                  <a:lnTo>
                    <a:pt x="86527" y="117701"/>
                  </a:lnTo>
                  <a:cubicBezTo>
                    <a:pt x="86845" y="118019"/>
                    <a:pt x="86845" y="118656"/>
                    <a:pt x="86845" y="118974"/>
                  </a:cubicBezTo>
                  <a:lnTo>
                    <a:pt x="86845" y="119292"/>
                  </a:lnTo>
                  <a:cubicBezTo>
                    <a:pt x="86527" y="119292"/>
                    <a:pt x="86208" y="119610"/>
                    <a:pt x="86208" y="119928"/>
                  </a:cubicBezTo>
                  <a:lnTo>
                    <a:pt x="85890" y="120246"/>
                  </a:lnTo>
                  <a:lnTo>
                    <a:pt x="86208" y="120246"/>
                  </a:lnTo>
                  <a:cubicBezTo>
                    <a:pt x="86208" y="120564"/>
                    <a:pt x="86208" y="120564"/>
                    <a:pt x="86527" y="120882"/>
                  </a:cubicBezTo>
                  <a:cubicBezTo>
                    <a:pt x="86845" y="120882"/>
                    <a:pt x="86845" y="121201"/>
                    <a:pt x="86845" y="121519"/>
                  </a:cubicBezTo>
                  <a:cubicBezTo>
                    <a:pt x="86845" y="122155"/>
                    <a:pt x="86208" y="122473"/>
                    <a:pt x="85890" y="122473"/>
                  </a:cubicBezTo>
                  <a:cubicBezTo>
                    <a:pt x="85254" y="122473"/>
                    <a:pt x="84936" y="122473"/>
                    <a:pt x="84300" y="122791"/>
                  </a:cubicBezTo>
                  <a:cubicBezTo>
                    <a:pt x="83982" y="123109"/>
                    <a:pt x="83664" y="123109"/>
                    <a:pt x="83664" y="123427"/>
                  </a:cubicBezTo>
                  <a:cubicBezTo>
                    <a:pt x="83664" y="123745"/>
                    <a:pt x="83982" y="123745"/>
                    <a:pt x="83982" y="124064"/>
                  </a:cubicBezTo>
                  <a:cubicBezTo>
                    <a:pt x="84300" y="124382"/>
                    <a:pt x="84300" y="124382"/>
                    <a:pt x="84300" y="124700"/>
                  </a:cubicBezTo>
                  <a:lnTo>
                    <a:pt x="84300" y="125018"/>
                  </a:lnTo>
                  <a:lnTo>
                    <a:pt x="83664" y="125018"/>
                  </a:lnTo>
                  <a:cubicBezTo>
                    <a:pt x="83346" y="124700"/>
                    <a:pt x="82709" y="124382"/>
                    <a:pt x="82073" y="124382"/>
                  </a:cubicBezTo>
                  <a:lnTo>
                    <a:pt x="81437" y="124382"/>
                  </a:lnTo>
                  <a:cubicBezTo>
                    <a:pt x="81119" y="124064"/>
                    <a:pt x="80800" y="124064"/>
                    <a:pt x="80800" y="123745"/>
                  </a:cubicBezTo>
                  <a:lnTo>
                    <a:pt x="81755" y="122791"/>
                  </a:lnTo>
                  <a:cubicBezTo>
                    <a:pt x="81755" y="122473"/>
                    <a:pt x="81755" y="122473"/>
                    <a:pt x="81437" y="122473"/>
                  </a:cubicBezTo>
                  <a:lnTo>
                    <a:pt x="81755" y="122155"/>
                  </a:lnTo>
                  <a:cubicBezTo>
                    <a:pt x="81437" y="122155"/>
                    <a:pt x="80800" y="122473"/>
                    <a:pt x="80482" y="122473"/>
                  </a:cubicBezTo>
                  <a:lnTo>
                    <a:pt x="77301" y="122473"/>
                  </a:lnTo>
                  <a:cubicBezTo>
                    <a:pt x="76983" y="122473"/>
                    <a:pt x="76983" y="123109"/>
                    <a:pt x="76983" y="123427"/>
                  </a:cubicBezTo>
                  <a:cubicBezTo>
                    <a:pt x="77301" y="124064"/>
                    <a:pt x="78255" y="125018"/>
                    <a:pt x="79210" y="125336"/>
                  </a:cubicBezTo>
                  <a:cubicBezTo>
                    <a:pt x="79528" y="125336"/>
                    <a:pt x="79528" y="125336"/>
                    <a:pt x="79528" y="125654"/>
                  </a:cubicBezTo>
                  <a:lnTo>
                    <a:pt x="79528" y="125972"/>
                  </a:lnTo>
                  <a:cubicBezTo>
                    <a:pt x="79528" y="125972"/>
                    <a:pt x="79846" y="126290"/>
                    <a:pt x="79846" y="126609"/>
                  </a:cubicBezTo>
                  <a:lnTo>
                    <a:pt x="79846" y="127563"/>
                  </a:lnTo>
                  <a:lnTo>
                    <a:pt x="76983" y="131062"/>
                  </a:lnTo>
                  <a:cubicBezTo>
                    <a:pt x="76347" y="131062"/>
                    <a:pt x="76029" y="131380"/>
                    <a:pt x="75711" y="132016"/>
                  </a:cubicBezTo>
                  <a:cubicBezTo>
                    <a:pt x="75393" y="132653"/>
                    <a:pt x="74756" y="133607"/>
                    <a:pt x="73802" y="134243"/>
                  </a:cubicBezTo>
                  <a:lnTo>
                    <a:pt x="70939" y="136470"/>
                  </a:lnTo>
                  <a:cubicBezTo>
                    <a:pt x="70621" y="136788"/>
                    <a:pt x="69349" y="137106"/>
                    <a:pt x="68712" y="138061"/>
                  </a:cubicBezTo>
                  <a:cubicBezTo>
                    <a:pt x="67122" y="138061"/>
                    <a:pt x="66485" y="139333"/>
                    <a:pt x="65531" y="140287"/>
                  </a:cubicBezTo>
                  <a:lnTo>
                    <a:pt x="63622" y="141560"/>
                  </a:lnTo>
                  <a:cubicBezTo>
                    <a:pt x="62668" y="141878"/>
                    <a:pt x="61714" y="142196"/>
                    <a:pt x="61078" y="142832"/>
                  </a:cubicBezTo>
                  <a:cubicBezTo>
                    <a:pt x="59169" y="143787"/>
                    <a:pt x="56624" y="145377"/>
                    <a:pt x="54397" y="146013"/>
                  </a:cubicBezTo>
                  <a:cubicBezTo>
                    <a:pt x="53761" y="146331"/>
                    <a:pt x="53443" y="146968"/>
                    <a:pt x="52806" y="147604"/>
                  </a:cubicBezTo>
                  <a:lnTo>
                    <a:pt x="50580" y="147604"/>
                  </a:lnTo>
                  <a:cubicBezTo>
                    <a:pt x="50580" y="147604"/>
                    <a:pt x="49944" y="147922"/>
                    <a:pt x="49625" y="147922"/>
                  </a:cubicBezTo>
                  <a:lnTo>
                    <a:pt x="47399" y="148876"/>
                  </a:lnTo>
                  <a:cubicBezTo>
                    <a:pt x="46763" y="148876"/>
                    <a:pt x="45808" y="148876"/>
                    <a:pt x="45172" y="149194"/>
                  </a:cubicBezTo>
                  <a:cubicBezTo>
                    <a:pt x="44536" y="149194"/>
                    <a:pt x="44218" y="149831"/>
                    <a:pt x="43582" y="149831"/>
                  </a:cubicBezTo>
                  <a:cubicBezTo>
                    <a:pt x="43263" y="150149"/>
                    <a:pt x="42945" y="150149"/>
                    <a:pt x="42945" y="150149"/>
                  </a:cubicBezTo>
                  <a:cubicBezTo>
                    <a:pt x="42627" y="150149"/>
                    <a:pt x="42627" y="150149"/>
                    <a:pt x="42627" y="149831"/>
                  </a:cubicBezTo>
                  <a:cubicBezTo>
                    <a:pt x="41991" y="149831"/>
                    <a:pt x="41673" y="149513"/>
                    <a:pt x="41036" y="149513"/>
                  </a:cubicBezTo>
                  <a:cubicBezTo>
                    <a:pt x="40400" y="149513"/>
                    <a:pt x="39764" y="149831"/>
                    <a:pt x="39446" y="149831"/>
                  </a:cubicBezTo>
                  <a:cubicBezTo>
                    <a:pt x="38810" y="150149"/>
                    <a:pt x="38491" y="150149"/>
                    <a:pt x="37855" y="150149"/>
                  </a:cubicBezTo>
                  <a:lnTo>
                    <a:pt x="34038" y="150149"/>
                  </a:lnTo>
                  <a:cubicBezTo>
                    <a:pt x="33402" y="149831"/>
                    <a:pt x="32766" y="149831"/>
                    <a:pt x="32448" y="149831"/>
                  </a:cubicBezTo>
                  <a:lnTo>
                    <a:pt x="27358" y="149831"/>
                  </a:lnTo>
                  <a:cubicBezTo>
                    <a:pt x="27040" y="149831"/>
                    <a:pt x="26721" y="149513"/>
                    <a:pt x="26085" y="149513"/>
                  </a:cubicBezTo>
                  <a:cubicBezTo>
                    <a:pt x="25767" y="149513"/>
                    <a:pt x="25131" y="149194"/>
                    <a:pt x="25131" y="149194"/>
                  </a:cubicBezTo>
                  <a:cubicBezTo>
                    <a:pt x="23540" y="149194"/>
                    <a:pt x="21950" y="148876"/>
                    <a:pt x="20359" y="148240"/>
                  </a:cubicBezTo>
                  <a:cubicBezTo>
                    <a:pt x="20359" y="148240"/>
                    <a:pt x="20041" y="148240"/>
                    <a:pt x="19723" y="147922"/>
                  </a:cubicBezTo>
                  <a:cubicBezTo>
                    <a:pt x="19087" y="146968"/>
                    <a:pt x="19087" y="146968"/>
                    <a:pt x="17814" y="146968"/>
                  </a:cubicBezTo>
                  <a:cubicBezTo>
                    <a:pt x="17178" y="146968"/>
                    <a:pt x="16860" y="146650"/>
                    <a:pt x="16542" y="146013"/>
                  </a:cubicBezTo>
                  <a:cubicBezTo>
                    <a:pt x="15906" y="144741"/>
                    <a:pt x="15906" y="144741"/>
                    <a:pt x="14633" y="144741"/>
                  </a:cubicBezTo>
                  <a:lnTo>
                    <a:pt x="12406" y="144741"/>
                  </a:lnTo>
                  <a:cubicBezTo>
                    <a:pt x="12406" y="144741"/>
                    <a:pt x="12088" y="144423"/>
                    <a:pt x="12088" y="144105"/>
                  </a:cubicBezTo>
                  <a:cubicBezTo>
                    <a:pt x="12088" y="143787"/>
                    <a:pt x="12406" y="143787"/>
                    <a:pt x="12724" y="143468"/>
                  </a:cubicBezTo>
                  <a:lnTo>
                    <a:pt x="12724" y="143150"/>
                  </a:lnTo>
                  <a:lnTo>
                    <a:pt x="12406" y="142832"/>
                  </a:lnTo>
                  <a:cubicBezTo>
                    <a:pt x="12406" y="142514"/>
                    <a:pt x="12088" y="142514"/>
                    <a:pt x="11770" y="142514"/>
                  </a:cubicBezTo>
                  <a:cubicBezTo>
                    <a:pt x="11134" y="142514"/>
                    <a:pt x="10498" y="142514"/>
                    <a:pt x="9861" y="141878"/>
                  </a:cubicBezTo>
                  <a:lnTo>
                    <a:pt x="9543" y="141878"/>
                  </a:lnTo>
                  <a:cubicBezTo>
                    <a:pt x="9543" y="141878"/>
                    <a:pt x="9225" y="141878"/>
                    <a:pt x="9225" y="141560"/>
                  </a:cubicBezTo>
                  <a:cubicBezTo>
                    <a:pt x="9225" y="141560"/>
                    <a:pt x="9543" y="141242"/>
                    <a:pt x="9543" y="140924"/>
                  </a:cubicBezTo>
                  <a:lnTo>
                    <a:pt x="9543" y="140287"/>
                  </a:lnTo>
                  <a:lnTo>
                    <a:pt x="8271" y="140287"/>
                  </a:lnTo>
                  <a:cubicBezTo>
                    <a:pt x="7953" y="140287"/>
                    <a:pt x="7953" y="139651"/>
                    <a:pt x="7953" y="139333"/>
                  </a:cubicBezTo>
                  <a:lnTo>
                    <a:pt x="8271" y="139333"/>
                  </a:lnTo>
                  <a:cubicBezTo>
                    <a:pt x="8271" y="138697"/>
                    <a:pt x="8907" y="138697"/>
                    <a:pt x="8907" y="138061"/>
                  </a:cubicBezTo>
                  <a:cubicBezTo>
                    <a:pt x="8907" y="137424"/>
                    <a:pt x="8907" y="136788"/>
                    <a:pt x="7953" y="136470"/>
                  </a:cubicBezTo>
                  <a:cubicBezTo>
                    <a:pt x="2545" y="133289"/>
                    <a:pt x="6044" y="132335"/>
                    <a:pt x="2545" y="128835"/>
                  </a:cubicBezTo>
                  <a:cubicBezTo>
                    <a:pt x="2227" y="128199"/>
                    <a:pt x="1909" y="127563"/>
                    <a:pt x="1909" y="126927"/>
                  </a:cubicBezTo>
                  <a:cubicBezTo>
                    <a:pt x="1591" y="125972"/>
                    <a:pt x="1591" y="124700"/>
                    <a:pt x="954" y="123745"/>
                  </a:cubicBezTo>
                  <a:lnTo>
                    <a:pt x="954" y="120246"/>
                  </a:lnTo>
                  <a:cubicBezTo>
                    <a:pt x="636" y="119610"/>
                    <a:pt x="636" y="119292"/>
                    <a:pt x="636" y="118656"/>
                  </a:cubicBezTo>
                  <a:cubicBezTo>
                    <a:pt x="636" y="118338"/>
                    <a:pt x="636" y="118019"/>
                    <a:pt x="954" y="117701"/>
                  </a:cubicBezTo>
                  <a:lnTo>
                    <a:pt x="954" y="115793"/>
                  </a:lnTo>
                  <a:cubicBezTo>
                    <a:pt x="954" y="115475"/>
                    <a:pt x="1273" y="115156"/>
                    <a:pt x="1273" y="114838"/>
                  </a:cubicBezTo>
                  <a:cubicBezTo>
                    <a:pt x="1273" y="114520"/>
                    <a:pt x="954" y="114202"/>
                    <a:pt x="954" y="113884"/>
                  </a:cubicBezTo>
                  <a:cubicBezTo>
                    <a:pt x="636" y="113248"/>
                    <a:pt x="636" y="112612"/>
                    <a:pt x="636" y="111975"/>
                  </a:cubicBezTo>
                  <a:lnTo>
                    <a:pt x="636" y="111339"/>
                  </a:lnTo>
                  <a:cubicBezTo>
                    <a:pt x="954" y="111021"/>
                    <a:pt x="954" y="110385"/>
                    <a:pt x="954" y="110067"/>
                  </a:cubicBezTo>
                  <a:cubicBezTo>
                    <a:pt x="954" y="109749"/>
                    <a:pt x="954" y="109430"/>
                    <a:pt x="318" y="109112"/>
                  </a:cubicBezTo>
                  <a:cubicBezTo>
                    <a:pt x="318" y="108794"/>
                    <a:pt x="0" y="108476"/>
                    <a:pt x="0" y="108158"/>
                  </a:cubicBezTo>
                  <a:cubicBezTo>
                    <a:pt x="0" y="107840"/>
                    <a:pt x="318" y="107204"/>
                    <a:pt x="636" y="106567"/>
                  </a:cubicBezTo>
                  <a:cubicBezTo>
                    <a:pt x="318" y="105931"/>
                    <a:pt x="318" y="105613"/>
                    <a:pt x="318" y="104977"/>
                  </a:cubicBezTo>
                  <a:cubicBezTo>
                    <a:pt x="636" y="103704"/>
                    <a:pt x="636" y="102432"/>
                    <a:pt x="636" y="100841"/>
                  </a:cubicBezTo>
                  <a:cubicBezTo>
                    <a:pt x="636" y="100523"/>
                    <a:pt x="318" y="100205"/>
                    <a:pt x="318" y="99887"/>
                  </a:cubicBezTo>
                  <a:cubicBezTo>
                    <a:pt x="318" y="99251"/>
                    <a:pt x="636" y="98933"/>
                    <a:pt x="954" y="98297"/>
                  </a:cubicBezTo>
                  <a:cubicBezTo>
                    <a:pt x="954" y="97978"/>
                    <a:pt x="954" y="97660"/>
                    <a:pt x="1273" y="97660"/>
                  </a:cubicBezTo>
                  <a:cubicBezTo>
                    <a:pt x="1909" y="97660"/>
                    <a:pt x="1909" y="97978"/>
                    <a:pt x="1909" y="98615"/>
                  </a:cubicBezTo>
                  <a:lnTo>
                    <a:pt x="1909" y="99251"/>
                  </a:lnTo>
                  <a:cubicBezTo>
                    <a:pt x="2227" y="99251"/>
                    <a:pt x="2227" y="99251"/>
                    <a:pt x="2227" y="98933"/>
                  </a:cubicBezTo>
                  <a:lnTo>
                    <a:pt x="2227" y="96070"/>
                  </a:lnTo>
                  <a:cubicBezTo>
                    <a:pt x="2227" y="95752"/>
                    <a:pt x="2227" y="95752"/>
                    <a:pt x="2545" y="95434"/>
                  </a:cubicBezTo>
                  <a:lnTo>
                    <a:pt x="3181" y="94797"/>
                  </a:lnTo>
                  <a:lnTo>
                    <a:pt x="2863" y="94797"/>
                  </a:lnTo>
                  <a:cubicBezTo>
                    <a:pt x="2227" y="94161"/>
                    <a:pt x="2227" y="93207"/>
                    <a:pt x="2227" y="92252"/>
                  </a:cubicBezTo>
                  <a:lnTo>
                    <a:pt x="2227" y="91616"/>
                  </a:lnTo>
                  <a:cubicBezTo>
                    <a:pt x="2227" y="91298"/>
                    <a:pt x="2227" y="91298"/>
                    <a:pt x="1909" y="90980"/>
                  </a:cubicBezTo>
                  <a:cubicBezTo>
                    <a:pt x="2227" y="90344"/>
                    <a:pt x="2227" y="89708"/>
                    <a:pt x="2227" y="89071"/>
                  </a:cubicBezTo>
                  <a:lnTo>
                    <a:pt x="2227" y="88117"/>
                  </a:lnTo>
                  <a:cubicBezTo>
                    <a:pt x="2227" y="87481"/>
                    <a:pt x="2227" y="87163"/>
                    <a:pt x="2545" y="86845"/>
                  </a:cubicBezTo>
                  <a:cubicBezTo>
                    <a:pt x="2545" y="86526"/>
                    <a:pt x="2863" y="86526"/>
                    <a:pt x="3181" y="86526"/>
                  </a:cubicBezTo>
                  <a:cubicBezTo>
                    <a:pt x="3499" y="86526"/>
                    <a:pt x="3818" y="86208"/>
                    <a:pt x="3818" y="85890"/>
                  </a:cubicBezTo>
                  <a:cubicBezTo>
                    <a:pt x="4136" y="85890"/>
                    <a:pt x="4136" y="85890"/>
                    <a:pt x="4136" y="85572"/>
                  </a:cubicBezTo>
                  <a:lnTo>
                    <a:pt x="4136" y="85254"/>
                  </a:lnTo>
                  <a:lnTo>
                    <a:pt x="3818" y="84936"/>
                  </a:lnTo>
                  <a:cubicBezTo>
                    <a:pt x="3499" y="84936"/>
                    <a:pt x="3499" y="85254"/>
                    <a:pt x="3181" y="85254"/>
                  </a:cubicBezTo>
                  <a:lnTo>
                    <a:pt x="2863" y="85254"/>
                  </a:lnTo>
                  <a:cubicBezTo>
                    <a:pt x="2863" y="84618"/>
                    <a:pt x="2863" y="84618"/>
                    <a:pt x="3181" y="84300"/>
                  </a:cubicBezTo>
                  <a:cubicBezTo>
                    <a:pt x="3499" y="83982"/>
                    <a:pt x="3499" y="83663"/>
                    <a:pt x="3499" y="83345"/>
                  </a:cubicBezTo>
                  <a:cubicBezTo>
                    <a:pt x="3499" y="83027"/>
                    <a:pt x="3181" y="82391"/>
                    <a:pt x="2863" y="81755"/>
                  </a:cubicBezTo>
                  <a:cubicBezTo>
                    <a:pt x="2863" y="81437"/>
                    <a:pt x="3181" y="81437"/>
                    <a:pt x="3181" y="81119"/>
                  </a:cubicBezTo>
                  <a:cubicBezTo>
                    <a:pt x="3181" y="80800"/>
                    <a:pt x="2863" y="80482"/>
                    <a:pt x="2863" y="80164"/>
                  </a:cubicBezTo>
                  <a:lnTo>
                    <a:pt x="2863" y="79846"/>
                  </a:lnTo>
                  <a:cubicBezTo>
                    <a:pt x="3818" y="78574"/>
                    <a:pt x="3181" y="77619"/>
                    <a:pt x="4136" y="76665"/>
                  </a:cubicBezTo>
                  <a:cubicBezTo>
                    <a:pt x="4136" y="76347"/>
                    <a:pt x="3818" y="75711"/>
                    <a:pt x="3818" y="75393"/>
                  </a:cubicBezTo>
                  <a:cubicBezTo>
                    <a:pt x="4136" y="74438"/>
                    <a:pt x="4454" y="73802"/>
                    <a:pt x="4454" y="72848"/>
                  </a:cubicBezTo>
                  <a:lnTo>
                    <a:pt x="4454" y="72211"/>
                  </a:lnTo>
                  <a:cubicBezTo>
                    <a:pt x="4454" y="71893"/>
                    <a:pt x="4772" y="71575"/>
                    <a:pt x="5408" y="71257"/>
                  </a:cubicBezTo>
                  <a:cubicBezTo>
                    <a:pt x="5408" y="71257"/>
                    <a:pt x="5726" y="70939"/>
                    <a:pt x="5726" y="70621"/>
                  </a:cubicBezTo>
                  <a:cubicBezTo>
                    <a:pt x="5408" y="70303"/>
                    <a:pt x="5408" y="69985"/>
                    <a:pt x="5408" y="69666"/>
                  </a:cubicBezTo>
                  <a:cubicBezTo>
                    <a:pt x="5408" y="69030"/>
                    <a:pt x="5726" y="68712"/>
                    <a:pt x="5726" y="68076"/>
                  </a:cubicBezTo>
                  <a:cubicBezTo>
                    <a:pt x="5726" y="67758"/>
                    <a:pt x="6044" y="67440"/>
                    <a:pt x="6044" y="67440"/>
                  </a:cubicBezTo>
                  <a:cubicBezTo>
                    <a:pt x="6680" y="67122"/>
                    <a:pt x="6680" y="66803"/>
                    <a:pt x="6680" y="66167"/>
                  </a:cubicBezTo>
                  <a:lnTo>
                    <a:pt x="6680" y="64259"/>
                  </a:lnTo>
                  <a:cubicBezTo>
                    <a:pt x="6680" y="63304"/>
                    <a:pt x="6999" y="62032"/>
                    <a:pt x="6999" y="61077"/>
                  </a:cubicBezTo>
                  <a:lnTo>
                    <a:pt x="8907" y="57896"/>
                  </a:lnTo>
                  <a:cubicBezTo>
                    <a:pt x="8907" y="57260"/>
                    <a:pt x="9225" y="56942"/>
                    <a:pt x="9543" y="56306"/>
                  </a:cubicBezTo>
                  <a:cubicBezTo>
                    <a:pt x="9543" y="55988"/>
                    <a:pt x="9225" y="55351"/>
                    <a:pt x="9225" y="55033"/>
                  </a:cubicBezTo>
                  <a:cubicBezTo>
                    <a:pt x="9225" y="54397"/>
                    <a:pt x="9543" y="53761"/>
                    <a:pt x="9861" y="53443"/>
                  </a:cubicBezTo>
                  <a:cubicBezTo>
                    <a:pt x="10498" y="51534"/>
                    <a:pt x="11452" y="49625"/>
                    <a:pt x="12406" y="47717"/>
                  </a:cubicBezTo>
                  <a:cubicBezTo>
                    <a:pt x="12724" y="46762"/>
                    <a:pt x="13043" y="45808"/>
                    <a:pt x="13043" y="45172"/>
                  </a:cubicBezTo>
                  <a:lnTo>
                    <a:pt x="13997" y="42627"/>
                  </a:lnTo>
                  <a:lnTo>
                    <a:pt x="14951" y="41991"/>
                  </a:lnTo>
                  <a:cubicBezTo>
                    <a:pt x="15588" y="40718"/>
                    <a:pt x="15906" y="39764"/>
                    <a:pt x="16224" y="38492"/>
                  </a:cubicBezTo>
                  <a:cubicBezTo>
                    <a:pt x="16860" y="36901"/>
                    <a:pt x="17496" y="35310"/>
                    <a:pt x="18451" y="34038"/>
                  </a:cubicBezTo>
                  <a:cubicBezTo>
                    <a:pt x="18451" y="33084"/>
                    <a:pt x="19087" y="32447"/>
                    <a:pt x="19087" y="31493"/>
                  </a:cubicBezTo>
                  <a:lnTo>
                    <a:pt x="19723" y="30539"/>
                  </a:lnTo>
                  <a:lnTo>
                    <a:pt x="21950" y="27676"/>
                  </a:lnTo>
                  <a:cubicBezTo>
                    <a:pt x="21950" y="26085"/>
                    <a:pt x="22904" y="24495"/>
                    <a:pt x="24495" y="23222"/>
                  </a:cubicBezTo>
                  <a:lnTo>
                    <a:pt x="24495" y="22904"/>
                  </a:lnTo>
                  <a:cubicBezTo>
                    <a:pt x="24495" y="21632"/>
                    <a:pt x="25131" y="21313"/>
                    <a:pt x="26085" y="20359"/>
                  </a:cubicBezTo>
                  <a:lnTo>
                    <a:pt x="26085" y="20041"/>
                  </a:lnTo>
                  <a:cubicBezTo>
                    <a:pt x="26721" y="17814"/>
                    <a:pt x="28630" y="16224"/>
                    <a:pt x="29585" y="14315"/>
                  </a:cubicBezTo>
                  <a:lnTo>
                    <a:pt x="34038" y="9543"/>
                  </a:lnTo>
                  <a:cubicBezTo>
                    <a:pt x="34356" y="9225"/>
                    <a:pt x="34674" y="8907"/>
                    <a:pt x="34992" y="7953"/>
                  </a:cubicBezTo>
                  <a:cubicBezTo>
                    <a:pt x="35310" y="7317"/>
                    <a:pt x="35947" y="6680"/>
                    <a:pt x="36901" y="6680"/>
                  </a:cubicBezTo>
                  <a:cubicBezTo>
                    <a:pt x="38173" y="5726"/>
                    <a:pt x="39446" y="5408"/>
                    <a:pt x="40082" y="4454"/>
                  </a:cubicBezTo>
                  <a:cubicBezTo>
                    <a:pt x="40082" y="4454"/>
                    <a:pt x="40400" y="4454"/>
                    <a:pt x="40718" y="4135"/>
                  </a:cubicBezTo>
                  <a:cubicBezTo>
                    <a:pt x="41673" y="3181"/>
                    <a:pt x="43263" y="2545"/>
                    <a:pt x="44854" y="1591"/>
                  </a:cubicBezTo>
                  <a:lnTo>
                    <a:pt x="47399" y="636"/>
                  </a:lnTo>
                  <a:cubicBezTo>
                    <a:pt x="48671" y="318"/>
                    <a:pt x="49307" y="0"/>
                    <a:pt x="50262" y="0"/>
                  </a:cubicBezTo>
                  <a:lnTo>
                    <a:pt x="55988" y="0"/>
                  </a:lnTo>
                  <a:lnTo>
                    <a:pt x="58215" y="1591"/>
                  </a:lnTo>
                  <a:cubicBezTo>
                    <a:pt x="58533" y="1909"/>
                    <a:pt x="58533" y="2227"/>
                    <a:pt x="58851" y="2227"/>
                  </a:cubicBezTo>
                  <a:lnTo>
                    <a:pt x="61714" y="4135"/>
                  </a:lnTo>
                  <a:cubicBezTo>
                    <a:pt x="62032" y="4454"/>
                    <a:pt x="62350" y="5090"/>
                    <a:pt x="62986" y="5090"/>
                  </a:cubicBezTo>
                  <a:cubicBezTo>
                    <a:pt x="63304" y="5090"/>
                    <a:pt x="63622" y="5408"/>
                    <a:pt x="63940" y="5726"/>
                  </a:cubicBezTo>
                  <a:cubicBezTo>
                    <a:pt x="64259" y="5726"/>
                    <a:pt x="64259" y="6362"/>
                    <a:pt x="64577" y="6680"/>
                  </a:cubicBezTo>
                  <a:cubicBezTo>
                    <a:pt x="64895" y="6998"/>
                    <a:pt x="65849" y="7317"/>
                    <a:pt x="66485" y="7317"/>
                  </a:cubicBezTo>
                  <a:lnTo>
                    <a:pt x="67122" y="7317"/>
                  </a:lnTo>
                  <a:cubicBezTo>
                    <a:pt x="68076" y="7317"/>
                    <a:pt x="68394" y="7953"/>
                    <a:pt x="69030" y="8589"/>
                  </a:cubicBezTo>
                  <a:cubicBezTo>
                    <a:pt x="69349" y="8907"/>
                    <a:pt x="69349" y="9225"/>
                    <a:pt x="69349" y="9543"/>
                  </a:cubicBezTo>
                  <a:cubicBezTo>
                    <a:pt x="69349" y="9861"/>
                    <a:pt x="69349" y="10180"/>
                    <a:pt x="69030" y="10180"/>
                  </a:cubicBezTo>
                  <a:lnTo>
                    <a:pt x="66803" y="10816"/>
                  </a:lnTo>
                  <a:cubicBezTo>
                    <a:pt x="66485" y="10816"/>
                    <a:pt x="66485" y="11134"/>
                    <a:pt x="66485" y="11134"/>
                  </a:cubicBezTo>
                  <a:cubicBezTo>
                    <a:pt x="66167" y="11134"/>
                    <a:pt x="66167" y="10816"/>
                    <a:pt x="66167" y="10180"/>
                  </a:cubicBezTo>
                  <a:lnTo>
                    <a:pt x="66167" y="9543"/>
                  </a:lnTo>
                  <a:lnTo>
                    <a:pt x="65213" y="9543"/>
                  </a:lnTo>
                  <a:cubicBezTo>
                    <a:pt x="64577" y="9861"/>
                    <a:pt x="64259" y="10816"/>
                    <a:pt x="63940" y="11452"/>
                  </a:cubicBezTo>
                  <a:cubicBezTo>
                    <a:pt x="63940" y="11770"/>
                    <a:pt x="63940" y="11770"/>
                    <a:pt x="64259" y="12088"/>
                  </a:cubicBezTo>
                  <a:cubicBezTo>
                    <a:pt x="64259" y="12406"/>
                    <a:pt x="64577" y="12406"/>
                    <a:pt x="64577" y="12406"/>
                  </a:cubicBezTo>
                  <a:cubicBezTo>
                    <a:pt x="65213" y="12724"/>
                    <a:pt x="65213" y="13361"/>
                    <a:pt x="65213" y="13997"/>
                  </a:cubicBezTo>
                  <a:cubicBezTo>
                    <a:pt x="65213" y="14633"/>
                    <a:pt x="65531" y="14633"/>
                    <a:pt x="65849" y="14633"/>
                  </a:cubicBezTo>
                  <a:cubicBezTo>
                    <a:pt x="66167" y="14633"/>
                    <a:pt x="66485" y="14315"/>
                    <a:pt x="66485" y="14315"/>
                  </a:cubicBezTo>
                  <a:cubicBezTo>
                    <a:pt x="66803" y="14315"/>
                    <a:pt x="66803" y="14633"/>
                    <a:pt x="67122" y="15269"/>
                  </a:cubicBezTo>
                  <a:cubicBezTo>
                    <a:pt x="67440" y="15587"/>
                    <a:pt x="67758" y="16224"/>
                    <a:pt x="67758" y="16542"/>
                  </a:cubicBezTo>
                  <a:cubicBezTo>
                    <a:pt x="67758" y="16860"/>
                    <a:pt x="67440" y="16860"/>
                    <a:pt x="67440" y="17178"/>
                  </a:cubicBezTo>
                  <a:cubicBezTo>
                    <a:pt x="67440" y="17814"/>
                    <a:pt x="67758" y="17814"/>
                    <a:pt x="68076" y="18450"/>
                  </a:cubicBezTo>
                  <a:lnTo>
                    <a:pt x="68712" y="18450"/>
                  </a:lnTo>
                  <a:lnTo>
                    <a:pt x="68712" y="16860"/>
                  </a:lnTo>
                  <a:cubicBezTo>
                    <a:pt x="68712" y="15906"/>
                    <a:pt x="68394" y="14951"/>
                    <a:pt x="68394" y="13997"/>
                  </a:cubicBezTo>
                  <a:cubicBezTo>
                    <a:pt x="68712" y="13361"/>
                    <a:pt x="69349" y="12724"/>
                    <a:pt x="69985" y="12406"/>
                  </a:cubicBezTo>
                  <a:cubicBezTo>
                    <a:pt x="70303" y="12406"/>
                    <a:pt x="70939" y="12406"/>
                    <a:pt x="71257" y="12724"/>
                  </a:cubicBezTo>
                  <a:cubicBezTo>
                    <a:pt x="71257" y="13043"/>
                    <a:pt x="70939" y="13361"/>
                    <a:pt x="70939" y="13361"/>
                  </a:cubicBezTo>
                  <a:cubicBezTo>
                    <a:pt x="70939" y="14315"/>
                    <a:pt x="71575" y="14633"/>
                    <a:pt x="72530" y="14633"/>
                  </a:cubicBezTo>
                  <a:cubicBezTo>
                    <a:pt x="72848" y="14633"/>
                    <a:pt x="72848" y="15269"/>
                    <a:pt x="72848" y="15587"/>
                  </a:cubicBezTo>
                  <a:lnTo>
                    <a:pt x="72848" y="15906"/>
                  </a:lnTo>
                  <a:cubicBezTo>
                    <a:pt x="72212" y="16542"/>
                    <a:pt x="71893" y="16542"/>
                    <a:pt x="71893" y="16860"/>
                  </a:cubicBezTo>
                  <a:cubicBezTo>
                    <a:pt x="71893" y="17178"/>
                    <a:pt x="72212" y="17496"/>
                    <a:pt x="72530" y="17814"/>
                  </a:cubicBezTo>
                  <a:cubicBezTo>
                    <a:pt x="72530" y="18132"/>
                    <a:pt x="72848" y="18450"/>
                    <a:pt x="73166" y="18450"/>
                  </a:cubicBezTo>
                  <a:cubicBezTo>
                    <a:pt x="73166" y="18769"/>
                    <a:pt x="73166" y="19087"/>
                    <a:pt x="72848" y="19405"/>
                  </a:cubicBezTo>
                  <a:cubicBezTo>
                    <a:pt x="72848" y="19723"/>
                    <a:pt x="72848" y="20041"/>
                    <a:pt x="72530" y="20041"/>
                  </a:cubicBezTo>
                  <a:cubicBezTo>
                    <a:pt x="71893" y="20359"/>
                    <a:pt x="71575" y="20677"/>
                    <a:pt x="71575" y="21313"/>
                  </a:cubicBezTo>
                  <a:cubicBezTo>
                    <a:pt x="71575" y="21632"/>
                    <a:pt x="71893" y="21950"/>
                    <a:pt x="71893" y="22268"/>
                  </a:cubicBezTo>
                  <a:cubicBezTo>
                    <a:pt x="71893" y="22586"/>
                    <a:pt x="71893" y="22586"/>
                    <a:pt x="72212" y="22586"/>
                  </a:cubicBezTo>
                  <a:lnTo>
                    <a:pt x="73166" y="22586"/>
                  </a:lnTo>
                  <a:lnTo>
                    <a:pt x="73166" y="22904"/>
                  </a:lnTo>
                  <a:cubicBezTo>
                    <a:pt x="73166" y="23540"/>
                    <a:pt x="72530" y="24495"/>
                    <a:pt x="72212" y="25131"/>
                  </a:cubicBezTo>
                  <a:cubicBezTo>
                    <a:pt x="71893" y="25449"/>
                    <a:pt x="71893" y="25449"/>
                    <a:pt x="71893" y="25767"/>
                  </a:cubicBezTo>
                  <a:cubicBezTo>
                    <a:pt x="71893" y="26085"/>
                    <a:pt x="71893" y="26403"/>
                    <a:pt x="72212" y="26721"/>
                  </a:cubicBezTo>
                  <a:cubicBezTo>
                    <a:pt x="72848" y="27358"/>
                    <a:pt x="72848" y="27676"/>
                    <a:pt x="72848" y="28312"/>
                  </a:cubicBezTo>
                  <a:lnTo>
                    <a:pt x="72848" y="29584"/>
                  </a:lnTo>
                  <a:cubicBezTo>
                    <a:pt x="72848" y="29903"/>
                    <a:pt x="72530" y="30221"/>
                    <a:pt x="72212" y="30539"/>
                  </a:cubicBezTo>
                  <a:cubicBezTo>
                    <a:pt x="71257" y="31493"/>
                    <a:pt x="70939" y="32447"/>
                    <a:pt x="70939" y="33402"/>
                  </a:cubicBezTo>
                  <a:cubicBezTo>
                    <a:pt x="71257" y="33720"/>
                    <a:pt x="71257" y="34038"/>
                    <a:pt x="71257" y="34356"/>
                  </a:cubicBezTo>
                  <a:cubicBezTo>
                    <a:pt x="69985" y="35947"/>
                    <a:pt x="69985" y="37855"/>
                    <a:pt x="68712" y="39446"/>
                  </a:cubicBezTo>
                  <a:cubicBezTo>
                    <a:pt x="69030" y="39764"/>
                    <a:pt x="69030" y="40082"/>
                    <a:pt x="69030" y="40400"/>
                  </a:cubicBezTo>
                  <a:cubicBezTo>
                    <a:pt x="69030" y="41036"/>
                    <a:pt x="68394" y="41991"/>
                    <a:pt x="68076" y="42627"/>
                  </a:cubicBezTo>
                  <a:cubicBezTo>
                    <a:pt x="67440" y="43263"/>
                    <a:pt x="66803" y="44536"/>
                    <a:pt x="66803" y="45808"/>
                  </a:cubicBezTo>
                  <a:lnTo>
                    <a:pt x="66803" y="46444"/>
                  </a:lnTo>
                  <a:cubicBezTo>
                    <a:pt x="66485" y="48035"/>
                    <a:pt x="65213" y="49625"/>
                    <a:pt x="64259" y="50898"/>
                  </a:cubicBezTo>
                  <a:cubicBezTo>
                    <a:pt x="63622" y="51216"/>
                    <a:pt x="63622" y="51852"/>
                    <a:pt x="62986" y="52170"/>
                  </a:cubicBezTo>
                  <a:cubicBezTo>
                    <a:pt x="62350" y="52807"/>
                    <a:pt x="61396" y="53761"/>
                    <a:pt x="61396" y="54715"/>
                  </a:cubicBezTo>
                  <a:lnTo>
                    <a:pt x="61396" y="55033"/>
                  </a:lnTo>
                  <a:cubicBezTo>
                    <a:pt x="61396" y="55351"/>
                    <a:pt x="61078" y="55351"/>
                    <a:pt x="60759" y="55670"/>
                  </a:cubicBezTo>
                  <a:cubicBezTo>
                    <a:pt x="60759" y="56624"/>
                    <a:pt x="59805" y="56942"/>
                    <a:pt x="59805" y="57578"/>
                  </a:cubicBezTo>
                  <a:lnTo>
                    <a:pt x="59805" y="57896"/>
                  </a:lnTo>
                  <a:cubicBezTo>
                    <a:pt x="59805" y="58533"/>
                    <a:pt x="59487" y="58533"/>
                    <a:pt x="59169" y="58851"/>
                  </a:cubicBezTo>
                  <a:cubicBezTo>
                    <a:pt x="58533" y="59487"/>
                    <a:pt x="57897" y="60123"/>
                    <a:pt x="57260" y="60441"/>
                  </a:cubicBezTo>
                  <a:cubicBezTo>
                    <a:pt x="55988" y="61714"/>
                    <a:pt x="54715" y="62986"/>
                    <a:pt x="54079" y="64577"/>
                  </a:cubicBezTo>
                  <a:cubicBezTo>
                    <a:pt x="52488" y="66803"/>
                    <a:pt x="50898" y="68712"/>
                    <a:pt x="49307" y="70303"/>
                  </a:cubicBezTo>
                  <a:cubicBezTo>
                    <a:pt x="48989" y="70939"/>
                    <a:pt x="48035" y="71575"/>
                    <a:pt x="47081" y="71893"/>
                  </a:cubicBezTo>
                  <a:cubicBezTo>
                    <a:pt x="46444" y="71893"/>
                    <a:pt x="46126" y="71893"/>
                    <a:pt x="45808" y="72529"/>
                  </a:cubicBezTo>
                  <a:lnTo>
                    <a:pt x="43582" y="74438"/>
                  </a:lnTo>
                  <a:cubicBezTo>
                    <a:pt x="41991" y="75393"/>
                    <a:pt x="41036" y="75711"/>
                    <a:pt x="39764" y="75711"/>
                  </a:cubicBezTo>
                  <a:cubicBezTo>
                    <a:pt x="39446" y="75711"/>
                    <a:pt x="39128" y="75711"/>
                    <a:pt x="38491" y="76029"/>
                  </a:cubicBezTo>
                  <a:cubicBezTo>
                    <a:pt x="37219" y="76983"/>
                    <a:pt x="34992" y="76983"/>
                    <a:pt x="33084" y="76983"/>
                  </a:cubicBezTo>
                  <a:cubicBezTo>
                    <a:pt x="31811" y="76983"/>
                    <a:pt x="31175" y="77301"/>
                    <a:pt x="29903" y="77619"/>
                  </a:cubicBezTo>
                  <a:cubicBezTo>
                    <a:pt x="29267" y="77619"/>
                    <a:pt x="28948" y="77937"/>
                    <a:pt x="28312" y="77937"/>
                  </a:cubicBezTo>
                  <a:cubicBezTo>
                    <a:pt x="27676" y="77937"/>
                    <a:pt x="26721" y="77619"/>
                    <a:pt x="26085" y="77301"/>
                  </a:cubicBezTo>
                  <a:cubicBezTo>
                    <a:pt x="25449" y="76983"/>
                    <a:pt x="25131" y="76983"/>
                    <a:pt x="24495" y="76983"/>
                  </a:cubicBezTo>
                  <a:cubicBezTo>
                    <a:pt x="24176" y="76983"/>
                    <a:pt x="23858" y="76983"/>
                    <a:pt x="23858" y="77619"/>
                  </a:cubicBezTo>
                  <a:cubicBezTo>
                    <a:pt x="22904" y="79210"/>
                    <a:pt x="22586" y="80482"/>
                    <a:pt x="22268" y="81755"/>
                  </a:cubicBezTo>
                  <a:cubicBezTo>
                    <a:pt x="22268" y="82391"/>
                    <a:pt x="22268" y="83027"/>
                    <a:pt x="22586" y="83663"/>
                  </a:cubicBezTo>
                  <a:cubicBezTo>
                    <a:pt x="22904" y="83982"/>
                    <a:pt x="22904" y="84618"/>
                    <a:pt x="22904" y="85254"/>
                  </a:cubicBezTo>
                  <a:cubicBezTo>
                    <a:pt x="22904" y="85254"/>
                    <a:pt x="22904" y="85572"/>
                    <a:pt x="22586" y="85890"/>
                  </a:cubicBezTo>
                  <a:cubicBezTo>
                    <a:pt x="21950" y="86208"/>
                    <a:pt x="21632" y="86845"/>
                    <a:pt x="21632" y="87481"/>
                  </a:cubicBezTo>
                  <a:cubicBezTo>
                    <a:pt x="21632" y="87799"/>
                    <a:pt x="21950" y="88117"/>
                    <a:pt x="21950" y="88435"/>
                  </a:cubicBezTo>
                  <a:cubicBezTo>
                    <a:pt x="21632" y="89389"/>
                    <a:pt x="20995" y="90026"/>
                    <a:pt x="20995" y="90980"/>
                  </a:cubicBezTo>
                  <a:lnTo>
                    <a:pt x="20995" y="94797"/>
                  </a:lnTo>
                  <a:cubicBezTo>
                    <a:pt x="20995" y="95434"/>
                    <a:pt x="21314" y="96070"/>
                    <a:pt x="21314" y="96388"/>
                  </a:cubicBezTo>
                  <a:cubicBezTo>
                    <a:pt x="21314" y="96706"/>
                    <a:pt x="21314" y="96706"/>
                    <a:pt x="20995" y="97024"/>
                  </a:cubicBezTo>
                  <a:cubicBezTo>
                    <a:pt x="20677" y="97342"/>
                    <a:pt x="20677" y="98297"/>
                    <a:pt x="20677" y="98933"/>
                  </a:cubicBezTo>
                  <a:cubicBezTo>
                    <a:pt x="20677" y="99251"/>
                    <a:pt x="20359" y="99569"/>
                    <a:pt x="20359" y="99887"/>
                  </a:cubicBezTo>
                  <a:cubicBezTo>
                    <a:pt x="20359" y="100205"/>
                    <a:pt x="20677" y="100841"/>
                    <a:pt x="20677" y="100841"/>
                  </a:cubicBezTo>
                  <a:cubicBezTo>
                    <a:pt x="20677" y="101160"/>
                    <a:pt x="20995" y="101478"/>
                    <a:pt x="20995" y="101796"/>
                  </a:cubicBezTo>
                  <a:cubicBezTo>
                    <a:pt x="20995" y="102114"/>
                    <a:pt x="20677" y="102114"/>
                    <a:pt x="20677" y="102432"/>
                  </a:cubicBezTo>
                  <a:lnTo>
                    <a:pt x="20677" y="102750"/>
                  </a:lnTo>
                  <a:cubicBezTo>
                    <a:pt x="20995" y="103068"/>
                    <a:pt x="20995" y="103386"/>
                    <a:pt x="20995" y="103704"/>
                  </a:cubicBezTo>
                  <a:cubicBezTo>
                    <a:pt x="20995" y="104341"/>
                    <a:pt x="20677" y="104977"/>
                    <a:pt x="20677" y="105613"/>
                  </a:cubicBezTo>
                  <a:lnTo>
                    <a:pt x="20677" y="107522"/>
                  </a:lnTo>
                  <a:cubicBezTo>
                    <a:pt x="20677" y="108158"/>
                    <a:pt x="20677" y="108794"/>
                    <a:pt x="21314" y="109112"/>
                  </a:cubicBezTo>
                  <a:lnTo>
                    <a:pt x="21314" y="113248"/>
                  </a:lnTo>
                  <a:cubicBezTo>
                    <a:pt x="20995" y="113884"/>
                    <a:pt x="20677" y="114520"/>
                    <a:pt x="20677" y="115156"/>
                  </a:cubicBezTo>
                  <a:cubicBezTo>
                    <a:pt x="20677" y="115475"/>
                    <a:pt x="20995" y="116111"/>
                    <a:pt x="21314" y="116429"/>
                  </a:cubicBezTo>
                  <a:lnTo>
                    <a:pt x="21314" y="117383"/>
                  </a:lnTo>
                  <a:cubicBezTo>
                    <a:pt x="21314" y="117701"/>
                    <a:pt x="21314" y="118019"/>
                    <a:pt x="21632" y="118019"/>
                  </a:cubicBezTo>
                  <a:cubicBezTo>
                    <a:pt x="23222" y="118656"/>
                    <a:pt x="22904" y="119928"/>
                    <a:pt x="23222" y="120882"/>
                  </a:cubicBezTo>
                  <a:lnTo>
                    <a:pt x="23222" y="122155"/>
                  </a:lnTo>
                  <a:cubicBezTo>
                    <a:pt x="23222" y="122473"/>
                    <a:pt x="22904" y="122791"/>
                    <a:pt x="22904" y="123109"/>
                  </a:cubicBezTo>
                  <a:cubicBezTo>
                    <a:pt x="22904" y="123745"/>
                    <a:pt x="23222" y="124064"/>
                    <a:pt x="24176" y="124700"/>
                  </a:cubicBezTo>
                  <a:cubicBezTo>
                    <a:pt x="24495" y="125654"/>
                    <a:pt x="24813" y="126927"/>
                    <a:pt x="25767" y="127881"/>
                  </a:cubicBezTo>
                  <a:cubicBezTo>
                    <a:pt x="26085" y="127881"/>
                    <a:pt x="26085" y="128199"/>
                    <a:pt x="26085" y="128199"/>
                  </a:cubicBezTo>
                  <a:cubicBezTo>
                    <a:pt x="26085" y="129472"/>
                    <a:pt x="26403" y="130108"/>
                    <a:pt x="27358" y="130744"/>
                  </a:cubicBezTo>
                  <a:lnTo>
                    <a:pt x="27358" y="131062"/>
                  </a:lnTo>
                  <a:cubicBezTo>
                    <a:pt x="27994" y="131698"/>
                    <a:pt x="28312" y="132335"/>
                    <a:pt x="28948" y="132653"/>
                  </a:cubicBezTo>
                  <a:lnTo>
                    <a:pt x="30221" y="134243"/>
                  </a:lnTo>
                  <a:cubicBezTo>
                    <a:pt x="31493" y="135516"/>
                    <a:pt x="32766" y="136152"/>
                    <a:pt x="34356" y="136152"/>
                  </a:cubicBezTo>
                  <a:cubicBezTo>
                    <a:pt x="34992" y="136152"/>
                    <a:pt x="35310" y="136152"/>
                    <a:pt x="35947" y="135834"/>
                  </a:cubicBezTo>
                  <a:cubicBezTo>
                    <a:pt x="36583" y="135516"/>
                    <a:pt x="36901" y="135516"/>
                    <a:pt x="37537" y="135516"/>
                  </a:cubicBezTo>
                  <a:cubicBezTo>
                    <a:pt x="40082" y="135516"/>
                    <a:pt x="42627" y="134561"/>
                    <a:pt x="45172" y="133607"/>
                  </a:cubicBezTo>
                  <a:cubicBezTo>
                    <a:pt x="47399" y="132653"/>
                    <a:pt x="49307" y="131698"/>
                    <a:pt x="50580" y="130426"/>
                  </a:cubicBezTo>
                  <a:cubicBezTo>
                    <a:pt x="51534" y="129790"/>
                    <a:pt x="53125" y="129472"/>
                    <a:pt x="54079" y="128835"/>
                  </a:cubicBezTo>
                  <a:cubicBezTo>
                    <a:pt x="55670" y="127245"/>
                    <a:pt x="57897" y="125972"/>
                    <a:pt x="59805" y="124382"/>
                  </a:cubicBezTo>
                  <a:cubicBezTo>
                    <a:pt x="61396" y="123427"/>
                    <a:pt x="62668" y="122155"/>
                    <a:pt x="64259" y="120882"/>
                  </a:cubicBezTo>
                  <a:cubicBezTo>
                    <a:pt x="65531" y="119928"/>
                    <a:pt x="66485" y="118656"/>
                    <a:pt x="67440" y="117383"/>
                  </a:cubicBezTo>
                  <a:cubicBezTo>
                    <a:pt x="69030" y="116429"/>
                    <a:pt x="70621" y="114838"/>
                    <a:pt x="71893" y="113566"/>
                  </a:cubicBezTo>
                  <a:cubicBezTo>
                    <a:pt x="72848" y="112930"/>
                    <a:pt x="73166" y="111975"/>
                    <a:pt x="74120" y="111339"/>
                  </a:cubicBezTo>
                  <a:cubicBezTo>
                    <a:pt x="74756" y="111021"/>
                    <a:pt x="75074" y="110385"/>
                    <a:pt x="75074" y="110385"/>
                  </a:cubicBezTo>
                  <a:cubicBezTo>
                    <a:pt x="75393" y="110067"/>
                    <a:pt x="75393" y="109749"/>
                    <a:pt x="75393" y="109430"/>
                  </a:cubicBezTo>
                  <a:cubicBezTo>
                    <a:pt x="76983" y="108794"/>
                    <a:pt x="77937" y="107522"/>
                    <a:pt x="78892" y="106886"/>
                  </a:cubicBezTo>
                  <a:cubicBezTo>
                    <a:pt x="79528" y="105931"/>
                    <a:pt x="80482" y="104659"/>
                    <a:pt x="81755" y="103704"/>
                  </a:cubicBezTo>
                  <a:cubicBezTo>
                    <a:pt x="83346" y="102114"/>
                    <a:pt x="84300" y="100205"/>
                    <a:pt x="85890" y="98615"/>
                  </a:cubicBezTo>
                  <a:lnTo>
                    <a:pt x="91934" y="91934"/>
                  </a:lnTo>
                  <a:cubicBezTo>
                    <a:pt x="91934" y="91934"/>
                    <a:pt x="92252" y="91934"/>
                    <a:pt x="92252" y="91616"/>
                  </a:cubicBezTo>
                  <a:cubicBezTo>
                    <a:pt x="93207" y="90980"/>
                    <a:pt x="93843" y="89708"/>
                    <a:pt x="95115" y="88435"/>
                  </a:cubicBezTo>
                  <a:cubicBezTo>
                    <a:pt x="96070" y="86845"/>
                    <a:pt x="97661" y="84936"/>
                    <a:pt x="98933" y="83663"/>
                  </a:cubicBezTo>
                  <a:cubicBezTo>
                    <a:pt x="99569" y="83027"/>
                    <a:pt x="100205" y="82391"/>
                    <a:pt x="100205" y="81437"/>
                  </a:cubicBezTo>
                  <a:cubicBezTo>
                    <a:pt x="101478" y="79528"/>
                    <a:pt x="103068" y="77937"/>
                    <a:pt x="104659" y="76347"/>
                  </a:cubicBezTo>
                  <a:lnTo>
                    <a:pt x="104341" y="76029"/>
                  </a:lnTo>
                  <a:cubicBezTo>
                    <a:pt x="105295" y="74120"/>
                    <a:pt x="106567" y="72529"/>
                    <a:pt x="108158" y="70303"/>
                  </a:cubicBezTo>
                  <a:cubicBezTo>
                    <a:pt x="108158" y="69985"/>
                    <a:pt x="108476" y="69666"/>
                    <a:pt x="108476" y="69030"/>
                  </a:cubicBezTo>
                  <a:cubicBezTo>
                    <a:pt x="108794" y="68076"/>
                    <a:pt x="110385" y="67758"/>
                    <a:pt x="110703" y="66803"/>
                  </a:cubicBezTo>
                  <a:cubicBezTo>
                    <a:pt x="110703" y="65531"/>
                    <a:pt x="111339" y="64895"/>
                    <a:pt x="111657" y="63940"/>
                  </a:cubicBezTo>
                  <a:cubicBezTo>
                    <a:pt x="111976" y="63940"/>
                    <a:pt x="111976" y="63940"/>
                    <a:pt x="111976" y="64259"/>
                  </a:cubicBezTo>
                  <a:lnTo>
                    <a:pt x="111976" y="64895"/>
                  </a:lnTo>
                  <a:lnTo>
                    <a:pt x="112294" y="64895"/>
                  </a:lnTo>
                  <a:cubicBezTo>
                    <a:pt x="112612" y="64577"/>
                    <a:pt x="112930" y="64259"/>
                    <a:pt x="112930" y="63940"/>
                  </a:cubicBezTo>
                  <a:lnTo>
                    <a:pt x="112930" y="63304"/>
                  </a:lnTo>
                  <a:cubicBezTo>
                    <a:pt x="112930" y="62668"/>
                    <a:pt x="113248" y="62032"/>
                    <a:pt x="113566" y="61396"/>
                  </a:cubicBezTo>
                  <a:cubicBezTo>
                    <a:pt x="113884" y="61396"/>
                    <a:pt x="113884" y="60759"/>
                    <a:pt x="113884" y="60441"/>
                  </a:cubicBezTo>
                  <a:cubicBezTo>
                    <a:pt x="114202" y="60123"/>
                    <a:pt x="114202" y="59169"/>
                    <a:pt x="114838" y="59169"/>
                  </a:cubicBezTo>
                  <a:cubicBezTo>
                    <a:pt x="115475" y="58533"/>
                    <a:pt x="115157" y="57578"/>
                    <a:pt x="115475" y="56624"/>
                  </a:cubicBezTo>
                  <a:cubicBezTo>
                    <a:pt x="115475" y="55988"/>
                    <a:pt x="115793" y="55351"/>
                    <a:pt x="116429" y="55351"/>
                  </a:cubicBezTo>
                  <a:cubicBezTo>
                    <a:pt x="117065" y="55351"/>
                    <a:pt x="117065" y="55033"/>
                    <a:pt x="117065" y="54715"/>
                  </a:cubicBezTo>
                  <a:lnTo>
                    <a:pt x="117065" y="53761"/>
                  </a:lnTo>
                  <a:cubicBezTo>
                    <a:pt x="117383" y="52170"/>
                    <a:pt x="117065" y="52488"/>
                    <a:pt x="118974" y="51852"/>
                  </a:cubicBezTo>
                  <a:lnTo>
                    <a:pt x="118974" y="51534"/>
                  </a:lnTo>
                  <a:cubicBezTo>
                    <a:pt x="119292" y="51216"/>
                    <a:pt x="119292" y="51216"/>
                    <a:pt x="119292" y="50898"/>
                  </a:cubicBezTo>
                  <a:lnTo>
                    <a:pt x="119292" y="50262"/>
                  </a:lnTo>
                  <a:cubicBezTo>
                    <a:pt x="119292" y="49625"/>
                    <a:pt x="119610" y="48989"/>
                    <a:pt x="120246" y="48989"/>
                  </a:cubicBezTo>
                  <a:lnTo>
                    <a:pt x="121519" y="47399"/>
                  </a:lnTo>
                  <a:lnTo>
                    <a:pt x="121837" y="47399"/>
                  </a:lnTo>
                  <a:cubicBezTo>
                    <a:pt x="121837" y="47399"/>
                    <a:pt x="122155" y="47399"/>
                    <a:pt x="122155" y="47717"/>
                  </a:cubicBezTo>
                  <a:cubicBezTo>
                    <a:pt x="122155" y="48035"/>
                    <a:pt x="122473" y="48353"/>
                    <a:pt x="122473" y="48671"/>
                  </a:cubicBezTo>
                  <a:cubicBezTo>
                    <a:pt x="122473" y="48671"/>
                    <a:pt x="122791" y="48989"/>
                    <a:pt x="123109" y="48989"/>
                  </a:cubicBezTo>
                  <a:cubicBezTo>
                    <a:pt x="123746" y="48989"/>
                    <a:pt x="124064" y="48989"/>
                    <a:pt x="124064" y="49307"/>
                  </a:cubicBezTo>
                  <a:cubicBezTo>
                    <a:pt x="124064" y="49307"/>
                    <a:pt x="123746" y="49307"/>
                    <a:pt x="123746" y="49625"/>
                  </a:cubicBezTo>
                  <a:cubicBezTo>
                    <a:pt x="123746" y="50898"/>
                    <a:pt x="123428" y="51852"/>
                    <a:pt x="123109" y="52488"/>
                  </a:cubicBezTo>
                  <a:cubicBezTo>
                    <a:pt x="122791" y="53125"/>
                    <a:pt x="122155" y="53443"/>
                    <a:pt x="121519" y="53443"/>
                  </a:cubicBezTo>
                  <a:lnTo>
                    <a:pt x="120882" y="53443"/>
                  </a:lnTo>
                  <a:cubicBezTo>
                    <a:pt x="120564" y="53443"/>
                    <a:pt x="120246" y="53761"/>
                    <a:pt x="119928" y="54079"/>
                  </a:cubicBezTo>
                  <a:cubicBezTo>
                    <a:pt x="119928" y="54715"/>
                    <a:pt x="120246" y="55670"/>
                    <a:pt x="120882" y="56306"/>
                  </a:cubicBezTo>
                  <a:cubicBezTo>
                    <a:pt x="121201" y="56306"/>
                    <a:pt x="121201" y="56942"/>
                    <a:pt x="121519" y="57260"/>
                  </a:cubicBezTo>
                  <a:cubicBezTo>
                    <a:pt x="121519" y="57578"/>
                    <a:pt x="121837" y="57896"/>
                    <a:pt x="121519" y="57896"/>
                  </a:cubicBezTo>
                  <a:cubicBezTo>
                    <a:pt x="121519" y="58214"/>
                    <a:pt x="121201" y="58533"/>
                    <a:pt x="121519" y="58533"/>
                  </a:cubicBezTo>
                  <a:lnTo>
                    <a:pt x="121519" y="59169"/>
                  </a:lnTo>
                  <a:cubicBezTo>
                    <a:pt x="121519" y="59805"/>
                    <a:pt x="121201" y="60759"/>
                    <a:pt x="120882" y="61396"/>
                  </a:cubicBezTo>
                  <a:cubicBezTo>
                    <a:pt x="120882" y="61714"/>
                    <a:pt x="120882" y="62350"/>
                    <a:pt x="120564" y="62668"/>
                  </a:cubicBezTo>
                  <a:lnTo>
                    <a:pt x="120246" y="62668"/>
                  </a:lnTo>
                  <a:lnTo>
                    <a:pt x="120246" y="60759"/>
                  </a:lnTo>
                  <a:lnTo>
                    <a:pt x="119928" y="60759"/>
                  </a:lnTo>
                  <a:cubicBezTo>
                    <a:pt x="119292" y="60123"/>
                    <a:pt x="119610" y="59169"/>
                    <a:pt x="119292" y="58533"/>
                  </a:cubicBezTo>
                  <a:cubicBezTo>
                    <a:pt x="119292" y="58214"/>
                    <a:pt x="119610" y="57896"/>
                    <a:pt x="119610" y="57896"/>
                  </a:cubicBezTo>
                  <a:cubicBezTo>
                    <a:pt x="119610" y="57896"/>
                    <a:pt x="119292" y="57896"/>
                    <a:pt x="118974" y="57578"/>
                  </a:cubicBezTo>
                  <a:cubicBezTo>
                    <a:pt x="118656" y="57578"/>
                    <a:pt x="118656" y="57896"/>
                    <a:pt x="118656" y="57896"/>
                  </a:cubicBezTo>
                  <a:cubicBezTo>
                    <a:pt x="118338" y="58851"/>
                    <a:pt x="117701" y="59805"/>
                    <a:pt x="117065" y="60759"/>
                  </a:cubicBezTo>
                  <a:lnTo>
                    <a:pt x="116429" y="62350"/>
                  </a:lnTo>
                  <a:cubicBezTo>
                    <a:pt x="116111" y="62350"/>
                    <a:pt x="115793" y="62668"/>
                    <a:pt x="115475" y="62986"/>
                  </a:cubicBezTo>
                  <a:cubicBezTo>
                    <a:pt x="114838" y="62986"/>
                    <a:pt x="114520" y="63304"/>
                    <a:pt x="114520" y="63940"/>
                  </a:cubicBezTo>
                  <a:lnTo>
                    <a:pt x="114520" y="64259"/>
                  </a:lnTo>
                  <a:cubicBezTo>
                    <a:pt x="114520" y="64577"/>
                    <a:pt x="114202" y="64895"/>
                    <a:pt x="114202" y="65213"/>
                  </a:cubicBezTo>
                  <a:cubicBezTo>
                    <a:pt x="114202" y="66803"/>
                    <a:pt x="113566" y="67758"/>
                    <a:pt x="113248" y="69030"/>
                  </a:cubicBezTo>
                  <a:cubicBezTo>
                    <a:pt x="112930" y="69030"/>
                    <a:pt x="113248" y="69348"/>
                    <a:pt x="113248" y="69348"/>
                  </a:cubicBezTo>
                  <a:lnTo>
                    <a:pt x="113884" y="69348"/>
                  </a:lnTo>
                  <a:cubicBezTo>
                    <a:pt x="114202" y="69030"/>
                    <a:pt x="114838" y="68712"/>
                    <a:pt x="114838" y="68076"/>
                  </a:cubicBezTo>
                  <a:cubicBezTo>
                    <a:pt x="115157" y="67440"/>
                    <a:pt x="115475" y="66803"/>
                    <a:pt x="116111" y="66803"/>
                  </a:cubicBezTo>
                  <a:cubicBezTo>
                    <a:pt x="116747" y="66803"/>
                    <a:pt x="117383" y="66803"/>
                    <a:pt x="117701" y="66167"/>
                  </a:cubicBezTo>
                  <a:cubicBezTo>
                    <a:pt x="118019" y="65849"/>
                    <a:pt x="118019" y="66167"/>
                    <a:pt x="118019" y="66167"/>
                  </a:cubicBezTo>
                  <a:cubicBezTo>
                    <a:pt x="118019" y="67122"/>
                    <a:pt x="118019" y="68076"/>
                    <a:pt x="117383" y="68712"/>
                  </a:cubicBezTo>
                  <a:cubicBezTo>
                    <a:pt x="117065" y="69030"/>
                    <a:pt x="116429" y="69348"/>
                    <a:pt x="116429" y="69666"/>
                  </a:cubicBezTo>
                  <a:lnTo>
                    <a:pt x="117383" y="70939"/>
                  </a:lnTo>
                  <a:cubicBezTo>
                    <a:pt x="118019" y="71257"/>
                    <a:pt x="118019" y="71257"/>
                    <a:pt x="118338" y="71257"/>
                  </a:cubicBezTo>
                  <a:cubicBezTo>
                    <a:pt x="118656" y="71575"/>
                    <a:pt x="118656" y="72211"/>
                    <a:pt x="118656" y="72529"/>
                  </a:cubicBezTo>
                  <a:lnTo>
                    <a:pt x="118656" y="73484"/>
                  </a:lnTo>
                  <a:cubicBezTo>
                    <a:pt x="118656" y="73484"/>
                    <a:pt x="118656" y="74120"/>
                    <a:pt x="118974" y="74120"/>
                  </a:cubicBezTo>
                  <a:lnTo>
                    <a:pt x="120882" y="74120"/>
                  </a:lnTo>
                  <a:cubicBezTo>
                    <a:pt x="121837" y="74120"/>
                    <a:pt x="121837" y="74438"/>
                    <a:pt x="121837" y="74756"/>
                  </a:cubicBezTo>
                  <a:close/>
                  <a:moveTo>
                    <a:pt x="1591" y="118656"/>
                  </a:moveTo>
                  <a:lnTo>
                    <a:pt x="1591" y="118974"/>
                  </a:lnTo>
                  <a:lnTo>
                    <a:pt x="1909" y="119292"/>
                  </a:lnTo>
                  <a:lnTo>
                    <a:pt x="2227" y="119292"/>
                  </a:lnTo>
                  <a:cubicBezTo>
                    <a:pt x="2227" y="118974"/>
                    <a:pt x="1909" y="118656"/>
                    <a:pt x="1591" y="118656"/>
                  </a:cubicBezTo>
                  <a:close/>
                  <a:moveTo>
                    <a:pt x="20677" y="46762"/>
                  </a:moveTo>
                  <a:cubicBezTo>
                    <a:pt x="21314" y="46126"/>
                    <a:pt x="21314" y="45490"/>
                    <a:pt x="21314" y="44854"/>
                  </a:cubicBezTo>
                  <a:lnTo>
                    <a:pt x="21314" y="43899"/>
                  </a:lnTo>
                  <a:cubicBezTo>
                    <a:pt x="21632" y="42945"/>
                    <a:pt x="22268" y="42627"/>
                    <a:pt x="22904" y="41673"/>
                  </a:cubicBezTo>
                  <a:cubicBezTo>
                    <a:pt x="23222" y="40718"/>
                    <a:pt x="23858" y="40082"/>
                    <a:pt x="23858" y="39128"/>
                  </a:cubicBezTo>
                  <a:lnTo>
                    <a:pt x="24176" y="38810"/>
                  </a:lnTo>
                  <a:lnTo>
                    <a:pt x="25131" y="37537"/>
                  </a:lnTo>
                  <a:cubicBezTo>
                    <a:pt x="25449" y="35629"/>
                    <a:pt x="26403" y="33720"/>
                    <a:pt x="27040" y="31811"/>
                  </a:cubicBezTo>
                  <a:cubicBezTo>
                    <a:pt x="27040" y="31493"/>
                    <a:pt x="26721" y="31493"/>
                    <a:pt x="26721" y="31493"/>
                  </a:cubicBezTo>
                  <a:lnTo>
                    <a:pt x="26721" y="31175"/>
                  </a:lnTo>
                  <a:cubicBezTo>
                    <a:pt x="26085" y="31493"/>
                    <a:pt x="25767" y="31811"/>
                    <a:pt x="25767" y="32129"/>
                  </a:cubicBezTo>
                  <a:cubicBezTo>
                    <a:pt x="25449" y="32766"/>
                    <a:pt x="25131" y="33402"/>
                    <a:pt x="25131" y="34038"/>
                  </a:cubicBezTo>
                  <a:cubicBezTo>
                    <a:pt x="24495" y="34674"/>
                    <a:pt x="23858" y="35947"/>
                    <a:pt x="23858" y="36901"/>
                  </a:cubicBezTo>
                  <a:cubicBezTo>
                    <a:pt x="23222" y="37855"/>
                    <a:pt x="22904" y="38492"/>
                    <a:pt x="21950" y="39446"/>
                  </a:cubicBezTo>
                  <a:cubicBezTo>
                    <a:pt x="21950" y="40400"/>
                    <a:pt x="21632" y="41355"/>
                    <a:pt x="20677" y="42309"/>
                  </a:cubicBezTo>
                  <a:cubicBezTo>
                    <a:pt x="20677" y="42627"/>
                    <a:pt x="20995" y="42627"/>
                    <a:pt x="20995" y="42945"/>
                  </a:cubicBezTo>
                  <a:cubicBezTo>
                    <a:pt x="20995" y="43581"/>
                    <a:pt x="20041" y="44218"/>
                    <a:pt x="19723" y="44854"/>
                  </a:cubicBezTo>
                  <a:cubicBezTo>
                    <a:pt x="19723" y="46126"/>
                    <a:pt x="19087" y="47399"/>
                    <a:pt x="18451" y="48989"/>
                  </a:cubicBezTo>
                  <a:cubicBezTo>
                    <a:pt x="18133" y="50262"/>
                    <a:pt x="17814" y="51216"/>
                    <a:pt x="17814" y="52170"/>
                  </a:cubicBezTo>
                  <a:lnTo>
                    <a:pt x="17496" y="52488"/>
                  </a:lnTo>
                  <a:cubicBezTo>
                    <a:pt x="17496" y="52488"/>
                    <a:pt x="17496" y="52807"/>
                    <a:pt x="17814" y="52807"/>
                  </a:cubicBezTo>
                  <a:lnTo>
                    <a:pt x="18133" y="52488"/>
                  </a:lnTo>
                  <a:cubicBezTo>
                    <a:pt x="18451" y="52170"/>
                    <a:pt x="18451" y="52170"/>
                    <a:pt x="18451" y="51852"/>
                  </a:cubicBezTo>
                  <a:lnTo>
                    <a:pt x="18451" y="51216"/>
                  </a:lnTo>
                  <a:cubicBezTo>
                    <a:pt x="18451" y="50580"/>
                    <a:pt x="18769" y="49944"/>
                    <a:pt x="19087" y="49625"/>
                  </a:cubicBezTo>
                  <a:cubicBezTo>
                    <a:pt x="19723" y="48671"/>
                    <a:pt x="20359" y="47717"/>
                    <a:pt x="20677" y="46762"/>
                  </a:cubicBezTo>
                  <a:close/>
                  <a:moveTo>
                    <a:pt x="30221" y="54079"/>
                  </a:moveTo>
                  <a:cubicBezTo>
                    <a:pt x="29903" y="54397"/>
                    <a:pt x="29585" y="55033"/>
                    <a:pt x="29585" y="55988"/>
                  </a:cubicBezTo>
                  <a:lnTo>
                    <a:pt x="29585" y="57260"/>
                  </a:lnTo>
                  <a:cubicBezTo>
                    <a:pt x="31175" y="57896"/>
                    <a:pt x="32129" y="58851"/>
                    <a:pt x="32766" y="60123"/>
                  </a:cubicBezTo>
                  <a:lnTo>
                    <a:pt x="33720" y="60123"/>
                  </a:lnTo>
                  <a:cubicBezTo>
                    <a:pt x="34038" y="60123"/>
                    <a:pt x="34038" y="59805"/>
                    <a:pt x="34356" y="59487"/>
                  </a:cubicBezTo>
                  <a:cubicBezTo>
                    <a:pt x="34992" y="58533"/>
                    <a:pt x="35629" y="57578"/>
                    <a:pt x="36901" y="56624"/>
                  </a:cubicBezTo>
                  <a:cubicBezTo>
                    <a:pt x="38173" y="55351"/>
                    <a:pt x="39128" y="54079"/>
                    <a:pt x="40400" y="52170"/>
                  </a:cubicBezTo>
                  <a:cubicBezTo>
                    <a:pt x="40718" y="51852"/>
                    <a:pt x="40718" y="51216"/>
                    <a:pt x="41355" y="50898"/>
                  </a:cubicBezTo>
                  <a:lnTo>
                    <a:pt x="42945" y="48671"/>
                  </a:lnTo>
                  <a:cubicBezTo>
                    <a:pt x="43582" y="47717"/>
                    <a:pt x="43900" y="46762"/>
                    <a:pt x="44536" y="46126"/>
                  </a:cubicBezTo>
                  <a:cubicBezTo>
                    <a:pt x="44536" y="45490"/>
                    <a:pt x="44854" y="44854"/>
                    <a:pt x="45172" y="44218"/>
                  </a:cubicBezTo>
                  <a:cubicBezTo>
                    <a:pt x="45808" y="43263"/>
                    <a:pt x="46444" y="42309"/>
                    <a:pt x="47399" y="41355"/>
                  </a:cubicBezTo>
                  <a:cubicBezTo>
                    <a:pt x="48353" y="40718"/>
                    <a:pt x="48353" y="39128"/>
                    <a:pt x="48989" y="38173"/>
                  </a:cubicBezTo>
                  <a:cubicBezTo>
                    <a:pt x="49307" y="37219"/>
                    <a:pt x="49307" y="36265"/>
                    <a:pt x="49307" y="35629"/>
                  </a:cubicBezTo>
                  <a:cubicBezTo>
                    <a:pt x="50580" y="34674"/>
                    <a:pt x="50580" y="33720"/>
                    <a:pt x="50580" y="32766"/>
                  </a:cubicBezTo>
                  <a:cubicBezTo>
                    <a:pt x="50898" y="31811"/>
                    <a:pt x="51216" y="30857"/>
                    <a:pt x="51852" y="29903"/>
                  </a:cubicBezTo>
                  <a:cubicBezTo>
                    <a:pt x="52170" y="29266"/>
                    <a:pt x="52806" y="28312"/>
                    <a:pt x="52806" y="27358"/>
                  </a:cubicBezTo>
                  <a:cubicBezTo>
                    <a:pt x="52806" y="27040"/>
                    <a:pt x="52806" y="26721"/>
                    <a:pt x="52488" y="26403"/>
                  </a:cubicBezTo>
                  <a:lnTo>
                    <a:pt x="52488" y="25767"/>
                  </a:lnTo>
                  <a:cubicBezTo>
                    <a:pt x="52488" y="25131"/>
                    <a:pt x="52488" y="25131"/>
                    <a:pt x="53125" y="25131"/>
                  </a:cubicBezTo>
                  <a:lnTo>
                    <a:pt x="53761" y="25131"/>
                  </a:lnTo>
                  <a:cubicBezTo>
                    <a:pt x="53761" y="24813"/>
                    <a:pt x="54079" y="24495"/>
                    <a:pt x="54079" y="24495"/>
                  </a:cubicBezTo>
                  <a:cubicBezTo>
                    <a:pt x="54079" y="24495"/>
                    <a:pt x="53761" y="24495"/>
                    <a:pt x="53761" y="24176"/>
                  </a:cubicBezTo>
                  <a:lnTo>
                    <a:pt x="53761" y="23858"/>
                  </a:lnTo>
                  <a:cubicBezTo>
                    <a:pt x="53761" y="23540"/>
                    <a:pt x="53761" y="23540"/>
                    <a:pt x="53443" y="23540"/>
                  </a:cubicBezTo>
                  <a:cubicBezTo>
                    <a:pt x="53125" y="23540"/>
                    <a:pt x="53125" y="23222"/>
                    <a:pt x="53125" y="22904"/>
                  </a:cubicBezTo>
                  <a:cubicBezTo>
                    <a:pt x="53125" y="22586"/>
                    <a:pt x="53125" y="22586"/>
                    <a:pt x="53443" y="22268"/>
                  </a:cubicBezTo>
                  <a:cubicBezTo>
                    <a:pt x="53761" y="21950"/>
                    <a:pt x="53761" y="21632"/>
                    <a:pt x="53761" y="21632"/>
                  </a:cubicBezTo>
                  <a:lnTo>
                    <a:pt x="53125" y="21313"/>
                  </a:lnTo>
                  <a:cubicBezTo>
                    <a:pt x="53125" y="20995"/>
                    <a:pt x="52806" y="20677"/>
                    <a:pt x="53125" y="20677"/>
                  </a:cubicBezTo>
                  <a:cubicBezTo>
                    <a:pt x="53761" y="20041"/>
                    <a:pt x="53761" y="19723"/>
                    <a:pt x="53761" y="19405"/>
                  </a:cubicBezTo>
                  <a:cubicBezTo>
                    <a:pt x="53761" y="19087"/>
                    <a:pt x="53761" y="18450"/>
                    <a:pt x="53443" y="18132"/>
                  </a:cubicBezTo>
                  <a:cubicBezTo>
                    <a:pt x="53125" y="17178"/>
                    <a:pt x="53443" y="16542"/>
                    <a:pt x="52806" y="15587"/>
                  </a:cubicBezTo>
                  <a:lnTo>
                    <a:pt x="52806" y="15269"/>
                  </a:lnTo>
                  <a:cubicBezTo>
                    <a:pt x="52806" y="14951"/>
                    <a:pt x="52806" y="14951"/>
                    <a:pt x="53125" y="14951"/>
                  </a:cubicBezTo>
                  <a:cubicBezTo>
                    <a:pt x="53125" y="14633"/>
                    <a:pt x="53125" y="14633"/>
                    <a:pt x="53443" y="14633"/>
                  </a:cubicBezTo>
                  <a:cubicBezTo>
                    <a:pt x="53443" y="14633"/>
                    <a:pt x="53443" y="14315"/>
                    <a:pt x="53761" y="13997"/>
                  </a:cubicBezTo>
                  <a:lnTo>
                    <a:pt x="51852" y="13997"/>
                  </a:lnTo>
                  <a:cubicBezTo>
                    <a:pt x="50898" y="15269"/>
                    <a:pt x="49944" y="16224"/>
                    <a:pt x="48989" y="17814"/>
                  </a:cubicBezTo>
                  <a:cubicBezTo>
                    <a:pt x="48671" y="17814"/>
                    <a:pt x="48671" y="18132"/>
                    <a:pt x="48671" y="18132"/>
                  </a:cubicBezTo>
                  <a:lnTo>
                    <a:pt x="48671" y="18450"/>
                  </a:lnTo>
                  <a:cubicBezTo>
                    <a:pt x="47081" y="20041"/>
                    <a:pt x="45490" y="21313"/>
                    <a:pt x="44854" y="23222"/>
                  </a:cubicBezTo>
                  <a:lnTo>
                    <a:pt x="44536" y="23540"/>
                  </a:lnTo>
                  <a:cubicBezTo>
                    <a:pt x="43582" y="24495"/>
                    <a:pt x="42627" y="25131"/>
                    <a:pt x="41991" y="26403"/>
                  </a:cubicBezTo>
                  <a:cubicBezTo>
                    <a:pt x="41673" y="26721"/>
                    <a:pt x="41355" y="27040"/>
                    <a:pt x="41355" y="27676"/>
                  </a:cubicBezTo>
                  <a:lnTo>
                    <a:pt x="41355" y="27994"/>
                  </a:lnTo>
                  <a:cubicBezTo>
                    <a:pt x="41036" y="28948"/>
                    <a:pt x="40400" y="29266"/>
                    <a:pt x="40082" y="29903"/>
                  </a:cubicBezTo>
                  <a:cubicBezTo>
                    <a:pt x="40082" y="30539"/>
                    <a:pt x="39446" y="31175"/>
                    <a:pt x="38810" y="31811"/>
                  </a:cubicBezTo>
                  <a:cubicBezTo>
                    <a:pt x="38491" y="31811"/>
                    <a:pt x="38173" y="32447"/>
                    <a:pt x="38173" y="32447"/>
                  </a:cubicBezTo>
                  <a:cubicBezTo>
                    <a:pt x="38173" y="33402"/>
                    <a:pt x="38491" y="34038"/>
                    <a:pt x="38491" y="34356"/>
                  </a:cubicBezTo>
                  <a:cubicBezTo>
                    <a:pt x="37855" y="34992"/>
                    <a:pt x="37219" y="35629"/>
                    <a:pt x="37219" y="36265"/>
                  </a:cubicBezTo>
                  <a:lnTo>
                    <a:pt x="37219" y="37219"/>
                  </a:lnTo>
                  <a:cubicBezTo>
                    <a:pt x="36583" y="37855"/>
                    <a:pt x="36265" y="37855"/>
                    <a:pt x="36265" y="38173"/>
                  </a:cubicBezTo>
                  <a:cubicBezTo>
                    <a:pt x="35629" y="38810"/>
                    <a:pt x="34992" y="39764"/>
                    <a:pt x="34992" y="40718"/>
                  </a:cubicBezTo>
                  <a:lnTo>
                    <a:pt x="34992" y="41355"/>
                  </a:lnTo>
                  <a:cubicBezTo>
                    <a:pt x="34992" y="41991"/>
                    <a:pt x="34356" y="42309"/>
                    <a:pt x="34038" y="42627"/>
                  </a:cubicBezTo>
                  <a:lnTo>
                    <a:pt x="32766" y="43899"/>
                  </a:lnTo>
                  <a:lnTo>
                    <a:pt x="32766" y="44218"/>
                  </a:lnTo>
                  <a:cubicBezTo>
                    <a:pt x="32766" y="46126"/>
                    <a:pt x="31493" y="48989"/>
                    <a:pt x="30539" y="51216"/>
                  </a:cubicBezTo>
                  <a:lnTo>
                    <a:pt x="30539" y="53125"/>
                  </a:lnTo>
                  <a:cubicBezTo>
                    <a:pt x="30539" y="53443"/>
                    <a:pt x="30539" y="53761"/>
                    <a:pt x="30221" y="54079"/>
                  </a:cubicBezTo>
                  <a:close/>
                  <a:moveTo>
                    <a:pt x="62032" y="30221"/>
                  </a:moveTo>
                  <a:cubicBezTo>
                    <a:pt x="62350" y="30221"/>
                    <a:pt x="62668" y="30221"/>
                    <a:pt x="62668" y="29903"/>
                  </a:cubicBezTo>
                  <a:cubicBezTo>
                    <a:pt x="62986" y="29584"/>
                    <a:pt x="62986" y="29266"/>
                    <a:pt x="62986" y="28948"/>
                  </a:cubicBezTo>
                  <a:lnTo>
                    <a:pt x="62986" y="28630"/>
                  </a:lnTo>
                  <a:lnTo>
                    <a:pt x="62668" y="28312"/>
                  </a:lnTo>
                  <a:lnTo>
                    <a:pt x="62350" y="28312"/>
                  </a:lnTo>
                  <a:cubicBezTo>
                    <a:pt x="62350" y="28630"/>
                    <a:pt x="61714" y="28948"/>
                    <a:pt x="61714" y="29266"/>
                  </a:cubicBezTo>
                  <a:cubicBezTo>
                    <a:pt x="61714" y="29584"/>
                    <a:pt x="61714" y="29903"/>
                    <a:pt x="62032" y="30221"/>
                  </a:cubicBezTo>
                  <a:close/>
                  <a:moveTo>
                    <a:pt x="62032" y="13997"/>
                  </a:moveTo>
                  <a:cubicBezTo>
                    <a:pt x="62032" y="14315"/>
                    <a:pt x="62032" y="14633"/>
                    <a:pt x="62350" y="14633"/>
                  </a:cubicBezTo>
                  <a:cubicBezTo>
                    <a:pt x="62350" y="14951"/>
                    <a:pt x="62668" y="15269"/>
                    <a:pt x="62986" y="15269"/>
                  </a:cubicBezTo>
                  <a:cubicBezTo>
                    <a:pt x="63304" y="15269"/>
                    <a:pt x="63622" y="14633"/>
                    <a:pt x="63622" y="14633"/>
                  </a:cubicBezTo>
                  <a:lnTo>
                    <a:pt x="62668" y="13361"/>
                  </a:lnTo>
                  <a:lnTo>
                    <a:pt x="62350" y="13361"/>
                  </a:lnTo>
                  <a:cubicBezTo>
                    <a:pt x="62032" y="13361"/>
                    <a:pt x="62032" y="13997"/>
                    <a:pt x="62032" y="13997"/>
                  </a:cubicBezTo>
                  <a:close/>
                  <a:moveTo>
                    <a:pt x="63940" y="16542"/>
                  </a:moveTo>
                  <a:cubicBezTo>
                    <a:pt x="63304" y="16542"/>
                    <a:pt x="62986" y="16542"/>
                    <a:pt x="62668" y="16860"/>
                  </a:cubicBezTo>
                  <a:lnTo>
                    <a:pt x="62668" y="18450"/>
                  </a:lnTo>
                  <a:cubicBezTo>
                    <a:pt x="62668" y="19087"/>
                    <a:pt x="62668" y="19723"/>
                    <a:pt x="62986" y="20041"/>
                  </a:cubicBezTo>
                  <a:cubicBezTo>
                    <a:pt x="62986" y="20359"/>
                    <a:pt x="62668" y="20995"/>
                    <a:pt x="62350" y="21313"/>
                  </a:cubicBezTo>
                  <a:cubicBezTo>
                    <a:pt x="62350" y="21950"/>
                    <a:pt x="62350" y="22586"/>
                    <a:pt x="62986" y="23540"/>
                  </a:cubicBezTo>
                  <a:cubicBezTo>
                    <a:pt x="62986" y="23540"/>
                    <a:pt x="62668" y="24176"/>
                    <a:pt x="62350" y="24495"/>
                  </a:cubicBezTo>
                  <a:lnTo>
                    <a:pt x="62350" y="25131"/>
                  </a:lnTo>
                  <a:cubicBezTo>
                    <a:pt x="62350" y="25449"/>
                    <a:pt x="62350" y="25449"/>
                    <a:pt x="62668" y="25449"/>
                  </a:cubicBezTo>
                  <a:cubicBezTo>
                    <a:pt x="62668" y="25449"/>
                    <a:pt x="62986" y="25449"/>
                    <a:pt x="63304" y="25131"/>
                  </a:cubicBezTo>
                  <a:cubicBezTo>
                    <a:pt x="63622" y="25131"/>
                    <a:pt x="64259" y="25131"/>
                    <a:pt x="64577" y="24813"/>
                  </a:cubicBezTo>
                  <a:cubicBezTo>
                    <a:pt x="66167" y="24495"/>
                    <a:pt x="66803" y="23540"/>
                    <a:pt x="66803" y="21950"/>
                  </a:cubicBezTo>
                  <a:lnTo>
                    <a:pt x="66803" y="20677"/>
                  </a:lnTo>
                  <a:cubicBezTo>
                    <a:pt x="66803" y="20359"/>
                    <a:pt x="66485" y="20041"/>
                    <a:pt x="66167" y="19723"/>
                  </a:cubicBezTo>
                  <a:cubicBezTo>
                    <a:pt x="65849" y="19087"/>
                    <a:pt x="65213" y="19087"/>
                    <a:pt x="64895" y="18450"/>
                  </a:cubicBezTo>
                  <a:cubicBezTo>
                    <a:pt x="64259" y="18132"/>
                    <a:pt x="64577" y="17496"/>
                    <a:pt x="64259" y="16860"/>
                  </a:cubicBezTo>
                  <a:cubicBezTo>
                    <a:pt x="64577" y="16542"/>
                    <a:pt x="63940" y="16542"/>
                    <a:pt x="63940" y="16542"/>
                  </a:cubicBezTo>
                  <a:close/>
                  <a:moveTo>
                    <a:pt x="65213" y="17814"/>
                  </a:moveTo>
                  <a:cubicBezTo>
                    <a:pt x="65531" y="17814"/>
                    <a:pt x="65531" y="18132"/>
                    <a:pt x="65849" y="18132"/>
                  </a:cubicBezTo>
                  <a:lnTo>
                    <a:pt x="66167" y="18132"/>
                  </a:lnTo>
                  <a:lnTo>
                    <a:pt x="66167" y="17496"/>
                  </a:lnTo>
                  <a:cubicBezTo>
                    <a:pt x="66167" y="17178"/>
                    <a:pt x="65849" y="16860"/>
                    <a:pt x="65849" y="16860"/>
                  </a:cubicBezTo>
                  <a:lnTo>
                    <a:pt x="65531" y="17178"/>
                  </a:lnTo>
                  <a:cubicBezTo>
                    <a:pt x="65213" y="17496"/>
                    <a:pt x="65213" y="17814"/>
                    <a:pt x="65213" y="17814"/>
                  </a:cubicBezTo>
                  <a:close/>
                  <a:moveTo>
                    <a:pt x="66485" y="26721"/>
                  </a:moveTo>
                  <a:lnTo>
                    <a:pt x="66485" y="27040"/>
                  </a:lnTo>
                  <a:lnTo>
                    <a:pt x="67122" y="29584"/>
                  </a:lnTo>
                  <a:lnTo>
                    <a:pt x="67758" y="29584"/>
                  </a:lnTo>
                  <a:cubicBezTo>
                    <a:pt x="68076" y="28948"/>
                    <a:pt x="68394" y="28312"/>
                    <a:pt x="69030" y="27994"/>
                  </a:cubicBezTo>
                  <a:lnTo>
                    <a:pt x="68712" y="27358"/>
                  </a:lnTo>
                  <a:cubicBezTo>
                    <a:pt x="68394" y="27358"/>
                    <a:pt x="68394" y="27040"/>
                    <a:pt x="68394" y="26721"/>
                  </a:cubicBezTo>
                  <a:cubicBezTo>
                    <a:pt x="68394" y="26403"/>
                    <a:pt x="68394" y="26403"/>
                    <a:pt x="68712" y="26085"/>
                  </a:cubicBezTo>
                  <a:lnTo>
                    <a:pt x="68712" y="25767"/>
                  </a:lnTo>
                  <a:cubicBezTo>
                    <a:pt x="68394" y="25449"/>
                    <a:pt x="68076" y="25449"/>
                    <a:pt x="67758" y="25449"/>
                  </a:cubicBezTo>
                  <a:cubicBezTo>
                    <a:pt x="67122" y="25767"/>
                    <a:pt x="67122" y="26403"/>
                    <a:pt x="66485" y="26721"/>
                  </a:cubicBezTo>
                  <a:close/>
                  <a:moveTo>
                    <a:pt x="67758" y="22904"/>
                  </a:moveTo>
                  <a:lnTo>
                    <a:pt x="67758" y="24176"/>
                  </a:lnTo>
                  <a:cubicBezTo>
                    <a:pt x="67758" y="24495"/>
                    <a:pt x="68076" y="24495"/>
                    <a:pt x="68076" y="24495"/>
                  </a:cubicBezTo>
                  <a:cubicBezTo>
                    <a:pt x="69030" y="23858"/>
                    <a:pt x="69030" y="23540"/>
                    <a:pt x="69667" y="22904"/>
                  </a:cubicBezTo>
                  <a:lnTo>
                    <a:pt x="69667" y="22586"/>
                  </a:lnTo>
                  <a:cubicBezTo>
                    <a:pt x="69349" y="22268"/>
                    <a:pt x="69030" y="21632"/>
                    <a:pt x="68394" y="21313"/>
                  </a:cubicBezTo>
                  <a:lnTo>
                    <a:pt x="68076" y="21313"/>
                  </a:lnTo>
                  <a:cubicBezTo>
                    <a:pt x="68076" y="21950"/>
                    <a:pt x="67758" y="22586"/>
                    <a:pt x="67758" y="22904"/>
                  </a:cubicBezTo>
                  <a:close/>
                  <a:moveTo>
                    <a:pt x="82073" y="120882"/>
                  </a:moveTo>
                  <a:cubicBezTo>
                    <a:pt x="81755" y="120564"/>
                    <a:pt x="81755" y="120564"/>
                    <a:pt x="81755" y="120246"/>
                  </a:cubicBezTo>
                  <a:lnTo>
                    <a:pt x="81119" y="120246"/>
                  </a:lnTo>
                  <a:cubicBezTo>
                    <a:pt x="81119" y="120246"/>
                    <a:pt x="80800" y="120564"/>
                    <a:pt x="80800" y="120882"/>
                  </a:cubicBezTo>
                  <a:cubicBezTo>
                    <a:pt x="80800" y="120882"/>
                    <a:pt x="80800" y="121201"/>
                    <a:pt x="81437" y="121201"/>
                  </a:cubicBezTo>
                  <a:lnTo>
                    <a:pt x="81755" y="121201"/>
                  </a:lnTo>
                  <a:cubicBezTo>
                    <a:pt x="81755" y="120882"/>
                    <a:pt x="82073" y="120882"/>
                    <a:pt x="82073" y="120882"/>
                  </a:cubicBezTo>
                  <a:close/>
                  <a:moveTo>
                    <a:pt x="89071" y="119292"/>
                  </a:moveTo>
                  <a:cubicBezTo>
                    <a:pt x="89071" y="119292"/>
                    <a:pt x="89071" y="119610"/>
                    <a:pt x="88753" y="119610"/>
                  </a:cubicBezTo>
                  <a:cubicBezTo>
                    <a:pt x="88753" y="119610"/>
                    <a:pt x="88435" y="119610"/>
                    <a:pt x="88435" y="119292"/>
                  </a:cubicBezTo>
                  <a:cubicBezTo>
                    <a:pt x="88435" y="119292"/>
                    <a:pt x="88753" y="119292"/>
                    <a:pt x="88753" y="118974"/>
                  </a:cubicBezTo>
                  <a:cubicBezTo>
                    <a:pt x="89071" y="118974"/>
                    <a:pt x="89071" y="119292"/>
                    <a:pt x="89071" y="119292"/>
                  </a:cubicBezTo>
                  <a:close/>
                  <a:moveTo>
                    <a:pt x="106567" y="100841"/>
                  </a:moveTo>
                  <a:lnTo>
                    <a:pt x="104977" y="102432"/>
                  </a:lnTo>
                  <a:cubicBezTo>
                    <a:pt x="104659" y="102750"/>
                    <a:pt x="104659" y="103068"/>
                    <a:pt x="104341" y="103068"/>
                  </a:cubicBezTo>
                  <a:cubicBezTo>
                    <a:pt x="104023" y="103068"/>
                    <a:pt x="104023" y="102750"/>
                    <a:pt x="104023" y="102432"/>
                  </a:cubicBezTo>
                  <a:cubicBezTo>
                    <a:pt x="104023" y="101796"/>
                    <a:pt x="103704" y="101478"/>
                    <a:pt x="103068" y="101478"/>
                  </a:cubicBezTo>
                  <a:cubicBezTo>
                    <a:pt x="102750" y="101478"/>
                    <a:pt x="102432" y="101478"/>
                    <a:pt x="102432" y="100841"/>
                  </a:cubicBezTo>
                  <a:lnTo>
                    <a:pt x="102432" y="100205"/>
                  </a:lnTo>
                  <a:cubicBezTo>
                    <a:pt x="102750" y="99887"/>
                    <a:pt x="103386" y="99887"/>
                    <a:pt x="104023" y="99251"/>
                  </a:cubicBezTo>
                  <a:cubicBezTo>
                    <a:pt x="104023" y="99251"/>
                    <a:pt x="104341" y="99251"/>
                    <a:pt x="104341" y="99569"/>
                  </a:cubicBezTo>
                  <a:cubicBezTo>
                    <a:pt x="104977" y="100205"/>
                    <a:pt x="105295" y="100205"/>
                    <a:pt x="105931" y="100205"/>
                  </a:cubicBezTo>
                  <a:cubicBezTo>
                    <a:pt x="106249" y="100523"/>
                    <a:pt x="106567" y="100523"/>
                    <a:pt x="106567" y="100841"/>
                  </a:cubicBezTo>
                  <a:close/>
                  <a:moveTo>
                    <a:pt x="108476" y="94479"/>
                  </a:moveTo>
                  <a:lnTo>
                    <a:pt x="108476" y="94797"/>
                  </a:lnTo>
                  <a:cubicBezTo>
                    <a:pt x="108476" y="95752"/>
                    <a:pt x="107522" y="96706"/>
                    <a:pt x="106567" y="96706"/>
                  </a:cubicBezTo>
                  <a:lnTo>
                    <a:pt x="106249" y="96706"/>
                  </a:lnTo>
                  <a:lnTo>
                    <a:pt x="105931" y="96388"/>
                  </a:lnTo>
                  <a:cubicBezTo>
                    <a:pt x="105931" y="96388"/>
                    <a:pt x="105931" y="95752"/>
                    <a:pt x="106249" y="95752"/>
                  </a:cubicBezTo>
                  <a:cubicBezTo>
                    <a:pt x="106885" y="95752"/>
                    <a:pt x="107204" y="95434"/>
                    <a:pt x="107204" y="94797"/>
                  </a:cubicBezTo>
                  <a:lnTo>
                    <a:pt x="107204" y="94161"/>
                  </a:lnTo>
                  <a:lnTo>
                    <a:pt x="107522" y="94161"/>
                  </a:lnTo>
                  <a:cubicBezTo>
                    <a:pt x="107840" y="94161"/>
                    <a:pt x="108158" y="94161"/>
                    <a:pt x="108476" y="94479"/>
                  </a:cubicBezTo>
                  <a:close/>
                  <a:moveTo>
                    <a:pt x="115793" y="89389"/>
                  </a:moveTo>
                  <a:cubicBezTo>
                    <a:pt x="115793" y="89071"/>
                    <a:pt x="116111" y="89071"/>
                    <a:pt x="116429" y="89071"/>
                  </a:cubicBezTo>
                  <a:cubicBezTo>
                    <a:pt x="116111" y="89708"/>
                    <a:pt x="115475" y="90344"/>
                    <a:pt x="115475" y="91298"/>
                  </a:cubicBezTo>
                  <a:cubicBezTo>
                    <a:pt x="115157" y="91616"/>
                    <a:pt x="114838" y="91934"/>
                    <a:pt x="114838" y="91616"/>
                  </a:cubicBezTo>
                  <a:lnTo>
                    <a:pt x="114838" y="90662"/>
                  </a:lnTo>
                  <a:cubicBezTo>
                    <a:pt x="114838" y="90344"/>
                    <a:pt x="114838" y="89708"/>
                    <a:pt x="115793" y="89389"/>
                  </a:cubicBezTo>
                  <a:close/>
                  <a:moveTo>
                    <a:pt x="116747" y="73166"/>
                  </a:moveTo>
                  <a:cubicBezTo>
                    <a:pt x="116429" y="72848"/>
                    <a:pt x="116429" y="72529"/>
                    <a:pt x="116429" y="71893"/>
                  </a:cubicBezTo>
                  <a:lnTo>
                    <a:pt x="116111" y="71893"/>
                  </a:lnTo>
                  <a:lnTo>
                    <a:pt x="116111" y="72529"/>
                  </a:lnTo>
                  <a:cubicBezTo>
                    <a:pt x="116111" y="72529"/>
                    <a:pt x="116111" y="72848"/>
                    <a:pt x="116429" y="73166"/>
                  </a:cubicBezTo>
                  <a:lnTo>
                    <a:pt x="116429" y="73484"/>
                  </a:lnTo>
                  <a:cubicBezTo>
                    <a:pt x="116747" y="73484"/>
                    <a:pt x="116747" y="73166"/>
                    <a:pt x="116747" y="73166"/>
                  </a:cubicBezTo>
                  <a:close/>
                  <a:moveTo>
                    <a:pt x="118019" y="64259"/>
                  </a:moveTo>
                  <a:lnTo>
                    <a:pt x="118019" y="64577"/>
                  </a:lnTo>
                  <a:cubicBezTo>
                    <a:pt x="117701" y="65213"/>
                    <a:pt x="117383" y="65213"/>
                    <a:pt x="116747" y="65531"/>
                  </a:cubicBezTo>
                  <a:cubicBezTo>
                    <a:pt x="116747" y="65213"/>
                    <a:pt x="116429" y="65213"/>
                    <a:pt x="116429" y="65213"/>
                  </a:cubicBezTo>
                  <a:lnTo>
                    <a:pt x="116429" y="64895"/>
                  </a:lnTo>
                  <a:lnTo>
                    <a:pt x="117383" y="63940"/>
                  </a:lnTo>
                  <a:cubicBezTo>
                    <a:pt x="117065" y="63622"/>
                    <a:pt x="117701" y="63940"/>
                    <a:pt x="118019" y="64259"/>
                  </a:cubicBezTo>
                  <a:close/>
                  <a:moveTo>
                    <a:pt x="124064" y="68076"/>
                  </a:moveTo>
                  <a:lnTo>
                    <a:pt x="124064" y="68394"/>
                  </a:lnTo>
                  <a:lnTo>
                    <a:pt x="123428" y="70303"/>
                  </a:lnTo>
                  <a:cubicBezTo>
                    <a:pt x="123109" y="70621"/>
                    <a:pt x="123109" y="71257"/>
                    <a:pt x="123109" y="71257"/>
                  </a:cubicBezTo>
                  <a:cubicBezTo>
                    <a:pt x="122791" y="71893"/>
                    <a:pt x="122791" y="71893"/>
                    <a:pt x="122791" y="72211"/>
                  </a:cubicBezTo>
                  <a:cubicBezTo>
                    <a:pt x="122791" y="72848"/>
                    <a:pt x="122791" y="73166"/>
                    <a:pt x="121837" y="73166"/>
                  </a:cubicBezTo>
                  <a:cubicBezTo>
                    <a:pt x="121519" y="73166"/>
                    <a:pt x="120564" y="72529"/>
                    <a:pt x="120882" y="72211"/>
                  </a:cubicBezTo>
                  <a:cubicBezTo>
                    <a:pt x="121837" y="71257"/>
                    <a:pt x="121837" y="70303"/>
                    <a:pt x="121837" y="69666"/>
                  </a:cubicBezTo>
                  <a:lnTo>
                    <a:pt x="121837" y="68712"/>
                  </a:lnTo>
                  <a:cubicBezTo>
                    <a:pt x="121837" y="68394"/>
                    <a:pt x="121837" y="67758"/>
                    <a:pt x="122155" y="67440"/>
                  </a:cubicBezTo>
                  <a:cubicBezTo>
                    <a:pt x="122155" y="66485"/>
                    <a:pt x="122473" y="65531"/>
                    <a:pt x="123109" y="64895"/>
                  </a:cubicBezTo>
                  <a:lnTo>
                    <a:pt x="123109" y="64259"/>
                  </a:lnTo>
                  <a:cubicBezTo>
                    <a:pt x="123109" y="63940"/>
                    <a:pt x="123109" y="63622"/>
                    <a:pt x="123428" y="63622"/>
                  </a:cubicBezTo>
                  <a:cubicBezTo>
                    <a:pt x="123428" y="63304"/>
                    <a:pt x="123746" y="63622"/>
                    <a:pt x="123746" y="63622"/>
                  </a:cubicBezTo>
                  <a:lnTo>
                    <a:pt x="124064" y="63622"/>
                  </a:lnTo>
                  <a:cubicBezTo>
                    <a:pt x="124064" y="63940"/>
                    <a:pt x="124382" y="64259"/>
                    <a:pt x="124382" y="64259"/>
                  </a:cubicBezTo>
                  <a:cubicBezTo>
                    <a:pt x="124382" y="64577"/>
                    <a:pt x="124064" y="64577"/>
                    <a:pt x="124064" y="64577"/>
                  </a:cubicBezTo>
                  <a:cubicBezTo>
                    <a:pt x="124064" y="64895"/>
                    <a:pt x="123746" y="65213"/>
                    <a:pt x="123428" y="65849"/>
                  </a:cubicBezTo>
                  <a:cubicBezTo>
                    <a:pt x="123428" y="66167"/>
                    <a:pt x="123109" y="66167"/>
                    <a:pt x="123109" y="66485"/>
                  </a:cubicBezTo>
                  <a:cubicBezTo>
                    <a:pt x="123109" y="66803"/>
                    <a:pt x="123428" y="66803"/>
                    <a:pt x="123746" y="67122"/>
                  </a:cubicBezTo>
                  <a:cubicBezTo>
                    <a:pt x="124064" y="67440"/>
                    <a:pt x="124064" y="67758"/>
                    <a:pt x="124064" y="68076"/>
                  </a:cubicBezTo>
                  <a:close/>
                  <a:moveTo>
                    <a:pt x="120882" y="45490"/>
                  </a:moveTo>
                  <a:cubicBezTo>
                    <a:pt x="120882" y="45172"/>
                    <a:pt x="121201" y="44536"/>
                    <a:pt x="121519" y="44536"/>
                  </a:cubicBezTo>
                  <a:lnTo>
                    <a:pt x="123109" y="44536"/>
                  </a:lnTo>
                  <a:cubicBezTo>
                    <a:pt x="122791" y="44854"/>
                    <a:pt x="122791" y="45172"/>
                    <a:pt x="122791" y="45490"/>
                  </a:cubicBezTo>
                  <a:cubicBezTo>
                    <a:pt x="123109" y="45490"/>
                    <a:pt x="123109" y="45490"/>
                    <a:pt x="123109" y="45808"/>
                  </a:cubicBezTo>
                  <a:cubicBezTo>
                    <a:pt x="123109" y="46126"/>
                    <a:pt x="122791" y="46444"/>
                    <a:pt x="122473" y="46444"/>
                  </a:cubicBezTo>
                  <a:cubicBezTo>
                    <a:pt x="121837" y="46444"/>
                    <a:pt x="121519" y="46126"/>
                    <a:pt x="120882" y="45490"/>
                  </a:cubicBezTo>
                  <a:close/>
                  <a:moveTo>
                    <a:pt x="124700" y="77619"/>
                  </a:moveTo>
                  <a:cubicBezTo>
                    <a:pt x="124700" y="77937"/>
                    <a:pt x="124064" y="78574"/>
                    <a:pt x="123746" y="78574"/>
                  </a:cubicBezTo>
                  <a:cubicBezTo>
                    <a:pt x="123746" y="77937"/>
                    <a:pt x="124064" y="77619"/>
                    <a:pt x="124382" y="76983"/>
                  </a:cubicBezTo>
                  <a:lnTo>
                    <a:pt x="124700" y="77301"/>
                  </a:lnTo>
                  <a:lnTo>
                    <a:pt x="124700" y="77619"/>
                  </a:lnTo>
                  <a:close/>
                  <a:moveTo>
                    <a:pt x="126609" y="73484"/>
                  </a:moveTo>
                  <a:cubicBezTo>
                    <a:pt x="126291" y="73166"/>
                    <a:pt x="126291" y="72848"/>
                    <a:pt x="126291" y="72529"/>
                  </a:cubicBezTo>
                  <a:cubicBezTo>
                    <a:pt x="126291" y="72211"/>
                    <a:pt x="126291" y="71893"/>
                    <a:pt x="126609" y="71893"/>
                  </a:cubicBezTo>
                  <a:cubicBezTo>
                    <a:pt x="126609" y="71575"/>
                    <a:pt x="126927" y="71575"/>
                    <a:pt x="126927" y="71575"/>
                  </a:cubicBezTo>
                  <a:cubicBezTo>
                    <a:pt x="127245" y="71575"/>
                    <a:pt x="127245" y="71893"/>
                    <a:pt x="127245" y="71893"/>
                  </a:cubicBezTo>
                  <a:cubicBezTo>
                    <a:pt x="127245" y="72529"/>
                    <a:pt x="127245" y="73166"/>
                    <a:pt x="126609" y="73484"/>
                  </a:cubicBezTo>
                  <a:cubicBezTo>
                    <a:pt x="126609" y="73802"/>
                    <a:pt x="126609" y="73802"/>
                    <a:pt x="126291" y="73802"/>
                  </a:cubicBezTo>
                  <a:cubicBezTo>
                    <a:pt x="126291" y="73484"/>
                    <a:pt x="126291" y="73484"/>
                    <a:pt x="126609" y="73484"/>
                  </a:cubicBezTo>
                  <a:close/>
                </a:path>
              </a:pathLst>
            </a:custGeom>
            <a:solidFill>
              <a:srgbClr val="000000"/>
            </a:solidFill>
            <a:ln w="63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2B605D58-EC77-4795-A7EF-7ADA57A0F39C}"/>
                </a:ext>
              </a:extLst>
            </p:cNvPr>
            <p:cNvSpPr/>
            <p:nvPr/>
          </p:nvSpPr>
          <p:spPr>
            <a:xfrm>
              <a:off x="3354494" y="3564737"/>
              <a:ext cx="184505" cy="299025"/>
            </a:xfrm>
            <a:custGeom>
              <a:avLst/>
              <a:gdLst>
                <a:gd name="connsiteX0" fmla="*/ 123746 w 184504"/>
                <a:gd name="connsiteY0" fmla="*/ 53125 h 299025"/>
                <a:gd name="connsiteX1" fmla="*/ 122791 w 184504"/>
                <a:gd name="connsiteY1" fmla="*/ 53125 h 299025"/>
                <a:gd name="connsiteX2" fmla="*/ 122155 w 184504"/>
                <a:gd name="connsiteY2" fmla="*/ 53443 h 299025"/>
                <a:gd name="connsiteX3" fmla="*/ 115157 w 184504"/>
                <a:gd name="connsiteY3" fmla="*/ 61714 h 299025"/>
                <a:gd name="connsiteX4" fmla="*/ 108476 w 184504"/>
                <a:gd name="connsiteY4" fmla="*/ 69666 h 299025"/>
                <a:gd name="connsiteX5" fmla="*/ 105295 w 184504"/>
                <a:gd name="connsiteY5" fmla="*/ 72848 h 299025"/>
                <a:gd name="connsiteX6" fmla="*/ 102114 w 184504"/>
                <a:gd name="connsiteY6" fmla="*/ 76029 h 299025"/>
                <a:gd name="connsiteX7" fmla="*/ 97661 w 184504"/>
                <a:gd name="connsiteY7" fmla="*/ 81437 h 299025"/>
                <a:gd name="connsiteX8" fmla="*/ 97342 w 184504"/>
                <a:gd name="connsiteY8" fmla="*/ 81119 h 299025"/>
                <a:gd name="connsiteX9" fmla="*/ 90344 w 184504"/>
                <a:gd name="connsiteY9" fmla="*/ 88435 h 299025"/>
                <a:gd name="connsiteX10" fmla="*/ 89708 w 184504"/>
                <a:gd name="connsiteY10" fmla="*/ 88435 h 299025"/>
                <a:gd name="connsiteX11" fmla="*/ 89389 w 184504"/>
                <a:gd name="connsiteY11" fmla="*/ 89389 h 299025"/>
                <a:gd name="connsiteX12" fmla="*/ 89708 w 184504"/>
                <a:gd name="connsiteY12" fmla="*/ 90026 h 299025"/>
                <a:gd name="connsiteX13" fmla="*/ 87799 w 184504"/>
                <a:gd name="connsiteY13" fmla="*/ 90980 h 299025"/>
                <a:gd name="connsiteX14" fmla="*/ 86845 w 184504"/>
                <a:gd name="connsiteY14" fmla="*/ 90662 h 299025"/>
                <a:gd name="connsiteX15" fmla="*/ 80800 w 184504"/>
                <a:gd name="connsiteY15" fmla="*/ 98615 h 299025"/>
                <a:gd name="connsiteX16" fmla="*/ 79210 w 184504"/>
                <a:gd name="connsiteY16" fmla="*/ 98615 h 299025"/>
                <a:gd name="connsiteX17" fmla="*/ 67440 w 184504"/>
                <a:gd name="connsiteY17" fmla="*/ 107204 h 299025"/>
                <a:gd name="connsiteX18" fmla="*/ 67122 w 184504"/>
                <a:gd name="connsiteY18" fmla="*/ 107204 h 299025"/>
                <a:gd name="connsiteX19" fmla="*/ 49307 w 184504"/>
                <a:gd name="connsiteY19" fmla="*/ 113566 h 299025"/>
                <a:gd name="connsiteX20" fmla="*/ 39446 w 184504"/>
                <a:gd name="connsiteY20" fmla="*/ 107204 h 299025"/>
                <a:gd name="connsiteX21" fmla="*/ 36583 w 184504"/>
                <a:gd name="connsiteY21" fmla="*/ 104341 h 299025"/>
                <a:gd name="connsiteX22" fmla="*/ 33402 w 184504"/>
                <a:gd name="connsiteY22" fmla="*/ 98933 h 299025"/>
                <a:gd name="connsiteX23" fmla="*/ 32448 w 184504"/>
                <a:gd name="connsiteY23" fmla="*/ 95434 h 299025"/>
                <a:gd name="connsiteX24" fmla="*/ 32448 w 184504"/>
                <a:gd name="connsiteY24" fmla="*/ 92252 h 299025"/>
                <a:gd name="connsiteX25" fmla="*/ 32766 w 184504"/>
                <a:gd name="connsiteY25" fmla="*/ 90980 h 299025"/>
                <a:gd name="connsiteX26" fmla="*/ 32129 w 184504"/>
                <a:gd name="connsiteY26" fmla="*/ 88753 h 299025"/>
                <a:gd name="connsiteX27" fmla="*/ 31811 w 184504"/>
                <a:gd name="connsiteY27" fmla="*/ 88117 h 299025"/>
                <a:gd name="connsiteX28" fmla="*/ 31811 w 184504"/>
                <a:gd name="connsiteY28" fmla="*/ 87799 h 299025"/>
                <a:gd name="connsiteX29" fmla="*/ 33084 w 184504"/>
                <a:gd name="connsiteY29" fmla="*/ 86526 h 299025"/>
                <a:gd name="connsiteX30" fmla="*/ 32766 w 184504"/>
                <a:gd name="connsiteY30" fmla="*/ 86208 h 299025"/>
                <a:gd name="connsiteX31" fmla="*/ 33720 w 184504"/>
                <a:gd name="connsiteY31" fmla="*/ 80482 h 299025"/>
                <a:gd name="connsiteX32" fmla="*/ 33720 w 184504"/>
                <a:gd name="connsiteY32" fmla="*/ 80164 h 299025"/>
                <a:gd name="connsiteX33" fmla="*/ 34674 w 184504"/>
                <a:gd name="connsiteY33" fmla="*/ 76347 h 299025"/>
                <a:gd name="connsiteX34" fmla="*/ 34674 w 184504"/>
                <a:gd name="connsiteY34" fmla="*/ 74438 h 299025"/>
                <a:gd name="connsiteX35" fmla="*/ 35947 w 184504"/>
                <a:gd name="connsiteY35" fmla="*/ 71575 h 299025"/>
                <a:gd name="connsiteX36" fmla="*/ 35947 w 184504"/>
                <a:gd name="connsiteY36" fmla="*/ 70621 h 299025"/>
                <a:gd name="connsiteX37" fmla="*/ 40082 w 184504"/>
                <a:gd name="connsiteY37" fmla="*/ 64259 h 299025"/>
                <a:gd name="connsiteX38" fmla="*/ 39446 w 184504"/>
                <a:gd name="connsiteY38" fmla="*/ 63622 h 299025"/>
                <a:gd name="connsiteX39" fmla="*/ 44218 w 184504"/>
                <a:gd name="connsiteY39" fmla="*/ 52488 h 299025"/>
                <a:gd name="connsiteX40" fmla="*/ 46444 w 184504"/>
                <a:gd name="connsiteY40" fmla="*/ 49944 h 299025"/>
                <a:gd name="connsiteX41" fmla="*/ 48035 w 184504"/>
                <a:gd name="connsiteY41" fmla="*/ 50262 h 299025"/>
                <a:gd name="connsiteX42" fmla="*/ 48989 w 184504"/>
                <a:gd name="connsiteY42" fmla="*/ 50262 h 299025"/>
                <a:gd name="connsiteX43" fmla="*/ 49307 w 184504"/>
                <a:gd name="connsiteY43" fmla="*/ 49944 h 299025"/>
                <a:gd name="connsiteX44" fmla="*/ 48989 w 184504"/>
                <a:gd name="connsiteY44" fmla="*/ 48989 h 299025"/>
                <a:gd name="connsiteX45" fmla="*/ 47717 w 184504"/>
                <a:gd name="connsiteY45" fmla="*/ 49307 h 299025"/>
                <a:gd name="connsiteX46" fmla="*/ 47399 w 184504"/>
                <a:gd name="connsiteY46" fmla="*/ 48989 h 299025"/>
                <a:gd name="connsiteX47" fmla="*/ 47399 w 184504"/>
                <a:gd name="connsiteY47" fmla="*/ 48035 h 299025"/>
                <a:gd name="connsiteX48" fmla="*/ 49625 w 184504"/>
                <a:gd name="connsiteY48" fmla="*/ 45808 h 299025"/>
                <a:gd name="connsiteX49" fmla="*/ 49625 w 184504"/>
                <a:gd name="connsiteY49" fmla="*/ 46126 h 299025"/>
                <a:gd name="connsiteX50" fmla="*/ 49944 w 184504"/>
                <a:gd name="connsiteY50" fmla="*/ 47081 h 299025"/>
                <a:gd name="connsiteX51" fmla="*/ 51216 w 184504"/>
                <a:gd name="connsiteY51" fmla="*/ 45808 h 299025"/>
                <a:gd name="connsiteX52" fmla="*/ 50898 w 184504"/>
                <a:gd name="connsiteY52" fmla="*/ 44536 h 299025"/>
                <a:gd name="connsiteX53" fmla="*/ 50580 w 184504"/>
                <a:gd name="connsiteY53" fmla="*/ 43899 h 299025"/>
                <a:gd name="connsiteX54" fmla="*/ 58215 w 184504"/>
                <a:gd name="connsiteY54" fmla="*/ 33720 h 299025"/>
                <a:gd name="connsiteX55" fmla="*/ 59169 w 184504"/>
                <a:gd name="connsiteY55" fmla="*/ 34038 h 299025"/>
                <a:gd name="connsiteX56" fmla="*/ 64259 w 184504"/>
                <a:gd name="connsiteY56" fmla="*/ 29584 h 299025"/>
                <a:gd name="connsiteX57" fmla="*/ 64259 w 184504"/>
                <a:gd name="connsiteY57" fmla="*/ 28948 h 299025"/>
                <a:gd name="connsiteX58" fmla="*/ 63622 w 184504"/>
                <a:gd name="connsiteY58" fmla="*/ 28948 h 299025"/>
                <a:gd name="connsiteX59" fmla="*/ 63622 w 184504"/>
                <a:gd name="connsiteY59" fmla="*/ 29584 h 299025"/>
                <a:gd name="connsiteX60" fmla="*/ 62986 w 184504"/>
                <a:gd name="connsiteY60" fmla="*/ 29266 h 299025"/>
                <a:gd name="connsiteX61" fmla="*/ 64259 w 184504"/>
                <a:gd name="connsiteY61" fmla="*/ 27358 h 299025"/>
                <a:gd name="connsiteX62" fmla="*/ 65213 w 184504"/>
                <a:gd name="connsiteY62" fmla="*/ 27358 h 299025"/>
                <a:gd name="connsiteX63" fmla="*/ 65849 w 184504"/>
                <a:gd name="connsiteY63" fmla="*/ 27040 h 299025"/>
                <a:gd name="connsiteX64" fmla="*/ 65531 w 184504"/>
                <a:gd name="connsiteY64" fmla="*/ 26085 h 299025"/>
                <a:gd name="connsiteX65" fmla="*/ 65849 w 184504"/>
                <a:gd name="connsiteY65" fmla="*/ 25767 h 299025"/>
                <a:gd name="connsiteX66" fmla="*/ 65213 w 184504"/>
                <a:gd name="connsiteY66" fmla="*/ 25767 h 299025"/>
                <a:gd name="connsiteX67" fmla="*/ 65213 w 184504"/>
                <a:gd name="connsiteY67" fmla="*/ 25449 h 299025"/>
                <a:gd name="connsiteX68" fmla="*/ 67122 w 184504"/>
                <a:gd name="connsiteY68" fmla="*/ 23222 h 299025"/>
                <a:gd name="connsiteX69" fmla="*/ 67440 w 184504"/>
                <a:gd name="connsiteY69" fmla="*/ 23222 h 299025"/>
                <a:gd name="connsiteX70" fmla="*/ 68394 w 184504"/>
                <a:gd name="connsiteY70" fmla="*/ 24176 h 299025"/>
                <a:gd name="connsiteX71" fmla="*/ 75074 w 184504"/>
                <a:gd name="connsiteY71" fmla="*/ 15906 h 299025"/>
                <a:gd name="connsiteX72" fmla="*/ 76665 w 184504"/>
                <a:gd name="connsiteY72" fmla="*/ 13361 h 299025"/>
                <a:gd name="connsiteX73" fmla="*/ 80164 w 184504"/>
                <a:gd name="connsiteY73" fmla="*/ 10816 h 299025"/>
                <a:gd name="connsiteX74" fmla="*/ 81755 w 184504"/>
                <a:gd name="connsiteY74" fmla="*/ 7953 h 299025"/>
                <a:gd name="connsiteX75" fmla="*/ 83982 w 184504"/>
                <a:gd name="connsiteY75" fmla="*/ 6362 h 299025"/>
                <a:gd name="connsiteX76" fmla="*/ 92889 w 184504"/>
                <a:gd name="connsiteY76" fmla="*/ 636 h 299025"/>
                <a:gd name="connsiteX77" fmla="*/ 94479 w 184504"/>
                <a:gd name="connsiteY77" fmla="*/ 636 h 299025"/>
                <a:gd name="connsiteX78" fmla="*/ 95434 w 184504"/>
                <a:gd name="connsiteY78" fmla="*/ 0 h 299025"/>
                <a:gd name="connsiteX79" fmla="*/ 96070 w 184504"/>
                <a:gd name="connsiteY79" fmla="*/ 318 h 299025"/>
                <a:gd name="connsiteX80" fmla="*/ 98933 w 184504"/>
                <a:gd name="connsiteY80" fmla="*/ 1909 h 299025"/>
                <a:gd name="connsiteX81" fmla="*/ 98615 w 184504"/>
                <a:gd name="connsiteY81" fmla="*/ 1909 h 299025"/>
                <a:gd name="connsiteX82" fmla="*/ 103386 w 184504"/>
                <a:gd name="connsiteY82" fmla="*/ 5726 h 299025"/>
                <a:gd name="connsiteX83" fmla="*/ 103704 w 184504"/>
                <a:gd name="connsiteY83" fmla="*/ 5726 h 299025"/>
                <a:gd name="connsiteX84" fmla="*/ 105295 w 184504"/>
                <a:gd name="connsiteY84" fmla="*/ 4454 h 299025"/>
                <a:gd name="connsiteX85" fmla="*/ 111339 w 184504"/>
                <a:gd name="connsiteY85" fmla="*/ 9543 h 299025"/>
                <a:gd name="connsiteX86" fmla="*/ 111657 w 184504"/>
                <a:gd name="connsiteY86" fmla="*/ 9225 h 299025"/>
                <a:gd name="connsiteX87" fmla="*/ 113248 w 184504"/>
                <a:gd name="connsiteY87" fmla="*/ 11452 h 299025"/>
                <a:gd name="connsiteX88" fmla="*/ 113566 w 184504"/>
                <a:gd name="connsiteY88" fmla="*/ 10816 h 299025"/>
                <a:gd name="connsiteX89" fmla="*/ 114202 w 184504"/>
                <a:gd name="connsiteY89" fmla="*/ 10816 h 299025"/>
                <a:gd name="connsiteX90" fmla="*/ 116111 w 184504"/>
                <a:gd name="connsiteY90" fmla="*/ 13679 h 299025"/>
                <a:gd name="connsiteX91" fmla="*/ 115475 w 184504"/>
                <a:gd name="connsiteY91" fmla="*/ 14315 h 299025"/>
                <a:gd name="connsiteX92" fmla="*/ 115157 w 184504"/>
                <a:gd name="connsiteY92" fmla="*/ 14951 h 299025"/>
                <a:gd name="connsiteX93" fmla="*/ 116747 w 184504"/>
                <a:gd name="connsiteY93" fmla="*/ 17178 h 299025"/>
                <a:gd name="connsiteX94" fmla="*/ 117383 w 184504"/>
                <a:gd name="connsiteY94" fmla="*/ 17496 h 299025"/>
                <a:gd name="connsiteX95" fmla="*/ 118019 w 184504"/>
                <a:gd name="connsiteY95" fmla="*/ 17178 h 299025"/>
                <a:gd name="connsiteX96" fmla="*/ 121201 w 184504"/>
                <a:gd name="connsiteY96" fmla="*/ 21313 h 299025"/>
                <a:gd name="connsiteX97" fmla="*/ 121519 w 184504"/>
                <a:gd name="connsiteY97" fmla="*/ 23222 h 299025"/>
                <a:gd name="connsiteX98" fmla="*/ 122473 w 184504"/>
                <a:gd name="connsiteY98" fmla="*/ 26721 h 299025"/>
                <a:gd name="connsiteX99" fmla="*/ 122791 w 184504"/>
                <a:gd name="connsiteY99" fmla="*/ 27040 h 299025"/>
                <a:gd name="connsiteX100" fmla="*/ 124064 w 184504"/>
                <a:gd name="connsiteY100" fmla="*/ 25767 h 299025"/>
                <a:gd name="connsiteX101" fmla="*/ 123746 w 184504"/>
                <a:gd name="connsiteY101" fmla="*/ 25767 h 299025"/>
                <a:gd name="connsiteX102" fmla="*/ 129153 w 184504"/>
                <a:gd name="connsiteY102" fmla="*/ 19405 h 299025"/>
                <a:gd name="connsiteX103" fmla="*/ 131062 w 184504"/>
                <a:gd name="connsiteY103" fmla="*/ 18450 h 299025"/>
                <a:gd name="connsiteX104" fmla="*/ 131062 w 184504"/>
                <a:gd name="connsiteY104" fmla="*/ 16542 h 299025"/>
                <a:gd name="connsiteX105" fmla="*/ 132653 w 184504"/>
                <a:gd name="connsiteY105" fmla="*/ 15906 h 299025"/>
                <a:gd name="connsiteX106" fmla="*/ 132334 w 184504"/>
                <a:gd name="connsiteY106" fmla="*/ 15269 h 299025"/>
                <a:gd name="connsiteX107" fmla="*/ 134243 w 184504"/>
                <a:gd name="connsiteY107" fmla="*/ 13361 h 299025"/>
                <a:gd name="connsiteX108" fmla="*/ 140924 w 184504"/>
                <a:gd name="connsiteY108" fmla="*/ 5408 h 299025"/>
                <a:gd name="connsiteX109" fmla="*/ 143468 w 184504"/>
                <a:gd name="connsiteY109" fmla="*/ 7953 h 299025"/>
                <a:gd name="connsiteX110" fmla="*/ 144423 w 184504"/>
                <a:gd name="connsiteY110" fmla="*/ 6362 h 299025"/>
                <a:gd name="connsiteX111" fmla="*/ 148876 w 184504"/>
                <a:gd name="connsiteY111" fmla="*/ 10180 h 299025"/>
                <a:gd name="connsiteX112" fmla="*/ 149831 w 184504"/>
                <a:gd name="connsiteY112" fmla="*/ 9861 h 299025"/>
                <a:gd name="connsiteX113" fmla="*/ 150467 w 184504"/>
                <a:gd name="connsiteY113" fmla="*/ 9543 h 299025"/>
                <a:gd name="connsiteX114" fmla="*/ 151740 w 184504"/>
                <a:gd name="connsiteY114" fmla="*/ 10498 h 299025"/>
                <a:gd name="connsiteX115" fmla="*/ 152376 w 184504"/>
                <a:gd name="connsiteY115" fmla="*/ 11134 h 299025"/>
                <a:gd name="connsiteX116" fmla="*/ 152058 w 184504"/>
                <a:gd name="connsiteY116" fmla="*/ 11770 h 299025"/>
                <a:gd name="connsiteX117" fmla="*/ 153012 w 184504"/>
                <a:gd name="connsiteY117" fmla="*/ 13679 h 299025"/>
                <a:gd name="connsiteX118" fmla="*/ 153648 w 184504"/>
                <a:gd name="connsiteY118" fmla="*/ 12724 h 299025"/>
                <a:gd name="connsiteX119" fmla="*/ 153966 w 184504"/>
                <a:gd name="connsiteY119" fmla="*/ 12724 h 299025"/>
                <a:gd name="connsiteX120" fmla="*/ 157465 w 184504"/>
                <a:gd name="connsiteY120" fmla="*/ 17814 h 299025"/>
                <a:gd name="connsiteX121" fmla="*/ 156193 w 184504"/>
                <a:gd name="connsiteY121" fmla="*/ 19723 h 299025"/>
                <a:gd name="connsiteX122" fmla="*/ 156829 w 184504"/>
                <a:gd name="connsiteY122" fmla="*/ 20359 h 299025"/>
                <a:gd name="connsiteX123" fmla="*/ 156829 w 184504"/>
                <a:gd name="connsiteY123" fmla="*/ 20677 h 299025"/>
                <a:gd name="connsiteX124" fmla="*/ 156193 w 184504"/>
                <a:gd name="connsiteY124" fmla="*/ 21950 h 299025"/>
                <a:gd name="connsiteX125" fmla="*/ 156511 w 184504"/>
                <a:gd name="connsiteY125" fmla="*/ 23858 h 299025"/>
                <a:gd name="connsiteX126" fmla="*/ 155239 w 184504"/>
                <a:gd name="connsiteY126" fmla="*/ 30221 h 299025"/>
                <a:gd name="connsiteX127" fmla="*/ 155875 w 184504"/>
                <a:gd name="connsiteY127" fmla="*/ 32447 h 299025"/>
                <a:gd name="connsiteX128" fmla="*/ 154602 w 184504"/>
                <a:gd name="connsiteY128" fmla="*/ 37219 h 299025"/>
                <a:gd name="connsiteX129" fmla="*/ 154602 w 184504"/>
                <a:gd name="connsiteY129" fmla="*/ 39128 h 299025"/>
                <a:gd name="connsiteX130" fmla="*/ 154921 w 184504"/>
                <a:gd name="connsiteY130" fmla="*/ 40400 h 299025"/>
                <a:gd name="connsiteX131" fmla="*/ 153966 w 184504"/>
                <a:gd name="connsiteY131" fmla="*/ 43581 h 299025"/>
                <a:gd name="connsiteX132" fmla="*/ 155239 w 184504"/>
                <a:gd name="connsiteY132" fmla="*/ 44218 h 299025"/>
                <a:gd name="connsiteX133" fmla="*/ 155557 w 184504"/>
                <a:gd name="connsiteY133" fmla="*/ 44854 h 299025"/>
                <a:gd name="connsiteX134" fmla="*/ 155875 w 184504"/>
                <a:gd name="connsiteY134" fmla="*/ 45490 h 299025"/>
                <a:gd name="connsiteX135" fmla="*/ 155557 w 184504"/>
                <a:gd name="connsiteY135" fmla="*/ 45490 h 299025"/>
                <a:gd name="connsiteX136" fmla="*/ 154284 w 184504"/>
                <a:gd name="connsiteY136" fmla="*/ 45808 h 299025"/>
                <a:gd name="connsiteX137" fmla="*/ 154921 w 184504"/>
                <a:gd name="connsiteY137" fmla="*/ 47081 h 299025"/>
                <a:gd name="connsiteX138" fmla="*/ 154602 w 184504"/>
                <a:gd name="connsiteY138" fmla="*/ 48671 h 299025"/>
                <a:gd name="connsiteX139" fmla="*/ 154921 w 184504"/>
                <a:gd name="connsiteY139" fmla="*/ 51216 h 299025"/>
                <a:gd name="connsiteX140" fmla="*/ 154921 w 184504"/>
                <a:gd name="connsiteY140" fmla="*/ 51852 h 299025"/>
                <a:gd name="connsiteX141" fmla="*/ 155239 w 184504"/>
                <a:gd name="connsiteY141" fmla="*/ 55033 h 299025"/>
                <a:gd name="connsiteX142" fmla="*/ 153966 w 184504"/>
                <a:gd name="connsiteY142" fmla="*/ 58851 h 299025"/>
                <a:gd name="connsiteX143" fmla="*/ 154602 w 184504"/>
                <a:gd name="connsiteY143" fmla="*/ 57578 h 299025"/>
                <a:gd name="connsiteX144" fmla="*/ 155239 w 184504"/>
                <a:gd name="connsiteY144" fmla="*/ 57578 h 299025"/>
                <a:gd name="connsiteX145" fmla="*/ 154921 w 184504"/>
                <a:gd name="connsiteY145" fmla="*/ 58851 h 299025"/>
                <a:gd name="connsiteX146" fmla="*/ 155557 w 184504"/>
                <a:gd name="connsiteY146" fmla="*/ 61714 h 299025"/>
                <a:gd name="connsiteX147" fmla="*/ 155239 w 184504"/>
                <a:gd name="connsiteY147" fmla="*/ 62986 h 299025"/>
                <a:gd name="connsiteX148" fmla="*/ 156511 w 184504"/>
                <a:gd name="connsiteY148" fmla="*/ 65849 h 299025"/>
                <a:gd name="connsiteX149" fmla="*/ 156193 w 184504"/>
                <a:gd name="connsiteY149" fmla="*/ 67122 h 299025"/>
                <a:gd name="connsiteX150" fmla="*/ 156193 w 184504"/>
                <a:gd name="connsiteY150" fmla="*/ 67758 h 299025"/>
                <a:gd name="connsiteX151" fmla="*/ 155239 w 184504"/>
                <a:gd name="connsiteY151" fmla="*/ 69030 h 299025"/>
                <a:gd name="connsiteX152" fmla="*/ 156193 w 184504"/>
                <a:gd name="connsiteY152" fmla="*/ 71893 h 299025"/>
                <a:gd name="connsiteX153" fmla="*/ 154921 w 184504"/>
                <a:gd name="connsiteY153" fmla="*/ 73802 h 299025"/>
                <a:gd name="connsiteX154" fmla="*/ 155239 w 184504"/>
                <a:gd name="connsiteY154" fmla="*/ 75074 h 299025"/>
                <a:gd name="connsiteX155" fmla="*/ 154921 w 184504"/>
                <a:gd name="connsiteY155" fmla="*/ 77619 h 299025"/>
                <a:gd name="connsiteX156" fmla="*/ 155875 w 184504"/>
                <a:gd name="connsiteY156" fmla="*/ 79210 h 299025"/>
                <a:gd name="connsiteX157" fmla="*/ 154921 w 184504"/>
                <a:gd name="connsiteY157" fmla="*/ 79846 h 299025"/>
                <a:gd name="connsiteX158" fmla="*/ 155557 w 184504"/>
                <a:gd name="connsiteY158" fmla="*/ 81755 h 299025"/>
                <a:gd name="connsiteX159" fmla="*/ 153966 w 184504"/>
                <a:gd name="connsiteY159" fmla="*/ 86845 h 299025"/>
                <a:gd name="connsiteX160" fmla="*/ 153966 w 184504"/>
                <a:gd name="connsiteY160" fmla="*/ 88117 h 299025"/>
                <a:gd name="connsiteX161" fmla="*/ 154602 w 184504"/>
                <a:gd name="connsiteY161" fmla="*/ 89389 h 299025"/>
                <a:gd name="connsiteX162" fmla="*/ 153648 w 184504"/>
                <a:gd name="connsiteY162" fmla="*/ 91298 h 299025"/>
                <a:gd name="connsiteX163" fmla="*/ 154602 w 184504"/>
                <a:gd name="connsiteY163" fmla="*/ 92889 h 299025"/>
                <a:gd name="connsiteX164" fmla="*/ 153648 w 184504"/>
                <a:gd name="connsiteY164" fmla="*/ 95752 h 299025"/>
                <a:gd name="connsiteX165" fmla="*/ 154284 w 184504"/>
                <a:gd name="connsiteY165" fmla="*/ 96388 h 299025"/>
                <a:gd name="connsiteX166" fmla="*/ 155875 w 184504"/>
                <a:gd name="connsiteY166" fmla="*/ 95752 h 299025"/>
                <a:gd name="connsiteX167" fmla="*/ 156829 w 184504"/>
                <a:gd name="connsiteY167" fmla="*/ 95752 h 299025"/>
                <a:gd name="connsiteX168" fmla="*/ 157783 w 184504"/>
                <a:gd name="connsiteY168" fmla="*/ 95434 h 299025"/>
                <a:gd name="connsiteX169" fmla="*/ 158102 w 184504"/>
                <a:gd name="connsiteY169" fmla="*/ 95752 h 299025"/>
                <a:gd name="connsiteX170" fmla="*/ 154921 w 184504"/>
                <a:gd name="connsiteY170" fmla="*/ 97024 h 299025"/>
                <a:gd name="connsiteX171" fmla="*/ 154602 w 184504"/>
                <a:gd name="connsiteY171" fmla="*/ 97024 h 299025"/>
                <a:gd name="connsiteX172" fmla="*/ 153966 w 184504"/>
                <a:gd name="connsiteY172" fmla="*/ 97342 h 299025"/>
                <a:gd name="connsiteX173" fmla="*/ 154602 w 184504"/>
                <a:gd name="connsiteY173" fmla="*/ 98297 h 299025"/>
                <a:gd name="connsiteX174" fmla="*/ 154921 w 184504"/>
                <a:gd name="connsiteY174" fmla="*/ 97978 h 299025"/>
                <a:gd name="connsiteX175" fmla="*/ 156193 w 184504"/>
                <a:gd name="connsiteY175" fmla="*/ 97978 h 299025"/>
                <a:gd name="connsiteX176" fmla="*/ 157783 w 184504"/>
                <a:gd name="connsiteY176" fmla="*/ 97660 h 299025"/>
                <a:gd name="connsiteX177" fmla="*/ 158738 w 184504"/>
                <a:gd name="connsiteY177" fmla="*/ 97978 h 299025"/>
                <a:gd name="connsiteX178" fmla="*/ 163828 w 184504"/>
                <a:gd name="connsiteY178" fmla="*/ 95752 h 299025"/>
                <a:gd name="connsiteX179" fmla="*/ 164464 w 184504"/>
                <a:gd name="connsiteY179" fmla="*/ 96070 h 299025"/>
                <a:gd name="connsiteX180" fmla="*/ 164464 w 184504"/>
                <a:gd name="connsiteY180" fmla="*/ 96706 h 299025"/>
                <a:gd name="connsiteX181" fmla="*/ 163191 w 184504"/>
                <a:gd name="connsiteY181" fmla="*/ 97660 h 299025"/>
                <a:gd name="connsiteX182" fmla="*/ 165100 w 184504"/>
                <a:gd name="connsiteY182" fmla="*/ 97978 h 299025"/>
                <a:gd name="connsiteX183" fmla="*/ 165418 w 184504"/>
                <a:gd name="connsiteY183" fmla="*/ 96388 h 299025"/>
                <a:gd name="connsiteX184" fmla="*/ 165100 w 184504"/>
                <a:gd name="connsiteY184" fmla="*/ 96070 h 299025"/>
                <a:gd name="connsiteX185" fmla="*/ 165418 w 184504"/>
                <a:gd name="connsiteY185" fmla="*/ 95752 h 299025"/>
                <a:gd name="connsiteX186" fmla="*/ 169872 w 184504"/>
                <a:gd name="connsiteY186" fmla="*/ 94161 h 299025"/>
                <a:gd name="connsiteX187" fmla="*/ 169872 w 184504"/>
                <a:gd name="connsiteY187" fmla="*/ 94797 h 299025"/>
                <a:gd name="connsiteX188" fmla="*/ 170190 w 184504"/>
                <a:gd name="connsiteY188" fmla="*/ 96070 h 299025"/>
                <a:gd name="connsiteX189" fmla="*/ 168281 w 184504"/>
                <a:gd name="connsiteY189" fmla="*/ 97978 h 299025"/>
                <a:gd name="connsiteX190" fmla="*/ 168281 w 184504"/>
                <a:gd name="connsiteY190" fmla="*/ 98297 h 299025"/>
                <a:gd name="connsiteX191" fmla="*/ 168599 w 184504"/>
                <a:gd name="connsiteY191" fmla="*/ 98615 h 299025"/>
                <a:gd name="connsiteX192" fmla="*/ 169236 w 184504"/>
                <a:gd name="connsiteY192" fmla="*/ 98615 h 299025"/>
                <a:gd name="connsiteX193" fmla="*/ 169554 w 184504"/>
                <a:gd name="connsiteY193" fmla="*/ 98933 h 299025"/>
                <a:gd name="connsiteX194" fmla="*/ 169236 w 184504"/>
                <a:gd name="connsiteY194" fmla="*/ 99569 h 299025"/>
                <a:gd name="connsiteX195" fmla="*/ 169554 w 184504"/>
                <a:gd name="connsiteY195" fmla="*/ 100205 h 299025"/>
                <a:gd name="connsiteX196" fmla="*/ 170508 w 184504"/>
                <a:gd name="connsiteY196" fmla="*/ 100205 h 299025"/>
                <a:gd name="connsiteX197" fmla="*/ 171780 w 184504"/>
                <a:gd name="connsiteY197" fmla="*/ 99569 h 299025"/>
                <a:gd name="connsiteX198" fmla="*/ 172417 w 184504"/>
                <a:gd name="connsiteY198" fmla="*/ 99887 h 299025"/>
                <a:gd name="connsiteX199" fmla="*/ 174325 w 184504"/>
                <a:gd name="connsiteY199" fmla="*/ 97660 h 299025"/>
                <a:gd name="connsiteX200" fmla="*/ 174961 w 184504"/>
                <a:gd name="connsiteY200" fmla="*/ 97978 h 299025"/>
                <a:gd name="connsiteX201" fmla="*/ 175916 w 184504"/>
                <a:gd name="connsiteY201" fmla="*/ 97342 h 299025"/>
                <a:gd name="connsiteX202" fmla="*/ 179415 w 184504"/>
                <a:gd name="connsiteY202" fmla="*/ 97978 h 299025"/>
                <a:gd name="connsiteX203" fmla="*/ 181006 w 184504"/>
                <a:gd name="connsiteY203" fmla="*/ 98297 h 299025"/>
                <a:gd name="connsiteX204" fmla="*/ 180051 w 184504"/>
                <a:gd name="connsiteY204" fmla="*/ 99251 h 299025"/>
                <a:gd name="connsiteX205" fmla="*/ 179733 w 184504"/>
                <a:gd name="connsiteY205" fmla="*/ 99569 h 299025"/>
                <a:gd name="connsiteX206" fmla="*/ 178461 w 184504"/>
                <a:gd name="connsiteY206" fmla="*/ 99251 h 299025"/>
                <a:gd name="connsiteX207" fmla="*/ 176870 w 184504"/>
                <a:gd name="connsiteY207" fmla="*/ 100205 h 299025"/>
                <a:gd name="connsiteX208" fmla="*/ 175598 w 184504"/>
                <a:gd name="connsiteY208" fmla="*/ 100205 h 299025"/>
                <a:gd name="connsiteX209" fmla="*/ 174325 w 184504"/>
                <a:gd name="connsiteY209" fmla="*/ 100841 h 299025"/>
                <a:gd name="connsiteX210" fmla="*/ 174007 w 184504"/>
                <a:gd name="connsiteY210" fmla="*/ 101160 h 299025"/>
                <a:gd name="connsiteX211" fmla="*/ 174643 w 184504"/>
                <a:gd name="connsiteY211" fmla="*/ 102114 h 299025"/>
                <a:gd name="connsiteX212" fmla="*/ 174325 w 184504"/>
                <a:gd name="connsiteY212" fmla="*/ 102432 h 299025"/>
                <a:gd name="connsiteX213" fmla="*/ 174325 w 184504"/>
                <a:gd name="connsiteY213" fmla="*/ 102114 h 299025"/>
                <a:gd name="connsiteX214" fmla="*/ 170508 w 184504"/>
                <a:gd name="connsiteY214" fmla="*/ 103068 h 299025"/>
                <a:gd name="connsiteX215" fmla="*/ 169236 w 184504"/>
                <a:gd name="connsiteY215" fmla="*/ 102114 h 299025"/>
                <a:gd name="connsiteX216" fmla="*/ 164782 w 184504"/>
                <a:gd name="connsiteY216" fmla="*/ 105613 h 299025"/>
                <a:gd name="connsiteX217" fmla="*/ 163828 w 184504"/>
                <a:gd name="connsiteY217" fmla="*/ 104977 h 299025"/>
                <a:gd name="connsiteX218" fmla="*/ 159056 w 184504"/>
                <a:gd name="connsiteY218" fmla="*/ 106886 h 299025"/>
                <a:gd name="connsiteX219" fmla="*/ 157465 w 184504"/>
                <a:gd name="connsiteY219" fmla="*/ 105931 h 299025"/>
                <a:gd name="connsiteX220" fmla="*/ 156511 w 184504"/>
                <a:gd name="connsiteY220" fmla="*/ 106249 h 299025"/>
                <a:gd name="connsiteX221" fmla="*/ 156511 w 184504"/>
                <a:gd name="connsiteY221" fmla="*/ 107204 h 299025"/>
                <a:gd name="connsiteX222" fmla="*/ 156193 w 184504"/>
                <a:gd name="connsiteY222" fmla="*/ 108158 h 299025"/>
                <a:gd name="connsiteX223" fmla="*/ 155557 w 184504"/>
                <a:gd name="connsiteY223" fmla="*/ 107840 h 299025"/>
                <a:gd name="connsiteX224" fmla="*/ 152694 w 184504"/>
                <a:gd name="connsiteY224" fmla="*/ 114838 h 299025"/>
                <a:gd name="connsiteX225" fmla="*/ 152694 w 184504"/>
                <a:gd name="connsiteY225" fmla="*/ 115156 h 299025"/>
                <a:gd name="connsiteX226" fmla="*/ 153330 w 184504"/>
                <a:gd name="connsiteY226" fmla="*/ 117383 h 299025"/>
                <a:gd name="connsiteX227" fmla="*/ 152376 w 184504"/>
                <a:gd name="connsiteY227" fmla="*/ 118019 h 299025"/>
                <a:gd name="connsiteX228" fmla="*/ 153330 w 184504"/>
                <a:gd name="connsiteY228" fmla="*/ 120882 h 299025"/>
                <a:gd name="connsiteX229" fmla="*/ 152694 w 184504"/>
                <a:gd name="connsiteY229" fmla="*/ 121837 h 299025"/>
                <a:gd name="connsiteX230" fmla="*/ 152694 w 184504"/>
                <a:gd name="connsiteY230" fmla="*/ 123109 h 299025"/>
                <a:gd name="connsiteX231" fmla="*/ 152376 w 184504"/>
                <a:gd name="connsiteY231" fmla="*/ 123109 h 299025"/>
                <a:gd name="connsiteX232" fmla="*/ 152058 w 184504"/>
                <a:gd name="connsiteY232" fmla="*/ 122791 h 299025"/>
                <a:gd name="connsiteX233" fmla="*/ 151740 w 184504"/>
                <a:gd name="connsiteY233" fmla="*/ 123109 h 299025"/>
                <a:gd name="connsiteX234" fmla="*/ 152376 w 184504"/>
                <a:gd name="connsiteY234" fmla="*/ 125018 h 299025"/>
                <a:gd name="connsiteX235" fmla="*/ 152058 w 184504"/>
                <a:gd name="connsiteY235" fmla="*/ 125336 h 299025"/>
                <a:gd name="connsiteX236" fmla="*/ 152058 w 184504"/>
                <a:gd name="connsiteY236" fmla="*/ 125018 h 299025"/>
                <a:gd name="connsiteX237" fmla="*/ 151740 w 184504"/>
                <a:gd name="connsiteY237" fmla="*/ 124700 h 299025"/>
                <a:gd name="connsiteX238" fmla="*/ 150149 w 184504"/>
                <a:gd name="connsiteY238" fmla="*/ 127245 h 299025"/>
                <a:gd name="connsiteX239" fmla="*/ 150467 w 184504"/>
                <a:gd name="connsiteY239" fmla="*/ 128835 h 299025"/>
                <a:gd name="connsiteX240" fmla="*/ 150149 w 184504"/>
                <a:gd name="connsiteY240" fmla="*/ 129790 h 299025"/>
                <a:gd name="connsiteX241" fmla="*/ 150467 w 184504"/>
                <a:gd name="connsiteY241" fmla="*/ 130426 h 299025"/>
                <a:gd name="connsiteX242" fmla="*/ 151421 w 184504"/>
                <a:gd name="connsiteY242" fmla="*/ 130426 h 299025"/>
                <a:gd name="connsiteX243" fmla="*/ 151740 w 184504"/>
                <a:gd name="connsiteY243" fmla="*/ 131062 h 299025"/>
                <a:gd name="connsiteX244" fmla="*/ 150785 w 184504"/>
                <a:gd name="connsiteY244" fmla="*/ 131380 h 299025"/>
                <a:gd name="connsiteX245" fmla="*/ 149831 w 184504"/>
                <a:gd name="connsiteY245" fmla="*/ 130426 h 299025"/>
                <a:gd name="connsiteX246" fmla="*/ 149194 w 184504"/>
                <a:gd name="connsiteY246" fmla="*/ 130426 h 299025"/>
                <a:gd name="connsiteX247" fmla="*/ 149831 w 184504"/>
                <a:gd name="connsiteY247" fmla="*/ 134243 h 299025"/>
                <a:gd name="connsiteX248" fmla="*/ 149513 w 184504"/>
                <a:gd name="connsiteY248" fmla="*/ 135198 h 299025"/>
                <a:gd name="connsiteX249" fmla="*/ 150149 w 184504"/>
                <a:gd name="connsiteY249" fmla="*/ 135834 h 299025"/>
                <a:gd name="connsiteX250" fmla="*/ 149513 w 184504"/>
                <a:gd name="connsiteY250" fmla="*/ 136470 h 299025"/>
                <a:gd name="connsiteX251" fmla="*/ 149513 w 184504"/>
                <a:gd name="connsiteY251" fmla="*/ 135198 h 299025"/>
                <a:gd name="connsiteX252" fmla="*/ 148876 w 184504"/>
                <a:gd name="connsiteY252" fmla="*/ 136788 h 299025"/>
                <a:gd name="connsiteX253" fmla="*/ 149194 w 184504"/>
                <a:gd name="connsiteY253" fmla="*/ 137742 h 299025"/>
                <a:gd name="connsiteX254" fmla="*/ 148240 w 184504"/>
                <a:gd name="connsiteY254" fmla="*/ 139651 h 299025"/>
                <a:gd name="connsiteX255" fmla="*/ 148558 w 184504"/>
                <a:gd name="connsiteY255" fmla="*/ 140924 h 299025"/>
                <a:gd name="connsiteX256" fmla="*/ 148240 w 184504"/>
                <a:gd name="connsiteY256" fmla="*/ 141878 h 299025"/>
                <a:gd name="connsiteX257" fmla="*/ 147922 w 184504"/>
                <a:gd name="connsiteY257" fmla="*/ 141878 h 299025"/>
                <a:gd name="connsiteX258" fmla="*/ 147922 w 184504"/>
                <a:gd name="connsiteY258" fmla="*/ 142196 h 299025"/>
                <a:gd name="connsiteX259" fmla="*/ 148558 w 184504"/>
                <a:gd name="connsiteY259" fmla="*/ 143150 h 299025"/>
                <a:gd name="connsiteX260" fmla="*/ 148558 w 184504"/>
                <a:gd name="connsiteY260" fmla="*/ 143787 h 299025"/>
                <a:gd name="connsiteX261" fmla="*/ 147922 w 184504"/>
                <a:gd name="connsiteY261" fmla="*/ 143787 h 299025"/>
                <a:gd name="connsiteX262" fmla="*/ 147286 w 184504"/>
                <a:gd name="connsiteY262" fmla="*/ 144741 h 299025"/>
                <a:gd name="connsiteX263" fmla="*/ 147286 w 184504"/>
                <a:gd name="connsiteY263" fmla="*/ 145695 h 299025"/>
                <a:gd name="connsiteX264" fmla="*/ 147604 w 184504"/>
                <a:gd name="connsiteY264" fmla="*/ 146650 h 299025"/>
                <a:gd name="connsiteX265" fmla="*/ 147604 w 184504"/>
                <a:gd name="connsiteY265" fmla="*/ 147286 h 299025"/>
                <a:gd name="connsiteX266" fmla="*/ 146331 w 184504"/>
                <a:gd name="connsiteY266" fmla="*/ 151103 h 299025"/>
                <a:gd name="connsiteX267" fmla="*/ 146968 w 184504"/>
                <a:gd name="connsiteY267" fmla="*/ 153012 h 299025"/>
                <a:gd name="connsiteX268" fmla="*/ 146013 w 184504"/>
                <a:gd name="connsiteY268" fmla="*/ 153648 h 299025"/>
                <a:gd name="connsiteX269" fmla="*/ 145695 w 184504"/>
                <a:gd name="connsiteY269" fmla="*/ 154602 h 299025"/>
                <a:gd name="connsiteX270" fmla="*/ 146331 w 184504"/>
                <a:gd name="connsiteY270" fmla="*/ 156511 h 299025"/>
                <a:gd name="connsiteX271" fmla="*/ 146013 w 184504"/>
                <a:gd name="connsiteY271" fmla="*/ 157465 h 299025"/>
                <a:gd name="connsiteX272" fmla="*/ 145059 w 184504"/>
                <a:gd name="connsiteY272" fmla="*/ 157147 h 299025"/>
                <a:gd name="connsiteX273" fmla="*/ 144423 w 184504"/>
                <a:gd name="connsiteY273" fmla="*/ 162237 h 299025"/>
                <a:gd name="connsiteX274" fmla="*/ 144423 w 184504"/>
                <a:gd name="connsiteY274" fmla="*/ 163191 h 299025"/>
                <a:gd name="connsiteX275" fmla="*/ 144741 w 184504"/>
                <a:gd name="connsiteY275" fmla="*/ 164146 h 299025"/>
                <a:gd name="connsiteX276" fmla="*/ 141878 w 184504"/>
                <a:gd name="connsiteY276" fmla="*/ 169554 h 299025"/>
                <a:gd name="connsiteX277" fmla="*/ 141878 w 184504"/>
                <a:gd name="connsiteY277" fmla="*/ 170190 h 299025"/>
                <a:gd name="connsiteX278" fmla="*/ 142514 w 184504"/>
                <a:gd name="connsiteY278" fmla="*/ 170508 h 299025"/>
                <a:gd name="connsiteX279" fmla="*/ 141560 w 184504"/>
                <a:gd name="connsiteY279" fmla="*/ 172735 h 299025"/>
                <a:gd name="connsiteX280" fmla="*/ 141878 w 184504"/>
                <a:gd name="connsiteY280" fmla="*/ 173689 h 299025"/>
                <a:gd name="connsiteX281" fmla="*/ 141242 w 184504"/>
                <a:gd name="connsiteY281" fmla="*/ 174643 h 299025"/>
                <a:gd name="connsiteX282" fmla="*/ 141242 w 184504"/>
                <a:gd name="connsiteY282" fmla="*/ 175916 h 299025"/>
                <a:gd name="connsiteX283" fmla="*/ 138697 w 184504"/>
                <a:gd name="connsiteY283" fmla="*/ 182596 h 299025"/>
                <a:gd name="connsiteX284" fmla="*/ 139015 w 184504"/>
                <a:gd name="connsiteY284" fmla="*/ 183869 h 299025"/>
                <a:gd name="connsiteX285" fmla="*/ 135516 w 184504"/>
                <a:gd name="connsiteY285" fmla="*/ 194048 h 299025"/>
                <a:gd name="connsiteX286" fmla="*/ 135198 w 184504"/>
                <a:gd name="connsiteY286" fmla="*/ 194048 h 299025"/>
                <a:gd name="connsiteX287" fmla="*/ 134879 w 184504"/>
                <a:gd name="connsiteY287" fmla="*/ 194684 h 299025"/>
                <a:gd name="connsiteX288" fmla="*/ 134561 w 184504"/>
                <a:gd name="connsiteY288" fmla="*/ 196275 h 299025"/>
                <a:gd name="connsiteX289" fmla="*/ 132653 w 184504"/>
                <a:gd name="connsiteY289" fmla="*/ 199774 h 299025"/>
                <a:gd name="connsiteX290" fmla="*/ 132971 w 184504"/>
                <a:gd name="connsiteY290" fmla="*/ 200410 h 299025"/>
                <a:gd name="connsiteX291" fmla="*/ 131380 w 184504"/>
                <a:gd name="connsiteY291" fmla="*/ 203910 h 299025"/>
                <a:gd name="connsiteX292" fmla="*/ 131380 w 184504"/>
                <a:gd name="connsiteY292" fmla="*/ 204228 h 299025"/>
                <a:gd name="connsiteX293" fmla="*/ 131698 w 184504"/>
                <a:gd name="connsiteY293" fmla="*/ 204864 h 299025"/>
                <a:gd name="connsiteX294" fmla="*/ 131380 w 184504"/>
                <a:gd name="connsiteY294" fmla="*/ 205500 h 299025"/>
                <a:gd name="connsiteX295" fmla="*/ 130108 w 184504"/>
                <a:gd name="connsiteY295" fmla="*/ 204864 h 299025"/>
                <a:gd name="connsiteX296" fmla="*/ 128835 w 184504"/>
                <a:gd name="connsiteY296" fmla="*/ 210908 h 299025"/>
                <a:gd name="connsiteX297" fmla="*/ 126291 w 184504"/>
                <a:gd name="connsiteY297" fmla="*/ 216634 h 299025"/>
                <a:gd name="connsiteX298" fmla="*/ 126927 w 184504"/>
                <a:gd name="connsiteY298" fmla="*/ 216634 h 299025"/>
                <a:gd name="connsiteX299" fmla="*/ 127563 w 184504"/>
                <a:gd name="connsiteY299" fmla="*/ 216952 h 299025"/>
                <a:gd name="connsiteX300" fmla="*/ 127245 w 184504"/>
                <a:gd name="connsiteY300" fmla="*/ 217270 h 299025"/>
                <a:gd name="connsiteX301" fmla="*/ 126609 w 184504"/>
                <a:gd name="connsiteY301" fmla="*/ 217270 h 299025"/>
                <a:gd name="connsiteX302" fmla="*/ 121519 w 184504"/>
                <a:gd name="connsiteY302" fmla="*/ 225859 h 299025"/>
                <a:gd name="connsiteX303" fmla="*/ 121837 w 184504"/>
                <a:gd name="connsiteY303" fmla="*/ 226496 h 299025"/>
                <a:gd name="connsiteX304" fmla="*/ 121519 w 184504"/>
                <a:gd name="connsiteY304" fmla="*/ 226177 h 299025"/>
                <a:gd name="connsiteX305" fmla="*/ 118974 w 184504"/>
                <a:gd name="connsiteY305" fmla="*/ 228086 h 299025"/>
                <a:gd name="connsiteX306" fmla="*/ 119610 w 184504"/>
                <a:gd name="connsiteY306" fmla="*/ 229677 h 299025"/>
                <a:gd name="connsiteX307" fmla="*/ 118019 w 184504"/>
                <a:gd name="connsiteY307" fmla="*/ 232858 h 299025"/>
                <a:gd name="connsiteX308" fmla="*/ 116747 w 184504"/>
                <a:gd name="connsiteY308" fmla="*/ 233494 h 299025"/>
                <a:gd name="connsiteX309" fmla="*/ 117065 w 184504"/>
                <a:gd name="connsiteY309" fmla="*/ 233494 h 299025"/>
                <a:gd name="connsiteX310" fmla="*/ 117383 w 184504"/>
                <a:gd name="connsiteY310" fmla="*/ 234130 h 299025"/>
                <a:gd name="connsiteX311" fmla="*/ 116429 w 184504"/>
                <a:gd name="connsiteY311" fmla="*/ 236675 h 299025"/>
                <a:gd name="connsiteX312" fmla="*/ 115475 w 184504"/>
                <a:gd name="connsiteY312" fmla="*/ 237311 h 299025"/>
                <a:gd name="connsiteX313" fmla="*/ 115793 w 184504"/>
                <a:gd name="connsiteY313" fmla="*/ 239220 h 299025"/>
                <a:gd name="connsiteX314" fmla="*/ 115475 w 184504"/>
                <a:gd name="connsiteY314" fmla="*/ 239538 h 299025"/>
                <a:gd name="connsiteX315" fmla="*/ 114838 w 184504"/>
                <a:gd name="connsiteY315" fmla="*/ 239538 h 299025"/>
                <a:gd name="connsiteX316" fmla="*/ 114838 w 184504"/>
                <a:gd name="connsiteY316" fmla="*/ 239856 h 299025"/>
                <a:gd name="connsiteX317" fmla="*/ 109431 w 184504"/>
                <a:gd name="connsiteY317" fmla="*/ 251626 h 299025"/>
                <a:gd name="connsiteX318" fmla="*/ 106885 w 184504"/>
                <a:gd name="connsiteY318" fmla="*/ 254489 h 299025"/>
                <a:gd name="connsiteX319" fmla="*/ 102114 w 184504"/>
                <a:gd name="connsiteY319" fmla="*/ 260534 h 299025"/>
                <a:gd name="connsiteX320" fmla="*/ 102432 w 184504"/>
                <a:gd name="connsiteY320" fmla="*/ 261170 h 299025"/>
                <a:gd name="connsiteX321" fmla="*/ 101478 w 184504"/>
                <a:gd name="connsiteY321" fmla="*/ 262760 h 299025"/>
                <a:gd name="connsiteX322" fmla="*/ 101160 w 184504"/>
                <a:gd name="connsiteY322" fmla="*/ 264033 h 299025"/>
                <a:gd name="connsiteX323" fmla="*/ 100842 w 184504"/>
                <a:gd name="connsiteY323" fmla="*/ 263397 h 299025"/>
                <a:gd name="connsiteX324" fmla="*/ 96388 w 184504"/>
                <a:gd name="connsiteY324" fmla="*/ 269123 h 299025"/>
                <a:gd name="connsiteX325" fmla="*/ 93525 w 184504"/>
                <a:gd name="connsiteY325" fmla="*/ 272622 h 299025"/>
                <a:gd name="connsiteX326" fmla="*/ 88753 w 184504"/>
                <a:gd name="connsiteY326" fmla="*/ 277712 h 299025"/>
                <a:gd name="connsiteX327" fmla="*/ 81119 w 184504"/>
                <a:gd name="connsiteY327" fmla="*/ 283756 h 299025"/>
                <a:gd name="connsiteX328" fmla="*/ 80482 w 184504"/>
                <a:gd name="connsiteY328" fmla="*/ 285028 h 299025"/>
                <a:gd name="connsiteX329" fmla="*/ 79846 w 184504"/>
                <a:gd name="connsiteY329" fmla="*/ 285664 h 299025"/>
                <a:gd name="connsiteX330" fmla="*/ 79528 w 184504"/>
                <a:gd name="connsiteY330" fmla="*/ 285028 h 299025"/>
                <a:gd name="connsiteX331" fmla="*/ 76665 w 184504"/>
                <a:gd name="connsiteY331" fmla="*/ 285346 h 299025"/>
                <a:gd name="connsiteX332" fmla="*/ 76983 w 184504"/>
                <a:gd name="connsiteY332" fmla="*/ 286301 h 299025"/>
                <a:gd name="connsiteX333" fmla="*/ 76665 w 184504"/>
                <a:gd name="connsiteY333" fmla="*/ 287573 h 299025"/>
                <a:gd name="connsiteX334" fmla="*/ 75393 w 184504"/>
                <a:gd name="connsiteY334" fmla="*/ 286937 h 299025"/>
                <a:gd name="connsiteX335" fmla="*/ 73802 w 184504"/>
                <a:gd name="connsiteY335" fmla="*/ 286937 h 299025"/>
                <a:gd name="connsiteX336" fmla="*/ 73802 w 184504"/>
                <a:gd name="connsiteY336" fmla="*/ 287573 h 299025"/>
                <a:gd name="connsiteX337" fmla="*/ 68712 w 184504"/>
                <a:gd name="connsiteY337" fmla="*/ 292345 h 299025"/>
                <a:gd name="connsiteX338" fmla="*/ 67758 w 184504"/>
                <a:gd name="connsiteY338" fmla="*/ 292027 h 299025"/>
                <a:gd name="connsiteX339" fmla="*/ 65213 w 184504"/>
                <a:gd name="connsiteY339" fmla="*/ 293617 h 299025"/>
                <a:gd name="connsiteX340" fmla="*/ 62032 w 184504"/>
                <a:gd name="connsiteY340" fmla="*/ 292981 h 299025"/>
                <a:gd name="connsiteX341" fmla="*/ 59169 w 184504"/>
                <a:gd name="connsiteY341" fmla="*/ 294890 h 299025"/>
                <a:gd name="connsiteX342" fmla="*/ 57897 w 184504"/>
                <a:gd name="connsiteY342" fmla="*/ 294572 h 299025"/>
                <a:gd name="connsiteX343" fmla="*/ 55670 w 184504"/>
                <a:gd name="connsiteY343" fmla="*/ 296162 h 299025"/>
                <a:gd name="connsiteX344" fmla="*/ 54397 w 184504"/>
                <a:gd name="connsiteY344" fmla="*/ 294890 h 299025"/>
                <a:gd name="connsiteX345" fmla="*/ 54715 w 184504"/>
                <a:gd name="connsiteY345" fmla="*/ 295208 h 299025"/>
                <a:gd name="connsiteX346" fmla="*/ 52488 w 184504"/>
                <a:gd name="connsiteY346" fmla="*/ 296798 h 299025"/>
                <a:gd name="connsiteX347" fmla="*/ 51216 w 184504"/>
                <a:gd name="connsiteY347" fmla="*/ 297753 h 299025"/>
                <a:gd name="connsiteX348" fmla="*/ 49307 w 184504"/>
                <a:gd name="connsiteY348" fmla="*/ 298071 h 299025"/>
                <a:gd name="connsiteX349" fmla="*/ 47399 w 184504"/>
                <a:gd name="connsiteY349" fmla="*/ 297116 h 299025"/>
                <a:gd name="connsiteX350" fmla="*/ 45808 w 184504"/>
                <a:gd name="connsiteY350" fmla="*/ 299343 h 299025"/>
                <a:gd name="connsiteX351" fmla="*/ 44218 w 184504"/>
                <a:gd name="connsiteY351" fmla="*/ 297753 h 299025"/>
                <a:gd name="connsiteX352" fmla="*/ 44854 w 184504"/>
                <a:gd name="connsiteY352" fmla="*/ 298071 h 299025"/>
                <a:gd name="connsiteX353" fmla="*/ 44854 w 184504"/>
                <a:gd name="connsiteY353" fmla="*/ 297435 h 299025"/>
                <a:gd name="connsiteX354" fmla="*/ 41673 w 184504"/>
                <a:gd name="connsiteY354" fmla="*/ 297753 h 299025"/>
                <a:gd name="connsiteX355" fmla="*/ 40718 w 184504"/>
                <a:gd name="connsiteY355" fmla="*/ 297753 h 299025"/>
                <a:gd name="connsiteX356" fmla="*/ 39446 w 184504"/>
                <a:gd name="connsiteY356" fmla="*/ 297435 h 299025"/>
                <a:gd name="connsiteX357" fmla="*/ 39128 w 184504"/>
                <a:gd name="connsiteY357" fmla="*/ 297753 h 299025"/>
                <a:gd name="connsiteX358" fmla="*/ 38173 w 184504"/>
                <a:gd name="connsiteY358" fmla="*/ 297435 h 299025"/>
                <a:gd name="connsiteX359" fmla="*/ 37219 w 184504"/>
                <a:gd name="connsiteY359" fmla="*/ 296798 h 299025"/>
                <a:gd name="connsiteX360" fmla="*/ 36265 w 184504"/>
                <a:gd name="connsiteY360" fmla="*/ 296798 h 299025"/>
                <a:gd name="connsiteX361" fmla="*/ 34356 w 184504"/>
                <a:gd name="connsiteY361" fmla="*/ 297435 h 299025"/>
                <a:gd name="connsiteX362" fmla="*/ 34038 w 184504"/>
                <a:gd name="connsiteY362" fmla="*/ 297435 h 299025"/>
                <a:gd name="connsiteX363" fmla="*/ 32448 w 184504"/>
                <a:gd name="connsiteY363" fmla="*/ 297753 h 299025"/>
                <a:gd name="connsiteX364" fmla="*/ 31175 w 184504"/>
                <a:gd name="connsiteY364" fmla="*/ 296798 h 299025"/>
                <a:gd name="connsiteX365" fmla="*/ 30539 w 184504"/>
                <a:gd name="connsiteY365" fmla="*/ 297116 h 299025"/>
                <a:gd name="connsiteX366" fmla="*/ 28948 w 184504"/>
                <a:gd name="connsiteY366" fmla="*/ 296162 h 299025"/>
                <a:gd name="connsiteX367" fmla="*/ 28948 w 184504"/>
                <a:gd name="connsiteY367" fmla="*/ 297116 h 299025"/>
                <a:gd name="connsiteX368" fmla="*/ 29267 w 184504"/>
                <a:gd name="connsiteY368" fmla="*/ 297435 h 299025"/>
                <a:gd name="connsiteX369" fmla="*/ 28948 w 184504"/>
                <a:gd name="connsiteY369" fmla="*/ 297435 h 299025"/>
                <a:gd name="connsiteX370" fmla="*/ 16860 w 184504"/>
                <a:gd name="connsiteY370" fmla="*/ 292027 h 299025"/>
                <a:gd name="connsiteX371" fmla="*/ 15906 w 184504"/>
                <a:gd name="connsiteY371" fmla="*/ 290754 h 299025"/>
                <a:gd name="connsiteX372" fmla="*/ 8589 w 184504"/>
                <a:gd name="connsiteY372" fmla="*/ 282801 h 299025"/>
                <a:gd name="connsiteX373" fmla="*/ 7953 w 184504"/>
                <a:gd name="connsiteY373" fmla="*/ 282165 h 299025"/>
                <a:gd name="connsiteX374" fmla="*/ 6362 w 184504"/>
                <a:gd name="connsiteY374" fmla="*/ 281211 h 299025"/>
                <a:gd name="connsiteX375" fmla="*/ 6680 w 184504"/>
                <a:gd name="connsiteY375" fmla="*/ 280893 h 299025"/>
                <a:gd name="connsiteX376" fmla="*/ 3499 w 184504"/>
                <a:gd name="connsiteY376" fmla="*/ 274212 h 299025"/>
                <a:gd name="connsiteX377" fmla="*/ 3499 w 184504"/>
                <a:gd name="connsiteY377" fmla="*/ 273576 h 299025"/>
                <a:gd name="connsiteX378" fmla="*/ 3818 w 184504"/>
                <a:gd name="connsiteY378" fmla="*/ 272304 h 299025"/>
                <a:gd name="connsiteX379" fmla="*/ 3499 w 184504"/>
                <a:gd name="connsiteY379" fmla="*/ 271349 h 299025"/>
                <a:gd name="connsiteX380" fmla="*/ 4454 w 184504"/>
                <a:gd name="connsiteY380" fmla="*/ 270395 h 299025"/>
                <a:gd name="connsiteX381" fmla="*/ 4454 w 184504"/>
                <a:gd name="connsiteY381" fmla="*/ 269759 h 299025"/>
                <a:gd name="connsiteX382" fmla="*/ 3499 w 184504"/>
                <a:gd name="connsiteY382" fmla="*/ 267850 h 299025"/>
                <a:gd name="connsiteX383" fmla="*/ 3181 w 184504"/>
                <a:gd name="connsiteY383" fmla="*/ 267214 h 299025"/>
                <a:gd name="connsiteX384" fmla="*/ 3181 w 184504"/>
                <a:gd name="connsiteY384" fmla="*/ 268486 h 299025"/>
                <a:gd name="connsiteX385" fmla="*/ 1591 w 184504"/>
                <a:gd name="connsiteY385" fmla="*/ 267214 h 299025"/>
                <a:gd name="connsiteX386" fmla="*/ 1909 w 184504"/>
                <a:gd name="connsiteY386" fmla="*/ 265941 h 299025"/>
                <a:gd name="connsiteX387" fmla="*/ 954 w 184504"/>
                <a:gd name="connsiteY387" fmla="*/ 264033 h 299025"/>
                <a:gd name="connsiteX388" fmla="*/ 954 w 184504"/>
                <a:gd name="connsiteY388" fmla="*/ 263078 h 299025"/>
                <a:gd name="connsiteX389" fmla="*/ 0 w 184504"/>
                <a:gd name="connsiteY389" fmla="*/ 261170 h 299025"/>
                <a:gd name="connsiteX390" fmla="*/ 318 w 184504"/>
                <a:gd name="connsiteY390" fmla="*/ 261170 h 299025"/>
                <a:gd name="connsiteX391" fmla="*/ 0 w 184504"/>
                <a:gd name="connsiteY391" fmla="*/ 260534 h 299025"/>
                <a:gd name="connsiteX392" fmla="*/ 1273 w 184504"/>
                <a:gd name="connsiteY392" fmla="*/ 258307 h 299025"/>
                <a:gd name="connsiteX393" fmla="*/ 318 w 184504"/>
                <a:gd name="connsiteY393" fmla="*/ 254808 h 299025"/>
                <a:gd name="connsiteX394" fmla="*/ 318 w 184504"/>
                <a:gd name="connsiteY394" fmla="*/ 252581 h 299025"/>
                <a:gd name="connsiteX395" fmla="*/ 954 w 184504"/>
                <a:gd name="connsiteY395" fmla="*/ 251308 h 299025"/>
                <a:gd name="connsiteX396" fmla="*/ 636 w 184504"/>
                <a:gd name="connsiteY396" fmla="*/ 249718 h 299025"/>
                <a:gd name="connsiteX397" fmla="*/ 1273 w 184504"/>
                <a:gd name="connsiteY397" fmla="*/ 245582 h 299025"/>
                <a:gd name="connsiteX398" fmla="*/ 2227 w 184504"/>
                <a:gd name="connsiteY398" fmla="*/ 245264 h 299025"/>
                <a:gd name="connsiteX399" fmla="*/ 2227 w 184504"/>
                <a:gd name="connsiteY399" fmla="*/ 245900 h 299025"/>
                <a:gd name="connsiteX400" fmla="*/ 3818 w 184504"/>
                <a:gd name="connsiteY400" fmla="*/ 247809 h 299025"/>
                <a:gd name="connsiteX401" fmla="*/ 4772 w 184504"/>
                <a:gd name="connsiteY401" fmla="*/ 247809 h 299025"/>
                <a:gd name="connsiteX402" fmla="*/ 3818 w 184504"/>
                <a:gd name="connsiteY402" fmla="*/ 245582 h 299025"/>
                <a:gd name="connsiteX403" fmla="*/ 3181 w 184504"/>
                <a:gd name="connsiteY403" fmla="*/ 245582 h 299025"/>
                <a:gd name="connsiteX404" fmla="*/ 4772 w 184504"/>
                <a:gd name="connsiteY404" fmla="*/ 244946 h 299025"/>
                <a:gd name="connsiteX405" fmla="*/ 6044 w 184504"/>
                <a:gd name="connsiteY405" fmla="*/ 246537 h 299025"/>
                <a:gd name="connsiteX406" fmla="*/ 6362 w 184504"/>
                <a:gd name="connsiteY406" fmla="*/ 246537 h 299025"/>
                <a:gd name="connsiteX407" fmla="*/ 5726 w 184504"/>
                <a:gd name="connsiteY407" fmla="*/ 248763 h 299025"/>
                <a:gd name="connsiteX408" fmla="*/ 6680 w 184504"/>
                <a:gd name="connsiteY408" fmla="*/ 250672 h 299025"/>
                <a:gd name="connsiteX409" fmla="*/ 7317 w 184504"/>
                <a:gd name="connsiteY409" fmla="*/ 256398 h 299025"/>
                <a:gd name="connsiteX410" fmla="*/ 8907 w 184504"/>
                <a:gd name="connsiteY410" fmla="*/ 260215 h 299025"/>
                <a:gd name="connsiteX411" fmla="*/ 11134 w 184504"/>
                <a:gd name="connsiteY411" fmla="*/ 257034 h 299025"/>
                <a:gd name="connsiteX412" fmla="*/ 10498 w 184504"/>
                <a:gd name="connsiteY412" fmla="*/ 255762 h 299025"/>
                <a:gd name="connsiteX413" fmla="*/ 9225 w 184504"/>
                <a:gd name="connsiteY413" fmla="*/ 254489 h 299025"/>
                <a:gd name="connsiteX414" fmla="*/ 10498 w 184504"/>
                <a:gd name="connsiteY414" fmla="*/ 250672 h 299025"/>
                <a:gd name="connsiteX415" fmla="*/ 9861 w 184504"/>
                <a:gd name="connsiteY415" fmla="*/ 247809 h 299025"/>
                <a:gd name="connsiteX416" fmla="*/ 12088 w 184504"/>
                <a:gd name="connsiteY416" fmla="*/ 242401 h 299025"/>
                <a:gd name="connsiteX417" fmla="*/ 11452 w 184504"/>
                <a:gd name="connsiteY417" fmla="*/ 241129 h 299025"/>
                <a:gd name="connsiteX418" fmla="*/ 11770 w 184504"/>
                <a:gd name="connsiteY418" fmla="*/ 237630 h 299025"/>
                <a:gd name="connsiteX419" fmla="*/ 11452 w 184504"/>
                <a:gd name="connsiteY419" fmla="*/ 235403 h 299025"/>
                <a:gd name="connsiteX420" fmla="*/ 12406 w 184504"/>
                <a:gd name="connsiteY420" fmla="*/ 235721 h 299025"/>
                <a:gd name="connsiteX421" fmla="*/ 13043 w 184504"/>
                <a:gd name="connsiteY421" fmla="*/ 234448 h 299025"/>
                <a:gd name="connsiteX422" fmla="*/ 13043 w 184504"/>
                <a:gd name="connsiteY422" fmla="*/ 233812 h 299025"/>
                <a:gd name="connsiteX423" fmla="*/ 11770 w 184504"/>
                <a:gd name="connsiteY423" fmla="*/ 233494 h 299025"/>
                <a:gd name="connsiteX424" fmla="*/ 11452 w 184504"/>
                <a:gd name="connsiteY424" fmla="*/ 232858 h 299025"/>
                <a:gd name="connsiteX425" fmla="*/ 12406 w 184504"/>
                <a:gd name="connsiteY425" fmla="*/ 230313 h 299025"/>
                <a:gd name="connsiteX426" fmla="*/ 12406 w 184504"/>
                <a:gd name="connsiteY426" fmla="*/ 229677 h 299025"/>
                <a:gd name="connsiteX427" fmla="*/ 13043 w 184504"/>
                <a:gd name="connsiteY427" fmla="*/ 228086 h 299025"/>
                <a:gd name="connsiteX428" fmla="*/ 12724 w 184504"/>
                <a:gd name="connsiteY428" fmla="*/ 226177 h 299025"/>
                <a:gd name="connsiteX429" fmla="*/ 13361 w 184504"/>
                <a:gd name="connsiteY429" fmla="*/ 225859 h 299025"/>
                <a:gd name="connsiteX430" fmla="*/ 13679 w 184504"/>
                <a:gd name="connsiteY430" fmla="*/ 225859 h 299025"/>
                <a:gd name="connsiteX431" fmla="*/ 14315 w 184504"/>
                <a:gd name="connsiteY431" fmla="*/ 224905 h 299025"/>
                <a:gd name="connsiteX432" fmla="*/ 13997 w 184504"/>
                <a:gd name="connsiteY432" fmla="*/ 224587 h 299025"/>
                <a:gd name="connsiteX433" fmla="*/ 14633 w 184504"/>
                <a:gd name="connsiteY433" fmla="*/ 222996 h 299025"/>
                <a:gd name="connsiteX434" fmla="*/ 13679 w 184504"/>
                <a:gd name="connsiteY434" fmla="*/ 222042 h 299025"/>
                <a:gd name="connsiteX435" fmla="*/ 17814 w 184504"/>
                <a:gd name="connsiteY435" fmla="*/ 218225 h 299025"/>
                <a:gd name="connsiteX436" fmla="*/ 17496 w 184504"/>
                <a:gd name="connsiteY436" fmla="*/ 218225 h 299025"/>
                <a:gd name="connsiteX437" fmla="*/ 15906 w 184504"/>
                <a:gd name="connsiteY437" fmla="*/ 216316 h 299025"/>
                <a:gd name="connsiteX438" fmla="*/ 16224 w 184504"/>
                <a:gd name="connsiteY438" fmla="*/ 216316 h 299025"/>
                <a:gd name="connsiteX439" fmla="*/ 16860 w 184504"/>
                <a:gd name="connsiteY439" fmla="*/ 216634 h 299025"/>
                <a:gd name="connsiteX440" fmla="*/ 17814 w 184504"/>
                <a:gd name="connsiteY440" fmla="*/ 215680 h 299025"/>
                <a:gd name="connsiteX441" fmla="*/ 17496 w 184504"/>
                <a:gd name="connsiteY441" fmla="*/ 215044 h 299025"/>
                <a:gd name="connsiteX442" fmla="*/ 17496 w 184504"/>
                <a:gd name="connsiteY442" fmla="*/ 214725 h 299025"/>
                <a:gd name="connsiteX443" fmla="*/ 16542 w 184504"/>
                <a:gd name="connsiteY443" fmla="*/ 215044 h 299025"/>
                <a:gd name="connsiteX444" fmla="*/ 15588 w 184504"/>
                <a:gd name="connsiteY444" fmla="*/ 214089 h 299025"/>
                <a:gd name="connsiteX445" fmla="*/ 14951 w 184504"/>
                <a:gd name="connsiteY445" fmla="*/ 214725 h 299025"/>
                <a:gd name="connsiteX446" fmla="*/ 14633 w 184504"/>
                <a:gd name="connsiteY446" fmla="*/ 214089 h 299025"/>
                <a:gd name="connsiteX447" fmla="*/ 15270 w 184504"/>
                <a:gd name="connsiteY447" fmla="*/ 212499 h 299025"/>
                <a:gd name="connsiteX448" fmla="*/ 17178 w 184504"/>
                <a:gd name="connsiteY448" fmla="*/ 213771 h 299025"/>
                <a:gd name="connsiteX449" fmla="*/ 18451 w 184504"/>
                <a:gd name="connsiteY449" fmla="*/ 212817 h 299025"/>
                <a:gd name="connsiteX450" fmla="*/ 18133 w 184504"/>
                <a:gd name="connsiteY450" fmla="*/ 212499 h 299025"/>
                <a:gd name="connsiteX451" fmla="*/ 19087 w 184504"/>
                <a:gd name="connsiteY451" fmla="*/ 208045 h 299025"/>
                <a:gd name="connsiteX452" fmla="*/ 19087 w 184504"/>
                <a:gd name="connsiteY452" fmla="*/ 207727 h 299025"/>
                <a:gd name="connsiteX453" fmla="*/ 20359 w 184504"/>
                <a:gd name="connsiteY453" fmla="*/ 207091 h 299025"/>
                <a:gd name="connsiteX454" fmla="*/ 20359 w 184504"/>
                <a:gd name="connsiteY454" fmla="*/ 206773 h 299025"/>
                <a:gd name="connsiteX455" fmla="*/ 18769 w 184504"/>
                <a:gd name="connsiteY455" fmla="*/ 207091 h 299025"/>
                <a:gd name="connsiteX456" fmla="*/ 18451 w 184504"/>
                <a:gd name="connsiteY456" fmla="*/ 206773 h 299025"/>
                <a:gd name="connsiteX457" fmla="*/ 17496 w 184504"/>
                <a:gd name="connsiteY457" fmla="*/ 209954 h 299025"/>
                <a:gd name="connsiteX458" fmla="*/ 16224 w 184504"/>
                <a:gd name="connsiteY458" fmla="*/ 209954 h 299025"/>
                <a:gd name="connsiteX459" fmla="*/ 15906 w 184504"/>
                <a:gd name="connsiteY459" fmla="*/ 208681 h 299025"/>
                <a:gd name="connsiteX460" fmla="*/ 17496 w 184504"/>
                <a:gd name="connsiteY460" fmla="*/ 205818 h 299025"/>
                <a:gd name="connsiteX461" fmla="*/ 17496 w 184504"/>
                <a:gd name="connsiteY461" fmla="*/ 204864 h 299025"/>
                <a:gd name="connsiteX462" fmla="*/ 18133 w 184504"/>
                <a:gd name="connsiteY462" fmla="*/ 204546 h 299025"/>
                <a:gd name="connsiteX463" fmla="*/ 18769 w 184504"/>
                <a:gd name="connsiteY463" fmla="*/ 204864 h 299025"/>
                <a:gd name="connsiteX464" fmla="*/ 18769 w 184504"/>
                <a:gd name="connsiteY464" fmla="*/ 203910 h 299025"/>
                <a:gd name="connsiteX465" fmla="*/ 21632 w 184504"/>
                <a:gd name="connsiteY465" fmla="*/ 199456 h 299025"/>
                <a:gd name="connsiteX466" fmla="*/ 20995 w 184504"/>
                <a:gd name="connsiteY466" fmla="*/ 197229 h 299025"/>
                <a:gd name="connsiteX467" fmla="*/ 19087 w 184504"/>
                <a:gd name="connsiteY467" fmla="*/ 200092 h 299025"/>
                <a:gd name="connsiteX468" fmla="*/ 18769 w 184504"/>
                <a:gd name="connsiteY468" fmla="*/ 199774 h 299025"/>
                <a:gd name="connsiteX469" fmla="*/ 16860 w 184504"/>
                <a:gd name="connsiteY469" fmla="*/ 202319 h 299025"/>
                <a:gd name="connsiteX470" fmla="*/ 16224 w 184504"/>
                <a:gd name="connsiteY470" fmla="*/ 202955 h 299025"/>
                <a:gd name="connsiteX471" fmla="*/ 16860 w 184504"/>
                <a:gd name="connsiteY471" fmla="*/ 203910 h 299025"/>
                <a:gd name="connsiteX472" fmla="*/ 16542 w 184504"/>
                <a:gd name="connsiteY472" fmla="*/ 204228 h 299025"/>
                <a:gd name="connsiteX473" fmla="*/ 16224 w 184504"/>
                <a:gd name="connsiteY473" fmla="*/ 204546 h 299025"/>
                <a:gd name="connsiteX474" fmla="*/ 14951 w 184504"/>
                <a:gd name="connsiteY474" fmla="*/ 202955 h 299025"/>
                <a:gd name="connsiteX475" fmla="*/ 14315 w 184504"/>
                <a:gd name="connsiteY475" fmla="*/ 203910 h 299025"/>
                <a:gd name="connsiteX476" fmla="*/ 13361 w 184504"/>
                <a:gd name="connsiteY476" fmla="*/ 202319 h 299025"/>
                <a:gd name="connsiteX477" fmla="*/ 14633 w 184504"/>
                <a:gd name="connsiteY477" fmla="*/ 201047 h 299025"/>
                <a:gd name="connsiteX478" fmla="*/ 14951 w 184504"/>
                <a:gd name="connsiteY478" fmla="*/ 201365 h 299025"/>
                <a:gd name="connsiteX479" fmla="*/ 15906 w 184504"/>
                <a:gd name="connsiteY479" fmla="*/ 201047 h 299025"/>
                <a:gd name="connsiteX480" fmla="*/ 15588 w 184504"/>
                <a:gd name="connsiteY480" fmla="*/ 200410 h 299025"/>
                <a:gd name="connsiteX481" fmla="*/ 20041 w 184504"/>
                <a:gd name="connsiteY481" fmla="*/ 194366 h 299025"/>
                <a:gd name="connsiteX482" fmla="*/ 20995 w 184504"/>
                <a:gd name="connsiteY482" fmla="*/ 193094 h 299025"/>
                <a:gd name="connsiteX483" fmla="*/ 22268 w 184504"/>
                <a:gd name="connsiteY483" fmla="*/ 191821 h 299025"/>
                <a:gd name="connsiteX484" fmla="*/ 25449 w 184504"/>
                <a:gd name="connsiteY484" fmla="*/ 187686 h 299025"/>
                <a:gd name="connsiteX485" fmla="*/ 26085 w 184504"/>
                <a:gd name="connsiteY485" fmla="*/ 188004 h 299025"/>
                <a:gd name="connsiteX486" fmla="*/ 23540 w 184504"/>
                <a:gd name="connsiteY486" fmla="*/ 191503 h 299025"/>
                <a:gd name="connsiteX487" fmla="*/ 23858 w 184504"/>
                <a:gd name="connsiteY487" fmla="*/ 192140 h 299025"/>
                <a:gd name="connsiteX488" fmla="*/ 23858 w 184504"/>
                <a:gd name="connsiteY488" fmla="*/ 192776 h 299025"/>
                <a:gd name="connsiteX489" fmla="*/ 23222 w 184504"/>
                <a:gd name="connsiteY489" fmla="*/ 194684 h 299025"/>
                <a:gd name="connsiteX490" fmla="*/ 22586 w 184504"/>
                <a:gd name="connsiteY490" fmla="*/ 195639 h 299025"/>
                <a:gd name="connsiteX491" fmla="*/ 21950 w 184504"/>
                <a:gd name="connsiteY491" fmla="*/ 196275 h 299025"/>
                <a:gd name="connsiteX492" fmla="*/ 22586 w 184504"/>
                <a:gd name="connsiteY492" fmla="*/ 196911 h 299025"/>
                <a:gd name="connsiteX493" fmla="*/ 23222 w 184504"/>
                <a:gd name="connsiteY493" fmla="*/ 196911 h 299025"/>
                <a:gd name="connsiteX494" fmla="*/ 25131 w 184504"/>
                <a:gd name="connsiteY494" fmla="*/ 194366 h 299025"/>
                <a:gd name="connsiteX495" fmla="*/ 25449 w 184504"/>
                <a:gd name="connsiteY495" fmla="*/ 193094 h 299025"/>
                <a:gd name="connsiteX496" fmla="*/ 27358 w 184504"/>
                <a:gd name="connsiteY496" fmla="*/ 191503 h 299025"/>
                <a:gd name="connsiteX497" fmla="*/ 28630 w 184504"/>
                <a:gd name="connsiteY497" fmla="*/ 190231 h 299025"/>
                <a:gd name="connsiteX498" fmla="*/ 29903 w 184504"/>
                <a:gd name="connsiteY498" fmla="*/ 188640 h 299025"/>
                <a:gd name="connsiteX499" fmla="*/ 30539 w 184504"/>
                <a:gd name="connsiteY499" fmla="*/ 188640 h 299025"/>
                <a:gd name="connsiteX500" fmla="*/ 30221 w 184504"/>
                <a:gd name="connsiteY500" fmla="*/ 188958 h 299025"/>
                <a:gd name="connsiteX501" fmla="*/ 30539 w 184504"/>
                <a:gd name="connsiteY501" fmla="*/ 189277 h 299025"/>
                <a:gd name="connsiteX502" fmla="*/ 30857 w 184504"/>
                <a:gd name="connsiteY502" fmla="*/ 188958 h 299025"/>
                <a:gd name="connsiteX503" fmla="*/ 31175 w 184504"/>
                <a:gd name="connsiteY503" fmla="*/ 188958 h 299025"/>
                <a:gd name="connsiteX504" fmla="*/ 31493 w 184504"/>
                <a:gd name="connsiteY504" fmla="*/ 188640 h 299025"/>
                <a:gd name="connsiteX505" fmla="*/ 30857 w 184504"/>
                <a:gd name="connsiteY505" fmla="*/ 187050 h 299025"/>
                <a:gd name="connsiteX506" fmla="*/ 32448 w 184504"/>
                <a:gd name="connsiteY506" fmla="*/ 185777 h 299025"/>
                <a:gd name="connsiteX507" fmla="*/ 32766 w 184504"/>
                <a:gd name="connsiteY507" fmla="*/ 184505 h 299025"/>
                <a:gd name="connsiteX508" fmla="*/ 32766 w 184504"/>
                <a:gd name="connsiteY508" fmla="*/ 183869 h 299025"/>
                <a:gd name="connsiteX509" fmla="*/ 36901 w 184504"/>
                <a:gd name="connsiteY509" fmla="*/ 178779 h 299025"/>
                <a:gd name="connsiteX510" fmla="*/ 45808 w 184504"/>
                <a:gd name="connsiteY510" fmla="*/ 168281 h 299025"/>
                <a:gd name="connsiteX511" fmla="*/ 45808 w 184504"/>
                <a:gd name="connsiteY511" fmla="*/ 166372 h 299025"/>
                <a:gd name="connsiteX512" fmla="*/ 44536 w 184504"/>
                <a:gd name="connsiteY512" fmla="*/ 167327 h 299025"/>
                <a:gd name="connsiteX513" fmla="*/ 44536 w 184504"/>
                <a:gd name="connsiteY513" fmla="*/ 167009 h 299025"/>
                <a:gd name="connsiteX514" fmla="*/ 43263 w 184504"/>
                <a:gd name="connsiteY514" fmla="*/ 167327 h 299025"/>
                <a:gd name="connsiteX515" fmla="*/ 42945 w 184504"/>
                <a:gd name="connsiteY515" fmla="*/ 167645 h 299025"/>
                <a:gd name="connsiteX516" fmla="*/ 41673 w 184504"/>
                <a:gd name="connsiteY516" fmla="*/ 168917 h 299025"/>
                <a:gd name="connsiteX517" fmla="*/ 41355 w 184504"/>
                <a:gd name="connsiteY517" fmla="*/ 168599 h 299025"/>
                <a:gd name="connsiteX518" fmla="*/ 40718 w 184504"/>
                <a:gd name="connsiteY518" fmla="*/ 169235 h 299025"/>
                <a:gd name="connsiteX519" fmla="*/ 40400 w 184504"/>
                <a:gd name="connsiteY519" fmla="*/ 168917 h 299025"/>
                <a:gd name="connsiteX520" fmla="*/ 45490 w 184504"/>
                <a:gd name="connsiteY520" fmla="*/ 163828 h 299025"/>
                <a:gd name="connsiteX521" fmla="*/ 46126 w 184504"/>
                <a:gd name="connsiteY521" fmla="*/ 162873 h 299025"/>
                <a:gd name="connsiteX522" fmla="*/ 45490 w 184504"/>
                <a:gd name="connsiteY522" fmla="*/ 162873 h 299025"/>
                <a:gd name="connsiteX523" fmla="*/ 44854 w 184504"/>
                <a:gd name="connsiteY523" fmla="*/ 162555 h 299025"/>
                <a:gd name="connsiteX524" fmla="*/ 59169 w 184504"/>
                <a:gd name="connsiteY524" fmla="*/ 151103 h 299025"/>
                <a:gd name="connsiteX525" fmla="*/ 61396 w 184504"/>
                <a:gd name="connsiteY525" fmla="*/ 149194 h 299025"/>
                <a:gd name="connsiteX526" fmla="*/ 65213 w 184504"/>
                <a:gd name="connsiteY526" fmla="*/ 146013 h 299025"/>
                <a:gd name="connsiteX527" fmla="*/ 65531 w 184504"/>
                <a:gd name="connsiteY527" fmla="*/ 146650 h 299025"/>
                <a:gd name="connsiteX528" fmla="*/ 66803 w 184504"/>
                <a:gd name="connsiteY528" fmla="*/ 144423 h 299025"/>
                <a:gd name="connsiteX529" fmla="*/ 67122 w 184504"/>
                <a:gd name="connsiteY529" fmla="*/ 144741 h 299025"/>
                <a:gd name="connsiteX530" fmla="*/ 67440 w 184504"/>
                <a:gd name="connsiteY530" fmla="*/ 144105 h 299025"/>
                <a:gd name="connsiteX531" fmla="*/ 67440 w 184504"/>
                <a:gd name="connsiteY531" fmla="*/ 143787 h 299025"/>
                <a:gd name="connsiteX532" fmla="*/ 68076 w 184504"/>
                <a:gd name="connsiteY532" fmla="*/ 144105 h 299025"/>
                <a:gd name="connsiteX533" fmla="*/ 70621 w 184504"/>
                <a:gd name="connsiteY533" fmla="*/ 141242 h 299025"/>
                <a:gd name="connsiteX534" fmla="*/ 69349 w 184504"/>
                <a:gd name="connsiteY534" fmla="*/ 140924 h 299025"/>
                <a:gd name="connsiteX535" fmla="*/ 66485 w 184504"/>
                <a:gd name="connsiteY535" fmla="*/ 142196 h 299025"/>
                <a:gd name="connsiteX536" fmla="*/ 65531 w 184504"/>
                <a:gd name="connsiteY536" fmla="*/ 141878 h 299025"/>
                <a:gd name="connsiteX537" fmla="*/ 70303 w 184504"/>
                <a:gd name="connsiteY537" fmla="*/ 138697 h 299025"/>
                <a:gd name="connsiteX538" fmla="*/ 69985 w 184504"/>
                <a:gd name="connsiteY538" fmla="*/ 138061 h 299025"/>
                <a:gd name="connsiteX539" fmla="*/ 70621 w 184504"/>
                <a:gd name="connsiteY539" fmla="*/ 137742 h 299025"/>
                <a:gd name="connsiteX540" fmla="*/ 70939 w 184504"/>
                <a:gd name="connsiteY540" fmla="*/ 138379 h 299025"/>
                <a:gd name="connsiteX541" fmla="*/ 71575 w 184504"/>
                <a:gd name="connsiteY541" fmla="*/ 138697 h 299025"/>
                <a:gd name="connsiteX542" fmla="*/ 70303 w 184504"/>
                <a:gd name="connsiteY542" fmla="*/ 138697 h 299025"/>
                <a:gd name="connsiteX543" fmla="*/ 70621 w 184504"/>
                <a:gd name="connsiteY543" fmla="*/ 141242 h 299025"/>
                <a:gd name="connsiteX544" fmla="*/ 73166 w 184504"/>
                <a:gd name="connsiteY544" fmla="*/ 139651 h 299025"/>
                <a:gd name="connsiteX545" fmla="*/ 73484 w 184504"/>
                <a:gd name="connsiteY545" fmla="*/ 139969 h 299025"/>
                <a:gd name="connsiteX546" fmla="*/ 75711 w 184504"/>
                <a:gd name="connsiteY546" fmla="*/ 137424 h 299025"/>
                <a:gd name="connsiteX547" fmla="*/ 75711 w 184504"/>
                <a:gd name="connsiteY547" fmla="*/ 137106 h 299025"/>
                <a:gd name="connsiteX548" fmla="*/ 76029 w 184504"/>
                <a:gd name="connsiteY548" fmla="*/ 137106 h 299025"/>
                <a:gd name="connsiteX549" fmla="*/ 76983 w 184504"/>
                <a:gd name="connsiteY549" fmla="*/ 136788 h 299025"/>
                <a:gd name="connsiteX550" fmla="*/ 77301 w 184504"/>
                <a:gd name="connsiteY550" fmla="*/ 136788 h 299025"/>
                <a:gd name="connsiteX551" fmla="*/ 79210 w 184504"/>
                <a:gd name="connsiteY551" fmla="*/ 135516 h 299025"/>
                <a:gd name="connsiteX552" fmla="*/ 79846 w 184504"/>
                <a:gd name="connsiteY552" fmla="*/ 135198 h 299025"/>
                <a:gd name="connsiteX553" fmla="*/ 83664 w 184504"/>
                <a:gd name="connsiteY553" fmla="*/ 132971 h 299025"/>
                <a:gd name="connsiteX554" fmla="*/ 91934 w 184504"/>
                <a:gd name="connsiteY554" fmla="*/ 127881 h 299025"/>
                <a:gd name="connsiteX555" fmla="*/ 92252 w 184504"/>
                <a:gd name="connsiteY555" fmla="*/ 127881 h 299025"/>
                <a:gd name="connsiteX556" fmla="*/ 93525 w 184504"/>
                <a:gd name="connsiteY556" fmla="*/ 126290 h 299025"/>
                <a:gd name="connsiteX557" fmla="*/ 95434 w 184504"/>
                <a:gd name="connsiteY557" fmla="*/ 128835 h 299025"/>
                <a:gd name="connsiteX558" fmla="*/ 95752 w 184504"/>
                <a:gd name="connsiteY558" fmla="*/ 128517 h 299025"/>
                <a:gd name="connsiteX559" fmla="*/ 96706 w 184504"/>
                <a:gd name="connsiteY559" fmla="*/ 127563 h 299025"/>
                <a:gd name="connsiteX560" fmla="*/ 95434 w 184504"/>
                <a:gd name="connsiteY560" fmla="*/ 127563 h 299025"/>
                <a:gd name="connsiteX561" fmla="*/ 94797 w 184504"/>
                <a:gd name="connsiteY561" fmla="*/ 126927 h 299025"/>
                <a:gd name="connsiteX562" fmla="*/ 99251 w 184504"/>
                <a:gd name="connsiteY562" fmla="*/ 123427 h 299025"/>
                <a:gd name="connsiteX563" fmla="*/ 100842 w 184504"/>
                <a:gd name="connsiteY563" fmla="*/ 125336 h 299025"/>
                <a:gd name="connsiteX564" fmla="*/ 99251 w 184504"/>
                <a:gd name="connsiteY564" fmla="*/ 126290 h 299025"/>
                <a:gd name="connsiteX565" fmla="*/ 99251 w 184504"/>
                <a:gd name="connsiteY565" fmla="*/ 126608 h 299025"/>
                <a:gd name="connsiteX566" fmla="*/ 100842 w 184504"/>
                <a:gd name="connsiteY566" fmla="*/ 125336 h 299025"/>
                <a:gd name="connsiteX567" fmla="*/ 101160 w 184504"/>
                <a:gd name="connsiteY567" fmla="*/ 125336 h 299025"/>
                <a:gd name="connsiteX568" fmla="*/ 103068 w 184504"/>
                <a:gd name="connsiteY568" fmla="*/ 124382 h 299025"/>
                <a:gd name="connsiteX569" fmla="*/ 102750 w 184504"/>
                <a:gd name="connsiteY569" fmla="*/ 123746 h 299025"/>
                <a:gd name="connsiteX570" fmla="*/ 101478 w 184504"/>
                <a:gd name="connsiteY570" fmla="*/ 123746 h 299025"/>
                <a:gd name="connsiteX571" fmla="*/ 101160 w 184504"/>
                <a:gd name="connsiteY571" fmla="*/ 123109 h 299025"/>
                <a:gd name="connsiteX572" fmla="*/ 103068 w 184504"/>
                <a:gd name="connsiteY572" fmla="*/ 122155 h 299025"/>
                <a:gd name="connsiteX573" fmla="*/ 103704 w 184504"/>
                <a:gd name="connsiteY573" fmla="*/ 122473 h 299025"/>
                <a:gd name="connsiteX574" fmla="*/ 104023 w 184504"/>
                <a:gd name="connsiteY574" fmla="*/ 121837 h 299025"/>
                <a:gd name="connsiteX575" fmla="*/ 104023 w 184504"/>
                <a:gd name="connsiteY575" fmla="*/ 121201 h 299025"/>
                <a:gd name="connsiteX576" fmla="*/ 113566 w 184504"/>
                <a:gd name="connsiteY576" fmla="*/ 116111 h 299025"/>
                <a:gd name="connsiteX577" fmla="*/ 113566 w 184504"/>
                <a:gd name="connsiteY577" fmla="*/ 115475 h 299025"/>
                <a:gd name="connsiteX578" fmla="*/ 114838 w 184504"/>
                <a:gd name="connsiteY578" fmla="*/ 114520 h 299025"/>
                <a:gd name="connsiteX579" fmla="*/ 116111 w 184504"/>
                <a:gd name="connsiteY579" fmla="*/ 115156 h 299025"/>
                <a:gd name="connsiteX580" fmla="*/ 116111 w 184504"/>
                <a:gd name="connsiteY580" fmla="*/ 114838 h 299025"/>
                <a:gd name="connsiteX581" fmla="*/ 116111 w 184504"/>
                <a:gd name="connsiteY581" fmla="*/ 114202 h 299025"/>
                <a:gd name="connsiteX582" fmla="*/ 118019 w 184504"/>
                <a:gd name="connsiteY582" fmla="*/ 113248 h 299025"/>
                <a:gd name="connsiteX583" fmla="*/ 119610 w 184504"/>
                <a:gd name="connsiteY583" fmla="*/ 114202 h 299025"/>
                <a:gd name="connsiteX584" fmla="*/ 118974 w 184504"/>
                <a:gd name="connsiteY584" fmla="*/ 115156 h 299025"/>
                <a:gd name="connsiteX585" fmla="*/ 119292 w 184504"/>
                <a:gd name="connsiteY585" fmla="*/ 115475 h 299025"/>
                <a:gd name="connsiteX586" fmla="*/ 120246 w 184504"/>
                <a:gd name="connsiteY586" fmla="*/ 114520 h 299025"/>
                <a:gd name="connsiteX587" fmla="*/ 119928 w 184504"/>
                <a:gd name="connsiteY587" fmla="*/ 112930 h 299025"/>
                <a:gd name="connsiteX588" fmla="*/ 129472 w 184504"/>
                <a:gd name="connsiteY588" fmla="*/ 108794 h 299025"/>
                <a:gd name="connsiteX589" fmla="*/ 129472 w 184504"/>
                <a:gd name="connsiteY589" fmla="*/ 108476 h 299025"/>
                <a:gd name="connsiteX590" fmla="*/ 128517 w 184504"/>
                <a:gd name="connsiteY590" fmla="*/ 106567 h 299025"/>
                <a:gd name="connsiteX591" fmla="*/ 128517 w 184504"/>
                <a:gd name="connsiteY591" fmla="*/ 106249 h 299025"/>
                <a:gd name="connsiteX592" fmla="*/ 129153 w 184504"/>
                <a:gd name="connsiteY592" fmla="*/ 106567 h 299025"/>
                <a:gd name="connsiteX593" fmla="*/ 130426 w 184504"/>
                <a:gd name="connsiteY593" fmla="*/ 107204 h 299025"/>
                <a:gd name="connsiteX594" fmla="*/ 132334 w 184504"/>
                <a:gd name="connsiteY594" fmla="*/ 105931 h 299025"/>
                <a:gd name="connsiteX595" fmla="*/ 132334 w 184504"/>
                <a:gd name="connsiteY595" fmla="*/ 105613 h 299025"/>
                <a:gd name="connsiteX596" fmla="*/ 129790 w 184504"/>
                <a:gd name="connsiteY596" fmla="*/ 106567 h 299025"/>
                <a:gd name="connsiteX597" fmla="*/ 129153 w 184504"/>
                <a:gd name="connsiteY597" fmla="*/ 105613 h 299025"/>
                <a:gd name="connsiteX598" fmla="*/ 129153 w 184504"/>
                <a:gd name="connsiteY598" fmla="*/ 105295 h 299025"/>
                <a:gd name="connsiteX599" fmla="*/ 130426 w 184504"/>
                <a:gd name="connsiteY599" fmla="*/ 104659 h 299025"/>
                <a:gd name="connsiteX600" fmla="*/ 131380 w 184504"/>
                <a:gd name="connsiteY600" fmla="*/ 104977 h 299025"/>
                <a:gd name="connsiteX601" fmla="*/ 133607 w 184504"/>
                <a:gd name="connsiteY601" fmla="*/ 93525 h 299025"/>
                <a:gd name="connsiteX602" fmla="*/ 133607 w 184504"/>
                <a:gd name="connsiteY602" fmla="*/ 90980 h 299025"/>
                <a:gd name="connsiteX603" fmla="*/ 133925 w 184504"/>
                <a:gd name="connsiteY603" fmla="*/ 89708 h 299025"/>
                <a:gd name="connsiteX604" fmla="*/ 133925 w 184504"/>
                <a:gd name="connsiteY604" fmla="*/ 88435 h 299025"/>
                <a:gd name="connsiteX605" fmla="*/ 134243 w 184504"/>
                <a:gd name="connsiteY605" fmla="*/ 86845 h 299025"/>
                <a:gd name="connsiteX606" fmla="*/ 133925 w 184504"/>
                <a:gd name="connsiteY606" fmla="*/ 84618 h 299025"/>
                <a:gd name="connsiteX607" fmla="*/ 135198 w 184504"/>
                <a:gd name="connsiteY607" fmla="*/ 65849 h 299025"/>
                <a:gd name="connsiteX608" fmla="*/ 135198 w 184504"/>
                <a:gd name="connsiteY608" fmla="*/ 63622 h 299025"/>
                <a:gd name="connsiteX609" fmla="*/ 135516 w 184504"/>
                <a:gd name="connsiteY609" fmla="*/ 60759 h 299025"/>
                <a:gd name="connsiteX610" fmla="*/ 135198 w 184504"/>
                <a:gd name="connsiteY610" fmla="*/ 57896 h 299025"/>
                <a:gd name="connsiteX611" fmla="*/ 136152 w 184504"/>
                <a:gd name="connsiteY611" fmla="*/ 51534 h 299025"/>
                <a:gd name="connsiteX612" fmla="*/ 135834 w 184504"/>
                <a:gd name="connsiteY612" fmla="*/ 48989 h 299025"/>
                <a:gd name="connsiteX613" fmla="*/ 135834 w 184504"/>
                <a:gd name="connsiteY613" fmla="*/ 48035 h 299025"/>
                <a:gd name="connsiteX614" fmla="*/ 136470 w 184504"/>
                <a:gd name="connsiteY614" fmla="*/ 45808 h 299025"/>
                <a:gd name="connsiteX615" fmla="*/ 136152 w 184504"/>
                <a:gd name="connsiteY615" fmla="*/ 43581 h 299025"/>
                <a:gd name="connsiteX616" fmla="*/ 136788 w 184504"/>
                <a:gd name="connsiteY616" fmla="*/ 39764 h 299025"/>
                <a:gd name="connsiteX617" fmla="*/ 136788 w 184504"/>
                <a:gd name="connsiteY617" fmla="*/ 38173 h 299025"/>
                <a:gd name="connsiteX618" fmla="*/ 136470 w 184504"/>
                <a:gd name="connsiteY618" fmla="*/ 37537 h 299025"/>
                <a:gd name="connsiteX619" fmla="*/ 135516 w 184504"/>
                <a:gd name="connsiteY619" fmla="*/ 37537 h 299025"/>
                <a:gd name="connsiteX620" fmla="*/ 132016 w 184504"/>
                <a:gd name="connsiteY620" fmla="*/ 40718 h 299025"/>
                <a:gd name="connsiteX621" fmla="*/ 131698 w 184504"/>
                <a:gd name="connsiteY621" fmla="*/ 41036 h 299025"/>
                <a:gd name="connsiteX622" fmla="*/ 129472 w 184504"/>
                <a:gd name="connsiteY622" fmla="*/ 46126 h 299025"/>
                <a:gd name="connsiteX623" fmla="*/ 128199 w 184504"/>
                <a:gd name="connsiteY623" fmla="*/ 47717 h 299025"/>
                <a:gd name="connsiteX624" fmla="*/ 128199 w 184504"/>
                <a:gd name="connsiteY624" fmla="*/ 48035 h 299025"/>
                <a:gd name="connsiteX625" fmla="*/ 127881 w 184504"/>
                <a:gd name="connsiteY625" fmla="*/ 47717 h 299025"/>
                <a:gd name="connsiteX626" fmla="*/ 126609 w 184504"/>
                <a:gd name="connsiteY626" fmla="*/ 48353 h 299025"/>
                <a:gd name="connsiteX627" fmla="*/ 126609 w 184504"/>
                <a:gd name="connsiteY627" fmla="*/ 48671 h 299025"/>
                <a:gd name="connsiteX628" fmla="*/ 123746 w 184504"/>
                <a:gd name="connsiteY628" fmla="*/ 53125 h 299025"/>
                <a:gd name="connsiteX629" fmla="*/ 954 w 184504"/>
                <a:gd name="connsiteY629" fmla="*/ 243356 h 299025"/>
                <a:gd name="connsiteX630" fmla="*/ 1591 w 184504"/>
                <a:gd name="connsiteY630" fmla="*/ 241765 h 299025"/>
                <a:gd name="connsiteX631" fmla="*/ 954 w 184504"/>
                <a:gd name="connsiteY631" fmla="*/ 240493 h 299025"/>
                <a:gd name="connsiteX632" fmla="*/ 1273 w 184504"/>
                <a:gd name="connsiteY632" fmla="*/ 240174 h 299025"/>
                <a:gd name="connsiteX633" fmla="*/ 1273 w 184504"/>
                <a:gd name="connsiteY633" fmla="*/ 239538 h 299025"/>
                <a:gd name="connsiteX634" fmla="*/ 1591 w 184504"/>
                <a:gd name="connsiteY634" fmla="*/ 238266 h 299025"/>
                <a:gd name="connsiteX635" fmla="*/ 1591 w 184504"/>
                <a:gd name="connsiteY635" fmla="*/ 236039 h 299025"/>
                <a:gd name="connsiteX636" fmla="*/ 1909 w 184504"/>
                <a:gd name="connsiteY636" fmla="*/ 235721 h 299025"/>
                <a:gd name="connsiteX637" fmla="*/ 1591 w 184504"/>
                <a:gd name="connsiteY637" fmla="*/ 235085 h 299025"/>
                <a:gd name="connsiteX638" fmla="*/ 2545 w 184504"/>
                <a:gd name="connsiteY638" fmla="*/ 233176 h 299025"/>
                <a:gd name="connsiteX639" fmla="*/ 2545 w 184504"/>
                <a:gd name="connsiteY639" fmla="*/ 232540 h 299025"/>
                <a:gd name="connsiteX640" fmla="*/ 4136 w 184504"/>
                <a:gd name="connsiteY640" fmla="*/ 226177 h 299025"/>
                <a:gd name="connsiteX641" fmla="*/ 4136 w 184504"/>
                <a:gd name="connsiteY641" fmla="*/ 225859 h 299025"/>
                <a:gd name="connsiteX642" fmla="*/ 5726 w 184504"/>
                <a:gd name="connsiteY642" fmla="*/ 222042 h 299025"/>
                <a:gd name="connsiteX643" fmla="*/ 5726 w 184504"/>
                <a:gd name="connsiteY643" fmla="*/ 221724 h 299025"/>
                <a:gd name="connsiteX644" fmla="*/ 6999 w 184504"/>
                <a:gd name="connsiteY644" fmla="*/ 217270 h 299025"/>
                <a:gd name="connsiteX645" fmla="*/ 7635 w 184504"/>
                <a:gd name="connsiteY645" fmla="*/ 216952 h 299025"/>
                <a:gd name="connsiteX646" fmla="*/ 8271 w 184504"/>
                <a:gd name="connsiteY646" fmla="*/ 217270 h 299025"/>
                <a:gd name="connsiteX647" fmla="*/ 8271 w 184504"/>
                <a:gd name="connsiteY647" fmla="*/ 217588 h 299025"/>
                <a:gd name="connsiteX648" fmla="*/ 7953 w 184504"/>
                <a:gd name="connsiteY648" fmla="*/ 219179 h 299025"/>
                <a:gd name="connsiteX649" fmla="*/ 8271 w 184504"/>
                <a:gd name="connsiteY649" fmla="*/ 219179 h 299025"/>
                <a:gd name="connsiteX650" fmla="*/ 8589 w 184504"/>
                <a:gd name="connsiteY650" fmla="*/ 220451 h 299025"/>
                <a:gd name="connsiteX651" fmla="*/ 6999 w 184504"/>
                <a:gd name="connsiteY651" fmla="*/ 222042 h 299025"/>
                <a:gd name="connsiteX652" fmla="*/ 6680 w 184504"/>
                <a:gd name="connsiteY652" fmla="*/ 221724 h 299025"/>
                <a:gd name="connsiteX653" fmla="*/ 6362 w 184504"/>
                <a:gd name="connsiteY653" fmla="*/ 222678 h 299025"/>
                <a:gd name="connsiteX654" fmla="*/ 6362 w 184504"/>
                <a:gd name="connsiteY654" fmla="*/ 222996 h 299025"/>
                <a:gd name="connsiteX655" fmla="*/ 5408 w 184504"/>
                <a:gd name="connsiteY655" fmla="*/ 226177 h 299025"/>
                <a:gd name="connsiteX656" fmla="*/ 5408 w 184504"/>
                <a:gd name="connsiteY656" fmla="*/ 226814 h 299025"/>
                <a:gd name="connsiteX657" fmla="*/ 4454 w 184504"/>
                <a:gd name="connsiteY657" fmla="*/ 230313 h 299025"/>
                <a:gd name="connsiteX658" fmla="*/ 4772 w 184504"/>
                <a:gd name="connsiteY658" fmla="*/ 230949 h 299025"/>
                <a:gd name="connsiteX659" fmla="*/ 4454 w 184504"/>
                <a:gd name="connsiteY659" fmla="*/ 232540 h 299025"/>
                <a:gd name="connsiteX660" fmla="*/ 5726 w 184504"/>
                <a:gd name="connsiteY660" fmla="*/ 235085 h 299025"/>
                <a:gd name="connsiteX661" fmla="*/ 4772 w 184504"/>
                <a:gd name="connsiteY661" fmla="*/ 236039 h 299025"/>
                <a:gd name="connsiteX662" fmla="*/ 6044 w 184504"/>
                <a:gd name="connsiteY662" fmla="*/ 237630 h 299025"/>
                <a:gd name="connsiteX663" fmla="*/ 6044 w 184504"/>
                <a:gd name="connsiteY663" fmla="*/ 237948 h 299025"/>
                <a:gd name="connsiteX664" fmla="*/ 4454 w 184504"/>
                <a:gd name="connsiteY664" fmla="*/ 237630 h 299025"/>
                <a:gd name="connsiteX665" fmla="*/ 2545 w 184504"/>
                <a:gd name="connsiteY665" fmla="*/ 239538 h 299025"/>
                <a:gd name="connsiteX666" fmla="*/ 2863 w 184504"/>
                <a:gd name="connsiteY666" fmla="*/ 240493 h 299025"/>
                <a:gd name="connsiteX667" fmla="*/ 1909 w 184504"/>
                <a:gd name="connsiteY667" fmla="*/ 243037 h 299025"/>
                <a:gd name="connsiteX668" fmla="*/ 1909 w 184504"/>
                <a:gd name="connsiteY668" fmla="*/ 243356 h 299025"/>
                <a:gd name="connsiteX669" fmla="*/ 2545 w 184504"/>
                <a:gd name="connsiteY669" fmla="*/ 243674 h 299025"/>
                <a:gd name="connsiteX670" fmla="*/ 1909 w 184504"/>
                <a:gd name="connsiteY670" fmla="*/ 244310 h 299025"/>
                <a:gd name="connsiteX671" fmla="*/ 1591 w 184504"/>
                <a:gd name="connsiteY671" fmla="*/ 243674 h 299025"/>
                <a:gd name="connsiteX672" fmla="*/ 636 w 184504"/>
                <a:gd name="connsiteY672" fmla="*/ 243674 h 299025"/>
                <a:gd name="connsiteX673" fmla="*/ 954 w 184504"/>
                <a:gd name="connsiteY673" fmla="*/ 243356 h 299025"/>
                <a:gd name="connsiteX674" fmla="*/ 4136 w 184504"/>
                <a:gd name="connsiteY674" fmla="*/ 251626 h 299025"/>
                <a:gd name="connsiteX675" fmla="*/ 2545 w 184504"/>
                <a:gd name="connsiteY675" fmla="*/ 249718 h 299025"/>
                <a:gd name="connsiteX676" fmla="*/ 2227 w 184504"/>
                <a:gd name="connsiteY676" fmla="*/ 250036 h 299025"/>
                <a:gd name="connsiteX677" fmla="*/ 2545 w 184504"/>
                <a:gd name="connsiteY677" fmla="*/ 250354 h 299025"/>
                <a:gd name="connsiteX678" fmla="*/ 3499 w 184504"/>
                <a:gd name="connsiteY678" fmla="*/ 253535 h 299025"/>
                <a:gd name="connsiteX679" fmla="*/ 3818 w 184504"/>
                <a:gd name="connsiteY679" fmla="*/ 253217 h 299025"/>
                <a:gd name="connsiteX680" fmla="*/ 3499 w 184504"/>
                <a:gd name="connsiteY680" fmla="*/ 252899 h 299025"/>
                <a:gd name="connsiteX681" fmla="*/ 4136 w 184504"/>
                <a:gd name="connsiteY681" fmla="*/ 251626 h 299025"/>
                <a:gd name="connsiteX682" fmla="*/ 2863 w 184504"/>
                <a:gd name="connsiteY682" fmla="*/ 236357 h 299025"/>
                <a:gd name="connsiteX683" fmla="*/ 3181 w 184504"/>
                <a:gd name="connsiteY683" fmla="*/ 236675 h 299025"/>
                <a:gd name="connsiteX684" fmla="*/ 3818 w 184504"/>
                <a:gd name="connsiteY684" fmla="*/ 236039 h 299025"/>
                <a:gd name="connsiteX685" fmla="*/ 3181 w 184504"/>
                <a:gd name="connsiteY685" fmla="*/ 236357 h 299025"/>
                <a:gd name="connsiteX686" fmla="*/ 2863 w 184504"/>
                <a:gd name="connsiteY686" fmla="*/ 236357 h 299025"/>
                <a:gd name="connsiteX687" fmla="*/ 3499 w 184504"/>
                <a:gd name="connsiteY687" fmla="*/ 270713 h 299025"/>
                <a:gd name="connsiteX688" fmla="*/ 2863 w 184504"/>
                <a:gd name="connsiteY688" fmla="*/ 269759 h 299025"/>
                <a:gd name="connsiteX689" fmla="*/ 2863 w 184504"/>
                <a:gd name="connsiteY689" fmla="*/ 269441 h 299025"/>
                <a:gd name="connsiteX690" fmla="*/ 3499 w 184504"/>
                <a:gd name="connsiteY690" fmla="*/ 270077 h 299025"/>
                <a:gd name="connsiteX691" fmla="*/ 3499 w 184504"/>
                <a:gd name="connsiteY691" fmla="*/ 270713 h 299025"/>
                <a:gd name="connsiteX692" fmla="*/ 6044 w 184504"/>
                <a:gd name="connsiteY692" fmla="*/ 241129 h 299025"/>
                <a:gd name="connsiteX693" fmla="*/ 5090 w 184504"/>
                <a:gd name="connsiteY693" fmla="*/ 242719 h 299025"/>
                <a:gd name="connsiteX694" fmla="*/ 4136 w 184504"/>
                <a:gd name="connsiteY694" fmla="*/ 242083 h 299025"/>
                <a:gd name="connsiteX695" fmla="*/ 5726 w 184504"/>
                <a:gd name="connsiteY695" fmla="*/ 240174 h 299025"/>
                <a:gd name="connsiteX696" fmla="*/ 6044 w 184504"/>
                <a:gd name="connsiteY696" fmla="*/ 240811 h 299025"/>
                <a:gd name="connsiteX697" fmla="*/ 6044 w 184504"/>
                <a:gd name="connsiteY697" fmla="*/ 241129 h 299025"/>
                <a:gd name="connsiteX698" fmla="*/ 5408 w 184504"/>
                <a:gd name="connsiteY698" fmla="*/ 252899 h 299025"/>
                <a:gd name="connsiteX699" fmla="*/ 5090 w 184504"/>
                <a:gd name="connsiteY699" fmla="*/ 253535 h 299025"/>
                <a:gd name="connsiteX700" fmla="*/ 5408 w 184504"/>
                <a:gd name="connsiteY700" fmla="*/ 254171 h 299025"/>
                <a:gd name="connsiteX701" fmla="*/ 5408 w 184504"/>
                <a:gd name="connsiteY701" fmla="*/ 254489 h 299025"/>
                <a:gd name="connsiteX702" fmla="*/ 5726 w 184504"/>
                <a:gd name="connsiteY702" fmla="*/ 254808 h 299025"/>
                <a:gd name="connsiteX703" fmla="*/ 5408 w 184504"/>
                <a:gd name="connsiteY703" fmla="*/ 252899 h 299025"/>
                <a:gd name="connsiteX704" fmla="*/ 7317 w 184504"/>
                <a:gd name="connsiteY704" fmla="*/ 250354 h 299025"/>
                <a:gd name="connsiteX705" fmla="*/ 7635 w 184504"/>
                <a:gd name="connsiteY705" fmla="*/ 250354 h 299025"/>
                <a:gd name="connsiteX706" fmla="*/ 7635 w 184504"/>
                <a:gd name="connsiteY706" fmla="*/ 248127 h 299025"/>
                <a:gd name="connsiteX707" fmla="*/ 8907 w 184504"/>
                <a:gd name="connsiteY707" fmla="*/ 248445 h 299025"/>
                <a:gd name="connsiteX708" fmla="*/ 9225 w 184504"/>
                <a:gd name="connsiteY708" fmla="*/ 248763 h 299025"/>
                <a:gd name="connsiteX709" fmla="*/ 8589 w 184504"/>
                <a:gd name="connsiteY709" fmla="*/ 250672 h 299025"/>
                <a:gd name="connsiteX710" fmla="*/ 7635 w 184504"/>
                <a:gd name="connsiteY710" fmla="*/ 250672 h 299025"/>
                <a:gd name="connsiteX711" fmla="*/ 7317 w 184504"/>
                <a:gd name="connsiteY711" fmla="*/ 250354 h 299025"/>
                <a:gd name="connsiteX712" fmla="*/ 8589 w 184504"/>
                <a:gd name="connsiteY712" fmla="*/ 215362 h 299025"/>
                <a:gd name="connsiteX713" fmla="*/ 9225 w 184504"/>
                <a:gd name="connsiteY713" fmla="*/ 213453 h 299025"/>
                <a:gd name="connsiteX714" fmla="*/ 9861 w 184504"/>
                <a:gd name="connsiteY714" fmla="*/ 213453 h 299025"/>
                <a:gd name="connsiteX715" fmla="*/ 9861 w 184504"/>
                <a:gd name="connsiteY715" fmla="*/ 214089 h 299025"/>
                <a:gd name="connsiteX716" fmla="*/ 8589 w 184504"/>
                <a:gd name="connsiteY716" fmla="*/ 215362 h 299025"/>
                <a:gd name="connsiteX717" fmla="*/ 9543 w 184504"/>
                <a:gd name="connsiteY717" fmla="*/ 257034 h 299025"/>
                <a:gd name="connsiteX718" fmla="*/ 9225 w 184504"/>
                <a:gd name="connsiteY718" fmla="*/ 256716 h 299025"/>
                <a:gd name="connsiteX719" fmla="*/ 9543 w 184504"/>
                <a:gd name="connsiteY719" fmla="*/ 256398 h 299025"/>
                <a:gd name="connsiteX720" fmla="*/ 10180 w 184504"/>
                <a:gd name="connsiteY720" fmla="*/ 256716 h 299025"/>
                <a:gd name="connsiteX721" fmla="*/ 9543 w 184504"/>
                <a:gd name="connsiteY721" fmla="*/ 257034 h 299025"/>
                <a:gd name="connsiteX722" fmla="*/ 16860 w 184504"/>
                <a:gd name="connsiteY722" fmla="*/ 276121 h 299025"/>
                <a:gd name="connsiteX723" fmla="*/ 14951 w 184504"/>
                <a:gd name="connsiteY723" fmla="*/ 273576 h 299025"/>
                <a:gd name="connsiteX724" fmla="*/ 14951 w 184504"/>
                <a:gd name="connsiteY724" fmla="*/ 273258 h 299025"/>
                <a:gd name="connsiteX725" fmla="*/ 15906 w 184504"/>
                <a:gd name="connsiteY725" fmla="*/ 272304 h 299025"/>
                <a:gd name="connsiteX726" fmla="*/ 13361 w 184504"/>
                <a:gd name="connsiteY726" fmla="*/ 265941 h 299025"/>
                <a:gd name="connsiteX727" fmla="*/ 13043 w 184504"/>
                <a:gd name="connsiteY727" fmla="*/ 265623 h 299025"/>
                <a:gd name="connsiteX728" fmla="*/ 12724 w 184504"/>
                <a:gd name="connsiteY728" fmla="*/ 265941 h 299025"/>
                <a:gd name="connsiteX729" fmla="*/ 12724 w 184504"/>
                <a:gd name="connsiteY729" fmla="*/ 266578 h 299025"/>
                <a:gd name="connsiteX730" fmla="*/ 13043 w 184504"/>
                <a:gd name="connsiteY730" fmla="*/ 267214 h 299025"/>
                <a:gd name="connsiteX731" fmla="*/ 12088 w 184504"/>
                <a:gd name="connsiteY731" fmla="*/ 268168 h 299025"/>
                <a:gd name="connsiteX732" fmla="*/ 11452 w 184504"/>
                <a:gd name="connsiteY732" fmla="*/ 266896 h 299025"/>
                <a:gd name="connsiteX733" fmla="*/ 11770 w 184504"/>
                <a:gd name="connsiteY733" fmla="*/ 266260 h 299025"/>
                <a:gd name="connsiteX734" fmla="*/ 10816 w 184504"/>
                <a:gd name="connsiteY734" fmla="*/ 265941 h 299025"/>
                <a:gd name="connsiteX735" fmla="*/ 10498 w 184504"/>
                <a:gd name="connsiteY735" fmla="*/ 266578 h 299025"/>
                <a:gd name="connsiteX736" fmla="*/ 9861 w 184504"/>
                <a:gd name="connsiteY736" fmla="*/ 268168 h 299025"/>
                <a:gd name="connsiteX737" fmla="*/ 11770 w 184504"/>
                <a:gd name="connsiteY737" fmla="*/ 270395 h 299025"/>
                <a:gd name="connsiteX738" fmla="*/ 12088 w 184504"/>
                <a:gd name="connsiteY738" fmla="*/ 269759 h 299025"/>
                <a:gd name="connsiteX739" fmla="*/ 12406 w 184504"/>
                <a:gd name="connsiteY739" fmla="*/ 269123 h 299025"/>
                <a:gd name="connsiteX740" fmla="*/ 13043 w 184504"/>
                <a:gd name="connsiteY740" fmla="*/ 268486 h 299025"/>
                <a:gd name="connsiteX741" fmla="*/ 14633 w 184504"/>
                <a:gd name="connsiteY741" fmla="*/ 273258 h 299025"/>
                <a:gd name="connsiteX742" fmla="*/ 15906 w 184504"/>
                <a:gd name="connsiteY742" fmla="*/ 276121 h 299025"/>
                <a:gd name="connsiteX743" fmla="*/ 16542 w 184504"/>
                <a:gd name="connsiteY743" fmla="*/ 276439 h 299025"/>
                <a:gd name="connsiteX744" fmla="*/ 16860 w 184504"/>
                <a:gd name="connsiteY744" fmla="*/ 276121 h 299025"/>
                <a:gd name="connsiteX745" fmla="*/ 10498 w 184504"/>
                <a:gd name="connsiteY745" fmla="*/ 211226 h 299025"/>
                <a:gd name="connsiteX746" fmla="*/ 12406 w 184504"/>
                <a:gd name="connsiteY746" fmla="*/ 206455 h 299025"/>
                <a:gd name="connsiteX747" fmla="*/ 14315 w 184504"/>
                <a:gd name="connsiteY747" fmla="*/ 208045 h 299025"/>
                <a:gd name="connsiteX748" fmla="*/ 12724 w 184504"/>
                <a:gd name="connsiteY748" fmla="*/ 208363 h 299025"/>
                <a:gd name="connsiteX749" fmla="*/ 11134 w 184504"/>
                <a:gd name="connsiteY749" fmla="*/ 211862 h 299025"/>
                <a:gd name="connsiteX750" fmla="*/ 10498 w 184504"/>
                <a:gd name="connsiteY750" fmla="*/ 211226 h 299025"/>
                <a:gd name="connsiteX751" fmla="*/ 12724 w 184504"/>
                <a:gd name="connsiteY751" fmla="*/ 205500 h 299025"/>
                <a:gd name="connsiteX752" fmla="*/ 12724 w 184504"/>
                <a:gd name="connsiteY752" fmla="*/ 205182 h 299025"/>
                <a:gd name="connsiteX753" fmla="*/ 13043 w 184504"/>
                <a:gd name="connsiteY753" fmla="*/ 205500 h 299025"/>
                <a:gd name="connsiteX754" fmla="*/ 12724 w 184504"/>
                <a:gd name="connsiteY754" fmla="*/ 205500 h 299025"/>
                <a:gd name="connsiteX755" fmla="*/ 13361 w 184504"/>
                <a:gd name="connsiteY755" fmla="*/ 243992 h 299025"/>
                <a:gd name="connsiteX756" fmla="*/ 13043 w 184504"/>
                <a:gd name="connsiteY756" fmla="*/ 245264 h 299025"/>
                <a:gd name="connsiteX757" fmla="*/ 13997 w 184504"/>
                <a:gd name="connsiteY757" fmla="*/ 243674 h 299025"/>
                <a:gd name="connsiteX758" fmla="*/ 14633 w 184504"/>
                <a:gd name="connsiteY758" fmla="*/ 243674 h 299025"/>
                <a:gd name="connsiteX759" fmla="*/ 14315 w 184504"/>
                <a:gd name="connsiteY759" fmla="*/ 242083 h 299025"/>
                <a:gd name="connsiteX760" fmla="*/ 14951 w 184504"/>
                <a:gd name="connsiteY760" fmla="*/ 237311 h 299025"/>
                <a:gd name="connsiteX761" fmla="*/ 14633 w 184504"/>
                <a:gd name="connsiteY761" fmla="*/ 236357 h 299025"/>
                <a:gd name="connsiteX762" fmla="*/ 14315 w 184504"/>
                <a:gd name="connsiteY762" fmla="*/ 236039 h 299025"/>
                <a:gd name="connsiteX763" fmla="*/ 13043 w 184504"/>
                <a:gd name="connsiteY763" fmla="*/ 241765 h 299025"/>
                <a:gd name="connsiteX764" fmla="*/ 13361 w 184504"/>
                <a:gd name="connsiteY764" fmla="*/ 243356 h 299025"/>
                <a:gd name="connsiteX765" fmla="*/ 13361 w 184504"/>
                <a:gd name="connsiteY765" fmla="*/ 243992 h 299025"/>
                <a:gd name="connsiteX766" fmla="*/ 14633 w 184504"/>
                <a:gd name="connsiteY766" fmla="*/ 234448 h 299025"/>
                <a:gd name="connsiteX767" fmla="*/ 14951 w 184504"/>
                <a:gd name="connsiteY767" fmla="*/ 234448 h 299025"/>
                <a:gd name="connsiteX768" fmla="*/ 14633 w 184504"/>
                <a:gd name="connsiteY768" fmla="*/ 234130 h 299025"/>
                <a:gd name="connsiteX769" fmla="*/ 14633 w 184504"/>
                <a:gd name="connsiteY769" fmla="*/ 234448 h 299025"/>
                <a:gd name="connsiteX770" fmla="*/ 15588 w 184504"/>
                <a:gd name="connsiteY770" fmla="*/ 196593 h 299025"/>
                <a:gd name="connsiteX771" fmla="*/ 16542 w 184504"/>
                <a:gd name="connsiteY771" fmla="*/ 196911 h 299025"/>
                <a:gd name="connsiteX772" fmla="*/ 16224 w 184504"/>
                <a:gd name="connsiteY772" fmla="*/ 197866 h 299025"/>
                <a:gd name="connsiteX773" fmla="*/ 15906 w 184504"/>
                <a:gd name="connsiteY773" fmla="*/ 197547 h 299025"/>
                <a:gd name="connsiteX774" fmla="*/ 15588 w 184504"/>
                <a:gd name="connsiteY774" fmla="*/ 196593 h 299025"/>
                <a:gd name="connsiteX775" fmla="*/ 16542 w 184504"/>
                <a:gd name="connsiteY775" fmla="*/ 195957 h 299025"/>
                <a:gd name="connsiteX776" fmla="*/ 17496 w 184504"/>
                <a:gd name="connsiteY776" fmla="*/ 195003 h 299025"/>
                <a:gd name="connsiteX777" fmla="*/ 17496 w 184504"/>
                <a:gd name="connsiteY777" fmla="*/ 195957 h 299025"/>
                <a:gd name="connsiteX778" fmla="*/ 17178 w 184504"/>
                <a:gd name="connsiteY778" fmla="*/ 196275 h 299025"/>
                <a:gd name="connsiteX779" fmla="*/ 16542 w 184504"/>
                <a:gd name="connsiteY779" fmla="*/ 195957 h 299025"/>
                <a:gd name="connsiteX780" fmla="*/ 17814 w 184504"/>
                <a:gd name="connsiteY780" fmla="*/ 278348 h 299025"/>
                <a:gd name="connsiteX781" fmla="*/ 16860 w 184504"/>
                <a:gd name="connsiteY781" fmla="*/ 277075 h 299025"/>
                <a:gd name="connsiteX782" fmla="*/ 16860 w 184504"/>
                <a:gd name="connsiteY782" fmla="*/ 278030 h 299025"/>
                <a:gd name="connsiteX783" fmla="*/ 17496 w 184504"/>
                <a:gd name="connsiteY783" fmla="*/ 278348 h 299025"/>
                <a:gd name="connsiteX784" fmla="*/ 17814 w 184504"/>
                <a:gd name="connsiteY784" fmla="*/ 278348 h 299025"/>
                <a:gd name="connsiteX785" fmla="*/ 19087 w 184504"/>
                <a:gd name="connsiteY785" fmla="*/ 280575 h 299025"/>
                <a:gd name="connsiteX786" fmla="*/ 18133 w 184504"/>
                <a:gd name="connsiteY786" fmla="*/ 278984 h 299025"/>
                <a:gd name="connsiteX787" fmla="*/ 17814 w 184504"/>
                <a:gd name="connsiteY787" fmla="*/ 279302 h 299025"/>
                <a:gd name="connsiteX788" fmla="*/ 19087 w 184504"/>
                <a:gd name="connsiteY788" fmla="*/ 280575 h 299025"/>
                <a:gd name="connsiteX789" fmla="*/ 18133 w 184504"/>
                <a:gd name="connsiteY789" fmla="*/ 194366 h 299025"/>
                <a:gd name="connsiteX790" fmla="*/ 18451 w 184504"/>
                <a:gd name="connsiteY790" fmla="*/ 192458 h 299025"/>
                <a:gd name="connsiteX791" fmla="*/ 18769 w 184504"/>
                <a:gd name="connsiteY791" fmla="*/ 192458 h 299025"/>
                <a:gd name="connsiteX792" fmla="*/ 18769 w 184504"/>
                <a:gd name="connsiteY792" fmla="*/ 194048 h 299025"/>
                <a:gd name="connsiteX793" fmla="*/ 18451 w 184504"/>
                <a:gd name="connsiteY793" fmla="*/ 194684 h 299025"/>
                <a:gd name="connsiteX794" fmla="*/ 18133 w 184504"/>
                <a:gd name="connsiteY794" fmla="*/ 194366 h 299025"/>
                <a:gd name="connsiteX795" fmla="*/ 130426 w 184504"/>
                <a:gd name="connsiteY795" fmla="*/ 120246 h 299025"/>
                <a:gd name="connsiteX796" fmla="*/ 129790 w 184504"/>
                <a:gd name="connsiteY796" fmla="*/ 120564 h 299025"/>
                <a:gd name="connsiteX797" fmla="*/ 129153 w 184504"/>
                <a:gd name="connsiteY797" fmla="*/ 119292 h 299025"/>
                <a:gd name="connsiteX798" fmla="*/ 127881 w 184504"/>
                <a:gd name="connsiteY798" fmla="*/ 120246 h 299025"/>
                <a:gd name="connsiteX799" fmla="*/ 127245 w 184504"/>
                <a:gd name="connsiteY799" fmla="*/ 120246 h 299025"/>
                <a:gd name="connsiteX800" fmla="*/ 118974 w 184504"/>
                <a:gd name="connsiteY800" fmla="*/ 124700 h 299025"/>
                <a:gd name="connsiteX801" fmla="*/ 118338 w 184504"/>
                <a:gd name="connsiteY801" fmla="*/ 124700 h 299025"/>
                <a:gd name="connsiteX802" fmla="*/ 116111 w 184504"/>
                <a:gd name="connsiteY802" fmla="*/ 126608 h 299025"/>
                <a:gd name="connsiteX803" fmla="*/ 116429 w 184504"/>
                <a:gd name="connsiteY803" fmla="*/ 126927 h 299025"/>
                <a:gd name="connsiteX804" fmla="*/ 116111 w 184504"/>
                <a:gd name="connsiteY804" fmla="*/ 127245 h 299025"/>
                <a:gd name="connsiteX805" fmla="*/ 115793 w 184504"/>
                <a:gd name="connsiteY805" fmla="*/ 126927 h 299025"/>
                <a:gd name="connsiteX806" fmla="*/ 115475 w 184504"/>
                <a:gd name="connsiteY806" fmla="*/ 127245 h 299025"/>
                <a:gd name="connsiteX807" fmla="*/ 114202 w 184504"/>
                <a:gd name="connsiteY807" fmla="*/ 126290 h 299025"/>
                <a:gd name="connsiteX808" fmla="*/ 111339 w 184504"/>
                <a:gd name="connsiteY808" fmla="*/ 129790 h 299025"/>
                <a:gd name="connsiteX809" fmla="*/ 110385 w 184504"/>
                <a:gd name="connsiteY809" fmla="*/ 129790 h 299025"/>
                <a:gd name="connsiteX810" fmla="*/ 109112 w 184504"/>
                <a:gd name="connsiteY810" fmla="*/ 130426 h 299025"/>
                <a:gd name="connsiteX811" fmla="*/ 108158 w 184504"/>
                <a:gd name="connsiteY811" fmla="*/ 131062 h 299025"/>
                <a:gd name="connsiteX812" fmla="*/ 108158 w 184504"/>
                <a:gd name="connsiteY812" fmla="*/ 130744 h 299025"/>
                <a:gd name="connsiteX813" fmla="*/ 106885 w 184504"/>
                <a:gd name="connsiteY813" fmla="*/ 132016 h 299025"/>
                <a:gd name="connsiteX814" fmla="*/ 106249 w 184504"/>
                <a:gd name="connsiteY814" fmla="*/ 132016 h 299025"/>
                <a:gd name="connsiteX815" fmla="*/ 101478 w 184504"/>
                <a:gd name="connsiteY815" fmla="*/ 134879 h 299025"/>
                <a:gd name="connsiteX816" fmla="*/ 101160 w 184504"/>
                <a:gd name="connsiteY816" fmla="*/ 135198 h 299025"/>
                <a:gd name="connsiteX817" fmla="*/ 97661 w 184504"/>
                <a:gd name="connsiteY817" fmla="*/ 137742 h 299025"/>
                <a:gd name="connsiteX818" fmla="*/ 97024 w 184504"/>
                <a:gd name="connsiteY818" fmla="*/ 137424 h 299025"/>
                <a:gd name="connsiteX819" fmla="*/ 95115 w 184504"/>
                <a:gd name="connsiteY819" fmla="*/ 139015 h 299025"/>
                <a:gd name="connsiteX820" fmla="*/ 92889 w 184504"/>
                <a:gd name="connsiteY820" fmla="*/ 139651 h 299025"/>
                <a:gd name="connsiteX821" fmla="*/ 90026 w 184504"/>
                <a:gd name="connsiteY821" fmla="*/ 142514 h 299025"/>
                <a:gd name="connsiteX822" fmla="*/ 89708 w 184504"/>
                <a:gd name="connsiteY822" fmla="*/ 142514 h 299025"/>
                <a:gd name="connsiteX823" fmla="*/ 82709 w 184504"/>
                <a:gd name="connsiteY823" fmla="*/ 146968 h 299025"/>
                <a:gd name="connsiteX824" fmla="*/ 81119 w 184504"/>
                <a:gd name="connsiteY824" fmla="*/ 148876 h 299025"/>
                <a:gd name="connsiteX825" fmla="*/ 80482 w 184504"/>
                <a:gd name="connsiteY825" fmla="*/ 148558 h 299025"/>
                <a:gd name="connsiteX826" fmla="*/ 79528 w 184504"/>
                <a:gd name="connsiteY826" fmla="*/ 149194 h 299025"/>
                <a:gd name="connsiteX827" fmla="*/ 71893 w 184504"/>
                <a:gd name="connsiteY827" fmla="*/ 156511 h 299025"/>
                <a:gd name="connsiteX828" fmla="*/ 62668 w 184504"/>
                <a:gd name="connsiteY828" fmla="*/ 165418 h 299025"/>
                <a:gd name="connsiteX829" fmla="*/ 59805 w 184504"/>
                <a:gd name="connsiteY829" fmla="*/ 167009 h 299025"/>
                <a:gd name="connsiteX830" fmla="*/ 51216 w 184504"/>
                <a:gd name="connsiteY830" fmla="*/ 176552 h 299025"/>
                <a:gd name="connsiteX831" fmla="*/ 48035 w 184504"/>
                <a:gd name="connsiteY831" fmla="*/ 180687 h 299025"/>
                <a:gd name="connsiteX832" fmla="*/ 45808 w 184504"/>
                <a:gd name="connsiteY832" fmla="*/ 183869 h 299025"/>
                <a:gd name="connsiteX833" fmla="*/ 39764 w 184504"/>
                <a:gd name="connsiteY833" fmla="*/ 192776 h 299025"/>
                <a:gd name="connsiteX834" fmla="*/ 37855 w 184504"/>
                <a:gd name="connsiteY834" fmla="*/ 195321 h 299025"/>
                <a:gd name="connsiteX835" fmla="*/ 35629 w 184504"/>
                <a:gd name="connsiteY835" fmla="*/ 198820 h 299025"/>
                <a:gd name="connsiteX836" fmla="*/ 34992 w 184504"/>
                <a:gd name="connsiteY836" fmla="*/ 198502 h 299025"/>
                <a:gd name="connsiteX837" fmla="*/ 34038 w 184504"/>
                <a:gd name="connsiteY837" fmla="*/ 200092 h 299025"/>
                <a:gd name="connsiteX838" fmla="*/ 34356 w 184504"/>
                <a:gd name="connsiteY838" fmla="*/ 201047 h 299025"/>
                <a:gd name="connsiteX839" fmla="*/ 33402 w 184504"/>
                <a:gd name="connsiteY839" fmla="*/ 203273 h 299025"/>
                <a:gd name="connsiteX840" fmla="*/ 26085 w 184504"/>
                <a:gd name="connsiteY840" fmla="*/ 217907 h 299025"/>
                <a:gd name="connsiteX841" fmla="*/ 26085 w 184504"/>
                <a:gd name="connsiteY841" fmla="*/ 218225 h 299025"/>
                <a:gd name="connsiteX842" fmla="*/ 25449 w 184504"/>
                <a:gd name="connsiteY842" fmla="*/ 219815 h 299025"/>
                <a:gd name="connsiteX843" fmla="*/ 24813 w 184504"/>
                <a:gd name="connsiteY843" fmla="*/ 220770 h 299025"/>
                <a:gd name="connsiteX844" fmla="*/ 23858 w 184504"/>
                <a:gd name="connsiteY844" fmla="*/ 222678 h 299025"/>
                <a:gd name="connsiteX845" fmla="*/ 24176 w 184504"/>
                <a:gd name="connsiteY845" fmla="*/ 223633 h 299025"/>
                <a:gd name="connsiteX846" fmla="*/ 23222 w 184504"/>
                <a:gd name="connsiteY846" fmla="*/ 224269 h 299025"/>
                <a:gd name="connsiteX847" fmla="*/ 23222 w 184504"/>
                <a:gd name="connsiteY847" fmla="*/ 225223 h 299025"/>
                <a:gd name="connsiteX848" fmla="*/ 22586 w 184504"/>
                <a:gd name="connsiteY848" fmla="*/ 226496 h 299025"/>
                <a:gd name="connsiteX849" fmla="*/ 22586 w 184504"/>
                <a:gd name="connsiteY849" fmla="*/ 227450 h 299025"/>
                <a:gd name="connsiteX850" fmla="*/ 22268 w 184504"/>
                <a:gd name="connsiteY850" fmla="*/ 229359 h 299025"/>
                <a:gd name="connsiteX851" fmla="*/ 21632 w 184504"/>
                <a:gd name="connsiteY851" fmla="*/ 231585 h 299025"/>
                <a:gd name="connsiteX852" fmla="*/ 20995 w 184504"/>
                <a:gd name="connsiteY852" fmla="*/ 232540 h 299025"/>
                <a:gd name="connsiteX853" fmla="*/ 21314 w 184504"/>
                <a:gd name="connsiteY853" fmla="*/ 233812 h 299025"/>
                <a:gd name="connsiteX854" fmla="*/ 21632 w 184504"/>
                <a:gd name="connsiteY854" fmla="*/ 234130 h 299025"/>
                <a:gd name="connsiteX855" fmla="*/ 21950 w 184504"/>
                <a:gd name="connsiteY855" fmla="*/ 234767 h 299025"/>
                <a:gd name="connsiteX856" fmla="*/ 20677 w 184504"/>
                <a:gd name="connsiteY856" fmla="*/ 239856 h 299025"/>
                <a:gd name="connsiteX857" fmla="*/ 20995 w 184504"/>
                <a:gd name="connsiteY857" fmla="*/ 241765 h 299025"/>
                <a:gd name="connsiteX858" fmla="*/ 21632 w 184504"/>
                <a:gd name="connsiteY858" fmla="*/ 246219 h 299025"/>
                <a:gd name="connsiteX859" fmla="*/ 20677 w 184504"/>
                <a:gd name="connsiteY859" fmla="*/ 248445 h 299025"/>
                <a:gd name="connsiteX860" fmla="*/ 20677 w 184504"/>
                <a:gd name="connsiteY860" fmla="*/ 250354 h 299025"/>
                <a:gd name="connsiteX861" fmla="*/ 20995 w 184504"/>
                <a:gd name="connsiteY861" fmla="*/ 251945 h 299025"/>
                <a:gd name="connsiteX862" fmla="*/ 20677 w 184504"/>
                <a:gd name="connsiteY862" fmla="*/ 252899 h 299025"/>
                <a:gd name="connsiteX863" fmla="*/ 20359 w 184504"/>
                <a:gd name="connsiteY863" fmla="*/ 252899 h 299025"/>
                <a:gd name="connsiteX864" fmla="*/ 19723 w 184504"/>
                <a:gd name="connsiteY864" fmla="*/ 253535 h 299025"/>
                <a:gd name="connsiteX865" fmla="*/ 21314 w 184504"/>
                <a:gd name="connsiteY865" fmla="*/ 256080 h 299025"/>
                <a:gd name="connsiteX866" fmla="*/ 20995 w 184504"/>
                <a:gd name="connsiteY866" fmla="*/ 256716 h 299025"/>
                <a:gd name="connsiteX867" fmla="*/ 20995 w 184504"/>
                <a:gd name="connsiteY867" fmla="*/ 258307 h 299025"/>
                <a:gd name="connsiteX868" fmla="*/ 20677 w 184504"/>
                <a:gd name="connsiteY868" fmla="*/ 258943 h 299025"/>
                <a:gd name="connsiteX869" fmla="*/ 21632 w 184504"/>
                <a:gd name="connsiteY869" fmla="*/ 262442 h 299025"/>
                <a:gd name="connsiteX870" fmla="*/ 20995 w 184504"/>
                <a:gd name="connsiteY870" fmla="*/ 262760 h 299025"/>
                <a:gd name="connsiteX871" fmla="*/ 23222 w 184504"/>
                <a:gd name="connsiteY871" fmla="*/ 264351 h 299025"/>
                <a:gd name="connsiteX872" fmla="*/ 24176 w 184504"/>
                <a:gd name="connsiteY872" fmla="*/ 265623 h 299025"/>
                <a:gd name="connsiteX873" fmla="*/ 24176 w 184504"/>
                <a:gd name="connsiteY873" fmla="*/ 266896 h 299025"/>
                <a:gd name="connsiteX874" fmla="*/ 23540 w 184504"/>
                <a:gd name="connsiteY874" fmla="*/ 269759 h 299025"/>
                <a:gd name="connsiteX875" fmla="*/ 25131 w 184504"/>
                <a:gd name="connsiteY875" fmla="*/ 272940 h 299025"/>
                <a:gd name="connsiteX876" fmla="*/ 24813 w 184504"/>
                <a:gd name="connsiteY876" fmla="*/ 273576 h 299025"/>
                <a:gd name="connsiteX877" fmla="*/ 29585 w 184504"/>
                <a:gd name="connsiteY877" fmla="*/ 278348 h 299025"/>
                <a:gd name="connsiteX878" fmla="*/ 28312 w 184504"/>
                <a:gd name="connsiteY878" fmla="*/ 278030 h 299025"/>
                <a:gd name="connsiteX879" fmla="*/ 27676 w 184504"/>
                <a:gd name="connsiteY879" fmla="*/ 278348 h 299025"/>
                <a:gd name="connsiteX880" fmla="*/ 29903 w 184504"/>
                <a:gd name="connsiteY880" fmla="*/ 281529 h 299025"/>
                <a:gd name="connsiteX881" fmla="*/ 30857 w 184504"/>
                <a:gd name="connsiteY881" fmla="*/ 281529 h 299025"/>
                <a:gd name="connsiteX882" fmla="*/ 32448 w 184504"/>
                <a:gd name="connsiteY882" fmla="*/ 282801 h 299025"/>
                <a:gd name="connsiteX883" fmla="*/ 33720 w 184504"/>
                <a:gd name="connsiteY883" fmla="*/ 283438 h 299025"/>
                <a:gd name="connsiteX884" fmla="*/ 34356 w 184504"/>
                <a:gd name="connsiteY884" fmla="*/ 283756 h 299025"/>
                <a:gd name="connsiteX885" fmla="*/ 37219 w 184504"/>
                <a:gd name="connsiteY885" fmla="*/ 285028 h 299025"/>
                <a:gd name="connsiteX886" fmla="*/ 41673 w 184504"/>
                <a:gd name="connsiteY886" fmla="*/ 284710 h 299025"/>
                <a:gd name="connsiteX887" fmla="*/ 54397 w 184504"/>
                <a:gd name="connsiteY887" fmla="*/ 279620 h 299025"/>
                <a:gd name="connsiteX888" fmla="*/ 57578 w 184504"/>
                <a:gd name="connsiteY888" fmla="*/ 278030 h 299025"/>
                <a:gd name="connsiteX889" fmla="*/ 58215 w 184504"/>
                <a:gd name="connsiteY889" fmla="*/ 278348 h 299025"/>
                <a:gd name="connsiteX890" fmla="*/ 68394 w 184504"/>
                <a:gd name="connsiteY890" fmla="*/ 270713 h 299025"/>
                <a:gd name="connsiteX891" fmla="*/ 69030 w 184504"/>
                <a:gd name="connsiteY891" fmla="*/ 271031 h 299025"/>
                <a:gd name="connsiteX892" fmla="*/ 74438 w 184504"/>
                <a:gd name="connsiteY892" fmla="*/ 264033 h 299025"/>
                <a:gd name="connsiteX893" fmla="*/ 74756 w 184504"/>
                <a:gd name="connsiteY893" fmla="*/ 263078 h 299025"/>
                <a:gd name="connsiteX894" fmla="*/ 75393 w 184504"/>
                <a:gd name="connsiteY894" fmla="*/ 263078 h 299025"/>
                <a:gd name="connsiteX895" fmla="*/ 81437 w 184504"/>
                <a:gd name="connsiteY895" fmla="*/ 256716 h 299025"/>
                <a:gd name="connsiteX896" fmla="*/ 91616 w 184504"/>
                <a:gd name="connsiteY896" fmla="*/ 238584 h 299025"/>
                <a:gd name="connsiteX897" fmla="*/ 92252 w 184504"/>
                <a:gd name="connsiteY897" fmla="*/ 238266 h 299025"/>
                <a:gd name="connsiteX898" fmla="*/ 95752 w 184504"/>
                <a:gd name="connsiteY898" fmla="*/ 233494 h 299025"/>
                <a:gd name="connsiteX899" fmla="*/ 96070 w 184504"/>
                <a:gd name="connsiteY899" fmla="*/ 233176 h 299025"/>
                <a:gd name="connsiteX900" fmla="*/ 100842 w 184504"/>
                <a:gd name="connsiteY900" fmla="*/ 222042 h 299025"/>
                <a:gd name="connsiteX901" fmla="*/ 109112 w 184504"/>
                <a:gd name="connsiteY901" fmla="*/ 205500 h 299025"/>
                <a:gd name="connsiteX902" fmla="*/ 115475 w 184504"/>
                <a:gd name="connsiteY902" fmla="*/ 187686 h 299025"/>
                <a:gd name="connsiteX903" fmla="*/ 116747 w 184504"/>
                <a:gd name="connsiteY903" fmla="*/ 181960 h 299025"/>
                <a:gd name="connsiteX904" fmla="*/ 120882 w 184504"/>
                <a:gd name="connsiteY904" fmla="*/ 169872 h 299025"/>
                <a:gd name="connsiteX905" fmla="*/ 120882 w 184504"/>
                <a:gd name="connsiteY905" fmla="*/ 167645 h 299025"/>
                <a:gd name="connsiteX906" fmla="*/ 123428 w 184504"/>
                <a:gd name="connsiteY906" fmla="*/ 160328 h 299025"/>
                <a:gd name="connsiteX907" fmla="*/ 123109 w 184504"/>
                <a:gd name="connsiteY907" fmla="*/ 157147 h 299025"/>
                <a:gd name="connsiteX908" fmla="*/ 125018 w 184504"/>
                <a:gd name="connsiteY908" fmla="*/ 153012 h 299025"/>
                <a:gd name="connsiteX909" fmla="*/ 125654 w 184504"/>
                <a:gd name="connsiteY909" fmla="*/ 150467 h 299025"/>
                <a:gd name="connsiteX910" fmla="*/ 125654 w 184504"/>
                <a:gd name="connsiteY910" fmla="*/ 149513 h 299025"/>
                <a:gd name="connsiteX911" fmla="*/ 127881 w 184504"/>
                <a:gd name="connsiteY911" fmla="*/ 139015 h 299025"/>
                <a:gd name="connsiteX912" fmla="*/ 127881 w 184504"/>
                <a:gd name="connsiteY912" fmla="*/ 137106 h 299025"/>
                <a:gd name="connsiteX913" fmla="*/ 129472 w 184504"/>
                <a:gd name="connsiteY913" fmla="*/ 130426 h 299025"/>
                <a:gd name="connsiteX914" fmla="*/ 129472 w 184504"/>
                <a:gd name="connsiteY914" fmla="*/ 129790 h 299025"/>
                <a:gd name="connsiteX915" fmla="*/ 129153 w 184504"/>
                <a:gd name="connsiteY915" fmla="*/ 127881 h 299025"/>
                <a:gd name="connsiteX916" fmla="*/ 130744 w 184504"/>
                <a:gd name="connsiteY916" fmla="*/ 122473 h 299025"/>
                <a:gd name="connsiteX917" fmla="*/ 130744 w 184504"/>
                <a:gd name="connsiteY917" fmla="*/ 121201 h 299025"/>
                <a:gd name="connsiteX918" fmla="*/ 130426 w 184504"/>
                <a:gd name="connsiteY918" fmla="*/ 120246 h 299025"/>
                <a:gd name="connsiteX919" fmla="*/ 21950 w 184504"/>
                <a:gd name="connsiteY919" fmla="*/ 194684 h 299025"/>
                <a:gd name="connsiteX920" fmla="*/ 22268 w 184504"/>
                <a:gd name="connsiteY920" fmla="*/ 195321 h 299025"/>
                <a:gd name="connsiteX921" fmla="*/ 22268 w 184504"/>
                <a:gd name="connsiteY921" fmla="*/ 194366 h 299025"/>
                <a:gd name="connsiteX922" fmla="*/ 21950 w 184504"/>
                <a:gd name="connsiteY922" fmla="*/ 194684 h 299025"/>
                <a:gd name="connsiteX923" fmla="*/ 23540 w 184504"/>
                <a:gd name="connsiteY923" fmla="*/ 277712 h 299025"/>
                <a:gd name="connsiteX924" fmla="*/ 22586 w 184504"/>
                <a:gd name="connsiteY924" fmla="*/ 276439 h 299025"/>
                <a:gd name="connsiteX925" fmla="*/ 21950 w 184504"/>
                <a:gd name="connsiteY925" fmla="*/ 277075 h 299025"/>
                <a:gd name="connsiteX926" fmla="*/ 22904 w 184504"/>
                <a:gd name="connsiteY926" fmla="*/ 278984 h 299025"/>
                <a:gd name="connsiteX927" fmla="*/ 23540 w 184504"/>
                <a:gd name="connsiteY927" fmla="*/ 279302 h 299025"/>
                <a:gd name="connsiteX928" fmla="*/ 23540 w 184504"/>
                <a:gd name="connsiteY928" fmla="*/ 277712 h 299025"/>
                <a:gd name="connsiteX929" fmla="*/ 22268 w 184504"/>
                <a:gd name="connsiteY929" fmla="*/ 187686 h 299025"/>
                <a:gd name="connsiteX930" fmla="*/ 22586 w 184504"/>
                <a:gd name="connsiteY930" fmla="*/ 187050 h 299025"/>
                <a:gd name="connsiteX931" fmla="*/ 23222 w 184504"/>
                <a:gd name="connsiteY931" fmla="*/ 187368 h 299025"/>
                <a:gd name="connsiteX932" fmla="*/ 22268 w 184504"/>
                <a:gd name="connsiteY932" fmla="*/ 188004 h 299025"/>
                <a:gd name="connsiteX933" fmla="*/ 22268 w 184504"/>
                <a:gd name="connsiteY933" fmla="*/ 187686 h 299025"/>
                <a:gd name="connsiteX934" fmla="*/ 25449 w 184504"/>
                <a:gd name="connsiteY934" fmla="*/ 196911 h 299025"/>
                <a:gd name="connsiteX935" fmla="*/ 26085 w 184504"/>
                <a:gd name="connsiteY935" fmla="*/ 196593 h 299025"/>
                <a:gd name="connsiteX936" fmla="*/ 25449 w 184504"/>
                <a:gd name="connsiteY936" fmla="*/ 196275 h 299025"/>
                <a:gd name="connsiteX937" fmla="*/ 25131 w 184504"/>
                <a:gd name="connsiteY937" fmla="*/ 196275 h 299025"/>
                <a:gd name="connsiteX938" fmla="*/ 25449 w 184504"/>
                <a:gd name="connsiteY938" fmla="*/ 196911 h 299025"/>
                <a:gd name="connsiteX939" fmla="*/ 25449 w 184504"/>
                <a:gd name="connsiteY939" fmla="*/ 183232 h 299025"/>
                <a:gd name="connsiteX940" fmla="*/ 25449 w 184504"/>
                <a:gd name="connsiteY940" fmla="*/ 182914 h 299025"/>
                <a:gd name="connsiteX941" fmla="*/ 26085 w 184504"/>
                <a:gd name="connsiteY941" fmla="*/ 181960 h 299025"/>
                <a:gd name="connsiteX942" fmla="*/ 26403 w 184504"/>
                <a:gd name="connsiteY942" fmla="*/ 182278 h 299025"/>
                <a:gd name="connsiteX943" fmla="*/ 26403 w 184504"/>
                <a:gd name="connsiteY943" fmla="*/ 183232 h 299025"/>
                <a:gd name="connsiteX944" fmla="*/ 25449 w 184504"/>
                <a:gd name="connsiteY944" fmla="*/ 183232 h 299025"/>
                <a:gd name="connsiteX945" fmla="*/ 27040 w 184504"/>
                <a:gd name="connsiteY945" fmla="*/ 282165 h 299025"/>
                <a:gd name="connsiteX946" fmla="*/ 26721 w 184504"/>
                <a:gd name="connsiteY946" fmla="*/ 281847 h 299025"/>
                <a:gd name="connsiteX947" fmla="*/ 25767 w 184504"/>
                <a:gd name="connsiteY947" fmla="*/ 281847 h 299025"/>
                <a:gd name="connsiteX948" fmla="*/ 25449 w 184504"/>
                <a:gd name="connsiteY948" fmla="*/ 282165 h 299025"/>
                <a:gd name="connsiteX949" fmla="*/ 27040 w 184504"/>
                <a:gd name="connsiteY949" fmla="*/ 282801 h 299025"/>
                <a:gd name="connsiteX950" fmla="*/ 27040 w 184504"/>
                <a:gd name="connsiteY950" fmla="*/ 282165 h 299025"/>
                <a:gd name="connsiteX951" fmla="*/ 25767 w 184504"/>
                <a:gd name="connsiteY951" fmla="*/ 278666 h 299025"/>
                <a:gd name="connsiteX952" fmla="*/ 26085 w 184504"/>
                <a:gd name="connsiteY952" fmla="*/ 278666 h 299025"/>
                <a:gd name="connsiteX953" fmla="*/ 25767 w 184504"/>
                <a:gd name="connsiteY953" fmla="*/ 278348 h 299025"/>
                <a:gd name="connsiteX954" fmla="*/ 25767 w 184504"/>
                <a:gd name="connsiteY954" fmla="*/ 278666 h 299025"/>
                <a:gd name="connsiteX955" fmla="*/ 27040 w 184504"/>
                <a:gd name="connsiteY955" fmla="*/ 190231 h 299025"/>
                <a:gd name="connsiteX956" fmla="*/ 27676 w 184504"/>
                <a:gd name="connsiteY956" fmla="*/ 189277 h 299025"/>
                <a:gd name="connsiteX957" fmla="*/ 27358 w 184504"/>
                <a:gd name="connsiteY957" fmla="*/ 190549 h 299025"/>
                <a:gd name="connsiteX958" fmla="*/ 26403 w 184504"/>
                <a:gd name="connsiteY958" fmla="*/ 190231 h 299025"/>
                <a:gd name="connsiteX959" fmla="*/ 27040 w 184504"/>
                <a:gd name="connsiteY959" fmla="*/ 190231 h 299025"/>
                <a:gd name="connsiteX960" fmla="*/ 27358 w 184504"/>
                <a:gd name="connsiteY960" fmla="*/ 185141 h 299025"/>
                <a:gd name="connsiteX961" fmla="*/ 27676 w 184504"/>
                <a:gd name="connsiteY961" fmla="*/ 184823 h 299025"/>
                <a:gd name="connsiteX962" fmla="*/ 27994 w 184504"/>
                <a:gd name="connsiteY962" fmla="*/ 185141 h 299025"/>
                <a:gd name="connsiteX963" fmla="*/ 27676 w 184504"/>
                <a:gd name="connsiteY963" fmla="*/ 185777 h 299025"/>
                <a:gd name="connsiteX964" fmla="*/ 28312 w 184504"/>
                <a:gd name="connsiteY964" fmla="*/ 187050 h 299025"/>
                <a:gd name="connsiteX965" fmla="*/ 27358 w 184504"/>
                <a:gd name="connsiteY965" fmla="*/ 188322 h 299025"/>
                <a:gd name="connsiteX966" fmla="*/ 26721 w 184504"/>
                <a:gd name="connsiteY966" fmla="*/ 188004 h 299025"/>
                <a:gd name="connsiteX967" fmla="*/ 27358 w 184504"/>
                <a:gd name="connsiteY967" fmla="*/ 187368 h 299025"/>
                <a:gd name="connsiteX968" fmla="*/ 26721 w 184504"/>
                <a:gd name="connsiteY968" fmla="*/ 186732 h 299025"/>
                <a:gd name="connsiteX969" fmla="*/ 27358 w 184504"/>
                <a:gd name="connsiteY969" fmla="*/ 185141 h 299025"/>
                <a:gd name="connsiteX970" fmla="*/ 27994 w 184504"/>
                <a:gd name="connsiteY970" fmla="*/ 280575 h 299025"/>
                <a:gd name="connsiteX971" fmla="*/ 27040 w 184504"/>
                <a:gd name="connsiteY971" fmla="*/ 280893 h 299025"/>
                <a:gd name="connsiteX972" fmla="*/ 27994 w 184504"/>
                <a:gd name="connsiteY972" fmla="*/ 281847 h 299025"/>
                <a:gd name="connsiteX973" fmla="*/ 28312 w 184504"/>
                <a:gd name="connsiteY973" fmla="*/ 281847 h 299025"/>
                <a:gd name="connsiteX974" fmla="*/ 27994 w 184504"/>
                <a:gd name="connsiteY974" fmla="*/ 280575 h 299025"/>
                <a:gd name="connsiteX975" fmla="*/ 28312 w 184504"/>
                <a:gd name="connsiteY975" fmla="*/ 183551 h 299025"/>
                <a:gd name="connsiteX976" fmla="*/ 28948 w 184504"/>
                <a:gd name="connsiteY976" fmla="*/ 183551 h 299025"/>
                <a:gd name="connsiteX977" fmla="*/ 28948 w 184504"/>
                <a:gd name="connsiteY977" fmla="*/ 184187 h 299025"/>
                <a:gd name="connsiteX978" fmla="*/ 28312 w 184504"/>
                <a:gd name="connsiteY978" fmla="*/ 183551 h 299025"/>
                <a:gd name="connsiteX979" fmla="*/ 28948 w 184504"/>
                <a:gd name="connsiteY979" fmla="*/ 185141 h 299025"/>
                <a:gd name="connsiteX980" fmla="*/ 29585 w 184504"/>
                <a:gd name="connsiteY980" fmla="*/ 185459 h 299025"/>
                <a:gd name="connsiteX981" fmla="*/ 29267 w 184504"/>
                <a:gd name="connsiteY981" fmla="*/ 185459 h 299025"/>
                <a:gd name="connsiteX982" fmla="*/ 29267 w 184504"/>
                <a:gd name="connsiteY982" fmla="*/ 185777 h 299025"/>
                <a:gd name="connsiteX983" fmla="*/ 28948 w 184504"/>
                <a:gd name="connsiteY983" fmla="*/ 185141 h 299025"/>
                <a:gd name="connsiteX984" fmla="*/ 30857 w 184504"/>
                <a:gd name="connsiteY984" fmla="*/ 181642 h 299025"/>
                <a:gd name="connsiteX985" fmla="*/ 31175 w 184504"/>
                <a:gd name="connsiteY985" fmla="*/ 181642 h 299025"/>
                <a:gd name="connsiteX986" fmla="*/ 30539 w 184504"/>
                <a:gd name="connsiteY986" fmla="*/ 182596 h 299025"/>
                <a:gd name="connsiteX987" fmla="*/ 30221 w 184504"/>
                <a:gd name="connsiteY987" fmla="*/ 181960 h 299025"/>
                <a:gd name="connsiteX988" fmla="*/ 29585 w 184504"/>
                <a:gd name="connsiteY988" fmla="*/ 181960 h 299025"/>
                <a:gd name="connsiteX989" fmla="*/ 30857 w 184504"/>
                <a:gd name="connsiteY989" fmla="*/ 181642 h 299025"/>
                <a:gd name="connsiteX990" fmla="*/ 30857 w 184504"/>
                <a:gd name="connsiteY990" fmla="*/ 182914 h 299025"/>
                <a:gd name="connsiteX991" fmla="*/ 30857 w 184504"/>
                <a:gd name="connsiteY991" fmla="*/ 183551 h 299025"/>
                <a:gd name="connsiteX992" fmla="*/ 29903 w 184504"/>
                <a:gd name="connsiteY992" fmla="*/ 184505 h 299025"/>
                <a:gd name="connsiteX993" fmla="*/ 29585 w 184504"/>
                <a:gd name="connsiteY993" fmla="*/ 183869 h 299025"/>
                <a:gd name="connsiteX994" fmla="*/ 30857 w 184504"/>
                <a:gd name="connsiteY994" fmla="*/ 182914 h 299025"/>
                <a:gd name="connsiteX995" fmla="*/ 30539 w 184504"/>
                <a:gd name="connsiteY995" fmla="*/ 179097 h 299025"/>
                <a:gd name="connsiteX996" fmla="*/ 30857 w 184504"/>
                <a:gd name="connsiteY996" fmla="*/ 178779 h 299025"/>
                <a:gd name="connsiteX997" fmla="*/ 31811 w 184504"/>
                <a:gd name="connsiteY997" fmla="*/ 179415 h 299025"/>
                <a:gd name="connsiteX998" fmla="*/ 32448 w 184504"/>
                <a:gd name="connsiteY998" fmla="*/ 179097 h 299025"/>
                <a:gd name="connsiteX999" fmla="*/ 32448 w 184504"/>
                <a:gd name="connsiteY999" fmla="*/ 178461 h 299025"/>
                <a:gd name="connsiteX1000" fmla="*/ 33402 w 184504"/>
                <a:gd name="connsiteY1000" fmla="*/ 179097 h 299025"/>
                <a:gd name="connsiteX1001" fmla="*/ 32448 w 184504"/>
                <a:gd name="connsiteY1001" fmla="*/ 180051 h 299025"/>
                <a:gd name="connsiteX1002" fmla="*/ 32448 w 184504"/>
                <a:gd name="connsiteY1002" fmla="*/ 180369 h 299025"/>
                <a:gd name="connsiteX1003" fmla="*/ 33402 w 184504"/>
                <a:gd name="connsiteY1003" fmla="*/ 180369 h 299025"/>
                <a:gd name="connsiteX1004" fmla="*/ 32766 w 184504"/>
                <a:gd name="connsiteY1004" fmla="*/ 181006 h 299025"/>
                <a:gd name="connsiteX1005" fmla="*/ 31175 w 184504"/>
                <a:gd name="connsiteY1005" fmla="*/ 179733 h 299025"/>
                <a:gd name="connsiteX1006" fmla="*/ 30539 w 184504"/>
                <a:gd name="connsiteY1006" fmla="*/ 180051 h 299025"/>
                <a:gd name="connsiteX1007" fmla="*/ 30221 w 184504"/>
                <a:gd name="connsiteY1007" fmla="*/ 179733 h 299025"/>
                <a:gd name="connsiteX1008" fmla="*/ 30539 w 184504"/>
                <a:gd name="connsiteY1008" fmla="*/ 179097 h 299025"/>
                <a:gd name="connsiteX1009" fmla="*/ 30539 w 184504"/>
                <a:gd name="connsiteY1009" fmla="*/ 176870 h 299025"/>
                <a:gd name="connsiteX1010" fmla="*/ 30857 w 184504"/>
                <a:gd name="connsiteY1010" fmla="*/ 175916 h 299025"/>
                <a:gd name="connsiteX1011" fmla="*/ 31175 w 184504"/>
                <a:gd name="connsiteY1011" fmla="*/ 176552 h 299025"/>
                <a:gd name="connsiteX1012" fmla="*/ 30857 w 184504"/>
                <a:gd name="connsiteY1012" fmla="*/ 177188 h 299025"/>
                <a:gd name="connsiteX1013" fmla="*/ 30539 w 184504"/>
                <a:gd name="connsiteY1013" fmla="*/ 176870 h 299025"/>
                <a:gd name="connsiteX1014" fmla="*/ 34356 w 184504"/>
                <a:gd name="connsiteY1014" fmla="*/ 183551 h 299025"/>
                <a:gd name="connsiteX1015" fmla="*/ 34992 w 184504"/>
                <a:gd name="connsiteY1015" fmla="*/ 184187 h 299025"/>
                <a:gd name="connsiteX1016" fmla="*/ 35629 w 184504"/>
                <a:gd name="connsiteY1016" fmla="*/ 183551 h 299025"/>
                <a:gd name="connsiteX1017" fmla="*/ 35310 w 184504"/>
                <a:gd name="connsiteY1017" fmla="*/ 182914 h 299025"/>
                <a:gd name="connsiteX1018" fmla="*/ 34992 w 184504"/>
                <a:gd name="connsiteY1018" fmla="*/ 182914 h 299025"/>
                <a:gd name="connsiteX1019" fmla="*/ 34356 w 184504"/>
                <a:gd name="connsiteY1019" fmla="*/ 183551 h 299025"/>
                <a:gd name="connsiteX1020" fmla="*/ 35310 w 184504"/>
                <a:gd name="connsiteY1020" fmla="*/ 176552 h 299025"/>
                <a:gd name="connsiteX1021" fmla="*/ 35947 w 184504"/>
                <a:gd name="connsiteY1021" fmla="*/ 177188 h 299025"/>
                <a:gd name="connsiteX1022" fmla="*/ 35629 w 184504"/>
                <a:gd name="connsiteY1022" fmla="*/ 177825 h 299025"/>
                <a:gd name="connsiteX1023" fmla="*/ 34992 w 184504"/>
                <a:gd name="connsiteY1023" fmla="*/ 178461 h 299025"/>
                <a:gd name="connsiteX1024" fmla="*/ 34674 w 184504"/>
                <a:gd name="connsiteY1024" fmla="*/ 178143 h 299025"/>
                <a:gd name="connsiteX1025" fmla="*/ 35310 w 184504"/>
                <a:gd name="connsiteY1025" fmla="*/ 176552 h 299025"/>
                <a:gd name="connsiteX1026" fmla="*/ 35310 w 184504"/>
                <a:gd name="connsiteY1026" fmla="*/ 171462 h 299025"/>
                <a:gd name="connsiteX1027" fmla="*/ 34992 w 184504"/>
                <a:gd name="connsiteY1027" fmla="*/ 170826 h 299025"/>
                <a:gd name="connsiteX1028" fmla="*/ 35629 w 184504"/>
                <a:gd name="connsiteY1028" fmla="*/ 170826 h 299025"/>
                <a:gd name="connsiteX1029" fmla="*/ 35310 w 184504"/>
                <a:gd name="connsiteY1029" fmla="*/ 171462 h 299025"/>
                <a:gd name="connsiteX1030" fmla="*/ 38173 w 184504"/>
                <a:gd name="connsiteY1030" fmla="*/ 172417 h 299025"/>
                <a:gd name="connsiteX1031" fmla="*/ 38173 w 184504"/>
                <a:gd name="connsiteY1031" fmla="*/ 173053 h 299025"/>
                <a:gd name="connsiteX1032" fmla="*/ 38491 w 184504"/>
                <a:gd name="connsiteY1032" fmla="*/ 173689 h 299025"/>
                <a:gd name="connsiteX1033" fmla="*/ 37537 w 184504"/>
                <a:gd name="connsiteY1033" fmla="*/ 175280 h 299025"/>
                <a:gd name="connsiteX1034" fmla="*/ 36901 w 184504"/>
                <a:gd name="connsiteY1034" fmla="*/ 174962 h 299025"/>
                <a:gd name="connsiteX1035" fmla="*/ 36901 w 184504"/>
                <a:gd name="connsiteY1035" fmla="*/ 175916 h 299025"/>
                <a:gd name="connsiteX1036" fmla="*/ 36583 w 184504"/>
                <a:gd name="connsiteY1036" fmla="*/ 176234 h 299025"/>
                <a:gd name="connsiteX1037" fmla="*/ 35310 w 184504"/>
                <a:gd name="connsiteY1037" fmla="*/ 175598 h 299025"/>
                <a:gd name="connsiteX1038" fmla="*/ 38173 w 184504"/>
                <a:gd name="connsiteY1038" fmla="*/ 172417 h 299025"/>
                <a:gd name="connsiteX1039" fmla="*/ 37537 w 184504"/>
                <a:gd name="connsiteY1039" fmla="*/ 168599 h 299025"/>
                <a:gd name="connsiteX1040" fmla="*/ 37537 w 184504"/>
                <a:gd name="connsiteY1040" fmla="*/ 169872 h 299025"/>
                <a:gd name="connsiteX1041" fmla="*/ 36901 w 184504"/>
                <a:gd name="connsiteY1041" fmla="*/ 168917 h 299025"/>
                <a:gd name="connsiteX1042" fmla="*/ 37219 w 184504"/>
                <a:gd name="connsiteY1042" fmla="*/ 168599 h 299025"/>
                <a:gd name="connsiteX1043" fmla="*/ 37537 w 184504"/>
                <a:gd name="connsiteY1043" fmla="*/ 168599 h 299025"/>
                <a:gd name="connsiteX1044" fmla="*/ 37537 w 184504"/>
                <a:gd name="connsiteY1044" fmla="*/ 168599 h 299025"/>
                <a:gd name="connsiteX1045" fmla="*/ 37855 w 184504"/>
                <a:gd name="connsiteY1045" fmla="*/ 167327 h 299025"/>
                <a:gd name="connsiteX1046" fmla="*/ 38173 w 184504"/>
                <a:gd name="connsiteY1046" fmla="*/ 167645 h 299025"/>
                <a:gd name="connsiteX1047" fmla="*/ 37537 w 184504"/>
                <a:gd name="connsiteY1047" fmla="*/ 168599 h 299025"/>
                <a:gd name="connsiteX1048" fmla="*/ 40082 w 184504"/>
                <a:gd name="connsiteY1048" fmla="*/ 166054 h 299025"/>
                <a:gd name="connsiteX1049" fmla="*/ 39764 w 184504"/>
                <a:gd name="connsiteY1049" fmla="*/ 165736 h 299025"/>
                <a:gd name="connsiteX1050" fmla="*/ 40082 w 184504"/>
                <a:gd name="connsiteY1050" fmla="*/ 165736 h 299025"/>
                <a:gd name="connsiteX1051" fmla="*/ 40400 w 184504"/>
                <a:gd name="connsiteY1051" fmla="*/ 164464 h 299025"/>
                <a:gd name="connsiteX1052" fmla="*/ 40082 w 184504"/>
                <a:gd name="connsiteY1052" fmla="*/ 163828 h 299025"/>
                <a:gd name="connsiteX1053" fmla="*/ 40400 w 184504"/>
                <a:gd name="connsiteY1053" fmla="*/ 163509 h 299025"/>
                <a:gd name="connsiteX1054" fmla="*/ 41355 w 184504"/>
                <a:gd name="connsiteY1054" fmla="*/ 163828 h 299025"/>
                <a:gd name="connsiteX1055" fmla="*/ 41673 w 184504"/>
                <a:gd name="connsiteY1055" fmla="*/ 162873 h 299025"/>
                <a:gd name="connsiteX1056" fmla="*/ 43582 w 184504"/>
                <a:gd name="connsiteY1056" fmla="*/ 161283 h 299025"/>
                <a:gd name="connsiteX1057" fmla="*/ 44218 w 184504"/>
                <a:gd name="connsiteY1057" fmla="*/ 161601 h 299025"/>
                <a:gd name="connsiteX1058" fmla="*/ 44854 w 184504"/>
                <a:gd name="connsiteY1058" fmla="*/ 160646 h 299025"/>
                <a:gd name="connsiteX1059" fmla="*/ 44854 w 184504"/>
                <a:gd name="connsiteY1059" fmla="*/ 161919 h 299025"/>
                <a:gd name="connsiteX1060" fmla="*/ 44218 w 184504"/>
                <a:gd name="connsiteY1060" fmla="*/ 162873 h 299025"/>
                <a:gd name="connsiteX1061" fmla="*/ 42945 w 184504"/>
                <a:gd name="connsiteY1061" fmla="*/ 163509 h 299025"/>
                <a:gd name="connsiteX1062" fmla="*/ 41355 w 184504"/>
                <a:gd name="connsiteY1062" fmla="*/ 165736 h 299025"/>
                <a:gd name="connsiteX1063" fmla="*/ 40082 w 184504"/>
                <a:gd name="connsiteY1063" fmla="*/ 166054 h 299025"/>
                <a:gd name="connsiteX1064" fmla="*/ 40400 w 184504"/>
                <a:gd name="connsiteY1064" fmla="*/ 193412 h 299025"/>
                <a:gd name="connsiteX1065" fmla="*/ 40082 w 184504"/>
                <a:gd name="connsiteY1065" fmla="*/ 195321 h 299025"/>
                <a:gd name="connsiteX1066" fmla="*/ 39764 w 184504"/>
                <a:gd name="connsiteY1066" fmla="*/ 195003 h 299025"/>
                <a:gd name="connsiteX1067" fmla="*/ 40400 w 184504"/>
                <a:gd name="connsiteY1067" fmla="*/ 193412 h 299025"/>
                <a:gd name="connsiteX1068" fmla="*/ 41673 w 184504"/>
                <a:gd name="connsiteY1068" fmla="*/ 191503 h 299025"/>
                <a:gd name="connsiteX1069" fmla="*/ 41991 w 184504"/>
                <a:gd name="connsiteY1069" fmla="*/ 191821 h 299025"/>
                <a:gd name="connsiteX1070" fmla="*/ 41991 w 184504"/>
                <a:gd name="connsiteY1070" fmla="*/ 192140 h 299025"/>
                <a:gd name="connsiteX1071" fmla="*/ 40400 w 184504"/>
                <a:gd name="connsiteY1071" fmla="*/ 193412 h 299025"/>
                <a:gd name="connsiteX1072" fmla="*/ 40718 w 184504"/>
                <a:gd name="connsiteY1072" fmla="*/ 191821 h 299025"/>
                <a:gd name="connsiteX1073" fmla="*/ 41673 w 184504"/>
                <a:gd name="connsiteY1073" fmla="*/ 191503 h 299025"/>
                <a:gd name="connsiteX1074" fmla="*/ 46763 w 184504"/>
                <a:gd name="connsiteY1074" fmla="*/ 166054 h 299025"/>
                <a:gd name="connsiteX1075" fmla="*/ 45808 w 184504"/>
                <a:gd name="connsiteY1075" fmla="*/ 166372 h 299025"/>
                <a:gd name="connsiteX1076" fmla="*/ 47399 w 184504"/>
                <a:gd name="connsiteY1076" fmla="*/ 167009 h 299025"/>
                <a:gd name="connsiteX1077" fmla="*/ 47717 w 184504"/>
                <a:gd name="connsiteY1077" fmla="*/ 166691 h 299025"/>
                <a:gd name="connsiteX1078" fmla="*/ 47717 w 184504"/>
                <a:gd name="connsiteY1078" fmla="*/ 166372 h 299025"/>
                <a:gd name="connsiteX1079" fmla="*/ 46763 w 184504"/>
                <a:gd name="connsiteY1079" fmla="*/ 166054 h 299025"/>
                <a:gd name="connsiteX1080" fmla="*/ 47399 w 184504"/>
                <a:gd name="connsiteY1080" fmla="*/ 165418 h 299025"/>
                <a:gd name="connsiteX1081" fmla="*/ 47717 w 184504"/>
                <a:gd name="connsiteY1081" fmla="*/ 165418 h 299025"/>
                <a:gd name="connsiteX1082" fmla="*/ 49625 w 184504"/>
                <a:gd name="connsiteY1082" fmla="*/ 163509 h 299025"/>
                <a:gd name="connsiteX1083" fmla="*/ 50262 w 184504"/>
                <a:gd name="connsiteY1083" fmla="*/ 162555 h 299025"/>
                <a:gd name="connsiteX1084" fmla="*/ 50580 w 184504"/>
                <a:gd name="connsiteY1084" fmla="*/ 161919 h 299025"/>
                <a:gd name="connsiteX1085" fmla="*/ 50262 w 184504"/>
                <a:gd name="connsiteY1085" fmla="*/ 161919 h 299025"/>
                <a:gd name="connsiteX1086" fmla="*/ 47399 w 184504"/>
                <a:gd name="connsiteY1086" fmla="*/ 164464 h 299025"/>
                <a:gd name="connsiteX1087" fmla="*/ 47399 w 184504"/>
                <a:gd name="connsiteY1087" fmla="*/ 165418 h 299025"/>
                <a:gd name="connsiteX1088" fmla="*/ 47717 w 184504"/>
                <a:gd name="connsiteY1088" fmla="*/ 158420 h 299025"/>
                <a:gd name="connsiteX1089" fmla="*/ 48353 w 184504"/>
                <a:gd name="connsiteY1089" fmla="*/ 157147 h 299025"/>
                <a:gd name="connsiteX1090" fmla="*/ 48353 w 184504"/>
                <a:gd name="connsiteY1090" fmla="*/ 158102 h 299025"/>
                <a:gd name="connsiteX1091" fmla="*/ 47717 w 184504"/>
                <a:gd name="connsiteY1091" fmla="*/ 158738 h 299025"/>
                <a:gd name="connsiteX1092" fmla="*/ 47717 w 184504"/>
                <a:gd name="connsiteY1092" fmla="*/ 158420 h 299025"/>
                <a:gd name="connsiteX1093" fmla="*/ 51216 w 184504"/>
                <a:gd name="connsiteY1093" fmla="*/ 155557 h 299025"/>
                <a:gd name="connsiteX1094" fmla="*/ 50262 w 184504"/>
                <a:gd name="connsiteY1094" fmla="*/ 155239 h 299025"/>
                <a:gd name="connsiteX1095" fmla="*/ 53125 w 184504"/>
                <a:gd name="connsiteY1095" fmla="*/ 152057 h 299025"/>
                <a:gd name="connsiteX1096" fmla="*/ 53443 w 184504"/>
                <a:gd name="connsiteY1096" fmla="*/ 152057 h 299025"/>
                <a:gd name="connsiteX1097" fmla="*/ 52170 w 184504"/>
                <a:gd name="connsiteY1097" fmla="*/ 154284 h 299025"/>
                <a:gd name="connsiteX1098" fmla="*/ 51216 w 184504"/>
                <a:gd name="connsiteY1098" fmla="*/ 155557 h 299025"/>
                <a:gd name="connsiteX1099" fmla="*/ 52170 w 184504"/>
                <a:gd name="connsiteY1099" fmla="*/ 43581 h 299025"/>
                <a:gd name="connsiteX1100" fmla="*/ 53761 w 184504"/>
                <a:gd name="connsiteY1100" fmla="*/ 42309 h 299025"/>
                <a:gd name="connsiteX1101" fmla="*/ 53125 w 184504"/>
                <a:gd name="connsiteY1101" fmla="*/ 42309 h 299025"/>
                <a:gd name="connsiteX1102" fmla="*/ 52170 w 184504"/>
                <a:gd name="connsiteY1102" fmla="*/ 43581 h 299025"/>
                <a:gd name="connsiteX1103" fmla="*/ 53761 w 184504"/>
                <a:gd name="connsiteY1103" fmla="*/ 41991 h 299025"/>
                <a:gd name="connsiteX1104" fmla="*/ 54397 w 184504"/>
                <a:gd name="connsiteY1104" fmla="*/ 41673 h 299025"/>
                <a:gd name="connsiteX1105" fmla="*/ 53761 w 184504"/>
                <a:gd name="connsiteY1105" fmla="*/ 40718 h 299025"/>
                <a:gd name="connsiteX1106" fmla="*/ 53761 w 184504"/>
                <a:gd name="connsiteY1106" fmla="*/ 41991 h 299025"/>
                <a:gd name="connsiteX1107" fmla="*/ 53761 w 184504"/>
                <a:gd name="connsiteY1107" fmla="*/ 159056 h 299025"/>
                <a:gd name="connsiteX1108" fmla="*/ 53761 w 184504"/>
                <a:gd name="connsiteY1108" fmla="*/ 159692 h 299025"/>
                <a:gd name="connsiteX1109" fmla="*/ 54079 w 184504"/>
                <a:gd name="connsiteY1109" fmla="*/ 160010 h 299025"/>
                <a:gd name="connsiteX1110" fmla="*/ 54397 w 184504"/>
                <a:gd name="connsiteY1110" fmla="*/ 159692 h 299025"/>
                <a:gd name="connsiteX1111" fmla="*/ 54397 w 184504"/>
                <a:gd name="connsiteY1111" fmla="*/ 159374 h 299025"/>
                <a:gd name="connsiteX1112" fmla="*/ 57897 w 184504"/>
                <a:gd name="connsiteY1112" fmla="*/ 157147 h 299025"/>
                <a:gd name="connsiteX1113" fmla="*/ 57578 w 184504"/>
                <a:gd name="connsiteY1113" fmla="*/ 156511 h 299025"/>
                <a:gd name="connsiteX1114" fmla="*/ 56306 w 184504"/>
                <a:gd name="connsiteY1114" fmla="*/ 155875 h 299025"/>
                <a:gd name="connsiteX1115" fmla="*/ 54079 w 184504"/>
                <a:gd name="connsiteY1115" fmla="*/ 158102 h 299025"/>
                <a:gd name="connsiteX1116" fmla="*/ 53761 w 184504"/>
                <a:gd name="connsiteY1116" fmla="*/ 159056 h 299025"/>
                <a:gd name="connsiteX1117" fmla="*/ 55352 w 184504"/>
                <a:gd name="connsiteY1117" fmla="*/ 151421 h 299025"/>
                <a:gd name="connsiteX1118" fmla="*/ 55033 w 184504"/>
                <a:gd name="connsiteY1118" fmla="*/ 151103 h 299025"/>
                <a:gd name="connsiteX1119" fmla="*/ 55352 w 184504"/>
                <a:gd name="connsiteY1119" fmla="*/ 151103 h 299025"/>
                <a:gd name="connsiteX1120" fmla="*/ 55352 w 184504"/>
                <a:gd name="connsiteY1120" fmla="*/ 151421 h 299025"/>
                <a:gd name="connsiteX1121" fmla="*/ 56624 w 184504"/>
                <a:gd name="connsiteY1121" fmla="*/ 150149 h 299025"/>
                <a:gd name="connsiteX1122" fmla="*/ 56306 w 184504"/>
                <a:gd name="connsiteY1122" fmla="*/ 149831 h 299025"/>
                <a:gd name="connsiteX1123" fmla="*/ 58533 w 184504"/>
                <a:gd name="connsiteY1123" fmla="*/ 147922 h 299025"/>
                <a:gd name="connsiteX1124" fmla="*/ 57897 w 184504"/>
                <a:gd name="connsiteY1124" fmla="*/ 150467 h 299025"/>
                <a:gd name="connsiteX1125" fmla="*/ 56624 w 184504"/>
                <a:gd name="connsiteY1125" fmla="*/ 150149 h 299025"/>
                <a:gd name="connsiteX1126" fmla="*/ 112294 w 184504"/>
                <a:gd name="connsiteY1126" fmla="*/ 38492 h 299025"/>
                <a:gd name="connsiteX1127" fmla="*/ 110385 w 184504"/>
                <a:gd name="connsiteY1127" fmla="*/ 38492 h 299025"/>
                <a:gd name="connsiteX1128" fmla="*/ 109112 w 184504"/>
                <a:gd name="connsiteY1128" fmla="*/ 36583 h 299025"/>
                <a:gd name="connsiteX1129" fmla="*/ 104341 w 184504"/>
                <a:gd name="connsiteY1129" fmla="*/ 30539 h 299025"/>
                <a:gd name="connsiteX1130" fmla="*/ 104977 w 184504"/>
                <a:gd name="connsiteY1130" fmla="*/ 28630 h 299025"/>
                <a:gd name="connsiteX1131" fmla="*/ 104341 w 184504"/>
                <a:gd name="connsiteY1131" fmla="*/ 27040 h 299025"/>
                <a:gd name="connsiteX1132" fmla="*/ 104659 w 184504"/>
                <a:gd name="connsiteY1132" fmla="*/ 26085 h 299025"/>
                <a:gd name="connsiteX1133" fmla="*/ 104341 w 184504"/>
                <a:gd name="connsiteY1133" fmla="*/ 25449 h 299025"/>
                <a:gd name="connsiteX1134" fmla="*/ 104977 w 184504"/>
                <a:gd name="connsiteY1134" fmla="*/ 24813 h 299025"/>
                <a:gd name="connsiteX1135" fmla="*/ 103386 w 184504"/>
                <a:gd name="connsiteY1135" fmla="*/ 20995 h 299025"/>
                <a:gd name="connsiteX1136" fmla="*/ 103704 w 184504"/>
                <a:gd name="connsiteY1136" fmla="*/ 20041 h 299025"/>
                <a:gd name="connsiteX1137" fmla="*/ 102750 w 184504"/>
                <a:gd name="connsiteY1137" fmla="*/ 17178 h 299025"/>
                <a:gd name="connsiteX1138" fmla="*/ 102114 w 184504"/>
                <a:gd name="connsiteY1138" fmla="*/ 15269 h 299025"/>
                <a:gd name="connsiteX1139" fmla="*/ 101160 w 184504"/>
                <a:gd name="connsiteY1139" fmla="*/ 14951 h 299025"/>
                <a:gd name="connsiteX1140" fmla="*/ 96070 w 184504"/>
                <a:gd name="connsiteY1140" fmla="*/ 18450 h 299025"/>
                <a:gd name="connsiteX1141" fmla="*/ 96070 w 184504"/>
                <a:gd name="connsiteY1141" fmla="*/ 17814 h 299025"/>
                <a:gd name="connsiteX1142" fmla="*/ 96706 w 184504"/>
                <a:gd name="connsiteY1142" fmla="*/ 17496 h 299025"/>
                <a:gd name="connsiteX1143" fmla="*/ 91298 w 184504"/>
                <a:gd name="connsiteY1143" fmla="*/ 22904 h 299025"/>
                <a:gd name="connsiteX1144" fmla="*/ 91616 w 184504"/>
                <a:gd name="connsiteY1144" fmla="*/ 22904 h 299025"/>
                <a:gd name="connsiteX1145" fmla="*/ 92252 w 184504"/>
                <a:gd name="connsiteY1145" fmla="*/ 23858 h 299025"/>
                <a:gd name="connsiteX1146" fmla="*/ 90662 w 184504"/>
                <a:gd name="connsiteY1146" fmla="*/ 23540 h 299025"/>
                <a:gd name="connsiteX1147" fmla="*/ 89071 w 184504"/>
                <a:gd name="connsiteY1147" fmla="*/ 25131 h 299025"/>
                <a:gd name="connsiteX1148" fmla="*/ 88117 w 184504"/>
                <a:gd name="connsiteY1148" fmla="*/ 24813 h 299025"/>
                <a:gd name="connsiteX1149" fmla="*/ 85254 w 184504"/>
                <a:gd name="connsiteY1149" fmla="*/ 30221 h 299025"/>
                <a:gd name="connsiteX1150" fmla="*/ 85572 w 184504"/>
                <a:gd name="connsiteY1150" fmla="*/ 31811 h 299025"/>
                <a:gd name="connsiteX1151" fmla="*/ 84618 w 184504"/>
                <a:gd name="connsiteY1151" fmla="*/ 31175 h 299025"/>
                <a:gd name="connsiteX1152" fmla="*/ 84300 w 184504"/>
                <a:gd name="connsiteY1152" fmla="*/ 30221 h 299025"/>
                <a:gd name="connsiteX1153" fmla="*/ 83664 w 184504"/>
                <a:gd name="connsiteY1153" fmla="*/ 34356 h 299025"/>
                <a:gd name="connsiteX1154" fmla="*/ 83346 w 184504"/>
                <a:gd name="connsiteY1154" fmla="*/ 34038 h 299025"/>
                <a:gd name="connsiteX1155" fmla="*/ 83027 w 184504"/>
                <a:gd name="connsiteY1155" fmla="*/ 34038 h 299025"/>
                <a:gd name="connsiteX1156" fmla="*/ 83027 w 184504"/>
                <a:gd name="connsiteY1156" fmla="*/ 34356 h 299025"/>
                <a:gd name="connsiteX1157" fmla="*/ 81437 w 184504"/>
                <a:gd name="connsiteY1157" fmla="*/ 36583 h 299025"/>
                <a:gd name="connsiteX1158" fmla="*/ 81119 w 184504"/>
                <a:gd name="connsiteY1158" fmla="*/ 36265 h 299025"/>
                <a:gd name="connsiteX1159" fmla="*/ 80800 w 184504"/>
                <a:gd name="connsiteY1159" fmla="*/ 36265 h 299025"/>
                <a:gd name="connsiteX1160" fmla="*/ 80800 w 184504"/>
                <a:gd name="connsiteY1160" fmla="*/ 36901 h 299025"/>
                <a:gd name="connsiteX1161" fmla="*/ 79846 w 184504"/>
                <a:gd name="connsiteY1161" fmla="*/ 37537 h 299025"/>
                <a:gd name="connsiteX1162" fmla="*/ 80482 w 184504"/>
                <a:gd name="connsiteY1162" fmla="*/ 38810 h 299025"/>
                <a:gd name="connsiteX1163" fmla="*/ 79846 w 184504"/>
                <a:gd name="connsiteY1163" fmla="*/ 38810 h 299025"/>
                <a:gd name="connsiteX1164" fmla="*/ 79846 w 184504"/>
                <a:gd name="connsiteY1164" fmla="*/ 38173 h 299025"/>
                <a:gd name="connsiteX1165" fmla="*/ 79528 w 184504"/>
                <a:gd name="connsiteY1165" fmla="*/ 37855 h 299025"/>
                <a:gd name="connsiteX1166" fmla="*/ 74756 w 184504"/>
                <a:gd name="connsiteY1166" fmla="*/ 43581 h 299025"/>
                <a:gd name="connsiteX1167" fmla="*/ 76029 w 184504"/>
                <a:gd name="connsiteY1167" fmla="*/ 45172 h 299025"/>
                <a:gd name="connsiteX1168" fmla="*/ 75711 w 184504"/>
                <a:gd name="connsiteY1168" fmla="*/ 45172 h 299025"/>
                <a:gd name="connsiteX1169" fmla="*/ 75393 w 184504"/>
                <a:gd name="connsiteY1169" fmla="*/ 45808 h 299025"/>
                <a:gd name="connsiteX1170" fmla="*/ 73484 w 184504"/>
                <a:gd name="connsiteY1170" fmla="*/ 48353 h 299025"/>
                <a:gd name="connsiteX1171" fmla="*/ 71575 w 184504"/>
                <a:gd name="connsiteY1171" fmla="*/ 51216 h 299025"/>
                <a:gd name="connsiteX1172" fmla="*/ 71257 w 184504"/>
                <a:gd name="connsiteY1172" fmla="*/ 50898 h 299025"/>
                <a:gd name="connsiteX1173" fmla="*/ 70939 w 184504"/>
                <a:gd name="connsiteY1173" fmla="*/ 51216 h 299025"/>
                <a:gd name="connsiteX1174" fmla="*/ 70621 w 184504"/>
                <a:gd name="connsiteY1174" fmla="*/ 50898 h 299025"/>
                <a:gd name="connsiteX1175" fmla="*/ 70621 w 184504"/>
                <a:gd name="connsiteY1175" fmla="*/ 53125 h 299025"/>
                <a:gd name="connsiteX1176" fmla="*/ 69349 w 184504"/>
                <a:gd name="connsiteY1176" fmla="*/ 53443 h 299025"/>
                <a:gd name="connsiteX1177" fmla="*/ 67440 w 184504"/>
                <a:gd name="connsiteY1177" fmla="*/ 55351 h 299025"/>
                <a:gd name="connsiteX1178" fmla="*/ 67440 w 184504"/>
                <a:gd name="connsiteY1178" fmla="*/ 55988 h 299025"/>
                <a:gd name="connsiteX1179" fmla="*/ 67758 w 184504"/>
                <a:gd name="connsiteY1179" fmla="*/ 56624 h 299025"/>
                <a:gd name="connsiteX1180" fmla="*/ 68394 w 184504"/>
                <a:gd name="connsiteY1180" fmla="*/ 56942 h 299025"/>
                <a:gd name="connsiteX1181" fmla="*/ 67440 w 184504"/>
                <a:gd name="connsiteY1181" fmla="*/ 58851 h 299025"/>
                <a:gd name="connsiteX1182" fmla="*/ 66167 w 184504"/>
                <a:gd name="connsiteY1182" fmla="*/ 58851 h 299025"/>
                <a:gd name="connsiteX1183" fmla="*/ 66485 w 184504"/>
                <a:gd name="connsiteY1183" fmla="*/ 60441 h 299025"/>
                <a:gd name="connsiteX1184" fmla="*/ 62668 w 184504"/>
                <a:gd name="connsiteY1184" fmla="*/ 68712 h 299025"/>
                <a:gd name="connsiteX1185" fmla="*/ 62668 w 184504"/>
                <a:gd name="connsiteY1185" fmla="*/ 70939 h 299025"/>
                <a:gd name="connsiteX1186" fmla="*/ 57578 w 184504"/>
                <a:gd name="connsiteY1186" fmla="*/ 91616 h 299025"/>
                <a:gd name="connsiteX1187" fmla="*/ 57578 w 184504"/>
                <a:gd name="connsiteY1187" fmla="*/ 93525 h 299025"/>
                <a:gd name="connsiteX1188" fmla="*/ 58215 w 184504"/>
                <a:gd name="connsiteY1188" fmla="*/ 96070 h 299025"/>
                <a:gd name="connsiteX1189" fmla="*/ 59169 w 184504"/>
                <a:gd name="connsiteY1189" fmla="*/ 96388 h 299025"/>
                <a:gd name="connsiteX1190" fmla="*/ 62350 w 184504"/>
                <a:gd name="connsiteY1190" fmla="*/ 94797 h 299025"/>
                <a:gd name="connsiteX1191" fmla="*/ 62668 w 184504"/>
                <a:gd name="connsiteY1191" fmla="*/ 92889 h 299025"/>
                <a:gd name="connsiteX1192" fmla="*/ 65213 w 184504"/>
                <a:gd name="connsiteY1192" fmla="*/ 93525 h 299025"/>
                <a:gd name="connsiteX1193" fmla="*/ 64259 w 184504"/>
                <a:gd name="connsiteY1193" fmla="*/ 92889 h 299025"/>
                <a:gd name="connsiteX1194" fmla="*/ 67440 w 184504"/>
                <a:gd name="connsiteY1194" fmla="*/ 89389 h 299025"/>
                <a:gd name="connsiteX1195" fmla="*/ 68712 w 184504"/>
                <a:gd name="connsiteY1195" fmla="*/ 90344 h 299025"/>
                <a:gd name="connsiteX1196" fmla="*/ 69030 w 184504"/>
                <a:gd name="connsiteY1196" fmla="*/ 90344 h 299025"/>
                <a:gd name="connsiteX1197" fmla="*/ 69667 w 184504"/>
                <a:gd name="connsiteY1197" fmla="*/ 88117 h 299025"/>
                <a:gd name="connsiteX1198" fmla="*/ 69349 w 184504"/>
                <a:gd name="connsiteY1198" fmla="*/ 86845 h 299025"/>
                <a:gd name="connsiteX1199" fmla="*/ 69985 w 184504"/>
                <a:gd name="connsiteY1199" fmla="*/ 86845 h 299025"/>
                <a:gd name="connsiteX1200" fmla="*/ 80164 w 184504"/>
                <a:gd name="connsiteY1200" fmla="*/ 78256 h 299025"/>
                <a:gd name="connsiteX1201" fmla="*/ 80164 w 184504"/>
                <a:gd name="connsiteY1201" fmla="*/ 76983 h 299025"/>
                <a:gd name="connsiteX1202" fmla="*/ 81755 w 184504"/>
                <a:gd name="connsiteY1202" fmla="*/ 75074 h 299025"/>
                <a:gd name="connsiteX1203" fmla="*/ 82073 w 184504"/>
                <a:gd name="connsiteY1203" fmla="*/ 74756 h 299025"/>
                <a:gd name="connsiteX1204" fmla="*/ 85890 w 184504"/>
                <a:gd name="connsiteY1204" fmla="*/ 71575 h 299025"/>
                <a:gd name="connsiteX1205" fmla="*/ 86527 w 184504"/>
                <a:gd name="connsiteY1205" fmla="*/ 70939 h 299025"/>
                <a:gd name="connsiteX1206" fmla="*/ 87163 w 184504"/>
                <a:gd name="connsiteY1206" fmla="*/ 69985 h 299025"/>
                <a:gd name="connsiteX1207" fmla="*/ 86845 w 184504"/>
                <a:gd name="connsiteY1207" fmla="*/ 69030 h 299025"/>
                <a:gd name="connsiteX1208" fmla="*/ 90026 w 184504"/>
                <a:gd name="connsiteY1208" fmla="*/ 67440 h 299025"/>
                <a:gd name="connsiteX1209" fmla="*/ 90026 w 184504"/>
                <a:gd name="connsiteY1209" fmla="*/ 66167 h 299025"/>
                <a:gd name="connsiteX1210" fmla="*/ 90980 w 184504"/>
                <a:gd name="connsiteY1210" fmla="*/ 64895 h 299025"/>
                <a:gd name="connsiteX1211" fmla="*/ 91298 w 184504"/>
                <a:gd name="connsiteY1211" fmla="*/ 64577 h 299025"/>
                <a:gd name="connsiteX1212" fmla="*/ 94161 w 184504"/>
                <a:gd name="connsiteY1212" fmla="*/ 61396 h 299025"/>
                <a:gd name="connsiteX1213" fmla="*/ 94161 w 184504"/>
                <a:gd name="connsiteY1213" fmla="*/ 60441 h 299025"/>
                <a:gd name="connsiteX1214" fmla="*/ 96706 w 184504"/>
                <a:gd name="connsiteY1214" fmla="*/ 57260 h 299025"/>
                <a:gd name="connsiteX1215" fmla="*/ 106885 w 184504"/>
                <a:gd name="connsiteY1215" fmla="*/ 48035 h 299025"/>
                <a:gd name="connsiteX1216" fmla="*/ 106567 w 184504"/>
                <a:gd name="connsiteY1216" fmla="*/ 47717 h 299025"/>
                <a:gd name="connsiteX1217" fmla="*/ 109431 w 184504"/>
                <a:gd name="connsiteY1217" fmla="*/ 44536 h 299025"/>
                <a:gd name="connsiteX1218" fmla="*/ 109112 w 184504"/>
                <a:gd name="connsiteY1218" fmla="*/ 42627 h 299025"/>
                <a:gd name="connsiteX1219" fmla="*/ 110385 w 184504"/>
                <a:gd name="connsiteY1219" fmla="*/ 43899 h 299025"/>
                <a:gd name="connsiteX1220" fmla="*/ 110703 w 184504"/>
                <a:gd name="connsiteY1220" fmla="*/ 44218 h 299025"/>
                <a:gd name="connsiteX1221" fmla="*/ 110067 w 184504"/>
                <a:gd name="connsiteY1221" fmla="*/ 44854 h 299025"/>
                <a:gd name="connsiteX1222" fmla="*/ 110067 w 184504"/>
                <a:gd name="connsiteY1222" fmla="*/ 45490 h 299025"/>
                <a:gd name="connsiteX1223" fmla="*/ 111657 w 184504"/>
                <a:gd name="connsiteY1223" fmla="*/ 43899 h 299025"/>
                <a:gd name="connsiteX1224" fmla="*/ 110703 w 184504"/>
                <a:gd name="connsiteY1224" fmla="*/ 42627 h 299025"/>
                <a:gd name="connsiteX1225" fmla="*/ 110385 w 184504"/>
                <a:gd name="connsiteY1225" fmla="*/ 42627 h 299025"/>
                <a:gd name="connsiteX1226" fmla="*/ 110067 w 184504"/>
                <a:gd name="connsiteY1226" fmla="*/ 42309 h 299025"/>
                <a:gd name="connsiteX1227" fmla="*/ 109749 w 184504"/>
                <a:gd name="connsiteY1227" fmla="*/ 41991 h 299025"/>
                <a:gd name="connsiteX1228" fmla="*/ 112294 w 184504"/>
                <a:gd name="connsiteY1228" fmla="*/ 38810 h 299025"/>
                <a:gd name="connsiteX1229" fmla="*/ 112294 w 184504"/>
                <a:gd name="connsiteY1229" fmla="*/ 38492 h 299025"/>
                <a:gd name="connsiteX1230" fmla="*/ 60123 w 184504"/>
                <a:gd name="connsiteY1230" fmla="*/ 147922 h 299025"/>
                <a:gd name="connsiteX1231" fmla="*/ 59169 w 184504"/>
                <a:gd name="connsiteY1231" fmla="*/ 147922 h 299025"/>
                <a:gd name="connsiteX1232" fmla="*/ 59805 w 184504"/>
                <a:gd name="connsiteY1232" fmla="*/ 146650 h 299025"/>
                <a:gd name="connsiteX1233" fmla="*/ 60123 w 184504"/>
                <a:gd name="connsiteY1233" fmla="*/ 146650 h 299025"/>
                <a:gd name="connsiteX1234" fmla="*/ 65213 w 184504"/>
                <a:gd name="connsiteY1234" fmla="*/ 142832 h 299025"/>
                <a:gd name="connsiteX1235" fmla="*/ 65531 w 184504"/>
                <a:gd name="connsiteY1235" fmla="*/ 143150 h 299025"/>
                <a:gd name="connsiteX1236" fmla="*/ 60759 w 184504"/>
                <a:gd name="connsiteY1236" fmla="*/ 147286 h 299025"/>
                <a:gd name="connsiteX1237" fmla="*/ 60123 w 184504"/>
                <a:gd name="connsiteY1237" fmla="*/ 147922 h 299025"/>
                <a:gd name="connsiteX1238" fmla="*/ 59805 w 184504"/>
                <a:gd name="connsiteY1238" fmla="*/ 153966 h 299025"/>
                <a:gd name="connsiteX1239" fmla="*/ 60441 w 184504"/>
                <a:gd name="connsiteY1239" fmla="*/ 154284 h 299025"/>
                <a:gd name="connsiteX1240" fmla="*/ 63622 w 184504"/>
                <a:gd name="connsiteY1240" fmla="*/ 151421 h 299025"/>
                <a:gd name="connsiteX1241" fmla="*/ 63622 w 184504"/>
                <a:gd name="connsiteY1241" fmla="*/ 151103 h 299025"/>
                <a:gd name="connsiteX1242" fmla="*/ 61396 w 184504"/>
                <a:gd name="connsiteY1242" fmla="*/ 151421 h 299025"/>
                <a:gd name="connsiteX1243" fmla="*/ 59805 w 184504"/>
                <a:gd name="connsiteY1243" fmla="*/ 153966 h 299025"/>
                <a:gd name="connsiteX1244" fmla="*/ 66803 w 184504"/>
                <a:gd name="connsiteY1244" fmla="*/ 147922 h 299025"/>
                <a:gd name="connsiteX1245" fmla="*/ 66485 w 184504"/>
                <a:gd name="connsiteY1245" fmla="*/ 148240 h 299025"/>
                <a:gd name="connsiteX1246" fmla="*/ 66803 w 184504"/>
                <a:gd name="connsiteY1246" fmla="*/ 147922 h 299025"/>
                <a:gd name="connsiteX1247" fmla="*/ 66803 w 184504"/>
                <a:gd name="connsiteY1247" fmla="*/ 147604 h 299025"/>
                <a:gd name="connsiteX1248" fmla="*/ 67758 w 184504"/>
                <a:gd name="connsiteY1248" fmla="*/ 148240 h 299025"/>
                <a:gd name="connsiteX1249" fmla="*/ 71575 w 184504"/>
                <a:gd name="connsiteY1249" fmla="*/ 145377 h 299025"/>
                <a:gd name="connsiteX1250" fmla="*/ 71575 w 184504"/>
                <a:gd name="connsiteY1250" fmla="*/ 144741 h 299025"/>
                <a:gd name="connsiteX1251" fmla="*/ 68394 w 184504"/>
                <a:gd name="connsiteY1251" fmla="*/ 146331 h 299025"/>
                <a:gd name="connsiteX1252" fmla="*/ 66803 w 184504"/>
                <a:gd name="connsiteY1252" fmla="*/ 147604 h 299025"/>
                <a:gd name="connsiteX1253" fmla="*/ 76347 w 184504"/>
                <a:gd name="connsiteY1253" fmla="*/ 135834 h 299025"/>
                <a:gd name="connsiteX1254" fmla="*/ 76029 w 184504"/>
                <a:gd name="connsiteY1254" fmla="*/ 135516 h 299025"/>
                <a:gd name="connsiteX1255" fmla="*/ 72530 w 184504"/>
                <a:gd name="connsiteY1255" fmla="*/ 138379 h 299025"/>
                <a:gd name="connsiteX1256" fmla="*/ 71893 w 184504"/>
                <a:gd name="connsiteY1256" fmla="*/ 138379 h 299025"/>
                <a:gd name="connsiteX1257" fmla="*/ 71893 w 184504"/>
                <a:gd name="connsiteY1257" fmla="*/ 136788 h 299025"/>
                <a:gd name="connsiteX1258" fmla="*/ 73802 w 184504"/>
                <a:gd name="connsiteY1258" fmla="*/ 135516 h 299025"/>
                <a:gd name="connsiteX1259" fmla="*/ 73802 w 184504"/>
                <a:gd name="connsiteY1259" fmla="*/ 135198 h 299025"/>
                <a:gd name="connsiteX1260" fmla="*/ 76983 w 184504"/>
                <a:gd name="connsiteY1260" fmla="*/ 133289 h 299025"/>
                <a:gd name="connsiteX1261" fmla="*/ 77937 w 184504"/>
                <a:gd name="connsiteY1261" fmla="*/ 133289 h 299025"/>
                <a:gd name="connsiteX1262" fmla="*/ 76347 w 184504"/>
                <a:gd name="connsiteY1262" fmla="*/ 135834 h 299025"/>
                <a:gd name="connsiteX1263" fmla="*/ 73484 w 184504"/>
                <a:gd name="connsiteY1263" fmla="*/ 142514 h 299025"/>
                <a:gd name="connsiteX1264" fmla="*/ 73166 w 184504"/>
                <a:gd name="connsiteY1264" fmla="*/ 142832 h 299025"/>
                <a:gd name="connsiteX1265" fmla="*/ 74120 w 184504"/>
                <a:gd name="connsiteY1265" fmla="*/ 143468 h 299025"/>
                <a:gd name="connsiteX1266" fmla="*/ 74120 w 184504"/>
                <a:gd name="connsiteY1266" fmla="*/ 143150 h 299025"/>
                <a:gd name="connsiteX1267" fmla="*/ 73484 w 184504"/>
                <a:gd name="connsiteY1267" fmla="*/ 142514 h 299025"/>
                <a:gd name="connsiteX1268" fmla="*/ 78574 w 184504"/>
                <a:gd name="connsiteY1268" fmla="*/ 133607 h 299025"/>
                <a:gd name="connsiteX1269" fmla="*/ 78574 w 184504"/>
                <a:gd name="connsiteY1269" fmla="*/ 133289 h 299025"/>
                <a:gd name="connsiteX1270" fmla="*/ 78892 w 184504"/>
                <a:gd name="connsiteY1270" fmla="*/ 133607 h 299025"/>
                <a:gd name="connsiteX1271" fmla="*/ 78574 w 184504"/>
                <a:gd name="connsiteY1271" fmla="*/ 133607 h 299025"/>
                <a:gd name="connsiteX1272" fmla="*/ 79846 w 184504"/>
                <a:gd name="connsiteY1272" fmla="*/ 139015 h 299025"/>
                <a:gd name="connsiteX1273" fmla="*/ 80482 w 184504"/>
                <a:gd name="connsiteY1273" fmla="*/ 138379 h 299025"/>
                <a:gd name="connsiteX1274" fmla="*/ 80164 w 184504"/>
                <a:gd name="connsiteY1274" fmla="*/ 138061 h 299025"/>
                <a:gd name="connsiteX1275" fmla="*/ 79210 w 184504"/>
                <a:gd name="connsiteY1275" fmla="*/ 138379 h 299025"/>
                <a:gd name="connsiteX1276" fmla="*/ 79846 w 184504"/>
                <a:gd name="connsiteY1276" fmla="*/ 139015 h 299025"/>
                <a:gd name="connsiteX1277" fmla="*/ 80800 w 184504"/>
                <a:gd name="connsiteY1277" fmla="*/ 131380 h 299025"/>
                <a:gd name="connsiteX1278" fmla="*/ 81755 w 184504"/>
                <a:gd name="connsiteY1278" fmla="*/ 131698 h 299025"/>
                <a:gd name="connsiteX1279" fmla="*/ 81755 w 184504"/>
                <a:gd name="connsiteY1279" fmla="*/ 132016 h 299025"/>
                <a:gd name="connsiteX1280" fmla="*/ 80164 w 184504"/>
                <a:gd name="connsiteY1280" fmla="*/ 132653 h 299025"/>
                <a:gd name="connsiteX1281" fmla="*/ 79846 w 184504"/>
                <a:gd name="connsiteY1281" fmla="*/ 132653 h 299025"/>
                <a:gd name="connsiteX1282" fmla="*/ 80800 w 184504"/>
                <a:gd name="connsiteY1282" fmla="*/ 131380 h 299025"/>
                <a:gd name="connsiteX1283" fmla="*/ 81755 w 184504"/>
                <a:gd name="connsiteY1283" fmla="*/ 137106 h 299025"/>
                <a:gd name="connsiteX1284" fmla="*/ 81437 w 184504"/>
                <a:gd name="connsiteY1284" fmla="*/ 137742 h 299025"/>
                <a:gd name="connsiteX1285" fmla="*/ 81755 w 184504"/>
                <a:gd name="connsiteY1285" fmla="*/ 137742 h 299025"/>
                <a:gd name="connsiteX1286" fmla="*/ 81755 w 184504"/>
                <a:gd name="connsiteY1286" fmla="*/ 137106 h 299025"/>
                <a:gd name="connsiteX1287" fmla="*/ 85572 w 184504"/>
                <a:gd name="connsiteY1287" fmla="*/ 129790 h 299025"/>
                <a:gd name="connsiteX1288" fmla="*/ 84936 w 184504"/>
                <a:gd name="connsiteY1288" fmla="*/ 129471 h 299025"/>
                <a:gd name="connsiteX1289" fmla="*/ 86208 w 184504"/>
                <a:gd name="connsiteY1289" fmla="*/ 127245 h 299025"/>
                <a:gd name="connsiteX1290" fmla="*/ 86527 w 184504"/>
                <a:gd name="connsiteY1290" fmla="*/ 127563 h 299025"/>
                <a:gd name="connsiteX1291" fmla="*/ 87163 w 184504"/>
                <a:gd name="connsiteY1291" fmla="*/ 127881 h 299025"/>
                <a:gd name="connsiteX1292" fmla="*/ 87163 w 184504"/>
                <a:gd name="connsiteY1292" fmla="*/ 128517 h 299025"/>
                <a:gd name="connsiteX1293" fmla="*/ 86208 w 184504"/>
                <a:gd name="connsiteY1293" fmla="*/ 129471 h 299025"/>
                <a:gd name="connsiteX1294" fmla="*/ 85572 w 184504"/>
                <a:gd name="connsiteY1294" fmla="*/ 129790 h 299025"/>
                <a:gd name="connsiteX1295" fmla="*/ 85572 w 184504"/>
                <a:gd name="connsiteY1295" fmla="*/ 133925 h 299025"/>
                <a:gd name="connsiteX1296" fmla="*/ 85572 w 184504"/>
                <a:gd name="connsiteY1296" fmla="*/ 134243 h 299025"/>
                <a:gd name="connsiteX1297" fmla="*/ 86527 w 184504"/>
                <a:gd name="connsiteY1297" fmla="*/ 134561 h 299025"/>
                <a:gd name="connsiteX1298" fmla="*/ 89071 w 184504"/>
                <a:gd name="connsiteY1298" fmla="*/ 132971 h 299025"/>
                <a:gd name="connsiteX1299" fmla="*/ 89071 w 184504"/>
                <a:gd name="connsiteY1299" fmla="*/ 132653 h 299025"/>
                <a:gd name="connsiteX1300" fmla="*/ 86527 w 184504"/>
                <a:gd name="connsiteY1300" fmla="*/ 133607 h 299025"/>
                <a:gd name="connsiteX1301" fmla="*/ 85572 w 184504"/>
                <a:gd name="connsiteY1301" fmla="*/ 133925 h 299025"/>
                <a:gd name="connsiteX1302" fmla="*/ 89071 w 184504"/>
                <a:gd name="connsiteY1302" fmla="*/ 134561 h 299025"/>
                <a:gd name="connsiteX1303" fmla="*/ 89389 w 184504"/>
                <a:gd name="connsiteY1303" fmla="*/ 134561 h 299025"/>
                <a:gd name="connsiteX1304" fmla="*/ 89708 w 184504"/>
                <a:gd name="connsiteY1304" fmla="*/ 134879 h 299025"/>
                <a:gd name="connsiteX1305" fmla="*/ 89389 w 184504"/>
                <a:gd name="connsiteY1305" fmla="*/ 134243 h 299025"/>
                <a:gd name="connsiteX1306" fmla="*/ 89071 w 184504"/>
                <a:gd name="connsiteY1306" fmla="*/ 134561 h 299025"/>
                <a:gd name="connsiteX1307" fmla="*/ 90662 w 184504"/>
                <a:gd name="connsiteY1307" fmla="*/ 125654 h 299025"/>
                <a:gd name="connsiteX1308" fmla="*/ 90980 w 184504"/>
                <a:gd name="connsiteY1308" fmla="*/ 125018 h 299025"/>
                <a:gd name="connsiteX1309" fmla="*/ 91298 w 184504"/>
                <a:gd name="connsiteY1309" fmla="*/ 124700 h 299025"/>
                <a:gd name="connsiteX1310" fmla="*/ 91298 w 184504"/>
                <a:gd name="connsiteY1310" fmla="*/ 125018 h 299025"/>
                <a:gd name="connsiteX1311" fmla="*/ 90980 w 184504"/>
                <a:gd name="connsiteY1311" fmla="*/ 125654 h 299025"/>
                <a:gd name="connsiteX1312" fmla="*/ 90662 w 184504"/>
                <a:gd name="connsiteY1312" fmla="*/ 125654 h 299025"/>
                <a:gd name="connsiteX1313" fmla="*/ 96388 w 184504"/>
                <a:gd name="connsiteY1313" fmla="*/ 122473 h 299025"/>
                <a:gd name="connsiteX1314" fmla="*/ 94797 w 184504"/>
                <a:gd name="connsiteY1314" fmla="*/ 123427 h 299025"/>
                <a:gd name="connsiteX1315" fmla="*/ 94797 w 184504"/>
                <a:gd name="connsiteY1315" fmla="*/ 124382 h 299025"/>
                <a:gd name="connsiteX1316" fmla="*/ 93525 w 184504"/>
                <a:gd name="connsiteY1316" fmla="*/ 123109 h 299025"/>
                <a:gd name="connsiteX1317" fmla="*/ 93525 w 184504"/>
                <a:gd name="connsiteY1317" fmla="*/ 122473 h 299025"/>
                <a:gd name="connsiteX1318" fmla="*/ 96070 w 184504"/>
                <a:gd name="connsiteY1318" fmla="*/ 121837 h 299025"/>
                <a:gd name="connsiteX1319" fmla="*/ 97024 w 184504"/>
                <a:gd name="connsiteY1319" fmla="*/ 122155 h 299025"/>
                <a:gd name="connsiteX1320" fmla="*/ 96706 w 184504"/>
                <a:gd name="connsiteY1320" fmla="*/ 122473 h 299025"/>
                <a:gd name="connsiteX1321" fmla="*/ 96388 w 184504"/>
                <a:gd name="connsiteY1321" fmla="*/ 122473 h 299025"/>
                <a:gd name="connsiteX1322" fmla="*/ 95752 w 184504"/>
                <a:gd name="connsiteY1322" fmla="*/ 122791 h 299025"/>
                <a:gd name="connsiteX1323" fmla="*/ 95752 w 184504"/>
                <a:gd name="connsiteY1323" fmla="*/ 123746 h 299025"/>
                <a:gd name="connsiteX1324" fmla="*/ 95434 w 184504"/>
                <a:gd name="connsiteY1324" fmla="*/ 123427 h 299025"/>
                <a:gd name="connsiteX1325" fmla="*/ 95752 w 184504"/>
                <a:gd name="connsiteY1325" fmla="*/ 122791 h 299025"/>
                <a:gd name="connsiteX1326" fmla="*/ 96388 w 184504"/>
                <a:gd name="connsiteY1326" fmla="*/ 15906 h 299025"/>
                <a:gd name="connsiteX1327" fmla="*/ 96706 w 184504"/>
                <a:gd name="connsiteY1327" fmla="*/ 15269 h 299025"/>
                <a:gd name="connsiteX1328" fmla="*/ 96388 w 184504"/>
                <a:gd name="connsiteY1328" fmla="*/ 15906 h 299025"/>
                <a:gd name="connsiteX1329" fmla="*/ 97342 w 184504"/>
                <a:gd name="connsiteY1329" fmla="*/ 126290 h 299025"/>
                <a:gd name="connsiteX1330" fmla="*/ 97342 w 184504"/>
                <a:gd name="connsiteY1330" fmla="*/ 126927 h 299025"/>
                <a:gd name="connsiteX1331" fmla="*/ 97661 w 184504"/>
                <a:gd name="connsiteY1331" fmla="*/ 126608 h 299025"/>
                <a:gd name="connsiteX1332" fmla="*/ 97342 w 184504"/>
                <a:gd name="connsiteY1332" fmla="*/ 126290 h 299025"/>
                <a:gd name="connsiteX1333" fmla="*/ 102750 w 184504"/>
                <a:gd name="connsiteY1333" fmla="*/ 127245 h 299025"/>
                <a:gd name="connsiteX1334" fmla="*/ 103068 w 184504"/>
                <a:gd name="connsiteY1334" fmla="*/ 126290 h 299025"/>
                <a:gd name="connsiteX1335" fmla="*/ 102432 w 184504"/>
                <a:gd name="connsiteY1335" fmla="*/ 125972 h 299025"/>
                <a:gd name="connsiteX1336" fmla="*/ 102432 w 184504"/>
                <a:gd name="connsiteY1336" fmla="*/ 126927 h 299025"/>
                <a:gd name="connsiteX1337" fmla="*/ 102750 w 184504"/>
                <a:gd name="connsiteY1337" fmla="*/ 127245 h 299025"/>
                <a:gd name="connsiteX1338" fmla="*/ 110067 w 184504"/>
                <a:gd name="connsiteY1338" fmla="*/ 113884 h 299025"/>
                <a:gd name="connsiteX1339" fmla="*/ 110067 w 184504"/>
                <a:gd name="connsiteY1339" fmla="*/ 113566 h 299025"/>
                <a:gd name="connsiteX1340" fmla="*/ 112294 w 184504"/>
                <a:gd name="connsiteY1340" fmla="*/ 113248 h 299025"/>
                <a:gd name="connsiteX1341" fmla="*/ 112294 w 184504"/>
                <a:gd name="connsiteY1341" fmla="*/ 113566 h 299025"/>
                <a:gd name="connsiteX1342" fmla="*/ 111021 w 184504"/>
                <a:gd name="connsiteY1342" fmla="*/ 115475 h 299025"/>
                <a:gd name="connsiteX1343" fmla="*/ 110067 w 184504"/>
                <a:gd name="connsiteY1343" fmla="*/ 113884 h 299025"/>
                <a:gd name="connsiteX1344" fmla="*/ 111339 w 184504"/>
                <a:gd name="connsiteY1344" fmla="*/ 8907 h 299025"/>
                <a:gd name="connsiteX1345" fmla="*/ 111657 w 184504"/>
                <a:gd name="connsiteY1345" fmla="*/ 9225 h 299025"/>
                <a:gd name="connsiteX1346" fmla="*/ 111657 w 184504"/>
                <a:gd name="connsiteY1346" fmla="*/ 8589 h 299025"/>
                <a:gd name="connsiteX1347" fmla="*/ 111339 w 184504"/>
                <a:gd name="connsiteY1347" fmla="*/ 8907 h 299025"/>
                <a:gd name="connsiteX1348" fmla="*/ 118019 w 184504"/>
                <a:gd name="connsiteY1348" fmla="*/ 110067 h 299025"/>
                <a:gd name="connsiteX1349" fmla="*/ 118974 w 184504"/>
                <a:gd name="connsiteY1349" fmla="*/ 110385 h 299025"/>
                <a:gd name="connsiteX1350" fmla="*/ 118656 w 184504"/>
                <a:gd name="connsiteY1350" fmla="*/ 111021 h 299025"/>
                <a:gd name="connsiteX1351" fmla="*/ 118019 w 184504"/>
                <a:gd name="connsiteY1351" fmla="*/ 110703 h 299025"/>
                <a:gd name="connsiteX1352" fmla="*/ 117383 w 184504"/>
                <a:gd name="connsiteY1352" fmla="*/ 112293 h 299025"/>
                <a:gd name="connsiteX1353" fmla="*/ 117383 w 184504"/>
                <a:gd name="connsiteY1353" fmla="*/ 112930 h 299025"/>
                <a:gd name="connsiteX1354" fmla="*/ 116429 w 184504"/>
                <a:gd name="connsiteY1354" fmla="*/ 112930 h 299025"/>
                <a:gd name="connsiteX1355" fmla="*/ 117065 w 184504"/>
                <a:gd name="connsiteY1355" fmla="*/ 112293 h 299025"/>
                <a:gd name="connsiteX1356" fmla="*/ 116747 w 184504"/>
                <a:gd name="connsiteY1356" fmla="*/ 111021 h 299025"/>
                <a:gd name="connsiteX1357" fmla="*/ 117383 w 184504"/>
                <a:gd name="connsiteY1357" fmla="*/ 110385 h 299025"/>
                <a:gd name="connsiteX1358" fmla="*/ 118019 w 184504"/>
                <a:gd name="connsiteY1358" fmla="*/ 110067 h 299025"/>
                <a:gd name="connsiteX1359" fmla="*/ 122473 w 184504"/>
                <a:gd name="connsiteY1359" fmla="*/ 108794 h 299025"/>
                <a:gd name="connsiteX1360" fmla="*/ 121201 w 184504"/>
                <a:gd name="connsiteY1360" fmla="*/ 108794 h 299025"/>
                <a:gd name="connsiteX1361" fmla="*/ 122155 w 184504"/>
                <a:gd name="connsiteY1361" fmla="*/ 107840 h 299025"/>
                <a:gd name="connsiteX1362" fmla="*/ 122473 w 184504"/>
                <a:gd name="connsiteY1362" fmla="*/ 108158 h 299025"/>
                <a:gd name="connsiteX1363" fmla="*/ 122473 w 184504"/>
                <a:gd name="connsiteY1363" fmla="*/ 108794 h 299025"/>
                <a:gd name="connsiteX1364" fmla="*/ 123428 w 184504"/>
                <a:gd name="connsiteY1364" fmla="*/ 107840 h 299025"/>
                <a:gd name="connsiteX1365" fmla="*/ 123746 w 184504"/>
                <a:gd name="connsiteY1365" fmla="*/ 107204 h 299025"/>
                <a:gd name="connsiteX1366" fmla="*/ 123746 w 184504"/>
                <a:gd name="connsiteY1366" fmla="*/ 107840 h 299025"/>
                <a:gd name="connsiteX1367" fmla="*/ 123428 w 184504"/>
                <a:gd name="connsiteY1367" fmla="*/ 108158 h 299025"/>
                <a:gd name="connsiteX1368" fmla="*/ 123428 w 184504"/>
                <a:gd name="connsiteY1368" fmla="*/ 107840 h 299025"/>
                <a:gd name="connsiteX1369" fmla="*/ 125018 w 184504"/>
                <a:gd name="connsiteY1369" fmla="*/ 108158 h 299025"/>
                <a:gd name="connsiteX1370" fmla="*/ 125972 w 184504"/>
                <a:gd name="connsiteY1370" fmla="*/ 107840 h 299025"/>
                <a:gd name="connsiteX1371" fmla="*/ 125018 w 184504"/>
                <a:gd name="connsiteY1371" fmla="*/ 108476 h 299025"/>
                <a:gd name="connsiteX1372" fmla="*/ 125018 w 184504"/>
                <a:gd name="connsiteY1372" fmla="*/ 108158 h 299025"/>
                <a:gd name="connsiteX1373" fmla="*/ 157783 w 184504"/>
                <a:gd name="connsiteY1373" fmla="*/ 102114 h 299025"/>
                <a:gd name="connsiteX1374" fmla="*/ 158102 w 184504"/>
                <a:gd name="connsiteY1374" fmla="*/ 101796 h 299025"/>
                <a:gd name="connsiteX1375" fmla="*/ 157783 w 184504"/>
                <a:gd name="connsiteY1375" fmla="*/ 101478 h 299025"/>
                <a:gd name="connsiteX1376" fmla="*/ 157147 w 184504"/>
                <a:gd name="connsiteY1376" fmla="*/ 101796 h 299025"/>
                <a:gd name="connsiteX1377" fmla="*/ 158102 w 184504"/>
                <a:gd name="connsiteY1377" fmla="*/ 103068 h 299025"/>
                <a:gd name="connsiteX1378" fmla="*/ 158102 w 184504"/>
                <a:gd name="connsiteY1378" fmla="*/ 103704 h 299025"/>
                <a:gd name="connsiteX1379" fmla="*/ 158420 w 184504"/>
                <a:gd name="connsiteY1379" fmla="*/ 103068 h 299025"/>
                <a:gd name="connsiteX1380" fmla="*/ 157783 w 184504"/>
                <a:gd name="connsiteY1380" fmla="*/ 102114 h 299025"/>
                <a:gd name="connsiteX1381" fmla="*/ 159374 w 184504"/>
                <a:gd name="connsiteY1381" fmla="*/ 105931 h 299025"/>
                <a:gd name="connsiteX1382" fmla="*/ 158420 w 184504"/>
                <a:gd name="connsiteY1382" fmla="*/ 105613 h 299025"/>
                <a:gd name="connsiteX1383" fmla="*/ 159374 w 184504"/>
                <a:gd name="connsiteY1383" fmla="*/ 106249 h 299025"/>
                <a:gd name="connsiteX1384" fmla="*/ 159374 w 184504"/>
                <a:gd name="connsiteY1384" fmla="*/ 105931 h 299025"/>
                <a:gd name="connsiteX1385" fmla="*/ 160646 w 184504"/>
                <a:gd name="connsiteY1385" fmla="*/ 98933 h 299025"/>
                <a:gd name="connsiteX1386" fmla="*/ 159692 w 184504"/>
                <a:gd name="connsiteY1386" fmla="*/ 98615 h 299025"/>
                <a:gd name="connsiteX1387" fmla="*/ 160010 w 184504"/>
                <a:gd name="connsiteY1387" fmla="*/ 99887 h 299025"/>
                <a:gd name="connsiteX1388" fmla="*/ 160646 w 184504"/>
                <a:gd name="connsiteY1388" fmla="*/ 98933 h 299025"/>
                <a:gd name="connsiteX1389" fmla="*/ 160646 w 184504"/>
                <a:gd name="connsiteY1389" fmla="*/ 104659 h 299025"/>
                <a:gd name="connsiteX1390" fmla="*/ 159692 w 184504"/>
                <a:gd name="connsiteY1390" fmla="*/ 104977 h 299025"/>
                <a:gd name="connsiteX1391" fmla="*/ 160646 w 184504"/>
                <a:gd name="connsiteY1391" fmla="*/ 104977 h 299025"/>
                <a:gd name="connsiteX1392" fmla="*/ 160646 w 184504"/>
                <a:gd name="connsiteY1392" fmla="*/ 104659 h 299025"/>
                <a:gd name="connsiteX1393" fmla="*/ 160010 w 184504"/>
                <a:gd name="connsiteY1393" fmla="*/ 102114 h 299025"/>
                <a:gd name="connsiteX1394" fmla="*/ 160646 w 184504"/>
                <a:gd name="connsiteY1394" fmla="*/ 102432 h 299025"/>
                <a:gd name="connsiteX1395" fmla="*/ 160010 w 184504"/>
                <a:gd name="connsiteY1395" fmla="*/ 102114 h 299025"/>
                <a:gd name="connsiteX1396" fmla="*/ 162555 w 184504"/>
                <a:gd name="connsiteY1396" fmla="*/ 100523 h 299025"/>
                <a:gd name="connsiteX1397" fmla="*/ 161601 w 184504"/>
                <a:gd name="connsiteY1397" fmla="*/ 101160 h 299025"/>
                <a:gd name="connsiteX1398" fmla="*/ 162237 w 184504"/>
                <a:gd name="connsiteY1398" fmla="*/ 102114 h 299025"/>
                <a:gd name="connsiteX1399" fmla="*/ 162555 w 184504"/>
                <a:gd name="connsiteY1399" fmla="*/ 100523 h 299025"/>
                <a:gd name="connsiteX1400" fmla="*/ 165418 w 184504"/>
                <a:gd name="connsiteY1400" fmla="*/ 99251 h 299025"/>
                <a:gd name="connsiteX1401" fmla="*/ 164782 w 184504"/>
                <a:gd name="connsiteY1401" fmla="*/ 99569 h 299025"/>
                <a:gd name="connsiteX1402" fmla="*/ 166373 w 184504"/>
                <a:gd name="connsiteY1402" fmla="*/ 99569 h 299025"/>
                <a:gd name="connsiteX1403" fmla="*/ 165418 w 184504"/>
                <a:gd name="connsiteY1403" fmla="*/ 99251 h 299025"/>
                <a:gd name="connsiteX1404" fmla="*/ 166055 w 184504"/>
                <a:gd name="connsiteY1404" fmla="*/ 97342 h 299025"/>
                <a:gd name="connsiteX1405" fmla="*/ 167009 w 184504"/>
                <a:gd name="connsiteY1405" fmla="*/ 97342 h 299025"/>
                <a:gd name="connsiteX1406" fmla="*/ 167009 w 184504"/>
                <a:gd name="connsiteY1406" fmla="*/ 96706 h 299025"/>
                <a:gd name="connsiteX1407" fmla="*/ 166055 w 184504"/>
                <a:gd name="connsiteY1407" fmla="*/ 97342 h 299025"/>
                <a:gd name="connsiteX1408" fmla="*/ 167009 w 184504"/>
                <a:gd name="connsiteY1408" fmla="*/ 102432 h 299025"/>
                <a:gd name="connsiteX1409" fmla="*/ 166691 w 184504"/>
                <a:gd name="connsiteY1409" fmla="*/ 102114 h 299025"/>
                <a:gd name="connsiteX1410" fmla="*/ 166373 w 184504"/>
                <a:gd name="connsiteY1410" fmla="*/ 102432 h 299025"/>
                <a:gd name="connsiteX1411" fmla="*/ 166373 w 184504"/>
                <a:gd name="connsiteY1411" fmla="*/ 103068 h 299025"/>
                <a:gd name="connsiteX1412" fmla="*/ 167009 w 184504"/>
                <a:gd name="connsiteY1412" fmla="*/ 103068 h 299025"/>
                <a:gd name="connsiteX1413" fmla="*/ 167009 w 184504"/>
                <a:gd name="connsiteY1413" fmla="*/ 102432 h 299025"/>
                <a:gd name="connsiteX1414" fmla="*/ 175916 w 184504"/>
                <a:gd name="connsiteY1414" fmla="*/ 93525 h 299025"/>
                <a:gd name="connsiteX1415" fmla="*/ 176870 w 184504"/>
                <a:gd name="connsiteY1415" fmla="*/ 93843 h 299025"/>
                <a:gd name="connsiteX1416" fmla="*/ 176870 w 184504"/>
                <a:gd name="connsiteY1416" fmla="*/ 94161 h 299025"/>
                <a:gd name="connsiteX1417" fmla="*/ 176552 w 184504"/>
                <a:gd name="connsiteY1417" fmla="*/ 94161 h 299025"/>
                <a:gd name="connsiteX1418" fmla="*/ 176234 w 184504"/>
                <a:gd name="connsiteY1418" fmla="*/ 94797 h 299025"/>
                <a:gd name="connsiteX1419" fmla="*/ 176870 w 184504"/>
                <a:gd name="connsiteY1419" fmla="*/ 95752 h 299025"/>
                <a:gd name="connsiteX1420" fmla="*/ 170508 w 184504"/>
                <a:gd name="connsiteY1420" fmla="*/ 97978 h 299025"/>
                <a:gd name="connsiteX1421" fmla="*/ 170190 w 184504"/>
                <a:gd name="connsiteY1421" fmla="*/ 97024 h 299025"/>
                <a:gd name="connsiteX1422" fmla="*/ 172735 w 184504"/>
                <a:gd name="connsiteY1422" fmla="*/ 96706 h 299025"/>
                <a:gd name="connsiteX1423" fmla="*/ 173053 w 184504"/>
                <a:gd name="connsiteY1423" fmla="*/ 96388 h 299025"/>
                <a:gd name="connsiteX1424" fmla="*/ 172735 w 184504"/>
                <a:gd name="connsiteY1424" fmla="*/ 95752 h 299025"/>
                <a:gd name="connsiteX1425" fmla="*/ 173053 w 184504"/>
                <a:gd name="connsiteY1425" fmla="*/ 94797 h 299025"/>
                <a:gd name="connsiteX1426" fmla="*/ 172417 w 184504"/>
                <a:gd name="connsiteY1426" fmla="*/ 94161 h 299025"/>
                <a:gd name="connsiteX1427" fmla="*/ 172417 w 184504"/>
                <a:gd name="connsiteY1427" fmla="*/ 93525 h 299025"/>
                <a:gd name="connsiteX1428" fmla="*/ 174007 w 184504"/>
                <a:gd name="connsiteY1428" fmla="*/ 92889 h 299025"/>
                <a:gd name="connsiteX1429" fmla="*/ 174325 w 184504"/>
                <a:gd name="connsiteY1429" fmla="*/ 93525 h 299025"/>
                <a:gd name="connsiteX1430" fmla="*/ 174643 w 184504"/>
                <a:gd name="connsiteY1430" fmla="*/ 94479 h 299025"/>
                <a:gd name="connsiteX1431" fmla="*/ 175916 w 184504"/>
                <a:gd name="connsiteY1431" fmla="*/ 93525 h 299025"/>
                <a:gd name="connsiteX1432" fmla="*/ 171144 w 184504"/>
                <a:gd name="connsiteY1432" fmla="*/ 94161 h 299025"/>
                <a:gd name="connsiteX1433" fmla="*/ 170826 w 184504"/>
                <a:gd name="connsiteY1433" fmla="*/ 94479 h 299025"/>
                <a:gd name="connsiteX1434" fmla="*/ 170508 w 184504"/>
                <a:gd name="connsiteY1434" fmla="*/ 94161 h 299025"/>
                <a:gd name="connsiteX1435" fmla="*/ 171144 w 184504"/>
                <a:gd name="connsiteY1435" fmla="*/ 94161 h 299025"/>
                <a:gd name="connsiteX1436" fmla="*/ 171144 w 184504"/>
                <a:gd name="connsiteY1436" fmla="*/ 95115 h 299025"/>
                <a:gd name="connsiteX1437" fmla="*/ 172098 w 184504"/>
                <a:gd name="connsiteY1437" fmla="*/ 95752 h 299025"/>
                <a:gd name="connsiteX1438" fmla="*/ 172417 w 184504"/>
                <a:gd name="connsiteY1438" fmla="*/ 96388 h 299025"/>
                <a:gd name="connsiteX1439" fmla="*/ 171780 w 184504"/>
                <a:gd name="connsiteY1439" fmla="*/ 96070 h 299025"/>
                <a:gd name="connsiteX1440" fmla="*/ 170826 w 184504"/>
                <a:gd name="connsiteY1440" fmla="*/ 95434 h 299025"/>
                <a:gd name="connsiteX1441" fmla="*/ 171144 w 184504"/>
                <a:gd name="connsiteY1441" fmla="*/ 95115 h 299025"/>
                <a:gd name="connsiteX1442" fmla="*/ 171462 w 184504"/>
                <a:gd name="connsiteY1442" fmla="*/ 100841 h 299025"/>
                <a:gd name="connsiteX1443" fmla="*/ 170826 w 184504"/>
                <a:gd name="connsiteY1443" fmla="*/ 102114 h 299025"/>
                <a:gd name="connsiteX1444" fmla="*/ 171144 w 184504"/>
                <a:gd name="connsiteY1444" fmla="*/ 102114 h 299025"/>
                <a:gd name="connsiteX1445" fmla="*/ 172735 w 184504"/>
                <a:gd name="connsiteY1445" fmla="*/ 101478 h 299025"/>
                <a:gd name="connsiteX1446" fmla="*/ 171462 w 184504"/>
                <a:gd name="connsiteY1446" fmla="*/ 100841 h 299025"/>
                <a:gd name="connsiteX1447" fmla="*/ 175598 w 184504"/>
                <a:gd name="connsiteY1447" fmla="*/ 92889 h 299025"/>
                <a:gd name="connsiteX1448" fmla="*/ 176552 w 184504"/>
                <a:gd name="connsiteY1448" fmla="*/ 92571 h 299025"/>
                <a:gd name="connsiteX1449" fmla="*/ 176870 w 184504"/>
                <a:gd name="connsiteY1449" fmla="*/ 92889 h 299025"/>
                <a:gd name="connsiteX1450" fmla="*/ 176870 w 184504"/>
                <a:gd name="connsiteY1450" fmla="*/ 93207 h 299025"/>
                <a:gd name="connsiteX1451" fmla="*/ 176552 w 184504"/>
                <a:gd name="connsiteY1451" fmla="*/ 92889 h 299025"/>
                <a:gd name="connsiteX1452" fmla="*/ 175916 w 184504"/>
                <a:gd name="connsiteY1452" fmla="*/ 93207 h 299025"/>
                <a:gd name="connsiteX1453" fmla="*/ 175598 w 184504"/>
                <a:gd name="connsiteY1453" fmla="*/ 92889 h 299025"/>
                <a:gd name="connsiteX1454" fmla="*/ 185777 w 184504"/>
                <a:gd name="connsiteY1454" fmla="*/ 91616 h 299025"/>
                <a:gd name="connsiteX1455" fmla="*/ 185141 w 184504"/>
                <a:gd name="connsiteY1455" fmla="*/ 91298 h 299025"/>
                <a:gd name="connsiteX1456" fmla="*/ 182278 w 184504"/>
                <a:gd name="connsiteY1456" fmla="*/ 91934 h 299025"/>
                <a:gd name="connsiteX1457" fmla="*/ 181006 w 184504"/>
                <a:gd name="connsiteY1457" fmla="*/ 93525 h 299025"/>
                <a:gd name="connsiteX1458" fmla="*/ 180688 w 184504"/>
                <a:gd name="connsiteY1458" fmla="*/ 93843 h 299025"/>
                <a:gd name="connsiteX1459" fmla="*/ 181006 w 184504"/>
                <a:gd name="connsiteY1459" fmla="*/ 93843 h 299025"/>
                <a:gd name="connsiteX1460" fmla="*/ 180370 w 184504"/>
                <a:gd name="connsiteY1460" fmla="*/ 95115 h 299025"/>
                <a:gd name="connsiteX1461" fmla="*/ 180370 w 184504"/>
                <a:gd name="connsiteY1461" fmla="*/ 94797 h 299025"/>
                <a:gd name="connsiteX1462" fmla="*/ 179733 w 184504"/>
                <a:gd name="connsiteY1462" fmla="*/ 94161 h 299025"/>
                <a:gd name="connsiteX1463" fmla="*/ 176870 w 184504"/>
                <a:gd name="connsiteY1463" fmla="*/ 93525 h 299025"/>
                <a:gd name="connsiteX1464" fmla="*/ 178779 w 184504"/>
                <a:gd name="connsiteY1464" fmla="*/ 93525 h 299025"/>
                <a:gd name="connsiteX1465" fmla="*/ 179415 w 184504"/>
                <a:gd name="connsiteY1465" fmla="*/ 93207 h 299025"/>
                <a:gd name="connsiteX1466" fmla="*/ 179097 w 184504"/>
                <a:gd name="connsiteY1466" fmla="*/ 92571 h 299025"/>
                <a:gd name="connsiteX1467" fmla="*/ 185777 w 184504"/>
                <a:gd name="connsiteY1467" fmla="*/ 90980 h 299025"/>
                <a:gd name="connsiteX1468" fmla="*/ 185777 w 184504"/>
                <a:gd name="connsiteY1468" fmla="*/ 91616 h 299025"/>
                <a:gd name="connsiteX1469" fmla="*/ 180051 w 184504"/>
                <a:gd name="connsiteY1469" fmla="*/ 90026 h 299025"/>
                <a:gd name="connsiteX1470" fmla="*/ 179733 w 184504"/>
                <a:gd name="connsiteY1470" fmla="*/ 90026 h 299025"/>
                <a:gd name="connsiteX1471" fmla="*/ 180051 w 184504"/>
                <a:gd name="connsiteY1471" fmla="*/ 89708 h 299025"/>
                <a:gd name="connsiteX1472" fmla="*/ 180051 w 184504"/>
                <a:gd name="connsiteY1472" fmla="*/ 90026 h 299025"/>
                <a:gd name="connsiteX1473" fmla="*/ 185777 w 184504"/>
                <a:gd name="connsiteY1473" fmla="*/ 93843 h 299025"/>
                <a:gd name="connsiteX1474" fmla="*/ 183551 w 184504"/>
                <a:gd name="connsiteY1474" fmla="*/ 94479 h 299025"/>
                <a:gd name="connsiteX1475" fmla="*/ 185141 w 184504"/>
                <a:gd name="connsiteY1475" fmla="*/ 93207 h 299025"/>
                <a:gd name="connsiteX1476" fmla="*/ 185777 w 184504"/>
                <a:gd name="connsiteY1476" fmla="*/ 93843 h 299025"/>
                <a:gd name="connsiteX1477" fmla="*/ 187686 w 184504"/>
                <a:gd name="connsiteY1477" fmla="*/ 90662 h 299025"/>
                <a:gd name="connsiteX1478" fmla="*/ 186413 w 184504"/>
                <a:gd name="connsiteY1478" fmla="*/ 90662 h 299025"/>
                <a:gd name="connsiteX1479" fmla="*/ 187368 w 184504"/>
                <a:gd name="connsiteY1479" fmla="*/ 90026 h 299025"/>
                <a:gd name="connsiteX1480" fmla="*/ 187686 w 184504"/>
                <a:gd name="connsiteY1480" fmla="*/ 90026 h 299025"/>
                <a:gd name="connsiteX1481" fmla="*/ 188004 w 184504"/>
                <a:gd name="connsiteY1481" fmla="*/ 90344 h 299025"/>
                <a:gd name="connsiteX1482" fmla="*/ 187686 w 184504"/>
                <a:gd name="connsiteY1482" fmla="*/ 90662 h 299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</a:cxnLst>
              <a:rect l="l" t="t" r="r" b="b"/>
              <a:pathLst>
                <a:path w="184504" h="299025">
                  <a:moveTo>
                    <a:pt x="123746" y="53125"/>
                  </a:moveTo>
                  <a:lnTo>
                    <a:pt x="122791" y="53125"/>
                  </a:lnTo>
                  <a:cubicBezTo>
                    <a:pt x="122473" y="53125"/>
                    <a:pt x="122155" y="53125"/>
                    <a:pt x="122155" y="53443"/>
                  </a:cubicBezTo>
                  <a:cubicBezTo>
                    <a:pt x="122791" y="52807"/>
                    <a:pt x="116111" y="59169"/>
                    <a:pt x="115157" y="61714"/>
                  </a:cubicBezTo>
                  <a:cubicBezTo>
                    <a:pt x="115475" y="61077"/>
                    <a:pt x="112612" y="67440"/>
                    <a:pt x="108476" y="69666"/>
                  </a:cubicBezTo>
                  <a:cubicBezTo>
                    <a:pt x="104977" y="71257"/>
                    <a:pt x="105931" y="72848"/>
                    <a:pt x="105295" y="72848"/>
                  </a:cubicBezTo>
                  <a:lnTo>
                    <a:pt x="102114" y="76029"/>
                  </a:lnTo>
                  <a:cubicBezTo>
                    <a:pt x="101160" y="78574"/>
                    <a:pt x="101160" y="78892"/>
                    <a:pt x="97661" y="81437"/>
                  </a:cubicBezTo>
                  <a:lnTo>
                    <a:pt x="97342" y="81119"/>
                  </a:lnTo>
                  <a:cubicBezTo>
                    <a:pt x="96070" y="82391"/>
                    <a:pt x="92889" y="84618"/>
                    <a:pt x="90344" y="88435"/>
                  </a:cubicBezTo>
                  <a:lnTo>
                    <a:pt x="89708" y="88435"/>
                  </a:lnTo>
                  <a:cubicBezTo>
                    <a:pt x="89389" y="88753"/>
                    <a:pt x="89389" y="89071"/>
                    <a:pt x="89389" y="89389"/>
                  </a:cubicBezTo>
                  <a:cubicBezTo>
                    <a:pt x="89389" y="89708"/>
                    <a:pt x="89389" y="89708"/>
                    <a:pt x="89708" y="90026"/>
                  </a:cubicBezTo>
                  <a:lnTo>
                    <a:pt x="87799" y="90980"/>
                  </a:lnTo>
                  <a:cubicBezTo>
                    <a:pt x="87481" y="90980"/>
                    <a:pt x="87481" y="90980"/>
                    <a:pt x="86845" y="90662"/>
                  </a:cubicBezTo>
                  <a:cubicBezTo>
                    <a:pt x="85890" y="92889"/>
                    <a:pt x="80800" y="95752"/>
                    <a:pt x="80800" y="98615"/>
                  </a:cubicBezTo>
                  <a:lnTo>
                    <a:pt x="79210" y="98615"/>
                  </a:lnTo>
                  <a:cubicBezTo>
                    <a:pt x="79210" y="98615"/>
                    <a:pt x="75393" y="99251"/>
                    <a:pt x="67440" y="107204"/>
                  </a:cubicBezTo>
                  <a:lnTo>
                    <a:pt x="67122" y="107204"/>
                  </a:lnTo>
                  <a:cubicBezTo>
                    <a:pt x="66167" y="107204"/>
                    <a:pt x="62032" y="113566"/>
                    <a:pt x="49307" y="113566"/>
                  </a:cubicBezTo>
                  <a:cubicBezTo>
                    <a:pt x="49307" y="113248"/>
                    <a:pt x="39764" y="110385"/>
                    <a:pt x="39446" y="107204"/>
                  </a:cubicBezTo>
                  <a:lnTo>
                    <a:pt x="36583" y="104341"/>
                  </a:lnTo>
                  <a:cubicBezTo>
                    <a:pt x="36583" y="104341"/>
                    <a:pt x="34356" y="102432"/>
                    <a:pt x="33402" y="98933"/>
                  </a:cubicBezTo>
                  <a:lnTo>
                    <a:pt x="32448" y="95434"/>
                  </a:lnTo>
                  <a:lnTo>
                    <a:pt x="32448" y="92252"/>
                  </a:lnTo>
                  <a:cubicBezTo>
                    <a:pt x="32448" y="91934"/>
                    <a:pt x="32766" y="91934"/>
                    <a:pt x="32766" y="90980"/>
                  </a:cubicBezTo>
                  <a:lnTo>
                    <a:pt x="32129" y="88753"/>
                  </a:lnTo>
                  <a:cubicBezTo>
                    <a:pt x="31811" y="88435"/>
                    <a:pt x="31811" y="88435"/>
                    <a:pt x="31811" y="88117"/>
                  </a:cubicBezTo>
                  <a:lnTo>
                    <a:pt x="31811" y="87799"/>
                  </a:lnTo>
                  <a:cubicBezTo>
                    <a:pt x="31811" y="86845"/>
                    <a:pt x="33084" y="87163"/>
                    <a:pt x="33084" y="86526"/>
                  </a:cubicBezTo>
                  <a:lnTo>
                    <a:pt x="32766" y="86208"/>
                  </a:lnTo>
                  <a:cubicBezTo>
                    <a:pt x="32766" y="85572"/>
                    <a:pt x="32766" y="80482"/>
                    <a:pt x="33720" y="80482"/>
                  </a:cubicBezTo>
                  <a:lnTo>
                    <a:pt x="33720" y="80164"/>
                  </a:lnTo>
                  <a:cubicBezTo>
                    <a:pt x="34356" y="76983"/>
                    <a:pt x="34674" y="77301"/>
                    <a:pt x="34674" y="76347"/>
                  </a:cubicBezTo>
                  <a:lnTo>
                    <a:pt x="34674" y="74438"/>
                  </a:lnTo>
                  <a:cubicBezTo>
                    <a:pt x="34992" y="73802"/>
                    <a:pt x="35629" y="72848"/>
                    <a:pt x="35947" y="71575"/>
                  </a:cubicBezTo>
                  <a:lnTo>
                    <a:pt x="35947" y="70621"/>
                  </a:lnTo>
                  <a:cubicBezTo>
                    <a:pt x="36265" y="69030"/>
                    <a:pt x="37537" y="65849"/>
                    <a:pt x="40082" y="64259"/>
                  </a:cubicBezTo>
                  <a:cubicBezTo>
                    <a:pt x="40082" y="63940"/>
                    <a:pt x="39764" y="63940"/>
                    <a:pt x="39446" y="63622"/>
                  </a:cubicBezTo>
                  <a:cubicBezTo>
                    <a:pt x="41673" y="61714"/>
                    <a:pt x="38810" y="60123"/>
                    <a:pt x="44218" y="52488"/>
                  </a:cubicBezTo>
                  <a:cubicBezTo>
                    <a:pt x="44218" y="50898"/>
                    <a:pt x="46444" y="50580"/>
                    <a:pt x="46444" y="49944"/>
                  </a:cubicBezTo>
                  <a:cubicBezTo>
                    <a:pt x="46763" y="49944"/>
                    <a:pt x="47717" y="49944"/>
                    <a:pt x="48035" y="50262"/>
                  </a:cubicBezTo>
                  <a:lnTo>
                    <a:pt x="48989" y="50262"/>
                  </a:lnTo>
                  <a:cubicBezTo>
                    <a:pt x="48989" y="49944"/>
                    <a:pt x="49307" y="49944"/>
                    <a:pt x="49307" y="49944"/>
                  </a:cubicBezTo>
                  <a:lnTo>
                    <a:pt x="48989" y="48989"/>
                  </a:lnTo>
                  <a:lnTo>
                    <a:pt x="47717" y="49307"/>
                  </a:lnTo>
                  <a:cubicBezTo>
                    <a:pt x="47399" y="49307"/>
                    <a:pt x="47399" y="49307"/>
                    <a:pt x="47399" y="48989"/>
                  </a:cubicBezTo>
                  <a:lnTo>
                    <a:pt x="47399" y="48035"/>
                  </a:lnTo>
                  <a:lnTo>
                    <a:pt x="49625" y="45808"/>
                  </a:lnTo>
                  <a:lnTo>
                    <a:pt x="49625" y="46126"/>
                  </a:lnTo>
                  <a:cubicBezTo>
                    <a:pt x="49625" y="46762"/>
                    <a:pt x="49625" y="47081"/>
                    <a:pt x="49944" y="47081"/>
                  </a:cubicBezTo>
                  <a:cubicBezTo>
                    <a:pt x="50580" y="45808"/>
                    <a:pt x="51216" y="46444"/>
                    <a:pt x="51216" y="45808"/>
                  </a:cubicBezTo>
                  <a:cubicBezTo>
                    <a:pt x="51216" y="45490"/>
                    <a:pt x="51216" y="45172"/>
                    <a:pt x="50898" y="44536"/>
                  </a:cubicBezTo>
                  <a:cubicBezTo>
                    <a:pt x="50580" y="44218"/>
                    <a:pt x="50580" y="44218"/>
                    <a:pt x="50580" y="43899"/>
                  </a:cubicBezTo>
                  <a:cubicBezTo>
                    <a:pt x="50580" y="41036"/>
                    <a:pt x="56942" y="35629"/>
                    <a:pt x="58215" y="33720"/>
                  </a:cubicBezTo>
                  <a:cubicBezTo>
                    <a:pt x="58533" y="33720"/>
                    <a:pt x="58851" y="34038"/>
                    <a:pt x="59169" y="34038"/>
                  </a:cubicBezTo>
                  <a:cubicBezTo>
                    <a:pt x="60123" y="32129"/>
                    <a:pt x="62668" y="31175"/>
                    <a:pt x="64259" y="29584"/>
                  </a:cubicBezTo>
                  <a:lnTo>
                    <a:pt x="64259" y="28948"/>
                  </a:lnTo>
                  <a:lnTo>
                    <a:pt x="63622" y="28948"/>
                  </a:lnTo>
                  <a:lnTo>
                    <a:pt x="63622" y="29584"/>
                  </a:lnTo>
                  <a:cubicBezTo>
                    <a:pt x="63304" y="29584"/>
                    <a:pt x="62986" y="29584"/>
                    <a:pt x="62986" y="29266"/>
                  </a:cubicBezTo>
                  <a:cubicBezTo>
                    <a:pt x="62986" y="28312"/>
                    <a:pt x="62986" y="27358"/>
                    <a:pt x="64259" y="27358"/>
                  </a:cubicBezTo>
                  <a:lnTo>
                    <a:pt x="65213" y="27358"/>
                  </a:lnTo>
                  <a:cubicBezTo>
                    <a:pt x="65531" y="27358"/>
                    <a:pt x="65849" y="27358"/>
                    <a:pt x="65849" y="27040"/>
                  </a:cubicBezTo>
                  <a:cubicBezTo>
                    <a:pt x="65849" y="26721"/>
                    <a:pt x="65531" y="26403"/>
                    <a:pt x="65531" y="26085"/>
                  </a:cubicBezTo>
                  <a:lnTo>
                    <a:pt x="65849" y="25767"/>
                  </a:lnTo>
                  <a:lnTo>
                    <a:pt x="65213" y="25767"/>
                  </a:lnTo>
                  <a:lnTo>
                    <a:pt x="65213" y="25449"/>
                  </a:lnTo>
                  <a:cubicBezTo>
                    <a:pt x="65213" y="24813"/>
                    <a:pt x="66167" y="23858"/>
                    <a:pt x="67122" y="23222"/>
                  </a:cubicBezTo>
                  <a:lnTo>
                    <a:pt x="67440" y="23222"/>
                  </a:lnTo>
                  <a:cubicBezTo>
                    <a:pt x="67440" y="23540"/>
                    <a:pt x="67440" y="23540"/>
                    <a:pt x="68394" y="24176"/>
                  </a:cubicBezTo>
                  <a:cubicBezTo>
                    <a:pt x="69667" y="22268"/>
                    <a:pt x="71575" y="17814"/>
                    <a:pt x="75074" y="15906"/>
                  </a:cubicBezTo>
                  <a:lnTo>
                    <a:pt x="76665" y="13361"/>
                  </a:lnTo>
                  <a:cubicBezTo>
                    <a:pt x="79210" y="13361"/>
                    <a:pt x="78892" y="10816"/>
                    <a:pt x="80164" y="10816"/>
                  </a:cubicBezTo>
                  <a:cubicBezTo>
                    <a:pt x="81755" y="10816"/>
                    <a:pt x="80800" y="7635"/>
                    <a:pt x="81755" y="7953"/>
                  </a:cubicBezTo>
                  <a:lnTo>
                    <a:pt x="83982" y="6362"/>
                  </a:lnTo>
                  <a:cubicBezTo>
                    <a:pt x="83664" y="7317"/>
                    <a:pt x="88753" y="636"/>
                    <a:pt x="92889" y="636"/>
                  </a:cubicBezTo>
                  <a:lnTo>
                    <a:pt x="94479" y="636"/>
                  </a:lnTo>
                  <a:cubicBezTo>
                    <a:pt x="94797" y="318"/>
                    <a:pt x="95115" y="0"/>
                    <a:pt x="95434" y="0"/>
                  </a:cubicBezTo>
                  <a:cubicBezTo>
                    <a:pt x="95752" y="0"/>
                    <a:pt x="95752" y="318"/>
                    <a:pt x="96070" y="318"/>
                  </a:cubicBezTo>
                  <a:lnTo>
                    <a:pt x="98933" y="1909"/>
                  </a:lnTo>
                  <a:lnTo>
                    <a:pt x="98615" y="1909"/>
                  </a:lnTo>
                  <a:cubicBezTo>
                    <a:pt x="98615" y="2227"/>
                    <a:pt x="101796" y="3499"/>
                    <a:pt x="103386" y="5726"/>
                  </a:cubicBezTo>
                  <a:lnTo>
                    <a:pt x="103704" y="5726"/>
                  </a:lnTo>
                  <a:cubicBezTo>
                    <a:pt x="104977" y="5726"/>
                    <a:pt x="104659" y="4454"/>
                    <a:pt x="105295" y="4454"/>
                  </a:cubicBezTo>
                  <a:cubicBezTo>
                    <a:pt x="106567" y="5408"/>
                    <a:pt x="108794" y="9543"/>
                    <a:pt x="111339" y="9543"/>
                  </a:cubicBezTo>
                  <a:cubicBezTo>
                    <a:pt x="111339" y="9543"/>
                    <a:pt x="111657" y="9543"/>
                    <a:pt x="111657" y="9225"/>
                  </a:cubicBezTo>
                  <a:cubicBezTo>
                    <a:pt x="112294" y="10180"/>
                    <a:pt x="113248" y="11452"/>
                    <a:pt x="113248" y="11452"/>
                  </a:cubicBezTo>
                  <a:cubicBezTo>
                    <a:pt x="113248" y="11452"/>
                    <a:pt x="113566" y="11134"/>
                    <a:pt x="113566" y="10816"/>
                  </a:cubicBezTo>
                  <a:lnTo>
                    <a:pt x="114202" y="10816"/>
                  </a:lnTo>
                  <a:cubicBezTo>
                    <a:pt x="114202" y="12088"/>
                    <a:pt x="115157" y="13043"/>
                    <a:pt x="116111" y="13679"/>
                  </a:cubicBezTo>
                  <a:cubicBezTo>
                    <a:pt x="116111" y="14315"/>
                    <a:pt x="115793" y="14315"/>
                    <a:pt x="115475" y="14315"/>
                  </a:cubicBezTo>
                  <a:cubicBezTo>
                    <a:pt x="115157" y="14315"/>
                    <a:pt x="115157" y="14315"/>
                    <a:pt x="115157" y="14951"/>
                  </a:cubicBezTo>
                  <a:lnTo>
                    <a:pt x="116747" y="17178"/>
                  </a:lnTo>
                  <a:cubicBezTo>
                    <a:pt x="116747" y="17496"/>
                    <a:pt x="117065" y="17496"/>
                    <a:pt x="117383" y="17496"/>
                  </a:cubicBezTo>
                  <a:cubicBezTo>
                    <a:pt x="117701" y="17496"/>
                    <a:pt x="117701" y="17496"/>
                    <a:pt x="118019" y="17178"/>
                  </a:cubicBezTo>
                  <a:cubicBezTo>
                    <a:pt x="119928" y="18450"/>
                    <a:pt x="118656" y="21313"/>
                    <a:pt x="121201" y="21313"/>
                  </a:cubicBezTo>
                  <a:lnTo>
                    <a:pt x="121519" y="23222"/>
                  </a:lnTo>
                  <a:cubicBezTo>
                    <a:pt x="121837" y="23858"/>
                    <a:pt x="122473" y="25449"/>
                    <a:pt x="122473" y="26721"/>
                  </a:cubicBezTo>
                  <a:lnTo>
                    <a:pt x="122791" y="27040"/>
                  </a:lnTo>
                  <a:cubicBezTo>
                    <a:pt x="123428" y="26721"/>
                    <a:pt x="123746" y="26403"/>
                    <a:pt x="124064" y="25767"/>
                  </a:cubicBezTo>
                  <a:lnTo>
                    <a:pt x="123746" y="25767"/>
                  </a:lnTo>
                  <a:cubicBezTo>
                    <a:pt x="123746" y="25449"/>
                    <a:pt x="128517" y="22904"/>
                    <a:pt x="129153" y="19405"/>
                  </a:cubicBezTo>
                  <a:lnTo>
                    <a:pt x="131062" y="18450"/>
                  </a:lnTo>
                  <a:lnTo>
                    <a:pt x="131062" y="16542"/>
                  </a:lnTo>
                  <a:cubicBezTo>
                    <a:pt x="131380" y="16224"/>
                    <a:pt x="131698" y="15906"/>
                    <a:pt x="132653" y="15906"/>
                  </a:cubicBezTo>
                  <a:cubicBezTo>
                    <a:pt x="132653" y="15587"/>
                    <a:pt x="132334" y="15269"/>
                    <a:pt x="132334" y="15269"/>
                  </a:cubicBezTo>
                  <a:cubicBezTo>
                    <a:pt x="132334" y="13997"/>
                    <a:pt x="133289" y="13679"/>
                    <a:pt x="134243" y="13361"/>
                  </a:cubicBezTo>
                  <a:cubicBezTo>
                    <a:pt x="133607" y="14315"/>
                    <a:pt x="139651" y="5408"/>
                    <a:pt x="140924" y="5408"/>
                  </a:cubicBezTo>
                  <a:cubicBezTo>
                    <a:pt x="141242" y="5408"/>
                    <a:pt x="143150" y="7635"/>
                    <a:pt x="143468" y="7953"/>
                  </a:cubicBezTo>
                  <a:cubicBezTo>
                    <a:pt x="143468" y="7635"/>
                    <a:pt x="143787" y="6362"/>
                    <a:pt x="144423" y="6362"/>
                  </a:cubicBezTo>
                  <a:cubicBezTo>
                    <a:pt x="145377" y="6362"/>
                    <a:pt x="148558" y="10180"/>
                    <a:pt x="148876" y="10180"/>
                  </a:cubicBezTo>
                  <a:cubicBezTo>
                    <a:pt x="149194" y="10180"/>
                    <a:pt x="149831" y="10180"/>
                    <a:pt x="149831" y="9861"/>
                  </a:cubicBezTo>
                  <a:cubicBezTo>
                    <a:pt x="149831" y="9861"/>
                    <a:pt x="150149" y="9543"/>
                    <a:pt x="150467" y="9543"/>
                  </a:cubicBezTo>
                  <a:cubicBezTo>
                    <a:pt x="150785" y="9543"/>
                    <a:pt x="151421" y="9861"/>
                    <a:pt x="151740" y="10498"/>
                  </a:cubicBezTo>
                  <a:lnTo>
                    <a:pt x="152376" y="11134"/>
                  </a:lnTo>
                  <a:cubicBezTo>
                    <a:pt x="152058" y="11452"/>
                    <a:pt x="152058" y="11452"/>
                    <a:pt x="152058" y="11770"/>
                  </a:cubicBezTo>
                  <a:cubicBezTo>
                    <a:pt x="152058" y="12088"/>
                    <a:pt x="152376" y="13043"/>
                    <a:pt x="153012" y="13679"/>
                  </a:cubicBezTo>
                  <a:cubicBezTo>
                    <a:pt x="153012" y="13679"/>
                    <a:pt x="153330" y="13361"/>
                    <a:pt x="153648" y="12724"/>
                  </a:cubicBezTo>
                  <a:lnTo>
                    <a:pt x="153966" y="12724"/>
                  </a:lnTo>
                  <a:cubicBezTo>
                    <a:pt x="155557" y="14633"/>
                    <a:pt x="157465" y="15269"/>
                    <a:pt x="157465" y="17814"/>
                  </a:cubicBezTo>
                  <a:cubicBezTo>
                    <a:pt x="157783" y="17814"/>
                    <a:pt x="156193" y="18450"/>
                    <a:pt x="156193" y="19723"/>
                  </a:cubicBezTo>
                  <a:cubicBezTo>
                    <a:pt x="156193" y="20041"/>
                    <a:pt x="156511" y="20041"/>
                    <a:pt x="156829" y="20359"/>
                  </a:cubicBezTo>
                  <a:lnTo>
                    <a:pt x="156829" y="20677"/>
                  </a:lnTo>
                  <a:cubicBezTo>
                    <a:pt x="156193" y="21313"/>
                    <a:pt x="156193" y="21632"/>
                    <a:pt x="156193" y="21950"/>
                  </a:cubicBezTo>
                  <a:cubicBezTo>
                    <a:pt x="156193" y="22904"/>
                    <a:pt x="156511" y="23540"/>
                    <a:pt x="156511" y="23858"/>
                  </a:cubicBezTo>
                  <a:cubicBezTo>
                    <a:pt x="156511" y="25767"/>
                    <a:pt x="155239" y="28312"/>
                    <a:pt x="155239" y="30221"/>
                  </a:cubicBezTo>
                  <a:cubicBezTo>
                    <a:pt x="155557" y="30857"/>
                    <a:pt x="155875" y="31811"/>
                    <a:pt x="155875" y="32447"/>
                  </a:cubicBezTo>
                  <a:cubicBezTo>
                    <a:pt x="155875" y="34356"/>
                    <a:pt x="155239" y="35629"/>
                    <a:pt x="154602" y="37219"/>
                  </a:cubicBezTo>
                  <a:lnTo>
                    <a:pt x="154602" y="39128"/>
                  </a:lnTo>
                  <a:cubicBezTo>
                    <a:pt x="154921" y="39764"/>
                    <a:pt x="154921" y="40082"/>
                    <a:pt x="154921" y="40400"/>
                  </a:cubicBezTo>
                  <a:cubicBezTo>
                    <a:pt x="154921" y="41036"/>
                    <a:pt x="154602" y="43263"/>
                    <a:pt x="153966" y="43581"/>
                  </a:cubicBezTo>
                  <a:cubicBezTo>
                    <a:pt x="154284" y="43581"/>
                    <a:pt x="155239" y="43581"/>
                    <a:pt x="155239" y="44218"/>
                  </a:cubicBezTo>
                  <a:lnTo>
                    <a:pt x="155557" y="44854"/>
                  </a:lnTo>
                  <a:cubicBezTo>
                    <a:pt x="155875" y="45172"/>
                    <a:pt x="155875" y="45490"/>
                    <a:pt x="155875" y="45490"/>
                  </a:cubicBezTo>
                  <a:lnTo>
                    <a:pt x="155557" y="45490"/>
                  </a:lnTo>
                  <a:lnTo>
                    <a:pt x="154284" y="45808"/>
                  </a:lnTo>
                  <a:cubicBezTo>
                    <a:pt x="154284" y="47081"/>
                    <a:pt x="154921" y="46126"/>
                    <a:pt x="154921" y="47081"/>
                  </a:cubicBezTo>
                  <a:cubicBezTo>
                    <a:pt x="154602" y="47717"/>
                    <a:pt x="154602" y="48035"/>
                    <a:pt x="154602" y="48671"/>
                  </a:cubicBezTo>
                  <a:cubicBezTo>
                    <a:pt x="154602" y="49307"/>
                    <a:pt x="154602" y="50262"/>
                    <a:pt x="154921" y="51216"/>
                  </a:cubicBezTo>
                  <a:lnTo>
                    <a:pt x="154921" y="51852"/>
                  </a:lnTo>
                  <a:cubicBezTo>
                    <a:pt x="154921" y="54079"/>
                    <a:pt x="155239" y="54397"/>
                    <a:pt x="155239" y="55033"/>
                  </a:cubicBezTo>
                  <a:cubicBezTo>
                    <a:pt x="155239" y="55670"/>
                    <a:pt x="153966" y="57578"/>
                    <a:pt x="153966" y="58851"/>
                  </a:cubicBezTo>
                  <a:cubicBezTo>
                    <a:pt x="153966" y="58214"/>
                    <a:pt x="154602" y="57578"/>
                    <a:pt x="154602" y="57578"/>
                  </a:cubicBezTo>
                  <a:lnTo>
                    <a:pt x="155239" y="57578"/>
                  </a:lnTo>
                  <a:cubicBezTo>
                    <a:pt x="154921" y="57896"/>
                    <a:pt x="154921" y="58533"/>
                    <a:pt x="154921" y="58851"/>
                  </a:cubicBezTo>
                  <a:cubicBezTo>
                    <a:pt x="154921" y="60123"/>
                    <a:pt x="155557" y="61077"/>
                    <a:pt x="155557" y="61714"/>
                  </a:cubicBezTo>
                  <a:cubicBezTo>
                    <a:pt x="155239" y="62350"/>
                    <a:pt x="155239" y="62668"/>
                    <a:pt x="155239" y="62986"/>
                  </a:cubicBezTo>
                  <a:cubicBezTo>
                    <a:pt x="155239" y="63622"/>
                    <a:pt x="156193" y="64895"/>
                    <a:pt x="156511" y="65849"/>
                  </a:cubicBezTo>
                  <a:cubicBezTo>
                    <a:pt x="156511" y="66167"/>
                    <a:pt x="156193" y="66167"/>
                    <a:pt x="156193" y="67122"/>
                  </a:cubicBezTo>
                  <a:lnTo>
                    <a:pt x="156193" y="67758"/>
                  </a:lnTo>
                  <a:cubicBezTo>
                    <a:pt x="156193" y="68712"/>
                    <a:pt x="155875" y="69030"/>
                    <a:pt x="155239" y="69030"/>
                  </a:cubicBezTo>
                  <a:cubicBezTo>
                    <a:pt x="155239" y="69348"/>
                    <a:pt x="156193" y="71257"/>
                    <a:pt x="156193" y="71893"/>
                  </a:cubicBezTo>
                  <a:cubicBezTo>
                    <a:pt x="156193" y="72529"/>
                    <a:pt x="154921" y="73166"/>
                    <a:pt x="154921" y="73802"/>
                  </a:cubicBezTo>
                  <a:cubicBezTo>
                    <a:pt x="154921" y="74120"/>
                    <a:pt x="155239" y="74756"/>
                    <a:pt x="155239" y="75074"/>
                  </a:cubicBezTo>
                  <a:cubicBezTo>
                    <a:pt x="154921" y="76029"/>
                    <a:pt x="154921" y="76983"/>
                    <a:pt x="154921" y="77619"/>
                  </a:cubicBezTo>
                  <a:cubicBezTo>
                    <a:pt x="154921" y="77937"/>
                    <a:pt x="154921" y="78574"/>
                    <a:pt x="155875" y="79210"/>
                  </a:cubicBezTo>
                  <a:cubicBezTo>
                    <a:pt x="154921" y="79210"/>
                    <a:pt x="154921" y="79528"/>
                    <a:pt x="154921" y="79846"/>
                  </a:cubicBezTo>
                  <a:cubicBezTo>
                    <a:pt x="154921" y="80800"/>
                    <a:pt x="154921" y="81119"/>
                    <a:pt x="155557" y="81755"/>
                  </a:cubicBezTo>
                  <a:cubicBezTo>
                    <a:pt x="155557" y="82073"/>
                    <a:pt x="153966" y="83982"/>
                    <a:pt x="153966" y="86845"/>
                  </a:cubicBezTo>
                  <a:lnTo>
                    <a:pt x="153966" y="88117"/>
                  </a:lnTo>
                  <a:cubicBezTo>
                    <a:pt x="154284" y="88435"/>
                    <a:pt x="154602" y="89071"/>
                    <a:pt x="154602" y="89389"/>
                  </a:cubicBezTo>
                  <a:cubicBezTo>
                    <a:pt x="154602" y="90026"/>
                    <a:pt x="153648" y="90662"/>
                    <a:pt x="153648" y="91298"/>
                  </a:cubicBezTo>
                  <a:cubicBezTo>
                    <a:pt x="153648" y="91934"/>
                    <a:pt x="154602" y="92571"/>
                    <a:pt x="154602" y="92889"/>
                  </a:cubicBezTo>
                  <a:cubicBezTo>
                    <a:pt x="154602" y="93207"/>
                    <a:pt x="153648" y="95115"/>
                    <a:pt x="153648" y="95752"/>
                  </a:cubicBezTo>
                  <a:cubicBezTo>
                    <a:pt x="153648" y="96070"/>
                    <a:pt x="154284" y="96388"/>
                    <a:pt x="154284" y="96388"/>
                  </a:cubicBezTo>
                  <a:cubicBezTo>
                    <a:pt x="154921" y="95752"/>
                    <a:pt x="155239" y="95752"/>
                    <a:pt x="155875" y="95752"/>
                  </a:cubicBezTo>
                  <a:lnTo>
                    <a:pt x="156829" y="95752"/>
                  </a:lnTo>
                  <a:cubicBezTo>
                    <a:pt x="157147" y="95752"/>
                    <a:pt x="157465" y="95752"/>
                    <a:pt x="157783" y="95434"/>
                  </a:cubicBezTo>
                  <a:lnTo>
                    <a:pt x="158102" y="95752"/>
                  </a:lnTo>
                  <a:cubicBezTo>
                    <a:pt x="157465" y="96070"/>
                    <a:pt x="156193" y="97024"/>
                    <a:pt x="154921" y="97024"/>
                  </a:cubicBezTo>
                  <a:lnTo>
                    <a:pt x="154602" y="97024"/>
                  </a:lnTo>
                  <a:lnTo>
                    <a:pt x="153966" y="97342"/>
                  </a:lnTo>
                  <a:cubicBezTo>
                    <a:pt x="153966" y="97978"/>
                    <a:pt x="153966" y="97342"/>
                    <a:pt x="154602" y="98297"/>
                  </a:cubicBezTo>
                  <a:cubicBezTo>
                    <a:pt x="154602" y="98297"/>
                    <a:pt x="154921" y="98297"/>
                    <a:pt x="154921" y="97978"/>
                  </a:cubicBezTo>
                  <a:lnTo>
                    <a:pt x="156193" y="97978"/>
                  </a:lnTo>
                  <a:cubicBezTo>
                    <a:pt x="156829" y="97660"/>
                    <a:pt x="157465" y="97660"/>
                    <a:pt x="157783" y="97660"/>
                  </a:cubicBezTo>
                  <a:cubicBezTo>
                    <a:pt x="158102" y="97660"/>
                    <a:pt x="158420" y="97660"/>
                    <a:pt x="158738" y="97978"/>
                  </a:cubicBezTo>
                  <a:cubicBezTo>
                    <a:pt x="158102" y="97978"/>
                    <a:pt x="161919" y="96706"/>
                    <a:pt x="163828" y="95752"/>
                  </a:cubicBezTo>
                  <a:cubicBezTo>
                    <a:pt x="163828" y="95752"/>
                    <a:pt x="164146" y="96070"/>
                    <a:pt x="164464" y="96070"/>
                  </a:cubicBezTo>
                  <a:lnTo>
                    <a:pt x="164464" y="96706"/>
                  </a:lnTo>
                  <a:cubicBezTo>
                    <a:pt x="164146" y="97024"/>
                    <a:pt x="163510" y="97024"/>
                    <a:pt x="163191" y="97660"/>
                  </a:cubicBezTo>
                  <a:cubicBezTo>
                    <a:pt x="163510" y="97660"/>
                    <a:pt x="163191" y="97978"/>
                    <a:pt x="165100" y="97978"/>
                  </a:cubicBezTo>
                  <a:lnTo>
                    <a:pt x="165418" y="96388"/>
                  </a:lnTo>
                  <a:cubicBezTo>
                    <a:pt x="165100" y="96388"/>
                    <a:pt x="165100" y="96070"/>
                    <a:pt x="165100" y="96070"/>
                  </a:cubicBezTo>
                  <a:cubicBezTo>
                    <a:pt x="165100" y="96070"/>
                    <a:pt x="165100" y="95752"/>
                    <a:pt x="165418" y="95752"/>
                  </a:cubicBezTo>
                  <a:cubicBezTo>
                    <a:pt x="166691" y="95434"/>
                    <a:pt x="167645" y="94161"/>
                    <a:pt x="169872" y="94161"/>
                  </a:cubicBezTo>
                  <a:lnTo>
                    <a:pt x="169872" y="94797"/>
                  </a:lnTo>
                  <a:cubicBezTo>
                    <a:pt x="169872" y="95434"/>
                    <a:pt x="170190" y="95752"/>
                    <a:pt x="170190" y="96070"/>
                  </a:cubicBezTo>
                  <a:cubicBezTo>
                    <a:pt x="169872" y="97024"/>
                    <a:pt x="169236" y="97660"/>
                    <a:pt x="168281" y="97978"/>
                  </a:cubicBezTo>
                  <a:lnTo>
                    <a:pt x="168281" y="98297"/>
                  </a:lnTo>
                  <a:cubicBezTo>
                    <a:pt x="168599" y="98297"/>
                    <a:pt x="168599" y="98615"/>
                    <a:pt x="168599" y="98615"/>
                  </a:cubicBezTo>
                  <a:lnTo>
                    <a:pt x="169236" y="98615"/>
                  </a:lnTo>
                  <a:cubicBezTo>
                    <a:pt x="169236" y="98615"/>
                    <a:pt x="169554" y="98615"/>
                    <a:pt x="169554" y="98933"/>
                  </a:cubicBezTo>
                  <a:cubicBezTo>
                    <a:pt x="169554" y="98933"/>
                    <a:pt x="169554" y="99569"/>
                    <a:pt x="169236" y="99569"/>
                  </a:cubicBezTo>
                  <a:cubicBezTo>
                    <a:pt x="169236" y="99887"/>
                    <a:pt x="169236" y="99887"/>
                    <a:pt x="169554" y="100205"/>
                  </a:cubicBezTo>
                  <a:lnTo>
                    <a:pt x="170508" y="100205"/>
                  </a:lnTo>
                  <a:cubicBezTo>
                    <a:pt x="171144" y="100205"/>
                    <a:pt x="171144" y="99569"/>
                    <a:pt x="171780" y="99569"/>
                  </a:cubicBezTo>
                  <a:cubicBezTo>
                    <a:pt x="172098" y="99569"/>
                    <a:pt x="172098" y="99569"/>
                    <a:pt x="172417" y="99887"/>
                  </a:cubicBezTo>
                  <a:cubicBezTo>
                    <a:pt x="172417" y="99569"/>
                    <a:pt x="173371" y="97660"/>
                    <a:pt x="174325" y="97660"/>
                  </a:cubicBezTo>
                  <a:cubicBezTo>
                    <a:pt x="174325" y="97660"/>
                    <a:pt x="174325" y="97978"/>
                    <a:pt x="174961" y="97978"/>
                  </a:cubicBezTo>
                  <a:cubicBezTo>
                    <a:pt x="174961" y="97978"/>
                    <a:pt x="175916" y="97660"/>
                    <a:pt x="175916" y="97342"/>
                  </a:cubicBezTo>
                  <a:cubicBezTo>
                    <a:pt x="177188" y="97978"/>
                    <a:pt x="178461" y="97978"/>
                    <a:pt x="179415" y="97978"/>
                  </a:cubicBezTo>
                  <a:cubicBezTo>
                    <a:pt x="180370" y="97978"/>
                    <a:pt x="181006" y="97978"/>
                    <a:pt x="181006" y="98297"/>
                  </a:cubicBezTo>
                  <a:cubicBezTo>
                    <a:pt x="180051" y="98615"/>
                    <a:pt x="180051" y="98933"/>
                    <a:pt x="180051" y="99251"/>
                  </a:cubicBezTo>
                  <a:cubicBezTo>
                    <a:pt x="180051" y="99251"/>
                    <a:pt x="180051" y="99569"/>
                    <a:pt x="179733" y="99569"/>
                  </a:cubicBezTo>
                  <a:cubicBezTo>
                    <a:pt x="179097" y="99569"/>
                    <a:pt x="178779" y="99569"/>
                    <a:pt x="178461" y="99251"/>
                  </a:cubicBezTo>
                  <a:cubicBezTo>
                    <a:pt x="178461" y="99251"/>
                    <a:pt x="178461" y="100205"/>
                    <a:pt x="176870" y="100205"/>
                  </a:cubicBezTo>
                  <a:lnTo>
                    <a:pt x="175598" y="100205"/>
                  </a:lnTo>
                  <a:cubicBezTo>
                    <a:pt x="175280" y="100841"/>
                    <a:pt x="174643" y="100841"/>
                    <a:pt x="174325" y="100841"/>
                  </a:cubicBezTo>
                  <a:lnTo>
                    <a:pt x="174007" y="101160"/>
                  </a:lnTo>
                  <a:lnTo>
                    <a:pt x="174643" y="102114"/>
                  </a:lnTo>
                  <a:cubicBezTo>
                    <a:pt x="174643" y="102432"/>
                    <a:pt x="174643" y="102432"/>
                    <a:pt x="174325" y="102432"/>
                  </a:cubicBezTo>
                  <a:lnTo>
                    <a:pt x="174325" y="102114"/>
                  </a:lnTo>
                  <a:cubicBezTo>
                    <a:pt x="173053" y="102750"/>
                    <a:pt x="172098" y="103068"/>
                    <a:pt x="170508" y="103068"/>
                  </a:cubicBezTo>
                  <a:cubicBezTo>
                    <a:pt x="169554" y="102114"/>
                    <a:pt x="169872" y="102114"/>
                    <a:pt x="169236" y="102114"/>
                  </a:cubicBezTo>
                  <a:cubicBezTo>
                    <a:pt x="169554" y="102114"/>
                    <a:pt x="166691" y="104659"/>
                    <a:pt x="164782" y="105613"/>
                  </a:cubicBezTo>
                  <a:cubicBezTo>
                    <a:pt x="164464" y="105295"/>
                    <a:pt x="164464" y="105613"/>
                    <a:pt x="163828" y="104977"/>
                  </a:cubicBezTo>
                  <a:cubicBezTo>
                    <a:pt x="162873" y="104977"/>
                    <a:pt x="162555" y="105295"/>
                    <a:pt x="159056" y="106886"/>
                  </a:cubicBezTo>
                  <a:lnTo>
                    <a:pt x="157465" y="105931"/>
                  </a:lnTo>
                  <a:cubicBezTo>
                    <a:pt x="157465" y="105931"/>
                    <a:pt x="156829" y="106249"/>
                    <a:pt x="156511" y="106249"/>
                  </a:cubicBezTo>
                  <a:lnTo>
                    <a:pt x="156511" y="107204"/>
                  </a:lnTo>
                  <a:cubicBezTo>
                    <a:pt x="156511" y="107840"/>
                    <a:pt x="156511" y="107840"/>
                    <a:pt x="156193" y="108158"/>
                  </a:cubicBezTo>
                  <a:cubicBezTo>
                    <a:pt x="155875" y="108158"/>
                    <a:pt x="155875" y="107840"/>
                    <a:pt x="155557" y="107840"/>
                  </a:cubicBezTo>
                  <a:cubicBezTo>
                    <a:pt x="153648" y="107840"/>
                    <a:pt x="152694" y="112930"/>
                    <a:pt x="152694" y="114838"/>
                  </a:cubicBezTo>
                  <a:lnTo>
                    <a:pt x="152694" y="115156"/>
                  </a:lnTo>
                  <a:cubicBezTo>
                    <a:pt x="152694" y="116111"/>
                    <a:pt x="153012" y="117065"/>
                    <a:pt x="153330" y="117383"/>
                  </a:cubicBezTo>
                  <a:cubicBezTo>
                    <a:pt x="152694" y="117383"/>
                    <a:pt x="152376" y="117701"/>
                    <a:pt x="152376" y="118019"/>
                  </a:cubicBezTo>
                  <a:cubicBezTo>
                    <a:pt x="152376" y="118974"/>
                    <a:pt x="153330" y="119610"/>
                    <a:pt x="153330" y="120882"/>
                  </a:cubicBezTo>
                  <a:cubicBezTo>
                    <a:pt x="153330" y="121201"/>
                    <a:pt x="153012" y="121837"/>
                    <a:pt x="152694" y="121837"/>
                  </a:cubicBezTo>
                  <a:lnTo>
                    <a:pt x="152694" y="123109"/>
                  </a:lnTo>
                  <a:lnTo>
                    <a:pt x="152376" y="123109"/>
                  </a:lnTo>
                  <a:cubicBezTo>
                    <a:pt x="152058" y="123109"/>
                    <a:pt x="152058" y="122791"/>
                    <a:pt x="152058" y="122791"/>
                  </a:cubicBezTo>
                  <a:lnTo>
                    <a:pt x="151740" y="123109"/>
                  </a:lnTo>
                  <a:cubicBezTo>
                    <a:pt x="151740" y="123109"/>
                    <a:pt x="152376" y="124700"/>
                    <a:pt x="152376" y="125018"/>
                  </a:cubicBezTo>
                  <a:lnTo>
                    <a:pt x="152058" y="125336"/>
                  </a:lnTo>
                  <a:lnTo>
                    <a:pt x="152058" y="125018"/>
                  </a:lnTo>
                  <a:lnTo>
                    <a:pt x="151740" y="124700"/>
                  </a:lnTo>
                  <a:cubicBezTo>
                    <a:pt x="150467" y="125336"/>
                    <a:pt x="150149" y="125972"/>
                    <a:pt x="150149" y="127245"/>
                  </a:cubicBezTo>
                  <a:cubicBezTo>
                    <a:pt x="150149" y="127881"/>
                    <a:pt x="150467" y="128517"/>
                    <a:pt x="150467" y="128835"/>
                  </a:cubicBezTo>
                  <a:cubicBezTo>
                    <a:pt x="150467" y="129153"/>
                    <a:pt x="150149" y="129471"/>
                    <a:pt x="150149" y="129790"/>
                  </a:cubicBezTo>
                  <a:cubicBezTo>
                    <a:pt x="150149" y="130108"/>
                    <a:pt x="150149" y="130108"/>
                    <a:pt x="150467" y="130426"/>
                  </a:cubicBezTo>
                  <a:lnTo>
                    <a:pt x="151421" y="130426"/>
                  </a:lnTo>
                  <a:cubicBezTo>
                    <a:pt x="151421" y="130426"/>
                    <a:pt x="151740" y="130744"/>
                    <a:pt x="151740" y="131062"/>
                  </a:cubicBezTo>
                  <a:cubicBezTo>
                    <a:pt x="151421" y="131062"/>
                    <a:pt x="151103" y="131380"/>
                    <a:pt x="150785" y="131380"/>
                  </a:cubicBezTo>
                  <a:lnTo>
                    <a:pt x="149831" y="130426"/>
                  </a:lnTo>
                  <a:lnTo>
                    <a:pt x="149194" y="130426"/>
                  </a:lnTo>
                  <a:cubicBezTo>
                    <a:pt x="149194" y="132653"/>
                    <a:pt x="149831" y="133925"/>
                    <a:pt x="149831" y="134243"/>
                  </a:cubicBezTo>
                  <a:cubicBezTo>
                    <a:pt x="149831" y="134561"/>
                    <a:pt x="149513" y="134879"/>
                    <a:pt x="149513" y="135198"/>
                  </a:cubicBezTo>
                  <a:cubicBezTo>
                    <a:pt x="150149" y="135198"/>
                    <a:pt x="150149" y="135516"/>
                    <a:pt x="150149" y="135834"/>
                  </a:cubicBezTo>
                  <a:lnTo>
                    <a:pt x="149513" y="136470"/>
                  </a:lnTo>
                  <a:lnTo>
                    <a:pt x="149513" y="135198"/>
                  </a:lnTo>
                  <a:cubicBezTo>
                    <a:pt x="148876" y="135516"/>
                    <a:pt x="148876" y="135834"/>
                    <a:pt x="148876" y="136788"/>
                  </a:cubicBezTo>
                  <a:cubicBezTo>
                    <a:pt x="148876" y="137424"/>
                    <a:pt x="148876" y="137424"/>
                    <a:pt x="149194" y="137742"/>
                  </a:cubicBezTo>
                  <a:cubicBezTo>
                    <a:pt x="148876" y="137742"/>
                    <a:pt x="148240" y="139651"/>
                    <a:pt x="148240" y="139651"/>
                  </a:cubicBezTo>
                  <a:cubicBezTo>
                    <a:pt x="148240" y="139969"/>
                    <a:pt x="148240" y="139969"/>
                    <a:pt x="148558" y="140924"/>
                  </a:cubicBezTo>
                  <a:cubicBezTo>
                    <a:pt x="148558" y="141242"/>
                    <a:pt x="148558" y="141560"/>
                    <a:pt x="148240" y="141878"/>
                  </a:cubicBezTo>
                  <a:lnTo>
                    <a:pt x="147922" y="141878"/>
                  </a:lnTo>
                  <a:lnTo>
                    <a:pt x="147922" y="142196"/>
                  </a:lnTo>
                  <a:cubicBezTo>
                    <a:pt x="147922" y="142832"/>
                    <a:pt x="148240" y="143150"/>
                    <a:pt x="148558" y="143150"/>
                  </a:cubicBezTo>
                  <a:lnTo>
                    <a:pt x="148558" y="143787"/>
                  </a:lnTo>
                  <a:cubicBezTo>
                    <a:pt x="148876" y="144105"/>
                    <a:pt x="148240" y="143787"/>
                    <a:pt x="147922" y="143787"/>
                  </a:cubicBezTo>
                  <a:cubicBezTo>
                    <a:pt x="147604" y="143787"/>
                    <a:pt x="147286" y="143787"/>
                    <a:pt x="147286" y="144741"/>
                  </a:cubicBezTo>
                  <a:lnTo>
                    <a:pt x="147286" y="145695"/>
                  </a:lnTo>
                  <a:cubicBezTo>
                    <a:pt x="147286" y="146013"/>
                    <a:pt x="147286" y="146331"/>
                    <a:pt x="147604" y="146650"/>
                  </a:cubicBezTo>
                  <a:lnTo>
                    <a:pt x="147604" y="147286"/>
                  </a:lnTo>
                  <a:cubicBezTo>
                    <a:pt x="146649" y="148876"/>
                    <a:pt x="146649" y="149831"/>
                    <a:pt x="146331" y="151103"/>
                  </a:cubicBezTo>
                  <a:cubicBezTo>
                    <a:pt x="146331" y="151739"/>
                    <a:pt x="146649" y="152376"/>
                    <a:pt x="146968" y="153012"/>
                  </a:cubicBezTo>
                  <a:lnTo>
                    <a:pt x="146013" y="153648"/>
                  </a:lnTo>
                  <a:cubicBezTo>
                    <a:pt x="145695" y="154284"/>
                    <a:pt x="145695" y="154284"/>
                    <a:pt x="145695" y="154602"/>
                  </a:cubicBezTo>
                  <a:cubicBezTo>
                    <a:pt x="145695" y="155239"/>
                    <a:pt x="146331" y="155875"/>
                    <a:pt x="146331" y="156511"/>
                  </a:cubicBezTo>
                  <a:cubicBezTo>
                    <a:pt x="146331" y="156829"/>
                    <a:pt x="146013" y="157465"/>
                    <a:pt x="146013" y="157465"/>
                  </a:cubicBezTo>
                  <a:cubicBezTo>
                    <a:pt x="146013" y="157465"/>
                    <a:pt x="145695" y="157465"/>
                    <a:pt x="145059" y="157147"/>
                  </a:cubicBezTo>
                  <a:cubicBezTo>
                    <a:pt x="145059" y="158102"/>
                    <a:pt x="144423" y="160965"/>
                    <a:pt x="144423" y="162237"/>
                  </a:cubicBezTo>
                  <a:lnTo>
                    <a:pt x="144423" y="163191"/>
                  </a:lnTo>
                  <a:cubicBezTo>
                    <a:pt x="144741" y="163509"/>
                    <a:pt x="144741" y="163828"/>
                    <a:pt x="144741" y="164146"/>
                  </a:cubicBezTo>
                  <a:cubicBezTo>
                    <a:pt x="144741" y="165418"/>
                    <a:pt x="144423" y="163191"/>
                    <a:pt x="141878" y="169554"/>
                  </a:cubicBezTo>
                  <a:lnTo>
                    <a:pt x="141878" y="170190"/>
                  </a:lnTo>
                  <a:cubicBezTo>
                    <a:pt x="141878" y="170190"/>
                    <a:pt x="141878" y="170508"/>
                    <a:pt x="142514" y="170508"/>
                  </a:cubicBezTo>
                  <a:cubicBezTo>
                    <a:pt x="142514" y="172098"/>
                    <a:pt x="142514" y="172098"/>
                    <a:pt x="141560" y="172735"/>
                  </a:cubicBezTo>
                  <a:cubicBezTo>
                    <a:pt x="141560" y="173053"/>
                    <a:pt x="141560" y="173371"/>
                    <a:pt x="141878" y="173689"/>
                  </a:cubicBezTo>
                  <a:cubicBezTo>
                    <a:pt x="141878" y="174007"/>
                    <a:pt x="141560" y="174325"/>
                    <a:pt x="141242" y="174643"/>
                  </a:cubicBezTo>
                  <a:lnTo>
                    <a:pt x="141242" y="175916"/>
                  </a:lnTo>
                  <a:cubicBezTo>
                    <a:pt x="141242" y="175916"/>
                    <a:pt x="140606" y="181324"/>
                    <a:pt x="138697" y="182596"/>
                  </a:cubicBezTo>
                  <a:cubicBezTo>
                    <a:pt x="139015" y="183232"/>
                    <a:pt x="139015" y="183551"/>
                    <a:pt x="139015" y="183869"/>
                  </a:cubicBezTo>
                  <a:cubicBezTo>
                    <a:pt x="139015" y="187368"/>
                    <a:pt x="136152" y="191185"/>
                    <a:pt x="135516" y="194048"/>
                  </a:cubicBezTo>
                  <a:lnTo>
                    <a:pt x="135198" y="194048"/>
                  </a:lnTo>
                  <a:cubicBezTo>
                    <a:pt x="135198" y="194048"/>
                    <a:pt x="134879" y="194366"/>
                    <a:pt x="134879" y="194684"/>
                  </a:cubicBezTo>
                  <a:lnTo>
                    <a:pt x="134561" y="196275"/>
                  </a:lnTo>
                  <a:cubicBezTo>
                    <a:pt x="133289" y="197229"/>
                    <a:pt x="132653" y="199456"/>
                    <a:pt x="132653" y="199774"/>
                  </a:cubicBezTo>
                  <a:cubicBezTo>
                    <a:pt x="132653" y="200092"/>
                    <a:pt x="132653" y="200410"/>
                    <a:pt x="132971" y="200410"/>
                  </a:cubicBezTo>
                  <a:cubicBezTo>
                    <a:pt x="132971" y="201365"/>
                    <a:pt x="132016" y="202001"/>
                    <a:pt x="131380" y="203910"/>
                  </a:cubicBezTo>
                  <a:lnTo>
                    <a:pt x="131380" y="204228"/>
                  </a:lnTo>
                  <a:lnTo>
                    <a:pt x="131698" y="204864"/>
                  </a:lnTo>
                  <a:cubicBezTo>
                    <a:pt x="131698" y="205500"/>
                    <a:pt x="131380" y="205500"/>
                    <a:pt x="131380" y="205500"/>
                  </a:cubicBezTo>
                  <a:cubicBezTo>
                    <a:pt x="131062" y="205500"/>
                    <a:pt x="131380" y="204864"/>
                    <a:pt x="130108" y="204864"/>
                  </a:cubicBezTo>
                  <a:cubicBezTo>
                    <a:pt x="130108" y="209636"/>
                    <a:pt x="129472" y="208045"/>
                    <a:pt x="128835" y="210908"/>
                  </a:cubicBezTo>
                  <a:cubicBezTo>
                    <a:pt x="128517" y="210908"/>
                    <a:pt x="127563" y="215362"/>
                    <a:pt x="126291" y="216634"/>
                  </a:cubicBezTo>
                  <a:lnTo>
                    <a:pt x="126927" y="216634"/>
                  </a:lnTo>
                  <a:cubicBezTo>
                    <a:pt x="127245" y="216952"/>
                    <a:pt x="127563" y="216952"/>
                    <a:pt x="127563" y="216952"/>
                  </a:cubicBezTo>
                  <a:lnTo>
                    <a:pt x="127245" y="217270"/>
                  </a:lnTo>
                  <a:lnTo>
                    <a:pt x="126609" y="217270"/>
                  </a:lnTo>
                  <a:cubicBezTo>
                    <a:pt x="127245" y="217270"/>
                    <a:pt x="121519" y="222678"/>
                    <a:pt x="121519" y="225859"/>
                  </a:cubicBezTo>
                  <a:cubicBezTo>
                    <a:pt x="121837" y="226177"/>
                    <a:pt x="121837" y="226496"/>
                    <a:pt x="121837" y="226496"/>
                  </a:cubicBezTo>
                  <a:lnTo>
                    <a:pt x="121519" y="226177"/>
                  </a:lnTo>
                  <a:cubicBezTo>
                    <a:pt x="120564" y="227132"/>
                    <a:pt x="120246" y="228086"/>
                    <a:pt x="118974" y="228086"/>
                  </a:cubicBezTo>
                  <a:cubicBezTo>
                    <a:pt x="118656" y="228086"/>
                    <a:pt x="119610" y="229359"/>
                    <a:pt x="119610" y="229677"/>
                  </a:cubicBezTo>
                  <a:cubicBezTo>
                    <a:pt x="119610" y="230313"/>
                    <a:pt x="118019" y="231585"/>
                    <a:pt x="118019" y="232858"/>
                  </a:cubicBezTo>
                  <a:cubicBezTo>
                    <a:pt x="118019" y="233176"/>
                    <a:pt x="116747" y="233176"/>
                    <a:pt x="116747" y="233494"/>
                  </a:cubicBezTo>
                  <a:lnTo>
                    <a:pt x="117065" y="233494"/>
                  </a:lnTo>
                  <a:cubicBezTo>
                    <a:pt x="117383" y="233812"/>
                    <a:pt x="117383" y="233812"/>
                    <a:pt x="117383" y="234130"/>
                  </a:cubicBezTo>
                  <a:lnTo>
                    <a:pt x="116429" y="236675"/>
                  </a:lnTo>
                  <a:cubicBezTo>
                    <a:pt x="115793" y="236993"/>
                    <a:pt x="115793" y="237311"/>
                    <a:pt x="115475" y="237311"/>
                  </a:cubicBezTo>
                  <a:cubicBezTo>
                    <a:pt x="115475" y="237948"/>
                    <a:pt x="115475" y="239220"/>
                    <a:pt x="115793" y="239220"/>
                  </a:cubicBezTo>
                  <a:cubicBezTo>
                    <a:pt x="115793" y="239538"/>
                    <a:pt x="115793" y="239538"/>
                    <a:pt x="115475" y="239538"/>
                  </a:cubicBezTo>
                  <a:lnTo>
                    <a:pt x="114838" y="239538"/>
                  </a:lnTo>
                  <a:lnTo>
                    <a:pt x="114838" y="239856"/>
                  </a:lnTo>
                  <a:cubicBezTo>
                    <a:pt x="114838" y="241765"/>
                    <a:pt x="109431" y="241447"/>
                    <a:pt x="109431" y="251626"/>
                  </a:cubicBezTo>
                  <a:cubicBezTo>
                    <a:pt x="106885" y="252263"/>
                    <a:pt x="107840" y="254489"/>
                    <a:pt x="106885" y="254489"/>
                  </a:cubicBezTo>
                  <a:cubicBezTo>
                    <a:pt x="106567" y="256398"/>
                    <a:pt x="105295" y="260534"/>
                    <a:pt x="102114" y="260534"/>
                  </a:cubicBezTo>
                  <a:cubicBezTo>
                    <a:pt x="102432" y="260852"/>
                    <a:pt x="102432" y="260852"/>
                    <a:pt x="102432" y="261170"/>
                  </a:cubicBezTo>
                  <a:cubicBezTo>
                    <a:pt x="102432" y="261806"/>
                    <a:pt x="101478" y="262124"/>
                    <a:pt x="101478" y="262760"/>
                  </a:cubicBezTo>
                  <a:cubicBezTo>
                    <a:pt x="101160" y="263715"/>
                    <a:pt x="101160" y="264033"/>
                    <a:pt x="101160" y="264033"/>
                  </a:cubicBezTo>
                  <a:cubicBezTo>
                    <a:pt x="101160" y="264033"/>
                    <a:pt x="100842" y="263715"/>
                    <a:pt x="100842" y="263397"/>
                  </a:cubicBezTo>
                  <a:cubicBezTo>
                    <a:pt x="98933" y="264351"/>
                    <a:pt x="97342" y="267532"/>
                    <a:pt x="96388" y="269123"/>
                  </a:cubicBezTo>
                  <a:lnTo>
                    <a:pt x="93525" y="272622"/>
                  </a:lnTo>
                  <a:cubicBezTo>
                    <a:pt x="91934" y="274212"/>
                    <a:pt x="88753" y="275485"/>
                    <a:pt x="88753" y="277712"/>
                  </a:cubicBezTo>
                  <a:cubicBezTo>
                    <a:pt x="88753" y="277712"/>
                    <a:pt x="81119" y="283119"/>
                    <a:pt x="81119" y="283756"/>
                  </a:cubicBezTo>
                  <a:lnTo>
                    <a:pt x="80482" y="285028"/>
                  </a:lnTo>
                  <a:cubicBezTo>
                    <a:pt x="80164" y="285664"/>
                    <a:pt x="79846" y="285664"/>
                    <a:pt x="79846" y="285664"/>
                  </a:cubicBezTo>
                  <a:cubicBezTo>
                    <a:pt x="79846" y="285664"/>
                    <a:pt x="79528" y="285664"/>
                    <a:pt x="79528" y="285028"/>
                  </a:cubicBezTo>
                  <a:cubicBezTo>
                    <a:pt x="78574" y="285028"/>
                    <a:pt x="77619" y="285028"/>
                    <a:pt x="76665" y="285346"/>
                  </a:cubicBezTo>
                  <a:cubicBezTo>
                    <a:pt x="76983" y="285664"/>
                    <a:pt x="76983" y="285983"/>
                    <a:pt x="76983" y="286301"/>
                  </a:cubicBezTo>
                  <a:cubicBezTo>
                    <a:pt x="76983" y="287255"/>
                    <a:pt x="76983" y="287255"/>
                    <a:pt x="76665" y="287573"/>
                  </a:cubicBezTo>
                  <a:cubicBezTo>
                    <a:pt x="76347" y="287573"/>
                    <a:pt x="75711" y="287255"/>
                    <a:pt x="75393" y="286937"/>
                  </a:cubicBezTo>
                  <a:lnTo>
                    <a:pt x="73802" y="286937"/>
                  </a:lnTo>
                  <a:lnTo>
                    <a:pt x="73802" y="287573"/>
                  </a:lnTo>
                  <a:cubicBezTo>
                    <a:pt x="73802" y="287255"/>
                    <a:pt x="70939" y="292345"/>
                    <a:pt x="68712" y="292345"/>
                  </a:cubicBezTo>
                  <a:cubicBezTo>
                    <a:pt x="68394" y="292345"/>
                    <a:pt x="68076" y="292345"/>
                    <a:pt x="67758" y="292027"/>
                  </a:cubicBezTo>
                  <a:cubicBezTo>
                    <a:pt x="66803" y="292027"/>
                    <a:pt x="66485" y="293617"/>
                    <a:pt x="65213" y="293617"/>
                  </a:cubicBezTo>
                  <a:cubicBezTo>
                    <a:pt x="64577" y="293617"/>
                    <a:pt x="63622" y="293299"/>
                    <a:pt x="62032" y="292981"/>
                  </a:cubicBezTo>
                  <a:cubicBezTo>
                    <a:pt x="61714" y="294572"/>
                    <a:pt x="60441" y="294572"/>
                    <a:pt x="59169" y="294890"/>
                  </a:cubicBezTo>
                  <a:cubicBezTo>
                    <a:pt x="58533" y="294890"/>
                    <a:pt x="58215" y="294890"/>
                    <a:pt x="57897" y="294572"/>
                  </a:cubicBezTo>
                  <a:cubicBezTo>
                    <a:pt x="57578" y="294572"/>
                    <a:pt x="56942" y="294572"/>
                    <a:pt x="55670" y="296162"/>
                  </a:cubicBezTo>
                  <a:cubicBezTo>
                    <a:pt x="55352" y="296162"/>
                    <a:pt x="54715" y="294890"/>
                    <a:pt x="54397" y="294890"/>
                  </a:cubicBezTo>
                  <a:lnTo>
                    <a:pt x="54715" y="295208"/>
                  </a:lnTo>
                  <a:cubicBezTo>
                    <a:pt x="54715" y="295526"/>
                    <a:pt x="52488" y="294890"/>
                    <a:pt x="52488" y="296798"/>
                  </a:cubicBezTo>
                  <a:lnTo>
                    <a:pt x="51216" y="297753"/>
                  </a:lnTo>
                  <a:cubicBezTo>
                    <a:pt x="50580" y="297753"/>
                    <a:pt x="49625" y="297753"/>
                    <a:pt x="49307" y="298071"/>
                  </a:cubicBezTo>
                  <a:cubicBezTo>
                    <a:pt x="48989" y="298071"/>
                    <a:pt x="49307" y="297116"/>
                    <a:pt x="47399" y="297116"/>
                  </a:cubicBezTo>
                  <a:cubicBezTo>
                    <a:pt x="46763" y="298389"/>
                    <a:pt x="47081" y="299343"/>
                    <a:pt x="45808" y="299343"/>
                  </a:cubicBezTo>
                  <a:cubicBezTo>
                    <a:pt x="44854" y="299343"/>
                    <a:pt x="44218" y="297753"/>
                    <a:pt x="44218" y="297753"/>
                  </a:cubicBezTo>
                  <a:lnTo>
                    <a:pt x="44854" y="298071"/>
                  </a:lnTo>
                  <a:lnTo>
                    <a:pt x="44854" y="297435"/>
                  </a:lnTo>
                  <a:cubicBezTo>
                    <a:pt x="43900" y="297435"/>
                    <a:pt x="42945" y="297753"/>
                    <a:pt x="41673" y="297753"/>
                  </a:cubicBezTo>
                  <a:lnTo>
                    <a:pt x="40718" y="297753"/>
                  </a:lnTo>
                  <a:cubicBezTo>
                    <a:pt x="40400" y="297753"/>
                    <a:pt x="39764" y="297753"/>
                    <a:pt x="39446" y="297435"/>
                  </a:cubicBezTo>
                  <a:cubicBezTo>
                    <a:pt x="39446" y="297435"/>
                    <a:pt x="39446" y="297753"/>
                    <a:pt x="39128" y="297753"/>
                  </a:cubicBezTo>
                  <a:cubicBezTo>
                    <a:pt x="39446" y="297435"/>
                    <a:pt x="38810" y="297435"/>
                    <a:pt x="38173" y="297435"/>
                  </a:cubicBezTo>
                  <a:cubicBezTo>
                    <a:pt x="37537" y="297435"/>
                    <a:pt x="37219" y="297435"/>
                    <a:pt x="37219" y="296798"/>
                  </a:cubicBezTo>
                  <a:lnTo>
                    <a:pt x="36265" y="296798"/>
                  </a:lnTo>
                  <a:cubicBezTo>
                    <a:pt x="35310" y="296798"/>
                    <a:pt x="34992" y="297435"/>
                    <a:pt x="34356" y="297435"/>
                  </a:cubicBezTo>
                  <a:lnTo>
                    <a:pt x="34038" y="297435"/>
                  </a:lnTo>
                  <a:lnTo>
                    <a:pt x="32448" y="297753"/>
                  </a:lnTo>
                  <a:cubicBezTo>
                    <a:pt x="32448" y="297753"/>
                    <a:pt x="31811" y="296798"/>
                    <a:pt x="31175" y="296798"/>
                  </a:cubicBezTo>
                  <a:cubicBezTo>
                    <a:pt x="30857" y="297116"/>
                    <a:pt x="30857" y="297116"/>
                    <a:pt x="30539" y="297116"/>
                  </a:cubicBezTo>
                  <a:cubicBezTo>
                    <a:pt x="29585" y="297116"/>
                    <a:pt x="29585" y="296162"/>
                    <a:pt x="28948" y="296162"/>
                  </a:cubicBezTo>
                  <a:lnTo>
                    <a:pt x="28948" y="297116"/>
                  </a:lnTo>
                  <a:lnTo>
                    <a:pt x="29267" y="297435"/>
                  </a:lnTo>
                  <a:lnTo>
                    <a:pt x="28948" y="297435"/>
                  </a:lnTo>
                  <a:cubicBezTo>
                    <a:pt x="28948" y="297435"/>
                    <a:pt x="28948" y="297116"/>
                    <a:pt x="16860" y="292027"/>
                  </a:cubicBezTo>
                  <a:lnTo>
                    <a:pt x="15906" y="290754"/>
                  </a:lnTo>
                  <a:cubicBezTo>
                    <a:pt x="14633" y="290754"/>
                    <a:pt x="10498" y="286937"/>
                    <a:pt x="8589" y="282801"/>
                  </a:cubicBezTo>
                  <a:lnTo>
                    <a:pt x="7953" y="282165"/>
                  </a:lnTo>
                  <a:cubicBezTo>
                    <a:pt x="7317" y="281211"/>
                    <a:pt x="6680" y="281529"/>
                    <a:pt x="6362" y="281211"/>
                  </a:cubicBezTo>
                  <a:lnTo>
                    <a:pt x="6680" y="280893"/>
                  </a:lnTo>
                  <a:cubicBezTo>
                    <a:pt x="6680" y="281211"/>
                    <a:pt x="4136" y="274530"/>
                    <a:pt x="3499" y="274212"/>
                  </a:cubicBezTo>
                  <a:lnTo>
                    <a:pt x="3499" y="273576"/>
                  </a:lnTo>
                  <a:cubicBezTo>
                    <a:pt x="3499" y="273258"/>
                    <a:pt x="3818" y="272622"/>
                    <a:pt x="3818" y="272304"/>
                  </a:cubicBezTo>
                  <a:cubicBezTo>
                    <a:pt x="3818" y="271986"/>
                    <a:pt x="3499" y="271668"/>
                    <a:pt x="3499" y="271349"/>
                  </a:cubicBezTo>
                  <a:cubicBezTo>
                    <a:pt x="4136" y="271349"/>
                    <a:pt x="4454" y="270713"/>
                    <a:pt x="4454" y="270395"/>
                  </a:cubicBezTo>
                  <a:lnTo>
                    <a:pt x="4454" y="269759"/>
                  </a:lnTo>
                  <a:cubicBezTo>
                    <a:pt x="4136" y="268804"/>
                    <a:pt x="3499" y="268168"/>
                    <a:pt x="3499" y="267850"/>
                  </a:cubicBezTo>
                  <a:cubicBezTo>
                    <a:pt x="3499" y="267214"/>
                    <a:pt x="3181" y="267214"/>
                    <a:pt x="3181" y="267214"/>
                  </a:cubicBezTo>
                  <a:lnTo>
                    <a:pt x="3181" y="268486"/>
                  </a:lnTo>
                  <a:cubicBezTo>
                    <a:pt x="2545" y="268168"/>
                    <a:pt x="1591" y="268168"/>
                    <a:pt x="1591" y="267214"/>
                  </a:cubicBezTo>
                  <a:cubicBezTo>
                    <a:pt x="1591" y="266896"/>
                    <a:pt x="1909" y="266260"/>
                    <a:pt x="1909" y="265941"/>
                  </a:cubicBezTo>
                  <a:cubicBezTo>
                    <a:pt x="1273" y="265623"/>
                    <a:pt x="954" y="264669"/>
                    <a:pt x="954" y="264033"/>
                  </a:cubicBezTo>
                  <a:lnTo>
                    <a:pt x="954" y="263078"/>
                  </a:lnTo>
                  <a:cubicBezTo>
                    <a:pt x="0" y="262124"/>
                    <a:pt x="0" y="261488"/>
                    <a:pt x="0" y="261170"/>
                  </a:cubicBezTo>
                  <a:lnTo>
                    <a:pt x="318" y="261170"/>
                  </a:lnTo>
                  <a:cubicBezTo>
                    <a:pt x="318" y="261170"/>
                    <a:pt x="0" y="260852"/>
                    <a:pt x="0" y="260534"/>
                  </a:cubicBezTo>
                  <a:cubicBezTo>
                    <a:pt x="954" y="260215"/>
                    <a:pt x="954" y="258943"/>
                    <a:pt x="1273" y="258307"/>
                  </a:cubicBezTo>
                  <a:cubicBezTo>
                    <a:pt x="636" y="257352"/>
                    <a:pt x="318" y="255762"/>
                    <a:pt x="318" y="254808"/>
                  </a:cubicBezTo>
                  <a:lnTo>
                    <a:pt x="318" y="252581"/>
                  </a:lnTo>
                  <a:cubicBezTo>
                    <a:pt x="636" y="252263"/>
                    <a:pt x="954" y="251945"/>
                    <a:pt x="954" y="251308"/>
                  </a:cubicBezTo>
                  <a:cubicBezTo>
                    <a:pt x="954" y="250672"/>
                    <a:pt x="636" y="250036"/>
                    <a:pt x="636" y="249718"/>
                  </a:cubicBezTo>
                  <a:lnTo>
                    <a:pt x="1273" y="245582"/>
                  </a:lnTo>
                  <a:lnTo>
                    <a:pt x="2227" y="245264"/>
                  </a:lnTo>
                  <a:lnTo>
                    <a:pt x="2227" y="245900"/>
                  </a:lnTo>
                  <a:cubicBezTo>
                    <a:pt x="2227" y="247491"/>
                    <a:pt x="2545" y="247491"/>
                    <a:pt x="3818" y="247809"/>
                  </a:cubicBezTo>
                  <a:lnTo>
                    <a:pt x="4772" y="247809"/>
                  </a:lnTo>
                  <a:lnTo>
                    <a:pt x="3818" y="245582"/>
                  </a:lnTo>
                  <a:lnTo>
                    <a:pt x="3181" y="245582"/>
                  </a:lnTo>
                  <a:cubicBezTo>
                    <a:pt x="3499" y="245264"/>
                    <a:pt x="4454" y="244946"/>
                    <a:pt x="4772" y="244946"/>
                  </a:cubicBezTo>
                  <a:cubicBezTo>
                    <a:pt x="6044" y="244946"/>
                    <a:pt x="5090" y="246537"/>
                    <a:pt x="6044" y="246537"/>
                  </a:cubicBezTo>
                  <a:lnTo>
                    <a:pt x="6362" y="246537"/>
                  </a:lnTo>
                  <a:cubicBezTo>
                    <a:pt x="5726" y="247491"/>
                    <a:pt x="5726" y="248445"/>
                    <a:pt x="5726" y="248763"/>
                  </a:cubicBezTo>
                  <a:cubicBezTo>
                    <a:pt x="5726" y="249718"/>
                    <a:pt x="6044" y="250354"/>
                    <a:pt x="6680" y="250672"/>
                  </a:cubicBezTo>
                  <a:lnTo>
                    <a:pt x="7317" y="256398"/>
                  </a:lnTo>
                  <a:cubicBezTo>
                    <a:pt x="7317" y="257352"/>
                    <a:pt x="7317" y="257671"/>
                    <a:pt x="8907" y="260215"/>
                  </a:cubicBezTo>
                  <a:cubicBezTo>
                    <a:pt x="10816" y="256716"/>
                    <a:pt x="11134" y="258307"/>
                    <a:pt x="11134" y="257034"/>
                  </a:cubicBezTo>
                  <a:cubicBezTo>
                    <a:pt x="10498" y="256398"/>
                    <a:pt x="10498" y="256398"/>
                    <a:pt x="10498" y="255762"/>
                  </a:cubicBezTo>
                  <a:cubicBezTo>
                    <a:pt x="10498" y="254171"/>
                    <a:pt x="9225" y="255126"/>
                    <a:pt x="9225" y="254489"/>
                  </a:cubicBezTo>
                  <a:cubicBezTo>
                    <a:pt x="9861" y="252581"/>
                    <a:pt x="10498" y="252263"/>
                    <a:pt x="10498" y="250672"/>
                  </a:cubicBezTo>
                  <a:cubicBezTo>
                    <a:pt x="10498" y="248763"/>
                    <a:pt x="9861" y="248445"/>
                    <a:pt x="9861" y="247809"/>
                  </a:cubicBezTo>
                  <a:cubicBezTo>
                    <a:pt x="9861" y="247491"/>
                    <a:pt x="12088" y="245582"/>
                    <a:pt x="12088" y="242401"/>
                  </a:cubicBezTo>
                  <a:cubicBezTo>
                    <a:pt x="12088" y="241765"/>
                    <a:pt x="12088" y="241447"/>
                    <a:pt x="11452" y="241129"/>
                  </a:cubicBezTo>
                  <a:cubicBezTo>
                    <a:pt x="11452" y="239856"/>
                    <a:pt x="11452" y="238584"/>
                    <a:pt x="11770" y="237630"/>
                  </a:cubicBezTo>
                  <a:cubicBezTo>
                    <a:pt x="11452" y="236993"/>
                    <a:pt x="11452" y="236675"/>
                    <a:pt x="11452" y="235403"/>
                  </a:cubicBezTo>
                  <a:cubicBezTo>
                    <a:pt x="11452" y="235403"/>
                    <a:pt x="11770" y="235721"/>
                    <a:pt x="12406" y="235721"/>
                  </a:cubicBezTo>
                  <a:cubicBezTo>
                    <a:pt x="13043" y="235721"/>
                    <a:pt x="13043" y="235085"/>
                    <a:pt x="13043" y="234448"/>
                  </a:cubicBezTo>
                  <a:lnTo>
                    <a:pt x="13043" y="233812"/>
                  </a:lnTo>
                  <a:lnTo>
                    <a:pt x="11770" y="233494"/>
                  </a:lnTo>
                  <a:cubicBezTo>
                    <a:pt x="11452" y="233176"/>
                    <a:pt x="11452" y="232858"/>
                    <a:pt x="11452" y="232858"/>
                  </a:cubicBezTo>
                  <a:cubicBezTo>
                    <a:pt x="12406" y="232222"/>
                    <a:pt x="11770" y="231585"/>
                    <a:pt x="12406" y="230313"/>
                  </a:cubicBezTo>
                  <a:lnTo>
                    <a:pt x="12406" y="229677"/>
                  </a:lnTo>
                  <a:cubicBezTo>
                    <a:pt x="13043" y="229359"/>
                    <a:pt x="13043" y="228722"/>
                    <a:pt x="13043" y="228086"/>
                  </a:cubicBezTo>
                  <a:cubicBezTo>
                    <a:pt x="13043" y="227450"/>
                    <a:pt x="13043" y="226814"/>
                    <a:pt x="12724" y="226177"/>
                  </a:cubicBezTo>
                  <a:cubicBezTo>
                    <a:pt x="12724" y="226177"/>
                    <a:pt x="13043" y="225859"/>
                    <a:pt x="13361" y="225859"/>
                  </a:cubicBezTo>
                  <a:lnTo>
                    <a:pt x="13679" y="225859"/>
                  </a:lnTo>
                  <a:cubicBezTo>
                    <a:pt x="14315" y="225859"/>
                    <a:pt x="14315" y="225541"/>
                    <a:pt x="14315" y="224905"/>
                  </a:cubicBezTo>
                  <a:cubicBezTo>
                    <a:pt x="13997" y="224905"/>
                    <a:pt x="13997" y="224587"/>
                    <a:pt x="13997" y="224587"/>
                  </a:cubicBezTo>
                  <a:cubicBezTo>
                    <a:pt x="13997" y="224269"/>
                    <a:pt x="14633" y="223633"/>
                    <a:pt x="14633" y="222996"/>
                  </a:cubicBezTo>
                  <a:cubicBezTo>
                    <a:pt x="14633" y="222042"/>
                    <a:pt x="14633" y="222042"/>
                    <a:pt x="13679" y="222042"/>
                  </a:cubicBezTo>
                  <a:cubicBezTo>
                    <a:pt x="13997" y="221724"/>
                    <a:pt x="17178" y="219497"/>
                    <a:pt x="17814" y="218225"/>
                  </a:cubicBezTo>
                  <a:lnTo>
                    <a:pt x="17496" y="218225"/>
                  </a:lnTo>
                  <a:cubicBezTo>
                    <a:pt x="16860" y="218225"/>
                    <a:pt x="15906" y="216634"/>
                    <a:pt x="15906" y="216316"/>
                  </a:cubicBezTo>
                  <a:lnTo>
                    <a:pt x="16224" y="216316"/>
                  </a:lnTo>
                  <a:cubicBezTo>
                    <a:pt x="16542" y="216634"/>
                    <a:pt x="16542" y="216634"/>
                    <a:pt x="16860" y="216634"/>
                  </a:cubicBezTo>
                  <a:cubicBezTo>
                    <a:pt x="17496" y="216634"/>
                    <a:pt x="17814" y="215998"/>
                    <a:pt x="17814" y="215680"/>
                  </a:cubicBezTo>
                  <a:cubicBezTo>
                    <a:pt x="17814" y="215362"/>
                    <a:pt x="17496" y="215362"/>
                    <a:pt x="17496" y="215044"/>
                  </a:cubicBezTo>
                  <a:lnTo>
                    <a:pt x="17496" y="214725"/>
                  </a:lnTo>
                  <a:cubicBezTo>
                    <a:pt x="17178" y="214725"/>
                    <a:pt x="16860" y="215044"/>
                    <a:pt x="16542" y="215044"/>
                  </a:cubicBezTo>
                  <a:cubicBezTo>
                    <a:pt x="16542" y="215044"/>
                    <a:pt x="15906" y="214089"/>
                    <a:pt x="15588" y="214089"/>
                  </a:cubicBezTo>
                  <a:cubicBezTo>
                    <a:pt x="15270" y="214089"/>
                    <a:pt x="15270" y="214407"/>
                    <a:pt x="14951" y="214725"/>
                  </a:cubicBezTo>
                  <a:lnTo>
                    <a:pt x="14633" y="214089"/>
                  </a:lnTo>
                  <a:cubicBezTo>
                    <a:pt x="14633" y="213771"/>
                    <a:pt x="14633" y="212499"/>
                    <a:pt x="15270" y="212499"/>
                  </a:cubicBezTo>
                  <a:cubicBezTo>
                    <a:pt x="16860" y="212499"/>
                    <a:pt x="16860" y="213771"/>
                    <a:pt x="17178" y="213771"/>
                  </a:cubicBezTo>
                  <a:cubicBezTo>
                    <a:pt x="17178" y="213453"/>
                    <a:pt x="18133" y="212817"/>
                    <a:pt x="18451" y="212817"/>
                  </a:cubicBezTo>
                  <a:lnTo>
                    <a:pt x="18133" y="212499"/>
                  </a:lnTo>
                  <a:cubicBezTo>
                    <a:pt x="18133" y="209954"/>
                    <a:pt x="19087" y="208999"/>
                    <a:pt x="19087" y="208045"/>
                  </a:cubicBezTo>
                  <a:lnTo>
                    <a:pt x="19087" y="207727"/>
                  </a:lnTo>
                  <a:cubicBezTo>
                    <a:pt x="20041" y="207409"/>
                    <a:pt x="20041" y="207091"/>
                    <a:pt x="20359" y="207091"/>
                  </a:cubicBezTo>
                  <a:lnTo>
                    <a:pt x="20359" y="206773"/>
                  </a:lnTo>
                  <a:cubicBezTo>
                    <a:pt x="20041" y="206773"/>
                    <a:pt x="19087" y="207091"/>
                    <a:pt x="18769" y="207091"/>
                  </a:cubicBezTo>
                  <a:lnTo>
                    <a:pt x="18451" y="206773"/>
                  </a:lnTo>
                  <a:cubicBezTo>
                    <a:pt x="18451" y="206773"/>
                    <a:pt x="17496" y="208999"/>
                    <a:pt x="17496" y="209954"/>
                  </a:cubicBezTo>
                  <a:lnTo>
                    <a:pt x="16224" y="209954"/>
                  </a:lnTo>
                  <a:lnTo>
                    <a:pt x="15906" y="208681"/>
                  </a:lnTo>
                  <a:cubicBezTo>
                    <a:pt x="16224" y="208681"/>
                    <a:pt x="17496" y="206455"/>
                    <a:pt x="17496" y="205818"/>
                  </a:cubicBezTo>
                  <a:lnTo>
                    <a:pt x="17496" y="204864"/>
                  </a:lnTo>
                  <a:cubicBezTo>
                    <a:pt x="17814" y="204546"/>
                    <a:pt x="17814" y="204546"/>
                    <a:pt x="18133" y="204546"/>
                  </a:cubicBezTo>
                  <a:lnTo>
                    <a:pt x="18769" y="204864"/>
                  </a:lnTo>
                  <a:lnTo>
                    <a:pt x="18769" y="203910"/>
                  </a:lnTo>
                  <a:cubicBezTo>
                    <a:pt x="18769" y="202955"/>
                    <a:pt x="21632" y="202955"/>
                    <a:pt x="21632" y="199456"/>
                  </a:cubicBezTo>
                  <a:lnTo>
                    <a:pt x="20995" y="197229"/>
                  </a:lnTo>
                  <a:cubicBezTo>
                    <a:pt x="19723" y="197229"/>
                    <a:pt x="20995" y="200092"/>
                    <a:pt x="19087" y="200092"/>
                  </a:cubicBezTo>
                  <a:lnTo>
                    <a:pt x="18769" y="199774"/>
                  </a:lnTo>
                  <a:cubicBezTo>
                    <a:pt x="17496" y="199774"/>
                    <a:pt x="18133" y="202319"/>
                    <a:pt x="16860" y="202319"/>
                  </a:cubicBezTo>
                  <a:lnTo>
                    <a:pt x="16224" y="202955"/>
                  </a:lnTo>
                  <a:cubicBezTo>
                    <a:pt x="16224" y="203592"/>
                    <a:pt x="16860" y="203910"/>
                    <a:pt x="16860" y="203910"/>
                  </a:cubicBezTo>
                  <a:cubicBezTo>
                    <a:pt x="16860" y="204228"/>
                    <a:pt x="16542" y="204228"/>
                    <a:pt x="16542" y="204228"/>
                  </a:cubicBezTo>
                  <a:cubicBezTo>
                    <a:pt x="16224" y="204228"/>
                    <a:pt x="16224" y="204228"/>
                    <a:pt x="16224" y="204546"/>
                  </a:cubicBezTo>
                  <a:cubicBezTo>
                    <a:pt x="15270" y="203592"/>
                    <a:pt x="14951" y="202955"/>
                    <a:pt x="14951" y="202955"/>
                  </a:cubicBezTo>
                  <a:cubicBezTo>
                    <a:pt x="14315" y="203592"/>
                    <a:pt x="14315" y="203910"/>
                    <a:pt x="14315" y="203910"/>
                  </a:cubicBezTo>
                  <a:cubicBezTo>
                    <a:pt x="14315" y="203910"/>
                    <a:pt x="13361" y="202955"/>
                    <a:pt x="13361" y="202319"/>
                  </a:cubicBezTo>
                  <a:cubicBezTo>
                    <a:pt x="13361" y="201047"/>
                    <a:pt x="14315" y="201047"/>
                    <a:pt x="14633" y="201047"/>
                  </a:cubicBezTo>
                  <a:cubicBezTo>
                    <a:pt x="14633" y="201365"/>
                    <a:pt x="14951" y="201365"/>
                    <a:pt x="14951" y="201365"/>
                  </a:cubicBezTo>
                  <a:cubicBezTo>
                    <a:pt x="15270" y="201365"/>
                    <a:pt x="15588" y="201047"/>
                    <a:pt x="15906" y="201047"/>
                  </a:cubicBezTo>
                  <a:cubicBezTo>
                    <a:pt x="15588" y="200729"/>
                    <a:pt x="15588" y="200729"/>
                    <a:pt x="15588" y="200410"/>
                  </a:cubicBezTo>
                  <a:cubicBezTo>
                    <a:pt x="15588" y="199774"/>
                    <a:pt x="16224" y="196911"/>
                    <a:pt x="20041" y="194366"/>
                  </a:cubicBezTo>
                  <a:lnTo>
                    <a:pt x="20995" y="193094"/>
                  </a:lnTo>
                  <a:cubicBezTo>
                    <a:pt x="20995" y="192140"/>
                    <a:pt x="21632" y="192140"/>
                    <a:pt x="22268" y="191821"/>
                  </a:cubicBezTo>
                  <a:cubicBezTo>
                    <a:pt x="22268" y="190549"/>
                    <a:pt x="22904" y="187686"/>
                    <a:pt x="25449" y="187686"/>
                  </a:cubicBezTo>
                  <a:lnTo>
                    <a:pt x="26085" y="188004"/>
                  </a:lnTo>
                  <a:cubicBezTo>
                    <a:pt x="26085" y="188322"/>
                    <a:pt x="24813" y="190231"/>
                    <a:pt x="23540" y="191503"/>
                  </a:cubicBezTo>
                  <a:cubicBezTo>
                    <a:pt x="23540" y="191503"/>
                    <a:pt x="23540" y="191821"/>
                    <a:pt x="23858" y="192140"/>
                  </a:cubicBezTo>
                  <a:lnTo>
                    <a:pt x="23858" y="192776"/>
                  </a:lnTo>
                  <a:cubicBezTo>
                    <a:pt x="23540" y="193412"/>
                    <a:pt x="23540" y="194366"/>
                    <a:pt x="23222" y="194684"/>
                  </a:cubicBezTo>
                  <a:lnTo>
                    <a:pt x="22586" y="195639"/>
                  </a:lnTo>
                  <a:cubicBezTo>
                    <a:pt x="22268" y="195957"/>
                    <a:pt x="21950" y="195957"/>
                    <a:pt x="21950" y="196275"/>
                  </a:cubicBezTo>
                  <a:cubicBezTo>
                    <a:pt x="21950" y="196593"/>
                    <a:pt x="22268" y="196593"/>
                    <a:pt x="22586" y="196911"/>
                  </a:cubicBezTo>
                  <a:lnTo>
                    <a:pt x="23222" y="196911"/>
                  </a:lnTo>
                  <a:lnTo>
                    <a:pt x="25131" y="194366"/>
                  </a:lnTo>
                  <a:cubicBezTo>
                    <a:pt x="25449" y="194366"/>
                    <a:pt x="25449" y="193730"/>
                    <a:pt x="25449" y="193094"/>
                  </a:cubicBezTo>
                  <a:cubicBezTo>
                    <a:pt x="25449" y="192458"/>
                    <a:pt x="25767" y="191503"/>
                    <a:pt x="27358" y="191503"/>
                  </a:cubicBezTo>
                  <a:lnTo>
                    <a:pt x="28630" y="190231"/>
                  </a:lnTo>
                  <a:cubicBezTo>
                    <a:pt x="28630" y="188958"/>
                    <a:pt x="29267" y="188958"/>
                    <a:pt x="29903" y="188640"/>
                  </a:cubicBezTo>
                  <a:lnTo>
                    <a:pt x="30539" y="188640"/>
                  </a:lnTo>
                  <a:lnTo>
                    <a:pt x="30221" y="188958"/>
                  </a:lnTo>
                  <a:cubicBezTo>
                    <a:pt x="30221" y="188958"/>
                    <a:pt x="30221" y="189277"/>
                    <a:pt x="30539" y="189277"/>
                  </a:cubicBezTo>
                  <a:lnTo>
                    <a:pt x="30857" y="188958"/>
                  </a:lnTo>
                  <a:lnTo>
                    <a:pt x="31175" y="188958"/>
                  </a:lnTo>
                  <a:lnTo>
                    <a:pt x="31493" y="188640"/>
                  </a:lnTo>
                  <a:cubicBezTo>
                    <a:pt x="31175" y="188322"/>
                    <a:pt x="30857" y="187686"/>
                    <a:pt x="30857" y="187050"/>
                  </a:cubicBezTo>
                  <a:lnTo>
                    <a:pt x="32448" y="185777"/>
                  </a:lnTo>
                  <a:cubicBezTo>
                    <a:pt x="32766" y="185777"/>
                    <a:pt x="32766" y="185141"/>
                    <a:pt x="32766" y="184505"/>
                  </a:cubicBezTo>
                  <a:lnTo>
                    <a:pt x="32766" y="183869"/>
                  </a:lnTo>
                  <a:cubicBezTo>
                    <a:pt x="34992" y="183232"/>
                    <a:pt x="31811" y="183869"/>
                    <a:pt x="36901" y="178779"/>
                  </a:cubicBezTo>
                  <a:cubicBezTo>
                    <a:pt x="37219" y="178143"/>
                    <a:pt x="41355" y="170508"/>
                    <a:pt x="45808" y="168281"/>
                  </a:cubicBezTo>
                  <a:lnTo>
                    <a:pt x="45808" y="166372"/>
                  </a:lnTo>
                  <a:cubicBezTo>
                    <a:pt x="44854" y="166372"/>
                    <a:pt x="44854" y="167009"/>
                    <a:pt x="44536" y="167327"/>
                  </a:cubicBezTo>
                  <a:lnTo>
                    <a:pt x="44536" y="167009"/>
                  </a:lnTo>
                  <a:cubicBezTo>
                    <a:pt x="44218" y="167009"/>
                    <a:pt x="43263" y="167009"/>
                    <a:pt x="43263" y="167327"/>
                  </a:cubicBezTo>
                  <a:lnTo>
                    <a:pt x="42945" y="167645"/>
                  </a:lnTo>
                  <a:cubicBezTo>
                    <a:pt x="42945" y="168599"/>
                    <a:pt x="42627" y="167645"/>
                    <a:pt x="41673" y="168917"/>
                  </a:cubicBezTo>
                  <a:lnTo>
                    <a:pt x="41355" y="168599"/>
                  </a:lnTo>
                  <a:cubicBezTo>
                    <a:pt x="40718" y="168599"/>
                    <a:pt x="41036" y="169235"/>
                    <a:pt x="40718" y="169235"/>
                  </a:cubicBezTo>
                  <a:cubicBezTo>
                    <a:pt x="40718" y="169235"/>
                    <a:pt x="40400" y="169235"/>
                    <a:pt x="40400" y="168917"/>
                  </a:cubicBezTo>
                  <a:cubicBezTo>
                    <a:pt x="40400" y="169235"/>
                    <a:pt x="41036" y="166054"/>
                    <a:pt x="45490" y="163828"/>
                  </a:cubicBezTo>
                  <a:cubicBezTo>
                    <a:pt x="45808" y="163509"/>
                    <a:pt x="46126" y="162873"/>
                    <a:pt x="46126" y="162873"/>
                  </a:cubicBezTo>
                  <a:lnTo>
                    <a:pt x="45490" y="162873"/>
                  </a:lnTo>
                  <a:cubicBezTo>
                    <a:pt x="45172" y="162873"/>
                    <a:pt x="44854" y="162873"/>
                    <a:pt x="44854" y="162555"/>
                  </a:cubicBezTo>
                  <a:cubicBezTo>
                    <a:pt x="44854" y="161919"/>
                    <a:pt x="47399" y="159692"/>
                    <a:pt x="59169" y="151103"/>
                  </a:cubicBezTo>
                  <a:lnTo>
                    <a:pt x="61396" y="149194"/>
                  </a:lnTo>
                  <a:cubicBezTo>
                    <a:pt x="61396" y="150149"/>
                    <a:pt x="62668" y="146013"/>
                    <a:pt x="65213" y="146013"/>
                  </a:cubicBezTo>
                  <a:cubicBezTo>
                    <a:pt x="65213" y="146331"/>
                    <a:pt x="65531" y="146650"/>
                    <a:pt x="65531" y="146650"/>
                  </a:cubicBezTo>
                  <a:cubicBezTo>
                    <a:pt x="65849" y="146650"/>
                    <a:pt x="66167" y="144423"/>
                    <a:pt x="66803" y="144423"/>
                  </a:cubicBezTo>
                  <a:lnTo>
                    <a:pt x="67122" y="144741"/>
                  </a:lnTo>
                  <a:lnTo>
                    <a:pt x="67440" y="144105"/>
                  </a:lnTo>
                  <a:lnTo>
                    <a:pt x="67440" y="143787"/>
                  </a:lnTo>
                  <a:cubicBezTo>
                    <a:pt x="67440" y="143787"/>
                    <a:pt x="67758" y="143787"/>
                    <a:pt x="68076" y="144105"/>
                  </a:cubicBezTo>
                  <a:cubicBezTo>
                    <a:pt x="68712" y="143787"/>
                    <a:pt x="69667" y="142196"/>
                    <a:pt x="70621" y="141242"/>
                  </a:cubicBezTo>
                  <a:cubicBezTo>
                    <a:pt x="69985" y="140924"/>
                    <a:pt x="69667" y="140924"/>
                    <a:pt x="69349" y="140924"/>
                  </a:cubicBezTo>
                  <a:cubicBezTo>
                    <a:pt x="68712" y="140924"/>
                    <a:pt x="68076" y="142196"/>
                    <a:pt x="66485" y="142196"/>
                  </a:cubicBezTo>
                  <a:lnTo>
                    <a:pt x="65531" y="141878"/>
                  </a:lnTo>
                  <a:cubicBezTo>
                    <a:pt x="67440" y="141560"/>
                    <a:pt x="69030" y="138697"/>
                    <a:pt x="70303" y="138697"/>
                  </a:cubicBezTo>
                  <a:cubicBezTo>
                    <a:pt x="70303" y="138379"/>
                    <a:pt x="69985" y="138379"/>
                    <a:pt x="69985" y="138061"/>
                  </a:cubicBezTo>
                  <a:lnTo>
                    <a:pt x="70621" y="137742"/>
                  </a:lnTo>
                  <a:cubicBezTo>
                    <a:pt x="70939" y="137742"/>
                    <a:pt x="70939" y="138061"/>
                    <a:pt x="70939" y="138379"/>
                  </a:cubicBezTo>
                  <a:lnTo>
                    <a:pt x="71575" y="138697"/>
                  </a:lnTo>
                  <a:lnTo>
                    <a:pt x="70303" y="138697"/>
                  </a:lnTo>
                  <a:cubicBezTo>
                    <a:pt x="70303" y="139333"/>
                    <a:pt x="70621" y="140605"/>
                    <a:pt x="70621" y="141242"/>
                  </a:cubicBezTo>
                  <a:cubicBezTo>
                    <a:pt x="71575" y="141242"/>
                    <a:pt x="72212" y="140605"/>
                    <a:pt x="73166" y="139651"/>
                  </a:cubicBezTo>
                  <a:lnTo>
                    <a:pt x="73484" y="139969"/>
                  </a:lnTo>
                  <a:cubicBezTo>
                    <a:pt x="73802" y="139333"/>
                    <a:pt x="75393" y="137742"/>
                    <a:pt x="75711" y="137424"/>
                  </a:cubicBezTo>
                  <a:lnTo>
                    <a:pt x="75711" y="137106"/>
                  </a:lnTo>
                  <a:lnTo>
                    <a:pt x="76029" y="137106"/>
                  </a:lnTo>
                  <a:cubicBezTo>
                    <a:pt x="76347" y="137106"/>
                    <a:pt x="76665" y="137106"/>
                    <a:pt x="76983" y="136788"/>
                  </a:cubicBezTo>
                  <a:lnTo>
                    <a:pt x="77301" y="136788"/>
                  </a:lnTo>
                  <a:cubicBezTo>
                    <a:pt x="77619" y="135516"/>
                    <a:pt x="78574" y="135834"/>
                    <a:pt x="79210" y="135516"/>
                  </a:cubicBezTo>
                  <a:lnTo>
                    <a:pt x="79846" y="135198"/>
                  </a:lnTo>
                  <a:cubicBezTo>
                    <a:pt x="80800" y="133925"/>
                    <a:pt x="82073" y="133607"/>
                    <a:pt x="83664" y="132971"/>
                  </a:cubicBezTo>
                  <a:cubicBezTo>
                    <a:pt x="83664" y="132971"/>
                    <a:pt x="89071" y="127881"/>
                    <a:pt x="91934" y="127881"/>
                  </a:cubicBezTo>
                  <a:lnTo>
                    <a:pt x="92252" y="127881"/>
                  </a:lnTo>
                  <a:cubicBezTo>
                    <a:pt x="92252" y="127245"/>
                    <a:pt x="93207" y="126927"/>
                    <a:pt x="93525" y="126290"/>
                  </a:cubicBezTo>
                  <a:cubicBezTo>
                    <a:pt x="93843" y="126927"/>
                    <a:pt x="94797" y="128835"/>
                    <a:pt x="95434" y="128835"/>
                  </a:cubicBezTo>
                  <a:cubicBezTo>
                    <a:pt x="95434" y="128517"/>
                    <a:pt x="95752" y="128517"/>
                    <a:pt x="95752" y="128517"/>
                  </a:cubicBezTo>
                  <a:cubicBezTo>
                    <a:pt x="96706" y="127881"/>
                    <a:pt x="96706" y="127563"/>
                    <a:pt x="96706" y="127563"/>
                  </a:cubicBezTo>
                  <a:lnTo>
                    <a:pt x="95434" y="127563"/>
                  </a:lnTo>
                  <a:lnTo>
                    <a:pt x="94797" y="126927"/>
                  </a:lnTo>
                  <a:cubicBezTo>
                    <a:pt x="94797" y="126927"/>
                    <a:pt x="97661" y="123427"/>
                    <a:pt x="99251" y="123427"/>
                  </a:cubicBezTo>
                  <a:cubicBezTo>
                    <a:pt x="99569" y="123427"/>
                    <a:pt x="100205" y="124064"/>
                    <a:pt x="100842" y="125336"/>
                  </a:cubicBezTo>
                  <a:cubicBezTo>
                    <a:pt x="99887" y="125336"/>
                    <a:pt x="99569" y="125654"/>
                    <a:pt x="99251" y="126290"/>
                  </a:cubicBezTo>
                  <a:lnTo>
                    <a:pt x="99251" y="126608"/>
                  </a:lnTo>
                  <a:lnTo>
                    <a:pt x="100842" y="125336"/>
                  </a:lnTo>
                  <a:lnTo>
                    <a:pt x="101160" y="125336"/>
                  </a:lnTo>
                  <a:cubicBezTo>
                    <a:pt x="101796" y="125336"/>
                    <a:pt x="103068" y="125336"/>
                    <a:pt x="103068" y="124382"/>
                  </a:cubicBezTo>
                  <a:lnTo>
                    <a:pt x="102750" y="123746"/>
                  </a:lnTo>
                  <a:lnTo>
                    <a:pt x="101478" y="123746"/>
                  </a:lnTo>
                  <a:cubicBezTo>
                    <a:pt x="101160" y="123427"/>
                    <a:pt x="101160" y="123427"/>
                    <a:pt x="101160" y="123109"/>
                  </a:cubicBezTo>
                  <a:cubicBezTo>
                    <a:pt x="101478" y="122791"/>
                    <a:pt x="102750" y="122791"/>
                    <a:pt x="103068" y="122155"/>
                  </a:cubicBezTo>
                  <a:cubicBezTo>
                    <a:pt x="103386" y="122155"/>
                    <a:pt x="103704" y="122473"/>
                    <a:pt x="103704" y="122473"/>
                  </a:cubicBezTo>
                  <a:cubicBezTo>
                    <a:pt x="104023" y="122473"/>
                    <a:pt x="104023" y="122155"/>
                    <a:pt x="104023" y="121837"/>
                  </a:cubicBezTo>
                  <a:lnTo>
                    <a:pt x="104023" y="121201"/>
                  </a:lnTo>
                  <a:cubicBezTo>
                    <a:pt x="103704" y="121201"/>
                    <a:pt x="106885" y="116111"/>
                    <a:pt x="113566" y="116111"/>
                  </a:cubicBezTo>
                  <a:lnTo>
                    <a:pt x="113566" y="115475"/>
                  </a:lnTo>
                  <a:cubicBezTo>
                    <a:pt x="114202" y="115475"/>
                    <a:pt x="114520" y="115156"/>
                    <a:pt x="114838" y="114520"/>
                  </a:cubicBezTo>
                  <a:cubicBezTo>
                    <a:pt x="115157" y="114520"/>
                    <a:pt x="115793" y="115156"/>
                    <a:pt x="116111" y="115156"/>
                  </a:cubicBezTo>
                  <a:cubicBezTo>
                    <a:pt x="115793" y="115156"/>
                    <a:pt x="116111" y="114838"/>
                    <a:pt x="116111" y="114838"/>
                  </a:cubicBezTo>
                  <a:lnTo>
                    <a:pt x="116111" y="114202"/>
                  </a:lnTo>
                  <a:cubicBezTo>
                    <a:pt x="117065" y="114202"/>
                    <a:pt x="117701" y="113248"/>
                    <a:pt x="118019" y="113248"/>
                  </a:cubicBezTo>
                  <a:cubicBezTo>
                    <a:pt x="119292" y="113248"/>
                    <a:pt x="119292" y="114202"/>
                    <a:pt x="119610" y="114202"/>
                  </a:cubicBezTo>
                  <a:cubicBezTo>
                    <a:pt x="119292" y="114202"/>
                    <a:pt x="119292" y="115156"/>
                    <a:pt x="118974" y="115156"/>
                  </a:cubicBezTo>
                  <a:cubicBezTo>
                    <a:pt x="118974" y="115156"/>
                    <a:pt x="119292" y="115156"/>
                    <a:pt x="119292" y="115475"/>
                  </a:cubicBezTo>
                  <a:lnTo>
                    <a:pt x="120246" y="114520"/>
                  </a:lnTo>
                  <a:cubicBezTo>
                    <a:pt x="119928" y="114202"/>
                    <a:pt x="119928" y="113248"/>
                    <a:pt x="119928" y="112930"/>
                  </a:cubicBezTo>
                  <a:cubicBezTo>
                    <a:pt x="119928" y="111657"/>
                    <a:pt x="125972" y="108794"/>
                    <a:pt x="129472" y="108794"/>
                  </a:cubicBezTo>
                  <a:lnTo>
                    <a:pt x="129472" y="108476"/>
                  </a:lnTo>
                  <a:cubicBezTo>
                    <a:pt x="129153" y="108476"/>
                    <a:pt x="129153" y="107204"/>
                    <a:pt x="128517" y="106567"/>
                  </a:cubicBezTo>
                  <a:lnTo>
                    <a:pt x="128517" y="106249"/>
                  </a:lnTo>
                  <a:lnTo>
                    <a:pt x="129153" y="106567"/>
                  </a:lnTo>
                  <a:cubicBezTo>
                    <a:pt x="129153" y="106886"/>
                    <a:pt x="129472" y="106886"/>
                    <a:pt x="130426" y="107204"/>
                  </a:cubicBezTo>
                  <a:cubicBezTo>
                    <a:pt x="131062" y="107204"/>
                    <a:pt x="132334" y="106886"/>
                    <a:pt x="132334" y="105931"/>
                  </a:cubicBezTo>
                  <a:lnTo>
                    <a:pt x="132334" y="105613"/>
                  </a:lnTo>
                  <a:cubicBezTo>
                    <a:pt x="130744" y="106567"/>
                    <a:pt x="130108" y="106567"/>
                    <a:pt x="129790" y="106567"/>
                  </a:cubicBezTo>
                  <a:cubicBezTo>
                    <a:pt x="129472" y="106567"/>
                    <a:pt x="129472" y="106249"/>
                    <a:pt x="129153" y="105613"/>
                  </a:cubicBezTo>
                  <a:lnTo>
                    <a:pt x="129153" y="105295"/>
                  </a:lnTo>
                  <a:cubicBezTo>
                    <a:pt x="129472" y="104977"/>
                    <a:pt x="129790" y="104659"/>
                    <a:pt x="130426" y="104659"/>
                  </a:cubicBezTo>
                  <a:cubicBezTo>
                    <a:pt x="130744" y="104659"/>
                    <a:pt x="131062" y="104659"/>
                    <a:pt x="131380" y="104977"/>
                  </a:cubicBezTo>
                  <a:cubicBezTo>
                    <a:pt x="133925" y="104341"/>
                    <a:pt x="132016" y="99251"/>
                    <a:pt x="133607" y="93525"/>
                  </a:cubicBezTo>
                  <a:lnTo>
                    <a:pt x="133607" y="90980"/>
                  </a:lnTo>
                  <a:cubicBezTo>
                    <a:pt x="133925" y="90662"/>
                    <a:pt x="133925" y="90026"/>
                    <a:pt x="133925" y="89708"/>
                  </a:cubicBezTo>
                  <a:lnTo>
                    <a:pt x="133925" y="88435"/>
                  </a:lnTo>
                  <a:cubicBezTo>
                    <a:pt x="133925" y="88117"/>
                    <a:pt x="133925" y="87481"/>
                    <a:pt x="134243" y="86845"/>
                  </a:cubicBezTo>
                  <a:cubicBezTo>
                    <a:pt x="133925" y="86526"/>
                    <a:pt x="133925" y="85254"/>
                    <a:pt x="133925" y="84618"/>
                  </a:cubicBezTo>
                  <a:cubicBezTo>
                    <a:pt x="133925" y="73484"/>
                    <a:pt x="135198" y="74438"/>
                    <a:pt x="135198" y="65849"/>
                  </a:cubicBezTo>
                  <a:lnTo>
                    <a:pt x="135198" y="63622"/>
                  </a:lnTo>
                  <a:cubicBezTo>
                    <a:pt x="135198" y="62668"/>
                    <a:pt x="135516" y="61714"/>
                    <a:pt x="135516" y="60759"/>
                  </a:cubicBezTo>
                  <a:cubicBezTo>
                    <a:pt x="135516" y="59805"/>
                    <a:pt x="135198" y="58851"/>
                    <a:pt x="135198" y="57896"/>
                  </a:cubicBezTo>
                  <a:cubicBezTo>
                    <a:pt x="135198" y="57260"/>
                    <a:pt x="136152" y="56942"/>
                    <a:pt x="136152" y="51534"/>
                  </a:cubicBezTo>
                  <a:cubicBezTo>
                    <a:pt x="136152" y="50580"/>
                    <a:pt x="135834" y="49944"/>
                    <a:pt x="135834" y="48989"/>
                  </a:cubicBezTo>
                  <a:lnTo>
                    <a:pt x="135834" y="48035"/>
                  </a:lnTo>
                  <a:cubicBezTo>
                    <a:pt x="136152" y="47399"/>
                    <a:pt x="136470" y="46762"/>
                    <a:pt x="136470" y="45808"/>
                  </a:cubicBezTo>
                  <a:cubicBezTo>
                    <a:pt x="136470" y="45172"/>
                    <a:pt x="136152" y="44218"/>
                    <a:pt x="136152" y="43581"/>
                  </a:cubicBezTo>
                  <a:cubicBezTo>
                    <a:pt x="136470" y="42309"/>
                    <a:pt x="136152" y="40718"/>
                    <a:pt x="136788" y="39764"/>
                  </a:cubicBezTo>
                  <a:lnTo>
                    <a:pt x="136788" y="38173"/>
                  </a:lnTo>
                  <a:cubicBezTo>
                    <a:pt x="136788" y="38173"/>
                    <a:pt x="136470" y="37855"/>
                    <a:pt x="136470" y="37537"/>
                  </a:cubicBezTo>
                  <a:lnTo>
                    <a:pt x="135516" y="37537"/>
                  </a:lnTo>
                  <a:cubicBezTo>
                    <a:pt x="135516" y="39446"/>
                    <a:pt x="134879" y="40718"/>
                    <a:pt x="132016" y="40718"/>
                  </a:cubicBezTo>
                  <a:lnTo>
                    <a:pt x="131698" y="41036"/>
                  </a:lnTo>
                  <a:cubicBezTo>
                    <a:pt x="131698" y="43581"/>
                    <a:pt x="129472" y="43899"/>
                    <a:pt x="129472" y="46126"/>
                  </a:cubicBezTo>
                  <a:lnTo>
                    <a:pt x="128199" y="47717"/>
                  </a:lnTo>
                  <a:lnTo>
                    <a:pt x="128199" y="48035"/>
                  </a:lnTo>
                  <a:cubicBezTo>
                    <a:pt x="127881" y="48035"/>
                    <a:pt x="127881" y="47717"/>
                    <a:pt x="127881" y="47717"/>
                  </a:cubicBezTo>
                  <a:cubicBezTo>
                    <a:pt x="127245" y="47717"/>
                    <a:pt x="126609" y="48035"/>
                    <a:pt x="126609" y="48353"/>
                  </a:cubicBezTo>
                  <a:lnTo>
                    <a:pt x="126609" y="48671"/>
                  </a:lnTo>
                  <a:cubicBezTo>
                    <a:pt x="125336" y="50262"/>
                    <a:pt x="125336" y="49944"/>
                    <a:pt x="123746" y="53125"/>
                  </a:cubicBezTo>
                  <a:close/>
                  <a:moveTo>
                    <a:pt x="954" y="243356"/>
                  </a:moveTo>
                  <a:cubicBezTo>
                    <a:pt x="1273" y="242719"/>
                    <a:pt x="1591" y="242401"/>
                    <a:pt x="1591" y="241765"/>
                  </a:cubicBezTo>
                  <a:cubicBezTo>
                    <a:pt x="1591" y="241129"/>
                    <a:pt x="954" y="240174"/>
                    <a:pt x="954" y="240493"/>
                  </a:cubicBezTo>
                  <a:cubicBezTo>
                    <a:pt x="954" y="240493"/>
                    <a:pt x="954" y="240174"/>
                    <a:pt x="1273" y="240174"/>
                  </a:cubicBezTo>
                  <a:lnTo>
                    <a:pt x="1273" y="239538"/>
                  </a:lnTo>
                  <a:cubicBezTo>
                    <a:pt x="1591" y="239220"/>
                    <a:pt x="1591" y="239220"/>
                    <a:pt x="1591" y="238266"/>
                  </a:cubicBezTo>
                  <a:lnTo>
                    <a:pt x="1591" y="236039"/>
                  </a:lnTo>
                  <a:cubicBezTo>
                    <a:pt x="1909" y="236039"/>
                    <a:pt x="1909" y="236039"/>
                    <a:pt x="1909" y="235721"/>
                  </a:cubicBezTo>
                  <a:cubicBezTo>
                    <a:pt x="1909" y="235403"/>
                    <a:pt x="1909" y="235403"/>
                    <a:pt x="1591" y="235085"/>
                  </a:cubicBezTo>
                  <a:cubicBezTo>
                    <a:pt x="1591" y="234130"/>
                    <a:pt x="2227" y="233812"/>
                    <a:pt x="2545" y="233176"/>
                  </a:cubicBezTo>
                  <a:lnTo>
                    <a:pt x="2545" y="232540"/>
                  </a:lnTo>
                  <a:cubicBezTo>
                    <a:pt x="2545" y="232222"/>
                    <a:pt x="3181" y="228086"/>
                    <a:pt x="4136" y="226177"/>
                  </a:cubicBezTo>
                  <a:lnTo>
                    <a:pt x="4136" y="225859"/>
                  </a:lnTo>
                  <a:cubicBezTo>
                    <a:pt x="4772" y="224269"/>
                    <a:pt x="5090" y="222996"/>
                    <a:pt x="5726" y="222042"/>
                  </a:cubicBezTo>
                  <a:lnTo>
                    <a:pt x="5726" y="221724"/>
                  </a:lnTo>
                  <a:cubicBezTo>
                    <a:pt x="6044" y="220133"/>
                    <a:pt x="6999" y="218861"/>
                    <a:pt x="6999" y="217270"/>
                  </a:cubicBezTo>
                  <a:lnTo>
                    <a:pt x="7635" y="216952"/>
                  </a:lnTo>
                  <a:cubicBezTo>
                    <a:pt x="7635" y="216952"/>
                    <a:pt x="7953" y="217270"/>
                    <a:pt x="8271" y="217270"/>
                  </a:cubicBezTo>
                  <a:lnTo>
                    <a:pt x="8271" y="217588"/>
                  </a:lnTo>
                  <a:cubicBezTo>
                    <a:pt x="8271" y="217907"/>
                    <a:pt x="8271" y="218861"/>
                    <a:pt x="7953" y="219179"/>
                  </a:cubicBezTo>
                  <a:lnTo>
                    <a:pt x="8271" y="219179"/>
                  </a:lnTo>
                  <a:cubicBezTo>
                    <a:pt x="8271" y="219179"/>
                    <a:pt x="8271" y="219815"/>
                    <a:pt x="8589" y="220451"/>
                  </a:cubicBezTo>
                  <a:lnTo>
                    <a:pt x="6999" y="222042"/>
                  </a:lnTo>
                  <a:lnTo>
                    <a:pt x="6680" y="221724"/>
                  </a:lnTo>
                  <a:cubicBezTo>
                    <a:pt x="6362" y="221724"/>
                    <a:pt x="6362" y="222360"/>
                    <a:pt x="6362" y="222678"/>
                  </a:cubicBezTo>
                  <a:lnTo>
                    <a:pt x="6362" y="222996"/>
                  </a:lnTo>
                  <a:cubicBezTo>
                    <a:pt x="6362" y="223633"/>
                    <a:pt x="6362" y="226177"/>
                    <a:pt x="5408" y="226177"/>
                  </a:cubicBezTo>
                  <a:lnTo>
                    <a:pt x="5408" y="226814"/>
                  </a:lnTo>
                  <a:cubicBezTo>
                    <a:pt x="5408" y="227768"/>
                    <a:pt x="5408" y="229041"/>
                    <a:pt x="4454" y="230313"/>
                  </a:cubicBezTo>
                  <a:cubicBezTo>
                    <a:pt x="4454" y="230631"/>
                    <a:pt x="4454" y="230631"/>
                    <a:pt x="4772" y="230949"/>
                  </a:cubicBezTo>
                  <a:cubicBezTo>
                    <a:pt x="4772" y="231904"/>
                    <a:pt x="4454" y="232222"/>
                    <a:pt x="4454" y="232540"/>
                  </a:cubicBezTo>
                  <a:cubicBezTo>
                    <a:pt x="4454" y="233176"/>
                    <a:pt x="5726" y="234448"/>
                    <a:pt x="5726" y="235085"/>
                  </a:cubicBezTo>
                  <a:cubicBezTo>
                    <a:pt x="5726" y="235403"/>
                    <a:pt x="4772" y="236039"/>
                    <a:pt x="4772" y="236039"/>
                  </a:cubicBezTo>
                  <a:cubicBezTo>
                    <a:pt x="4772" y="236675"/>
                    <a:pt x="6044" y="236039"/>
                    <a:pt x="6044" y="237630"/>
                  </a:cubicBezTo>
                  <a:lnTo>
                    <a:pt x="6044" y="237948"/>
                  </a:lnTo>
                  <a:cubicBezTo>
                    <a:pt x="5090" y="237630"/>
                    <a:pt x="4772" y="237630"/>
                    <a:pt x="4454" y="237630"/>
                  </a:cubicBezTo>
                  <a:cubicBezTo>
                    <a:pt x="4136" y="237630"/>
                    <a:pt x="2545" y="237630"/>
                    <a:pt x="2545" y="239538"/>
                  </a:cubicBezTo>
                  <a:cubicBezTo>
                    <a:pt x="2545" y="239856"/>
                    <a:pt x="2863" y="240174"/>
                    <a:pt x="2863" y="240493"/>
                  </a:cubicBezTo>
                  <a:cubicBezTo>
                    <a:pt x="2863" y="242083"/>
                    <a:pt x="1909" y="242401"/>
                    <a:pt x="1909" y="243037"/>
                  </a:cubicBezTo>
                  <a:lnTo>
                    <a:pt x="1909" y="243356"/>
                  </a:lnTo>
                  <a:lnTo>
                    <a:pt x="2545" y="243674"/>
                  </a:lnTo>
                  <a:cubicBezTo>
                    <a:pt x="2545" y="243992"/>
                    <a:pt x="2545" y="244310"/>
                    <a:pt x="1909" y="244310"/>
                  </a:cubicBezTo>
                  <a:cubicBezTo>
                    <a:pt x="1909" y="244310"/>
                    <a:pt x="1591" y="243992"/>
                    <a:pt x="1591" y="243674"/>
                  </a:cubicBezTo>
                  <a:lnTo>
                    <a:pt x="636" y="243674"/>
                  </a:lnTo>
                  <a:lnTo>
                    <a:pt x="954" y="243356"/>
                  </a:lnTo>
                  <a:close/>
                  <a:moveTo>
                    <a:pt x="4136" y="251626"/>
                  </a:moveTo>
                  <a:cubicBezTo>
                    <a:pt x="4136" y="251308"/>
                    <a:pt x="3181" y="250354"/>
                    <a:pt x="2545" y="249718"/>
                  </a:cubicBezTo>
                  <a:lnTo>
                    <a:pt x="2227" y="250036"/>
                  </a:lnTo>
                  <a:lnTo>
                    <a:pt x="2545" y="250354"/>
                  </a:lnTo>
                  <a:cubicBezTo>
                    <a:pt x="3499" y="253535"/>
                    <a:pt x="2863" y="253535"/>
                    <a:pt x="3499" y="253535"/>
                  </a:cubicBezTo>
                  <a:cubicBezTo>
                    <a:pt x="3499" y="253535"/>
                    <a:pt x="3818" y="253535"/>
                    <a:pt x="3818" y="253217"/>
                  </a:cubicBezTo>
                  <a:cubicBezTo>
                    <a:pt x="3818" y="253217"/>
                    <a:pt x="3818" y="252899"/>
                    <a:pt x="3499" y="252899"/>
                  </a:cubicBezTo>
                  <a:cubicBezTo>
                    <a:pt x="3499" y="252581"/>
                    <a:pt x="3818" y="251945"/>
                    <a:pt x="4136" y="251626"/>
                  </a:cubicBezTo>
                  <a:close/>
                  <a:moveTo>
                    <a:pt x="2863" y="236357"/>
                  </a:moveTo>
                  <a:cubicBezTo>
                    <a:pt x="2863" y="236675"/>
                    <a:pt x="3181" y="236675"/>
                    <a:pt x="3181" y="236675"/>
                  </a:cubicBezTo>
                  <a:lnTo>
                    <a:pt x="3818" y="236039"/>
                  </a:lnTo>
                  <a:cubicBezTo>
                    <a:pt x="3181" y="236039"/>
                    <a:pt x="3181" y="236039"/>
                    <a:pt x="3181" y="236357"/>
                  </a:cubicBezTo>
                  <a:lnTo>
                    <a:pt x="2863" y="236357"/>
                  </a:lnTo>
                  <a:close/>
                  <a:moveTo>
                    <a:pt x="3499" y="270713"/>
                  </a:moveTo>
                  <a:cubicBezTo>
                    <a:pt x="3181" y="270713"/>
                    <a:pt x="2863" y="270077"/>
                    <a:pt x="2863" y="269759"/>
                  </a:cubicBezTo>
                  <a:lnTo>
                    <a:pt x="2863" y="269441"/>
                  </a:lnTo>
                  <a:cubicBezTo>
                    <a:pt x="3181" y="269759"/>
                    <a:pt x="3499" y="269759"/>
                    <a:pt x="3499" y="270077"/>
                  </a:cubicBezTo>
                  <a:lnTo>
                    <a:pt x="3499" y="270713"/>
                  </a:lnTo>
                  <a:close/>
                  <a:moveTo>
                    <a:pt x="6044" y="241129"/>
                  </a:moveTo>
                  <a:cubicBezTo>
                    <a:pt x="6044" y="242083"/>
                    <a:pt x="5726" y="242401"/>
                    <a:pt x="5090" y="242719"/>
                  </a:cubicBezTo>
                  <a:cubicBezTo>
                    <a:pt x="4454" y="242719"/>
                    <a:pt x="4136" y="242401"/>
                    <a:pt x="4136" y="242083"/>
                  </a:cubicBezTo>
                  <a:cubicBezTo>
                    <a:pt x="4454" y="241765"/>
                    <a:pt x="5726" y="240174"/>
                    <a:pt x="5726" y="240174"/>
                  </a:cubicBezTo>
                  <a:lnTo>
                    <a:pt x="6044" y="240811"/>
                  </a:lnTo>
                  <a:lnTo>
                    <a:pt x="6044" y="241129"/>
                  </a:lnTo>
                  <a:close/>
                  <a:moveTo>
                    <a:pt x="5408" y="252899"/>
                  </a:moveTo>
                  <a:cubicBezTo>
                    <a:pt x="5408" y="252899"/>
                    <a:pt x="5090" y="252899"/>
                    <a:pt x="5090" y="253535"/>
                  </a:cubicBezTo>
                  <a:cubicBezTo>
                    <a:pt x="5090" y="253535"/>
                    <a:pt x="5090" y="253853"/>
                    <a:pt x="5408" y="254171"/>
                  </a:cubicBezTo>
                  <a:lnTo>
                    <a:pt x="5408" y="254489"/>
                  </a:lnTo>
                  <a:cubicBezTo>
                    <a:pt x="5726" y="254489"/>
                    <a:pt x="5726" y="254808"/>
                    <a:pt x="5726" y="254808"/>
                  </a:cubicBezTo>
                  <a:cubicBezTo>
                    <a:pt x="5726" y="254489"/>
                    <a:pt x="5726" y="254171"/>
                    <a:pt x="5408" y="252899"/>
                  </a:cubicBezTo>
                  <a:close/>
                  <a:moveTo>
                    <a:pt x="7317" y="250354"/>
                  </a:moveTo>
                  <a:lnTo>
                    <a:pt x="7635" y="250354"/>
                  </a:lnTo>
                  <a:lnTo>
                    <a:pt x="7635" y="248127"/>
                  </a:lnTo>
                  <a:cubicBezTo>
                    <a:pt x="7953" y="248445"/>
                    <a:pt x="8589" y="248445"/>
                    <a:pt x="8907" y="248445"/>
                  </a:cubicBezTo>
                  <a:cubicBezTo>
                    <a:pt x="9225" y="248445"/>
                    <a:pt x="9225" y="248445"/>
                    <a:pt x="9225" y="248763"/>
                  </a:cubicBezTo>
                  <a:cubicBezTo>
                    <a:pt x="8907" y="249082"/>
                    <a:pt x="9225" y="249718"/>
                    <a:pt x="8589" y="250672"/>
                  </a:cubicBezTo>
                  <a:lnTo>
                    <a:pt x="7635" y="250672"/>
                  </a:lnTo>
                  <a:cubicBezTo>
                    <a:pt x="7635" y="250672"/>
                    <a:pt x="7317" y="250672"/>
                    <a:pt x="7317" y="250354"/>
                  </a:cubicBezTo>
                  <a:close/>
                  <a:moveTo>
                    <a:pt x="8589" y="215362"/>
                  </a:moveTo>
                  <a:cubicBezTo>
                    <a:pt x="8589" y="215044"/>
                    <a:pt x="9225" y="213771"/>
                    <a:pt x="9225" y="213453"/>
                  </a:cubicBezTo>
                  <a:lnTo>
                    <a:pt x="9861" y="213453"/>
                  </a:lnTo>
                  <a:lnTo>
                    <a:pt x="9861" y="214089"/>
                  </a:lnTo>
                  <a:cubicBezTo>
                    <a:pt x="9861" y="215044"/>
                    <a:pt x="8907" y="215362"/>
                    <a:pt x="8589" y="215362"/>
                  </a:cubicBezTo>
                  <a:close/>
                  <a:moveTo>
                    <a:pt x="9543" y="257034"/>
                  </a:moveTo>
                  <a:cubicBezTo>
                    <a:pt x="9225" y="257034"/>
                    <a:pt x="9225" y="256716"/>
                    <a:pt x="9225" y="256716"/>
                  </a:cubicBezTo>
                  <a:cubicBezTo>
                    <a:pt x="9225" y="256716"/>
                    <a:pt x="9225" y="256398"/>
                    <a:pt x="9543" y="256398"/>
                  </a:cubicBezTo>
                  <a:cubicBezTo>
                    <a:pt x="9543" y="256398"/>
                    <a:pt x="9543" y="256716"/>
                    <a:pt x="10180" y="256716"/>
                  </a:cubicBezTo>
                  <a:lnTo>
                    <a:pt x="9543" y="257034"/>
                  </a:lnTo>
                  <a:close/>
                  <a:moveTo>
                    <a:pt x="16860" y="276121"/>
                  </a:moveTo>
                  <a:cubicBezTo>
                    <a:pt x="16542" y="274849"/>
                    <a:pt x="16224" y="273894"/>
                    <a:pt x="14951" y="273576"/>
                  </a:cubicBezTo>
                  <a:lnTo>
                    <a:pt x="14951" y="273258"/>
                  </a:lnTo>
                  <a:cubicBezTo>
                    <a:pt x="15270" y="273258"/>
                    <a:pt x="15906" y="273258"/>
                    <a:pt x="15906" y="272304"/>
                  </a:cubicBezTo>
                  <a:cubicBezTo>
                    <a:pt x="15906" y="271349"/>
                    <a:pt x="15270" y="269441"/>
                    <a:pt x="13361" y="265941"/>
                  </a:cubicBezTo>
                  <a:lnTo>
                    <a:pt x="13043" y="265623"/>
                  </a:lnTo>
                  <a:cubicBezTo>
                    <a:pt x="13043" y="265623"/>
                    <a:pt x="12724" y="265623"/>
                    <a:pt x="12724" y="265941"/>
                  </a:cubicBezTo>
                  <a:lnTo>
                    <a:pt x="12724" y="266578"/>
                  </a:lnTo>
                  <a:cubicBezTo>
                    <a:pt x="12724" y="266896"/>
                    <a:pt x="13043" y="266578"/>
                    <a:pt x="13043" y="267214"/>
                  </a:cubicBezTo>
                  <a:lnTo>
                    <a:pt x="12088" y="268168"/>
                  </a:lnTo>
                  <a:cubicBezTo>
                    <a:pt x="11452" y="268168"/>
                    <a:pt x="11452" y="267214"/>
                    <a:pt x="11452" y="266896"/>
                  </a:cubicBezTo>
                  <a:cubicBezTo>
                    <a:pt x="11452" y="266578"/>
                    <a:pt x="11452" y="266578"/>
                    <a:pt x="11770" y="266260"/>
                  </a:cubicBezTo>
                  <a:lnTo>
                    <a:pt x="10816" y="265941"/>
                  </a:lnTo>
                  <a:lnTo>
                    <a:pt x="10498" y="266578"/>
                  </a:lnTo>
                  <a:cubicBezTo>
                    <a:pt x="10498" y="266896"/>
                    <a:pt x="9861" y="267532"/>
                    <a:pt x="9861" y="268168"/>
                  </a:cubicBezTo>
                  <a:cubicBezTo>
                    <a:pt x="9861" y="268804"/>
                    <a:pt x="9861" y="268486"/>
                    <a:pt x="11770" y="270395"/>
                  </a:cubicBezTo>
                  <a:cubicBezTo>
                    <a:pt x="12088" y="270395"/>
                    <a:pt x="12088" y="270077"/>
                    <a:pt x="12088" y="269759"/>
                  </a:cubicBezTo>
                  <a:cubicBezTo>
                    <a:pt x="12088" y="269441"/>
                    <a:pt x="12088" y="269123"/>
                    <a:pt x="12406" y="269123"/>
                  </a:cubicBezTo>
                  <a:lnTo>
                    <a:pt x="13043" y="268486"/>
                  </a:lnTo>
                  <a:cubicBezTo>
                    <a:pt x="13361" y="268168"/>
                    <a:pt x="13361" y="270395"/>
                    <a:pt x="14633" y="273258"/>
                  </a:cubicBezTo>
                  <a:lnTo>
                    <a:pt x="15906" y="276121"/>
                  </a:lnTo>
                  <a:lnTo>
                    <a:pt x="16542" y="276439"/>
                  </a:lnTo>
                  <a:cubicBezTo>
                    <a:pt x="16542" y="276439"/>
                    <a:pt x="16860" y="276439"/>
                    <a:pt x="16860" y="276121"/>
                  </a:cubicBezTo>
                  <a:close/>
                  <a:moveTo>
                    <a:pt x="10498" y="211226"/>
                  </a:moveTo>
                  <a:cubicBezTo>
                    <a:pt x="11134" y="209318"/>
                    <a:pt x="11134" y="206455"/>
                    <a:pt x="12406" y="206455"/>
                  </a:cubicBezTo>
                  <a:cubicBezTo>
                    <a:pt x="13043" y="206455"/>
                    <a:pt x="13361" y="207091"/>
                    <a:pt x="14315" y="208045"/>
                  </a:cubicBezTo>
                  <a:lnTo>
                    <a:pt x="12724" y="208363"/>
                  </a:lnTo>
                  <a:cubicBezTo>
                    <a:pt x="12724" y="210590"/>
                    <a:pt x="11452" y="211862"/>
                    <a:pt x="11134" y="211862"/>
                  </a:cubicBezTo>
                  <a:cubicBezTo>
                    <a:pt x="10816" y="211544"/>
                    <a:pt x="10498" y="211544"/>
                    <a:pt x="10498" y="211226"/>
                  </a:cubicBezTo>
                  <a:close/>
                  <a:moveTo>
                    <a:pt x="12724" y="205500"/>
                  </a:moveTo>
                  <a:lnTo>
                    <a:pt x="12724" y="205182"/>
                  </a:lnTo>
                  <a:lnTo>
                    <a:pt x="13043" y="205500"/>
                  </a:lnTo>
                  <a:lnTo>
                    <a:pt x="12724" y="205500"/>
                  </a:lnTo>
                  <a:close/>
                  <a:moveTo>
                    <a:pt x="13361" y="243992"/>
                  </a:moveTo>
                  <a:cubicBezTo>
                    <a:pt x="13361" y="244310"/>
                    <a:pt x="13361" y="244628"/>
                    <a:pt x="13043" y="245264"/>
                  </a:cubicBezTo>
                  <a:cubicBezTo>
                    <a:pt x="13679" y="245264"/>
                    <a:pt x="13361" y="243674"/>
                    <a:pt x="13997" y="243674"/>
                  </a:cubicBezTo>
                  <a:lnTo>
                    <a:pt x="14633" y="243674"/>
                  </a:lnTo>
                  <a:cubicBezTo>
                    <a:pt x="14315" y="243037"/>
                    <a:pt x="14315" y="242401"/>
                    <a:pt x="14315" y="242083"/>
                  </a:cubicBezTo>
                  <a:cubicBezTo>
                    <a:pt x="14315" y="241129"/>
                    <a:pt x="14951" y="238902"/>
                    <a:pt x="14951" y="237311"/>
                  </a:cubicBezTo>
                  <a:cubicBezTo>
                    <a:pt x="14633" y="236675"/>
                    <a:pt x="14633" y="236357"/>
                    <a:pt x="14633" y="236357"/>
                  </a:cubicBezTo>
                  <a:lnTo>
                    <a:pt x="14315" y="236039"/>
                  </a:lnTo>
                  <a:cubicBezTo>
                    <a:pt x="13679" y="237630"/>
                    <a:pt x="13043" y="240174"/>
                    <a:pt x="13043" y="241765"/>
                  </a:cubicBezTo>
                  <a:cubicBezTo>
                    <a:pt x="13043" y="242401"/>
                    <a:pt x="13043" y="242719"/>
                    <a:pt x="13361" y="243356"/>
                  </a:cubicBezTo>
                  <a:lnTo>
                    <a:pt x="13361" y="243992"/>
                  </a:lnTo>
                  <a:close/>
                  <a:moveTo>
                    <a:pt x="14633" y="234448"/>
                  </a:moveTo>
                  <a:lnTo>
                    <a:pt x="14951" y="234448"/>
                  </a:lnTo>
                  <a:cubicBezTo>
                    <a:pt x="14951" y="234130"/>
                    <a:pt x="14951" y="234130"/>
                    <a:pt x="14633" y="234130"/>
                  </a:cubicBezTo>
                  <a:lnTo>
                    <a:pt x="14633" y="234448"/>
                  </a:lnTo>
                  <a:close/>
                  <a:moveTo>
                    <a:pt x="15588" y="196593"/>
                  </a:moveTo>
                  <a:lnTo>
                    <a:pt x="16542" y="196911"/>
                  </a:lnTo>
                  <a:cubicBezTo>
                    <a:pt x="16224" y="197229"/>
                    <a:pt x="16224" y="197866"/>
                    <a:pt x="16224" y="197866"/>
                  </a:cubicBezTo>
                  <a:lnTo>
                    <a:pt x="15906" y="197547"/>
                  </a:lnTo>
                  <a:cubicBezTo>
                    <a:pt x="15906" y="197547"/>
                    <a:pt x="15588" y="196911"/>
                    <a:pt x="15588" y="196593"/>
                  </a:cubicBezTo>
                  <a:close/>
                  <a:moveTo>
                    <a:pt x="16542" y="195957"/>
                  </a:moveTo>
                  <a:cubicBezTo>
                    <a:pt x="16542" y="195957"/>
                    <a:pt x="16860" y="195321"/>
                    <a:pt x="17496" y="195003"/>
                  </a:cubicBezTo>
                  <a:lnTo>
                    <a:pt x="17496" y="195957"/>
                  </a:lnTo>
                  <a:lnTo>
                    <a:pt x="17178" y="196275"/>
                  </a:lnTo>
                  <a:lnTo>
                    <a:pt x="16542" y="195957"/>
                  </a:lnTo>
                  <a:close/>
                  <a:moveTo>
                    <a:pt x="17814" y="278348"/>
                  </a:moveTo>
                  <a:cubicBezTo>
                    <a:pt x="17814" y="277394"/>
                    <a:pt x="17496" y="277394"/>
                    <a:pt x="16860" y="277075"/>
                  </a:cubicBezTo>
                  <a:lnTo>
                    <a:pt x="16860" y="278030"/>
                  </a:lnTo>
                  <a:lnTo>
                    <a:pt x="17496" y="278348"/>
                  </a:lnTo>
                  <a:lnTo>
                    <a:pt x="17814" y="278348"/>
                  </a:lnTo>
                  <a:close/>
                  <a:moveTo>
                    <a:pt x="19087" y="280575"/>
                  </a:moveTo>
                  <a:lnTo>
                    <a:pt x="18133" y="278984"/>
                  </a:lnTo>
                  <a:lnTo>
                    <a:pt x="17814" y="279302"/>
                  </a:lnTo>
                  <a:cubicBezTo>
                    <a:pt x="17814" y="280257"/>
                    <a:pt x="18451" y="280575"/>
                    <a:pt x="19087" y="280575"/>
                  </a:cubicBezTo>
                  <a:close/>
                  <a:moveTo>
                    <a:pt x="18133" y="194366"/>
                  </a:moveTo>
                  <a:cubicBezTo>
                    <a:pt x="18133" y="193094"/>
                    <a:pt x="18133" y="192776"/>
                    <a:pt x="18451" y="192458"/>
                  </a:cubicBezTo>
                  <a:lnTo>
                    <a:pt x="18769" y="192458"/>
                  </a:lnTo>
                  <a:lnTo>
                    <a:pt x="18769" y="194048"/>
                  </a:lnTo>
                  <a:cubicBezTo>
                    <a:pt x="18769" y="194684"/>
                    <a:pt x="18769" y="194684"/>
                    <a:pt x="18451" y="194684"/>
                  </a:cubicBezTo>
                  <a:cubicBezTo>
                    <a:pt x="18451" y="194366"/>
                    <a:pt x="18133" y="194366"/>
                    <a:pt x="18133" y="194366"/>
                  </a:cubicBezTo>
                  <a:close/>
                  <a:moveTo>
                    <a:pt x="130426" y="120246"/>
                  </a:moveTo>
                  <a:cubicBezTo>
                    <a:pt x="130108" y="120246"/>
                    <a:pt x="130108" y="120564"/>
                    <a:pt x="129790" y="120564"/>
                  </a:cubicBezTo>
                  <a:cubicBezTo>
                    <a:pt x="129472" y="121201"/>
                    <a:pt x="129472" y="119292"/>
                    <a:pt x="129153" y="119292"/>
                  </a:cubicBezTo>
                  <a:cubicBezTo>
                    <a:pt x="128835" y="119292"/>
                    <a:pt x="128199" y="119610"/>
                    <a:pt x="127881" y="120246"/>
                  </a:cubicBezTo>
                  <a:lnTo>
                    <a:pt x="127245" y="120246"/>
                  </a:lnTo>
                  <a:cubicBezTo>
                    <a:pt x="126291" y="120564"/>
                    <a:pt x="121519" y="124700"/>
                    <a:pt x="118974" y="124700"/>
                  </a:cubicBezTo>
                  <a:lnTo>
                    <a:pt x="118338" y="124700"/>
                  </a:lnTo>
                  <a:cubicBezTo>
                    <a:pt x="118338" y="125018"/>
                    <a:pt x="116429" y="126608"/>
                    <a:pt x="116111" y="126608"/>
                  </a:cubicBezTo>
                  <a:cubicBezTo>
                    <a:pt x="116111" y="126927"/>
                    <a:pt x="116429" y="126927"/>
                    <a:pt x="116429" y="126927"/>
                  </a:cubicBezTo>
                  <a:lnTo>
                    <a:pt x="116111" y="127245"/>
                  </a:lnTo>
                  <a:cubicBezTo>
                    <a:pt x="116111" y="127245"/>
                    <a:pt x="115793" y="127245"/>
                    <a:pt x="115793" y="126927"/>
                  </a:cubicBezTo>
                  <a:cubicBezTo>
                    <a:pt x="115793" y="127245"/>
                    <a:pt x="115475" y="127245"/>
                    <a:pt x="115475" y="127245"/>
                  </a:cubicBezTo>
                  <a:cubicBezTo>
                    <a:pt x="115157" y="127245"/>
                    <a:pt x="114838" y="126290"/>
                    <a:pt x="114202" y="126290"/>
                  </a:cubicBezTo>
                  <a:cubicBezTo>
                    <a:pt x="113566" y="126290"/>
                    <a:pt x="111657" y="128835"/>
                    <a:pt x="111339" y="129790"/>
                  </a:cubicBezTo>
                  <a:lnTo>
                    <a:pt x="110385" y="129790"/>
                  </a:lnTo>
                  <a:cubicBezTo>
                    <a:pt x="110067" y="129790"/>
                    <a:pt x="109749" y="130108"/>
                    <a:pt x="109112" y="130426"/>
                  </a:cubicBezTo>
                  <a:lnTo>
                    <a:pt x="108158" y="131062"/>
                  </a:lnTo>
                  <a:lnTo>
                    <a:pt x="108158" y="130744"/>
                  </a:lnTo>
                  <a:cubicBezTo>
                    <a:pt x="107840" y="130744"/>
                    <a:pt x="106885" y="131380"/>
                    <a:pt x="106885" y="132016"/>
                  </a:cubicBezTo>
                  <a:lnTo>
                    <a:pt x="106249" y="132016"/>
                  </a:lnTo>
                  <a:cubicBezTo>
                    <a:pt x="105613" y="132016"/>
                    <a:pt x="104023" y="132335"/>
                    <a:pt x="101478" y="134879"/>
                  </a:cubicBezTo>
                  <a:lnTo>
                    <a:pt x="101160" y="135198"/>
                  </a:lnTo>
                  <a:cubicBezTo>
                    <a:pt x="99251" y="135198"/>
                    <a:pt x="100205" y="136152"/>
                    <a:pt x="97661" y="137742"/>
                  </a:cubicBezTo>
                  <a:cubicBezTo>
                    <a:pt x="97342" y="137424"/>
                    <a:pt x="97342" y="137424"/>
                    <a:pt x="97024" y="137424"/>
                  </a:cubicBezTo>
                  <a:cubicBezTo>
                    <a:pt x="96070" y="137424"/>
                    <a:pt x="95434" y="139015"/>
                    <a:pt x="95115" y="139015"/>
                  </a:cubicBezTo>
                  <a:lnTo>
                    <a:pt x="92889" y="139651"/>
                  </a:lnTo>
                  <a:cubicBezTo>
                    <a:pt x="92889" y="140287"/>
                    <a:pt x="90980" y="142196"/>
                    <a:pt x="90026" y="142514"/>
                  </a:cubicBezTo>
                  <a:lnTo>
                    <a:pt x="89708" y="142514"/>
                  </a:lnTo>
                  <a:cubicBezTo>
                    <a:pt x="88435" y="142514"/>
                    <a:pt x="86845" y="146968"/>
                    <a:pt x="82709" y="146968"/>
                  </a:cubicBezTo>
                  <a:lnTo>
                    <a:pt x="81119" y="148876"/>
                  </a:lnTo>
                  <a:cubicBezTo>
                    <a:pt x="80800" y="148558"/>
                    <a:pt x="80482" y="148558"/>
                    <a:pt x="80482" y="148558"/>
                  </a:cubicBezTo>
                  <a:cubicBezTo>
                    <a:pt x="80164" y="148558"/>
                    <a:pt x="79846" y="148876"/>
                    <a:pt x="79528" y="149194"/>
                  </a:cubicBezTo>
                  <a:cubicBezTo>
                    <a:pt x="80482" y="149513"/>
                    <a:pt x="73166" y="152376"/>
                    <a:pt x="71893" y="156511"/>
                  </a:cubicBezTo>
                  <a:cubicBezTo>
                    <a:pt x="69030" y="156511"/>
                    <a:pt x="74120" y="158102"/>
                    <a:pt x="62668" y="165418"/>
                  </a:cubicBezTo>
                  <a:lnTo>
                    <a:pt x="59805" y="167009"/>
                  </a:lnTo>
                  <a:cubicBezTo>
                    <a:pt x="59805" y="172098"/>
                    <a:pt x="58851" y="165100"/>
                    <a:pt x="51216" y="176552"/>
                  </a:cubicBezTo>
                  <a:lnTo>
                    <a:pt x="48035" y="180687"/>
                  </a:lnTo>
                  <a:cubicBezTo>
                    <a:pt x="47399" y="181324"/>
                    <a:pt x="45808" y="182596"/>
                    <a:pt x="45808" y="183869"/>
                  </a:cubicBezTo>
                  <a:cubicBezTo>
                    <a:pt x="45808" y="185141"/>
                    <a:pt x="39764" y="188640"/>
                    <a:pt x="39764" y="192776"/>
                  </a:cubicBezTo>
                  <a:lnTo>
                    <a:pt x="37855" y="195321"/>
                  </a:lnTo>
                  <a:cubicBezTo>
                    <a:pt x="37855" y="194684"/>
                    <a:pt x="37219" y="198820"/>
                    <a:pt x="35629" y="198820"/>
                  </a:cubicBezTo>
                  <a:cubicBezTo>
                    <a:pt x="35310" y="198820"/>
                    <a:pt x="34992" y="198502"/>
                    <a:pt x="34992" y="198502"/>
                  </a:cubicBezTo>
                  <a:cubicBezTo>
                    <a:pt x="34674" y="198502"/>
                    <a:pt x="34038" y="199774"/>
                    <a:pt x="34038" y="200092"/>
                  </a:cubicBezTo>
                  <a:cubicBezTo>
                    <a:pt x="34038" y="200410"/>
                    <a:pt x="34038" y="200729"/>
                    <a:pt x="34356" y="201047"/>
                  </a:cubicBezTo>
                  <a:lnTo>
                    <a:pt x="33402" y="203273"/>
                  </a:lnTo>
                  <a:cubicBezTo>
                    <a:pt x="33402" y="205500"/>
                    <a:pt x="26403" y="213771"/>
                    <a:pt x="26085" y="217907"/>
                  </a:cubicBezTo>
                  <a:lnTo>
                    <a:pt x="26085" y="218225"/>
                  </a:lnTo>
                  <a:cubicBezTo>
                    <a:pt x="26085" y="218861"/>
                    <a:pt x="26085" y="218861"/>
                    <a:pt x="25449" y="219815"/>
                  </a:cubicBezTo>
                  <a:lnTo>
                    <a:pt x="24813" y="220770"/>
                  </a:lnTo>
                  <a:cubicBezTo>
                    <a:pt x="24495" y="221724"/>
                    <a:pt x="23858" y="222042"/>
                    <a:pt x="23858" y="222678"/>
                  </a:cubicBezTo>
                  <a:cubicBezTo>
                    <a:pt x="24176" y="222996"/>
                    <a:pt x="24176" y="223314"/>
                    <a:pt x="24176" y="223633"/>
                  </a:cubicBezTo>
                  <a:cubicBezTo>
                    <a:pt x="24176" y="224269"/>
                    <a:pt x="23540" y="224269"/>
                    <a:pt x="23222" y="224269"/>
                  </a:cubicBezTo>
                  <a:lnTo>
                    <a:pt x="23222" y="225223"/>
                  </a:lnTo>
                  <a:cubicBezTo>
                    <a:pt x="22586" y="225541"/>
                    <a:pt x="22586" y="225859"/>
                    <a:pt x="22586" y="226496"/>
                  </a:cubicBezTo>
                  <a:lnTo>
                    <a:pt x="22586" y="227450"/>
                  </a:lnTo>
                  <a:cubicBezTo>
                    <a:pt x="22586" y="228086"/>
                    <a:pt x="22586" y="228722"/>
                    <a:pt x="22268" y="229359"/>
                  </a:cubicBezTo>
                  <a:lnTo>
                    <a:pt x="21632" y="231585"/>
                  </a:lnTo>
                  <a:cubicBezTo>
                    <a:pt x="21632" y="231904"/>
                    <a:pt x="21632" y="232222"/>
                    <a:pt x="20995" y="232540"/>
                  </a:cubicBezTo>
                  <a:cubicBezTo>
                    <a:pt x="21314" y="233176"/>
                    <a:pt x="21314" y="233494"/>
                    <a:pt x="21314" y="233812"/>
                  </a:cubicBezTo>
                  <a:lnTo>
                    <a:pt x="21632" y="234130"/>
                  </a:lnTo>
                  <a:cubicBezTo>
                    <a:pt x="21950" y="234130"/>
                    <a:pt x="21950" y="234448"/>
                    <a:pt x="21950" y="234767"/>
                  </a:cubicBezTo>
                  <a:cubicBezTo>
                    <a:pt x="21950" y="235721"/>
                    <a:pt x="20677" y="238584"/>
                    <a:pt x="20677" y="239856"/>
                  </a:cubicBezTo>
                  <a:cubicBezTo>
                    <a:pt x="20677" y="241447"/>
                    <a:pt x="20995" y="241447"/>
                    <a:pt x="20995" y="241765"/>
                  </a:cubicBezTo>
                  <a:lnTo>
                    <a:pt x="21632" y="246219"/>
                  </a:lnTo>
                  <a:cubicBezTo>
                    <a:pt x="21632" y="248127"/>
                    <a:pt x="20677" y="246855"/>
                    <a:pt x="20677" y="248445"/>
                  </a:cubicBezTo>
                  <a:lnTo>
                    <a:pt x="20677" y="250354"/>
                  </a:lnTo>
                  <a:cubicBezTo>
                    <a:pt x="20677" y="250990"/>
                    <a:pt x="20677" y="251626"/>
                    <a:pt x="20995" y="251945"/>
                  </a:cubicBezTo>
                  <a:cubicBezTo>
                    <a:pt x="20677" y="252581"/>
                    <a:pt x="20677" y="252899"/>
                    <a:pt x="20677" y="252899"/>
                  </a:cubicBezTo>
                  <a:lnTo>
                    <a:pt x="20359" y="252899"/>
                  </a:lnTo>
                  <a:cubicBezTo>
                    <a:pt x="20041" y="253217"/>
                    <a:pt x="19723" y="253217"/>
                    <a:pt x="19723" y="253535"/>
                  </a:cubicBezTo>
                  <a:cubicBezTo>
                    <a:pt x="19723" y="253535"/>
                    <a:pt x="20677" y="255762"/>
                    <a:pt x="21314" y="256080"/>
                  </a:cubicBezTo>
                  <a:cubicBezTo>
                    <a:pt x="21314" y="256080"/>
                    <a:pt x="21314" y="256716"/>
                    <a:pt x="20995" y="256716"/>
                  </a:cubicBezTo>
                  <a:lnTo>
                    <a:pt x="20995" y="258307"/>
                  </a:lnTo>
                  <a:cubicBezTo>
                    <a:pt x="20677" y="258307"/>
                    <a:pt x="20677" y="258625"/>
                    <a:pt x="20677" y="258943"/>
                  </a:cubicBezTo>
                  <a:cubicBezTo>
                    <a:pt x="20677" y="261488"/>
                    <a:pt x="21632" y="261806"/>
                    <a:pt x="21632" y="262442"/>
                  </a:cubicBezTo>
                  <a:cubicBezTo>
                    <a:pt x="21632" y="262760"/>
                    <a:pt x="21314" y="262760"/>
                    <a:pt x="20995" y="262760"/>
                  </a:cubicBezTo>
                  <a:cubicBezTo>
                    <a:pt x="20995" y="264033"/>
                    <a:pt x="24176" y="267532"/>
                    <a:pt x="23222" y="264351"/>
                  </a:cubicBezTo>
                  <a:cubicBezTo>
                    <a:pt x="23858" y="265305"/>
                    <a:pt x="24176" y="265305"/>
                    <a:pt x="24176" y="265623"/>
                  </a:cubicBezTo>
                  <a:lnTo>
                    <a:pt x="24176" y="266896"/>
                  </a:lnTo>
                  <a:cubicBezTo>
                    <a:pt x="24176" y="267532"/>
                    <a:pt x="24176" y="267850"/>
                    <a:pt x="23540" y="269759"/>
                  </a:cubicBezTo>
                  <a:cubicBezTo>
                    <a:pt x="24176" y="270395"/>
                    <a:pt x="24495" y="272304"/>
                    <a:pt x="25131" y="272940"/>
                  </a:cubicBezTo>
                  <a:cubicBezTo>
                    <a:pt x="24813" y="273258"/>
                    <a:pt x="24813" y="273258"/>
                    <a:pt x="24813" y="273576"/>
                  </a:cubicBezTo>
                  <a:cubicBezTo>
                    <a:pt x="24813" y="273576"/>
                    <a:pt x="29585" y="276757"/>
                    <a:pt x="29585" y="278348"/>
                  </a:cubicBezTo>
                  <a:cubicBezTo>
                    <a:pt x="28312" y="278348"/>
                    <a:pt x="28948" y="278030"/>
                    <a:pt x="28312" y="278030"/>
                  </a:cubicBezTo>
                  <a:cubicBezTo>
                    <a:pt x="27994" y="278030"/>
                    <a:pt x="27676" y="278030"/>
                    <a:pt x="27676" y="278348"/>
                  </a:cubicBezTo>
                  <a:cubicBezTo>
                    <a:pt x="27994" y="278984"/>
                    <a:pt x="29267" y="281211"/>
                    <a:pt x="29903" y="281529"/>
                  </a:cubicBezTo>
                  <a:lnTo>
                    <a:pt x="30857" y="281529"/>
                  </a:lnTo>
                  <a:lnTo>
                    <a:pt x="32448" y="282801"/>
                  </a:lnTo>
                  <a:cubicBezTo>
                    <a:pt x="32766" y="283438"/>
                    <a:pt x="33084" y="283438"/>
                    <a:pt x="33720" y="283438"/>
                  </a:cubicBezTo>
                  <a:lnTo>
                    <a:pt x="34356" y="283756"/>
                  </a:lnTo>
                  <a:cubicBezTo>
                    <a:pt x="35310" y="285028"/>
                    <a:pt x="36265" y="285028"/>
                    <a:pt x="37219" y="285028"/>
                  </a:cubicBezTo>
                  <a:cubicBezTo>
                    <a:pt x="38810" y="284710"/>
                    <a:pt x="40082" y="284710"/>
                    <a:pt x="41673" y="284710"/>
                  </a:cubicBezTo>
                  <a:cubicBezTo>
                    <a:pt x="42309" y="284392"/>
                    <a:pt x="51852" y="282801"/>
                    <a:pt x="54397" y="279620"/>
                  </a:cubicBezTo>
                  <a:lnTo>
                    <a:pt x="57578" y="278030"/>
                  </a:lnTo>
                  <a:cubicBezTo>
                    <a:pt x="57897" y="278348"/>
                    <a:pt x="57897" y="278348"/>
                    <a:pt x="58215" y="278348"/>
                  </a:cubicBezTo>
                  <a:cubicBezTo>
                    <a:pt x="58215" y="278348"/>
                    <a:pt x="66485" y="273258"/>
                    <a:pt x="68394" y="270713"/>
                  </a:cubicBezTo>
                  <a:lnTo>
                    <a:pt x="69030" y="271031"/>
                  </a:lnTo>
                  <a:cubicBezTo>
                    <a:pt x="69985" y="269441"/>
                    <a:pt x="71575" y="268804"/>
                    <a:pt x="74438" y="264033"/>
                  </a:cubicBezTo>
                  <a:cubicBezTo>
                    <a:pt x="74438" y="263078"/>
                    <a:pt x="74438" y="263078"/>
                    <a:pt x="74756" y="263078"/>
                  </a:cubicBezTo>
                  <a:lnTo>
                    <a:pt x="75393" y="263078"/>
                  </a:lnTo>
                  <a:cubicBezTo>
                    <a:pt x="76347" y="263078"/>
                    <a:pt x="78255" y="262124"/>
                    <a:pt x="81437" y="256716"/>
                  </a:cubicBezTo>
                  <a:cubicBezTo>
                    <a:pt x="81437" y="254489"/>
                    <a:pt x="91616" y="256080"/>
                    <a:pt x="91616" y="238584"/>
                  </a:cubicBezTo>
                  <a:lnTo>
                    <a:pt x="92252" y="238266"/>
                  </a:lnTo>
                  <a:cubicBezTo>
                    <a:pt x="93207" y="238266"/>
                    <a:pt x="94479" y="234448"/>
                    <a:pt x="95752" y="233494"/>
                  </a:cubicBezTo>
                  <a:lnTo>
                    <a:pt x="96070" y="233176"/>
                  </a:lnTo>
                  <a:cubicBezTo>
                    <a:pt x="96706" y="229677"/>
                    <a:pt x="99569" y="226814"/>
                    <a:pt x="100842" y="222042"/>
                  </a:cubicBezTo>
                  <a:cubicBezTo>
                    <a:pt x="101478" y="221406"/>
                    <a:pt x="104659" y="210908"/>
                    <a:pt x="109112" y="205500"/>
                  </a:cubicBezTo>
                  <a:cubicBezTo>
                    <a:pt x="110067" y="197547"/>
                    <a:pt x="109112" y="207091"/>
                    <a:pt x="115475" y="187686"/>
                  </a:cubicBezTo>
                  <a:lnTo>
                    <a:pt x="116747" y="181960"/>
                  </a:lnTo>
                  <a:cubicBezTo>
                    <a:pt x="116111" y="182596"/>
                    <a:pt x="120882" y="172417"/>
                    <a:pt x="120882" y="169872"/>
                  </a:cubicBezTo>
                  <a:lnTo>
                    <a:pt x="120882" y="167645"/>
                  </a:lnTo>
                  <a:cubicBezTo>
                    <a:pt x="121837" y="166054"/>
                    <a:pt x="121837" y="162555"/>
                    <a:pt x="123428" y="160328"/>
                  </a:cubicBezTo>
                  <a:cubicBezTo>
                    <a:pt x="123428" y="159056"/>
                    <a:pt x="123109" y="158420"/>
                    <a:pt x="123109" y="157147"/>
                  </a:cubicBezTo>
                  <a:cubicBezTo>
                    <a:pt x="123428" y="156193"/>
                    <a:pt x="125018" y="152694"/>
                    <a:pt x="125018" y="153012"/>
                  </a:cubicBezTo>
                  <a:cubicBezTo>
                    <a:pt x="125018" y="151739"/>
                    <a:pt x="125336" y="151103"/>
                    <a:pt x="125654" y="150467"/>
                  </a:cubicBezTo>
                  <a:lnTo>
                    <a:pt x="125654" y="149513"/>
                  </a:lnTo>
                  <a:cubicBezTo>
                    <a:pt x="125654" y="147604"/>
                    <a:pt x="125972" y="142832"/>
                    <a:pt x="127881" y="139015"/>
                  </a:cubicBezTo>
                  <a:lnTo>
                    <a:pt x="127881" y="137106"/>
                  </a:lnTo>
                  <a:cubicBezTo>
                    <a:pt x="128199" y="134561"/>
                    <a:pt x="129153" y="132653"/>
                    <a:pt x="129472" y="130426"/>
                  </a:cubicBezTo>
                  <a:lnTo>
                    <a:pt x="129472" y="129790"/>
                  </a:lnTo>
                  <a:cubicBezTo>
                    <a:pt x="129153" y="129471"/>
                    <a:pt x="129153" y="128835"/>
                    <a:pt x="129153" y="127881"/>
                  </a:cubicBezTo>
                  <a:cubicBezTo>
                    <a:pt x="129153" y="125972"/>
                    <a:pt x="130744" y="123746"/>
                    <a:pt x="130744" y="122473"/>
                  </a:cubicBezTo>
                  <a:lnTo>
                    <a:pt x="130744" y="121201"/>
                  </a:lnTo>
                  <a:cubicBezTo>
                    <a:pt x="130744" y="121201"/>
                    <a:pt x="130744" y="119928"/>
                    <a:pt x="130426" y="120246"/>
                  </a:cubicBezTo>
                  <a:close/>
                  <a:moveTo>
                    <a:pt x="21950" y="194684"/>
                  </a:moveTo>
                  <a:lnTo>
                    <a:pt x="22268" y="195321"/>
                  </a:lnTo>
                  <a:lnTo>
                    <a:pt x="22268" y="194366"/>
                  </a:lnTo>
                  <a:cubicBezTo>
                    <a:pt x="21950" y="194366"/>
                    <a:pt x="21950" y="194684"/>
                    <a:pt x="21950" y="194684"/>
                  </a:cubicBezTo>
                  <a:close/>
                  <a:moveTo>
                    <a:pt x="23540" y="277712"/>
                  </a:moveTo>
                  <a:cubicBezTo>
                    <a:pt x="23540" y="277394"/>
                    <a:pt x="22904" y="276439"/>
                    <a:pt x="22586" y="276439"/>
                  </a:cubicBezTo>
                  <a:lnTo>
                    <a:pt x="21950" y="277075"/>
                  </a:lnTo>
                  <a:cubicBezTo>
                    <a:pt x="21950" y="277712"/>
                    <a:pt x="22268" y="278348"/>
                    <a:pt x="22904" y="278984"/>
                  </a:cubicBezTo>
                  <a:lnTo>
                    <a:pt x="23540" y="279302"/>
                  </a:lnTo>
                  <a:lnTo>
                    <a:pt x="23540" y="277712"/>
                  </a:lnTo>
                  <a:close/>
                  <a:moveTo>
                    <a:pt x="22268" y="187686"/>
                  </a:moveTo>
                  <a:cubicBezTo>
                    <a:pt x="22268" y="187686"/>
                    <a:pt x="22268" y="187368"/>
                    <a:pt x="22586" y="187050"/>
                  </a:cubicBezTo>
                  <a:lnTo>
                    <a:pt x="23222" y="187368"/>
                  </a:lnTo>
                  <a:cubicBezTo>
                    <a:pt x="22586" y="187368"/>
                    <a:pt x="22586" y="187686"/>
                    <a:pt x="22268" y="188004"/>
                  </a:cubicBezTo>
                  <a:lnTo>
                    <a:pt x="22268" y="187686"/>
                  </a:lnTo>
                  <a:close/>
                  <a:moveTo>
                    <a:pt x="25449" y="196911"/>
                  </a:moveTo>
                  <a:lnTo>
                    <a:pt x="26085" y="196593"/>
                  </a:lnTo>
                  <a:cubicBezTo>
                    <a:pt x="26085" y="196275"/>
                    <a:pt x="25767" y="196275"/>
                    <a:pt x="25449" y="196275"/>
                  </a:cubicBezTo>
                  <a:lnTo>
                    <a:pt x="25131" y="196275"/>
                  </a:lnTo>
                  <a:cubicBezTo>
                    <a:pt x="25131" y="196593"/>
                    <a:pt x="25449" y="196911"/>
                    <a:pt x="25449" y="196911"/>
                  </a:cubicBezTo>
                  <a:close/>
                  <a:moveTo>
                    <a:pt x="25449" y="183232"/>
                  </a:moveTo>
                  <a:lnTo>
                    <a:pt x="25449" y="182914"/>
                  </a:lnTo>
                  <a:cubicBezTo>
                    <a:pt x="26085" y="182278"/>
                    <a:pt x="25767" y="181960"/>
                    <a:pt x="26085" y="181960"/>
                  </a:cubicBezTo>
                  <a:lnTo>
                    <a:pt x="26403" y="182278"/>
                  </a:lnTo>
                  <a:lnTo>
                    <a:pt x="26403" y="183232"/>
                  </a:lnTo>
                  <a:lnTo>
                    <a:pt x="25449" y="183232"/>
                  </a:lnTo>
                  <a:close/>
                  <a:moveTo>
                    <a:pt x="27040" y="282165"/>
                  </a:moveTo>
                  <a:cubicBezTo>
                    <a:pt x="27040" y="281847"/>
                    <a:pt x="26721" y="281847"/>
                    <a:pt x="26721" y="281847"/>
                  </a:cubicBezTo>
                  <a:lnTo>
                    <a:pt x="25767" y="281847"/>
                  </a:lnTo>
                  <a:cubicBezTo>
                    <a:pt x="25449" y="281847"/>
                    <a:pt x="25449" y="281847"/>
                    <a:pt x="25449" y="282165"/>
                  </a:cubicBezTo>
                  <a:cubicBezTo>
                    <a:pt x="25449" y="282801"/>
                    <a:pt x="26721" y="282801"/>
                    <a:pt x="27040" y="282801"/>
                  </a:cubicBezTo>
                  <a:lnTo>
                    <a:pt x="27040" y="282165"/>
                  </a:lnTo>
                  <a:close/>
                  <a:moveTo>
                    <a:pt x="25767" y="278666"/>
                  </a:moveTo>
                  <a:lnTo>
                    <a:pt x="26085" y="278666"/>
                  </a:lnTo>
                  <a:lnTo>
                    <a:pt x="25767" y="278348"/>
                  </a:lnTo>
                  <a:lnTo>
                    <a:pt x="25767" y="278666"/>
                  </a:lnTo>
                  <a:close/>
                  <a:moveTo>
                    <a:pt x="27040" y="190231"/>
                  </a:moveTo>
                  <a:cubicBezTo>
                    <a:pt x="27358" y="189277"/>
                    <a:pt x="27676" y="189277"/>
                    <a:pt x="27676" y="189277"/>
                  </a:cubicBezTo>
                  <a:cubicBezTo>
                    <a:pt x="27676" y="190231"/>
                    <a:pt x="27676" y="190231"/>
                    <a:pt x="27358" y="190549"/>
                  </a:cubicBezTo>
                  <a:cubicBezTo>
                    <a:pt x="27358" y="190549"/>
                    <a:pt x="27040" y="190549"/>
                    <a:pt x="26403" y="190231"/>
                  </a:cubicBezTo>
                  <a:lnTo>
                    <a:pt x="27040" y="190231"/>
                  </a:lnTo>
                  <a:close/>
                  <a:moveTo>
                    <a:pt x="27358" y="185141"/>
                  </a:moveTo>
                  <a:cubicBezTo>
                    <a:pt x="27358" y="185141"/>
                    <a:pt x="27676" y="185141"/>
                    <a:pt x="27676" y="184823"/>
                  </a:cubicBezTo>
                  <a:lnTo>
                    <a:pt x="27994" y="185141"/>
                  </a:lnTo>
                  <a:cubicBezTo>
                    <a:pt x="27994" y="185141"/>
                    <a:pt x="27994" y="185777"/>
                    <a:pt x="27676" y="185777"/>
                  </a:cubicBezTo>
                  <a:cubicBezTo>
                    <a:pt x="27676" y="187050"/>
                    <a:pt x="28312" y="186095"/>
                    <a:pt x="28312" y="187050"/>
                  </a:cubicBezTo>
                  <a:lnTo>
                    <a:pt x="27358" y="188322"/>
                  </a:lnTo>
                  <a:lnTo>
                    <a:pt x="26721" y="188004"/>
                  </a:lnTo>
                  <a:cubicBezTo>
                    <a:pt x="27040" y="187686"/>
                    <a:pt x="27358" y="187686"/>
                    <a:pt x="27358" y="187368"/>
                  </a:cubicBezTo>
                  <a:lnTo>
                    <a:pt x="26721" y="186732"/>
                  </a:lnTo>
                  <a:cubicBezTo>
                    <a:pt x="26721" y="185141"/>
                    <a:pt x="27040" y="185141"/>
                    <a:pt x="27358" y="185141"/>
                  </a:cubicBezTo>
                  <a:close/>
                  <a:moveTo>
                    <a:pt x="27994" y="280575"/>
                  </a:moveTo>
                  <a:lnTo>
                    <a:pt x="27040" y="280893"/>
                  </a:lnTo>
                  <a:cubicBezTo>
                    <a:pt x="27040" y="280893"/>
                    <a:pt x="27040" y="281211"/>
                    <a:pt x="27994" y="281847"/>
                  </a:cubicBezTo>
                  <a:lnTo>
                    <a:pt x="28312" y="281847"/>
                  </a:lnTo>
                  <a:cubicBezTo>
                    <a:pt x="27994" y="281529"/>
                    <a:pt x="27994" y="281211"/>
                    <a:pt x="27994" y="280575"/>
                  </a:cubicBezTo>
                  <a:close/>
                  <a:moveTo>
                    <a:pt x="28312" y="183551"/>
                  </a:moveTo>
                  <a:lnTo>
                    <a:pt x="28948" y="183551"/>
                  </a:lnTo>
                  <a:lnTo>
                    <a:pt x="28948" y="184187"/>
                  </a:lnTo>
                  <a:cubicBezTo>
                    <a:pt x="28312" y="184187"/>
                    <a:pt x="28312" y="183551"/>
                    <a:pt x="28312" y="183551"/>
                  </a:cubicBezTo>
                  <a:close/>
                  <a:moveTo>
                    <a:pt x="28948" y="185141"/>
                  </a:moveTo>
                  <a:lnTo>
                    <a:pt x="29585" y="185459"/>
                  </a:lnTo>
                  <a:cubicBezTo>
                    <a:pt x="29267" y="185777"/>
                    <a:pt x="29267" y="185459"/>
                    <a:pt x="29267" y="185459"/>
                  </a:cubicBezTo>
                  <a:lnTo>
                    <a:pt x="29267" y="185777"/>
                  </a:lnTo>
                  <a:lnTo>
                    <a:pt x="28948" y="185141"/>
                  </a:lnTo>
                  <a:close/>
                  <a:moveTo>
                    <a:pt x="30857" y="181642"/>
                  </a:moveTo>
                  <a:lnTo>
                    <a:pt x="31175" y="181642"/>
                  </a:lnTo>
                  <a:cubicBezTo>
                    <a:pt x="31175" y="181960"/>
                    <a:pt x="30857" y="182596"/>
                    <a:pt x="30539" y="182596"/>
                  </a:cubicBezTo>
                  <a:cubicBezTo>
                    <a:pt x="30539" y="182596"/>
                    <a:pt x="30221" y="182596"/>
                    <a:pt x="30221" y="181960"/>
                  </a:cubicBezTo>
                  <a:lnTo>
                    <a:pt x="29585" y="181960"/>
                  </a:lnTo>
                  <a:cubicBezTo>
                    <a:pt x="30221" y="181642"/>
                    <a:pt x="30539" y="181642"/>
                    <a:pt x="30857" y="181642"/>
                  </a:cubicBezTo>
                  <a:close/>
                  <a:moveTo>
                    <a:pt x="30857" y="182914"/>
                  </a:moveTo>
                  <a:lnTo>
                    <a:pt x="30857" y="183551"/>
                  </a:lnTo>
                  <a:cubicBezTo>
                    <a:pt x="30857" y="183869"/>
                    <a:pt x="30539" y="184505"/>
                    <a:pt x="29903" y="184505"/>
                  </a:cubicBezTo>
                  <a:cubicBezTo>
                    <a:pt x="29903" y="184505"/>
                    <a:pt x="29585" y="184505"/>
                    <a:pt x="29585" y="183869"/>
                  </a:cubicBezTo>
                  <a:cubicBezTo>
                    <a:pt x="29585" y="183869"/>
                    <a:pt x="29903" y="183232"/>
                    <a:pt x="30857" y="182914"/>
                  </a:cubicBezTo>
                  <a:close/>
                  <a:moveTo>
                    <a:pt x="30539" y="179097"/>
                  </a:moveTo>
                  <a:lnTo>
                    <a:pt x="30857" y="178779"/>
                  </a:lnTo>
                  <a:cubicBezTo>
                    <a:pt x="31175" y="179415"/>
                    <a:pt x="31493" y="179415"/>
                    <a:pt x="31811" y="179415"/>
                  </a:cubicBezTo>
                  <a:cubicBezTo>
                    <a:pt x="32129" y="179415"/>
                    <a:pt x="32129" y="179415"/>
                    <a:pt x="32448" y="179097"/>
                  </a:cubicBezTo>
                  <a:lnTo>
                    <a:pt x="32448" y="178461"/>
                  </a:lnTo>
                  <a:cubicBezTo>
                    <a:pt x="32766" y="179097"/>
                    <a:pt x="32766" y="179097"/>
                    <a:pt x="33402" y="179097"/>
                  </a:cubicBezTo>
                  <a:cubicBezTo>
                    <a:pt x="33402" y="179733"/>
                    <a:pt x="33084" y="179097"/>
                    <a:pt x="32448" y="180051"/>
                  </a:cubicBezTo>
                  <a:lnTo>
                    <a:pt x="32448" y="180369"/>
                  </a:lnTo>
                  <a:lnTo>
                    <a:pt x="33402" y="180369"/>
                  </a:lnTo>
                  <a:cubicBezTo>
                    <a:pt x="33402" y="180369"/>
                    <a:pt x="33402" y="181006"/>
                    <a:pt x="32766" y="181006"/>
                  </a:cubicBezTo>
                  <a:cubicBezTo>
                    <a:pt x="32129" y="181006"/>
                    <a:pt x="31493" y="179733"/>
                    <a:pt x="31175" y="179733"/>
                  </a:cubicBezTo>
                  <a:cubicBezTo>
                    <a:pt x="30857" y="179733"/>
                    <a:pt x="30221" y="180051"/>
                    <a:pt x="30539" y="180051"/>
                  </a:cubicBezTo>
                  <a:cubicBezTo>
                    <a:pt x="30539" y="180051"/>
                    <a:pt x="30221" y="180051"/>
                    <a:pt x="30221" y="179733"/>
                  </a:cubicBezTo>
                  <a:cubicBezTo>
                    <a:pt x="30221" y="179415"/>
                    <a:pt x="30221" y="179415"/>
                    <a:pt x="30539" y="179097"/>
                  </a:cubicBezTo>
                  <a:close/>
                  <a:moveTo>
                    <a:pt x="30539" y="176870"/>
                  </a:moveTo>
                  <a:cubicBezTo>
                    <a:pt x="30539" y="176552"/>
                    <a:pt x="30539" y="175916"/>
                    <a:pt x="30857" y="175916"/>
                  </a:cubicBezTo>
                  <a:cubicBezTo>
                    <a:pt x="31175" y="175916"/>
                    <a:pt x="31175" y="176552"/>
                    <a:pt x="31175" y="176552"/>
                  </a:cubicBezTo>
                  <a:cubicBezTo>
                    <a:pt x="31175" y="176870"/>
                    <a:pt x="31175" y="177188"/>
                    <a:pt x="30857" y="177188"/>
                  </a:cubicBezTo>
                  <a:cubicBezTo>
                    <a:pt x="30539" y="177188"/>
                    <a:pt x="30539" y="177188"/>
                    <a:pt x="30539" y="176870"/>
                  </a:cubicBezTo>
                  <a:close/>
                  <a:moveTo>
                    <a:pt x="34356" y="183551"/>
                  </a:moveTo>
                  <a:lnTo>
                    <a:pt x="34992" y="184187"/>
                  </a:lnTo>
                  <a:cubicBezTo>
                    <a:pt x="35310" y="184187"/>
                    <a:pt x="35629" y="183869"/>
                    <a:pt x="35629" y="183551"/>
                  </a:cubicBezTo>
                  <a:cubicBezTo>
                    <a:pt x="35629" y="183551"/>
                    <a:pt x="35310" y="183551"/>
                    <a:pt x="35310" y="182914"/>
                  </a:cubicBezTo>
                  <a:lnTo>
                    <a:pt x="34992" y="182914"/>
                  </a:lnTo>
                  <a:cubicBezTo>
                    <a:pt x="34674" y="182914"/>
                    <a:pt x="34992" y="183551"/>
                    <a:pt x="34356" y="183551"/>
                  </a:cubicBezTo>
                  <a:close/>
                  <a:moveTo>
                    <a:pt x="35310" y="176552"/>
                  </a:moveTo>
                  <a:cubicBezTo>
                    <a:pt x="35310" y="176870"/>
                    <a:pt x="35947" y="176870"/>
                    <a:pt x="35947" y="177188"/>
                  </a:cubicBezTo>
                  <a:cubicBezTo>
                    <a:pt x="35947" y="177188"/>
                    <a:pt x="35947" y="177506"/>
                    <a:pt x="35629" y="177825"/>
                  </a:cubicBezTo>
                  <a:lnTo>
                    <a:pt x="34992" y="178461"/>
                  </a:lnTo>
                  <a:lnTo>
                    <a:pt x="34674" y="178143"/>
                  </a:lnTo>
                  <a:cubicBezTo>
                    <a:pt x="34674" y="177188"/>
                    <a:pt x="34992" y="176870"/>
                    <a:pt x="35310" y="176552"/>
                  </a:cubicBezTo>
                  <a:close/>
                  <a:moveTo>
                    <a:pt x="35310" y="171462"/>
                  </a:moveTo>
                  <a:cubicBezTo>
                    <a:pt x="35310" y="171462"/>
                    <a:pt x="34992" y="171144"/>
                    <a:pt x="34992" y="170826"/>
                  </a:cubicBezTo>
                  <a:lnTo>
                    <a:pt x="35629" y="170826"/>
                  </a:lnTo>
                  <a:cubicBezTo>
                    <a:pt x="35629" y="171144"/>
                    <a:pt x="35629" y="171462"/>
                    <a:pt x="35310" y="171462"/>
                  </a:cubicBezTo>
                  <a:close/>
                  <a:moveTo>
                    <a:pt x="38173" y="172417"/>
                  </a:moveTo>
                  <a:lnTo>
                    <a:pt x="38173" y="173053"/>
                  </a:lnTo>
                  <a:lnTo>
                    <a:pt x="38491" y="173689"/>
                  </a:lnTo>
                  <a:cubicBezTo>
                    <a:pt x="38491" y="173689"/>
                    <a:pt x="38173" y="175280"/>
                    <a:pt x="37537" y="175280"/>
                  </a:cubicBezTo>
                  <a:cubicBezTo>
                    <a:pt x="37537" y="175280"/>
                    <a:pt x="37219" y="175280"/>
                    <a:pt x="36901" y="174962"/>
                  </a:cubicBezTo>
                  <a:lnTo>
                    <a:pt x="36901" y="175916"/>
                  </a:lnTo>
                  <a:cubicBezTo>
                    <a:pt x="36901" y="176234"/>
                    <a:pt x="36901" y="176234"/>
                    <a:pt x="36583" y="176234"/>
                  </a:cubicBezTo>
                  <a:cubicBezTo>
                    <a:pt x="35629" y="176234"/>
                    <a:pt x="35310" y="175598"/>
                    <a:pt x="35310" y="175598"/>
                  </a:cubicBezTo>
                  <a:cubicBezTo>
                    <a:pt x="35629" y="174325"/>
                    <a:pt x="37537" y="173689"/>
                    <a:pt x="38173" y="172417"/>
                  </a:cubicBezTo>
                  <a:close/>
                  <a:moveTo>
                    <a:pt x="37537" y="168599"/>
                  </a:moveTo>
                  <a:lnTo>
                    <a:pt x="37537" y="169872"/>
                  </a:lnTo>
                  <a:cubicBezTo>
                    <a:pt x="37219" y="169872"/>
                    <a:pt x="37219" y="168917"/>
                    <a:pt x="36901" y="168917"/>
                  </a:cubicBezTo>
                  <a:cubicBezTo>
                    <a:pt x="36901" y="168917"/>
                    <a:pt x="37219" y="168917"/>
                    <a:pt x="37219" y="168599"/>
                  </a:cubicBezTo>
                  <a:lnTo>
                    <a:pt x="37537" y="168599"/>
                  </a:lnTo>
                  <a:close/>
                  <a:moveTo>
                    <a:pt x="37537" y="168599"/>
                  </a:moveTo>
                  <a:cubicBezTo>
                    <a:pt x="37537" y="168281"/>
                    <a:pt x="37537" y="167963"/>
                    <a:pt x="37855" y="167327"/>
                  </a:cubicBezTo>
                  <a:cubicBezTo>
                    <a:pt x="37855" y="167645"/>
                    <a:pt x="38173" y="167645"/>
                    <a:pt x="38173" y="167645"/>
                  </a:cubicBezTo>
                  <a:cubicBezTo>
                    <a:pt x="38491" y="167963"/>
                    <a:pt x="37537" y="168599"/>
                    <a:pt x="37537" y="168599"/>
                  </a:cubicBezTo>
                  <a:close/>
                  <a:moveTo>
                    <a:pt x="40082" y="166054"/>
                  </a:moveTo>
                  <a:lnTo>
                    <a:pt x="39764" y="165736"/>
                  </a:lnTo>
                  <a:lnTo>
                    <a:pt x="40082" y="165736"/>
                  </a:lnTo>
                  <a:cubicBezTo>
                    <a:pt x="40400" y="165418"/>
                    <a:pt x="40400" y="164782"/>
                    <a:pt x="40400" y="164464"/>
                  </a:cubicBezTo>
                  <a:cubicBezTo>
                    <a:pt x="40082" y="164146"/>
                    <a:pt x="40082" y="164146"/>
                    <a:pt x="40082" y="163828"/>
                  </a:cubicBezTo>
                  <a:cubicBezTo>
                    <a:pt x="40082" y="163828"/>
                    <a:pt x="40082" y="163509"/>
                    <a:pt x="40400" y="163509"/>
                  </a:cubicBezTo>
                  <a:cubicBezTo>
                    <a:pt x="40718" y="163509"/>
                    <a:pt x="41036" y="163828"/>
                    <a:pt x="41355" y="163828"/>
                  </a:cubicBezTo>
                  <a:cubicBezTo>
                    <a:pt x="41355" y="163828"/>
                    <a:pt x="41673" y="162555"/>
                    <a:pt x="41673" y="162873"/>
                  </a:cubicBezTo>
                  <a:cubicBezTo>
                    <a:pt x="43582" y="161919"/>
                    <a:pt x="42945" y="161283"/>
                    <a:pt x="43582" y="161283"/>
                  </a:cubicBezTo>
                  <a:cubicBezTo>
                    <a:pt x="43582" y="161283"/>
                    <a:pt x="43900" y="161601"/>
                    <a:pt x="44218" y="161601"/>
                  </a:cubicBezTo>
                  <a:cubicBezTo>
                    <a:pt x="44536" y="160646"/>
                    <a:pt x="44536" y="160646"/>
                    <a:pt x="44854" y="160646"/>
                  </a:cubicBezTo>
                  <a:lnTo>
                    <a:pt x="44854" y="161919"/>
                  </a:lnTo>
                  <a:cubicBezTo>
                    <a:pt x="44854" y="162237"/>
                    <a:pt x="44536" y="162555"/>
                    <a:pt x="44218" y="162873"/>
                  </a:cubicBezTo>
                  <a:lnTo>
                    <a:pt x="42945" y="163509"/>
                  </a:lnTo>
                  <a:cubicBezTo>
                    <a:pt x="42945" y="162873"/>
                    <a:pt x="41355" y="165736"/>
                    <a:pt x="41355" y="165736"/>
                  </a:cubicBezTo>
                  <a:cubicBezTo>
                    <a:pt x="40718" y="165736"/>
                    <a:pt x="40400" y="166054"/>
                    <a:pt x="40082" y="166054"/>
                  </a:cubicBezTo>
                  <a:close/>
                  <a:moveTo>
                    <a:pt x="40400" y="193412"/>
                  </a:moveTo>
                  <a:cubicBezTo>
                    <a:pt x="40400" y="194684"/>
                    <a:pt x="40082" y="195003"/>
                    <a:pt x="40082" y="195321"/>
                  </a:cubicBezTo>
                  <a:lnTo>
                    <a:pt x="39764" y="195003"/>
                  </a:lnTo>
                  <a:cubicBezTo>
                    <a:pt x="39764" y="194684"/>
                    <a:pt x="40082" y="194048"/>
                    <a:pt x="40400" y="193412"/>
                  </a:cubicBezTo>
                  <a:close/>
                  <a:moveTo>
                    <a:pt x="41673" y="191503"/>
                  </a:moveTo>
                  <a:cubicBezTo>
                    <a:pt x="41991" y="191503"/>
                    <a:pt x="41991" y="191821"/>
                    <a:pt x="41991" y="191821"/>
                  </a:cubicBezTo>
                  <a:lnTo>
                    <a:pt x="41991" y="192140"/>
                  </a:lnTo>
                  <a:cubicBezTo>
                    <a:pt x="41673" y="192776"/>
                    <a:pt x="40718" y="193094"/>
                    <a:pt x="40400" y="193412"/>
                  </a:cubicBezTo>
                  <a:cubicBezTo>
                    <a:pt x="40400" y="192776"/>
                    <a:pt x="40718" y="192458"/>
                    <a:pt x="40718" y="191821"/>
                  </a:cubicBezTo>
                  <a:cubicBezTo>
                    <a:pt x="41036" y="191821"/>
                    <a:pt x="41355" y="191503"/>
                    <a:pt x="41673" y="191503"/>
                  </a:cubicBezTo>
                  <a:close/>
                  <a:moveTo>
                    <a:pt x="46763" y="166054"/>
                  </a:moveTo>
                  <a:cubicBezTo>
                    <a:pt x="46444" y="166054"/>
                    <a:pt x="46126" y="166054"/>
                    <a:pt x="45808" y="166372"/>
                  </a:cubicBezTo>
                  <a:cubicBezTo>
                    <a:pt x="46126" y="166691"/>
                    <a:pt x="47081" y="167009"/>
                    <a:pt x="47399" y="167009"/>
                  </a:cubicBezTo>
                  <a:cubicBezTo>
                    <a:pt x="47399" y="167009"/>
                    <a:pt x="47717" y="167009"/>
                    <a:pt x="47717" y="166691"/>
                  </a:cubicBezTo>
                  <a:lnTo>
                    <a:pt x="47717" y="166372"/>
                  </a:lnTo>
                  <a:cubicBezTo>
                    <a:pt x="47081" y="166054"/>
                    <a:pt x="47081" y="166054"/>
                    <a:pt x="46763" y="166054"/>
                  </a:cubicBezTo>
                  <a:close/>
                  <a:moveTo>
                    <a:pt x="47399" y="165418"/>
                  </a:moveTo>
                  <a:lnTo>
                    <a:pt x="47717" y="165418"/>
                  </a:lnTo>
                  <a:cubicBezTo>
                    <a:pt x="49307" y="165418"/>
                    <a:pt x="48671" y="163509"/>
                    <a:pt x="49625" y="163509"/>
                  </a:cubicBezTo>
                  <a:lnTo>
                    <a:pt x="50262" y="162555"/>
                  </a:lnTo>
                  <a:cubicBezTo>
                    <a:pt x="50580" y="162555"/>
                    <a:pt x="50580" y="161919"/>
                    <a:pt x="50580" y="161919"/>
                  </a:cubicBezTo>
                  <a:lnTo>
                    <a:pt x="50262" y="161919"/>
                  </a:lnTo>
                  <a:cubicBezTo>
                    <a:pt x="50262" y="161919"/>
                    <a:pt x="48035" y="162873"/>
                    <a:pt x="47399" y="164464"/>
                  </a:cubicBezTo>
                  <a:lnTo>
                    <a:pt x="47399" y="165418"/>
                  </a:lnTo>
                  <a:close/>
                  <a:moveTo>
                    <a:pt x="47717" y="158420"/>
                  </a:moveTo>
                  <a:cubicBezTo>
                    <a:pt x="47717" y="158102"/>
                    <a:pt x="48035" y="157465"/>
                    <a:pt x="48353" y="157147"/>
                  </a:cubicBezTo>
                  <a:lnTo>
                    <a:pt x="48353" y="158102"/>
                  </a:lnTo>
                  <a:cubicBezTo>
                    <a:pt x="48353" y="158420"/>
                    <a:pt x="48035" y="158738"/>
                    <a:pt x="47717" y="158738"/>
                  </a:cubicBezTo>
                  <a:lnTo>
                    <a:pt x="47717" y="158420"/>
                  </a:lnTo>
                  <a:close/>
                  <a:moveTo>
                    <a:pt x="51216" y="155557"/>
                  </a:moveTo>
                  <a:lnTo>
                    <a:pt x="50262" y="155239"/>
                  </a:lnTo>
                  <a:cubicBezTo>
                    <a:pt x="50262" y="153648"/>
                    <a:pt x="51852" y="153012"/>
                    <a:pt x="53125" y="152057"/>
                  </a:cubicBezTo>
                  <a:lnTo>
                    <a:pt x="53443" y="152057"/>
                  </a:lnTo>
                  <a:cubicBezTo>
                    <a:pt x="53125" y="153330"/>
                    <a:pt x="53125" y="153966"/>
                    <a:pt x="52170" y="154284"/>
                  </a:cubicBezTo>
                  <a:lnTo>
                    <a:pt x="51216" y="155557"/>
                  </a:lnTo>
                  <a:close/>
                  <a:moveTo>
                    <a:pt x="52170" y="43581"/>
                  </a:moveTo>
                  <a:cubicBezTo>
                    <a:pt x="53125" y="42627"/>
                    <a:pt x="53761" y="42627"/>
                    <a:pt x="53761" y="42309"/>
                  </a:cubicBezTo>
                  <a:lnTo>
                    <a:pt x="53125" y="42309"/>
                  </a:lnTo>
                  <a:cubicBezTo>
                    <a:pt x="52170" y="42309"/>
                    <a:pt x="52170" y="42627"/>
                    <a:pt x="52170" y="43581"/>
                  </a:cubicBezTo>
                  <a:close/>
                  <a:moveTo>
                    <a:pt x="53761" y="41991"/>
                  </a:moveTo>
                  <a:cubicBezTo>
                    <a:pt x="54079" y="41991"/>
                    <a:pt x="54397" y="41991"/>
                    <a:pt x="54397" y="41673"/>
                  </a:cubicBezTo>
                  <a:cubicBezTo>
                    <a:pt x="54397" y="41355"/>
                    <a:pt x="54079" y="41355"/>
                    <a:pt x="53761" y="40718"/>
                  </a:cubicBezTo>
                  <a:lnTo>
                    <a:pt x="53761" y="41991"/>
                  </a:lnTo>
                  <a:close/>
                  <a:moveTo>
                    <a:pt x="53761" y="159056"/>
                  </a:moveTo>
                  <a:lnTo>
                    <a:pt x="53761" y="159692"/>
                  </a:lnTo>
                  <a:lnTo>
                    <a:pt x="54079" y="160010"/>
                  </a:lnTo>
                  <a:cubicBezTo>
                    <a:pt x="54397" y="160010"/>
                    <a:pt x="54397" y="159692"/>
                    <a:pt x="54397" y="159692"/>
                  </a:cubicBezTo>
                  <a:lnTo>
                    <a:pt x="54397" y="159374"/>
                  </a:lnTo>
                  <a:cubicBezTo>
                    <a:pt x="54397" y="159692"/>
                    <a:pt x="55352" y="157147"/>
                    <a:pt x="57897" y="157147"/>
                  </a:cubicBezTo>
                  <a:lnTo>
                    <a:pt x="57578" y="156511"/>
                  </a:lnTo>
                  <a:cubicBezTo>
                    <a:pt x="56942" y="155875"/>
                    <a:pt x="56306" y="155875"/>
                    <a:pt x="56306" y="155875"/>
                  </a:cubicBezTo>
                  <a:cubicBezTo>
                    <a:pt x="55352" y="156511"/>
                    <a:pt x="55352" y="158102"/>
                    <a:pt x="54079" y="158102"/>
                  </a:cubicBezTo>
                  <a:cubicBezTo>
                    <a:pt x="53761" y="158420"/>
                    <a:pt x="53761" y="158738"/>
                    <a:pt x="53761" y="159056"/>
                  </a:cubicBezTo>
                  <a:close/>
                  <a:moveTo>
                    <a:pt x="55352" y="151421"/>
                  </a:moveTo>
                  <a:cubicBezTo>
                    <a:pt x="55352" y="151421"/>
                    <a:pt x="55033" y="151421"/>
                    <a:pt x="55033" y="151103"/>
                  </a:cubicBezTo>
                  <a:lnTo>
                    <a:pt x="55352" y="151103"/>
                  </a:lnTo>
                  <a:lnTo>
                    <a:pt x="55352" y="151421"/>
                  </a:lnTo>
                  <a:close/>
                  <a:moveTo>
                    <a:pt x="56624" y="150149"/>
                  </a:moveTo>
                  <a:lnTo>
                    <a:pt x="56306" y="149831"/>
                  </a:lnTo>
                  <a:cubicBezTo>
                    <a:pt x="56624" y="149194"/>
                    <a:pt x="58215" y="147922"/>
                    <a:pt x="58533" y="147922"/>
                  </a:cubicBezTo>
                  <a:cubicBezTo>
                    <a:pt x="58533" y="148876"/>
                    <a:pt x="58215" y="149513"/>
                    <a:pt x="57897" y="150467"/>
                  </a:cubicBezTo>
                  <a:cubicBezTo>
                    <a:pt x="57578" y="150467"/>
                    <a:pt x="57578" y="150467"/>
                    <a:pt x="56624" y="150149"/>
                  </a:cubicBezTo>
                  <a:close/>
                  <a:moveTo>
                    <a:pt x="112294" y="38492"/>
                  </a:moveTo>
                  <a:lnTo>
                    <a:pt x="110385" y="38492"/>
                  </a:lnTo>
                  <a:cubicBezTo>
                    <a:pt x="109431" y="38492"/>
                    <a:pt x="109431" y="38173"/>
                    <a:pt x="109112" y="36583"/>
                  </a:cubicBezTo>
                  <a:cubicBezTo>
                    <a:pt x="109112" y="37219"/>
                    <a:pt x="104341" y="32447"/>
                    <a:pt x="104341" y="30539"/>
                  </a:cubicBezTo>
                  <a:cubicBezTo>
                    <a:pt x="104341" y="29584"/>
                    <a:pt x="104341" y="29266"/>
                    <a:pt x="104977" y="28630"/>
                  </a:cubicBezTo>
                  <a:cubicBezTo>
                    <a:pt x="104977" y="27994"/>
                    <a:pt x="104341" y="27676"/>
                    <a:pt x="104341" y="27040"/>
                  </a:cubicBezTo>
                  <a:cubicBezTo>
                    <a:pt x="104341" y="26721"/>
                    <a:pt x="104341" y="26403"/>
                    <a:pt x="104659" y="26085"/>
                  </a:cubicBezTo>
                  <a:cubicBezTo>
                    <a:pt x="104659" y="26085"/>
                    <a:pt x="104341" y="25767"/>
                    <a:pt x="104341" y="25449"/>
                  </a:cubicBezTo>
                  <a:cubicBezTo>
                    <a:pt x="104341" y="25131"/>
                    <a:pt x="104659" y="25131"/>
                    <a:pt x="104977" y="24813"/>
                  </a:cubicBezTo>
                  <a:cubicBezTo>
                    <a:pt x="104659" y="23540"/>
                    <a:pt x="103704" y="21950"/>
                    <a:pt x="103386" y="20995"/>
                  </a:cubicBezTo>
                  <a:cubicBezTo>
                    <a:pt x="103386" y="20677"/>
                    <a:pt x="103704" y="20041"/>
                    <a:pt x="103704" y="20041"/>
                  </a:cubicBezTo>
                  <a:cubicBezTo>
                    <a:pt x="103386" y="19087"/>
                    <a:pt x="103386" y="17814"/>
                    <a:pt x="102750" y="17178"/>
                  </a:cubicBezTo>
                  <a:lnTo>
                    <a:pt x="102114" y="15269"/>
                  </a:lnTo>
                  <a:cubicBezTo>
                    <a:pt x="101796" y="14951"/>
                    <a:pt x="101478" y="14951"/>
                    <a:pt x="101160" y="14951"/>
                  </a:cubicBezTo>
                  <a:cubicBezTo>
                    <a:pt x="98297" y="14951"/>
                    <a:pt x="99251" y="16860"/>
                    <a:pt x="96070" y="18450"/>
                  </a:cubicBezTo>
                  <a:lnTo>
                    <a:pt x="96070" y="17814"/>
                  </a:lnTo>
                  <a:cubicBezTo>
                    <a:pt x="96388" y="17814"/>
                    <a:pt x="96706" y="17814"/>
                    <a:pt x="96706" y="17496"/>
                  </a:cubicBezTo>
                  <a:cubicBezTo>
                    <a:pt x="95115" y="17496"/>
                    <a:pt x="91298" y="21313"/>
                    <a:pt x="91298" y="22904"/>
                  </a:cubicBezTo>
                  <a:lnTo>
                    <a:pt x="91616" y="22904"/>
                  </a:lnTo>
                  <a:cubicBezTo>
                    <a:pt x="92252" y="23540"/>
                    <a:pt x="92252" y="23858"/>
                    <a:pt x="92252" y="23858"/>
                  </a:cubicBezTo>
                  <a:lnTo>
                    <a:pt x="90662" y="23540"/>
                  </a:lnTo>
                  <a:lnTo>
                    <a:pt x="89071" y="25131"/>
                  </a:lnTo>
                  <a:cubicBezTo>
                    <a:pt x="88435" y="25131"/>
                    <a:pt x="88117" y="24813"/>
                    <a:pt x="88117" y="24813"/>
                  </a:cubicBezTo>
                  <a:cubicBezTo>
                    <a:pt x="88117" y="25767"/>
                    <a:pt x="85254" y="27676"/>
                    <a:pt x="85254" y="30221"/>
                  </a:cubicBezTo>
                  <a:lnTo>
                    <a:pt x="85572" y="31811"/>
                  </a:lnTo>
                  <a:cubicBezTo>
                    <a:pt x="85572" y="31811"/>
                    <a:pt x="85254" y="31811"/>
                    <a:pt x="84618" y="31175"/>
                  </a:cubicBezTo>
                  <a:lnTo>
                    <a:pt x="84300" y="30221"/>
                  </a:lnTo>
                  <a:cubicBezTo>
                    <a:pt x="84300" y="34038"/>
                    <a:pt x="83664" y="32766"/>
                    <a:pt x="83664" y="34356"/>
                  </a:cubicBezTo>
                  <a:cubicBezTo>
                    <a:pt x="83346" y="34674"/>
                    <a:pt x="83346" y="34038"/>
                    <a:pt x="83346" y="34038"/>
                  </a:cubicBezTo>
                  <a:lnTo>
                    <a:pt x="83027" y="34038"/>
                  </a:lnTo>
                  <a:lnTo>
                    <a:pt x="83027" y="34356"/>
                  </a:lnTo>
                  <a:cubicBezTo>
                    <a:pt x="83027" y="36265"/>
                    <a:pt x="81119" y="36265"/>
                    <a:pt x="81437" y="36583"/>
                  </a:cubicBezTo>
                  <a:lnTo>
                    <a:pt x="81119" y="36265"/>
                  </a:lnTo>
                  <a:lnTo>
                    <a:pt x="80800" y="36265"/>
                  </a:lnTo>
                  <a:lnTo>
                    <a:pt x="80800" y="36901"/>
                  </a:lnTo>
                  <a:cubicBezTo>
                    <a:pt x="80164" y="37219"/>
                    <a:pt x="79846" y="37219"/>
                    <a:pt x="79846" y="37537"/>
                  </a:cubicBezTo>
                  <a:cubicBezTo>
                    <a:pt x="80164" y="38492"/>
                    <a:pt x="80482" y="38810"/>
                    <a:pt x="80482" y="38810"/>
                  </a:cubicBezTo>
                  <a:lnTo>
                    <a:pt x="79846" y="38810"/>
                  </a:lnTo>
                  <a:lnTo>
                    <a:pt x="79846" y="38173"/>
                  </a:lnTo>
                  <a:lnTo>
                    <a:pt x="79528" y="37855"/>
                  </a:lnTo>
                  <a:cubicBezTo>
                    <a:pt x="76347" y="39128"/>
                    <a:pt x="79210" y="41673"/>
                    <a:pt x="74756" y="43581"/>
                  </a:cubicBezTo>
                  <a:lnTo>
                    <a:pt x="76029" y="45172"/>
                  </a:lnTo>
                  <a:lnTo>
                    <a:pt x="75711" y="45172"/>
                  </a:lnTo>
                  <a:cubicBezTo>
                    <a:pt x="75393" y="45172"/>
                    <a:pt x="75393" y="45808"/>
                    <a:pt x="75393" y="45808"/>
                  </a:cubicBezTo>
                  <a:lnTo>
                    <a:pt x="73484" y="48353"/>
                  </a:lnTo>
                  <a:cubicBezTo>
                    <a:pt x="73166" y="48353"/>
                    <a:pt x="71575" y="50580"/>
                    <a:pt x="71575" y="51216"/>
                  </a:cubicBezTo>
                  <a:lnTo>
                    <a:pt x="71257" y="50898"/>
                  </a:lnTo>
                  <a:lnTo>
                    <a:pt x="70939" y="51216"/>
                  </a:lnTo>
                  <a:cubicBezTo>
                    <a:pt x="70939" y="51216"/>
                    <a:pt x="70621" y="51216"/>
                    <a:pt x="70621" y="50898"/>
                  </a:cubicBezTo>
                  <a:lnTo>
                    <a:pt x="70621" y="53125"/>
                  </a:lnTo>
                  <a:lnTo>
                    <a:pt x="69349" y="53443"/>
                  </a:lnTo>
                  <a:cubicBezTo>
                    <a:pt x="69349" y="54079"/>
                    <a:pt x="67758" y="54715"/>
                    <a:pt x="67440" y="55351"/>
                  </a:cubicBezTo>
                  <a:lnTo>
                    <a:pt x="67440" y="55988"/>
                  </a:lnTo>
                  <a:cubicBezTo>
                    <a:pt x="67440" y="56306"/>
                    <a:pt x="67440" y="56306"/>
                    <a:pt x="67758" y="56624"/>
                  </a:cubicBezTo>
                  <a:lnTo>
                    <a:pt x="68394" y="56942"/>
                  </a:lnTo>
                  <a:cubicBezTo>
                    <a:pt x="67758" y="57578"/>
                    <a:pt x="67758" y="58533"/>
                    <a:pt x="67440" y="58851"/>
                  </a:cubicBezTo>
                  <a:lnTo>
                    <a:pt x="66167" y="58851"/>
                  </a:lnTo>
                  <a:cubicBezTo>
                    <a:pt x="66485" y="59805"/>
                    <a:pt x="66485" y="59805"/>
                    <a:pt x="66485" y="60441"/>
                  </a:cubicBezTo>
                  <a:cubicBezTo>
                    <a:pt x="64577" y="60441"/>
                    <a:pt x="65213" y="60441"/>
                    <a:pt x="62668" y="68712"/>
                  </a:cubicBezTo>
                  <a:lnTo>
                    <a:pt x="62668" y="70939"/>
                  </a:lnTo>
                  <a:cubicBezTo>
                    <a:pt x="61396" y="71575"/>
                    <a:pt x="57578" y="82709"/>
                    <a:pt x="57578" y="91616"/>
                  </a:cubicBezTo>
                  <a:lnTo>
                    <a:pt x="57578" y="93525"/>
                  </a:lnTo>
                  <a:cubicBezTo>
                    <a:pt x="57578" y="94479"/>
                    <a:pt x="57578" y="95115"/>
                    <a:pt x="58215" y="96070"/>
                  </a:cubicBezTo>
                  <a:lnTo>
                    <a:pt x="59169" y="96388"/>
                  </a:lnTo>
                  <a:cubicBezTo>
                    <a:pt x="59805" y="96388"/>
                    <a:pt x="59487" y="94797"/>
                    <a:pt x="62350" y="94797"/>
                  </a:cubicBezTo>
                  <a:cubicBezTo>
                    <a:pt x="62350" y="94479"/>
                    <a:pt x="62350" y="92889"/>
                    <a:pt x="62668" y="92889"/>
                  </a:cubicBezTo>
                  <a:cubicBezTo>
                    <a:pt x="62986" y="93207"/>
                    <a:pt x="63622" y="93525"/>
                    <a:pt x="65213" y="93525"/>
                  </a:cubicBezTo>
                  <a:lnTo>
                    <a:pt x="64259" y="92889"/>
                  </a:lnTo>
                  <a:cubicBezTo>
                    <a:pt x="64259" y="93207"/>
                    <a:pt x="64577" y="91298"/>
                    <a:pt x="67440" y="89389"/>
                  </a:cubicBezTo>
                  <a:cubicBezTo>
                    <a:pt x="67758" y="89389"/>
                    <a:pt x="68076" y="89708"/>
                    <a:pt x="68712" y="90344"/>
                  </a:cubicBezTo>
                  <a:lnTo>
                    <a:pt x="69030" y="90344"/>
                  </a:lnTo>
                  <a:cubicBezTo>
                    <a:pt x="69667" y="89708"/>
                    <a:pt x="69349" y="88117"/>
                    <a:pt x="69667" y="88117"/>
                  </a:cubicBezTo>
                  <a:lnTo>
                    <a:pt x="69349" y="86845"/>
                  </a:lnTo>
                  <a:lnTo>
                    <a:pt x="69985" y="86845"/>
                  </a:lnTo>
                  <a:cubicBezTo>
                    <a:pt x="71575" y="86845"/>
                    <a:pt x="73166" y="81119"/>
                    <a:pt x="80164" y="78256"/>
                  </a:cubicBezTo>
                  <a:lnTo>
                    <a:pt x="80164" y="76983"/>
                  </a:lnTo>
                  <a:lnTo>
                    <a:pt x="81755" y="75074"/>
                  </a:lnTo>
                  <a:lnTo>
                    <a:pt x="82073" y="74756"/>
                  </a:lnTo>
                  <a:cubicBezTo>
                    <a:pt x="83346" y="73802"/>
                    <a:pt x="83982" y="73484"/>
                    <a:pt x="85890" y="71575"/>
                  </a:cubicBezTo>
                  <a:lnTo>
                    <a:pt x="86527" y="70939"/>
                  </a:lnTo>
                  <a:cubicBezTo>
                    <a:pt x="86845" y="70939"/>
                    <a:pt x="87163" y="70303"/>
                    <a:pt x="87163" y="69985"/>
                  </a:cubicBezTo>
                  <a:cubicBezTo>
                    <a:pt x="86845" y="69666"/>
                    <a:pt x="86845" y="69348"/>
                    <a:pt x="86845" y="69030"/>
                  </a:cubicBezTo>
                  <a:cubicBezTo>
                    <a:pt x="86845" y="68394"/>
                    <a:pt x="88753" y="67440"/>
                    <a:pt x="90026" y="67440"/>
                  </a:cubicBezTo>
                  <a:lnTo>
                    <a:pt x="90026" y="66167"/>
                  </a:lnTo>
                  <a:cubicBezTo>
                    <a:pt x="90026" y="65849"/>
                    <a:pt x="90344" y="65531"/>
                    <a:pt x="90980" y="64895"/>
                  </a:cubicBezTo>
                  <a:lnTo>
                    <a:pt x="91298" y="64577"/>
                  </a:lnTo>
                  <a:cubicBezTo>
                    <a:pt x="92252" y="62350"/>
                    <a:pt x="94161" y="62668"/>
                    <a:pt x="94161" y="61396"/>
                  </a:cubicBezTo>
                  <a:lnTo>
                    <a:pt x="94161" y="60441"/>
                  </a:lnTo>
                  <a:cubicBezTo>
                    <a:pt x="94479" y="59169"/>
                    <a:pt x="96706" y="58851"/>
                    <a:pt x="96706" y="57260"/>
                  </a:cubicBezTo>
                  <a:cubicBezTo>
                    <a:pt x="100205" y="57260"/>
                    <a:pt x="97024" y="48989"/>
                    <a:pt x="106885" y="48035"/>
                  </a:cubicBezTo>
                  <a:lnTo>
                    <a:pt x="106567" y="47717"/>
                  </a:lnTo>
                  <a:cubicBezTo>
                    <a:pt x="106567" y="47081"/>
                    <a:pt x="107204" y="44536"/>
                    <a:pt x="109431" y="44536"/>
                  </a:cubicBezTo>
                  <a:lnTo>
                    <a:pt x="109112" y="42627"/>
                  </a:lnTo>
                  <a:cubicBezTo>
                    <a:pt x="109112" y="42945"/>
                    <a:pt x="109112" y="41991"/>
                    <a:pt x="110385" y="43899"/>
                  </a:cubicBezTo>
                  <a:lnTo>
                    <a:pt x="110703" y="44218"/>
                  </a:lnTo>
                  <a:cubicBezTo>
                    <a:pt x="110385" y="44536"/>
                    <a:pt x="110067" y="44536"/>
                    <a:pt x="110067" y="44854"/>
                  </a:cubicBezTo>
                  <a:lnTo>
                    <a:pt x="110067" y="45490"/>
                  </a:lnTo>
                  <a:cubicBezTo>
                    <a:pt x="111021" y="45172"/>
                    <a:pt x="111021" y="44536"/>
                    <a:pt x="111657" y="43899"/>
                  </a:cubicBezTo>
                  <a:cubicBezTo>
                    <a:pt x="111339" y="42627"/>
                    <a:pt x="111021" y="42627"/>
                    <a:pt x="110703" y="42627"/>
                  </a:cubicBezTo>
                  <a:lnTo>
                    <a:pt x="110385" y="42627"/>
                  </a:lnTo>
                  <a:cubicBezTo>
                    <a:pt x="110385" y="42627"/>
                    <a:pt x="110067" y="42627"/>
                    <a:pt x="110067" y="42309"/>
                  </a:cubicBezTo>
                  <a:cubicBezTo>
                    <a:pt x="109749" y="42309"/>
                    <a:pt x="109749" y="41991"/>
                    <a:pt x="109749" y="41991"/>
                  </a:cubicBezTo>
                  <a:cubicBezTo>
                    <a:pt x="111339" y="41036"/>
                    <a:pt x="112294" y="40400"/>
                    <a:pt x="112294" y="38810"/>
                  </a:cubicBezTo>
                  <a:lnTo>
                    <a:pt x="112294" y="38492"/>
                  </a:lnTo>
                  <a:close/>
                  <a:moveTo>
                    <a:pt x="60123" y="147922"/>
                  </a:moveTo>
                  <a:lnTo>
                    <a:pt x="59169" y="147922"/>
                  </a:lnTo>
                  <a:cubicBezTo>
                    <a:pt x="59169" y="146968"/>
                    <a:pt x="59487" y="146650"/>
                    <a:pt x="59805" y="146650"/>
                  </a:cubicBezTo>
                  <a:lnTo>
                    <a:pt x="60123" y="146650"/>
                  </a:lnTo>
                  <a:cubicBezTo>
                    <a:pt x="60123" y="146650"/>
                    <a:pt x="62350" y="143787"/>
                    <a:pt x="65213" y="142832"/>
                  </a:cubicBezTo>
                  <a:lnTo>
                    <a:pt x="65531" y="143150"/>
                  </a:lnTo>
                  <a:cubicBezTo>
                    <a:pt x="63940" y="146013"/>
                    <a:pt x="62350" y="143787"/>
                    <a:pt x="60759" y="147286"/>
                  </a:cubicBezTo>
                  <a:cubicBezTo>
                    <a:pt x="60759" y="147922"/>
                    <a:pt x="60441" y="147922"/>
                    <a:pt x="60123" y="147922"/>
                  </a:cubicBezTo>
                  <a:close/>
                  <a:moveTo>
                    <a:pt x="59805" y="153966"/>
                  </a:moveTo>
                  <a:lnTo>
                    <a:pt x="60441" y="154284"/>
                  </a:lnTo>
                  <a:cubicBezTo>
                    <a:pt x="60759" y="153012"/>
                    <a:pt x="63622" y="153648"/>
                    <a:pt x="63622" y="151421"/>
                  </a:cubicBezTo>
                  <a:lnTo>
                    <a:pt x="63622" y="151103"/>
                  </a:lnTo>
                  <a:cubicBezTo>
                    <a:pt x="62668" y="151103"/>
                    <a:pt x="62350" y="151103"/>
                    <a:pt x="61396" y="151421"/>
                  </a:cubicBezTo>
                  <a:cubicBezTo>
                    <a:pt x="61078" y="152057"/>
                    <a:pt x="60759" y="153012"/>
                    <a:pt x="59805" y="153966"/>
                  </a:cubicBezTo>
                  <a:close/>
                  <a:moveTo>
                    <a:pt x="66803" y="147922"/>
                  </a:moveTo>
                  <a:cubicBezTo>
                    <a:pt x="66803" y="147922"/>
                    <a:pt x="66485" y="147922"/>
                    <a:pt x="66485" y="148240"/>
                  </a:cubicBezTo>
                  <a:cubicBezTo>
                    <a:pt x="66485" y="148240"/>
                    <a:pt x="66803" y="148240"/>
                    <a:pt x="66803" y="147922"/>
                  </a:cubicBezTo>
                  <a:close/>
                  <a:moveTo>
                    <a:pt x="66803" y="147604"/>
                  </a:moveTo>
                  <a:cubicBezTo>
                    <a:pt x="67122" y="147604"/>
                    <a:pt x="67758" y="148240"/>
                    <a:pt x="67758" y="148240"/>
                  </a:cubicBezTo>
                  <a:cubicBezTo>
                    <a:pt x="68394" y="146968"/>
                    <a:pt x="69667" y="146331"/>
                    <a:pt x="71575" y="145377"/>
                  </a:cubicBezTo>
                  <a:lnTo>
                    <a:pt x="71575" y="144741"/>
                  </a:lnTo>
                  <a:cubicBezTo>
                    <a:pt x="70303" y="145059"/>
                    <a:pt x="69667" y="146013"/>
                    <a:pt x="68394" y="146331"/>
                  </a:cubicBezTo>
                  <a:cubicBezTo>
                    <a:pt x="67758" y="146650"/>
                    <a:pt x="66803" y="146650"/>
                    <a:pt x="66803" y="147604"/>
                  </a:cubicBezTo>
                  <a:close/>
                  <a:moveTo>
                    <a:pt x="76347" y="135834"/>
                  </a:moveTo>
                  <a:cubicBezTo>
                    <a:pt x="76029" y="135834"/>
                    <a:pt x="76029" y="135834"/>
                    <a:pt x="76029" y="135516"/>
                  </a:cubicBezTo>
                  <a:cubicBezTo>
                    <a:pt x="75393" y="136152"/>
                    <a:pt x="72530" y="136788"/>
                    <a:pt x="72530" y="138379"/>
                  </a:cubicBezTo>
                  <a:lnTo>
                    <a:pt x="71893" y="138379"/>
                  </a:lnTo>
                  <a:lnTo>
                    <a:pt x="71893" y="136788"/>
                  </a:lnTo>
                  <a:cubicBezTo>
                    <a:pt x="72530" y="136788"/>
                    <a:pt x="72848" y="135516"/>
                    <a:pt x="73802" y="135516"/>
                  </a:cubicBezTo>
                  <a:lnTo>
                    <a:pt x="73802" y="135198"/>
                  </a:lnTo>
                  <a:cubicBezTo>
                    <a:pt x="75393" y="135198"/>
                    <a:pt x="76029" y="133925"/>
                    <a:pt x="76983" y="133289"/>
                  </a:cubicBezTo>
                  <a:lnTo>
                    <a:pt x="77937" y="133289"/>
                  </a:lnTo>
                  <a:cubicBezTo>
                    <a:pt x="77301" y="135198"/>
                    <a:pt x="76983" y="135198"/>
                    <a:pt x="76347" y="135834"/>
                  </a:cubicBezTo>
                  <a:close/>
                  <a:moveTo>
                    <a:pt x="73484" y="142514"/>
                  </a:moveTo>
                  <a:lnTo>
                    <a:pt x="73166" y="142832"/>
                  </a:lnTo>
                  <a:lnTo>
                    <a:pt x="74120" y="143468"/>
                  </a:lnTo>
                  <a:lnTo>
                    <a:pt x="74120" y="143150"/>
                  </a:lnTo>
                  <a:lnTo>
                    <a:pt x="73484" y="142514"/>
                  </a:lnTo>
                  <a:close/>
                  <a:moveTo>
                    <a:pt x="78574" y="133607"/>
                  </a:moveTo>
                  <a:lnTo>
                    <a:pt x="78574" y="133289"/>
                  </a:lnTo>
                  <a:lnTo>
                    <a:pt x="78892" y="133607"/>
                  </a:lnTo>
                  <a:lnTo>
                    <a:pt x="78574" y="133607"/>
                  </a:lnTo>
                  <a:close/>
                  <a:moveTo>
                    <a:pt x="79846" y="139015"/>
                  </a:moveTo>
                  <a:cubicBezTo>
                    <a:pt x="80164" y="139015"/>
                    <a:pt x="80482" y="138697"/>
                    <a:pt x="80482" y="138379"/>
                  </a:cubicBezTo>
                  <a:cubicBezTo>
                    <a:pt x="80482" y="138379"/>
                    <a:pt x="80482" y="138061"/>
                    <a:pt x="80164" y="138061"/>
                  </a:cubicBezTo>
                  <a:cubicBezTo>
                    <a:pt x="80164" y="138061"/>
                    <a:pt x="79210" y="138061"/>
                    <a:pt x="79210" y="138379"/>
                  </a:cubicBezTo>
                  <a:cubicBezTo>
                    <a:pt x="79210" y="138379"/>
                    <a:pt x="79210" y="138697"/>
                    <a:pt x="79846" y="139015"/>
                  </a:cubicBezTo>
                  <a:close/>
                  <a:moveTo>
                    <a:pt x="80800" y="131380"/>
                  </a:moveTo>
                  <a:cubicBezTo>
                    <a:pt x="80800" y="131380"/>
                    <a:pt x="81119" y="131380"/>
                    <a:pt x="81755" y="131698"/>
                  </a:cubicBezTo>
                  <a:lnTo>
                    <a:pt x="81755" y="132016"/>
                  </a:lnTo>
                  <a:cubicBezTo>
                    <a:pt x="80800" y="132016"/>
                    <a:pt x="80800" y="132653"/>
                    <a:pt x="80164" y="132653"/>
                  </a:cubicBezTo>
                  <a:lnTo>
                    <a:pt x="79846" y="132653"/>
                  </a:lnTo>
                  <a:lnTo>
                    <a:pt x="80800" y="131380"/>
                  </a:lnTo>
                  <a:close/>
                  <a:moveTo>
                    <a:pt x="81755" y="137106"/>
                  </a:moveTo>
                  <a:cubicBezTo>
                    <a:pt x="81755" y="137424"/>
                    <a:pt x="81437" y="137424"/>
                    <a:pt x="81437" y="137742"/>
                  </a:cubicBezTo>
                  <a:lnTo>
                    <a:pt x="81755" y="137742"/>
                  </a:lnTo>
                  <a:lnTo>
                    <a:pt x="81755" y="137106"/>
                  </a:lnTo>
                  <a:close/>
                  <a:moveTo>
                    <a:pt x="85572" y="129790"/>
                  </a:moveTo>
                  <a:cubicBezTo>
                    <a:pt x="85254" y="129790"/>
                    <a:pt x="84936" y="129471"/>
                    <a:pt x="84936" y="129471"/>
                  </a:cubicBezTo>
                  <a:cubicBezTo>
                    <a:pt x="85572" y="128835"/>
                    <a:pt x="85254" y="127563"/>
                    <a:pt x="86208" y="127245"/>
                  </a:cubicBezTo>
                  <a:lnTo>
                    <a:pt x="86527" y="127563"/>
                  </a:lnTo>
                  <a:cubicBezTo>
                    <a:pt x="86845" y="127563"/>
                    <a:pt x="87163" y="127881"/>
                    <a:pt x="87163" y="127881"/>
                  </a:cubicBezTo>
                  <a:lnTo>
                    <a:pt x="87163" y="128517"/>
                  </a:lnTo>
                  <a:cubicBezTo>
                    <a:pt x="86208" y="128517"/>
                    <a:pt x="86527" y="129471"/>
                    <a:pt x="86208" y="129471"/>
                  </a:cubicBezTo>
                  <a:cubicBezTo>
                    <a:pt x="86208" y="129790"/>
                    <a:pt x="85572" y="129790"/>
                    <a:pt x="85572" y="129790"/>
                  </a:cubicBezTo>
                  <a:close/>
                  <a:moveTo>
                    <a:pt x="85572" y="133925"/>
                  </a:moveTo>
                  <a:lnTo>
                    <a:pt x="85572" y="134243"/>
                  </a:lnTo>
                  <a:cubicBezTo>
                    <a:pt x="85890" y="134243"/>
                    <a:pt x="86208" y="134561"/>
                    <a:pt x="86527" y="134561"/>
                  </a:cubicBezTo>
                  <a:cubicBezTo>
                    <a:pt x="87481" y="134561"/>
                    <a:pt x="87799" y="132971"/>
                    <a:pt x="89071" y="132971"/>
                  </a:cubicBezTo>
                  <a:lnTo>
                    <a:pt x="89071" y="132653"/>
                  </a:lnTo>
                  <a:lnTo>
                    <a:pt x="86527" y="133607"/>
                  </a:lnTo>
                  <a:cubicBezTo>
                    <a:pt x="85572" y="133607"/>
                    <a:pt x="85572" y="133925"/>
                    <a:pt x="85572" y="133925"/>
                  </a:cubicBezTo>
                  <a:close/>
                  <a:moveTo>
                    <a:pt x="89071" y="134561"/>
                  </a:moveTo>
                  <a:lnTo>
                    <a:pt x="89389" y="134561"/>
                  </a:lnTo>
                  <a:cubicBezTo>
                    <a:pt x="89389" y="134879"/>
                    <a:pt x="89708" y="134879"/>
                    <a:pt x="89708" y="134879"/>
                  </a:cubicBezTo>
                  <a:cubicBezTo>
                    <a:pt x="89708" y="135198"/>
                    <a:pt x="89708" y="134243"/>
                    <a:pt x="89389" y="134243"/>
                  </a:cubicBezTo>
                  <a:cubicBezTo>
                    <a:pt x="89071" y="134243"/>
                    <a:pt x="89071" y="134561"/>
                    <a:pt x="89071" y="134561"/>
                  </a:cubicBezTo>
                  <a:close/>
                  <a:moveTo>
                    <a:pt x="90662" y="125654"/>
                  </a:moveTo>
                  <a:lnTo>
                    <a:pt x="90980" y="125018"/>
                  </a:lnTo>
                  <a:cubicBezTo>
                    <a:pt x="90980" y="124700"/>
                    <a:pt x="90980" y="124700"/>
                    <a:pt x="91298" y="124700"/>
                  </a:cubicBezTo>
                  <a:lnTo>
                    <a:pt x="91298" y="125018"/>
                  </a:lnTo>
                  <a:cubicBezTo>
                    <a:pt x="90980" y="125336"/>
                    <a:pt x="90980" y="125654"/>
                    <a:pt x="90980" y="125654"/>
                  </a:cubicBezTo>
                  <a:lnTo>
                    <a:pt x="90662" y="125654"/>
                  </a:lnTo>
                  <a:close/>
                  <a:moveTo>
                    <a:pt x="96388" y="122473"/>
                  </a:moveTo>
                  <a:cubicBezTo>
                    <a:pt x="95434" y="122473"/>
                    <a:pt x="94797" y="122791"/>
                    <a:pt x="94797" y="123427"/>
                  </a:cubicBezTo>
                  <a:lnTo>
                    <a:pt x="94797" y="124382"/>
                  </a:lnTo>
                  <a:cubicBezTo>
                    <a:pt x="93525" y="123427"/>
                    <a:pt x="93525" y="124064"/>
                    <a:pt x="93525" y="123109"/>
                  </a:cubicBezTo>
                  <a:lnTo>
                    <a:pt x="93525" y="122473"/>
                  </a:lnTo>
                  <a:cubicBezTo>
                    <a:pt x="94479" y="122473"/>
                    <a:pt x="95115" y="122155"/>
                    <a:pt x="96070" y="121837"/>
                  </a:cubicBezTo>
                  <a:lnTo>
                    <a:pt x="97024" y="122155"/>
                  </a:lnTo>
                  <a:cubicBezTo>
                    <a:pt x="97024" y="122473"/>
                    <a:pt x="96706" y="122473"/>
                    <a:pt x="96706" y="122473"/>
                  </a:cubicBezTo>
                  <a:lnTo>
                    <a:pt x="96388" y="122473"/>
                  </a:lnTo>
                  <a:close/>
                  <a:moveTo>
                    <a:pt x="95752" y="122791"/>
                  </a:moveTo>
                  <a:lnTo>
                    <a:pt x="95752" y="123746"/>
                  </a:lnTo>
                  <a:cubicBezTo>
                    <a:pt x="95434" y="123746"/>
                    <a:pt x="95434" y="123746"/>
                    <a:pt x="95434" y="123427"/>
                  </a:cubicBezTo>
                  <a:cubicBezTo>
                    <a:pt x="95434" y="122791"/>
                    <a:pt x="95752" y="122791"/>
                    <a:pt x="95752" y="122791"/>
                  </a:cubicBezTo>
                  <a:close/>
                  <a:moveTo>
                    <a:pt x="96388" y="15906"/>
                  </a:moveTo>
                  <a:cubicBezTo>
                    <a:pt x="96388" y="15906"/>
                    <a:pt x="96706" y="15906"/>
                    <a:pt x="96706" y="15269"/>
                  </a:cubicBezTo>
                  <a:cubicBezTo>
                    <a:pt x="96706" y="15269"/>
                    <a:pt x="96388" y="15269"/>
                    <a:pt x="96388" y="15906"/>
                  </a:cubicBezTo>
                  <a:close/>
                  <a:moveTo>
                    <a:pt x="97342" y="126290"/>
                  </a:moveTo>
                  <a:lnTo>
                    <a:pt x="97342" y="126927"/>
                  </a:lnTo>
                  <a:lnTo>
                    <a:pt x="97661" y="126608"/>
                  </a:lnTo>
                  <a:lnTo>
                    <a:pt x="97342" y="126290"/>
                  </a:lnTo>
                  <a:close/>
                  <a:moveTo>
                    <a:pt x="102750" y="127245"/>
                  </a:moveTo>
                  <a:cubicBezTo>
                    <a:pt x="102750" y="127245"/>
                    <a:pt x="103068" y="126927"/>
                    <a:pt x="103068" y="126290"/>
                  </a:cubicBezTo>
                  <a:cubicBezTo>
                    <a:pt x="102750" y="126290"/>
                    <a:pt x="102750" y="126290"/>
                    <a:pt x="102432" y="125972"/>
                  </a:cubicBezTo>
                  <a:lnTo>
                    <a:pt x="102432" y="126927"/>
                  </a:lnTo>
                  <a:lnTo>
                    <a:pt x="102750" y="127245"/>
                  </a:lnTo>
                  <a:close/>
                  <a:moveTo>
                    <a:pt x="110067" y="113884"/>
                  </a:moveTo>
                  <a:lnTo>
                    <a:pt x="110067" y="113566"/>
                  </a:lnTo>
                  <a:cubicBezTo>
                    <a:pt x="111021" y="113566"/>
                    <a:pt x="111339" y="113248"/>
                    <a:pt x="112294" y="113248"/>
                  </a:cubicBezTo>
                  <a:lnTo>
                    <a:pt x="112294" y="113566"/>
                  </a:lnTo>
                  <a:cubicBezTo>
                    <a:pt x="111339" y="114202"/>
                    <a:pt x="111339" y="116111"/>
                    <a:pt x="111021" y="115475"/>
                  </a:cubicBezTo>
                  <a:cubicBezTo>
                    <a:pt x="111021" y="114520"/>
                    <a:pt x="110067" y="115475"/>
                    <a:pt x="110067" y="113884"/>
                  </a:cubicBezTo>
                  <a:close/>
                  <a:moveTo>
                    <a:pt x="111339" y="8907"/>
                  </a:moveTo>
                  <a:cubicBezTo>
                    <a:pt x="111339" y="8907"/>
                    <a:pt x="111339" y="9225"/>
                    <a:pt x="111657" y="9225"/>
                  </a:cubicBezTo>
                  <a:lnTo>
                    <a:pt x="111657" y="8589"/>
                  </a:lnTo>
                  <a:cubicBezTo>
                    <a:pt x="111339" y="8589"/>
                    <a:pt x="111339" y="8907"/>
                    <a:pt x="111339" y="8907"/>
                  </a:cubicBezTo>
                  <a:close/>
                  <a:moveTo>
                    <a:pt x="118019" y="110067"/>
                  </a:moveTo>
                  <a:cubicBezTo>
                    <a:pt x="118338" y="110067"/>
                    <a:pt x="118338" y="110385"/>
                    <a:pt x="118974" y="110385"/>
                  </a:cubicBezTo>
                  <a:lnTo>
                    <a:pt x="118656" y="111021"/>
                  </a:lnTo>
                  <a:cubicBezTo>
                    <a:pt x="118338" y="111021"/>
                    <a:pt x="118019" y="110703"/>
                    <a:pt x="118019" y="110703"/>
                  </a:cubicBezTo>
                  <a:cubicBezTo>
                    <a:pt x="117701" y="110703"/>
                    <a:pt x="117701" y="111339"/>
                    <a:pt x="117383" y="112293"/>
                  </a:cubicBezTo>
                  <a:lnTo>
                    <a:pt x="117383" y="112930"/>
                  </a:lnTo>
                  <a:lnTo>
                    <a:pt x="116429" y="112930"/>
                  </a:lnTo>
                  <a:lnTo>
                    <a:pt x="117065" y="112293"/>
                  </a:lnTo>
                  <a:cubicBezTo>
                    <a:pt x="116747" y="111657"/>
                    <a:pt x="116747" y="111339"/>
                    <a:pt x="116747" y="111021"/>
                  </a:cubicBezTo>
                  <a:cubicBezTo>
                    <a:pt x="116747" y="110703"/>
                    <a:pt x="116747" y="110385"/>
                    <a:pt x="117383" y="110385"/>
                  </a:cubicBezTo>
                  <a:cubicBezTo>
                    <a:pt x="117383" y="110385"/>
                    <a:pt x="117701" y="110067"/>
                    <a:pt x="118019" y="110067"/>
                  </a:cubicBezTo>
                  <a:close/>
                  <a:moveTo>
                    <a:pt x="122473" y="108794"/>
                  </a:moveTo>
                  <a:lnTo>
                    <a:pt x="121201" y="108794"/>
                  </a:lnTo>
                  <a:cubicBezTo>
                    <a:pt x="121519" y="108794"/>
                    <a:pt x="121837" y="108158"/>
                    <a:pt x="122155" y="107840"/>
                  </a:cubicBezTo>
                  <a:lnTo>
                    <a:pt x="122473" y="108158"/>
                  </a:lnTo>
                  <a:lnTo>
                    <a:pt x="122473" y="108794"/>
                  </a:lnTo>
                  <a:close/>
                  <a:moveTo>
                    <a:pt x="123428" y="107840"/>
                  </a:moveTo>
                  <a:cubicBezTo>
                    <a:pt x="123428" y="107204"/>
                    <a:pt x="123428" y="107204"/>
                    <a:pt x="123746" y="107204"/>
                  </a:cubicBezTo>
                  <a:lnTo>
                    <a:pt x="123746" y="107840"/>
                  </a:lnTo>
                  <a:cubicBezTo>
                    <a:pt x="123746" y="107840"/>
                    <a:pt x="123746" y="108158"/>
                    <a:pt x="123428" y="108158"/>
                  </a:cubicBezTo>
                  <a:lnTo>
                    <a:pt x="123428" y="107840"/>
                  </a:lnTo>
                  <a:close/>
                  <a:moveTo>
                    <a:pt x="125018" y="108158"/>
                  </a:moveTo>
                  <a:cubicBezTo>
                    <a:pt x="125018" y="107840"/>
                    <a:pt x="125336" y="107840"/>
                    <a:pt x="125972" y="107840"/>
                  </a:cubicBezTo>
                  <a:cubicBezTo>
                    <a:pt x="125972" y="108158"/>
                    <a:pt x="125336" y="108476"/>
                    <a:pt x="125018" y="108476"/>
                  </a:cubicBezTo>
                  <a:lnTo>
                    <a:pt x="125018" y="108158"/>
                  </a:lnTo>
                  <a:close/>
                  <a:moveTo>
                    <a:pt x="157783" y="102114"/>
                  </a:moveTo>
                  <a:lnTo>
                    <a:pt x="158102" y="101796"/>
                  </a:lnTo>
                  <a:lnTo>
                    <a:pt x="157783" y="101478"/>
                  </a:lnTo>
                  <a:cubicBezTo>
                    <a:pt x="157465" y="101478"/>
                    <a:pt x="157147" y="101796"/>
                    <a:pt x="157147" y="101796"/>
                  </a:cubicBezTo>
                  <a:lnTo>
                    <a:pt x="158102" y="103068"/>
                  </a:lnTo>
                  <a:lnTo>
                    <a:pt x="158102" y="103704"/>
                  </a:lnTo>
                  <a:cubicBezTo>
                    <a:pt x="158102" y="103704"/>
                    <a:pt x="158420" y="103704"/>
                    <a:pt x="158420" y="103068"/>
                  </a:cubicBezTo>
                  <a:cubicBezTo>
                    <a:pt x="158102" y="102750"/>
                    <a:pt x="157783" y="102432"/>
                    <a:pt x="157783" y="102114"/>
                  </a:cubicBezTo>
                  <a:close/>
                  <a:moveTo>
                    <a:pt x="159374" y="105931"/>
                  </a:moveTo>
                  <a:lnTo>
                    <a:pt x="158420" y="105613"/>
                  </a:lnTo>
                  <a:cubicBezTo>
                    <a:pt x="158420" y="105613"/>
                    <a:pt x="159056" y="106249"/>
                    <a:pt x="159374" y="106249"/>
                  </a:cubicBezTo>
                  <a:lnTo>
                    <a:pt x="159374" y="105931"/>
                  </a:lnTo>
                  <a:close/>
                  <a:moveTo>
                    <a:pt x="160646" y="98933"/>
                  </a:moveTo>
                  <a:lnTo>
                    <a:pt x="159692" y="98615"/>
                  </a:lnTo>
                  <a:cubicBezTo>
                    <a:pt x="159692" y="98933"/>
                    <a:pt x="159692" y="99887"/>
                    <a:pt x="160010" y="99887"/>
                  </a:cubicBezTo>
                  <a:cubicBezTo>
                    <a:pt x="160010" y="99887"/>
                    <a:pt x="160646" y="99887"/>
                    <a:pt x="160646" y="98933"/>
                  </a:cubicBezTo>
                  <a:close/>
                  <a:moveTo>
                    <a:pt x="160646" y="104659"/>
                  </a:moveTo>
                  <a:lnTo>
                    <a:pt x="159692" y="104977"/>
                  </a:lnTo>
                  <a:lnTo>
                    <a:pt x="160646" y="104977"/>
                  </a:lnTo>
                  <a:lnTo>
                    <a:pt x="160646" y="104659"/>
                  </a:lnTo>
                  <a:close/>
                  <a:moveTo>
                    <a:pt x="160010" y="102114"/>
                  </a:moveTo>
                  <a:lnTo>
                    <a:pt x="160646" y="102432"/>
                  </a:lnTo>
                  <a:cubicBezTo>
                    <a:pt x="160328" y="102114"/>
                    <a:pt x="160328" y="102114"/>
                    <a:pt x="160010" y="102114"/>
                  </a:cubicBezTo>
                  <a:close/>
                  <a:moveTo>
                    <a:pt x="162555" y="100523"/>
                  </a:moveTo>
                  <a:cubicBezTo>
                    <a:pt x="161919" y="100523"/>
                    <a:pt x="161601" y="100523"/>
                    <a:pt x="161601" y="101160"/>
                  </a:cubicBezTo>
                  <a:cubicBezTo>
                    <a:pt x="161601" y="101478"/>
                    <a:pt x="162237" y="102432"/>
                    <a:pt x="162237" y="102114"/>
                  </a:cubicBezTo>
                  <a:cubicBezTo>
                    <a:pt x="162555" y="101160"/>
                    <a:pt x="162555" y="100841"/>
                    <a:pt x="162555" y="100523"/>
                  </a:cubicBezTo>
                  <a:close/>
                  <a:moveTo>
                    <a:pt x="165418" y="99251"/>
                  </a:moveTo>
                  <a:cubicBezTo>
                    <a:pt x="165100" y="99251"/>
                    <a:pt x="164782" y="99569"/>
                    <a:pt x="164782" y="99569"/>
                  </a:cubicBezTo>
                  <a:lnTo>
                    <a:pt x="166373" y="99569"/>
                  </a:lnTo>
                  <a:cubicBezTo>
                    <a:pt x="166055" y="99251"/>
                    <a:pt x="165736" y="99251"/>
                    <a:pt x="165418" y="99251"/>
                  </a:cubicBezTo>
                  <a:close/>
                  <a:moveTo>
                    <a:pt x="166055" y="97342"/>
                  </a:moveTo>
                  <a:lnTo>
                    <a:pt x="167009" y="97342"/>
                  </a:lnTo>
                  <a:lnTo>
                    <a:pt x="167009" y="96706"/>
                  </a:lnTo>
                  <a:cubicBezTo>
                    <a:pt x="166691" y="96706"/>
                    <a:pt x="166055" y="97024"/>
                    <a:pt x="166055" y="97342"/>
                  </a:cubicBezTo>
                  <a:close/>
                  <a:moveTo>
                    <a:pt x="167009" y="102432"/>
                  </a:moveTo>
                  <a:cubicBezTo>
                    <a:pt x="167009" y="102114"/>
                    <a:pt x="167009" y="102114"/>
                    <a:pt x="166691" y="102114"/>
                  </a:cubicBezTo>
                  <a:cubicBezTo>
                    <a:pt x="166691" y="102114"/>
                    <a:pt x="166373" y="102114"/>
                    <a:pt x="166373" y="102432"/>
                  </a:cubicBezTo>
                  <a:lnTo>
                    <a:pt x="166373" y="103068"/>
                  </a:lnTo>
                  <a:lnTo>
                    <a:pt x="167009" y="103068"/>
                  </a:lnTo>
                  <a:lnTo>
                    <a:pt x="167009" y="102432"/>
                  </a:lnTo>
                  <a:close/>
                  <a:moveTo>
                    <a:pt x="175916" y="93525"/>
                  </a:moveTo>
                  <a:cubicBezTo>
                    <a:pt x="175916" y="93525"/>
                    <a:pt x="176552" y="93525"/>
                    <a:pt x="176870" y="93843"/>
                  </a:cubicBezTo>
                  <a:lnTo>
                    <a:pt x="176870" y="94161"/>
                  </a:lnTo>
                  <a:lnTo>
                    <a:pt x="176552" y="94161"/>
                  </a:lnTo>
                  <a:cubicBezTo>
                    <a:pt x="176234" y="94479"/>
                    <a:pt x="176234" y="94479"/>
                    <a:pt x="176234" y="94797"/>
                  </a:cubicBezTo>
                  <a:cubicBezTo>
                    <a:pt x="176234" y="95115"/>
                    <a:pt x="176234" y="95434"/>
                    <a:pt x="176870" y="95752"/>
                  </a:cubicBezTo>
                  <a:cubicBezTo>
                    <a:pt x="176870" y="97342"/>
                    <a:pt x="171144" y="97024"/>
                    <a:pt x="170508" y="97978"/>
                  </a:cubicBezTo>
                  <a:lnTo>
                    <a:pt x="170190" y="97024"/>
                  </a:lnTo>
                  <a:cubicBezTo>
                    <a:pt x="170826" y="97024"/>
                    <a:pt x="171144" y="96706"/>
                    <a:pt x="172735" y="96706"/>
                  </a:cubicBezTo>
                  <a:lnTo>
                    <a:pt x="173053" y="96388"/>
                  </a:lnTo>
                  <a:cubicBezTo>
                    <a:pt x="172735" y="96070"/>
                    <a:pt x="172735" y="96070"/>
                    <a:pt x="172735" y="95752"/>
                  </a:cubicBezTo>
                  <a:cubicBezTo>
                    <a:pt x="172735" y="95434"/>
                    <a:pt x="172735" y="95115"/>
                    <a:pt x="173053" y="94797"/>
                  </a:cubicBezTo>
                  <a:cubicBezTo>
                    <a:pt x="173053" y="94479"/>
                    <a:pt x="172098" y="94479"/>
                    <a:pt x="172417" y="94161"/>
                  </a:cubicBezTo>
                  <a:lnTo>
                    <a:pt x="172417" y="93525"/>
                  </a:lnTo>
                  <a:cubicBezTo>
                    <a:pt x="172735" y="93525"/>
                    <a:pt x="173053" y="93207"/>
                    <a:pt x="174007" y="92889"/>
                  </a:cubicBezTo>
                  <a:cubicBezTo>
                    <a:pt x="174325" y="92889"/>
                    <a:pt x="174325" y="92889"/>
                    <a:pt x="174325" y="93525"/>
                  </a:cubicBezTo>
                  <a:lnTo>
                    <a:pt x="174643" y="94479"/>
                  </a:lnTo>
                  <a:lnTo>
                    <a:pt x="175916" y="93525"/>
                  </a:lnTo>
                  <a:close/>
                  <a:moveTo>
                    <a:pt x="171144" y="94161"/>
                  </a:moveTo>
                  <a:cubicBezTo>
                    <a:pt x="171144" y="94479"/>
                    <a:pt x="170826" y="94479"/>
                    <a:pt x="170826" y="94479"/>
                  </a:cubicBezTo>
                  <a:cubicBezTo>
                    <a:pt x="170826" y="94479"/>
                    <a:pt x="170508" y="94479"/>
                    <a:pt x="170508" y="94161"/>
                  </a:cubicBezTo>
                  <a:lnTo>
                    <a:pt x="171144" y="94161"/>
                  </a:lnTo>
                  <a:close/>
                  <a:moveTo>
                    <a:pt x="171144" y="95115"/>
                  </a:moveTo>
                  <a:cubicBezTo>
                    <a:pt x="171462" y="95115"/>
                    <a:pt x="171462" y="95115"/>
                    <a:pt x="172098" y="95752"/>
                  </a:cubicBezTo>
                  <a:lnTo>
                    <a:pt x="172417" y="96388"/>
                  </a:lnTo>
                  <a:lnTo>
                    <a:pt x="171780" y="96070"/>
                  </a:lnTo>
                  <a:lnTo>
                    <a:pt x="170826" y="95434"/>
                  </a:lnTo>
                  <a:cubicBezTo>
                    <a:pt x="170826" y="95115"/>
                    <a:pt x="171144" y="95115"/>
                    <a:pt x="171144" y="95115"/>
                  </a:cubicBezTo>
                  <a:close/>
                  <a:moveTo>
                    <a:pt x="171462" y="100841"/>
                  </a:moveTo>
                  <a:lnTo>
                    <a:pt x="170826" y="102114"/>
                  </a:lnTo>
                  <a:lnTo>
                    <a:pt x="171144" y="102114"/>
                  </a:lnTo>
                  <a:cubicBezTo>
                    <a:pt x="172098" y="102114"/>
                    <a:pt x="172098" y="102114"/>
                    <a:pt x="172735" y="101478"/>
                  </a:cubicBezTo>
                  <a:cubicBezTo>
                    <a:pt x="172417" y="101796"/>
                    <a:pt x="172735" y="100841"/>
                    <a:pt x="171462" y="100841"/>
                  </a:cubicBezTo>
                  <a:close/>
                  <a:moveTo>
                    <a:pt x="175598" y="92889"/>
                  </a:moveTo>
                  <a:cubicBezTo>
                    <a:pt x="175916" y="92571"/>
                    <a:pt x="176552" y="92571"/>
                    <a:pt x="176552" y="92571"/>
                  </a:cubicBezTo>
                  <a:lnTo>
                    <a:pt x="176870" y="92889"/>
                  </a:lnTo>
                  <a:lnTo>
                    <a:pt x="176870" y="93207"/>
                  </a:lnTo>
                  <a:cubicBezTo>
                    <a:pt x="176552" y="93207"/>
                    <a:pt x="176552" y="92889"/>
                    <a:pt x="176552" y="92889"/>
                  </a:cubicBezTo>
                  <a:cubicBezTo>
                    <a:pt x="176552" y="92889"/>
                    <a:pt x="175916" y="92889"/>
                    <a:pt x="175916" y="93207"/>
                  </a:cubicBezTo>
                  <a:lnTo>
                    <a:pt x="175598" y="92889"/>
                  </a:lnTo>
                  <a:close/>
                  <a:moveTo>
                    <a:pt x="185777" y="91616"/>
                  </a:moveTo>
                  <a:cubicBezTo>
                    <a:pt x="185459" y="91616"/>
                    <a:pt x="185459" y="91298"/>
                    <a:pt x="185141" y="91298"/>
                  </a:cubicBezTo>
                  <a:cubicBezTo>
                    <a:pt x="184187" y="91298"/>
                    <a:pt x="183232" y="91934"/>
                    <a:pt x="182278" y="91934"/>
                  </a:cubicBezTo>
                  <a:lnTo>
                    <a:pt x="181006" y="93525"/>
                  </a:lnTo>
                  <a:lnTo>
                    <a:pt x="180688" y="93843"/>
                  </a:lnTo>
                  <a:lnTo>
                    <a:pt x="181006" y="93843"/>
                  </a:lnTo>
                  <a:cubicBezTo>
                    <a:pt x="181006" y="94479"/>
                    <a:pt x="181006" y="94479"/>
                    <a:pt x="180370" y="95115"/>
                  </a:cubicBezTo>
                  <a:lnTo>
                    <a:pt x="180370" y="94797"/>
                  </a:lnTo>
                  <a:lnTo>
                    <a:pt x="179733" y="94161"/>
                  </a:lnTo>
                  <a:lnTo>
                    <a:pt x="176870" y="93525"/>
                  </a:lnTo>
                  <a:lnTo>
                    <a:pt x="178779" y="93525"/>
                  </a:lnTo>
                  <a:lnTo>
                    <a:pt x="179415" y="93207"/>
                  </a:lnTo>
                  <a:cubicBezTo>
                    <a:pt x="179415" y="93207"/>
                    <a:pt x="179415" y="92889"/>
                    <a:pt x="179097" y="92571"/>
                  </a:cubicBezTo>
                  <a:cubicBezTo>
                    <a:pt x="179097" y="90980"/>
                    <a:pt x="183232" y="90980"/>
                    <a:pt x="185777" y="90980"/>
                  </a:cubicBezTo>
                  <a:lnTo>
                    <a:pt x="185777" y="91616"/>
                  </a:lnTo>
                  <a:close/>
                  <a:moveTo>
                    <a:pt x="180051" y="90026"/>
                  </a:moveTo>
                  <a:lnTo>
                    <a:pt x="179733" y="90026"/>
                  </a:lnTo>
                  <a:lnTo>
                    <a:pt x="180051" y="89708"/>
                  </a:lnTo>
                  <a:lnTo>
                    <a:pt x="180051" y="90026"/>
                  </a:lnTo>
                  <a:close/>
                  <a:moveTo>
                    <a:pt x="185777" y="93843"/>
                  </a:moveTo>
                  <a:cubicBezTo>
                    <a:pt x="184823" y="94479"/>
                    <a:pt x="184505" y="94479"/>
                    <a:pt x="183551" y="94479"/>
                  </a:cubicBezTo>
                  <a:lnTo>
                    <a:pt x="185141" y="93207"/>
                  </a:lnTo>
                  <a:lnTo>
                    <a:pt x="185777" y="93843"/>
                  </a:lnTo>
                  <a:close/>
                  <a:moveTo>
                    <a:pt x="187686" y="90662"/>
                  </a:moveTo>
                  <a:lnTo>
                    <a:pt x="186413" y="90662"/>
                  </a:lnTo>
                  <a:lnTo>
                    <a:pt x="187368" y="90026"/>
                  </a:lnTo>
                  <a:lnTo>
                    <a:pt x="187686" y="90026"/>
                  </a:lnTo>
                  <a:lnTo>
                    <a:pt x="188004" y="90344"/>
                  </a:lnTo>
                  <a:cubicBezTo>
                    <a:pt x="188004" y="90662"/>
                    <a:pt x="187686" y="90662"/>
                    <a:pt x="187686" y="90662"/>
                  </a:cubicBezTo>
                  <a:close/>
                </a:path>
              </a:pathLst>
            </a:custGeom>
            <a:solidFill>
              <a:srgbClr val="000000"/>
            </a:solidFill>
            <a:ln w="63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1D7C38C9-C868-4627-BC12-EF77563DDB43}"/>
                </a:ext>
              </a:extLst>
            </p:cNvPr>
            <p:cNvSpPr/>
            <p:nvPr/>
          </p:nvSpPr>
          <p:spPr>
            <a:xfrm>
              <a:off x="3510687" y="3561874"/>
              <a:ext cx="139969" cy="286301"/>
            </a:xfrm>
            <a:custGeom>
              <a:avLst/>
              <a:gdLst>
                <a:gd name="connsiteX0" fmla="*/ 133925 w 139969"/>
                <a:gd name="connsiteY0" fmla="*/ 104659 h 286300"/>
                <a:gd name="connsiteX1" fmla="*/ 133607 w 139969"/>
                <a:gd name="connsiteY1" fmla="*/ 104659 h 286300"/>
                <a:gd name="connsiteX2" fmla="*/ 133289 w 139969"/>
                <a:gd name="connsiteY2" fmla="*/ 104977 h 286300"/>
                <a:gd name="connsiteX3" fmla="*/ 133289 w 139969"/>
                <a:gd name="connsiteY3" fmla="*/ 104659 h 286300"/>
                <a:gd name="connsiteX4" fmla="*/ 132335 w 139969"/>
                <a:gd name="connsiteY4" fmla="*/ 105295 h 286300"/>
                <a:gd name="connsiteX5" fmla="*/ 132653 w 139969"/>
                <a:gd name="connsiteY5" fmla="*/ 108476 h 286300"/>
                <a:gd name="connsiteX6" fmla="*/ 133925 w 139969"/>
                <a:gd name="connsiteY6" fmla="*/ 109749 h 286300"/>
                <a:gd name="connsiteX7" fmla="*/ 134561 w 139969"/>
                <a:gd name="connsiteY7" fmla="*/ 109749 h 286300"/>
                <a:gd name="connsiteX8" fmla="*/ 134879 w 139969"/>
                <a:gd name="connsiteY8" fmla="*/ 109112 h 286300"/>
                <a:gd name="connsiteX9" fmla="*/ 134879 w 139969"/>
                <a:gd name="connsiteY9" fmla="*/ 109749 h 286300"/>
                <a:gd name="connsiteX10" fmla="*/ 134561 w 139969"/>
                <a:gd name="connsiteY10" fmla="*/ 110385 h 286300"/>
                <a:gd name="connsiteX11" fmla="*/ 134561 w 139969"/>
                <a:gd name="connsiteY11" fmla="*/ 111021 h 286300"/>
                <a:gd name="connsiteX12" fmla="*/ 135516 w 139969"/>
                <a:gd name="connsiteY12" fmla="*/ 111975 h 286300"/>
                <a:gd name="connsiteX13" fmla="*/ 135834 w 139969"/>
                <a:gd name="connsiteY13" fmla="*/ 111975 h 286300"/>
                <a:gd name="connsiteX14" fmla="*/ 135516 w 139969"/>
                <a:gd name="connsiteY14" fmla="*/ 111339 h 286300"/>
                <a:gd name="connsiteX15" fmla="*/ 135834 w 139969"/>
                <a:gd name="connsiteY15" fmla="*/ 110703 h 286300"/>
                <a:gd name="connsiteX16" fmla="*/ 136152 w 139969"/>
                <a:gd name="connsiteY16" fmla="*/ 109430 h 286300"/>
                <a:gd name="connsiteX17" fmla="*/ 136788 w 139969"/>
                <a:gd name="connsiteY17" fmla="*/ 108794 h 286300"/>
                <a:gd name="connsiteX18" fmla="*/ 137106 w 139969"/>
                <a:gd name="connsiteY18" fmla="*/ 109430 h 286300"/>
                <a:gd name="connsiteX19" fmla="*/ 137425 w 139969"/>
                <a:gd name="connsiteY19" fmla="*/ 109749 h 286300"/>
                <a:gd name="connsiteX20" fmla="*/ 137425 w 139969"/>
                <a:gd name="connsiteY20" fmla="*/ 118974 h 286300"/>
                <a:gd name="connsiteX21" fmla="*/ 138061 w 139969"/>
                <a:gd name="connsiteY21" fmla="*/ 119610 h 286300"/>
                <a:gd name="connsiteX22" fmla="*/ 138061 w 139969"/>
                <a:gd name="connsiteY22" fmla="*/ 121837 h 286300"/>
                <a:gd name="connsiteX23" fmla="*/ 137743 w 139969"/>
                <a:gd name="connsiteY23" fmla="*/ 121837 h 286300"/>
                <a:gd name="connsiteX24" fmla="*/ 137106 w 139969"/>
                <a:gd name="connsiteY24" fmla="*/ 121837 h 286300"/>
                <a:gd name="connsiteX25" fmla="*/ 136788 w 139969"/>
                <a:gd name="connsiteY25" fmla="*/ 125336 h 286300"/>
                <a:gd name="connsiteX26" fmla="*/ 136788 w 139969"/>
                <a:gd name="connsiteY26" fmla="*/ 126290 h 286300"/>
                <a:gd name="connsiteX27" fmla="*/ 137106 w 139969"/>
                <a:gd name="connsiteY27" fmla="*/ 129471 h 286300"/>
                <a:gd name="connsiteX28" fmla="*/ 136788 w 139969"/>
                <a:gd name="connsiteY28" fmla="*/ 130108 h 286300"/>
                <a:gd name="connsiteX29" fmla="*/ 135834 w 139969"/>
                <a:gd name="connsiteY29" fmla="*/ 131698 h 286300"/>
                <a:gd name="connsiteX30" fmla="*/ 135198 w 139969"/>
                <a:gd name="connsiteY30" fmla="*/ 130108 h 286300"/>
                <a:gd name="connsiteX31" fmla="*/ 134243 w 139969"/>
                <a:gd name="connsiteY31" fmla="*/ 129471 h 286300"/>
                <a:gd name="connsiteX32" fmla="*/ 133289 w 139969"/>
                <a:gd name="connsiteY32" fmla="*/ 130108 h 286300"/>
                <a:gd name="connsiteX33" fmla="*/ 133925 w 139969"/>
                <a:gd name="connsiteY33" fmla="*/ 130426 h 286300"/>
                <a:gd name="connsiteX34" fmla="*/ 134561 w 139969"/>
                <a:gd name="connsiteY34" fmla="*/ 131380 h 286300"/>
                <a:gd name="connsiteX35" fmla="*/ 134243 w 139969"/>
                <a:gd name="connsiteY35" fmla="*/ 132335 h 286300"/>
                <a:gd name="connsiteX36" fmla="*/ 134879 w 139969"/>
                <a:gd name="connsiteY36" fmla="*/ 134561 h 286300"/>
                <a:gd name="connsiteX37" fmla="*/ 135834 w 139969"/>
                <a:gd name="connsiteY37" fmla="*/ 136788 h 286300"/>
                <a:gd name="connsiteX38" fmla="*/ 135516 w 139969"/>
                <a:gd name="connsiteY38" fmla="*/ 138379 h 286300"/>
                <a:gd name="connsiteX39" fmla="*/ 135516 w 139969"/>
                <a:gd name="connsiteY39" fmla="*/ 145695 h 286300"/>
                <a:gd name="connsiteX40" fmla="*/ 134561 w 139969"/>
                <a:gd name="connsiteY40" fmla="*/ 148240 h 286300"/>
                <a:gd name="connsiteX41" fmla="*/ 134243 w 139969"/>
                <a:gd name="connsiteY41" fmla="*/ 150467 h 286300"/>
                <a:gd name="connsiteX42" fmla="*/ 133925 w 139969"/>
                <a:gd name="connsiteY42" fmla="*/ 152694 h 286300"/>
                <a:gd name="connsiteX43" fmla="*/ 133925 w 139969"/>
                <a:gd name="connsiteY43" fmla="*/ 154920 h 286300"/>
                <a:gd name="connsiteX44" fmla="*/ 134243 w 139969"/>
                <a:gd name="connsiteY44" fmla="*/ 155239 h 286300"/>
                <a:gd name="connsiteX45" fmla="*/ 134561 w 139969"/>
                <a:gd name="connsiteY45" fmla="*/ 155557 h 286300"/>
                <a:gd name="connsiteX46" fmla="*/ 134243 w 139969"/>
                <a:gd name="connsiteY46" fmla="*/ 157783 h 286300"/>
                <a:gd name="connsiteX47" fmla="*/ 133925 w 139969"/>
                <a:gd name="connsiteY47" fmla="*/ 158738 h 286300"/>
                <a:gd name="connsiteX48" fmla="*/ 133607 w 139969"/>
                <a:gd name="connsiteY48" fmla="*/ 159692 h 286300"/>
                <a:gd name="connsiteX49" fmla="*/ 132653 w 139969"/>
                <a:gd name="connsiteY49" fmla="*/ 163191 h 286300"/>
                <a:gd name="connsiteX50" fmla="*/ 130744 w 139969"/>
                <a:gd name="connsiteY50" fmla="*/ 168599 h 286300"/>
                <a:gd name="connsiteX51" fmla="*/ 130426 w 139969"/>
                <a:gd name="connsiteY51" fmla="*/ 170508 h 286300"/>
                <a:gd name="connsiteX52" fmla="*/ 129154 w 139969"/>
                <a:gd name="connsiteY52" fmla="*/ 173689 h 286300"/>
                <a:gd name="connsiteX53" fmla="*/ 128517 w 139969"/>
                <a:gd name="connsiteY53" fmla="*/ 174962 h 286300"/>
                <a:gd name="connsiteX54" fmla="*/ 128517 w 139969"/>
                <a:gd name="connsiteY54" fmla="*/ 177825 h 286300"/>
                <a:gd name="connsiteX55" fmla="*/ 128199 w 139969"/>
                <a:gd name="connsiteY55" fmla="*/ 181006 h 286300"/>
                <a:gd name="connsiteX56" fmla="*/ 128517 w 139969"/>
                <a:gd name="connsiteY56" fmla="*/ 181960 h 286300"/>
                <a:gd name="connsiteX57" fmla="*/ 127881 w 139969"/>
                <a:gd name="connsiteY57" fmla="*/ 182914 h 286300"/>
                <a:gd name="connsiteX58" fmla="*/ 127881 w 139969"/>
                <a:gd name="connsiteY58" fmla="*/ 184505 h 286300"/>
                <a:gd name="connsiteX59" fmla="*/ 127245 w 139969"/>
                <a:gd name="connsiteY59" fmla="*/ 186414 h 286300"/>
                <a:gd name="connsiteX60" fmla="*/ 127245 w 139969"/>
                <a:gd name="connsiteY60" fmla="*/ 186732 h 286300"/>
                <a:gd name="connsiteX61" fmla="*/ 125973 w 139969"/>
                <a:gd name="connsiteY61" fmla="*/ 189277 h 286300"/>
                <a:gd name="connsiteX62" fmla="*/ 125654 w 139969"/>
                <a:gd name="connsiteY62" fmla="*/ 190549 h 286300"/>
                <a:gd name="connsiteX63" fmla="*/ 123746 w 139969"/>
                <a:gd name="connsiteY63" fmla="*/ 193730 h 286300"/>
                <a:gd name="connsiteX64" fmla="*/ 124064 w 139969"/>
                <a:gd name="connsiteY64" fmla="*/ 194366 h 286300"/>
                <a:gd name="connsiteX65" fmla="*/ 123746 w 139969"/>
                <a:gd name="connsiteY65" fmla="*/ 195321 h 286300"/>
                <a:gd name="connsiteX66" fmla="*/ 123109 w 139969"/>
                <a:gd name="connsiteY66" fmla="*/ 196275 h 286300"/>
                <a:gd name="connsiteX67" fmla="*/ 123428 w 139969"/>
                <a:gd name="connsiteY67" fmla="*/ 197229 h 286300"/>
                <a:gd name="connsiteX68" fmla="*/ 123428 w 139969"/>
                <a:gd name="connsiteY68" fmla="*/ 197547 h 286300"/>
                <a:gd name="connsiteX69" fmla="*/ 122473 w 139969"/>
                <a:gd name="connsiteY69" fmla="*/ 198502 h 286300"/>
                <a:gd name="connsiteX70" fmla="*/ 121519 w 139969"/>
                <a:gd name="connsiteY70" fmla="*/ 200410 h 286300"/>
                <a:gd name="connsiteX71" fmla="*/ 121201 w 139969"/>
                <a:gd name="connsiteY71" fmla="*/ 201365 h 286300"/>
                <a:gd name="connsiteX72" fmla="*/ 121201 w 139969"/>
                <a:gd name="connsiteY72" fmla="*/ 202001 h 286300"/>
                <a:gd name="connsiteX73" fmla="*/ 120564 w 139969"/>
                <a:gd name="connsiteY73" fmla="*/ 205182 h 286300"/>
                <a:gd name="connsiteX74" fmla="*/ 118020 w 139969"/>
                <a:gd name="connsiteY74" fmla="*/ 210272 h 286300"/>
                <a:gd name="connsiteX75" fmla="*/ 116111 w 139969"/>
                <a:gd name="connsiteY75" fmla="*/ 215044 h 286300"/>
                <a:gd name="connsiteX76" fmla="*/ 115793 w 139969"/>
                <a:gd name="connsiteY76" fmla="*/ 215362 h 286300"/>
                <a:gd name="connsiteX77" fmla="*/ 114202 w 139969"/>
                <a:gd name="connsiteY77" fmla="*/ 218225 h 286300"/>
                <a:gd name="connsiteX78" fmla="*/ 112930 w 139969"/>
                <a:gd name="connsiteY78" fmla="*/ 220451 h 286300"/>
                <a:gd name="connsiteX79" fmla="*/ 111339 w 139969"/>
                <a:gd name="connsiteY79" fmla="*/ 223633 h 286300"/>
                <a:gd name="connsiteX80" fmla="*/ 110067 w 139969"/>
                <a:gd name="connsiteY80" fmla="*/ 226496 h 286300"/>
                <a:gd name="connsiteX81" fmla="*/ 109749 w 139969"/>
                <a:gd name="connsiteY81" fmla="*/ 227132 h 286300"/>
                <a:gd name="connsiteX82" fmla="*/ 103705 w 139969"/>
                <a:gd name="connsiteY82" fmla="*/ 237948 h 286300"/>
                <a:gd name="connsiteX83" fmla="*/ 101796 w 139969"/>
                <a:gd name="connsiteY83" fmla="*/ 239856 h 286300"/>
                <a:gd name="connsiteX84" fmla="*/ 99887 w 139969"/>
                <a:gd name="connsiteY84" fmla="*/ 241765 h 286300"/>
                <a:gd name="connsiteX85" fmla="*/ 97979 w 139969"/>
                <a:gd name="connsiteY85" fmla="*/ 243992 h 286300"/>
                <a:gd name="connsiteX86" fmla="*/ 97661 w 139969"/>
                <a:gd name="connsiteY86" fmla="*/ 245264 h 286300"/>
                <a:gd name="connsiteX87" fmla="*/ 97024 w 139969"/>
                <a:gd name="connsiteY87" fmla="*/ 245582 h 286300"/>
                <a:gd name="connsiteX88" fmla="*/ 96706 w 139969"/>
                <a:gd name="connsiteY88" fmla="*/ 245264 h 286300"/>
                <a:gd name="connsiteX89" fmla="*/ 96388 w 139969"/>
                <a:gd name="connsiteY89" fmla="*/ 244946 h 286300"/>
                <a:gd name="connsiteX90" fmla="*/ 96706 w 139969"/>
                <a:gd name="connsiteY90" fmla="*/ 244628 h 286300"/>
                <a:gd name="connsiteX91" fmla="*/ 96706 w 139969"/>
                <a:gd name="connsiteY91" fmla="*/ 243356 h 286300"/>
                <a:gd name="connsiteX92" fmla="*/ 96070 w 139969"/>
                <a:gd name="connsiteY92" fmla="*/ 243037 h 286300"/>
                <a:gd name="connsiteX93" fmla="*/ 95434 w 139969"/>
                <a:gd name="connsiteY93" fmla="*/ 243356 h 286300"/>
                <a:gd name="connsiteX94" fmla="*/ 94797 w 139969"/>
                <a:gd name="connsiteY94" fmla="*/ 244310 h 286300"/>
                <a:gd name="connsiteX95" fmla="*/ 95434 w 139969"/>
                <a:gd name="connsiteY95" fmla="*/ 245264 h 286300"/>
                <a:gd name="connsiteX96" fmla="*/ 94479 w 139969"/>
                <a:gd name="connsiteY96" fmla="*/ 247173 h 286300"/>
                <a:gd name="connsiteX97" fmla="*/ 92571 w 139969"/>
                <a:gd name="connsiteY97" fmla="*/ 247173 h 286300"/>
                <a:gd name="connsiteX98" fmla="*/ 91934 w 139969"/>
                <a:gd name="connsiteY98" fmla="*/ 248445 h 286300"/>
                <a:gd name="connsiteX99" fmla="*/ 91298 w 139969"/>
                <a:gd name="connsiteY99" fmla="*/ 249082 h 286300"/>
                <a:gd name="connsiteX100" fmla="*/ 90026 w 139969"/>
                <a:gd name="connsiteY100" fmla="*/ 251626 h 286300"/>
                <a:gd name="connsiteX101" fmla="*/ 90344 w 139969"/>
                <a:gd name="connsiteY101" fmla="*/ 253217 h 286300"/>
                <a:gd name="connsiteX102" fmla="*/ 90344 w 139969"/>
                <a:gd name="connsiteY102" fmla="*/ 253853 h 286300"/>
                <a:gd name="connsiteX103" fmla="*/ 89071 w 139969"/>
                <a:gd name="connsiteY103" fmla="*/ 252263 h 286300"/>
                <a:gd name="connsiteX104" fmla="*/ 89071 w 139969"/>
                <a:gd name="connsiteY104" fmla="*/ 251945 h 286300"/>
                <a:gd name="connsiteX105" fmla="*/ 88435 w 139969"/>
                <a:gd name="connsiteY105" fmla="*/ 252581 h 286300"/>
                <a:gd name="connsiteX106" fmla="*/ 88435 w 139969"/>
                <a:gd name="connsiteY106" fmla="*/ 253853 h 286300"/>
                <a:gd name="connsiteX107" fmla="*/ 88753 w 139969"/>
                <a:gd name="connsiteY107" fmla="*/ 255126 h 286300"/>
                <a:gd name="connsiteX108" fmla="*/ 88435 w 139969"/>
                <a:gd name="connsiteY108" fmla="*/ 255762 h 286300"/>
                <a:gd name="connsiteX109" fmla="*/ 88753 w 139969"/>
                <a:gd name="connsiteY109" fmla="*/ 256080 h 286300"/>
                <a:gd name="connsiteX110" fmla="*/ 89708 w 139969"/>
                <a:gd name="connsiteY110" fmla="*/ 256398 h 286300"/>
                <a:gd name="connsiteX111" fmla="*/ 88753 w 139969"/>
                <a:gd name="connsiteY111" fmla="*/ 257034 h 286300"/>
                <a:gd name="connsiteX112" fmla="*/ 87163 w 139969"/>
                <a:gd name="connsiteY112" fmla="*/ 259261 h 286300"/>
                <a:gd name="connsiteX113" fmla="*/ 84300 w 139969"/>
                <a:gd name="connsiteY113" fmla="*/ 261170 h 286300"/>
                <a:gd name="connsiteX114" fmla="*/ 82709 w 139969"/>
                <a:gd name="connsiteY114" fmla="*/ 262442 h 286300"/>
                <a:gd name="connsiteX115" fmla="*/ 80482 w 139969"/>
                <a:gd name="connsiteY115" fmla="*/ 264987 h 286300"/>
                <a:gd name="connsiteX116" fmla="*/ 80482 w 139969"/>
                <a:gd name="connsiteY116" fmla="*/ 265305 h 286300"/>
                <a:gd name="connsiteX117" fmla="*/ 79846 w 139969"/>
                <a:gd name="connsiteY117" fmla="*/ 265623 h 286300"/>
                <a:gd name="connsiteX118" fmla="*/ 79528 w 139969"/>
                <a:gd name="connsiteY118" fmla="*/ 265623 h 286300"/>
                <a:gd name="connsiteX119" fmla="*/ 78892 w 139969"/>
                <a:gd name="connsiteY119" fmla="*/ 266578 h 286300"/>
                <a:gd name="connsiteX120" fmla="*/ 77937 w 139969"/>
                <a:gd name="connsiteY120" fmla="*/ 268168 h 286300"/>
                <a:gd name="connsiteX121" fmla="*/ 75075 w 139969"/>
                <a:gd name="connsiteY121" fmla="*/ 269759 h 286300"/>
                <a:gd name="connsiteX122" fmla="*/ 73802 w 139969"/>
                <a:gd name="connsiteY122" fmla="*/ 270077 h 286300"/>
                <a:gd name="connsiteX123" fmla="*/ 70939 w 139969"/>
                <a:gd name="connsiteY123" fmla="*/ 272304 h 286300"/>
                <a:gd name="connsiteX124" fmla="*/ 70621 w 139969"/>
                <a:gd name="connsiteY124" fmla="*/ 272304 h 286300"/>
                <a:gd name="connsiteX125" fmla="*/ 71257 w 139969"/>
                <a:gd name="connsiteY125" fmla="*/ 272622 h 286300"/>
                <a:gd name="connsiteX126" fmla="*/ 71575 w 139969"/>
                <a:gd name="connsiteY126" fmla="*/ 272622 h 286300"/>
                <a:gd name="connsiteX127" fmla="*/ 71575 w 139969"/>
                <a:gd name="connsiteY127" fmla="*/ 273258 h 286300"/>
                <a:gd name="connsiteX128" fmla="*/ 70303 w 139969"/>
                <a:gd name="connsiteY128" fmla="*/ 274212 h 286300"/>
                <a:gd name="connsiteX129" fmla="*/ 69349 w 139969"/>
                <a:gd name="connsiteY129" fmla="*/ 275485 h 286300"/>
                <a:gd name="connsiteX130" fmla="*/ 68076 w 139969"/>
                <a:gd name="connsiteY130" fmla="*/ 276439 h 286300"/>
                <a:gd name="connsiteX131" fmla="*/ 60760 w 139969"/>
                <a:gd name="connsiteY131" fmla="*/ 279620 h 286300"/>
                <a:gd name="connsiteX132" fmla="*/ 60441 w 139969"/>
                <a:gd name="connsiteY132" fmla="*/ 279620 h 286300"/>
                <a:gd name="connsiteX133" fmla="*/ 59169 w 139969"/>
                <a:gd name="connsiteY133" fmla="*/ 278666 h 286300"/>
                <a:gd name="connsiteX134" fmla="*/ 58215 w 139969"/>
                <a:gd name="connsiteY134" fmla="*/ 278666 h 286300"/>
                <a:gd name="connsiteX135" fmla="*/ 57897 w 139969"/>
                <a:gd name="connsiteY135" fmla="*/ 279302 h 286300"/>
                <a:gd name="connsiteX136" fmla="*/ 57897 w 139969"/>
                <a:gd name="connsiteY136" fmla="*/ 279938 h 286300"/>
                <a:gd name="connsiteX137" fmla="*/ 58215 w 139969"/>
                <a:gd name="connsiteY137" fmla="*/ 280893 h 286300"/>
                <a:gd name="connsiteX138" fmla="*/ 57260 w 139969"/>
                <a:gd name="connsiteY138" fmla="*/ 281529 h 286300"/>
                <a:gd name="connsiteX139" fmla="*/ 55352 w 139969"/>
                <a:gd name="connsiteY139" fmla="*/ 282801 h 286300"/>
                <a:gd name="connsiteX140" fmla="*/ 54079 w 139969"/>
                <a:gd name="connsiteY140" fmla="*/ 282801 h 286300"/>
                <a:gd name="connsiteX141" fmla="*/ 53125 w 139969"/>
                <a:gd name="connsiteY141" fmla="*/ 283438 h 286300"/>
                <a:gd name="connsiteX142" fmla="*/ 51216 w 139969"/>
                <a:gd name="connsiteY142" fmla="*/ 284392 h 286300"/>
                <a:gd name="connsiteX143" fmla="*/ 50262 w 139969"/>
                <a:gd name="connsiteY143" fmla="*/ 284392 h 286300"/>
                <a:gd name="connsiteX144" fmla="*/ 48353 w 139969"/>
                <a:gd name="connsiteY144" fmla="*/ 284710 h 286300"/>
                <a:gd name="connsiteX145" fmla="*/ 47717 w 139969"/>
                <a:gd name="connsiteY145" fmla="*/ 284710 h 286300"/>
                <a:gd name="connsiteX146" fmla="*/ 47399 w 139969"/>
                <a:gd name="connsiteY146" fmla="*/ 285028 h 286300"/>
                <a:gd name="connsiteX147" fmla="*/ 46126 w 139969"/>
                <a:gd name="connsiteY147" fmla="*/ 285983 h 286300"/>
                <a:gd name="connsiteX148" fmla="*/ 41036 w 139969"/>
                <a:gd name="connsiteY148" fmla="*/ 288209 h 286300"/>
                <a:gd name="connsiteX149" fmla="*/ 39128 w 139969"/>
                <a:gd name="connsiteY149" fmla="*/ 289482 h 286300"/>
                <a:gd name="connsiteX150" fmla="*/ 38173 w 139969"/>
                <a:gd name="connsiteY150" fmla="*/ 290436 h 286300"/>
                <a:gd name="connsiteX151" fmla="*/ 37537 w 139969"/>
                <a:gd name="connsiteY151" fmla="*/ 289800 h 286300"/>
                <a:gd name="connsiteX152" fmla="*/ 37219 w 139969"/>
                <a:gd name="connsiteY152" fmla="*/ 289482 h 286300"/>
                <a:gd name="connsiteX153" fmla="*/ 34992 w 139969"/>
                <a:gd name="connsiteY153" fmla="*/ 290754 h 286300"/>
                <a:gd name="connsiteX154" fmla="*/ 34038 w 139969"/>
                <a:gd name="connsiteY154" fmla="*/ 290436 h 286300"/>
                <a:gd name="connsiteX155" fmla="*/ 33084 w 139969"/>
                <a:gd name="connsiteY155" fmla="*/ 289800 h 286300"/>
                <a:gd name="connsiteX156" fmla="*/ 32448 w 139969"/>
                <a:gd name="connsiteY156" fmla="*/ 290118 h 286300"/>
                <a:gd name="connsiteX157" fmla="*/ 28630 w 139969"/>
                <a:gd name="connsiteY157" fmla="*/ 291072 h 286300"/>
                <a:gd name="connsiteX158" fmla="*/ 27040 w 139969"/>
                <a:gd name="connsiteY158" fmla="*/ 291390 h 286300"/>
                <a:gd name="connsiteX159" fmla="*/ 25449 w 139969"/>
                <a:gd name="connsiteY159" fmla="*/ 291709 h 286300"/>
                <a:gd name="connsiteX160" fmla="*/ 24177 w 139969"/>
                <a:gd name="connsiteY160" fmla="*/ 292027 h 286300"/>
                <a:gd name="connsiteX161" fmla="*/ 23222 w 139969"/>
                <a:gd name="connsiteY161" fmla="*/ 291709 h 286300"/>
                <a:gd name="connsiteX162" fmla="*/ 22586 w 139969"/>
                <a:gd name="connsiteY162" fmla="*/ 291072 h 286300"/>
                <a:gd name="connsiteX163" fmla="*/ 20677 w 139969"/>
                <a:gd name="connsiteY163" fmla="*/ 290436 h 286300"/>
                <a:gd name="connsiteX164" fmla="*/ 19723 w 139969"/>
                <a:gd name="connsiteY164" fmla="*/ 291072 h 286300"/>
                <a:gd name="connsiteX165" fmla="*/ 19087 w 139969"/>
                <a:gd name="connsiteY165" fmla="*/ 290754 h 286300"/>
                <a:gd name="connsiteX166" fmla="*/ 18451 w 139969"/>
                <a:gd name="connsiteY166" fmla="*/ 291072 h 286300"/>
                <a:gd name="connsiteX167" fmla="*/ 16860 w 139969"/>
                <a:gd name="connsiteY167" fmla="*/ 292027 h 286300"/>
                <a:gd name="connsiteX168" fmla="*/ 14315 w 139969"/>
                <a:gd name="connsiteY168" fmla="*/ 291072 h 286300"/>
                <a:gd name="connsiteX169" fmla="*/ 11452 w 139969"/>
                <a:gd name="connsiteY169" fmla="*/ 290754 h 286300"/>
                <a:gd name="connsiteX170" fmla="*/ 6044 w 139969"/>
                <a:gd name="connsiteY170" fmla="*/ 286937 h 286300"/>
                <a:gd name="connsiteX171" fmla="*/ 5408 w 139969"/>
                <a:gd name="connsiteY171" fmla="*/ 285664 h 286300"/>
                <a:gd name="connsiteX172" fmla="*/ 4136 w 139969"/>
                <a:gd name="connsiteY172" fmla="*/ 283756 h 286300"/>
                <a:gd name="connsiteX173" fmla="*/ 3818 w 139969"/>
                <a:gd name="connsiteY173" fmla="*/ 283438 h 286300"/>
                <a:gd name="connsiteX174" fmla="*/ 2545 w 139969"/>
                <a:gd name="connsiteY174" fmla="*/ 279938 h 286300"/>
                <a:gd name="connsiteX175" fmla="*/ 2545 w 139969"/>
                <a:gd name="connsiteY175" fmla="*/ 279302 h 286300"/>
                <a:gd name="connsiteX176" fmla="*/ 1909 w 139969"/>
                <a:gd name="connsiteY176" fmla="*/ 278666 h 286300"/>
                <a:gd name="connsiteX177" fmla="*/ 636 w 139969"/>
                <a:gd name="connsiteY177" fmla="*/ 275485 h 286300"/>
                <a:gd name="connsiteX178" fmla="*/ 318 w 139969"/>
                <a:gd name="connsiteY178" fmla="*/ 273894 h 286300"/>
                <a:gd name="connsiteX179" fmla="*/ 318 w 139969"/>
                <a:gd name="connsiteY179" fmla="*/ 271986 h 286300"/>
                <a:gd name="connsiteX180" fmla="*/ 636 w 139969"/>
                <a:gd name="connsiteY180" fmla="*/ 271031 h 286300"/>
                <a:gd name="connsiteX181" fmla="*/ 954 w 139969"/>
                <a:gd name="connsiteY181" fmla="*/ 271031 h 286300"/>
                <a:gd name="connsiteX182" fmla="*/ 1273 w 139969"/>
                <a:gd name="connsiteY182" fmla="*/ 270713 h 286300"/>
                <a:gd name="connsiteX183" fmla="*/ 954 w 139969"/>
                <a:gd name="connsiteY183" fmla="*/ 270077 h 286300"/>
                <a:gd name="connsiteX184" fmla="*/ 1273 w 139969"/>
                <a:gd name="connsiteY184" fmla="*/ 269441 h 286300"/>
                <a:gd name="connsiteX185" fmla="*/ 954 w 139969"/>
                <a:gd name="connsiteY185" fmla="*/ 269441 h 286300"/>
                <a:gd name="connsiteX186" fmla="*/ 636 w 139969"/>
                <a:gd name="connsiteY186" fmla="*/ 268168 h 286300"/>
                <a:gd name="connsiteX187" fmla="*/ 954 w 139969"/>
                <a:gd name="connsiteY187" fmla="*/ 266578 h 286300"/>
                <a:gd name="connsiteX188" fmla="*/ 318 w 139969"/>
                <a:gd name="connsiteY188" fmla="*/ 265623 h 286300"/>
                <a:gd name="connsiteX189" fmla="*/ 0 w 139969"/>
                <a:gd name="connsiteY189" fmla="*/ 265305 h 286300"/>
                <a:gd name="connsiteX190" fmla="*/ 0 w 139969"/>
                <a:gd name="connsiteY190" fmla="*/ 261488 h 286300"/>
                <a:gd name="connsiteX191" fmla="*/ 636 w 139969"/>
                <a:gd name="connsiteY191" fmla="*/ 257989 h 286300"/>
                <a:gd name="connsiteX192" fmla="*/ 954 w 139969"/>
                <a:gd name="connsiteY192" fmla="*/ 255762 h 286300"/>
                <a:gd name="connsiteX193" fmla="*/ 1273 w 139969"/>
                <a:gd name="connsiteY193" fmla="*/ 255444 h 286300"/>
                <a:gd name="connsiteX194" fmla="*/ 1591 w 139969"/>
                <a:gd name="connsiteY194" fmla="*/ 251945 h 286300"/>
                <a:gd name="connsiteX195" fmla="*/ 1909 w 139969"/>
                <a:gd name="connsiteY195" fmla="*/ 250354 h 286300"/>
                <a:gd name="connsiteX196" fmla="*/ 1909 w 139969"/>
                <a:gd name="connsiteY196" fmla="*/ 249718 h 286300"/>
                <a:gd name="connsiteX197" fmla="*/ 1591 w 139969"/>
                <a:gd name="connsiteY197" fmla="*/ 248127 h 286300"/>
                <a:gd name="connsiteX198" fmla="*/ 1591 w 139969"/>
                <a:gd name="connsiteY198" fmla="*/ 245582 h 286300"/>
                <a:gd name="connsiteX199" fmla="*/ 1273 w 139969"/>
                <a:gd name="connsiteY199" fmla="*/ 245264 h 286300"/>
                <a:gd name="connsiteX200" fmla="*/ 2227 w 139969"/>
                <a:gd name="connsiteY200" fmla="*/ 242083 h 286300"/>
                <a:gd name="connsiteX201" fmla="*/ 2545 w 139969"/>
                <a:gd name="connsiteY201" fmla="*/ 241765 h 286300"/>
                <a:gd name="connsiteX202" fmla="*/ 2863 w 139969"/>
                <a:gd name="connsiteY202" fmla="*/ 242083 h 286300"/>
                <a:gd name="connsiteX203" fmla="*/ 3181 w 139969"/>
                <a:gd name="connsiteY203" fmla="*/ 242083 h 286300"/>
                <a:gd name="connsiteX204" fmla="*/ 3181 w 139969"/>
                <a:gd name="connsiteY204" fmla="*/ 238902 h 286300"/>
                <a:gd name="connsiteX205" fmla="*/ 5090 w 139969"/>
                <a:gd name="connsiteY205" fmla="*/ 233494 h 286300"/>
                <a:gd name="connsiteX206" fmla="*/ 5090 w 139969"/>
                <a:gd name="connsiteY206" fmla="*/ 231904 h 286300"/>
                <a:gd name="connsiteX207" fmla="*/ 4772 w 139969"/>
                <a:gd name="connsiteY207" fmla="*/ 230949 h 286300"/>
                <a:gd name="connsiteX208" fmla="*/ 5090 w 139969"/>
                <a:gd name="connsiteY208" fmla="*/ 229677 h 286300"/>
                <a:gd name="connsiteX209" fmla="*/ 5408 w 139969"/>
                <a:gd name="connsiteY209" fmla="*/ 228722 h 286300"/>
                <a:gd name="connsiteX210" fmla="*/ 5408 w 139969"/>
                <a:gd name="connsiteY210" fmla="*/ 228086 h 286300"/>
                <a:gd name="connsiteX211" fmla="*/ 6362 w 139969"/>
                <a:gd name="connsiteY211" fmla="*/ 228086 h 286300"/>
                <a:gd name="connsiteX212" fmla="*/ 6681 w 139969"/>
                <a:gd name="connsiteY212" fmla="*/ 228404 h 286300"/>
                <a:gd name="connsiteX213" fmla="*/ 7317 w 139969"/>
                <a:gd name="connsiteY213" fmla="*/ 227132 h 286300"/>
                <a:gd name="connsiteX214" fmla="*/ 6999 w 139969"/>
                <a:gd name="connsiteY214" fmla="*/ 226177 h 286300"/>
                <a:gd name="connsiteX215" fmla="*/ 7635 w 139969"/>
                <a:gd name="connsiteY215" fmla="*/ 224587 h 286300"/>
                <a:gd name="connsiteX216" fmla="*/ 8589 w 139969"/>
                <a:gd name="connsiteY216" fmla="*/ 222360 h 286300"/>
                <a:gd name="connsiteX217" fmla="*/ 8271 w 139969"/>
                <a:gd name="connsiteY217" fmla="*/ 221406 h 286300"/>
                <a:gd name="connsiteX218" fmla="*/ 8271 w 139969"/>
                <a:gd name="connsiteY218" fmla="*/ 221088 h 286300"/>
                <a:gd name="connsiteX219" fmla="*/ 8589 w 139969"/>
                <a:gd name="connsiteY219" fmla="*/ 220451 h 286300"/>
                <a:gd name="connsiteX220" fmla="*/ 9225 w 139969"/>
                <a:gd name="connsiteY220" fmla="*/ 220451 h 286300"/>
                <a:gd name="connsiteX221" fmla="*/ 9543 w 139969"/>
                <a:gd name="connsiteY221" fmla="*/ 220770 h 286300"/>
                <a:gd name="connsiteX222" fmla="*/ 9543 w 139969"/>
                <a:gd name="connsiteY222" fmla="*/ 220451 h 286300"/>
                <a:gd name="connsiteX223" fmla="*/ 9862 w 139969"/>
                <a:gd name="connsiteY223" fmla="*/ 219497 h 286300"/>
                <a:gd name="connsiteX224" fmla="*/ 10498 w 139969"/>
                <a:gd name="connsiteY224" fmla="*/ 218225 h 286300"/>
                <a:gd name="connsiteX225" fmla="*/ 11770 w 139969"/>
                <a:gd name="connsiteY225" fmla="*/ 215998 h 286300"/>
                <a:gd name="connsiteX226" fmla="*/ 12406 w 139969"/>
                <a:gd name="connsiteY226" fmla="*/ 214725 h 286300"/>
                <a:gd name="connsiteX227" fmla="*/ 11770 w 139969"/>
                <a:gd name="connsiteY227" fmla="*/ 212817 h 286300"/>
                <a:gd name="connsiteX228" fmla="*/ 12406 w 139969"/>
                <a:gd name="connsiteY228" fmla="*/ 212181 h 286300"/>
                <a:gd name="connsiteX229" fmla="*/ 13043 w 139969"/>
                <a:gd name="connsiteY229" fmla="*/ 211544 h 286300"/>
                <a:gd name="connsiteX230" fmla="*/ 13043 w 139969"/>
                <a:gd name="connsiteY230" fmla="*/ 210908 h 286300"/>
                <a:gd name="connsiteX231" fmla="*/ 13997 w 139969"/>
                <a:gd name="connsiteY231" fmla="*/ 209318 h 286300"/>
                <a:gd name="connsiteX232" fmla="*/ 14315 w 139969"/>
                <a:gd name="connsiteY232" fmla="*/ 208363 h 286300"/>
                <a:gd name="connsiteX233" fmla="*/ 14315 w 139969"/>
                <a:gd name="connsiteY233" fmla="*/ 208045 h 286300"/>
                <a:gd name="connsiteX234" fmla="*/ 16224 w 139969"/>
                <a:gd name="connsiteY234" fmla="*/ 208045 h 286300"/>
                <a:gd name="connsiteX235" fmla="*/ 16542 w 139969"/>
                <a:gd name="connsiteY235" fmla="*/ 207727 h 286300"/>
                <a:gd name="connsiteX236" fmla="*/ 16224 w 139969"/>
                <a:gd name="connsiteY236" fmla="*/ 207409 h 286300"/>
                <a:gd name="connsiteX237" fmla="*/ 15588 w 139969"/>
                <a:gd name="connsiteY237" fmla="*/ 206773 h 286300"/>
                <a:gd name="connsiteX238" fmla="*/ 15906 w 139969"/>
                <a:gd name="connsiteY238" fmla="*/ 206136 h 286300"/>
                <a:gd name="connsiteX239" fmla="*/ 16860 w 139969"/>
                <a:gd name="connsiteY239" fmla="*/ 203910 h 286300"/>
                <a:gd name="connsiteX240" fmla="*/ 17178 w 139969"/>
                <a:gd name="connsiteY240" fmla="*/ 203910 h 286300"/>
                <a:gd name="connsiteX241" fmla="*/ 16860 w 139969"/>
                <a:gd name="connsiteY241" fmla="*/ 203592 h 286300"/>
                <a:gd name="connsiteX242" fmla="*/ 17815 w 139969"/>
                <a:gd name="connsiteY242" fmla="*/ 203273 h 286300"/>
                <a:gd name="connsiteX243" fmla="*/ 18769 w 139969"/>
                <a:gd name="connsiteY243" fmla="*/ 204228 h 286300"/>
                <a:gd name="connsiteX244" fmla="*/ 18769 w 139969"/>
                <a:gd name="connsiteY244" fmla="*/ 204864 h 286300"/>
                <a:gd name="connsiteX245" fmla="*/ 17815 w 139969"/>
                <a:gd name="connsiteY245" fmla="*/ 206455 h 286300"/>
                <a:gd name="connsiteX246" fmla="*/ 17815 w 139969"/>
                <a:gd name="connsiteY246" fmla="*/ 208363 h 286300"/>
                <a:gd name="connsiteX247" fmla="*/ 16860 w 139969"/>
                <a:gd name="connsiteY247" fmla="*/ 208681 h 286300"/>
                <a:gd name="connsiteX248" fmla="*/ 15906 w 139969"/>
                <a:gd name="connsiteY248" fmla="*/ 208999 h 286300"/>
                <a:gd name="connsiteX249" fmla="*/ 14951 w 139969"/>
                <a:gd name="connsiteY249" fmla="*/ 210272 h 286300"/>
                <a:gd name="connsiteX250" fmla="*/ 14951 w 139969"/>
                <a:gd name="connsiteY250" fmla="*/ 210908 h 286300"/>
                <a:gd name="connsiteX251" fmla="*/ 15588 w 139969"/>
                <a:gd name="connsiteY251" fmla="*/ 210908 h 286300"/>
                <a:gd name="connsiteX252" fmla="*/ 16860 w 139969"/>
                <a:gd name="connsiteY252" fmla="*/ 209636 h 286300"/>
                <a:gd name="connsiteX253" fmla="*/ 16860 w 139969"/>
                <a:gd name="connsiteY253" fmla="*/ 209954 h 286300"/>
                <a:gd name="connsiteX254" fmla="*/ 16224 w 139969"/>
                <a:gd name="connsiteY254" fmla="*/ 211226 h 286300"/>
                <a:gd name="connsiteX255" fmla="*/ 15270 w 139969"/>
                <a:gd name="connsiteY255" fmla="*/ 212181 h 286300"/>
                <a:gd name="connsiteX256" fmla="*/ 14633 w 139969"/>
                <a:gd name="connsiteY256" fmla="*/ 212499 h 286300"/>
                <a:gd name="connsiteX257" fmla="*/ 14633 w 139969"/>
                <a:gd name="connsiteY257" fmla="*/ 212817 h 286300"/>
                <a:gd name="connsiteX258" fmla="*/ 15270 w 139969"/>
                <a:gd name="connsiteY258" fmla="*/ 213453 h 286300"/>
                <a:gd name="connsiteX259" fmla="*/ 14633 w 139969"/>
                <a:gd name="connsiteY259" fmla="*/ 214407 h 286300"/>
                <a:gd name="connsiteX260" fmla="*/ 13361 w 139969"/>
                <a:gd name="connsiteY260" fmla="*/ 215044 h 286300"/>
                <a:gd name="connsiteX261" fmla="*/ 13043 w 139969"/>
                <a:gd name="connsiteY261" fmla="*/ 215998 h 286300"/>
                <a:gd name="connsiteX262" fmla="*/ 13043 w 139969"/>
                <a:gd name="connsiteY262" fmla="*/ 217588 h 286300"/>
                <a:gd name="connsiteX263" fmla="*/ 13361 w 139969"/>
                <a:gd name="connsiteY263" fmla="*/ 218225 h 286300"/>
                <a:gd name="connsiteX264" fmla="*/ 13043 w 139969"/>
                <a:gd name="connsiteY264" fmla="*/ 219179 h 286300"/>
                <a:gd name="connsiteX265" fmla="*/ 12406 w 139969"/>
                <a:gd name="connsiteY265" fmla="*/ 220451 h 286300"/>
                <a:gd name="connsiteX266" fmla="*/ 12406 w 139969"/>
                <a:gd name="connsiteY266" fmla="*/ 221088 h 286300"/>
                <a:gd name="connsiteX267" fmla="*/ 11134 w 139969"/>
                <a:gd name="connsiteY267" fmla="*/ 222360 h 286300"/>
                <a:gd name="connsiteX268" fmla="*/ 10816 w 139969"/>
                <a:gd name="connsiteY268" fmla="*/ 222996 h 286300"/>
                <a:gd name="connsiteX269" fmla="*/ 10816 w 139969"/>
                <a:gd name="connsiteY269" fmla="*/ 224587 h 286300"/>
                <a:gd name="connsiteX270" fmla="*/ 10180 w 139969"/>
                <a:gd name="connsiteY270" fmla="*/ 225541 h 286300"/>
                <a:gd name="connsiteX271" fmla="*/ 10180 w 139969"/>
                <a:gd name="connsiteY271" fmla="*/ 226177 h 286300"/>
                <a:gd name="connsiteX272" fmla="*/ 9862 w 139969"/>
                <a:gd name="connsiteY272" fmla="*/ 227132 h 286300"/>
                <a:gd name="connsiteX273" fmla="*/ 9543 w 139969"/>
                <a:gd name="connsiteY273" fmla="*/ 229041 h 286300"/>
                <a:gd name="connsiteX274" fmla="*/ 10498 w 139969"/>
                <a:gd name="connsiteY274" fmla="*/ 229995 h 286300"/>
                <a:gd name="connsiteX275" fmla="*/ 13361 w 139969"/>
                <a:gd name="connsiteY275" fmla="*/ 229995 h 286300"/>
                <a:gd name="connsiteX276" fmla="*/ 13361 w 139969"/>
                <a:gd name="connsiteY276" fmla="*/ 230631 h 286300"/>
                <a:gd name="connsiteX277" fmla="*/ 11452 w 139969"/>
                <a:gd name="connsiteY277" fmla="*/ 235403 h 286300"/>
                <a:gd name="connsiteX278" fmla="*/ 11134 w 139969"/>
                <a:gd name="connsiteY278" fmla="*/ 235721 h 286300"/>
                <a:gd name="connsiteX279" fmla="*/ 10498 w 139969"/>
                <a:gd name="connsiteY279" fmla="*/ 236039 h 286300"/>
                <a:gd name="connsiteX280" fmla="*/ 10498 w 139969"/>
                <a:gd name="connsiteY280" fmla="*/ 235721 h 286300"/>
                <a:gd name="connsiteX281" fmla="*/ 11134 w 139969"/>
                <a:gd name="connsiteY281" fmla="*/ 234448 h 286300"/>
                <a:gd name="connsiteX282" fmla="*/ 11452 w 139969"/>
                <a:gd name="connsiteY282" fmla="*/ 234130 h 286300"/>
                <a:gd name="connsiteX283" fmla="*/ 10816 w 139969"/>
                <a:gd name="connsiteY283" fmla="*/ 233494 h 286300"/>
                <a:gd name="connsiteX284" fmla="*/ 10498 w 139969"/>
                <a:gd name="connsiteY284" fmla="*/ 233494 h 286300"/>
                <a:gd name="connsiteX285" fmla="*/ 9862 w 139969"/>
                <a:gd name="connsiteY285" fmla="*/ 232222 h 286300"/>
                <a:gd name="connsiteX286" fmla="*/ 10180 w 139969"/>
                <a:gd name="connsiteY286" fmla="*/ 231904 h 286300"/>
                <a:gd name="connsiteX287" fmla="*/ 9543 w 139969"/>
                <a:gd name="connsiteY287" fmla="*/ 231267 h 286300"/>
                <a:gd name="connsiteX288" fmla="*/ 8589 w 139969"/>
                <a:gd name="connsiteY288" fmla="*/ 233494 h 286300"/>
                <a:gd name="connsiteX289" fmla="*/ 7317 w 139969"/>
                <a:gd name="connsiteY289" fmla="*/ 235721 h 286300"/>
                <a:gd name="connsiteX290" fmla="*/ 7953 w 139969"/>
                <a:gd name="connsiteY290" fmla="*/ 237630 h 286300"/>
                <a:gd name="connsiteX291" fmla="*/ 7953 w 139969"/>
                <a:gd name="connsiteY291" fmla="*/ 237948 h 286300"/>
                <a:gd name="connsiteX292" fmla="*/ 7317 w 139969"/>
                <a:gd name="connsiteY292" fmla="*/ 238266 h 286300"/>
                <a:gd name="connsiteX293" fmla="*/ 6999 w 139969"/>
                <a:gd name="connsiteY293" fmla="*/ 238266 h 286300"/>
                <a:gd name="connsiteX294" fmla="*/ 6681 w 139969"/>
                <a:gd name="connsiteY294" fmla="*/ 238584 h 286300"/>
                <a:gd name="connsiteX295" fmla="*/ 6044 w 139969"/>
                <a:gd name="connsiteY295" fmla="*/ 241765 h 286300"/>
                <a:gd name="connsiteX296" fmla="*/ 5408 w 139969"/>
                <a:gd name="connsiteY296" fmla="*/ 245900 h 286300"/>
                <a:gd name="connsiteX297" fmla="*/ 6044 w 139969"/>
                <a:gd name="connsiteY297" fmla="*/ 249400 h 286300"/>
                <a:gd name="connsiteX298" fmla="*/ 6362 w 139969"/>
                <a:gd name="connsiteY298" fmla="*/ 250036 h 286300"/>
                <a:gd name="connsiteX299" fmla="*/ 6044 w 139969"/>
                <a:gd name="connsiteY299" fmla="*/ 250672 h 286300"/>
                <a:gd name="connsiteX300" fmla="*/ 5408 w 139969"/>
                <a:gd name="connsiteY300" fmla="*/ 252899 h 286300"/>
                <a:gd name="connsiteX301" fmla="*/ 6362 w 139969"/>
                <a:gd name="connsiteY301" fmla="*/ 254489 h 286300"/>
                <a:gd name="connsiteX302" fmla="*/ 6999 w 139969"/>
                <a:gd name="connsiteY302" fmla="*/ 255762 h 286300"/>
                <a:gd name="connsiteX303" fmla="*/ 7635 w 139969"/>
                <a:gd name="connsiteY303" fmla="*/ 255444 h 286300"/>
                <a:gd name="connsiteX304" fmla="*/ 7953 w 139969"/>
                <a:gd name="connsiteY304" fmla="*/ 255762 h 286300"/>
                <a:gd name="connsiteX305" fmla="*/ 7953 w 139969"/>
                <a:gd name="connsiteY305" fmla="*/ 256716 h 286300"/>
                <a:gd name="connsiteX306" fmla="*/ 8589 w 139969"/>
                <a:gd name="connsiteY306" fmla="*/ 258943 h 286300"/>
                <a:gd name="connsiteX307" fmla="*/ 8271 w 139969"/>
                <a:gd name="connsiteY307" fmla="*/ 260534 h 286300"/>
                <a:gd name="connsiteX308" fmla="*/ 8271 w 139969"/>
                <a:gd name="connsiteY308" fmla="*/ 261170 h 286300"/>
                <a:gd name="connsiteX309" fmla="*/ 8907 w 139969"/>
                <a:gd name="connsiteY309" fmla="*/ 267532 h 286300"/>
                <a:gd name="connsiteX310" fmla="*/ 9225 w 139969"/>
                <a:gd name="connsiteY310" fmla="*/ 270077 h 286300"/>
                <a:gd name="connsiteX311" fmla="*/ 10498 w 139969"/>
                <a:gd name="connsiteY311" fmla="*/ 271667 h 286300"/>
                <a:gd name="connsiteX312" fmla="*/ 10816 w 139969"/>
                <a:gd name="connsiteY312" fmla="*/ 271986 h 286300"/>
                <a:gd name="connsiteX313" fmla="*/ 12406 w 139969"/>
                <a:gd name="connsiteY313" fmla="*/ 275167 h 286300"/>
                <a:gd name="connsiteX314" fmla="*/ 15588 w 139969"/>
                <a:gd name="connsiteY314" fmla="*/ 278030 h 286300"/>
                <a:gd name="connsiteX315" fmla="*/ 15906 w 139969"/>
                <a:gd name="connsiteY315" fmla="*/ 278030 h 286300"/>
                <a:gd name="connsiteX316" fmla="*/ 16542 w 139969"/>
                <a:gd name="connsiteY316" fmla="*/ 277712 h 286300"/>
                <a:gd name="connsiteX317" fmla="*/ 17178 w 139969"/>
                <a:gd name="connsiteY317" fmla="*/ 277394 h 286300"/>
                <a:gd name="connsiteX318" fmla="*/ 17496 w 139969"/>
                <a:gd name="connsiteY318" fmla="*/ 277712 h 286300"/>
                <a:gd name="connsiteX319" fmla="*/ 17815 w 139969"/>
                <a:gd name="connsiteY319" fmla="*/ 278666 h 286300"/>
                <a:gd name="connsiteX320" fmla="*/ 20041 w 139969"/>
                <a:gd name="connsiteY320" fmla="*/ 280575 h 286300"/>
                <a:gd name="connsiteX321" fmla="*/ 20359 w 139969"/>
                <a:gd name="connsiteY321" fmla="*/ 280575 h 286300"/>
                <a:gd name="connsiteX322" fmla="*/ 24813 w 139969"/>
                <a:gd name="connsiteY322" fmla="*/ 280893 h 286300"/>
                <a:gd name="connsiteX323" fmla="*/ 26085 w 139969"/>
                <a:gd name="connsiteY323" fmla="*/ 280893 h 286300"/>
                <a:gd name="connsiteX324" fmla="*/ 30539 w 139969"/>
                <a:gd name="connsiteY324" fmla="*/ 279302 h 286300"/>
                <a:gd name="connsiteX325" fmla="*/ 31811 w 139969"/>
                <a:gd name="connsiteY325" fmla="*/ 279620 h 286300"/>
                <a:gd name="connsiteX326" fmla="*/ 34356 w 139969"/>
                <a:gd name="connsiteY326" fmla="*/ 278666 h 286300"/>
                <a:gd name="connsiteX327" fmla="*/ 36265 w 139969"/>
                <a:gd name="connsiteY327" fmla="*/ 277394 h 286300"/>
                <a:gd name="connsiteX328" fmla="*/ 36901 w 139969"/>
                <a:gd name="connsiteY328" fmla="*/ 277394 h 286300"/>
                <a:gd name="connsiteX329" fmla="*/ 37219 w 139969"/>
                <a:gd name="connsiteY329" fmla="*/ 277075 h 286300"/>
                <a:gd name="connsiteX330" fmla="*/ 39446 w 139969"/>
                <a:gd name="connsiteY330" fmla="*/ 276121 h 286300"/>
                <a:gd name="connsiteX331" fmla="*/ 41036 w 139969"/>
                <a:gd name="connsiteY331" fmla="*/ 275485 h 286300"/>
                <a:gd name="connsiteX332" fmla="*/ 44218 w 139969"/>
                <a:gd name="connsiteY332" fmla="*/ 274849 h 286300"/>
                <a:gd name="connsiteX333" fmla="*/ 48671 w 139969"/>
                <a:gd name="connsiteY333" fmla="*/ 271986 h 286300"/>
                <a:gd name="connsiteX334" fmla="*/ 54079 w 139969"/>
                <a:gd name="connsiteY334" fmla="*/ 268486 h 286300"/>
                <a:gd name="connsiteX335" fmla="*/ 54715 w 139969"/>
                <a:gd name="connsiteY335" fmla="*/ 267850 h 286300"/>
                <a:gd name="connsiteX336" fmla="*/ 56624 w 139969"/>
                <a:gd name="connsiteY336" fmla="*/ 265942 h 286300"/>
                <a:gd name="connsiteX337" fmla="*/ 59169 w 139969"/>
                <a:gd name="connsiteY337" fmla="*/ 263397 h 286300"/>
                <a:gd name="connsiteX338" fmla="*/ 59487 w 139969"/>
                <a:gd name="connsiteY338" fmla="*/ 263078 h 286300"/>
                <a:gd name="connsiteX339" fmla="*/ 59805 w 139969"/>
                <a:gd name="connsiteY339" fmla="*/ 263078 h 286300"/>
                <a:gd name="connsiteX340" fmla="*/ 61078 w 139969"/>
                <a:gd name="connsiteY340" fmla="*/ 261806 h 286300"/>
                <a:gd name="connsiteX341" fmla="*/ 62668 w 139969"/>
                <a:gd name="connsiteY341" fmla="*/ 259897 h 286300"/>
                <a:gd name="connsiteX342" fmla="*/ 64577 w 139969"/>
                <a:gd name="connsiteY342" fmla="*/ 257671 h 286300"/>
                <a:gd name="connsiteX343" fmla="*/ 67440 w 139969"/>
                <a:gd name="connsiteY343" fmla="*/ 254171 h 286300"/>
                <a:gd name="connsiteX344" fmla="*/ 68712 w 139969"/>
                <a:gd name="connsiteY344" fmla="*/ 252581 h 286300"/>
                <a:gd name="connsiteX345" fmla="*/ 71894 w 139969"/>
                <a:gd name="connsiteY345" fmla="*/ 248445 h 286300"/>
                <a:gd name="connsiteX346" fmla="*/ 74438 w 139969"/>
                <a:gd name="connsiteY346" fmla="*/ 245900 h 286300"/>
                <a:gd name="connsiteX347" fmla="*/ 75393 w 139969"/>
                <a:gd name="connsiteY347" fmla="*/ 243992 h 286300"/>
                <a:gd name="connsiteX348" fmla="*/ 77301 w 139969"/>
                <a:gd name="connsiteY348" fmla="*/ 241447 h 286300"/>
                <a:gd name="connsiteX349" fmla="*/ 80482 w 139969"/>
                <a:gd name="connsiteY349" fmla="*/ 237630 h 286300"/>
                <a:gd name="connsiteX350" fmla="*/ 83664 w 139969"/>
                <a:gd name="connsiteY350" fmla="*/ 230949 h 286300"/>
                <a:gd name="connsiteX351" fmla="*/ 85890 w 139969"/>
                <a:gd name="connsiteY351" fmla="*/ 228086 h 286300"/>
                <a:gd name="connsiteX352" fmla="*/ 86527 w 139969"/>
                <a:gd name="connsiteY352" fmla="*/ 226814 h 286300"/>
                <a:gd name="connsiteX353" fmla="*/ 86845 w 139969"/>
                <a:gd name="connsiteY353" fmla="*/ 225859 h 286300"/>
                <a:gd name="connsiteX354" fmla="*/ 89071 w 139969"/>
                <a:gd name="connsiteY354" fmla="*/ 222360 h 286300"/>
                <a:gd name="connsiteX355" fmla="*/ 90662 w 139969"/>
                <a:gd name="connsiteY355" fmla="*/ 219179 h 286300"/>
                <a:gd name="connsiteX356" fmla="*/ 90662 w 139969"/>
                <a:gd name="connsiteY356" fmla="*/ 218861 h 286300"/>
                <a:gd name="connsiteX357" fmla="*/ 93843 w 139969"/>
                <a:gd name="connsiteY357" fmla="*/ 213453 h 286300"/>
                <a:gd name="connsiteX358" fmla="*/ 96388 w 139969"/>
                <a:gd name="connsiteY358" fmla="*/ 207727 h 286300"/>
                <a:gd name="connsiteX359" fmla="*/ 97024 w 139969"/>
                <a:gd name="connsiteY359" fmla="*/ 205500 h 286300"/>
                <a:gd name="connsiteX360" fmla="*/ 97979 w 139969"/>
                <a:gd name="connsiteY360" fmla="*/ 201683 h 286300"/>
                <a:gd name="connsiteX361" fmla="*/ 100205 w 139969"/>
                <a:gd name="connsiteY361" fmla="*/ 196911 h 286300"/>
                <a:gd name="connsiteX362" fmla="*/ 101160 w 139969"/>
                <a:gd name="connsiteY362" fmla="*/ 194366 h 286300"/>
                <a:gd name="connsiteX363" fmla="*/ 102432 w 139969"/>
                <a:gd name="connsiteY363" fmla="*/ 190231 h 286300"/>
                <a:gd name="connsiteX364" fmla="*/ 104659 w 139969"/>
                <a:gd name="connsiteY364" fmla="*/ 184187 h 286300"/>
                <a:gd name="connsiteX365" fmla="*/ 105613 w 139969"/>
                <a:gd name="connsiteY365" fmla="*/ 182596 h 286300"/>
                <a:gd name="connsiteX366" fmla="*/ 106886 w 139969"/>
                <a:gd name="connsiteY366" fmla="*/ 177188 h 286300"/>
                <a:gd name="connsiteX367" fmla="*/ 108476 w 139969"/>
                <a:gd name="connsiteY367" fmla="*/ 169235 h 286300"/>
                <a:gd name="connsiteX368" fmla="*/ 108794 w 139969"/>
                <a:gd name="connsiteY368" fmla="*/ 168281 h 286300"/>
                <a:gd name="connsiteX369" fmla="*/ 109112 w 139969"/>
                <a:gd name="connsiteY369" fmla="*/ 166691 h 286300"/>
                <a:gd name="connsiteX370" fmla="*/ 112612 w 139969"/>
                <a:gd name="connsiteY370" fmla="*/ 147286 h 286300"/>
                <a:gd name="connsiteX371" fmla="*/ 113566 w 139969"/>
                <a:gd name="connsiteY371" fmla="*/ 142514 h 286300"/>
                <a:gd name="connsiteX372" fmla="*/ 114202 w 139969"/>
                <a:gd name="connsiteY372" fmla="*/ 134243 h 286300"/>
                <a:gd name="connsiteX373" fmla="*/ 114839 w 139969"/>
                <a:gd name="connsiteY373" fmla="*/ 126290 h 286300"/>
                <a:gd name="connsiteX374" fmla="*/ 115157 w 139969"/>
                <a:gd name="connsiteY374" fmla="*/ 120882 h 286300"/>
                <a:gd name="connsiteX375" fmla="*/ 114839 w 139969"/>
                <a:gd name="connsiteY375" fmla="*/ 116429 h 286300"/>
                <a:gd name="connsiteX376" fmla="*/ 113884 w 139969"/>
                <a:gd name="connsiteY376" fmla="*/ 115793 h 286300"/>
                <a:gd name="connsiteX377" fmla="*/ 113566 w 139969"/>
                <a:gd name="connsiteY377" fmla="*/ 115793 h 286300"/>
                <a:gd name="connsiteX378" fmla="*/ 110385 w 139969"/>
                <a:gd name="connsiteY378" fmla="*/ 118338 h 286300"/>
                <a:gd name="connsiteX379" fmla="*/ 110067 w 139969"/>
                <a:gd name="connsiteY379" fmla="*/ 118974 h 286300"/>
                <a:gd name="connsiteX380" fmla="*/ 109431 w 139969"/>
                <a:gd name="connsiteY380" fmla="*/ 119928 h 286300"/>
                <a:gd name="connsiteX381" fmla="*/ 108794 w 139969"/>
                <a:gd name="connsiteY381" fmla="*/ 119610 h 286300"/>
                <a:gd name="connsiteX382" fmla="*/ 108158 w 139969"/>
                <a:gd name="connsiteY382" fmla="*/ 119292 h 286300"/>
                <a:gd name="connsiteX383" fmla="*/ 107204 w 139969"/>
                <a:gd name="connsiteY383" fmla="*/ 119610 h 286300"/>
                <a:gd name="connsiteX384" fmla="*/ 106567 w 139969"/>
                <a:gd name="connsiteY384" fmla="*/ 119292 h 286300"/>
                <a:gd name="connsiteX385" fmla="*/ 105931 w 139969"/>
                <a:gd name="connsiteY385" fmla="*/ 118974 h 286300"/>
                <a:gd name="connsiteX386" fmla="*/ 105613 w 139969"/>
                <a:gd name="connsiteY386" fmla="*/ 119610 h 286300"/>
                <a:gd name="connsiteX387" fmla="*/ 106249 w 139969"/>
                <a:gd name="connsiteY387" fmla="*/ 120882 h 286300"/>
                <a:gd name="connsiteX388" fmla="*/ 106249 w 139969"/>
                <a:gd name="connsiteY388" fmla="*/ 121837 h 286300"/>
                <a:gd name="connsiteX389" fmla="*/ 104341 w 139969"/>
                <a:gd name="connsiteY389" fmla="*/ 123109 h 286300"/>
                <a:gd name="connsiteX390" fmla="*/ 103386 w 139969"/>
                <a:gd name="connsiteY390" fmla="*/ 123746 h 286300"/>
                <a:gd name="connsiteX391" fmla="*/ 103386 w 139969"/>
                <a:gd name="connsiteY391" fmla="*/ 124064 h 286300"/>
                <a:gd name="connsiteX392" fmla="*/ 102432 w 139969"/>
                <a:gd name="connsiteY392" fmla="*/ 125018 h 286300"/>
                <a:gd name="connsiteX393" fmla="*/ 101478 w 139969"/>
                <a:gd name="connsiteY393" fmla="*/ 125972 h 286300"/>
                <a:gd name="connsiteX394" fmla="*/ 100842 w 139969"/>
                <a:gd name="connsiteY394" fmla="*/ 126927 h 286300"/>
                <a:gd name="connsiteX395" fmla="*/ 100524 w 139969"/>
                <a:gd name="connsiteY395" fmla="*/ 126609 h 286300"/>
                <a:gd name="connsiteX396" fmla="*/ 99569 w 139969"/>
                <a:gd name="connsiteY396" fmla="*/ 126609 h 286300"/>
                <a:gd name="connsiteX397" fmla="*/ 98933 w 139969"/>
                <a:gd name="connsiteY397" fmla="*/ 127245 h 286300"/>
                <a:gd name="connsiteX398" fmla="*/ 97024 w 139969"/>
                <a:gd name="connsiteY398" fmla="*/ 129471 h 286300"/>
                <a:gd name="connsiteX399" fmla="*/ 95434 w 139969"/>
                <a:gd name="connsiteY399" fmla="*/ 130108 h 286300"/>
                <a:gd name="connsiteX400" fmla="*/ 92252 w 139969"/>
                <a:gd name="connsiteY400" fmla="*/ 132016 h 286300"/>
                <a:gd name="connsiteX401" fmla="*/ 90026 w 139969"/>
                <a:gd name="connsiteY401" fmla="*/ 133925 h 286300"/>
                <a:gd name="connsiteX402" fmla="*/ 89071 w 139969"/>
                <a:gd name="connsiteY402" fmla="*/ 135198 h 286300"/>
                <a:gd name="connsiteX403" fmla="*/ 88753 w 139969"/>
                <a:gd name="connsiteY403" fmla="*/ 135834 h 286300"/>
                <a:gd name="connsiteX404" fmla="*/ 87481 w 139969"/>
                <a:gd name="connsiteY404" fmla="*/ 137424 h 286300"/>
                <a:gd name="connsiteX405" fmla="*/ 86527 w 139969"/>
                <a:gd name="connsiteY405" fmla="*/ 137742 h 286300"/>
                <a:gd name="connsiteX406" fmla="*/ 85890 w 139969"/>
                <a:gd name="connsiteY406" fmla="*/ 137742 h 286300"/>
                <a:gd name="connsiteX407" fmla="*/ 84936 w 139969"/>
                <a:gd name="connsiteY407" fmla="*/ 137106 h 286300"/>
                <a:gd name="connsiteX408" fmla="*/ 84618 w 139969"/>
                <a:gd name="connsiteY408" fmla="*/ 137742 h 286300"/>
                <a:gd name="connsiteX409" fmla="*/ 84618 w 139969"/>
                <a:gd name="connsiteY409" fmla="*/ 139969 h 286300"/>
                <a:gd name="connsiteX410" fmla="*/ 83664 w 139969"/>
                <a:gd name="connsiteY410" fmla="*/ 139969 h 286300"/>
                <a:gd name="connsiteX411" fmla="*/ 83027 w 139969"/>
                <a:gd name="connsiteY411" fmla="*/ 139333 h 286300"/>
                <a:gd name="connsiteX412" fmla="*/ 83027 w 139969"/>
                <a:gd name="connsiteY412" fmla="*/ 141242 h 286300"/>
                <a:gd name="connsiteX413" fmla="*/ 82709 w 139969"/>
                <a:gd name="connsiteY413" fmla="*/ 141560 h 286300"/>
                <a:gd name="connsiteX414" fmla="*/ 82391 w 139969"/>
                <a:gd name="connsiteY414" fmla="*/ 141560 h 286300"/>
                <a:gd name="connsiteX415" fmla="*/ 81755 w 139969"/>
                <a:gd name="connsiteY415" fmla="*/ 141242 h 286300"/>
                <a:gd name="connsiteX416" fmla="*/ 81437 w 139969"/>
                <a:gd name="connsiteY416" fmla="*/ 141242 h 286300"/>
                <a:gd name="connsiteX417" fmla="*/ 81437 w 139969"/>
                <a:gd name="connsiteY417" fmla="*/ 143468 h 286300"/>
                <a:gd name="connsiteX418" fmla="*/ 81119 w 139969"/>
                <a:gd name="connsiteY418" fmla="*/ 144423 h 286300"/>
                <a:gd name="connsiteX419" fmla="*/ 79846 w 139969"/>
                <a:gd name="connsiteY419" fmla="*/ 145695 h 286300"/>
                <a:gd name="connsiteX420" fmla="*/ 77301 w 139969"/>
                <a:gd name="connsiteY420" fmla="*/ 147604 h 286300"/>
                <a:gd name="connsiteX421" fmla="*/ 76347 w 139969"/>
                <a:gd name="connsiteY421" fmla="*/ 147922 h 286300"/>
                <a:gd name="connsiteX422" fmla="*/ 75393 w 139969"/>
                <a:gd name="connsiteY422" fmla="*/ 146650 h 286300"/>
                <a:gd name="connsiteX423" fmla="*/ 74438 w 139969"/>
                <a:gd name="connsiteY423" fmla="*/ 145695 h 286300"/>
                <a:gd name="connsiteX424" fmla="*/ 74120 w 139969"/>
                <a:gd name="connsiteY424" fmla="*/ 145695 h 286300"/>
                <a:gd name="connsiteX425" fmla="*/ 73802 w 139969"/>
                <a:gd name="connsiteY425" fmla="*/ 145059 h 286300"/>
                <a:gd name="connsiteX426" fmla="*/ 72848 w 139969"/>
                <a:gd name="connsiteY426" fmla="*/ 142196 h 286300"/>
                <a:gd name="connsiteX427" fmla="*/ 74120 w 139969"/>
                <a:gd name="connsiteY427" fmla="*/ 140605 h 286300"/>
                <a:gd name="connsiteX428" fmla="*/ 74438 w 139969"/>
                <a:gd name="connsiteY428" fmla="*/ 139015 h 286300"/>
                <a:gd name="connsiteX429" fmla="*/ 74120 w 139969"/>
                <a:gd name="connsiteY429" fmla="*/ 139015 h 286300"/>
                <a:gd name="connsiteX430" fmla="*/ 73484 w 139969"/>
                <a:gd name="connsiteY430" fmla="*/ 139651 h 286300"/>
                <a:gd name="connsiteX431" fmla="*/ 71894 w 139969"/>
                <a:gd name="connsiteY431" fmla="*/ 140605 h 286300"/>
                <a:gd name="connsiteX432" fmla="*/ 71894 w 139969"/>
                <a:gd name="connsiteY432" fmla="*/ 140924 h 286300"/>
                <a:gd name="connsiteX433" fmla="*/ 71257 w 139969"/>
                <a:gd name="connsiteY433" fmla="*/ 140924 h 286300"/>
                <a:gd name="connsiteX434" fmla="*/ 70621 w 139969"/>
                <a:gd name="connsiteY434" fmla="*/ 140605 h 286300"/>
                <a:gd name="connsiteX435" fmla="*/ 69985 w 139969"/>
                <a:gd name="connsiteY435" fmla="*/ 141560 h 286300"/>
                <a:gd name="connsiteX436" fmla="*/ 70303 w 139969"/>
                <a:gd name="connsiteY436" fmla="*/ 142514 h 286300"/>
                <a:gd name="connsiteX437" fmla="*/ 71575 w 139969"/>
                <a:gd name="connsiteY437" fmla="*/ 142832 h 286300"/>
                <a:gd name="connsiteX438" fmla="*/ 72212 w 139969"/>
                <a:gd name="connsiteY438" fmla="*/ 143468 h 286300"/>
                <a:gd name="connsiteX439" fmla="*/ 71894 w 139969"/>
                <a:gd name="connsiteY439" fmla="*/ 144105 h 286300"/>
                <a:gd name="connsiteX440" fmla="*/ 71894 w 139969"/>
                <a:gd name="connsiteY440" fmla="*/ 144741 h 286300"/>
                <a:gd name="connsiteX441" fmla="*/ 72530 w 139969"/>
                <a:gd name="connsiteY441" fmla="*/ 145059 h 286300"/>
                <a:gd name="connsiteX442" fmla="*/ 72530 w 139969"/>
                <a:gd name="connsiteY442" fmla="*/ 145377 h 286300"/>
                <a:gd name="connsiteX443" fmla="*/ 72848 w 139969"/>
                <a:gd name="connsiteY443" fmla="*/ 146013 h 286300"/>
                <a:gd name="connsiteX444" fmla="*/ 73166 w 139969"/>
                <a:gd name="connsiteY444" fmla="*/ 146968 h 286300"/>
                <a:gd name="connsiteX445" fmla="*/ 73166 w 139969"/>
                <a:gd name="connsiteY445" fmla="*/ 147604 h 286300"/>
                <a:gd name="connsiteX446" fmla="*/ 72848 w 139969"/>
                <a:gd name="connsiteY446" fmla="*/ 148240 h 286300"/>
                <a:gd name="connsiteX447" fmla="*/ 73166 w 139969"/>
                <a:gd name="connsiteY447" fmla="*/ 150149 h 286300"/>
                <a:gd name="connsiteX448" fmla="*/ 72530 w 139969"/>
                <a:gd name="connsiteY448" fmla="*/ 151421 h 286300"/>
                <a:gd name="connsiteX449" fmla="*/ 71575 w 139969"/>
                <a:gd name="connsiteY449" fmla="*/ 153330 h 286300"/>
                <a:gd name="connsiteX450" fmla="*/ 69349 w 139969"/>
                <a:gd name="connsiteY450" fmla="*/ 155557 h 286300"/>
                <a:gd name="connsiteX451" fmla="*/ 68394 w 139969"/>
                <a:gd name="connsiteY451" fmla="*/ 156829 h 286300"/>
                <a:gd name="connsiteX452" fmla="*/ 66485 w 139969"/>
                <a:gd name="connsiteY452" fmla="*/ 160010 h 286300"/>
                <a:gd name="connsiteX453" fmla="*/ 62032 w 139969"/>
                <a:gd name="connsiteY453" fmla="*/ 164782 h 286300"/>
                <a:gd name="connsiteX454" fmla="*/ 57579 w 139969"/>
                <a:gd name="connsiteY454" fmla="*/ 169554 h 286300"/>
                <a:gd name="connsiteX455" fmla="*/ 57260 w 139969"/>
                <a:gd name="connsiteY455" fmla="*/ 170190 h 286300"/>
                <a:gd name="connsiteX456" fmla="*/ 57260 w 139969"/>
                <a:gd name="connsiteY456" fmla="*/ 170508 h 286300"/>
                <a:gd name="connsiteX457" fmla="*/ 55670 w 139969"/>
                <a:gd name="connsiteY457" fmla="*/ 172417 h 286300"/>
                <a:gd name="connsiteX458" fmla="*/ 54079 w 139969"/>
                <a:gd name="connsiteY458" fmla="*/ 175280 h 286300"/>
                <a:gd name="connsiteX459" fmla="*/ 52488 w 139969"/>
                <a:gd name="connsiteY459" fmla="*/ 176870 h 286300"/>
                <a:gd name="connsiteX460" fmla="*/ 51216 w 139969"/>
                <a:gd name="connsiteY460" fmla="*/ 178143 h 286300"/>
                <a:gd name="connsiteX461" fmla="*/ 49944 w 139969"/>
                <a:gd name="connsiteY461" fmla="*/ 179415 h 286300"/>
                <a:gd name="connsiteX462" fmla="*/ 48989 w 139969"/>
                <a:gd name="connsiteY462" fmla="*/ 181006 h 286300"/>
                <a:gd name="connsiteX463" fmla="*/ 48353 w 139969"/>
                <a:gd name="connsiteY463" fmla="*/ 181324 h 286300"/>
                <a:gd name="connsiteX464" fmla="*/ 48035 w 139969"/>
                <a:gd name="connsiteY464" fmla="*/ 181642 h 286300"/>
                <a:gd name="connsiteX465" fmla="*/ 47399 w 139969"/>
                <a:gd name="connsiteY465" fmla="*/ 181006 h 286300"/>
                <a:gd name="connsiteX466" fmla="*/ 47399 w 139969"/>
                <a:gd name="connsiteY466" fmla="*/ 180051 h 286300"/>
                <a:gd name="connsiteX467" fmla="*/ 46445 w 139969"/>
                <a:gd name="connsiteY467" fmla="*/ 179097 h 286300"/>
                <a:gd name="connsiteX468" fmla="*/ 45172 w 139969"/>
                <a:gd name="connsiteY468" fmla="*/ 180051 h 286300"/>
                <a:gd name="connsiteX469" fmla="*/ 44218 w 139969"/>
                <a:gd name="connsiteY469" fmla="*/ 181960 h 286300"/>
                <a:gd name="connsiteX470" fmla="*/ 44218 w 139969"/>
                <a:gd name="connsiteY470" fmla="*/ 184187 h 286300"/>
                <a:gd name="connsiteX471" fmla="*/ 44536 w 139969"/>
                <a:gd name="connsiteY471" fmla="*/ 186095 h 286300"/>
                <a:gd name="connsiteX472" fmla="*/ 44854 w 139969"/>
                <a:gd name="connsiteY472" fmla="*/ 187050 h 286300"/>
                <a:gd name="connsiteX473" fmla="*/ 44218 w 139969"/>
                <a:gd name="connsiteY473" fmla="*/ 188004 h 286300"/>
                <a:gd name="connsiteX474" fmla="*/ 42627 w 139969"/>
                <a:gd name="connsiteY474" fmla="*/ 190231 h 286300"/>
                <a:gd name="connsiteX475" fmla="*/ 41355 w 139969"/>
                <a:gd name="connsiteY475" fmla="*/ 192458 h 286300"/>
                <a:gd name="connsiteX476" fmla="*/ 41036 w 139969"/>
                <a:gd name="connsiteY476" fmla="*/ 192776 h 286300"/>
                <a:gd name="connsiteX477" fmla="*/ 40718 w 139969"/>
                <a:gd name="connsiteY477" fmla="*/ 192140 h 286300"/>
                <a:gd name="connsiteX478" fmla="*/ 40400 w 139969"/>
                <a:gd name="connsiteY478" fmla="*/ 191821 h 286300"/>
                <a:gd name="connsiteX479" fmla="*/ 39446 w 139969"/>
                <a:gd name="connsiteY479" fmla="*/ 192140 h 286300"/>
                <a:gd name="connsiteX480" fmla="*/ 39128 w 139969"/>
                <a:gd name="connsiteY480" fmla="*/ 192458 h 286300"/>
                <a:gd name="connsiteX481" fmla="*/ 38810 w 139969"/>
                <a:gd name="connsiteY481" fmla="*/ 191821 h 286300"/>
                <a:gd name="connsiteX482" fmla="*/ 41036 w 139969"/>
                <a:gd name="connsiteY482" fmla="*/ 189595 h 286300"/>
                <a:gd name="connsiteX483" fmla="*/ 41355 w 139969"/>
                <a:gd name="connsiteY483" fmla="*/ 188958 h 286300"/>
                <a:gd name="connsiteX484" fmla="*/ 41036 w 139969"/>
                <a:gd name="connsiteY484" fmla="*/ 188322 h 286300"/>
                <a:gd name="connsiteX485" fmla="*/ 41036 w 139969"/>
                <a:gd name="connsiteY485" fmla="*/ 187686 h 286300"/>
                <a:gd name="connsiteX486" fmla="*/ 40082 w 139969"/>
                <a:gd name="connsiteY486" fmla="*/ 187368 h 286300"/>
                <a:gd name="connsiteX487" fmla="*/ 39128 w 139969"/>
                <a:gd name="connsiteY487" fmla="*/ 187686 h 286300"/>
                <a:gd name="connsiteX488" fmla="*/ 39128 w 139969"/>
                <a:gd name="connsiteY488" fmla="*/ 188640 h 286300"/>
                <a:gd name="connsiteX489" fmla="*/ 38810 w 139969"/>
                <a:gd name="connsiteY489" fmla="*/ 188958 h 286300"/>
                <a:gd name="connsiteX490" fmla="*/ 38173 w 139969"/>
                <a:gd name="connsiteY490" fmla="*/ 189913 h 286300"/>
                <a:gd name="connsiteX491" fmla="*/ 36901 w 139969"/>
                <a:gd name="connsiteY491" fmla="*/ 190549 h 286300"/>
                <a:gd name="connsiteX492" fmla="*/ 35311 w 139969"/>
                <a:gd name="connsiteY492" fmla="*/ 192458 h 286300"/>
                <a:gd name="connsiteX493" fmla="*/ 35311 w 139969"/>
                <a:gd name="connsiteY493" fmla="*/ 192776 h 286300"/>
                <a:gd name="connsiteX494" fmla="*/ 35629 w 139969"/>
                <a:gd name="connsiteY494" fmla="*/ 193094 h 286300"/>
                <a:gd name="connsiteX495" fmla="*/ 36901 w 139969"/>
                <a:gd name="connsiteY495" fmla="*/ 193730 h 286300"/>
                <a:gd name="connsiteX496" fmla="*/ 37219 w 139969"/>
                <a:gd name="connsiteY496" fmla="*/ 194684 h 286300"/>
                <a:gd name="connsiteX497" fmla="*/ 36901 w 139969"/>
                <a:gd name="connsiteY497" fmla="*/ 194684 h 286300"/>
                <a:gd name="connsiteX498" fmla="*/ 34992 w 139969"/>
                <a:gd name="connsiteY498" fmla="*/ 195639 h 286300"/>
                <a:gd name="connsiteX499" fmla="*/ 34356 w 139969"/>
                <a:gd name="connsiteY499" fmla="*/ 197229 h 286300"/>
                <a:gd name="connsiteX500" fmla="*/ 33720 w 139969"/>
                <a:gd name="connsiteY500" fmla="*/ 197866 h 286300"/>
                <a:gd name="connsiteX501" fmla="*/ 34356 w 139969"/>
                <a:gd name="connsiteY501" fmla="*/ 198820 h 286300"/>
                <a:gd name="connsiteX502" fmla="*/ 35311 w 139969"/>
                <a:gd name="connsiteY502" fmla="*/ 199138 h 286300"/>
                <a:gd name="connsiteX503" fmla="*/ 35947 w 139969"/>
                <a:gd name="connsiteY503" fmla="*/ 198184 h 286300"/>
                <a:gd name="connsiteX504" fmla="*/ 35947 w 139969"/>
                <a:gd name="connsiteY504" fmla="*/ 197547 h 286300"/>
                <a:gd name="connsiteX505" fmla="*/ 37537 w 139969"/>
                <a:gd name="connsiteY505" fmla="*/ 195321 h 286300"/>
                <a:gd name="connsiteX506" fmla="*/ 38492 w 139969"/>
                <a:gd name="connsiteY506" fmla="*/ 195639 h 286300"/>
                <a:gd name="connsiteX507" fmla="*/ 38492 w 139969"/>
                <a:gd name="connsiteY507" fmla="*/ 197229 h 286300"/>
                <a:gd name="connsiteX508" fmla="*/ 37855 w 139969"/>
                <a:gd name="connsiteY508" fmla="*/ 198820 h 286300"/>
                <a:gd name="connsiteX509" fmla="*/ 36583 w 139969"/>
                <a:gd name="connsiteY509" fmla="*/ 199774 h 286300"/>
                <a:gd name="connsiteX510" fmla="*/ 34992 w 139969"/>
                <a:gd name="connsiteY510" fmla="*/ 202319 h 286300"/>
                <a:gd name="connsiteX511" fmla="*/ 34356 w 139969"/>
                <a:gd name="connsiteY511" fmla="*/ 203910 h 286300"/>
                <a:gd name="connsiteX512" fmla="*/ 34356 w 139969"/>
                <a:gd name="connsiteY512" fmla="*/ 204546 h 286300"/>
                <a:gd name="connsiteX513" fmla="*/ 33720 w 139969"/>
                <a:gd name="connsiteY513" fmla="*/ 206773 h 286300"/>
                <a:gd name="connsiteX514" fmla="*/ 33402 w 139969"/>
                <a:gd name="connsiteY514" fmla="*/ 207091 h 286300"/>
                <a:gd name="connsiteX515" fmla="*/ 32766 w 139969"/>
                <a:gd name="connsiteY515" fmla="*/ 206773 h 286300"/>
                <a:gd name="connsiteX516" fmla="*/ 31493 w 139969"/>
                <a:gd name="connsiteY516" fmla="*/ 206136 h 286300"/>
                <a:gd name="connsiteX517" fmla="*/ 30539 w 139969"/>
                <a:gd name="connsiteY517" fmla="*/ 206136 h 286300"/>
                <a:gd name="connsiteX518" fmla="*/ 30857 w 139969"/>
                <a:gd name="connsiteY518" fmla="*/ 205818 h 286300"/>
                <a:gd name="connsiteX519" fmla="*/ 31493 w 139969"/>
                <a:gd name="connsiteY519" fmla="*/ 203910 h 286300"/>
                <a:gd name="connsiteX520" fmla="*/ 31175 w 139969"/>
                <a:gd name="connsiteY520" fmla="*/ 203273 h 286300"/>
                <a:gd name="connsiteX521" fmla="*/ 31811 w 139969"/>
                <a:gd name="connsiteY521" fmla="*/ 202001 h 286300"/>
                <a:gd name="connsiteX522" fmla="*/ 33402 w 139969"/>
                <a:gd name="connsiteY522" fmla="*/ 200410 h 286300"/>
                <a:gd name="connsiteX523" fmla="*/ 33720 w 139969"/>
                <a:gd name="connsiteY523" fmla="*/ 199456 h 286300"/>
                <a:gd name="connsiteX524" fmla="*/ 33720 w 139969"/>
                <a:gd name="connsiteY524" fmla="*/ 199138 h 286300"/>
                <a:gd name="connsiteX525" fmla="*/ 32130 w 139969"/>
                <a:gd name="connsiteY525" fmla="*/ 199138 h 286300"/>
                <a:gd name="connsiteX526" fmla="*/ 31175 w 139969"/>
                <a:gd name="connsiteY526" fmla="*/ 201365 h 286300"/>
                <a:gd name="connsiteX527" fmla="*/ 31175 w 139969"/>
                <a:gd name="connsiteY527" fmla="*/ 202001 h 286300"/>
                <a:gd name="connsiteX528" fmla="*/ 29585 w 139969"/>
                <a:gd name="connsiteY528" fmla="*/ 204546 h 286300"/>
                <a:gd name="connsiteX529" fmla="*/ 29267 w 139969"/>
                <a:gd name="connsiteY529" fmla="*/ 205500 h 286300"/>
                <a:gd name="connsiteX530" fmla="*/ 27994 w 139969"/>
                <a:gd name="connsiteY530" fmla="*/ 208363 h 286300"/>
                <a:gd name="connsiteX531" fmla="*/ 27358 w 139969"/>
                <a:gd name="connsiteY531" fmla="*/ 209318 h 286300"/>
                <a:gd name="connsiteX532" fmla="*/ 26403 w 139969"/>
                <a:gd name="connsiteY532" fmla="*/ 210908 h 286300"/>
                <a:gd name="connsiteX533" fmla="*/ 25449 w 139969"/>
                <a:gd name="connsiteY533" fmla="*/ 212499 h 286300"/>
                <a:gd name="connsiteX534" fmla="*/ 24495 w 139969"/>
                <a:gd name="connsiteY534" fmla="*/ 212181 h 286300"/>
                <a:gd name="connsiteX535" fmla="*/ 23858 w 139969"/>
                <a:gd name="connsiteY535" fmla="*/ 211862 h 286300"/>
                <a:gd name="connsiteX536" fmla="*/ 22586 w 139969"/>
                <a:gd name="connsiteY536" fmla="*/ 211862 h 286300"/>
                <a:gd name="connsiteX537" fmla="*/ 22586 w 139969"/>
                <a:gd name="connsiteY537" fmla="*/ 212181 h 286300"/>
                <a:gd name="connsiteX538" fmla="*/ 21314 w 139969"/>
                <a:gd name="connsiteY538" fmla="*/ 211862 h 286300"/>
                <a:gd name="connsiteX539" fmla="*/ 21314 w 139969"/>
                <a:gd name="connsiteY539" fmla="*/ 211544 h 286300"/>
                <a:gd name="connsiteX540" fmla="*/ 20359 w 139969"/>
                <a:gd name="connsiteY540" fmla="*/ 211544 h 286300"/>
                <a:gd name="connsiteX541" fmla="*/ 20359 w 139969"/>
                <a:gd name="connsiteY541" fmla="*/ 212817 h 286300"/>
                <a:gd name="connsiteX542" fmla="*/ 21314 w 139969"/>
                <a:gd name="connsiteY542" fmla="*/ 213453 h 286300"/>
                <a:gd name="connsiteX543" fmla="*/ 22586 w 139969"/>
                <a:gd name="connsiteY543" fmla="*/ 213771 h 286300"/>
                <a:gd name="connsiteX544" fmla="*/ 23222 w 139969"/>
                <a:gd name="connsiteY544" fmla="*/ 213771 h 286300"/>
                <a:gd name="connsiteX545" fmla="*/ 23858 w 139969"/>
                <a:gd name="connsiteY545" fmla="*/ 214407 h 286300"/>
                <a:gd name="connsiteX546" fmla="*/ 23858 w 139969"/>
                <a:gd name="connsiteY546" fmla="*/ 214725 h 286300"/>
                <a:gd name="connsiteX547" fmla="*/ 22904 w 139969"/>
                <a:gd name="connsiteY547" fmla="*/ 216952 h 286300"/>
                <a:gd name="connsiteX548" fmla="*/ 22268 w 139969"/>
                <a:gd name="connsiteY548" fmla="*/ 217270 h 286300"/>
                <a:gd name="connsiteX549" fmla="*/ 21950 w 139969"/>
                <a:gd name="connsiteY549" fmla="*/ 216952 h 286300"/>
                <a:gd name="connsiteX550" fmla="*/ 21314 w 139969"/>
                <a:gd name="connsiteY550" fmla="*/ 215680 h 286300"/>
                <a:gd name="connsiteX551" fmla="*/ 19723 w 139969"/>
                <a:gd name="connsiteY551" fmla="*/ 214407 h 286300"/>
                <a:gd name="connsiteX552" fmla="*/ 19723 w 139969"/>
                <a:gd name="connsiteY552" fmla="*/ 215044 h 286300"/>
                <a:gd name="connsiteX553" fmla="*/ 18133 w 139969"/>
                <a:gd name="connsiteY553" fmla="*/ 217588 h 286300"/>
                <a:gd name="connsiteX554" fmla="*/ 17815 w 139969"/>
                <a:gd name="connsiteY554" fmla="*/ 217907 h 286300"/>
                <a:gd name="connsiteX555" fmla="*/ 16542 w 139969"/>
                <a:gd name="connsiteY555" fmla="*/ 218543 h 286300"/>
                <a:gd name="connsiteX556" fmla="*/ 16860 w 139969"/>
                <a:gd name="connsiteY556" fmla="*/ 219497 h 286300"/>
                <a:gd name="connsiteX557" fmla="*/ 17178 w 139969"/>
                <a:gd name="connsiteY557" fmla="*/ 220133 h 286300"/>
                <a:gd name="connsiteX558" fmla="*/ 17496 w 139969"/>
                <a:gd name="connsiteY558" fmla="*/ 220770 h 286300"/>
                <a:gd name="connsiteX559" fmla="*/ 17178 w 139969"/>
                <a:gd name="connsiteY559" fmla="*/ 221088 h 286300"/>
                <a:gd name="connsiteX560" fmla="*/ 15588 w 139969"/>
                <a:gd name="connsiteY560" fmla="*/ 222360 h 286300"/>
                <a:gd name="connsiteX561" fmla="*/ 14633 w 139969"/>
                <a:gd name="connsiteY561" fmla="*/ 222996 h 286300"/>
                <a:gd name="connsiteX562" fmla="*/ 14951 w 139969"/>
                <a:gd name="connsiteY562" fmla="*/ 224587 h 286300"/>
                <a:gd name="connsiteX563" fmla="*/ 15270 w 139969"/>
                <a:gd name="connsiteY563" fmla="*/ 225859 h 286300"/>
                <a:gd name="connsiteX564" fmla="*/ 14951 w 139969"/>
                <a:gd name="connsiteY564" fmla="*/ 226496 h 286300"/>
                <a:gd name="connsiteX565" fmla="*/ 13997 w 139969"/>
                <a:gd name="connsiteY565" fmla="*/ 228086 h 286300"/>
                <a:gd name="connsiteX566" fmla="*/ 13997 w 139969"/>
                <a:gd name="connsiteY566" fmla="*/ 228722 h 286300"/>
                <a:gd name="connsiteX567" fmla="*/ 13361 w 139969"/>
                <a:gd name="connsiteY567" fmla="*/ 229995 h 286300"/>
                <a:gd name="connsiteX568" fmla="*/ 13043 w 139969"/>
                <a:gd name="connsiteY568" fmla="*/ 228722 h 286300"/>
                <a:gd name="connsiteX569" fmla="*/ 12724 w 139969"/>
                <a:gd name="connsiteY569" fmla="*/ 228086 h 286300"/>
                <a:gd name="connsiteX570" fmla="*/ 12088 w 139969"/>
                <a:gd name="connsiteY570" fmla="*/ 228404 h 286300"/>
                <a:gd name="connsiteX571" fmla="*/ 11770 w 139969"/>
                <a:gd name="connsiteY571" fmla="*/ 228086 h 286300"/>
                <a:gd name="connsiteX572" fmla="*/ 11770 w 139969"/>
                <a:gd name="connsiteY572" fmla="*/ 227768 h 286300"/>
                <a:gd name="connsiteX573" fmla="*/ 12406 w 139969"/>
                <a:gd name="connsiteY573" fmla="*/ 227132 h 286300"/>
                <a:gd name="connsiteX574" fmla="*/ 13043 w 139969"/>
                <a:gd name="connsiteY574" fmla="*/ 226496 h 286300"/>
                <a:gd name="connsiteX575" fmla="*/ 12724 w 139969"/>
                <a:gd name="connsiteY575" fmla="*/ 226177 h 286300"/>
                <a:gd name="connsiteX576" fmla="*/ 12406 w 139969"/>
                <a:gd name="connsiteY576" fmla="*/ 225541 h 286300"/>
                <a:gd name="connsiteX577" fmla="*/ 12724 w 139969"/>
                <a:gd name="connsiteY577" fmla="*/ 224269 h 286300"/>
                <a:gd name="connsiteX578" fmla="*/ 13679 w 139969"/>
                <a:gd name="connsiteY578" fmla="*/ 222360 h 286300"/>
                <a:gd name="connsiteX579" fmla="*/ 13679 w 139969"/>
                <a:gd name="connsiteY579" fmla="*/ 220770 h 286300"/>
                <a:gd name="connsiteX580" fmla="*/ 14315 w 139969"/>
                <a:gd name="connsiteY580" fmla="*/ 220133 h 286300"/>
                <a:gd name="connsiteX581" fmla="*/ 15270 w 139969"/>
                <a:gd name="connsiteY581" fmla="*/ 218861 h 286300"/>
                <a:gd name="connsiteX582" fmla="*/ 15270 w 139969"/>
                <a:gd name="connsiteY582" fmla="*/ 217270 h 286300"/>
                <a:gd name="connsiteX583" fmla="*/ 16224 w 139969"/>
                <a:gd name="connsiteY583" fmla="*/ 215044 h 286300"/>
                <a:gd name="connsiteX584" fmla="*/ 16860 w 139969"/>
                <a:gd name="connsiteY584" fmla="*/ 214725 h 286300"/>
                <a:gd name="connsiteX585" fmla="*/ 17496 w 139969"/>
                <a:gd name="connsiteY585" fmla="*/ 214725 h 286300"/>
                <a:gd name="connsiteX586" fmla="*/ 18133 w 139969"/>
                <a:gd name="connsiteY586" fmla="*/ 212817 h 286300"/>
                <a:gd name="connsiteX587" fmla="*/ 17496 w 139969"/>
                <a:gd name="connsiteY587" fmla="*/ 211544 h 286300"/>
                <a:gd name="connsiteX588" fmla="*/ 19087 w 139969"/>
                <a:gd name="connsiteY588" fmla="*/ 208999 h 286300"/>
                <a:gd name="connsiteX589" fmla="*/ 19723 w 139969"/>
                <a:gd name="connsiteY589" fmla="*/ 207091 h 286300"/>
                <a:gd name="connsiteX590" fmla="*/ 20996 w 139969"/>
                <a:gd name="connsiteY590" fmla="*/ 206136 h 286300"/>
                <a:gd name="connsiteX591" fmla="*/ 21314 w 139969"/>
                <a:gd name="connsiteY591" fmla="*/ 205500 h 286300"/>
                <a:gd name="connsiteX592" fmla="*/ 20996 w 139969"/>
                <a:gd name="connsiteY592" fmla="*/ 204864 h 286300"/>
                <a:gd name="connsiteX593" fmla="*/ 20996 w 139969"/>
                <a:gd name="connsiteY593" fmla="*/ 204228 h 286300"/>
                <a:gd name="connsiteX594" fmla="*/ 22268 w 139969"/>
                <a:gd name="connsiteY594" fmla="*/ 200729 h 286300"/>
                <a:gd name="connsiteX595" fmla="*/ 23858 w 139969"/>
                <a:gd name="connsiteY595" fmla="*/ 198820 h 286300"/>
                <a:gd name="connsiteX596" fmla="*/ 24495 w 139969"/>
                <a:gd name="connsiteY596" fmla="*/ 198820 h 286300"/>
                <a:gd name="connsiteX597" fmla="*/ 24495 w 139969"/>
                <a:gd name="connsiteY597" fmla="*/ 199456 h 286300"/>
                <a:gd name="connsiteX598" fmla="*/ 23858 w 139969"/>
                <a:gd name="connsiteY598" fmla="*/ 201047 h 286300"/>
                <a:gd name="connsiteX599" fmla="*/ 24177 w 139969"/>
                <a:gd name="connsiteY599" fmla="*/ 201683 h 286300"/>
                <a:gd name="connsiteX600" fmla="*/ 24177 w 139969"/>
                <a:gd name="connsiteY600" fmla="*/ 202001 h 286300"/>
                <a:gd name="connsiteX601" fmla="*/ 23858 w 139969"/>
                <a:gd name="connsiteY601" fmla="*/ 202637 h 286300"/>
                <a:gd name="connsiteX602" fmla="*/ 22586 w 139969"/>
                <a:gd name="connsiteY602" fmla="*/ 205500 h 286300"/>
                <a:gd name="connsiteX603" fmla="*/ 22268 w 139969"/>
                <a:gd name="connsiteY603" fmla="*/ 206136 h 286300"/>
                <a:gd name="connsiteX604" fmla="*/ 22586 w 139969"/>
                <a:gd name="connsiteY604" fmla="*/ 206455 h 286300"/>
                <a:gd name="connsiteX605" fmla="*/ 22904 w 139969"/>
                <a:gd name="connsiteY605" fmla="*/ 206455 h 286300"/>
                <a:gd name="connsiteX606" fmla="*/ 23540 w 139969"/>
                <a:gd name="connsiteY606" fmla="*/ 206773 h 286300"/>
                <a:gd name="connsiteX607" fmla="*/ 23222 w 139969"/>
                <a:gd name="connsiteY607" fmla="*/ 207409 h 286300"/>
                <a:gd name="connsiteX608" fmla="*/ 23222 w 139969"/>
                <a:gd name="connsiteY608" fmla="*/ 208045 h 286300"/>
                <a:gd name="connsiteX609" fmla="*/ 25131 w 139969"/>
                <a:gd name="connsiteY609" fmla="*/ 207091 h 286300"/>
                <a:gd name="connsiteX610" fmla="*/ 28312 w 139969"/>
                <a:gd name="connsiteY610" fmla="*/ 203592 h 286300"/>
                <a:gd name="connsiteX611" fmla="*/ 27994 w 139969"/>
                <a:gd name="connsiteY611" fmla="*/ 202637 h 286300"/>
                <a:gd name="connsiteX612" fmla="*/ 27358 w 139969"/>
                <a:gd name="connsiteY612" fmla="*/ 201683 h 286300"/>
                <a:gd name="connsiteX613" fmla="*/ 27358 w 139969"/>
                <a:gd name="connsiteY613" fmla="*/ 200729 h 286300"/>
                <a:gd name="connsiteX614" fmla="*/ 26403 w 139969"/>
                <a:gd name="connsiteY614" fmla="*/ 200410 h 286300"/>
                <a:gd name="connsiteX615" fmla="*/ 24495 w 139969"/>
                <a:gd name="connsiteY615" fmla="*/ 198820 h 286300"/>
                <a:gd name="connsiteX616" fmla="*/ 26085 w 139969"/>
                <a:gd name="connsiteY616" fmla="*/ 196911 h 286300"/>
                <a:gd name="connsiteX617" fmla="*/ 26085 w 139969"/>
                <a:gd name="connsiteY617" fmla="*/ 195957 h 286300"/>
                <a:gd name="connsiteX618" fmla="*/ 25767 w 139969"/>
                <a:gd name="connsiteY618" fmla="*/ 195639 h 286300"/>
                <a:gd name="connsiteX619" fmla="*/ 25449 w 139969"/>
                <a:gd name="connsiteY619" fmla="*/ 195003 h 286300"/>
                <a:gd name="connsiteX620" fmla="*/ 25449 w 139969"/>
                <a:gd name="connsiteY620" fmla="*/ 194684 h 286300"/>
                <a:gd name="connsiteX621" fmla="*/ 26403 w 139969"/>
                <a:gd name="connsiteY621" fmla="*/ 195003 h 286300"/>
                <a:gd name="connsiteX622" fmla="*/ 27040 w 139969"/>
                <a:gd name="connsiteY622" fmla="*/ 195639 h 286300"/>
                <a:gd name="connsiteX623" fmla="*/ 27358 w 139969"/>
                <a:gd name="connsiteY623" fmla="*/ 195321 h 286300"/>
                <a:gd name="connsiteX624" fmla="*/ 27994 w 139969"/>
                <a:gd name="connsiteY624" fmla="*/ 193730 h 286300"/>
                <a:gd name="connsiteX625" fmla="*/ 29585 w 139969"/>
                <a:gd name="connsiteY625" fmla="*/ 189913 h 286300"/>
                <a:gd name="connsiteX626" fmla="*/ 30221 w 139969"/>
                <a:gd name="connsiteY626" fmla="*/ 189277 h 286300"/>
                <a:gd name="connsiteX627" fmla="*/ 30857 w 139969"/>
                <a:gd name="connsiteY627" fmla="*/ 188322 h 286300"/>
                <a:gd name="connsiteX628" fmla="*/ 31175 w 139969"/>
                <a:gd name="connsiteY628" fmla="*/ 187686 h 286300"/>
                <a:gd name="connsiteX629" fmla="*/ 30539 w 139969"/>
                <a:gd name="connsiteY629" fmla="*/ 187050 h 286300"/>
                <a:gd name="connsiteX630" fmla="*/ 28948 w 139969"/>
                <a:gd name="connsiteY630" fmla="*/ 186095 h 286300"/>
                <a:gd name="connsiteX631" fmla="*/ 28630 w 139969"/>
                <a:gd name="connsiteY631" fmla="*/ 186095 h 286300"/>
                <a:gd name="connsiteX632" fmla="*/ 28630 w 139969"/>
                <a:gd name="connsiteY632" fmla="*/ 186414 h 286300"/>
                <a:gd name="connsiteX633" fmla="*/ 29267 w 139969"/>
                <a:gd name="connsiteY633" fmla="*/ 188322 h 286300"/>
                <a:gd name="connsiteX634" fmla="*/ 28948 w 139969"/>
                <a:gd name="connsiteY634" fmla="*/ 189913 h 286300"/>
                <a:gd name="connsiteX635" fmla="*/ 28312 w 139969"/>
                <a:gd name="connsiteY635" fmla="*/ 190549 h 286300"/>
                <a:gd name="connsiteX636" fmla="*/ 27358 w 139969"/>
                <a:gd name="connsiteY636" fmla="*/ 191821 h 286300"/>
                <a:gd name="connsiteX637" fmla="*/ 26085 w 139969"/>
                <a:gd name="connsiteY637" fmla="*/ 191503 h 286300"/>
                <a:gd name="connsiteX638" fmla="*/ 25449 w 139969"/>
                <a:gd name="connsiteY638" fmla="*/ 191185 h 286300"/>
                <a:gd name="connsiteX639" fmla="*/ 24495 w 139969"/>
                <a:gd name="connsiteY639" fmla="*/ 192140 h 286300"/>
                <a:gd name="connsiteX640" fmla="*/ 24495 w 139969"/>
                <a:gd name="connsiteY640" fmla="*/ 192776 h 286300"/>
                <a:gd name="connsiteX641" fmla="*/ 24495 w 139969"/>
                <a:gd name="connsiteY641" fmla="*/ 193412 h 286300"/>
                <a:gd name="connsiteX642" fmla="*/ 23858 w 139969"/>
                <a:gd name="connsiteY642" fmla="*/ 194684 h 286300"/>
                <a:gd name="connsiteX643" fmla="*/ 23858 w 139969"/>
                <a:gd name="connsiteY643" fmla="*/ 195639 h 286300"/>
                <a:gd name="connsiteX644" fmla="*/ 23222 w 139969"/>
                <a:gd name="connsiteY644" fmla="*/ 196911 h 286300"/>
                <a:gd name="connsiteX645" fmla="*/ 22904 w 139969"/>
                <a:gd name="connsiteY645" fmla="*/ 197547 h 286300"/>
                <a:gd name="connsiteX646" fmla="*/ 23222 w 139969"/>
                <a:gd name="connsiteY646" fmla="*/ 197866 h 286300"/>
                <a:gd name="connsiteX647" fmla="*/ 23540 w 139969"/>
                <a:gd name="connsiteY647" fmla="*/ 198184 h 286300"/>
                <a:gd name="connsiteX648" fmla="*/ 23222 w 139969"/>
                <a:gd name="connsiteY648" fmla="*/ 198820 h 286300"/>
                <a:gd name="connsiteX649" fmla="*/ 21950 w 139969"/>
                <a:gd name="connsiteY649" fmla="*/ 198820 h 286300"/>
                <a:gd name="connsiteX650" fmla="*/ 19723 w 139969"/>
                <a:gd name="connsiteY650" fmla="*/ 198184 h 286300"/>
                <a:gd name="connsiteX651" fmla="*/ 19723 w 139969"/>
                <a:gd name="connsiteY651" fmla="*/ 197866 h 286300"/>
                <a:gd name="connsiteX652" fmla="*/ 20041 w 139969"/>
                <a:gd name="connsiteY652" fmla="*/ 196911 h 286300"/>
                <a:gd name="connsiteX653" fmla="*/ 19723 w 139969"/>
                <a:gd name="connsiteY653" fmla="*/ 195639 h 286300"/>
                <a:gd name="connsiteX654" fmla="*/ 20041 w 139969"/>
                <a:gd name="connsiteY654" fmla="*/ 195003 h 286300"/>
                <a:gd name="connsiteX655" fmla="*/ 20677 w 139969"/>
                <a:gd name="connsiteY655" fmla="*/ 195321 h 286300"/>
                <a:gd name="connsiteX656" fmla="*/ 20996 w 139969"/>
                <a:gd name="connsiteY656" fmla="*/ 195321 h 286300"/>
                <a:gd name="connsiteX657" fmla="*/ 21950 w 139969"/>
                <a:gd name="connsiteY657" fmla="*/ 195639 h 286300"/>
                <a:gd name="connsiteX658" fmla="*/ 22904 w 139969"/>
                <a:gd name="connsiteY658" fmla="*/ 195957 h 286300"/>
                <a:gd name="connsiteX659" fmla="*/ 22904 w 139969"/>
                <a:gd name="connsiteY659" fmla="*/ 195639 h 286300"/>
                <a:gd name="connsiteX660" fmla="*/ 22586 w 139969"/>
                <a:gd name="connsiteY660" fmla="*/ 195003 h 286300"/>
                <a:gd name="connsiteX661" fmla="*/ 22268 w 139969"/>
                <a:gd name="connsiteY661" fmla="*/ 195003 h 286300"/>
                <a:gd name="connsiteX662" fmla="*/ 21950 w 139969"/>
                <a:gd name="connsiteY662" fmla="*/ 193730 h 286300"/>
                <a:gd name="connsiteX663" fmla="*/ 21632 w 139969"/>
                <a:gd name="connsiteY663" fmla="*/ 193730 h 286300"/>
                <a:gd name="connsiteX664" fmla="*/ 20359 w 139969"/>
                <a:gd name="connsiteY664" fmla="*/ 194366 h 286300"/>
                <a:gd name="connsiteX665" fmla="*/ 20677 w 139969"/>
                <a:gd name="connsiteY665" fmla="*/ 192776 h 286300"/>
                <a:gd name="connsiteX666" fmla="*/ 22904 w 139969"/>
                <a:gd name="connsiteY666" fmla="*/ 189595 h 286300"/>
                <a:gd name="connsiteX667" fmla="*/ 23222 w 139969"/>
                <a:gd name="connsiteY667" fmla="*/ 189277 h 286300"/>
                <a:gd name="connsiteX668" fmla="*/ 21950 w 139969"/>
                <a:gd name="connsiteY668" fmla="*/ 192458 h 286300"/>
                <a:gd name="connsiteX669" fmla="*/ 22268 w 139969"/>
                <a:gd name="connsiteY669" fmla="*/ 192776 h 286300"/>
                <a:gd name="connsiteX670" fmla="*/ 23222 w 139969"/>
                <a:gd name="connsiteY670" fmla="*/ 191821 h 286300"/>
                <a:gd name="connsiteX671" fmla="*/ 25131 w 139969"/>
                <a:gd name="connsiteY671" fmla="*/ 189277 h 286300"/>
                <a:gd name="connsiteX672" fmla="*/ 25131 w 139969"/>
                <a:gd name="connsiteY672" fmla="*/ 188322 h 286300"/>
                <a:gd name="connsiteX673" fmla="*/ 24495 w 139969"/>
                <a:gd name="connsiteY673" fmla="*/ 187368 h 286300"/>
                <a:gd name="connsiteX674" fmla="*/ 24495 w 139969"/>
                <a:gd name="connsiteY674" fmla="*/ 187050 h 286300"/>
                <a:gd name="connsiteX675" fmla="*/ 26403 w 139969"/>
                <a:gd name="connsiteY675" fmla="*/ 184505 h 286300"/>
                <a:gd name="connsiteX676" fmla="*/ 27358 w 139969"/>
                <a:gd name="connsiteY676" fmla="*/ 182596 h 286300"/>
                <a:gd name="connsiteX677" fmla="*/ 27358 w 139969"/>
                <a:gd name="connsiteY677" fmla="*/ 182278 h 286300"/>
                <a:gd name="connsiteX678" fmla="*/ 29267 w 139969"/>
                <a:gd name="connsiteY678" fmla="*/ 179733 h 286300"/>
                <a:gd name="connsiteX679" fmla="*/ 29903 w 139969"/>
                <a:gd name="connsiteY679" fmla="*/ 179097 h 286300"/>
                <a:gd name="connsiteX680" fmla="*/ 30221 w 139969"/>
                <a:gd name="connsiteY680" fmla="*/ 178143 h 286300"/>
                <a:gd name="connsiteX681" fmla="*/ 31811 w 139969"/>
                <a:gd name="connsiteY681" fmla="*/ 175598 h 286300"/>
                <a:gd name="connsiteX682" fmla="*/ 32130 w 139969"/>
                <a:gd name="connsiteY682" fmla="*/ 174643 h 286300"/>
                <a:gd name="connsiteX683" fmla="*/ 32130 w 139969"/>
                <a:gd name="connsiteY683" fmla="*/ 174325 h 286300"/>
                <a:gd name="connsiteX684" fmla="*/ 34674 w 139969"/>
                <a:gd name="connsiteY684" fmla="*/ 171462 h 286300"/>
                <a:gd name="connsiteX685" fmla="*/ 36583 w 139969"/>
                <a:gd name="connsiteY685" fmla="*/ 169872 h 286300"/>
                <a:gd name="connsiteX686" fmla="*/ 37219 w 139969"/>
                <a:gd name="connsiteY686" fmla="*/ 169872 h 286300"/>
                <a:gd name="connsiteX687" fmla="*/ 37219 w 139969"/>
                <a:gd name="connsiteY687" fmla="*/ 170190 h 286300"/>
                <a:gd name="connsiteX688" fmla="*/ 36583 w 139969"/>
                <a:gd name="connsiteY688" fmla="*/ 171462 h 286300"/>
                <a:gd name="connsiteX689" fmla="*/ 38810 w 139969"/>
                <a:gd name="connsiteY689" fmla="*/ 170826 h 286300"/>
                <a:gd name="connsiteX690" fmla="*/ 39128 w 139969"/>
                <a:gd name="connsiteY690" fmla="*/ 169872 h 286300"/>
                <a:gd name="connsiteX691" fmla="*/ 38492 w 139969"/>
                <a:gd name="connsiteY691" fmla="*/ 167645 h 286300"/>
                <a:gd name="connsiteX692" fmla="*/ 38492 w 139969"/>
                <a:gd name="connsiteY692" fmla="*/ 167009 h 286300"/>
                <a:gd name="connsiteX693" fmla="*/ 40082 w 139969"/>
                <a:gd name="connsiteY693" fmla="*/ 164782 h 286300"/>
                <a:gd name="connsiteX694" fmla="*/ 42627 w 139969"/>
                <a:gd name="connsiteY694" fmla="*/ 162555 h 286300"/>
                <a:gd name="connsiteX695" fmla="*/ 42945 w 139969"/>
                <a:gd name="connsiteY695" fmla="*/ 162237 h 286300"/>
                <a:gd name="connsiteX696" fmla="*/ 43264 w 139969"/>
                <a:gd name="connsiteY696" fmla="*/ 162555 h 286300"/>
                <a:gd name="connsiteX697" fmla="*/ 43582 w 139969"/>
                <a:gd name="connsiteY697" fmla="*/ 162873 h 286300"/>
                <a:gd name="connsiteX698" fmla="*/ 44218 w 139969"/>
                <a:gd name="connsiteY698" fmla="*/ 162873 h 286300"/>
                <a:gd name="connsiteX699" fmla="*/ 44854 w 139969"/>
                <a:gd name="connsiteY699" fmla="*/ 161919 h 286300"/>
                <a:gd name="connsiteX700" fmla="*/ 44854 w 139969"/>
                <a:gd name="connsiteY700" fmla="*/ 161283 h 286300"/>
                <a:gd name="connsiteX701" fmla="*/ 44536 w 139969"/>
                <a:gd name="connsiteY701" fmla="*/ 160965 h 286300"/>
                <a:gd name="connsiteX702" fmla="*/ 44854 w 139969"/>
                <a:gd name="connsiteY702" fmla="*/ 160328 h 286300"/>
                <a:gd name="connsiteX703" fmla="*/ 45490 w 139969"/>
                <a:gd name="connsiteY703" fmla="*/ 160328 h 286300"/>
                <a:gd name="connsiteX704" fmla="*/ 44854 w 139969"/>
                <a:gd name="connsiteY704" fmla="*/ 161283 h 286300"/>
                <a:gd name="connsiteX705" fmla="*/ 46445 w 139969"/>
                <a:gd name="connsiteY705" fmla="*/ 160965 h 286300"/>
                <a:gd name="connsiteX706" fmla="*/ 46445 w 139969"/>
                <a:gd name="connsiteY706" fmla="*/ 160328 h 286300"/>
                <a:gd name="connsiteX707" fmla="*/ 45808 w 139969"/>
                <a:gd name="connsiteY707" fmla="*/ 159056 h 286300"/>
                <a:gd name="connsiteX708" fmla="*/ 46126 w 139969"/>
                <a:gd name="connsiteY708" fmla="*/ 157783 h 286300"/>
                <a:gd name="connsiteX709" fmla="*/ 47717 w 139969"/>
                <a:gd name="connsiteY709" fmla="*/ 155239 h 286300"/>
                <a:gd name="connsiteX710" fmla="*/ 48671 w 139969"/>
                <a:gd name="connsiteY710" fmla="*/ 153648 h 286300"/>
                <a:gd name="connsiteX711" fmla="*/ 49944 w 139969"/>
                <a:gd name="connsiteY711" fmla="*/ 153330 h 286300"/>
                <a:gd name="connsiteX712" fmla="*/ 50262 w 139969"/>
                <a:gd name="connsiteY712" fmla="*/ 154284 h 286300"/>
                <a:gd name="connsiteX713" fmla="*/ 49944 w 139969"/>
                <a:gd name="connsiteY713" fmla="*/ 154602 h 286300"/>
                <a:gd name="connsiteX714" fmla="*/ 49944 w 139969"/>
                <a:gd name="connsiteY714" fmla="*/ 155239 h 286300"/>
                <a:gd name="connsiteX715" fmla="*/ 50262 w 139969"/>
                <a:gd name="connsiteY715" fmla="*/ 155239 h 286300"/>
                <a:gd name="connsiteX716" fmla="*/ 50898 w 139969"/>
                <a:gd name="connsiteY716" fmla="*/ 154920 h 286300"/>
                <a:gd name="connsiteX717" fmla="*/ 51852 w 139969"/>
                <a:gd name="connsiteY717" fmla="*/ 153648 h 286300"/>
                <a:gd name="connsiteX718" fmla="*/ 52488 w 139969"/>
                <a:gd name="connsiteY718" fmla="*/ 153330 h 286300"/>
                <a:gd name="connsiteX719" fmla="*/ 52170 w 139969"/>
                <a:gd name="connsiteY719" fmla="*/ 152376 h 286300"/>
                <a:gd name="connsiteX720" fmla="*/ 51852 w 139969"/>
                <a:gd name="connsiteY720" fmla="*/ 152057 h 286300"/>
                <a:gd name="connsiteX721" fmla="*/ 52170 w 139969"/>
                <a:gd name="connsiteY721" fmla="*/ 151421 h 286300"/>
                <a:gd name="connsiteX722" fmla="*/ 53761 w 139969"/>
                <a:gd name="connsiteY722" fmla="*/ 150467 h 286300"/>
                <a:gd name="connsiteX723" fmla="*/ 53761 w 139969"/>
                <a:gd name="connsiteY723" fmla="*/ 149194 h 286300"/>
                <a:gd name="connsiteX724" fmla="*/ 54079 w 139969"/>
                <a:gd name="connsiteY724" fmla="*/ 148558 h 286300"/>
                <a:gd name="connsiteX725" fmla="*/ 54715 w 139969"/>
                <a:gd name="connsiteY725" fmla="*/ 149194 h 286300"/>
                <a:gd name="connsiteX726" fmla="*/ 55352 w 139969"/>
                <a:gd name="connsiteY726" fmla="*/ 148876 h 286300"/>
                <a:gd name="connsiteX727" fmla="*/ 56624 w 139969"/>
                <a:gd name="connsiteY727" fmla="*/ 145695 h 286300"/>
                <a:gd name="connsiteX728" fmla="*/ 57260 w 139969"/>
                <a:gd name="connsiteY728" fmla="*/ 144423 h 286300"/>
                <a:gd name="connsiteX729" fmla="*/ 59169 w 139969"/>
                <a:gd name="connsiteY729" fmla="*/ 143468 h 286300"/>
                <a:gd name="connsiteX730" fmla="*/ 60441 w 139969"/>
                <a:gd name="connsiteY730" fmla="*/ 142514 h 286300"/>
                <a:gd name="connsiteX731" fmla="*/ 60760 w 139969"/>
                <a:gd name="connsiteY731" fmla="*/ 141560 h 286300"/>
                <a:gd name="connsiteX732" fmla="*/ 62350 w 139969"/>
                <a:gd name="connsiteY732" fmla="*/ 140287 h 286300"/>
                <a:gd name="connsiteX733" fmla="*/ 63941 w 139969"/>
                <a:gd name="connsiteY733" fmla="*/ 138697 h 286300"/>
                <a:gd name="connsiteX734" fmla="*/ 65213 w 139969"/>
                <a:gd name="connsiteY734" fmla="*/ 137424 h 286300"/>
                <a:gd name="connsiteX735" fmla="*/ 66803 w 139969"/>
                <a:gd name="connsiteY735" fmla="*/ 135834 h 286300"/>
                <a:gd name="connsiteX736" fmla="*/ 67758 w 139969"/>
                <a:gd name="connsiteY736" fmla="*/ 135198 h 286300"/>
                <a:gd name="connsiteX737" fmla="*/ 69667 w 139969"/>
                <a:gd name="connsiteY737" fmla="*/ 134879 h 286300"/>
                <a:gd name="connsiteX738" fmla="*/ 70621 w 139969"/>
                <a:gd name="connsiteY738" fmla="*/ 132335 h 286300"/>
                <a:gd name="connsiteX739" fmla="*/ 72212 w 139969"/>
                <a:gd name="connsiteY739" fmla="*/ 131062 h 286300"/>
                <a:gd name="connsiteX740" fmla="*/ 73802 w 139969"/>
                <a:gd name="connsiteY740" fmla="*/ 130744 h 286300"/>
                <a:gd name="connsiteX741" fmla="*/ 74756 w 139969"/>
                <a:gd name="connsiteY741" fmla="*/ 130108 h 286300"/>
                <a:gd name="connsiteX742" fmla="*/ 75711 w 139969"/>
                <a:gd name="connsiteY742" fmla="*/ 129471 h 286300"/>
                <a:gd name="connsiteX743" fmla="*/ 75393 w 139969"/>
                <a:gd name="connsiteY743" fmla="*/ 128517 h 286300"/>
                <a:gd name="connsiteX744" fmla="*/ 76347 w 139969"/>
                <a:gd name="connsiteY744" fmla="*/ 126927 h 286300"/>
                <a:gd name="connsiteX745" fmla="*/ 79210 w 139969"/>
                <a:gd name="connsiteY745" fmla="*/ 125336 h 286300"/>
                <a:gd name="connsiteX746" fmla="*/ 81755 w 139969"/>
                <a:gd name="connsiteY746" fmla="*/ 123746 h 286300"/>
                <a:gd name="connsiteX747" fmla="*/ 83346 w 139969"/>
                <a:gd name="connsiteY747" fmla="*/ 122473 h 286300"/>
                <a:gd name="connsiteX748" fmla="*/ 83664 w 139969"/>
                <a:gd name="connsiteY748" fmla="*/ 121837 h 286300"/>
                <a:gd name="connsiteX749" fmla="*/ 84618 w 139969"/>
                <a:gd name="connsiteY749" fmla="*/ 120564 h 286300"/>
                <a:gd name="connsiteX750" fmla="*/ 85572 w 139969"/>
                <a:gd name="connsiteY750" fmla="*/ 120564 h 286300"/>
                <a:gd name="connsiteX751" fmla="*/ 86527 w 139969"/>
                <a:gd name="connsiteY751" fmla="*/ 119928 h 286300"/>
                <a:gd name="connsiteX752" fmla="*/ 87481 w 139969"/>
                <a:gd name="connsiteY752" fmla="*/ 120246 h 286300"/>
                <a:gd name="connsiteX753" fmla="*/ 88435 w 139969"/>
                <a:gd name="connsiteY753" fmla="*/ 119292 h 286300"/>
                <a:gd name="connsiteX754" fmla="*/ 90026 w 139969"/>
                <a:gd name="connsiteY754" fmla="*/ 117383 h 286300"/>
                <a:gd name="connsiteX755" fmla="*/ 90980 w 139969"/>
                <a:gd name="connsiteY755" fmla="*/ 115156 h 286300"/>
                <a:gd name="connsiteX756" fmla="*/ 94161 w 139969"/>
                <a:gd name="connsiteY756" fmla="*/ 113884 h 286300"/>
                <a:gd name="connsiteX757" fmla="*/ 96070 w 139969"/>
                <a:gd name="connsiteY757" fmla="*/ 113248 h 286300"/>
                <a:gd name="connsiteX758" fmla="*/ 95752 w 139969"/>
                <a:gd name="connsiteY758" fmla="*/ 114520 h 286300"/>
                <a:gd name="connsiteX759" fmla="*/ 96070 w 139969"/>
                <a:gd name="connsiteY759" fmla="*/ 114520 h 286300"/>
                <a:gd name="connsiteX760" fmla="*/ 97661 w 139969"/>
                <a:gd name="connsiteY760" fmla="*/ 112293 h 286300"/>
                <a:gd name="connsiteX761" fmla="*/ 97661 w 139969"/>
                <a:gd name="connsiteY761" fmla="*/ 111975 h 286300"/>
                <a:gd name="connsiteX762" fmla="*/ 98615 w 139969"/>
                <a:gd name="connsiteY762" fmla="*/ 110067 h 286300"/>
                <a:gd name="connsiteX763" fmla="*/ 100524 w 139969"/>
                <a:gd name="connsiteY763" fmla="*/ 109430 h 286300"/>
                <a:gd name="connsiteX764" fmla="*/ 101796 w 139969"/>
                <a:gd name="connsiteY764" fmla="*/ 108158 h 286300"/>
                <a:gd name="connsiteX765" fmla="*/ 103386 w 139969"/>
                <a:gd name="connsiteY765" fmla="*/ 106567 h 286300"/>
                <a:gd name="connsiteX766" fmla="*/ 104023 w 139969"/>
                <a:gd name="connsiteY766" fmla="*/ 106567 h 286300"/>
                <a:gd name="connsiteX767" fmla="*/ 104659 w 139969"/>
                <a:gd name="connsiteY767" fmla="*/ 106886 h 286300"/>
                <a:gd name="connsiteX768" fmla="*/ 105295 w 139969"/>
                <a:gd name="connsiteY768" fmla="*/ 105931 h 286300"/>
                <a:gd name="connsiteX769" fmla="*/ 105931 w 139969"/>
                <a:gd name="connsiteY769" fmla="*/ 104659 h 286300"/>
                <a:gd name="connsiteX770" fmla="*/ 107840 w 139969"/>
                <a:gd name="connsiteY770" fmla="*/ 104023 h 286300"/>
                <a:gd name="connsiteX771" fmla="*/ 108476 w 139969"/>
                <a:gd name="connsiteY771" fmla="*/ 104023 h 286300"/>
                <a:gd name="connsiteX772" fmla="*/ 109112 w 139969"/>
                <a:gd name="connsiteY772" fmla="*/ 103704 h 286300"/>
                <a:gd name="connsiteX773" fmla="*/ 109112 w 139969"/>
                <a:gd name="connsiteY773" fmla="*/ 102750 h 286300"/>
                <a:gd name="connsiteX774" fmla="*/ 113884 w 139969"/>
                <a:gd name="connsiteY774" fmla="*/ 100523 h 286300"/>
                <a:gd name="connsiteX775" fmla="*/ 116111 w 139969"/>
                <a:gd name="connsiteY775" fmla="*/ 99569 h 286300"/>
                <a:gd name="connsiteX776" fmla="*/ 117065 w 139969"/>
                <a:gd name="connsiteY776" fmla="*/ 97024 h 286300"/>
                <a:gd name="connsiteX777" fmla="*/ 117065 w 139969"/>
                <a:gd name="connsiteY777" fmla="*/ 94479 h 286300"/>
                <a:gd name="connsiteX778" fmla="*/ 117383 w 139969"/>
                <a:gd name="connsiteY778" fmla="*/ 91934 h 286300"/>
                <a:gd name="connsiteX779" fmla="*/ 116747 w 139969"/>
                <a:gd name="connsiteY779" fmla="*/ 84618 h 286300"/>
                <a:gd name="connsiteX780" fmla="*/ 116747 w 139969"/>
                <a:gd name="connsiteY780" fmla="*/ 81755 h 286300"/>
                <a:gd name="connsiteX781" fmla="*/ 117065 w 139969"/>
                <a:gd name="connsiteY781" fmla="*/ 80482 h 286300"/>
                <a:gd name="connsiteX782" fmla="*/ 117065 w 139969"/>
                <a:gd name="connsiteY782" fmla="*/ 75392 h 286300"/>
                <a:gd name="connsiteX783" fmla="*/ 116747 w 139969"/>
                <a:gd name="connsiteY783" fmla="*/ 69348 h 286300"/>
                <a:gd name="connsiteX784" fmla="*/ 116747 w 139969"/>
                <a:gd name="connsiteY784" fmla="*/ 67122 h 286300"/>
                <a:gd name="connsiteX785" fmla="*/ 116429 w 139969"/>
                <a:gd name="connsiteY785" fmla="*/ 64895 h 286300"/>
                <a:gd name="connsiteX786" fmla="*/ 116429 w 139969"/>
                <a:gd name="connsiteY786" fmla="*/ 63304 h 286300"/>
                <a:gd name="connsiteX787" fmla="*/ 117065 w 139969"/>
                <a:gd name="connsiteY787" fmla="*/ 60441 h 286300"/>
                <a:gd name="connsiteX788" fmla="*/ 116429 w 139969"/>
                <a:gd name="connsiteY788" fmla="*/ 53443 h 286300"/>
                <a:gd name="connsiteX789" fmla="*/ 116429 w 139969"/>
                <a:gd name="connsiteY789" fmla="*/ 46762 h 286300"/>
                <a:gd name="connsiteX790" fmla="*/ 116111 w 139969"/>
                <a:gd name="connsiteY790" fmla="*/ 45490 h 286300"/>
                <a:gd name="connsiteX791" fmla="*/ 115157 w 139969"/>
                <a:gd name="connsiteY791" fmla="*/ 44854 h 286300"/>
                <a:gd name="connsiteX792" fmla="*/ 111658 w 139969"/>
                <a:gd name="connsiteY792" fmla="*/ 44854 h 286300"/>
                <a:gd name="connsiteX793" fmla="*/ 110703 w 139969"/>
                <a:gd name="connsiteY793" fmla="*/ 46444 h 286300"/>
                <a:gd name="connsiteX794" fmla="*/ 109112 w 139969"/>
                <a:gd name="connsiteY794" fmla="*/ 48353 h 286300"/>
                <a:gd name="connsiteX795" fmla="*/ 109112 w 139969"/>
                <a:gd name="connsiteY795" fmla="*/ 49307 h 286300"/>
                <a:gd name="connsiteX796" fmla="*/ 107522 w 139969"/>
                <a:gd name="connsiteY796" fmla="*/ 52807 h 286300"/>
                <a:gd name="connsiteX797" fmla="*/ 106567 w 139969"/>
                <a:gd name="connsiteY797" fmla="*/ 53761 h 286300"/>
                <a:gd name="connsiteX798" fmla="*/ 106567 w 139969"/>
                <a:gd name="connsiteY798" fmla="*/ 54397 h 286300"/>
                <a:gd name="connsiteX799" fmla="*/ 104659 w 139969"/>
                <a:gd name="connsiteY799" fmla="*/ 56306 h 286300"/>
                <a:gd name="connsiteX800" fmla="*/ 104023 w 139969"/>
                <a:gd name="connsiteY800" fmla="*/ 56306 h 286300"/>
                <a:gd name="connsiteX801" fmla="*/ 103705 w 139969"/>
                <a:gd name="connsiteY801" fmla="*/ 56624 h 286300"/>
                <a:gd name="connsiteX802" fmla="*/ 101796 w 139969"/>
                <a:gd name="connsiteY802" fmla="*/ 60123 h 286300"/>
                <a:gd name="connsiteX803" fmla="*/ 100205 w 139969"/>
                <a:gd name="connsiteY803" fmla="*/ 62350 h 286300"/>
                <a:gd name="connsiteX804" fmla="*/ 98615 w 139969"/>
                <a:gd name="connsiteY804" fmla="*/ 63940 h 286300"/>
                <a:gd name="connsiteX805" fmla="*/ 97661 w 139969"/>
                <a:gd name="connsiteY805" fmla="*/ 67440 h 286300"/>
                <a:gd name="connsiteX806" fmla="*/ 96070 w 139969"/>
                <a:gd name="connsiteY806" fmla="*/ 69030 h 286300"/>
                <a:gd name="connsiteX807" fmla="*/ 95115 w 139969"/>
                <a:gd name="connsiteY807" fmla="*/ 69666 h 286300"/>
                <a:gd name="connsiteX808" fmla="*/ 93843 w 139969"/>
                <a:gd name="connsiteY808" fmla="*/ 71257 h 286300"/>
                <a:gd name="connsiteX809" fmla="*/ 93207 w 139969"/>
                <a:gd name="connsiteY809" fmla="*/ 72848 h 286300"/>
                <a:gd name="connsiteX810" fmla="*/ 92571 w 139969"/>
                <a:gd name="connsiteY810" fmla="*/ 75074 h 286300"/>
                <a:gd name="connsiteX811" fmla="*/ 91934 w 139969"/>
                <a:gd name="connsiteY811" fmla="*/ 75074 h 286300"/>
                <a:gd name="connsiteX812" fmla="*/ 89390 w 139969"/>
                <a:gd name="connsiteY812" fmla="*/ 78256 h 286300"/>
                <a:gd name="connsiteX813" fmla="*/ 88117 w 139969"/>
                <a:gd name="connsiteY813" fmla="*/ 79528 h 286300"/>
                <a:gd name="connsiteX814" fmla="*/ 86209 w 139969"/>
                <a:gd name="connsiteY814" fmla="*/ 81437 h 286300"/>
                <a:gd name="connsiteX815" fmla="*/ 85572 w 139969"/>
                <a:gd name="connsiteY815" fmla="*/ 82073 h 286300"/>
                <a:gd name="connsiteX816" fmla="*/ 84936 w 139969"/>
                <a:gd name="connsiteY816" fmla="*/ 82709 h 286300"/>
                <a:gd name="connsiteX817" fmla="*/ 83346 w 139969"/>
                <a:gd name="connsiteY817" fmla="*/ 86845 h 286300"/>
                <a:gd name="connsiteX818" fmla="*/ 82073 w 139969"/>
                <a:gd name="connsiteY818" fmla="*/ 89708 h 286300"/>
                <a:gd name="connsiteX819" fmla="*/ 80164 w 139969"/>
                <a:gd name="connsiteY819" fmla="*/ 90980 h 286300"/>
                <a:gd name="connsiteX820" fmla="*/ 78256 w 139969"/>
                <a:gd name="connsiteY820" fmla="*/ 93525 h 286300"/>
                <a:gd name="connsiteX821" fmla="*/ 76029 w 139969"/>
                <a:gd name="connsiteY821" fmla="*/ 95752 h 286300"/>
                <a:gd name="connsiteX822" fmla="*/ 75393 w 139969"/>
                <a:gd name="connsiteY822" fmla="*/ 96706 h 286300"/>
                <a:gd name="connsiteX823" fmla="*/ 74438 w 139969"/>
                <a:gd name="connsiteY823" fmla="*/ 98615 h 286300"/>
                <a:gd name="connsiteX824" fmla="*/ 73802 w 139969"/>
                <a:gd name="connsiteY824" fmla="*/ 98933 h 286300"/>
                <a:gd name="connsiteX825" fmla="*/ 69667 w 139969"/>
                <a:gd name="connsiteY825" fmla="*/ 103386 h 286300"/>
                <a:gd name="connsiteX826" fmla="*/ 69349 w 139969"/>
                <a:gd name="connsiteY826" fmla="*/ 104341 h 286300"/>
                <a:gd name="connsiteX827" fmla="*/ 69030 w 139969"/>
                <a:gd name="connsiteY827" fmla="*/ 104977 h 286300"/>
                <a:gd name="connsiteX828" fmla="*/ 67122 w 139969"/>
                <a:gd name="connsiteY828" fmla="*/ 105931 h 286300"/>
                <a:gd name="connsiteX829" fmla="*/ 64259 w 139969"/>
                <a:gd name="connsiteY829" fmla="*/ 109430 h 286300"/>
                <a:gd name="connsiteX830" fmla="*/ 62032 w 139969"/>
                <a:gd name="connsiteY830" fmla="*/ 111339 h 286300"/>
                <a:gd name="connsiteX831" fmla="*/ 61396 w 139969"/>
                <a:gd name="connsiteY831" fmla="*/ 111975 h 286300"/>
                <a:gd name="connsiteX832" fmla="*/ 60123 w 139969"/>
                <a:gd name="connsiteY832" fmla="*/ 112612 h 286300"/>
                <a:gd name="connsiteX833" fmla="*/ 59805 w 139969"/>
                <a:gd name="connsiteY833" fmla="*/ 113248 h 286300"/>
                <a:gd name="connsiteX834" fmla="*/ 58851 w 139969"/>
                <a:gd name="connsiteY834" fmla="*/ 114202 h 286300"/>
                <a:gd name="connsiteX835" fmla="*/ 56624 w 139969"/>
                <a:gd name="connsiteY835" fmla="*/ 116111 h 286300"/>
                <a:gd name="connsiteX836" fmla="*/ 55033 w 139969"/>
                <a:gd name="connsiteY836" fmla="*/ 117065 h 286300"/>
                <a:gd name="connsiteX837" fmla="*/ 54079 w 139969"/>
                <a:gd name="connsiteY837" fmla="*/ 118656 h 286300"/>
                <a:gd name="connsiteX838" fmla="*/ 52488 w 139969"/>
                <a:gd name="connsiteY838" fmla="*/ 119610 h 286300"/>
                <a:gd name="connsiteX839" fmla="*/ 50580 w 139969"/>
                <a:gd name="connsiteY839" fmla="*/ 120246 h 286300"/>
                <a:gd name="connsiteX840" fmla="*/ 47717 w 139969"/>
                <a:gd name="connsiteY840" fmla="*/ 121519 h 286300"/>
                <a:gd name="connsiteX841" fmla="*/ 45490 w 139969"/>
                <a:gd name="connsiteY841" fmla="*/ 122473 h 286300"/>
                <a:gd name="connsiteX842" fmla="*/ 42945 w 139969"/>
                <a:gd name="connsiteY842" fmla="*/ 123109 h 286300"/>
                <a:gd name="connsiteX843" fmla="*/ 42627 w 139969"/>
                <a:gd name="connsiteY843" fmla="*/ 123109 h 286300"/>
                <a:gd name="connsiteX844" fmla="*/ 41036 w 139969"/>
                <a:gd name="connsiteY844" fmla="*/ 123746 h 286300"/>
                <a:gd name="connsiteX845" fmla="*/ 38810 w 139969"/>
                <a:gd name="connsiteY845" fmla="*/ 123109 h 286300"/>
                <a:gd name="connsiteX846" fmla="*/ 38173 w 139969"/>
                <a:gd name="connsiteY846" fmla="*/ 123109 h 286300"/>
                <a:gd name="connsiteX847" fmla="*/ 34992 w 139969"/>
                <a:gd name="connsiteY847" fmla="*/ 121519 h 286300"/>
                <a:gd name="connsiteX848" fmla="*/ 33720 w 139969"/>
                <a:gd name="connsiteY848" fmla="*/ 121201 h 286300"/>
                <a:gd name="connsiteX849" fmla="*/ 31175 w 139969"/>
                <a:gd name="connsiteY849" fmla="*/ 119292 h 286300"/>
                <a:gd name="connsiteX850" fmla="*/ 26721 w 139969"/>
                <a:gd name="connsiteY850" fmla="*/ 115156 h 286300"/>
                <a:gd name="connsiteX851" fmla="*/ 24813 w 139969"/>
                <a:gd name="connsiteY851" fmla="*/ 112612 h 286300"/>
                <a:gd name="connsiteX852" fmla="*/ 23858 w 139969"/>
                <a:gd name="connsiteY852" fmla="*/ 109749 h 286300"/>
                <a:gd name="connsiteX853" fmla="*/ 23858 w 139969"/>
                <a:gd name="connsiteY853" fmla="*/ 108794 h 286300"/>
                <a:gd name="connsiteX854" fmla="*/ 23540 w 139969"/>
                <a:gd name="connsiteY854" fmla="*/ 104977 h 286300"/>
                <a:gd name="connsiteX855" fmla="*/ 23222 w 139969"/>
                <a:gd name="connsiteY855" fmla="*/ 102114 h 286300"/>
                <a:gd name="connsiteX856" fmla="*/ 23540 w 139969"/>
                <a:gd name="connsiteY856" fmla="*/ 100523 h 286300"/>
                <a:gd name="connsiteX857" fmla="*/ 23540 w 139969"/>
                <a:gd name="connsiteY857" fmla="*/ 97342 h 286300"/>
                <a:gd name="connsiteX858" fmla="*/ 23858 w 139969"/>
                <a:gd name="connsiteY858" fmla="*/ 93525 h 286300"/>
                <a:gd name="connsiteX859" fmla="*/ 24495 w 139969"/>
                <a:gd name="connsiteY859" fmla="*/ 89708 h 286300"/>
                <a:gd name="connsiteX860" fmla="*/ 25767 w 139969"/>
                <a:gd name="connsiteY860" fmla="*/ 85254 h 286300"/>
                <a:gd name="connsiteX861" fmla="*/ 28948 w 139969"/>
                <a:gd name="connsiteY861" fmla="*/ 75711 h 286300"/>
                <a:gd name="connsiteX862" fmla="*/ 29903 w 139969"/>
                <a:gd name="connsiteY862" fmla="*/ 71257 h 286300"/>
                <a:gd name="connsiteX863" fmla="*/ 32130 w 139969"/>
                <a:gd name="connsiteY863" fmla="*/ 63304 h 286300"/>
                <a:gd name="connsiteX864" fmla="*/ 32448 w 139969"/>
                <a:gd name="connsiteY864" fmla="*/ 62032 h 286300"/>
                <a:gd name="connsiteX865" fmla="*/ 33402 w 139969"/>
                <a:gd name="connsiteY865" fmla="*/ 59169 h 286300"/>
                <a:gd name="connsiteX866" fmla="*/ 34992 w 139969"/>
                <a:gd name="connsiteY866" fmla="*/ 55351 h 286300"/>
                <a:gd name="connsiteX867" fmla="*/ 34992 w 139969"/>
                <a:gd name="connsiteY867" fmla="*/ 54397 h 286300"/>
                <a:gd name="connsiteX868" fmla="*/ 35311 w 139969"/>
                <a:gd name="connsiteY868" fmla="*/ 53125 h 286300"/>
                <a:gd name="connsiteX869" fmla="*/ 39446 w 139969"/>
                <a:gd name="connsiteY869" fmla="*/ 43581 h 286300"/>
                <a:gd name="connsiteX870" fmla="*/ 40718 w 139969"/>
                <a:gd name="connsiteY870" fmla="*/ 40400 h 286300"/>
                <a:gd name="connsiteX871" fmla="*/ 43264 w 139969"/>
                <a:gd name="connsiteY871" fmla="*/ 34356 h 286300"/>
                <a:gd name="connsiteX872" fmla="*/ 44854 w 139969"/>
                <a:gd name="connsiteY872" fmla="*/ 31175 h 286300"/>
                <a:gd name="connsiteX873" fmla="*/ 45490 w 139969"/>
                <a:gd name="connsiteY873" fmla="*/ 28948 h 286300"/>
                <a:gd name="connsiteX874" fmla="*/ 46763 w 139969"/>
                <a:gd name="connsiteY874" fmla="*/ 25767 h 286300"/>
                <a:gd name="connsiteX875" fmla="*/ 48353 w 139969"/>
                <a:gd name="connsiteY875" fmla="*/ 22904 h 286300"/>
                <a:gd name="connsiteX876" fmla="*/ 50262 w 139969"/>
                <a:gd name="connsiteY876" fmla="*/ 16860 h 286300"/>
                <a:gd name="connsiteX877" fmla="*/ 52488 w 139969"/>
                <a:gd name="connsiteY877" fmla="*/ 13361 h 286300"/>
                <a:gd name="connsiteX878" fmla="*/ 52807 w 139969"/>
                <a:gd name="connsiteY878" fmla="*/ 12406 h 286300"/>
                <a:gd name="connsiteX879" fmla="*/ 52807 w 139969"/>
                <a:gd name="connsiteY879" fmla="*/ 12088 h 286300"/>
                <a:gd name="connsiteX880" fmla="*/ 56942 w 139969"/>
                <a:gd name="connsiteY880" fmla="*/ 6044 h 286300"/>
                <a:gd name="connsiteX881" fmla="*/ 58851 w 139969"/>
                <a:gd name="connsiteY881" fmla="*/ 2863 h 286300"/>
                <a:gd name="connsiteX882" fmla="*/ 59487 w 139969"/>
                <a:gd name="connsiteY882" fmla="*/ 954 h 286300"/>
                <a:gd name="connsiteX883" fmla="*/ 60441 w 139969"/>
                <a:gd name="connsiteY883" fmla="*/ 636 h 286300"/>
                <a:gd name="connsiteX884" fmla="*/ 61078 w 139969"/>
                <a:gd name="connsiteY884" fmla="*/ 636 h 286300"/>
                <a:gd name="connsiteX885" fmla="*/ 61714 w 139969"/>
                <a:gd name="connsiteY885" fmla="*/ 0 h 286300"/>
                <a:gd name="connsiteX886" fmla="*/ 62350 w 139969"/>
                <a:gd name="connsiteY886" fmla="*/ 318 h 286300"/>
                <a:gd name="connsiteX887" fmla="*/ 62350 w 139969"/>
                <a:gd name="connsiteY887" fmla="*/ 636 h 286300"/>
                <a:gd name="connsiteX888" fmla="*/ 62032 w 139969"/>
                <a:gd name="connsiteY888" fmla="*/ 954 h 286300"/>
                <a:gd name="connsiteX889" fmla="*/ 62668 w 139969"/>
                <a:gd name="connsiteY889" fmla="*/ 1909 h 286300"/>
                <a:gd name="connsiteX890" fmla="*/ 62986 w 139969"/>
                <a:gd name="connsiteY890" fmla="*/ 2545 h 286300"/>
                <a:gd name="connsiteX891" fmla="*/ 64259 w 139969"/>
                <a:gd name="connsiteY891" fmla="*/ 3499 h 286300"/>
                <a:gd name="connsiteX892" fmla="*/ 65213 w 139969"/>
                <a:gd name="connsiteY892" fmla="*/ 3181 h 286300"/>
                <a:gd name="connsiteX893" fmla="*/ 66485 w 139969"/>
                <a:gd name="connsiteY893" fmla="*/ 3817 h 286300"/>
                <a:gd name="connsiteX894" fmla="*/ 67122 w 139969"/>
                <a:gd name="connsiteY894" fmla="*/ 3817 h 286300"/>
                <a:gd name="connsiteX895" fmla="*/ 68076 w 139969"/>
                <a:gd name="connsiteY895" fmla="*/ 3499 h 286300"/>
                <a:gd name="connsiteX896" fmla="*/ 70939 w 139969"/>
                <a:gd name="connsiteY896" fmla="*/ 4772 h 286300"/>
                <a:gd name="connsiteX897" fmla="*/ 71894 w 139969"/>
                <a:gd name="connsiteY897" fmla="*/ 4772 h 286300"/>
                <a:gd name="connsiteX898" fmla="*/ 72530 w 139969"/>
                <a:gd name="connsiteY898" fmla="*/ 3817 h 286300"/>
                <a:gd name="connsiteX899" fmla="*/ 74120 w 139969"/>
                <a:gd name="connsiteY899" fmla="*/ 5090 h 286300"/>
                <a:gd name="connsiteX900" fmla="*/ 74438 w 139969"/>
                <a:gd name="connsiteY900" fmla="*/ 5408 h 286300"/>
                <a:gd name="connsiteX901" fmla="*/ 75075 w 139969"/>
                <a:gd name="connsiteY901" fmla="*/ 5726 h 286300"/>
                <a:gd name="connsiteX902" fmla="*/ 76665 w 139969"/>
                <a:gd name="connsiteY902" fmla="*/ 4454 h 286300"/>
                <a:gd name="connsiteX903" fmla="*/ 76665 w 139969"/>
                <a:gd name="connsiteY903" fmla="*/ 4135 h 286300"/>
                <a:gd name="connsiteX904" fmla="*/ 76983 w 139969"/>
                <a:gd name="connsiteY904" fmla="*/ 4772 h 286300"/>
                <a:gd name="connsiteX905" fmla="*/ 75711 w 139969"/>
                <a:gd name="connsiteY905" fmla="*/ 7953 h 286300"/>
                <a:gd name="connsiteX906" fmla="*/ 72848 w 139969"/>
                <a:gd name="connsiteY906" fmla="*/ 13361 h 286300"/>
                <a:gd name="connsiteX907" fmla="*/ 71575 w 139969"/>
                <a:gd name="connsiteY907" fmla="*/ 16224 h 286300"/>
                <a:gd name="connsiteX908" fmla="*/ 69349 w 139969"/>
                <a:gd name="connsiteY908" fmla="*/ 20677 h 286300"/>
                <a:gd name="connsiteX909" fmla="*/ 69349 w 139969"/>
                <a:gd name="connsiteY909" fmla="*/ 20995 h 286300"/>
                <a:gd name="connsiteX910" fmla="*/ 68712 w 139969"/>
                <a:gd name="connsiteY910" fmla="*/ 22586 h 286300"/>
                <a:gd name="connsiteX911" fmla="*/ 67440 w 139969"/>
                <a:gd name="connsiteY911" fmla="*/ 24813 h 286300"/>
                <a:gd name="connsiteX912" fmla="*/ 67758 w 139969"/>
                <a:gd name="connsiteY912" fmla="*/ 25449 h 286300"/>
                <a:gd name="connsiteX913" fmla="*/ 66803 w 139969"/>
                <a:gd name="connsiteY913" fmla="*/ 26721 h 286300"/>
                <a:gd name="connsiteX914" fmla="*/ 66485 w 139969"/>
                <a:gd name="connsiteY914" fmla="*/ 27676 h 286300"/>
                <a:gd name="connsiteX915" fmla="*/ 66167 w 139969"/>
                <a:gd name="connsiteY915" fmla="*/ 29584 h 286300"/>
                <a:gd name="connsiteX916" fmla="*/ 65531 w 139969"/>
                <a:gd name="connsiteY916" fmla="*/ 30539 h 286300"/>
                <a:gd name="connsiteX917" fmla="*/ 63941 w 139969"/>
                <a:gd name="connsiteY917" fmla="*/ 34674 h 286300"/>
                <a:gd name="connsiteX918" fmla="*/ 63304 w 139969"/>
                <a:gd name="connsiteY918" fmla="*/ 36583 h 286300"/>
                <a:gd name="connsiteX919" fmla="*/ 60441 w 139969"/>
                <a:gd name="connsiteY919" fmla="*/ 43263 h 286300"/>
                <a:gd name="connsiteX920" fmla="*/ 59805 w 139969"/>
                <a:gd name="connsiteY920" fmla="*/ 45172 h 286300"/>
                <a:gd name="connsiteX921" fmla="*/ 58851 w 139969"/>
                <a:gd name="connsiteY921" fmla="*/ 47081 h 286300"/>
                <a:gd name="connsiteX922" fmla="*/ 58215 w 139969"/>
                <a:gd name="connsiteY922" fmla="*/ 48035 h 286300"/>
                <a:gd name="connsiteX923" fmla="*/ 57579 w 139969"/>
                <a:gd name="connsiteY923" fmla="*/ 49944 h 286300"/>
                <a:gd name="connsiteX924" fmla="*/ 57579 w 139969"/>
                <a:gd name="connsiteY924" fmla="*/ 51534 h 286300"/>
                <a:gd name="connsiteX925" fmla="*/ 56306 w 139969"/>
                <a:gd name="connsiteY925" fmla="*/ 54079 h 286300"/>
                <a:gd name="connsiteX926" fmla="*/ 55670 w 139969"/>
                <a:gd name="connsiteY926" fmla="*/ 54397 h 286300"/>
                <a:gd name="connsiteX927" fmla="*/ 55033 w 139969"/>
                <a:gd name="connsiteY927" fmla="*/ 54397 h 286300"/>
                <a:gd name="connsiteX928" fmla="*/ 55352 w 139969"/>
                <a:gd name="connsiteY928" fmla="*/ 55033 h 286300"/>
                <a:gd name="connsiteX929" fmla="*/ 55670 w 139969"/>
                <a:gd name="connsiteY929" fmla="*/ 56624 h 286300"/>
                <a:gd name="connsiteX930" fmla="*/ 55352 w 139969"/>
                <a:gd name="connsiteY930" fmla="*/ 57260 h 286300"/>
                <a:gd name="connsiteX931" fmla="*/ 55352 w 139969"/>
                <a:gd name="connsiteY931" fmla="*/ 58533 h 286300"/>
                <a:gd name="connsiteX932" fmla="*/ 54715 w 139969"/>
                <a:gd name="connsiteY932" fmla="*/ 59487 h 286300"/>
                <a:gd name="connsiteX933" fmla="*/ 52488 w 139969"/>
                <a:gd name="connsiteY933" fmla="*/ 62032 h 286300"/>
                <a:gd name="connsiteX934" fmla="*/ 52170 w 139969"/>
                <a:gd name="connsiteY934" fmla="*/ 62350 h 286300"/>
                <a:gd name="connsiteX935" fmla="*/ 52488 w 139969"/>
                <a:gd name="connsiteY935" fmla="*/ 62986 h 286300"/>
                <a:gd name="connsiteX936" fmla="*/ 52807 w 139969"/>
                <a:gd name="connsiteY936" fmla="*/ 63940 h 286300"/>
                <a:gd name="connsiteX937" fmla="*/ 52488 w 139969"/>
                <a:gd name="connsiteY937" fmla="*/ 64259 h 286300"/>
                <a:gd name="connsiteX938" fmla="*/ 50262 w 139969"/>
                <a:gd name="connsiteY938" fmla="*/ 70939 h 286300"/>
                <a:gd name="connsiteX939" fmla="*/ 48035 w 139969"/>
                <a:gd name="connsiteY939" fmla="*/ 79210 h 286300"/>
                <a:gd name="connsiteX940" fmla="*/ 46763 w 139969"/>
                <a:gd name="connsiteY940" fmla="*/ 83345 h 286300"/>
                <a:gd name="connsiteX941" fmla="*/ 46763 w 139969"/>
                <a:gd name="connsiteY941" fmla="*/ 84936 h 286300"/>
                <a:gd name="connsiteX942" fmla="*/ 46445 w 139969"/>
                <a:gd name="connsiteY942" fmla="*/ 86208 h 286300"/>
                <a:gd name="connsiteX943" fmla="*/ 46126 w 139969"/>
                <a:gd name="connsiteY943" fmla="*/ 89071 h 286300"/>
                <a:gd name="connsiteX944" fmla="*/ 45808 w 139969"/>
                <a:gd name="connsiteY944" fmla="*/ 92889 h 286300"/>
                <a:gd name="connsiteX945" fmla="*/ 45172 w 139969"/>
                <a:gd name="connsiteY945" fmla="*/ 94479 h 286300"/>
                <a:gd name="connsiteX946" fmla="*/ 45172 w 139969"/>
                <a:gd name="connsiteY946" fmla="*/ 98297 h 286300"/>
                <a:gd name="connsiteX947" fmla="*/ 45808 w 139969"/>
                <a:gd name="connsiteY947" fmla="*/ 100205 h 286300"/>
                <a:gd name="connsiteX948" fmla="*/ 46445 w 139969"/>
                <a:gd name="connsiteY948" fmla="*/ 101478 h 286300"/>
                <a:gd name="connsiteX949" fmla="*/ 47399 w 139969"/>
                <a:gd name="connsiteY949" fmla="*/ 101478 h 286300"/>
                <a:gd name="connsiteX950" fmla="*/ 48989 w 139969"/>
                <a:gd name="connsiteY950" fmla="*/ 99251 h 286300"/>
                <a:gd name="connsiteX951" fmla="*/ 54397 w 139969"/>
                <a:gd name="connsiteY951" fmla="*/ 94797 h 286300"/>
                <a:gd name="connsiteX952" fmla="*/ 54715 w 139969"/>
                <a:gd name="connsiteY952" fmla="*/ 94797 h 286300"/>
                <a:gd name="connsiteX953" fmla="*/ 57260 w 139969"/>
                <a:gd name="connsiteY953" fmla="*/ 91616 h 286300"/>
                <a:gd name="connsiteX954" fmla="*/ 57897 w 139969"/>
                <a:gd name="connsiteY954" fmla="*/ 90344 h 286300"/>
                <a:gd name="connsiteX955" fmla="*/ 59805 w 139969"/>
                <a:gd name="connsiteY955" fmla="*/ 88435 h 286300"/>
                <a:gd name="connsiteX956" fmla="*/ 60441 w 139969"/>
                <a:gd name="connsiteY956" fmla="*/ 87799 h 286300"/>
                <a:gd name="connsiteX957" fmla="*/ 63941 w 139969"/>
                <a:gd name="connsiteY957" fmla="*/ 82709 h 286300"/>
                <a:gd name="connsiteX958" fmla="*/ 66167 w 139969"/>
                <a:gd name="connsiteY958" fmla="*/ 79846 h 286300"/>
                <a:gd name="connsiteX959" fmla="*/ 67440 w 139969"/>
                <a:gd name="connsiteY959" fmla="*/ 79210 h 286300"/>
                <a:gd name="connsiteX960" fmla="*/ 68076 w 139969"/>
                <a:gd name="connsiteY960" fmla="*/ 78256 h 286300"/>
                <a:gd name="connsiteX961" fmla="*/ 68394 w 139969"/>
                <a:gd name="connsiteY961" fmla="*/ 78256 h 286300"/>
                <a:gd name="connsiteX962" fmla="*/ 69667 w 139969"/>
                <a:gd name="connsiteY962" fmla="*/ 76665 h 286300"/>
                <a:gd name="connsiteX963" fmla="*/ 70303 w 139969"/>
                <a:gd name="connsiteY963" fmla="*/ 75074 h 286300"/>
                <a:gd name="connsiteX964" fmla="*/ 73484 w 139969"/>
                <a:gd name="connsiteY964" fmla="*/ 70939 h 286300"/>
                <a:gd name="connsiteX965" fmla="*/ 75393 w 139969"/>
                <a:gd name="connsiteY965" fmla="*/ 67758 h 286300"/>
                <a:gd name="connsiteX966" fmla="*/ 77937 w 139969"/>
                <a:gd name="connsiteY966" fmla="*/ 64259 h 286300"/>
                <a:gd name="connsiteX967" fmla="*/ 80164 w 139969"/>
                <a:gd name="connsiteY967" fmla="*/ 60759 h 286300"/>
                <a:gd name="connsiteX968" fmla="*/ 84618 w 139969"/>
                <a:gd name="connsiteY968" fmla="*/ 55033 h 286300"/>
                <a:gd name="connsiteX969" fmla="*/ 88435 w 139969"/>
                <a:gd name="connsiteY969" fmla="*/ 49944 h 286300"/>
                <a:gd name="connsiteX970" fmla="*/ 88753 w 139969"/>
                <a:gd name="connsiteY970" fmla="*/ 49307 h 286300"/>
                <a:gd name="connsiteX971" fmla="*/ 90980 w 139969"/>
                <a:gd name="connsiteY971" fmla="*/ 46762 h 286300"/>
                <a:gd name="connsiteX972" fmla="*/ 91616 w 139969"/>
                <a:gd name="connsiteY972" fmla="*/ 44536 h 286300"/>
                <a:gd name="connsiteX973" fmla="*/ 93843 w 139969"/>
                <a:gd name="connsiteY973" fmla="*/ 42309 h 286300"/>
                <a:gd name="connsiteX974" fmla="*/ 95115 w 139969"/>
                <a:gd name="connsiteY974" fmla="*/ 41673 h 286300"/>
                <a:gd name="connsiteX975" fmla="*/ 99251 w 139969"/>
                <a:gd name="connsiteY975" fmla="*/ 35629 h 286300"/>
                <a:gd name="connsiteX976" fmla="*/ 101796 w 139969"/>
                <a:gd name="connsiteY976" fmla="*/ 32447 h 286300"/>
                <a:gd name="connsiteX977" fmla="*/ 104659 w 139969"/>
                <a:gd name="connsiteY977" fmla="*/ 28948 h 286300"/>
                <a:gd name="connsiteX978" fmla="*/ 105931 w 139969"/>
                <a:gd name="connsiteY978" fmla="*/ 27040 h 286300"/>
                <a:gd name="connsiteX979" fmla="*/ 111976 w 139969"/>
                <a:gd name="connsiteY979" fmla="*/ 20677 h 286300"/>
                <a:gd name="connsiteX980" fmla="*/ 113566 w 139969"/>
                <a:gd name="connsiteY980" fmla="*/ 17814 h 286300"/>
                <a:gd name="connsiteX981" fmla="*/ 114520 w 139969"/>
                <a:gd name="connsiteY981" fmla="*/ 15587 h 286300"/>
                <a:gd name="connsiteX982" fmla="*/ 117701 w 139969"/>
                <a:gd name="connsiteY982" fmla="*/ 13043 h 286300"/>
                <a:gd name="connsiteX983" fmla="*/ 118338 w 139969"/>
                <a:gd name="connsiteY983" fmla="*/ 12724 h 286300"/>
                <a:gd name="connsiteX984" fmla="*/ 118656 w 139969"/>
                <a:gd name="connsiteY984" fmla="*/ 11770 h 286300"/>
                <a:gd name="connsiteX985" fmla="*/ 119610 w 139969"/>
                <a:gd name="connsiteY985" fmla="*/ 12724 h 286300"/>
                <a:gd name="connsiteX986" fmla="*/ 119610 w 139969"/>
                <a:gd name="connsiteY986" fmla="*/ 13043 h 286300"/>
                <a:gd name="connsiteX987" fmla="*/ 119928 w 139969"/>
                <a:gd name="connsiteY987" fmla="*/ 13361 h 286300"/>
                <a:gd name="connsiteX988" fmla="*/ 120246 w 139969"/>
                <a:gd name="connsiteY988" fmla="*/ 12724 h 286300"/>
                <a:gd name="connsiteX989" fmla="*/ 120564 w 139969"/>
                <a:gd name="connsiteY989" fmla="*/ 12088 h 286300"/>
                <a:gd name="connsiteX990" fmla="*/ 120564 w 139969"/>
                <a:gd name="connsiteY990" fmla="*/ 11770 h 286300"/>
                <a:gd name="connsiteX991" fmla="*/ 122473 w 139969"/>
                <a:gd name="connsiteY991" fmla="*/ 13043 h 286300"/>
                <a:gd name="connsiteX992" fmla="*/ 122791 w 139969"/>
                <a:gd name="connsiteY992" fmla="*/ 14951 h 286300"/>
                <a:gd name="connsiteX993" fmla="*/ 123428 w 139969"/>
                <a:gd name="connsiteY993" fmla="*/ 15269 h 286300"/>
                <a:gd name="connsiteX994" fmla="*/ 123746 w 139969"/>
                <a:gd name="connsiteY994" fmla="*/ 15269 h 286300"/>
                <a:gd name="connsiteX995" fmla="*/ 124064 w 139969"/>
                <a:gd name="connsiteY995" fmla="*/ 15587 h 286300"/>
                <a:gd name="connsiteX996" fmla="*/ 124382 w 139969"/>
                <a:gd name="connsiteY996" fmla="*/ 15906 h 286300"/>
                <a:gd name="connsiteX997" fmla="*/ 125654 w 139969"/>
                <a:gd name="connsiteY997" fmla="*/ 15906 h 286300"/>
                <a:gd name="connsiteX998" fmla="*/ 127245 w 139969"/>
                <a:gd name="connsiteY998" fmla="*/ 16542 h 286300"/>
                <a:gd name="connsiteX999" fmla="*/ 127563 w 139969"/>
                <a:gd name="connsiteY999" fmla="*/ 16542 h 286300"/>
                <a:gd name="connsiteX1000" fmla="*/ 127563 w 139969"/>
                <a:gd name="connsiteY1000" fmla="*/ 15906 h 286300"/>
                <a:gd name="connsiteX1001" fmla="*/ 128199 w 139969"/>
                <a:gd name="connsiteY1001" fmla="*/ 15587 h 286300"/>
                <a:gd name="connsiteX1002" fmla="*/ 129472 w 139969"/>
                <a:gd name="connsiteY1002" fmla="*/ 15269 h 286300"/>
                <a:gd name="connsiteX1003" fmla="*/ 130426 w 139969"/>
                <a:gd name="connsiteY1003" fmla="*/ 16542 h 286300"/>
                <a:gd name="connsiteX1004" fmla="*/ 130426 w 139969"/>
                <a:gd name="connsiteY1004" fmla="*/ 17178 h 286300"/>
                <a:gd name="connsiteX1005" fmla="*/ 130744 w 139969"/>
                <a:gd name="connsiteY1005" fmla="*/ 17496 h 286300"/>
                <a:gd name="connsiteX1006" fmla="*/ 131380 w 139969"/>
                <a:gd name="connsiteY1006" fmla="*/ 17178 h 286300"/>
                <a:gd name="connsiteX1007" fmla="*/ 132335 w 139969"/>
                <a:gd name="connsiteY1007" fmla="*/ 17178 h 286300"/>
                <a:gd name="connsiteX1008" fmla="*/ 132653 w 139969"/>
                <a:gd name="connsiteY1008" fmla="*/ 17496 h 286300"/>
                <a:gd name="connsiteX1009" fmla="*/ 133289 w 139969"/>
                <a:gd name="connsiteY1009" fmla="*/ 16860 h 286300"/>
                <a:gd name="connsiteX1010" fmla="*/ 133289 w 139969"/>
                <a:gd name="connsiteY1010" fmla="*/ 16224 h 286300"/>
                <a:gd name="connsiteX1011" fmla="*/ 133607 w 139969"/>
                <a:gd name="connsiteY1011" fmla="*/ 15906 h 286300"/>
                <a:gd name="connsiteX1012" fmla="*/ 133925 w 139969"/>
                <a:gd name="connsiteY1012" fmla="*/ 16224 h 286300"/>
                <a:gd name="connsiteX1013" fmla="*/ 136152 w 139969"/>
                <a:gd name="connsiteY1013" fmla="*/ 18769 h 286300"/>
                <a:gd name="connsiteX1014" fmla="*/ 136470 w 139969"/>
                <a:gd name="connsiteY1014" fmla="*/ 19087 h 286300"/>
                <a:gd name="connsiteX1015" fmla="*/ 136788 w 139969"/>
                <a:gd name="connsiteY1015" fmla="*/ 21950 h 286300"/>
                <a:gd name="connsiteX1016" fmla="*/ 136470 w 139969"/>
                <a:gd name="connsiteY1016" fmla="*/ 23858 h 286300"/>
                <a:gd name="connsiteX1017" fmla="*/ 136152 w 139969"/>
                <a:gd name="connsiteY1017" fmla="*/ 26721 h 286300"/>
                <a:gd name="connsiteX1018" fmla="*/ 136152 w 139969"/>
                <a:gd name="connsiteY1018" fmla="*/ 30221 h 286300"/>
                <a:gd name="connsiteX1019" fmla="*/ 135516 w 139969"/>
                <a:gd name="connsiteY1019" fmla="*/ 31175 h 286300"/>
                <a:gd name="connsiteX1020" fmla="*/ 134879 w 139969"/>
                <a:gd name="connsiteY1020" fmla="*/ 31175 h 286300"/>
                <a:gd name="connsiteX1021" fmla="*/ 134561 w 139969"/>
                <a:gd name="connsiteY1021" fmla="*/ 31493 h 286300"/>
                <a:gd name="connsiteX1022" fmla="*/ 134879 w 139969"/>
                <a:gd name="connsiteY1022" fmla="*/ 34992 h 286300"/>
                <a:gd name="connsiteX1023" fmla="*/ 134879 w 139969"/>
                <a:gd name="connsiteY1023" fmla="*/ 36265 h 286300"/>
                <a:gd name="connsiteX1024" fmla="*/ 135198 w 139969"/>
                <a:gd name="connsiteY1024" fmla="*/ 37219 h 286300"/>
                <a:gd name="connsiteX1025" fmla="*/ 135834 w 139969"/>
                <a:gd name="connsiteY1025" fmla="*/ 36583 h 286300"/>
                <a:gd name="connsiteX1026" fmla="*/ 136152 w 139969"/>
                <a:gd name="connsiteY1026" fmla="*/ 36265 h 286300"/>
                <a:gd name="connsiteX1027" fmla="*/ 136788 w 139969"/>
                <a:gd name="connsiteY1027" fmla="*/ 37537 h 286300"/>
                <a:gd name="connsiteX1028" fmla="*/ 136152 w 139969"/>
                <a:gd name="connsiteY1028" fmla="*/ 39764 h 286300"/>
                <a:gd name="connsiteX1029" fmla="*/ 136152 w 139969"/>
                <a:gd name="connsiteY1029" fmla="*/ 42309 h 286300"/>
                <a:gd name="connsiteX1030" fmla="*/ 135834 w 139969"/>
                <a:gd name="connsiteY1030" fmla="*/ 44536 h 286300"/>
                <a:gd name="connsiteX1031" fmla="*/ 135834 w 139969"/>
                <a:gd name="connsiteY1031" fmla="*/ 45172 h 286300"/>
                <a:gd name="connsiteX1032" fmla="*/ 136470 w 139969"/>
                <a:gd name="connsiteY1032" fmla="*/ 47717 h 286300"/>
                <a:gd name="connsiteX1033" fmla="*/ 136152 w 139969"/>
                <a:gd name="connsiteY1033" fmla="*/ 48671 h 286300"/>
                <a:gd name="connsiteX1034" fmla="*/ 136470 w 139969"/>
                <a:gd name="connsiteY1034" fmla="*/ 50580 h 286300"/>
                <a:gd name="connsiteX1035" fmla="*/ 136470 w 139969"/>
                <a:gd name="connsiteY1035" fmla="*/ 52488 h 286300"/>
                <a:gd name="connsiteX1036" fmla="*/ 137106 w 139969"/>
                <a:gd name="connsiteY1036" fmla="*/ 55033 h 286300"/>
                <a:gd name="connsiteX1037" fmla="*/ 137106 w 139969"/>
                <a:gd name="connsiteY1037" fmla="*/ 60441 h 286300"/>
                <a:gd name="connsiteX1038" fmla="*/ 136788 w 139969"/>
                <a:gd name="connsiteY1038" fmla="*/ 62032 h 286300"/>
                <a:gd name="connsiteX1039" fmla="*/ 137106 w 139969"/>
                <a:gd name="connsiteY1039" fmla="*/ 63622 h 286300"/>
                <a:gd name="connsiteX1040" fmla="*/ 137425 w 139969"/>
                <a:gd name="connsiteY1040" fmla="*/ 63940 h 286300"/>
                <a:gd name="connsiteX1041" fmla="*/ 137106 w 139969"/>
                <a:gd name="connsiteY1041" fmla="*/ 64259 h 286300"/>
                <a:gd name="connsiteX1042" fmla="*/ 137425 w 139969"/>
                <a:gd name="connsiteY1042" fmla="*/ 66803 h 286300"/>
                <a:gd name="connsiteX1043" fmla="*/ 137743 w 139969"/>
                <a:gd name="connsiteY1043" fmla="*/ 68076 h 286300"/>
                <a:gd name="connsiteX1044" fmla="*/ 137425 w 139969"/>
                <a:gd name="connsiteY1044" fmla="*/ 69985 h 286300"/>
                <a:gd name="connsiteX1045" fmla="*/ 137743 w 139969"/>
                <a:gd name="connsiteY1045" fmla="*/ 71575 h 286300"/>
                <a:gd name="connsiteX1046" fmla="*/ 137425 w 139969"/>
                <a:gd name="connsiteY1046" fmla="*/ 72848 h 286300"/>
                <a:gd name="connsiteX1047" fmla="*/ 137425 w 139969"/>
                <a:gd name="connsiteY1047" fmla="*/ 74438 h 286300"/>
                <a:gd name="connsiteX1048" fmla="*/ 138061 w 139969"/>
                <a:gd name="connsiteY1048" fmla="*/ 77619 h 286300"/>
                <a:gd name="connsiteX1049" fmla="*/ 138697 w 139969"/>
                <a:gd name="connsiteY1049" fmla="*/ 78892 h 286300"/>
                <a:gd name="connsiteX1050" fmla="*/ 138379 w 139969"/>
                <a:gd name="connsiteY1050" fmla="*/ 80482 h 286300"/>
                <a:gd name="connsiteX1051" fmla="*/ 138061 w 139969"/>
                <a:gd name="connsiteY1051" fmla="*/ 82391 h 286300"/>
                <a:gd name="connsiteX1052" fmla="*/ 137743 w 139969"/>
                <a:gd name="connsiteY1052" fmla="*/ 84300 h 286300"/>
                <a:gd name="connsiteX1053" fmla="*/ 139333 w 139969"/>
                <a:gd name="connsiteY1053" fmla="*/ 86845 h 286300"/>
                <a:gd name="connsiteX1054" fmla="*/ 140924 w 139969"/>
                <a:gd name="connsiteY1054" fmla="*/ 86845 h 286300"/>
                <a:gd name="connsiteX1055" fmla="*/ 141242 w 139969"/>
                <a:gd name="connsiteY1055" fmla="*/ 87799 h 286300"/>
                <a:gd name="connsiteX1056" fmla="*/ 140924 w 139969"/>
                <a:gd name="connsiteY1056" fmla="*/ 88435 h 286300"/>
                <a:gd name="connsiteX1057" fmla="*/ 140288 w 139969"/>
                <a:gd name="connsiteY1057" fmla="*/ 88117 h 286300"/>
                <a:gd name="connsiteX1058" fmla="*/ 139969 w 139969"/>
                <a:gd name="connsiteY1058" fmla="*/ 87799 h 286300"/>
                <a:gd name="connsiteX1059" fmla="*/ 139969 w 139969"/>
                <a:gd name="connsiteY1059" fmla="*/ 88117 h 286300"/>
                <a:gd name="connsiteX1060" fmla="*/ 139333 w 139969"/>
                <a:gd name="connsiteY1060" fmla="*/ 90026 h 286300"/>
                <a:gd name="connsiteX1061" fmla="*/ 139651 w 139969"/>
                <a:gd name="connsiteY1061" fmla="*/ 91298 h 286300"/>
                <a:gd name="connsiteX1062" fmla="*/ 140288 w 139969"/>
                <a:gd name="connsiteY1062" fmla="*/ 91934 h 286300"/>
                <a:gd name="connsiteX1063" fmla="*/ 141242 w 139969"/>
                <a:gd name="connsiteY1063" fmla="*/ 91616 h 286300"/>
                <a:gd name="connsiteX1064" fmla="*/ 142196 w 139969"/>
                <a:gd name="connsiteY1064" fmla="*/ 91298 h 286300"/>
                <a:gd name="connsiteX1065" fmla="*/ 142514 w 139969"/>
                <a:gd name="connsiteY1065" fmla="*/ 91616 h 286300"/>
                <a:gd name="connsiteX1066" fmla="*/ 141560 w 139969"/>
                <a:gd name="connsiteY1066" fmla="*/ 92571 h 286300"/>
                <a:gd name="connsiteX1067" fmla="*/ 139651 w 139969"/>
                <a:gd name="connsiteY1067" fmla="*/ 94479 h 286300"/>
                <a:gd name="connsiteX1068" fmla="*/ 139333 w 139969"/>
                <a:gd name="connsiteY1068" fmla="*/ 95115 h 286300"/>
                <a:gd name="connsiteX1069" fmla="*/ 138697 w 139969"/>
                <a:gd name="connsiteY1069" fmla="*/ 97024 h 286300"/>
                <a:gd name="connsiteX1070" fmla="*/ 138697 w 139969"/>
                <a:gd name="connsiteY1070" fmla="*/ 97342 h 286300"/>
                <a:gd name="connsiteX1071" fmla="*/ 139015 w 139969"/>
                <a:gd name="connsiteY1071" fmla="*/ 99887 h 286300"/>
                <a:gd name="connsiteX1072" fmla="*/ 138379 w 139969"/>
                <a:gd name="connsiteY1072" fmla="*/ 100841 h 286300"/>
                <a:gd name="connsiteX1073" fmla="*/ 137106 w 139969"/>
                <a:gd name="connsiteY1073" fmla="*/ 104659 h 286300"/>
                <a:gd name="connsiteX1074" fmla="*/ 136470 w 139969"/>
                <a:gd name="connsiteY1074" fmla="*/ 104659 h 286300"/>
                <a:gd name="connsiteX1075" fmla="*/ 136470 w 139969"/>
                <a:gd name="connsiteY1075" fmla="*/ 104341 h 286300"/>
                <a:gd name="connsiteX1076" fmla="*/ 134243 w 139969"/>
                <a:gd name="connsiteY1076" fmla="*/ 106567 h 286300"/>
                <a:gd name="connsiteX1077" fmla="*/ 134879 w 139969"/>
                <a:gd name="connsiteY1077" fmla="*/ 106249 h 286300"/>
                <a:gd name="connsiteX1078" fmla="*/ 134879 w 139969"/>
                <a:gd name="connsiteY1078" fmla="*/ 107840 h 286300"/>
                <a:gd name="connsiteX1079" fmla="*/ 134561 w 139969"/>
                <a:gd name="connsiteY1079" fmla="*/ 107522 h 286300"/>
                <a:gd name="connsiteX1080" fmla="*/ 134243 w 139969"/>
                <a:gd name="connsiteY1080" fmla="*/ 106567 h 286300"/>
                <a:gd name="connsiteX1081" fmla="*/ 133289 w 139969"/>
                <a:gd name="connsiteY1081" fmla="*/ 104977 h 286300"/>
                <a:gd name="connsiteX1082" fmla="*/ 133925 w 139969"/>
                <a:gd name="connsiteY1082" fmla="*/ 104977 h 286300"/>
                <a:gd name="connsiteX1083" fmla="*/ 133925 w 139969"/>
                <a:gd name="connsiteY1083" fmla="*/ 104659 h 286300"/>
                <a:gd name="connsiteX1084" fmla="*/ 3818 w 139969"/>
                <a:gd name="connsiteY1084" fmla="*/ 249400 h 286300"/>
                <a:gd name="connsiteX1085" fmla="*/ 3818 w 139969"/>
                <a:gd name="connsiteY1085" fmla="*/ 249082 h 286300"/>
                <a:gd name="connsiteX1086" fmla="*/ 3500 w 139969"/>
                <a:gd name="connsiteY1086" fmla="*/ 249400 h 286300"/>
                <a:gd name="connsiteX1087" fmla="*/ 3500 w 139969"/>
                <a:gd name="connsiteY1087" fmla="*/ 250036 h 286300"/>
                <a:gd name="connsiteX1088" fmla="*/ 3181 w 139969"/>
                <a:gd name="connsiteY1088" fmla="*/ 251626 h 286300"/>
                <a:gd name="connsiteX1089" fmla="*/ 3500 w 139969"/>
                <a:gd name="connsiteY1089" fmla="*/ 251945 h 286300"/>
                <a:gd name="connsiteX1090" fmla="*/ 4136 w 139969"/>
                <a:gd name="connsiteY1090" fmla="*/ 251626 h 286300"/>
                <a:gd name="connsiteX1091" fmla="*/ 4136 w 139969"/>
                <a:gd name="connsiteY1091" fmla="*/ 250672 h 286300"/>
                <a:gd name="connsiteX1092" fmla="*/ 3818 w 139969"/>
                <a:gd name="connsiteY1092" fmla="*/ 249400 h 286300"/>
                <a:gd name="connsiteX1093" fmla="*/ 3818 w 139969"/>
                <a:gd name="connsiteY1093" fmla="*/ 255444 h 286300"/>
                <a:gd name="connsiteX1094" fmla="*/ 3500 w 139969"/>
                <a:gd name="connsiteY1094" fmla="*/ 255126 h 286300"/>
                <a:gd name="connsiteX1095" fmla="*/ 3181 w 139969"/>
                <a:gd name="connsiteY1095" fmla="*/ 255444 h 286300"/>
                <a:gd name="connsiteX1096" fmla="*/ 3181 w 139969"/>
                <a:gd name="connsiteY1096" fmla="*/ 256080 h 286300"/>
                <a:gd name="connsiteX1097" fmla="*/ 3500 w 139969"/>
                <a:gd name="connsiteY1097" fmla="*/ 256398 h 286300"/>
                <a:gd name="connsiteX1098" fmla="*/ 3818 w 139969"/>
                <a:gd name="connsiteY1098" fmla="*/ 256080 h 286300"/>
                <a:gd name="connsiteX1099" fmla="*/ 3818 w 139969"/>
                <a:gd name="connsiteY1099" fmla="*/ 255444 h 286300"/>
                <a:gd name="connsiteX1100" fmla="*/ 4772 w 139969"/>
                <a:gd name="connsiteY1100" fmla="*/ 242401 h 286300"/>
                <a:gd name="connsiteX1101" fmla="*/ 5090 w 139969"/>
                <a:gd name="connsiteY1101" fmla="*/ 241765 h 286300"/>
                <a:gd name="connsiteX1102" fmla="*/ 5408 w 139969"/>
                <a:gd name="connsiteY1102" fmla="*/ 239856 h 286300"/>
                <a:gd name="connsiteX1103" fmla="*/ 5726 w 139969"/>
                <a:gd name="connsiteY1103" fmla="*/ 237630 h 286300"/>
                <a:gd name="connsiteX1104" fmla="*/ 5090 w 139969"/>
                <a:gd name="connsiteY1104" fmla="*/ 237630 h 286300"/>
                <a:gd name="connsiteX1105" fmla="*/ 4454 w 139969"/>
                <a:gd name="connsiteY1105" fmla="*/ 239538 h 286300"/>
                <a:gd name="connsiteX1106" fmla="*/ 4136 w 139969"/>
                <a:gd name="connsiteY1106" fmla="*/ 241129 h 286300"/>
                <a:gd name="connsiteX1107" fmla="*/ 4454 w 139969"/>
                <a:gd name="connsiteY1107" fmla="*/ 242083 h 286300"/>
                <a:gd name="connsiteX1108" fmla="*/ 4772 w 139969"/>
                <a:gd name="connsiteY1108" fmla="*/ 242401 h 286300"/>
                <a:gd name="connsiteX1109" fmla="*/ 5726 w 139969"/>
                <a:gd name="connsiteY1109" fmla="*/ 236039 h 286300"/>
                <a:gd name="connsiteX1110" fmla="*/ 5408 w 139969"/>
                <a:gd name="connsiteY1110" fmla="*/ 236357 h 286300"/>
                <a:gd name="connsiteX1111" fmla="*/ 5726 w 139969"/>
                <a:gd name="connsiteY1111" fmla="*/ 236039 h 286300"/>
                <a:gd name="connsiteX1112" fmla="*/ 7317 w 139969"/>
                <a:gd name="connsiteY1112" fmla="*/ 262760 h 286300"/>
                <a:gd name="connsiteX1113" fmla="*/ 6044 w 139969"/>
                <a:gd name="connsiteY1113" fmla="*/ 261806 h 286300"/>
                <a:gd name="connsiteX1114" fmla="*/ 6362 w 139969"/>
                <a:gd name="connsiteY1114" fmla="*/ 263078 h 286300"/>
                <a:gd name="connsiteX1115" fmla="*/ 6999 w 139969"/>
                <a:gd name="connsiteY1115" fmla="*/ 263078 h 286300"/>
                <a:gd name="connsiteX1116" fmla="*/ 7317 w 139969"/>
                <a:gd name="connsiteY1116" fmla="*/ 262760 h 286300"/>
                <a:gd name="connsiteX1117" fmla="*/ 7317 w 139969"/>
                <a:gd name="connsiteY1117" fmla="*/ 243037 h 286300"/>
                <a:gd name="connsiteX1118" fmla="*/ 7317 w 139969"/>
                <a:gd name="connsiteY1118" fmla="*/ 243992 h 286300"/>
                <a:gd name="connsiteX1119" fmla="*/ 6999 w 139969"/>
                <a:gd name="connsiteY1119" fmla="*/ 244310 h 286300"/>
                <a:gd name="connsiteX1120" fmla="*/ 6362 w 139969"/>
                <a:gd name="connsiteY1120" fmla="*/ 243992 h 286300"/>
                <a:gd name="connsiteX1121" fmla="*/ 6999 w 139969"/>
                <a:gd name="connsiteY1121" fmla="*/ 243037 h 286300"/>
                <a:gd name="connsiteX1122" fmla="*/ 7317 w 139969"/>
                <a:gd name="connsiteY1122" fmla="*/ 243037 h 286300"/>
                <a:gd name="connsiteX1123" fmla="*/ 9862 w 139969"/>
                <a:gd name="connsiteY1123" fmla="*/ 216952 h 286300"/>
                <a:gd name="connsiteX1124" fmla="*/ 9862 w 139969"/>
                <a:gd name="connsiteY1124" fmla="*/ 217270 h 286300"/>
                <a:gd name="connsiteX1125" fmla="*/ 10180 w 139969"/>
                <a:gd name="connsiteY1125" fmla="*/ 217270 h 286300"/>
                <a:gd name="connsiteX1126" fmla="*/ 9543 w 139969"/>
                <a:gd name="connsiteY1126" fmla="*/ 218225 h 286300"/>
                <a:gd name="connsiteX1127" fmla="*/ 9225 w 139969"/>
                <a:gd name="connsiteY1127" fmla="*/ 218225 h 286300"/>
                <a:gd name="connsiteX1128" fmla="*/ 9862 w 139969"/>
                <a:gd name="connsiteY1128" fmla="*/ 216952 h 286300"/>
                <a:gd name="connsiteX1129" fmla="*/ 9862 w 139969"/>
                <a:gd name="connsiteY1129" fmla="*/ 259897 h 286300"/>
                <a:gd name="connsiteX1130" fmla="*/ 10498 w 139969"/>
                <a:gd name="connsiteY1130" fmla="*/ 261488 h 286300"/>
                <a:gd name="connsiteX1131" fmla="*/ 10816 w 139969"/>
                <a:gd name="connsiteY1131" fmla="*/ 261806 h 286300"/>
                <a:gd name="connsiteX1132" fmla="*/ 10180 w 139969"/>
                <a:gd name="connsiteY1132" fmla="*/ 263078 h 286300"/>
                <a:gd name="connsiteX1133" fmla="*/ 9862 w 139969"/>
                <a:gd name="connsiteY1133" fmla="*/ 263078 h 286300"/>
                <a:gd name="connsiteX1134" fmla="*/ 9543 w 139969"/>
                <a:gd name="connsiteY1134" fmla="*/ 262760 h 286300"/>
                <a:gd name="connsiteX1135" fmla="*/ 9543 w 139969"/>
                <a:gd name="connsiteY1135" fmla="*/ 257352 h 286300"/>
                <a:gd name="connsiteX1136" fmla="*/ 9862 w 139969"/>
                <a:gd name="connsiteY1136" fmla="*/ 257671 h 286300"/>
                <a:gd name="connsiteX1137" fmla="*/ 10180 w 139969"/>
                <a:gd name="connsiteY1137" fmla="*/ 258307 h 286300"/>
                <a:gd name="connsiteX1138" fmla="*/ 10180 w 139969"/>
                <a:gd name="connsiteY1138" fmla="*/ 258625 h 286300"/>
                <a:gd name="connsiteX1139" fmla="*/ 9862 w 139969"/>
                <a:gd name="connsiteY1139" fmla="*/ 259897 h 286300"/>
                <a:gd name="connsiteX1140" fmla="*/ 10498 w 139969"/>
                <a:gd name="connsiteY1140" fmla="*/ 237948 h 286300"/>
                <a:gd name="connsiteX1141" fmla="*/ 10498 w 139969"/>
                <a:gd name="connsiteY1141" fmla="*/ 239220 h 286300"/>
                <a:gd name="connsiteX1142" fmla="*/ 9862 w 139969"/>
                <a:gd name="connsiteY1142" fmla="*/ 239220 h 286300"/>
                <a:gd name="connsiteX1143" fmla="*/ 9862 w 139969"/>
                <a:gd name="connsiteY1143" fmla="*/ 238584 h 286300"/>
                <a:gd name="connsiteX1144" fmla="*/ 10498 w 139969"/>
                <a:gd name="connsiteY1144" fmla="*/ 237948 h 286300"/>
                <a:gd name="connsiteX1145" fmla="*/ 13361 w 139969"/>
                <a:gd name="connsiteY1145" fmla="*/ 237311 h 286300"/>
                <a:gd name="connsiteX1146" fmla="*/ 13361 w 139969"/>
                <a:gd name="connsiteY1146" fmla="*/ 237948 h 286300"/>
                <a:gd name="connsiteX1147" fmla="*/ 13043 w 139969"/>
                <a:gd name="connsiteY1147" fmla="*/ 239856 h 286300"/>
                <a:gd name="connsiteX1148" fmla="*/ 12724 w 139969"/>
                <a:gd name="connsiteY1148" fmla="*/ 240811 h 286300"/>
                <a:gd name="connsiteX1149" fmla="*/ 13043 w 139969"/>
                <a:gd name="connsiteY1149" fmla="*/ 241765 h 286300"/>
                <a:gd name="connsiteX1150" fmla="*/ 12088 w 139969"/>
                <a:gd name="connsiteY1150" fmla="*/ 243674 h 286300"/>
                <a:gd name="connsiteX1151" fmla="*/ 11770 w 139969"/>
                <a:gd name="connsiteY1151" fmla="*/ 243992 h 286300"/>
                <a:gd name="connsiteX1152" fmla="*/ 11452 w 139969"/>
                <a:gd name="connsiteY1152" fmla="*/ 243037 h 286300"/>
                <a:gd name="connsiteX1153" fmla="*/ 11452 w 139969"/>
                <a:gd name="connsiteY1153" fmla="*/ 242719 h 286300"/>
                <a:gd name="connsiteX1154" fmla="*/ 11770 w 139969"/>
                <a:gd name="connsiteY1154" fmla="*/ 242083 h 286300"/>
                <a:gd name="connsiteX1155" fmla="*/ 11134 w 139969"/>
                <a:gd name="connsiteY1155" fmla="*/ 240493 h 286300"/>
                <a:gd name="connsiteX1156" fmla="*/ 11770 w 139969"/>
                <a:gd name="connsiteY1156" fmla="*/ 239220 h 286300"/>
                <a:gd name="connsiteX1157" fmla="*/ 13361 w 139969"/>
                <a:gd name="connsiteY1157" fmla="*/ 237311 h 286300"/>
                <a:gd name="connsiteX1158" fmla="*/ 12088 w 139969"/>
                <a:gd name="connsiteY1158" fmla="*/ 257671 h 286300"/>
                <a:gd name="connsiteX1159" fmla="*/ 13043 w 139969"/>
                <a:gd name="connsiteY1159" fmla="*/ 256080 h 286300"/>
                <a:gd name="connsiteX1160" fmla="*/ 12724 w 139969"/>
                <a:gd name="connsiteY1160" fmla="*/ 257352 h 286300"/>
                <a:gd name="connsiteX1161" fmla="*/ 13043 w 139969"/>
                <a:gd name="connsiteY1161" fmla="*/ 258307 h 286300"/>
                <a:gd name="connsiteX1162" fmla="*/ 13043 w 139969"/>
                <a:gd name="connsiteY1162" fmla="*/ 258625 h 286300"/>
                <a:gd name="connsiteX1163" fmla="*/ 12088 w 139969"/>
                <a:gd name="connsiteY1163" fmla="*/ 257671 h 286300"/>
                <a:gd name="connsiteX1164" fmla="*/ 13361 w 139969"/>
                <a:gd name="connsiteY1164" fmla="*/ 236675 h 286300"/>
                <a:gd name="connsiteX1165" fmla="*/ 13361 w 139969"/>
                <a:gd name="connsiteY1165" fmla="*/ 235403 h 286300"/>
                <a:gd name="connsiteX1166" fmla="*/ 13679 w 139969"/>
                <a:gd name="connsiteY1166" fmla="*/ 235403 h 286300"/>
                <a:gd name="connsiteX1167" fmla="*/ 13997 w 139969"/>
                <a:gd name="connsiteY1167" fmla="*/ 235721 h 286300"/>
                <a:gd name="connsiteX1168" fmla="*/ 13361 w 139969"/>
                <a:gd name="connsiteY1168" fmla="*/ 236675 h 286300"/>
                <a:gd name="connsiteX1169" fmla="*/ 16224 w 139969"/>
                <a:gd name="connsiteY1169" fmla="*/ 237311 h 286300"/>
                <a:gd name="connsiteX1170" fmla="*/ 16224 w 139969"/>
                <a:gd name="connsiteY1170" fmla="*/ 237948 h 286300"/>
                <a:gd name="connsiteX1171" fmla="*/ 15906 w 139969"/>
                <a:gd name="connsiteY1171" fmla="*/ 242083 h 286300"/>
                <a:gd name="connsiteX1172" fmla="*/ 14951 w 139969"/>
                <a:gd name="connsiteY1172" fmla="*/ 243674 h 286300"/>
                <a:gd name="connsiteX1173" fmla="*/ 14633 w 139969"/>
                <a:gd name="connsiteY1173" fmla="*/ 243674 h 286300"/>
                <a:gd name="connsiteX1174" fmla="*/ 13679 w 139969"/>
                <a:gd name="connsiteY1174" fmla="*/ 242719 h 286300"/>
                <a:gd name="connsiteX1175" fmla="*/ 13997 w 139969"/>
                <a:gd name="connsiteY1175" fmla="*/ 242083 h 286300"/>
                <a:gd name="connsiteX1176" fmla="*/ 14633 w 139969"/>
                <a:gd name="connsiteY1176" fmla="*/ 240493 h 286300"/>
                <a:gd name="connsiteX1177" fmla="*/ 16224 w 139969"/>
                <a:gd name="connsiteY1177" fmla="*/ 237311 h 286300"/>
                <a:gd name="connsiteX1178" fmla="*/ 13997 w 139969"/>
                <a:gd name="connsiteY1178" fmla="*/ 233176 h 286300"/>
                <a:gd name="connsiteX1179" fmla="*/ 14951 w 139969"/>
                <a:gd name="connsiteY1179" fmla="*/ 232222 h 286300"/>
                <a:gd name="connsiteX1180" fmla="*/ 15270 w 139969"/>
                <a:gd name="connsiteY1180" fmla="*/ 232222 h 286300"/>
                <a:gd name="connsiteX1181" fmla="*/ 15270 w 139969"/>
                <a:gd name="connsiteY1181" fmla="*/ 232540 h 286300"/>
                <a:gd name="connsiteX1182" fmla="*/ 14315 w 139969"/>
                <a:gd name="connsiteY1182" fmla="*/ 233494 h 286300"/>
                <a:gd name="connsiteX1183" fmla="*/ 13997 w 139969"/>
                <a:gd name="connsiteY1183" fmla="*/ 233176 h 286300"/>
                <a:gd name="connsiteX1184" fmla="*/ 18451 w 139969"/>
                <a:gd name="connsiteY1184" fmla="*/ 230313 h 286300"/>
                <a:gd name="connsiteX1185" fmla="*/ 18769 w 139969"/>
                <a:gd name="connsiteY1185" fmla="*/ 230949 h 286300"/>
                <a:gd name="connsiteX1186" fmla="*/ 18133 w 139969"/>
                <a:gd name="connsiteY1186" fmla="*/ 234130 h 286300"/>
                <a:gd name="connsiteX1187" fmla="*/ 17178 w 139969"/>
                <a:gd name="connsiteY1187" fmla="*/ 234448 h 286300"/>
                <a:gd name="connsiteX1188" fmla="*/ 16860 w 139969"/>
                <a:gd name="connsiteY1188" fmla="*/ 233812 h 286300"/>
                <a:gd name="connsiteX1189" fmla="*/ 17178 w 139969"/>
                <a:gd name="connsiteY1189" fmla="*/ 233176 h 286300"/>
                <a:gd name="connsiteX1190" fmla="*/ 17178 w 139969"/>
                <a:gd name="connsiteY1190" fmla="*/ 232858 h 286300"/>
                <a:gd name="connsiteX1191" fmla="*/ 17496 w 139969"/>
                <a:gd name="connsiteY1191" fmla="*/ 231585 h 286300"/>
                <a:gd name="connsiteX1192" fmla="*/ 16860 w 139969"/>
                <a:gd name="connsiteY1192" fmla="*/ 230631 h 286300"/>
                <a:gd name="connsiteX1193" fmla="*/ 16860 w 139969"/>
                <a:gd name="connsiteY1193" fmla="*/ 229995 h 286300"/>
                <a:gd name="connsiteX1194" fmla="*/ 17496 w 139969"/>
                <a:gd name="connsiteY1194" fmla="*/ 229359 h 286300"/>
                <a:gd name="connsiteX1195" fmla="*/ 17815 w 139969"/>
                <a:gd name="connsiteY1195" fmla="*/ 228722 h 286300"/>
                <a:gd name="connsiteX1196" fmla="*/ 17178 w 139969"/>
                <a:gd name="connsiteY1196" fmla="*/ 227768 h 286300"/>
                <a:gd name="connsiteX1197" fmla="*/ 16542 w 139969"/>
                <a:gd name="connsiteY1197" fmla="*/ 227132 h 286300"/>
                <a:gd name="connsiteX1198" fmla="*/ 17178 w 139969"/>
                <a:gd name="connsiteY1198" fmla="*/ 226496 h 286300"/>
                <a:gd name="connsiteX1199" fmla="*/ 17815 w 139969"/>
                <a:gd name="connsiteY1199" fmla="*/ 226496 h 286300"/>
                <a:gd name="connsiteX1200" fmla="*/ 19405 w 139969"/>
                <a:gd name="connsiteY1200" fmla="*/ 222042 h 286300"/>
                <a:gd name="connsiteX1201" fmla="*/ 20996 w 139969"/>
                <a:gd name="connsiteY1201" fmla="*/ 219815 h 286300"/>
                <a:gd name="connsiteX1202" fmla="*/ 21314 w 139969"/>
                <a:gd name="connsiteY1202" fmla="*/ 219815 h 286300"/>
                <a:gd name="connsiteX1203" fmla="*/ 21632 w 139969"/>
                <a:gd name="connsiteY1203" fmla="*/ 220451 h 286300"/>
                <a:gd name="connsiteX1204" fmla="*/ 20677 w 139969"/>
                <a:gd name="connsiteY1204" fmla="*/ 222996 h 286300"/>
                <a:gd name="connsiteX1205" fmla="*/ 19723 w 139969"/>
                <a:gd name="connsiteY1205" fmla="*/ 225541 h 286300"/>
                <a:gd name="connsiteX1206" fmla="*/ 20041 w 139969"/>
                <a:gd name="connsiteY1206" fmla="*/ 225859 h 286300"/>
                <a:gd name="connsiteX1207" fmla="*/ 19405 w 139969"/>
                <a:gd name="connsiteY1207" fmla="*/ 227450 h 286300"/>
                <a:gd name="connsiteX1208" fmla="*/ 19405 w 139969"/>
                <a:gd name="connsiteY1208" fmla="*/ 228722 h 286300"/>
                <a:gd name="connsiteX1209" fmla="*/ 18451 w 139969"/>
                <a:gd name="connsiteY1209" fmla="*/ 230313 h 286300"/>
                <a:gd name="connsiteX1210" fmla="*/ 19723 w 139969"/>
                <a:gd name="connsiteY1210" fmla="*/ 198184 h 286300"/>
                <a:gd name="connsiteX1211" fmla="*/ 20677 w 139969"/>
                <a:gd name="connsiteY1211" fmla="*/ 199138 h 286300"/>
                <a:gd name="connsiteX1212" fmla="*/ 20996 w 139969"/>
                <a:gd name="connsiteY1212" fmla="*/ 199774 h 286300"/>
                <a:gd name="connsiteX1213" fmla="*/ 20677 w 139969"/>
                <a:gd name="connsiteY1213" fmla="*/ 200092 h 286300"/>
                <a:gd name="connsiteX1214" fmla="*/ 19723 w 139969"/>
                <a:gd name="connsiteY1214" fmla="*/ 202001 h 286300"/>
                <a:gd name="connsiteX1215" fmla="*/ 19405 w 139969"/>
                <a:gd name="connsiteY1215" fmla="*/ 202955 h 286300"/>
                <a:gd name="connsiteX1216" fmla="*/ 19087 w 139969"/>
                <a:gd name="connsiteY1216" fmla="*/ 202637 h 286300"/>
                <a:gd name="connsiteX1217" fmla="*/ 18133 w 139969"/>
                <a:gd name="connsiteY1217" fmla="*/ 201365 h 286300"/>
                <a:gd name="connsiteX1218" fmla="*/ 18451 w 139969"/>
                <a:gd name="connsiteY1218" fmla="*/ 200092 h 286300"/>
                <a:gd name="connsiteX1219" fmla="*/ 19723 w 139969"/>
                <a:gd name="connsiteY1219" fmla="*/ 198184 h 286300"/>
                <a:gd name="connsiteX1220" fmla="*/ 23858 w 139969"/>
                <a:gd name="connsiteY1220" fmla="*/ 228086 h 286300"/>
                <a:gd name="connsiteX1221" fmla="*/ 24813 w 139969"/>
                <a:gd name="connsiteY1221" fmla="*/ 228086 h 286300"/>
                <a:gd name="connsiteX1222" fmla="*/ 23540 w 139969"/>
                <a:gd name="connsiteY1222" fmla="*/ 229041 h 286300"/>
                <a:gd name="connsiteX1223" fmla="*/ 22586 w 139969"/>
                <a:gd name="connsiteY1223" fmla="*/ 228722 h 286300"/>
                <a:gd name="connsiteX1224" fmla="*/ 22268 w 139969"/>
                <a:gd name="connsiteY1224" fmla="*/ 228722 h 286300"/>
                <a:gd name="connsiteX1225" fmla="*/ 21314 w 139969"/>
                <a:gd name="connsiteY1225" fmla="*/ 229359 h 286300"/>
                <a:gd name="connsiteX1226" fmla="*/ 20677 w 139969"/>
                <a:gd name="connsiteY1226" fmla="*/ 232222 h 286300"/>
                <a:gd name="connsiteX1227" fmla="*/ 19405 w 139969"/>
                <a:gd name="connsiteY1227" fmla="*/ 236357 h 286300"/>
                <a:gd name="connsiteX1228" fmla="*/ 19087 w 139969"/>
                <a:gd name="connsiteY1228" fmla="*/ 236675 h 286300"/>
                <a:gd name="connsiteX1229" fmla="*/ 19087 w 139969"/>
                <a:gd name="connsiteY1229" fmla="*/ 236039 h 286300"/>
                <a:gd name="connsiteX1230" fmla="*/ 19723 w 139969"/>
                <a:gd name="connsiteY1230" fmla="*/ 232540 h 286300"/>
                <a:gd name="connsiteX1231" fmla="*/ 22268 w 139969"/>
                <a:gd name="connsiteY1231" fmla="*/ 225223 h 286300"/>
                <a:gd name="connsiteX1232" fmla="*/ 22904 w 139969"/>
                <a:gd name="connsiteY1232" fmla="*/ 224905 h 286300"/>
                <a:gd name="connsiteX1233" fmla="*/ 23222 w 139969"/>
                <a:gd name="connsiteY1233" fmla="*/ 225223 h 286300"/>
                <a:gd name="connsiteX1234" fmla="*/ 24177 w 139969"/>
                <a:gd name="connsiteY1234" fmla="*/ 226496 h 286300"/>
                <a:gd name="connsiteX1235" fmla="*/ 23858 w 139969"/>
                <a:gd name="connsiteY1235" fmla="*/ 227450 h 286300"/>
                <a:gd name="connsiteX1236" fmla="*/ 23858 w 139969"/>
                <a:gd name="connsiteY1236" fmla="*/ 228086 h 286300"/>
                <a:gd name="connsiteX1237" fmla="*/ 23222 w 139969"/>
                <a:gd name="connsiteY1237" fmla="*/ 208045 h 286300"/>
                <a:gd name="connsiteX1238" fmla="*/ 21950 w 139969"/>
                <a:gd name="connsiteY1238" fmla="*/ 208999 h 286300"/>
                <a:gd name="connsiteX1239" fmla="*/ 21632 w 139969"/>
                <a:gd name="connsiteY1239" fmla="*/ 209636 h 286300"/>
                <a:gd name="connsiteX1240" fmla="*/ 21950 w 139969"/>
                <a:gd name="connsiteY1240" fmla="*/ 209954 h 286300"/>
                <a:gd name="connsiteX1241" fmla="*/ 23222 w 139969"/>
                <a:gd name="connsiteY1241" fmla="*/ 208045 h 286300"/>
                <a:gd name="connsiteX1242" fmla="*/ 25449 w 139969"/>
                <a:gd name="connsiteY1242" fmla="*/ 208681 h 286300"/>
                <a:gd name="connsiteX1243" fmla="*/ 24495 w 139969"/>
                <a:gd name="connsiteY1243" fmla="*/ 208045 h 286300"/>
                <a:gd name="connsiteX1244" fmla="*/ 24177 w 139969"/>
                <a:gd name="connsiteY1244" fmla="*/ 208363 h 286300"/>
                <a:gd name="connsiteX1245" fmla="*/ 23540 w 139969"/>
                <a:gd name="connsiteY1245" fmla="*/ 210272 h 286300"/>
                <a:gd name="connsiteX1246" fmla="*/ 23858 w 139969"/>
                <a:gd name="connsiteY1246" fmla="*/ 210272 h 286300"/>
                <a:gd name="connsiteX1247" fmla="*/ 25449 w 139969"/>
                <a:gd name="connsiteY1247" fmla="*/ 209318 h 286300"/>
                <a:gd name="connsiteX1248" fmla="*/ 25449 w 139969"/>
                <a:gd name="connsiteY1248" fmla="*/ 208681 h 286300"/>
                <a:gd name="connsiteX1249" fmla="*/ 25767 w 139969"/>
                <a:gd name="connsiteY1249" fmla="*/ 217588 h 286300"/>
                <a:gd name="connsiteX1250" fmla="*/ 25767 w 139969"/>
                <a:gd name="connsiteY1250" fmla="*/ 218543 h 286300"/>
                <a:gd name="connsiteX1251" fmla="*/ 25131 w 139969"/>
                <a:gd name="connsiteY1251" fmla="*/ 218225 h 286300"/>
                <a:gd name="connsiteX1252" fmla="*/ 25131 w 139969"/>
                <a:gd name="connsiteY1252" fmla="*/ 217588 h 286300"/>
                <a:gd name="connsiteX1253" fmla="*/ 25767 w 139969"/>
                <a:gd name="connsiteY1253" fmla="*/ 217588 h 286300"/>
                <a:gd name="connsiteX1254" fmla="*/ 26721 w 139969"/>
                <a:gd name="connsiteY1254" fmla="*/ 219497 h 286300"/>
                <a:gd name="connsiteX1255" fmla="*/ 27676 w 139969"/>
                <a:gd name="connsiteY1255" fmla="*/ 219815 h 286300"/>
                <a:gd name="connsiteX1256" fmla="*/ 27040 w 139969"/>
                <a:gd name="connsiteY1256" fmla="*/ 220451 h 286300"/>
                <a:gd name="connsiteX1257" fmla="*/ 26085 w 139969"/>
                <a:gd name="connsiteY1257" fmla="*/ 220133 h 286300"/>
                <a:gd name="connsiteX1258" fmla="*/ 26403 w 139969"/>
                <a:gd name="connsiteY1258" fmla="*/ 219497 h 286300"/>
                <a:gd name="connsiteX1259" fmla="*/ 26721 w 139969"/>
                <a:gd name="connsiteY1259" fmla="*/ 219497 h 286300"/>
                <a:gd name="connsiteX1260" fmla="*/ 27358 w 139969"/>
                <a:gd name="connsiteY1260" fmla="*/ 200729 h 286300"/>
                <a:gd name="connsiteX1261" fmla="*/ 27994 w 139969"/>
                <a:gd name="connsiteY1261" fmla="*/ 201047 h 286300"/>
                <a:gd name="connsiteX1262" fmla="*/ 28630 w 139969"/>
                <a:gd name="connsiteY1262" fmla="*/ 201047 h 286300"/>
                <a:gd name="connsiteX1263" fmla="*/ 29267 w 139969"/>
                <a:gd name="connsiteY1263" fmla="*/ 200410 h 286300"/>
                <a:gd name="connsiteX1264" fmla="*/ 28948 w 139969"/>
                <a:gd name="connsiteY1264" fmla="*/ 200092 h 286300"/>
                <a:gd name="connsiteX1265" fmla="*/ 28948 w 139969"/>
                <a:gd name="connsiteY1265" fmla="*/ 199138 h 286300"/>
                <a:gd name="connsiteX1266" fmla="*/ 29585 w 139969"/>
                <a:gd name="connsiteY1266" fmla="*/ 199138 h 286300"/>
                <a:gd name="connsiteX1267" fmla="*/ 30221 w 139969"/>
                <a:gd name="connsiteY1267" fmla="*/ 198820 h 286300"/>
                <a:gd name="connsiteX1268" fmla="*/ 31175 w 139969"/>
                <a:gd name="connsiteY1268" fmla="*/ 197866 h 286300"/>
                <a:gd name="connsiteX1269" fmla="*/ 31811 w 139969"/>
                <a:gd name="connsiteY1269" fmla="*/ 196593 h 286300"/>
                <a:gd name="connsiteX1270" fmla="*/ 31175 w 139969"/>
                <a:gd name="connsiteY1270" fmla="*/ 196275 h 286300"/>
                <a:gd name="connsiteX1271" fmla="*/ 30539 w 139969"/>
                <a:gd name="connsiteY1271" fmla="*/ 195639 h 286300"/>
                <a:gd name="connsiteX1272" fmla="*/ 29903 w 139969"/>
                <a:gd name="connsiteY1272" fmla="*/ 195957 h 286300"/>
                <a:gd name="connsiteX1273" fmla="*/ 29903 w 139969"/>
                <a:gd name="connsiteY1273" fmla="*/ 196593 h 286300"/>
                <a:gd name="connsiteX1274" fmla="*/ 27358 w 139969"/>
                <a:gd name="connsiteY1274" fmla="*/ 200729 h 286300"/>
                <a:gd name="connsiteX1275" fmla="*/ 31811 w 139969"/>
                <a:gd name="connsiteY1275" fmla="*/ 209636 h 286300"/>
                <a:gd name="connsiteX1276" fmla="*/ 31493 w 139969"/>
                <a:gd name="connsiteY1276" fmla="*/ 210590 h 286300"/>
                <a:gd name="connsiteX1277" fmla="*/ 31811 w 139969"/>
                <a:gd name="connsiteY1277" fmla="*/ 211226 h 286300"/>
                <a:gd name="connsiteX1278" fmla="*/ 30221 w 139969"/>
                <a:gd name="connsiteY1278" fmla="*/ 214407 h 286300"/>
                <a:gd name="connsiteX1279" fmla="*/ 29267 w 139969"/>
                <a:gd name="connsiteY1279" fmla="*/ 215362 h 286300"/>
                <a:gd name="connsiteX1280" fmla="*/ 28630 w 139969"/>
                <a:gd name="connsiteY1280" fmla="*/ 215044 h 286300"/>
                <a:gd name="connsiteX1281" fmla="*/ 28312 w 139969"/>
                <a:gd name="connsiteY1281" fmla="*/ 214089 h 286300"/>
                <a:gd name="connsiteX1282" fmla="*/ 27358 w 139969"/>
                <a:gd name="connsiteY1282" fmla="*/ 213453 h 286300"/>
                <a:gd name="connsiteX1283" fmla="*/ 27676 w 139969"/>
                <a:gd name="connsiteY1283" fmla="*/ 213135 h 286300"/>
                <a:gd name="connsiteX1284" fmla="*/ 29267 w 139969"/>
                <a:gd name="connsiteY1284" fmla="*/ 209954 h 286300"/>
                <a:gd name="connsiteX1285" fmla="*/ 29903 w 139969"/>
                <a:gd name="connsiteY1285" fmla="*/ 208363 h 286300"/>
                <a:gd name="connsiteX1286" fmla="*/ 31493 w 139969"/>
                <a:gd name="connsiteY1286" fmla="*/ 209318 h 286300"/>
                <a:gd name="connsiteX1287" fmla="*/ 31811 w 139969"/>
                <a:gd name="connsiteY1287" fmla="*/ 209636 h 286300"/>
                <a:gd name="connsiteX1288" fmla="*/ 29585 w 139969"/>
                <a:gd name="connsiteY1288" fmla="*/ 184187 h 286300"/>
                <a:gd name="connsiteX1289" fmla="*/ 28948 w 139969"/>
                <a:gd name="connsiteY1289" fmla="*/ 184823 h 286300"/>
                <a:gd name="connsiteX1290" fmla="*/ 29585 w 139969"/>
                <a:gd name="connsiteY1290" fmla="*/ 185141 h 286300"/>
                <a:gd name="connsiteX1291" fmla="*/ 29903 w 139969"/>
                <a:gd name="connsiteY1291" fmla="*/ 184505 h 286300"/>
                <a:gd name="connsiteX1292" fmla="*/ 29585 w 139969"/>
                <a:gd name="connsiteY1292" fmla="*/ 184187 h 286300"/>
                <a:gd name="connsiteX1293" fmla="*/ 30857 w 139969"/>
                <a:gd name="connsiteY1293" fmla="*/ 180051 h 286300"/>
                <a:gd name="connsiteX1294" fmla="*/ 30539 w 139969"/>
                <a:gd name="connsiteY1294" fmla="*/ 179733 h 286300"/>
                <a:gd name="connsiteX1295" fmla="*/ 29585 w 139969"/>
                <a:gd name="connsiteY1295" fmla="*/ 181324 h 286300"/>
                <a:gd name="connsiteX1296" fmla="*/ 29585 w 139969"/>
                <a:gd name="connsiteY1296" fmla="*/ 181642 h 286300"/>
                <a:gd name="connsiteX1297" fmla="*/ 30857 w 139969"/>
                <a:gd name="connsiteY1297" fmla="*/ 180051 h 286300"/>
                <a:gd name="connsiteX1298" fmla="*/ 30857 w 139969"/>
                <a:gd name="connsiteY1298" fmla="*/ 184505 h 286300"/>
                <a:gd name="connsiteX1299" fmla="*/ 31493 w 139969"/>
                <a:gd name="connsiteY1299" fmla="*/ 184505 h 286300"/>
                <a:gd name="connsiteX1300" fmla="*/ 32130 w 139969"/>
                <a:gd name="connsiteY1300" fmla="*/ 185459 h 286300"/>
                <a:gd name="connsiteX1301" fmla="*/ 32130 w 139969"/>
                <a:gd name="connsiteY1301" fmla="*/ 185777 h 286300"/>
                <a:gd name="connsiteX1302" fmla="*/ 32448 w 139969"/>
                <a:gd name="connsiteY1302" fmla="*/ 185777 h 286300"/>
                <a:gd name="connsiteX1303" fmla="*/ 33402 w 139969"/>
                <a:gd name="connsiteY1303" fmla="*/ 183869 h 286300"/>
                <a:gd name="connsiteX1304" fmla="*/ 31811 w 139969"/>
                <a:gd name="connsiteY1304" fmla="*/ 183869 h 286300"/>
                <a:gd name="connsiteX1305" fmla="*/ 31175 w 139969"/>
                <a:gd name="connsiteY1305" fmla="*/ 183551 h 286300"/>
                <a:gd name="connsiteX1306" fmla="*/ 30539 w 139969"/>
                <a:gd name="connsiteY1306" fmla="*/ 184187 h 286300"/>
                <a:gd name="connsiteX1307" fmla="*/ 30857 w 139969"/>
                <a:gd name="connsiteY1307" fmla="*/ 184505 h 286300"/>
                <a:gd name="connsiteX1308" fmla="*/ 31175 w 139969"/>
                <a:gd name="connsiteY1308" fmla="*/ 178461 h 286300"/>
                <a:gd name="connsiteX1309" fmla="*/ 31811 w 139969"/>
                <a:gd name="connsiteY1309" fmla="*/ 178461 h 286300"/>
                <a:gd name="connsiteX1310" fmla="*/ 31811 w 139969"/>
                <a:gd name="connsiteY1310" fmla="*/ 177506 h 286300"/>
                <a:gd name="connsiteX1311" fmla="*/ 31493 w 139969"/>
                <a:gd name="connsiteY1311" fmla="*/ 178143 h 286300"/>
                <a:gd name="connsiteX1312" fmla="*/ 31175 w 139969"/>
                <a:gd name="connsiteY1312" fmla="*/ 178461 h 286300"/>
                <a:gd name="connsiteX1313" fmla="*/ 32766 w 139969"/>
                <a:gd name="connsiteY1313" fmla="*/ 180688 h 286300"/>
                <a:gd name="connsiteX1314" fmla="*/ 33084 w 139969"/>
                <a:gd name="connsiteY1314" fmla="*/ 181960 h 286300"/>
                <a:gd name="connsiteX1315" fmla="*/ 33402 w 139969"/>
                <a:gd name="connsiteY1315" fmla="*/ 183869 h 286300"/>
                <a:gd name="connsiteX1316" fmla="*/ 34674 w 139969"/>
                <a:gd name="connsiteY1316" fmla="*/ 182914 h 286300"/>
                <a:gd name="connsiteX1317" fmla="*/ 36265 w 139969"/>
                <a:gd name="connsiteY1317" fmla="*/ 180688 h 286300"/>
                <a:gd name="connsiteX1318" fmla="*/ 37537 w 139969"/>
                <a:gd name="connsiteY1318" fmla="*/ 179097 h 286300"/>
                <a:gd name="connsiteX1319" fmla="*/ 37537 w 139969"/>
                <a:gd name="connsiteY1319" fmla="*/ 178779 h 286300"/>
                <a:gd name="connsiteX1320" fmla="*/ 37219 w 139969"/>
                <a:gd name="connsiteY1320" fmla="*/ 178779 h 286300"/>
                <a:gd name="connsiteX1321" fmla="*/ 34674 w 139969"/>
                <a:gd name="connsiteY1321" fmla="*/ 179733 h 286300"/>
                <a:gd name="connsiteX1322" fmla="*/ 33402 w 139969"/>
                <a:gd name="connsiteY1322" fmla="*/ 179733 h 286300"/>
                <a:gd name="connsiteX1323" fmla="*/ 32766 w 139969"/>
                <a:gd name="connsiteY1323" fmla="*/ 180688 h 286300"/>
                <a:gd name="connsiteX1324" fmla="*/ 37855 w 139969"/>
                <a:gd name="connsiteY1324" fmla="*/ 183551 h 286300"/>
                <a:gd name="connsiteX1325" fmla="*/ 36901 w 139969"/>
                <a:gd name="connsiteY1325" fmla="*/ 184823 h 286300"/>
                <a:gd name="connsiteX1326" fmla="*/ 37219 w 139969"/>
                <a:gd name="connsiteY1326" fmla="*/ 185777 h 286300"/>
                <a:gd name="connsiteX1327" fmla="*/ 38173 w 139969"/>
                <a:gd name="connsiteY1327" fmla="*/ 183869 h 286300"/>
                <a:gd name="connsiteX1328" fmla="*/ 37855 w 139969"/>
                <a:gd name="connsiteY1328" fmla="*/ 183551 h 286300"/>
                <a:gd name="connsiteX1329" fmla="*/ 37537 w 139969"/>
                <a:gd name="connsiteY1329" fmla="*/ 191821 h 286300"/>
                <a:gd name="connsiteX1330" fmla="*/ 37537 w 139969"/>
                <a:gd name="connsiteY1330" fmla="*/ 192458 h 286300"/>
                <a:gd name="connsiteX1331" fmla="*/ 36901 w 139969"/>
                <a:gd name="connsiteY1331" fmla="*/ 191821 h 286300"/>
                <a:gd name="connsiteX1332" fmla="*/ 36901 w 139969"/>
                <a:gd name="connsiteY1332" fmla="*/ 191185 h 286300"/>
                <a:gd name="connsiteX1333" fmla="*/ 37537 w 139969"/>
                <a:gd name="connsiteY1333" fmla="*/ 191821 h 286300"/>
                <a:gd name="connsiteX1334" fmla="*/ 37855 w 139969"/>
                <a:gd name="connsiteY1334" fmla="*/ 181324 h 286300"/>
                <a:gd name="connsiteX1335" fmla="*/ 38810 w 139969"/>
                <a:gd name="connsiteY1335" fmla="*/ 180688 h 286300"/>
                <a:gd name="connsiteX1336" fmla="*/ 37855 w 139969"/>
                <a:gd name="connsiteY1336" fmla="*/ 180688 h 286300"/>
                <a:gd name="connsiteX1337" fmla="*/ 37855 w 139969"/>
                <a:gd name="connsiteY1337" fmla="*/ 181324 h 286300"/>
                <a:gd name="connsiteX1338" fmla="*/ 39128 w 139969"/>
                <a:gd name="connsiteY1338" fmla="*/ 176870 h 286300"/>
                <a:gd name="connsiteX1339" fmla="*/ 39446 w 139969"/>
                <a:gd name="connsiteY1339" fmla="*/ 176870 h 286300"/>
                <a:gd name="connsiteX1340" fmla="*/ 39128 w 139969"/>
                <a:gd name="connsiteY1340" fmla="*/ 176552 h 286300"/>
                <a:gd name="connsiteX1341" fmla="*/ 39128 w 139969"/>
                <a:gd name="connsiteY1341" fmla="*/ 176870 h 286300"/>
                <a:gd name="connsiteX1342" fmla="*/ 39128 w 139969"/>
                <a:gd name="connsiteY1342" fmla="*/ 181324 h 286300"/>
                <a:gd name="connsiteX1343" fmla="*/ 39764 w 139969"/>
                <a:gd name="connsiteY1343" fmla="*/ 183232 h 286300"/>
                <a:gd name="connsiteX1344" fmla="*/ 40082 w 139969"/>
                <a:gd name="connsiteY1344" fmla="*/ 183551 h 286300"/>
                <a:gd name="connsiteX1345" fmla="*/ 40718 w 139969"/>
                <a:gd name="connsiteY1345" fmla="*/ 183551 h 286300"/>
                <a:gd name="connsiteX1346" fmla="*/ 41673 w 139969"/>
                <a:gd name="connsiteY1346" fmla="*/ 181960 h 286300"/>
                <a:gd name="connsiteX1347" fmla="*/ 42945 w 139969"/>
                <a:gd name="connsiteY1347" fmla="*/ 181006 h 286300"/>
                <a:gd name="connsiteX1348" fmla="*/ 43264 w 139969"/>
                <a:gd name="connsiteY1348" fmla="*/ 179415 h 286300"/>
                <a:gd name="connsiteX1349" fmla="*/ 43900 w 139969"/>
                <a:gd name="connsiteY1349" fmla="*/ 178779 h 286300"/>
                <a:gd name="connsiteX1350" fmla="*/ 43582 w 139969"/>
                <a:gd name="connsiteY1350" fmla="*/ 178143 h 286300"/>
                <a:gd name="connsiteX1351" fmla="*/ 42627 w 139969"/>
                <a:gd name="connsiteY1351" fmla="*/ 177506 h 286300"/>
                <a:gd name="connsiteX1352" fmla="*/ 41673 w 139969"/>
                <a:gd name="connsiteY1352" fmla="*/ 177825 h 286300"/>
                <a:gd name="connsiteX1353" fmla="*/ 41355 w 139969"/>
                <a:gd name="connsiteY1353" fmla="*/ 179097 h 286300"/>
                <a:gd name="connsiteX1354" fmla="*/ 41355 w 139969"/>
                <a:gd name="connsiteY1354" fmla="*/ 179733 h 286300"/>
                <a:gd name="connsiteX1355" fmla="*/ 40718 w 139969"/>
                <a:gd name="connsiteY1355" fmla="*/ 180369 h 286300"/>
                <a:gd name="connsiteX1356" fmla="*/ 40082 w 139969"/>
                <a:gd name="connsiteY1356" fmla="*/ 180369 h 286300"/>
                <a:gd name="connsiteX1357" fmla="*/ 39128 w 139969"/>
                <a:gd name="connsiteY1357" fmla="*/ 181324 h 286300"/>
                <a:gd name="connsiteX1358" fmla="*/ 39764 w 139969"/>
                <a:gd name="connsiteY1358" fmla="*/ 195003 h 286300"/>
                <a:gd name="connsiteX1359" fmla="*/ 39446 w 139969"/>
                <a:gd name="connsiteY1359" fmla="*/ 195957 h 286300"/>
                <a:gd name="connsiteX1360" fmla="*/ 39128 w 139969"/>
                <a:gd name="connsiteY1360" fmla="*/ 195957 h 286300"/>
                <a:gd name="connsiteX1361" fmla="*/ 39128 w 139969"/>
                <a:gd name="connsiteY1361" fmla="*/ 195003 h 286300"/>
                <a:gd name="connsiteX1362" fmla="*/ 39764 w 139969"/>
                <a:gd name="connsiteY1362" fmla="*/ 195003 h 286300"/>
                <a:gd name="connsiteX1363" fmla="*/ 40400 w 139969"/>
                <a:gd name="connsiteY1363" fmla="*/ 185777 h 286300"/>
                <a:gd name="connsiteX1364" fmla="*/ 40718 w 139969"/>
                <a:gd name="connsiteY1364" fmla="*/ 186095 h 286300"/>
                <a:gd name="connsiteX1365" fmla="*/ 40718 w 139969"/>
                <a:gd name="connsiteY1365" fmla="*/ 185459 h 286300"/>
                <a:gd name="connsiteX1366" fmla="*/ 40400 w 139969"/>
                <a:gd name="connsiteY1366" fmla="*/ 185777 h 286300"/>
                <a:gd name="connsiteX1367" fmla="*/ 41036 w 139969"/>
                <a:gd name="connsiteY1367" fmla="*/ 165418 h 286300"/>
                <a:gd name="connsiteX1368" fmla="*/ 41036 w 139969"/>
                <a:gd name="connsiteY1368" fmla="*/ 165736 h 286300"/>
                <a:gd name="connsiteX1369" fmla="*/ 41673 w 139969"/>
                <a:gd name="connsiteY1369" fmla="*/ 166054 h 286300"/>
                <a:gd name="connsiteX1370" fmla="*/ 41991 w 139969"/>
                <a:gd name="connsiteY1370" fmla="*/ 165418 h 286300"/>
                <a:gd name="connsiteX1371" fmla="*/ 41673 w 139969"/>
                <a:gd name="connsiteY1371" fmla="*/ 165100 h 286300"/>
                <a:gd name="connsiteX1372" fmla="*/ 41036 w 139969"/>
                <a:gd name="connsiteY1372" fmla="*/ 165418 h 286300"/>
                <a:gd name="connsiteX1373" fmla="*/ 41991 w 139969"/>
                <a:gd name="connsiteY1373" fmla="*/ 169872 h 286300"/>
                <a:gd name="connsiteX1374" fmla="*/ 41991 w 139969"/>
                <a:gd name="connsiteY1374" fmla="*/ 170190 h 286300"/>
                <a:gd name="connsiteX1375" fmla="*/ 42627 w 139969"/>
                <a:gd name="connsiteY1375" fmla="*/ 170190 h 286300"/>
                <a:gd name="connsiteX1376" fmla="*/ 41991 w 139969"/>
                <a:gd name="connsiteY1376" fmla="*/ 169872 h 286300"/>
                <a:gd name="connsiteX1377" fmla="*/ 42627 w 139969"/>
                <a:gd name="connsiteY1377" fmla="*/ 185777 h 286300"/>
                <a:gd name="connsiteX1378" fmla="*/ 42309 w 139969"/>
                <a:gd name="connsiteY1378" fmla="*/ 186414 h 286300"/>
                <a:gd name="connsiteX1379" fmla="*/ 42627 w 139969"/>
                <a:gd name="connsiteY1379" fmla="*/ 186732 h 286300"/>
                <a:gd name="connsiteX1380" fmla="*/ 42627 w 139969"/>
                <a:gd name="connsiteY1380" fmla="*/ 185777 h 286300"/>
                <a:gd name="connsiteX1381" fmla="*/ 42945 w 139969"/>
                <a:gd name="connsiteY1381" fmla="*/ 175916 h 286300"/>
                <a:gd name="connsiteX1382" fmla="*/ 43264 w 139969"/>
                <a:gd name="connsiteY1382" fmla="*/ 176234 h 286300"/>
                <a:gd name="connsiteX1383" fmla="*/ 43900 w 139969"/>
                <a:gd name="connsiteY1383" fmla="*/ 176552 h 286300"/>
                <a:gd name="connsiteX1384" fmla="*/ 44218 w 139969"/>
                <a:gd name="connsiteY1384" fmla="*/ 176552 h 286300"/>
                <a:gd name="connsiteX1385" fmla="*/ 45172 w 139969"/>
                <a:gd name="connsiteY1385" fmla="*/ 175916 h 286300"/>
                <a:gd name="connsiteX1386" fmla="*/ 45808 w 139969"/>
                <a:gd name="connsiteY1386" fmla="*/ 174643 h 286300"/>
                <a:gd name="connsiteX1387" fmla="*/ 45490 w 139969"/>
                <a:gd name="connsiteY1387" fmla="*/ 173689 h 286300"/>
                <a:gd name="connsiteX1388" fmla="*/ 43264 w 139969"/>
                <a:gd name="connsiteY1388" fmla="*/ 174643 h 286300"/>
                <a:gd name="connsiteX1389" fmla="*/ 42945 w 139969"/>
                <a:gd name="connsiteY1389" fmla="*/ 175916 h 286300"/>
                <a:gd name="connsiteX1390" fmla="*/ 43264 w 139969"/>
                <a:gd name="connsiteY1390" fmla="*/ 171462 h 286300"/>
                <a:gd name="connsiteX1391" fmla="*/ 43900 w 139969"/>
                <a:gd name="connsiteY1391" fmla="*/ 171780 h 286300"/>
                <a:gd name="connsiteX1392" fmla="*/ 43900 w 139969"/>
                <a:gd name="connsiteY1392" fmla="*/ 171462 h 286300"/>
                <a:gd name="connsiteX1393" fmla="*/ 43582 w 139969"/>
                <a:gd name="connsiteY1393" fmla="*/ 171144 h 286300"/>
                <a:gd name="connsiteX1394" fmla="*/ 43264 w 139969"/>
                <a:gd name="connsiteY1394" fmla="*/ 171462 h 286300"/>
                <a:gd name="connsiteX1395" fmla="*/ 44218 w 139969"/>
                <a:gd name="connsiteY1395" fmla="*/ 165100 h 286300"/>
                <a:gd name="connsiteX1396" fmla="*/ 44536 w 139969"/>
                <a:gd name="connsiteY1396" fmla="*/ 165736 h 286300"/>
                <a:gd name="connsiteX1397" fmla="*/ 45490 w 139969"/>
                <a:gd name="connsiteY1397" fmla="*/ 166372 h 286300"/>
                <a:gd name="connsiteX1398" fmla="*/ 46763 w 139969"/>
                <a:gd name="connsiteY1398" fmla="*/ 166372 h 286300"/>
                <a:gd name="connsiteX1399" fmla="*/ 46763 w 139969"/>
                <a:gd name="connsiteY1399" fmla="*/ 167327 h 286300"/>
                <a:gd name="connsiteX1400" fmla="*/ 46126 w 139969"/>
                <a:gd name="connsiteY1400" fmla="*/ 168281 h 286300"/>
                <a:gd name="connsiteX1401" fmla="*/ 48035 w 139969"/>
                <a:gd name="connsiteY1401" fmla="*/ 166054 h 286300"/>
                <a:gd name="connsiteX1402" fmla="*/ 48035 w 139969"/>
                <a:gd name="connsiteY1402" fmla="*/ 165100 h 286300"/>
                <a:gd name="connsiteX1403" fmla="*/ 47717 w 139969"/>
                <a:gd name="connsiteY1403" fmla="*/ 163828 h 286300"/>
                <a:gd name="connsiteX1404" fmla="*/ 47399 w 139969"/>
                <a:gd name="connsiteY1404" fmla="*/ 163509 h 286300"/>
                <a:gd name="connsiteX1405" fmla="*/ 46763 w 139969"/>
                <a:gd name="connsiteY1405" fmla="*/ 164146 h 286300"/>
                <a:gd name="connsiteX1406" fmla="*/ 45490 w 139969"/>
                <a:gd name="connsiteY1406" fmla="*/ 164782 h 286300"/>
                <a:gd name="connsiteX1407" fmla="*/ 45172 w 139969"/>
                <a:gd name="connsiteY1407" fmla="*/ 164782 h 286300"/>
                <a:gd name="connsiteX1408" fmla="*/ 44854 w 139969"/>
                <a:gd name="connsiteY1408" fmla="*/ 164464 h 286300"/>
                <a:gd name="connsiteX1409" fmla="*/ 44218 w 139969"/>
                <a:gd name="connsiteY1409" fmla="*/ 164782 h 286300"/>
                <a:gd name="connsiteX1410" fmla="*/ 44218 w 139969"/>
                <a:gd name="connsiteY1410" fmla="*/ 165100 h 286300"/>
                <a:gd name="connsiteX1411" fmla="*/ 45490 w 139969"/>
                <a:gd name="connsiteY1411" fmla="*/ 169235 h 286300"/>
                <a:gd name="connsiteX1412" fmla="*/ 46126 w 139969"/>
                <a:gd name="connsiteY1412" fmla="*/ 168281 h 286300"/>
                <a:gd name="connsiteX1413" fmla="*/ 45172 w 139969"/>
                <a:gd name="connsiteY1413" fmla="*/ 168599 h 286300"/>
                <a:gd name="connsiteX1414" fmla="*/ 44854 w 139969"/>
                <a:gd name="connsiteY1414" fmla="*/ 168917 h 286300"/>
                <a:gd name="connsiteX1415" fmla="*/ 45490 w 139969"/>
                <a:gd name="connsiteY1415" fmla="*/ 169235 h 286300"/>
                <a:gd name="connsiteX1416" fmla="*/ 46763 w 139969"/>
                <a:gd name="connsiteY1416" fmla="*/ 172417 h 286300"/>
                <a:gd name="connsiteX1417" fmla="*/ 47399 w 139969"/>
                <a:gd name="connsiteY1417" fmla="*/ 171780 h 286300"/>
                <a:gd name="connsiteX1418" fmla="*/ 48035 w 139969"/>
                <a:gd name="connsiteY1418" fmla="*/ 171780 h 286300"/>
                <a:gd name="connsiteX1419" fmla="*/ 48035 w 139969"/>
                <a:gd name="connsiteY1419" fmla="*/ 171462 h 286300"/>
                <a:gd name="connsiteX1420" fmla="*/ 47399 w 139969"/>
                <a:gd name="connsiteY1420" fmla="*/ 171144 h 286300"/>
                <a:gd name="connsiteX1421" fmla="*/ 46763 w 139969"/>
                <a:gd name="connsiteY1421" fmla="*/ 171462 h 286300"/>
                <a:gd name="connsiteX1422" fmla="*/ 46126 w 139969"/>
                <a:gd name="connsiteY1422" fmla="*/ 172417 h 286300"/>
                <a:gd name="connsiteX1423" fmla="*/ 45490 w 139969"/>
                <a:gd name="connsiteY1423" fmla="*/ 173689 h 286300"/>
                <a:gd name="connsiteX1424" fmla="*/ 47399 w 139969"/>
                <a:gd name="connsiteY1424" fmla="*/ 173689 h 286300"/>
                <a:gd name="connsiteX1425" fmla="*/ 47717 w 139969"/>
                <a:gd name="connsiteY1425" fmla="*/ 173371 h 286300"/>
                <a:gd name="connsiteX1426" fmla="*/ 47399 w 139969"/>
                <a:gd name="connsiteY1426" fmla="*/ 173371 h 286300"/>
                <a:gd name="connsiteX1427" fmla="*/ 47399 w 139969"/>
                <a:gd name="connsiteY1427" fmla="*/ 173053 h 286300"/>
                <a:gd name="connsiteX1428" fmla="*/ 46763 w 139969"/>
                <a:gd name="connsiteY1428" fmla="*/ 172417 h 286300"/>
                <a:gd name="connsiteX1429" fmla="*/ 45808 w 139969"/>
                <a:gd name="connsiteY1429" fmla="*/ 163509 h 286300"/>
                <a:gd name="connsiteX1430" fmla="*/ 46126 w 139969"/>
                <a:gd name="connsiteY1430" fmla="*/ 163191 h 286300"/>
                <a:gd name="connsiteX1431" fmla="*/ 45808 w 139969"/>
                <a:gd name="connsiteY1431" fmla="*/ 162873 h 286300"/>
                <a:gd name="connsiteX1432" fmla="*/ 45808 w 139969"/>
                <a:gd name="connsiteY1432" fmla="*/ 163509 h 286300"/>
                <a:gd name="connsiteX1433" fmla="*/ 47399 w 139969"/>
                <a:gd name="connsiteY1433" fmla="*/ 158738 h 286300"/>
                <a:gd name="connsiteX1434" fmla="*/ 48989 w 139969"/>
                <a:gd name="connsiteY1434" fmla="*/ 157783 h 286300"/>
                <a:gd name="connsiteX1435" fmla="*/ 48035 w 139969"/>
                <a:gd name="connsiteY1435" fmla="*/ 157465 h 286300"/>
                <a:gd name="connsiteX1436" fmla="*/ 47399 w 139969"/>
                <a:gd name="connsiteY1436" fmla="*/ 158738 h 286300"/>
                <a:gd name="connsiteX1437" fmla="*/ 49307 w 139969"/>
                <a:gd name="connsiteY1437" fmla="*/ 159374 h 286300"/>
                <a:gd name="connsiteX1438" fmla="*/ 48989 w 139969"/>
                <a:gd name="connsiteY1438" fmla="*/ 159692 h 286300"/>
                <a:gd name="connsiteX1439" fmla="*/ 48035 w 139969"/>
                <a:gd name="connsiteY1439" fmla="*/ 160646 h 286300"/>
                <a:gd name="connsiteX1440" fmla="*/ 49944 w 139969"/>
                <a:gd name="connsiteY1440" fmla="*/ 160328 h 286300"/>
                <a:gd name="connsiteX1441" fmla="*/ 49944 w 139969"/>
                <a:gd name="connsiteY1441" fmla="*/ 160010 h 286300"/>
                <a:gd name="connsiteX1442" fmla="*/ 49307 w 139969"/>
                <a:gd name="connsiteY1442" fmla="*/ 159374 h 286300"/>
                <a:gd name="connsiteX1443" fmla="*/ 49307 w 139969"/>
                <a:gd name="connsiteY1443" fmla="*/ 163191 h 286300"/>
                <a:gd name="connsiteX1444" fmla="*/ 49307 w 139969"/>
                <a:gd name="connsiteY1444" fmla="*/ 163509 h 286300"/>
                <a:gd name="connsiteX1445" fmla="*/ 49626 w 139969"/>
                <a:gd name="connsiteY1445" fmla="*/ 163191 h 286300"/>
                <a:gd name="connsiteX1446" fmla="*/ 49307 w 139969"/>
                <a:gd name="connsiteY1446" fmla="*/ 163191 h 286300"/>
                <a:gd name="connsiteX1447" fmla="*/ 50580 w 139969"/>
                <a:gd name="connsiteY1447" fmla="*/ 170826 h 286300"/>
                <a:gd name="connsiteX1448" fmla="*/ 50580 w 139969"/>
                <a:gd name="connsiteY1448" fmla="*/ 171462 h 286300"/>
                <a:gd name="connsiteX1449" fmla="*/ 50898 w 139969"/>
                <a:gd name="connsiteY1449" fmla="*/ 171144 h 286300"/>
                <a:gd name="connsiteX1450" fmla="*/ 50898 w 139969"/>
                <a:gd name="connsiteY1450" fmla="*/ 170508 h 286300"/>
                <a:gd name="connsiteX1451" fmla="*/ 50580 w 139969"/>
                <a:gd name="connsiteY1451" fmla="*/ 170826 h 286300"/>
                <a:gd name="connsiteX1452" fmla="*/ 51852 w 139969"/>
                <a:gd name="connsiteY1452" fmla="*/ 169872 h 286300"/>
                <a:gd name="connsiteX1453" fmla="*/ 51852 w 139969"/>
                <a:gd name="connsiteY1453" fmla="*/ 169235 h 286300"/>
                <a:gd name="connsiteX1454" fmla="*/ 51534 w 139969"/>
                <a:gd name="connsiteY1454" fmla="*/ 168917 h 286300"/>
                <a:gd name="connsiteX1455" fmla="*/ 50898 w 139969"/>
                <a:gd name="connsiteY1455" fmla="*/ 170190 h 286300"/>
                <a:gd name="connsiteX1456" fmla="*/ 50898 w 139969"/>
                <a:gd name="connsiteY1456" fmla="*/ 170508 h 286300"/>
                <a:gd name="connsiteX1457" fmla="*/ 51852 w 139969"/>
                <a:gd name="connsiteY1457" fmla="*/ 169872 h 286300"/>
                <a:gd name="connsiteX1458" fmla="*/ 51852 w 139969"/>
                <a:gd name="connsiteY1458" fmla="*/ 282483 h 286300"/>
                <a:gd name="connsiteX1459" fmla="*/ 51216 w 139969"/>
                <a:gd name="connsiteY1459" fmla="*/ 282483 h 286300"/>
                <a:gd name="connsiteX1460" fmla="*/ 50898 w 139969"/>
                <a:gd name="connsiteY1460" fmla="*/ 282801 h 286300"/>
                <a:gd name="connsiteX1461" fmla="*/ 51216 w 139969"/>
                <a:gd name="connsiteY1461" fmla="*/ 283120 h 286300"/>
                <a:gd name="connsiteX1462" fmla="*/ 51852 w 139969"/>
                <a:gd name="connsiteY1462" fmla="*/ 282483 h 286300"/>
                <a:gd name="connsiteX1463" fmla="*/ 51216 w 139969"/>
                <a:gd name="connsiteY1463" fmla="*/ 158738 h 286300"/>
                <a:gd name="connsiteX1464" fmla="*/ 51852 w 139969"/>
                <a:gd name="connsiteY1464" fmla="*/ 159056 h 286300"/>
                <a:gd name="connsiteX1465" fmla="*/ 52170 w 139969"/>
                <a:gd name="connsiteY1465" fmla="*/ 158420 h 286300"/>
                <a:gd name="connsiteX1466" fmla="*/ 51216 w 139969"/>
                <a:gd name="connsiteY1466" fmla="*/ 158420 h 286300"/>
                <a:gd name="connsiteX1467" fmla="*/ 51216 w 139969"/>
                <a:gd name="connsiteY1467" fmla="*/ 158738 h 286300"/>
                <a:gd name="connsiteX1468" fmla="*/ 52170 w 139969"/>
                <a:gd name="connsiteY1468" fmla="*/ 156193 h 286300"/>
                <a:gd name="connsiteX1469" fmla="*/ 52488 w 139969"/>
                <a:gd name="connsiteY1469" fmla="*/ 157147 h 286300"/>
                <a:gd name="connsiteX1470" fmla="*/ 53761 w 139969"/>
                <a:gd name="connsiteY1470" fmla="*/ 158102 h 286300"/>
                <a:gd name="connsiteX1471" fmla="*/ 54079 w 139969"/>
                <a:gd name="connsiteY1471" fmla="*/ 157783 h 286300"/>
                <a:gd name="connsiteX1472" fmla="*/ 54079 w 139969"/>
                <a:gd name="connsiteY1472" fmla="*/ 157147 h 286300"/>
                <a:gd name="connsiteX1473" fmla="*/ 52807 w 139969"/>
                <a:gd name="connsiteY1473" fmla="*/ 155557 h 286300"/>
                <a:gd name="connsiteX1474" fmla="*/ 52488 w 139969"/>
                <a:gd name="connsiteY1474" fmla="*/ 155239 h 286300"/>
                <a:gd name="connsiteX1475" fmla="*/ 52170 w 139969"/>
                <a:gd name="connsiteY1475" fmla="*/ 156193 h 286300"/>
                <a:gd name="connsiteX1476" fmla="*/ 54397 w 139969"/>
                <a:gd name="connsiteY1476" fmla="*/ 160010 h 286300"/>
                <a:gd name="connsiteX1477" fmla="*/ 53761 w 139969"/>
                <a:gd name="connsiteY1477" fmla="*/ 160010 h 286300"/>
                <a:gd name="connsiteX1478" fmla="*/ 53761 w 139969"/>
                <a:gd name="connsiteY1478" fmla="*/ 160646 h 286300"/>
                <a:gd name="connsiteX1479" fmla="*/ 55352 w 139969"/>
                <a:gd name="connsiteY1479" fmla="*/ 161601 h 286300"/>
                <a:gd name="connsiteX1480" fmla="*/ 55352 w 139969"/>
                <a:gd name="connsiteY1480" fmla="*/ 161919 h 286300"/>
                <a:gd name="connsiteX1481" fmla="*/ 55670 w 139969"/>
                <a:gd name="connsiteY1481" fmla="*/ 161601 h 286300"/>
                <a:gd name="connsiteX1482" fmla="*/ 55352 w 139969"/>
                <a:gd name="connsiteY1482" fmla="*/ 161601 h 286300"/>
                <a:gd name="connsiteX1483" fmla="*/ 55352 w 139969"/>
                <a:gd name="connsiteY1483" fmla="*/ 160646 h 286300"/>
                <a:gd name="connsiteX1484" fmla="*/ 54397 w 139969"/>
                <a:gd name="connsiteY1484" fmla="*/ 160010 h 286300"/>
                <a:gd name="connsiteX1485" fmla="*/ 55352 w 139969"/>
                <a:gd name="connsiteY1485" fmla="*/ 154920 h 286300"/>
                <a:gd name="connsiteX1486" fmla="*/ 55988 w 139969"/>
                <a:gd name="connsiteY1486" fmla="*/ 156193 h 286300"/>
                <a:gd name="connsiteX1487" fmla="*/ 55988 w 139969"/>
                <a:gd name="connsiteY1487" fmla="*/ 157147 h 286300"/>
                <a:gd name="connsiteX1488" fmla="*/ 56306 w 139969"/>
                <a:gd name="connsiteY1488" fmla="*/ 157465 h 286300"/>
                <a:gd name="connsiteX1489" fmla="*/ 58215 w 139969"/>
                <a:gd name="connsiteY1489" fmla="*/ 155239 h 286300"/>
                <a:gd name="connsiteX1490" fmla="*/ 59169 w 139969"/>
                <a:gd name="connsiteY1490" fmla="*/ 153648 h 286300"/>
                <a:gd name="connsiteX1491" fmla="*/ 59805 w 139969"/>
                <a:gd name="connsiteY1491" fmla="*/ 153648 h 286300"/>
                <a:gd name="connsiteX1492" fmla="*/ 59805 w 139969"/>
                <a:gd name="connsiteY1492" fmla="*/ 153012 h 286300"/>
                <a:gd name="connsiteX1493" fmla="*/ 59487 w 139969"/>
                <a:gd name="connsiteY1493" fmla="*/ 153012 h 286300"/>
                <a:gd name="connsiteX1494" fmla="*/ 57897 w 139969"/>
                <a:gd name="connsiteY1494" fmla="*/ 153648 h 286300"/>
                <a:gd name="connsiteX1495" fmla="*/ 56942 w 139969"/>
                <a:gd name="connsiteY1495" fmla="*/ 153648 h 286300"/>
                <a:gd name="connsiteX1496" fmla="*/ 56306 w 139969"/>
                <a:gd name="connsiteY1496" fmla="*/ 153330 h 286300"/>
                <a:gd name="connsiteX1497" fmla="*/ 55988 w 139969"/>
                <a:gd name="connsiteY1497" fmla="*/ 153648 h 286300"/>
                <a:gd name="connsiteX1498" fmla="*/ 55352 w 139969"/>
                <a:gd name="connsiteY1498" fmla="*/ 154920 h 286300"/>
                <a:gd name="connsiteX1499" fmla="*/ 56624 w 139969"/>
                <a:gd name="connsiteY1499" fmla="*/ 265942 h 286300"/>
                <a:gd name="connsiteX1500" fmla="*/ 55988 w 139969"/>
                <a:gd name="connsiteY1500" fmla="*/ 265942 h 286300"/>
                <a:gd name="connsiteX1501" fmla="*/ 55670 w 139969"/>
                <a:gd name="connsiteY1501" fmla="*/ 265623 h 286300"/>
                <a:gd name="connsiteX1502" fmla="*/ 56306 w 139969"/>
                <a:gd name="connsiteY1502" fmla="*/ 265623 h 286300"/>
                <a:gd name="connsiteX1503" fmla="*/ 56624 w 139969"/>
                <a:gd name="connsiteY1503" fmla="*/ 265942 h 286300"/>
                <a:gd name="connsiteX1504" fmla="*/ 57260 w 139969"/>
                <a:gd name="connsiteY1504" fmla="*/ 280257 h 286300"/>
                <a:gd name="connsiteX1505" fmla="*/ 56942 w 139969"/>
                <a:gd name="connsiteY1505" fmla="*/ 279938 h 286300"/>
                <a:gd name="connsiteX1506" fmla="*/ 56306 w 139969"/>
                <a:gd name="connsiteY1506" fmla="*/ 280257 h 286300"/>
                <a:gd name="connsiteX1507" fmla="*/ 56624 w 139969"/>
                <a:gd name="connsiteY1507" fmla="*/ 280893 h 286300"/>
                <a:gd name="connsiteX1508" fmla="*/ 57260 w 139969"/>
                <a:gd name="connsiteY1508" fmla="*/ 280257 h 286300"/>
                <a:gd name="connsiteX1509" fmla="*/ 61078 w 139969"/>
                <a:gd name="connsiteY1509" fmla="*/ 278030 h 286300"/>
                <a:gd name="connsiteX1510" fmla="*/ 60123 w 139969"/>
                <a:gd name="connsiteY1510" fmla="*/ 276757 h 286300"/>
                <a:gd name="connsiteX1511" fmla="*/ 59169 w 139969"/>
                <a:gd name="connsiteY1511" fmla="*/ 278666 h 286300"/>
                <a:gd name="connsiteX1512" fmla="*/ 60760 w 139969"/>
                <a:gd name="connsiteY1512" fmla="*/ 278666 h 286300"/>
                <a:gd name="connsiteX1513" fmla="*/ 61078 w 139969"/>
                <a:gd name="connsiteY1513" fmla="*/ 278030 h 286300"/>
                <a:gd name="connsiteX1514" fmla="*/ 59805 w 139969"/>
                <a:gd name="connsiteY1514" fmla="*/ 148558 h 286300"/>
                <a:gd name="connsiteX1515" fmla="*/ 60123 w 139969"/>
                <a:gd name="connsiteY1515" fmla="*/ 148240 h 286300"/>
                <a:gd name="connsiteX1516" fmla="*/ 59805 w 139969"/>
                <a:gd name="connsiteY1516" fmla="*/ 147604 h 286300"/>
                <a:gd name="connsiteX1517" fmla="*/ 59805 w 139969"/>
                <a:gd name="connsiteY1517" fmla="*/ 148558 h 286300"/>
                <a:gd name="connsiteX1518" fmla="*/ 60441 w 139969"/>
                <a:gd name="connsiteY1518" fmla="*/ 151103 h 286300"/>
                <a:gd name="connsiteX1519" fmla="*/ 59805 w 139969"/>
                <a:gd name="connsiteY1519" fmla="*/ 151739 h 286300"/>
                <a:gd name="connsiteX1520" fmla="*/ 60123 w 139969"/>
                <a:gd name="connsiteY1520" fmla="*/ 152057 h 286300"/>
                <a:gd name="connsiteX1521" fmla="*/ 60760 w 139969"/>
                <a:gd name="connsiteY1521" fmla="*/ 151739 h 286300"/>
                <a:gd name="connsiteX1522" fmla="*/ 60441 w 139969"/>
                <a:gd name="connsiteY1522" fmla="*/ 151103 h 286300"/>
                <a:gd name="connsiteX1523" fmla="*/ 61396 w 139969"/>
                <a:gd name="connsiteY1523" fmla="*/ 142832 h 286300"/>
                <a:gd name="connsiteX1524" fmla="*/ 61714 w 139969"/>
                <a:gd name="connsiteY1524" fmla="*/ 143468 h 286300"/>
                <a:gd name="connsiteX1525" fmla="*/ 61714 w 139969"/>
                <a:gd name="connsiteY1525" fmla="*/ 143150 h 286300"/>
                <a:gd name="connsiteX1526" fmla="*/ 61396 w 139969"/>
                <a:gd name="connsiteY1526" fmla="*/ 142514 h 286300"/>
                <a:gd name="connsiteX1527" fmla="*/ 61396 w 139969"/>
                <a:gd name="connsiteY1527" fmla="*/ 142832 h 286300"/>
                <a:gd name="connsiteX1528" fmla="*/ 61396 w 139969"/>
                <a:gd name="connsiteY1528" fmla="*/ 154602 h 286300"/>
                <a:gd name="connsiteX1529" fmla="*/ 62032 w 139969"/>
                <a:gd name="connsiteY1529" fmla="*/ 154602 h 286300"/>
                <a:gd name="connsiteX1530" fmla="*/ 62668 w 139969"/>
                <a:gd name="connsiteY1530" fmla="*/ 153966 h 286300"/>
                <a:gd name="connsiteX1531" fmla="*/ 62350 w 139969"/>
                <a:gd name="connsiteY1531" fmla="*/ 153648 h 286300"/>
                <a:gd name="connsiteX1532" fmla="*/ 61396 w 139969"/>
                <a:gd name="connsiteY1532" fmla="*/ 154602 h 286300"/>
                <a:gd name="connsiteX1533" fmla="*/ 62032 w 139969"/>
                <a:gd name="connsiteY1533" fmla="*/ 149831 h 286300"/>
                <a:gd name="connsiteX1534" fmla="*/ 61714 w 139969"/>
                <a:gd name="connsiteY1534" fmla="*/ 150467 h 286300"/>
                <a:gd name="connsiteX1535" fmla="*/ 62032 w 139969"/>
                <a:gd name="connsiteY1535" fmla="*/ 150785 h 286300"/>
                <a:gd name="connsiteX1536" fmla="*/ 62350 w 139969"/>
                <a:gd name="connsiteY1536" fmla="*/ 150149 h 286300"/>
                <a:gd name="connsiteX1537" fmla="*/ 62032 w 139969"/>
                <a:gd name="connsiteY1537" fmla="*/ 149831 h 286300"/>
                <a:gd name="connsiteX1538" fmla="*/ 62986 w 139969"/>
                <a:gd name="connsiteY1538" fmla="*/ 153330 h 286300"/>
                <a:gd name="connsiteX1539" fmla="*/ 63622 w 139969"/>
                <a:gd name="connsiteY1539" fmla="*/ 153648 h 286300"/>
                <a:gd name="connsiteX1540" fmla="*/ 63941 w 139969"/>
                <a:gd name="connsiteY1540" fmla="*/ 153330 h 286300"/>
                <a:gd name="connsiteX1541" fmla="*/ 63941 w 139969"/>
                <a:gd name="connsiteY1541" fmla="*/ 153012 h 286300"/>
                <a:gd name="connsiteX1542" fmla="*/ 63622 w 139969"/>
                <a:gd name="connsiteY1542" fmla="*/ 152694 h 286300"/>
                <a:gd name="connsiteX1543" fmla="*/ 62986 w 139969"/>
                <a:gd name="connsiteY1543" fmla="*/ 153012 h 286300"/>
                <a:gd name="connsiteX1544" fmla="*/ 62986 w 139969"/>
                <a:gd name="connsiteY1544" fmla="*/ 153330 h 286300"/>
                <a:gd name="connsiteX1545" fmla="*/ 64577 w 139969"/>
                <a:gd name="connsiteY1545" fmla="*/ 140287 h 286300"/>
                <a:gd name="connsiteX1546" fmla="*/ 64895 w 139969"/>
                <a:gd name="connsiteY1546" fmla="*/ 139969 h 286300"/>
                <a:gd name="connsiteX1547" fmla="*/ 64577 w 139969"/>
                <a:gd name="connsiteY1547" fmla="*/ 139969 h 286300"/>
                <a:gd name="connsiteX1548" fmla="*/ 64577 w 139969"/>
                <a:gd name="connsiteY1548" fmla="*/ 140287 h 286300"/>
                <a:gd name="connsiteX1549" fmla="*/ 64577 w 139969"/>
                <a:gd name="connsiteY1549" fmla="*/ 154284 h 286300"/>
                <a:gd name="connsiteX1550" fmla="*/ 64895 w 139969"/>
                <a:gd name="connsiteY1550" fmla="*/ 154284 h 286300"/>
                <a:gd name="connsiteX1551" fmla="*/ 65531 w 139969"/>
                <a:gd name="connsiteY1551" fmla="*/ 154602 h 286300"/>
                <a:gd name="connsiteX1552" fmla="*/ 65849 w 139969"/>
                <a:gd name="connsiteY1552" fmla="*/ 155557 h 286300"/>
                <a:gd name="connsiteX1553" fmla="*/ 65849 w 139969"/>
                <a:gd name="connsiteY1553" fmla="*/ 156193 h 286300"/>
                <a:gd name="connsiteX1554" fmla="*/ 66485 w 139969"/>
                <a:gd name="connsiteY1554" fmla="*/ 156193 h 286300"/>
                <a:gd name="connsiteX1555" fmla="*/ 67122 w 139969"/>
                <a:gd name="connsiteY1555" fmla="*/ 154920 h 286300"/>
                <a:gd name="connsiteX1556" fmla="*/ 66803 w 139969"/>
                <a:gd name="connsiteY1556" fmla="*/ 153966 h 286300"/>
                <a:gd name="connsiteX1557" fmla="*/ 65849 w 139969"/>
                <a:gd name="connsiteY1557" fmla="*/ 153648 h 286300"/>
                <a:gd name="connsiteX1558" fmla="*/ 64895 w 139969"/>
                <a:gd name="connsiteY1558" fmla="*/ 154284 h 286300"/>
                <a:gd name="connsiteX1559" fmla="*/ 64895 w 139969"/>
                <a:gd name="connsiteY1559" fmla="*/ 153648 h 286300"/>
                <a:gd name="connsiteX1560" fmla="*/ 64577 w 139969"/>
                <a:gd name="connsiteY1560" fmla="*/ 153648 h 286300"/>
                <a:gd name="connsiteX1561" fmla="*/ 64577 w 139969"/>
                <a:gd name="connsiteY1561" fmla="*/ 154284 h 286300"/>
                <a:gd name="connsiteX1562" fmla="*/ 64895 w 139969"/>
                <a:gd name="connsiteY1562" fmla="*/ 139969 h 286300"/>
                <a:gd name="connsiteX1563" fmla="*/ 65213 w 139969"/>
                <a:gd name="connsiteY1563" fmla="*/ 139651 h 286300"/>
                <a:gd name="connsiteX1564" fmla="*/ 64895 w 139969"/>
                <a:gd name="connsiteY1564" fmla="*/ 139969 h 286300"/>
                <a:gd name="connsiteX1565" fmla="*/ 64895 w 139969"/>
                <a:gd name="connsiteY1565" fmla="*/ 151421 h 286300"/>
                <a:gd name="connsiteX1566" fmla="*/ 64895 w 139969"/>
                <a:gd name="connsiteY1566" fmla="*/ 151739 h 286300"/>
                <a:gd name="connsiteX1567" fmla="*/ 65213 w 139969"/>
                <a:gd name="connsiteY1567" fmla="*/ 151739 h 286300"/>
                <a:gd name="connsiteX1568" fmla="*/ 65531 w 139969"/>
                <a:gd name="connsiteY1568" fmla="*/ 150785 h 286300"/>
                <a:gd name="connsiteX1569" fmla="*/ 65531 w 139969"/>
                <a:gd name="connsiteY1569" fmla="*/ 150467 h 286300"/>
                <a:gd name="connsiteX1570" fmla="*/ 65213 w 139969"/>
                <a:gd name="connsiteY1570" fmla="*/ 150149 h 286300"/>
                <a:gd name="connsiteX1571" fmla="*/ 65213 w 139969"/>
                <a:gd name="connsiteY1571" fmla="*/ 150467 h 286300"/>
                <a:gd name="connsiteX1572" fmla="*/ 64895 w 139969"/>
                <a:gd name="connsiteY1572" fmla="*/ 151421 h 286300"/>
                <a:gd name="connsiteX1573" fmla="*/ 66803 w 139969"/>
                <a:gd name="connsiteY1573" fmla="*/ 141878 h 286300"/>
                <a:gd name="connsiteX1574" fmla="*/ 66485 w 139969"/>
                <a:gd name="connsiteY1574" fmla="*/ 141878 h 286300"/>
                <a:gd name="connsiteX1575" fmla="*/ 66485 w 139969"/>
                <a:gd name="connsiteY1575" fmla="*/ 141560 h 286300"/>
                <a:gd name="connsiteX1576" fmla="*/ 65531 w 139969"/>
                <a:gd name="connsiteY1576" fmla="*/ 142196 h 286300"/>
                <a:gd name="connsiteX1577" fmla="*/ 65213 w 139969"/>
                <a:gd name="connsiteY1577" fmla="*/ 143150 h 286300"/>
                <a:gd name="connsiteX1578" fmla="*/ 66167 w 139969"/>
                <a:gd name="connsiteY1578" fmla="*/ 143150 h 286300"/>
                <a:gd name="connsiteX1579" fmla="*/ 66803 w 139969"/>
                <a:gd name="connsiteY1579" fmla="*/ 141878 h 286300"/>
                <a:gd name="connsiteX1580" fmla="*/ 65849 w 139969"/>
                <a:gd name="connsiteY1580" fmla="*/ 138697 h 286300"/>
                <a:gd name="connsiteX1581" fmla="*/ 67440 w 139969"/>
                <a:gd name="connsiteY1581" fmla="*/ 137742 h 286300"/>
                <a:gd name="connsiteX1582" fmla="*/ 65849 w 139969"/>
                <a:gd name="connsiteY1582" fmla="*/ 138697 h 286300"/>
                <a:gd name="connsiteX1583" fmla="*/ 67440 w 139969"/>
                <a:gd name="connsiteY1583" fmla="*/ 137742 h 286300"/>
                <a:gd name="connsiteX1584" fmla="*/ 69667 w 139969"/>
                <a:gd name="connsiteY1584" fmla="*/ 136788 h 286300"/>
                <a:gd name="connsiteX1585" fmla="*/ 69349 w 139969"/>
                <a:gd name="connsiteY1585" fmla="*/ 136470 h 286300"/>
                <a:gd name="connsiteX1586" fmla="*/ 68712 w 139969"/>
                <a:gd name="connsiteY1586" fmla="*/ 136152 h 286300"/>
                <a:gd name="connsiteX1587" fmla="*/ 68076 w 139969"/>
                <a:gd name="connsiteY1587" fmla="*/ 136470 h 286300"/>
                <a:gd name="connsiteX1588" fmla="*/ 67440 w 139969"/>
                <a:gd name="connsiteY1588" fmla="*/ 137742 h 286300"/>
                <a:gd name="connsiteX1589" fmla="*/ 69985 w 139969"/>
                <a:gd name="connsiteY1589" fmla="*/ 271349 h 286300"/>
                <a:gd name="connsiteX1590" fmla="*/ 69667 w 139969"/>
                <a:gd name="connsiteY1590" fmla="*/ 271667 h 286300"/>
                <a:gd name="connsiteX1591" fmla="*/ 69985 w 139969"/>
                <a:gd name="connsiteY1591" fmla="*/ 271667 h 286300"/>
                <a:gd name="connsiteX1592" fmla="*/ 70621 w 139969"/>
                <a:gd name="connsiteY1592" fmla="*/ 271349 h 286300"/>
                <a:gd name="connsiteX1593" fmla="*/ 69985 w 139969"/>
                <a:gd name="connsiteY1593" fmla="*/ 271349 h 286300"/>
                <a:gd name="connsiteX1594" fmla="*/ 71575 w 139969"/>
                <a:gd name="connsiteY1594" fmla="*/ 136152 h 286300"/>
                <a:gd name="connsiteX1595" fmla="*/ 71894 w 139969"/>
                <a:gd name="connsiteY1595" fmla="*/ 136788 h 286300"/>
                <a:gd name="connsiteX1596" fmla="*/ 72530 w 139969"/>
                <a:gd name="connsiteY1596" fmla="*/ 136788 h 286300"/>
                <a:gd name="connsiteX1597" fmla="*/ 74438 w 139969"/>
                <a:gd name="connsiteY1597" fmla="*/ 138061 h 286300"/>
                <a:gd name="connsiteX1598" fmla="*/ 76029 w 139969"/>
                <a:gd name="connsiteY1598" fmla="*/ 137424 h 286300"/>
                <a:gd name="connsiteX1599" fmla="*/ 76665 w 139969"/>
                <a:gd name="connsiteY1599" fmla="*/ 136788 h 286300"/>
                <a:gd name="connsiteX1600" fmla="*/ 76347 w 139969"/>
                <a:gd name="connsiteY1600" fmla="*/ 136470 h 286300"/>
                <a:gd name="connsiteX1601" fmla="*/ 75075 w 139969"/>
                <a:gd name="connsiteY1601" fmla="*/ 135516 h 286300"/>
                <a:gd name="connsiteX1602" fmla="*/ 74438 w 139969"/>
                <a:gd name="connsiteY1602" fmla="*/ 135198 h 286300"/>
                <a:gd name="connsiteX1603" fmla="*/ 72530 w 139969"/>
                <a:gd name="connsiteY1603" fmla="*/ 135516 h 286300"/>
                <a:gd name="connsiteX1604" fmla="*/ 71894 w 139969"/>
                <a:gd name="connsiteY1604" fmla="*/ 135516 h 286300"/>
                <a:gd name="connsiteX1605" fmla="*/ 71575 w 139969"/>
                <a:gd name="connsiteY1605" fmla="*/ 135834 h 286300"/>
                <a:gd name="connsiteX1606" fmla="*/ 71575 w 139969"/>
                <a:gd name="connsiteY1606" fmla="*/ 136152 h 286300"/>
                <a:gd name="connsiteX1607" fmla="*/ 71894 w 139969"/>
                <a:gd name="connsiteY1607" fmla="*/ 133289 h 286300"/>
                <a:gd name="connsiteX1608" fmla="*/ 72530 w 139969"/>
                <a:gd name="connsiteY1608" fmla="*/ 133607 h 286300"/>
                <a:gd name="connsiteX1609" fmla="*/ 73166 w 139969"/>
                <a:gd name="connsiteY1609" fmla="*/ 132971 h 286300"/>
                <a:gd name="connsiteX1610" fmla="*/ 72848 w 139969"/>
                <a:gd name="connsiteY1610" fmla="*/ 132653 h 286300"/>
                <a:gd name="connsiteX1611" fmla="*/ 72530 w 139969"/>
                <a:gd name="connsiteY1611" fmla="*/ 132653 h 286300"/>
                <a:gd name="connsiteX1612" fmla="*/ 71894 w 139969"/>
                <a:gd name="connsiteY1612" fmla="*/ 132971 h 286300"/>
                <a:gd name="connsiteX1613" fmla="*/ 71894 w 139969"/>
                <a:gd name="connsiteY1613" fmla="*/ 133289 h 286300"/>
                <a:gd name="connsiteX1614" fmla="*/ 77301 w 139969"/>
                <a:gd name="connsiteY1614" fmla="*/ 132016 h 286300"/>
                <a:gd name="connsiteX1615" fmla="*/ 77937 w 139969"/>
                <a:gd name="connsiteY1615" fmla="*/ 132653 h 286300"/>
                <a:gd name="connsiteX1616" fmla="*/ 78256 w 139969"/>
                <a:gd name="connsiteY1616" fmla="*/ 132971 h 286300"/>
                <a:gd name="connsiteX1617" fmla="*/ 78892 w 139969"/>
                <a:gd name="connsiteY1617" fmla="*/ 131380 h 286300"/>
                <a:gd name="connsiteX1618" fmla="*/ 78892 w 139969"/>
                <a:gd name="connsiteY1618" fmla="*/ 131062 h 286300"/>
                <a:gd name="connsiteX1619" fmla="*/ 78256 w 139969"/>
                <a:gd name="connsiteY1619" fmla="*/ 131062 h 286300"/>
                <a:gd name="connsiteX1620" fmla="*/ 77301 w 139969"/>
                <a:gd name="connsiteY1620" fmla="*/ 132016 h 286300"/>
                <a:gd name="connsiteX1621" fmla="*/ 79210 w 139969"/>
                <a:gd name="connsiteY1621" fmla="*/ 137106 h 286300"/>
                <a:gd name="connsiteX1622" fmla="*/ 78574 w 139969"/>
                <a:gd name="connsiteY1622" fmla="*/ 137742 h 286300"/>
                <a:gd name="connsiteX1623" fmla="*/ 78574 w 139969"/>
                <a:gd name="connsiteY1623" fmla="*/ 138061 h 286300"/>
                <a:gd name="connsiteX1624" fmla="*/ 79210 w 139969"/>
                <a:gd name="connsiteY1624" fmla="*/ 137742 h 286300"/>
                <a:gd name="connsiteX1625" fmla="*/ 79528 w 139969"/>
                <a:gd name="connsiteY1625" fmla="*/ 137742 h 286300"/>
                <a:gd name="connsiteX1626" fmla="*/ 79846 w 139969"/>
                <a:gd name="connsiteY1626" fmla="*/ 138061 h 286300"/>
                <a:gd name="connsiteX1627" fmla="*/ 79528 w 139969"/>
                <a:gd name="connsiteY1627" fmla="*/ 137106 h 286300"/>
                <a:gd name="connsiteX1628" fmla="*/ 79210 w 139969"/>
                <a:gd name="connsiteY1628" fmla="*/ 137106 h 286300"/>
                <a:gd name="connsiteX1629" fmla="*/ 82391 w 139969"/>
                <a:gd name="connsiteY1629" fmla="*/ 132653 h 286300"/>
                <a:gd name="connsiteX1630" fmla="*/ 82709 w 139969"/>
                <a:gd name="connsiteY1630" fmla="*/ 132335 h 286300"/>
                <a:gd name="connsiteX1631" fmla="*/ 83346 w 139969"/>
                <a:gd name="connsiteY1631" fmla="*/ 130744 h 286300"/>
                <a:gd name="connsiteX1632" fmla="*/ 85254 w 139969"/>
                <a:gd name="connsiteY1632" fmla="*/ 129471 h 286300"/>
                <a:gd name="connsiteX1633" fmla="*/ 88117 w 139969"/>
                <a:gd name="connsiteY1633" fmla="*/ 127245 h 286300"/>
                <a:gd name="connsiteX1634" fmla="*/ 85254 w 139969"/>
                <a:gd name="connsiteY1634" fmla="*/ 128835 h 286300"/>
                <a:gd name="connsiteX1635" fmla="*/ 84618 w 139969"/>
                <a:gd name="connsiteY1635" fmla="*/ 129153 h 286300"/>
                <a:gd name="connsiteX1636" fmla="*/ 82709 w 139969"/>
                <a:gd name="connsiteY1636" fmla="*/ 130426 h 286300"/>
                <a:gd name="connsiteX1637" fmla="*/ 82073 w 139969"/>
                <a:gd name="connsiteY1637" fmla="*/ 132016 h 286300"/>
                <a:gd name="connsiteX1638" fmla="*/ 82391 w 139969"/>
                <a:gd name="connsiteY1638" fmla="*/ 132653 h 286300"/>
                <a:gd name="connsiteX1639" fmla="*/ 84300 w 139969"/>
                <a:gd name="connsiteY1639" fmla="*/ 132971 h 286300"/>
                <a:gd name="connsiteX1640" fmla="*/ 83346 w 139969"/>
                <a:gd name="connsiteY1640" fmla="*/ 133607 h 286300"/>
                <a:gd name="connsiteX1641" fmla="*/ 83664 w 139969"/>
                <a:gd name="connsiteY1641" fmla="*/ 134243 h 286300"/>
                <a:gd name="connsiteX1642" fmla="*/ 84618 w 139969"/>
                <a:gd name="connsiteY1642" fmla="*/ 133289 h 286300"/>
                <a:gd name="connsiteX1643" fmla="*/ 84300 w 139969"/>
                <a:gd name="connsiteY1643" fmla="*/ 132971 h 286300"/>
                <a:gd name="connsiteX1644" fmla="*/ 87799 w 139969"/>
                <a:gd name="connsiteY1644" fmla="*/ 253853 h 286300"/>
                <a:gd name="connsiteX1645" fmla="*/ 87481 w 139969"/>
                <a:gd name="connsiteY1645" fmla="*/ 253217 h 286300"/>
                <a:gd name="connsiteX1646" fmla="*/ 86527 w 139969"/>
                <a:gd name="connsiteY1646" fmla="*/ 253217 h 286300"/>
                <a:gd name="connsiteX1647" fmla="*/ 86209 w 139969"/>
                <a:gd name="connsiteY1647" fmla="*/ 254808 h 286300"/>
                <a:gd name="connsiteX1648" fmla="*/ 86209 w 139969"/>
                <a:gd name="connsiteY1648" fmla="*/ 255762 h 286300"/>
                <a:gd name="connsiteX1649" fmla="*/ 86845 w 139969"/>
                <a:gd name="connsiteY1649" fmla="*/ 255762 h 286300"/>
                <a:gd name="connsiteX1650" fmla="*/ 87799 w 139969"/>
                <a:gd name="connsiteY1650" fmla="*/ 253853 h 286300"/>
                <a:gd name="connsiteX1651" fmla="*/ 89071 w 139969"/>
                <a:gd name="connsiteY1651" fmla="*/ 250036 h 286300"/>
                <a:gd name="connsiteX1652" fmla="*/ 88435 w 139969"/>
                <a:gd name="connsiteY1652" fmla="*/ 250354 h 286300"/>
                <a:gd name="connsiteX1653" fmla="*/ 88117 w 139969"/>
                <a:gd name="connsiteY1653" fmla="*/ 250672 h 286300"/>
                <a:gd name="connsiteX1654" fmla="*/ 88435 w 139969"/>
                <a:gd name="connsiteY1654" fmla="*/ 250672 h 286300"/>
                <a:gd name="connsiteX1655" fmla="*/ 88753 w 139969"/>
                <a:gd name="connsiteY1655" fmla="*/ 250354 h 286300"/>
                <a:gd name="connsiteX1656" fmla="*/ 89071 w 139969"/>
                <a:gd name="connsiteY1656" fmla="*/ 250036 h 286300"/>
                <a:gd name="connsiteX1657" fmla="*/ 90344 w 139969"/>
                <a:gd name="connsiteY1657" fmla="*/ 125654 h 286300"/>
                <a:gd name="connsiteX1658" fmla="*/ 92252 w 139969"/>
                <a:gd name="connsiteY1658" fmla="*/ 124700 h 286300"/>
                <a:gd name="connsiteX1659" fmla="*/ 93843 w 139969"/>
                <a:gd name="connsiteY1659" fmla="*/ 126609 h 286300"/>
                <a:gd name="connsiteX1660" fmla="*/ 93843 w 139969"/>
                <a:gd name="connsiteY1660" fmla="*/ 126927 h 286300"/>
                <a:gd name="connsiteX1661" fmla="*/ 92571 w 139969"/>
                <a:gd name="connsiteY1661" fmla="*/ 126609 h 286300"/>
                <a:gd name="connsiteX1662" fmla="*/ 91934 w 139969"/>
                <a:gd name="connsiteY1662" fmla="*/ 127563 h 286300"/>
                <a:gd name="connsiteX1663" fmla="*/ 91934 w 139969"/>
                <a:gd name="connsiteY1663" fmla="*/ 128199 h 286300"/>
                <a:gd name="connsiteX1664" fmla="*/ 92571 w 139969"/>
                <a:gd name="connsiteY1664" fmla="*/ 129153 h 286300"/>
                <a:gd name="connsiteX1665" fmla="*/ 92889 w 139969"/>
                <a:gd name="connsiteY1665" fmla="*/ 129471 h 286300"/>
                <a:gd name="connsiteX1666" fmla="*/ 93207 w 139969"/>
                <a:gd name="connsiteY1666" fmla="*/ 129153 h 286300"/>
                <a:gd name="connsiteX1667" fmla="*/ 94479 w 139969"/>
                <a:gd name="connsiteY1667" fmla="*/ 128199 h 286300"/>
                <a:gd name="connsiteX1668" fmla="*/ 95115 w 139969"/>
                <a:gd name="connsiteY1668" fmla="*/ 127245 h 286300"/>
                <a:gd name="connsiteX1669" fmla="*/ 94797 w 139969"/>
                <a:gd name="connsiteY1669" fmla="*/ 126290 h 286300"/>
                <a:gd name="connsiteX1670" fmla="*/ 95115 w 139969"/>
                <a:gd name="connsiteY1670" fmla="*/ 125336 h 286300"/>
                <a:gd name="connsiteX1671" fmla="*/ 95752 w 139969"/>
                <a:gd name="connsiteY1671" fmla="*/ 124700 h 286300"/>
                <a:gd name="connsiteX1672" fmla="*/ 95434 w 139969"/>
                <a:gd name="connsiteY1672" fmla="*/ 124064 h 286300"/>
                <a:gd name="connsiteX1673" fmla="*/ 95115 w 139969"/>
                <a:gd name="connsiteY1673" fmla="*/ 123746 h 286300"/>
                <a:gd name="connsiteX1674" fmla="*/ 95752 w 139969"/>
                <a:gd name="connsiteY1674" fmla="*/ 123427 h 286300"/>
                <a:gd name="connsiteX1675" fmla="*/ 97343 w 139969"/>
                <a:gd name="connsiteY1675" fmla="*/ 121519 h 286300"/>
                <a:gd name="connsiteX1676" fmla="*/ 98297 w 139969"/>
                <a:gd name="connsiteY1676" fmla="*/ 120882 h 286300"/>
                <a:gd name="connsiteX1677" fmla="*/ 98297 w 139969"/>
                <a:gd name="connsiteY1677" fmla="*/ 122155 h 286300"/>
                <a:gd name="connsiteX1678" fmla="*/ 99887 w 139969"/>
                <a:gd name="connsiteY1678" fmla="*/ 120882 h 286300"/>
                <a:gd name="connsiteX1679" fmla="*/ 98933 w 139969"/>
                <a:gd name="connsiteY1679" fmla="*/ 119928 h 286300"/>
                <a:gd name="connsiteX1680" fmla="*/ 98297 w 139969"/>
                <a:gd name="connsiteY1680" fmla="*/ 118656 h 286300"/>
                <a:gd name="connsiteX1681" fmla="*/ 97661 w 139969"/>
                <a:gd name="connsiteY1681" fmla="*/ 118656 h 286300"/>
                <a:gd name="connsiteX1682" fmla="*/ 94797 w 139969"/>
                <a:gd name="connsiteY1682" fmla="*/ 119928 h 286300"/>
                <a:gd name="connsiteX1683" fmla="*/ 94479 w 139969"/>
                <a:gd name="connsiteY1683" fmla="*/ 119928 h 286300"/>
                <a:gd name="connsiteX1684" fmla="*/ 93207 w 139969"/>
                <a:gd name="connsiteY1684" fmla="*/ 121201 h 286300"/>
                <a:gd name="connsiteX1685" fmla="*/ 92571 w 139969"/>
                <a:gd name="connsiteY1685" fmla="*/ 122155 h 286300"/>
                <a:gd name="connsiteX1686" fmla="*/ 90026 w 139969"/>
                <a:gd name="connsiteY1686" fmla="*/ 124700 h 286300"/>
                <a:gd name="connsiteX1687" fmla="*/ 90026 w 139969"/>
                <a:gd name="connsiteY1687" fmla="*/ 125654 h 286300"/>
                <a:gd name="connsiteX1688" fmla="*/ 90344 w 139969"/>
                <a:gd name="connsiteY1688" fmla="*/ 125654 h 286300"/>
                <a:gd name="connsiteX1689" fmla="*/ 90980 w 139969"/>
                <a:gd name="connsiteY1689" fmla="*/ 245582 h 286300"/>
                <a:gd name="connsiteX1690" fmla="*/ 90662 w 139969"/>
                <a:gd name="connsiteY1690" fmla="*/ 244946 h 286300"/>
                <a:gd name="connsiteX1691" fmla="*/ 90344 w 139969"/>
                <a:gd name="connsiteY1691" fmla="*/ 245264 h 286300"/>
                <a:gd name="connsiteX1692" fmla="*/ 90662 w 139969"/>
                <a:gd name="connsiteY1692" fmla="*/ 245582 h 286300"/>
                <a:gd name="connsiteX1693" fmla="*/ 90980 w 139969"/>
                <a:gd name="connsiteY1693" fmla="*/ 245582 h 286300"/>
                <a:gd name="connsiteX1694" fmla="*/ 90662 w 139969"/>
                <a:gd name="connsiteY1694" fmla="*/ 247809 h 286300"/>
                <a:gd name="connsiteX1695" fmla="*/ 90344 w 139969"/>
                <a:gd name="connsiteY1695" fmla="*/ 247809 h 286300"/>
                <a:gd name="connsiteX1696" fmla="*/ 90662 w 139969"/>
                <a:gd name="connsiteY1696" fmla="*/ 247809 h 286300"/>
                <a:gd name="connsiteX1697" fmla="*/ 97979 w 139969"/>
                <a:gd name="connsiteY1697" fmla="*/ 241765 h 286300"/>
                <a:gd name="connsiteX1698" fmla="*/ 97661 w 139969"/>
                <a:gd name="connsiteY1698" fmla="*/ 241129 h 286300"/>
                <a:gd name="connsiteX1699" fmla="*/ 96388 w 139969"/>
                <a:gd name="connsiteY1699" fmla="*/ 240174 h 286300"/>
                <a:gd name="connsiteX1700" fmla="*/ 95752 w 139969"/>
                <a:gd name="connsiteY1700" fmla="*/ 239856 h 286300"/>
                <a:gd name="connsiteX1701" fmla="*/ 95434 w 139969"/>
                <a:gd name="connsiteY1701" fmla="*/ 240174 h 286300"/>
                <a:gd name="connsiteX1702" fmla="*/ 92889 w 139969"/>
                <a:gd name="connsiteY1702" fmla="*/ 242401 h 286300"/>
                <a:gd name="connsiteX1703" fmla="*/ 92252 w 139969"/>
                <a:gd name="connsiteY1703" fmla="*/ 243356 h 286300"/>
                <a:gd name="connsiteX1704" fmla="*/ 91934 w 139969"/>
                <a:gd name="connsiteY1704" fmla="*/ 243992 h 286300"/>
                <a:gd name="connsiteX1705" fmla="*/ 92252 w 139969"/>
                <a:gd name="connsiteY1705" fmla="*/ 244310 h 286300"/>
                <a:gd name="connsiteX1706" fmla="*/ 92889 w 139969"/>
                <a:gd name="connsiteY1706" fmla="*/ 244310 h 286300"/>
                <a:gd name="connsiteX1707" fmla="*/ 93843 w 139969"/>
                <a:gd name="connsiteY1707" fmla="*/ 243356 h 286300"/>
                <a:gd name="connsiteX1708" fmla="*/ 93843 w 139969"/>
                <a:gd name="connsiteY1708" fmla="*/ 242719 h 286300"/>
                <a:gd name="connsiteX1709" fmla="*/ 94797 w 139969"/>
                <a:gd name="connsiteY1709" fmla="*/ 241765 h 286300"/>
                <a:gd name="connsiteX1710" fmla="*/ 96706 w 139969"/>
                <a:gd name="connsiteY1710" fmla="*/ 242401 h 286300"/>
                <a:gd name="connsiteX1711" fmla="*/ 97979 w 139969"/>
                <a:gd name="connsiteY1711" fmla="*/ 241765 h 286300"/>
                <a:gd name="connsiteX1712" fmla="*/ 96070 w 139969"/>
                <a:gd name="connsiteY1712" fmla="*/ 112930 h 286300"/>
                <a:gd name="connsiteX1713" fmla="*/ 96388 w 139969"/>
                <a:gd name="connsiteY1713" fmla="*/ 112930 h 286300"/>
                <a:gd name="connsiteX1714" fmla="*/ 96070 w 139969"/>
                <a:gd name="connsiteY1714" fmla="*/ 113248 h 286300"/>
                <a:gd name="connsiteX1715" fmla="*/ 96070 w 139969"/>
                <a:gd name="connsiteY1715" fmla="*/ 112930 h 286300"/>
                <a:gd name="connsiteX1716" fmla="*/ 97979 w 139969"/>
                <a:gd name="connsiteY1716" fmla="*/ 238584 h 286300"/>
                <a:gd name="connsiteX1717" fmla="*/ 97661 w 139969"/>
                <a:gd name="connsiteY1717" fmla="*/ 238266 h 286300"/>
                <a:gd name="connsiteX1718" fmla="*/ 97343 w 139969"/>
                <a:gd name="connsiteY1718" fmla="*/ 238266 h 286300"/>
                <a:gd name="connsiteX1719" fmla="*/ 97024 w 139969"/>
                <a:gd name="connsiteY1719" fmla="*/ 238902 h 286300"/>
                <a:gd name="connsiteX1720" fmla="*/ 97661 w 139969"/>
                <a:gd name="connsiteY1720" fmla="*/ 239538 h 286300"/>
                <a:gd name="connsiteX1721" fmla="*/ 97661 w 139969"/>
                <a:gd name="connsiteY1721" fmla="*/ 239220 h 286300"/>
                <a:gd name="connsiteX1722" fmla="*/ 97979 w 139969"/>
                <a:gd name="connsiteY1722" fmla="*/ 239220 h 286300"/>
                <a:gd name="connsiteX1723" fmla="*/ 97979 w 139969"/>
                <a:gd name="connsiteY1723" fmla="*/ 238584 h 286300"/>
                <a:gd name="connsiteX1724" fmla="*/ 99251 w 139969"/>
                <a:gd name="connsiteY1724" fmla="*/ 115793 h 286300"/>
                <a:gd name="connsiteX1725" fmla="*/ 99569 w 139969"/>
                <a:gd name="connsiteY1725" fmla="*/ 115475 h 286300"/>
                <a:gd name="connsiteX1726" fmla="*/ 99251 w 139969"/>
                <a:gd name="connsiteY1726" fmla="*/ 115156 h 286300"/>
                <a:gd name="connsiteX1727" fmla="*/ 98615 w 139969"/>
                <a:gd name="connsiteY1727" fmla="*/ 115475 h 286300"/>
                <a:gd name="connsiteX1728" fmla="*/ 99251 w 139969"/>
                <a:gd name="connsiteY1728" fmla="*/ 115793 h 286300"/>
                <a:gd name="connsiteX1729" fmla="*/ 99887 w 139969"/>
                <a:gd name="connsiteY1729" fmla="*/ 118019 h 286300"/>
                <a:gd name="connsiteX1730" fmla="*/ 103068 w 139969"/>
                <a:gd name="connsiteY1730" fmla="*/ 115156 h 286300"/>
                <a:gd name="connsiteX1731" fmla="*/ 102432 w 139969"/>
                <a:gd name="connsiteY1731" fmla="*/ 115156 h 286300"/>
                <a:gd name="connsiteX1732" fmla="*/ 98933 w 139969"/>
                <a:gd name="connsiteY1732" fmla="*/ 118019 h 286300"/>
                <a:gd name="connsiteX1733" fmla="*/ 99887 w 139969"/>
                <a:gd name="connsiteY1733" fmla="*/ 118019 h 286300"/>
                <a:gd name="connsiteX1734" fmla="*/ 99887 w 139969"/>
                <a:gd name="connsiteY1734" fmla="*/ 233812 h 286300"/>
                <a:gd name="connsiteX1735" fmla="*/ 100524 w 139969"/>
                <a:gd name="connsiteY1735" fmla="*/ 233494 h 286300"/>
                <a:gd name="connsiteX1736" fmla="*/ 100205 w 139969"/>
                <a:gd name="connsiteY1736" fmla="*/ 233494 h 286300"/>
                <a:gd name="connsiteX1737" fmla="*/ 100205 w 139969"/>
                <a:gd name="connsiteY1737" fmla="*/ 233176 h 286300"/>
                <a:gd name="connsiteX1738" fmla="*/ 99569 w 139969"/>
                <a:gd name="connsiteY1738" fmla="*/ 233812 h 286300"/>
                <a:gd name="connsiteX1739" fmla="*/ 99887 w 139969"/>
                <a:gd name="connsiteY1739" fmla="*/ 233812 h 286300"/>
                <a:gd name="connsiteX1740" fmla="*/ 101796 w 139969"/>
                <a:gd name="connsiteY1740" fmla="*/ 236039 h 286300"/>
                <a:gd name="connsiteX1741" fmla="*/ 99569 w 139969"/>
                <a:gd name="connsiteY1741" fmla="*/ 235085 h 286300"/>
                <a:gd name="connsiteX1742" fmla="*/ 99569 w 139969"/>
                <a:gd name="connsiteY1742" fmla="*/ 235403 h 286300"/>
                <a:gd name="connsiteX1743" fmla="*/ 100524 w 139969"/>
                <a:gd name="connsiteY1743" fmla="*/ 236993 h 286300"/>
                <a:gd name="connsiteX1744" fmla="*/ 101478 w 139969"/>
                <a:gd name="connsiteY1744" fmla="*/ 236675 h 286300"/>
                <a:gd name="connsiteX1745" fmla="*/ 101796 w 139969"/>
                <a:gd name="connsiteY1745" fmla="*/ 236039 h 286300"/>
                <a:gd name="connsiteX1746" fmla="*/ 100842 w 139969"/>
                <a:gd name="connsiteY1746" fmla="*/ 112293 h 286300"/>
                <a:gd name="connsiteX1747" fmla="*/ 101478 w 139969"/>
                <a:gd name="connsiteY1747" fmla="*/ 113248 h 286300"/>
                <a:gd name="connsiteX1748" fmla="*/ 101478 w 139969"/>
                <a:gd name="connsiteY1748" fmla="*/ 113566 h 286300"/>
                <a:gd name="connsiteX1749" fmla="*/ 102114 w 139969"/>
                <a:gd name="connsiteY1749" fmla="*/ 113884 h 286300"/>
                <a:gd name="connsiteX1750" fmla="*/ 102432 w 139969"/>
                <a:gd name="connsiteY1750" fmla="*/ 113566 h 286300"/>
                <a:gd name="connsiteX1751" fmla="*/ 103705 w 139969"/>
                <a:gd name="connsiteY1751" fmla="*/ 112293 h 286300"/>
                <a:gd name="connsiteX1752" fmla="*/ 103068 w 139969"/>
                <a:gd name="connsiteY1752" fmla="*/ 112293 h 286300"/>
                <a:gd name="connsiteX1753" fmla="*/ 101796 w 139969"/>
                <a:gd name="connsiteY1753" fmla="*/ 111657 h 286300"/>
                <a:gd name="connsiteX1754" fmla="*/ 101796 w 139969"/>
                <a:gd name="connsiteY1754" fmla="*/ 111021 h 286300"/>
                <a:gd name="connsiteX1755" fmla="*/ 101160 w 139969"/>
                <a:gd name="connsiteY1755" fmla="*/ 111339 h 286300"/>
                <a:gd name="connsiteX1756" fmla="*/ 100205 w 139969"/>
                <a:gd name="connsiteY1756" fmla="*/ 111657 h 286300"/>
                <a:gd name="connsiteX1757" fmla="*/ 100842 w 139969"/>
                <a:gd name="connsiteY1757" fmla="*/ 112293 h 286300"/>
                <a:gd name="connsiteX1758" fmla="*/ 102750 w 139969"/>
                <a:gd name="connsiteY1758" fmla="*/ 109112 h 286300"/>
                <a:gd name="connsiteX1759" fmla="*/ 103068 w 139969"/>
                <a:gd name="connsiteY1759" fmla="*/ 109430 h 286300"/>
                <a:gd name="connsiteX1760" fmla="*/ 104341 w 139969"/>
                <a:gd name="connsiteY1760" fmla="*/ 109112 h 286300"/>
                <a:gd name="connsiteX1761" fmla="*/ 104023 w 139969"/>
                <a:gd name="connsiteY1761" fmla="*/ 108794 h 286300"/>
                <a:gd name="connsiteX1762" fmla="*/ 103068 w 139969"/>
                <a:gd name="connsiteY1762" fmla="*/ 108794 h 286300"/>
                <a:gd name="connsiteX1763" fmla="*/ 102750 w 139969"/>
                <a:gd name="connsiteY1763" fmla="*/ 109112 h 286300"/>
                <a:gd name="connsiteX1764" fmla="*/ 104023 w 139969"/>
                <a:gd name="connsiteY1764" fmla="*/ 114202 h 286300"/>
                <a:gd name="connsiteX1765" fmla="*/ 103705 w 139969"/>
                <a:gd name="connsiteY1765" fmla="*/ 114202 h 286300"/>
                <a:gd name="connsiteX1766" fmla="*/ 103068 w 139969"/>
                <a:gd name="connsiteY1766" fmla="*/ 115156 h 286300"/>
                <a:gd name="connsiteX1767" fmla="*/ 104341 w 139969"/>
                <a:gd name="connsiteY1767" fmla="*/ 114520 h 286300"/>
                <a:gd name="connsiteX1768" fmla="*/ 104023 w 139969"/>
                <a:gd name="connsiteY1768" fmla="*/ 114202 h 286300"/>
                <a:gd name="connsiteX1769" fmla="*/ 105295 w 139969"/>
                <a:gd name="connsiteY1769" fmla="*/ 111339 h 286300"/>
                <a:gd name="connsiteX1770" fmla="*/ 105613 w 139969"/>
                <a:gd name="connsiteY1770" fmla="*/ 111339 h 286300"/>
                <a:gd name="connsiteX1771" fmla="*/ 106567 w 139969"/>
                <a:gd name="connsiteY1771" fmla="*/ 111021 h 286300"/>
                <a:gd name="connsiteX1772" fmla="*/ 105931 w 139969"/>
                <a:gd name="connsiteY1772" fmla="*/ 110703 h 286300"/>
                <a:gd name="connsiteX1773" fmla="*/ 105295 w 139969"/>
                <a:gd name="connsiteY1773" fmla="*/ 111339 h 286300"/>
                <a:gd name="connsiteX1774" fmla="*/ 105931 w 139969"/>
                <a:gd name="connsiteY1774" fmla="*/ 113566 h 286300"/>
                <a:gd name="connsiteX1775" fmla="*/ 106249 w 139969"/>
                <a:gd name="connsiteY1775" fmla="*/ 113248 h 286300"/>
                <a:gd name="connsiteX1776" fmla="*/ 106886 w 139969"/>
                <a:gd name="connsiteY1776" fmla="*/ 113566 h 286300"/>
                <a:gd name="connsiteX1777" fmla="*/ 106567 w 139969"/>
                <a:gd name="connsiteY1777" fmla="*/ 112930 h 286300"/>
                <a:gd name="connsiteX1778" fmla="*/ 105931 w 139969"/>
                <a:gd name="connsiteY1778" fmla="*/ 113248 h 286300"/>
                <a:gd name="connsiteX1779" fmla="*/ 105931 w 139969"/>
                <a:gd name="connsiteY1779" fmla="*/ 113566 h 286300"/>
                <a:gd name="connsiteX1780" fmla="*/ 106567 w 139969"/>
                <a:gd name="connsiteY1780" fmla="*/ 117065 h 286300"/>
                <a:gd name="connsiteX1781" fmla="*/ 108158 w 139969"/>
                <a:gd name="connsiteY1781" fmla="*/ 116429 h 286300"/>
                <a:gd name="connsiteX1782" fmla="*/ 107840 w 139969"/>
                <a:gd name="connsiteY1782" fmla="*/ 115793 h 286300"/>
                <a:gd name="connsiteX1783" fmla="*/ 106567 w 139969"/>
                <a:gd name="connsiteY1783" fmla="*/ 117065 h 286300"/>
                <a:gd name="connsiteX1784" fmla="*/ 108794 w 139969"/>
                <a:gd name="connsiteY1784" fmla="*/ 108476 h 286300"/>
                <a:gd name="connsiteX1785" fmla="*/ 108158 w 139969"/>
                <a:gd name="connsiteY1785" fmla="*/ 109112 h 286300"/>
                <a:gd name="connsiteX1786" fmla="*/ 107840 w 139969"/>
                <a:gd name="connsiteY1786" fmla="*/ 109430 h 286300"/>
                <a:gd name="connsiteX1787" fmla="*/ 108158 w 139969"/>
                <a:gd name="connsiteY1787" fmla="*/ 109749 h 286300"/>
                <a:gd name="connsiteX1788" fmla="*/ 108476 w 139969"/>
                <a:gd name="connsiteY1788" fmla="*/ 109112 h 286300"/>
                <a:gd name="connsiteX1789" fmla="*/ 110067 w 139969"/>
                <a:gd name="connsiteY1789" fmla="*/ 108476 h 286300"/>
                <a:gd name="connsiteX1790" fmla="*/ 111658 w 139969"/>
                <a:gd name="connsiteY1790" fmla="*/ 106886 h 286300"/>
                <a:gd name="connsiteX1791" fmla="*/ 111976 w 139969"/>
                <a:gd name="connsiteY1791" fmla="*/ 106567 h 286300"/>
                <a:gd name="connsiteX1792" fmla="*/ 111658 w 139969"/>
                <a:gd name="connsiteY1792" fmla="*/ 106249 h 286300"/>
                <a:gd name="connsiteX1793" fmla="*/ 110067 w 139969"/>
                <a:gd name="connsiteY1793" fmla="*/ 106567 h 286300"/>
                <a:gd name="connsiteX1794" fmla="*/ 109431 w 139969"/>
                <a:gd name="connsiteY1794" fmla="*/ 105931 h 286300"/>
                <a:gd name="connsiteX1795" fmla="*/ 109112 w 139969"/>
                <a:gd name="connsiteY1795" fmla="*/ 105613 h 286300"/>
                <a:gd name="connsiteX1796" fmla="*/ 107840 w 139969"/>
                <a:gd name="connsiteY1796" fmla="*/ 106249 h 286300"/>
                <a:gd name="connsiteX1797" fmla="*/ 107522 w 139969"/>
                <a:gd name="connsiteY1797" fmla="*/ 106249 h 286300"/>
                <a:gd name="connsiteX1798" fmla="*/ 107840 w 139969"/>
                <a:gd name="connsiteY1798" fmla="*/ 106886 h 286300"/>
                <a:gd name="connsiteX1799" fmla="*/ 108158 w 139969"/>
                <a:gd name="connsiteY1799" fmla="*/ 107204 h 286300"/>
                <a:gd name="connsiteX1800" fmla="*/ 108794 w 139969"/>
                <a:gd name="connsiteY1800" fmla="*/ 108476 h 286300"/>
                <a:gd name="connsiteX1801" fmla="*/ 108794 w 139969"/>
                <a:gd name="connsiteY1801" fmla="*/ 117383 h 286300"/>
                <a:gd name="connsiteX1802" fmla="*/ 108794 w 139969"/>
                <a:gd name="connsiteY1802" fmla="*/ 117701 h 286300"/>
                <a:gd name="connsiteX1803" fmla="*/ 109112 w 139969"/>
                <a:gd name="connsiteY1803" fmla="*/ 117065 h 286300"/>
                <a:gd name="connsiteX1804" fmla="*/ 108794 w 139969"/>
                <a:gd name="connsiteY1804" fmla="*/ 117383 h 286300"/>
                <a:gd name="connsiteX1805" fmla="*/ 109112 w 139969"/>
                <a:gd name="connsiteY1805" fmla="*/ 111339 h 286300"/>
                <a:gd name="connsiteX1806" fmla="*/ 109431 w 139969"/>
                <a:gd name="connsiteY1806" fmla="*/ 111339 h 286300"/>
                <a:gd name="connsiteX1807" fmla="*/ 110703 w 139969"/>
                <a:gd name="connsiteY1807" fmla="*/ 109430 h 286300"/>
                <a:gd name="connsiteX1808" fmla="*/ 110703 w 139969"/>
                <a:gd name="connsiteY1808" fmla="*/ 109112 h 286300"/>
                <a:gd name="connsiteX1809" fmla="*/ 110385 w 139969"/>
                <a:gd name="connsiteY1809" fmla="*/ 109112 h 286300"/>
                <a:gd name="connsiteX1810" fmla="*/ 109112 w 139969"/>
                <a:gd name="connsiteY1810" fmla="*/ 111021 h 286300"/>
                <a:gd name="connsiteX1811" fmla="*/ 109112 w 139969"/>
                <a:gd name="connsiteY1811" fmla="*/ 111339 h 286300"/>
                <a:gd name="connsiteX1812" fmla="*/ 111976 w 139969"/>
                <a:gd name="connsiteY1812" fmla="*/ 109749 h 286300"/>
                <a:gd name="connsiteX1813" fmla="*/ 111658 w 139969"/>
                <a:gd name="connsiteY1813" fmla="*/ 110067 h 286300"/>
                <a:gd name="connsiteX1814" fmla="*/ 111339 w 139969"/>
                <a:gd name="connsiteY1814" fmla="*/ 110703 h 286300"/>
                <a:gd name="connsiteX1815" fmla="*/ 112612 w 139969"/>
                <a:gd name="connsiteY1815" fmla="*/ 111975 h 286300"/>
                <a:gd name="connsiteX1816" fmla="*/ 112612 w 139969"/>
                <a:gd name="connsiteY1816" fmla="*/ 111657 h 286300"/>
                <a:gd name="connsiteX1817" fmla="*/ 112612 w 139969"/>
                <a:gd name="connsiteY1817" fmla="*/ 110067 h 286300"/>
                <a:gd name="connsiteX1818" fmla="*/ 111976 w 139969"/>
                <a:gd name="connsiteY1818" fmla="*/ 109749 h 286300"/>
                <a:gd name="connsiteX1819" fmla="*/ 112612 w 139969"/>
                <a:gd name="connsiteY1819" fmla="*/ 105295 h 286300"/>
                <a:gd name="connsiteX1820" fmla="*/ 113566 w 139969"/>
                <a:gd name="connsiteY1820" fmla="*/ 105613 h 286300"/>
                <a:gd name="connsiteX1821" fmla="*/ 114839 w 139969"/>
                <a:gd name="connsiteY1821" fmla="*/ 104977 h 286300"/>
                <a:gd name="connsiteX1822" fmla="*/ 114839 w 139969"/>
                <a:gd name="connsiteY1822" fmla="*/ 104341 h 286300"/>
                <a:gd name="connsiteX1823" fmla="*/ 114520 w 139969"/>
                <a:gd name="connsiteY1823" fmla="*/ 104023 h 286300"/>
                <a:gd name="connsiteX1824" fmla="*/ 113884 w 139969"/>
                <a:gd name="connsiteY1824" fmla="*/ 104341 h 286300"/>
                <a:gd name="connsiteX1825" fmla="*/ 112612 w 139969"/>
                <a:gd name="connsiteY1825" fmla="*/ 104659 h 286300"/>
                <a:gd name="connsiteX1826" fmla="*/ 112612 w 139969"/>
                <a:gd name="connsiteY1826" fmla="*/ 105295 h 286300"/>
                <a:gd name="connsiteX1827" fmla="*/ 114839 w 139969"/>
                <a:gd name="connsiteY1827" fmla="*/ 106249 h 286300"/>
                <a:gd name="connsiteX1828" fmla="*/ 113884 w 139969"/>
                <a:gd name="connsiteY1828" fmla="*/ 107204 h 286300"/>
                <a:gd name="connsiteX1829" fmla="*/ 113884 w 139969"/>
                <a:gd name="connsiteY1829" fmla="*/ 107522 h 286300"/>
                <a:gd name="connsiteX1830" fmla="*/ 114202 w 139969"/>
                <a:gd name="connsiteY1830" fmla="*/ 107840 h 286300"/>
                <a:gd name="connsiteX1831" fmla="*/ 114520 w 139969"/>
                <a:gd name="connsiteY1831" fmla="*/ 107840 h 286300"/>
                <a:gd name="connsiteX1832" fmla="*/ 115157 w 139969"/>
                <a:gd name="connsiteY1832" fmla="*/ 107522 h 286300"/>
                <a:gd name="connsiteX1833" fmla="*/ 115157 w 139969"/>
                <a:gd name="connsiteY1833" fmla="*/ 106567 h 286300"/>
                <a:gd name="connsiteX1834" fmla="*/ 114839 w 139969"/>
                <a:gd name="connsiteY1834" fmla="*/ 106249 h 286300"/>
                <a:gd name="connsiteX1835" fmla="*/ 119928 w 139969"/>
                <a:gd name="connsiteY1835" fmla="*/ 193412 h 286300"/>
                <a:gd name="connsiteX1836" fmla="*/ 119292 w 139969"/>
                <a:gd name="connsiteY1836" fmla="*/ 193412 h 286300"/>
                <a:gd name="connsiteX1837" fmla="*/ 118020 w 139969"/>
                <a:gd name="connsiteY1837" fmla="*/ 193094 h 286300"/>
                <a:gd name="connsiteX1838" fmla="*/ 118020 w 139969"/>
                <a:gd name="connsiteY1838" fmla="*/ 193730 h 286300"/>
                <a:gd name="connsiteX1839" fmla="*/ 119610 w 139969"/>
                <a:gd name="connsiteY1839" fmla="*/ 194684 h 286300"/>
                <a:gd name="connsiteX1840" fmla="*/ 119928 w 139969"/>
                <a:gd name="connsiteY1840" fmla="*/ 193730 h 286300"/>
                <a:gd name="connsiteX1841" fmla="*/ 119928 w 139969"/>
                <a:gd name="connsiteY1841" fmla="*/ 193412 h 286300"/>
                <a:gd name="connsiteX1842" fmla="*/ 118974 w 139969"/>
                <a:gd name="connsiteY1842" fmla="*/ 195639 h 286300"/>
                <a:gd name="connsiteX1843" fmla="*/ 118020 w 139969"/>
                <a:gd name="connsiteY1843" fmla="*/ 197229 h 286300"/>
                <a:gd name="connsiteX1844" fmla="*/ 118020 w 139969"/>
                <a:gd name="connsiteY1844" fmla="*/ 197547 h 286300"/>
                <a:gd name="connsiteX1845" fmla="*/ 118338 w 139969"/>
                <a:gd name="connsiteY1845" fmla="*/ 197547 h 286300"/>
                <a:gd name="connsiteX1846" fmla="*/ 119610 w 139969"/>
                <a:gd name="connsiteY1846" fmla="*/ 195639 h 286300"/>
                <a:gd name="connsiteX1847" fmla="*/ 118974 w 139969"/>
                <a:gd name="connsiteY1847" fmla="*/ 195639 h 286300"/>
                <a:gd name="connsiteX1848" fmla="*/ 122473 w 139969"/>
                <a:gd name="connsiteY1848" fmla="*/ 184187 h 286300"/>
                <a:gd name="connsiteX1849" fmla="*/ 122155 w 139969"/>
                <a:gd name="connsiteY1849" fmla="*/ 182914 h 286300"/>
                <a:gd name="connsiteX1850" fmla="*/ 122155 w 139969"/>
                <a:gd name="connsiteY1850" fmla="*/ 182596 h 286300"/>
                <a:gd name="connsiteX1851" fmla="*/ 121519 w 139969"/>
                <a:gd name="connsiteY1851" fmla="*/ 182914 h 286300"/>
                <a:gd name="connsiteX1852" fmla="*/ 120564 w 139969"/>
                <a:gd name="connsiteY1852" fmla="*/ 184505 h 286300"/>
                <a:gd name="connsiteX1853" fmla="*/ 120882 w 139969"/>
                <a:gd name="connsiteY1853" fmla="*/ 185777 h 286300"/>
                <a:gd name="connsiteX1854" fmla="*/ 121837 w 139969"/>
                <a:gd name="connsiteY1854" fmla="*/ 186095 h 286300"/>
                <a:gd name="connsiteX1855" fmla="*/ 122473 w 139969"/>
                <a:gd name="connsiteY1855" fmla="*/ 184505 h 286300"/>
                <a:gd name="connsiteX1856" fmla="*/ 122473 w 139969"/>
                <a:gd name="connsiteY1856" fmla="*/ 184187 h 286300"/>
                <a:gd name="connsiteX1857" fmla="*/ 121837 w 139969"/>
                <a:gd name="connsiteY1857" fmla="*/ 187368 h 286300"/>
                <a:gd name="connsiteX1858" fmla="*/ 121201 w 139969"/>
                <a:gd name="connsiteY1858" fmla="*/ 186732 h 286300"/>
                <a:gd name="connsiteX1859" fmla="*/ 120882 w 139969"/>
                <a:gd name="connsiteY1859" fmla="*/ 187686 h 286300"/>
                <a:gd name="connsiteX1860" fmla="*/ 121519 w 139969"/>
                <a:gd name="connsiteY1860" fmla="*/ 188004 h 286300"/>
                <a:gd name="connsiteX1861" fmla="*/ 121837 w 139969"/>
                <a:gd name="connsiteY1861" fmla="*/ 187368 h 286300"/>
                <a:gd name="connsiteX1862" fmla="*/ 122155 w 139969"/>
                <a:gd name="connsiteY1862" fmla="*/ 177506 h 286300"/>
                <a:gd name="connsiteX1863" fmla="*/ 122155 w 139969"/>
                <a:gd name="connsiteY1863" fmla="*/ 178143 h 286300"/>
                <a:gd name="connsiteX1864" fmla="*/ 122791 w 139969"/>
                <a:gd name="connsiteY1864" fmla="*/ 178143 h 286300"/>
                <a:gd name="connsiteX1865" fmla="*/ 122155 w 139969"/>
                <a:gd name="connsiteY1865" fmla="*/ 177506 h 286300"/>
                <a:gd name="connsiteX1866" fmla="*/ 122791 w 139969"/>
                <a:gd name="connsiteY1866" fmla="*/ 174643 h 286300"/>
                <a:gd name="connsiteX1867" fmla="*/ 123109 w 139969"/>
                <a:gd name="connsiteY1867" fmla="*/ 174962 h 286300"/>
                <a:gd name="connsiteX1868" fmla="*/ 123428 w 139969"/>
                <a:gd name="connsiteY1868" fmla="*/ 174643 h 286300"/>
                <a:gd name="connsiteX1869" fmla="*/ 123109 w 139969"/>
                <a:gd name="connsiteY1869" fmla="*/ 174007 h 286300"/>
                <a:gd name="connsiteX1870" fmla="*/ 123109 w 139969"/>
                <a:gd name="connsiteY1870" fmla="*/ 174325 h 286300"/>
                <a:gd name="connsiteX1871" fmla="*/ 122791 w 139969"/>
                <a:gd name="connsiteY1871" fmla="*/ 174643 h 286300"/>
                <a:gd name="connsiteX1872" fmla="*/ 123428 w 139969"/>
                <a:gd name="connsiteY1872" fmla="*/ 179097 h 286300"/>
                <a:gd name="connsiteX1873" fmla="*/ 123746 w 139969"/>
                <a:gd name="connsiteY1873" fmla="*/ 179733 h 286300"/>
                <a:gd name="connsiteX1874" fmla="*/ 124064 w 139969"/>
                <a:gd name="connsiteY1874" fmla="*/ 179733 h 286300"/>
                <a:gd name="connsiteX1875" fmla="*/ 124064 w 139969"/>
                <a:gd name="connsiteY1875" fmla="*/ 178143 h 286300"/>
                <a:gd name="connsiteX1876" fmla="*/ 123428 w 139969"/>
                <a:gd name="connsiteY1876" fmla="*/ 179097 h 286300"/>
                <a:gd name="connsiteX1877" fmla="*/ 124382 w 139969"/>
                <a:gd name="connsiteY1877" fmla="*/ 181960 h 286300"/>
                <a:gd name="connsiteX1878" fmla="*/ 123746 w 139969"/>
                <a:gd name="connsiteY1878" fmla="*/ 181324 h 286300"/>
                <a:gd name="connsiteX1879" fmla="*/ 123428 w 139969"/>
                <a:gd name="connsiteY1879" fmla="*/ 181642 h 286300"/>
                <a:gd name="connsiteX1880" fmla="*/ 123428 w 139969"/>
                <a:gd name="connsiteY1880" fmla="*/ 181960 h 286300"/>
                <a:gd name="connsiteX1881" fmla="*/ 124064 w 139969"/>
                <a:gd name="connsiteY1881" fmla="*/ 182278 h 286300"/>
                <a:gd name="connsiteX1882" fmla="*/ 124382 w 139969"/>
                <a:gd name="connsiteY1882" fmla="*/ 181960 h 286300"/>
                <a:gd name="connsiteX1883" fmla="*/ 129154 w 139969"/>
                <a:gd name="connsiteY1883" fmla="*/ 160965 h 286300"/>
                <a:gd name="connsiteX1884" fmla="*/ 128199 w 139969"/>
                <a:gd name="connsiteY1884" fmla="*/ 160646 h 286300"/>
                <a:gd name="connsiteX1885" fmla="*/ 127881 w 139969"/>
                <a:gd name="connsiteY1885" fmla="*/ 161601 h 286300"/>
                <a:gd name="connsiteX1886" fmla="*/ 127563 w 139969"/>
                <a:gd name="connsiteY1886" fmla="*/ 163509 h 286300"/>
                <a:gd name="connsiteX1887" fmla="*/ 126609 w 139969"/>
                <a:gd name="connsiteY1887" fmla="*/ 164464 h 286300"/>
                <a:gd name="connsiteX1888" fmla="*/ 126609 w 139969"/>
                <a:gd name="connsiteY1888" fmla="*/ 164782 h 286300"/>
                <a:gd name="connsiteX1889" fmla="*/ 126927 w 139969"/>
                <a:gd name="connsiteY1889" fmla="*/ 165100 h 286300"/>
                <a:gd name="connsiteX1890" fmla="*/ 125654 w 139969"/>
                <a:gd name="connsiteY1890" fmla="*/ 166372 h 286300"/>
                <a:gd name="connsiteX1891" fmla="*/ 125018 w 139969"/>
                <a:gd name="connsiteY1891" fmla="*/ 166691 h 286300"/>
                <a:gd name="connsiteX1892" fmla="*/ 124382 w 139969"/>
                <a:gd name="connsiteY1892" fmla="*/ 168917 h 286300"/>
                <a:gd name="connsiteX1893" fmla="*/ 124700 w 139969"/>
                <a:gd name="connsiteY1893" fmla="*/ 169872 h 286300"/>
                <a:gd name="connsiteX1894" fmla="*/ 125336 w 139969"/>
                <a:gd name="connsiteY1894" fmla="*/ 172735 h 286300"/>
                <a:gd name="connsiteX1895" fmla="*/ 125654 w 139969"/>
                <a:gd name="connsiteY1895" fmla="*/ 173053 h 286300"/>
                <a:gd name="connsiteX1896" fmla="*/ 125973 w 139969"/>
                <a:gd name="connsiteY1896" fmla="*/ 173053 h 286300"/>
                <a:gd name="connsiteX1897" fmla="*/ 126291 w 139969"/>
                <a:gd name="connsiteY1897" fmla="*/ 172735 h 286300"/>
                <a:gd name="connsiteX1898" fmla="*/ 127563 w 139969"/>
                <a:gd name="connsiteY1898" fmla="*/ 167327 h 286300"/>
                <a:gd name="connsiteX1899" fmla="*/ 129154 w 139969"/>
                <a:gd name="connsiteY1899" fmla="*/ 162237 h 286300"/>
                <a:gd name="connsiteX1900" fmla="*/ 129154 w 139969"/>
                <a:gd name="connsiteY1900" fmla="*/ 160965 h 286300"/>
                <a:gd name="connsiteX1901" fmla="*/ 125973 w 139969"/>
                <a:gd name="connsiteY1901" fmla="*/ 175916 h 286300"/>
                <a:gd name="connsiteX1902" fmla="*/ 125336 w 139969"/>
                <a:gd name="connsiteY1902" fmla="*/ 175916 h 286300"/>
                <a:gd name="connsiteX1903" fmla="*/ 125654 w 139969"/>
                <a:gd name="connsiteY1903" fmla="*/ 176234 h 286300"/>
                <a:gd name="connsiteX1904" fmla="*/ 125973 w 139969"/>
                <a:gd name="connsiteY1904" fmla="*/ 175916 h 286300"/>
                <a:gd name="connsiteX1905" fmla="*/ 128517 w 139969"/>
                <a:gd name="connsiteY1905" fmla="*/ 153012 h 286300"/>
                <a:gd name="connsiteX1906" fmla="*/ 128517 w 139969"/>
                <a:gd name="connsiteY1906" fmla="*/ 152694 h 286300"/>
                <a:gd name="connsiteX1907" fmla="*/ 128199 w 139969"/>
                <a:gd name="connsiteY1907" fmla="*/ 151739 h 286300"/>
                <a:gd name="connsiteX1908" fmla="*/ 127881 w 139969"/>
                <a:gd name="connsiteY1908" fmla="*/ 152694 h 286300"/>
                <a:gd name="connsiteX1909" fmla="*/ 128517 w 139969"/>
                <a:gd name="connsiteY1909" fmla="*/ 153012 h 286300"/>
                <a:gd name="connsiteX1910" fmla="*/ 131698 w 139969"/>
                <a:gd name="connsiteY1910" fmla="*/ 147922 h 286300"/>
                <a:gd name="connsiteX1911" fmla="*/ 131380 w 139969"/>
                <a:gd name="connsiteY1911" fmla="*/ 145377 h 286300"/>
                <a:gd name="connsiteX1912" fmla="*/ 131062 w 139969"/>
                <a:gd name="connsiteY1912" fmla="*/ 145377 h 286300"/>
                <a:gd name="connsiteX1913" fmla="*/ 130744 w 139969"/>
                <a:gd name="connsiteY1913" fmla="*/ 146650 h 286300"/>
                <a:gd name="connsiteX1914" fmla="*/ 130426 w 139969"/>
                <a:gd name="connsiteY1914" fmla="*/ 147286 h 286300"/>
                <a:gd name="connsiteX1915" fmla="*/ 130744 w 139969"/>
                <a:gd name="connsiteY1915" fmla="*/ 148240 h 286300"/>
                <a:gd name="connsiteX1916" fmla="*/ 129790 w 139969"/>
                <a:gd name="connsiteY1916" fmla="*/ 148558 h 286300"/>
                <a:gd name="connsiteX1917" fmla="*/ 128835 w 139969"/>
                <a:gd name="connsiteY1917" fmla="*/ 149194 h 286300"/>
                <a:gd name="connsiteX1918" fmla="*/ 128199 w 139969"/>
                <a:gd name="connsiteY1918" fmla="*/ 151739 h 286300"/>
                <a:gd name="connsiteX1919" fmla="*/ 129790 w 139969"/>
                <a:gd name="connsiteY1919" fmla="*/ 152694 h 286300"/>
                <a:gd name="connsiteX1920" fmla="*/ 130108 w 139969"/>
                <a:gd name="connsiteY1920" fmla="*/ 153012 h 286300"/>
                <a:gd name="connsiteX1921" fmla="*/ 130426 w 139969"/>
                <a:gd name="connsiteY1921" fmla="*/ 153012 h 286300"/>
                <a:gd name="connsiteX1922" fmla="*/ 130744 w 139969"/>
                <a:gd name="connsiteY1922" fmla="*/ 152694 h 286300"/>
                <a:gd name="connsiteX1923" fmla="*/ 130426 w 139969"/>
                <a:gd name="connsiteY1923" fmla="*/ 152057 h 286300"/>
                <a:gd name="connsiteX1924" fmla="*/ 130744 w 139969"/>
                <a:gd name="connsiteY1924" fmla="*/ 150149 h 286300"/>
                <a:gd name="connsiteX1925" fmla="*/ 131380 w 139969"/>
                <a:gd name="connsiteY1925" fmla="*/ 148876 h 286300"/>
                <a:gd name="connsiteX1926" fmla="*/ 131698 w 139969"/>
                <a:gd name="connsiteY1926" fmla="*/ 147922 h 286300"/>
                <a:gd name="connsiteX1927" fmla="*/ 129472 w 139969"/>
                <a:gd name="connsiteY1927" fmla="*/ 129790 h 286300"/>
                <a:gd name="connsiteX1928" fmla="*/ 129472 w 139969"/>
                <a:gd name="connsiteY1928" fmla="*/ 130108 h 286300"/>
                <a:gd name="connsiteX1929" fmla="*/ 129790 w 139969"/>
                <a:gd name="connsiteY1929" fmla="*/ 130108 h 286300"/>
                <a:gd name="connsiteX1930" fmla="*/ 129790 w 139969"/>
                <a:gd name="connsiteY1930" fmla="*/ 129790 h 286300"/>
                <a:gd name="connsiteX1931" fmla="*/ 129472 w 139969"/>
                <a:gd name="connsiteY1931" fmla="*/ 129790 h 286300"/>
                <a:gd name="connsiteX1932" fmla="*/ 130426 w 139969"/>
                <a:gd name="connsiteY1932" fmla="*/ 154920 h 286300"/>
                <a:gd name="connsiteX1933" fmla="*/ 129472 w 139969"/>
                <a:gd name="connsiteY1933" fmla="*/ 154920 h 286300"/>
                <a:gd name="connsiteX1934" fmla="*/ 129472 w 139969"/>
                <a:gd name="connsiteY1934" fmla="*/ 155239 h 286300"/>
                <a:gd name="connsiteX1935" fmla="*/ 130426 w 139969"/>
                <a:gd name="connsiteY1935" fmla="*/ 154920 h 286300"/>
                <a:gd name="connsiteX1936" fmla="*/ 130108 w 139969"/>
                <a:gd name="connsiteY1936" fmla="*/ 145059 h 286300"/>
                <a:gd name="connsiteX1937" fmla="*/ 130108 w 139969"/>
                <a:gd name="connsiteY1937" fmla="*/ 145377 h 286300"/>
                <a:gd name="connsiteX1938" fmla="*/ 130744 w 139969"/>
                <a:gd name="connsiteY1938" fmla="*/ 144741 h 286300"/>
                <a:gd name="connsiteX1939" fmla="*/ 130426 w 139969"/>
                <a:gd name="connsiteY1939" fmla="*/ 144423 h 286300"/>
                <a:gd name="connsiteX1940" fmla="*/ 130108 w 139969"/>
                <a:gd name="connsiteY1940" fmla="*/ 145059 h 286300"/>
                <a:gd name="connsiteX1941" fmla="*/ 133289 w 139969"/>
                <a:gd name="connsiteY1941" fmla="*/ 53761 h 286300"/>
                <a:gd name="connsiteX1942" fmla="*/ 133607 w 139969"/>
                <a:gd name="connsiteY1942" fmla="*/ 52488 h 286300"/>
                <a:gd name="connsiteX1943" fmla="*/ 134243 w 139969"/>
                <a:gd name="connsiteY1943" fmla="*/ 51852 h 286300"/>
                <a:gd name="connsiteX1944" fmla="*/ 133925 w 139969"/>
                <a:gd name="connsiteY1944" fmla="*/ 51216 h 286300"/>
                <a:gd name="connsiteX1945" fmla="*/ 132653 w 139969"/>
                <a:gd name="connsiteY1945" fmla="*/ 48989 h 286300"/>
                <a:gd name="connsiteX1946" fmla="*/ 132653 w 139969"/>
                <a:gd name="connsiteY1946" fmla="*/ 46762 h 286300"/>
                <a:gd name="connsiteX1947" fmla="*/ 132335 w 139969"/>
                <a:gd name="connsiteY1947" fmla="*/ 44854 h 286300"/>
                <a:gd name="connsiteX1948" fmla="*/ 132971 w 139969"/>
                <a:gd name="connsiteY1948" fmla="*/ 42945 h 286300"/>
                <a:gd name="connsiteX1949" fmla="*/ 132016 w 139969"/>
                <a:gd name="connsiteY1949" fmla="*/ 41991 h 286300"/>
                <a:gd name="connsiteX1950" fmla="*/ 131062 w 139969"/>
                <a:gd name="connsiteY1950" fmla="*/ 42945 h 286300"/>
                <a:gd name="connsiteX1951" fmla="*/ 130426 w 139969"/>
                <a:gd name="connsiteY1951" fmla="*/ 43899 h 286300"/>
                <a:gd name="connsiteX1952" fmla="*/ 131062 w 139969"/>
                <a:gd name="connsiteY1952" fmla="*/ 45808 h 286300"/>
                <a:gd name="connsiteX1953" fmla="*/ 131698 w 139969"/>
                <a:gd name="connsiteY1953" fmla="*/ 46762 h 286300"/>
                <a:gd name="connsiteX1954" fmla="*/ 131698 w 139969"/>
                <a:gd name="connsiteY1954" fmla="*/ 51534 h 286300"/>
                <a:gd name="connsiteX1955" fmla="*/ 132016 w 139969"/>
                <a:gd name="connsiteY1955" fmla="*/ 52488 h 286300"/>
                <a:gd name="connsiteX1956" fmla="*/ 131698 w 139969"/>
                <a:gd name="connsiteY1956" fmla="*/ 53125 h 286300"/>
                <a:gd name="connsiteX1957" fmla="*/ 131062 w 139969"/>
                <a:gd name="connsiteY1957" fmla="*/ 53443 h 286300"/>
                <a:gd name="connsiteX1958" fmla="*/ 131380 w 139969"/>
                <a:gd name="connsiteY1958" fmla="*/ 53761 h 286300"/>
                <a:gd name="connsiteX1959" fmla="*/ 132335 w 139969"/>
                <a:gd name="connsiteY1959" fmla="*/ 57578 h 286300"/>
                <a:gd name="connsiteX1960" fmla="*/ 132653 w 139969"/>
                <a:gd name="connsiteY1960" fmla="*/ 59169 h 286300"/>
                <a:gd name="connsiteX1961" fmla="*/ 133289 w 139969"/>
                <a:gd name="connsiteY1961" fmla="*/ 55670 h 286300"/>
                <a:gd name="connsiteX1962" fmla="*/ 133289 w 139969"/>
                <a:gd name="connsiteY1962" fmla="*/ 53761 h 286300"/>
                <a:gd name="connsiteX1963" fmla="*/ 132653 w 139969"/>
                <a:gd name="connsiteY1963" fmla="*/ 134879 h 286300"/>
                <a:gd name="connsiteX1964" fmla="*/ 132335 w 139969"/>
                <a:gd name="connsiteY1964" fmla="*/ 134243 h 286300"/>
                <a:gd name="connsiteX1965" fmla="*/ 132016 w 139969"/>
                <a:gd name="connsiteY1965" fmla="*/ 132971 h 286300"/>
                <a:gd name="connsiteX1966" fmla="*/ 131698 w 139969"/>
                <a:gd name="connsiteY1966" fmla="*/ 132653 h 286300"/>
                <a:gd name="connsiteX1967" fmla="*/ 131380 w 139969"/>
                <a:gd name="connsiteY1967" fmla="*/ 132971 h 286300"/>
                <a:gd name="connsiteX1968" fmla="*/ 130744 w 139969"/>
                <a:gd name="connsiteY1968" fmla="*/ 135516 h 286300"/>
                <a:gd name="connsiteX1969" fmla="*/ 131380 w 139969"/>
                <a:gd name="connsiteY1969" fmla="*/ 136470 h 286300"/>
                <a:gd name="connsiteX1970" fmla="*/ 132016 w 139969"/>
                <a:gd name="connsiteY1970" fmla="*/ 136788 h 286300"/>
                <a:gd name="connsiteX1971" fmla="*/ 132335 w 139969"/>
                <a:gd name="connsiteY1971" fmla="*/ 136788 h 286300"/>
                <a:gd name="connsiteX1972" fmla="*/ 132653 w 139969"/>
                <a:gd name="connsiteY1972" fmla="*/ 136470 h 286300"/>
                <a:gd name="connsiteX1973" fmla="*/ 132335 w 139969"/>
                <a:gd name="connsiteY1973" fmla="*/ 135516 h 286300"/>
                <a:gd name="connsiteX1974" fmla="*/ 132653 w 139969"/>
                <a:gd name="connsiteY1974" fmla="*/ 134879 h 286300"/>
                <a:gd name="connsiteX1975" fmla="*/ 131062 w 139969"/>
                <a:gd name="connsiteY1975" fmla="*/ 172735 h 286300"/>
                <a:gd name="connsiteX1976" fmla="*/ 131062 w 139969"/>
                <a:gd name="connsiteY1976" fmla="*/ 172417 h 286300"/>
                <a:gd name="connsiteX1977" fmla="*/ 131380 w 139969"/>
                <a:gd name="connsiteY1977" fmla="*/ 172417 h 286300"/>
                <a:gd name="connsiteX1978" fmla="*/ 131062 w 139969"/>
                <a:gd name="connsiteY1978" fmla="*/ 172735 h 286300"/>
                <a:gd name="connsiteX1979" fmla="*/ 132016 w 139969"/>
                <a:gd name="connsiteY1979" fmla="*/ 126290 h 286300"/>
                <a:gd name="connsiteX1980" fmla="*/ 133607 w 139969"/>
                <a:gd name="connsiteY1980" fmla="*/ 123109 h 286300"/>
                <a:gd name="connsiteX1981" fmla="*/ 133607 w 139969"/>
                <a:gd name="connsiteY1981" fmla="*/ 122473 h 286300"/>
                <a:gd name="connsiteX1982" fmla="*/ 132335 w 139969"/>
                <a:gd name="connsiteY1982" fmla="*/ 120882 h 286300"/>
                <a:gd name="connsiteX1983" fmla="*/ 131698 w 139969"/>
                <a:gd name="connsiteY1983" fmla="*/ 121519 h 286300"/>
                <a:gd name="connsiteX1984" fmla="*/ 131380 w 139969"/>
                <a:gd name="connsiteY1984" fmla="*/ 124064 h 286300"/>
                <a:gd name="connsiteX1985" fmla="*/ 131380 w 139969"/>
                <a:gd name="connsiteY1985" fmla="*/ 131698 h 286300"/>
                <a:gd name="connsiteX1986" fmla="*/ 132016 w 139969"/>
                <a:gd name="connsiteY1986" fmla="*/ 130108 h 286300"/>
                <a:gd name="connsiteX1987" fmla="*/ 133289 w 139969"/>
                <a:gd name="connsiteY1987" fmla="*/ 129471 h 286300"/>
                <a:gd name="connsiteX1988" fmla="*/ 133607 w 139969"/>
                <a:gd name="connsiteY1988" fmla="*/ 128835 h 286300"/>
                <a:gd name="connsiteX1989" fmla="*/ 133925 w 139969"/>
                <a:gd name="connsiteY1989" fmla="*/ 126609 h 286300"/>
                <a:gd name="connsiteX1990" fmla="*/ 133289 w 139969"/>
                <a:gd name="connsiteY1990" fmla="*/ 126609 h 286300"/>
                <a:gd name="connsiteX1991" fmla="*/ 132971 w 139969"/>
                <a:gd name="connsiteY1991" fmla="*/ 126290 h 286300"/>
                <a:gd name="connsiteX1992" fmla="*/ 132335 w 139969"/>
                <a:gd name="connsiteY1992" fmla="*/ 126609 h 286300"/>
                <a:gd name="connsiteX1993" fmla="*/ 132335 w 139969"/>
                <a:gd name="connsiteY1993" fmla="*/ 126290 h 286300"/>
                <a:gd name="connsiteX1994" fmla="*/ 132016 w 139969"/>
                <a:gd name="connsiteY1994" fmla="*/ 126290 h 286300"/>
                <a:gd name="connsiteX1995" fmla="*/ 134561 w 139969"/>
                <a:gd name="connsiteY1995" fmla="*/ 75074 h 286300"/>
                <a:gd name="connsiteX1996" fmla="*/ 134561 w 139969"/>
                <a:gd name="connsiteY1996" fmla="*/ 74756 h 286300"/>
                <a:gd name="connsiteX1997" fmla="*/ 134243 w 139969"/>
                <a:gd name="connsiteY1997" fmla="*/ 74438 h 286300"/>
                <a:gd name="connsiteX1998" fmla="*/ 133925 w 139969"/>
                <a:gd name="connsiteY1998" fmla="*/ 75074 h 286300"/>
                <a:gd name="connsiteX1999" fmla="*/ 133925 w 139969"/>
                <a:gd name="connsiteY1999" fmla="*/ 76665 h 286300"/>
                <a:gd name="connsiteX2000" fmla="*/ 133289 w 139969"/>
                <a:gd name="connsiteY2000" fmla="*/ 76983 h 286300"/>
                <a:gd name="connsiteX2001" fmla="*/ 133289 w 139969"/>
                <a:gd name="connsiteY2001" fmla="*/ 76665 h 286300"/>
                <a:gd name="connsiteX2002" fmla="*/ 132971 w 139969"/>
                <a:gd name="connsiteY2002" fmla="*/ 73166 h 286300"/>
                <a:gd name="connsiteX2003" fmla="*/ 133289 w 139969"/>
                <a:gd name="connsiteY2003" fmla="*/ 72848 h 286300"/>
                <a:gd name="connsiteX2004" fmla="*/ 132971 w 139969"/>
                <a:gd name="connsiteY2004" fmla="*/ 72530 h 286300"/>
                <a:gd name="connsiteX2005" fmla="*/ 131698 w 139969"/>
                <a:gd name="connsiteY2005" fmla="*/ 76665 h 286300"/>
                <a:gd name="connsiteX2006" fmla="*/ 131698 w 139969"/>
                <a:gd name="connsiteY2006" fmla="*/ 77301 h 286300"/>
                <a:gd name="connsiteX2007" fmla="*/ 133607 w 139969"/>
                <a:gd name="connsiteY2007" fmla="*/ 80482 h 286300"/>
                <a:gd name="connsiteX2008" fmla="*/ 133925 w 139969"/>
                <a:gd name="connsiteY2008" fmla="*/ 80482 h 286300"/>
                <a:gd name="connsiteX2009" fmla="*/ 133925 w 139969"/>
                <a:gd name="connsiteY2009" fmla="*/ 78892 h 286300"/>
                <a:gd name="connsiteX2010" fmla="*/ 134243 w 139969"/>
                <a:gd name="connsiteY2010" fmla="*/ 77301 h 286300"/>
                <a:gd name="connsiteX2011" fmla="*/ 134561 w 139969"/>
                <a:gd name="connsiteY2011" fmla="*/ 75074 h 286300"/>
                <a:gd name="connsiteX2012" fmla="*/ 132653 w 139969"/>
                <a:gd name="connsiteY2012" fmla="*/ 109749 h 286300"/>
                <a:gd name="connsiteX2013" fmla="*/ 131698 w 139969"/>
                <a:gd name="connsiteY2013" fmla="*/ 109749 h 286300"/>
                <a:gd name="connsiteX2014" fmla="*/ 131698 w 139969"/>
                <a:gd name="connsiteY2014" fmla="*/ 110703 h 286300"/>
                <a:gd name="connsiteX2015" fmla="*/ 132335 w 139969"/>
                <a:gd name="connsiteY2015" fmla="*/ 112930 h 286300"/>
                <a:gd name="connsiteX2016" fmla="*/ 131698 w 139969"/>
                <a:gd name="connsiteY2016" fmla="*/ 114520 h 286300"/>
                <a:gd name="connsiteX2017" fmla="*/ 132335 w 139969"/>
                <a:gd name="connsiteY2017" fmla="*/ 116111 h 286300"/>
                <a:gd name="connsiteX2018" fmla="*/ 132653 w 139969"/>
                <a:gd name="connsiteY2018" fmla="*/ 116429 h 286300"/>
                <a:gd name="connsiteX2019" fmla="*/ 133289 w 139969"/>
                <a:gd name="connsiteY2019" fmla="*/ 116429 h 286300"/>
                <a:gd name="connsiteX2020" fmla="*/ 133289 w 139969"/>
                <a:gd name="connsiteY2020" fmla="*/ 115793 h 286300"/>
                <a:gd name="connsiteX2021" fmla="*/ 132971 w 139969"/>
                <a:gd name="connsiteY2021" fmla="*/ 113248 h 286300"/>
                <a:gd name="connsiteX2022" fmla="*/ 133289 w 139969"/>
                <a:gd name="connsiteY2022" fmla="*/ 112293 h 286300"/>
                <a:gd name="connsiteX2023" fmla="*/ 133289 w 139969"/>
                <a:gd name="connsiteY2023" fmla="*/ 111657 h 286300"/>
                <a:gd name="connsiteX2024" fmla="*/ 132971 w 139969"/>
                <a:gd name="connsiteY2024" fmla="*/ 110703 h 286300"/>
                <a:gd name="connsiteX2025" fmla="*/ 132653 w 139969"/>
                <a:gd name="connsiteY2025" fmla="*/ 109749 h 286300"/>
                <a:gd name="connsiteX2026" fmla="*/ 132016 w 139969"/>
                <a:gd name="connsiteY2026" fmla="*/ 119610 h 286300"/>
                <a:gd name="connsiteX2027" fmla="*/ 132335 w 139969"/>
                <a:gd name="connsiteY2027" fmla="*/ 119292 h 286300"/>
                <a:gd name="connsiteX2028" fmla="*/ 132335 w 139969"/>
                <a:gd name="connsiteY2028" fmla="*/ 118974 h 286300"/>
                <a:gd name="connsiteX2029" fmla="*/ 131698 w 139969"/>
                <a:gd name="connsiteY2029" fmla="*/ 118974 h 286300"/>
                <a:gd name="connsiteX2030" fmla="*/ 132016 w 139969"/>
                <a:gd name="connsiteY2030" fmla="*/ 119610 h 286300"/>
                <a:gd name="connsiteX2031" fmla="*/ 133289 w 139969"/>
                <a:gd name="connsiteY2031" fmla="*/ 103068 h 286300"/>
                <a:gd name="connsiteX2032" fmla="*/ 132653 w 139969"/>
                <a:gd name="connsiteY2032" fmla="*/ 102750 h 286300"/>
                <a:gd name="connsiteX2033" fmla="*/ 132971 w 139969"/>
                <a:gd name="connsiteY2033" fmla="*/ 103068 h 286300"/>
                <a:gd name="connsiteX2034" fmla="*/ 132653 w 139969"/>
                <a:gd name="connsiteY2034" fmla="*/ 103386 h 286300"/>
                <a:gd name="connsiteX2035" fmla="*/ 132971 w 139969"/>
                <a:gd name="connsiteY2035" fmla="*/ 103386 h 286300"/>
                <a:gd name="connsiteX2036" fmla="*/ 133289 w 139969"/>
                <a:gd name="connsiteY2036" fmla="*/ 103068 h 286300"/>
                <a:gd name="connsiteX2037" fmla="*/ 134561 w 139969"/>
                <a:gd name="connsiteY2037" fmla="*/ 125336 h 286300"/>
                <a:gd name="connsiteX2038" fmla="*/ 134561 w 139969"/>
                <a:gd name="connsiteY2038" fmla="*/ 124700 h 286300"/>
                <a:gd name="connsiteX2039" fmla="*/ 134243 w 139969"/>
                <a:gd name="connsiteY2039" fmla="*/ 124700 h 286300"/>
                <a:gd name="connsiteX2040" fmla="*/ 134561 w 139969"/>
                <a:gd name="connsiteY2040" fmla="*/ 125336 h 286300"/>
                <a:gd name="connsiteX2041" fmla="*/ 136152 w 139969"/>
                <a:gd name="connsiteY2041" fmla="*/ 78892 h 286300"/>
                <a:gd name="connsiteX2042" fmla="*/ 135516 w 139969"/>
                <a:gd name="connsiteY2042" fmla="*/ 78256 h 286300"/>
                <a:gd name="connsiteX2043" fmla="*/ 135198 w 139969"/>
                <a:gd name="connsiteY2043" fmla="*/ 79528 h 286300"/>
                <a:gd name="connsiteX2044" fmla="*/ 134561 w 139969"/>
                <a:gd name="connsiteY2044" fmla="*/ 81119 h 286300"/>
                <a:gd name="connsiteX2045" fmla="*/ 134879 w 139969"/>
                <a:gd name="connsiteY2045" fmla="*/ 81437 h 286300"/>
                <a:gd name="connsiteX2046" fmla="*/ 135198 w 139969"/>
                <a:gd name="connsiteY2046" fmla="*/ 81437 h 286300"/>
                <a:gd name="connsiteX2047" fmla="*/ 135198 w 139969"/>
                <a:gd name="connsiteY2047" fmla="*/ 81119 h 286300"/>
                <a:gd name="connsiteX2048" fmla="*/ 135516 w 139969"/>
                <a:gd name="connsiteY2048" fmla="*/ 79846 h 286300"/>
                <a:gd name="connsiteX2049" fmla="*/ 136152 w 139969"/>
                <a:gd name="connsiteY2049" fmla="*/ 78892 h 286300"/>
                <a:gd name="connsiteX2050" fmla="*/ 135516 w 139969"/>
                <a:gd name="connsiteY2050" fmla="*/ 45490 h 286300"/>
                <a:gd name="connsiteX2051" fmla="*/ 135198 w 139969"/>
                <a:gd name="connsiteY2051" fmla="*/ 45172 h 286300"/>
                <a:gd name="connsiteX2052" fmla="*/ 134879 w 139969"/>
                <a:gd name="connsiteY2052" fmla="*/ 45172 h 286300"/>
                <a:gd name="connsiteX2053" fmla="*/ 135198 w 139969"/>
                <a:gd name="connsiteY2053" fmla="*/ 45808 h 286300"/>
                <a:gd name="connsiteX2054" fmla="*/ 135516 w 139969"/>
                <a:gd name="connsiteY2054" fmla="*/ 45490 h 286300"/>
                <a:gd name="connsiteX2055" fmla="*/ 135834 w 139969"/>
                <a:gd name="connsiteY2055" fmla="*/ 49625 h 286300"/>
                <a:gd name="connsiteX2056" fmla="*/ 135198 w 139969"/>
                <a:gd name="connsiteY2056" fmla="*/ 49625 h 286300"/>
                <a:gd name="connsiteX2057" fmla="*/ 135198 w 139969"/>
                <a:gd name="connsiteY2057" fmla="*/ 50262 h 286300"/>
                <a:gd name="connsiteX2058" fmla="*/ 135834 w 139969"/>
                <a:gd name="connsiteY2058" fmla="*/ 49625 h 286300"/>
                <a:gd name="connsiteX2059" fmla="*/ 138379 w 139969"/>
                <a:gd name="connsiteY2059" fmla="*/ 89389 h 286300"/>
                <a:gd name="connsiteX2060" fmla="*/ 138061 w 139969"/>
                <a:gd name="connsiteY2060" fmla="*/ 89389 h 286300"/>
                <a:gd name="connsiteX2061" fmla="*/ 137743 w 139969"/>
                <a:gd name="connsiteY2061" fmla="*/ 90026 h 286300"/>
                <a:gd name="connsiteX2062" fmla="*/ 137743 w 139969"/>
                <a:gd name="connsiteY2062" fmla="*/ 90344 h 286300"/>
                <a:gd name="connsiteX2063" fmla="*/ 138061 w 139969"/>
                <a:gd name="connsiteY2063" fmla="*/ 90344 h 286300"/>
                <a:gd name="connsiteX2064" fmla="*/ 138379 w 139969"/>
                <a:gd name="connsiteY2064" fmla="*/ 89389 h 28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</a:cxnLst>
              <a:rect l="l" t="t" r="r" b="b"/>
              <a:pathLst>
                <a:path w="139969" h="286300">
                  <a:moveTo>
                    <a:pt x="133925" y="104659"/>
                  </a:moveTo>
                  <a:lnTo>
                    <a:pt x="133607" y="104659"/>
                  </a:lnTo>
                  <a:lnTo>
                    <a:pt x="133289" y="104977"/>
                  </a:lnTo>
                  <a:lnTo>
                    <a:pt x="133289" y="104659"/>
                  </a:lnTo>
                  <a:cubicBezTo>
                    <a:pt x="132653" y="104659"/>
                    <a:pt x="132653" y="104659"/>
                    <a:pt x="132335" y="105295"/>
                  </a:cubicBezTo>
                  <a:cubicBezTo>
                    <a:pt x="132335" y="106567"/>
                    <a:pt x="132653" y="107522"/>
                    <a:pt x="132653" y="108476"/>
                  </a:cubicBezTo>
                  <a:cubicBezTo>
                    <a:pt x="132653" y="109112"/>
                    <a:pt x="133289" y="109749"/>
                    <a:pt x="133925" y="109749"/>
                  </a:cubicBezTo>
                  <a:lnTo>
                    <a:pt x="134561" y="109749"/>
                  </a:lnTo>
                  <a:cubicBezTo>
                    <a:pt x="134561" y="109430"/>
                    <a:pt x="134879" y="109430"/>
                    <a:pt x="134879" y="109112"/>
                  </a:cubicBezTo>
                  <a:lnTo>
                    <a:pt x="134879" y="109749"/>
                  </a:lnTo>
                  <a:cubicBezTo>
                    <a:pt x="134561" y="110067"/>
                    <a:pt x="134561" y="110067"/>
                    <a:pt x="134561" y="110385"/>
                  </a:cubicBezTo>
                  <a:lnTo>
                    <a:pt x="134561" y="111021"/>
                  </a:lnTo>
                  <a:cubicBezTo>
                    <a:pt x="134879" y="111021"/>
                    <a:pt x="134879" y="111657"/>
                    <a:pt x="135516" y="111975"/>
                  </a:cubicBezTo>
                  <a:lnTo>
                    <a:pt x="135834" y="111975"/>
                  </a:lnTo>
                  <a:cubicBezTo>
                    <a:pt x="135516" y="111657"/>
                    <a:pt x="135516" y="111657"/>
                    <a:pt x="135516" y="111339"/>
                  </a:cubicBezTo>
                  <a:cubicBezTo>
                    <a:pt x="135516" y="111021"/>
                    <a:pt x="135516" y="111021"/>
                    <a:pt x="135834" y="110703"/>
                  </a:cubicBezTo>
                  <a:cubicBezTo>
                    <a:pt x="135834" y="110067"/>
                    <a:pt x="135834" y="109749"/>
                    <a:pt x="136152" y="109430"/>
                  </a:cubicBezTo>
                  <a:cubicBezTo>
                    <a:pt x="136152" y="109112"/>
                    <a:pt x="136470" y="108794"/>
                    <a:pt x="136788" y="108794"/>
                  </a:cubicBezTo>
                  <a:cubicBezTo>
                    <a:pt x="136788" y="108794"/>
                    <a:pt x="137106" y="109112"/>
                    <a:pt x="137106" y="109430"/>
                  </a:cubicBezTo>
                  <a:lnTo>
                    <a:pt x="137425" y="109749"/>
                  </a:lnTo>
                  <a:lnTo>
                    <a:pt x="137425" y="118974"/>
                  </a:lnTo>
                  <a:cubicBezTo>
                    <a:pt x="137743" y="118974"/>
                    <a:pt x="138061" y="119292"/>
                    <a:pt x="138061" y="119610"/>
                  </a:cubicBezTo>
                  <a:lnTo>
                    <a:pt x="138061" y="121837"/>
                  </a:lnTo>
                  <a:cubicBezTo>
                    <a:pt x="138061" y="122155"/>
                    <a:pt x="137743" y="121837"/>
                    <a:pt x="137743" y="121837"/>
                  </a:cubicBezTo>
                  <a:lnTo>
                    <a:pt x="137106" y="121837"/>
                  </a:lnTo>
                  <a:cubicBezTo>
                    <a:pt x="137106" y="123109"/>
                    <a:pt x="136788" y="124064"/>
                    <a:pt x="136788" y="125336"/>
                  </a:cubicBezTo>
                  <a:lnTo>
                    <a:pt x="136788" y="126290"/>
                  </a:lnTo>
                  <a:cubicBezTo>
                    <a:pt x="137106" y="127563"/>
                    <a:pt x="137106" y="128517"/>
                    <a:pt x="137106" y="129471"/>
                  </a:cubicBezTo>
                  <a:cubicBezTo>
                    <a:pt x="137106" y="129790"/>
                    <a:pt x="136788" y="130108"/>
                    <a:pt x="136788" y="130108"/>
                  </a:cubicBezTo>
                  <a:cubicBezTo>
                    <a:pt x="136788" y="130744"/>
                    <a:pt x="136470" y="131062"/>
                    <a:pt x="135834" y="131698"/>
                  </a:cubicBezTo>
                  <a:cubicBezTo>
                    <a:pt x="135834" y="131062"/>
                    <a:pt x="135516" y="130744"/>
                    <a:pt x="135198" y="130108"/>
                  </a:cubicBezTo>
                  <a:cubicBezTo>
                    <a:pt x="134879" y="129471"/>
                    <a:pt x="134561" y="129471"/>
                    <a:pt x="134243" y="129471"/>
                  </a:cubicBezTo>
                  <a:lnTo>
                    <a:pt x="133289" y="130108"/>
                  </a:lnTo>
                  <a:cubicBezTo>
                    <a:pt x="133289" y="130426"/>
                    <a:pt x="133607" y="130426"/>
                    <a:pt x="133925" y="130426"/>
                  </a:cubicBezTo>
                  <a:cubicBezTo>
                    <a:pt x="134561" y="130426"/>
                    <a:pt x="134561" y="131062"/>
                    <a:pt x="134561" y="131380"/>
                  </a:cubicBezTo>
                  <a:cubicBezTo>
                    <a:pt x="134243" y="131698"/>
                    <a:pt x="134243" y="132016"/>
                    <a:pt x="134243" y="132335"/>
                  </a:cubicBezTo>
                  <a:cubicBezTo>
                    <a:pt x="134243" y="133607"/>
                    <a:pt x="134243" y="134561"/>
                    <a:pt x="134879" y="134561"/>
                  </a:cubicBezTo>
                  <a:cubicBezTo>
                    <a:pt x="135834" y="135198"/>
                    <a:pt x="135834" y="135834"/>
                    <a:pt x="135834" y="136788"/>
                  </a:cubicBezTo>
                  <a:cubicBezTo>
                    <a:pt x="135834" y="137106"/>
                    <a:pt x="135834" y="137742"/>
                    <a:pt x="135516" y="138379"/>
                  </a:cubicBezTo>
                  <a:lnTo>
                    <a:pt x="135516" y="145695"/>
                  </a:lnTo>
                  <a:lnTo>
                    <a:pt x="134561" y="148240"/>
                  </a:lnTo>
                  <a:cubicBezTo>
                    <a:pt x="134561" y="148876"/>
                    <a:pt x="134561" y="149513"/>
                    <a:pt x="134243" y="150467"/>
                  </a:cubicBezTo>
                  <a:cubicBezTo>
                    <a:pt x="133925" y="151421"/>
                    <a:pt x="133925" y="152057"/>
                    <a:pt x="133925" y="152694"/>
                  </a:cubicBezTo>
                  <a:lnTo>
                    <a:pt x="133925" y="154920"/>
                  </a:lnTo>
                  <a:cubicBezTo>
                    <a:pt x="133925" y="154920"/>
                    <a:pt x="133925" y="155239"/>
                    <a:pt x="134243" y="155239"/>
                  </a:cubicBezTo>
                  <a:lnTo>
                    <a:pt x="134561" y="155557"/>
                  </a:lnTo>
                  <a:cubicBezTo>
                    <a:pt x="134243" y="156193"/>
                    <a:pt x="134243" y="157147"/>
                    <a:pt x="134243" y="157783"/>
                  </a:cubicBezTo>
                  <a:cubicBezTo>
                    <a:pt x="134243" y="158102"/>
                    <a:pt x="134243" y="158420"/>
                    <a:pt x="133925" y="158738"/>
                  </a:cubicBezTo>
                  <a:cubicBezTo>
                    <a:pt x="133925" y="158738"/>
                    <a:pt x="133607" y="159374"/>
                    <a:pt x="133607" y="159692"/>
                  </a:cubicBezTo>
                  <a:cubicBezTo>
                    <a:pt x="133289" y="160965"/>
                    <a:pt x="133289" y="162237"/>
                    <a:pt x="132653" y="163191"/>
                  </a:cubicBezTo>
                  <a:cubicBezTo>
                    <a:pt x="132335" y="164782"/>
                    <a:pt x="131698" y="166372"/>
                    <a:pt x="130744" y="168599"/>
                  </a:cubicBezTo>
                  <a:cubicBezTo>
                    <a:pt x="130744" y="169235"/>
                    <a:pt x="130426" y="169872"/>
                    <a:pt x="130426" y="170508"/>
                  </a:cubicBezTo>
                  <a:cubicBezTo>
                    <a:pt x="130426" y="171780"/>
                    <a:pt x="130108" y="172417"/>
                    <a:pt x="129154" y="173689"/>
                  </a:cubicBezTo>
                  <a:cubicBezTo>
                    <a:pt x="128835" y="173689"/>
                    <a:pt x="128517" y="174007"/>
                    <a:pt x="128517" y="174962"/>
                  </a:cubicBezTo>
                  <a:lnTo>
                    <a:pt x="128517" y="177825"/>
                  </a:lnTo>
                  <a:cubicBezTo>
                    <a:pt x="128199" y="179097"/>
                    <a:pt x="128199" y="180051"/>
                    <a:pt x="128199" y="181006"/>
                  </a:cubicBezTo>
                  <a:cubicBezTo>
                    <a:pt x="128199" y="181324"/>
                    <a:pt x="128517" y="181642"/>
                    <a:pt x="128517" y="181960"/>
                  </a:cubicBezTo>
                  <a:cubicBezTo>
                    <a:pt x="128517" y="182278"/>
                    <a:pt x="128199" y="182596"/>
                    <a:pt x="127881" y="182914"/>
                  </a:cubicBezTo>
                  <a:lnTo>
                    <a:pt x="127881" y="184505"/>
                  </a:lnTo>
                  <a:cubicBezTo>
                    <a:pt x="127881" y="185141"/>
                    <a:pt x="127563" y="185777"/>
                    <a:pt x="127245" y="186414"/>
                  </a:cubicBezTo>
                  <a:lnTo>
                    <a:pt x="127245" y="186732"/>
                  </a:lnTo>
                  <a:cubicBezTo>
                    <a:pt x="126609" y="187686"/>
                    <a:pt x="125973" y="188322"/>
                    <a:pt x="125973" y="189277"/>
                  </a:cubicBezTo>
                  <a:cubicBezTo>
                    <a:pt x="125973" y="189595"/>
                    <a:pt x="125973" y="190231"/>
                    <a:pt x="125654" y="190549"/>
                  </a:cubicBezTo>
                  <a:cubicBezTo>
                    <a:pt x="124382" y="191503"/>
                    <a:pt x="123746" y="192140"/>
                    <a:pt x="123746" y="193730"/>
                  </a:cubicBezTo>
                  <a:cubicBezTo>
                    <a:pt x="123746" y="194048"/>
                    <a:pt x="124064" y="194048"/>
                    <a:pt x="124064" y="194366"/>
                  </a:cubicBezTo>
                  <a:cubicBezTo>
                    <a:pt x="124064" y="194684"/>
                    <a:pt x="123746" y="195003"/>
                    <a:pt x="123746" y="195321"/>
                  </a:cubicBezTo>
                  <a:cubicBezTo>
                    <a:pt x="123746" y="195321"/>
                    <a:pt x="123428" y="195957"/>
                    <a:pt x="123109" y="196275"/>
                  </a:cubicBezTo>
                  <a:cubicBezTo>
                    <a:pt x="123109" y="196593"/>
                    <a:pt x="123428" y="196911"/>
                    <a:pt x="123428" y="197229"/>
                  </a:cubicBezTo>
                  <a:lnTo>
                    <a:pt x="123428" y="197547"/>
                  </a:lnTo>
                  <a:lnTo>
                    <a:pt x="122473" y="198502"/>
                  </a:lnTo>
                  <a:lnTo>
                    <a:pt x="121519" y="200410"/>
                  </a:lnTo>
                  <a:cubicBezTo>
                    <a:pt x="121201" y="200729"/>
                    <a:pt x="120882" y="201365"/>
                    <a:pt x="121201" y="201365"/>
                  </a:cubicBezTo>
                  <a:lnTo>
                    <a:pt x="121201" y="202001"/>
                  </a:lnTo>
                  <a:cubicBezTo>
                    <a:pt x="121201" y="202955"/>
                    <a:pt x="120882" y="204228"/>
                    <a:pt x="120564" y="205182"/>
                  </a:cubicBezTo>
                  <a:cubicBezTo>
                    <a:pt x="119928" y="206773"/>
                    <a:pt x="118974" y="208999"/>
                    <a:pt x="118020" y="210272"/>
                  </a:cubicBezTo>
                  <a:cubicBezTo>
                    <a:pt x="117701" y="211862"/>
                    <a:pt x="116429" y="213453"/>
                    <a:pt x="116111" y="215044"/>
                  </a:cubicBezTo>
                  <a:cubicBezTo>
                    <a:pt x="116111" y="215044"/>
                    <a:pt x="116111" y="215362"/>
                    <a:pt x="115793" y="215362"/>
                  </a:cubicBezTo>
                  <a:cubicBezTo>
                    <a:pt x="115157" y="216316"/>
                    <a:pt x="114520" y="217270"/>
                    <a:pt x="114202" y="218225"/>
                  </a:cubicBezTo>
                  <a:cubicBezTo>
                    <a:pt x="113566" y="218861"/>
                    <a:pt x="113248" y="219497"/>
                    <a:pt x="112930" y="220451"/>
                  </a:cubicBezTo>
                  <a:cubicBezTo>
                    <a:pt x="112930" y="221406"/>
                    <a:pt x="111976" y="222678"/>
                    <a:pt x="111339" y="223633"/>
                  </a:cubicBezTo>
                  <a:cubicBezTo>
                    <a:pt x="110703" y="224269"/>
                    <a:pt x="110067" y="225223"/>
                    <a:pt x="110067" y="226496"/>
                  </a:cubicBezTo>
                  <a:cubicBezTo>
                    <a:pt x="110067" y="226814"/>
                    <a:pt x="110067" y="227132"/>
                    <a:pt x="109749" y="227132"/>
                  </a:cubicBezTo>
                  <a:cubicBezTo>
                    <a:pt x="107522" y="230313"/>
                    <a:pt x="107522" y="235721"/>
                    <a:pt x="103705" y="237948"/>
                  </a:cubicBezTo>
                  <a:cubicBezTo>
                    <a:pt x="103068" y="238902"/>
                    <a:pt x="102432" y="239538"/>
                    <a:pt x="101796" y="239856"/>
                  </a:cubicBezTo>
                  <a:cubicBezTo>
                    <a:pt x="101478" y="240811"/>
                    <a:pt x="100842" y="241129"/>
                    <a:pt x="99887" y="241765"/>
                  </a:cubicBezTo>
                  <a:cubicBezTo>
                    <a:pt x="98933" y="242083"/>
                    <a:pt x="98297" y="243037"/>
                    <a:pt x="97979" y="243992"/>
                  </a:cubicBezTo>
                  <a:cubicBezTo>
                    <a:pt x="97979" y="244310"/>
                    <a:pt x="97661" y="244628"/>
                    <a:pt x="97661" y="245264"/>
                  </a:cubicBezTo>
                  <a:cubicBezTo>
                    <a:pt x="97343" y="245582"/>
                    <a:pt x="97024" y="245582"/>
                    <a:pt x="97024" y="245582"/>
                  </a:cubicBezTo>
                  <a:cubicBezTo>
                    <a:pt x="96706" y="245582"/>
                    <a:pt x="96706" y="245582"/>
                    <a:pt x="96706" y="245264"/>
                  </a:cubicBezTo>
                  <a:cubicBezTo>
                    <a:pt x="96388" y="245264"/>
                    <a:pt x="96388" y="244946"/>
                    <a:pt x="96388" y="244946"/>
                  </a:cubicBezTo>
                  <a:lnTo>
                    <a:pt x="96706" y="244628"/>
                  </a:lnTo>
                  <a:lnTo>
                    <a:pt x="96706" y="243356"/>
                  </a:lnTo>
                  <a:cubicBezTo>
                    <a:pt x="96388" y="243356"/>
                    <a:pt x="96388" y="243037"/>
                    <a:pt x="96070" y="243037"/>
                  </a:cubicBezTo>
                  <a:cubicBezTo>
                    <a:pt x="95752" y="243037"/>
                    <a:pt x="95434" y="243356"/>
                    <a:pt x="95434" y="243356"/>
                  </a:cubicBezTo>
                  <a:cubicBezTo>
                    <a:pt x="95115" y="243674"/>
                    <a:pt x="94797" y="243992"/>
                    <a:pt x="94797" y="244310"/>
                  </a:cubicBezTo>
                  <a:cubicBezTo>
                    <a:pt x="94797" y="244628"/>
                    <a:pt x="95115" y="244946"/>
                    <a:pt x="95434" y="245264"/>
                  </a:cubicBezTo>
                  <a:cubicBezTo>
                    <a:pt x="95434" y="246219"/>
                    <a:pt x="94797" y="246855"/>
                    <a:pt x="94479" y="247173"/>
                  </a:cubicBezTo>
                  <a:lnTo>
                    <a:pt x="92571" y="247173"/>
                  </a:lnTo>
                  <a:cubicBezTo>
                    <a:pt x="92252" y="248127"/>
                    <a:pt x="91616" y="248127"/>
                    <a:pt x="91934" y="248445"/>
                  </a:cubicBezTo>
                  <a:cubicBezTo>
                    <a:pt x="91616" y="248763"/>
                    <a:pt x="91616" y="249082"/>
                    <a:pt x="91298" y="249082"/>
                  </a:cubicBezTo>
                  <a:cubicBezTo>
                    <a:pt x="90344" y="249718"/>
                    <a:pt x="90026" y="250672"/>
                    <a:pt x="90026" y="251626"/>
                  </a:cubicBezTo>
                  <a:cubicBezTo>
                    <a:pt x="90026" y="252263"/>
                    <a:pt x="90344" y="252581"/>
                    <a:pt x="90344" y="253217"/>
                  </a:cubicBezTo>
                  <a:lnTo>
                    <a:pt x="90344" y="253853"/>
                  </a:lnTo>
                  <a:cubicBezTo>
                    <a:pt x="89390" y="253535"/>
                    <a:pt x="89071" y="253217"/>
                    <a:pt x="89071" y="252263"/>
                  </a:cubicBezTo>
                  <a:lnTo>
                    <a:pt x="89071" y="251945"/>
                  </a:lnTo>
                  <a:lnTo>
                    <a:pt x="88435" y="252581"/>
                  </a:lnTo>
                  <a:lnTo>
                    <a:pt x="88435" y="253853"/>
                  </a:lnTo>
                  <a:cubicBezTo>
                    <a:pt x="88435" y="254171"/>
                    <a:pt x="88753" y="254489"/>
                    <a:pt x="88753" y="255126"/>
                  </a:cubicBezTo>
                  <a:cubicBezTo>
                    <a:pt x="88753" y="255444"/>
                    <a:pt x="88753" y="255444"/>
                    <a:pt x="88435" y="255762"/>
                  </a:cubicBezTo>
                  <a:lnTo>
                    <a:pt x="88753" y="256080"/>
                  </a:lnTo>
                  <a:cubicBezTo>
                    <a:pt x="89071" y="256080"/>
                    <a:pt x="89708" y="256398"/>
                    <a:pt x="89708" y="256398"/>
                  </a:cubicBezTo>
                  <a:lnTo>
                    <a:pt x="88753" y="257034"/>
                  </a:lnTo>
                  <a:cubicBezTo>
                    <a:pt x="88117" y="257989"/>
                    <a:pt x="87481" y="258307"/>
                    <a:pt x="87163" y="259261"/>
                  </a:cubicBezTo>
                  <a:cubicBezTo>
                    <a:pt x="86527" y="260215"/>
                    <a:pt x="85572" y="260852"/>
                    <a:pt x="84300" y="261170"/>
                  </a:cubicBezTo>
                  <a:cubicBezTo>
                    <a:pt x="83346" y="261170"/>
                    <a:pt x="83027" y="261170"/>
                    <a:pt x="82709" y="262442"/>
                  </a:cubicBezTo>
                  <a:cubicBezTo>
                    <a:pt x="82073" y="263397"/>
                    <a:pt x="80800" y="263715"/>
                    <a:pt x="80482" y="264987"/>
                  </a:cubicBezTo>
                  <a:lnTo>
                    <a:pt x="80482" y="265305"/>
                  </a:lnTo>
                  <a:cubicBezTo>
                    <a:pt x="80164" y="265305"/>
                    <a:pt x="80164" y="265623"/>
                    <a:pt x="79846" y="265623"/>
                  </a:cubicBezTo>
                  <a:lnTo>
                    <a:pt x="79528" y="265623"/>
                  </a:lnTo>
                  <a:cubicBezTo>
                    <a:pt x="79210" y="265623"/>
                    <a:pt x="78892" y="265942"/>
                    <a:pt x="78892" y="266578"/>
                  </a:cubicBezTo>
                  <a:cubicBezTo>
                    <a:pt x="78574" y="266896"/>
                    <a:pt x="78574" y="267850"/>
                    <a:pt x="77937" y="268168"/>
                  </a:cubicBezTo>
                  <a:cubicBezTo>
                    <a:pt x="76665" y="268804"/>
                    <a:pt x="76029" y="269759"/>
                    <a:pt x="75075" y="269759"/>
                  </a:cubicBezTo>
                  <a:cubicBezTo>
                    <a:pt x="74756" y="269759"/>
                    <a:pt x="74438" y="270077"/>
                    <a:pt x="73802" y="270077"/>
                  </a:cubicBezTo>
                  <a:lnTo>
                    <a:pt x="70939" y="272304"/>
                  </a:lnTo>
                  <a:lnTo>
                    <a:pt x="70621" y="272304"/>
                  </a:lnTo>
                  <a:cubicBezTo>
                    <a:pt x="70939" y="272622"/>
                    <a:pt x="70939" y="272622"/>
                    <a:pt x="71257" y="272622"/>
                  </a:cubicBezTo>
                  <a:lnTo>
                    <a:pt x="71575" y="272622"/>
                  </a:lnTo>
                  <a:lnTo>
                    <a:pt x="71575" y="273258"/>
                  </a:lnTo>
                  <a:cubicBezTo>
                    <a:pt x="70621" y="273258"/>
                    <a:pt x="70303" y="273576"/>
                    <a:pt x="70303" y="274212"/>
                  </a:cubicBezTo>
                  <a:cubicBezTo>
                    <a:pt x="70303" y="275167"/>
                    <a:pt x="69985" y="275485"/>
                    <a:pt x="69349" y="275485"/>
                  </a:cubicBezTo>
                  <a:cubicBezTo>
                    <a:pt x="68712" y="276121"/>
                    <a:pt x="68394" y="276439"/>
                    <a:pt x="68076" y="276439"/>
                  </a:cubicBezTo>
                  <a:cubicBezTo>
                    <a:pt x="64895" y="276439"/>
                    <a:pt x="63941" y="277394"/>
                    <a:pt x="60760" y="279620"/>
                  </a:cubicBezTo>
                  <a:lnTo>
                    <a:pt x="60441" y="279620"/>
                  </a:lnTo>
                  <a:cubicBezTo>
                    <a:pt x="59805" y="279620"/>
                    <a:pt x="59487" y="279302"/>
                    <a:pt x="59169" y="278666"/>
                  </a:cubicBezTo>
                  <a:lnTo>
                    <a:pt x="58215" y="278666"/>
                  </a:lnTo>
                  <a:cubicBezTo>
                    <a:pt x="57897" y="278984"/>
                    <a:pt x="57897" y="278984"/>
                    <a:pt x="57897" y="279302"/>
                  </a:cubicBezTo>
                  <a:lnTo>
                    <a:pt x="57897" y="279938"/>
                  </a:lnTo>
                  <a:cubicBezTo>
                    <a:pt x="57897" y="280257"/>
                    <a:pt x="58215" y="280575"/>
                    <a:pt x="58215" y="280893"/>
                  </a:cubicBezTo>
                  <a:cubicBezTo>
                    <a:pt x="58215" y="281211"/>
                    <a:pt x="57897" y="281529"/>
                    <a:pt x="57260" y="281529"/>
                  </a:cubicBezTo>
                  <a:cubicBezTo>
                    <a:pt x="56942" y="282165"/>
                    <a:pt x="55988" y="282165"/>
                    <a:pt x="55352" y="282801"/>
                  </a:cubicBezTo>
                  <a:lnTo>
                    <a:pt x="54079" y="282801"/>
                  </a:lnTo>
                  <a:cubicBezTo>
                    <a:pt x="53761" y="282801"/>
                    <a:pt x="53443" y="283120"/>
                    <a:pt x="53125" y="283438"/>
                  </a:cubicBezTo>
                  <a:cubicBezTo>
                    <a:pt x="52488" y="283756"/>
                    <a:pt x="51852" y="284392"/>
                    <a:pt x="51216" y="284392"/>
                  </a:cubicBezTo>
                  <a:lnTo>
                    <a:pt x="50262" y="284392"/>
                  </a:lnTo>
                  <a:cubicBezTo>
                    <a:pt x="49626" y="284392"/>
                    <a:pt x="48989" y="284710"/>
                    <a:pt x="48353" y="284710"/>
                  </a:cubicBezTo>
                  <a:lnTo>
                    <a:pt x="47717" y="284710"/>
                  </a:lnTo>
                  <a:cubicBezTo>
                    <a:pt x="47717" y="284710"/>
                    <a:pt x="47399" y="284710"/>
                    <a:pt x="47399" y="285028"/>
                  </a:cubicBezTo>
                  <a:cubicBezTo>
                    <a:pt x="47399" y="285664"/>
                    <a:pt x="46763" y="285983"/>
                    <a:pt x="46126" y="285983"/>
                  </a:cubicBezTo>
                  <a:cubicBezTo>
                    <a:pt x="44536" y="286301"/>
                    <a:pt x="43264" y="287255"/>
                    <a:pt x="41036" y="288209"/>
                  </a:cubicBezTo>
                  <a:lnTo>
                    <a:pt x="39128" y="289482"/>
                  </a:lnTo>
                  <a:cubicBezTo>
                    <a:pt x="38810" y="289482"/>
                    <a:pt x="38492" y="290118"/>
                    <a:pt x="38173" y="290436"/>
                  </a:cubicBezTo>
                  <a:cubicBezTo>
                    <a:pt x="37537" y="290436"/>
                    <a:pt x="37537" y="290118"/>
                    <a:pt x="37537" y="289800"/>
                  </a:cubicBezTo>
                  <a:cubicBezTo>
                    <a:pt x="37537" y="289482"/>
                    <a:pt x="37219" y="289482"/>
                    <a:pt x="37219" y="289482"/>
                  </a:cubicBezTo>
                  <a:cubicBezTo>
                    <a:pt x="36583" y="290436"/>
                    <a:pt x="35629" y="290436"/>
                    <a:pt x="34992" y="290754"/>
                  </a:cubicBezTo>
                  <a:cubicBezTo>
                    <a:pt x="34674" y="290754"/>
                    <a:pt x="34038" y="290754"/>
                    <a:pt x="34038" y="290436"/>
                  </a:cubicBezTo>
                  <a:cubicBezTo>
                    <a:pt x="33720" y="290118"/>
                    <a:pt x="33402" y="289800"/>
                    <a:pt x="33084" y="289800"/>
                  </a:cubicBezTo>
                  <a:cubicBezTo>
                    <a:pt x="32766" y="289800"/>
                    <a:pt x="32448" y="290118"/>
                    <a:pt x="32448" y="290118"/>
                  </a:cubicBezTo>
                  <a:cubicBezTo>
                    <a:pt x="31493" y="290754"/>
                    <a:pt x="30221" y="290754"/>
                    <a:pt x="28630" y="291072"/>
                  </a:cubicBezTo>
                  <a:cubicBezTo>
                    <a:pt x="27994" y="291072"/>
                    <a:pt x="27358" y="291072"/>
                    <a:pt x="27040" y="291390"/>
                  </a:cubicBezTo>
                  <a:cubicBezTo>
                    <a:pt x="26721" y="291709"/>
                    <a:pt x="25767" y="291709"/>
                    <a:pt x="25449" y="291709"/>
                  </a:cubicBezTo>
                  <a:cubicBezTo>
                    <a:pt x="25131" y="292027"/>
                    <a:pt x="24495" y="292027"/>
                    <a:pt x="24177" y="292027"/>
                  </a:cubicBezTo>
                  <a:cubicBezTo>
                    <a:pt x="23858" y="292027"/>
                    <a:pt x="23540" y="292027"/>
                    <a:pt x="23222" y="291709"/>
                  </a:cubicBezTo>
                  <a:cubicBezTo>
                    <a:pt x="22904" y="291709"/>
                    <a:pt x="22586" y="291390"/>
                    <a:pt x="22586" y="291072"/>
                  </a:cubicBezTo>
                  <a:cubicBezTo>
                    <a:pt x="21950" y="290436"/>
                    <a:pt x="21314" y="290436"/>
                    <a:pt x="20677" y="290436"/>
                  </a:cubicBezTo>
                  <a:cubicBezTo>
                    <a:pt x="20677" y="291072"/>
                    <a:pt x="20041" y="291072"/>
                    <a:pt x="19723" y="291072"/>
                  </a:cubicBezTo>
                  <a:cubicBezTo>
                    <a:pt x="19405" y="290754"/>
                    <a:pt x="19405" y="290754"/>
                    <a:pt x="19087" y="290754"/>
                  </a:cubicBezTo>
                  <a:cubicBezTo>
                    <a:pt x="18769" y="290754"/>
                    <a:pt x="18769" y="290754"/>
                    <a:pt x="18451" y="291072"/>
                  </a:cubicBezTo>
                  <a:cubicBezTo>
                    <a:pt x="18133" y="292027"/>
                    <a:pt x="17496" y="292027"/>
                    <a:pt x="16860" y="292027"/>
                  </a:cubicBezTo>
                  <a:lnTo>
                    <a:pt x="14315" y="291072"/>
                  </a:lnTo>
                  <a:cubicBezTo>
                    <a:pt x="13361" y="291072"/>
                    <a:pt x="12406" y="291072"/>
                    <a:pt x="11452" y="290754"/>
                  </a:cubicBezTo>
                  <a:cubicBezTo>
                    <a:pt x="9225" y="289164"/>
                    <a:pt x="7635" y="288527"/>
                    <a:pt x="6044" y="286937"/>
                  </a:cubicBezTo>
                  <a:cubicBezTo>
                    <a:pt x="6044" y="286937"/>
                    <a:pt x="5408" y="286301"/>
                    <a:pt x="5408" y="285664"/>
                  </a:cubicBezTo>
                  <a:cubicBezTo>
                    <a:pt x="5408" y="284710"/>
                    <a:pt x="5090" y="284392"/>
                    <a:pt x="4136" y="283756"/>
                  </a:cubicBezTo>
                  <a:cubicBezTo>
                    <a:pt x="4136" y="283756"/>
                    <a:pt x="3818" y="283756"/>
                    <a:pt x="3818" y="283438"/>
                  </a:cubicBezTo>
                  <a:cubicBezTo>
                    <a:pt x="3500" y="281847"/>
                    <a:pt x="2545" y="281211"/>
                    <a:pt x="2545" y="279938"/>
                  </a:cubicBezTo>
                  <a:lnTo>
                    <a:pt x="2545" y="279302"/>
                  </a:lnTo>
                  <a:cubicBezTo>
                    <a:pt x="2545" y="278984"/>
                    <a:pt x="2227" y="278666"/>
                    <a:pt x="1909" y="278666"/>
                  </a:cubicBezTo>
                  <a:cubicBezTo>
                    <a:pt x="636" y="278030"/>
                    <a:pt x="636" y="276757"/>
                    <a:pt x="636" y="275485"/>
                  </a:cubicBezTo>
                  <a:cubicBezTo>
                    <a:pt x="318" y="274849"/>
                    <a:pt x="318" y="274531"/>
                    <a:pt x="318" y="273894"/>
                  </a:cubicBezTo>
                  <a:lnTo>
                    <a:pt x="318" y="271986"/>
                  </a:lnTo>
                  <a:cubicBezTo>
                    <a:pt x="318" y="271667"/>
                    <a:pt x="318" y="271349"/>
                    <a:pt x="636" y="271031"/>
                  </a:cubicBezTo>
                  <a:lnTo>
                    <a:pt x="954" y="271031"/>
                  </a:lnTo>
                  <a:cubicBezTo>
                    <a:pt x="954" y="271031"/>
                    <a:pt x="1273" y="271031"/>
                    <a:pt x="1273" y="270713"/>
                  </a:cubicBezTo>
                  <a:cubicBezTo>
                    <a:pt x="1273" y="270713"/>
                    <a:pt x="954" y="270395"/>
                    <a:pt x="954" y="270077"/>
                  </a:cubicBezTo>
                  <a:cubicBezTo>
                    <a:pt x="954" y="269759"/>
                    <a:pt x="1273" y="269441"/>
                    <a:pt x="1273" y="269441"/>
                  </a:cubicBezTo>
                  <a:lnTo>
                    <a:pt x="954" y="269441"/>
                  </a:lnTo>
                  <a:cubicBezTo>
                    <a:pt x="636" y="269123"/>
                    <a:pt x="636" y="268486"/>
                    <a:pt x="636" y="268168"/>
                  </a:cubicBezTo>
                  <a:cubicBezTo>
                    <a:pt x="636" y="267532"/>
                    <a:pt x="636" y="267214"/>
                    <a:pt x="954" y="266578"/>
                  </a:cubicBezTo>
                  <a:cubicBezTo>
                    <a:pt x="954" y="265942"/>
                    <a:pt x="954" y="265942"/>
                    <a:pt x="318" y="265623"/>
                  </a:cubicBezTo>
                  <a:cubicBezTo>
                    <a:pt x="0" y="265623"/>
                    <a:pt x="0" y="265623"/>
                    <a:pt x="0" y="265305"/>
                  </a:cubicBezTo>
                  <a:lnTo>
                    <a:pt x="0" y="261488"/>
                  </a:lnTo>
                  <a:cubicBezTo>
                    <a:pt x="318" y="260215"/>
                    <a:pt x="636" y="259261"/>
                    <a:pt x="636" y="257989"/>
                  </a:cubicBezTo>
                  <a:cubicBezTo>
                    <a:pt x="636" y="257352"/>
                    <a:pt x="636" y="256716"/>
                    <a:pt x="954" y="255762"/>
                  </a:cubicBezTo>
                  <a:lnTo>
                    <a:pt x="1273" y="255444"/>
                  </a:lnTo>
                  <a:cubicBezTo>
                    <a:pt x="1273" y="254489"/>
                    <a:pt x="1591" y="253535"/>
                    <a:pt x="1591" y="251945"/>
                  </a:cubicBezTo>
                  <a:cubicBezTo>
                    <a:pt x="1591" y="251626"/>
                    <a:pt x="1591" y="250990"/>
                    <a:pt x="1909" y="250354"/>
                  </a:cubicBezTo>
                  <a:lnTo>
                    <a:pt x="1909" y="249718"/>
                  </a:lnTo>
                  <a:cubicBezTo>
                    <a:pt x="1909" y="249400"/>
                    <a:pt x="1909" y="248763"/>
                    <a:pt x="1591" y="248127"/>
                  </a:cubicBezTo>
                  <a:lnTo>
                    <a:pt x="1591" y="245582"/>
                  </a:lnTo>
                  <a:lnTo>
                    <a:pt x="1273" y="245264"/>
                  </a:lnTo>
                  <a:cubicBezTo>
                    <a:pt x="2227" y="244628"/>
                    <a:pt x="1591" y="243356"/>
                    <a:pt x="2227" y="242083"/>
                  </a:cubicBezTo>
                  <a:lnTo>
                    <a:pt x="2545" y="241765"/>
                  </a:lnTo>
                  <a:cubicBezTo>
                    <a:pt x="2545" y="241765"/>
                    <a:pt x="2545" y="242083"/>
                    <a:pt x="2863" y="242083"/>
                  </a:cubicBezTo>
                  <a:lnTo>
                    <a:pt x="3181" y="242083"/>
                  </a:lnTo>
                  <a:lnTo>
                    <a:pt x="3181" y="238902"/>
                  </a:lnTo>
                  <a:cubicBezTo>
                    <a:pt x="4136" y="236993"/>
                    <a:pt x="4454" y="235403"/>
                    <a:pt x="5090" y="233494"/>
                  </a:cubicBezTo>
                  <a:lnTo>
                    <a:pt x="5090" y="231904"/>
                  </a:lnTo>
                  <a:cubicBezTo>
                    <a:pt x="4772" y="231585"/>
                    <a:pt x="4772" y="231267"/>
                    <a:pt x="4772" y="230949"/>
                  </a:cubicBezTo>
                  <a:cubicBezTo>
                    <a:pt x="4772" y="230631"/>
                    <a:pt x="4772" y="229995"/>
                    <a:pt x="5090" y="229677"/>
                  </a:cubicBezTo>
                  <a:cubicBezTo>
                    <a:pt x="5408" y="229359"/>
                    <a:pt x="5408" y="229041"/>
                    <a:pt x="5408" y="228722"/>
                  </a:cubicBezTo>
                  <a:lnTo>
                    <a:pt x="5408" y="228086"/>
                  </a:lnTo>
                  <a:lnTo>
                    <a:pt x="6362" y="228086"/>
                  </a:lnTo>
                  <a:cubicBezTo>
                    <a:pt x="6362" y="228404"/>
                    <a:pt x="6362" y="228404"/>
                    <a:pt x="6681" y="228404"/>
                  </a:cubicBezTo>
                  <a:cubicBezTo>
                    <a:pt x="6681" y="228086"/>
                    <a:pt x="7317" y="227450"/>
                    <a:pt x="7317" y="227132"/>
                  </a:cubicBezTo>
                  <a:cubicBezTo>
                    <a:pt x="6999" y="226814"/>
                    <a:pt x="6999" y="226496"/>
                    <a:pt x="6999" y="226177"/>
                  </a:cubicBezTo>
                  <a:cubicBezTo>
                    <a:pt x="6999" y="225541"/>
                    <a:pt x="7317" y="225223"/>
                    <a:pt x="7635" y="224587"/>
                  </a:cubicBezTo>
                  <a:cubicBezTo>
                    <a:pt x="8271" y="223633"/>
                    <a:pt x="8271" y="223314"/>
                    <a:pt x="8589" y="222360"/>
                  </a:cubicBezTo>
                  <a:cubicBezTo>
                    <a:pt x="8589" y="222042"/>
                    <a:pt x="8589" y="221724"/>
                    <a:pt x="8271" y="221406"/>
                  </a:cubicBezTo>
                  <a:lnTo>
                    <a:pt x="8271" y="221088"/>
                  </a:lnTo>
                  <a:cubicBezTo>
                    <a:pt x="8271" y="220770"/>
                    <a:pt x="8271" y="220451"/>
                    <a:pt x="8589" y="220451"/>
                  </a:cubicBezTo>
                  <a:lnTo>
                    <a:pt x="9225" y="220451"/>
                  </a:lnTo>
                  <a:lnTo>
                    <a:pt x="9543" y="220770"/>
                  </a:lnTo>
                  <a:lnTo>
                    <a:pt x="9543" y="220451"/>
                  </a:lnTo>
                  <a:cubicBezTo>
                    <a:pt x="9543" y="220133"/>
                    <a:pt x="9543" y="219815"/>
                    <a:pt x="9862" y="219497"/>
                  </a:cubicBezTo>
                  <a:cubicBezTo>
                    <a:pt x="10180" y="219179"/>
                    <a:pt x="10498" y="218861"/>
                    <a:pt x="10498" y="218225"/>
                  </a:cubicBezTo>
                  <a:cubicBezTo>
                    <a:pt x="10498" y="217270"/>
                    <a:pt x="11134" y="216316"/>
                    <a:pt x="11770" y="215998"/>
                  </a:cubicBezTo>
                  <a:cubicBezTo>
                    <a:pt x="12406" y="215680"/>
                    <a:pt x="12406" y="215044"/>
                    <a:pt x="12406" y="214725"/>
                  </a:cubicBezTo>
                  <a:cubicBezTo>
                    <a:pt x="12088" y="213771"/>
                    <a:pt x="12088" y="213135"/>
                    <a:pt x="11770" y="212817"/>
                  </a:cubicBezTo>
                  <a:cubicBezTo>
                    <a:pt x="11770" y="212817"/>
                    <a:pt x="11770" y="212499"/>
                    <a:pt x="12406" y="212181"/>
                  </a:cubicBezTo>
                  <a:cubicBezTo>
                    <a:pt x="12724" y="212181"/>
                    <a:pt x="13043" y="211862"/>
                    <a:pt x="13043" y="211544"/>
                  </a:cubicBezTo>
                  <a:lnTo>
                    <a:pt x="13043" y="210908"/>
                  </a:lnTo>
                  <a:cubicBezTo>
                    <a:pt x="13043" y="209636"/>
                    <a:pt x="13043" y="209636"/>
                    <a:pt x="13997" y="209318"/>
                  </a:cubicBezTo>
                  <a:cubicBezTo>
                    <a:pt x="14315" y="209318"/>
                    <a:pt x="14315" y="208999"/>
                    <a:pt x="14315" y="208363"/>
                  </a:cubicBezTo>
                  <a:cubicBezTo>
                    <a:pt x="14315" y="208363"/>
                    <a:pt x="14633" y="208045"/>
                    <a:pt x="14315" y="208045"/>
                  </a:cubicBezTo>
                  <a:lnTo>
                    <a:pt x="16224" y="208045"/>
                  </a:lnTo>
                  <a:cubicBezTo>
                    <a:pt x="16542" y="208045"/>
                    <a:pt x="16542" y="208045"/>
                    <a:pt x="16542" y="207727"/>
                  </a:cubicBezTo>
                  <a:lnTo>
                    <a:pt x="16224" y="207409"/>
                  </a:lnTo>
                  <a:cubicBezTo>
                    <a:pt x="15906" y="207091"/>
                    <a:pt x="15588" y="207091"/>
                    <a:pt x="15588" y="206773"/>
                  </a:cubicBezTo>
                  <a:cubicBezTo>
                    <a:pt x="15588" y="206455"/>
                    <a:pt x="15906" y="206455"/>
                    <a:pt x="15906" y="206136"/>
                  </a:cubicBezTo>
                  <a:cubicBezTo>
                    <a:pt x="16542" y="205500"/>
                    <a:pt x="16860" y="204546"/>
                    <a:pt x="16860" y="203910"/>
                  </a:cubicBezTo>
                  <a:lnTo>
                    <a:pt x="17178" y="203910"/>
                  </a:lnTo>
                  <a:cubicBezTo>
                    <a:pt x="17178" y="203910"/>
                    <a:pt x="17178" y="203592"/>
                    <a:pt x="16860" y="203592"/>
                  </a:cubicBezTo>
                  <a:cubicBezTo>
                    <a:pt x="17178" y="203273"/>
                    <a:pt x="17496" y="203273"/>
                    <a:pt x="17815" y="203273"/>
                  </a:cubicBezTo>
                  <a:lnTo>
                    <a:pt x="18769" y="204228"/>
                  </a:lnTo>
                  <a:lnTo>
                    <a:pt x="18769" y="204864"/>
                  </a:lnTo>
                  <a:cubicBezTo>
                    <a:pt x="18133" y="205182"/>
                    <a:pt x="17815" y="205500"/>
                    <a:pt x="17815" y="206455"/>
                  </a:cubicBezTo>
                  <a:lnTo>
                    <a:pt x="17815" y="208363"/>
                  </a:lnTo>
                  <a:cubicBezTo>
                    <a:pt x="17496" y="208681"/>
                    <a:pt x="17496" y="208681"/>
                    <a:pt x="16860" y="208681"/>
                  </a:cubicBezTo>
                  <a:cubicBezTo>
                    <a:pt x="16860" y="208681"/>
                    <a:pt x="16224" y="208681"/>
                    <a:pt x="15906" y="208999"/>
                  </a:cubicBezTo>
                  <a:lnTo>
                    <a:pt x="14951" y="210272"/>
                  </a:lnTo>
                  <a:lnTo>
                    <a:pt x="14951" y="210908"/>
                  </a:lnTo>
                  <a:lnTo>
                    <a:pt x="15588" y="210908"/>
                  </a:lnTo>
                  <a:cubicBezTo>
                    <a:pt x="15906" y="210908"/>
                    <a:pt x="16224" y="210272"/>
                    <a:pt x="16860" y="209636"/>
                  </a:cubicBezTo>
                  <a:lnTo>
                    <a:pt x="16860" y="209954"/>
                  </a:lnTo>
                  <a:cubicBezTo>
                    <a:pt x="16860" y="210590"/>
                    <a:pt x="16860" y="210908"/>
                    <a:pt x="16224" y="211226"/>
                  </a:cubicBezTo>
                  <a:cubicBezTo>
                    <a:pt x="15906" y="211862"/>
                    <a:pt x="15588" y="211862"/>
                    <a:pt x="15270" y="212181"/>
                  </a:cubicBezTo>
                  <a:cubicBezTo>
                    <a:pt x="14951" y="212181"/>
                    <a:pt x="14951" y="212181"/>
                    <a:pt x="14633" y="212499"/>
                  </a:cubicBezTo>
                  <a:lnTo>
                    <a:pt x="14633" y="212817"/>
                  </a:lnTo>
                  <a:cubicBezTo>
                    <a:pt x="14633" y="213135"/>
                    <a:pt x="14951" y="213135"/>
                    <a:pt x="15270" y="213453"/>
                  </a:cubicBezTo>
                  <a:cubicBezTo>
                    <a:pt x="15270" y="214089"/>
                    <a:pt x="15270" y="214407"/>
                    <a:pt x="14633" y="214407"/>
                  </a:cubicBezTo>
                  <a:cubicBezTo>
                    <a:pt x="14315" y="214407"/>
                    <a:pt x="13679" y="214725"/>
                    <a:pt x="13361" y="215044"/>
                  </a:cubicBezTo>
                  <a:cubicBezTo>
                    <a:pt x="13361" y="215362"/>
                    <a:pt x="13043" y="215680"/>
                    <a:pt x="13043" y="215998"/>
                  </a:cubicBezTo>
                  <a:lnTo>
                    <a:pt x="13043" y="217588"/>
                  </a:lnTo>
                  <a:cubicBezTo>
                    <a:pt x="13043" y="217907"/>
                    <a:pt x="13043" y="217907"/>
                    <a:pt x="13361" y="218225"/>
                  </a:cubicBezTo>
                  <a:cubicBezTo>
                    <a:pt x="13361" y="218225"/>
                    <a:pt x="13043" y="218543"/>
                    <a:pt x="13043" y="219179"/>
                  </a:cubicBezTo>
                  <a:lnTo>
                    <a:pt x="12406" y="220451"/>
                  </a:lnTo>
                  <a:lnTo>
                    <a:pt x="12406" y="221088"/>
                  </a:lnTo>
                  <a:cubicBezTo>
                    <a:pt x="12406" y="221724"/>
                    <a:pt x="12088" y="222360"/>
                    <a:pt x="11134" y="222360"/>
                  </a:cubicBezTo>
                  <a:cubicBezTo>
                    <a:pt x="10816" y="222360"/>
                    <a:pt x="10816" y="222678"/>
                    <a:pt x="10816" y="222996"/>
                  </a:cubicBezTo>
                  <a:lnTo>
                    <a:pt x="10816" y="224587"/>
                  </a:lnTo>
                  <a:cubicBezTo>
                    <a:pt x="10816" y="224905"/>
                    <a:pt x="10498" y="225223"/>
                    <a:pt x="10180" y="225541"/>
                  </a:cubicBezTo>
                  <a:lnTo>
                    <a:pt x="10180" y="226177"/>
                  </a:lnTo>
                  <a:cubicBezTo>
                    <a:pt x="10180" y="226496"/>
                    <a:pt x="10180" y="226814"/>
                    <a:pt x="9862" y="227132"/>
                  </a:cubicBezTo>
                  <a:cubicBezTo>
                    <a:pt x="9543" y="227768"/>
                    <a:pt x="9543" y="228722"/>
                    <a:pt x="9543" y="229041"/>
                  </a:cubicBezTo>
                  <a:cubicBezTo>
                    <a:pt x="9862" y="229677"/>
                    <a:pt x="10180" y="229995"/>
                    <a:pt x="10498" y="229995"/>
                  </a:cubicBezTo>
                  <a:lnTo>
                    <a:pt x="13361" y="229995"/>
                  </a:lnTo>
                  <a:lnTo>
                    <a:pt x="13361" y="230631"/>
                  </a:lnTo>
                  <a:cubicBezTo>
                    <a:pt x="12724" y="232222"/>
                    <a:pt x="12406" y="234130"/>
                    <a:pt x="11452" y="235403"/>
                  </a:cubicBezTo>
                  <a:cubicBezTo>
                    <a:pt x="11452" y="235721"/>
                    <a:pt x="11452" y="235721"/>
                    <a:pt x="11134" y="235721"/>
                  </a:cubicBezTo>
                  <a:cubicBezTo>
                    <a:pt x="11134" y="235721"/>
                    <a:pt x="10816" y="236039"/>
                    <a:pt x="10498" y="236039"/>
                  </a:cubicBezTo>
                  <a:cubicBezTo>
                    <a:pt x="10498" y="235721"/>
                    <a:pt x="10180" y="235721"/>
                    <a:pt x="10498" y="235721"/>
                  </a:cubicBezTo>
                  <a:cubicBezTo>
                    <a:pt x="10498" y="235403"/>
                    <a:pt x="10816" y="234767"/>
                    <a:pt x="11134" y="234448"/>
                  </a:cubicBezTo>
                  <a:cubicBezTo>
                    <a:pt x="11452" y="234448"/>
                    <a:pt x="11452" y="234130"/>
                    <a:pt x="11452" y="234130"/>
                  </a:cubicBezTo>
                  <a:cubicBezTo>
                    <a:pt x="11452" y="233812"/>
                    <a:pt x="11134" y="233812"/>
                    <a:pt x="10816" y="233494"/>
                  </a:cubicBezTo>
                  <a:lnTo>
                    <a:pt x="10498" y="233494"/>
                  </a:lnTo>
                  <a:cubicBezTo>
                    <a:pt x="9862" y="233176"/>
                    <a:pt x="9862" y="233176"/>
                    <a:pt x="9862" y="232222"/>
                  </a:cubicBezTo>
                  <a:cubicBezTo>
                    <a:pt x="9862" y="231904"/>
                    <a:pt x="10180" y="231904"/>
                    <a:pt x="10180" y="231904"/>
                  </a:cubicBezTo>
                  <a:cubicBezTo>
                    <a:pt x="9862" y="231585"/>
                    <a:pt x="9862" y="231267"/>
                    <a:pt x="9543" y="231267"/>
                  </a:cubicBezTo>
                  <a:lnTo>
                    <a:pt x="8589" y="233494"/>
                  </a:lnTo>
                  <a:cubicBezTo>
                    <a:pt x="7953" y="234130"/>
                    <a:pt x="7317" y="234767"/>
                    <a:pt x="7317" y="235721"/>
                  </a:cubicBezTo>
                  <a:cubicBezTo>
                    <a:pt x="7317" y="236357"/>
                    <a:pt x="7317" y="236993"/>
                    <a:pt x="7953" y="237630"/>
                  </a:cubicBezTo>
                  <a:lnTo>
                    <a:pt x="7953" y="237948"/>
                  </a:lnTo>
                  <a:cubicBezTo>
                    <a:pt x="7953" y="238266"/>
                    <a:pt x="7635" y="238266"/>
                    <a:pt x="7317" y="238266"/>
                  </a:cubicBezTo>
                  <a:lnTo>
                    <a:pt x="6999" y="238266"/>
                  </a:lnTo>
                  <a:cubicBezTo>
                    <a:pt x="6999" y="238266"/>
                    <a:pt x="6681" y="238266"/>
                    <a:pt x="6681" y="238584"/>
                  </a:cubicBezTo>
                  <a:cubicBezTo>
                    <a:pt x="6044" y="239538"/>
                    <a:pt x="6044" y="240811"/>
                    <a:pt x="6044" y="241765"/>
                  </a:cubicBezTo>
                  <a:cubicBezTo>
                    <a:pt x="5726" y="243037"/>
                    <a:pt x="5408" y="244628"/>
                    <a:pt x="5408" y="245900"/>
                  </a:cubicBezTo>
                  <a:cubicBezTo>
                    <a:pt x="5408" y="247173"/>
                    <a:pt x="5726" y="248127"/>
                    <a:pt x="6044" y="249400"/>
                  </a:cubicBezTo>
                  <a:cubicBezTo>
                    <a:pt x="6044" y="249718"/>
                    <a:pt x="6362" y="249718"/>
                    <a:pt x="6362" y="250036"/>
                  </a:cubicBezTo>
                  <a:cubicBezTo>
                    <a:pt x="6362" y="250354"/>
                    <a:pt x="6044" y="250672"/>
                    <a:pt x="6044" y="250672"/>
                  </a:cubicBezTo>
                  <a:cubicBezTo>
                    <a:pt x="5408" y="251308"/>
                    <a:pt x="5408" y="251945"/>
                    <a:pt x="5408" y="252899"/>
                  </a:cubicBezTo>
                  <a:lnTo>
                    <a:pt x="6362" y="254489"/>
                  </a:lnTo>
                  <a:cubicBezTo>
                    <a:pt x="6362" y="255126"/>
                    <a:pt x="6362" y="255762"/>
                    <a:pt x="6999" y="255762"/>
                  </a:cubicBezTo>
                  <a:cubicBezTo>
                    <a:pt x="7317" y="255762"/>
                    <a:pt x="7317" y="255444"/>
                    <a:pt x="7635" y="255444"/>
                  </a:cubicBezTo>
                  <a:lnTo>
                    <a:pt x="7953" y="255762"/>
                  </a:lnTo>
                  <a:lnTo>
                    <a:pt x="7953" y="256716"/>
                  </a:lnTo>
                  <a:cubicBezTo>
                    <a:pt x="8271" y="257352"/>
                    <a:pt x="8589" y="258307"/>
                    <a:pt x="8589" y="258943"/>
                  </a:cubicBezTo>
                  <a:cubicBezTo>
                    <a:pt x="8589" y="259579"/>
                    <a:pt x="8271" y="259897"/>
                    <a:pt x="8271" y="260534"/>
                  </a:cubicBezTo>
                  <a:lnTo>
                    <a:pt x="8271" y="261170"/>
                  </a:lnTo>
                  <a:lnTo>
                    <a:pt x="8907" y="267532"/>
                  </a:lnTo>
                  <a:cubicBezTo>
                    <a:pt x="8907" y="268486"/>
                    <a:pt x="8907" y="269123"/>
                    <a:pt x="9225" y="270077"/>
                  </a:cubicBezTo>
                  <a:cubicBezTo>
                    <a:pt x="9862" y="270077"/>
                    <a:pt x="9862" y="271031"/>
                    <a:pt x="10498" y="271667"/>
                  </a:cubicBezTo>
                  <a:cubicBezTo>
                    <a:pt x="10816" y="271667"/>
                    <a:pt x="11134" y="272304"/>
                    <a:pt x="10816" y="271986"/>
                  </a:cubicBezTo>
                  <a:cubicBezTo>
                    <a:pt x="10816" y="273258"/>
                    <a:pt x="11452" y="274212"/>
                    <a:pt x="12406" y="275167"/>
                  </a:cubicBezTo>
                  <a:cubicBezTo>
                    <a:pt x="13043" y="276439"/>
                    <a:pt x="14633" y="277075"/>
                    <a:pt x="15588" y="278030"/>
                  </a:cubicBezTo>
                  <a:lnTo>
                    <a:pt x="15906" y="278030"/>
                  </a:lnTo>
                  <a:cubicBezTo>
                    <a:pt x="16224" y="278030"/>
                    <a:pt x="16224" y="278030"/>
                    <a:pt x="16542" y="277712"/>
                  </a:cubicBezTo>
                  <a:cubicBezTo>
                    <a:pt x="16860" y="277394"/>
                    <a:pt x="16860" y="277394"/>
                    <a:pt x="17178" y="277394"/>
                  </a:cubicBezTo>
                  <a:cubicBezTo>
                    <a:pt x="17178" y="277394"/>
                    <a:pt x="17496" y="277394"/>
                    <a:pt x="17496" y="277712"/>
                  </a:cubicBezTo>
                  <a:cubicBezTo>
                    <a:pt x="17496" y="277712"/>
                    <a:pt x="17496" y="278348"/>
                    <a:pt x="17815" y="278666"/>
                  </a:cubicBezTo>
                  <a:lnTo>
                    <a:pt x="20041" y="280575"/>
                  </a:lnTo>
                  <a:lnTo>
                    <a:pt x="20359" y="280575"/>
                  </a:lnTo>
                  <a:cubicBezTo>
                    <a:pt x="21632" y="280575"/>
                    <a:pt x="23222" y="280893"/>
                    <a:pt x="24813" y="280893"/>
                  </a:cubicBezTo>
                  <a:lnTo>
                    <a:pt x="26085" y="280893"/>
                  </a:lnTo>
                  <a:cubicBezTo>
                    <a:pt x="27358" y="280893"/>
                    <a:pt x="28630" y="280575"/>
                    <a:pt x="30539" y="279302"/>
                  </a:cubicBezTo>
                  <a:cubicBezTo>
                    <a:pt x="30857" y="279620"/>
                    <a:pt x="31493" y="279620"/>
                    <a:pt x="31811" y="279620"/>
                  </a:cubicBezTo>
                  <a:cubicBezTo>
                    <a:pt x="32766" y="279620"/>
                    <a:pt x="33402" y="278984"/>
                    <a:pt x="34356" y="278666"/>
                  </a:cubicBezTo>
                  <a:cubicBezTo>
                    <a:pt x="35311" y="278348"/>
                    <a:pt x="36265" y="278348"/>
                    <a:pt x="36265" y="277394"/>
                  </a:cubicBezTo>
                  <a:lnTo>
                    <a:pt x="36901" y="277394"/>
                  </a:lnTo>
                  <a:cubicBezTo>
                    <a:pt x="37219" y="277394"/>
                    <a:pt x="37219" y="277394"/>
                    <a:pt x="37219" y="277075"/>
                  </a:cubicBezTo>
                  <a:cubicBezTo>
                    <a:pt x="37855" y="276439"/>
                    <a:pt x="38810" y="276439"/>
                    <a:pt x="39446" y="276121"/>
                  </a:cubicBezTo>
                  <a:cubicBezTo>
                    <a:pt x="40082" y="276121"/>
                    <a:pt x="40718" y="275803"/>
                    <a:pt x="41036" y="275485"/>
                  </a:cubicBezTo>
                  <a:cubicBezTo>
                    <a:pt x="41991" y="275485"/>
                    <a:pt x="43264" y="275167"/>
                    <a:pt x="44218" y="274849"/>
                  </a:cubicBezTo>
                  <a:lnTo>
                    <a:pt x="48671" y="271986"/>
                  </a:lnTo>
                  <a:cubicBezTo>
                    <a:pt x="50580" y="271349"/>
                    <a:pt x="52807" y="270395"/>
                    <a:pt x="54079" y="268486"/>
                  </a:cubicBezTo>
                  <a:cubicBezTo>
                    <a:pt x="54397" y="268168"/>
                    <a:pt x="54397" y="267850"/>
                    <a:pt x="54715" y="267850"/>
                  </a:cubicBezTo>
                  <a:cubicBezTo>
                    <a:pt x="55670" y="267214"/>
                    <a:pt x="56306" y="266578"/>
                    <a:pt x="56624" y="265942"/>
                  </a:cubicBezTo>
                  <a:cubicBezTo>
                    <a:pt x="57260" y="264669"/>
                    <a:pt x="58533" y="264351"/>
                    <a:pt x="59169" y="263397"/>
                  </a:cubicBezTo>
                  <a:cubicBezTo>
                    <a:pt x="59169" y="263397"/>
                    <a:pt x="59169" y="263078"/>
                    <a:pt x="59487" y="263078"/>
                  </a:cubicBezTo>
                  <a:lnTo>
                    <a:pt x="59805" y="263078"/>
                  </a:lnTo>
                  <a:cubicBezTo>
                    <a:pt x="60441" y="263078"/>
                    <a:pt x="60760" y="262442"/>
                    <a:pt x="61078" y="261806"/>
                  </a:cubicBezTo>
                  <a:cubicBezTo>
                    <a:pt x="61396" y="260852"/>
                    <a:pt x="62350" y="260852"/>
                    <a:pt x="62668" y="259897"/>
                  </a:cubicBezTo>
                  <a:cubicBezTo>
                    <a:pt x="63304" y="258943"/>
                    <a:pt x="63622" y="258307"/>
                    <a:pt x="64577" y="257671"/>
                  </a:cubicBezTo>
                  <a:cubicBezTo>
                    <a:pt x="65213" y="256398"/>
                    <a:pt x="66803" y="255762"/>
                    <a:pt x="67440" y="254171"/>
                  </a:cubicBezTo>
                  <a:lnTo>
                    <a:pt x="68712" y="252581"/>
                  </a:lnTo>
                  <a:cubicBezTo>
                    <a:pt x="69985" y="251308"/>
                    <a:pt x="71257" y="250036"/>
                    <a:pt x="71894" y="248445"/>
                  </a:cubicBezTo>
                  <a:cubicBezTo>
                    <a:pt x="72212" y="247491"/>
                    <a:pt x="73166" y="246537"/>
                    <a:pt x="74438" y="245900"/>
                  </a:cubicBezTo>
                  <a:cubicBezTo>
                    <a:pt x="74756" y="245582"/>
                    <a:pt x="75393" y="244628"/>
                    <a:pt x="75393" y="243992"/>
                  </a:cubicBezTo>
                  <a:cubicBezTo>
                    <a:pt x="76347" y="243356"/>
                    <a:pt x="76665" y="242083"/>
                    <a:pt x="77301" y="241447"/>
                  </a:cubicBezTo>
                  <a:cubicBezTo>
                    <a:pt x="77937" y="240174"/>
                    <a:pt x="79528" y="239220"/>
                    <a:pt x="80482" y="237630"/>
                  </a:cubicBezTo>
                  <a:cubicBezTo>
                    <a:pt x="81437" y="235403"/>
                    <a:pt x="83027" y="233494"/>
                    <a:pt x="83664" y="230949"/>
                  </a:cubicBezTo>
                  <a:cubicBezTo>
                    <a:pt x="84300" y="229995"/>
                    <a:pt x="84936" y="229041"/>
                    <a:pt x="85890" y="228086"/>
                  </a:cubicBezTo>
                  <a:cubicBezTo>
                    <a:pt x="85890" y="227768"/>
                    <a:pt x="86527" y="227450"/>
                    <a:pt x="86527" y="226814"/>
                  </a:cubicBezTo>
                  <a:cubicBezTo>
                    <a:pt x="86527" y="226496"/>
                    <a:pt x="86527" y="226177"/>
                    <a:pt x="86845" y="225859"/>
                  </a:cubicBezTo>
                  <a:cubicBezTo>
                    <a:pt x="87799" y="224905"/>
                    <a:pt x="88435" y="223314"/>
                    <a:pt x="89071" y="222360"/>
                  </a:cubicBezTo>
                  <a:cubicBezTo>
                    <a:pt x="89390" y="221406"/>
                    <a:pt x="90662" y="220451"/>
                    <a:pt x="90662" y="219179"/>
                  </a:cubicBezTo>
                  <a:cubicBezTo>
                    <a:pt x="90344" y="218861"/>
                    <a:pt x="90662" y="218861"/>
                    <a:pt x="90662" y="218861"/>
                  </a:cubicBezTo>
                  <a:cubicBezTo>
                    <a:pt x="91934" y="217588"/>
                    <a:pt x="93207" y="215362"/>
                    <a:pt x="93843" y="213453"/>
                  </a:cubicBezTo>
                  <a:cubicBezTo>
                    <a:pt x="94479" y="211544"/>
                    <a:pt x="95434" y="209954"/>
                    <a:pt x="96388" y="207727"/>
                  </a:cubicBezTo>
                  <a:cubicBezTo>
                    <a:pt x="96706" y="206773"/>
                    <a:pt x="96706" y="205818"/>
                    <a:pt x="97024" y="205500"/>
                  </a:cubicBezTo>
                  <a:cubicBezTo>
                    <a:pt x="97661" y="204228"/>
                    <a:pt x="97979" y="202955"/>
                    <a:pt x="97979" y="201683"/>
                  </a:cubicBezTo>
                  <a:cubicBezTo>
                    <a:pt x="99887" y="200410"/>
                    <a:pt x="99569" y="198502"/>
                    <a:pt x="100205" y="196911"/>
                  </a:cubicBezTo>
                  <a:cubicBezTo>
                    <a:pt x="100842" y="196275"/>
                    <a:pt x="101160" y="195003"/>
                    <a:pt x="101160" y="194366"/>
                  </a:cubicBezTo>
                  <a:cubicBezTo>
                    <a:pt x="101796" y="192776"/>
                    <a:pt x="102432" y="191821"/>
                    <a:pt x="102432" y="190231"/>
                  </a:cubicBezTo>
                  <a:cubicBezTo>
                    <a:pt x="103705" y="188640"/>
                    <a:pt x="104341" y="186414"/>
                    <a:pt x="104659" y="184187"/>
                  </a:cubicBezTo>
                  <a:lnTo>
                    <a:pt x="105613" y="182596"/>
                  </a:lnTo>
                  <a:cubicBezTo>
                    <a:pt x="105931" y="181324"/>
                    <a:pt x="106567" y="179415"/>
                    <a:pt x="106886" y="177188"/>
                  </a:cubicBezTo>
                  <a:cubicBezTo>
                    <a:pt x="107840" y="174325"/>
                    <a:pt x="107840" y="171780"/>
                    <a:pt x="108476" y="169235"/>
                  </a:cubicBezTo>
                  <a:cubicBezTo>
                    <a:pt x="108794" y="168917"/>
                    <a:pt x="108794" y="168599"/>
                    <a:pt x="108794" y="168281"/>
                  </a:cubicBezTo>
                  <a:cubicBezTo>
                    <a:pt x="108794" y="167645"/>
                    <a:pt x="109112" y="167327"/>
                    <a:pt x="109112" y="166691"/>
                  </a:cubicBezTo>
                  <a:lnTo>
                    <a:pt x="112612" y="147286"/>
                  </a:lnTo>
                  <a:cubicBezTo>
                    <a:pt x="113248" y="146013"/>
                    <a:pt x="113248" y="144105"/>
                    <a:pt x="113566" y="142514"/>
                  </a:cubicBezTo>
                  <a:cubicBezTo>
                    <a:pt x="113566" y="139651"/>
                    <a:pt x="114202" y="136788"/>
                    <a:pt x="114202" y="134243"/>
                  </a:cubicBezTo>
                  <a:cubicBezTo>
                    <a:pt x="114520" y="131062"/>
                    <a:pt x="114839" y="128835"/>
                    <a:pt x="114839" y="126290"/>
                  </a:cubicBezTo>
                  <a:cubicBezTo>
                    <a:pt x="114839" y="124064"/>
                    <a:pt x="114839" y="122473"/>
                    <a:pt x="115157" y="120882"/>
                  </a:cubicBezTo>
                  <a:cubicBezTo>
                    <a:pt x="115157" y="119292"/>
                    <a:pt x="114839" y="118019"/>
                    <a:pt x="114839" y="116429"/>
                  </a:cubicBezTo>
                  <a:cubicBezTo>
                    <a:pt x="115157" y="116111"/>
                    <a:pt x="114202" y="115793"/>
                    <a:pt x="113884" y="115793"/>
                  </a:cubicBezTo>
                  <a:lnTo>
                    <a:pt x="113566" y="115793"/>
                  </a:lnTo>
                  <a:cubicBezTo>
                    <a:pt x="112294" y="116429"/>
                    <a:pt x="111021" y="117383"/>
                    <a:pt x="110385" y="118338"/>
                  </a:cubicBezTo>
                  <a:cubicBezTo>
                    <a:pt x="110067" y="118338"/>
                    <a:pt x="110067" y="118656"/>
                    <a:pt x="110067" y="118974"/>
                  </a:cubicBezTo>
                  <a:cubicBezTo>
                    <a:pt x="109749" y="119610"/>
                    <a:pt x="109749" y="119928"/>
                    <a:pt x="109431" y="119928"/>
                  </a:cubicBezTo>
                  <a:cubicBezTo>
                    <a:pt x="109431" y="119928"/>
                    <a:pt x="109112" y="119610"/>
                    <a:pt x="108794" y="119610"/>
                  </a:cubicBezTo>
                  <a:cubicBezTo>
                    <a:pt x="108794" y="119292"/>
                    <a:pt x="108476" y="119292"/>
                    <a:pt x="108158" y="119292"/>
                  </a:cubicBezTo>
                  <a:cubicBezTo>
                    <a:pt x="107840" y="119610"/>
                    <a:pt x="107522" y="119610"/>
                    <a:pt x="107204" y="119610"/>
                  </a:cubicBezTo>
                  <a:cubicBezTo>
                    <a:pt x="106886" y="119610"/>
                    <a:pt x="106567" y="119610"/>
                    <a:pt x="106567" y="119292"/>
                  </a:cubicBezTo>
                  <a:cubicBezTo>
                    <a:pt x="106567" y="118974"/>
                    <a:pt x="105931" y="118974"/>
                    <a:pt x="105931" y="118974"/>
                  </a:cubicBezTo>
                  <a:cubicBezTo>
                    <a:pt x="105931" y="119292"/>
                    <a:pt x="105613" y="119610"/>
                    <a:pt x="105613" y="119610"/>
                  </a:cubicBezTo>
                  <a:lnTo>
                    <a:pt x="106249" y="120882"/>
                  </a:lnTo>
                  <a:lnTo>
                    <a:pt x="106249" y="121837"/>
                  </a:lnTo>
                  <a:cubicBezTo>
                    <a:pt x="105613" y="122473"/>
                    <a:pt x="104977" y="122791"/>
                    <a:pt x="104341" y="123109"/>
                  </a:cubicBezTo>
                  <a:cubicBezTo>
                    <a:pt x="104023" y="123109"/>
                    <a:pt x="103386" y="123427"/>
                    <a:pt x="103386" y="123746"/>
                  </a:cubicBezTo>
                  <a:lnTo>
                    <a:pt x="103386" y="124064"/>
                  </a:lnTo>
                  <a:cubicBezTo>
                    <a:pt x="103386" y="124382"/>
                    <a:pt x="103068" y="124700"/>
                    <a:pt x="102432" y="125018"/>
                  </a:cubicBezTo>
                  <a:cubicBezTo>
                    <a:pt x="102114" y="125336"/>
                    <a:pt x="101478" y="125654"/>
                    <a:pt x="101478" y="125972"/>
                  </a:cubicBezTo>
                  <a:cubicBezTo>
                    <a:pt x="101478" y="126609"/>
                    <a:pt x="101160" y="126927"/>
                    <a:pt x="100842" y="126927"/>
                  </a:cubicBezTo>
                  <a:lnTo>
                    <a:pt x="100524" y="126609"/>
                  </a:lnTo>
                  <a:lnTo>
                    <a:pt x="99569" y="126609"/>
                  </a:lnTo>
                  <a:cubicBezTo>
                    <a:pt x="99569" y="126927"/>
                    <a:pt x="99251" y="127245"/>
                    <a:pt x="98933" y="127245"/>
                  </a:cubicBezTo>
                  <a:lnTo>
                    <a:pt x="97024" y="129471"/>
                  </a:lnTo>
                  <a:cubicBezTo>
                    <a:pt x="96706" y="130108"/>
                    <a:pt x="96070" y="130108"/>
                    <a:pt x="95434" y="130108"/>
                  </a:cubicBezTo>
                  <a:cubicBezTo>
                    <a:pt x="94797" y="130426"/>
                    <a:pt x="92252" y="131380"/>
                    <a:pt x="92252" y="132016"/>
                  </a:cubicBezTo>
                  <a:lnTo>
                    <a:pt x="90026" y="133925"/>
                  </a:lnTo>
                  <a:cubicBezTo>
                    <a:pt x="89708" y="133925"/>
                    <a:pt x="89390" y="134561"/>
                    <a:pt x="89071" y="135198"/>
                  </a:cubicBezTo>
                  <a:cubicBezTo>
                    <a:pt x="88753" y="135516"/>
                    <a:pt x="88753" y="135834"/>
                    <a:pt x="88753" y="135834"/>
                  </a:cubicBezTo>
                  <a:cubicBezTo>
                    <a:pt x="88753" y="136788"/>
                    <a:pt x="88117" y="137106"/>
                    <a:pt x="87481" y="137424"/>
                  </a:cubicBezTo>
                  <a:cubicBezTo>
                    <a:pt x="87163" y="137742"/>
                    <a:pt x="86845" y="137742"/>
                    <a:pt x="86527" y="137742"/>
                  </a:cubicBezTo>
                  <a:lnTo>
                    <a:pt x="85890" y="137742"/>
                  </a:lnTo>
                  <a:cubicBezTo>
                    <a:pt x="85890" y="137424"/>
                    <a:pt x="85254" y="137424"/>
                    <a:pt x="84936" y="137106"/>
                  </a:cubicBezTo>
                  <a:cubicBezTo>
                    <a:pt x="84618" y="137106"/>
                    <a:pt x="84618" y="137424"/>
                    <a:pt x="84618" y="137742"/>
                  </a:cubicBezTo>
                  <a:lnTo>
                    <a:pt x="84618" y="139969"/>
                  </a:lnTo>
                  <a:lnTo>
                    <a:pt x="83664" y="139969"/>
                  </a:lnTo>
                  <a:lnTo>
                    <a:pt x="83027" y="139333"/>
                  </a:lnTo>
                  <a:lnTo>
                    <a:pt x="83027" y="141242"/>
                  </a:lnTo>
                  <a:cubicBezTo>
                    <a:pt x="83027" y="141560"/>
                    <a:pt x="83027" y="141560"/>
                    <a:pt x="82709" y="141560"/>
                  </a:cubicBezTo>
                  <a:lnTo>
                    <a:pt x="82391" y="141560"/>
                  </a:lnTo>
                  <a:cubicBezTo>
                    <a:pt x="82073" y="141242"/>
                    <a:pt x="82073" y="141242"/>
                    <a:pt x="81755" y="141242"/>
                  </a:cubicBezTo>
                  <a:lnTo>
                    <a:pt x="81437" y="141242"/>
                  </a:lnTo>
                  <a:lnTo>
                    <a:pt x="81437" y="143468"/>
                  </a:lnTo>
                  <a:cubicBezTo>
                    <a:pt x="81437" y="143787"/>
                    <a:pt x="81437" y="144105"/>
                    <a:pt x="81119" y="144423"/>
                  </a:cubicBezTo>
                  <a:cubicBezTo>
                    <a:pt x="80800" y="145059"/>
                    <a:pt x="79846" y="145059"/>
                    <a:pt x="79846" y="145695"/>
                  </a:cubicBezTo>
                  <a:cubicBezTo>
                    <a:pt x="79210" y="146331"/>
                    <a:pt x="78256" y="146650"/>
                    <a:pt x="77301" y="147604"/>
                  </a:cubicBezTo>
                  <a:cubicBezTo>
                    <a:pt x="76983" y="147922"/>
                    <a:pt x="76665" y="147922"/>
                    <a:pt x="76347" y="147922"/>
                  </a:cubicBezTo>
                  <a:cubicBezTo>
                    <a:pt x="75711" y="147922"/>
                    <a:pt x="75711" y="147286"/>
                    <a:pt x="75393" y="146650"/>
                  </a:cubicBezTo>
                  <a:cubicBezTo>
                    <a:pt x="75393" y="146013"/>
                    <a:pt x="75075" y="145695"/>
                    <a:pt x="74438" y="145695"/>
                  </a:cubicBezTo>
                  <a:lnTo>
                    <a:pt x="74120" y="145695"/>
                  </a:lnTo>
                  <a:cubicBezTo>
                    <a:pt x="74120" y="145695"/>
                    <a:pt x="73802" y="145377"/>
                    <a:pt x="73802" y="145059"/>
                  </a:cubicBezTo>
                  <a:cubicBezTo>
                    <a:pt x="72848" y="144423"/>
                    <a:pt x="72848" y="143150"/>
                    <a:pt x="72848" y="142196"/>
                  </a:cubicBezTo>
                  <a:lnTo>
                    <a:pt x="74120" y="140605"/>
                  </a:lnTo>
                  <a:cubicBezTo>
                    <a:pt x="74438" y="139969"/>
                    <a:pt x="74438" y="139333"/>
                    <a:pt x="74438" y="139015"/>
                  </a:cubicBezTo>
                  <a:lnTo>
                    <a:pt x="74120" y="139015"/>
                  </a:lnTo>
                  <a:cubicBezTo>
                    <a:pt x="73802" y="139333"/>
                    <a:pt x="73802" y="139651"/>
                    <a:pt x="73484" y="139651"/>
                  </a:cubicBezTo>
                  <a:cubicBezTo>
                    <a:pt x="72848" y="139651"/>
                    <a:pt x="71894" y="139651"/>
                    <a:pt x="71894" y="140605"/>
                  </a:cubicBezTo>
                  <a:lnTo>
                    <a:pt x="71894" y="140924"/>
                  </a:lnTo>
                  <a:lnTo>
                    <a:pt x="71257" y="140924"/>
                  </a:lnTo>
                  <a:lnTo>
                    <a:pt x="70621" y="140605"/>
                  </a:lnTo>
                  <a:cubicBezTo>
                    <a:pt x="69985" y="140924"/>
                    <a:pt x="69985" y="141242"/>
                    <a:pt x="69985" y="141560"/>
                  </a:cubicBezTo>
                  <a:cubicBezTo>
                    <a:pt x="69985" y="141878"/>
                    <a:pt x="69985" y="142196"/>
                    <a:pt x="70303" y="142514"/>
                  </a:cubicBezTo>
                  <a:cubicBezTo>
                    <a:pt x="70939" y="142514"/>
                    <a:pt x="71257" y="142832"/>
                    <a:pt x="71575" y="142832"/>
                  </a:cubicBezTo>
                  <a:cubicBezTo>
                    <a:pt x="71894" y="143150"/>
                    <a:pt x="72212" y="143150"/>
                    <a:pt x="72212" y="143468"/>
                  </a:cubicBezTo>
                  <a:cubicBezTo>
                    <a:pt x="72212" y="143468"/>
                    <a:pt x="71894" y="143787"/>
                    <a:pt x="71894" y="144105"/>
                  </a:cubicBezTo>
                  <a:cubicBezTo>
                    <a:pt x="71575" y="144105"/>
                    <a:pt x="71894" y="144423"/>
                    <a:pt x="71894" y="144741"/>
                  </a:cubicBezTo>
                  <a:lnTo>
                    <a:pt x="72530" y="145059"/>
                  </a:lnTo>
                  <a:lnTo>
                    <a:pt x="72530" y="145377"/>
                  </a:lnTo>
                  <a:cubicBezTo>
                    <a:pt x="72530" y="145695"/>
                    <a:pt x="72530" y="145695"/>
                    <a:pt x="72848" y="146013"/>
                  </a:cubicBezTo>
                  <a:cubicBezTo>
                    <a:pt x="73166" y="146331"/>
                    <a:pt x="73166" y="146650"/>
                    <a:pt x="73166" y="146968"/>
                  </a:cubicBezTo>
                  <a:lnTo>
                    <a:pt x="73166" y="147604"/>
                  </a:lnTo>
                  <a:cubicBezTo>
                    <a:pt x="72848" y="147922"/>
                    <a:pt x="72848" y="147922"/>
                    <a:pt x="72848" y="148240"/>
                  </a:cubicBezTo>
                  <a:cubicBezTo>
                    <a:pt x="72848" y="148876"/>
                    <a:pt x="73166" y="149513"/>
                    <a:pt x="73166" y="150149"/>
                  </a:cubicBezTo>
                  <a:cubicBezTo>
                    <a:pt x="73166" y="150785"/>
                    <a:pt x="73166" y="151103"/>
                    <a:pt x="72530" y="151421"/>
                  </a:cubicBezTo>
                  <a:lnTo>
                    <a:pt x="71575" y="153330"/>
                  </a:lnTo>
                  <a:cubicBezTo>
                    <a:pt x="71575" y="153966"/>
                    <a:pt x="70621" y="155239"/>
                    <a:pt x="69349" y="155557"/>
                  </a:cubicBezTo>
                  <a:cubicBezTo>
                    <a:pt x="69030" y="155557"/>
                    <a:pt x="69030" y="156193"/>
                    <a:pt x="68394" y="156829"/>
                  </a:cubicBezTo>
                  <a:cubicBezTo>
                    <a:pt x="68076" y="157783"/>
                    <a:pt x="67122" y="159056"/>
                    <a:pt x="66485" y="160010"/>
                  </a:cubicBezTo>
                  <a:cubicBezTo>
                    <a:pt x="64895" y="161283"/>
                    <a:pt x="63622" y="162873"/>
                    <a:pt x="62032" y="164782"/>
                  </a:cubicBezTo>
                  <a:cubicBezTo>
                    <a:pt x="60760" y="166372"/>
                    <a:pt x="59487" y="167963"/>
                    <a:pt x="57579" y="169554"/>
                  </a:cubicBezTo>
                  <a:cubicBezTo>
                    <a:pt x="57260" y="169872"/>
                    <a:pt x="57260" y="169872"/>
                    <a:pt x="57260" y="170190"/>
                  </a:cubicBezTo>
                  <a:lnTo>
                    <a:pt x="57260" y="170508"/>
                  </a:lnTo>
                  <a:cubicBezTo>
                    <a:pt x="56306" y="171144"/>
                    <a:pt x="55988" y="172098"/>
                    <a:pt x="55670" y="172417"/>
                  </a:cubicBezTo>
                  <a:cubicBezTo>
                    <a:pt x="55352" y="173371"/>
                    <a:pt x="54715" y="174325"/>
                    <a:pt x="54079" y="175280"/>
                  </a:cubicBezTo>
                  <a:cubicBezTo>
                    <a:pt x="53761" y="175598"/>
                    <a:pt x="53125" y="176552"/>
                    <a:pt x="52488" y="176870"/>
                  </a:cubicBezTo>
                  <a:lnTo>
                    <a:pt x="51216" y="178143"/>
                  </a:lnTo>
                  <a:cubicBezTo>
                    <a:pt x="51216" y="178779"/>
                    <a:pt x="50898" y="179415"/>
                    <a:pt x="49944" y="179415"/>
                  </a:cubicBezTo>
                  <a:cubicBezTo>
                    <a:pt x="49307" y="179733"/>
                    <a:pt x="49626" y="181006"/>
                    <a:pt x="48989" y="181006"/>
                  </a:cubicBezTo>
                  <a:cubicBezTo>
                    <a:pt x="48671" y="181006"/>
                    <a:pt x="48353" y="181324"/>
                    <a:pt x="48353" y="181324"/>
                  </a:cubicBezTo>
                  <a:lnTo>
                    <a:pt x="48035" y="181642"/>
                  </a:lnTo>
                  <a:cubicBezTo>
                    <a:pt x="47717" y="181642"/>
                    <a:pt x="47717" y="181324"/>
                    <a:pt x="47399" y="181006"/>
                  </a:cubicBezTo>
                  <a:lnTo>
                    <a:pt x="47399" y="180051"/>
                  </a:lnTo>
                  <a:cubicBezTo>
                    <a:pt x="47081" y="179415"/>
                    <a:pt x="46763" y="179097"/>
                    <a:pt x="46445" y="179097"/>
                  </a:cubicBezTo>
                  <a:cubicBezTo>
                    <a:pt x="46126" y="179097"/>
                    <a:pt x="45808" y="179415"/>
                    <a:pt x="45172" y="180051"/>
                  </a:cubicBezTo>
                  <a:cubicBezTo>
                    <a:pt x="44536" y="180369"/>
                    <a:pt x="44218" y="181006"/>
                    <a:pt x="44218" y="181960"/>
                  </a:cubicBezTo>
                  <a:lnTo>
                    <a:pt x="44218" y="184187"/>
                  </a:lnTo>
                  <a:cubicBezTo>
                    <a:pt x="44218" y="184823"/>
                    <a:pt x="44218" y="185459"/>
                    <a:pt x="44536" y="186095"/>
                  </a:cubicBezTo>
                  <a:cubicBezTo>
                    <a:pt x="44536" y="186414"/>
                    <a:pt x="44854" y="186732"/>
                    <a:pt x="44854" y="187050"/>
                  </a:cubicBezTo>
                  <a:cubicBezTo>
                    <a:pt x="44854" y="187368"/>
                    <a:pt x="44536" y="187686"/>
                    <a:pt x="44218" y="188004"/>
                  </a:cubicBezTo>
                  <a:lnTo>
                    <a:pt x="42627" y="190231"/>
                  </a:lnTo>
                  <a:cubicBezTo>
                    <a:pt x="41991" y="190867"/>
                    <a:pt x="41991" y="191821"/>
                    <a:pt x="41355" y="192458"/>
                  </a:cubicBezTo>
                  <a:lnTo>
                    <a:pt x="41036" y="192776"/>
                  </a:lnTo>
                  <a:cubicBezTo>
                    <a:pt x="41036" y="192776"/>
                    <a:pt x="41036" y="192458"/>
                    <a:pt x="40718" y="192140"/>
                  </a:cubicBezTo>
                  <a:cubicBezTo>
                    <a:pt x="40718" y="191821"/>
                    <a:pt x="40400" y="191821"/>
                    <a:pt x="40400" y="191821"/>
                  </a:cubicBezTo>
                  <a:cubicBezTo>
                    <a:pt x="40082" y="191821"/>
                    <a:pt x="39764" y="191821"/>
                    <a:pt x="39446" y="192140"/>
                  </a:cubicBezTo>
                  <a:lnTo>
                    <a:pt x="39128" y="192458"/>
                  </a:lnTo>
                  <a:cubicBezTo>
                    <a:pt x="39128" y="192458"/>
                    <a:pt x="38810" y="192140"/>
                    <a:pt x="38810" y="191821"/>
                  </a:cubicBezTo>
                  <a:cubicBezTo>
                    <a:pt x="39128" y="190549"/>
                    <a:pt x="39764" y="189913"/>
                    <a:pt x="41036" y="189595"/>
                  </a:cubicBezTo>
                  <a:cubicBezTo>
                    <a:pt x="41036" y="189595"/>
                    <a:pt x="41355" y="189277"/>
                    <a:pt x="41355" y="188958"/>
                  </a:cubicBezTo>
                  <a:cubicBezTo>
                    <a:pt x="41355" y="188640"/>
                    <a:pt x="41036" y="188640"/>
                    <a:pt x="41036" y="188322"/>
                  </a:cubicBezTo>
                  <a:lnTo>
                    <a:pt x="41036" y="187686"/>
                  </a:lnTo>
                  <a:cubicBezTo>
                    <a:pt x="40718" y="187686"/>
                    <a:pt x="40400" y="187368"/>
                    <a:pt x="40082" y="187368"/>
                  </a:cubicBezTo>
                  <a:cubicBezTo>
                    <a:pt x="39764" y="187368"/>
                    <a:pt x="39446" y="187686"/>
                    <a:pt x="39128" y="187686"/>
                  </a:cubicBezTo>
                  <a:lnTo>
                    <a:pt x="39128" y="188640"/>
                  </a:lnTo>
                  <a:cubicBezTo>
                    <a:pt x="39128" y="188640"/>
                    <a:pt x="39128" y="188958"/>
                    <a:pt x="38810" y="188958"/>
                  </a:cubicBezTo>
                  <a:cubicBezTo>
                    <a:pt x="38810" y="189277"/>
                    <a:pt x="38492" y="189595"/>
                    <a:pt x="38173" y="189913"/>
                  </a:cubicBezTo>
                  <a:cubicBezTo>
                    <a:pt x="37855" y="189913"/>
                    <a:pt x="37537" y="190549"/>
                    <a:pt x="36901" y="190549"/>
                  </a:cubicBezTo>
                  <a:cubicBezTo>
                    <a:pt x="35629" y="190549"/>
                    <a:pt x="35629" y="191185"/>
                    <a:pt x="35311" y="192458"/>
                  </a:cubicBezTo>
                  <a:lnTo>
                    <a:pt x="35311" y="192776"/>
                  </a:lnTo>
                  <a:cubicBezTo>
                    <a:pt x="35311" y="193094"/>
                    <a:pt x="35311" y="193094"/>
                    <a:pt x="35629" y="193094"/>
                  </a:cubicBezTo>
                  <a:cubicBezTo>
                    <a:pt x="35947" y="193094"/>
                    <a:pt x="36583" y="193412"/>
                    <a:pt x="36901" y="193730"/>
                  </a:cubicBezTo>
                  <a:cubicBezTo>
                    <a:pt x="37219" y="194048"/>
                    <a:pt x="37219" y="194366"/>
                    <a:pt x="37219" y="194684"/>
                  </a:cubicBezTo>
                  <a:cubicBezTo>
                    <a:pt x="36901" y="194684"/>
                    <a:pt x="36901" y="195003"/>
                    <a:pt x="36901" y="194684"/>
                  </a:cubicBezTo>
                  <a:cubicBezTo>
                    <a:pt x="35311" y="194684"/>
                    <a:pt x="35629" y="194684"/>
                    <a:pt x="34992" y="195639"/>
                  </a:cubicBezTo>
                  <a:cubicBezTo>
                    <a:pt x="34674" y="195957"/>
                    <a:pt x="34992" y="196593"/>
                    <a:pt x="34356" y="197229"/>
                  </a:cubicBezTo>
                  <a:cubicBezTo>
                    <a:pt x="34038" y="197547"/>
                    <a:pt x="33720" y="197547"/>
                    <a:pt x="33720" y="197866"/>
                  </a:cubicBezTo>
                  <a:cubicBezTo>
                    <a:pt x="33720" y="198184"/>
                    <a:pt x="34038" y="198502"/>
                    <a:pt x="34356" y="198820"/>
                  </a:cubicBezTo>
                  <a:cubicBezTo>
                    <a:pt x="34356" y="199138"/>
                    <a:pt x="35311" y="199138"/>
                    <a:pt x="35311" y="199138"/>
                  </a:cubicBezTo>
                  <a:cubicBezTo>
                    <a:pt x="35629" y="198502"/>
                    <a:pt x="35947" y="198184"/>
                    <a:pt x="35947" y="198184"/>
                  </a:cubicBezTo>
                  <a:lnTo>
                    <a:pt x="35947" y="197547"/>
                  </a:lnTo>
                  <a:cubicBezTo>
                    <a:pt x="35947" y="195639"/>
                    <a:pt x="35947" y="195321"/>
                    <a:pt x="37537" y="195321"/>
                  </a:cubicBezTo>
                  <a:cubicBezTo>
                    <a:pt x="38173" y="195321"/>
                    <a:pt x="38173" y="195321"/>
                    <a:pt x="38492" y="195639"/>
                  </a:cubicBezTo>
                  <a:lnTo>
                    <a:pt x="38492" y="197229"/>
                  </a:lnTo>
                  <a:cubicBezTo>
                    <a:pt x="38492" y="198184"/>
                    <a:pt x="38173" y="198184"/>
                    <a:pt x="37855" y="198820"/>
                  </a:cubicBezTo>
                  <a:cubicBezTo>
                    <a:pt x="37537" y="199138"/>
                    <a:pt x="37537" y="199456"/>
                    <a:pt x="36583" y="199774"/>
                  </a:cubicBezTo>
                  <a:cubicBezTo>
                    <a:pt x="35947" y="200729"/>
                    <a:pt x="35629" y="201683"/>
                    <a:pt x="34992" y="202319"/>
                  </a:cubicBezTo>
                  <a:cubicBezTo>
                    <a:pt x="34356" y="202955"/>
                    <a:pt x="34356" y="203592"/>
                    <a:pt x="34356" y="203910"/>
                  </a:cubicBezTo>
                  <a:lnTo>
                    <a:pt x="34356" y="204546"/>
                  </a:lnTo>
                  <a:cubicBezTo>
                    <a:pt x="34356" y="205182"/>
                    <a:pt x="34038" y="205818"/>
                    <a:pt x="33720" y="206773"/>
                  </a:cubicBezTo>
                  <a:cubicBezTo>
                    <a:pt x="33720" y="207091"/>
                    <a:pt x="33402" y="207091"/>
                    <a:pt x="33402" y="207091"/>
                  </a:cubicBezTo>
                  <a:cubicBezTo>
                    <a:pt x="33402" y="207091"/>
                    <a:pt x="33084" y="207091"/>
                    <a:pt x="32766" y="206773"/>
                  </a:cubicBezTo>
                  <a:cubicBezTo>
                    <a:pt x="32448" y="206773"/>
                    <a:pt x="32448" y="206136"/>
                    <a:pt x="31493" y="206136"/>
                  </a:cubicBezTo>
                  <a:lnTo>
                    <a:pt x="30539" y="206136"/>
                  </a:lnTo>
                  <a:lnTo>
                    <a:pt x="30857" y="205818"/>
                  </a:lnTo>
                  <a:cubicBezTo>
                    <a:pt x="31175" y="204864"/>
                    <a:pt x="31493" y="204228"/>
                    <a:pt x="31493" y="203910"/>
                  </a:cubicBezTo>
                  <a:cubicBezTo>
                    <a:pt x="31493" y="203592"/>
                    <a:pt x="31175" y="203592"/>
                    <a:pt x="31175" y="203273"/>
                  </a:cubicBezTo>
                  <a:cubicBezTo>
                    <a:pt x="31175" y="202955"/>
                    <a:pt x="31493" y="202319"/>
                    <a:pt x="31811" y="202001"/>
                  </a:cubicBezTo>
                  <a:cubicBezTo>
                    <a:pt x="32130" y="201365"/>
                    <a:pt x="32766" y="201047"/>
                    <a:pt x="33402" y="200410"/>
                  </a:cubicBezTo>
                  <a:cubicBezTo>
                    <a:pt x="33720" y="200092"/>
                    <a:pt x="33720" y="199774"/>
                    <a:pt x="33720" y="199456"/>
                  </a:cubicBezTo>
                  <a:lnTo>
                    <a:pt x="33720" y="199138"/>
                  </a:lnTo>
                  <a:lnTo>
                    <a:pt x="32130" y="199138"/>
                  </a:lnTo>
                  <a:cubicBezTo>
                    <a:pt x="31493" y="199456"/>
                    <a:pt x="31175" y="200092"/>
                    <a:pt x="31175" y="201365"/>
                  </a:cubicBezTo>
                  <a:lnTo>
                    <a:pt x="31175" y="202001"/>
                  </a:lnTo>
                  <a:cubicBezTo>
                    <a:pt x="29903" y="202637"/>
                    <a:pt x="29903" y="203910"/>
                    <a:pt x="29585" y="204546"/>
                  </a:cubicBezTo>
                  <a:cubicBezTo>
                    <a:pt x="29585" y="204864"/>
                    <a:pt x="29585" y="205182"/>
                    <a:pt x="29267" y="205500"/>
                  </a:cubicBezTo>
                  <a:cubicBezTo>
                    <a:pt x="28312" y="205818"/>
                    <a:pt x="27994" y="207091"/>
                    <a:pt x="27994" y="208363"/>
                  </a:cubicBezTo>
                  <a:cubicBezTo>
                    <a:pt x="27994" y="208363"/>
                    <a:pt x="27676" y="208681"/>
                    <a:pt x="27358" y="209318"/>
                  </a:cubicBezTo>
                  <a:cubicBezTo>
                    <a:pt x="26721" y="209636"/>
                    <a:pt x="26403" y="210272"/>
                    <a:pt x="26403" y="210908"/>
                  </a:cubicBezTo>
                  <a:cubicBezTo>
                    <a:pt x="26085" y="211862"/>
                    <a:pt x="26085" y="212499"/>
                    <a:pt x="25449" y="212499"/>
                  </a:cubicBezTo>
                  <a:cubicBezTo>
                    <a:pt x="24813" y="212499"/>
                    <a:pt x="24495" y="212499"/>
                    <a:pt x="24495" y="212181"/>
                  </a:cubicBezTo>
                  <a:cubicBezTo>
                    <a:pt x="24177" y="212181"/>
                    <a:pt x="24177" y="212181"/>
                    <a:pt x="23858" y="211862"/>
                  </a:cubicBezTo>
                  <a:lnTo>
                    <a:pt x="22586" y="211862"/>
                  </a:lnTo>
                  <a:lnTo>
                    <a:pt x="22586" y="212181"/>
                  </a:lnTo>
                  <a:cubicBezTo>
                    <a:pt x="21632" y="212181"/>
                    <a:pt x="21632" y="212181"/>
                    <a:pt x="21314" y="211862"/>
                  </a:cubicBezTo>
                  <a:lnTo>
                    <a:pt x="21314" y="211544"/>
                  </a:lnTo>
                  <a:lnTo>
                    <a:pt x="20359" y="211544"/>
                  </a:lnTo>
                  <a:lnTo>
                    <a:pt x="20359" y="212817"/>
                  </a:lnTo>
                  <a:cubicBezTo>
                    <a:pt x="20677" y="213453"/>
                    <a:pt x="20996" y="213453"/>
                    <a:pt x="21314" y="213453"/>
                  </a:cubicBezTo>
                  <a:cubicBezTo>
                    <a:pt x="21632" y="213771"/>
                    <a:pt x="21950" y="213771"/>
                    <a:pt x="22586" y="213771"/>
                  </a:cubicBezTo>
                  <a:lnTo>
                    <a:pt x="23222" y="213771"/>
                  </a:lnTo>
                  <a:cubicBezTo>
                    <a:pt x="23540" y="213771"/>
                    <a:pt x="23858" y="214089"/>
                    <a:pt x="23858" y="214407"/>
                  </a:cubicBezTo>
                  <a:lnTo>
                    <a:pt x="23858" y="214725"/>
                  </a:lnTo>
                  <a:lnTo>
                    <a:pt x="22904" y="216952"/>
                  </a:lnTo>
                  <a:cubicBezTo>
                    <a:pt x="22586" y="217270"/>
                    <a:pt x="22586" y="217270"/>
                    <a:pt x="22268" y="217270"/>
                  </a:cubicBezTo>
                  <a:cubicBezTo>
                    <a:pt x="21950" y="217270"/>
                    <a:pt x="21950" y="217270"/>
                    <a:pt x="21950" y="216952"/>
                  </a:cubicBezTo>
                  <a:cubicBezTo>
                    <a:pt x="21632" y="216952"/>
                    <a:pt x="21632" y="216316"/>
                    <a:pt x="21314" y="215680"/>
                  </a:cubicBezTo>
                  <a:cubicBezTo>
                    <a:pt x="20677" y="215044"/>
                    <a:pt x="20677" y="214407"/>
                    <a:pt x="19723" y="214407"/>
                  </a:cubicBezTo>
                  <a:lnTo>
                    <a:pt x="19723" y="215044"/>
                  </a:lnTo>
                  <a:cubicBezTo>
                    <a:pt x="19723" y="215998"/>
                    <a:pt x="19087" y="216952"/>
                    <a:pt x="18133" y="217588"/>
                  </a:cubicBezTo>
                  <a:cubicBezTo>
                    <a:pt x="18133" y="217907"/>
                    <a:pt x="18133" y="217907"/>
                    <a:pt x="17815" y="217907"/>
                  </a:cubicBezTo>
                  <a:cubicBezTo>
                    <a:pt x="16860" y="218225"/>
                    <a:pt x="16542" y="218225"/>
                    <a:pt x="16542" y="218543"/>
                  </a:cubicBezTo>
                  <a:cubicBezTo>
                    <a:pt x="16542" y="218861"/>
                    <a:pt x="16860" y="219179"/>
                    <a:pt x="16860" y="219497"/>
                  </a:cubicBezTo>
                  <a:cubicBezTo>
                    <a:pt x="17178" y="219497"/>
                    <a:pt x="17178" y="219815"/>
                    <a:pt x="17178" y="220133"/>
                  </a:cubicBezTo>
                  <a:cubicBezTo>
                    <a:pt x="17178" y="220451"/>
                    <a:pt x="17496" y="220770"/>
                    <a:pt x="17496" y="220770"/>
                  </a:cubicBezTo>
                  <a:cubicBezTo>
                    <a:pt x="17496" y="221088"/>
                    <a:pt x="17178" y="221088"/>
                    <a:pt x="17178" y="221088"/>
                  </a:cubicBezTo>
                  <a:cubicBezTo>
                    <a:pt x="16542" y="221406"/>
                    <a:pt x="16542" y="222042"/>
                    <a:pt x="15588" y="222360"/>
                  </a:cubicBezTo>
                  <a:cubicBezTo>
                    <a:pt x="14951" y="222360"/>
                    <a:pt x="14633" y="222360"/>
                    <a:pt x="14633" y="222996"/>
                  </a:cubicBezTo>
                  <a:cubicBezTo>
                    <a:pt x="14633" y="223633"/>
                    <a:pt x="14633" y="224269"/>
                    <a:pt x="14951" y="224587"/>
                  </a:cubicBezTo>
                  <a:cubicBezTo>
                    <a:pt x="15270" y="225223"/>
                    <a:pt x="15270" y="225541"/>
                    <a:pt x="15270" y="225859"/>
                  </a:cubicBezTo>
                  <a:cubicBezTo>
                    <a:pt x="15270" y="226177"/>
                    <a:pt x="15270" y="226496"/>
                    <a:pt x="14951" y="226496"/>
                  </a:cubicBezTo>
                  <a:cubicBezTo>
                    <a:pt x="14315" y="226814"/>
                    <a:pt x="13997" y="227450"/>
                    <a:pt x="13997" y="228086"/>
                  </a:cubicBezTo>
                  <a:lnTo>
                    <a:pt x="13997" y="228722"/>
                  </a:lnTo>
                  <a:cubicBezTo>
                    <a:pt x="13997" y="229359"/>
                    <a:pt x="13679" y="229677"/>
                    <a:pt x="13361" y="229995"/>
                  </a:cubicBezTo>
                  <a:cubicBezTo>
                    <a:pt x="13361" y="229677"/>
                    <a:pt x="13361" y="229359"/>
                    <a:pt x="13043" y="228722"/>
                  </a:cubicBezTo>
                  <a:cubicBezTo>
                    <a:pt x="13043" y="228404"/>
                    <a:pt x="13043" y="228086"/>
                    <a:pt x="12724" y="228086"/>
                  </a:cubicBezTo>
                  <a:cubicBezTo>
                    <a:pt x="12406" y="228086"/>
                    <a:pt x="12088" y="228404"/>
                    <a:pt x="12088" y="228404"/>
                  </a:cubicBezTo>
                  <a:lnTo>
                    <a:pt x="11770" y="228086"/>
                  </a:lnTo>
                  <a:lnTo>
                    <a:pt x="11770" y="227768"/>
                  </a:lnTo>
                  <a:cubicBezTo>
                    <a:pt x="12088" y="227768"/>
                    <a:pt x="12088" y="227768"/>
                    <a:pt x="12406" y="227132"/>
                  </a:cubicBezTo>
                  <a:cubicBezTo>
                    <a:pt x="12724" y="226814"/>
                    <a:pt x="13043" y="226814"/>
                    <a:pt x="13043" y="226496"/>
                  </a:cubicBezTo>
                  <a:lnTo>
                    <a:pt x="12724" y="226177"/>
                  </a:lnTo>
                  <a:cubicBezTo>
                    <a:pt x="12724" y="225859"/>
                    <a:pt x="12406" y="225859"/>
                    <a:pt x="12406" y="225541"/>
                  </a:cubicBezTo>
                  <a:cubicBezTo>
                    <a:pt x="12406" y="224905"/>
                    <a:pt x="12406" y="224587"/>
                    <a:pt x="12724" y="224269"/>
                  </a:cubicBezTo>
                  <a:cubicBezTo>
                    <a:pt x="13361" y="223951"/>
                    <a:pt x="13679" y="223314"/>
                    <a:pt x="13679" y="222360"/>
                  </a:cubicBezTo>
                  <a:lnTo>
                    <a:pt x="13679" y="220770"/>
                  </a:lnTo>
                  <a:cubicBezTo>
                    <a:pt x="13679" y="220451"/>
                    <a:pt x="13679" y="220133"/>
                    <a:pt x="14315" y="220133"/>
                  </a:cubicBezTo>
                  <a:cubicBezTo>
                    <a:pt x="15270" y="219815"/>
                    <a:pt x="15270" y="219497"/>
                    <a:pt x="15270" y="218861"/>
                  </a:cubicBezTo>
                  <a:lnTo>
                    <a:pt x="15270" y="217270"/>
                  </a:lnTo>
                  <a:cubicBezTo>
                    <a:pt x="15588" y="216952"/>
                    <a:pt x="15588" y="216316"/>
                    <a:pt x="16224" y="215044"/>
                  </a:cubicBezTo>
                  <a:cubicBezTo>
                    <a:pt x="16224" y="214725"/>
                    <a:pt x="16542" y="214725"/>
                    <a:pt x="16860" y="214725"/>
                  </a:cubicBezTo>
                  <a:lnTo>
                    <a:pt x="17496" y="214725"/>
                  </a:lnTo>
                  <a:cubicBezTo>
                    <a:pt x="17815" y="213771"/>
                    <a:pt x="18133" y="213453"/>
                    <a:pt x="18133" y="212817"/>
                  </a:cubicBezTo>
                  <a:cubicBezTo>
                    <a:pt x="18133" y="212499"/>
                    <a:pt x="17496" y="211862"/>
                    <a:pt x="17496" y="211544"/>
                  </a:cubicBezTo>
                  <a:cubicBezTo>
                    <a:pt x="17815" y="210590"/>
                    <a:pt x="18451" y="209636"/>
                    <a:pt x="19087" y="208999"/>
                  </a:cubicBezTo>
                  <a:cubicBezTo>
                    <a:pt x="19405" y="208363"/>
                    <a:pt x="19723" y="208045"/>
                    <a:pt x="19723" y="207091"/>
                  </a:cubicBezTo>
                  <a:cubicBezTo>
                    <a:pt x="20041" y="206455"/>
                    <a:pt x="20359" y="206136"/>
                    <a:pt x="20996" y="206136"/>
                  </a:cubicBezTo>
                  <a:cubicBezTo>
                    <a:pt x="21314" y="206136"/>
                    <a:pt x="21314" y="205818"/>
                    <a:pt x="21314" y="205500"/>
                  </a:cubicBezTo>
                  <a:cubicBezTo>
                    <a:pt x="21314" y="205182"/>
                    <a:pt x="21314" y="205182"/>
                    <a:pt x="20996" y="204864"/>
                  </a:cubicBezTo>
                  <a:lnTo>
                    <a:pt x="20996" y="204228"/>
                  </a:lnTo>
                  <a:lnTo>
                    <a:pt x="22268" y="200729"/>
                  </a:lnTo>
                  <a:cubicBezTo>
                    <a:pt x="22586" y="200092"/>
                    <a:pt x="23540" y="199456"/>
                    <a:pt x="23858" y="198820"/>
                  </a:cubicBezTo>
                  <a:lnTo>
                    <a:pt x="24495" y="198820"/>
                  </a:lnTo>
                  <a:lnTo>
                    <a:pt x="24495" y="199456"/>
                  </a:lnTo>
                  <a:cubicBezTo>
                    <a:pt x="24177" y="200092"/>
                    <a:pt x="23858" y="200729"/>
                    <a:pt x="23858" y="201047"/>
                  </a:cubicBezTo>
                  <a:cubicBezTo>
                    <a:pt x="23858" y="201365"/>
                    <a:pt x="23858" y="201365"/>
                    <a:pt x="24177" y="201683"/>
                  </a:cubicBezTo>
                  <a:lnTo>
                    <a:pt x="24177" y="202001"/>
                  </a:lnTo>
                  <a:cubicBezTo>
                    <a:pt x="24177" y="202319"/>
                    <a:pt x="24177" y="202637"/>
                    <a:pt x="23858" y="202637"/>
                  </a:cubicBezTo>
                  <a:cubicBezTo>
                    <a:pt x="22586" y="203592"/>
                    <a:pt x="22904" y="204546"/>
                    <a:pt x="22586" y="205500"/>
                  </a:cubicBezTo>
                  <a:cubicBezTo>
                    <a:pt x="22586" y="205818"/>
                    <a:pt x="22268" y="206136"/>
                    <a:pt x="22268" y="206136"/>
                  </a:cubicBezTo>
                  <a:cubicBezTo>
                    <a:pt x="22268" y="206455"/>
                    <a:pt x="22586" y="206455"/>
                    <a:pt x="22586" y="206455"/>
                  </a:cubicBezTo>
                  <a:lnTo>
                    <a:pt x="22904" y="206455"/>
                  </a:lnTo>
                  <a:cubicBezTo>
                    <a:pt x="23222" y="206455"/>
                    <a:pt x="23540" y="206455"/>
                    <a:pt x="23540" y="206773"/>
                  </a:cubicBezTo>
                  <a:cubicBezTo>
                    <a:pt x="23540" y="206773"/>
                    <a:pt x="23222" y="207091"/>
                    <a:pt x="23222" y="207409"/>
                  </a:cubicBezTo>
                  <a:lnTo>
                    <a:pt x="23222" y="208045"/>
                  </a:lnTo>
                  <a:lnTo>
                    <a:pt x="25131" y="207091"/>
                  </a:lnTo>
                  <a:cubicBezTo>
                    <a:pt x="26085" y="206455"/>
                    <a:pt x="27676" y="204546"/>
                    <a:pt x="28312" y="203592"/>
                  </a:cubicBezTo>
                  <a:cubicBezTo>
                    <a:pt x="27994" y="203273"/>
                    <a:pt x="27994" y="202637"/>
                    <a:pt x="27994" y="202637"/>
                  </a:cubicBezTo>
                  <a:cubicBezTo>
                    <a:pt x="27358" y="202637"/>
                    <a:pt x="27358" y="202319"/>
                    <a:pt x="27358" y="201683"/>
                  </a:cubicBezTo>
                  <a:lnTo>
                    <a:pt x="27358" y="200729"/>
                  </a:lnTo>
                  <a:cubicBezTo>
                    <a:pt x="26721" y="200729"/>
                    <a:pt x="26721" y="200729"/>
                    <a:pt x="26403" y="200410"/>
                  </a:cubicBezTo>
                  <a:cubicBezTo>
                    <a:pt x="26403" y="199138"/>
                    <a:pt x="25449" y="198820"/>
                    <a:pt x="24495" y="198820"/>
                  </a:cubicBezTo>
                  <a:cubicBezTo>
                    <a:pt x="25449" y="198184"/>
                    <a:pt x="25767" y="197547"/>
                    <a:pt x="26085" y="196911"/>
                  </a:cubicBezTo>
                  <a:lnTo>
                    <a:pt x="26085" y="195957"/>
                  </a:lnTo>
                  <a:cubicBezTo>
                    <a:pt x="25767" y="195957"/>
                    <a:pt x="25767" y="195957"/>
                    <a:pt x="25767" y="195639"/>
                  </a:cubicBezTo>
                  <a:cubicBezTo>
                    <a:pt x="25449" y="195321"/>
                    <a:pt x="25449" y="195321"/>
                    <a:pt x="25449" y="195003"/>
                  </a:cubicBezTo>
                  <a:lnTo>
                    <a:pt x="25449" y="194684"/>
                  </a:lnTo>
                  <a:cubicBezTo>
                    <a:pt x="26085" y="194684"/>
                    <a:pt x="26085" y="195003"/>
                    <a:pt x="26403" y="195003"/>
                  </a:cubicBezTo>
                  <a:cubicBezTo>
                    <a:pt x="26721" y="195321"/>
                    <a:pt x="26721" y="195639"/>
                    <a:pt x="27040" y="195639"/>
                  </a:cubicBezTo>
                  <a:lnTo>
                    <a:pt x="27358" y="195321"/>
                  </a:lnTo>
                  <a:cubicBezTo>
                    <a:pt x="27358" y="195003"/>
                    <a:pt x="27676" y="194684"/>
                    <a:pt x="27994" y="193730"/>
                  </a:cubicBezTo>
                  <a:lnTo>
                    <a:pt x="29585" y="189913"/>
                  </a:lnTo>
                  <a:cubicBezTo>
                    <a:pt x="29903" y="189595"/>
                    <a:pt x="29903" y="189277"/>
                    <a:pt x="30221" y="189277"/>
                  </a:cubicBezTo>
                  <a:lnTo>
                    <a:pt x="30857" y="188322"/>
                  </a:lnTo>
                  <a:cubicBezTo>
                    <a:pt x="30857" y="188004"/>
                    <a:pt x="31175" y="188004"/>
                    <a:pt x="31175" y="187686"/>
                  </a:cubicBezTo>
                  <a:cubicBezTo>
                    <a:pt x="31175" y="187368"/>
                    <a:pt x="30857" y="187368"/>
                    <a:pt x="30539" y="187050"/>
                  </a:cubicBezTo>
                  <a:cubicBezTo>
                    <a:pt x="29903" y="187050"/>
                    <a:pt x="29585" y="186414"/>
                    <a:pt x="28948" y="186095"/>
                  </a:cubicBezTo>
                  <a:lnTo>
                    <a:pt x="28630" y="186095"/>
                  </a:lnTo>
                  <a:lnTo>
                    <a:pt x="28630" y="186414"/>
                  </a:lnTo>
                  <a:cubicBezTo>
                    <a:pt x="28948" y="187050"/>
                    <a:pt x="29267" y="187368"/>
                    <a:pt x="29267" y="188322"/>
                  </a:cubicBezTo>
                  <a:cubicBezTo>
                    <a:pt x="29267" y="188640"/>
                    <a:pt x="29267" y="189277"/>
                    <a:pt x="28948" y="189913"/>
                  </a:cubicBezTo>
                  <a:cubicBezTo>
                    <a:pt x="28630" y="189913"/>
                    <a:pt x="28312" y="190231"/>
                    <a:pt x="28312" y="190549"/>
                  </a:cubicBezTo>
                  <a:cubicBezTo>
                    <a:pt x="27676" y="191503"/>
                    <a:pt x="27676" y="191821"/>
                    <a:pt x="27358" y="191821"/>
                  </a:cubicBezTo>
                  <a:cubicBezTo>
                    <a:pt x="27040" y="191821"/>
                    <a:pt x="26721" y="191821"/>
                    <a:pt x="26085" y="191503"/>
                  </a:cubicBezTo>
                  <a:cubicBezTo>
                    <a:pt x="25767" y="191503"/>
                    <a:pt x="25449" y="191185"/>
                    <a:pt x="25449" y="191185"/>
                  </a:cubicBezTo>
                  <a:cubicBezTo>
                    <a:pt x="24813" y="191503"/>
                    <a:pt x="24495" y="191821"/>
                    <a:pt x="24495" y="192140"/>
                  </a:cubicBezTo>
                  <a:cubicBezTo>
                    <a:pt x="24495" y="192458"/>
                    <a:pt x="24177" y="192776"/>
                    <a:pt x="24495" y="192776"/>
                  </a:cubicBezTo>
                  <a:lnTo>
                    <a:pt x="24495" y="193412"/>
                  </a:lnTo>
                  <a:cubicBezTo>
                    <a:pt x="24495" y="194048"/>
                    <a:pt x="24177" y="194366"/>
                    <a:pt x="23858" y="194684"/>
                  </a:cubicBezTo>
                  <a:lnTo>
                    <a:pt x="23858" y="195639"/>
                  </a:lnTo>
                  <a:lnTo>
                    <a:pt x="23222" y="196911"/>
                  </a:lnTo>
                  <a:cubicBezTo>
                    <a:pt x="22904" y="197229"/>
                    <a:pt x="22904" y="197547"/>
                    <a:pt x="22904" y="197547"/>
                  </a:cubicBezTo>
                  <a:cubicBezTo>
                    <a:pt x="22904" y="197866"/>
                    <a:pt x="22904" y="197866"/>
                    <a:pt x="23222" y="197866"/>
                  </a:cubicBezTo>
                  <a:lnTo>
                    <a:pt x="23540" y="198184"/>
                  </a:lnTo>
                  <a:cubicBezTo>
                    <a:pt x="23540" y="198502"/>
                    <a:pt x="23222" y="198502"/>
                    <a:pt x="23222" y="198820"/>
                  </a:cubicBezTo>
                  <a:lnTo>
                    <a:pt x="21950" y="198820"/>
                  </a:lnTo>
                  <a:cubicBezTo>
                    <a:pt x="21632" y="198184"/>
                    <a:pt x="20677" y="198184"/>
                    <a:pt x="19723" y="198184"/>
                  </a:cubicBezTo>
                  <a:lnTo>
                    <a:pt x="19723" y="197866"/>
                  </a:lnTo>
                  <a:cubicBezTo>
                    <a:pt x="20041" y="197547"/>
                    <a:pt x="20041" y="197229"/>
                    <a:pt x="20041" y="196911"/>
                  </a:cubicBezTo>
                  <a:cubicBezTo>
                    <a:pt x="20041" y="196593"/>
                    <a:pt x="20041" y="196275"/>
                    <a:pt x="19723" y="195639"/>
                  </a:cubicBezTo>
                  <a:cubicBezTo>
                    <a:pt x="19723" y="195321"/>
                    <a:pt x="19723" y="195003"/>
                    <a:pt x="20041" y="195003"/>
                  </a:cubicBezTo>
                  <a:cubicBezTo>
                    <a:pt x="20359" y="195321"/>
                    <a:pt x="20359" y="195321"/>
                    <a:pt x="20677" y="195321"/>
                  </a:cubicBezTo>
                  <a:lnTo>
                    <a:pt x="20996" y="195321"/>
                  </a:lnTo>
                  <a:cubicBezTo>
                    <a:pt x="21632" y="195321"/>
                    <a:pt x="21632" y="195321"/>
                    <a:pt x="21950" y="195639"/>
                  </a:cubicBezTo>
                  <a:cubicBezTo>
                    <a:pt x="22268" y="195957"/>
                    <a:pt x="22586" y="195957"/>
                    <a:pt x="22904" y="195957"/>
                  </a:cubicBezTo>
                  <a:lnTo>
                    <a:pt x="22904" y="195639"/>
                  </a:lnTo>
                  <a:cubicBezTo>
                    <a:pt x="22904" y="195321"/>
                    <a:pt x="22904" y="195321"/>
                    <a:pt x="22586" y="195003"/>
                  </a:cubicBezTo>
                  <a:lnTo>
                    <a:pt x="22268" y="195003"/>
                  </a:lnTo>
                  <a:cubicBezTo>
                    <a:pt x="22268" y="194366"/>
                    <a:pt x="21950" y="194048"/>
                    <a:pt x="21950" y="193730"/>
                  </a:cubicBezTo>
                  <a:lnTo>
                    <a:pt x="21632" y="193730"/>
                  </a:lnTo>
                  <a:cubicBezTo>
                    <a:pt x="21314" y="193730"/>
                    <a:pt x="20996" y="194048"/>
                    <a:pt x="20359" y="194366"/>
                  </a:cubicBezTo>
                  <a:cubicBezTo>
                    <a:pt x="20359" y="194048"/>
                    <a:pt x="20359" y="193412"/>
                    <a:pt x="20677" y="192776"/>
                  </a:cubicBezTo>
                  <a:cubicBezTo>
                    <a:pt x="21632" y="191503"/>
                    <a:pt x="21950" y="190549"/>
                    <a:pt x="22904" y="189595"/>
                  </a:cubicBezTo>
                  <a:lnTo>
                    <a:pt x="23222" y="189277"/>
                  </a:lnTo>
                  <a:cubicBezTo>
                    <a:pt x="22904" y="190549"/>
                    <a:pt x="22904" y="191503"/>
                    <a:pt x="21950" y="192458"/>
                  </a:cubicBezTo>
                  <a:lnTo>
                    <a:pt x="22268" y="192776"/>
                  </a:lnTo>
                  <a:cubicBezTo>
                    <a:pt x="22904" y="192458"/>
                    <a:pt x="23222" y="192140"/>
                    <a:pt x="23222" y="191821"/>
                  </a:cubicBezTo>
                  <a:cubicBezTo>
                    <a:pt x="23540" y="190549"/>
                    <a:pt x="24177" y="189595"/>
                    <a:pt x="25131" y="189277"/>
                  </a:cubicBezTo>
                  <a:lnTo>
                    <a:pt x="25131" y="188322"/>
                  </a:lnTo>
                  <a:cubicBezTo>
                    <a:pt x="24813" y="188004"/>
                    <a:pt x="24495" y="187686"/>
                    <a:pt x="24495" y="187368"/>
                  </a:cubicBezTo>
                  <a:lnTo>
                    <a:pt x="24495" y="187050"/>
                  </a:lnTo>
                  <a:cubicBezTo>
                    <a:pt x="24813" y="186095"/>
                    <a:pt x="25449" y="185141"/>
                    <a:pt x="26403" y="184505"/>
                  </a:cubicBezTo>
                  <a:cubicBezTo>
                    <a:pt x="26721" y="184187"/>
                    <a:pt x="27358" y="183232"/>
                    <a:pt x="27358" y="182596"/>
                  </a:cubicBezTo>
                  <a:lnTo>
                    <a:pt x="27358" y="182278"/>
                  </a:lnTo>
                  <a:cubicBezTo>
                    <a:pt x="27994" y="181006"/>
                    <a:pt x="28630" y="180688"/>
                    <a:pt x="29267" y="179733"/>
                  </a:cubicBezTo>
                  <a:cubicBezTo>
                    <a:pt x="29585" y="179733"/>
                    <a:pt x="29585" y="179415"/>
                    <a:pt x="29903" y="179097"/>
                  </a:cubicBezTo>
                  <a:cubicBezTo>
                    <a:pt x="30221" y="178779"/>
                    <a:pt x="30221" y="178461"/>
                    <a:pt x="30221" y="178143"/>
                  </a:cubicBezTo>
                  <a:cubicBezTo>
                    <a:pt x="30539" y="177188"/>
                    <a:pt x="30857" y="176552"/>
                    <a:pt x="31811" y="175598"/>
                  </a:cubicBezTo>
                  <a:cubicBezTo>
                    <a:pt x="31811" y="175280"/>
                    <a:pt x="32130" y="174962"/>
                    <a:pt x="32130" y="174643"/>
                  </a:cubicBezTo>
                  <a:lnTo>
                    <a:pt x="32130" y="174325"/>
                  </a:lnTo>
                  <a:cubicBezTo>
                    <a:pt x="32766" y="173053"/>
                    <a:pt x="33720" y="172098"/>
                    <a:pt x="34674" y="171462"/>
                  </a:cubicBezTo>
                  <a:cubicBezTo>
                    <a:pt x="35311" y="170826"/>
                    <a:pt x="35947" y="170190"/>
                    <a:pt x="36583" y="169872"/>
                  </a:cubicBezTo>
                  <a:lnTo>
                    <a:pt x="37219" y="169872"/>
                  </a:lnTo>
                  <a:lnTo>
                    <a:pt x="37219" y="170190"/>
                  </a:lnTo>
                  <a:cubicBezTo>
                    <a:pt x="37219" y="170826"/>
                    <a:pt x="36583" y="170826"/>
                    <a:pt x="36583" y="171462"/>
                  </a:cubicBezTo>
                  <a:cubicBezTo>
                    <a:pt x="37537" y="171144"/>
                    <a:pt x="37855" y="170826"/>
                    <a:pt x="38810" y="170826"/>
                  </a:cubicBezTo>
                  <a:cubicBezTo>
                    <a:pt x="39128" y="170508"/>
                    <a:pt x="39128" y="169872"/>
                    <a:pt x="39128" y="169872"/>
                  </a:cubicBezTo>
                  <a:cubicBezTo>
                    <a:pt x="38810" y="169235"/>
                    <a:pt x="38492" y="168599"/>
                    <a:pt x="38492" y="167645"/>
                  </a:cubicBezTo>
                  <a:lnTo>
                    <a:pt x="38492" y="167009"/>
                  </a:lnTo>
                  <a:cubicBezTo>
                    <a:pt x="38492" y="165736"/>
                    <a:pt x="39128" y="164782"/>
                    <a:pt x="40082" y="164782"/>
                  </a:cubicBezTo>
                  <a:cubicBezTo>
                    <a:pt x="41991" y="164464"/>
                    <a:pt x="42627" y="163828"/>
                    <a:pt x="42627" y="162555"/>
                  </a:cubicBezTo>
                  <a:lnTo>
                    <a:pt x="42945" y="162237"/>
                  </a:lnTo>
                  <a:lnTo>
                    <a:pt x="43264" y="162555"/>
                  </a:lnTo>
                  <a:cubicBezTo>
                    <a:pt x="43264" y="162555"/>
                    <a:pt x="43582" y="162555"/>
                    <a:pt x="43582" y="162873"/>
                  </a:cubicBezTo>
                  <a:lnTo>
                    <a:pt x="44218" y="162873"/>
                  </a:lnTo>
                  <a:cubicBezTo>
                    <a:pt x="44536" y="162555"/>
                    <a:pt x="44854" y="162555"/>
                    <a:pt x="44854" y="161919"/>
                  </a:cubicBezTo>
                  <a:lnTo>
                    <a:pt x="44854" y="161283"/>
                  </a:lnTo>
                  <a:cubicBezTo>
                    <a:pt x="44536" y="161283"/>
                    <a:pt x="44536" y="161283"/>
                    <a:pt x="44536" y="160965"/>
                  </a:cubicBezTo>
                  <a:cubicBezTo>
                    <a:pt x="44536" y="160646"/>
                    <a:pt x="44854" y="160328"/>
                    <a:pt x="44854" y="160328"/>
                  </a:cubicBezTo>
                  <a:lnTo>
                    <a:pt x="45490" y="160328"/>
                  </a:lnTo>
                  <a:cubicBezTo>
                    <a:pt x="45172" y="160646"/>
                    <a:pt x="45172" y="161283"/>
                    <a:pt x="44854" y="161283"/>
                  </a:cubicBezTo>
                  <a:cubicBezTo>
                    <a:pt x="45490" y="161283"/>
                    <a:pt x="45808" y="161283"/>
                    <a:pt x="46445" y="160965"/>
                  </a:cubicBezTo>
                  <a:lnTo>
                    <a:pt x="46445" y="160328"/>
                  </a:lnTo>
                  <a:cubicBezTo>
                    <a:pt x="45808" y="160010"/>
                    <a:pt x="45808" y="159374"/>
                    <a:pt x="45808" y="159056"/>
                  </a:cubicBezTo>
                  <a:cubicBezTo>
                    <a:pt x="45808" y="158738"/>
                    <a:pt x="45808" y="158420"/>
                    <a:pt x="46126" y="157783"/>
                  </a:cubicBezTo>
                  <a:cubicBezTo>
                    <a:pt x="46445" y="156829"/>
                    <a:pt x="47081" y="155875"/>
                    <a:pt x="47717" y="155239"/>
                  </a:cubicBezTo>
                  <a:cubicBezTo>
                    <a:pt x="48035" y="155239"/>
                    <a:pt x="48671" y="154284"/>
                    <a:pt x="48671" y="153648"/>
                  </a:cubicBezTo>
                  <a:cubicBezTo>
                    <a:pt x="48989" y="153330"/>
                    <a:pt x="48989" y="153330"/>
                    <a:pt x="49944" y="153330"/>
                  </a:cubicBezTo>
                  <a:cubicBezTo>
                    <a:pt x="49944" y="153648"/>
                    <a:pt x="49944" y="153966"/>
                    <a:pt x="50262" y="154284"/>
                  </a:cubicBezTo>
                  <a:cubicBezTo>
                    <a:pt x="50262" y="154284"/>
                    <a:pt x="49944" y="154284"/>
                    <a:pt x="49944" y="154602"/>
                  </a:cubicBezTo>
                  <a:lnTo>
                    <a:pt x="49944" y="155239"/>
                  </a:lnTo>
                  <a:lnTo>
                    <a:pt x="50262" y="155239"/>
                  </a:lnTo>
                  <a:cubicBezTo>
                    <a:pt x="50580" y="155239"/>
                    <a:pt x="50580" y="155239"/>
                    <a:pt x="50898" y="154920"/>
                  </a:cubicBezTo>
                  <a:lnTo>
                    <a:pt x="51852" y="153648"/>
                  </a:lnTo>
                  <a:cubicBezTo>
                    <a:pt x="52170" y="153648"/>
                    <a:pt x="52488" y="153648"/>
                    <a:pt x="52488" y="153330"/>
                  </a:cubicBezTo>
                  <a:cubicBezTo>
                    <a:pt x="52488" y="153012"/>
                    <a:pt x="52170" y="153012"/>
                    <a:pt x="52170" y="152376"/>
                  </a:cubicBezTo>
                  <a:cubicBezTo>
                    <a:pt x="51852" y="152376"/>
                    <a:pt x="51852" y="152376"/>
                    <a:pt x="51852" y="152057"/>
                  </a:cubicBezTo>
                  <a:cubicBezTo>
                    <a:pt x="51852" y="151739"/>
                    <a:pt x="51852" y="151739"/>
                    <a:pt x="52170" y="151421"/>
                  </a:cubicBezTo>
                  <a:lnTo>
                    <a:pt x="53761" y="150467"/>
                  </a:lnTo>
                  <a:lnTo>
                    <a:pt x="53761" y="149194"/>
                  </a:lnTo>
                  <a:cubicBezTo>
                    <a:pt x="53761" y="148876"/>
                    <a:pt x="53761" y="148558"/>
                    <a:pt x="54079" y="148558"/>
                  </a:cubicBezTo>
                  <a:lnTo>
                    <a:pt x="54715" y="149194"/>
                  </a:lnTo>
                  <a:cubicBezTo>
                    <a:pt x="55033" y="148876"/>
                    <a:pt x="55352" y="148876"/>
                    <a:pt x="55352" y="148876"/>
                  </a:cubicBezTo>
                  <a:cubicBezTo>
                    <a:pt x="55352" y="147604"/>
                    <a:pt x="56306" y="146013"/>
                    <a:pt x="56624" y="145695"/>
                  </a:cubicBezTo>
                  <a:cubicBezTo>
                    <a:pt x="56624" y="145059"/>
                    <a:pt x="56942" y="144741"/>
                    <a:pt x="57260" y="144423"/>
                  </a:cubicBezTo>
                  <a:cubicBezTo>
                    <a:pt x="57579" y="143787"/>
                    <a:pt x="58533" y="143787"/>
                    <a:pt x="59169" y="143468"/>
                  </a:cubicBezTo>
                  <a:cubicBezTo>
                    <a:pt x="59805" y="143468"/>
                    <a:pt x="60123" y="143468"/>
                    <a:pt x="60441" y="142514"/>
                  </a:cubicBezTo>
                  <a:cubicBezTo>
                    <a:pt x="60441" y="142514"/>
                    <a:pt x="60760" y="142196"/>
                    <a:pt x="60760" y="141560"/>
                  </a:cubicBezTo>
                  <a:cubicBezTo>
                    <a:pt x="61396" y="140924"/>
                    <a:pt x="61396" y="140605"/>
                    <a:pt x="62350" y="140287"/>
                  </a:cubicBezTo>
                  <a:cubicBezTo>
                    <a:pt x="62986" y="139969"/>
                    <a:pt x="63304" y="139651"/>
                    <a:pt x="63941" y="138697"/>
                  </a:cubicBezTo>
                  <a:cubicBezTo>
                    <a:pt x="64259" y="138061"/>
                    <a:pt x="64895" y="137742"/>
                    <a:pt x="65213" y="137424"/>
                  </a:cubicBezTo>
                  <a:cubicBezTo>
                    <a:pt x="65849" y="136788"/>
                    <a:pt x="66803" y="136788"/>
                    <a:pt x="66803" y="135834"/>
                  </a:cubicBezTo>
                  <a:cubicBezTo>
                    <a:pt x="66803" y="135516"/>
                    <a:pt x="67440" y="135198"/>
                    <a:pt x="67758" y="135198"/>
                  </a:cubicBezTo>
                  <a:cubicBezTo>
                    <a:pt x="68712" y="135198"/>
                    <a:pt x="69030" y="135198"/>
                    <a:pt x="69667" y="134879"/>
                  </a:cubicBezTo>
                  <a:cubicBezTo>
                    <a:pt x="69667" y="133925"/>
                    <a:pt x="70621" y="133607"/>
                    <a:pt x="70621" y="132335"/>
                  </a:cubicBezTo>
                  <a:lnTo>
                    <a:pt x="72212" y="131062"/>
                  </a:lnTo>
                  <a:cubicBezTo>
                    <a:pt x="72848" y="131062"/>
                    <a:pt x="73166" y="131062"/>
                    <a:pt x="73802" y="130744"/>
                  </a:cubicBezTo>
                  <a:cubicBezTo>
                    <a:pt x="74120" y="130426"/>
                    <a:pt x="74120" y="130108"/>
                    <a:pt x="74756" y="130108"/>
                  </a:cubicBezTo>
                  <a:cubicBezTo>
                    <a:pt x="75075" y="130108"/>
                    <a:pt x="75711" y="129790"/>
                    <a:pt x="75711" y="129471"/>
                  </a:cubicBezTo>
                  <a:cubicBezTo>
                    <a:pt x="75393" y="129153"/>
                    <a:pt x="75393" y="128835"/>
                    <a:pt x="75393" y="128517"/>
                  </a:cubicBezTo>
                  <a:cubicBezTo>
                    <a:pt x="75393" y="127881"/>
                    <a:pt x="75711" y="127563"/>
                    <a:pt x="76347" y="126927"/>
                  </a:cubicBezTo>
                  <a:cubicBezTo>
                    <a:pt x="77301" y="126609"/>
                    <a:pt x="78256" y="126290"/>
                    <a:pt x="79210" y="125336"/>
                  </a:cubicBezTo>
                  <a:cubicBezTo>
                    <a:pt x="80482" y="125018"/>
                    <a:pt x="81437" y="124700"/>
                    <a:pt x="81755" y="123746"/>
                  </a:cubicBezTo>
                  <a:cubicBezTo>
                    <a:pt x="82391" y="123427"/>
                    <a:pt x="82709" y="122473"/>
                    <a:pt x="83346" y="122473"/>
                  </a:cubicBezTo>
                  <a:cubicBezTo>
                    <a:pt x="83664" y="122473"/>
                    <a:pt x="83664" y="122155"/>
                    <a:pt x="83664" y="121837"/>
                  </a:cubicBezTo>
                  <a:cubicBezTo>
                    <a:pt x="83664" y="121519"/>
                    <a:pt x="83982" y="120882"/>
                    <a:pt x="84618" y="120564"/>
                  </a:cubicBezTo>
                  <a:lnTo>
                    <a:pt x="85572" y="120564"/>
                  </a:lnTo>
                  <a:cubicBezTo>
                    <a:pt x="85572" y="120246"/>
                    <a:pt x="85890" y="119928"/>
                    <a:pt x="86527" y="119928"/>
                  </a:cubicBezTo>
                  <a:cubicBezTo>
                    <a:pt x="86845" y="120246"/>
                    <a:pt x="87163" y="120246"/>
                    <a:pt x="87481" y="120246"/>
                  </a:cubicBezTo>
                  <a:cubicBezTo>
                    <a:pt x="88117" y="120246"/>
                    <a:pt x="88117" y="119610"/>
                    <a:pt x="88435" y="119292"/>
                  </a:cubicBezTo>
                  <a:cubicBezTo>
                    <a:pt x="89071" y="118656"/>
                    <a:pt x="89390" y="117701"/>
                    <a:pt x="90026" y="117383"/>
                  </a:cubicBezTo>
                  <a:cubicBezTo>
                    <a:pt x="90026" y="116429"/>
                    <a:pt x="90026" y="115475"/>
                    <a:pt x="90980" y="115156"/>
                  </a:cubicBezTo>
                  <a:cubicBezTo>
                    <a:pt x="92252" y="114520"/>
                    <a:pt x="92889" y="114202"/>
                    <a:pt x="94161" y="113884"/>
                  </a:cubicBezTo>
                  <a:cubicBezTo>
                    <a:pt x="94797" y="113248"/>
                    <a:pt x="95434" y="113248"/>
                    <a:pt x="96070" y="113248"/>
                  </a:cubicBezTo>
                  <a:cubicBezTo>
                    <a:pt x="95752" y="113884"/>
                    <a:pt x="95752" y="113884"/>
                    <a:pt x="95752" y="114520"/>
                  </a:cubicBezTo>
                  <a:cubicBezTo>
                    <a:pt x="95752" y="114520"/>
                    <a:pt x="95752" y="114838"/>
                    <a:pt x="96070" y="114520"/>
                  </a:cubicBezTo>
                  <a:cubicBezTo>
                    <a:pt x="96706" y="113884"/>
                    <a:pt x="97661" y="113248"/>
                    <a:pt x="97661" y="112293"/>
                  </a:cubicBezTo>
                  <a:lnTo>
                    <a:pt x="97661" y="111975"/>
                  </a:lnTo>
                  <a:cubicBezTo>
                    <a:pt x="97661" y="111339"/>
                    <a:pt x="97979" y="110703"/>
                    <a:pt x="98615" y="110067"/>
                  </a:cubicBezTo>
                  <a:cubicBezTo>
                    <a:pt x="99251" y="109749"/>
                    <a:pt x="99887" y="110067"/>
                    <a:pt x="100524" y="109430"/>
                  </a:cubicBezTo>
                  <a:cubicBezTo>
                    <a:pt x="100842" y="108794"/>
                    <a:pt x="101796" y="108476"/>
                    <a:pt x="101796" y="108158"/>
                  </a:cubicBezTo>
                  <a:cubicBezTo>
                    <a:pt x="102114" y="107204"/>
                    <a:pt x="102750" y="106886"/>
                    <a:pt x="103386" y="106567"/>
                  </a:cubicBezTo>
                  <a:lnTo>
                    <a:pt x="104023" y="106567"/>
                  </a:lnTo>
                  <a:cubicBezTo>
                    <a:pt x="104341" y="106567"/>
                    <a:pt x="104341" y="106886"/>
                    <a:pt x="104659" y="106886"/>
                  </a:cubicBezTo>
                  <a:cubicBezTo>
                    <a:pt x="104977" y="106886"/>
                    <a:pt x="104977" y="106567"/>
                    <a:pt x="105295" y="105931"/>
                  </a:cubicBezTo>
                  <a:cubicBezTo>
                    <a:pt x="105295" y="105613"/>
                    <a:pt x="105613" y="105295"/>
                    <a:pt x="105931" y="104659"/>
                  </a:cubicBezTo>
                  <a:cubicBezTo>
                    <a:pt x="106567" y="104023"/>
                    <a:pt x="106886" y="104023"/>
                    <a:pt x="107840" y="104023"/>
                  </a:cubicBezTo>
                  <a:lnTo>
                    <a:pt x="108476" y="104023"/>
                  </a:lnTo>
                  <a:cubicBezTo>
                    <a:pt x="108794" y="104023"/>
                    <a:pt x="109112" y="104023"/>
                    <a:pt x="109112" y="103704"/>
                  </a:cubicBezTo>
                  <a:lnTo>
                    <a:pt x="109112" y="102750"/>
                  </a:lnTo>
                  <a:cubicBezTo>
                    <a:pt x="110067" y="102114"/>
                    <a:pt x="112930" y="101796"/>
                    <a:pt x="113884" y="100523"/>
                  </a:cubicBezTo>
                  <a:cubicBezTo>
                    <a:pt x="114520" y="100523"/>
                    <a:pt x="115157" y="100205"/>
                    <a:pt x="116111" y="99569"/>
                  </a:cubicBezTo>
                  <a:cubicBezTo>
                    <a:pt x="116747" y="99251"/>
                    <a:pt x="117065" y="98297"/>
                    <a:pt x="117065" y="97024"/>
                  </a:cubicBezTo>
                  <a:lnTo>
                    <a:pt x="117065" y="94479"/>
                  </a:lnTo>
                  <a:cubicBezTo>
                    <a:pt x="117065" y="93525"/>
                    <a:pt x="117065" y="92889"/>
                    <a:pt x="117383" y="91934"/>
                  </a:cubicBezTo>
                  <a:lnTo>
                    <a:pt x="116747" y="84618"/>
                  </a:lnTo>
                  <a:lnTo>
                    <a:pt x="116747" y="81755"/>
                  </a:lnTo>
                  <a:cubicBezTo>
                    <a:pt x="116747" y="81437"/>
                    <a:pt x="117065" y="80800"/>
                    <a:pt x="117065" y="80482"/>
                  </a:cubicBezTo>
                  <a:lnTo>
                    <a:pt x="117065" y="75392"/>
                  </a:lnTo>
                  <a:cubicBezTo>
                    <a:pt x="117065" y="73166"/>
                    <a:pt x="117065" y="71257"/>
                    <a:pt x="116747" y="69348"/>
                  </a:cubicBezTo>
                  <a:lnTo>
                    <a:pt x="116747" y="67122"/>
                  </a:lnTo>
                  <a:cubicBezTo>
                    <a:pt x="116747" y="66485"/>
                    <a:pt x="116747" y="65531"/>
                    <a:pt x="116429" y="64895"/>
                  </a:cubicBezTo>
                  <a:lnTo>
                    <a:pt x="116429" y="63304"/>
                  </a:lnTo>
                  <a:cubicBezTo>
                    <a:pt x="117065" y="62668"/>
                    <a:pt x="116747" y="61714"/>
                    <a:pt x="117065" y="60441"/>
                  </a:cubicBezTo>
                  <a:cubicBezTo>
                    <a:pt x="117065" y="58214"/>
                    <a:pt x="116747" y="55670"/>
                    <a:pt x="116429" y="53443"/>
                  </a:cubicBezTo>
                  <a:lnTo>
                    <a:pt x="116429" y="46762"/>
                  </a:lnTo>
                  <a:cubicBezTo>
                    <a:pt x="116429" y="46444"/>
                    <a:pt x="116429" y="45808"/>
                    <a:pt x="116111" y="45490"/>
                  </a:cubicBezTo>
                  <a:cubicBezTo>
                    <a:pt x="115793" y="44854"/>
                    <a:pt x="115793" y="44854"/>
                    <a:pt x="115157" y="44854"/>
                  </a:cubicBezTo>
                  <a:lnTo>
                    <a:pt x="111658" y="44854"/>
                  </a:lnTo>
                  <a:cubicBezTo>
                    <a:pt x="111339" y="45172"/>
                    <a:pt x="110703" y="46126"/>
                    <a:pt x="110703" y="46444"/>
                  </a:cubicBezTo>
                  <a:cubicBezTo>
                    <a:pt x="109749" y="46444"/>
                    <a:pt x="109431" y="47717"/>
                    <a:pt x="109112" y="48353"/>
                  </a:cubicBezTo>
                  <a:lnTo>
                    <a:pt x="109112" y="49307"/>
                  </a:lnTo>
                  <a:cubicBezTo>
                    <a:pt x="109112" y="50580"/>
                    <a:pt x="108158" y="52488"/>
                    <a:pt x="107522" y="52807"/>
                  </a:cubicBezTo>
                  <a:cubicBezTo>
                    <a:pt x="106886" y="53125"/>
                    <a:pt x="106567" y="53125"/>
                    <a:pt x="106567" y="53761"/>
                  </a:cubicBezTo>
                  <a:lnTo>
                    <a:pt x="106567" y="54397"/>
                  </a:lnTo>
                  <a:cubicBezTo>
                    <a:pt x="105931" y="55033"/>
                    <a:pt x="105295" y="55988"/>
                    <a:pt x="104659" y="56306"/>
                  </a:cubicBezTo>
                  <a:lnTo>
                    <a:pt x="104023" y="56306"/>
                  </a:lnTo>
                  <a:cubicBezTo>
                    <a:pt x="103705" y="56306"/>
                    <a:pt x="103705" y="56306"/>
                    <a:pt x="103705" y="56624"/>
                  </a:cubicBezTo>
                  <a:cubicBezTo>
                    <a:pt x="103386" y="58214"/>
                    <a:pt x="102750" y="59487"/>
                    <a:pt x="101796" y="60123"/>
                  </a:cubicBezTo>
                  <a:cubicBezTo>
                    <a:pt x="100842" y="61077"/>
                    <a:pt x="101160" y="62032"/>
                    <a:pt x="100205" y="62350"/>
                  </a:cubicBezTo>
                  <a:cubicBezTo>
                    <a:pt x="99569" y="62668"/>
                    <a:pt x="98933" y="63304"/>
                    <a:pt x="98615" y="63940"/>
                  </a:cubicBezTo>
                  <a:cubicBezTo>
                    <a:pt x="97979" y="65213"/>
                    <a:pt x="97661" y="66167"/>
                    <a:pt x="97661" y="67440"/>
                  </a:cubicBezTo>
                  <a:cubicBezTo>
                    <a:pt x="97343" y="68712"/>
                    <a:pt x="96706" y="69030"/>
                    <a:pt x="96070" y="69030"/>
                  </a:cubicBezTo>
                  <a:cubicBezTo>
                    <a:pt x="95752" y="69030"/>
                    <a:pt x="95434" y="69348"/>
                    <a:pt x="95115" y="69666"/>
                  </a:cubicBezTo>
                  <a:cubicBezTo>
                    <a:pt x="95115" y="70621"/>
                    <a:pt x="94797" y="71257"/>
                    <a:pt x="93843" y="71257"/>
                  </a:cubicBezTo>
                  <a:cubicBezTo>
                    <a:pt x="93525" y="71575"/>
                    <a:pt x="93207" y="72211"/>
                    <a:pt x="93207" y="72848"/>
                  </a:cubicBezTo>
                  <a:cubicBezTo>
                    <a:pt x="93207" y="73802"/>
                    <a:pt x="93207" y="74438"/>
                    <a:pt x="92571" y="75074"/>
                  </a:cubicBezTo>
                  <a:lnTo>
                    <a:pt x="91934" y="75074"/>
                  </a:lnTo>
                  <a:cubicBezTo>
                    <a:pt x="90980" y="76029"/>
                    <a:pt x="90026" y="76665"/>
                    <a:pt x="89390" y="78256"/>
                  </a:cubicBezTo>
                  <a:cubicBezTo>
                    <a:pt x="89390" y="78892"/>
                    <a:pt x="89071" y="79528"/>
                    <a:pt x="88117" y="79528"/>
                  </a:cubicBezTo>
                  <a:cubicBezTo>
                    <a:pt x="87481" y="80482"/>
                    <a:pt x="86209" y="80482"/>
                    <a:pt x="86209" y="81437"/>
                  </a:cubicBezTo>
                  <a:cubicBezTo>
                    <a:pt x="85890" y="81437"/>
                    <a:pt x="85572" y="81755"/>
                    <a:pt x="85572" y="82073"/>
                  </a:cubicBezTo>
                  <a:cubicBezTo>
                    <a:pt x="85572" y="82391"/>
                    <a:pt x="85254" y="82709"/>
                    <a:pt x="84936" y="82709"/>
                  </a:cubicBezTo>
                  <a:cubicBezTo>
                    <a:pt x="84936" y="84618"/>
                    <a:pt x="83982" y="85572"/>
                    <a:pt x="83346" y="86845"/>
                  </a:cubicBezTo>
                  <a:cubicBezTo>
                    <a:pt x="83346" y="87481"/>
                    <a:pt x="82709" y="88435"/>
                    <a:pt x="82073" y="89708"/>
                  </a:cubicBezTo>
                  <a:lnTo>
                    <a:pt x="80164" y="90980"/>
                  </a:lnTo>
                  <a:cubicBezTo>
                    <a:pt x="79846" y="91616"/>
                    <a:pt x="79210" y="92889"/>
                    <a:pt x="78256" y="93525"/>
                  </a:cubicBezTo>
                  <a:cubicBezTo>
                    <a:pt x="77301" y="94161"/>
                    <a:pt x="76665" y="95115"/>
                    <a:pt x="76029" y="95752"/>
                  </a:cubicBezTo>
                  <a:cubicBezTo>
                    <a:pt x="76029" y="95752"/>
                    <a:pt x="75711" y="96388"/>
                    <a:pt x="75393" y="96706"/>
                  </a:cubicBezTo>
                  <a:lnTo>
                    <a:pt x="74438" y="98615"/>
                  </a:lnTo>
                  <a:cubicBezTo>
                    <a:pt x="74438" y="98933"/>
                    <a:pt x="74120" y="98933"/>
                    <a:pt x="73802" y="98933"/>
                  </a:cubicBezTo>
                  <a:cubicBezTo>
                    <a:pt x="72212" y="99887"/>
                    <a:pt x="70621" y="101478"/>
                    <a:pt x="69667" y="103386"/>
                  </a:cubicBezTo>
                  <a:cubicBezTo>
                    <a:pt x="69349" y="103704"/>
                    <a:pt x="69349" y="104023"/>
                    <a:pt x="69349" y="104341"/>
                  </a:cubicBezTo>
                  <a:cubicBezTo>
                    <a:pt x="69349" y="104659"/>
                    <a:pt x="69349" y="104977"/>
                    <a:pt x="69030" y="104977"/>
                  </a:cubicBezTo>
                  <a:cubicBezTo>
                    <a:pt x="68076" y="104977"/>
                    <a:pt x="67758" y="105931"/>
                    <a:pt x="67122" y="105931"/>
                  </a:cubicBezTo>
                  <a:cubicBezTo>
                    <a:pt x="65849" y="106886"/>
                    <a:pt x="65213" y="108158"/>
                    <a:pt x="64259" y="109430"/>
                  </a:cubicBezTo>
                  <a:cubicBezTo>
                    <a:pt x="63622" y="110067"/>
                    <a:pt x="62986" y="111339"/>
                    <a:pt x="62032" y="111339"/>
                  </a:cubicBezTo>
                  <a:cubicBezTo>
                    <a:pt x="61714" y="111339"/>
                    <a:pt x="61396" y="111657"/>
                    <a:pt x="61396" y="111975"/>
                  </a:cubicBezTo>
                  <a:cubicBezTo>
                    <a:pt x="61078" y="112293"/>
                    <a:pt x="60760" y="112612"/>
                    <a:pt x="60123" y="112612"/>
                  </a:cubicBezTo>
                  <a:cubicBezTo>
                    <a:pt x="60123" y="112612"/>
                    <a:pt x="59805" y="112612"/>
                    <a:pt x="59805" y="113248"/>
                  </a:cubicBezTo>
                  <a:cubicBezTo>
                    <a:pt x="59805" y="113566"/>
                    <a:pt x="59487" y="114202"/>
                    <a:pt x="58851" y="114202"/>
                  </a:cubicBezTo>
                  <a:cubicBezTo>
                    <a:pt x="57897" y="114520"/>
                    <a:pt x="56942" y="115156"/>
                    <a:pt x="56624" y="116111"/>
                  </a:cubicBezTo>
                  <a:cubicBezTo>
                    <a:pt x="55988" y="116747"/>
                    <a:pt x="55352" y="116429"/>
                    <a:pt x="55033" y="117065"/>
                  </a:cubicBezTo>
                  <a:cubicBezTo>
                    <a:pt x="55033" y="117383"/>
                    <a:pt x="54397" y="118338"/>
                    <a:pt x="54079" y="118656"/>
                  </a:cubicBezTo>
                  <a:cubicBezTo>
                    <a:pt x="53761" y="119292"/>
                    <a:pt x="53125" y="119610"/>
                    <a:pt x="52488" y="119610"/>
                  </a:cubicBezTo>
                  <a:cubicBezTo>
                    <a:pt x="51852" y="119610"/>
                    <a:pt x="50898" y="119928"/>
                    <a:pt x="50580" y="120246"/>
                  </a:cubicBezTo>
                  <a:cubicBezTo>
                    <a:pt x="49626" y="121201"/>
                    <a:pt x="48671" y="121519"/>
                    <a:pt x="47717" y="121519"/>
                  </a:cubicBezTo>
                  <a:cubicBezTo>
                    <a:pt x="47399" y="121837"/>
                    <a:pt x="46445" y="122155"/>
                    <a:pt x="45490" y="122473"/>
                  </a:cubicBezTo>
                  <a:cubicBezTo>
                    <a:pt x="44536" y="122791"/>
                    <a:pt x="43900" y="123109"/>
                    <a:pt x="42945" y="123109"/>
                  </a:cubicBezTo>
                  <a:lnTo>
                    <a:pt x="42627" y="123109"/>
                  </a:lnTo>
                  <a:cubicBezTo>
                    <a:pt x="41991" y="123427"/>
                    <a:pt x="41673" y="123746"/>
                    <a:pt x="41036" y="123746"/>
                  </a:cubicBezTo>
                  <a:cubicBezTo>
                    <a:pt x="40082" y="123746"/>
                    <a:pt x="39446" y="123427"/>
                    <a:pt x="38810" y="123109"/>
                  </a:cubicBezTo>
                  <a:lnTo>
                    <a:pt x="38173" y="123109"/>
                  </a:lnTo>
                  <a:cubicBezTo>
                    <a:pt x="36583" y="123109"/>
                    <a:pt x="35629" y="122473"/>
                    <a:pt x="34992" y="121519"/>
                  </a:cubicBezTo>
                  <a:cubicBezTo>
                    <a:pt x="34356" y="121201"/>
                    <a:pt x="34038" y="121201"/>
                    <a:pt x="33720" y="121201"/>
                  </a:cubicBezTo>
                  <a:lnTo>
                    <a:pt x="31175" y="119292"/>
                  </a:lnTo>
                  <a:cubicBezTo>
                    <a:pt x="29903" y="118656"/>
                    <a:pt x="27994" y="116747"/>
                    <a:pt x="26721" y="115156"/>
                  </a:cubicBezTo>
                  <a:cubicBezTo>
                    <a:pt x="26085" y="114202"/>
                    <a:pt x="25767" y="113566"/>
                    <a:pt x="24813" y="112612"/>
                  </a:cubicBezTo>
                  <a:cubicBezTo>
                    <a:pt x="24495" y="111657"/>
                    <a:pt x="24495" y="110703"/>
                    <a:pt x="23858" y="109749"/>
                  </a:cubicBezTo>
                  <a:lnTo>
                    <a:pt x="23858" y="108794"/>
                  </a:lnTo>
                  <a:cubicBezTo>
                    <a:pt x="23540" y="107522"/>
                    <a:pt x="23540" y="106249"/>
                    <a:pt x="23540" y="104977"/>
                  </a:cubicBezTo>
                  <a:cubicBezTo>
                    <a:pt x="23540" y="104023"/>
                    <a:pt x="23222" y="103068"/>
                    <a:pt x="23222" y="102114"/>
                  </a:cubicBezTo>
                  <a:cubicBezTo>
                    <a:pt x="23222" y="101478"/>
                    <a:pt x="23222" y="100841"/>
                    <a:pt x="23540" y="100523"/>
                  </a:cubicBezTo>
                  <a:lnTo>
                    <a:pt x="23540" y="97342"/>
                  </a:lnTo>
                  <a:cubicBezTo>
                    <a:pt x="23540" y="96070"/>
                    <a:pt x="23540" y="94797"/>
                    <a:pt x="23858" y="93525"/>
                  </a:cubicBezTo>
                  <a:cubicBezTo>
                    <a:pt x="23858" y="92252"/>
                    <a:pt x="24177" y="90980"/>
                    <a:pt x="24495" y="89708"/>
                  </a:cubicBezTo>
                  <a:cubicBezTo>
                    <a:pt x="24813" y="88435"/>
                    <a:pt x="25131" y="86845"/>
                    <a:pt x="25767" y="85254"/>
                  </a:cubicBezTo>
                  <a:lnTo>
                    <a:pt x="28948" y="75711"/>
                  </a:lnTo>
                  <a:cubicBezTo>
                    <a:pt x="28948" y="74120"/>
                    <a:pt x="29585" y="73166"/>
                    <a:pt x="29903" y="71257"/>
                  </a:cubicBezTo>
                  <a:cubicBezTo>
                    <a:pt x="30857" y="68712"/>
                    <a:pt x="31175" y="66167"/>
                    <a:pt x="32130" y="63304"/>
                  </a:cubicBezTo>
                  <a:cubicBezTo>
                    <a:pt x="32130" y="62668"/>
                    <a:pt x="32448" y="62350"/>
                    <a:pt x="32448" y="62032"/>
                  </a:cubicBezTo>
                  <a:cubicBezTo>
                    <a:pt x="32766" y="61077"/>
                    <a:pt x="33402" y="60123"/>
                    <a:pt x="33402" y="59169"/>
                  </a:cubicBezTo>
                  <a:cubicBezTo>
                    <a:pt x="33720" y="57896"/>
                    <a:pt x="34356" y="56624"/>
                    <a:pt x="34992" y="55351"/>
                  </a:cubicBezTo>
                  <a:lnTo>
                    <a:pt x="34992" y="54397"/>
                  </a:lnTo>
                  <a:cubicBezTo>
                    <a:pt x="34992" y="54079"/>
                    <a:pt x="34992" y="53443"/>
                    <a:pt x="35311" y="53125"/>
                  </a:cubicBezTo>
                  <a:cubicBezTo>
                    <a:pt x="36265" y="49944"/>
                    <a:pt x="37537" y="46444"/>
                    <a:pt x="39446" y="43581"/>
                  </a:cubicBezTo>
                  <a:cubicBezTo>
                    <a:pt x="40082" y="42627"/>
                    <a:pt x="40082" y="41673"/>
                    <a:pt x="40718" y="40400"/>
                  </a:cubicBezTo>
                  <a:cubicBezTo>
                    <a:pt x="41355" y="37855"/>
                    <a:pt x="41991" y="36265"/>
                    <a:pt x="43264" y="34356"/>
                  </a:cubicBezTo>
                  <a:cubicBezTo>
                    <a:pt x="43582" y="33720"/>
                    <a:pt x="44536" y="32766"/>
                    <a:pt x="44854" y="31175"/>
                  </a:cubicBezTo>
                  <a:cubicBezTo>
                    <a:pt x="45172" y="30221"/>
                    <a:pt x="45490" y="29584"/>
                    <a:pt x="45490" y="28948"/>
                  </a:cubicBezTo>
                  <a:cubicBezTo>
                    <a:pt x="45808" y="27994"/>
                    <a:pt x="46126" y="26721"/>
                    <a:pt x="46763" y="25767"/>
                  </a:cubicBezTo>
                  <a:cubicBezTo>
                    <a:pt x="47081" y="24813"/>
                    <a:pt x="47717" y="24176"/>
                    <a:pt x="48353" y="22904"/>
                  </a:cubicBezTo>
                  <a:cubicBezTo>
                    <a:pt x="49307" y="20677"/>
                    <a:pt x="49944" y="18450"/>
                    <a:pt x="50262" y="16860"/>
                  </a:cubicBezTo>
                  <a:lnTo>
                    <a:pt x="52488" y="13361"/>
                  </a:lnTo>
                  <a:cubicBezTo>
                    <a:pt x="52807" y="13043"/>
                    <a:pt x="52807" y="12724"/>
                    <a:pt x="52807" y="12406"/>
                  </a:cubicBezTo>
                  <a:lnTo>
                    <a:pt x="52807" y="12088"/>
                  </a:lnTo>
                  <a:cubicBezTo>
                    <a:pt x="53761" y="9861"/>
                    <a:pt x="55033" y="7953"/>
                    <a:pt x="56942" y="6044"/>
                  </a:cubicBezTo>
                  <a:cubicBezTo>
                    <a:pt x="57260" y="4772"/>
                    <a:pt x="57897" y="4135"/>
                    <a:pt x="58851" y="2863"/>
                  </a:cubicBezTo>
                  <a:cubicBezTo>
                    <a:pt x="58851" y="2227"/>
                    <a:pt x="59169" y="1272"/>
                    <a:pt x="59487" y="954"/>
                  </a:cubicBezTo>
                  <a:cubicBezTo>
                    <a:pt x="59805" y="636"/>
                    <a:pt x="60123" y="636"/>
                    <a:pt x="60441" y="636"/>
                  </a:cubicBezTo>
                  <a:lnTo>
                    <a:pt x="61078" y="636"/>
                  </a:lnTo>
                  <a:cubicBezTo>
                    <a:pt x="61078" y="636"/>
                    <a:pt x="61714" y="318"/>
                    <a:pt x="61714" y="0"/>
                  </a:cubicBezTo>
                  <a:cubicBezTo>
                    <a:pt x="61714" y="0"/>
                    <a:pt x="62032" y="318"/>
                    <a:pt x="62350" y="318"/>
                  </a:cubicBezTo>
                  <a:lnTo>
                    <a:pt x="62350" y="636"/>
                  </a:lnTo>
                  <a:cubicBezTo>
                    <a:pt x="62350" y="636"/>
                    <a:pt x="62032" y="636"/>
                    <a:pt x="62032" y="954"/>
                  </a:cubicBezTo>
                  <a:cubicBezTo>
                    <a:pt x="62032" y="1272"/>
                    <a:pt x="62350" y="1591"/>
                    <a:pt x="62668" y="1909"/>
                  </a:cubicBezTo>
                  <a:cubicBezTo>
                    <a:pt x="62668" y="1909"/>
                    <a:pt x="62668" y="2227"/>
                    <a:pt x="62986" y="2545"/>
                  </a:cubicBezTo>
                  <a:cubicBezTo>
                    <a:pt x="62986" y="3499"/>
                    <a:pt x="63622" y="3499"/>
                    <a:pt x="64259" y="3499"/>
                  </a:cubicBezTo>
                  <a:cubicBezTo>
                    <a:pt x="64577" y="3499"/>
                    <a:pt x="64895" y="3181"/>
                    <a:pt x="65213" y="3181"/>
                  </a:cubicBezTo>
                  <a:cubicBezTo>
                    <a:pt x="65531" y="3181"/>
                    <a:pt x="66167" y="3499"/>
                    <a:pt x="66485" y="3817"/>
                  </a:cubicBezTo>
                  <a:lnTo>
                    <a:pt x="67122" y="3817"/>
                  </a:lnTo>
                  <a:cubicBezTo>
                    <a:pt x="67440" y="3499"/>
                    <a:pt x="67758" y="3499"/>
                    <a:pt x="68076" y="3499"/>
                  </a:cubicBezTo>
                  <a:cubicBezTo>
                    <a:pt x="68712" y="3499"/>
                    <a:pt x="69985" y="3817"/>
                    <a:pt x="70939" y="4772"/>
                  </a:cubicBezTo>
                  <a:lnTo>
                    <a:pt x="71894" y="4772"/>
                  </a:lnTo>
                  <a:cubicBezTo>
                    <a:pt x="71894" y="4454"/>
                    <a:pt x="72212" y="4135"/>
                    <a:pt x="72530" y="3817"/>
                  </a:cubicBezTo>
                  <a:cubicBezTo>
                    <a:pt x="73484" y="3817"/>
                    <a:pt x="73802" y="4135"/>
                    <a:pt x="74120" y="5090"/>
                  </a:cubicBezTo>
                  <a:cubicBezTo>
                    <a:pt x="74438" y="5090"/>
                    <a:pt x="74438" y="5408"/>
                    <a:pt x="74438" y="5408"/>
                  </a:cubicBezTo>
                  <a:cubicBezTo>
                    <a:pt x="74756" y="5726"/>
                    <a:pt x="74756" y="5726"/>
                    <a:pt x="75075" y="5726"/>
                  </a:cubicBezTo>
                  <a:lnTo>
                    <a:pt x="76665" y="4454"/>
                  </a:lnTo>
                  <a:lnTo>
                    <a:pt x="76665" y="4135"/>
                  </a:lnTo>
                  <a:cubicBezTo>
                    <a:pt x="76665" y="4135"/>
                    <a:pt x="76983" y="4454"/>
                    <a:pt x="76983" y="4772"/>
                  </a:cubicBezTo>
                  <a:cubicBezTo>
                    <a:pt x="76983" y="6044"/>
                    <a:pt x="76347" y="6680"/>
                    <a:pt x="75711" y="7953"/>
                  </a:cubicBezTo>
                  <a:lnTo>
                    <a:pt x="72848" y="13361"/>
                  </a:lnTo>
                  <a:cubicBezTo>
                    <a:pt x="72530" y="14633"/>
                    <a:pt x="71894" y="15587"/>
                    <a:pt x="71575" y="16224"/>
                  </a:cubicBezTo>
                  <a:cubicBezTo>
                    <a:pt x="70939" y="17496"/>
                    <a:pt x="69667" y="18450"/>
                    <a:pt x="69349" y="20677"/>
                  </a:cubicBezTo>
                  <a:lnTo>
                    <a:pt x="69349" y="20995"/>
                  </a:lnTo>
                  <a:cubicBezTo>
                    <a:pt x="69349" y="21313"/>
                    <a:pt x="69030" y="21950"/>
                    <a:pt x="68712" y="22586"/>
                  </a:cubicBezTo>
                  <a:cubicBezTo>
                    <a:pt x="68076" y="22904"/>
                    <a:pt x="67758" y="23858"/>
                    <a:pt x="67440" y="24813"/>
                  </a:cubicBezTo>
                  <a:cubicBezTo>
                    <a:pt x="67440" y="25131"/>
                    <a:pt x="67758" y="25131"/>
                    <a:pt x="67758" y="25449"/>
                  </a:cubicBezTo>
                  <a:cubicBezTo>
                    <a:pt x="67758" y="25767"/>
                    <a:pt x="67440" y="26403"/>
                    <a:pt x="66803" y="26721"/>
                  </a:cubicBezTo>
                  <a:cubicBezTo>
                    <a:pt x="66803" y="26721"/>
                    <a:pt x="66485" y="27358"/>
                    <a:pt x="66485" y="27676"/>
                  </a:cubicBezTo>
                  <a:cubicBezTo>
                    <a:pt x="66485" y="28312"/>
                    <a:pt x="66167" y="28948"/>
                    <a:pt x="66167" y="29584"/>
                  </a:cubicBezTo>
                  <a:cubicBezTo>
                    <a:pt x="65849" y="29903"/>
                    <a:pt x="65531" y="30221"/>
                    <a:pt x="65531" y="30539"/>
                  </a:cubicBezTo>
                  <a:cubicBezTo>
                    <a:pt x="65213" y="32129"/>
                    <a:pt x="63941" y="33720"/>
                    <a:pt x="63941" y="34674"/>
                  </a:cubicBezTo>
                  <a:cubicBezTo>
                    <a:pt x="63941" y="35310"/>
                    <a:pt x="63622" y="35947"/>
                    <a:pt x="63304" y="36583"/>
                  </a:cubicBezTo>
                  <a:cubicBezTo>
                    <a:pt x="62350" y="38810"/>
                    <a:pt x="62032" y="41036"/>
                    <a:pt x="60441" y="43263"/>
                  </a:cubicBezTo>
                  <a:lnTo>
                    <a:pt x="59805" y="45172"/>
                  </a:lnTo>
                  <a:cubicBezTo>
                    <a:pt x="59805" y="46126"/>
                    <a:pt x="59169" y="46444"/>
                    <a:pt x="58851" y="47081"/>
                  </a:cubicBezTo>
                  <a:cubicBezTo>
                    <a:pt x="58533" y="47717"/>
                    <a:pt x="58215" y="48035"/>
                    <a:pt x="58215" y="48035"/>
                  </a:cubicBezTo>
                  <a:cubicBezTo>
                    <a:pt x="57897" y="48353"/>
                    <a:pt x="57579" y="48989"/>
                    <a:pt x="57579" y="49944"/>
                  </a:cubicBezTo>
                  <a:lnTo>
                    <a:pt x="57579" y="51534"/>
                  </a:lnTo>
                  <a:cubicBezTo>
                    <a:pt x="57579" y="52488"/>
                    <a:pt x="57260" y="53443"/>
                    <a:pt x="56306" y="54079"/>
                  </a:cubicBezTo>
                  <a:cubicBezTo>
                    <a:pt x="55988" y="54397"/>
                    <a:pt x="55670" y="54397"/>
                    <a:pt x="55670" y="54397"/>
                  </a:cubicBezTo>
                  <a:lnTo>
                    <a:pt x="55033" y="54397"/>
                  </a:lnTo>
                  <a:cubicBezTo>
                    <a:pt x="55033" y="54715"/>
                    <a:pt x="55033" y="54715"/>
                    <a:pt x="55352" y="55033"/>
                  </a:cubicBezTo>
                  <a:cubicBezTo>
                    <a:pt x="55670" y="55351"/>
                    <a:pt x="55670" y="55988"/>
                    <a:pt x="55670" y="56624"/>
                  </a:cubicBezTo>
                  <a:cubicBezTo>
                    <a:pt x="55670" y="56942"/>
                    <a:pt x="55352" y="56942"/>
                    <a:pt x="55352" y="57260"/>
                  </a:cubicBezTo>
                  <a:lnTo>
                    <a:pt x="55352" y="58533"/>
                  </a:lnTo>
                  <a:cubicBezTo>
                    <a:pt x="55352" y="58851"/>
                    <a:pt x="55352" y="59487"/>
                    <a:pt x="54715" y="59487"/>
                  </a:cubicBezTo>
                  <a:cubicBezTo>
                    <a:pt x="54079" y="59805"/>
                    <a:pt x="53761" y="61077"/>
                    <a:pt x="52488" y="62032"/>
                  </a:cubicBezTo>
                  <a:cubicBezTo>
                    <a:pt x="52170" y="62032"/>
                    <a:pt x="52170" y="62350"/>
                    <a:pt x="52170" y="62350"/>
                  </a:cubicBezTo>
                  <a:cubicBezTo>
                    <a:pt x="52170" y="62668"/>
                    <a:pt x="52488" y="62668"/>
                    <a:pt x="52488" y="62986"/>
                  </a:cubicBezTo>
                  <a:cubicBezTo>
                    <a:pt x="52488" y="63304"/>
                    <a:pt x="52807" y="63622"/>
                    <a:pt x="52807" y="63940"/>
                  </a:cubicBezTo>
                  <a:cubicBezTo>
                    <a:pt x="52807" y="64259"/>
                    <a:pt x="52488" y="64259"/>
                    <a:pt x="52488" y="64259"/>
                  </a:cubicBezTo>
                  <a:cubicBezTo>
                    <a:pt x="51216" y="66485"/>
                    <a:pt x="50898" y="68712"/>
                    <a:pt x="50262" y="70939"/>
                  </a:cubicBezTo>
                  <a:cubicBezTo>
                    <a:pt x="49307" y="73802"/>
                    <a:pt x="48671" y="76665"/>
                    <a:pt x="48035" y="79210"/>
                  </a:cubicBezTo>
                  <a:cubicBezTo>
                    <a:pt x="47399" y="80164"/>
                    <a:pt x="47081" y="81755"/>
                    <a:pt x="46763" y="83345"/>
                  </a:cubicBezTo>
                  <a:lnTo>
                    <a:pt x="46763" y="84936"/>
                  </a:lnTo>
                  <a:cubicBezTo>
                    <a:pt x="46763" y="85572"/>
                    <a:pt x="46763" y="85890"/>
                    <a:pt x="46445" y="86208"/>
                  </a:cubicBezTo>
                  <a:cubicBezTo>
                    <a:pt x="46445" y="87163"/>
                    <a:pt x="46445" y="88117"/>
                    <a:pt x="46126" y="89071"/>
                  </a:cubicBezTo>
                  <a:cubicBezTo>
                    <a:pt x="46126" y="90026"/>
                    <a:pt x="45808" y="91298"/>
                    <a:pt x="45808" y="92889"/>
                  </a:cubicBezTo>
                  <a:cubicBezTo>
                    <a:pt x="45808" y="93525"/>
                    <a:pt x="45490" y="94161"/>
                    <a:pt x="45172" y="94479"/>
                  </a:cubicBezTo>
                  <a:lnTo>
                    <a:pt x="45172" y="98297"/>
                  </a:lnTo>
                  <a:lnTo>
                    <a:pt x="45808" y="100205"/>
                  </a:lnTo>
                  <a:cubicBezTo>
                    <a:pt x="45808" y="100841"/>
                    <a:pt x="46126" y="100841"/>
                    <a:pt x="46445" y="101478"/>
                  </a:cubicBezTo>
                  <a:lnTo>
                    <a:pt x="47399" y="101478"/>
                  </a:lnTo>
                  <a:cubicBezTo>
                    <a:pt x="48035" y="100841"/>
                    <a:pt x="48671" y="100205"/>
                    <a:pt x="48989" y="99251"/>
                  </a:cubicBezTo>
                  <a:cubicBezTo>
                    <a:pt x="50898" y="97978"/>
                    <a:pt x="52488" y="96070"/>
                    <a:pt x="54397" y="94797"/>
                  </a:cubicBezTo>
                  <a:lnTo>
                    <a:pt x="54715" y="94797"/>
                  </a:lnTo>
                  <a:cubicBezTo>
                    <a:pt x="55670" y="93525"/>
                    <a:pt x="57260" y="92889"/>
                    <a:pt x="57260" y="91616"/>
                  </a:cubicBezTo>
                  <a:lnTo>
                    <a:pt x="57897" y="90344"/>
                  </a:lnTo>
                  <a:cubicBezTo>
                    <a:pt x="58851" y="89708"/>
                    <a:pt x="59487" y="89389"/>
                    <a:pt x="59805" y="88435"/>
                  </a:cubicBezTo>
                  <a:lnTo>
                    <a:pt x="60441" y="87799"/>
                  </a:lnTo>
                  <a:cubicBezTo>
                    <a:pt x="61714" y="85890"/>
                    <a:pt x="62986" y="84618"/>
                    <a:pt x="63941" y="82709"/>
                  </a:cubicBezTo>
                  <a:cubicBezTo>
                    <a:pt x="64895" y="81755"/>
                    <a:pt x="65531" y="80482"/>
                    <a:pt x="66167" y="79846"/>
                  </a:cubicBezTo>
                  <a:cubicBezTo>
                    <a:pt x="66485" y="79846"/>
                    <a:pt x="67122" y="79210"/>
                    <a:pt x="67440" y="79210"/>
                  </a:cubicBezTo>
                  <a:cubicBezTo>
                    <a:pt x="67440" y="78574"/>
                    <a:pt x="67758" y="78256"/>
                    <a:pt x="68076" y="78256"/>
                  </a:cubicBezTo>
                  <a:lnTo>
                    <a:pt x="68394" y="78256"/>
                  </a:lnTo>
                  <a:cubicBezTo>
                    <a:pt x="69349" y="78256"/>
                    <a:pt x="69349" y="77619"/>
                    <a:pt x="69667" y="76665"/>
                  </a:cubicBezTo>
                  <a:cubicBezTo>
                    <a:pt x="69667" y="76347"/>
                    <a:pt x="69985" y="75392"/>
                    <a:pt x="70303" y="75074"/>
                  </a:cubicBezTo>
                  <a:cubicBezTo>
                    <a:pt x="70939" y="73802"/>
                    <a:pt x="71894" y="71893"/>
                    <a:pt x="73484" y="70939"/>
                  </a:cubicBezTo>
                  <a:cubicBezTo>
                    <a:pt x="74120" y="69348"/>
                    <a:pt x="74756" y="68712"/>
                    <a:pt x="75393" y="67758"/>
                  </a:cubicBezTo>
                  <a:cubicBezTo>
                    <a:pt x="76347" y="66803"/>
                    <a:pt x="77619" y="65849"/>
                    <a:pt x="77937" y="64259"/>
                  </a:cubicBezTo>
                  <a:cubicBezTo>
                    <a:pt x="78256" y="62668"/>
                    <a:pt x="79846" y="62032"/>
                    <a:pt x="80164" y="60759"/>
                  </a:cubicBezTo>
                  <a:cubicBezTo>
                    <a:pt x="82709" y="59169"/>
                    <a:pt x="83346" y="56942"/>
                    <a:pt x="84618" y="55033"/>
                  </a:cubicBezTo>
                  <a:cubicBezTo>
                    <a:pt x="85890" y="53125"/>
                    <a:pt x="86527" y="51534"/>
                    <a:pt x="88435" y="49944"/>
                  </a:cubicBezTo>
                  <a:cubicBezTo>
                    <a:pt x="88753" y="49944"/>
                    <a:pt x="88753" y="49625"/>
                    <a:pt x="88753" y="49307"/>
                  </a:cubicBezTo>
                  <a:cubicBezTo>
                    <a:pt x="88753" y="48353"/>
                    <a:pt x="89708" y="47399"/>
                    <a:pt x="90980" y="46762"/>
                  </a:cubicBezTo>
                  <a:cubicBezTo>
                    <a:pt x="91298" y="46444"/>
                    <a:pt x="91616" y="45490"/>
                    <a:pt x="91616" y="44536"/>
                  </a:cubicBezTo>
                  <a:lnTo>
                    <a:pt x="93843" y="42309"/>
                  </a:lnTo>
                  <a:cubicBezTo>
                    <a:pt x="94479" y="41991"/>
                    <a:pt x="94797" y="41673"/>
                    <a:pt x="95115" y="41673"/>
                  </a:cubicBezTo>
                  <a:cubicBezTo>
                    <a:pt x="96388" y="39446"/>
                    <a:pt x="97979" y="37855"/>
                    <a:pt x="99251" y="35629"/>
                  </a:cubicBezTo>
                  <a:cubicBezTo>
                    <a:pt x="100205" y="34992"/>
                    <a:pt x="100842" y="34038"/>
                    <a:pt x="101796" y="32447"/>
                  </a:cubicBezTo>
                  <a:cubicBezTo>
                    <a:pt x="102750" y="31493"/>
                    <a:pt x="103386" y="29903"/>
                    <a:pt x="104659" y="28948"/>
                  </a:cubicBezTo>
                  <a:cubicBezTo>
                    <a:pt x="104977" y="27994"/>
                    <a:pt x="105295" y="27358"/>
                    <a:pt x="105931" y="27040"/>
                  </a:cubicBezTo>
                  <a:cubicBezTo>
                    <a:pt x="108158" y="25449"/>
                    <a:pt x="109749" y="22586"/>
                    <a:pt x="111976" y="20677"/>
                  </a:cubicBezTo>
                  <a:cubicBezTo>
                    <a:pt x="112294" y="19723"/>
                    <a:pt x="112612" y="18450"/>
                    <a:pt x="113566" y="17814"/>
                  </a:cubicBezTo>
                  <a:cubicBezTo>
                    <a:pt x="114202" y="17178"/>
                    <a:pt x="114520" y="16542"/>
                    <a:pt x="114520" y="15587"/>
                  </a:cubicBezTo>
                  <a:cubicBezTo>
                    <a:pt x="115475" y="14633"/>
                    <a:pt x="116429" y="13361"/>
                    <a:pt x="117701" y="13043"/>
                  </a:cubicBezTo>
                  <a:cubicBezTo>
                    <a:pt x="117701" y="13043"/>
                    <a:pt x="118020" y="12724"/>
                    <a:pt x="118338" y="12724"/>
                  </a:cubicBezTo>
                  <a:cubicBezTo>
                    <a:pt x="118338" y="12088"/>
                    <a:pt x="118338" y="11770"/>
                    <a:pt x="118656" y="11770"/>
                  </a:cubicBezTo>
                  <a:lnTo>
                    <a:pt x="119610" y="12724"/>
                  </a:lnTo>
                  <a:lnTo>
                    <a:pt x="119610" y="13043"/>
                  </a:lnTo>
                  <a:cubicBezTo>
                    <a:pt x="119610" y="13043"/>
                    <a:pt x="119928" y="13043"/>
                    <a:pt x="119928" y="13361"/>
                  </a:cubicBezTo>
                  <a:cubicBezTo>
                    <a:pt x="119928" y="13043"/>
                    <a:pt x="120246" y="13043"/>
                    <a:pt x="120246" y="12724"/>
                  </a:cubicBezTo>
                  <a:cubicBezTo>
                    <a:pt x="120246" y="12724"/>
                    <a:pt x="120564" y="12406"/>
                    <a:pt x="120564" y="12088"/>
                  </a:cubicBezTo>
                  <a:lnTo>
                    <a:pt x="120564" y="11770"/>
                  </a:lnTo>
                  <a:lnTo>
                    <a:pt x="122473" y="13043"/>
                  </a:lnTo>
                  <a:cubicBezTo>
                    <a:pt x="122791" y="13679"/>
                    <a:pt x="122791" y="14315"/>
                    <a:pt x="122791" y="14951"/>
                  </a:cubicBezTo>
                  <a:cubicBezTo>
                    <a:pt x="123109" y="15269"/>
                    <a:pt x="123109" y="15269"/>
                    <a:pt x="123428" y="15269"/>
                  </a:cubicBezTo>
                  <a:lnTo>
                    <a:pt x="123746" y="15269"/>
                  </a:lnTo>
                  <a:lnTo>
                    <a:pt x="124064" y="15587"/>
                  </a:lnTo>
                  <a:cubicBezTo>
                    <a:pt x="124064" y="15906"/>
                    <a:pt x="124064" y="15906"/>
                    <a:pt x="124382" y="15906"/>
                  </a:cubicBezTo>
                  <a:lnTo>
                    <a:pt x="125654" y="15906"/>
                  </a:lnTo>
                  <a:cubicBezTo>
                    <a:pt x="125973" y="15906"/>
                    <a:pt x="126927" y="16224"/>
                    <a:pt x="127245" y="16542"/>
                  </a:cubicBezTo>
                  <a:lnTo>
                    <a:pt x="127563" y="16542"/>
                  </a:lnTo>
                  <a:lnTo>
                    <a:pt x="127563" y="15906"/>
                  </a:lnTo>
                  <a:cubicBezTo>
                    <a:pt x="127563" y="15587"/>
                    <a:pt x="127881" y="15587"/>
                    <a:pt x="128199" y="15587"/>
                  </a:cubicBezTo>
                  <a:cubicBezTo>
                    <a:pt x="128835" y="15587"/>
                    <a:pt x="129154" y="15269"/>
                    <a:pt x="129472" y="15269"/>
                  </a:cubicBezTo>
                  <a:cubicBezTo>
                    <a:pt x="130108" y="15269"/>
                    <a:pt x="130108" y="15587"/>
                    <a:pt x="130426" y="16542"/>
                  </a:cubicBezTo>
                  <a:lnTo>
                    <a:pt x="130426" y="17178"/>
                  </a:lnTo>
                  <a:cubicBezTo>
                    <a:pt x="130426" y="17496"/>
                    <a:pt x="130426" y="17496"/>
                    <a:pt x="130744" y="17496"/>
                  </a:cubicBezTo>
                  <a:cubicBezTo>
                    <a:pt x="131062" y="17496"/>
                    <a:pt x="131062" y="17496"/>
                    <a:pt x="131380" y="17178"/>
                  </a:cubicBezTo>
                  <a:lnTo>
                    <a:pt x="132335" y="17178"/>
                  </a:lnTo>
                  <a:lnTo>
                    <a:pt x="132653" y="17496"/>
                  </a:lnTo>
                  <a:cubicBezTo>
                    <a:pt x="132971" y="17496"/>
                    <a:pt x="132971" y="17178"/>
                    <a:pt x="133289" y="16860"/>
                  </a:cubicBezTo>
                  <a:lnTo>
                    <a:pt x="133289" y="16224"/>
                  </a:lnTo>
                  <a:cubicBezTo>
                    <a:pt x="133289" y="16224"/>
                    <a:pt x="133289" y="15906"/>
                    <a:pt x="133607" y="15906"/>
                  </a:cubicBezTo>
                  <a:cubicBezTo>
                    <a:pt x="133925" y="15906"/>
                    <a:pt x="133925" y="15906"/>
                    <a:pt x="133925" y="16224"/>
                  </a:cubicBezTo>
                  <a:cubicBezTo>
                    <a:pt x="134561" y="17178"/>
                    <a:pt x="135198" y="18132"/>
                    <a:pt x="136152" y="18769"/>
                  </a:cubicBezTo>
                  <a:lnTo>
                    <a:pt x="136470" y="19087"/>
                  </a:lnTo>
                  <a:cubicBezTo>
                    <a:pt x="136470" y="20041"/>
                    <a:pt x="136788" y="20677"/>
                    <a:pt x="136788" y="21950"/>
                  </a:cubicBezTo>
                  <a:cubicBezTo>
                    <a:pt x="136788" y="22586"/>
                    <a:pt x="136788" y="23222"/>
                    <a:pt x="136470" y="23858"/>
                  </a:cubicBezTo>
                  <a:cubicBezTo>
                    <a:pt x="136470" y="24813"/>
                    <a:pt x="136470" y="25767"/>
                    <a:pt x="136152" y="26721"/>
                  </a:cubicBezTo>
                  <a:lnTo>
                    <a:pt x="136152" y="30221"/>
                  </a:lnTo>
                  <a:cubicBezTo>
                    <a:pt x="136152" y="31175"/>
                    <a:pt x="136152" y="31175"/>
                    <a:pt x="135516" y="31175"/>
                  </a:cubicBezTo>
                  <a:lnTo>
                    <a:pt x="134879" y="31175"/>
                  </a:lnTo>
                  <a:cubicBezTo>
                    <a:pt x="134561" y="31175"/>
                    <a:pt x="134561" y="31175"/>
                    <a:pt x="134561" y="31493"/>
                  </a:cubicBezTo>
                  <a:cubicBezTo>
                    <a:pt x="134879" y="32766"/>
                    <a:pt x="134879" y="34038"/>
                    <a:pt x="134879" y="34992"/>
                  </a:cubicBezTo>
                  <a:lnTo>
                    <a:pt x="134879" y="36265"/>
                  </a:lnTo>
                  <a:cubicBezTo>
                    <a:pt x="134879" y="36583"/>
                    <a:pt x="134879" y="36901"/>
                    <a:pt x="135198" y="37219"/>
                  </a:cubicBezTo>
                  <a:cubicBezTo>
                    <a:pt x="135198" y="36901"/>
                    <a:pt x="135834" y="36583"/>
                    <a:pt x="135834" y="36583"/>
                  </a:cubicBezTo>
                  <a:lnTo>
                    <a:pt x="136152" y="36265"/>
                  </a:lnTo>
                  <a:cubicBezTo>
                    <a:pt x="136152" y="36583"/>
                    <a:pt x="136788" y="36901"/>
                    <a:pt x="136788" y="37537"/>
                  </a:cubicBezTo>
                  <a:cubicBezTo>
                    <a:pt x="136152" y="38492"/>
                    <a:pt x="136152" y="39128"/>
                    <a:pt x="136152" y="39764"/>
                  </a:cubicBezTo>
                  <a:lnTo>
                    <a:pt x="136152" y="42309"/>
                  </a:lnTo>
                  <a:cubicBezTo>
                    <a:pt x="136152" y="43263"/>
                    <a:pt x="135834" y="43899"/>
                    <a:pt x="135834" y="44536"/>
                  </a:cubicBezTo>
                  <a:lnTo>
                    <a:pt x="135834" y="45172"/>
                  </a:lnTo>
                  <a:lnTo>
                    <a:pt x="136470" y="47717"/>
                  </a:lnTo>
                  <a:cubicBezTo>
                    <a:pt x="136470" y="47717"/>
                    <a:pt x="136470" y="48353"/>
                    <a:pt x="136152" y="48671"/>
                  </a:cubicBezTo>
                  <a:cubicBezTo>
                    <a:pt x="136470" y="49307"/>
                    <a:pt x="136470" y="49944"/>
                    <a:pt x="136470" y="50580"/>
                  </a:cubicBezTo>
                  <a:lnTo>
                    <a:pt x="136470" y="52488"/>
                  </a:lnTo>
                  <a:cubicBezTo>
                    <a:pt x="137106" y="53443"/>
                    <a:pt x="137106" y="54079"/>
                    <a:pt x="137106" y="55033"/>
                  </a:cubicBezTo>
                  <a:lnTo>
                    <a:pt x="137106" y="60441"/>
                  </a:lnTo>
                  <a:cubicBezTo>
                    <a:pt x="136788" y="61077"/>
                    <a:pt x="136788" y="61714"/>
                    <a:pt x="136788" y="62032"/>
                  </a:cubicBezTo>
                  <a:cubicBezTo>
                    <a:pt x="136788" y="62668"/>
                    <a:pt x="136788" y="62986"/>
                    <a:pt x="137106" y="63622"/>
                  </a:cubicBezTo>
                  <a:lnTo>
                    <a:pt x="137425" y="63940"/>
                  </a:lnTo>
                  <a:cubicBezTo>
                    <a:pt x="137425" y="64259"/>
                    <a:pt x="137106" y="64259"/>
                    <a:pt x="137106" y="64259"/>
                  </a:cubicBezTo>
                  <a:cubicBezTo>
                    <a:pt x="137106" y="65213"/>
                    <a:pt x="137425" y="65849"/>
                    <a:pt x="137425" y="66803"/>
                  </a:cubicBezTo>
                  <a:cubicBezTo>
                    <a:pt x="137743" y="67122"/>
                    <a:pt x="137743" y="67440"/>
                    <a:pt x="137743" y="68076"/>
                  </a:cubicBezTo>
                  <a:cubicBezTo>
                    <a:pt x="137743" y="68712"/>
                    <a:pt x="137743" y="69348"/>
                    <a:pt x="137425" y="69985"/>
                  </a:cubicBezTo>
                  <a:cubicBezTo>
                    <a:pt x="137743" y="70621"/>
                    <a:pt x="137743" y="70621"/>
                    <a:pt x="137743" y="71575"/>
                  </a:cubicBezTo>
                  <a:cubicBezTo>
                    <a:pt x="137743" y="71893"/>
                    <a:pt x="137743" y="72530"/>
                    <a:pt x="137425" y="72848"/>
                  </a:cubicBezTo>
                  <a:lnTo>
                    <a:pt x="137425" y="74438"/>
                  </a:lnTo>
                  <a:cubicBezTo>
                    <a:pt x="137425" y="75711"/>
                    <a:pt x="137743" y="76665"/>
                    <a:pt x="138061" y="77619"/>
                  </a:cubicBezTo>
                  <a:cubicBezTo>
                    <a:pt x="138379" y="78256"/>
                    <a:pt x="138697" y="78574"/>
                    <a:pt x="138697" y="78892"/>
                  </a:cubicBezTo>
                  <a:cubicBezTo>
                    <a:pt x="138697" y="79210"/>
                    <a:pt x="138379" y="79846"/>
                    <a:pt x="138379" y="80482"/>
                  </a:cubicBezTo>
                  <a:cubicBezTo>
                    <a:pt x="138061" y="81119"/>
                    <a:pt x="138061" y="81755"/>
                    <a:pt x="138061" y="82391"/>
                  </a:cubicBezTo>
                  <a:cubicBezTo>
                    <a:pt x="138061" y="83027"/>
                    <a:pt x="138061" y="83663"/>
                    <a:pt x="137743" y="84300"/>
                  </a:cubicBezTo>
                  <a:cubicBezTo>
                    <a:pt x="137743" y="85254"/>
                    <a:pt x="138379" y="86526"/>
                    <a:pt x="139333" y="86845"/>
                  </a:cubicBezTo>
                  <a:lnTo>
                    <a:pt x="140924" y="86845"/>
                  </a:lnTo>
                  <a:cubicBezTo>
                    <a:pt x="141242" y="86845"/>
                    <a:pt x="141242" y="87163"/>
                    <a:pt x="141242" y="87799"/>
                  </a:cubicBezTo>
                  <a:cubicBezTo>
                    <a:pt x="141242" y="88117"/>
                    <a:pt x="141242" y="88435"/>
                    <a:pt x="140924" y="88435"/>
                  </a:cubicBezTo>
                  <a:cubicBezTo>
                    <a:pt x="140924" y="88435"/>
                    <a:pt x="140606" y="88117"/>
                    <a:pt x="140288" y="88117"/>
                  </a:cubicBezTo>
                  <a:lnTo>
                    <a:pt x="139969" y="87799"/>
                  </a:lnTo>
                  <a:lnTo>
                    <a:pt x="139969" y="88117"/>
                  </a:lnTo>
                  <a:cubicBezTo>
                    <a:pt x="139651" y="88753"/>
                    <a:pt x="139333" y="89389"/>
                    <a:pt x="139333" y="90026"/>
                  </a:cubicBezTo>
                  <a:cubicBezTo>
                    <a:pt x="139333" y="90344"/>
                    <a:pt x="139651" y="90980"/>
                    <a:pt x="139651" y="91298"/>
                  </a:cubicBezTo>
                  <a:lnTo>
                    <a:pt x="140288" y="91934"/>
                  </a:lnTo>
                  <a:cubicBezTo>
                    <a:pt x="140606" y="91934"/>
                    <a:pt x="140924" y="91616"/>
                    <a:pt x="141242" y="91616"/>
                  </a:cubicBezTo>
                  <a:cubicBezTo>
                    <a:pt x="141560" y="91616"/>
                    <a:pt x="141878" y="91298"/>
                    <a:pt x="142196" y="91298"/>
                  </a:cubicBezTo>
                  <a:cubicBezTo>
                    <a:pt x="142514" y="91298"/>
                    <a:pt x="142514" y="91616"/>
                    <a:pt x="142514" y="91616"/>
                  </a:cubicBezTo>
                  <a:cubicBezTo>
                    <a:pt x="142514" y="92252"/>
                    <a:pt x="142196" y="92252"/>
                    <a:pt x="141560" y="92571"/>
                  </a:cubicBezTo>
                  <a:cubicBezTo>
                    <a:pt x="140924" y="93207"/>
                    <a:pt x="140288" y="94479"/>
                    <a:pt x="139651" y="94479"/>
                  </a:cubicBezTo>
                  <a:cubicBezTo>
                    <a:pt x="139651" y="94797"/>
                    <a:pt x="139333" y="94797"/>
                    <a:pt x="139333" y="95115"/>
                  </a:cubicBezTo>
                  <a:cubicBezTo>
                    <a:pt x="139015" y="95752"/>
                    <a:pt x="138697" y="96388"/>
                    <a:pt x="138697" y="97024"/>
                  </a:cubicBezTo>
                  <a:lnTo>
                    <a:pt x="138697" y="97342"/>
                  </a:lnTo>
                  <a:cubicBezTo>
                    <a:pt x="139015" y="98297"/>
                    <a:pt x="139015" y="98933"/>
                    <a:pt x="139015" y="99887"/>
                  </a:cubicBezTo>
                  <a:cubicBezTo>
                    <a:pt x="138697" y="100205"/>
                    <a:pt x="138379" y="100523"/>
                    <a:pt x="138379" y="100841"/>
                  </a:cubicBezTo>
                  <a:lnTo>
                    <a:pt x="137106" y="104659"/>
                  </a:lnTo>
                  <a:lnTo>
                    <a:pt x="136470" y="104659"/>
                  </a:lnTo>
                  <a:lnTo>
                    <a:pt x="136470" y="104341"/>
                  </a:lnTo>
                  <a:cubicBezTo>
                    <a:pt x="135516" y="104977"/>
                    <a:pt x="134879" y="104977"/>
                    <a:pt x="134243" y="106567"/>
                  </a:cubicBezTo>
                  <a:cubicBezTo>
                    <a:pt x="134561" y="106567"/>
                    <a:pt x="134879" y="106249"/>
                    <a:pt x="134879" y="106249"/>
                  </a:cubicBezTo>
                  <a:lnTo>
                    <a:pt x="134879" y="107840"/>
                  </a:lnTo>
                  <a:cubicBezTo>
                    <a:pt x="134879" y="107840"/>
                    <a:pt x="134561" y="107840"/>
                    <a:pt x="134561" y="107522"/>
                  </a:cubicBezTo>
                  <a:cubicBezTo>
                    <a:pt x="134243" y="107204"/>
                    <a:pt x="134243" y="106886"/>
                    <a:pt x="134243" y="106567"/>
                  </a:cubicBezTo>
                  <a:cubicBezTo>
                    <a:pt x="133289" y="106249"/>
                    <a:pt x="133289" y="105931"/>
                    <a:pt x="133289" y="104977"/>
                  </a:cubicBezTo>
                  <a:lnTo>
                    <a:pt x="133925" y="104977"/>
                  </a:lnTo>
                  <a:lnTo>
                    <a:pt x="133925" y="104659"/>
                  </a:lnTo>
                  <a:close/>
                  <a:moveTo>
                    <a:pt x="3818" y="249400"/>
                  </a:moveTo>
                  <a:lnTo>
                    <a:pt x="3818" y="249082"/>
                  </a:lnTo>
                  <a:cubicBezTo>
                    <a:pt x="3818" y="249400"/>
                    <a:pt x="3500" y="249400"/>
                    <a:pt x="3500" y="249400"/>
                  </a:cubicBezTo>
                  <a:lnTo>
                    <a:pt x="3500" y="250036"/>
                  </a:lnTo>
                  <a:cubicBezTo>
                    <a:pt x="3500" y="250672"/>
                    <a:pt x="3500" y="251308"/>
                    <a:pt x="3181" y="251626"/>
                  </a:cubicBezTo>
                  <a:lnTo>
                    <a:pt x="3500" y="251945"/>
                  </a:lnTo>
                  <a:cubicBezTo>
                    <a:pt x="3818" y="251945"/>
                    <a:pt x="4136" y="251626"/>
                    <a:pt x="4136" y="251626"/>
                  </a:cubicBezTo>
                  <a:lnTo>
                    <a:pt x="4136" y="250672"/>
                  </a:lnTo>
                  <a:cubicBezTo>
                    <a:pt x="4136" y="250036"/>
                    <a:pt x="4136" y="249718"/>
                    <a:pt x="3818" y="249400"/>
                  </a:cubicBezTo>
                  <a:close/>
                  <a:moveTo>
                    <a:pt x="3818" y="255444"/>
                  </a:moveTo>
                  <a:cubicBezTo>
                    <a:pt x="3818" y="255126"/>
                    <a:pt x="3500" y="255126"/>
                    <a:pt x="3500" y="255126"/>
                  </a:cubicBezTo>
                  <a:lnTo>
                    <a:pt x="3181" y="255444"/>
                  </a:lnTo>
                  <a:lnTo>
                    <a:pt x="3181" y="256080"/>
                  </a:lnTo>
                  <a:lnTo>
                    <a:pt x="3500" y="256398"/>
                  </a:lnTo>
                  <a:cubicBezTo>
                    <a:pt x="3500" y="256080"/>
                    <a:pt x="3818" y="256080"/>
                    <a:pt x="3818" y="256080"/>
                  </a:cubicBezTo>
                  <a:lnTo>
                    <a:pt x="3818" y="255444"/>
                  </a:lnTo>
                  <a:close/>
                  <a:moveTo>
                    <a:pt x="4772" y="242401"/>
                  </a:moveTo>
                  <a:cubicBezTo>
                    <a:pt x="4772" y="242083"/>
                    <a:pt x="5090" y="241765"/>
                    <a:pt x="5090" y="241765"/>
                  </a:cubicBezTo>
                  <a:cubicBezTo>
                    <a:pt x="5090" y="241129"/>
                    <a:pt x="5090" y="240493"/>
                    <a:pt x="5408" y="239856"/>
                  </a:cubicBezTo>
                  <a:cubicBezTo>
                    <a:pt x="5408" y="239220"/>
                    <a:pt x="5408" y="238266"/>
                    <a:pt x="5726" y="237630"/>
                  </a:cubicBezTo>
                  <a:lnTo>
                    <a:pt x="5090" y="237630"/>
                  </a:lnTo>
                  <a:cubicBezTo>
                    <a:pt x="4772" y="238266"/>
                    <a:pt x="4772" y="239220"/>
                    <a:pt x="4454" y="239538"/>
                  </a:cubicBezTo>
                  <a:cubicBezTo>
                    <a:pt x="4136" y="240174"/>
                    <a:pt x="4136" y="240811"/>
                    <a:pt x="4136" y="241129"/>
                  </a:cubicBezTo>
                  <a:cubicBezTo>
                    <a:pt x="4136" y="241447"/>
                    <a:pt x="4136" y="241765"/>
                    <a:pt x="4454" y="242083"/>
                  </a:cubicBezTo>
                  <a:cubicBezTo>
                    <a:pt x="4454" y="242083"/>
                    <a:pt x="4772" y="242083"/>
                    <a:pt x="4772" y="242401"/>
                  </a:cubicBezTo>
                  <a:close/>
                  <a:moveTo>
                    <a:pt x="5726" y="236039"/>
                  </a:moveTo>
                  <a:cubicBezTo>
                    <a:pt x="5408" y="236039"/>
                    <a:pt x="5408" y="236039"/>
                    <a:pt x="5408" y="236357"/>
                  </a:cubicBezTo>
                  <a:lnTo>
                    <a:pt x="5726" y="236039"/>
                  </a:lnTo>
                  <a:close/>
                  <a:moveTo>
                    <a:pt x="7317" y="262760"/>
                  </a:moveTo>
                  <a:cubicBezTo>
                    <a:pt x="6999" y="262442"/>
                    <a:pt x="6681" y="261806"/>
                    <a:pt x="6044" y="261806"/>
                  </a:cubicBezTo>
                  <a:cubicBezTo>
                    <a:pt x="6044" y="262124"/>
                    <a:pt x="6362" y="262442"/>
                    <a:pt x="6362" y="263078"/>
                  </a:cubicBezTo>
                  <a:lnTo>
                    <a:pt x="6999" y="263078"/>
                  </a:lnTo>
                  <a:cubicBezTo>
                    <a:pt x="7317" y="263078"/>
                    <a:pt x="7317" y="263078"/>
                    <a:pt x="7317" y="262760"/>
                  </a:cubicBezTo>
                  <a:close/>
                  <a:moveTo>
                    <a:pt x="7317" y="243037"/>
                  </a:moveTo>
                  <a:lnTo>
                    <a:pt x="7317" y="243992"/>
                  </a:lnTo>
                  <a:cubicBezTo>
                    <a:pt x="7317" y="244310"/>
                    <a:pt x="6999" y="244310"/>
                    <a:pt x="6999" y="244310"/>
                  </a:cubicBezTo>
                  <a:cubicBezTo>
                    <a:pt x="6681" y="244310"/>
                    <a:pt x="6362" y="243992"/>
                    <a:pt x="6362" y="243992"/>
                  </a:cubicBezTo>
                  <a:lnTo>
                    <a:pt x="6999" y="243037"/>
                  </a:lnTo>
                  <a:lnTo>
                    <a:pt x="7317" y="243037"/>
                  </a:lnTo>
                  <a:close/>
                  <a:moveTo>
                    <a:pt x="9862" y="216952"/>
                  </a:moveTo>
                  <a:lnTo>
                    <a:pt x="9862" y="217270"/>
                  </a:lnTo>
                  <a:lnTo>
                    <a:pt x="10180" y="217270"/>
                  </a:lnTo>
                  <a:cubicBezTo>
                    <a:pt x="9543" y="217588"/>
                    <a:pt x="9543" y="217907"/>
                    <a:pt x="9543" y="218225"/>
                  </a:cubicBezTo>
                  <a:lnTo>
                    <a:pt x="9225" y="218225"/>
                  </a:lnTo>
                  <a:cubicBezTo>
                    <a:pt x="9225" y="217588"/>
                    <a:pt x="9543" y="217270"/>
                    <a:pt x="9862" y="216952"/>
                  </a:cubicBezTo>
                  <a:close/>
                  <a:moveTo>
                    <a:pt x="9862" y="259897"/>
                  </a:moveTo>
                  <a:cubicBezTo>
                    <a:pt x="9862" y="260534"/>
                    <a:pt x="10180" y="260852"/>
                    <a:pt x="10498" y="261488"/>
                  </a:cubicBezTo>
                  <a:cubicBezTo>
                    <a:pt x="10498" y="261806"/>
                    <a:pt x="10816" y="261806"/>
                    <a:pt x="10816" y="261806"/>
                  </a:cubicBezTo>
                  <a:cubicBezTo>
                    <a:pt x="10816" y="262124"/>
                    <a:pt x="10180" y="262760"/>
                    <a:pt x="10180" y="263078"/>
                  </a:cubicBezTo>
                  <a:lnTo>
                    <a:pt x="9862" y="263078"/>
                  </a:lnTo>
                  <a:cubicBezTo>
                    <a:pt x="9543" y="263078"/>
                    <a:pt x="9543" y="262760"/>
                    <a:pt x="9543" y="262760"/>
                  </a:cubicBezTo>
                  <a:lnTo>
                    <a:pt x="9543" y="257352"/>
                  </a:lnTo>
                  <a:lnTo>
                    <a:pt x="9862" y="257671"/>
                  </a:lnTo>
                  <a:cubicBezTo>
                    <a:pt x="9862" y="257989"/>
                    <a:pt x="9862" y="257989"/>
                    <a:pt x="10180" y="258307"/>
                  </a:cubicBezTo>
                  <a:lnTo>
                    <a:pt x="10180" y="258625"/>
                  </a:lnTo>
                  <a:cubicBezTo>
                    <a:pt x="10180" y="258943"/>
                    <a:pt x="9862" y="259579"/>
                    <a:pt x="9862" y="259897"/>
                  </a:cubicBezTo>
                  <a:close/>
                  <a:moveTo>
                    <a:pt x="10498" y="237948"/>
                  </a:moveTo>
                  <a:lnTo>
                    <a:pt x="10498" y="239220"/>
                  </a:lnTo>
                  <a:lnTo>
                    <a:pt x="9862" y="239220"/>
                  </a:lnTo>
                  <a:lnTo>
                    <a:pt x="9862" y="238584"/>
                  </a:lnTo>
                  <a:cubicBezTo>
                    <a:pt x="9862" y="238266"/>
                    <a:pt x="10180" y="238266"/>
                    <a:pt x="10498" y="237948"/>
                  </a:cubicBezTo>
                  <a:close/>
                  <a:moveTo>
                    <a:pt x="13361" y="237311"/>
                  </a:moveTo>
                  <a:lnTo>
                    <a:pt x="13361" y="237948"/>
                  </a:lnTo>
                  <a:cubicBezTo>
                    <a:pt x="13361" y="238902"/>
                    <a:pt x="13361" y="239220"/>
                    <a:pt x="13043" y="239856"/>
                  </a:cubicBezTo>
                  <a:cubicBezTo>
                    <a:pt x="12724" y="240174"/>
                    <a:pt x="12724" y="240493"/>
                    <a:pt x="12724" y="240811"/>
                  </a:cubicBezTo>
                  <a:cubicBezTo>
                    <a:pt x="12724" y="241129"/>
                    <a:pt x="12724" y="241447"/>
                    <a:pt x="13043" y="241765"/>
                  </a:cubicBezTo>
                  <a:cubicBezTo>
                    <a:pt x="13043" y="242719"/>
                    <a:pt x="12724" y="243037"/>
                    <a:pt x="12088" y="243674"/>
                  </a:cubicBezTo>
                  <a:cubicBezTo>
                    <a:pt x="12088" y="243992"/>
                    <a:pt x="12088" y="243992"/>
                    <a:pt x="11770" y="243992"/>
                  </a:cubicBezTo>
                  <a:cubicBezTo>
                    <a:pt x="11770" y="243992"/>
                    <a:pt x="11452" y="243356"/>
                    <a:pt x="11452" y="243037"/>
                  </a:cubicBezTo>
                  <a:lnTo>
                    <a:pt x="11452" y="242719"/>
                  </a:lnTo>
                  <a:cubicBezTo>
                    <a:pt x="11770" y="242719"/>
                    <a:pt x="11770" y="242401"/>
                    <a:pt x="11770" y="242083"/>
                  </a:cubicBezTo>
                  <a:cubicBezTo>
                    <a:pt x="11770" y="241765"/>
                    <a:pt x="11452" y="241129"/>
                    <a:pt x="11134" y="240493"/>
                  </a:cubicBezTo>
                  <a:cubicBezTo>
                    <a:pt x="11134" y="239856"/>
                    <a:pt x="11134" y="239220"/>
                    <a:pt x="11770" y="239220"/>
                  </a:cubicBezTo>
                  <a:cubicBezTo>
                    <a:pt x="12724" y="238266"/>
                    <a:pt x="13043" y="237948"/>
                    <a:pt x="13361" y="237311"/>
                  </a:cubicBezTo>
                  <a:close/>
                  <a:moveTo>
                    <a:pt x="12088" y="257671"/>
                  </a:moveTo>
                  <a:cubicBezTo>
                    <a:pt x="12088" y="257352"/>
                    <a:pt x="12406" y="256716"/>
                    <a:pt x="13043" y="256080"/>
                  </a:cubicBezTo>
                  <a:cubicBezTo>
                    <a:pt x="12724" y="256716"/>
                    <a:pt x="12724" y="257034"/>
                    <a:pt x="12724" y="257352"/>
                  </a:cubicBezTo>
                  <a:cubicBezTo>
                    <a:pt x="12724" y="257671"/>
                    <a:pt x="12724" y="257989"/>
                    <a:pt x="13043" y="258307"/>
                  </a:cubicBezTo>
                  <a:lnTo>
                    <a:pt x="13043" y="258625"/>
                  </a:lnTo>
                  <a:cubicBezTo>
                    <a:pt x="12406" y="258307"/>
                    <a:pt x="12088" y="257989"/>
                    <a:pt x="12088" y="257671"/>
                  </a:cubicBezTo>
                  <a:close/>
                  <a:moveTo>
                    <a:pt x="13361" y="236675"/>
                  </a:moveTo>
                  <a:lnTo>
                    <a:pt x="13361" y="235403"/>
                  </a:lnTo>
                  <a:lnTo>
                    <a:pt x="13679" y="235403"/>
                  </a:lnTo>
                  <a:lnTo>
                    <a:pt x="13997" y="235721"/>
                  </a:lnTo>
                  <a:lnTo>
                    <a:pt x="13361" y="236675"/>
                  </a:lnTo>
                  <a:close/>
                  <a:moveTo>
                    <a:pt x="16224" y="237311"/>
                  </a:moveTo>
                  <a:lnTo>
                    <a:pt x="16224" y="237948"/>
                  </a:lnTo>
                  <a:cubicBezTo>
                    <a:pt x="16224" y="239538"/>
                    <a:pt x="15906" y="240811"/>
                    <a:pt x="15906" y="242083"/>
                  </a:cubicBezTo>
                  <a:cubicBezTo>
                    <a:pt x="15906" y="242719"/>
                    <a:pt x="15588" y="243356"/>
                    <a:pt x="14951" y="243674"/>
                  </a:cubicBezTo>
                  <a:lnTo>
                    <a:pt x="14633" y="243674"/>
                  </a:lnTo>
                  <a:cubicBezTo>
                    <a:pt x="13997" y="243356"/>
                    <a:pt x="13679" y="243037"/>
                    <a:pt x="13679" y="242719"/>
                  </a:cubicBezTo>
                  <a:cubicBezTo>
                    <a:pt x="13679" y="242401"/>
                    <a:pt x="13997" y="242401"/>
                    <a:pt x="13997" y="242083"/>
                  </a:cubicBezTo>
                  <a:cubicBezTo>
                    <a:pt x="14633" y="241447"/>
                    <a:pt x="14633" y="241129"/>
                    <a:pt x="14633" y="240493"/>
                  </a:cubicBezTo>
                  <a:cubicBezTo>
                    <a:pt x="15270" y="239220"/>
                    <a:pt x="15588" y="237948"/>
                    <a:pt x="16224" y="237311"/>
                  </a:cubicBezTo>
                  <a:close/>
                  <a:moveTo>
                    <a:pt x="13997" y="233176"/>
                  </a:moveTo>
                  <a:cubicBezTo>
                    <a:pt x="13997" y="232858"/>
                    <a:pt x="13997" y="232222"/>
                    <a:pt x="14951" y="232222"/>
                  </a:cubicBezTo>
                  <a:lnTo>
                    <a:pt x="15270" y="232222"/>
                  </a:lnTo>
                  <a:lnTo>
                    <a:pt x="15270" y="232540"/>
                  </a:lnTo>
                  <a:cubicBezTo>
                    <a:pt x="15270" y="233176"/>
                    <a:pt x="14633" y="233176"/>
                    <a:pt x="14315" y="233494"/>
                  </a:cubicBezTo>
                  <a:lnTo>
                    <a:pt x="13997" y="233176"/>
                  </a:lnTo>
                  <a:close/>
                  <a:moveTo>
                    <a:pt x="18451" y="230313"/>
                  </a:moveTo>
                  <a:cubicBezTo>
                    <a:pt x="18451" y="230631"/>
                    <a:pt x="18769" y="230631"/>
                    <a:pt x="18769" y="230949"/>
                  </a:cubicBezTo>
                  <a:lnTo>
                    <a:pt x="18133" y="234130"/>
                  </a:lnTo>
                  <a:cubicBezTo>
                    <a:pt x="17815" y="234448"/>
                    <a:pt x="17178" y="234767"/>
                    <a:pt x="17178" y="234448"/>
                  </a:cubicBezTo>
                  <a:cubicBezTo>
                    <a:pt x="16860" y="234448"/>
                    <a:pt x="16860" y="234130"/>
                    <a:pt x="16860" y="233812"/>
                  </a:cubicBezTo>
                  <a:cubicBezTo>
                    <a:pt x="16860" y="233812"/>
                    <a:pt x="17178" y="233494"/>
                    <a:pt x="17178" y="233176"/>
                  </a:cubicBezTo>
                  <a:lnTo>
                    <a:pt x="17178" y="232858"/>
                  </a:lnTo>
                  <a:cubicBezTo>
                    <a:pt x="17178" y="232540"/>
                    <a:pt x="17496" y="231904"/>
                    <a:pt x="17496" y="231585"/>
                  </a:cubicBezTo>
                  <a:cubicBezTo>
                    <a:pt x="17496" y="231267"/>
                    <a:pt x="17178" y="230949"/>
                    <a:pt x="16860" y="230631"/>
                  </a:cubicBezTo>
                  <a:lnTo>
                    <a:pt x="16860" y="229995"/>
                  </a:lnTo>
                  <a:cubicBezTo>
                    <a:pt x="16860" y="229677"/>
                    <a:pt x="17178" y="229359"/>
                    <a:pt x="17496" y="229359"/>
                  </a:cubicBezTo>
                  <a:cubicBezTo>
                    <a:pt x="17815" y="229041"/>
                    <a:pt x="17815" y="229041"/>
                    <a:pt x="17815" y="228722"/>
                  </a:cubicBezTo>
                  <a:cubicBezTo>
                    <a:pt x="17815" y="228404"/>
                    <a:pt x="17496" y="228086"/>
                    <a:pt x="17178" y="227768"/>
                  </a:cubicBezTo>
                  <a:cubicBezTo>
                    <a:pt x="16860" y="227450"/>
                    <a:pt x="16542" y="227450"/>
                    <a:pt x="16542" y="227132"/>
                  </a:cubicBezTo>
                  <a:lnTo>
                    <a:pt x="17178" y="226496"/>
                  </a:lnTo>
                  <a:lnTo>
                    <a:pt x="17815" y="226496"/>
                  </a:lnTo>
                  <a:cubicBezTo>
                    <a:pt x="18451" y="224905"/>
                    <a:pt x="19405" y="223951"/>
                    <a:pt x="19405" y="222042"/>
                  </a:cubicBezTo>
                  <a:cubicBezTo>
                    <a:pt x="19723" y="220770"/>
                    <a:pt x="20041" y="220133"/>
                    <a:pt x="20996" y="219815"/>
                  </a:cubicBezTo>
                  <a:lnTo>
                    <a:pt x="21314" y="219815"/>
                  </a:lnTo>
                  <a:cubicBezTo>
                    <a:pt x="21314" y="220133"/>
                    <a:pt x="21314" y="220133"/>
                    <a:pt x="21632" y="220451"/>
                  </a:cubicBezTo>
                  <a:lnTo>
                    <a:pt x="20677" y="222996"/>
                  </a:lnTo>
                  <a:cubicBezTo>
                    <a:pt x="20041" y="223633"/>
                    <a:pt x="20041" y="224587"/>
                    <a:pt x="19723" y="225541"/>
                  </a:cubicBezTo>
                  <a:cubicBezTo>
                    <a:pt x="19723" y="225859"/>
                    <a:pt x="20041" y="225859"/>
                    <a:pt x="20041" y="225859"/>
                  </a:cubicBezTo>
                  <a:cubicBezTo>
                    <a:pt x="20041" y="226177"/>
                    <a:pt x="19405" y="226814"/>
                    <a:pt x="19405" y="227450"/>
                  </a:cubicBezTo>
                  <a:lnTo>
                    <a:pt x="19405" y="228722"/>
                  </a:lnTo>
                  <a:cubicBezTo>
                    <a:pt x="19087" y="229359"/>
                    <a:pt x="18451" y="229677"/>
                    <a:pt x="18451" y="230313"/>
                  </a:cubicBezTo>
                  <a:close/>
                  <a:moveTo>
                    <a:pt x="19723" y="198184"/>
                  </a:moveTo>
                  <a:cubicBezTo>
                    <a:pt x="20041" y="198820"/>
                    <a:pt x="20677" y="198820"/>
                    <a:pt x="20677" y="199138"/>
                  </a:cubicBezTo>
                  <a:cubicBezTo>
                    <a:pt x="20677" y="199456"/>
                    <a:pt x="20996" y="199774"/>
                    <a:pt x="20996" y="199774"/>
                  </a:cubicBezTo>
                  <a:lnTo>
                    <a:pt x="20677" y="200092"/>
                  </a:lnTo>
                  <a:cubicBezTo>
                    <a:pt x="20359" y="200729"/>
                    <a:pt x="19723" y="201365"/>
                    <a:pt x="19723" y="202001"/>
                  </a:cubicBezTo>
                  <a:cubicBezTo>
                    <a:pt x="19723" y="202637"/>
                    <a:pt x="19723" y="202955"/>
                    <a:pt x="19405" y="202955"/>
                  </a:cubicBezTo>
                  <a:cubicBezTo>
                    <a:pt x="19405" y="202955"/>
                    <a:pt x="19087" y="202955"/>
                    <a:pt x="19087" y="202637"/>
                  </a:cubicBezTo>
                  <a:cubicBezTo>
                    <a:pt x="18451" y="202319"/>
                    <a:pt x="18133" y="202001"/>
                    <a:pt x="18133" y="201365"/>
                  </a:cubicBezTo>
                  <a:cubicBezTo>
                    <a:pt x="18133" y="201047"/>
                    <a:pt x="18133" y="200410"/>
                    <a:pt x="18451" y="200092"/>
                  </a:cubicBezTo>
                  <a:cubicBezTo>
                    <a:pt x="19405" y="199138"/>
                    <a:pt x="19405" y="198502"/>
                    <a:pt x="19723" y="198184"/>
                  </a:cubicBezTo>
                  <a:close/>
                  <a:moveTo>
                    <a:pt x="23858" y="228086"/>
                  </a:moveTo>
                  <a:lnTo>
                    <a:pt x="24813" y="228086"/>
                  </a:lnTo>
                  <a:cubicBezTo>
                    <a:pt x="24495" y="228722"/>
                    <a:pt x="24177" y="229041"/>
                    <a:pt x="23540" y="229041"/>
                  </a:cubicBezTo>
                  <a:cubicBezTo>
                    <a:pt x="23222" y="229041"/>
                    <a:pt x="22904" y="229041"/>
                    <a:pt x="22586" y="228722"/>
                  </a:cubicBezTo>
                  <a:lnTo>
                    <a:pt x="22268" y="228722"/>
                  </a:lnTo>
                  <a:cubicBezTo>
                    <a:pt x="21950" y="228722"/>
                    <a:pt x="21632" y="229041"/>
                    <a:pt x="21314" y="229359"/>
                  </a:cubicBezTo>
                  <a:cubicBezTo>
                    <a:pt x="21314" y="230313"/>
                    <a:pt x="20996" y="231267"/>
                    <a:pt x="20677" y="232222"/>
                  </a:cubicBezTo>
                  <a:cubicBezTo>
                    <a:pt x="20677" y="233494"/>
                    <a:pt x="19723" y="235403"/>
                    <a:pt x="19405" y="236357"/>
                  </a:cubicBezTo>
                  <a:lnTo>
                    <a:pt x="19087" y="236675"/>
                  </a:lnTo>
                  <a:lnTo>
                    <a:pt x="19087" y="236039"/>
                  </a:lnTo>
                  <a:cubicBezTo>
                    <a:pt x="19087" y="235085"/>
                    <a:pt x="19723" y="233812"/>
                    <a:pt x="19723" y="232540"/>
                  </a:cubicBezTo>
                  <a:cubicBezTo>
                    <a:pt x="20677" y="229359"/>
                    <a:pt x="21314" y="227450"/>
                    <a:pt x="22268" y="225223"/>
                  </a:cubicBezTo>
                  <a:cubicBezTo>
                    <a:pt x="22268" y="225223"/>
                    <a:pt x="22586" y="225223"/>
                    <a:pt x="22904" y="224905"/>
                  </a:cubicBezTo>
                  <a:cubicBezTo>
                    <a:pt x="22904" y="225223"/>
                    <a:pt x="23222" y="225223"/>
                    <a:pt x="23222" y="225223"/>
                  </a:cubicBezTo>
                  <a:cubicBezTo>
                    <a:pt x="23222" y="226177"/>
                    <a:pt x="23222" y="226496"/>
                    <a:pt x="24177" y="226496"/>
                  </a:cubicBezTo>
                  <a:cubicBezTo>
                    <a:pt x="24495" y="226496"/>
                    <a:pt x="24177" y="226814"/>
                    <a:pt x="23858" y="227450"/>
                  </a:cubicBezTo>
                  <a:lnTo>
                    <a:pt x="23858" y="228086"/>
                  </a:lnTo>
                  <a:close/>
                  <a:moveTo>
                    <a:pt x="23222" y="208045"/>
                  </a:moveTo>
                  <a:lnTo>
                    <a:pt x="21950" y="208999"/>
                  </a:lnTo>
                  <a:cubicBezTo>
                    <a:pt x="21950" y="209318"/>
                    <a:pt x="21632" y="209318"/>
                    <a:pt x="21632" y="209636"/>
                  </a:cubicBezTo>
                  <a:lnTo>
                    <a:pt x="21950" y="209954"/>
                  </a:lnTo>
                  <a:cubicBezTo>
                    <a:pt x="22586" y="209318"/>
                    <a:pt x="23222" y="209318"/>
                    <a:pt x="23222" y="208045"/>
                  </a:cubicBezTo>
                  <a:close/>
                  <a:moveTo>
                    <a:pt x="25449" y="208681"/>
                  </a:moveTo>
                  <a:cubicBezTo>
                    <a:pt x="25131" y="208363"/>
                    <a:pt x="24813" y="208045"/>
                    <a:pt x="24495" y="208045"/>
                  </a:cubicBezTo>
                  <a:cubicBezTo>
                    <a:pt x="24177" y="208045"/>
                    <a:pt x="24177" y="208363"/>
                    <a:pt x="24177" y="208363"/>
                  </a:cubicBezTo>
                  <a:cubicBezTo>
                    <a:pt x="24177" y="208999"/>
                    <a:pt x="23858" y="209318"/>
                    <a:pt x="23540" y="210272"/>
                  </a:cubicBezTo>
                  <a:cubicBezTo>
                    <a:pt x="23540" y="210272"/>
                    <a:pt x="23858" y="209954"/>
                    <a:pt x="23858" y="210272"/>
                  </a:cubicBezTo>
                  <a:cubicBezTo>
                    <a:pt x="24177" y="209954"/>
                    <a:pt x="25131" y="209318"/>
                    <a:pt x="25449" y="209318"/>
                  </a:cubicBezTo>
                  <a:lnTo>
                    <a:pt x="25449" y="208681"/>
                  </a:lnTo>
                  <a:close/>
                  <a:moveTo>
                    <a:pt x="25767" y="217588"/>
                  </a:moveTo>
                  <a:lnTo>
                    <a:pt x="25767" y="218543"/>
                  </a:lnTo>
                  <a:cubicBezTo>
                    <a:pt x="25449" y="218543"/>
                    <a:pt x="25131" y="218225"/>
                    <a:pt x="25131" y="218225"/>
                  </a:cubicBezTo>
                  <a:lnTo>
                    <a:pt x="25131" y="217588"/>
                  </a:lnTo>
                  <a:lnTo>
                    <a:pt x="25767" y="217588"/>
                  </a:lnTo>
                  <a:close/>
                  <a:moveTo>
                    <a:pt x="26721" y="219497"/>
                  </a:moveTo>
                  <a:cubicBezTo>
                    <a:pt x="27040" y="219497"/>
                    <a:pt x="27358" y="219497"/>
                    <a:pt x="27676" y="219815"/>
                  </a:cubicBezTo>
                  <a:lnTo>
                    <a:pt x="27040" y="220451"/>
                  </a:lnTo>
                  <a:cubicBezTo>
                    <a:pt x="26721" y="220451"/>
                    <a:pt x="26085" y="220133"/>
                    <a:pt x="26085" y="220133"/>
                  </a:cubicBezTo>
                  <a:cubicBezTo>
                    <a:pt x="26085" y="219815"/>
                    <a:pt x="26085" y="219497"/>
                    <a:pt x="26403" y="219497"/>
                  </a:cubicBezTo>
                  <a:lnTo>
                    <a:pt x="26721" y="219497"/>
                  </a:lnTo>
                  <a:close/>
                  <a:moveTo>
                    <a:pt x="27358" y="200729"/>
                  </a:moveTo>
                  <a:cubicBezTo>
                    <a:pt x="27358" y="201047"/>
                    <a:pt x="27676" y="201047"/>
                    <a:pt x="27994" y="201047"/>
                  </a:cubicBezTo>
                  <a:lnTo>
                    <a:pt x="28630" y="201047"/>
                  </a:lnTo>
                  <a:lnTo>
                    <a:pt x="29267" y="200410"/>
                  </a:lnTo>
                  <a:lnTo>
                    <a:pt x="28948" y="200092"/>
                  </a:lnTo>
                  <a:lnTo>
                    <a:pt x="28948" y="199138"/>
                  </a:lnTo>
                  <a:lnTo>
                    <a:pt x="29585" y="199138"/>
                  </a:lnTo>
                  <a:cubicBezTo>
                    <a:pt x="29903" y="199138"/>
                    <a:pt x="30221" y="199138"/>
                    <a:pt x="30221" y="198820"/>
                  </a:cubicBezTo>
                  <a:cubicBezTo>
                    <a:pt x="30539" y="198502"/>
                    <a:pt x="31175" y="198184"/>
                    <a:pt x="31175" y="197866"/>
                  </a:cubicBezTo>
                  <a:cubicBezTo>
                    <a:pt x="31493" y="197547"/>
                    <a:pt x="31811" y="196911"/>
                    <a:pt x="31811" y="196593"/>
                  </a:cubicBezTo>
                  <a:cubicBezTo>
                    <a:pt x="31811" y="196275"/>
                    <a:pt x="31493" y="196275"/>
                    <a:pt x="31175" y="196275"/>
                  </a:cubicBezTo>
                  <a:cubicBezTo>
                    <a:pt x="30857" y="195957"/>
                    <a:pt x="30857" y="195639"/>
                    <a:pt x="30539" y="195639"/>
                  </a:cubicBezTo>
                  <a:cubicBezTo>
                    <a:pt x="30221" y="195639"/>
                    <a:pt x="29903" y="195957"/>
                    <a:pt x="29903" y="195957"/>
                  </a:cubicBezTo>
                  <a:lnTo>
                    <a:pt x="29903" y="196593"/>
                  </a:lnTo>
                  <a:cubicBezTo>
                    <a:pt x="28948" y="197866"/>
                    <a:pt x="27994" y="199138"/>
                    <a:pt x="27358" y="200729"/>
                  </a:cubicBezTo>
                  <a:close/>
                  <a:moveTo>
                    <a:pt x="31811" y="209636"/>
                  </a:moveTo>
                  <a:cubicBezTo>
                    <a:pt x="31811" y="209954"/>
                    <a:pt x="31493" y="210272"/>
                    <a:pt x="31493" y="210590"/>
                  </a:cubicBezTo>
                  <a:cubicBezTo>
                    <a:pt x="31493" y="210908"/>
                    <a:pt x="31811" y="210908"/>
                    <a:pt x="31811" y="211226"/>
                  </a:cubicBezTo>
                  <a:cubicBezTo>
                    <a:pt x="31811" y="212181"/>
                    <a:pt x="30857" y="213453"/>
                    <a:pt x="30221" y="214407"/>
                  </a:cubicBezTo>
                  <a:cubicBezTo>
                    <a:pt x="29903" y="215362"/>
                    <a:pt x="29585" y="215362"/>
                    <a:pt x="29267" y="215362"/>
                  </a:cubicBezTo>
                  <a:cubicBezTo>
                    <a:pt x="28948" y="215362"/>
                    <a:pt x="28630" y="215362"/>
                    <a:pt x="28630" y="215044"/>
                  </a:cubicBezTo>
                  <a:cubicBezTo>
                    <a:pt x="28630" y="214725"/>
                    <a:pt x="28630" y="214089"/>
                    <a:pt x="28312" y="214089"/>
                  </a:cubicBezTo>
                  <a:cubicBezTo>
                    <a:pt x="27994" y="214089"/>
                    <a:pt x="27358" y="213771"/>
                    <a:pt x="27358" y="213453"/>
                  </a:cubicBezTo>
                  <a:cubicBezTo>
                    <a:pt x="27358" y="213453"/>
                    <a:pt x="27358" y="213135"/>
                    <a:pt x="27676" y="213135"/>
                  </a:cubicBezTo>
                  <a:cubicBezTo>
                    <a:pt x="28312" y="212181"/>
                    <a:pt x="28312" y="210590"/>
                    <a:pt x="29267" y="209954"/>
                  </a:cubicBezTo>
                  <a:cubicBezTo>
                    <a:pt x="29585" y="209318"/>
                    <a:pt x="29585" y="208363"/>
                    <a:pt x="29903" y="208363"/>
                  </a:cubicBezTo>
                  <a:cubicBezTo>
                    <a:pt x="30539" y="208363"/>
                    <a:pt x="30539" y="208999"/>
                    <a:pt x="31493" y="209318"/>
                  </a:cubicBezTo>
                  <a:cubicBezTo>
                    <a:pt x="31493" y="209318"/>
                    <a:pt x="31811" y="209318"/>
                    <a:pt x="31811" y="209636"/>
                  </a:cubicBezTo>
                  <a:close/>
                  <a:moveTo>
                    <a:pt x="29585" y="184187"/>
                  </a:moveTo>
                  <a:cubicBezTo>
                    <a:pt x="28948" y="184187"/>
                    <a:pt x="28948" y="184505"/>
                    <a:pt x="28948" y="184823"/>
                  </a:cubicBezTo>
                  <a:cubicBezTo>
                    <a:pt x="29267" y="185141"/>
                    <a:pt x="29585" y="185141"/>
                    <a:pt x="29585" y="185141"/>
                  </a:cubicBezTo>
                  <a:cubicBezTo>
                    <a:pt x="29903" y="185141"/>
                    <a:pt x="29903" y="184823"/>
                    <a:pt x="29903" y="184505"/>
                  </a:cubicBezTo>
                  <a:lnTo>
                    <a:pt x="29585" y="184187"/>
                  </a:lnTo>
                  <a:close/>
                  <a:moveTo>
                    <a:pt x="30857" y="180051"/>
                  </a:moveTo>
                  <a:cubicBezTo>
                    <a:pt x="30539" y="180051"/>
                    <a:pt x="30539" y="180051"/>
                    <a:pt x="30539" y="179733"/>
                  </a:cubicBezTo>
                  <a:lnTo>
                    <a:pt x="29585" y="181324"/>
                  </a:lnTo>
                  <a:lnTo>
                    <a:pt x="29585" y="181642"/>
                  </a:lnTo>
                  <a:cubicBezTo>
                    <a:pt x="30221" y="181324"/>
                    <a:pt x="30539" y="180688"/>
                    <a:pt x="30857" y="180051"/>
                  </a:cubicBezTo>
                  <a:close/>
                  <a:moveTo>
                    <a:pt x="30857" y="184505"/>
                  </a:moveTo>
                  <a:lnTo>
                    <a:pt x="31493" y="184505"/>
                  </a:lnTo>
                  <a:cubicBezTo>
                    <a:pt x="32130" y="184823"/>
                    <a:pt x="32130" y="184823"/>
                    <a:pt x="32130" y="185459"/>
                  </a:cubicBezTo>
                  <a:lnTo>
                    <a:pt x="32130" y="185777"/>
                  </a:lnTo>
                  <a:lnTo>
                    <a:pt x="32448" y="185777"/>
                  </a:lnTo>
                  <a:cubicBezTo>
                    <a:pt x="33084" y="185141"/>
                    <a:pt x="33402" y="184823"/>
                    <a:pt x="33402" y="183869"/>
                  </a:cubicBezTo>
                  <a:lnTo>
                    <a:pt x="31811" y="183869"/>
                  </a:lnTo>
                  <a:cubicBezTo>
                    <a:pt x="31493" y="183869"/>
                    <a:pt x="31175" y="183551"/>
                    <a:pt x="31175" y="183551"/>
                  </a:cubicBezTo>
                  <a:cubicBezTo>
                    <a:pt x="30857" y="184187"/>
                    <a:pt x="30539" y="184187"/>
                    <a:pt x="30539" y="184187"/>
                  </a:cubicBezTo>
                  <a:cubicBezTo>
                    <a:pt x="30539" y="184187"/>
                    <a:pt x="30539" y="184505"/>
                    <a:pt x="30857" y="184505"/>
                  </a:cubicBezTo>
                  <a:close/>
                  <a:moveTo>
                    <a:pt x="31175" y="178461"/>
                  </a:moveTo>
                  <a:lnTo>
                    <a:pt x="31811" y="178461"/>
                  </a:lnTo>
                  <a:lnTo>
                    <a:pt x="31811" y="177506"/>
                  </a:lnTo>
                  <a:cubicBezTo>
                    <a:pt x="31811" y="177825"/>
                    <a:pt x="31493" y="177825"/>
                    <a:pt x="31493" y="178143"/>
                  </a:cubicBezTo>
                  <a:cubicBezTo>
                    <a:pt x="31175" y="178143"/>
                    <a:pt x="31175" y="178461"/>
                    <a:pt x="31175" y="178461"/>
                  </a:cubicBezTo>
                  <a:close/>
                  <a:moveTo>
                    <a:pt x="32766" y="180688"/>
                  </a:moveTo>
                  <a:cubicBezTo>
                    <a:pt x="32766" y="181006"/>
                    <a:pt x="32766" y="181642"/>
                    <a:pt x="33084" y="181960"/>
                  </a:cubicBezTo>
                  <a:cubicBezTo>
                    <a:pt x="33084" y="182596"/>
                    <a:pt x="33402" y="183232"/>
                    <a:pt x="33402" y="183869"/>
                  </a:cubicBezTo>
                  <a:cubicBezTo>
                    <a:pt x="33720" y="183869"/>
                    <a:pt x="34356" y="183232"/>
                    <a:pt x="34674" y="182914"/>
                  </a:cubicBezTo>
                  <a:cubicBezTo>
                    <a:pt x="34992" y="182278"/>
                    <a:pt x="36265" y="181324"/>
                    <a:pt x="36265" y="180688"/>
                  </a:cubicBezTo>
                  <a:lnTo>
                    <a:pt x="37537" y="179097"/>
                  </a:lnTo>
                  <a:lnTo>
                    <a:pt x="37537" y="178779"/>
                  </a:lnTo>
                  <a:cubicBezTo>
                    <a:pt x="37219" y="178779"/>
                    <a:pt x="37219" y="178461"/>
                    <a:pt x="37219" y="178779"/>
                  </a:cubicBezTo>
                  <a:cubicBezTo>
                    <a:pt x="36265" y="179415"/>
                    <a:pt x="35311" y="179415"/>
                    <a:pt x="34674" y="179733"/>
                  </a:cubicBezTo>
                  <a:lnTo>
                    <a:pt x="33402" y="179733"/>
                  </a:lnTo>
                  <a:cubicBezTo>
                    <a:pt x="33084" y="179733"/>
                    <a:pt x="32766" y="180369"/>
                    <a:pt x="32766" y="180688"/>
                  </a:cubicBezTo>
                  <a:close/>
                  <a:moveTo>
                    <a:pt x="37855" y="183551"/>
                  </a:moveTo>
                  <a:cubicBezTo>
                    <a:pt x="37537" y="183551"/>
                    <a:pt x="37219" y="184187"/>
                    <a:pt x="36901" y="184823"/>
                  </a:cubicBezTo>
                  <a:cubicBezTo>
                    <a:pt x="36901" y="185141"/>
                    <a:pt x="37219" y="185459"/>
                    <a:pt x="37219" y="185777"/>
                  </a:cubicBezTo>
                  <a:cubicBezTo>
                    <a:pt x="37855" y="185141"/>
                    <a:pt x="38173" y="184505"/>
                    <a:pt x="38173" y="183869"/>
                  </a:cubicBezTo>
                  <a:cubicBezTo>
                    <a:pt x="38173" y="183551"/>
                    <a:pt x="37855" y="183551"/>
                    <a:pt x="37855" y="183551"/>
                  </a:cubicBezTo>
                  <a:close/>
                  <a:moveTo>
                    <a:pt x="37537" y="191821"/>
                  </a:moveTo>
                  <a:lnTo>
                    <a:pt x="37537" y="192458"/>
                  </a:lnTo>
                  <a:cubicBezTo>
                    <a:pt x="37219" y="192458"/>
                    <a:pt x="36901" y="192140"/>
                    <a:pt x="36901" y="191821"/>
                  </a:cubicBezTo>
                  <a:lnTo>
                    <a:pt x="36901" y="191185"/>
                  </a:lnTo>
                  <a:cubicBezTo>
                    <a:pt x="37537" y="191185"/>
                    <a:pt x="37537" y="191503"/>
                    <a:pt x="37537" y="191821"/>
                  </a:cubicBezTo>
                  <a:close/>
                  <a:moveTo>
                    <a:pt x="37855" y="181324"/>
                  </a:moveTo>
                  <a:lnTo>
                    <a:pt x="38810" y="180688"/>
                  </a:lnTo>
                  <a:lnTo>
                    <a:pt x="37855" y="180688"/>
                  </a:lnTo>
                  <a:lnTo>
                    <a:pt x="37855" y="181324"/>
                  </a:lnTo>
                  <a:close/>
                  <a:moveTo>
                    <a:pt x="39128" y="176870"/>
                  </a:moveTo>
                  <a:cubicBezTo>
                    <a:pt x="39128" y="176870"/>
                    <a:pt x="39128" y="176552"/>
                    <a:pt x="39446" y="176870"/>
                  </a:cubicBezTo>
                  <a:cubicBezTo>
                    <a:pt x="39128" y="176234"/>
                    <a:pt x="39128" y="176552"/>
                    <a:pt x="39128" y="176552"/>
                  </a:cubicBezTo>
                  <a:lnTo>
                    <a:pt x="39128" y="176870"/>
                  </a:lnTo>
                  <a:close/>
                  <a:moveTo>
                    <a:pt x="39128" y="181324"/>
                  </a:moveTo>
                  <a:lnTo>
                    <a:pt x="39764" y="183232"/>
                  </a:lnTo>
                  <a:cubicBezTo>
                    <a:pt x="39764" y="183551"/>
                    <a:pt x="39764" y="183551"/>
                    <a:pt x="40082" y="183551"/>
                  </a:cubicBezTo>
                  <a:lnTo>
                    <a:pt x="40718" y="183551"/>
                  </a:lnTo>
                  <a:cubicBezTo>
                    <a:pt x="40718" y="182914"/>
                    <a:pt x="41036" y="182278"/>
                    <a:pt x="41673" y="181960"/>
                  </a:cubicBezTo>
                  <a:lnTo>
                    <a:pt x="42945" y="181006"/>
                  </a:lnTo>
                  <a:cubicBezTo>
                    <a:pt x="42945" y="180369"/>
                    <a:pt x="42945" y="180051"/>
                    <a:pt x="43264" y="179415"/>
                  </a:cubicBezTo>
                  <a:cubicBezTo>
                    <a:pt x="43582" y="179097"/>
                    <a:pt x="43582" y="178779"/>
                    <a:pt x="43900" y="178779"/>
                  </a:cubicBezTo>
                  <a:cubicBezTo>
                    <a:pt x="44218" y="178779"/>
                    <a:pt x="43900" y="178461"/>
                    <a:pt x="43582" y="178143"/>
                  </a:cubicBezTo>
                  <a:cubicBezTo>
                    <a:pt x="43264" y="178143"/>
                    <a:pt x="42945" y="177825"/>
                    <a:pt x="42627" y="177506"/>
                  </a:cubicBezTo>
                  <a:cubicBezTo>
                    <a:pt x="42309" y="177506"/>
                    <a:pt x="41991" y="177506"/>
                    <a:pt x="41673" y="177825"/>
                  </a:cubicBezTo>
                  <a:cubicBezTo>
                    <a:pt x="41355" y="178143"/>
                    <a:pt x="41355" y="178779"/>
                    <a:pt x="41355" y="179097"/>
                  </a:cubicBezTo>
                  <a:lnTo>
                    <a:pt x="41355" y="179733"/>
                  </a:lnTo>
                  <a:cubicBezTo>
                    <a:pt x="41355" y="180051"/>
                    <a:pt x="41036" y="180369"/>
                    <a:pt x="40718" y="180369"/>
                  </a:cubicBezTo>
                  <a:lnTo>
                    <a:pt x="40082" y="180369"/>
                  </a:lnTo>
                  <a:cubicBezTo>
                    <a:pt x="39446" y="180688"/>
                    <a:pt x="39128" y="181006"/>
                    <a:pt x="39128" y="181324"/>
                  </a:cubicBezTo>
                  <a:close/>
                  <a:moveTo>
                    <a:pt x="39764" y="195003"/>
                  </a:moveTo>
                  <a:cubicBezTo>
                    <a:pt x="39764" y="195321"/>
                    <a:pt x="39764" y="195957"/>
                    <a:pt x="39446" y="195957"/>
                  </a:cubicBezTo>
                  <a:lnTo>
                    <a:pt x="39128" y="195957"/>
                  </a:lnTo>
                  <a:lnTo>
                    <a:pt x="39128" y="195003"/>
                  </a:lnTo>
                  <a:lnTo>
                    <a:pt x="39764" y="195003"/>
                  </a:lnTo>
                  <a:close/>
                  <a:moveTo>
                    <a:pt x="40400" y="185777"/>
                  </a:moveTo>
                  <a:lnTo>
                    <a:pt x="40718" y="186095"/>
                  </a:lnTo>
                  <a:lnTo>
                    <a:pt x="40718" y="185459"/>
                  </a:lnTo>
                  <a:cubicBezTo>
                    <a:pt x="40400" y="185459"/>
                    <a:pt x="40400" y="185777"/>
                    <a:pt x="40400" y="185777"/>
                  </a:cubicBezTo>
                  <a:close/>
                  <a:moveTo>
                    <a:pt x="41036" y="165418"/>
                  </a:moveTo>
                  <a:lnTo>
                    <a:pt x="41036" y="165736"/>
                  </a:lnTo>
                  <a:cubicBezTo>
                    <a:pt x="41036" y="165736"/>
                    <a:pt x="41355" y="166054"/>
                    <a:pt x="41673" y="166054"/>
                  </a:cubicBezTo>
                  <a:cubicBezTo>
                    <a:pt x="41673" y="166054"/>
                    <a:pt x="41991" y="165736"/>
                    <a:pt x="41991" y="165418"/>
                  </a:cubicBezTo>
                  <a:cubicBezTo>
                    <a:pt x="42309" y="165418"/>
                    <a:pt x="41673" y="165100"/>
                    <a:pt x="41673" y="165100"/>
                  </a:cubicBezTo>
                  <a:cubicBezTo>
                    <a:pt x="41355" y="165100"/>
                    <a:pt x="41036" y="165100"/>
                    <a:pt x="41036" y="165418"/>
                  </a:cubicBezTo>
                  <a:close/>
                  <a:moveTo>
                    <a:pt x="41991" y="169872"/>
                  </a:moveTo>
                  <a:lnTo>
                    <a:pt x="41991" y="170190"/>
                  </a:lnTo>
                  <a:lnTo>
                    <a:pt x="42627" y="170190"/>
                  </a:lnTo>
                  <a:cubicBezTo>
                    <a:pt x="42309" y="169872"/>
                    <a:pt x="41991" y="169872"/>
                    <a:pt x="41991" y="169872"/>
                  </a:cubicBezTo>
                  <a:close/>
                  <a:moveTo>
                    <a:pt x="42627" y="185777"/>
                  </a:moveTo>
                  <a:cubicBezTo>
                    <a:pt x="42627" y="186095"/>
                    <a:pt x="42309" y="186095"/>
                    <a:pt x="42309" y="186414"/>
                  </a:cubicBezTo>
                  <a:cubicBezTo>
                    <a:pt x="42309" y="186732"/>
                    <a:pt x="42627" y="186732"/>
                    <a:pt x="42627" y="186732"/>
                  </a:cubicBezTo>
                  <a:lnTo>
                    <a:pt x="42627" y="185777"/>
                  </a:lnTo>
                  <a:close/>
                  <a:moveTo>
                    <a:pt x="42945" y="175916"/>
                  </a:moveTo>
                  <a:cubicBezTo>
                    <a:pt x="42945" y="176234"/>
                    <a:pt x="42945" y="176234"/>
                    <a:pt x="43264" y="176234"/>
                  </a:cubicBezTo>
                  <a:cubicBezTo>
                    <a:pt x="43264" y="176552"/>
                    <a:pt x="43582" y="176552"/>
                    <a:pt x="43900" y="176552"/>
                  </a:cubicBezTo>
                  <a:lnTo>
                    <a:pt x="44218" y="176552"/>
                  </a:lnTo>
                  <a:lnTo>
                    <a:pt x="45172" y="175916"/>
                  </a:lnTo>
                  <a:cubicBezTo>
                    <a:pt x="45490" y="175598"/>
                    <a:pt x="45808" y="175280"/>
                    <a:pt x="45808" y="174643"/>
                  </a:cubicBezTo>
                  <a:cubicBezTo>
                    <a:pt x="45808" y="174325"/>
                    <a:pt x="45808" y="174007"/>
                    <a:pt x="45490" y="173689"/>
                  </a:cubicBezTo>
                  <a:cubicBezTo>
                    <a:pt x="44536" y="173689"/>
                    <a:pt x="43900" y="174007"/>
                    <a:pt x="43264" y="174643"/>
                  </a:cubicBezTo>
                  <a:cubicBezTo>
                    <a:pt x="42945" y="175280"/>
                    <a:pt x="42945" y="175598"/>
                    <a:pt x="42945" y="175916"/>
                  </a:cubicBezTo>
                  <a:close/>
                  <a:moveTo>
                    <a:pt x="43264" y="171462"/>
                  </a:moveTo>
                  <a:cubicBezTo>
                    <a:pt x="43264" y="171780"/>
                    <a:pt x="43582" y="171780"/>
                    <a:pt x="43900" y="171780"/>
                  </a:cubicBezTo>
                  <a:lnTo>
                    <a:pt x="43900" y="171462"/>
                  </a:lnTo>
                  <a:cubicBezTo>
                    <a:pt x="43900" y="171144"/>
                    <a:pt x="43582" y="171144"/>
                    <a:pt x="43582" y="171144"/>
                  </a:cubicBezTo>
                  <a:cubicBezTo>
                    <a:pt x="43264" y="171144"/>
                    <a:pt x="43264" y="171462"/>
                    <a:pt x="43264" y="171462"/>
                  </a:cubicBezTo>
                  <a:close/>
                  <a:moveTo>
                    <a:pt x="44218" y="165100"/>
                  </a:moveTo>
                  <a:cubicBezTo>
                    <a:pt x="44218" y="165418"/>
                    <a:pt x="44536" y="165418"/>
                    <a:pt x="44536" y="165736"/>
                  </a:cubicBezTo>
                  <a:cubicBezTo>
                    <a:pt x="44854" y="166054"/>
                    <a:pt x="45172" y="166372"/>
                    <a:pt x="45490" y="166372"/>
                  </a:cubicBezTo>
                  <a:lnTo>
                    <a:pt x="46763" y="166372"/>
                  </a:lnTo>
                  <a:lnTo>
                    <a:pt x="46763" y="167327"/>
                  </a:lnTo>
                  <a:cubicBezTo>
                    <a:pt x="46445" y="167327"/>
                    <a:pt x="46445" y="167963"/>
                    <a:pt x="46126" y="168281"/>
                  </a:cubicBezTo>
                  <a:cubicBezTo>
                    <a:pt x="47081" y="167645"/>
                    <a:pt x="47399" y="167009"/>
                    <a:pt x="48035" y="166054"/>
                  </a:cubicBezTo>
                  <a:lnTo>
                    <a:pt x="48035" y="165100"/>
                  </a:lnTo>
                  <a:cubicBezTo>
                    <a:pt x="48035" y="164782"/>
                    <a:pt x="48035" y="163828"/>
                    <a:pt x="47717" y="163828"/>
                  </a:cubicBezTo>
                  <a:lnTo>
                    <a:pt x="47399" y="163509"/>
                  </a:lnTo>
                  <a:cubicBezTo>
                    <a:pt x="47081" y="163509"/>
                    <a:pt x="47081" y="163828"/>
                    <a:pt x="46763" y="164146"/>
                  </a:cubicBezTo>
                  <a:cubicBezTo>
                    <a:pt x="46445" y="164464"/>
                    <a:pt x="46126" y="164782"/>
                    <a:pt x="45490" y="164782"/>
                  </a:cubicBezTo>
                  <a:lnTo>
                    <a:pt x="45172" y="164782"/>
                  </a:lnTo>
                  <a:lnTo>
                    <a:pt x="44854" y="164464"/>
                  </a:lnTo>
                  <a:cubicBezTo>
                    <a:pt x="44536" y="164464"/>
                    <a:pt x="44536" y="164782"/>
                    <a:pt x="44218" y="164782"/>
                  </a:cubicBezTo>
                  <a:lnTo>
                    <a:pt x="44218" y="165100"/>
                  </a:lnTo>
                  <a:close/>
                  <a:moveTo>
                    <a:pt x="45490" y="169235"/>
                  </a:moveTo>
                  <a:cubicBezTo>
                    <a:pt x="45808" y="169235"/>
                    <a:pt x="46126" y="168599"/>
                    <a:pt x="46126" y="168281"/>
                  </a:cubicBezTo>
                  <a:cubicBezTo>
                    <a:pt x="45808" y="168599"/>
                    <a:pt x="45490" y="168599"/>
                    <a:pt x="45172" y="168599"/>
                  </a:cubicBezTo>
                  <a:cubicBezTo>
                    <a:pt x="44854" y="168599"/>
                    <a:pt x="44854" y="168917"/>
                    <a:pt x="44854" y="168917"/>
                  </a:cubicBezTo>
                  <a:cubicBezTo>
                    <a:pt x="45172" y="169235"/>
                    <a:pt x="45172" y="169235"/>
                    <a:pt x="45490" y="169235"/>
                  </a:cubicBezTo>
                  <a:close/>
                  <a:moveTo>
                    <a:pt x="46763" y="172417"/>
                  </a:moveTo>
                  <a:lnTo>
                    <a:pt x="47399" y="171780"/>
                  </a:lnTo>
                  <a:lnTo>
                    <a:pt x="48035" y="171780"/>
                  </a:lnTo>
                  <a:lnTo>
                    <a:pt x="48035" y="171462"/>
                  </a:lnTo>
                  <a:cubicBezTo>
                    <a:pt x="47717" y="171144"/>
                    <a:pt x="47717" y="171144"/>
                    <a:pt x="47399" y="171144"/>
                  </a:cubicBezTo>
                  <a:cubicBezTo>
                    <a:pt x="47081" y="171144"/>
                    <a:pt x="47081" y="171144"/>
                    <a:pt x="46763" y="171462"/>
                  </a:cubicBezTo>
                  <a:cubicBezTo>
                    <a:pt x="46763" y="171780"/>
                    <a:pt x="46126" y="172098"/>
                    <a:pt x="46126" y="172417"/>
                  </a:cubicBezTo>
                  <a:lnTo>
                    <a:pt x="45490" y="173689"/>
                  </a:lnTo>
                  <a:lnTo>
                    <a:pt x="47399" y="173689"/>
                  </a:lnTo>
                  <a:lnTo>
                    <a:pt x="47717" y="173371"/>
                  </a:lnTo>
                  <a:lnTo>
                    <a:pt x="47399" y="173371"/>
                  </a:lnTo>
                  <a:lnTo>
                    <a:pt x="47399" y="173053"/>
                  </a:lnTo>
                  <a:cubicBezTo>
                    <a:pt x="47081" y="172735"/>
                    <a:pt x="46763" y="172735"/>
                    <a:pt x="46763" y="172417"/>
                  </a:cubicBezTo>
                  <a:close/>
                  <a:moveTo>
                    <a:pt x="45808" y="163509"/>
                  </a:moveTo>
                  <a:lnTo>
                    <a:pt x="46126" y="163191"/>
                  </a:lnTo>
                  <a:lnTo>
                    <a:pt x="45808" y="162873"/>
                  </a:lnTo>
                  <a:lnTo>
                    <a:pt x="45808" y="163509"/>
                  </a:lnTo>
                  <a:close/>
                  <a:moveTo>
                    <a:pt x="47399" y="158738"/>
                  </a:moveTo>
                  <a:cubicBezTo>
                    <a:pt x="48035" y="158738"/>
                    <a:pt x="48353" y="158420"/>
                    <a:pt x="48989" y="157783"/>
                  </a:cubicBezTo>
                  <a:cubicBezTo>
                    <a:pt x="48671" y="157465"/>
                    <a:pt x="48353" y="157465"/>
                    <a:pt x="48035" y="157465"/>
                  </a:cubicBezTo>
                  <a:cubicBezTo>
                    <a:pt x="48035" y="157783"/>
                    <a:pt x="47717" y="158102"/>
                    <a:pt x="47399" y="158738"/>
                  </a:cubicBezTo>
                  <a:close/>
                  <a:moveTo>
                    <a:pt x="49307" y="159374"/>
                  </a:moveTo>
                  <a:cubicBezTo>
                    <a:pt x="48989" y="159374"/>
                    <a:pt x="48989" y="159374"/>
                    <a:pt x="48989" y="159692"/>
                  </a:cubicBezTo>
                  <a:lnTo>
                    <a:pt x="48035" y="160646"/>
                  </a:lnTo>
                  <a:cubicBezTo>
                    <a:pt x="48671" y="160646"/>
                    <a:pt x="49307" y="160646"/>
                    <a:pt x="49944" y="160328"/>
                  </a:cubicBezTo>
                  <a:lnTo>
                    <a:pt x="49944" y="160010"/>
                  </a:lnTo>
                  <a:cubicBezTo>
                    <a:pt x="49944" y="159692"/>
                    <a:pt x="49626" y="159374"/>
                    <a:pt x="49307" y="159374"/>
                  </a:cubicBezTo>
                  <a:close/>
                  <a:moveTo>
                    <a:pt x="49307" y="163191"/>
                  </a:moveTo>
                  <a:lnTo>
                    <a:pt x="49307" y="163509"/>
                  </a:lnTo>
                  <a:cubicBezTo>
                    <a:pt x="49626" y="163509"/>
                    <a:pt x="49626" y="163191"/>
                    <a:pt x="49626" y="163191"/>
                  </a:cubicBezTo>
                  <a:lnTo>
                    <a:pt x="49307" y="163191"/>
                  </a:lnTo>
                  <a:close/>
                  <a:moveTo>
                    <a:pt x="50580" y="170826"/>
                  </a:moveTo>
                  <a:lnTo>
                    <a:pt x="50580" y="171462"/>
                  </a:lnTo>
                  <a:lnTo>
                    <a:pt x="50898" y="171144"/>
                  </a:lnTo>
                  <a:lnTo>
                    <a:pt x="50898" y="170508"/>
                  </a:lnTo>
                  <a:lnTo>
                    <a:pt x="50580" y="170826"/>
                  </a:lnTo>
                  <a:close/>
                  <a:moveTo>
                    <a:pt x="51852" y="169872"/>
                  </a:moveTo>
                  <a:lnTo>
                    <a:pt x="51852" y="169235"/>
                  </a:lnTo>
                  <a:lnTo>
                    <a:pt x="51534" y="168917"/>
                  </a:lnTo>
                  <a:cubicBezTo>
                    <a:pt x="51216" y="169235"/>
                    <a:pt x="50898" y="169872"/>
                    <a:pt x="50898" y="170190"/>
                  </a:cubicBezTo>
                  <a:lnTo>
                    <a:pt x="50898" y="170508"/>
                  </a:lnTo>
                  <a:cubicBezTo>
                    <a:pt x="51534" y="170190"/>
                    <a:pt x="51852" y="170190"/>
                    <a:pt x="51852" y="169872"/>
                  </a:cubicBezTo>
                  <a:close/>
                  <a:moveTo>
                    <a:pt x="51852" y="282483"/>
                  </a:moveTo>
                  <a:lnTo>
                    <a:pt x="51216" y="282483"/>
                  </a:lnTo>
                  <a:lnTo>
                    <a:pt x="50898" y="282801"/>
                  </a:lnTo>
                  <a:cubicBezTo>
                    <a:pt x="51216" y="282801"/>
                    <a:pt x="51216" y="282801"/>
                    <a:pt x="51216" y="283120"/>
                  </a:cubicBezTo>
                  <a:cubicBezTo>
                    <a:pt x="51534" y="282801"/>
                    <a:pt x="51852" y="282801"/>
                    <a:pt x="51852" y="282483"/>
                  </a:cubicBezTo>
                  <a:close/>
                  <a:moveTo>
                    <a:pt x="51216" y="158738"/>
                  </a:moveTo>
                  <a:cubicBezTo>
                    <a:pt x="51216" y="159056"/>
                    <a:pt x="51534" y="159056"/>
                    <a:pt x="51852" y="159056"/>
                  </a:cubicBezTo>
                  <a:cubicBezTo>
                    <a:pt x="51852" y="159056"/>
                    <a:pt x="51852" y="158738"/>
                    <a:pt x="52170" y="158420"/>
                  </a:cubicBezTo>
                  <a:lnTo>
                    <a:pt x="51216" y="158420"/>
                  </a:lnTo>
                  <a:lnTo>
                    <a:pt x="51216" y="158738"/>
                  </a:lnTo>
                  <a:close/>
                  <a:moveTo>
                    <a:pt x="52170" y="156193"/>
                  </a:moveTo>
                  <a:cubicBezTo>
                    <a:pt x="52170" y="156511"/>
                    <a:pt x="52170" y="156829"/>
                    <a:pt x="52488" y="157147"/>
                  </a:cubicBezTo>
                  <a:cubicBezTo>
                    <a:pt x="52807" y="157783"/>
                    <a:pt x="53125" y="157783"/>
                    <a:pt x="53761" y="158102"/>
                  </a:cubicBezTo>
                  <a:cubicBezTo>
                    <a:pt x="54079" y="158102"/>
                    <a:pt x="54079" y="157783"/>
                    <a:pt x="54079" y="157783"/>
                  </a:cubicBezTo>
                  <a:lnTo>
                    <a:pt x="54079" y="157147"/>
                  </a:lnTo>
                  <a:lnTo>
                    <a:pt x="52807" y="155557"/>
                  </a:lnTo>
                  <a:lnTo>
                    <a:pt x="52488" y="155239"/>
                  </a:lnTo>
                  <a:cubicBezTo>
                    <a:pt x="52170" y="155557"/>
                    <a:pt x="52170" y="155875"/>
                    <a:pt x="52170" y="156193"/>
                  </a:cubicBezTo>
                  <a:close/>
                  <a:moveTo>
                    <a:pt x="54397" y="160010"/>
                  </a:moveTo>
                  <a:lnTo>
                    <a:pt x="53761" y="160010"/>
                  </a:lnTo>
                  <a:lnTo>
                    <a:pt x="53761" y="160646"/>
                  </a:lnTo>
                  <a:cubicBezTo>
                    <a:pt x="54397" y="160965"/>
                    <a:pt x="54715" y="161601"/>
                    <a:pt x="55352" y="161601"/>
                  </a:cubicBezTo>
                  <a:lnTo>
                    <a:pt x="55352" y="161919"/>
                  </a:lnTo>
                  <a:cubicBezTo>
                    <a:pt x="55352" y="161919"/>
                    <a:pt x="55670" y="161919"/>
                    <a:pt x="55670" y="161601"/>
                  </a:cubicBezTo>
                  <a:lnTo>
                    <a:pt x="55352" y="161601"/>
                  </a:lnTo>
                  <a:lnTo>
                    <a:pt x="55352" y="160646"/>
                  </a:lnTo>
                  <a:cubicBezTo>
                    <a:pt x="55033" y="160328"/>
                    <a:pt x="54397" y="160328"/>
                    <a:pt x="54397" y="160010"/>
                  </a:cubicBezTo>
                  <a:close/>
                  <a:moveTo>
                    <a:pt x="55352" y="154920"/>
                  </a:moveTo>
                  <a:cubicBezTo>
                    <a:pt x="55352" y="155239"/>
                    <a:pt x="55670" y="155875"/>
                    <a:pt x="55988" y="156193"/>
                  </a:cubicBezTo>
                  <a:lnTo>
                    <a:pt x="55988" y="157147"/>
                  </a:lnTo>
                  <a:lnTo>
                    <a:pt x="56306" y="157465"/>
                  </a:lnTo>
                  <a:cubicBezTo>
                    <a:pt x="57260" y="157465"/>
                    <a:pt x="58215" y="156193"/>
                    <a:pt x="58215" y="155239"/>
                  </a:cubicBezTo>
                  <a:cubicBezTo>
                    <a:pt x="58215" y="154602"/>
                    <a:pt x="58215" y="153966"/>
                    <a:pt x="59169" y="153648"/>
                  </a:cubicBezTo>
                  <a:lnTo>
                    <a:pt x="59805" y="153648"/>
                  </a:lnTo>
                  <a:cubicBezTo>
                    <a:pt x="60123" y="153648"/>
                    <a:pt x="59805" y="153330"/>
                    <a:pt x="59805" y="153012"/>
                  </a:cubicBezTo>
                  <a:cubicBezTo>
                    <a:pt x="59805" y="153012"/>
                    <a:pt x="59487" y="152694"/>
                    <a:pt x="59487" y="153012"/>
                  </a:cubicBezTo>
                  <a:cubicBezTo>
                    <a:pt x="58851" y="153012"/>
                    <a:pt x="58215" y="153330"/>
                    <a:pt x="57897" y="153648"/>
                  </a:cubicBezTo>
                  <a:lnTo>
                    <a:pt x="56942" y="153648"/>
                  </a:lnTo>
                  <a:lnTo>
                    <a:pt x="56306" y="153330"/>
                  </a:lnTo>
                  <a:cubicBezTo>
                    <a:pt x="55988" y="153330"/>
                    <a:pt x="55988" y="153648"/>
                    <a:pt x="55988" y="153648"/>
                  </a:cubicBezTo>
                  <a:cubicBezTo>
                    <a:pt x="55670" y="153966"/>
                    <a:pt x="55352" y="154284"/>
                    <a:pt x="55352" y="154920"/>
                  </a:cubicBezTo>
                  <a:close/>
                  <a:moveTo>
                    <a:pt x="56624" y="265942"/>
                  </a:moveTo>
                  <a:lnTo>
                    <a:pt x="55988" y="265942"/>
                  </a:lnTo>
                  <a:cubicBezTo>
                    <a:pt x="55988" y="265942"/>
                    <a:pt x="55988" y="265623"/>
                    <a:pt x="55670" y="265623"/>
                  </a:cubicBezTo>
                  <a:lnTo>
                    <a:pt x="56306" y="265623"/>
                  </a:lnTo>
                  <a:lnTo>
                    <a:pt x="56624" y="265942"/>
                  </a:lnTo>
                  <a:close/>
                  <a:moveTo>
                    <a:pt x="57260" y="280257"/>
                  </a:moveTo>
                  <a:lnTo>
                    <a:pt x="56942" y="279938"/>
                  </a:lnTo>
                  <a:cubicBezTo>
                    <a:pt x="56624" y="280257"/>
                    <a:pt x="56624" y="280257"/>
                    <a:pt x="56306" y="280257"/>
                  </a:cubicBezTo>
                  <a:cubicBezTo>
                    <a:pt x="56306" y="280257"/>
                    <a:pt x="56306" y="280575"/>
                    <a:pt x="56624" y="280893"/>
                  </a:cubicBezTo>
                  <a:cubicBezTo>
                    <a:pt x="56624" y="280575"/>
                    <a:pt x="56942" y="280257"/>
                    <a:pt x="57260" y="280257"/>
                  </a:cubicBezTo>
                  <a:close/>
                  <a:moveTo>
                    <a:pt x="61078" y="278030"/>
                  </a:moveTo>
                  <a:cubicBezTo>
                    <a:pt x="61078" y="277712"/>
                    <a:pt x="60760" y="277075"/>
                    <a:pt x="60123" y="276757"/>
                  </a:cubicBezTo>
                  <a:cubicBezTo>
                    <a:pt x="59487" y="277075"/>
                    <a:pt x="59169" y="277712"/>
                    <a:pt x="59169" y="278666"/>
                  </a:cubicBezTo>
                  <a:lnTo>
                    <a:pt x="60760" y="278666"/>
                  </a:lnTo>
                  <a:cubicBezTo>
                    <a:pt x="61078" y="278666"/>
                    <a:pt x="61078" y="278348"/>
                    <a:pt x="61078" y="278030"/>
                  </a:cubicBezTo>
                  <a:close/>
                  <a:moveTo>
                    <a:pt x="59805" y="148558"/>
                  </a:moveTo>
                  <a:cubicBezTo>
                    <a:pt x="59805" y="148558"/>
                    <a:pt x="60123" y="148558"/>
                    <a:pt x="60123" y="148240"/>
                  </a:cubicBezTo>
                  <a:cubicBezTo>
                    <a:pt x="60123" y="147922"/>
                    <a:pt x="60123" y="147604"/>
                    <a:pt x="59805" y="147604"/>
                  </a:cubicBezTo>
                  <a:lnTo>
                    <a:pt x="59805" y="148558"/>
                  </a:lnTo>
                  <a:close/>
                  <a:moveTo>
                    <a:pt x="60441" y="151103"/>
                  </a:moveTo>
                  <a:cubicBezTo>
                    <a:pt x="60123" y="151421"/>
                    <a:pt x="60123" y="151739"/>
                    <a:pt x="59805" y="151739"/>
                  </a:cubicBezTo>
                  <a:cubicBezTo>
                    <a:pt x="59805" y="152057"/>
                    <a:pt x="60123" y="152057"/>
                    <a:pt x="60123" y="152057"/>
                  </a:cubicBezTo>
                  <a:cubicBezTo>
                    <a:pt x="60441" y="152057"/>
                    <a:pt x="60441" y="151739"/>
                    <a:pt x="60760" y="151739"/>
                  </a:cubicBezTo>
                  <a:cubicBezTo>
                    <a:pt x="60760" y="151421"/>
                    <a:pt x="60441" y="151421"/>
                    <a:pt x="60441" y="151103"/>
                  </a:cubicBezTo>
                  <a:close/>
                  <a:moveTo>
                    <a:pt x="61396" y="142832"/>
                  </a:moveTo>
                  <a:cubicBezTo>
                    <a:pt x="61396" y="143150"/>
                    <a:pt x="61396" y="143150"/>
                    <a:pt x="61714" y="143468"/>
                  </a:cubicBezTo>
                  <a:lnTo>
                    <a:pt x="61714" y="143150"/>
                  </a:lnTo>
                  <a:cubicBezTo>
                    <a:pt x="61714" y="142832"/>
                    <a:pt x="61714" y="142832"/>
                    <a:pt x="61396" y="142514"/>
                  </a:cubicBezTo>
                  <a:cubicBezTo>
                    <a:pt x="61396" y="142514"/>
                    <a:pt x="61078" y="142832"/>
                    <a:pt x="61396" y="142832"/>
                  </a:cubicBezTo>
                  <a:close/>
                  <a:moveTo>
                    <a:pt x="61396" y="154602"/>
                  </a:moveTo>
                  <a:lnTo>
                    <a:pt x="62032" y="154602"/>
                  </a:lnTo>
                  <a:cubicBezTo>
                    <a:pt x="62350" y="154602"/>
                    <a:pt x="62668" y="154284"/>
                    <a:pt x="62668" y="153966"/>
                  </a:cubicBezTo>
                  <a:lnTo>
                    <a:pt x="62350" y="153648"/>
                  </a:lnTo>
                  <a:cubicBezTo>
                    <a:pt x="61714" y="153648"/>
                    <a:pt x="61396" y="153966"/>
                    <a:pt x="61396" y="154602"/>
                  </a:cubicBezTo>
                  <a:close/>
                  <a:moveTo>
                    <a:pt x="62032" y="149831"/>
                  </a:moveTo>
                  <a:cubicBezTo>
                    <a:pt x="62032" y="150149"/>
                    <a:pt x="62032" y="150149"/>
                    <a:pt x="61714" y="150467"/>
                  </a:cubicBezTo>
                  <a:cubicBezTo>
                    <a:pt x="61714" y="150467"/>
                    <a:pt x="62032" y="150467"/>
                    <a:pt x="62032" y="150785"/>
                  </a:cubicBezTo>
                  <a:cubicBezTo>
                    <a:pt x="62032" y="150467"/>
                    <a:pt x="62032" y="150467"/>
                    <a:pt x="62350" y="150149"/>
                  </a:cubicBezTo>
                  <a:lnTo>
                    <a:pt x="62032" y="149831"/>
                  </a:lnTo>
                  <a:close/>
                  <a:moveTo>
                    <a:pt x="62986" y="153330"/>
                  </a:moveTo>
                  <a:cubicBezTo>
                    <a:pt x="63304" y="153648"/>
                    <a:pt x="63304" y="153648"/>
                    <a:pt x="63622" y="153648"/>
                  </a:cubicBezTo>
                  <a:cubicBezTo>
                    <a:pt x="63622" y="153648"/>
                    <a:pt x="63941" y="153648"/>
                    <a:pt x="63941" y="153330"/>
                  </a:cubicBezTo>
                  <a:lnTo>
                    <a:pt x="63941" y="153012"/>
                  </a:lnTo>
                  <a:lnTo>
                    <a:pt x="63622" y="152694"/>
                  </a:lnTo>
                  <a:cubicBezTo>
                    <a:pt x="63622" y="152694"/>
                    <a:pt x="63304" y="152694"/>
                    <a:pt x="62986" y="153012"/>
                  </a:cubicBezTo>
                  <a:lnTo>
                    <a:pt x="62986" y="153330"/>
                  </a:lnTo>
                  <a:close/>
                  <a:moveTo>
                    <a:pt x="64577" y="140287"/>
                  </a:moveTo>
                  <a:cubicBezTo>
                    <a:pt x="64577" y="140287"/>
                    <a:pt x="64895" y="140287"/>
                    <a:pt x="64895" y="139969"/>
                  </a:cubicBezTo>
                  <a:lnTo>
                    <a:pt x="64577" y="139969"/>
                  </a:lnTo>
                  <a:lnTo>
                    <a:pt x="64577" y="140287"/>
                  </a:lnTo>
                  <a:close/>
                  <a:moveTo>
                    <a:pt x="64577" y="154284"/>
                  </a:moveTo>
                  <a:lnTo>
                    <a:pt x="64895" y="154284"/>
                  </a:lnTo>
                  <a:cubicBezTo>
                    <a:pt x="65213" y="154284"/>
                    <a:pt x="65213" y="154602"/>
                    <a:pt x="65531" y="154602"/>
                  </a:cubicBezTo>
                  <a:cubicBezTo>
                    <a:pt x="65849" y="154920"/>
                    <a:pt x="65849" y="155239"/>
                    <a:pt x="65849" y="155557"/>
                  </a:cubicBezTo>
                  <a:lnTo>
                    <a:pt x="65849" y="156193"/>
                  </a:lnTo>
                  <a:lnTo>
                    <a:pt x="66485" y="156193"/>
                  </a:lnTo>
                  <a:cubicBezTo>
                    <a:pt x="67122" y="155557"/>
                    <a:pt x="67122" y="155239"/>
                    <a:pt x="67122" y="154920"/>
                  </a:cubicBezTo>
                  <a:cubicBezTo>
                    <a:pt x="67122" y="154602"/>
                    <a:pt x="67122" y="154284"/>
                    <a:pt x="66803" y="153966"/>
                  </a:cubicBezTo>
                  <a:cubicBezTo>
                    <a:pt x="66803" y="153966"/>
                    <a:pt x="66485" y="153966"/>
                    <a:pt x="65849" y="153648"/>
                  </a:cubicBezTo>
                  <a:cubicBezTo>
                    <a:pt x="65849" y="153648"/>
                    <a:pt x="65213" y="153966"/>
                    <a:pt x="64895" y="154284"/>
                  </a:cubicBezTo>
                  <a:lnTo>
                    <a:pt x="64895" y="153648"/>
                  </a:lnTo>
                  <a:lnTo>
                    <a:pt x="64577" y="153648"/>
                  </a:lnTo>
                  <a:lnTo>
                    <a:pt x="64577" y="154284"/>
                  </a:lnTo>
                  <a:close/>
                  <a:moveTo>
                    <a:pt x="64895" y="139969"/>
                  </a:moveTo>
                  <a:cubicBezTo>
                    <a:pt x="65213" y="139969"/>
                    <a:pt x="65213" y="139969"/>
                    <a:pt x="65213" y="139651"/>
                  </a:cubicBezTo>
                  <a:lnTo>
                    <a:pt x="64895" y="139969"/>
                  </a:lnTo>
                  <a:close/>
                  <a:moveTo>
                    <a:pt x="64895" y="151421"/>
                  </a:moveTo>
                  <a:lnTo>
                    <a:pt x="64895" y="151739"/>
                  </a:lnTo>
                  <a:lnTo>
                    <a:pt x="65213" y="151739"/>
                  </a:lnTo>
                  <a:cubicBezTo>
                    <a:pt x="65531" y="151421"/>
                    <a:pt x="65531" y="151103"/>
                    <a:pt x="65531" y="150785"/>
                  </a:cubicBezTo>
                  <a:lnTo>
                    <a:pt x="65531" y="150467"/>
                  </a:lnTo>
                  <a:lnTo>
                    <a:pt x="65213" y="150149"/>
                  </a:lnTo>
                  <a:lnTo>
                    <a:pt x="65213" y="150467"/>
                  </a:lnTo>
                  <a:cubicBezTo>
                    <a:pt x="64895" y="150467"/>
                    <a:pt x="64895" y="150785"/>
                    <a:pt x="64895" y="151421"/>
                  </a:cubicBezTo>
                  <a:close/>
                  <a:moveTo>
                    <a:pt x="66803" y="141878"/>
                  </a:moveTo>
                  <a:lnTo>
                    <a:pt x="66485" y="141878"/>
                  </a:lnTo>
                  <a:lnTo>
                    <a:pt x="66485" y="141560"/>
                  </a:lnTo>
                  <a:cubicBezTo>
                    <a:pt x="66167" y="141560"/>
                    <a:pt x="65849" y="141878"/>
                    <a:pt x="65531" y="142196"/>
                  </a:cubicBezTo>
                  <a:cubicBezTo>
                    <a:pt x="65531" y="142196"/>
                    <a:pt x="65213" y="142832"/>
                    <a:pt x="65213" y="143150"/>
                  </a:cubicBezTo>
                  <a:lnTo>
                    <a:pt x="66167" y="143150"/>
                  </a:lnTo>
                  <a:cubicBezTo>
                    <a:pt x="66803" y="142832"/>
                    <a:pt x="66803" y="142196"/>
                    <a:pt x="66803" y="141878"/>
                  </a:cubicBezTo>
                  <a:close/>
                  <a:moveTo>
                    <a:pt x="65849" y="138697"/>
                  </a:moveTo>
                  <a:cubicBezTo>
                    <a:pt x="66803" y="138697"/>
                    <a:pt x="67122" y="138379"/>
                    <a:pt x="67440" y="137742"/>
                  </a:cubicBezTo>
                  <a:cubicBezTo>
                    <a:pt x="66803" y="137742"/>
                    <a:pt x="66167" y="137742"/>
                    <a:pt x="65849" y="138697"/>
                  </a:cubicBezTo>
                  <a:close/>
                  <a:moveTo>
                    <a:pt x="67440" y="137742"/>
                  </a:moveTo>
                  <a:cubicBezTo>
                    <a:pt x="68076" y="137106"/>
                    <a:pt x="69030" y="136788"/>
                    <a:pt x="69667" y="136788"/>
                  </a:cubicBezTo>
                  <a:lnTo>
                    <a:pt x="69349" y="136470"/>
                  </a:lnTo>
                  <a:cubicBezTo>
                    <a:pt x="69349" y="136152"/>
                    <a:pt x="69030" y="136152"/>
                    <a:pt x="68712" y="136152"/>
                  </a:cubicBezTo>
                  <a:cubicBezTo>
                    <a:pt x="68712" y="136152"/>
                    <a:pt x="68394" y="136470"/>
                    <a:pt x="68076" y="136470"/>
                  </a:cubicBezTo>
                  <a:cubicBezTo>
                    <a:pt x="67440" y="136788"/>
                    <a:pt x="67440" y="136788"/>
                    <a:pt x="67440" y="137742"/>
                  </a:cubicBezTo>
                  <a:close/>
                  <a:moveTo>
                    <a:pt x="69985" y="271349"/>
                  </a:moveTo>
                  <a:lnTo>
                    <a:pt x="69667" y="271667"/>
                  </a:lnTo>
                  <a:lnTo>
                    <a:pt x="69985" y="271667"/>
                  </a:lnTo>
                  <a:lnTo>
                    <a:pt x="70621" y="271349"/>
                  </a:lnTo>
                  <a:lnTo>
                    <a:pt x="69985" y="271349"/>
                  </a:lnTo>
                  <a:close/>
                  <a:moveTo>
                    <a:pt x="71575" y="136152"/>
                  </a:moveTo>
                  <a:cubicBezTo>
                    <a:pt x="71575" y="136470"/>
                    <a:pt x="71575" y="136470"/>
                    <a:pt x="71894" y="136788"/>
                  </a:cubicBezTo>
                  <a:lnTo>
                    <a:pt x="72530" y="136788"/>
                  </a:lnTo>
                  <a:cubicBezTo>
                    <a:pt x="73166" y="137424"/>
                    <a:pt x="74120" y="137424"/>
                    <a:pt x="74438" y="138061"/>
                  </a:cubicBezTo>
                  <a:cubicBezTo>
                    <a:pt x="75393" y="138061"/>
                    <a:pt x="75393" y="138061"/>
                    <a:pt x="76029" y="137424"/>
                  </a:cubicBezTo>
                  <a:cubicBezTo>
                    <a:pt x="76347" y="137106"/>
                    <a:pt x="76665" y="137106"/>
                    <a:pt x="76665" y="136788"/>
                  </a:cubicBezTo>
                  <a:lnTo>
                    <a:pt x="76347" y="136470"/>
                  </a:lnTo>
                  <a:cubicBezTo>
                    <a:pt x="75711" y="136152"/>
                    <a:pt x="75393" y="135516"/>
                    <a:pt x="75075" y="135516"/>
                  </a:cubicBezTo>
                  <a:lnTo>
                    <a:pt x="74438" y="135198"/>
                  </a:lnTo>
                  <a:cubicBezTo>
                    <a:pt x="73802" y="135198"/>
                    <a:pt x="73166" y="135516"/>
                    <a:pt x="72530" y="135516"/>
                  </a:cubicBezTo>
                  <a:lnTo>
                    <a:pt x="71894" y="135516"/>
                  </a:lnTo>
                  <a:cubicBezTo>
                    <a:pt x="71575" y="135516"/>
                    <a:pt x="71575" y="135516"/>
                    <a:pt x="71575" y="135834"/>
                  </a:cubicBezTo>
                  <a:lnTo>
                    <a:pt x="71575" y="136152"/>
                  </a:lnTo>
                  <a:close/>
                  <a:moveTo>
                    <a:pt x="71894" y="133289"/>
                  </a:moveTo>
                  <a:cubicBezTo>
                    <a:pt x="72212" y="133289"/>
                    <a:pt x="72212" y="133607"/>
                    <a:pt x="72530" y="133607"/>
                  </a:cubicBezTo>
                  <a:lnTo>
                    <a:pt x="73166" y="132971"/>
                  </a:lnTo>
                  <a:cubicBezTo>
                    <a:pt x="73166" y="132971"/>
                    <a:pt x="73166" y="132653"/>
                    <a:pt x="72848" y="132653"/>
                  </a:cubicBezTo>
                  <a:lnTo>
                    <a:pt x="72530" y="132653"/>
                  </a:lnTo>
                  <a:cubicBezTo>
                    <a:pt x="72212" y="132653"/>
                    <a:pt x="72212" y="132653"/>
                    <a:pt x="71894" y="132971"/>
                  </a:cubicBezTo>
                  <a:lnTo>
                    <a:pt x="71894" y="133289"/>
                  </a:lnTo>
                  <a:close/>
                  <a:moveTo>
                    <a:pt x="77301" y="132016"/>
                  </a:moveTo>
                  <a:cubicBezTo>
                    <a:pt x="77301" y="132335"/>
                    <a:pt x="77619" y="132335"/>
                    <a:pt x="77937" y="132653"/>
                  </a:cubicBezTo>
                  <a:lnTo>
                    <a:pt x="78256" y="132971"/>
                  </a:lnTo>
                  <a:cubicBezTo>
                    <a:pt x="78256" y="132335"/>
                    <a:pt x="78574" y="131698"/>
                    <a:pt x="78892" y="131380"/>
                  </a:cubicBezTo>
                  <a:lnTo>
                    <a:pt x="78892" y="131062"/>
                  </a:lnTo>
                  <a:lnTo>
                    <a:pt x="78256" y="131062"/>
                  </a:lnTo>
                  <a:cubicBezTo>
                    <a:pt x="77619" y="131380"/>
                    <a:pt x="77301" y="131698"/>
                    <a:pt x="77301" y="132016"/>
                  </a:cubicBezTo>
                  <a:close/>
                  <a:moveTo>
                    <a:pt x="79210" y="137106"/>
                  </a:moveTo>
                  <a:cubicBezTo>
                    <a:pt x="78892" y="137106"/>
                    <a:pt x="78574" y="137424"/>
                    <a:pt x="78574" y="137742"/>
                  </a:cubicBezTo>
                  <a:cubicBezTo>
                    <a:pt x="78256" y="138061"/>
                    <a:pt x="78574" y="138061"/>
                    <a:pt x="78574" y="138061"/>
                  </a:cubicBezTo>
                  <a:cubicBezTo>
                    <a:pt x="78574" y="138061"/>
                    <a:pt x="78892" y="138061"/>
                    <a:pt x="79210" y="137742"/>
                  </a:cubicBezTo>
                  <a:lnTo>
                    <a:pt x="79528" y="137742"/>
                  </a:lnTo>
                  <a:lnTo>
                    <a:pt x="79846" y="138061"/>
                  </a:lnTo>
                  <a:cubicBezTo>
                    <a:pt x="79846" y="137742"/>
                    <a:pt x="79846" y="137424"/>
                    <a:pt x="79528" y="137106"/>
                  </a:cubicBezTo>
                  <a:lnTo>
                    <a:pt x="79210" y="137106"/>
                  </a:lnTo>
                  <a:close/>
                  <a:moveTo>
                    <a:pt x="82391" y="132653"/>
                  </a:moveTo>
                  <a:lnTo>
                    <a:pt x="82709" y="132335"/>
                  </a:lnTo>
                  <a:cubicBezTo>
                    <a:pt x="82709" y="131698"/>
                    <a:pt x="83346" y="131380"/>
                    <a:pt x="83346" y="130744"/>
                  </a:cubicBezTo>
                  <a:cubicBezTo>
                    <a:pt x="83982" y="130108"/>
                    <a:pt x="84618" y="129790"/>
                    <a:pt x="85254" y="129471"/>
                  </a:cubicBezTo>
                  <a:cubicBezTo>
                    <a:pt x="86527" y="129471"/>
                    <a:pt x="87481" y="128517"/>
                    <a:pt x="88117" y="127245"/>
                  </a:cubicBezTo>
                  <a:cubicBezTo>
                    <a:pt x="86845" y="127563"/>
                    <a:pt x="85572" y="127881"/>
                    <a:pt x="85254" y="128835"/>
                  </a:cubicBezTo>
                  <a:cubicBezTo>
                    <a:pt x="84936" y="129153"/>
                    <a:pt x="84618" y="129153"/>
                    <a:pt x="84618" y="129153"/>
                  </a:cubicBezTo>
                  <a:cubicBezTo>
                    <a:pt x="83664" y="129153"/>
                    <a:pt x="83346" y="129471"/>
                    <a:pt x="82709" y="130426"/>
                  </a:cubicBezTo>
                  <a:cubicBezTo>
                    <a:pt x="82709" y="130744"/>
                    <a:pt x="82391" y="131380"/>
                    <a:pt x="82073" y="132016"/>
                  </a:cubicBezTo>
                  <a:lnTo>
                    <a:pt x="82391" y="132653"/>
                  </a:lnTo>
                  <a:close/>
                  <a:moveTo>
                    <a:pt x="84300" y="132971"/>
                  </a:moveTo>
                  <a:cubicBezTo>
                    <a:pt x="83664" y="132971"/>
                    <a:pt x="83664" y="132971"/>
                    <a:pt x="83346" y="133607"/>
                  </a:cubicBezTo>
                  <a:cubicBezTo>
                    <a:pt x="83346" y="133925"/>
                    <a:pt x="83346" y="133925"/>
                    <a:pt x="83664" y="134243"/>
                  </a:cubicBezTo>
                  <a:cubicBezTo>
                    <a:pt x="83982" y="134243"/>
                    <a:pt x="84618" y="133925"/>
                    <a:pt x="84618" y="133289"/>
                  </a:cubicBezTo>
                  <a:cubicBezTo>
                    <a:pt x="84618" y="133289"/>
                    <a:pt x="84618" y="132971"/>
                    <a:pt x="84300" y="132971"/>
                  </a:cubicBezTo>
                  <a:close/>
                  <a:moveTo>
                    <a:pt x="87799" y="253853"/>
                  </a:moveTo>
                  <a:cubicBezTo>
                    <a:pt x="87799" y="253535"/>
                    <a:pt x="87481" y="253535"/>
                    <a:pt x="87481" y="253217"/>
                  </a:cubicBezTo>
                  <a:lnTo>
                    <a:pt x="86527" y="253217"/>
                  </a:lnTo>
                  <a:cubicBezTo>
                    <a:pt x="86209" y="253853"/>
                    <a:pt x="86209" y="254489"/>
                    <a:pt x="86209" y="254808"/>
                  </a:cubicBezTo>
                  <a:cubicBezTo>
                    <a:pt x="86209" y="255126"/>
                    <a:pt x="86209" y="255444"/>
                    <a:pt x="86209" y="255762"/>
                  </a:cubicBezTo>
                  <a:lnTo>
                    <a:pt x="86845" y="255762"/>
                  </a:lnTo>
                  <a:cubicBezTo>
                    <a:pt x="87799" y="255762"/>
                    <a:pt x="87799" y="254808"/>
                    <a:pt x="87799" y="253853"/>
                  </a:cubicBezTo>
                  <a:close/>
                  <a:moveTo>
                    <a:pt x="89071" y="250036"/>
                  </a:moveTo>
                  <a:cubicBezTo>
                    <a:pt x="88753" y="250036"/>
                    <a:pt x="88435" y="250354"/>
                    <a:pt x="88435" y="250354"/>
                  </a:cubicBezTo>
                  <a:cubicBezTo>
                    <a:pt x="88117" y="250354"/>
                    <a:pt x="88117" y="250672"/>
                    <a:pt x="88117" y="250672"/>
                  </a:cubicBezTo>
                  <a:lnTo>
                    <a:pt x="88435" y="250672"/>
                  </a:lnTo>
                  <a:cubicBezTo>
                    <a:pt x="88435" y="250672"/>
                    <a:pt x="88753" y="250672"/>
                    <a:pt x="88753" y="250354"/>
                  </a:cubicBezTo>
                  <a:cubicBezTo>
                    <a:pt x="89071" y="250354"/>
                    <a:pt x="89071" y="250354"/>
                    <a:pt x="89071" y="250036"/>
                  </a:cubicBezTo>
                  <a:close/>
                  <a:moveTo>
                    <a:pt x="90344" y="125654"/>
                  </a:moveTo>
                  <a:cubicBezTo>
                    <a:pt x="91298" y="125018"/>
                    <a:pt x="91934" y="124700"/>
                    <a:pt x="92252" y="124700"/>
                  </a:cubicBezTo>
                  <a:cubicBezTo>
                    <a:pt x="92889" y="124700"/>
                    <a:pt x="93207" y="125336"/>
                    <a:pt x="93843" y="126609"/>
                  </a:cubicBezTo>
                  <a:lnTo>
                    <a:pt x="93843" y="126927"/>
                  </a:lnTo>
                  <a:cubicBezTo>
                    <a:pt x="93207" y="126609"/>
                    <a:pt x="92889" y="126609"/>
                    <a:pt x="92571" y="126609"/>
                  </a:cubicBezTo>
                  <a:cubicBezTo>
                    <a:pt x="92252" y="126927"/>
                    <a:pt x="91934" y="126927"/>
                    <a:pt x="91934" y="127563"/>
                  </a:cubicBezTo>
                  <a:lnTo>
                    <a:pt x="91934" y="128199"/>
                  </a:lnTo>
                  <a:cubicBezTo>
                    <a:pt x="92252" y="128199"/>
                    <a:pt x="92571" y="128835"/>
                    <a:pt x="92571" y="129153"/>
                  </a:cubicBezTo>
                  <a:cubicBezTo>
                    <a:pt x="92571" y="129471"/>
                    <a:pt x="92889" y="129471"/>
                    <a:pt x="92889" y="129471"/>
                  </a:cubicBezTo>
                  <a:lnTo>
                    <a:pt x="93207" y="129153"/>
                  </a:lnTo>
                  <a:cubicBezTo>
                    <a:pt x="93525" y="129153"/>
                    <a:pt x="93843" y="128517"/>
                    <a:pt x="94479" y="128199"/>
                  </a:cubicBezTo>
                  <a:cubicBezTo>
                    <a:pt x="95115" y="127881"/>
                    <a:pt x="95434" y="127245"/>
                    <a:pt x="95115" y="127245"/>
                  </a:cubicBezTo>
                  <a:cubicBezTo>
                    <a:pt x="94797" y="126927"/>
                    <a:pt x="94797" y="126609"/>
                    <a:pt x="94797" y="126290"/>
                  </a:cubicBezTo>
                  <a:cubicBezTo>
                    <a:pt x="94797" y="125972"/>
                    <a:pt x="94797" y="125654"/>
                    <a:pt x="95115" y="125336"/>
                  </a:cubicBezTo>
                  <a:cubicBezTo>
                    <a:pt x="95434" y="125018"/>
                    <a:pt x="95752" y="125018"/>
                    <a:pt x="95752" y="124700"/>
                  </a:cubicBezTo>
                  <a:cubicBezTo>
                    <a:pt x="95752" y="124382"/>
                    <a:pt x="95434" y="124064"/>
                    <a:pt x="95434" y="124064"/>
                  </a:cubicBezTo>
                  <a:cubicBezTo>
                    <a:pt x="95115" y="124064"/>
                    <a:pt x="95115" y="123746"/>
                    <a:pt x="95115" y="123746"/>
                  </a:cubicBezTo>
                  <a:cubicBezTo>
                    <a:pt x="95115" y="123427"/>
                    <a:pt x="95434" y="123427"/>
                    <a:pt x="95752" y="123427"/>
                  </a:cubicBezTo>
                  <a:cubicBezTo>
                    <a:pt x="95752" y="122473"/>
                    <a:pt x="96388" y="122155"/>
                    <a:pt x="97343" y="121519"/>
                  </a:cubicBezTo>
                  <a:lnTo>
                    <a:pt x="98297" y="120882"/>
                  </a:lnTo>
                  <a:lnTo>
                    <a:pt x="98297" y="122155"/>
                  </a:lnTo>
                  <a:cubicBezTo>
                    <a:pt x="99251" y="121837"/>
                    <a:pt x="99251" y="121201"/>
                    <a:pt x="99887" y="120882"/>
                  </a:cubicBezTo>
                  <a:cubicBezTo>
                    <a:pt x="100205" y="120564"/>
                    <a:pt x="99251" y="120246"/>
                    <a:pt x="98933" y="119928"/>
                  </a:cubicBezTo>
                  <a:cubicBezTo>
                    <a:pt x="98933" y="119610"/>
                    <a:pt x="98615" y="118974"/>
                    <a:pt x="98297" y="118656"/>
                  </a:cubicBezTo>
                  <a:lnTo>
                    <a:pt x="97661" y="118656"/>
                  </a:lnTo>
                  <a:cubicBezTo>
                    <a:pt x="96706" y="118974"/>
                    <a:pt x="95752" y="119928"/>
                    <a:pt x="94797" y="119928"/>
                  </a:cubicBezTo>
                  <a:lnTo>
                    <a:pt x="94479" y="119928"/>
                  </a:lnTo>
                  <a:cubicBezTo>
                    <a:pt x="94161" y="120564"/>
                    <a:pt x="93525" y="120882"/>
                    <a:pt x="93207" y="121201"/>
                  </a:cubicBezTo>
                  <a:cubicBezTo>
                    <a:pt x="93207" y="121519"/>
                    <a:pt x="92889" y="122155"/>
                    <a:pt x="92571" y="122155"/>
                  </a:cubicBezTo>
                  <a:cubicBezTo>
                    <a:pt x="91616" y="123109"/>
                    <a:pt x="90980" y="124064"/>
                    <a:pt x="90026" y="124700"/>
                  </a:cubicBezTo>
                  <a:lnTo>
                    <a:pt x="90026" y="125654"/>
                  </a:lnTo>
                  <a:lnTo>
                    <a:pt x="90344" y="125654"/>
                  </a:lnTo>
                  <a:close/>
                  <a:moveTo>
                    <a:pt x="90980" y="245582"/>
                  </a:moveTo>
                  <a:lnTo>
                    <a:pt x="90662" y="244946"/>
                  </a:lnTo>
                  <a:cubicBezTo>
                    <a:pt x="90662" y="245264"/>
                    <a:pt x="90662" y="245264"/>
                    <a:pt x="90344" y="245264"/>
                  </a:cubicBezTo>
                  <a:lnTo>
                    <a:pt x="90662" y="245582"/>
                  </a:lnTo>
                  <a:lnTo>
                    <a:pt x="90980" y="245582"/>
                  </a:lnTo>
                  <a:close/>
                  <a:moveTo>
                    <a:pt x="90662" y="247809"/>
                  </a:moveTo>
                  <a:cubicBezTo>
                    <a:pt x="90662" y="247809"/>
                    <a:pt x="90344" y="247491"/>
                    <a:pt x="90344" y="247809"/>
                  </a:cubicBezTo>
                  <a:lnTo>
                    <a:pt x="90662" y="247809"/>
                  </a:lnTo>
                  <a:close/>
                  <a:moveTo>
                    <a:pt x="97979" y="241765"/>
                  </a:moveTo>
                  <a:cubicBezTo>
                    <a:pt x="97979" y="241447"/>
                    <a:pt x="97979" y="241129"/>
                    <a:pt x="97661" y="241129"/>
                  </a:cubicBezTo>
                  <a:cubicBezTo>
                    <a:pt x="97024" y="240493"/>
                    <a:pt x="96706" y="240174"/>
                    <a:pt x="96388" y="240174"/>
                  </a:cubicBezTo>
                  <a:cubicBezTo>
                    <a:pt x="96070" y="240174"/>
                    <a:pt x="95752" y="239856"/>
                    <a:pt x="95752" y="239856"/>
                  </a:cubicBezTo>
                  <a:lnTo>
                    <a:pt x="95434" y="240174"/>
                  </a:lnTo>
                  <a:cubicBezTo>
                    <a:pt x="94161" y="240493"/>
                    <a:pt x="93207" y="240811"/>
                    <a:pt x="92889" y="242401"/>
                  </a:cubicBezTo>
                  <a:cubicBezTo>
                    <a:pt x="92889" y="242719"/>
                    <a:pt x="92252" y="243037"/>
                    <a:pt x="92252" y="243356"/>
                  </a:cubicBezTo>
                  <a:cubicBezTo>
                    <a:pt x="91934" y="243674"/>
                    <a:pt x="91934" y="243674"/>
                    <a:pt x="91934" y="243992"/>
                  </a:cubicBezTo>
                  <a:lnTo>
                    <a:pt x="92252" y="244310"/>
                  </a:lnTo>
                  <a:lnTo>
                    <a:pt x="92889" y="244310"/>
                  </a:lnTo>
                  <a:cubicBezTo>
                    <a:pt x="93525" y="244310"/>
                    <a:pt x="93843" y="243992"/>
                    <a:pt x="93843" y="243356"/>
                  </a:cubicBezTo>
                  <a:lnTo>
                    <a:pt x="93843" y="242719"/>
                  </a:lnTo>
                  <a:cubicBezTo>
                    <a:pt x="94161" y="242083"/>
                    <a:pt x="94161" y="241765"/>
                    <a:pt x="94797" y="241765"/>
                  </a:cubicBezTo>
                  <a:cubicBezTo>
                    <a:pt x="95434" y="242083"/>
                    <a:pt x="96070" y="242401"/>
                    <a:pt x="96706" y="242401"/>
                  </a:cubicBezTo>
                  <a:cubicBezTo>
                    <a:pt x="97024" y="242401"/>
                    <a:pt x="97979" y="242083"/>
                    <a:pt x="97979" y="241765"/>
                  </a:cubicBezTo>
                  <a:close/>
                  <a:moveTo>
                    <a:pt x="96070" y="112930"/>
                  </a:moveTo>
                  <a:cubicBezTo>
                    <a:pt x="96070" y="112612"/>
                    <a:pt x="96070" y="112930"/>
                    <a:pt x="96388" y="112930"/>
                  </a:cubicBezTo>
                  <a:lnTo>
                    <a:pt x="96070" y="113248"/>
                  </a:lnTo>
                  <a:lnTo>
                    <a:pt x="96070" y="112930"/>
                  </a:lnTo>
                  <a:close/>
                  <a:moveTo>
                    <a:pt x="97979" y="238584"/>
                  </a:moveTo>
                  <a:lnTo>
                    <a:pt x="97661" y="238266"/>
                  </a:lnTo>
                  <a:lnTo>
                    <a:pt x="97343" y="238266"/>
                  </a:lnTo>
                  <a:cubicBezTo>
                    <a:pt x="97024" y="238266"/>
                    <a:pt x="97024" y="238584"/>
                    <a:pt x="97024" y="238902"/>
                  </a:cubicBezTo>
                  <a:lnTo>
                    <a:pt x="97661" y="239538"/>
                  </a:lnTo>
                  <a:lnTo>
                    <a:pt x="97661" y="239220"/>
                  </a:lnTo>
                  <a:lnTo>
                    <a:pt x="97979" y="239220"/>
                  </a:lnTo>
                  <a:lnTo>
                    <a:pt x="97979" y="238584"/>
                  </a:lnTo>
                  <a:close/>
                  <a:moveTo>
                    <a:pt x="99251" y="115793"/>
                  </a:moveTo>
                  <a:cubicBezTo>
                    <a:pt x="99251" y="115793"/>
                    <a:pt x="99251" y="115475"/>
                    <a:pt x="99569" y="115475"/>
                  </a:cubicBezTo>
                  <a:cubicBezTo>
                    <a:pt x="99251" y="115475"/>
                    <a:pt x="99251" y="115156"/>
                    <a:pt x="99251" y="115156"/>
                  </a:cubicBezTo>
                  <a:cubicBezTo>
                    <a:pt x="98933" y="115156"/>
                    <a:pt x="98933" y="115475"/>
                    <a:pt x="98615" y="115475"/>
                  </a:cubicBezTo>
                  <a:lnTo>
                    <a:pt x="99251" y="115793"/>
                  </a:lnTo>
                  <a:close/>
                  <a:moveTo>
                    <a:pt x="99887" y="118019"/>
                  </a:moveTo>
                  <a:cubicBezTo>
                    <a:pt x="101160" y="117701"/>
                    <a:pt x="102432" y="116429"/>
                    <a:pt x="103068" y="115156"/>
                  </a:cubicBezTo>
                  <a:lnTo>
                    <a:pt x="102432" y="115156"/>
                  </a:lnTo>
                  <a:cubicBezTo>
                    <a:pt x="101478" y="116111"/>
                    <a:pt x="100205" y="116747"/>
                    <a:pt x="98933" y="118019"/>
                  </a:cubicBezTo>
                  <a:lnTo>
                    <a:pt x="99887" y="118019"/>
                  </a:lnTo>
                  <a:close/>
                  <a:moveTo>
                    <a:pt x="99887" y="233812"/>
                  </a:moveTo>
                  <a:cubicBezTo>
                    <a:pt x="100205" y="233812"/>
                    <a:pt x="100205" y="233812"/>
                    <a:pt x="100524" y="233494"/>
                  </a:cubicBezTo>
                  <a:lnTo>
                    <a:pt x="100205" y="233494"/>
                  </a:lnTo>
                  <a:lnTo>
                    <a:pt x="100205" y="233176"/>
                  </a:lnTo>
                  <a:cubicBezTo>
                    <a:pt x="99887" y="233494"/>
                    <a:pt x="99887" y="233812"/>
                    <a:pt x="99569" y="233812"/>
                  </a:cubicBezTo>
                  <a:lnTo>
                    <a:pt x="99887" y="233812"/>
                  </a:lnTo>
                  <a:close/>
                  <a:moveTo>
                    <a:pt x="101796" y="236039"/>
                  </a:moveTo>
                  <a:lnTo>
                    <a:pt x="99569" y="235085"/>
                  </a:lnTo>
                  <a:lnTo>
                    <a:pt x="99569" y="235403"/>
                  </a:lnTo>
                  <a:cubicBezTo>
                    <a:pt x="99887" y="236039"/>
                    <a:pt x="100524" y="236357"/>
                    <a:pt x="100524" y="236993"/>
                  </a:cubicBezTo>
                  <a:cubicBezTo>
                    <a:pt x="100524" y="236993"/>
                    <a:pt x="101160" y="236993"/>
                    <a:pt x="101478" y="236675"/>
                  </a:cubicBezTo>
                  <a:cubicBezTo>
                    <a:pt x="101796" y="236675"/>
                    <a:pt x="101796" y="236039"/>
                    <a:pt x="101796" y="236039"/>
                  </a:cubicBezTo>
                  <a:close/>
                  <a:moveTo>
                    <a:pt x="100842" y="112293"/>
                  </a:moveTo>
                  <a:cubicBezTo>
                    <a:pt x="101160" y="112612"/>
                    <a:pt x="101478" y="112930"/>
                    <a:pt x="101478" y="113248"/>
                  </a:cubicBezTo>
                  <a:lnTo>
                    <a:pt x="101478" y="113566"/>
                  </a:lnTo>
                  <a:cubicBezTo>
                    <a:pt x="101478" y="113566"/>
                    <a:pt x="101796" y="113566"/>
                    <a:pt x="102114" y="113884"/>
                  </a:cubicBezTo>
                  <a:lnTo>
                    <a:pt x="102432" y="113566"/>
                  </a:lnTo>
                  <a:cubicBezTo>
                    <a:pt x="103068" y="113248"/>
                    <a:pt x="103068" y="112930"/>
                    <a:pt x="103705" y="112293"/>
                  </a:cubicBezTo>
                  <a:lnTo>
                    <a:pt x="103068" y="112293"/>
                  </a:lnTo>
                  <a:cubicBezTo>
                    <a:pt x="102750" y="112293"/>
                    <a:pt x="102432" y="111975"/>
                    <a:pt x="101796" y="111657"/>
                  </a:cubicBezTo>
                  <a:lnTo>
                    <a:pt x="101796" y="111021"/>
                  </a:lnTo>
                  <a:cubicBezTo>
                    <a:pt x="101796" y="111021"/>
                    <a:pt x="101478" y="111021"/>
                    <a:pt x="101160" y="111339"/>
                  </a:cubicBezTo>
                  <a:cubicBezTo>
                    <a:pt x="100842" y="111339"/>
                    <a:pt x="100842" y="111657"/>
                    <a:pt x="100205" y="111657"/>
                  </a:cubicBezTo>
                  <a:cubicBezTo>
                    <a:pt x="100205" y="111975"/>
                    <a:pt x="100205" y="112293"/>
                    <a:pt x="100842" y="112293"/>
                  </a:cubicBezTo>
                  <a:close/>
                  <a:moveTo>
                    <a:pt x="102750" y="109112"/>
                  </a:moveTo>
                  <a:cubicBezTo>
                    <a:pt x="102750" y="109112"/>
                    <a:pt x="102750" y="109430"/>
                    <a:pt x="103068" y="109430"/>
                  </a:cubicBezTo>
                  <a:cubicBezTo>
                    <a:pt x="103705" y="109430"/>
                    <a:pt x="103705" y="109430"/>
                    <a:pt x="104341" y="109112"/>
                  </a:cubicBezTo>
                  <a:cubicBezTo>
                    <a:pt x="104341" y="109112"/>
                    <a:pt x="104341" y="108794"/>
                    <a:pt x="104023" y="108794"/>
                  </a:cubicBezTo>
                  <a:lnTo>
                    <a:pt x="103068" y="108794"/>
                  </a:lnTo>
                  <a:cubicBezTo>
                    <a:pt x="102750" y="108794"/>
                    <a:pt x="102750" y="109112"/>
                    <a:pt x="102750" y="109112"/>
                  </a:cubicBezTo>
                  <a:close/>
                  <a:moveTo>
                    <a:pt x="104023" y="114202"/>
                  </a:moveTo>
                  <a:cubicBezTo>
                    <a:pt x="104023" y="113884"/>
                    <a:pt x="103705" y="114202"/>
                    <a:pt x="103705" y="114202"/>
                  </a:cubicBezTo>
                  <a:cubicBezTo>
                    <a:pt x="103386" y="114202"/>
                    <a:pt x="103386" y="114838"/>
                    <a:pt x="103068" y="115156"/>
                  </a:cubicBezTo>
                  <a:cubicBezTo>
                    <a:pt x="103705" y="115156"/>
                    <a:pt x="104023" y="115156"/>
                    <a:pt x="104341" y="114520"/>
                  </a:cubicBezTo>
                  <a:cubicBezTo>
                    <a:pt x="104341" y="114202"/>
                    <a:pt x="104341" y="114202"/>
                    <a:pt x="104023" y="114202"/>
                  </a:cubicBezTo>
                  <a:close/>
                  <a:moveTo>
                    <a:pt x="105295" y="111339"/>
                  </a:moveTo>
                  <a:lnTo>
                    <a:pt x="105613" y="111339"/>
                  </a:lnTo>
                  <a:cubicBezTo>
                    <a:pt x="105931" y="111339"/>
                    <a:pt x="106249" y="111339"/>
                    <a:pt x="106567" y="111021"/>
                  </a:cubicBezTo>
                  <a:cubicBezTo>
                    <a:pt x="106249" y="110703"/>
                    <a:pt x="105931" y="110385"/>
                    <a:pt x="105931" y="110703"/>
                  </a:cubicBezTo>
                  <a:cubicBezTo>
                    <a:pt x="105613" y="110703"/>
                    <a:pt x="105613" y="111021"/>
                    <a:pt x="105295" y="111339"/>
                  </a:cubicBezTo>
                  <a:close/>
                  <a:moveTo>
                    <a:pt x="105931" y="113566"/>
                  </a:moveTo>
                  <a:cubicBezTo>
                    <a:pt x="105931" y="113566"/>
                    <a:pt x="105931" y="113248"/>
                    <a:pt x="106249" y="113248"/>
                  </a:cubicBezTo>
                  <a:cubicBezTo>
                    <a:pt x="106249" y="113248"/>
                    <a:pt x="106567" y="113566"/>
                    <a:pt x="106886" y="113566"/>
                  </a:cubicBezTo>
                  <a:cubicBezTo>
                    <a:pt x="106567" y="113248"/>
                    <a:pt x="106567" y="112930"/>
                    <a:pt x="106567" y="112930"/>
                  </a:cubicBezTo>
                  <a:cubicBezTo>
                    <a:pt x="106249" y="112930"/>
                    <a:pt x="106249" y="113248"/>
                    <a:pt x="105931" y="113248"/>
                  </a:cubicBezTo>
                  <a:lnTo>
                    <a:pt x="105931" y="113566"/>
                  </a:lnTo>
                  <a:close/>
                  <a:moveTo>
                    <a:pt x="106567" y="117065"/>
                  </a:moveTo>
                  <a:cubicBezTo>
                    <a:pt x="107204" y="117065"/>
                    <a:pt x="107840" y="116747"/>
                    <a:pt x="108158" y="116429"/>
                  </a:cubicBezTo>
                  <a:cubicBezTo>
                    <a:pt x="108158" y="116429"/>
                    <a:pt x="108158" y="116111"/>
                    <a:pt x="107840" y="115793"/>
                  </a:cubicBezTo>
                  <a:cubicBezTo>
                    <a:pt x="107204" y="115793"/>
                    <a:pt x="106886" y="116111"/>
                    <a:pt x="106567" y="117065"/>
                  </a:cubicBezTo>
                  <a:close/>
                  <a:moveTo>
                    <a:pt x="108794" y="108476"/>
                  </a:moveTo>
                  <a:lnTo>
                    <a:pt x="108158" y="109112"/>
                  </a:lnTo>
                  <a:cubicBezTo>
                    <a:pt x="108158" y="109112"/>
                    <a:pt x="107522" y="109430"/>
                    <a:pt x="107840" y="109430"/>
                  </a:cubicBezTo>
                  <a:cubicBezTo>
                    <a:pt x="107840" y="109749"/>
                    <a:pt x="108158" y="109749"/>
                    <a:pt x="108158" y="109749"/>
                  </a:cubicBezTo>
                  <a:cubicBezTo>
                    <a:pt x="108476" y="109749"/>
                    <a:pt x="108476" y="109112"/>
                    <a:pt x="108476" y="109112"/>
                  </a:cubicBezTo>
                  <a:cubicBezTo>
                    <a:pt x="109112" y="109112"/>
                    <a:pt x="109431" y="109112"/>
                    <a:pt x="110067" y="108476"/>
                  </a:cubicBezTo>
                  <a:cubicBezTo>
                    <a:pt x="110385" y="107522"/>
                    <a:pt x="110703" y="107204"/>
                    <a:pt x="111658" y="106886"/>
                  </a:cubicBezTo>
                  <a:lnTo>
                    <a:pt x="111976" y="106567"/>
                  </a:lnTo>
                  <a:cubicBezTo>
                    <a:pt x="111976" y="106567"/>
                    <a:pt x="111976" y="106249"/>
                    <a:pt x="111658" y="106249"/>
                  </a:cubicBezTo>
                  <a:cubicBezTo>
                    <a:pt x="111021" y="106567"/>
                    <a:pt x="110385" y="106567"/>
                    <a:pt x="110067" y="106567"/>
                  </a:cubicBezTo>
                  <a:cubicBezTo>
                    <a:pt x="109749" y="106567"/>
                    <a:pt x="109431" y="106567"/>
                    <a:pt x="109431" y="105931"/>
                  </a:cubicBezTo>
                  <a:cubicBezTo>
                    <a:pt x="109431" y="105613"/>
                    <a:pt x="109112" y="105295"/>
                    <a:pt x="109112" y="105613"/>
                  </a:cubicBezTo>
                  <a:lnTo>
                    <a:pt x="107840" y="106249"/>
                  </a:lnTo>
                  <a:lnTo>
                    <a:pt x="107522" y="106249"/>
                  </a:lnTo>
                  <a:cubicBezTo>
                    <a:pt x="107522" y="106567"/>
                    <a:pt x="107522" y="106886"/>
                    <a:pt x="107840" y="106886"/>
                  </a:cubicBezTo>
                  <a:cubicBezTo>
                    <a:pt x="107840" y="106886"/>
                    <a:pt x="108158" y="106886"/>
                    <a:pt x="108158" y="107204"/>
                  </a:cubicBezTo>
                  <a:cubicBezTo>
                    <a:pt x="108476" y="107522"/>
                    <a:pt x="108794" y="108158"/>
                    <a:pt x="108794" y="108476"/>
                  </a:cubicBezTo>
                  <a:close/>
                  <a:moveTo>
                    <a:pt x="108794" y="117383"/>
                  </a:moveTo>
                  <a:lnTo>
                    <a:pt x="108794" y="117701"/>
                  </a:lnTo>
                  <a:cubicBezTo>
                    <a:pt x="108794" y="117383"/>
                    <a:pt x="108794" y="117383"/>
                    <a:pt x="109112" y="117065"/>
                  </a:cubicBezTo>
                  <a:cubicBezTo>
                    <a:pt x="108794" y="117065"/>
                    <a:pt x="108794" y="117065"/>
                    <a:pt x="108794" y="117383"/>
                  </a:cubicBezTo>
                  <a:close/>
                  <a:moveTo>
                    <a:pt x="109112" y="111339"/>
                  </a:moveTo>
                  <a:lnTo>
                    <a:pt x="109431" y="111339"/>
                  </a:lnTo>
                  <a:lnTo>
                    <a:pt x="110703" y="109430"/>
                  </a:lnTo>
                  <a:lnTo>
                    <a:pt x="110703" y="109112"/>
                  </a:lnTo>
                  <a:lnTo>
                    <a:pt x="110385" y="109112"/>
                  </a:lnTo>
                  <a:cubicBezTo>
                    <a:pt x="109749" y="109430"/>
                    <a:pt x="109431" y="110067"/>
                    <a:pt x="109112" y="111021"/>
                  </a:cubicBezTo>
                  <a:lnTo>
                    <a:pt x="109112" y="111339"/>
                  </a:lnTo>
                  <a:close/>
                  <a:moveTo>
                    <a:pt x="111976" y="109749"/>
                  </a:moveTo>
                  <a:cubicBezTo>
                    <a:pt x="111976" y="109749"/>
                    <a:pt x="111658" y="109749"/>
                    <a:pt x="111658" y="110067"/>
                  </a:cubicBezTo>
                  <a:cubicBezTo>
                    <a:pt x="111339" y="110067"/>
                    <a:pt x="111339" y="110385"/>
                    <a:pt x="111339" y="110703"/>
                  </a:cubicBezTo>
                  <a:lnTo>
                    <a:pt x="112612" y="111975"/>
                  </a:lnTo>
                  <a:cubicBezTo>
                    <a:pt x="112930" y="111975"/>
                    <a:pt x="112612" y="111657"/>
                    <a:pt x="112612" y="111657"/>
                  </a:cubicBezTo>
                  <a:lnTo>
                    <a:pt x="112612" y="110067"/>
                  </a:lnTo>
                  <a:cubicBezTo>
                    <a:pt x="112294" y="109749"/>
                    <a:pt x="111976" y="109749"/>
                    <a:pt x="111976" y="109749"/>
                  </a:cubicBezTo>
                  <a:close/>
                  <a:moveTo>
                    <a:pt x="112612" y="105295"/>
                  </a:moveTo>
                  <a:cubicBezTo>
                    <a:pt x="112930" y="105295"/>
                    <a:pt x="113248" y="105613"/>
                    <a:pt x="113566" y="105613"/>
                  </a:cubicBezTo>
                  <a:cubicBezTo>
                    <a:pt x="113884" y="105613"/>
                    <a:pt x="114202" y="105295"/>
                    <a:pt x="114839" y="104977"/>
                  </a:cubicBezTo>
                  <a:cubicBezTo>
                    <a:pt x="114839" y="104659"/>
                    <a:pt x="115157" y="104341"/>
                    <a:pt x="114839" y="104341"/>
                  </a:cubicBezTo>
                  <a:cubicBezTo>
                    <a:pt x="114839" y="104023"/>
                    <a:pt x="114839" y="104023"/>
                    <a:pt x="114520" y="104023"/>
                  </a:cubicBezTo>
                  <a:cubicBezTo>
                    <a:pt x="114202" y="104341"/>
                    <a:pt x="114202" y="104341"/>
                    <a:pt x="113884" y="104341"/>
                  </a:cubicBezTo>
                  <a:cubicBezTo>
                    <a:pt x="113566" y="104341"/>
                    <a:pt x="113248" y="104341"/>
                    <a:pt x="112612" y="104659"/>
                  </a:cubicBezTo>
                  <a:lnTo>
                    <a:pt x="112612" y="105295"/>
                  </a:lnTo>
                  <a:close/>
                  <a:moveTo>
                    <a:pt x="114839" y="106249"/>
                  </a:moveTo>
                  <a:cubicBezTo>
                    <a:pt x="114520" y="106249"/>
                    <a:pt x="114202" y="106567"/>
                    <a:pt x="113884" y="107204"/>
                  </a:cubicBezTo>
                  <a:lnTo>
                    <a:pt x="113884" y="107522"/>
                  </a:lnTo>
                  <a:cubicBezTo>
                    <a:pt x="113884" y="107840"/>
                    <a:pt x="113884" y="107840"/>
                    <a:pt x="114202" y="107840"/>
                  </a:cubicBezTo>
                  <a:lnTo>
                    <a:pt x="114520" y="107840"/>
                  </a:lnTo>
                  <a:cubicBezTo>
                    <a:pt x="114520" y="107840"/>
                    <a:pt x="114839" y="107840"/>
                    <a:pt x="115157" y="107522"/>
                  </a:cubicBezTo>
                  <a:lnTo>
                    <a:pt x="115157" y="106567"/>
                  </a:lnTo>
                  <a:lnTo>
                    <a:pt x="114839" y="106249"/>
                  </a:lnTo>
                  <a:close/>
                  <a:moveTo>
                    <a:pt x="119928" y="193412"/>
                  </a:moveTo>
                  <a:lnTo>
                    <a:pt x="119292" y="193412"/>
                  </a:lnTo>
                  <a:cubicBezTo>
                    <a:pt x="118656" y="193412"/>
                    <a:pt x="118338" y="193094"/>
                    <a:pt x="118020" y="193094"/>
                  </a:cubicBezTo>
                  <a:lnTo>
                    <a:pt x="118020" y="193730"/>
                  </a:lnTo>
                  <a:cubicBezTo>
                    <a:pt x="118020" y="194048"/>
                    <a:pt x="118656" y="194366"/>
                    <a:pt x="119610" y="194684"/>
                  </a:cubicBezTo>
                  <a:cubicBezTo>
                    <a:pt x="119610" y="194684"/>
                    <a:pt x="119928" y="194048"/>
                    <a:pt x="119928" y="193730"/>
                  </a:cubicBezTo>
                  <a:lnTo>
                    <a:pt x="119928" y="193412"/>
                  </a:lnTo>
                  <a:close/>
                  <a:moveTo>
                    <a:pt x="118974" y="195639"/>
                  </a:moveTo>
                  <a:cubicBezTo>
                    <a:pt x="118338" y="195639"/>
                    <a:pt x="118020" y="196275"/>
                    <a:pt x="118020" y="197229"/>
                  </a:cubicBezTo>
                  <a:lnTo>
                    <a:pt x="118020" y="197547"/>
                  </a:lnTo>
                  <a:lnTo>
                    <a:pt x="118338" y="197547"/>
                  </a:lnTo>
                  <a:lnTo>
                    <a:pt x="119610" y="195639"/>
                  </a:lnTo>
                  <a:lnTo>
                    <a:pt x="118974" y="195639"/>
                  </a:lnTo>
                  <a:close/>
                  <a:moveTo>
                    <a:pt x="122473" y="184187"/>
                  </a:moveTo>
                  <a:cubicBezTo>
                    <a:pt x="122155" y="183869"/>
                    <a:pt x="122155" y="183551"/>
                    <a:pt x="122155" y="182914"/>
                  </a:cubicBezTo>
                  <a:lnTo>
                    <a:pt x="122155" y="182596"/>
                  </a:lnTo>
                  <a:cubicBezTo>
                    <a:pt x="121837" y="182914"/>
                    <a:pt x="121837" y="182914"/>
                    <a:pt x="121519" y="182914"/>
                  </a:cubicBezTo>
                  <a:cubicBezTo>
                    <a:pt x="120882" y="183232"/>
                    <a:pt x="120564" y="183869"/>
                    <a:pt x="120564" y="184505"/>
                  </a:cubicBezTo>
                  <a:cubicBezTo>
                    <a:pt x="120564" y="184823"/>
                    <a:pt x="120882" y="185459"/>
                    <a:pt x="120882" y="185777"/>
                  </a:cubicBezTo>
                  <a:lnTo>
                    <a:pt x="121837" y="186095"/>
                  </a:lnTo>
                  <a:cubicBezTo>
                    <a:pt x="121837" y="185777"/>
                    <a:pt x="122155" y="185141"/>
                    <a:pt x="122473" y="184505"/>
                  </a:cubicBezTo>
                  <a:lnTo>
                    <a:pt x="122473" y="184187"/>
                  </a:lnTo>
                  <a:close/>
                  <a:moveTo>
                    <a:pt x="121837" y="187368"/>
                  </a:moveTo>
                  <a:cubicBezTo>
                    <a:pt x="121519" y="187368"/>
                    <a:pt x="121519" y="187050"/>
                    <a:pt x="121201" y="186732"/>
                  </a:cubicBezTo>
                  <a:cubicBezTo>
                    <a:pt x="121201" y="187050"/>
                    <a:pt x="120882" y="187368"/>
                    <a:pt x="120882" y="187686"/>
                  </a:cubicBezTo>
                  <a:cubicBezTo>
                    <a:pt x="121201" y="187686"/>
                    <a:pt x="121519" y="188004"/>
                    <a:pt x="121519" y="188004"/>
                  </a:cubicBezTo>
                  <a:cubicBezTo>
                    <a:pt x="121519" y="188004"/>
                    <a:pt x="121519" y="187686"/>
                    <a:pt x="121837" y="187368"/>
                  </a:cubicBezTo>
                  <a:close/>
                  <a:moveTo>
                    <a:pt x="122155" y="177506"/>
                  </a:moveTo>
                  <a:lnTo>
                    <a:pt x="122155" y="178143"/>
                  </a:lnTo>
                  <a:lnTo>
                    <a:pt x="122791" y="178143"/>
                  </a:lnTo>
                  <a:lnTo>
                    <a:pt x="122155" y="177506"/>
                  </a:lnTo>
                  <a:close/>
                  <a:moveTo>
                    <a:pt x="122791" y="174643"/>
                  </a:moveTo>
                  <a:cubicBezTo>
                    <a:pt x="122791" y="174643"/>
                    <a:pt x="122791" y="174962"/>
                    <a:pt x="123109" y="174962"/>
                  </a:cubicBezTo>
                  <a:lnTo>
                    <a:pt x="123428" y="174643"/>
                  </a:lnTo>
                  <a:cubicBezTo>
                    <a:pt x="123428" y="174325"/>
                    <a:pt x="123109" y="174325"/>
                    <a:pt x="123109" y="174007"/>
                  </a:cubicBezTo>
                  <a:lnTo>
                    <a:pt x="123109" y="174325"/>
                  </a:lnTo>
                  <a:lnTo>
                    <a:pt x="122791" y="174643"/>
                  </a:lnTo>
                  <a:close/>
                  <a:moveTo>
                    <a:pt x="123428" y="179097"/>
                  </a:moveTo>
                  <a:cubicBezTo>
                    <a:pt x="123428" y="179415"/>
                    <a:pt x="123428" y="179733"/>
                    <a:pt x="123746" y="179733"/>
                  </a:cubicBezTo>
                  <a:lnTo>
                    <a:pt x="124064" y="179733"/>
                  </a:lnTo>
                  <a:lnTo>
                    <a:pt x="124064" y="178143"/>
                  </a:lnTo>
                  <a:cubicBezTo>
                    <a:pt x="123746" y="178461"/>
                    <a:pt x="123428" y="179097"/>
                    <a:pt x="123428" y="179097"/>
                  </a:cubicBezTo>
                  <a:close/>
                  <a:moveTo>
                    <a:pt x="124382" y="181960"/>
                  </a:moveTo>
                  <a:cubicBezTo>
                    <a:pt x="124064" y="181960"/>
                    <a:pt x="124064" y="181642"/>
                    <a:pt x="123746" y="181324"/>
                  </a:cubicBezTo>
                  <a:cubicBezTo>
                    <a:pt x="123428" y="181324"/>
                    <a:pt x="123428" y="181642"/>
                    <a:pt x="123428" y="181642"/>
                  </a:cubicBezTo>
                  <a:lnTo>
                    <a:pt x="123428" y="181960"/>
                  </a:lnTo>
                  <a:cubicBezTo>
                    <a:pt x="123746" y="181960"/>
                    <a:pt x="124064" y="181960"/>
                    <a:pt x="124064" y="182278"/>
                  </a:cubicBezTo>
                  <a:lnTo>
                    <a:pt x="124382" y="181960"/>
                  </a:lnTo>
                  <a:close/>
                  <a:moveTo>
                    <a:pt x="129154" y="160965"/>
                  </a:moveTo>
                  <a:cubicBezTo>
                    <a:pt x="128835" y="160965"/>
                    <a:pt x="128517" y="160646"/>
                    <a:pt x="128199" y="160646"/>
                  </a:cubicBezTo>
                  <a:cubicBezTo>
                    <a:pt x="127881" y="160646"/>
                    <a:pt x="127881" y="160965"/>
                    <a:pt x="127881" y="161601"/>
                  </a:cubicBezTo>
                  <a:cubicBezTo>
                    <a:pt x="127881" y="162237"/>
                    <a:pt x="127563" y="162873"/>
                    <a:pt x="127563" y="163509"/>
                  </a:cubicBezTo>
                  <a:cubicBezTo>
                    <a:pt x="126609" y="163509"/>
                    <a:pt x="126609" y="164146"/>
                    <a:pt x="126609" y="164464"/>
                  </a:cubicBezTo>
                  <a:lnTo>
                    <a:pt x="126609" y="164782"/>
                  </a:lnTo>
                  <a:lnTo>
                    <a:pt x="126927" y="165100"/>
                  </a:lnTo>
                  <a:cubicBezTo>
                    <a:pt x="126927" y="166054"/>
                    <a:pt x="126927" y="166054"/>
                    <a:pt x="125654" y="166372"/>
                  </a:cubicBezTo>
                  <a:cubicBezTo>
                    <a:pt x="125654" y="166372"/>
                    <a:pt x="125336" y="166691"/>
                    <a:pt x="125018" y="166691"/>
                  </a:cubicBezTo>
                  <a:cubicBezTo>
                    <a:pt x="124700" y="167327"/>
                    <a:pt x="124382" y="168281"/>
                    <a:pt x="124382" y="168917"/>
                  </a:cubicBezTo>
                  <a:cubicBezTo>
                    <a:pt x="124382" y="169235"/>
                    <a:pt x="124382" y="169554"/>
                    <a:pt x="124700" y="169872"/>
                  </a:cubicBezTo>
                  <a:cubicBezTo>
                    <a:pt x="125018" y="170826"/>
                    <a:pt x="125018" y="172098"/>
                    <a:pt x="125336" y="172735"/>
                  </a:cubicBezTo>
                  <a:cubicBezTo>
                    <a:pt x="125336" y="173053"/>
                    <a:pt x="125336" y="173053"/>
                    <a:pt x="125654" y="173053"/>
                  </a:cubicBezTo>
                  <a:cubicBezTo>
                    <a:pt x="125654" y="173371"/>
                    <a:pt x="125654" y="173053"/>
                    <a:pt x="125973" y="173053"/>
                  </a:cubicBezTo>
                  <a:lnTo>
                    <a:pt x="126291" y="172735"/>
                  </a:lnTo>
                  <a:cubicBezTo>
                    <a:pt x="126927" y="171462"/>
                    <a:pt x="127563" y="169554"/>
                    <a:pt x="127563" y="167327"/>
                  </a:cubicBezTo>
                  <a:cubicBezTo>
                    <a:pt x="128517" y="165418"/>
                    <a:pt x="128199" y="163828"/>
                    <a:pt x="129154" y="162237"/>
                  </a:cubicBezTo>
                  <a:lnTo>
                    <a:pt x="129154" y="160965"/>
                  </a:lnTo>
                  <a:close/>
                  <a:moveTo>
                    <a:pt x="125973" y="175916"/>
                  </a:moveTo>
                  <a:lnTo>
                    <a:pt x="125336" y="175916"/>
                  </a:lnTo>
                  <a:lnTo>
                    <a:pt x="125654" y="176234"/>
                  </a:lnTo>
                  <a:lnTo>
                    <a:pt x="125973" y="175916"/>
                  </a:lnTo>
                  <a:close/>
                  <a:moveTo>
                    <a:pt x="128517" y="153012"/>
                  </a:moveTo>
                  <a:lnTo>
                    <a:pt x="128517" y="152694"/>
                  </a:lnTo>
                  <a:cubicBezTo>
                    <a:pt x="128517" y="152694"/>
                    <a:pt x="128199" y="152376"/>
                    <a:pt x="128199" y="151739"/>
                  </a:cubicBezTo>
                  <a:cubicBezTo>
                    <a:pt x="128199" y="152057"/>
                    <a:pt x="127881" y="152376"/>
                    <a:pt x="127881" y="152694"/>
                  </a:cubicBezTo>
                  <a:cubicBezTo>
                    <a:pt x="128199" y="153012"/>
                    <a:pt x="128199" y="153012"/>
                    <a:pt x="128517" y="153012"/>
                  </a:cubicBezTo>
                  <a:close/>
                  <a:moveTo>
                    <a:pt x="131698" y="147922"/>
                  </a:moveTo>
                  <a:cubicBezTo>
                    <a:pt x="131698" y="147286"/>
                    <a:pt x="131380" y="146331"/>
                    <a:pt x="131380" y="145377"/>
                  </a:cubicBezTo>
                  <a:cubicBezTo>
                    <a:pt x="131380" y="145059"/>
                    <a:pt x="131062" y="145377"/>
                    <a:pt x="131062" y="145377"/>
                  </a:cubicBezTo>
                  <a:cubicBezTo>
                    <a:pt x="131062" y="146013"/>
                    <a:pt x="131062" y="146331"/>
                    <a:pt x="130744" y="146650"/>
                  </a:cubicBezTo>
                  <a:cubicBezTo>
                    <a:pt x="130426" y="146968"/>
                    <a:pt x="130426" y="146968"/>
                    <a:pt x="130426" y="147286"/>
                  </a:cubicBezTo>
                  <a:cubicBezTo>
                    <a:pt x="130426" y="147604"/>
                    <a:pt x="130426" y="147922"/>
                    <a:pt x="130744" y="148240"/>
                  </a:cubicBezTo>
                  <a:cubicBezTo>
                    <a:pt x="130744" y="148558"/>
                    <a:pt x="130426" y="148558"/>
                    <a:pt x="129790" y="148558"/>
                  </a:cubicBezTo>
                  <a:cubicBezTo>
                    <a:pt x="129790" y="148240"/>
                    <a:pt x="129472" y="148558"/>
                    <a:pt x="128835" y="149194"/>
                  </a:cubicBezTo>
                  <a:cubicBezTo>
                    <a:pt x="128835" y="149831"/>
                    <a:pt x="128517" y="150785"/>
                    <a:pt x="128199" y="151739"/>
                  </a:cubicBezTo>
                  <a:cubicBezTo>
                    <a:pt x="129154" y="151739"/>
                    <a:pt x="129472" y="152376"/>
                    <a:pt x="129790" y="152694"/>
                  </a:cubicBezTo>
                  <a:cubicBezTo>
                    <a:pt x="129790" y="153012"/>
                    <a:pt x="129790" y="153012"/>
                    <a:pt x="130108" y="153012"/>
                  </a:cubicBezTo>
                  <a:lnTo>
                    <a:pt x="130426" y="153012"/>
                  </a:lnTo>
                  <a:cubicBezTo>
                    <a:pt x="130744" y="153012"/>
                    <a:pt x="130744" y="152694"/>
                    <a:pt x="130744" y="152694"/>
                  </a:cubicBezTo>
                  <a:cubicBezTo>
                    <a:pt x="130744" y="152694"/>
                    <a:pt x="130426" y="152376"/>
                    <a:pt x="130426" y="152057"/>
                  </a:cubicBezTo>
                  <a:cubicBezTo>
                    <a:pt x="130426" y="151421"/>
                    <a:pt x="130426" y="150467"/>
                    <a:pt x="130744" y="150149"/>
                  </a:cubicBezTo>
                  <a:lnTo>
                    <a:pt x="131380" y="148876"/>
                  </a:lnTo>
                  <a:cubicBezTo>
                    <a:pt x="131698" y="148558"/>
                    <a:pt x="131698" y="148240"/>
                    <a:pt x="131698" y="147922"/>
                  </a:cubicBezTo>
                  <a:close/>
                  <a:moveTo>
                    <a:pt x="129472" y="129790"/>
                  </a:moveTo>
                  <a:lnTo>
                    <a:pt x="129472" y="130108"/>
                  </a:lnTo>
                  <a:lnTo>
                    <a:pt x="129790" y="130108"/>
                  </a:lnTo>
                  <a:lnTo>
                    <a:pt x="129790" y="129790"/>
                  </a:lnTo>
                  <a:lnTo>
                    <a:pt x="129472" y="129790"/>
                  </a:lnTo>
                  <a:close/>
                  <a:moveTo>
                    <a:pt x="130426" y="154920"/>
                  </a:moveTo>
                  <a:lnTo>
                    <a:pt x="129472" y="154920"/>
                  </a:lnTo>
                  <a:lnTo>
                    <a:pt x="129472" y="155239"/>
                  </a:lnTo>
                  <a:cubicBezTo>
                    <a:pt x="129790" y="155239"/>
                    <a:pt x="130426" y="155239"/>
                    <a:pt x="130426" y="154920"/>
                  </a:cubicBezTo>
                  <a:close/>
                  <a:moveTo>
                    <a:pt x="130108" y="145059"/>
                  </a:moveTo>
                  <a:lnTo>
                    <a:pt x="130108" y="145377"/>
                  </a:lnTo>
                  <a:cubicBezTo>
                    <a:pt x="130426" y="145377"/>
                    <a:pt x="130426" y="145059"/>
                    <a:pt x="130744" y="144741"/>
                  </a:cubicBezTo>
                  <a:lnTo>
                    <a:pt x="130426" y="144423"/>
                  </a:lnTo>
                  <a:cubicBezTo>
                    <a:pt x="130108" y="144423"/>
                    <a:pt x="130108" y="144741"/>
                    <a:pt x="130108" y="145059"/>
                  </a:cubicBezTo>
                  <a:close/>
                  <a:moveTo>
                    <a:pt x="133289" y="53761"/>
                  </a:moveTo>
                  <a:cubicBezTo>
                    <a:pt x="133289" y="53443"/>
                    <a:pt x="133289" y="53125"/>
                    <a:pt x="133607" y="52488"/>
                  </a:cubicBezTo>
                  <a:cubicBezTo>
                    <a:pt x="133925" y="52170"/>
                    <a:pt x="134243" y="52170"/>
                    <a:pt x="134243" y="51852"/>
                  </a:cubicBezTo>
                  <a:cubicBezTo>
                    <a:pt x="134243" y="51852"/>
                    <a:pt x="133925" y="51534"/>
                    <a:pt x="133925" y="51216"/>
                  </a:cubicBezTo>
                  <a:cubicBezTo>
                    <a:pt x="132971" y="50898"/>
                    <a:pt x="132653" y="49944"/>
                    <a:pt x="132653" y="48989"/>
                  </a:cubicBezTo>
                  <a:lnTo>
                    <a:pt x="132653" y="46762"/>
                  </a:lnTo>
                  <a:cubicBezTo>
                    <a:pt x="132653" y="45808"/>
                    <a:pt x="132653" y="44854"/>
                    <a:pt x="132335" y="44854"/>
                  </a:cubicBezTo>
                  <a:lnTo>
                    <a:pt x="132971" y="42945"/>
                  </a:lnTo>
                  <a:cubicBezTo>
                    <a:pt x="132971" y="42309"/>
                    <a:pt x="132653" y="42309"/>
                    <a:pt x="132016" y="41991"/>
                  </a:cubicBezTo>
                  <a:cubicBezTo>
                    <a:pt x="131698" y="41991"/>
                    <a:pt x="131380" y="42309"/>
                    <a:pt x="131062" y="42945"/>
                  </a:cubicBezTo>
                  <a:cubicBezTo>
                    <a:pt x="131062" y="42945"/>
                    <a:pt x="130744" y="43581"/>
                    <a:pt x="130426" y="43899"/>
                  </a:cubicBezTo>
                  <a:cubicBezTo>
                    <a:pt x="130426" y="44854"/>
                    <a:pt x="130744" y="45172"/>
                    <a:pt x="131062" y="45808"/>
                  </a:cubicBezTo>
                  <a:cubicBezTo>
                    <a:pt x="131380" y="46126"/>
                    <a:pt x="131698" y="46762"/>
                    <a:pt x="131698" y="46762"/>
                  </a:cubicBezTo>
                  <a:lnTo>
                    <a:pt x="131698" y="51534"/>
                  </a:lnTo>
                  <a:cubicBezTo>
                    <a:pt x="131698" y="51852"/>
                    <a:pt x="132016" y="52170"/>
                    <a:pt x="132016" y="52488"/>
                  </a:cubicBezTo>
                  <a:cubicBezTo>
                    <a:pt x="132016" y="52807"/>
                    <a:pt x="131698" y="52807"/>
                    <a:pt x="131698" y="53125"/>
                  </a:cubicBezTo>
                  <a:cubicBezTo>
                    <a:pt x="131380" y="53125"/>
                    <a:pt x="131062" y="53443"/>
                    <a:pt x="131062" y="53443"/>
                  </a:cubicBezTo>
                  <a:lnTo>
                    <a:pt x="131380" y="53761"/>
                  </a:lnTo>
                  <a:cubicBezTo>
                    <a:pt x="131698" y="55033"/>
                    <a:pt x="131380" y="56306"/>
                    <a:pt x="132335" y="57578"/>
                  </a:cubicBezTo>
                  <a:cubicBezTo>
                    <a:pt x="132653" y="58214"/>
                    <a:pt x="132653" y="58533"/>
                    <a:pt x="132653" y="59169"/>
                  </a:cubicBezTo>
                  <a:cubicBezTo>
                    <a:pt x="133289" y="58214"/>
                    <a:pt x="133289" y="56942"/>
                    <a:pt x="133289" y="55670"/>
                  </a:cubicBezTo>
                  <a:lnTo>
                    <a:pt x="133289" y="53761"/>
                  </a:lnTo>
                  <a:close/>
                  <a:moveTo>
                    <a:pt x="132653" y="134879"/>
                  </a:moveTo>
                  <a:cubicBezTo>
                    <a:pt x="132653" y="134561"/>
                    <a:pt x="132335" y="134561"/>
                    <a:pt x="132335" y="134243"/>
                  </a:cubicBezTo>
                  <a:cubicBezTo>
                    <a:pt x="132335" y="133607"/>
                    <a:pt x="132335" y="133289"/>
                    <a:pt x="132016" y="132971"/>
                  </a:cubicBezTo>
                  <a:cubicBezTo>
                    <a:pt x="131698" y="132971"/>
                    <a:pt x="131698" y="132653"/>
                    <a:pt x="131698" y="132653"/>
                  </a:cubicBezTo>
                  <a:lnTo>
                    <a:pt x="131380" y="132971"/>
                  </a:lnTo>
                  <a:cubicBezTo>
                    <a:pt x="131062" y="133289"/>
                    <a:pt x="130744" y="134561"/>
                    <a:pt x="130744" y="135516"/>
                  </a:cubicBezTo>
                  <a:cubicBezTo>
                    <a:pt x="130744" y="135834"/>
                    <a:pt x="131062" y="135834"/>
                    <a:pt x="131380" y="136470"/>
                  </a:cubicBezTo>
                  <a:cubicBezTo>
                    <a:pt x="131698" y="136788"/>
                    <a:pt x="131698" y="136788"/>
                    <a:pt x="132016" y="136788"/>
                  </a:cubicBezTo>
                  <a:lnTo>
                    <a:pt x="132335" y="136788"/>
                  </a:lnTo>
                  <a:cubicBezTo>
                    <a:pt x="132653" y="136788"/>
                    <a:pt x="132653" y="136788"/>
                    <a:pt x="132653" y="136470"/>
                  </a:cubicBezTo>
                  <a:cubicBezTo>
                    <a:pt x="132653" y="136152"/>
                    <a:pt x="132335" y="135516"/>
                    <a:pt x="132335" y="135516"/>
                  </a:cubicBezTo>
                  <a:cubicBezTo>
                    <a:pt x="132335" y="135516"/>
                    <a:pt x="132653" y="135198"/>
                    <a:pt x="132653" y="134879"/>
                  </a:cubicBezTo>
                  <a:close/>
                  <a:moveTo>
                    <a:pt x="131062" y="172735"/>
                  </a:moveTo>
                  <a:lnTo>
                    <a:pt x="131062" y="172417"/>
                  </a:lnTo>
                  <a:lnTo>
                    <a:pt x="131380" y="172417"/>
                  </a:lnTo>
                  <a:cubicBezTo>
                    <a:pt x="131380" y="172417"/>
                    <a:pt x="131380" y="172735"/>
                    <a:pt x="131062" y="172735"/>
                  </a:cubicBezTo>
                  <a:close/>
                  <a:moveTo>
                    <a:pt x="132016" y="126290"/>
                  </a:moveTo>
                  <a:cubicBezTo>
                    <a:pt x="132971" y="125018"/>
                    <a:pt x="132971" y="123746"/>
                    <a:pt x="133607" y="123109"/>
                  </a:cubicBezTo>
                  <a:lnTo>
                    <a:pt x="133607" y="122473"/>
                  </a:lnTo>
                  <a:cubicBezTo>
                    <a:pt x="133607" y="121837"/>
                    <a:pt x="132653" y="120882"/>
                    <a:pt x="132335" y="120882"/>
                  </a:cubicBezTo>
                  <a:cubicBezTo>
                    <a:pt x="131698" y="120882"/>
                    <a:pt x="131698" y="121519"/>
                    <a:pt x="131698" y="121519"/>
                  </a:cubicBezTo>
                  <a:cubicBezTo>
                    <a:pt x="131698" y="122473"/>
                    <a:pt x="131380" y="123427"/>
                    <a:pt x="131380" y="124064"/>
                  </a:cubicBezTo>
                  <a:lnTo>
                    <a:pt x="131380" y="131698"/>
                  </a:lnTo>
                  <a:cubicBezTo>
                    <a:pt x="132016" y="131062"/>
                    <a:pt x="132016" y="130744"/>
                    <a:pt x="132016" y="130108"/>
                  </a:cubicBezTo>
                  <a:cubicBezTo>
                    <a:pt x="132016" y="129790"/>
                    <a:pt x="132335" y="129471"/>
                    <a:pt x="133289" y="129471"/>
                  </a:cubicBezTo>
                  <a:cubicBezTo>
                    <a:pt x="133289" y="129471"/>
                    <a:pt x="133607" y="129153"/>
                    <a:pt x="133607" y="128835"/>
                  </a:cubicBezTo>
                  <a:cubicBezTo>
                    <a:pt x="133925" y="128199"/>
                    <a:pt x="133925" y="127563"/>
                    <a:pt x="133925" y="126609"/>
                  </a:cubicBezTo>
                  <a:lnTo>
                    <a:pt x="133289" y="126609"/>
                  </a:lnTo>
                  <a:lnTo>
                    <a:pt x="132971" y="126290"/>
                  </a:lnTo>
                  <a:cubicBezTo>
                    <a:pt x="132653" y="126609"/>
                    <a:pt x="132335" y="126609"/>
                    <a:pt x="132335" y="126609"/>
                  </a:cubicBezTo>
                  <a:lnTo>
                    <a:pt x="132335" y="126290"/>
                  </a:lnTo>
                  <a:lnTo>
                    <a:pt x="132016" y="126290"/>
                  </a:lnTo>
                  <a:close/>
                  <a:moveTo>
                    <a:pt x="134561" y="75074"/>
                  </a:moveTo>
                  <a:lnTo>
                    <a:pt x="134561" y="74756"/>
                  </a:lnTo>
                  <a:lnTo>
                    <a:pt x="134243" y="74438"/>
                  </a:lnTo>
                  <a:cubicBezTo>
                    <a:pt x="134243" y="74756"/>
                    <a:pt x="133925" y="74756"/>
                    <a:pt x="133925" y="75074"/>
                  </a:cubicBezTo>
                  <a:lnTo>
                    <a:pt x="133925" y="76665"/>
                  </a:lnTo>
                  <a:cubicBezTo>
                    <a:pt x="133925" y="76665"/>
                    <a:pt x="133607" y="76983"/>
                    <a:pt x="133289" y="76983"/>
                  </a:cubicBezTo>
                  <a:lnTo>
                    <a:pt x="133289" y="76665"/>
                  </a:lnTo>
                  <a:cubicBezTo>
                    <a:pt x="133289" y="75392"/>
                    <a:pt x="133289" y="74120"/>
                    <a:pt x="132971" y="73166"/>
                  </a:cubicBezTo>
                  <a:cubicBezTo>
                    <a:pt x="132971" y="73166"/>
                    <a:pt x="133289" y="73166"/>
                    <a:pt x="133289" y="72848"/>
                  </a:cubicBezTo>
                  <a:lnTo>
                    <a:pt x="132971" y="72530"/>
                  </a:lnTo>
                  <a:cubicBezTo>
                    <a:pt x="132335" y="72530"/>
                    <a:pt x="132653" y="75074"/>
                    <a:pt x="131698" y="76665"/>
                  </a:cubicBezTo>
                  <a:lnTo>
                    <a:pt x="131698" y="77301"/>
                  </a:lnTo>
                  <a:cubicBezTo>
                    <a:pt x="132335" y="78256"/>
                    <a:pt x="132653" y="80482"/>
                    <a:pt x="133607" y="80482"/>
                  </a:cubicBezTo>
                  <a:lnTo>
                    <a:pt x="133925" y="80482"/>
                  </a:lnTo>
                  <a:lnTo>
                    <a:pt x="133925" y="78892"/>
                  </a:lnTo>
                  <a:cubicBezTo>
                    <a:pt x="133925" y="78574"/>
                    <a:pt x="133925" y="77937"/>
                    <a:pt x="134243" y="77301"/>
                  </a:cubicBezTo>
                  <a:cubicBezTo>
                    <a:pt x="134561" y="76983"/>
                    <a:pt x="134561" y="76029"/>
                    <a:pt x="134561" y="75074"/>
                  </a:cubicBezTo>
                  <a:close/>
                  <a:moveTo>
                    <a:pt x="132653" y="109749"/>
                  </a:moveTo>
                  <a:lnTo>
                    <a:pt x="131698" y="109749"/>
                  </a:lnTo>
                  <a:lnTo>
                    <a:pt x="131698" y="110703"/>
                  </a:lnTo>
                  <a:cubicBezTo>
                    <a:pt x="132335" y="111657"/>
                    <a:pt x="132335" y="112612"/>
                    <a:pt x="132335" y="112930"/>
                  </a:cubicBezTo>
                  <a:lnTo>
                    <a:pt x="131698" y="114520"/>
                  </a:lnTo>
                  <a:cubicBezTo>
                    <a:pt x="131698" y="114838"/>
                    <a:pt x="132016" y="115793"/>
                    <a:pt x="132335" y="116111"/>
                  </a:cubicBezTo>
                  <a:lnTo>
                    <a:pt x="132653" y="116429"/>
                  </a:lnTo>
                  <a:lnTo>
                    <a:pt x="133289" y="116429"/>
                  </a:lnTo>
                  <a:lnTo>
                    <a:pt x="133289" y="115793"/>
                  </a:lnTo>
                  <a:cubicBezTo>
                    <a:pt x="132971" y="114838"/>
                    <a:pt x="132971" y="113884"/>
                    <a:pt x="132971" y="113248"/>
                  </a:cubicBezTo>
                  <a:cubicBezTo>
                    <a:pt x="132971" y="112930"/>
                    <a:pt x="133289" y="112930"/>
                    <a:pt x="133289" y="112293"/>
                  </a:cubicBezTo>
                  <a:lnTo>
                    <a:pt x="133289" y="111657"/>
                  </a:lnTo>
                  <a:cubicBezTo>
                    <a:pt x="132971" y="111339"/>
                    <a:pt x="132971" y="110703"/>
                    <a:pt x="132971" y="110703"/>
                  </a:cubicBezTo>
                  <a:cubicBezTo>
                    <a:pt x="132971" y="110067"/>
                    <a:pt x="132971" y="109749"/>
                    <a:pt x="132653" y="109749"/>
                  </a:cubicBezTo>
                  <a:close/>
                  <a:moveTo>
                    <a:pt x="132016" y="119610"/>
                  </a:moveTo>
                  <a:cubicBezTo>
                    <a:pt x="132016" y="119292"/>
                    <a:pt x="132335" y="119292"/>
                    <a:pt x="132335" y="119292"/>
                  </a:cubicBezTo>
                  <a:lnTo>
                    <a:pt x="132335" y="118974"/>
                  </a:lnTo>
                  <a:lnTo>
                    <a:pt x="131698" y="118974"/>
                  </a:lnTo>
                  <a:cubicBezTo>
                    <a:pt x="131698" y="119292"/>
                    <a:pt x="131698" y="119292"/>
                    <a:pt x="132016" y="119610"/>
                  </a:cubicBezTo>
                  <a:close/>
                  <a:moveTo>
                    <a:pt x="133289" y="103068"/>
                  </a:moveTo>
                  <a:lnTo>
                    <a:pt x="132653" y="102750"/>
                  </a:lnTo>
                  <a:cubicBezTo>
                    <a:pt x="132653" y="103068"/>
                    <a:pt x="132971" y="103068"/>
                    <a:pt x="132971" y="103068"/>
                  </a:cubicBezTo>
                  <a:lnTo>
                    <a:pt x="132653" y="103386"/>
                  </a:lnTo>
                  <a:lnTo>
                    <a:pt x="132971" y="103386"/>
                  </a:lnTo>
                  <a:cubicBezTo>
                    <a:pt x="132971" y="103386"/>
                    <a:pt x="132971" y="103068"/>
                    <a:pt x="133289" y="103068"/>
                  </a:cubicBezTo>
                  <a:close/>
                  <a:moveTo>
                    <a:pt x="134561" y="125336"/>
                  </a:moveTo>
                  <a:lnTo>
                    <a:pt x="134561" y="124700"/>
                  </a:lnTo>
                  <a:lnTo>
                    <a:pt x="134243" y="124700"/>
                  </a:lnTo>
                  <a:cubicBezTo>
                    <a:pt x="134243" y="125018"/>
                    <a:pt x="134561" y="125018"/>
                    <a:pt x="134561" y="125336"/>
                  </a:cubicBezTo>
                  <a:close/>
                  <a:moveTo>
                    <a:pt x="136152" y="78892"/>
                  </a:moveTo>
                  <a:cubicBezTo>
                    <a:pt x="136152" y="78574"/>
                    <a:pt x="135834" y="78256"/>
                    <a:pt x="135516" y="78256"/>
                  </a:cubicBezTo>
                  <a:cubicBezTo>
                    <a:pt x="135516" y="78892"/>
                    <a:pt x="135198" y="79210"/>
                    <a:pt x="135198" y="79528"/>
                  </a:cubicBezTo>
                  <a:cubicBezTo>
                    <a:pt x="135198" y="80164"/>
                    <a:pt x="134561" y="80800"/>
                    <a:pt x="134561" y="81119"/>
                  </a:cubicBezTo>
                  <a:cubicBezTo>
                    <a:pt x="134561" y="81437"/>
                    <a:pt x="134561" y="81437"/>
                    <a:pt x="134879" y="81437"/>
                  </a:cubicBezTo>
                  <a:lnTo>
                    <a:pt x="135198" y="81437"/>
                  </a:lnTo>
                  <a:lnTo>
                    <a:pt x="135198" y="81119"/>
                  </a:lnTo>
                  <a:cubicBezTo>
                    <a:pt x="135198" y="80800"/>
                    <a:pt x="135198" y="80482"/>
                    <a:pt x="135516" y="79846"/>
                  </a:cubicBezTo>
                  <a:cubicBezTo>
                    <a:pt x="135516" y="79210"/>
                    <a:pt x="135834" y="79210"/>
                    <a:pt x="136152" y="78892"/>
                  </a:cubicBezTo>
                  <a:close/>
                  <a:moveTo>
                    <a:pt x="135516" y="45490"/>
                  </a:moveTo>
                  <a:lnTo>
                    <a:pt x="135198" y="45172"/>
                  </a:lnTo>
                  <a:lnTo>
                    <a:pt x="134879" y="45172"/>
                  </a:lnTo>
                  <a:cubicBezTo>
                    <a:pt x="134879" y="45490"/>
                    <a:pt x="135198" y="45490"/>
                    <a:pt x="135198" y="45808"/>
                  </a:cubicBezTo>
                  <a:cubicBezTo>
                    <a:pt x="135516" y="45808"/>
                    <a:pt x="135516" y="45490"/>
                    <a:pt x="135516" y="45490"/>
                  </a:cubicBezTo>
                  <a:close/>
                  <a:moveTo>
                    <a:pt x="135834" y="49625"/>
                  </a:moveTo>
                  <a:lnTo>
                    <a:pt x="135198" y="49625"/>
                  </a:lnTo>
                  <a:lnTo>
                    <a:pt x="135198" y="50262"/>
                  </a:lnTo>
                  <a:lnTo>
                    <a:pt x="135834" y="49625"/>
                  </a:lnTo>
                  <a:close/>
                  <a:moveTo>
                    <a:pt x="138379" y="89389"/>
                  </a:moveTo>
                  <a:lnTo>
                    <a:pt x="138061" y="89389"/>
                  </a:lnTo>
                  <a:cubicBezTo>
                    <a:pt x="137743" y="89708"/>
                    <a:pt x="137743" y="89708"/>
                    <a:pt x="137743" y="90026"/>
                  </a:cubicBezTo>
                  <a:lnTo>
                    <a:pt x="137743" y="90344"/>
                  </a:lnTo>
                  <a:lnTo>
                    <a:pt x="138061" y="90344"/>
                  </a:lnTo>
                  <a:cubicBezTo>
                    <a:pt x="138379" y="90026"/>
                    <a:pt x="138379" y="89708"/>
                    <a:pt x="138379" y="89389"/>
                  </a:cubicBezTo>
                  <a:close/>
                </a:path>
              </a:pathLst>
            </a:custGeom>
            <a:solidFill>
              <a:srgbClr val="000000"/>
            </a:solidFill>
            <a:ln w="63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AFC7616-4101-40D8-8974-436D114D655A}"/>
              </a:ext>
            </a:extLst>
          </p:cNvPr>
          <p:cNvGrpSpPr/>
          <p:nvPr/>
        </p:nvGrpSpPr>
        <p:grpSpPr>
          <a:xfrm>
            <a:off x="2059327" y="3929500"/>
            <a:ext cx="720046" cy="713501"/>
            <a:chOff x="1034543" y="1896021"/>
            <a:chExt cx="720046" cy="713501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7FE6117-1519-4860-8BD4-A56608F92F9B}"/>
                </a:ext>
              </a:extLst>
            </p:cNvPr>
            <p:cNvSpPr/>
            <p:nvPr/>
          </p:nvSpPr>
          <p:spPr>
            <a:xfrm>
              <a:off x="1497140" y="1929297"/>
              <a:ext cx="97070" cy="203847"/>
            </a:xfrm>
            <a:custGeom>
              <a:avLst/>
              <a:gdLst/>
              <a:ahLst/>
              <a:cxnLst/>
              <a:rect l="0" t="0" r="0" b="0"/>
              <a:pathLst>
                <a:path w="97070" h="203847">
                  <a:moveTo>
                    <a:pt x="8921" y="200421"/>
                  </a:moveTo>
                  <a:cubicBezTo>
                    <a:pt x="11347" y="201391"/>
                    <a:pt x="9891" y="200421"/>
                    <a:pt x="8921" y="200421"/>
                  </a:cubicBezTo>
                  <a:cubicBezTo>
                    <a:pt x="5038" y="200421"/>
                    <a:pt x="2611" y="195567"/>
                    <a:pt x="4067" y="193140"/>
                  </a:cubicBezTo>
                  <a:cubicBezTo>
                    <a:pt x="7950" y="186831"/>
                    <a:pt x="11347" y="181007"/>
                    <a:pt x="15230" y="174697"/>
                  </a:cubicBezTo>
                  <a:cubicBezTo>
                    <a:pt x="22511" y="161107"/>
                    <a:pt x="29791" y="148003"/>
                    <a:pt x="34644" y="134413"/>
                  </a:cubicBezTo>
                  <a:cubicBezTo>
                    <a:pt x="38527" y="124706"/>
                    <a:pt x="41925" y="113543"/>
                    <a:pt x="44351" y="103836"/>
                  </a:cubicBezTo>
                  <a:cubicBezTo>
                    <a:pt x="46778" y="96556"/>
                    <a:pt x="49205" y="90246"/>
                    <a:pt x="51632" y="85393"/>
                  </a:cubicBezTo>
                  <a:cubicBezTo>
                    <a:pt x="55514" y="74230"/>
                    <a:pt x="58912" y="64523"/>
                    <a:pt x="62795" y="54816"/>
                  </a:cubicBezTo>
                  <a:cubicBezTo>
                    <a:pt x="62795" y="52389"/>
                    <a:pt x="64251" y="49962"/>
                    <a:pt x="65221" y="47535"/>
                  </a:cubicBezTo>
                  <a:cubicBezTo>
                    <a:pt x="67648" y="42682"/>
                    <a:pt x="69104" y="37828"/>
                    <a:pt x="71531" y="32975"/>
                  </a:cubicBezTo>
                  <a:cubicBezTo>
                    <a:pt x="71531" y="31519"/>
                    <a:pt x="71531" y="30548"/>
                    <a:pt x="72987" y="29092"/>
                  </a:cubicBezTo>
                  <a:cubicBezTo>
                    <a:pt x="76870" y="24239"/>
                    <a:pt x="77840" y="17929"/>
                    <a:pt x="79297" y="10649"/>
                  </a:cubicBezTo>
                  <a:cubicBezTo>
                    <a:pt x="79297" y="9193"/>
                    <a:pt x="79297" y="8222"/>
                    <a:pt x="80753" y="6766"/>
                  </a:cubicBezTo>
                  <a:cubicBezTo>
                    <a:pt x="85606" y="2883"/>
                    <a:pt x="91916" y="2883"/>
                    <a:pt x="96769" y="5310"/>
                  </a:cubicBezTo>
                  <a:cubicBezTo>
                    <a:pt x="96769" y="6766"/>
                    <a:pt x="98225" y="7737"/>
                    <a:pt x="98225" y="7737"/>
                  </a:cubicBezTo>
                  <a:cubicBezTo>
                    <a:pt x="96769" y="11619"/>
                    <a:pt x="95798" y="15017"/>
                    <a:pt x="94342" y="18900"/>
                  </a:cubicBezTo>
                  <a:cubicBezTo>
                    <a:pt x="90460" y="25209"/>
                    <a:pt x="88033" y="31033"/>
                    <a:pt x="85606" y="38314"/>
                  </a:cubicBezTo>
                  <a:cubicBezTo>
                    <a:pt x="81723" y="48021"/>
                    <a:pt x="78326" y="56757"/>
                    <a:pt x="74443" y="66464"/>
                  </a:cubicBezTo>
                  <a:cubicBezTo>
                    <a:pt x="67163" y="87334"/>
                    <a:pt x="60853" y="107719"/>
                    <a:pt x="55029" y="128589"/>
                  </a:cubicBezTo>
                  <a:cubicBezTo>
                    <a:pt x="52602" y="140723"/>
                    <a:pt x="46293" y="151886"/>
                    <a:pt x="41439" y="161593"/>
                  </a:cubicBezTo>
                  <a:cubicBezTo>
                    <a:pt x="36586" y="171300"/>
                    <a:pt x="31732" y="180036"/>
                    <a:pt x="26879" y="188287"/>
                  </a:cubicBezTo>
                  <a:cubicBezTo>
                    <a:pt x="25423" y="190714"/>
                    <a:pt x="24452" y="193140"/>
                    <a:pt x="22025" y="197023"/>
                  </a:cubicBezTo>
                  <a:cubicBezTo>
                    <a:pt x="18628" y="200421"/>
                    <a:pt x="16201" y="201391"/>
                    <a:pt x="8921" y="200421"/>
                  </a:cubicBezTo>
                  <a:lnTo>
                    <a:pt x="8921" y="20042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CF3479C8-D204-44A7-A94D-93C390CEE113}"/>
                </a:ext>
              </a:extLst>
            </p:cNvPr>
            <p:cNvSpPr/>
            <p:nvPr/>
          </p:nvSpPr>
          <p:spPr>
            <a:xfrm>
              <a:off x="1394551" y="1896021"/>
              <a:ext cx="29121" cy="208701"/>
            </a:xfrm>
            <a:custGeom>
              <a:avLst/>
              <a:gdLst/>
              <a:ahLst/>
              <a:cxnLst/>
              <a:rect l="0" t="0" r="0" b="0"/>
              <a:pathLst>
                <a:path w="29121" h="208700">
                  <a:moveTo>
                    <a:pt x="29970" y="101196"/>
                  </a:moveTo>
                  <a:cubicBezTo>
                    <a:pt x="28514" y="107505"/>
                    <a:pt x="28514" y="114785"/>
                    <a:pt x="28514" y="123036"/>
                  </a:cubicBezTo>
                  <a:cubicBezTo>
                    <a:pt x="28514" y="141480"/>
                    <a:pt x="24632" y="158467"/>
                    <a:pt x="26088" y="176425"/>
                  </a:cubicBezTo>
                  <a:cubicBezTo>
                    <a:pt x="26088" y="182734"/>
                    <a:pt x="24632" y="190015"/>
                    <a:pt x="27544" y="195839"/>
                  </a:cubicBezTo>
                  <a:cubicBezTo>
                    <a:pt x="27544" y="197295"/>
                    <a:pt x="27544" y="197295"/>
                    <a:pt x="27544" y="198266"/>
                  </a:cubicBezTo>
                  <a:cubicBezTo>
                    <a:pt x="27544" y="204575"/>
                    <a:pt x="22690" y="209429"/>
                    <a:pt x="17837" y="209429"/>
                  </a:cubicBezTo>
                  <a:cubicBezTo>
                    <a:pt x="13954" y="209429"/>
                    <a:pt x="11527" y="207973"/>
                    <a:pt x="10556" y="205546"/>
                  </a:cubicBezTo>
                  <a:cubicBezTo>
                    <a:pt x="10556" y="203119"/>
                    <a:pt x="10556" y="201663"/>
                    <a:pt x="9100" y="199236"/>
                  </a:cubicBezTo>
                  <a:cubicBezTo>
                    <a:pt x="9100" y="192927"/>
                    <a:pt x="9100" y="185647"/>
                    <a:pt x="7644" y="179822"/>
                  </a:cubicBezTo>
                  <a:cubicBezTo>
                    <a:pt x="7644" y="175940"/>
                    <a:pt x="7644" y="173513"/>
                    <a:pt x="7644" y="170115"/>
                  </a:cubicBezTo>
                  <a:cubicBezTo>
                    <a:pt x="7644" y="161379"/>
                    <a:pt x="9100" y="154099"/>
                    <a:pt x="11527" y="146818"/>
                  </a:cubicBezTo>
                  <a:cubicBezTo>
                    <a:pt x="12983" y="141965"/>
                    <a:pt x="12983" y="137111"/>
                    <a:pt x="11527" y="132258"/>
                  </a:cubicBezTo>
                  <a:cubicBezTo>
                    <a:pt x="11527" y="129831"/>
                    <a:pt x="11527" y="125948"/>
                    <a:pt x="11527" y="122551"/>
                  </a:cubicBezTo>
                  <a:cubicBezTo>
                    <a:pt x="12983" y="116241"/>
                    <a:pt x="13954" y="108961"/>
                    <a:pt x="12983" y="101681"/>
                  </a:cubicBezTo>
                  <a:cubicBezTo>
                    <a:pt x="12983" y="99254"/>
                    <a:pt x="14439" y="96827"/>
                    <a:pt x="14439" y="95371"/>
                  </a:cubicBezTo>
                  <a:cubicBezTo>
                    <a:pt x="14439" y="91489"/>
                    <a:pt x="12983" y="88091"/>
                    <a:pt x="12983" y="85664"/>
                  </a:cubicBezTo>
                  <a:cubicBezTo>
                    <a:pt x="12983" y="76928"/>
                    <a:pt x="11527" y="69648"/>
                    <a:pt x="11527" y="62368"/>
                  </a:cubicBezTo>
                  <a:cubicBezTo>
                    <a:pt x="10071" y="59941"/>
                    <a:pt x="10071" y="56058"/>
                    <a:pt x="10071" y="52661"/>
                  </a:cubicBezTo>
                  <a:cubicBezTo>
                    <a:pt x="8615" y="47807"/>
                    <a:pt x="8615" y="43924"/>
                    <a:pt x="8615" y="39071"/>
                  </a:cubicBezTo>
                  <a:cubicBezTo>
                    <a:pt x="10071" y="34217"/>
                    <a:pt x="8615" y="30334"/>
                    <a:pt x="7159" y="26937"/>
                  </a:cubicBezTo>
                  <a:cubicBezTo>
                    <a:pt x="5703" y="24510"/>
                    <a:pt x="4732" y="22084"/>
                    <a:pt x="4732" y="19657"/>
                  </a:cubicBezTo>
                  <a:cubicBezTo>
                    <a:pt x="3276" y="15774"/>
                    <a:pt x="3276" y="10920"/>
                    <a:pt x="4732" y="6067"/>
                  </a:cubicBezTo>
                  <a:cubicBezTo>
                    <a:pt x="4732" y="4611"/>
                    <a:pt x="7159" y="3640"/>
                    <a:pt x="8615" y="3640"/>
                  </a:cubicBezTo>
                  <a:cubicBezTo>
                    <a:pt x="13468" y="5096"/>
                    <a:pt x="15895" y="7523"/>
                    <a:pt x="18322" y="10920"/>
                  </a:cubicBezTo>
                  <a:cubicBezTo>
                    <a:pt x="19778" y="12377"/>
                    <a:pt x="19778" y="14803"/>
                    <a:pt x="19778" y="15774"/>
                  </a:cubicBezTo>
                  <a:cubicBezTo>
                    <a:pt x="24632" y="29364"/>
                    <a:pt x="28514" y="43924"/>
                    <a:pt x="28514" y="59455"/>
                  </a:cubicBezTo>
                  <a:cubicBezTo>
                    <a:pt x="28514" y="69162"/>
                    <a:pt x="29970" y="78869"/>
                    <a:pt x="28514" y="88576"/>
                  </a:cubicBezTo>
                  <a:cubicBezTo>
                    <a:pt x="29000" y="92945"/>
                    <a:pt x="29000" y="95371"/>
                    <a:pt x="29970" y="101196"/>
                  </a:cubicBezTo>
                  <a:lnTo>
                    <a:pt x="29970" y="10119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0310B50-DB1F-4327-AB3E-C84DCE98C738}"/>
                </a:ext>
              </a:extLst>
            </p:cNvPr>
            <p:cNvSpPr/>
            <p:nvPr/>
          </p:nvSpPr>
          <p:spPr>
            <a:xfrm>
              <a:off x="1250133" y="1957175"/>
              <a:ext cx="87363" cy="169873"/>
            </a:xfrm>
            <a:custGeom>
              <a:avLst/>
              <a:gdLst/>
              <a:ahLst/>
              <a:cxnLst/>
              <a:rect l="0" t="0" r="0" b="0"/>
              <a:pathLst>
                <a:path w="87363" h="169872">
                  <a:moveTo>
                    <a:pt x="88482" y="160408"/>
                  </a:moveTo>
                  <a:cubicBezTo>
                    <a:pt x="88482" y="164291"/>
                    <a:pt x="84599" y="170115"/>
                    <a:pt x="81202" y="170115"/>
                  </a:cubicBezTo>
                  <a:cubicBezTo>
                    <a:pt x="78775" y="170115"/>
                    <a:pt x="76348" y="170115"/>
                    <a:pt x="73921" y="170115"/>
                  </a:cubicBezTo>
                  <a:cubicBezTo>
                    <a:pt x="72465" y="168659"/>
                    <a:pt x="71495" y="167688"/>
                    <a:pt x="70039" y="166233"/>
                  </a:cubicBezTo>
                  <a:cubicBezTo>
                    <a:pt x="68582" y="163806"/>
                    <a:pt x="68582" y="162350"/>
                    <a:pt x="68582" y="159923"/>
                  </a:cubicBezTo>
                  <a:cubicBezTo>
                    <a:pt x="67126" y="153613"/>
                    <a:pt x="64700" y="147789"/>
                    <a:pt x="61302" y="141480"/>
                  </a:cubicBezTo>
                  <a:cubicBezTo>
                    <a:pt x="57419" y="136626"/>
                    <a:pt x="54993" y="131773"/>
                    <a:pt x="51595" y="125463"/>
                  </a:cubicBezTo>
                  <a:cubicBezTo>
                    <a:pt x="51595" y="124007"/>
                    <a:pt x="50139" y="121580"/>
                    <a:pt x="49168" y="119153"/>
                  </a:cubicBezTo>
                  <a:cubicBezTo>
                    <a:pt x="47712" y="112844"/>
                    <a:pt x="46742" y="107990"/>
                    <a:pt x="42859" y="103137"/>
                  </a:cubicBezTo>
                  <a:cubicBezTo>
                    <a:pt x="41403" y="100710"/>
                    <a:pt x="40432" y="96827"/>
                    <a:pt x="38976" y="94401"/>
                  </a:cubicBezTo>
                  <a:cubicBezTo>
                    <a:pt x="36549" y="84694"/>
                    <a:pt x="31696" y="74987"/>
                    <a:pt x="27813" y="65280"/>
                  </a:cubicBezTo>
                  <a:cubicBezTo>
                    <a:pt x="23930" y="56543"/>
                    <a:pt x="19077" y="48292"/>
                    <a:pt x="14223" y="39556"/>
                  </a:cubicBezTo>
                  <a:cubicBezTo>
                    <a:pt x="14223" y="37129"/>
                    <a:pt x="11796" y="34703"/>
                    <a:pt x="10340" y="33247"/>
                  </a:cubicBezTo>
                  <a:cubicBezTo>
                    <a:pt x="8884" y="29364"/>
                    <a:pt x="6458" y="26937"/>
                    <a:pt x="5487" y="23540"/>
                  </a:cubicBezTo>
                  <a:cubicBezTo>
                    <a:pt x="4031" y="22083"/>
                    <a:pt x="3060" y="21113"/>
                    <a:pt x="4031" y="19657"/>
                  </a:cubicBezTo>
                  <a:cubicBezTo>
                    <a:pt x="4031" y="14803"/>
                    <a:pt x="4031" y="8494"/>
                    <a:pt x="6458" y="5096"/>
                  </a:cubicBezTo>
                  <a:cubicBezTo>
                    <a:pt x="7914" y="3640"/>
                    <a:pt x="8884" y="3640"/>
                    <a:pt x="8884" y="3640"/>
                  </a:cubicBezTo>
                  <a:cubicBezTo>
                    <a:pt x="12767" y="5096"/>
                    <a:pt x="15194" y="8494"/>
                    <a:pt x="16165" y="12376"/>
                  </a:cubicBezTo>
                  <a:cubicBezTo>
                    <a:pt x="18591" y="18686"/>
                    <a:pt x="22474" y="23540"/>
                    <a:pt x="27328" y="28393"/>
                  </a:cubicBezTo>
                  <a:cubicBezTo>
                    <a:pt x="33637" y="35673"/>
                    <a:pt x="36064" y="44410"/>
                    <a:pt x="39461" y="51690"/>
                  </a:cubicBezTo>
                  <a:cubicBezTo>
                    <a:pt x="40917" y="55573"/>
                    <a:pt x="41888" y="57999"/>
                    <a:pt x="43344" y="61397"/>
                  </a:cubicBezTo>
                  <a:cubicBezTo>
                    <a:pt x="48198" y="71104"/>
                    <a:pt x="52081" y="80811"/>
                    <a:pt x="56934" y="90518"/>
                  </a:cubicBezTo>
                  <a:cubicBezTo>
                    <a:pt x="61788" y="105078"/>
                    <a:pt x="68097" y="118668"/>
                    <a:pt x="76348" y="131773"/>
                  </a:cubicBezTo>
                  <a:cubicBezTo>
                    <a:pt x="77804" y="134199"/>
                    <a:pt x="80231" y="136626"/>
                    <a:pt x="80231" y="139053"/>
                  </a:cubicBezTo>
                  <a:cubicBezTo>
                    <a:pt x="82658" y="145362"/>
                    <a:pt x="84114" y="151187"/>
                    <a:pt x="87511" y="156040"/>
                  </a:cubicBezTo>
                  <a:cubicBezTo>
                    <a:pt x="88482" y="158952"/>
                    <a:pt x="88482" y="160408"/>
                    <a:pt x="88482" y="160408"/>
                  </a:cubicBezTo>
                  <a:lnTo>
                    <a:pt x="88482" y="16040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DA47F45-3B48-4931-8519-8B3DF57893D1}"/>
                </a:ext>
              </a:extLst>
            </p:cNvPr>
            <p:cNvSpPr/>
            <p:nvPr/>
          </p:nvSpPr>
          <p:spPr>
            <a:xfrm>
              <a:off x="1555324" y="2338174"/>
              <a:ext cx="165019" cy="106777"/>
            </a:xfrm>
            <a:custGeom>
              <a:avLst/>
              <a:gdLst/>
              <a:ahLst/>
              <a:cxnLst/>
              <a:rect l="0" t="0" r="0" b="0"/>
              <a:pathLst>
                <a:path w="165019" h="106777">
                  <a:moveTo>
                    <a:pt x="155555" y="105565"/>
                  </a:moveTo>
                  <a:cubicBezTo>
                    <a:pt x="150701" y="107021"/>
                    <a:pt x="146818" y="104109"/>
                    <a:pt x="143421" y="101682"/>
                  </a:cubicBezTo>
                  <a:cubicBezTo>
                    <a:pt x="133714" y="94402"/>
                    <a:pt x="124007" y="85665"/>
                    <a:pt x="114300" y="78385"/>
                  </a:cubicBezTo>
                  <a:cubicBezTo>
                    <a:pt x="105564" y="71105"/>
                    <a:pt x="95857" y="66251"/>
                    <a:pt x="87606" y="61398"/>
                  </a:cubicBezTo>
                  <a:cubicBezTo>
                    <a:pt x="69162" y="52661"/>
                    <a:pt x="52175" y="44410"/>
                    <a:pt x="36644" y="35674"/>
                  </a:cubicBezTo>
                  <a:cubicBezTo>
                    <a:pt x="26937" y="29365"/>
                    <a:pt x="17230" y="23540"/>
                    <a:pt x="7523" y="17231"/>
                  </a:cubicBezTo>
                  <a:cubicBezTo>
                    <a:pt x="5096" y="15775"/>
                    <a:pt x="5096" y="14804"/>
                    <a:pt x="3640" y="12377"/>
                  </a:cubicBezTo>
                  <a:cubicBezTo>
                    <a:pt x="3640" y="10921"/>
                    <a:pt x="3640" y="9950"/>
                    <a:pt x="5096" y="8494"/>
                  </a:cubicBezTo>
                  <a:cubicBezTo>
                    <a:pt x="7523" y="4612"/>
                    <a:pt x="12376" y="2185"/>
                    <a:pt x="17230" y="4612"/>
                  </a:cubicBezTo>
                  <a:cubicBezTo>
                    <a:pt x="18686" y="4612"/>
                    <a:pt x="21113" y="6068"/>
                    <a:pt x="23540" y="7039"/>
                  </a:cubicBezTo>
                  <a:cubicBezTo>
                    <a:pt x="41983" y="21599"/>
                    <a:pt x="62368" y="31306"/>
                    <a:pt x="84208" y="41013"/>
                  </a:cubicBezTo>
                  <a:cubicBezTo>
                    <a:pt x="102652" y="49749"/>
                    <a:pt x="120610" y="61883"/>
                    <a:pt x="137597" y="74017"/>
                  </a:cubicBezTo>
                  <a:cubicBezTo>
                    <a:pt x="139053" y="74017"/>
                    <a:pt x="140024" y="75473"/>
                    <a:pt x="142450" y="76444"/>
                  </a:cubicBezTo>
                  <a:cubicBezTo>
                    <a:pt x="148760" y="82753"/>
                    <a:pt x="154584" y="87607"/>
                    <a:pt x="161864" y="92460"/>
                  </a:cubicBezTo>
                  <a:cubicBezTo>
                    <a:pt x="163320" y="94887"/>
                    <a:pt x="164291" y="97314"/>
                    <a:pt x="164291" y="98770"/>
                  </a:cubicBezTo>
                  <a:cubicBezTo>
                    <a:pt x="162835" y="102652"/>
                    <a:pt x="160408" y="103623"/>
                    <a:pt x="157982" y="105079"/>
                  </a:cubicBezTo>
                  <a:cubicBezTo>
                    <a:pt x="157011" y="105565"/>
                    <a:pt x="157011" y="105565"/>
                    <a:pt x="155555" y="105565"/>
                  </a:cubicBezTo>
                  <a:lnTo>
                    <a:pt x="155555" y="10556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1B2CF1F6-3A0A-44BC-BA81-41ED8BCCA692}"/>
                </a:ext>
              </a:extLst>
            </p:cNvPr>
            <p:cNvSpPr/>
            <p:nvPr/>
          </p:nvSpPr>
          <p:spPr>
            <a:xfrm>
              <a:off x="1564560" y="2078102"/>
              <a:ext cx="160166" cy="116484"/>
            </a:xfrm>
            <a:custGeom>
              <a:avLst/>
              <a:gdLst/>
              <a:ahLst/>
              <a:cxnLst/>
              <a:rect l="0" t="0" r="0" b="0"/>
              <a:pathLst>
                <a:path w="160165" h="116484">
                  <a:moveTo>
                    <a:pt x="11877" y="113255"/>
                  </a:moveTo>
                  <a:cubicBezTo>
                    <a:pt x="7994" y="113255"/>
                    <a:pt x="7023" y="111799"/>
                    <a:pt x="4597" y="109372"/>
                  </a:cubicBezTo>
                  <a:cubicBezTo>
                    <a:pt x="3140" y="106945"/>
                    <a:pt x="3140" y="103062"/>
                    <a:pt x="6053" y="100635"/>
                  </a:cubicBezTo>
                  <a:cubicBezTo>
                    <a:pt x="9935" y="99179"/>
                    <a:pt x="12362" y="96753"/>
                    <a:pt x="14789" y="95782"/>
                  </a:cubicBezTo>
                  <a:cubicBezTo>
                    <a:pt x="28379" y="89472"/>
                    <a:pt x="40512" y="83648"/>
                    <a:pt x="53617" y="76368"/>
                  </a:cubicBezTo>
                  <a:cubicBezTo>
                    <a:pt x="69633" y="66661"/>
                    <a:pt x="85165" y="55498"/>
                    <a:pt x="99725" y="44820"/>
                  </a:cubicBezTo>
                  <a:cubicBezTo>
                    <a:pt x="111859" y="35113"/>
                    <a:pt x="125449" y="23950"/>
                    <a:pt x="137583" y="14243"/>
                  </a:cubicBezTo>
                  <a:cubicBezTo>
                    <a:pt x="140009" y="11816"/>
                    <a:pt x="142436" y="9390"/>
                    <a:pt x="144863" y="6963"/>
                  </a:cubicBezTo>
                  <a:cubicBezTo>
                    <a:pt x="146319" y="3080"/>
                    <a:pt x="149716" y="3080"/>
                    <a:pt x="153599" y="4536"/>
                  </a:cubicBezTo>
                  <a:cubicBezTo>
                    <a:pt x="156026" y="4536"/>
                    <a:pt x="157482" y="5992"/>
                    <a:pt x="159909" y="6963"/>
                  </a:cubicBezTo>
                  <a:cubicBezTo>
                    <a:pt x="161365" y="8419"/>
                    <a:pt x="161365" y="9390"/>
                    <a:pt x="161365" y="10846"/>
                  </a:cubicBezTo>
                  <a:cubicBezTo>
                    <a:pt x="159909" y="14729"/>
                    <a:pt x="157482" y="17155"/>
                    <a:pt x="155055" y="19582"/>
                  </a:cubicBezTo>
                  <a:cubicBezTo>
                    <a:pt x="148746" y="24436"/>
                    <a:pt x="142921" y="30745"/>
                    <a:pt x="136612" y="35599"/>
                  </a:cubicBezTo>
                  <a:cubicBezTo>
                    <a:pt x="132729" y="38025"/>
                    <a:pt x="129332" y="40452"/>
                    <a:pt x="125449" y="42879"/>
                  </a:cubicBezTo>
                  <a:cubicBezTo>
                    <a:pt x="111859" y="55013"/>
                    <a:pt x="98754" y="64720"/>
                    <a:pt x="84194" y="75883"/>
                  </a:cubicBezTo>
                  <a:cubicBezTo>
                    <a:pt x="73031" y="83163"/>
                    <a:pt x="60897" y="89472"/>
                    <a:pt x="50219" y="95297"/>
                  </a:cubicBezTo>
                  <a:cubicBezTo>
                    <a:pt x="45366" y="99179"/>
                    <a:pt x="40512" y="101606"/>
                    <a:pt x="35659" y="104033"/>
                  </a:cubicBezTo>
                  <a:cubicBezTo>
                    <a:pt x="30805" y="108886"/>
                    <a:pt x="23525" y="111313"/>
                    <a:pt x="17216" y="112769"/>
                  </a:cubicBezTo>
                  <a:cubicBezTo>
                    <a:pt x="14304" y="113255"/>
                    <a:pt x="12847" y="113255"/>
                    <a:pt x="11877" y="113255"/>
                  </a:cubicBezTo>
                  <a:lnTo>
                    <a:pt x="11877" y="11325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DDB47B3-C47B-4390-8940-31F63544A52D}"/>
                </a:ext>
              </a:extLst>
            </p:cNvPr>
            <p:cNvSpPr/>
            <p:nvPr/>
          </p:nvSpPr>
          <p:spPr>
            <a:xfrm>
              <a:off x="1413667" y="2447604"/>
              <a:ext cx="43682" cy="160166"/>
            </a:xfrm>
            <a:custGeom>
              <a:avLst/>
              <a:gdLst/>
              <a:ahLst/>
              <a:cxnLst/>
              <a:rect l="0" t="0" r="0" b="0"/>
              <a:pathLst>
                <a:path w="43681" h="160165">
                  <a:moveTo>
                    <a:pt x="35122" y="157756"/>
                  </a:moveTo>
                  <a:cubicBezTo>
                    <a:pt x="33666" y="156300"/>
                    <a:pt x="31240" y="156300"/>
                    <a:pt x="28813" y="156300"/>
                  </a:cubicBezTo>
                  <a:cubicBezTo>
                    <a:pt x="27357" y="154844"/>
                    <a:pt x="26386" y="153873"/>
                    <a:pt x="26386" y="152417"/>
                  </a:cubicBezTo>
                  <a:cubicBezTo>
                    <a:pt x="23959" y="143681"/>
                    <a:pt x="20077" y="136401"/>
                    <a:pt x="19106" y="126694"/>
                  </a:cubicBezTo>
                  <a:cubicBezTo>
                    <a:pt x="17650" y="117957"/>
                    <a:pt x="17650" y="109707"/>
                    <a:pt x="16679" y="100970"/>
                  </a:cubicBezTo>
                  <a:cubicBezTo>
                    <a:pt x="16679" y="86410"/>
                    <a:pt x="14252" y="71849"/>
                    <a:pt x="12796" y="57289"/>
                  </a:cubicBezTo>
                  <a:cubicBezTo>
                    <a:pt x="11340" y="50979"/>
                    <a:pt x="10370" y="46126"/>
                    <a:pt x="7943" y="40301"/>
                  </a:cubicBezTo>
                  <a:cubicBezTo>
                    <a:pt x="6487" y="31565"/>
                    <a:pt x="6487" y="21858"/>
                    <a:pt x="4060" y="13607"/>
                  </a:cubicBezTo>
                  <a:cubicBezTo>
                    <a:pt x="1633" y="7298"/>
                    <a:pt x="10370" y="2444"/>
                    <a:pt x="13767" y="3900"/>
                  </a:cubicBezTo>
                  <a:cubicBezTo>
                    <a:pt x="16194" y="5356"/>
                    <a:pt x="17650" y="5356"/>
                    <a:pt x="20077" y="6327"/>
                  </a:cubicBezTo>
                  <a:cubicBezTo>
                    <a:pt x="20077" y="7783"/>
                    <a:pt x="21533" y="8754"/>
                    <a:pt x="22503" y="10210"/>
                  </a:cubicBezTo>
                  <a:cubicBezTo>
                    <a:pt x="22503" y="10210"/>
                    <a:pt x="22503" y="10210"/>
                    <a:pt x="22503" y="11666"/>
                  </a:cubicBezTo>
                  <a:cubicBezTo>
                    <a:pt x="24930" y="27682"/>
                    <a:pt x="28813" y="42243"/>
                    <a:pt x="29784" y="57774"/>
                  </a:cubicBezTo>
                  <a:cubicBezTo>
                    <a:pt x="31240" y="74761"/>
                    <a:pt x="33666" y="90778"/>
                    <a:pt x="34637" y="106309"/>
                  </a:cubicBezTo>
                  <a:cubicBezTo>
                    <a:pt x="36093" y="118443"/>
                    <a:pt x="37064" y="130577"/>
                    <a:pt x="40947" y="142710"/>
                  </a:cubicBezTo>
                  <a:cubicBezTo>
                    <a:pt x="42403" y="145137"/>
                    <a:pt x="43373" y="147564"/>
                    <a:pt x="42403" y="149991"/>
                  </a:cubicBezTo>
                  <a:cubicBezTo>
                    <a:pt x="42403" y="155329"/>
                    <a:pt x="39976" y="157756"/>
                    <a:pt x="35122" y="157756"/>
                  </a:cubicBezTo>
                  <a:lnTo>
                    <a:pt x="35122" y="15775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1B6C0A26-BC16-490D-9383-C7F350BEC9B8}"/>
                </a:ext>
              </a:extLst>
            </p:cNvPr>
            <p:cNvSpPr/>
            <p:nvPr/>
          </p:nvSpPr>
          <p:spPr>
            <a:xfrm>
              <a:off x="1290322" y="2454210"/>
              <a:ext cx="58242" cy="155312"/>
            </a:xfrm>
            <a:custGeom>
              <a:avLst/>
              <a:gdLst/>
              <a:ahLst/>
              <a:cxnLst/>
              <a:rect l="0" t="0" r="0" b="0"/>
              <a:pathLst>
                <a:path w="58242" h="155312">
                  <a:moveTo>
                    <a:pt x="56543" y="12826"/>
                  </a:moveTo>
                  <a:cubicBezTo>
                    <a:pt x="54117" y="26416"/>
                    <a:pt x="51690" y="39520"/>
                    <a:pt x="49263" y="53110"/>
                  </a:cubicBezTo>
                  <a:cubicBezTo>
                    <a:pt x="45380" y="65244"/>
                    <a:pt x="41983" y="78834"/>
                    <a:pt x="38100" y="90968"/>
                  </a:cubicBezTo>
                  <a:cubicBezTo>
                    <a:pt x="33246" y="104558"/>
                    <a:pt x="26937" y="117662"/>
                    <a:pt x="25966" y="132223"/>
                  </a:cubicBezTo>
                  <a:cubicBezTo>
                    <a:pt x="24510" y="137076"/>
                    <a:pt x="23539" y="141930"/>
                    <a:pt x="22083" y="146783"/>
                  </a:cubicBezTo>
                  <a:cubicBezTo>
                    <a:pt x="20627" y="150666"/>
                    <a:pt x="17230" y="153093"/>
                    <a:pt x="13347" y="151637"/>
                  </a:cubicBezTo>
                  <a:cubicBezTo>
                    <a:pt x="10920" y="151637"/>
                    <a:pt x="9464" y="151637"/>
                    <a:pt x="8494" y="150180"/>
                  </a:cubicBezTo>
                  <a:cubicBezTo>
                    <a:pt x="4611" y="148724"/>
                    <a:pt x="3640" y="146298"/>
                    <a:pt x="3640" y="142900"/>
                  </a:cubicBezTo>
                  <a:cubicBezTo>
                    <a:pt x="5096" y="139017"/>
                    <a:pt x="6067" y="134164"/>
                    <a:pt x="8494" y="130766"/>
                  </a:cubicBezTo>
                  <a:cubicBezTo>
                    <a:pt x="8494" y="129310"/>
                    <a:pt x="8494" y="126884"/>
                    <a:pt x="9950" y="125913"/>
                  </a:cubicBezTo>
                  <a:cubicBezTo>
                    <a:pt x="9950" y="122030"/>
                    <a:pt x="9950" y="118633"/>
                    <a:pt x="9950" y="116206"/>
                  </a:cubicBezTo>
                  <a:cubicBezTo>
                    <a:pt x="13832" y="106499"/>
                    <a:pt x="16259" y="96792"/>
                    <a:pt x="19657" y="87085"/>
                  </a:cubicBezTo>
                  <a:cubicBezTo>
                    <a:pt x="23054" y="77378"/>
                    <a:pt x="25966" y="67671"/>
                    <a:pt x="29364" y="57964"/>
                  </a:cubicBezTo>
                  <a:cubicBezTo>
                    <a:pt x="33246" y="43403"/>
                    <a:pt x="36644" y="29813"/>
                    <a:pt x="35673" y="15253"/>
                  </a:cubicBezTo>
                  <a:cubicBezTo>
                    <a:pt x="35673" y="10399"/>
                    <a:pt x="38100" y="7973"/>
                    <a:pt x="41983" y="5546"/>
                  </a:cubicBezTo>
                  <a:cubicBezTo>
                    <a:pt x="46836" y="1663"/>
                    <a:pt x="53146" y="4090"/>
                    <a:pt x="55573" y="9429"/>
                  </a:cubicBezTo>
                  <a:cubicBezTo>
                    <a:pt x="55573" y="10399"/>
                    <a:pt x="55573" y="11370"/>
                    <a:pt x="56543" y="12826"/>
                  </a:cubicBezTo>
                  <a:lnTo>
                    <a:pt x="56543" y="1282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8639CD5E-5CE0-404B-A2C2-438EF2AA80D6}"/>
                </a:ext>
              </a:extLst>
            </p:cNvPr>
            <p:cNvSpPr/>
            <p:nvPr/>
          </p:nvSpPr>
          <p:spPr>
            <a:xfrm>
              <a:off x="1570156" y="2252268"/>
              <a:ext cx="184433" cy="29121"/>
            </a:xfrm>
            <a:custGeom>
              <a:avLst/>
              <a:gdLst/>
              <a:ahLst/>
              <a:cxnLst/>
              <a:rect l="0" t="0" r="0" b="0"/>
              <a:pathLst>
                <a:path w="184433" h="29121">
                  <a:moveTo>
                    <a:pt x="126162" y="28878"/>
                  </a:moveTo>
                  <a:cubicBezTo>
                    <a:pt x="124706" y="28878"/>
                    <a:pt x="119853" y="28878"/>
                    <a:pt x="114999" y="28878"/>
                  </a:cubicBezTo>
                  <a:cubicBezTo>
                    <a:pt x="103836" y="30334"/>
                    <a:pt x="93158" y="28878"/>
                    <a:pt x="81995" y="27422"/>
                  </a:cubicBezTo>
                  <a:cubicBezTo>
                    <a:pt x="65008" y="25966"/>
                    <a:pt x="48021" y="23540"/>
                    <a:pt x="31034" y="21113"/>
                  </a:cubicBezTo>
                  <a:cubicBezTo>
                    <a:pt x="26180" y="19657"/>
                    <a:pt x="19870" y="19657"/>
                    <a:pt x="14046" y="19657"/>
                  </a:cubicBezTo>
                  <a:cubicBezTo>
                    <a:pt x="11620" y="18201"/>
                    <a:pt x="9193" y="18201"/>
                    <a:pt x="6766" y="17230"/>
                  </a:cubicBezTo>
                  <a:cubicBezTo>
                    <a:pt x="2883" y="15774"/>
                    <a:pt x="2883" y="10920"/>
                    <a:pt x="5310" y="7523"/>
                  </a:cubicBezTo>
                  <a:cubicBezTo>
                    <a:pt x="7737" y="5096"/>
                    <a:pt x="11620" y="3640"/>
                    <a:pt x="15017" y="3640"/>
                  </a:cubicBezTo>
                  <a:cubicBezTo>
                    <a:pt x="18414" y="3640"/>
                    <a:pt x="22297" y="3640"/>
                    <a:pt x="24724" y="5096"/>
                  </a:cubicBezTo>
                  <a:cubicBezTo>
                    <a:pt x="45594" y="6552"/>
                    <a:pt x="65008" y="11406"/>
                    <a:pt x="84422" y="12377"/>
                  </a:cubicBezTo>
                  <a:cubicBezTo>
                    <a:pt x="95585" y="13833"/>
                    <a:pt x="106263" y="13833"/>
                    <a:pt x="117426" y="14803"/>
                  </a:cubicBezTo>
                  <a:cubicBezTo>
                    <a:pt x="131986" y="14803"/>
                    <a:pt x="148003" y="14803"/>
                    <a:pt x="163534" y="14803"/>
                  </a:cubicBezTo>
                  <a:cubicBezTo>
                    <a:pt x="167417" y="14803"/>
                    <a:pt x="170814" y="14803"/>
                    <a:pt x="174697" y="14803"/>
                  </a:cubicBezTo>
                  <a:cubicBezTo>
                    <a:pt x="176153" y="14803"/>
                    <a:pt x="177124" y="14803"/>
                    <a:pt x="178580" y="14803"/>
                  </a:cubicBezTo>
                  <a:cubicBezTo>
                    <a:pt x="181007" y="14803"/>
                    <a:pt x="184890" y="18686"/>
                    <a:pt x="184890" y="21113"/>
                  </a:cubicBezTo>
                  <a:cubicBezTo>
                    <a:pt x="184890" y="23540"/>
                    <a:pt x="183434" y="25966"/>
                    <a:pt x="181007" y="27422"/>
                  </a:cubicBezTo>
                  <a:cubicBezTo>
                    <a:pt x="178580" y="28878"/>
                    <a:pt x="177124" y="28878"/>
                    <a:pt x="174697" y="29849"/>
                  </a:cubicBezTo>
                  <a:cubicBezTo>
                    <a:pt x="170814" y="29849"/>
                    <a:pt x="167417" y="29849"/>
                    <a:pt x="163534" y="29849"/>
                  </a:cubicBezTo>
                  <a:cubicBezTo>
                    <a:pt x="152856" y="30334"/>
                    <a:pt x="140723" y="30334"/>
                    <a:pt x="126162" y="28878"/>
                  </a:cubicBezTo>
                  <a:lnTo>
                    <a:pt x="126162" y="288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6D01764-2C0E-4F8F-BDEB-9A8D94287A7C}"/>
                </a:ext>
              </a:extLst>
            </p:cNvPr>
            <p:cNvSpPr/>
            <p:nvPr/>
          </p:nvSpPr>
          <p:spPr>
            <a:xfrm>
              <a:off x="1503759" y="2425312"/>
              <a:ext cx="92217" cy="131045"/>
            </a:xfrm>
            <a:custGeom>
              <a:avLst/>
              <a:gdLst/>
              <a:ahLst/>
              <a:cxnLst/>
              <a:rect l="0" t="0" r="0" b="0"/>
              <a:pathLst>
                <a:path w="92216" h="131044">
                  <a:moveTo>
                    <a:pt x="79958" y="129087"/>
                  </a:moveTo>
                  <a:cubicBezTo>
                    <a:pt x="76075" y="129087"/>
                    <a:pt x="73648" y="127631"/>
                    <a:pt x="72678" y="125204"/>
                  </a:cubicBezTo>
                  <a:cubicBezTo>
                    <a:pt x="62971" y="106761"/>
                    <a:pt x="49381" y="91230"/>
                    <a:pt x="38703" y="74243"/>
                  </a:cubicBezTo>
                  <a:cubicBezTo>
                    <a:pt x="29967" y="60653"/>
                    <a:pt x="22687" y="47548"/>
                    <a:pt x="15406" y="33959"/>
                  </a:cubicBezTo>
                  <a:cubicBezTo>
                    <a:pt x="11523" y="27649"/>
                    <a:pt x="8126" y="21825"/>
                    <a:pt x="4243" y="15515"/>
                  </a:cubicBezTo>
                  <a:cubicBezTo>
                    <a:pt x="2787" y="13088"/>
                    <a:pt x="4243" y="10662"/>
                    <a:pt x="5699" y="8235"/>
                  </a:cubicBezTo>
                  <a:cubicBezTo>
                    <a:pt x="10553" y="955"/>
                    <a:pt x="19289" y="3381"/>
                    <a:pt x="22687" y="8235"/>
                  </a:cubicBezTo>
                  <a:cubicBezTo>
                    <a:pt x="25113" y="12118"/>
                    <a:pt x="27540" y="16971"/>
                    <a:pt x="29967" y="21825"/>
                  </a:cubicBezTo>
                  <a:cubicBezTo>
                    <a:pt x="34820" y="32988"/>
                    <a:pt x="41130" y="43666"/>
                    <a:pt x="46954" y="54829"/>
                  </a:cubicBezTo>
                  <a:cubicBezTo>
                    <a:pt x="58117" y="70845"/>
                    <a:pt x="68795" y="86376"/>
                    <a:pt x="79958" y="102393"/>
                  </a:cubicBezTo>
                  <a:cubicBezTo>
                    <a:pt x="82385" y="107246"/>
                    <a:pt x="84811" y="112100"/>
                    <a:pt x="88694" y="116953"/>
                  </a:cubicBezTo>
                  <a:cubicBezTo>
                    <a:pt x="90150" y="119380"/>
                    <a:pt x="90150" y="123263"/>
                    <a:pt x="87238" y="125690"/>
                  </a:cubicBezTo>
                  <a:cubicBezTo>
                    <a:pt x="85782" y="129087"/>
                    <a:pt x="82385" y="129087"/>
                    <a:pt x="79958" y="129087"/>
                  </a:cubicBezTo>
                  <a:lnTo>
                    <a:pt x="79958" y="12908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59EECCB0-0183-4166-B9F8-684BC83FE7A2}"/>
                </a:ext>
              </a:extLst>
            </p:cNvPr>
            <p:cNvSpPr/>
            <p:nvPr/>
          </p:nvSpPr>
          <p:spPr>
            <a:xfrm>
              <a:off x="1155395" y="2422141"/>
              <a:ext cx="116484" cy="111631"/>
            </a:xfrm>
            <a:custGeom>
              <a:avLst/>
              <a:gdLst/>
              <a:ahLst/>
              <a:cxnLst/>
              <a:rect l="0" t="0" r="0" b="0"/>
              <a:pathLst>
                <a:path w="116484" h="111630">
                  <a:moveTo>
                    <a:pt x="3640" y="104108"/>
                  </a:moveTo>
                  <a:cubicBezTo>
                    <a:pt x="3640" y="102652"/>
                    <a:pt x="5096" y="101681"/>
                    <a:pt x="5096" y="100225"/>
                  </a:cubicBezTo>
                  <a:cubicBezTo>
                    <a:pt x="12376" y="93915"/>
                    <a:pt x="18686" y="88091"/>
                    <a:pt x="24510" y="80811"/>
                  </a:cubicBezTo>
                  <a:cubicBezTo>
                    <a:pt x="26937" y="78384"/>
                    <a:pt x="29364" y="76928"/>
                    <a:pt x="30820" y="74501"/>
                  </a:cubicBezTo>
                  <a:cubicBezTo>
                    <a:pt x="37129" y="69648"/>
                    <a:pt x="42954" y="63338"/>
                    <a:pt x="47807" y="57514"/>
                  </a:cubicBezTo>
                  <a:cubicBezTo>
                    <a:pt x="54117" y="47807"/>
                    <a:pt x="62368" y="38100"/>
                    <a:pt x="71104" y="29364"/>
                  </a:cubicBezTo>
                  <a:cubicBezTo>
                    <a:pt x="80811" y="18201"/>
                    <a:pt x="92945" y="9950"/>
                    <a:pt x="106534" y="5096"/>
                  </a:cubicBezTo>
                  <a:cubicBezTo>
                    <a:pt x="107990" y="3640"/>
                    <a:pt x="108961" y="3640"/>
                    <a:pt x="110417" y="3640"/>
                  </a:cubicBezTo>
                  <a:cubicBezTo>
                    <a:pt x="111873" y="3640"/>
                    <a:pt x="114300" y="5096"/>
                    <a:pt x="114300" y="5096"/>
                  </a:cubicBezTo>
                  <a:cubicBezTo>
                    <a:pt x="115756" y="6552"/>
                    <a:pt x="115756" y="8979"/>
                    <a:pt x="115756" y="9950"/>
                  </a:cubicBezTo>
                  <a:cubicBezTo>
                    <a:pt x="114300" y="11406"/>
                    <a:pt x="114300" y="12377"/>
                    <a:pt x="113329" y="13833"/>
                  </a:cubicBezTo>
                  <a:cubicBezTo>
                    <a:pt x="109446" y="17715"/>
                    <a:pt x="106049" y="22569"/>
                    <a:pt x="101196" y="24996"/>
                  </a:cubicBezTo>
                  <a:cubicBezTo>
                    <a:pt x="91489" y="31305"/>
                    <a:pt x="82752" y="38585"/>
                    <a:pt x="75472" y="46836"/>
                  </a:cubicBezTo>
                  <a:cubicBezTo>
                    <a:pt x="61882" y="62853"/>
                    <a:pt x="49748" y="78384"/>
                    <a:pt x="35188" y="92945"/>
                  </a:cubicBezTo>
                  <a:cubicBezTo>
                    <a:pt x="28878" y="99254"/>
                    <a:pt x="24025" y="104108"/>
                    <a:pt x="18201" y="109932"/>
                  </a:cubicBezTo>
                  <a:cubicBezTo>
                    <a:pt x="15774" y="112359"/>
                    <a:pt x="13347" y="112359"/>
                    <a:pt x="10920" y="112359"/>
                  </a:cubicBezTo>
                  <a:cubicBezTo>
                    <a:pt x="6067" y="110417"/>
                    <a:pt x="4611" y="107990"/>
                    <a:pt x="3640" y="104108"/>
                  </a:cubicBezTo>
                  <a:lnTo>
                    <a:pt x="3640" y="10410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20384027-F156-4C1B-B8C4-27E5A4460ED5}"/>
                </a:ext>
              </a:extLst>
            </p:cNvPr>
            <p:cNvSpPr/>
            <p:nvPr/>
          </p:nvSpPr>
          <p:spPr>
            <a:xfrm>
              <a:off x="1184516" y="2059099"/>
              <a:ext cx="101924" cy="116484"/>
            </a:xfrm>
            <a:custGeom>
              <a:avLst/>
              <a:gdLst/>
              <a:ahLst/>
              <a:cxnLst/>
              <a:rect l="0" t="0" r="0" b="0"/>
              <a:pathLst>
                <a:path w="101923" h="116484">
                  <a:moveTo>
                    <a:pt x="13347" y="3640"/>
                  </a:moveTo>
                  <a:cubicBezTo>
                    <a:pt x="14803" y="3640"/>
                    <a:pt x="15774" y="5096"/>
                    <a:pt x="18201" y="5096"/>
                  </a:cubicBezTo>
                  <a:cubicBezTo>
                    <a:pt x="23054" y="9950"/>
                    <a:pt x="27908" y="13833"/>
                    <a:pt x="31790" y="19657"/>
                  </a:cubicBezTo>
                  <a:cubicBezTo>
                    <a:pt x="38100" y="28393"/>
                    <a:pt x="45380" y="35673"/>
                    <a:pt x="52661" y="42954"/>
                  </a:cubicBezTo>
                  <a:cubicBezTo>
                    <a:pt x="55087" y="45380"/>
                    <a:pt x="57514" y="47807"/>
                    <a:pt x="59941" y="50234"/>
                  </a:cubicBezTo>
                  <a:cubicBezTo>
                    <a:pt x="68677" y="62368"/>
                    <a:pt x="78384" y="73531"/>
                    <a:pt x="88091" y="85664"/>
                  </a:cubicBezTo>
                  <a:cubicBezTo>
                    <a:pt x="91974" y="91974"/>
                    <a:pt x="96827" y="97798"/>
                    <a:pt x="100225" y="104108"/>
                  </a:cubicBezTo>
                  <a:cubicBezTo>
                    <a:pt x="102652" y="107990"/>
                    <a:pt x="101681" y="111388"/>
                    <a:pt x="96342" y="112844"/>
                  </a:cubicBezTo>
                  <a:cubicBezTo>
                    <a:pt x="91489" y="115271"/>
                    <a:pt x="85179" y="112844"/>
                    <a:pt x="84208" y="107990"/>
                  </a:cubicBezTo>
                  <a:cubicBezTo>
                    <a:pt x="80325" y="100710"/>
                    <a:pt x="75472" y="95857"/>
                    <a:pt x="72075" y="89547"/>
                  </a:cubicBezTo>
                  <a:cubicBezTo>
                    <a:pt x="65765" y="82267"/>
                    <a:pt x="59941" y="74987"/>
                    <a:pt x="53631" y="67706"/>
                  </a:cubicBezTo>
                  <a:cubicBezTo>
                    <a:pt x="47322" y="60426"/>
                    <a:pt x="40041" y="53146"/>
                    <a:pt x="32761" y="45866"/>
                  </a:cubicBezTo>
                  <a:cubicBezTo>
                    <a:pt x="31305" y="43439"/>
                    <a:pt x="28878" y="41983"/>
                    <a:pt x="27908" y="41012"/>
                  </a:cubicBezTo>
                  <a:cubicBezTo>
                    <a:pt x="21598" y="29849"/>
                    <a:pt x="13347" y="24025"/>
                    <a:pt x="6067" y="15289"/>
                  </a:cubicBezTo>
                  <a:cubicBezTo>
                    <a:pt x="4611" y="15289"/>
                    <a:pt x="4611" y="13833"/>
                    <a:pt x="3640" y="13833"/>
                  </a:cubicBezTo>
                  <a:cubicBezTo>
                    <a:pt x="3640" y="12376"/>
                    <a:pt x="3640" y="8979"/>
                    <a:pt x="5096" y="7523"/>
                  </a:cubicBezTo>
                  <a:cubicBezTo>
                    <a:pt x="6067" y="5096"/>
                    <a:pt x="9464" y="3640"/>
                    <a:pt x="13347" y="3640"/>
                  </a:cubicBezTo>
                  <a:lnTo>
                    <a:pt x="13347" y="364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8485FA5E-16D2-4E00-ACBD-15D547810090}"/>
                </a:ext>
              </a:extLst>
            </p:cNvPr>
            <p:cNvSpPr/>
            <p:nvPr/>
          </p:nvSpPr>
          <p:spPr>
            <a:xfrm>
              <a:off x="1034543" y="2310319"/>
              <a:ext cx="160166" cy="29121"/>
            </a:xfrm>
            <a:custGeom>
              <a:avLst/>
              <a:gdLst/>
              <a:ahLst/>
              <a:cxnLst/>
              <a:rect l="0" t="0" r="0" b="0"/>
              <a:pathLst>
                <a:path w="160165" h="29121">
                  <a:moveTo>
                    <a:pt x="142450" y="20819"/>
                  </a:moveTo>
                  <a:cubicBezTo>
                    <a:pt x="127890" y="16936"/>
                    <a:pt x="115756" y="19363"/>
                    <a:pt x="102166" y="19363"/>
                  </a:cubicBezTo>
                  <a:cubicBezTo>
                    <a:pt x="85179" y="20819"/>
                    <a:pt x="66736" y="21790"/>
                    <a:pt x="49748" y="23246"/>
                  </a:cubicBezTo>
                  <a:cubicBezTo>
                    <a:pt x="36159" y="24702"/>
                    <a:pt x="23054" y="25673"/>
                    <a:pt x="10920" y="25673"/>
                  </a:cubicBezTo>
                  <a:cubicBezTo>
                    <a:pt x="9464" y="25673"/>
                    <a:pt x="7038" y="25673"/>
                    <a:pt x="6067" y="25673"/>
                  </a:cubicBezTo>
                  <a:cubicBezTo>
                    <a:pt x="4611" y="24217"/>
                    <a:pt x="3640" y="21790"/>
                    <a:pt x="3640" y="20819"/>
                  </a:cubicBezTo>
                  <a:cubicBezTo>
                    <a:pt x="6067" y="16936"/>
                    <a:pt x="8494" y="13539"/>
                    <a:pt x="14803" y="12083"/>
                  </a:cubicBezTo>
                  <a:cubicBezTo>
                    <a:pt x="23539" y="12083"/>
                    <a:pt x="31790" y="10627"/>
                    <a:pt x="40527" y="10627"/>
                  </a:cubicBezTo>
                  <a:cubicBezTo>
                    <a:pt x="41983" y="9171"/>
                    <a:pt x="42954" y="10627"/>
                    <a:pt x="44410" y="9171"/>
                  </a:cubicBezTo>
                  <a:cubicBezTo>
                    <a:pt x="60426" y="7715"/>
                    <a:pt x="75957" y="6744"/>
                    <a:pt x="92945" y="6744"/>
                  </a:cubicBezTo>
                  <a:cubicBezTo>
                    <a:pt x="94401" y="5288"/>
                    <a:pt x="96827" y="5288"/>
                    <a:pt x="99254" y="5288"/>
                  </a:cubicBezTo>
                  <a:cubicBezTo>
                    <a:pt x="113815" y="2861"/>
                    <a:pt x="127404" y="3832"/>
                    <a:pt x="141965" y="3832"/>
                  </a:cubicBezTo>
                  <a:cubicBezTo>
                    <a:pt x="145848" y="3832"/>
                    <a:pt x="149245" y="5288"/>
                    <a:pt x="154099" y="6259"/>
                  </a:cubicBezTo>
                  <a:cubicBezTo>
                    <a:pt x="156525" y="7715"/>
                    <a:pt x="157982" y="11112"/>
                    <a:pt x="155555" y="13539"/>
                  </a:cubicBezTo>
                  <a:cubicBezTo>
                    <a:pt x="151187" y="18392"/>
                    <a:pt x="147304" y="20819"/>
                    <a:pt x="142450" y="20819"/>
                  </a:cubicBezTo>
                  <a:lnTo>
                    <a:pt x="142450" y="2081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5F1BCFE1-DB7A-4474-B6B4-CACE5294B56B}"/>
                </a:ext>
              </a:extLst>
            </p:cNvPr>
            <p:cNvSpPr/>
            <p:nvPr/>
          </p:nvSpPr>
          <p:spPr>
            <a:xfrm>
              <a:off x="1068612" y="2374941"/>
              <a:ext cx="145605" cy="67949"/>
            </a:xfrm>
            <a:custGeom>
              <a:avLst/>
              <a:gdLst/>
              <a:ahLst/>
              <a:cxnLst/>
              <a:rect l="0" t="0" r="0" b="0"/>
              <a:pathLst>
                <a:path w="145605" h="67949">
                  <a:moveTo>
                    <a:pt x="142356" y="9586"/>
                  </a:moveTo>
                  <a:cubicBezTo>
                    <a:pt x="142356" y="9586"/>
                    <a:pt x="140900" y="12012"/>
                    <a:pt x="140900" y="13469"/>
                  </a:cubicBezTo>
                  <a:cubicBezTo>
                    <a:pt x="138473" y="15895"/>
                    <a:pt x="136046" y="17351"/>
                    <a:pt x="133619" y="17351"/>
                  </a:cubicBezTo>
                  <a:cubicBezTo>
                    <a:pt x="123912" y="19778"/>
                    <a:pt x="112749" y="23661"/>
                    <a:pt x="103042" y="27058"/>
                  </a:cubicBezTo>
                  <a:cubicBezTo>
                    <a:pt x="87026" y="30941"/>
                    <a:pt x="72465" y="38221"/>
                    <a:pt x="57905" y="46472"/>
                  </a:cubicBezTo>
                  <a:cubicBezTo>
                    <a:pt x="45771" y="52782"/>
                    <a:pt x="32181" y="60062"/>
                    <a:pt x="19077" y="64916"/>
                  </a:cubicBezTo>
                  <a:cubicBezTo>
                    <a:pt x="16650" y="67342"/>
                    <a:pt x="12767" y="67342"/>
                    <a:pt x="9370" y="68798"/>
                  </a:cubicBezTo>
                  <a:cubicBezTo>
                    <a:pt x="7914" y="68798"/>
                    <a:pt x="5487" y="67342"/>
                    <a:pt x="5487" y="67342"/>
                  </a:cubicBezTo>
                  <a:cubicBezTo>
                    <a:pt x="4031" y="65886"/>
                    <a:pt x="3060" y="62489"/>
                    <a:pt x="4031" y="61033"/>
                  </a:cubicBezTo>
                  <a:cubicBezTo>
                    <a:pt x="6458" y="57150"/>
                    <a:pt x="8884" y="54723"/>
                    <a:pt x="12767" y="52297"/>
                  </a:cubicBezTo>
                  <a:cubicBezTo>
                    <a:pt x="26357" y="48414"/>
                    <a:pt x="39461" y="41133"/>
                    <a:pt x="51595" y="35309"/>
                  </a:cubicBezTo>
                  <a:cubicBezTo>
                    <a:pt x="62758" y="29000"/>
                    <a:pt x="73436" y="23176"/>
                    <a:pt x="84599" y="18322"/>
                  </a:cubicBezTo>
                  <a:cubicBezTo>
                    <a:pt x="86055" y="16866"/>
                    <a:pt x="88482" y="16866"/>
                    <a:pt x="89453" y="15895"/>
                  </a:cubicBezTo>
                  <a:cubicBezTo>
                    <a:pt x="101586" y="12012"/>
                    <a:pt x="113720" y="8615"/>
                    <a:pt x="125854" y="4732"/>
                  </a:cubicBezTo>
                  <a:cubicBezTo>
                    <a:pt x="129737" y="3276"/>
                    <a:pt x="134590" y="3276"/>
                    <a:pt x="137988" y="4732"/>
                  </a:cubicBezTo>
                  <a:cubicBezTo>
                    <a:pt x="139929" y="4732"/>
                    <a:pt x="142356" y="7159"/>
                    <a:pt x="142356" y="9586"/>
                  </a:cubicBezTo>
                  <a:lnTo>
                    <a:pt x="142356" y="958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CFF704DA-0EB1-4AE9-A323-46D1C4990EB9}"/>
                </a:ext>
              </a:extLst>
            </p:cNvPr>
            <p:cNvSpPr/>
            <p:nvPr/>
          </p:nvSpPr>
          <p:spPr>
            <a:xfrm>
              <a:off x="1095090" y="2134328"/>
              <a:ext cx="131045" cy="67949"/>
            </a:xfrm>
            <a:custGeom>
              <a:avLst/>
              <a:gdLst/>
              <a:ahLst/>
              <a:cxnLst/>
              <a:rect l="0" t="0" r="0" b="0"/>
              <a:pathLst>
                <a:path w="131044" h="67949">
                  <a:moveTo>
                    <a:pt x="12983" y="3640"/>
                  </a:moveTo>
                  <a:cubicBezTo>
                    <a:pt x="16866" y="3640"/>
                    <a:pt x="20263" y="5096"/>
                    <a:pt x="24146" y="7523"/>
                  </a:cubicBezTo>
                  <a:cubicBezTo>
                    <a:pt x="28029" y="12376"/>
                    <a:pt x="33853" y="13833"/>
                    <a:pt x="40163" y="16259"/>
                  </a:cubicBezTo>
                  <a:cubicBezTo>
                    <a:pt x="49870" y="20142"/>
                    <a:pt x="61033" y="23540"/>
                    <a:pt x="71710" y="27422"/>
                  </a:cubicBezTo>
                  <a:cubicBezTo>
                    <a:pt x="90154" y="33732"/>
                    <a:pt x="108112" y="41012"/>
                    <a:pt x="124128" y="51690"/>
                  </a:cubicBezTo>
                  <a:cubicBezTo>
                    <a:pt x="125584" y="53146"/>
                    <a:pt x="126555" y="54117"/>
                    <a:pt x="128982" y="55573"/>
                  </a:cubicBezTo>
                  <a:cubicBezTo>
                    <a:pt x="128982" y="57029"/>
                    <a:pt x="130438" y="60426"/>
                    <a:pt x="128982" y="61882"/>
                  </a:cubicBezTo>
                  <a:cubicBezTo>
                    <a:pt x="127526" y="63338"/>
                    <a:pt x="126555" y="64309"/>
                    <a:pt x="124128" y="65765"/>
                  </a:cubicBezTo>
                  <a:cubicBezTo>
                    <a:pt x="120245" y="68192"/>
                    <a:pt x="116848" y="68192"/>
                    <a:pt x="112965" y="64309"/>
                  </a:cubicBezTo>
                  <a:cubicBezTo>
                    <a:pt x="109082" y="61882"/>
                    <a:pt x="105685" y="57999"/>
                    <a:pt x="101802" y="55573"/>
                  </a:cubicBezTo>
                  <a:cubicBezTo>
                    <a:pt x="90639" y="49263"/>
                    <a:pt x="79961" y="43439"/>
                    <a:pt x="67827" y="39556"/>
                  </a:cubicBezTo>
                  <a:cubicBezTo>
                    <a:pt x="58120" y="37129"/>
                    <a:pt x="49384" y="33247"/>
                    <a:pt x="39677" y="30820"/>
                  </a:cubicBezTo>
                  <a:cubicBezTo>
                    <a:pt x="27543" y="26937"/>
                    <a:pt x="16380" y="22083"/>
                    <a:pt x="5703" y="16259"/>
                  </a:cubicBezTo>
                  <a:cubicBezTo>
                    <a:pt x="3276" y="14803"/>
                    <a:pt x="3276" y="11406"/>
                    <a:pt x="4247" y="8979"/>
                  </a:cubicBezTo>
                  <a:cubicBezTo>
                    <a:pt x="6673" y="6067"/>
                    <a:pt x="9100" y="3640"/>
                    <a:pt x="12983" y="3640"/>
                  </a:cubicBezTo>
                  <a:lnTo>
                    <a:pt x="12983" y="364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B2C014F9-A108-4E8C-AE24-AF1E45271591}"/>
                </a:ext>
              </a:extLst>
            </p:cNvPr>
            <p:cNvSpPr/>
            <p:nvPr/>
          </p:nvSpPr>
          <p:spPr>
            <a:xfrm>
              <a:off x="1055780" y="2211984"/>
              <a:ext cx="140752" cy="43682"/>
            </a:xfrm>
            <a:custGeom>
              <a:avLst/>
              <a:gdLst/>
              <a:ahLst/>
              <a:cxnLst/>
              <a:rect l="0" t="0" r="0" b="0"/>
              <a:pathLst>
                <a:path w="140751" h="43681">
                  <a:moveTo>
                    <a:pt x="16862" y="3640"/>
                  </a:moveTo>
                  <a:cubicBezTo>
                    <a:pt x="21716" y="5096"/>
                    <a:pt x="28025" y="6067"/>
                    <a:pt x="32879" y="6067"/>
                  </a:cubicBezTo>
                  <a:cubicBezTo>
                    <a:pt x="44042" y="8494"/>
                    <a:pt x="54720" y="9950"/>
                    <a:pt x="66853" y="10920"/>
                  </a:cubicBezTo>
                  <a:cubicBezTo>
                    <a:pt x="73163" y="10920"/>
                    <a:pt x="78987" y="12376"/>
                    <a:pt x="85297" y="14803"/>
                  </a:cubicBezTo>
                  <a:cubicBezTo>
                    <a:pt x="102284" y="18686"/>
                    <a:pt x="118301" y="22083"/>
                    <a:pt x="133832" y="26937"/>
                  </a:cubicBezTo>
                  <a:cubicBezTo>
                    <a:pt x="136259" y="28393"/>
                    <a:pt x="138685" y="29364"/>
                    <a:pt x="140141" y="31790"/>
                  </a:cubicBezTo>
                  <a:cubicBezTo>
                    <a:pt x="141597" y="33247"/>
                    <a:pt x="141597" y="35673"/>
                    <a:pt x="140141" y="36644"/>
                  </a:cubicBezTo>
                  <a:cubicBezTo>
                    <a:pt x="138685" y="37615"/>
                    <a:pt x="136259" y="39071"/>
                    <a:pt x="135288" y="40527"/>
                  </a:cubicBezTo>
                  <a:cubicBezTo>
                    <a:pt x="132861" y="42954"/>
                    <a:pt x="128978" y="42954"/>
                    <a:pt x="126552" y="41983"/>
                  </a:cubicBezTo>
                  <a:cubicBezTo>
                    <a:pt x="110535" y="33247"/>
                    <a:pt x="93548" y="30820"/>
                    <a:pt x="76560" y="25966"/>
                  </a:cubicBezTo>
                  <a:cubicBezTo>
                    <a:pt x="75104" y="25966"/>
                    <a:pt x="72678" y="24510"/>
                    <a:pt x="71707" y="24510"/>
                  </a:cubicBezTo>
                  <a:cubicBezTo>
                    <a:pt x="52293" y="23054"/>
                    <a:pt x="32879" y="19657"/>
                    <a:pt x="12009" y="18201"/>
                  </a:cubicBezTo>
                  <a:cubicBezTo>
                    <a:pt x="10553" y="18201"/>
                    <a:pt x="9582" y="18201"/>
                    <a:pt x="8126" y="18201"/>
                  </a:cubicBezTo>
                  <a:cubicBezTo>
                    <a:pt x="6670" y="16745"/>
                    <a:pt x="5699" y="15774"/>
                    <a:pt x="4243" y="14318"/>
                  </a:cubicBezTo>
                  <a:cubicBezTo>
                    <a:pt x="2787" y="12862"/>
                    <a:pt x="4243" y="10435"/>
                    <a:pt x="5699" y="8008"/>
                  </a:cubicBezTo>
                  <a:cubicBezTo>
                    <a:pt x="9582" y="5096"/>
                    <a:pt x="13465" y="3640"/>
                    <a:pt x="16862" y="3640"/>
                  </a:cubicBezTo>
                  <a:lnTo>
                    <a:pt x="16862" y="364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03A4A76-4692-459B-B395-5B39A44829A8}"/>
                </a:ext>
              </a:extLst>
            </p:cNvPr>
            <p:cNvSpPr/>
            <p:nvPr/>
          </p:nvSpPr>
          <p:spPr>
            <a:xfrm>
              <a:off x="1123847" y="2485236"/>
              <a:ext cx="4854" cy="4854"/>
            </a:xfrm>
            <a:custGeom>
              <a:avLst/>
              <a:gdLst/>
              <a:ahLst/>
              <a:cxnLst/>
              <a:rect l="0" t="0" r="0" b="0"/>
              <a:pathLst>
                <a:path w="4853" h="4853">
                  <a:moveTo>
                    <a:pt x="4611" y="3640"/>
                  </a:moveTo>
                  <a:lnTo>
                    <a:pt x="4611" y="4611"/>
                  </a:lnTo>
                  <a:lnTo>
                    <a:pt x="3640" y="4611"/>
                  </a:lnTo>
                  <a:lnTo>
                    <a:pt x="4611" y="364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801C3AAF-35B0-4818-BAFC-5F7AB6492FDD}"/>
                </a:ext>
              </a:extLst>
            </p:cNvPr>
            <p:cNvSpPr/>
            <p:nvPr/>
          </p:nvSpPr>
          <p:spPr>
            <a:xfrm>
              <a:off x="1616478" y="2298377"/>
              <a:ext cx="4854" cy="4854"/>
            </a:xfrm>
            <a:custGeom>
              <a:avLst/>
              <a:gdLst/>
              <a:ahLst/>
              <a:cxnLst/>
              <a:rect l="0" t="0" r="0" b="0"/>
              <a:pathLst>
                <a:path w="4853" h="4853">
                  <a:moveTo>
                    <a:pt x="3640" y="3640"/>
                  </a:moveTo>
                  <a:lnTo>
                    <a:pt x="3640" y="3640"/>
                  </a:lnTo>
                  <a:lnTo>
                    <a:pt x="3640" y="3640"/>
                  </a:lnTo>
                  <a:lnTo>
                    <a:pt x="3640" y="364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5E6C9A17-0A92-4275-86CF-AF43A97197C1}"/>
              </a:ext>
            </a:extLst>
          </p:cNvPr>
          <p:cNvSpPr txBox="1"/>
          <p:nvPr/>
        </p:nvSpPr>
        <p:spPr>
          <a:xfrm>
            <a:off x="2166049" y="4213186"/>
            <a:ext cx="506571" cy="193899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700" b="1" dirty="0" err="1"/>
              <a:t>Null</a:t>
            </a:r>
            <a:br>
              <a:rPr lang="da-DK" sz="700" b="1" dirty="0"/>
            </a:br>
            <a:r>
              <a:rPr lang="da-DK" sz="700" b="1" dirty="0"/>
              <a:t>Object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FA6CD5E8-79D0-4C4A-8AB4-00BC0BC4DEF7}"/>
              </a:ext>
            </a:extLst>
          </p:cNvPr>
          <p:cNvGrpSpPr/>
          <p:nvPr/>
        </p:nvGrpSpPr>
        <p:grpSpPr>
          <a:xfrm>
            <a:off x="5487380" y="4751223"/>
            <a:ext cx="956650" cy="935202"/>
            <a:chOff x="1034543" y="1896021"/>
            <a:chExt cx="720046" cy="713501"/>
          </a:xfrm>
        </p:grpSpPr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AB7E7A6-7CE5-4C6E-8184-AF4C0E5B247B}"/>
                </a:ext>
              </a:extLst>
            </p:cNvPr>
            <p:cNvSpPr/>
            <p:nvPr/>
          </p:nvSpPr>
          <p:spPr>
            <a:xfrm>
              <a:off x="1497140" y="1929297"/>
              <a:ext cx="97070" cy="203847"/>
            </a:xfrm>
            <a:custGeom>
              <a:avLst/>
              <a:gdLst/>
              <a:ahLst/>
              <a:cxnLst/>
              <a:rect l="0" t="0" r="0" b="0"/>
              <a:pathLst>
                <a:path w="97070" h="203847">
                  <a:moveTo>
                    <a:pt x="8921" y="200421"/>
                  </a:moveTo>
                  <a:cubicBezTo>
                    <a:pt x="11347" y="201391"/>
                    <a:pt x="9891" y="200421"/>
                    <a:pt x="8921" y="200421"/>
                  </a:cubicBezTo>
                  <a:cubicBezTo>
                    <a:pt x="5038" y="200421"/>
                    <a:pt x="2611" y="195567"/>
                    <a:pt x="4067" y="193140"/>
                  </a:cubicBezTo>
                  <a:cubicBezTo>
                    <a:pt x="7950" y="186831"/>
                    <a:pt x="11347" y="181007"/>
                    <a:pt x="15230" y="174697"/>
                  </a:cubicBezTo>
                  <a:cubicBezTo>
                    <a:pt x="22511" y="161107"/>
                    <a:pt x="29791" y="148003"/>
                    <a:pt x="34644" y="134413"/>
                  </a:cubicBezTo>
                  <a:cubicBezTo>
                    <a:pt x="38527" y="124706"/>
                    <a:pt x="41925" y="113543"/>
                    <a:pt x="44351" y="103836"/>
                  </a:cubicBezTo>
                  <a:cubicBezTo>
                    <a:pt x="46778" y="96556"/>
                    <a:pt x="49205" y="90246"/>
                    <a:pt x="51632" y="85393"/>
                  </a:cubicBezTo>
                  <a:cubicBezTo>
                    <a:pt x="55514" y="74230"/>
                    <a:pt x="58912" y="64523"/>
                    <a:pt x="62795" y="54816"/>
                  </a:cubicBezTo>
                  <a:cubicBezTo>
                    <a:pt x="62795" y="52389"/>
                    <a:pt x="64251" y="49962"/>
                    <a:pt x="65221" y="47535"/>
                  </a:cubicBezTo>
                  <a:cubicBezTo>
                    <a:pt x="67648" y="42682"/>
                    <a:pt x="69104" y="37828"/>
                    <a:pt x="71531" y="32975"/>
                  </a:cubicBezTo>
                  <a:cubicBezTo>
                    <a:pt x="71531" y="31519"/>
                    <a:pt x="71531" y="30548"/>
                    <a:pt x="72987" y="29092"/>
                  </a:cubicBezTo>
                  <a:cubicBezTo>
                    <a:pt x="76870" y="24239"/>
                    <a:pt x="77840" y="17929"/>
                    <a:pt x="79297" y="10649"/>
                  </a:cubicBezTo>
                  <a:cubicBezTo>
                    <a:pt x="79297" y="9193"/>
                    <a:pt x="79297" y="8222"/>
                    <a:pt x="80753" y="6766"/>
                  </a:cubicBezTo>
                  <a:cubicBezTo>
                    <a:pt x="85606" y="2883"/>
                    <a:pt x="91916" y="2883"/>
                    <a:pt x="96769" y="5310"/>
                  </a:cubicBezTo>
                  <a:cubicBezTo>
                    <a:pt x="96769" y="6766"/>
                    <a:pt x="98225" y="7737"/>
                    <a:pt x="98225" y="7737"/>
                  </a:cubicBezTo>
                  <a:cubicBezTo>
                    <a:pt x="96769" y="11619"/>
                    <a:pt x="95798" y="15017"/>
                    <a:pt x="94342" y="18900"/>
                  </a:cubicBezTo>
                  <a:cubicBezTo>
                    <a:pt x="90460" y="25209"/>
                    <a:pt x="88033" y="31033"/>
                    <a:pt x="85606" y="38314"/>
                  </a:cubicBezTo>
                  <a:cubicBezTo>
                    <a:pt x="81723" y="48021"/>
                    <a:pt x="78326" y="56757"/>
                    <a:pt x="74443" y="66464"/>
                  </a:cubicBezTo>
                  <a:cubicBezTo>
                    <a:pt x="67163" y="87334"/>
                    <a:pt x="60853" y="107719"/>
                    <a:pt x="55029" y="128589"/>
                  </a:cubicBezTo>
                  <a:cubicBezTo>
                    <a:pt x="52602" y="140723"/>
                    <a:pt x="46293" y="151886"/>
                    <a:pt x="41439" y="161593"/>
                  </a:cubicBezTo>
                  <a:cubicBezTo>
                    <a:pt x="36586" y="171300"/>
                    <a:pt x="31732" y="180036"/>
                    <a:pt x="26879" y="188287"/>
                  </a:cubicBezTo>
                  <a:cubicBezTo>
                    <a:pt x="25423" y="190714"/>
                    <a:pt x="24452" y="193140"/>
                    <a:pt x="22025" y="197023"/>
                  </a:cubicBezTo>
                  <a:cubicBezTo>
                    <a:pt x="18628" y="200421"/>
                    <a:pt x="16201" y="201391"/>
                    <a:pt x="8921" y="200421"/>
                  </a:cubicBezTo>
                  <a:lnTo>
                    <a:pt x="8921" y="20042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685B38D5-8EA8-4A7F-A3C1-B216EE768B46}"/>
                </a:ext>
              </a:extLst>
            </p:cNvPr>
            <p:cNvSpPr/>
            <p:nvPr/>
          </p:nvSpPr>
          <p:spPr>
            <a:xfrm>
              <a:off x="1394551" y="1896021"/>
              <a:ext cx="29121" cy="208701"/>
            </a:xfrm>
            <a:custGeom>
              <a:avLst/>
              <a:gdLst/>
              <a:ahLst/>
              <a:cxnLst/>
              <a:rect l="0" t="0" r="0" b="0"/>
              <a:pathLst>
                <a:path w="29121" h="208700">
                  <a:moveTo>
                    <a:pt x="29970" y="101196"/>
                  </a:moveTo>
                  <a:cubicBezTo>
                    <a:pt x="28514" y="107505"/>
                    <a:pt x="28514" y="114785"/>
                    <a:pt x="28514" y="123036"/>
                  </a:cubicBezTo>
                  <a:cubicBezTo>
                    <a:pt x="28514" y="141480"/>
                    <a:pt x="24632" y="158467"/>
                    <a:pt x="26088" y="176425"/>
                  </a:cubicBezTo>
                  <a:cubicBezTo>
                    <a:pt x="26088" y="182734"/>
                    <a:pt x="24632" y="190015"/>
                    <a:pt x="27544" y="195839"/>
                  </a:cubicBezTo>
                  <a:cubicBezTo>
                    <a:pt x="27544" y="197295"/>
                    <a:pt x="27544" y="197295"/>
                    <a:pt x="27544" y="198266"/>
                  </a:cubicBezTo>
                  <a:cubicBezTo>
                    <a:pt x="27544" y="204575"/>
                    <a:pt x="22690" y="209429"/>
                    <a:pt x="17837" y="209429"/>
                  </a:cubicBezTo>
                  <a:cubicBezTo>
                    <a:pt x="13954" y="209429"/>
                    <a:pt x="11527" y="207973"/>
                    <a:pt x="10556" y="205546"/>
                  </a:cubicBezTo>
                  <a:cubicBezTo>
                    <a:pt x="10556" y="203119"/>
                    <a:pt x="10556" y="201663"/>
                    <a:pt x="9100" y="199236"/>
                  </a:cubicBezTo>
                  <a:cubicBezTo>
                    <a:pt x="9100" y="192927"/>
                    <a:pt x="9100" y="185647"/>
                    <a:pt x="7644" y="179822"/>
                  </a:cubicBezTo>
                  <a:cubicBezTo>
                    <a:pt x="7644" y="175940"/>
                    <a:pt x="7644" y="173513"/>
                    <a:pt x="7644" y="170115"/>
                  </a:cubicBezTo>
                  <a:cubicBezTo>
                    <a:pt x="7644" y="161379"/>
                    <a:pt x="9100" y="154099"/>
                    <a:pt x="11527" y="146818"/>
                  </a:cubicBezTo>
                  <a:cubicBezTo>
                    <a:pt x="12983" y="141965"/>
                    <a:pt x="12983" y="137111"/>
                    <a:pt x="11527" y="132258"/>
                  </a:cubicBezTo>
                  <a:cubicBezTo>
                    <a:pt x="11527" y="129831"/>
                    <a:pt x="11527" y="125948"/>
                    <a:pt x="11527" y="122551"/>
                  </a:cubicBezTo>
                  <a:cubicBezTo>
                    <a:pt x="12983" y="116241"/>
                    <a:pt x="13954" y="108961"/>
                    <a:pt x="12983" y="101681"/>
                  </a:cubicBezTo>
                  <a:cubicBezTo>
                    <a:pt x="12983" y="99254"/>
                    <a:pt x="14439" y="96827"/>
                    <a:pt x="14439" y="95371"/>
                  </a:cubicBezTo>
                  <a:cubicBezTo>
                    <a:pt x="14439" y="91489"/>
                    <a:pt x="12983" y="88091"/>
                    <a:pt x="12983" y="85664"/>
                  </a:cubicBezTo>
                  <a:cubicBezTo>
                    <a:pt x="12983" y="76928"/>
                    <a:pt x="11527" y="69648"/>
                    <a:pt x="11527" y="62368"/>
                  </a:cubicBezTo>
                  <a:cubicBezTo>
                    <a:pt x="10071" y="59941"/>
                    <a:pt x="10071" y="56058"/>
                    <a:pt x="10071" y="52661"/>
                  </a:cubicBezTo>
                  <a:cubicBezTo>
                    <a:pt x="8615" y="47807"/>
                    <a:pt x="8615" y="43924"/>
                    <a:pt x="8615" y="39071"/>
                  </a:cubicBezTo>
                  <a:cubicBezTo>
                    <a:pt x="10071" y="34217"/>
                    <a:pt x="8615" y="30334"/>
                    <a:pt x="7159" y="26937"/>
                  </a:cubicBezTo>
                  <a:cubicBezTo>
                    <a:pt x="5703" y="24510"/>
                    <a:pt x="4732" y="22084"/>
                    <a:pt x="4732" y="19657"/>
                  </a:cubicBezTo>
                  <a:cubicBezTo>
                    <a:pt x="3276" y="15774"/>
                    <a:pt x="3276" y="10920"/>
                    <a:pt x="4732" y="6067"/>
                  </a:cubicBezTo>
                  <a:cubicBezTo>
                    <a:pt x="4732" y="4611"/>
                    <a:pt x="7159" y="3640"/>
                    <a:pt x="8615" y="3640"/>
                  </a:cubicBezTo>
                  <a:cubicBezTo>
                    <a:pt x="13468" y="5096"/>
                    <a:pt x="15895" y="7523"/>
                    <a:pt x="18322" y="10920"/>
                  </a:cubicBezTo>
                  <a:cubicBezTo>
                    <a:pt x="19778" y="12377"/>
                    <a:pt x="19778" y="14803"/>
                    <a:pt x="19778" y="15774"/>
                  </a:cubicBezTo>
                  <a:cubicBezTo>
                    <a:pt x="24632" y="29364"/>
                    <a:pt x="28514" y="43924"/>
                    <a:pt x="28514" y="59455"/>
                  </a:cubicBezTo>
                  <a:cubicBezTo>
                    <a:pt x="28514" y="69162"/>
                    <a:pt x="29970" y="78869"/>
                    <a:pt x="28514" y="88576"/>
                  </a:cubicBezTo>
                  <a:cubicBezTo>
                    <a:pt x="29000" y="92945"/>
                    <a:pt x="29000" y="95371"/>
                    <a:pt x="29970" y="101196"/>
                  </a:cubicBezTo>
                  <a:lnTo>
                    <a:pt x="29970" y="10119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E9C1FE0A-6F01-42DA-8458-E3EF12566678}"/>
                </a:ext>
              </a:extLst>
            </p:cNvPr>
            <p:cNvSpPr/>
            <p:nvPr/>
          </p:nvSpPr>
          <p:spPr>
            <a:xfrm>
              <a:off x="1250133" y="1957175"/>
              <a:ext cx="87363" cy="169873"/>
            </a:xfrm>
            <a:custGeom>
              <a:avLst/>
              <a:gdLst/>
              <a:ahLst/>
              <a:cxnLst/>
              <a:rect l="0" t="0" r="0" b="0"/>
              <a:pathLst>
                <a:path w="87363" h="169872">
                  <a:moveTo>
                    <a:pt x="88482" y="160408"/>
                  </a:moveTo>
                  <a:cubicBezTo>
                    <a:pt x="88482" y="164291"/>
                    <a:pt x="84599" y="170115"/>
                    <a:pt x="81202" y="170115"/>
                  </a:cubicBezTo>
                  <a:cubicBezTo>
                    <a:pt x="78775" y="170115"/>
                    <a:pt x="76348" y="170115"/>
                    <a:pt x="73921" y="170115"/>
                  </a:cubicBezTo>
                  <a:cubicBezTo>
                    <a:pt x="72465" y="168659"/>
                    <a:pt x="71495" y="167688"/>
                    <a:pt x="70039" y="166233"/>
                  </a:cubicBezTo>
                  <a:cubicBezTo>
                    <a:pt x="68582" y="163806"/>
                    <a:pt x="68582" y="162350"/>
                    <a:pt x="68582" y="159923"/>
                  </a:cubicBezTo>
                  <a:cubicBezTo>
                    <a:pt x="67126" y="153613"/>
                    <a:pt x="64700" y="147789"/>
                    <a:pt x="61302" y="141480"/>
                  </a:cubicBezTo>
                  <a:cubicBezTo>
                    <a:pt x="57419" y="136626"/>
                    <a:pt x="54993" y="131773"/>
                    <a:pt x="51595" y="125463"/>
                  </a:cubicBezTo>
                  <a:cubicBezTo>
                    <a:pt x="51595" y="124007"/>
                    <a:pt x="50139" y="121580"/>
                    <a:pt x="49168" y="119153"/>
                  </a:cubicBezTo>
                  <a:cubicBezTo>
                    <a:pt x="47712" y="112844"/>
                    <a:pt x="46742" y="107990"/>
                    <a:pt x="42859" y="103137"/>
                  </a:cubicBezTo>
                  <a:cubicBezTo>
                    <a:pt x="41403" y="100710"/>
                    <a:pt x="40432" y="96827"/>
                    <a:pt x="38976" y="94401"/>
                  </a:cubicBezTo>
                  <a:cubicBezTo>
                    <a:pt x="36549" y="84694"/>
                    <a:pt x="31696" y="74987"/>
                    <a:pt x="27813" y="65280"/>
                  </a:cubicBezTo>
                  <a:cubicBezTo>
                    <a:pt x="23930" y="56543"/>
                    <a:pt x="19077" y="48292"/>
                    <a:pt x="14223" y="39556"/>
                  </a:cubicBezTo>
                  <a:cubicBezTo>
                    <a:pt x="14223" y="37129"/>
                    <a:pt x="11796" y="34703"/>
                    <a:pt x="10340" y="33247"/>
                  </a:cubicBezTo>
                  <a:cubicBezTo>
                    <a:pt x="8884" y="29364"/>
                    <a:pt x="6458" y="26937"/>
                    <a:pt x="5487" y="23540"/>
                  </a:cubicBezTo>
                  <a:cubicBezTo>
                    <a:pt x="4031" y="22083"/>
                    <a:pt x="3060" y="21113"/>
                    <a:pt x="4031" y="19657"/>
                  </a:cubicBezTo>
                  <a:cubicBezTo>
                    <a:pt x="4031" y="14803"/>
                    <a:pt x="4031" y="8494"/>
                    <a:pt x="6458" y="5096"/>
                  </a:cubicBezTo>
                  <a:cubicBezTo>
                    <a:pt x="7914" y="3640"/>
                    <a:pt x="8884" y="3640"/>
                    <a:pt x="8884" y="3640"/>
                  </a:cubicBezTo>
                  <a:cubicBezTo>
                    <a:pt x="12767" y="5096"/>
                    <a:pt x="15194" y="8494"/>
                    <a:pt x="16165" y="12376"/>
                  </a:cubicBezTo>
                  <a:cubicBezTo>
                    <a:pt x="18591" y="18686"/>
                    <a:pt x="22474" y="23540"/>
                    <a:pt x="27328" y="28393"/>
                  </a:cubicBezTo>
                  <a:cubicBezTo>
                    <a:pt x="33637" y="35673"/>
                    <a:pt x="36064" y="44410"/>
                    <a:pt x="39461" y="51690"/>
                  </a:cubicBezTo>
                  <a:cubicBezTo>
                    <a:pt x="40917" y="55573"/>
                    <a:pt x="41888" y="57999"/>
                    <a:pt x="43344" y="61397"/>
                  </a:cubicBezTo>
                  <a:cubicBezTo>
                    <a:pt x="48198" y="71104"/>
                    <a:pt x="52081" y="80811"/>
                    <a:pt x="56934" y="90518"/>
                  </a:cubicBezTo>
                  <a:cubicBezTo>
                    <a:pt x="61788" y="105078"/>
                    <a:pt x="68097" y="118668"/>
                    <a:pt x="76348" y="131773"/>
                  </a:cubicBezTo>
                  <a:cubicBezTo>
                    <a:pt x="77804" y="134199"/>
                    <a:pt x="80231" y="136626"/>
                    <a:pt x="80231" y="139053"/>
                  </a:cubicBezTo>
                  <a:cubicBezTo>
                    <a:pt x="82658" y="145362"/>
                    <a:pt x="84114" y="151187"/>
                    <a:pt x="87511" y="156040"/>
                  </a:cubicBezTo>
                  <a:cubicBezTo>
                    <a:pt x="88482" y="158952"/>
                    <a:pt x="88482" y="160408"/>
                    <a:pt x="88482" y="160408"/>
                  </a:cubicBezTo>
                  <a:lnTo>
                    <a:pt x="88482" y="16040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09A4AC6A-FEA2-4A7D-A1C3-3238BF9BE257}"/>
                </a:ext>
              </a:extLst>
            </p:cNvPr>
            <p:cNvSpPr/>
            <p:nvPr/>
          </p:nvSpPr>
          <p:spPr>
            <a:xfrm>
              <a:off x="1555324" y="2338174"/>
              <a:ext cx="165019" cy="106777"/>
            </a:xfrm>
            <a:custGeom>
              <a:avLst/>
              <a:gdLst/>
              <a:ahLst/>
              <a:cxnLst/>
              <a:rect l="0" t="0" r="0" b="0"/>
              <a:pathLst>
                <a:path w="165019" h="106777">
                  <a:moveTo>
                    <a:pt x="155555" y="105565"/>
                  </a:moveTo>
                  <a:cubicBezTo>
                    <a:pt x="150701" y="107021"/>
                    <a:pt x="146818" y="104109"/>
                    <a:pt x="143421" y="101682"/>
                  </a:cubicBezTo>
                  <a:cubicBezTo>
                    <a:pt x="133714" y="94402"/>
                    <a:pt x="124007" y="85665"/>
                    <a:pt x="114300" y="78385"/>
                  </a:cubicBezTo>
                  <a:cubicBezTo>
                    <a:pt x="105564" y="71105"/>
                    <a:pt x="95857" y="66251"/>
                    <a:pt x="87606" y="61398"/>
                  </a:cubicBezTo>
                  <a:cubicBezTo>
                    <a:pt x="69162" y="52661"/>
                    <a:pt x="52175" y="44410"/>
                    <a:pt x="36644" y="35674"/>
                  </a:cubicBezTo>
                  <a:cubicBezTo>
                    <a:pt x="26937" y="29365"/>
                    <a:pt x="17230" y="23540"/>
                    <a:pt x="7523" y="17231"/>
                  </a:cubicBezTo>
                  <a:cubicBezTo>
                    <a:pt x="5096" y="15775"/>
                    <a:pt x="5096" y="14804"/>
                    <a:pt x="3640" y="12377"/>
                  </a:cubicBezTo>
                  <a:cubicBezTo>
                    <a:pt x="3640" y="10921"/>
                    <a:pt x="3640" y="9950"/>
                    <a:pt x="5096" y="8494"/>
                  </a:cubicBezTo>
                  <a:cubicBezTo>
                    <a:pt x="7523" y="4612"/>
                    <a:pt x="12376" y="2185"/>
                    <a:pt x="17230" y="4612"/>
                  </a:cubicBezTo>
                  <a:cubicBezTo>
                    <a:pt x="18686" y="4612"/>
                    <a:pt x="21113" y="6068"/>
                    <a:pt x="23540" y="7039"/>
                  </a:cubicBezTo>
                  <a:cubicBezTo>
                    <a:pt x="41983" y="21599"/>
                    <a:pt x="62368" y="31306"/>
                    <a:pt x="84208" y="41013"/>
                  </a:cubicBezTo>
                  <a:cubicBezTo>
                    <a:pt x="102652" y="49749"/>
                    <a:pt x="120610" y="61883"/>
                    <a:pt x="137597" y="74017"/>
                  </a:cubicBezTo>
                  <a:cubicBezTo>
                    <a:pt x="139053" y="74017"/>
                    <a:pt x="140024" y="75473"/>
                    <a:pt x="142450" y="76444"/>
                  </a:cubicBezTo>
                  <a:cubicBezTo>
                    <a:pt x="148760" y="82753"/>
                    <a:pt x="154584" y="87607"/>
                    <a:pt x="161864" y="92460"/>
                  </a:cubicBezTo>
                  <a:cubicBezTo>
                    <a:pt x="163320" y="94887"/>
                    <a:pt x="164291" y="97314"/>
                    <a:pt x="164291" y="98770"/>
                  </a:cubicBezTo>
                  <a:cubicBezTo>
                    <a:pt x="162835" y="102652"/>
                    <a:pt x="160408" y="103623"/>
                    <a:pt x="157982" y="105079"/>
                  </a:cubicBezTo>
                  <a:cubicBezTo>
                    <a:pt x="157011" y="105565"/>
                    <a:pt x="157011" y="105565"/>
                    <a:pt x="155555" y="105565"/>
                  </a:cubicBezTo>
                  <a:lnTo>
                    <a:pt x="155555" y="10556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D172A156-45DD-4A09-BBCB-04F805CC29A5}"/>
                </a:ext>
              </a:extLst>
            </p:cNvPr>
            <p:cNvSpPr/>
            <p:nvPr/>
          </p:nvSpPr>
          <p:spPr>
            <a:xfrm>
              <a:off x="1564560" y="2078102"/>
              <a:ext cx="160166" cy="116484"/>
            </a:xfrm>
            <a:custGeom>
              <a:avLst/>
              <a:gdLst/>
              <a:ahLst/>
              <a:cxnLst/>
              <a:rect l="0" t="0" r="0" b="0"/>
              <a:pathLst>
                <a:path w="160165" h="116484">
                  <a:moveTo>
                    <a:pt x="11877" y="113255"/>
                  </a:moveTo>
                  <a:cubicBezTo>
                    <a:pt x="7994" y="113255"/>
                    <a:pt x="7023" y="111799"/>
                    <a:pt x="4597" y="109372"/>
                  </a:cubicBezTo>
                  <a:cubicBezTo>
                    <a:pt x="3140" y="106945"/>
                    <a:pt x="3140" y="103062"/>
                    <a:pt x="6053" y="100635"/>
                  </a:cubicBezTo>
                  <a:cubicBezTo>
                    <a:pt x="9935" y="99179"/>
                    <a:pt x="12362" y="96753"/>
                    <a:pt x="14789" y="95782"/>
                  </a:cubicBezTo>
                  <a:cubicBezTo>
                    <a:pt x="28379" y="89472"/>
                    <a:pt x="40512" y="83648"/>
                    <a:pt x="53617" y="76368"/>
                  </a:cubicBezTo>
                  <a:cubicBezTo>
                    <a:pt x="69633" y="66661"/>
                    <a:pt x="85165" y="55498"/>
                    <a:pt x="99725" y="44820"/>
                  </a:cubicBezTo>
                  <a:cubicBezTo>
                    <a:pt x="111859" y="35113"/>
                    <a:pt x="125449" y="23950"/>
                    <a:pt x="137583" y="14243"/>
                  </a:cubicBezTo>
                  <a:cubicBezTo>
                    <a:pt x="140009" y="11816"/>
                    <a:pt x="142436" y="9390"/>
                    <a:pt x="144863" y="6963"/>
                  </a:cubicBezTo>
                  <a:cubicBezTo>
                    <a:pt x="146319" y="3080"/>
                    <a:pt x="149716" y="3080"/>
                    <a:pt x="153599" y="4536"/>
                  </a:cubicBezTo>
                  <a:cubicBezTo>
                    <a:pt x="156026" y="4536"/>
                    <a:pt x="157482" y="5992"/>
                    <a:pt x="159909" y="6963"/>
                  </a:cubicBezTo>
                  <a:cubicBezTo>
                    <a:pt x="161365" y="8419"/>
                    <a:pt x="161365" y="9390"/>
                    <a:pt x="161365" y="10846"/>
                  </a:cubicBezTo>
                  <a:cubicBezTo>
                    <a:pt x="159909" y="14729"/>
                    <a:pt x="157482" y="17155"/>
                    <a:pt x="155055" y="19582"/>
                  </a:cubicBezTo>
                  <a:cubicBezTo>
                    <a:pt x="148746" y="24436"/>
                    <a:pt x="142921" y="30745"/>
                    <a:pt x="136612" y="35599"/>
                  </a:cubicBezTo>
                  <a:cubicBezTo>
                    <a:pt x="132729" y="38025"/>
                    <a:pt x="129332" y="40452"/>
                    <a:pt x="125449" y="42879"/>
                  </a:cubicBezTo>
                  <a:cubicBezTo>
                    <a:pt x="111859" y="55013"/>
                    <a:pt x="98754" y="64720"/>
                    <a:pt x="84194" y="75883"/>
                  </a:cubicBezTo>
                  <a:cubicBezTo>
                    <a:pt x="73031" y="83163"/>
                    <a:pt x="60897" y="89472"/>
                    <a:pt x="50219" y="95297"/>
                  </a:cubicBezTo>
                  <a:cubicBezTo>
                    <a:pt x="45366" y="99179"/>
                    <a:pt x="40512" y="101606"/>
                    <a:pt x="35659" y="104033"/>
                  </a:cubicBezTo>
                  <a:cubicBezTo>
                    <a:pt x="30805" y="108886"/>
                    <a:pt x="23525" y="111313"/>
                    <a:pt x="17216" y="112769"/>
                  </a:cubicBezTo>
                  <a:cubicBezTo>
                    <a:pt x="14304" y="113255"/>
                    <a:pt x="12847" y="113255"/>
                    <a:pt x="11877" y="113255"/>
                  </a:cubicBezTo>
                  <a:lnTo>
                    <a:pt x="11877" y="11325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89E1EBE0-9B60-4D75-B0C7-D3D4C2E47853}"/>
                </a:ext>
              </a:extLst>
            </p:cNvPr>
            <p:cNvSpPr/>
            <p:nvPr/>
          </p:nvSpPr>
          <p:spPr>
            <a:xfrm>
              <a:off x="1413667" y="2447604"/>
              <a:ext cx="43682" cy="160166"/>
            </a:xfrm>
            <a:custGeom>
              <a:avLst/>
              <a:gdLst/>
              <a:ahLst/>
              <a:cxnLst/>
              <a:rect l="0" t="0" r="0" b="0"/>
              <a:pathLst>
                <a:path w="43681" h="160165">
                  <a:moveTo>
                    <a:pt x="35122" y="157756"/>
                  </a:moveTo>
                  <a:cubicBezTo>
                    <a:pt x="33666" y="156300"/>
                    <a:pt x="31240" y="156300"/>
                    <a:pt x="28813" y="156300"/>
                  </a:cubicBezTo>
                  <a:cubicBezTo>
                    <a:pt x="27357" y="154844"/>
                    <a:pt x="26386" y="153873"/>
                    <a:pt x="26386" y="152417"/>
                  </a:cubicBezTo>
                  <a:cubicBezTo>
                    <a:pt x="23959" y="143681"/>
                    <a:pt x="20077" y="136401"/>
                    <a:pt x="19106" y="126694"/>
                  </a:cubicBezTo>
                  <a:cubicBezTo>
                    <a:pt x="17650" y="117957"/>
                    <a:pt x="17650" y="109707"/>
                    <a:pt x="16679" y="100970"/>
                  </a:cubicBezTo>
                  <a:cubicBezTo>
                    <a:pt x="16679" y="86410"/>
                    <a:pt x="14252" y="71849"/>
                    <a:pt x="12796" y="57289"/>
                  </a:cubicBezTo>
                  <a:cubicBezTo>
                    <a:pt x="11340" y="50979"/>
                    <a:pt x="10370" y="46126"/>
                    <a:pt x="7943" y="40301"/>
                  </a:cubicBezTo>
                  <a:cubicBezTo>
                    <a:pt x="6487" y="31565"/>
                    <a:pt x="6487" y="21858"/>
                    <a:pt x="4060" y="13607"/>
                  </a:cubicBezTo>
                  <a:cubicBezTo>
                    <a:pt x="1633" y="7298"/>
                    <a:pt x="10370" y="2444"/>
                    <a:pt x="13767" y="3900"/>
                  </a:cubicBezTo>
                  <a:cubicBezTo>
                    <a:pt x="16194" y="5356"/>
                    <a:pt x="17650" y="5356"/>
                    <a:pt x="20077" y="6327"/>
                  </a:cubicBezTo>
                  <a:cubicBezTo>
                    <a:pt x="20077" y="7783"/>
                    <a:pt x="21533" y="8754"/>
                    <a:pt x="22503" y="10210"/>
                  </a:cubicBezTo>
                  <a:cubicBezTo>
                    <a:pt x="22503" y="10210"/>
                    <a:pt x="22503" y="10210"/>
                    <a:pt x="22503" y="11666"/>
                  </a:cubicBezTo>
                  <a:cubicBezTo>
                    <a:pt x="24930" y="27682"/>
                    <a:pt x="28813" y="42243"/>
                    <a:pt x="29784" y="57774"/>
                  </a:cubicBezTo>
                  <a:cubicBezTo>
                    <a:pt x="31240" y="74761"/>
                    <a:pt x="33666" y="90778"/>
                    <a:pt x="34637" y="106309"/>
                  </a:cubicBezTo>
                  <a:cubicBezTo>
                    <a:pt x="36093" y="118443"/>
                    <a:pt x="37064" y="130577"/>
                    <a:pt x="40947" y="142710"/>
                  </a:cubicBezTo>
                  <a:cubicBezTo>
                    <a:pt x="42403" y="145137"/>
                    <a:pt x="43373" y="147564"/>
                    <a:pt x="42403" y="149991"/>
                  </a:cubicBezTo>
                  <a:cubicBezTo>
                    <a:pt x="42403" y="155329"/>
                    <a:pt x="39976" y="157756"/>
                    <a:pt x="35122" y="157756"/>
                  </a:cubicBezTo>
                  <a:lnTo>
                    <a:pt x="35122" y="15775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638B0E7F-8B6D-4170-9B88-6D7854782B16}"/>
                </a:ext>
              </a:extLst>
            </p:cNvPr>
            <p:cNvSpPr/>
            <p:nvPr/>
          </p:nvSpPr>
          <p:spPr>
            <a:xfrm>
              <a:off x="1290322" y="2454210"/>
              <a:ext cx="58242" cy="155312"/>
            </a:xfrm>
            <a:custGeom>
              <a:avLst/>
              <a:gdLst/>
              <a:ahLst/>
              <a:cxnLst/>
              <a:rect l="0" t="0" r="0" b="0"/>
              <a:pathLst>
                <a:path w="58242" h="155312">
                  <a:moveTo>
                    <a:pt x="56543" y="12826"/>
                  </a:moveTo>
                  <a:cubicBezTo>
                    <a:pt x="54117" y="26416"/>
                    <a:pt x="51690" y="39520"/>
                    <a:pt x="49263" y="53110"/>
                  </a:cubicBezTo>
                  <a:cubicBezTo>
                    <a:pt x="45380" y="65244"/>
                    <a:pt x="41983" y="78834"/>
                    <a:pt x="38100" y="90968"/>
                  </a:cubicBezTo>
                  <a:cubicBezTo>
                    <a:pt x="33246" y="104558"/>
                    <a:pt x="26937" y="117662"/>
                    <a:pt x="25966" y="132223"/>
                  </a:cubicBezTo>
                  <a:cubicBezTo>
                    <a:pt x="24510" y="137076"/>
                    <a:pt x="23539" y="141930"/>
                    <a:pt x="22083" y="146783"/>
                  </a:cubicBezTo>
                  <a:cubicBezTo>
                    <a:pt x="20627" y="150666"/>
                    <a:pt x="17230" y="153093"/>
                    <a:pt x="13347" y="151637"/>
                  </a:cubicBezTo>
                  <a:cubicBezTo>
                    <a:pt x="10920" y="151637"/>
                    <a:pt x="9464" y="151637"/>
                    <a:pt x="8494" y="150180"/>
                  </a:cubicBezTo>
                  <a:cubicBezTo>
                    <a:pt x="4611" y="148724"/>
                    <a:pt x="3640" y="146298"/>
                    <a:pt x="3640" y="142900"/>
                  </a:cubicBezTo>
                  <a:cubicBezTo>
                    <a:pt x="5096" y="139017"/>
                    <a:pt x="6067" y="134164"/>
                    <a:pt x="8494" y="130766"/>
                  </a:cubicBezTo>
                  <a:cubicBezTo>
                    <a:pt x="8494" y="129310"/>
                    <a:pt x="8494" y="126884"/>
                    <a:pt x="9950" y="125913"/>
                  </a:cubicBezTo>
                  <a:cubicBezTo>
                    <a:pt x="9950" y="122030"/>
                    <a:pt x="9950" y="118633"/>
                    <a:pt x="9950" y="116206"/>
                  </a:cubicBezTo>
                  <a:cubicBezTo>
                    <a:pt x="13832" y="106499"/>
                    <a:pt x="16259" y="96792"/>
                    <a:pt x="19657" y="87085"/>
                  </a:cubicBezTo>
                  <a:cubicBezTo>
                    <a:pt x="23054" y="77378"/>
                    <a:pt x="25966" y="67671"/>
                    <a:pt x="29364" y="57964"/>
                  </a:cubicBezTo>
                  <a:cubicBezTo>
                    <a:pt x="33246" y="43403"/>
                    <a:pt x="36644" y="29813"/>
                    <a:pt x="35673" y="15253"/>
                  </a:cubicBezTo>
                  <a:cubicBezTo>
                    <a:pt x="35673" y="10399"/>
                    <a:pt x="38100" y="7973"/>
                    <a:pt x="41983" y="5546"/>
                  </a:cubicBezTo>
                  <a:cubicBezTo>
                    <a:pt x="46836" y="1663"/>
                    <a:pt x="53146" y="4090"/>
                    <a:pt x="55573" y="9429"/>
                  </a:cubicBezTo>
                  <a:cubicBezTo>
                    <a:pt x="55573" y="10399"/>
                    <a:pt x="55573" y="11370"/>
                    <a:pt x="56543" y="12826"/>
                  </a:cubicBezTo>
                  <a:lnTo>
                    <a:pt x="56543" y="1282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760ED331-6EAA-4208-9858-79833F191B7E}"/>
                </a:ext>
              </a:extLst>
            </p:cNvPr>
            <p:cNvSpPr/>
            <p:nvPr/>
          </p:nvSpPr>
          <p:spPr>
            <a:xfrm>
              <a:off x="1570156" y="2252268"/>
              <a:ext cx="184433" cy="29121"/>
            </a:xfrm>
            <a:custGeom>
              <a:avLst/>
              <a:gdLst/>
              <a:ahLst/>
              <a:cxnLst/>
              <a:rect l="0" t="0" r="0" b="0"/>
              <a:pathLst>
                <a:path w="184433" h="29121">
                  <a:moveTo>
                    <a:pt x="126162" y="28878"/>
                  </a:moveTo>
                  <a:cubicBezTo>
                    <a:pt x="124706" y="28878"/>
                    <a:pt x="119853" y="28878"/>
                    <a:pt x="114999" y="28878"/>
                  </a:cubicBezTo>
                  <a:cubicBezTo>
                    <a:pt x="103836" y="30334"/>
                    <a:pt x="93158" y="28878"/>
                    <a:pt x="81995" y="27422"/>
                  </a:cubicBezTo>
                  <a:cubicBezTo>
                    <a:pt x="65008" y="25966"/>
                    <a:pt x="48021" y="23540"/>
                    <a:pt x="31034" y="21113"/>
                  </a:cubicBezTo>
                  <a:cubicBezTo>
                    <a:pt x="26180" y="19657"/>
                    <a:pt x="19870" y="19657"/>
                    <a:pt x="14046" y="19657"/>
                  </a:cubicBezTo>
                  <a:cubicBezTo>
                    <a:pt x="11620" y="18201"/>
                    <a:pt x="9193" y="18201"/>
                    <a:pt x="6766" y="17230"/>
                  </a:cubicBezTo>
                  <a:cubicBezTo>
                    <a:pt x="2883" y="15774"/>
                    <a:pt x="2883" y="10920"/>
                    <a:pt x="5310" y="7523"/>
                  </a:cubicBezTo>
                  <a:cubicBezTo>
                    <a:pt x="7737" y="5096"/>
                    <a:pt x="11620" y="3640"/>
                    <a:pt x="15017" y="3640"/>
                  </a:cubicBezTo>
                  <a:cubicBezTo>
                    <a:pt x="18414" y="3640"/>
                    <a:pt x="22297" y="3640"/>
                    <a:pt x="24724" y="5096"/>
                  </a:cubicBezTo>
                  <a:cubicBezTo>
                    <a:pt x="45594" y="6552"/>
                    <a:pt x="65008" y="11406"/>
                    <a:pt x="84422" y="12377"/>
                  </a:cubicBezTo>
                  <a:cubicBezTo>
                    <a:pt x="95585" y="13833"/>
                    <a:pt x="106263" y="13833"/>
                    <a:pt x="117426" y="14803"/>
                  </a:cubicBezTo>
                  <a:cubicBezTo>
                    <a:pt x="131986" y="14803"/>
                    <a:pt x="148003" y="14803"/>
                    <a:pt x="163534" y="14803"/>
                  </a:cubicBezTo>
                  <a:cubicBezTo>
                    <a:pt x="167417" y="14803"/>
                    <a:pt x="170814" y="14803"/>
                    <a:pt x="174697" y="14803"/>
                  </a:cubicBezTo>
                  <a:cubicBezTo>
                    <a:pt x="176153" y="14803"/>
                    <a:pt x="177124" y="14803"/>
                    <a:pt x="178580" y="14803"/>
                  </a:cubicBezTo>
                  <a:cubicBezTo>
                    <a:pt x="181007" y="14803"/>
                    <a:pt x="184890" y="18686"/>
                    <a:pt x="184890" y="21113"/>
                  </a:cubicBezTo>
                  <a:cubicBezTo>
                    <a:pt x="184890" y="23540"/>
                    <a:pt x="183434" y="25966"/>
                    <a:pt x="181007" y="27422"/>
                  </a:cubicBezTo>
                  <a:cubicBezTo>
                    <a:pt x="178580" y="28878"/>
                    <a:pt x="177124" y="28878"/>
                    <a:pt x="174697" y="29849"/>
                  </a:cubicBezTo>
                  <a:cubicBezTo>
                    <a:pt x="170814" y="29849"/>
                    <a:pt x="167417" y="29849"/>
                    <a:pt x="163534" y="29849"/>
                  </a:cubicBezTo>
                  <a:cubicBezTo>
                    <a:pt x="152856" y="30334"/>
                    <a:pt x="140723" y="30334"/>
                    <a:pt x="126162" y="28878"/>
                  </a:cubicBezTo>
                  <a:lnTo>
                    <a:pt x="126162" y="288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1FB9A993-9953-4327-A416-13D182189075}"/>
                </a:ext>
              </a:extLst>
            </p:cNvPr>
            <p:cNvSpPr/>
            <p:nvPr/>
          </p:nvSpPr>
          <p:spPr>
            <a:xfrm>
              <a:off x="1503759" y="2425312"/>
              <a:ext cx="92217" cy="131045"/>
            </a:xfrm>
            <a:custGeom>
              <a:avLst/>
              <a:gdLst/>
              <a:ahLst/>
              <a:cxnLst/>
              <a:rect l="0" t="0" r="0" b="0"/>
              <a:pathLst>
                <a:path w="92216" h="131044">
                  <a:moveTo>
                    <a:pt x="79958" y="129087"/>
                  </a:moveTo>
                  <a:cubicBezTo>
                    <a:pt x="76075" y="129087"/>
                    <a:pt x="73648" y="127631"/>
                    <a:pt x="72678" y="125204"/>
                  </a:cubicBezTo>
                  <a:cubicBezTo>
                    <a:pt x="62971" y="106761"/>
                    <a:pt x="49381" y="91230"/>
                    <a:pt x="38703" y="74243"/>
                  </a:cubicBezTo>
                  <a:cubicBezTo>
                    <a:pt x="29967" y="60653"/>
                    <a:pt x="22687" y="47548"/>
                    <a:pt x="15406" y="33959"/>
                  </a:cubicBezTo>
                  <a:cubicBezTo>
                    <a:pt x="11523" y="27649"/>
                    <a:pt x="8126" y="21825"/>
                    <a:pt x="4243" y="15515"/>
                  </a:cubicBezTo>
                  <a:cubicBezTo>
                    <a:pt x="2787" y="13088"/>
                    <a:pt x="4243" y="10662"/>
                    <a:pt x="5699" y="8235"/>
                  </a:cubicBezTo>
                  <a:cubicBezTo>
                    <a:pt x="10553" y="955"/>
                    <a:pt x="19289" y="3381"/>
                    <a:pt x="22687" y="8235"/>
                  </a:cubicBezTo>
                  <a:cubicBezTo>
                    <a:pt x="25113" y="12118"/>
                    <a:pt x="27540" y="16971"/>
                    <a:pt x="29967" y="21825"/>
                  </a:cubicBezTo>
                  <a:cubicBezTo>
                    <a:pt x="34820" y="32988"/>
                    <a:pt x="41130" y="43666"/>
                    <a:pt x="46954" y="54829"/>
                  </a:cubicBezTo>
                  <a:cubicBezTo>
                    <a:pt x="58117" y="70845"/>
                    <a:pt x="68795" y="86376"/>
                    <a:pt x="79958" y="102393"/>
                  </a:cubicBezTo>
                  <a:cubicBezTo>
                    <a:pt x="82385" y="107246"/>
                    <a:pt x="84811" y="112100"/>
                    <a:pt x="88694" y="116953"/>
                  </a:cubicBezTo>
                  <a:cubicBezTo>
                    <a:pt x="90150" y="119380"/>
                    <a:pt x="90150" y="123263"/>
                    <a:pt x="87238" y="125690"/>
                  </a:cubicBezTo>
                  <a:cubicBezTo>
                    <a:pt x="85782" y="129087"/>
                    <a:pt x="82385" y="129087"/>
                    <a:pt x="79958" y="129087"/>
                  </a:cubicBezTo>
                  <a:lnTo>
                    <a:pt x="79958" y="12908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B29AF35D-96ED-4EA6-9C3E-76981F15EA34}"/>
                </a:ext>
              </a:extLst>
            </p:cNvPr>
            <p:cNvSpPr/>
            <p:nvPr/>
          </p:nvSpPr>
          <p:spPr>
            <a:xfrm>
              <a:off x="1155395" y="2422141"/>
              <a:ext cx="116484" cy="111631"/>
            </a:xfrm>
            <a:custGeom>
              <a:avLst/>
              <a:gdLst/>
              <a:ahLst/>
              <a:cxnLst/>
              <a:rect l="0" t="0" r="0" b="0"/>
              <a:pathLst>
                <a:path w="116484" h="111630">
                  <a:moveTo>
                    <a:pt x="3640" y="104108"/>
                  </a:moveTo>
                  <a:cubicBezTo>
                    <a:pt x="3640" y="102652"/>
                    <a:pt x="5096" y="101681"/>
                    <a:pt x="5096" y="100225"/>
                  </a:cubicBezTo>
                  <a:cubicBezTo>
                    <a:pt x="12376" y="93915"/>
                    <a:pt x="18686" y="88091"/>
                    <a:pt x="24510" y="80811"/>
                  </a:cubicBezTo>
                  <a:cubicBezTo>
                    <a:pt x="26937" y="78384"/>
                    <a:pt x="29364" y="76928"/>
                    <a:pt x="30820" y="74501"/>
                  </a:cubicBezTo>
                  <a:cubicBezTo>
                    <a:pt x="37129" y="69648"/>
                    <a:pt x="42954" y="63338"/>
                    <a:pt x="47807" y="57514"/>
                  </a:cubicBezTo>
                  <a:cubicBezTo>
                    <a:pt x="54117" y="47807"/>
                    <a:pt x="62368" y="38100"/>
                    <a:pt x="71104" y="29364"/>
                  </a:cubicBezTo>
                  <a:cubicBezTo>
                    <a:pt x="80811" y="18201"/>
                    <a:pt x="92945" y="9950"/>
                    <a:pt x="106534" y="5096"/>
                  </a:cubicBezTo>
                  <a:cubicBezTo>
                    <a:pt x="107990" y="3640"/>
                    <a:pt x="108961" y="3640"/>
                    <a:pt x="110417" y="3640"/>
                  </a:cubicBezTo>
                  <a:cubicBezTo>
                    <a:pt x="111873" y="3640"/>
                    <a:pt x="114300" y="5096"/>
                    <a:pt x="114300" y="5096"/>
                  </a:cubicBezTo>
                  <a:cubicBezTo>
                    <a:pt x="115756" y="6552"/>
                    <a:pt x="115756" y="8979"/>
                    <a:pt x="115756" y="9950"/>
                  </a:cubicBezTo>
                  <a:cubicBezTo>
                    <a:pt x="114300" y="11406"/>
                    <a:pt x="114300" y="12377"/>
                    <a:pt x="113329" y="13833"/>
                  </a:cubicBezTo>
                  <a:cubicBezTo>
                    <a:pt x="109446" y="17715"/>
                    <a:pt x="106049" y="22569"/>
                    <a:pt x="101196" y="24996"/>
                  </a:cubicBezTo>
                  <a:cubicBezTo>
                    <a:pt x="91489" y="31305"/>
                    <a:pt x="82752" y="38585"/>
                    <a:pt x="75472" y="46836"/>
                  </a:cubicBezTo>
                  <a:cubicBezTo>
                    <a:pt x="61882" y="62853"/>
                    <a:pt x="49748" y="78384"/>
                    <a:pt x="35188" y="92945"/>
                  </a:cubicBezTo>
                  <a:cubicBezTo>
                    <a:pt x="28878" y="99254"/>
                    <a:pt x="24025" y="104108"/>
                    <a:pt x="18201" y="109932"/>
                  </a:cubicBezTo>
                  <a:cubicBezTo>
                    <a:pt x="15774" y="112359"/>
                    <a:pt x="13347" y="112359"/>
                    <a:pt x="10920" y="112359"/>
                  </a:cubicBezTo>
                  <a:cubicBezTo>
                    <a:pt x="6067" y="110417"/>
                    <a:pt x="4611" y="107990"/>
                    <a:pt x="3640" y="104108"/>
                  </a:cubicBezTo>
                  <a:lnTo>
                    <a:pt x="3640" y="10410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0A22BB06-DD07-4ED0-9C5D-1D6179A677D8}"/>
                </a:ext>
              </a:extLst>
            </p:cNvPr>
            <p:cNvSpPr/>
            <p:nvPr/>
          </p:nvSpPr>
          <p:spPr>
            <a:xfrm>
              <a:off x="1184516" y="2059099"/>
              <a:ext cx="101924" cy="116484"/>
            </a:xfrm>
            <a:custGeom>
              <a:avLst/>
              <a:gdLst/>
              <a:ahLst/>
              <a:cxnLst/>
              <a:rect l="0" t="0" r="0" b="0"/>
              <a:pathLst>
                <a:path w="101923" h="116484">
                  <a:moveTo>
                    <a:pt x="13347" y="3640"/>
                  </a:moveTo>
                  <a:cubicBezTo>
                    <a:pt x="14803" y="3640"/>
                    <a:pt x="15774" y="5096"/>
                    <a:pt x="18201" y="5096"/>
                  </a:cubicBezTo>
                  <a:cubicBezTo>
                    <a:pt x="23054" y="9950"/>
                    <a:pt x="27908" y="13833"/>
                    <a:pt x="31790" y="19657"/>
                  </a:cubicBezTo>
                  <a:cubicBezTo>
                    <a:pt x="38100" y="28393"/>
                    <a:pt x="45380" y="35673"/>
                    <a:pt x="52661" y="42954"/>
                  </a:cubicBezTo>
                  <a:cubicBezTo>
                    <a:pt x="55087" y="45380"/>
                    <a:pt x="57514" y="47807"/>
                    <a:pt x="59941" y="50234"/>
                  </a:cubicBezTo>
                  <a:cubicBezTo>
                    <a:pt x="68677" y="62368"/>
                    <a:pt x="78384" y="73531"/>
                    <a:pt x="88091" y="85664"/>
                  </a:cubicBezTo>
                  <a:cubicBezTo>
                    <a:pt x="91974" y="91974"/>
                    <a:pt x="96827" y="97798"/>
                    <a:pt x="100225" y="104108"/>
                  </a:cubicBezTo>
                  <a:cubicBezTo>
                    <a:pt x="102652" y="107990"/>
                    <a:pt x="101681" y="111388"/>
                    <a:pt x="96342" y="112844"/>
                  </a:cubicBezTo>
                  <a:cubicBezTo>
                    <a:pt x="91489" y="115271"/>
                    <a:pt x="85179" y="112844"/>
                    <a:pt x="84208" y="107990"/>
                  </a:cubicBezTo>
                  <a:cubicBezTo>
                    <a:pt x="80325" y="100710"/>
                    <a:pt x="75472" y="95857"/>
                    <a:pt x="72075" y="89547"/>
                  </a:cubicBezTo>
                  <a:cubicBezTo>
                    <a:pt x="65765" y="82267"/>
                    <a:pt x="59941" y="74987"/>
                    <a:pt x="53631" y="67706"/>
                  </a:cubicBezTo>
                  <a:cubicBezTo>
                    <a:pt x="47322" y="60426"/>
                    <a:pt x="40041" y="53146"/>
                    <a:pt x="32761" y="45866"/>
                  </a:cubicBezTo>
                  <a:cubicBezTo>
                    <a:pt x="31305" y="43439"/>
                    <a:pt x="28878" y="41983"/>
                    <a:pt x="27908" y="41012"/>
                  </a:cubicBezTo>
                  <a:cubicBezTo>
                    <a:pt x="21598" y="29849"/>
                    <a:pt x="13347" y="24025"/>
                    <a:pt x="6067" y="15289"/>
                  </a:cubicBezTo>
                  <a:cubicBezTo>
                    <a:pt x="4611" y="15289"/>
                    <a:pt x="4611" y="13833"/>
                    <a:pt x="3640" y="13833"/>
                  </a:cubicBezTo>
                  <a:cubicBezTo>
                    <a:pt x="3640" y="12376"/>
                    <a:pt x="3640" y="8979"/>
                    <a:pt x="5096" y="7523"/>
                  </a:cubicBezTo>
                  <a:cubicBezTo>
                    <a:pt x="6067" y="5096"/>
                    <a:pt x="9464" y="3640"/>
                    <a:pt x="13347" y="3640"/>
                  </a:cubicBezTo>
                  <a:lnTo>
                    <a:pt x="13347" y="364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CC0EE851-310B-484A-A8C9-2F445826BCEA}"/>
                </a:ext>
              </a:extLst>
            </p:cNvPr>
            <p:cNvSpPr/>
            <p:nvPr/>
          </p:nvSpPr>
          <p:spPr>
            <a:xfrm>
              <a:off x="1034543" y="2310319"/>
              <a:ext cx="160166" cy="29121"/>
            </a:xfrm>
            <a:custGeom>
              <a:avLst/>
              <a:gdLst/>
              <a:ahLst/>
              <a:cxnLst/>
              <a:rect l="0" t="0" r="0" b="0"/>
              <a:pathLst>
                <a:path w="160165" h="29121">
                  <a:moveTo>
                    <a:pt x="142450" y="20819"/>
                  </a:moveTo>
                  <a:cubicBezTo>
                    <a:pt x="127890" y="16936"/>
                    <a:pt x="115756" y="19363"/>
                    <a:pt x="102166" y="19363"/>
                  </a:cubicBezTo>
                  <a:cubicBezTo>
                    <a:pt x="85179" y="20819"/>
                    <a:pt x="66736" y="21790"/>
                    <a:pt x="49748" y="23246"/>
                  </a:cubicBezTo>
                  <a:cubicBezTo>
                    <a:pt x="36159" y="24702"/>
                    <a:pt x="23054" y="25673"/>
                    <a:pt x="10920" y="25673"/>
                  </a:cubicBezTo>
                  <a:cubicBezTo>
                    <a:pt x="9464" y="25673"/>
                    <a:pt x="7038" y="25673"/>
                    <a:pt x="6067" y="25673"/>
                  </a:cubicBezTo>
                  <a:cubicBezTo>
                    <a:pt x="4611" y="24217"/>
                    <a:pt x="3640" y="21790"/>
                    <a:pt x="3640" y="20819"/>
                  </a:cubicBezTo>
                  <a:cubicBezTo>
                    <a:pt x="6067" y="16936"/>
                    <a:pt x="8494" y="13539"/>
                    <a:pt x="14803" y="12083"/>
                  </a:cubicBezTo>
                  <a:cubicBezTo>
                    <a:pt x="23539" y="12083"/>
                    <a:pt x="31790" y="10627"/>
                    <a:pt x="40527" y="10627"/>
                  </a:cubicBezTo>
                  <a:cubicBezTo>
                    <a:pt x="41983" y="9171"/>
                    <a:pt x="42954" y="10627"/>
                    <a:pt x="44410" y="9171"/>
                  </a:cubicBezTo>
                  <a:cubicBezTo>
                    <a:pt x="60426" y="7715"/>
                    <a:pt x="75957" y="6744"/>
                    <a:pt x="92945" y="6744"/>
                  </a:cubicBezTo>
                  <a:cubicBezTo>
                    <a:pt x="94401" y="5288"/>
                    <a:pt x="96827" y="5288"/>
                    <a:pt x="99254" y="5288"/>
                  </a:cubicBezTo>
                  <a:cubicBezTo>
                    <a:pt x="113815" y="2861"/>
                    <a:pt x="127404" y="3832"/>
                    <a:pt x="141965" y="3832"/>
                  </a:cubicBezTo>
                  <a:cubicBezTo>
                    <a:pt x="145848" y="3832"/>
                    <a:pt x="149245" y="5288"/>
                    <a:pt x="154099" y="6259"/>
                  </a:cubicBezTo>
                  <a:cubicBezTo>
                    <a:pt x="156525" y="7715"/>
                    <a:pt x="157982" y="11112"/>
                    <a:pt x="155555" y="13539"/>
                  </a:cubicBezTo>
                  <a:cubicBezTo>
                    <a:pt x="151187" y="18392"/>
                    <a:pt x="147304" y="20819"/>
                    <a:pt x="142450" y="20819"/>
                  </a:cubicBezTo>
                  <a:lnTo>
                    <a:pt x="142450" y="2081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ED1D82D4-07CD-44CE-8EDD-3C98B03E8745}"/>
                </a:ext>
              </a:extLst>
            </p:cNvPr>
            <p:cNvSpPr/>
            <p:nvPr/>
          </p:nvSpPr>
          <p:spPr>
            <a:xfrm>
              <a:off x="1068612" y="2374941"/>
              <a:ext cx="145605" cy="67949"/>
            </a:xfrm>
            <a:custGeom>
              <a:avLst/>
              <a:gdLst/>
              <a:ahLst/>
              <a:cxnLst/>
              <a:rect l="0" t="0" r="0" b="0"/>
              <a:pathLst>
                <a:path w="145605" h="67949">
                  <a:moveTo>
                    <a:pt x="142356" y="9586"/>
                  </a:moveTo>
                  <a:cubicBezTo>
                    <a:pt x="142356" y="9586"/>
                    <a:pt x="140900" y="12012"/>
                    <a:pt x="140900" y="13469"/>
                  </a:cubicBezTo>
                  <a:cubicBezTo>
                    <a:pt x="138473" y="15895"/>
                    <a:pt x="136046" y="17351"/>
                    <a:pt x="133619" y="17351"/>
                  </a:cubicBezTo>
                  <a:cubicBezTo>
                    <a:pt x="123912" y="19778"/>
                    <a:pt x="112749" y="23661"/>
                    <a:pt x="103042" y="27058"/>
                  </a:cubicBezTo>
                  <a:cubicBezTo>
                    <a:pt x="87026" y="30941"/>
                    <a:pt x="72465" y="38221"/>
                    <a:pt x="57905" y="46472"/>
                  </a:cubicBezTo>
                  <a:cubicBezTo>
                    <a:pt x="45771" y="52782"/>
                    <a:pt x="32181" y="60062"/>
                    <a:pt x="19077" y="64916"/>
                  </a:cubicBezTo>
                  <a:cubicBezTo>
                    <a:pt x="16650" y="67342"/>
                    <a:pt x="12767" y="67342"/>
                    <a:pt x="9370" y="68798"/>
                  </a:cubicBezTo>
                  <a:cubicBezTo>
                    <a:pt x="7914" y="68798"/>
                    <a:pt x="5487" y="67342"/>
                    <a:pt x="5487" y="67342"/>
                  </a:cubicBezTo>
                  <a:cubicBezTo>
                    <a:pt x="4031" y="65886"/>
                    <a:pt x="3060" y="62489"/>
                    <a:pt x="4031" y="61033"/>
                  </a:cubicBezTo>
                  <a:cubicBezTo>
                    <a:pt x="6458" y="57150"/>
                    <a:pt x="8884" y="54723"/>
                    <a:pt x="12767" y="52297"/>
                  </a:cubicBezTo>
                  <a:cubicBezTo>
                    <a:pt x="26357" y="48414"/>
                    <a:pt x="39461" y="41133"/>
                    <a:pt x="51595" y="35309"/>
                  </a:cubicBezTo>
                  <a:cubicBezTo>
                    <a:pt x="62758" y="29000"/>
                    <a:pt x="73436" y="23176"/>
                    <a:pt x="84599" y="18322"/>
                  </a:cubicBezTo>
                  <a:cubicBezTo>
                    <a:pt x="86055" y="16866"/>
                    <a:pt x="88482" y="16866"/>
                    <a:pt x="89453" y="15895"/>
                  </a:cubicBezTo>
                  <a:cubicBezTo>
                    <a:pt x="101586" y="12012"/>
                    <a:pt x="113720" y="8615"/>
                    <a:pt x="125854" y="4732"/>
                  </a:cubicBezTo>
                  <a:cubicBezTo>
                    <a:pt x="129737" y="3276"/>
                    <a:pt x="134590" y="3276"/>
                    <a:pt x="137988" y="4732"/>
                  </a:cubicBezTo>
                  <a:cubicBezTo>
                    <a:pt x="139929" y="4732"/>
                    <a:pt x="142356" y="7159"/>
                    <a:pt x="142356" y="9586"/>
                  </a:cubicBezTo>
                  <a:lnTo>
                    <a:pt x="142356" y="958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0D64CFE4-49AB-421D-A1B3-4628FCBA7E66}"/>
                </a:ext>
              </a:extLst>
            </p:cNvPr>
            <p:cNvSpPr/>
            <p:nvPr/>
          </p:nvSpPr>
          <p:spPr>
            <a:xfrm>
              <a:off x="1095090" y="2134328"/>
              <a:ext cx="131045" cy="67949"/>
            </a:xfrm>
            <a:custGeom>
              <a:avLst/>
              <a:gdLst/>
              <a:ahLst/>
              <a:cxnLst/>
              <a:rect l="0" t="0" r="0" b="0"/>
              <a:pathLst>
                <a:path w="131044" h="67949">
                  <a:moveTo>
                    <a:pt x="12983" y="3640"/>
                  </a:moveTo>
                  <a:cubicBezTo>
                    <a:pt x="16866" y="3640"/>
                    <a:pt x="20263" y="5096"/>
                    <a:pt x="24146" y="7523"/>
                  </a:cubicBezTo>
                  <a:cubicBezTo>
                    <a:pt x="28029" y="12376"/>
                    <a:pt x="33853" y="13833"/>
                    <a:pt x="40163" y="16259"/>
                  </a:cubicBezTo>
                  <a:cubicBezTo>
                    <a:pt x="49870" y="20142"/>
                    <a:pt x="61033" y="23540"/>
                    <a:pt x="71710" y="27422"/>
                  </a:cubicBezTo>
                  <a:cubicBezTo>
                    <a:pt x="90154" y="33732"/>
                    <a:pt x="108112" y="41012"/>
                    <a:pt x="124128" y="51690"/>
                  </a:cubicBezTo>
                  <a:cubicBezTo>
                    <a:pt x="125584" y="53146"/>
                    <a:pt x="126555" y="54117"/>
                    <a:pt x="128982" y="55573"/>
                  </a:cubicBezTo>
                  <a:cubicBezTo>
                    <a:pt x="128982" y="57029"/>
                    <a:pt x="130438" y="60426"/>
                    <a:pt x="128982" y="61882"/>
                  </a:cubicBezTo>
                  <a:cubicBezTo>
                    <a:pt x="127526" y="63338"/>
                    <a:pt x="126555" y="64309"/>
                    <a:pt x="124128" y="65765"/>
                  </a:cubicBezTo>
                  <a:cubicBezTo>
                    <a:pt x="120245" y="68192"/>
                    <a:pt x="116848" y="68192"/>
                    <a:pt x="112965" y="64309"/>
                  </a:cubicBezTo>
                  <a:cubicBezTo>
                    <a:pt x="109082" y="61882"/>
                    <a:pt x="105685" y="57999"/>
                    <a:pt x="101802" y="55573"/>
                  </a:cubicBezTo>
                  <a:cubicBezTo>
                    <a:pt x="90639" y="49263"/>
                    <a:pt x="79961" y="43439"/>
                    <a:pt x="67827" y="39556"/>
                  </a:cubicBezTo>
                  <a:cubicBezTo>
                    <a:pt x="58120" y="37129"/>
                    <a:pt x="49384" y="33247"/>
                    <a:pt x="39677" y="30820"/>
                  </a:cubicBezTo>
                  <a:cubicBezTo>
                    <a:pt x="27543" y="26937"/>
                    <a:pt x="16380" y="22083"/>
                    <a:pt x="5703" y="16259"/>
                  </a:cubicBezTo>
                  <a:cubicBezTo>
                    <a:pt x="3276" y="14803"/>
                    <a:pt x="3276" y="11406"/>
                    <a:pt x="4247" y="8979"/>
                  </a:cubicBezTo>
                  <a:cubicBezTo>
                    <a:pt x="6673" y="6067"/>
                    <a:pt x="9100" y="3640"/>
                    <a:pt x="12983" y="3640"/>
                  </a:cubicBezTo>
                  <a:lnTo>
                    <a:pt x="12983" y="364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6986DF34-CBF4-4C43-A9CC-E8CD79EFA4FB}"/>
                </a:ext>
              </a:extLst>
            </p:cNvPr>
            <p:cNvSpPr/>
            <p:nvPr/>
          </p:nvSpPr>
          <p:spPr>
            <a:xfrm>
              <a:off x="1055780" y="2211984"/>
              <a:ext cx="140752" cy="43682"/>
            </a:xfrm>
            <a:custGeom>
              <a:avLst/>
              <a:gdLst/>
              <a:ahLst/>
              <a:cxnLst/>
              <a:rect l="0" t="0" r="0" b="0"/>
              <a:pathLst>
                <a:path w="140751" h="43681">
                  <a:moveTo>
                    <a:pt x="16862" y="3640"/>
                  </a:moveTo>
                  <a:cubicBezTo>
                    <a:pt x="21716" y="5096"/>
                    <a:pt x="28025" y="6067"/>
                    <a:pt x="32879" y="6067"/>
                  </a:cubicBezTo>
                  <a:cubicBezTo>
                    <a:pt x="44042" y="8494"/>
                    <a:pt x="54720" y="9950"/>
                    <a:pt x="66853" y="10920"/>
                  </a:cubicBezTo>
                  <a:cubicBezTo>
                    <a:pt x="73163" y="10920"/>
                    <a:pt x="78987" y="12376"/>
                    <a:pt x="85297" y="14803"/>
                  </a:cubicBezTo>
                  <a:cubicBezTo>
                    <a:pt x="102284" y="18686"/>
                    <a:pt x="118301" y="22083"/>
                    <a:pt x="133832" y="26937"/>
                  </a:cubicBezTo>
                  <a:cubicBezTo>
                    <a:pt x="136259" y="28393"/>
                    <a:pt x="138685" y="29364"/>
                    <a:pt x="140141" y="31790"/>
                  </a:cubicBezTo>
                  <a:cubicBezTo>
                    <a:pt x="141597" y="33247"/>
                    <a:pt x="141597" y="35673"/>
                    <a:pt x="140141" y="36644"/>
                  </a:cubicBezTo>
                  <a:cubicBezTo>
                    <a:pt x="138685" y="37615"/>
                    <a:pt x="136259" y="39071"/>
                    <a:pt x="135288" y="40527"/>
                  </a:cubicBezTo>
                  <a:cubicBezTo>
                    <a:pt x="132861" y="42954"/>
                    <a:pt x="128978" y="42954"/>
                    <a:pt x="126552" y="41983"/>
                  </a:cubicBezTo>
                  <a:cubicBezTo>
                    <a:pt x="110535" y="33247"/>
                    <a:pt x="93548" y="30820"/>
                    <a:pt x="76560" y="25966"/>
                  </a:cubicBezTo>
                  <a:cubicBezTo>
                    <a:pt x="75104" y="25966"/>
                    <a:pt x="72678" y="24510"/>
                    <a:pt x="71707" y="24510"/>
                  </a:cubicBezTo>
                  <a:cubicBezTo>
                    <a:pt x="52293" y="23054"/>
                    <a:pt x="32879" y="19657"/>
                    <a:pt x="12009" y="18201"/>
                  </a:cubicBezTo>
                  <a:cubicBezTo>
                    <a:pt x="10553" y="18201"/>
                    <a:pt x="9582" y="18201"/>
                    <a:pt x="8126" y="18201"/>
                  </a:cubicBezTo>
                  <a:cubicBezTo>
                    <a:pt x="6670" y="16745"/>
                    <a:pt x="5699" y="15774"/>
                    <a:pt x="4243" y="14318"/>
                  </a:cubicBezTo>
                  <a:cubicBezTo>
                    <a:pt x="2787" y="12862"/>
                    <a:pt x="4243" y="10435"/>
                    <a:pt x="5699" y="8008"/>
                  </a:cubicBezTo>
                  <a:cubicBezTo>
                    <a:pt x="9582" y="5096"/>
                    <a:pt x="13465" y="3640"/>
                    <a:pt x="16862" y="3640"/>
                  </a:cubicBezTo>
                  <a:lnTo>
                    <a:pt x="16862" y="364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7DEE6CE0-3C29-4759-99F5-F545B662C3A5}"/>
                </a:ext>
              </a:extLst>
            </p:cNvPr>
            <p:cNvSpPr/>
            <p:nvPr/>
          </p:nvSpPr>
          <p:spPr>
            <a:xfrm>
              <a:off x="1123847" y="2485236"/>
              <a:ext cx="4854" cy="4854"/>
            </a:xfrm>
            <a:custGeom>
              <a:avLst/>
              <a:gdLst/>
              <a:ahLst/>
              <a:cxnLst/>
              <a:rect l="0" t="0" r="0" b="0"/>
              <a:pathLst>
                <a:path w="4853" h="4853">
                  <a:moveTo>
                    <a:pt x="4611" y="3640"/>
                  </a:moveTo>
                  <a:lnTo>
                    <a:pt x="4611" y="4611"/>
                  </a:lnTo>
                  <a:lnTo>
                    <a:pt x="3640" y="4611"/>
                  </a:lnTo>
                  <a:lnTo>
                    <a:pt x="4611" y="364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B5C8D9E-A54E-4E62-A48C-A1A7954ACC03}"/>
                </a:ext>
              </a:extLst>
            </p:cNvPr>
            <p:cNvSpPr/>
            <p:nvPr/>
          </p:nvSpPr>
          <p:spPr>
            <a:xfrm>
              <a:off x="1616478" y="2298377"/>
              <a:ext cx="4854" cy="4854"/>
            </a:xfrm>
            <a:custGeom>
              <a:avLst/>
              <a:gdLst/>
              <a:ahLst/>
              <a:cxnLst/>
              <a:rect l="0" t="0" r="0" b="0"/>
              <a:pathLst>
                <a:path w="4853" h="4853">
                  <a:moveTo>
                    <a:pt x="3640" y="3640"/>
                  </a:moveTo>
                  <a:lnTo>
                    <a:pt x="3640" y="3640"/>
                  </a:lnTo>
                  <a:lnTo>
                    <a:pt x="3640" y="3640"/>
                  </a:lnTo>
                  <a:lnTo>
                    <a:pt x="3640" y="364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/>
            <a:lstStyle/>
            <a:p>
              <a:endParaRPr lang="da-DK"/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49CEF7C7-AA4C-4048-A6F5-CC33572BCDD9}"/>
              </a:ext>
            </a:extLst>
          </p:cNvPr>
          <p:cNvSpPr txBox="1"/>
          <p:nvPr/>
        </p:nvSpPr>
        <p:spPr>
          <a:xfrm>
            <a:off x="5667425" y="5169969"/>
            <a:ext cx="574295" cy="166199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600" b="1" dirty="0" err="1"/>
              <a:t>Dependency</a:t>
            </a:r>
            <a:br>
              <a:rPr lang="da-DK" sz="600" b="1" dirty="0"/>
            </a:br>
            <a:r>
              <a:rPr lang="da-DK" sz="600" b="1" dirty="0" err="1"/>
              <a:t>Injection</a:t>
            </a:r>
            <a:endParaRPr lang="da-DK" sz="600" b="1" dirty="0"/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02A2BCFE-9475-4CD0-BB79-02C3FACC76C8}"/>
              </a:ext>
            </a:extLst>
          </p:cNvPr>
          <p:cNvSpPr txBox="1"/>
          <p:nvPr/>
        </p:nvSpPr>
        <p:spPr>
          <a:xfrm>
            <a:off x="5173715" y="5840479"/>
            <a:ext cx="840125" cy="76175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550" dirty="0"/>
              <a:t>I</a:t>
            </a:r>
          </a:p>
        </p:txBody>
      </p:sp>
      <p:sp>
        <p:nvSpPr>
          <p:cNvPr id="68" name="Title 2">
            <a:extLst>
              <a:ext uri="{FF2B5EF4-FFF2-40B4-BE49-F238E27FC236}">
                <a16:creationId xmlns:a16="http://schemas.microsoft.com/office/drawing/2014/main" id="{5018166D-71F0-4092-A601-E6316D1E00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743" y="68482"/>
            <a:ext cx="7483352" cy="2224886"/>
          </a:xfrm>
        </p:spPr>
        <p:txBody>
          <a:bodyPr/>
          <a:lstStyle/>
          <a:p>
            <a:r>
              <a:rPr lang="da-DK" sz="4800" dirty="0" err="1">
                <a:solidFill>
                  <a:srgbClr val="8AA299"/>
                </a:solidFill>
              </a:rPr>
              <a:t>Powering</a:t>
            </a:r>
            <a:r>
              <a:rPr lang="da-DK" sz="4800" dirty="0">
                <a:solidFill>
                  <a:srgbClr val="8AA299"/>
                </a:solidFill>
              </a:rPr>
              <a:t> up the player with a </a:t>
            </a:r>
            <a:r>
              <a:rPr lang="da-DK" sz="4800" dirty="0" err="1">
                <a:solidFill>
                  <a:srgbClr val="8AA299"/>
                </a:solidFill>
              </a:rPr>
              <a:t>strategy</a:t>
            </a:r>
            <a:r>
              <a:rPr lang="da-DK" sz="4800" dirty="0">
                <a:solidFill>
                  <a:srgbClr val="8AA299"/>
                </a:solidFill>
              </a:rPr>
              <a:t> pattern</a:t>
            </a:r>
            <a:endParaRPr lang="da-DK" sz="4800" dirty="0"/>
          </a:p>
        </p:txBody>
      </p:sp>
    </p:spTree>
    <p:extLst>
      <p:ext uri="{BB962C8B-B14F-4D97-AF65-F5344CB8AC3E}">
        <p14:creationId xmlns:p14="http://schemas.microsoft.com/office/powerpoint/2010/main" val="2986238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52E7D7-6DCB-46F8-9F96-C8508968E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26890-A6E3-4403-8B5F-B63FA3CC0E22}" type="datetime1">
              <a:rPr lang="en-US" smtClean="0"/>
              <a:t>6/20/2021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EA2144-CF66-4274-96D6-E42289895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483F87-BC62-418C-8119-58509ABC71DD}"/>
              </a:ext>
            </a:extLst>
          </p:cNvPr>
          <p:cNvSpPr/>
          <p:nvPr/>
        </p:nvSpPr>
        <p:spPr>
          <a:xfrm>
            <a:off x="8775319" y="181859"/>
            <a:ext cx="1560352" cy="1417739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534B551-647C-4E41-B6A0-0C0F6EA0881B}"/>
              </a:ext>
            </a:extLst>
          </p:cNvPr>
          <p:cNvSpPr/>
          <p:nvPr/>
        </p:nvSpPr>
        <p:spPr>
          <a:xfrm>
            <a:off x="8641969" y="5617794"/>
            <a:ext cx="1560352" cy="1417739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da-DK" sz="1100" noProof="0" dirty="0" err="1">
              <a:solidFill>
                <a:srgbClr val="2F363B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BDA4A8A-408D-487A-A10C-BBFB129F3C2E}"/>
              </a:ext>
            </a:extLst>
          </p:cNvPr>
          <p:cNvSpPr txBox="1"/>
          <p:nvPr/>
        </p:nvSpPr>
        <p:spPr>
          <a:xfrm>
            <a:off x="0" y="66675"/>
            <a:ext cx="7153275" cy="997196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7200" dirty="0" err="1">
                <a:solidFill>
                  <a:srgbClr val="9A6E3A"/>
                </a:solidFill>
                <a:latin typeface="Impact" panose="020B0806030902050204" pitchFamily="34" charset="0"/>
              </a:rPr>
              <a:t>Testing</a:t>
            </a:r>
            <a:r>
              <a:rPr lang="da-DK" sz="7200" dirty="0">
                <a:solidFill>
                  <a:srgbClr val="9A6E3A"/>
                </a:solidFill>
                <a:latin typeface="Impact" panose="020B0806030902050204" pitchFamily="34" charset="0"/>
              </a:rPr>
              <a:t> the </a:t>
            </a:r>
            <a:r>
              <a:rPr lang="da-DK" sz="7200" dirty="0" err="1">
                <a:solidFill>
                  <a:srgbClr val="9A6E3A"/>
                </a:solidFill>
                <a:latin typeface="Impact" panose="020B0806030902050204" pitchFamily="34" charset="0"/>
              </a:rPr>
              <a:t>project</a:t>
            </a:r>
            <a:endParaRPr lang="da-DK" sz="7200" dirty="0">
              <a:solidFill>
                <a:srgbClr val="9A6E3A"/>
              </a:solidFill>
              <a:latin typeface="Impact" panose="020B080603090205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C1951F8-C7A9-4295-B92C-0B71EAAE1165}"/>
              </a:ext>
            </a:extLst>
          </p:cNvPr>
          <p:cNvSpPr txBox="1"/>
          <p:nvPr/>
        </p:nvSpPr>
        <p:spPr>
          <a:xfrm>
            <a:off x="295275" y="2857500"/>
            <a:ext cx="7677150" cy="2863861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400" dirty="0">
                <a:solidFill>
                  <a:schemeClr val="bg1"/>
                </a:solidFill>
              </a:rPr>
              <a:t>White </a:t>
            </a:r>
            <a:r>
              <a:rPr lang="da-DK" sz="2400" dirty="0" err="1">
                <a:solidFill>
                  <a:schemeClr val="bg1"/>
                </a:solidFill>
              </a:rPr>
              <a:t>box</a:t>
            </a:r>
            <a:r>
              <a:rPr lang="da-DK" sz="2400" dirty="0">
                <a:solidFill>
                  <a:schemeClr val="bg1"/>
                </a:solidFill>
              </a:rPr>
              <a:t> -  </a:t>
            </a:r>
            <a:br>
              <a:rPr lang="da-DK" sz="2400" dirty="0">
                <a:solidFill>
                  <a:schemeClr val="bg1"/>
                </a:solidFill>
              </a:rPr>
            </a:br>
            <a:r>
              <a:rPr lang="da-DK" sz="2400" dirty="0">
                <a:solidFill>
                  <a:schemeClr val="bg1"/>
                </a:solidFill>
              </a:rPr>
              <a:t>	statement and </a:t>
            </a:r>
            <a:r>
              <a:rPr lang="da-DK" sz="2400" dirty="0" err="1">
                <a:solidFill>
                  <a:schemeClr val="bg1"/>
                </a:solidFill>
              </a:rPr>
              <a:t>branch</a:t>
            </a:r>
            <a:r>
              <a:rPr lang="da-DK" sz="2400" dirty="0">
                <a:solidFill>
                  <a:schemeClr val="bg1"/>
                </a:solidFill>
              </a:rPr>
              <a:t> </a:t>
            </a:r>
            <a:r>
              <a:rPr lang="da-DK" sz="2400" dirty="0" err="1">
                <a:solidFill>
                  <a:schemeClr val="bg1"/>
                </a:solidFill>
              </a:rPr>
              <a:t>coverage</a:t>
            </a:r>
            <a:endParaRPr lang="da-DK" sz="2400" dirty="0">
              <a:solidFill>
                <a:schemeClr val="bg1"/>
              </a:solidFill>
            </a:endParaRPr>
          </a:p>
          <a:p>
            <a:pPr algn="l"/>
            <a:endParaRPr lang="da-DK" sz="2400" dirty="0">
              <a:solidFill>
                <a:schemeClr val="bg1"/>
              </a:solidFill>
            </a:endParaRPr>
          </a:p>
          <a:p>
            <a:pPr algn="l"/>
            <a:r>
              <a:rPr lang="da-DK" sz="2400" dirty="0">
                <a:solidFill>
                  <a:schemeClr val="bg1"/>
                </a:solidFill>
              </a:rPr>
              <a:t>Black </a:t>
            </a:r>
            <a:r>
              <a:rPr lang="da-DK" sz="2400" dirty="0" err="1">
                <a:solidFill>
                  <a:schemeClr val="bg1"/>
                </a:solidFill>
              </a:rPr>
              <a:t>box</a:t>
            </a:r>
            <a:r>
              <a:rPr lang="da-DK" sz="2400" dirty="0">
                <a:solidFill>
                  <a:schemeClr val="bg1"/>
                </a:solidFill>
              </a:rPr>
              <a:t> – </a:t>
            </a:r>
            <a:br>
              <a:rPr lang="da-DK" sz="2400" dirty="0">
                <a:solidFill>
                  <a:schemeClr val="bg1"/>
                </a:solidFill>
              </a:rPr>
            </a:br>
            <a:r>
              <a:rPr lang="da-DK" sz="2400" dirty="0">
                <a:solidFill>
                  <a:schemeClr val="bg1"/>
                </a:solidFill>
              </a:rPr>
              <a:t>	</a:t>
            </a:r>
            <a:r>
              <a:rPr lang="da-DK" sz="2400" dirty="0" err="1">
                <a:solidFill>
                  <a:schemeClr val="bg1"/>
                </a:solidFill>
              </a:rPr>
              <a:t>equivalence</a:t>
            </a:r>
            <a:r>
              <a:rPr lang="da-DK" sz="2400" dirty="0">
                <a:solidFill>
                  <a:schemeClr val="bg1"/>
                </a:solidFill>
              </a:rPr>
              <a:t> </a:t>
            </a:r>
            <a:r>
              <a:rPr lang="da-DK" sz="2400" dirty="0" err="1">
                <a:solidFill>
                  <a:schemeClr val="bg1"/>
                </a:solidFill>
              </a:rPr>
              <a:t>partitioning</a:t>
            </a:r>
            <a:r>
              <a:rPr lang="da-DK" sz="2400" dirty="0">
                <a:solidFill>
                  <a:schemeClr val="bg1"/>
                </a:solidFill>
              </a:rPr>
              <a:t> </a:t>
            </a:r>
          </a:p>
          <a:p>
            <a:pPr algn="l">
              <a:buNone/>
            </a:pPr>
            <a:endParaRPr lang="da-DK" sz="2400" dirty="0">
              <a:solidFill>
                <a:schemeClr val="bg1"/>
              </a:solidFill>
            </a:endParaRPr>
          </a:p>
          <a:p>
            <a:pPr algn="l"/>
            <a:endParaRPr lang="da-DK" sz="2400" dirty="0">
              <a:solidFill>
                <a:schemeClr val="bg1"/>
              </a:solidFill>
            </a:endParaRPr>
          </a:p>
          <a:p>
            <a:pPr algn="l"/>
            <a:endParaRPr lang="da-DK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AF6A6C6-8175-4131-B5C9-9C667CB86C82}"/>
              </a:ext>
            </a:extLst>
          </p:cNvPr>
          <p:cNvSpPr txBox="1"/>
          <p:nvPr/>
        </p:nvSpPr>
        <p:spPr>
          <a:xfrm>
            <a:off x="295275" y="1854648"/>
            <a:ext cx="4657725" cy="609398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4400" dirty="0">
                <a:solidFill>
                  <a:schemeClr val="bg1"/>
                </a:solidFill>
                <a:latin typeface="Impact" panose="020B0806030902050204" pitchFamily="34" charset="0"/>
              </a:rPr>
              <a:t>Unit </a:t>
            </a:r>
            <a:r>
              <a:rPr lang="da-DK" sz="4400" dirty="0" err="1">
                <a:solidFill>
                  <a:schemeClr val="bg1"/>
                </a:solidFill>
                <a:latin typeface="Impact" panose="020B0806030902050204" pitchFamily="34" charset="0"/>
              </a:rPr>
              <a:t>testing</a:t>
            </a:r>
            <a:endParaRPr lang="da-DK" sz="11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1" name="CustomShape 1">
            <a:extLst>
              <a:ext uri="{FF2B5EF4-FFF2-40B4-BE49-F238E27FC236}">
                <a16:creationId xmlns:a16="http://schemas.microsoft.com/office/drawing/2014/main" id="{2DE434D2-696C-41E1-B263-7DE6537B0D58}"/>
              </a:ext>
            </a:extLst>
          </p:cNvPr>
          <p:cNvSpPr/>
          <p:nvPr/>
        </p:nvSpPr>
        <p:spPr>
          <a:xfrm>
            <a:off x="5152517" y="1381605"/>
            <a:ext cx="1890360" cy="1093320"/>
          </a:xfrm>
          <a:prstGeom prst="cloudCallout">
            <a:avLst>
              <a:gd name="adj1" fmla="val 17335"/>
              <a:gd name="adj2" fmla="val 318319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a-DK"/>
          </a:p>
        </p:txBody>
      </p:sp>
      <p:sp>
        <p:nvSpPr>
          <p:cNvPr id="12" name="CustomShape 4">
            <a:extLst>
              <a:ext uri="{FF2B5EF4-FFF2-40B4-BE49-F238E27FC236}">
                <a16:creationId xmlns:a16="http://schemas.microsoft.com/office/drawing/2014/main" id="{FBB2494A-D9E0-4EA8-A41C-55676C9F94B4}"/>
              </a:ext>
            </a:extLst>
          </p:cNvPr>
          <p:cNvSpPr/>
          <p:nvPr/>
        </p:nvSpPr>
        <p:spPr>
          <a:xfrm>
            <a:off x="4116437" y="2753565"/>
            <a:ext cx="4190760" cy="4037760"/>
          </a:xfrm>
          <a:prstGeom prst="triangle">
            <a:avLst>
              <a:gd name="adj" fmla="val 50000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a-DK"/>
          </a:p>
        </p:txBody>
      </p:sp>
      <p:sp>
        <p:nvSpPr>
          <p:cNvPr id="13" name="CustomShape 5">
            <a:extLst>
              <a:ext uri="{FF2B5EF4-FFF2-40B4-BE49-F238E27FC236}">
                <a16:creationId xmlns:a16="http://schemas.microsoft.com/office/drawing/2014/main" id="{28A2FAB1-6795-4EAF-844F-34E9F47FEC3B}"/>
              </a:ext>
            </a:extLst>
          </p:cNvPr>
          <p:cNvSpPr/>
          <p:nvPr/>
        </p:nvSpPr>
        <p:spPr>
          <a:xfrm>
            <a:off x="5277077" y="3616464"/>
            <a:ext cx="1869120" cy="639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600" b="0" strike="noStrike" spc="-1" dirty="0">
                <a:latin typeface="Corbel"/>
              </a:rPr>
              <a:t>Acceptance</a:t>
            </a:r>
            <a:endParaRPr lang="en-US" sz="1600" b="0" strike="noStrike" spc="-1" dirty="0"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en-US" sz="1600" b="0" strike="noStrike" spc="-1" dirty="0">
                <a:latin typeface="Corbel"/>
              </a:rPr>
              <a:t>tests</a:t>
            </a:r>
            <a:endParaRPr lang="en-US" sz="1600" b="0" strike="noStrike" spc="-1" dirty="0">
              <a:latin typeface="Arial"/>
            </a:endParaRPr>
          </a:p>
        </p:txBody>
      </p:sp>
      <p:sp>
        <p:nvSpPr>
          <p:cNvPr id="14" name="CustomShape 6">
            <a:extLst>
              <a:ext uri="{FF2B5EF4-FFF2-40B4-BE49-F238E27FC236}">
                <a16:creationId xmlns:a16="http://schemas.microsoft.com/office/drawing/2014/main" id="{592C562D-58AD-4E38-BA61-455C31FA098D}"/>
              </a:ext>
            </a:extLst>
          </p:cNvPr>
          <p:cNvSpPr/>
          <p:nvPr/>
        </p:nvSpPr>
        <p:spPr>
          <a:xfrm>
            <a:off x="5277077" y="4654005"/>
            <a:ext cx="1869120" cy="6382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b="0" strike="noStrike" spc="-1" dirty="0">
                <a:latin typeface="Corbel"/>
              </a:rPr>
              <a:t>Integration tests</a:t>
            </a:r>
            <a:endParaRPr lang="en-US" sz="1800" b="0" strike="noStrike" spc="-1" dirty="0">
              <a:latin typeface="Arial"/>
            </a:endParaRPr>
          </a:p>
        </p:txBody>
      </p:sp>
      <p:sp>
        <p:nvSpPr>
          <p:cNvPr id="15" name="CustomShape 7">
            <a:extLst>
              <a:ext uri="{FF2B5EF4-FFF2-40B4-BE49-F238E27FC236}">
                <a16:creationId xmlns:a16="http://schemas.microsoft.com/office/drawing/2014/main" id="{4BF63162-B765-4A29-AC65-C09C3BE04FE2}"/>
              </a:ext>
            </a:extLst>
          </p:cNvPr>
          <p:cNvSpPr/>
          <p:nvPr/>
        </p:nvSpPr>
        <p:spPr>
          <a:xfrm>
            <a:off x="5277077" y="5936685"/>
            <a:ext cx="1869120" cy="3646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 b="0" strike="noStrike" spc="-1" dirty="0">
                <a:latin typeface="Corbel"/>
              </a:rPr>
              <a:t>Unit tests</a:t>
            </a:r>
            <a:endParaRPr lang="en-US" sz="1800" b="0" strike="noStrike" spc="-1" dirty="0">
              <a:latin typeface="Arial"/>
            </a:endParaRPr>
          </a:p>
        </p:txBody>
      </p:sp>
      <p:sp>
        <p:nvSpPr>
          <p:cNvPr id="16" name="CustomShape 8">
            <a:extLst>
              <a:ext uri="{FF2B5EF4-FFF2-40B4-BE49-F238E27FC236}">
                <a16:creationId xmlns:a16="http://schemas.microsoft.com/office/drawing/2014/main" id="{7DCA6714-47E6-4E32-9527-DBB32506705D}"/>
              </a:ext>
            </a:extLst>
          </p:cNvPr>
          <p:cNvSpPr/>
          <p:nvPr/>
        </p:nvSpPr>
        <p:spPr>
          <a:xfrm>
            <a:off x="5162957" y="1563045"/>
            <a:ext cx="1869120" cy="639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800" b="0" strike="noStrike" spc="-1" dirty="0">
                <a:latin typeface="Corbel"/>
              </a:rPr>
              <a:t>Manual</a:t>
            </a:r>
            <a:endParaRPr lang="en-US" sz="1800" b="0" strike="noStrike" spc="-1" dirty="0"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en-US" sz="1800" b="0" strike="noStrike" spc="-1" dirty="0">
                <a:latin typeface="Corbel"/>
              </a:rPr>
              <a:t>tests</a:t>
            </a:r>
            <a:endParaRPr lang="en-US" sz="1800" b="0" strike="noStrike" spc="-1" dirty="0">
              <a:latin typeface="Arial"/>
            </a:endParaRPr>
          </a:p>
        </p:txBody>
      </p:sp>
      <p:sp>
        <p:nvSpPr>
          <p:cNvPr id="17" name="Line 9">
            <a:extLst>
              <a:ext uri="{FF2B5EF4-FFF2-40B4-BE49-F238E27FC236}">
                <a16:creationId xmlns:a16="http://schemas.microsoft.com/office/drawing/2014/main" id="{ABA68846-889D-4AE4-9F82-D19F7B07B503}"/>
              </a:ext>
            </a:extLst>
          </p:cNvPr>
          <p:cNvSpPr/>
          <p:nvPr/>
        </p:nvSpPr>
        <p:spPr>
          <a:xfrm>
            <a:off x="4849037" y="5382285"/>
            <a:ext cx="2734200" cy="1008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/>
        </p:style>
        <p:txBody>
          <a:bodyPr/>
          <a:lstStyle/>
          <a:p>
            <a:endParaRPr lang="da-DK"/>
          </a:p>
        </p:txBody>
      </p:sp>
      <p:sp>
        <p:nvSpPr>
          <p:cNvPr id="18" name="Line 10">
            <a:extLst>
              <a:ext uri="{FF2B5EF4-FFF2-40B4-BE49-F238E27FC236}">
                <a16:creationId xmlns:a16="http://schemas.microsoft.com/office/drawing/2014/main" id="{23BB57C7-0592-4EAA-B93E-7DF523457B58}"/>
              </a:ext>
            </a:extLst>
          </p:cNvPr>
          <p:cNvSpPr/>
          <p:nvPr/>
        </p:nvSpPr>
        <p:spPr>
          <a:xfrm>
            <a:off x="5430797" y="4277085"/>
            <a:ext cx="1576800" cy="36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/>
        </p:style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8844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MART" val="&lt;smart xmlns:xsd=&quot;http://www.w3.org/2001/XMLSchema&quot; xmlns:xsi=&quot;http://www.w3.org/2001/XMLSchema-instance&quot;&gt;&lt;presentationSettings hasLibraryLinks=&quot;false&quot;&gt;&lt;agenda createSections=&quot;false&quot; enableNavigation=&quot;false&quot; id=&quot;4d920ea0-7391-4f5c-9627-77d1931a03ae&quot; isTouched=&quot;false&quot; showDuration=&quot;false&quot; showHeaders=&quot;false&quot; showPageNumber=&quot;false&quot; showResponsible=&quot;false&quot; showSubTopics=&quot;false&quot; showTimeSlot=&quot;false&quot; showTopicNumber=&quot;false&quot; slidesForSubTopics=&quot;false&quot; timeFormat=&quot;00000000-0000-0000-0000-000000000000&quot; title=&quot;Agenda&quot;&gt;&lt;columns&gt;&lt;column displayIndex=&quot;0&quot; header=&quot;#&quot; id=&quot;8fc7e105-5a32-4a72-bc85-7d3ff1e7b9d7&quot; visible=&quot;true&quot; width=&quot;170&quot; /&gt;&lt;column displayIndex=&quot;1&quot; header=&quot;Topic&quot; id=&quot;8f81a0ad-7497-4bbb-a001-838bad8c0faa&quot; visible=&quot;true&quot; width=&quot;160&quot; /&gt;&lt;column displayIndex=&quot;2&quot; header=&quot;Responsible&quot; id=&quot;2f9b06db-11e3-45bc-aecb-cf6141b9856b&quot; visible=&quot;true&quot; width=&quot;165&quot; /&gt;&lt;column displayIndex=&quot;3&quot; header=&quot;Duration&quot; id=&quot;99d05e97-02f5-4087-be8e-b10736e0c9ca&quot; visible=&quot;true&quot; width=&quot;150&quot; /&gt;&lt;column displayIndex=&quot;4&quot; header=&quot;Time&quot; id=&quot;fd356bfd-687f-40e8-b861-574837edbc46&quot; visible=&quot;true&quot; width=&quot;180&quot; /&gt;&lt;column displayIndex=&quot;5&quot; header=&quot;Page&quot; id=&quot;db91063f-fada-4f32-86c9-9368cd93fa26&quot; visible=&quot;true&quot; width=&quot;170&quot; /&gt;&lt;/columns&gt;&lt;layout /&gt;&lt;rows /&gt;&lt;/agenda&gt;&lt;template id=&quot;https://implementcg.sharepoint.com/Office Template Library/PowerPoint/Templates/01. A4 landscape/Implement A4_Landscape_2019.potx&quot; lastModified=&quot;2021-01-20T10:13:23+01:00&quot; name=&quot;Implement A4_Landscape_2019.potx&quot; slideMasterName=&quot;Implement PowerPoint A4&quot;&gt;&lt;LayoutNames&gt;&lt;Name&gt;1_Cover Dark&lt;/Name&gt;&lt;Name&gt;Cover Dark&lt;/Name&gt;&lt;Name&gt;Cover Logo Image Dark A&lt;/Name&gt;&lt;Name&gt;Cover Logo Image Dark B&lt;/Name&gt;&lt;Name&gt;Cover&lt;/Name&gt;&lt;Name&gt;Cover Logo Image A&lt;/Name&gt;&lt;Name&gt;Cover Logo Image B&lt;/Name&gt;&lt;Name&gt;Title and Content&lt;/Name&gt;&lt;Name&gt;Title and Content Light&lt;/Name&gt;&lt;Name&gt;Title and content Color&lt;/Name&gt;&lt;Name&gt;Two Content&lt;/Name&gt;&lt;Name&gt;Two Content B&lt;/Name&gt;&lt;Name&gt;Title Only&lt;/Name&gt;&lt;Name&gt;Custom Layout A&lt;/Name&gt;&lt;Name&gt;Custom Layout B&lt;/Name&gt;&lt;Name&gt;Title and Content Background A&lt;/Name&gt;&lt;Name&gt;Title and Content Background B&lt;/Name&gt;&lt;Name&gt;Title and Content Background C&lt;/Name&gt;&lt;Name&gt;Title and Content Background D&lt;/Name&gt;&lt;Name&gt;Conclution box vertical&lt;/Name&gt;&lt;Name&gt;Conclution box horisontal&lt;/Name&gt;&lt;Name&gt;Divider Small Dark&lt;/Name&gt;&lt;Name&gt;Divider Small&lt;/Name&gt;&lt;Name&gt;Section Image Dark&lt;/Name&gt;&lt;Name&gt;Section Image &lt;/Name&gt;&lt;Name&gt;Section Dark&lt;/Name&gt;&lt;Name&gt;Section Dark green&lt;/Name&gt;&lt;Name&gt;Section Light&lt;/Name&gt;&lt;Name&gt;Section Yellow&lt;/Name&gt;&lt;Name&gt;Image Background Dark Text&lt;/Name&gt;&lt;Name&gt;Image Background&lt;/Name&gt;&lt;Name&gt;Quotation Dark&lt;/Name&gt;&lt;Name&gt;Quotation&lt;/Name&gt;&lt;Name&gt;Blank&lt;/Name&gt;&lt;Name&gt;Blank Grid&lt;/Name&gt;&lt;Name&gt;Thank you&lt;/Name&gt;&lt;Name&gt;Reference case_short text&lt;/Name&gt;&lt;Name&gt;Reference case_long text&lt;/Name&gt;&lt;Name&gt;1_Reference case_long text&lt;/Name&gt;&lt;Name&gt;2_Reference case_long text&lt;/Name&gt;&lt;Name&gt;Reference case_long text_dark&lt;/Name&gt;&lt;Name&gt;2_Reference case_long text_dark&lt;/Name&gt;&lt;Name&gt;1_Reference case_long text_dark&lt;/Name&gt;&lt;Name&gt;Mastery cover - ONLY&lt;/Name&gt;&lt;/LayoutNames&gt;&lt;/template&gt;&lt;theme&gt;&lt;recentColors /&gt;&lt;/theme&gt;&lt;rules&gt;&lt;disabled /&gt;&lt;/rules&gt;&lt;/presentationSettings&gt;&lt;/smar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b3m8oSRv.4iInDXybm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cKhE0SBuzgDProAbMq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cKhE0SBuzgDProAbM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cKhE0SBuzgDProAbM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cKhE0SBuzgDProAbM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cKhE0SBuzgDProAbMq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0r33HyRP4lNadlIf6Jb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NwgFDaJabjGMzbhxSkn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JEmrnsQZevVNFTuOkVC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JEmrnsQZevVNFTuOkVC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JEmrnsQZevVNFTuOkVC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JEmrnsQZevVNFTuOkV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JEmrnsQZevVNFTuOkVC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JEmrnsQZevVNFTuOkVC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JEmrnsQZevVNFTuOkV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JEmrnsQZevVNFTuOkV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heme/theme1.xml><?xml version="1.0" encoding="utf-8"?>
<a:theme xmlns:a="http://schemas.openxmlformats.org/drawingml/2006/main" name="Implement PowerPoint A4">
  <a:themeElements>
    <a:clrScheme name="Implement 2018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C0C0C0"/>
      </a:accent2>
      <a:accent3>
        <a:srgbClr val="DDDDDD"/>
      </a:accent3>
      <a:accent4>
        <a:srgbClr val="838789"/>
      </a:accent4>
      <a:accent5>
        <a:srgbClr val="1F2023"/>
      </a:accent5>
      <a:accent6>
        <a:srgbClr val="898C96"/>
      </a:accent6>
      <a:hlink>
        <a:srgbClr val="838789"/>
      </a:hlink>
      <a:folHlink>
        <a:srgbClr val="E2DED9"/>
      </a:folHlink>
    </a:clrScheme>
    <a:fontScheme name="Implem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2DED9"/>
        </a:solidFill>
        <a:ln w="6350">
          <a:noFill/>
        </a:ln>
      </a:spPr>
      <a:bodyPr lIns="108000" tIns="108000" rIns="108000" bIns="108000" rtlCol="0" anchor="t" anchorCtr="0">
        <a:noAutofit/>
      </a:bodyPr>
      <a:lstStyle>
        <a:defPPr algn="l">
          <a:defRPr sz="1100" noProof="0" dirty="0" err="1" smtClean="0">
            <a:solidFill>
              <a:srgbClr val="2F363B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1F202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>
          <a:noFill/>
          <a:prstDash val="sysDash"/>
        </a:ln>
      </a:spPr>
      <a:bodyPr wrap="square" lIns="0" tIns="0" rIns="0" bIns="0" rtlCol="0">
        <a:spAutoFit/>
      </a:bodyPr>
      <a:lstStyle>
        <a:defPPr algn="l">
          <a:defRPr sz="1100"/>
        </a:defPPr>
      </a:lstStyle>
    </a:txDef>
  </a:objectDefaults>
  <a:extraClrSchemeLst/>
  <a:custClrLst>
    <a:custClr name="226, 222, 217">
      <a:srgbClr val="E2DED9"/>
    </a:custClr>
    <a:custClr name="248, 245, 231">
      <a:srgbClr val="F8F5E7"/>
    </a:custClr>
    <a:custClr name="48, 55, 59">
      <a:srgbClr val="30373B"/>
    </a:custClr>
    <a:custClr name="31, 32, 35">
      <a:srgbClr val="1F2023"/>
    </a:custClr>
    <a:custClr name="224, 188, 166">
      <a:srgbClr val="E0BCA6"/>
    </a:custClr>
    <a:custClr name="138, 162, 153">
      <a:srgbClr val="8AA299"/>
    </a:custClr>
    <a:custClr name="228, 183, 59">
      <a:srgbClr val="E4B73B"/>
    </a:custClr>
    <a:custClr name="64, 97, 95">
      <a:srgbClr val="40615F"/>
    </a:custClr>
    <a:custClr name="137, 62, 69">
      <a:srgbClr val="893E45"/>
    </a:custClr>
    <a:custClr name="154, 110, 58">
      <a:srgbClr val="9A6E3A"/>
    </a:custClr>
    <a:custClr name="232, 229, 225">
      <a:srgbClr val="E8E5E1"/>
    </a:custClr>
    <a:custClr name="249, 247, 236">
      <a:srgbClr val="F9F7EC"/>
    </a:custClr>
    <a:custClr name="89, 95, 98">
      <a:srgbClr val="595F62"/>
    </a:custClr>
    <a:custClr name="76, 77, 79">
      <a:srgbClr val="4C4D4F"/>
    </a:custClr>
    <a:custClr name="230, 201, 184">
      <a:srgbClr val="E6C9B8"/>
    </a:custClr>
    <a:custClr name="161, 181, 173">
      <a:srgbClr val="A1B5AD"/>
    </a:custClr>
    <a:custClr name="​233, 197, 98">
      <a:srgbClr val="E9C562"/>
    </a:custClr>
    <a:custClr name="102, 129, 127">
      <a:srgbClr val="66817F"/>
    </a:custClr>
    <a:custClr name="161, 101, 106">
      <a:srgbClr val="A1656A"/>
    </a:custClr>
    <a:custClr name="174, 139, 97">
      <a:srgbClr val="AE8B61"/>
    </a:custClr>
    <a:custClr name="238, 235, 232">
      <a:srgbClr val="EEEBE8"/>
    </a:custClr>
    <a:custClr name="251, 249, 241">
      <a:srgbClr val="FBF9F1"/>
    </a:custClr>
    <a:custClr name="149,153,155">
      <a:srgbClr val="95999B"/>
    </a:custClr>
    <a:custClr name="141,141,143">
      <a:srgbClr val="8D8D8F"/>
    </a:custClr>
    <a:custClr name="239,221,210">
      <a:srgbClr val="EFDDD2"/>
    </a:custClr>
    <a:custClr name="195,207,203">
      <a:srgbClr val="C3CFCB"/>
    </a:custClr>
    <a:custClr name="241,218,155">
      <a:srgbClr val="F1DA9B"/>
    </a:custClr>
    <a:custClr name="157,174,173">
      <a:srgbClr val="9DAEAD"/>
    </a:custClr>
    <a:custClr name="195,156,160">
      <a:srgbClr val="C39CA0"/>
    </a:custClr>
    <a:custClr name="203,181,155">
      <a:srgbClr val="CBB59B"/>
    </a:custClr>
    <a:custClr name="243, 242, 240">
      <a:srgbClr val="F3F2F0"/>
    </a:custClr>
    <a:custClr name="252, 251, 245">
      <a:srgbClr val="FCFBF5"/>
    </a:custClr>
    <a:custClr name="184,187,189">
      <a:srgbClr val="B8BBBD"/>
    </a:custClr>
    <a:custClr name="178,179,180">
      <a:srgbClr val="B2B3B4"/>
    </a:custClr>
    <a:custClr name="245,232,224">
      <a:srgbClr val="F5E8E0"/>
    </a:custClr>
    <a:custClr name="215,224,220">
      <a:srgbClr val="D7E0DC"/>
    </a:custClr>
    <a:custClr name="246,230,189">
      <a:srgbClr val="F6E6BD"/>
    </a:custClr>
    <a:custClr name="190,201,201">
      <a:srgbClr val="BEC9C9"/>
    </a:custClr>
    <a:custClr name="215,189,192">
      <a:srgbClr val="D7BDC0"/>
    </a:custClr>
    <a:custClr name="221,206,188">
      <a:srgbClr val="DDCEBC"/>
    </a:custClr>
    <a:custClr name="0,153,0">
      <a:srgbClr val="009900"/>
    </a:custClr>
    <a:custClr name="255,204,0">
      <a:srgbClr val="FFCC00"/>
    </a:custClr>
    <a:custClr name="255,102,0">
      <a:srgbClr val="FF6600"/>
    </a:custClr>
    <a:custClr name="204,0,0">
      <a:srgbClr val="CC0000"/>
    </a:custClr>
    <a:custClr name="0,112,192">
      <a:srgbClr val="0070C0"/>
    </a:custClr>
  </a:custClrLst>
  <a:extLst>
    <a:ext uri="{05A4C25C-085E-4340-85A3-A5531E510DB2}">
      <thm15:themeFamily xmlns:thm15="http://schemas.microsoft.com/office/thememl/2012/main" name="Implement A4_Landscape_2019.potx" id="{8E075E81-BC08-494C-BFB4-D999E86FD395}" vid="{4D81F279-7D9B-40D4-94AF-2C02DB12B30E}"/>
    </a:ext>
  </a:extLst>
</a:theme>
</file>

<file path=ppt/theme/theme2.xml><?xml version="1.0" encoding="utf-8"?>
<a:theme xmlns:a="http://schemas.openxmlformats.org/drawingml/2006/main" name="Office-tema">
  <a:themeElements>
    <a:clrScheme name="Implement 2018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C0C0C0"/>
      </a:accent2>
      <a:accent3>
        <a:srgbClr val="DDDDDD"/>
      </a:accent3>
      <a:accent4>
        <a:srgbClr val="838789"/>
      </a:accent4>
      <a:accent5>
        <a:srgbClr val="1F2023"/>
      </a:accent5>
      <a:accent6>
        <a:srgbClr val="898C96"/>
      </a:accent6>
      <a:hlink>
        <a:srgbClr val="838789"/>
      </a:hlink>
      <a:folHlink>
        <a:srgbClr val="E2DED9"/>
      </a:folHlink>
    </a:clrScheme>
    <a:fontScheme name="Implem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226, 222, 217">
      <a:srgbClr val="E2DED9"/>
    </a:custClr>
    <a:custClr name="248, 245, 231">
      <a:srgbClr val="F8F5E7"/>
    </a:custClr>
    <a:custClr name="48, 55, 59">
      <a:srgbClr val="30373B"/>
    </a:custClr>
    <a:custClr name="31, 32, 35">
      <a:srgbClr val="1F2023"/>
    </a:custClr>
    <a:custClr name="224, 188, 166">
      <a:srgbClr val="E0BCA6"/>
    </a:custClr>
    <a:custClr name="138, 162, 153">
      <a:srgbClr val="8AA299"/>
    </a:custClr>
    <a:custClr name="228, 183, 59">
      <a:srgbClr val="E4B73B"/>
    </a:custClr>
    <a:custClr name="64, 97, 95">
      <a:srgbClr val="40615F"/>
    </a:custClr>
    <a:custClr name="137, 62, 69">
      <a:srgbClr val="893E45"/>
    </a:custClr>
    <a:custClr name="154, 110, 58">
      <a:srgbClr val="9A6E3A"/>
    </a:custClr>
    <a:custClr name="232, 229, 225">
      <a:srgbClr val="E8E5E1"/>
    </a:custClr>
    <a:custClr name="249, 247, 236">
      <a:srgbClr val="F9F7EC"/>
    </a:custClr>
    <a:custClr name="89, 95, 98">
      <a:srgbClr val="595F62"/>
    </a:custClr>
    <a:custClr name="76, 77, 79">
      <a:srgbClr val="4C4D4F"/>
    </a:custClr>
    <a:custClr name="230, 201, 184">
      <a:srgbClr val="E6C9B8"/>
    </a:custClr>
    <a:custClr name="161, 181, 173">
      <a:srgbClr val="A1B5AD"/>
    </a:custClr>
    <a:custClr name="​233, 197, 98">
      <a:srgbClr val="E9C562"/>
    </a:custClr>
    <a:custClr name="102, 129, 127">
      <a:srgbClr val="66817F"/>
    </a:custClr>
    <a:custClr name="161, 101, 106">
      <a:srgbClr val="A1656A"/>
    </a:custClr>
    <a:custClr name="174, 139, 97">
      <a:srgbClr val="AE8B61"/>
    </a:custClr>
    <a:custClr name="238, 235, 232">
      <a:srgbClr val="EEEBE8"/>
    </a:custClr>
    <a:custClr name="251, 249, 241">
      <a:srgbClr val="FBF9F1"/>
    </a:custClr>
    <a:custClr name="149,153,155">
      <a:srgbClr val="95999B"/>
    </a:custClr>
    <a:custClr name="141,141,143">
      <a:srgbClr val="8D8D8F"/>
    </a:custClr>
    <a:custClr name="239,221,210">
      <a:srgbClr val="EFDDD2"/>
    </a:custClr>
    <a:custClr name="195,207,203">
      <a:srgbClr val="C3CFCB"/>
    </a:custClr>
    <a:custClr name="241,218,155">
      <a:srgbClr val="F1DA9B"/>
    </a:custClr>
    <a:custClr name="157,174,173">
      <a:srgbClr val="9DAEAD"/>
    </a:custClr>
    <a:custClr name="195,156,160">
      <a:srgbClr val="C39CA0"/>
    </a:custClr>
    <a:custClr name="203,181,155">
      <a:srgbClr val="CBB59B"/>
    </a:custClr>
    <a:custClr name="243, 242, 240">
      <a:srgbClr val="F3F2F0"/>
    </a:custClr>
    <a:custClr name="252, 251, 245">
      <a:srgbClr val="FCFBF5"/>
    </a:custClr>
    <a:custClr name="184,187,189">
      <a:srgbClr val="B8BBBD"/>
    </a:custClr>
    <a:custClr name="178,179,180">
      <a:srgbClr val="B2B3B4"/>
    </a:custClr>
    <a:custClr name="245,232,224">
      <a:srgbClr val="F5E8E0"/>
    </a:custClr>
    <a:custClr name="215,224,220">
      <a:srgbClr val="D7E0DC"/>
    </a:custClr>
    <a:custClr name="246,230,189">
      <a:srgbClr val="F6E6BD"/>
    </a:custClr>
    <a:custClr name="190,201,201">
      <a:srgbClr val="BEC9C9"/>
    </a:custClr>
    <a:custClr name="215,189,192">
      <a:srgbClr val="D7BDC0"/>
    </a:custClr>
    <a:custClr name="221,206,188">
      <a:srgbClr val="DDCEBC"/>
    </a:custClr>
    <a:custClr name="0,153,0">
      <a:srgbClr val="009900"/>
    </a:custClr>
    <a:custClr name="255,204,0">
      <a:srgbClr val="FFCC00"/>
    </a:custClr>
    <a:custClr name="255,102,0">
      <a:srgbClr val="FF6600"/>
    </a:custClr>
    <a:custClr name="204,0,0">
      <a:srgbClr val="CC0000"/>
    </a:custClr>
    <a:custClr name="0,112,192">
      <a:srgbClr val="0070C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mplement 2018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C0C0C0"/>
      </a:accent2>
      <a:accent3>
        <a:srgbClr val="DDDDDD"/>
      </a:accent3>
      <a:accent4>
        <a:srgbClr val="838789"/>
      </a:accent4>
      <a:accent5>
        <a:srgbClr val="1F2023"/>
      </a:accent5>
      <a:accent6>
        <a:srgbClr val="898C96"/>
      </a:accent6>
      <a:hlink>
        <a:srgbClr val="838789"/>
      </a:hlink>
      <a:folHlink>
        <a:srgbClr val="E2DED9"/>
      </a:folHlink>
    </a:clrScheme>
    <a:fontScheme name="Implem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226, 222, 217">
      <a:srgbClr val="E2DED9"/>
    </a:custClr>
    <a:custClr name="248, 245, 231">
      <a:srgbClr val="F8F5E7"/>
    </a:custClr>
    <a:custClr name="48, 55, 59">
      <a:srgbClr val="30373B"/>
    </a:custClr>
    <a:custClr name="31, 32, 35">
      <a:srgbClr val="1F2023"/>
    </a:custClr>
    <a:custClr name="224, 188, 166">
      <a:srgbClr val="E0BCA6"/>
    </a:custClr>
    <a:custClr name="138, 162, 153">
      <a:srgbClr val="8AA299"/>
    </a:custClr>
    <a:custClr name="228, 183, 59">
      <a:srgbClr val="E4B73B"/>
    </a:custClr>
    <a:custClr name="64, 97, 95">
      <a:srgbClr val="40615F"/>
    </a:custClr>
    <a:custClr name="137, 62, 69">
      <a:srgbClr val="893E45"/>
    </a:custClr>
    <a:custClr name="154, 110, 58">
      <a:srgbClr val="9A6E3A"/>
    </a:custClr>
    <a:custClr name="232, 229, 225">
      <a:srgbClr val="E8E5E1"/>
    </a:custClr>
    <a:custClr name="249, 247, 236">
      <a:srgbClr val="F9F7EC"/>
    </a:custClr>
    <a:custClr name="89, 95, 98">
      <a:srgbClr val="595F62"/>
    </a:custClr>
    <a:custClr name="76, 77, 79">
      <a:srgbClr val="4C4D4F"/>
    </a:custClr>
    <a:custClr name="230, 201, 184">
      <a:srgbClr val="E6C9B8"/>
    </a:custClr>
    <a:custClr name="161, 181, 173">
      <a:srgbClr val="A1B5AD"/>
    </a:custClr>
    <a:custClr name="​233, 197, 98">
      <a:srgbClr val="E9C562"/>
    </a:custClr>
    <a:custClr name="102, 129, 127">
      <a:srgbClr val="66817F"/>
    </a:custClr>
    <a:custClr name="161, 101, 106">
      <a:srgbClr val="A1656A"/>
    </a:custClr>
    <a:custClr name="174, 139, 97">
      <a:srgbClr val="AE8B61"/>
    </a:custClr>
    <a:custClr name="238, 235, 232">
      <a:srgbClr val="EEEBE8"/>
    </a:custClr>
    <a:custClr name="251, 249, 241">
      <a:srgbClr val="FBF9F1"/>
    </a:custClr>
    <a:custClr name="149,153,155">
      <a:srgbClr val="95999B"/>
    </a:custClr>
    <a:custClr name="141,141,143">
      <a:srgbClr val="8D8D8F"/>
    </a:custClr>
    <a:custClr name="239,221,210">
      <a:srgbClr val="EFDDD2"/>
    </a:custClr>
    <a:custClr name="195,207,203">
      <a:srgbClr val="C3CFCB"/>
    </a:custClr>
    <a:custClr name="241,218,155">
      <a:srgbClr val="F1DA9B"/>
    </a:custClr>
    <a:custClr name="157,174,173">
      <a:srgbClr val="9DAEAD"/>
    </a:custClr>
    <a:custClr name="195,156,160">
      <a:srgbClr val="C39CA0"/>
    </a:custClr>
    <a:custClr name="203,181,155">
      <a:srgbClr val="CBB59B"/>
    </a:custClr>
    <a:custClr name="243, 242, 240">
      <a:srgbClr val="F3F2F0"/>
    </a:custClr>
    <a:custClr name="252, 251, 245">
      <a:srgbClr val="FCFBF5"/>
    </a:custClr>
    <a:custClr name="184,187,189">
      <a:srgbClr val="B8BBBD"/>
    </a:custClr>
    <a:custClr name="178,179,180">
      <a:srgbClr val="B2B3B4"/>
    </a:custClr>
    <a:custClr name="245,232,224">
      <a:srgbClr val="F5E8E0"/>
    </a:custClr>
    <a:custClr name="215,224,220">
      <a:srgbClr val="D7E0DC"/>
    </a:custClr>
    <a:custClr name="246,230,189">
      <a:srgbClr val="F6E6BD"/>
    </a:custClr>
    <a:custClr name="190,201,201">
      <a:srgbClr val="BEC9C9"/>
    </a:custClr>
    <a:custClr name="215,189,192">
      <a:srgbClr val="D7BDC0"/>
    </a:custClr>
    <a:custClr name="221,206,188">
      <a:srgbClr val="DDCEBC"/>
    </a:custClr>
    <a:custClr name="0,153,0">
      <a:srgbClr val="009900"/>
    </a:custClr>
    <a:custClr name="255,204,0">
      <a:srgbClr val="FFCC00"/>
    </a:custClr>
    <a:custClr name="255,102,0">
      <a:srgbClr val="FF6600"/>
    </a:custClr>
    <a:custClr name="204,0,0">
      <a:srgbClr val="CC0000"/>
    </a:custClr>
    <a:custClr name="0,112,192">
      <a:srgbClr val="0070C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0d6e9e6-74e9-4cf8-82c7-b80f8b8ef15b"/>
    <TaxKeywordTaxHTField xmlns="e0d6e9e6-74e9-4cf8-82c7-b80f8b8ef15b">
      <Terms xmlns="http://schemas.microsoft.com/office/infopath/2007/PartnerControls"/>
    </TaxKeywordTaxHTField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0B5FA15A6612940A5B0F233CCE951C3" ma:contentTypeVersion="14" ma:contentTypeDescription="Opret et nyt dokument." ma:contentTypeScope="" ma:versionID="bffac7027f27b9265dff209f28ce9b0d">
  <xsd:schema xmlns:xsd="http://www.w3.org/2001/XMLSchema" xmlns:xs="http://www.w3.org/2001/XMLSchema" xmlns:p="http://schemas.microsoft.com/office/2006/metadata/properties" xmlns:ns2="e0d6e9e6-74e9-4cf8-82c7-b80f8b8ef15b" xmlns:ns3="38c77cc8-5182-4001-b974-41dc57aedea1" targetNamespace="http://schemas.microsoft.com/office/2006/metadata/properties" ma:root="true" ma:fieldsID="e34ad879b2890faa0754c926f5485c45" ns2:_="" ns3:_="">
    <xsd:import namespace="e0d6e9e6-74e9-4cf8-82c7-b80f8b8ef15b"/>
    <xsd:import namespace="38c77cc8-5182-4001-b974-41dc57aedea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2:TaxKeywordTaxHTField" minOccurs="0"/>
                <xsd:element ref="ns2:TaxCatchAll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d6e9e6-74e9-4cf8-82c7-b80f8b8ef15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13" nillable="true" ma:taxonomy="true" ma:internalName="TaxKeywordTaxHTField" ma:taxonomyFieldName="TaxKeyword" ma:displayName="Virksomhedsnøgleord" ma:fieldId="{23f27201-bee3-471e-b2e7-b64fd8b7ca38}" ma:taxonomyMulti="true" ma:sspId="e5b06291-50d6-40ad-b551-7f5f0cc50bc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4" nillable="true" ma:displayName="Taxonomy Catch All Column" ma:hidden="true" ma:list="{cf6716a3-185c-4411-8f54-7c5cf4f42d68}" ma:internalName="TaxCatchAll" ma:showField="CatchAllData" ma:web="e0d6e9e6-74e9-4cf8-82c7-b80f8b8ef15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c77cc8-5182-4001-b974-41dc57aedea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5" nillable="true" ma:displayName="MediaServiceAutoTags" ma:internalName="MediaServiceAutoTags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C2FB61C-6A8B-44E3-8D12-58FC9C6762D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B00E181-24CE-44AE-BC50-48836B8815AB}">
  <ds:schemaRefs>
    <ds:schemaRef ds:uri="e0d6e9e6-74e9-4cf8-82c7-b80f8b8ef15b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purl.org/dc/terms/"/>
    <ds:schemaRef ds:uri="http://purl.org/dc/elements/1.1/"/>
    <ds:schemaRef ds:uri="38c77cc8-5182-4001-b974-41dc57aedea1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D96E63A-430D-47D3-8DD9-2AED1A1FD5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0d6e9e6-74e9-4cf8-82c7-b80f8b8ef15b"/>
    <ds:schemaRef ds:uri="38c77cc8-5182-4001-b974-41dc57aedea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1173</TotalTime>
  <Words>476</Words>
  <Application>Microsoft Office PowerPoint</Application>
  <PresentationFormat>A4 Paper (210x297 mm)</PresentationFormat>
  <Paragraphs>134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gency FB</vt:lpstr>
      <vt:lpstr>Arial</vt:lpstr>
      <vt:lpstr>Cambria Math</vt:lpstr>
      <vt:lpstr>Corbel</vt:lpstr>
      <vt:lpstr>Impact</vt:lpstr>
      <vt:lpstr>Lucida Console</vt:lpstr>
      <vt:lpstr>Wingdings</vt:lpstr>
      <vt:lpstr>Implement PowerPoint A4</vt:lpstr>
      <vt:lpstr>think-cell Slide</vt:lpstr>
      <vt:lpstr>Software development - Breakout project</vt:lpstr>
      <vt:lpstr>Level loading with an observer pattern</vt:lpstr>
      <vt:lpstr>Switching between  game states</vt:lpstr>
      <vt:lpstr>Switching between  game states</vt:lpstr>
      <vt:lpstr>Powering up the player with a strategy pattern</vt:lpstr>
      <vt:lpstr>Powering up the player with a strategy pattern</vt:lpstr>
      <vt:lpstr>Powering up the player with a strategy pattern</vt:lpstr>
      <vt:lpstr>Powering up the player with a strategy pattern</vt:lpstr>
      <vt:lpstr>PowerPoint Presentation</vt:lpstr>
      <vt:lpstr>BlockHit(int hitPoints) must subtract hitpoints from health and check if block is destroyed.</vt:lpstr>
      <vt:lpstr>BlockHit(int hitPoints) must subtract hitpoints from health and check if block is destroyed. Health must be decremented at each method call.</vt:lpstr>
      <vt:lpstr>The development process</vt:lpstr>
      <vt:lpstr>The development process</vt:lpstr>
      <vt:lpstr>A Generic Game entity manager</vt:lpstr>
      <vt:lpstr>A Generic Game entity manager</vt:lpstr>
      <vt:lpstr>Fixing the Generic Game entity manager</vt:lpstr>
      <vt:lpstr>PowerPoint Presentation</vt:lpstr>
      <vt:lpstr>… and a proof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von Düring Kjeldsen</dc:creator>
  <cp:lastModifiedBy>Daniel von Düring Kjeldsen</cp:lastModifiedBy>
  <cp:revision>3</cp:revision>
  <dcterms:created xsi:type="dcterms:W3CDTF">2021-06-13T16:21:13Z</dcterms:created>
  <dcterms:modified xsi:type="dcterms:W3CDTF">2021-06-24T08:28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TaxKeyword">
    <vt:lpwstr/>
  </property>
  <property fmtid="{D5CDD505-2E9C-101B-9397-08002B2CF9AE}" pid="4" name="ContentTypeId">
    <vt:lpwstr>0x01010090B5FA15A6612940A5B0F233CCE951C3</vt:lpwstr>
  </property>
  <property fmtid="{D5CDD505-2E9C-101B-9397-08002B2CF9AE}" pid="5" name="AuthorIds_UIVersion_2048">
    <vt:lpwstr>37</vt:lpwstr>
  </property>
</Properties>
</file>